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639" r:id="rId2"/>
    <p:sldId id="4640" r:id="rId3"/>
    <p:sldId id="4593" r:id="rId4"/>
    <p:sldId id="4550" r:id="rId5"/>
    <p:sldId id="4594" r:id="rId6"/>
    <p:sldId id="4659" r:id="rId7"/>
    <p:sldId id="4545" r:id="rId8"/>
    <p:sldId id="4641" r:id="rId9"/>
    <p:sldId id="4595" r:id="rId10"/>
    <p:sldId id="4643" r:id="rId11"/>
    <p:sldId id="4611" r:id="rId12"/>
    <p:sldId id="4660" r:id="rId13"/>
    <p:sldId id="4661" r:id="rId14"/>
    <p:sldId id="4626" r:id="rId15"/>
    <p:sldId id="4663" r:id="rId16"/>
    <p:sldId id="4662" r:id="rId17"/>
    <p:sldId id="4666" r:id="rId18"/>
  </p:sldIdLst>
  <p:sldSz cx="24387175" cy="13717588"/>
  <p:notesSz cx="6858000" cy="9144000"/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Intro" id="{78D99E09-41D1-8C43-A6B5-4ECE7C3185F8}">
          <p14:sldIdLst>
            <p14:sldId id="4639"/>
            <p14:sldId id="4640"/>
          </p14:sldIdLst>
        </p14:section>
        <p14:section name="1. Overview" id="{740B4FA2-08F3-6C45-A10C-C51A8950ED20}">
          <p14:sldIdLst>
            <p14:sldId id="4593"/>
            <p14:sldId id="4550"/>
          </p14:sldIdLst>
        </p14:section>
        <p14:section name="2. Context" id="{29A2FFD7-12CA-6D43-BAD1-59C9CA69FB74}">
          <p14:sldIdLst>
            <p14:sldId id="4594"/>
            <p14:sldId id="4659"/>
            <p14:sldId id="4545"/>
            <p14:sldId id="4641"/>
          </p14:sldIdLst>
        </p14:section>
        <p14:section name="3. Methodology" id="{3141571C-7AC6-464F-8981-7A5C64DB274B}">
          <p14:sldIdLst>
            <p14:sldId id="4595"/>
            <p14:sldId id="4643"/>
            <p14:sldId id="4611"/>
            <p14:sldId id="4660"/>
            <p14:sldId id="4661"/>
          </p14:sldIdLst>
        </p14:section>
        <p14:section name="4. Gantt-Chart" id="{11254849-6BCE-5942-9BE5-762E2687E281}">
          <p14:sldIdLst>
            <p14:sldId id="4626"/>
            <p14:sldId id="4663"/>
            <p14:sldId id="4662"/>
            <p14:sldId id="4666"/>
          </p14:sldIdLst>
        </p14:section>
      </p14:sectionLst>
    </p:ext>
    <p:ext uri="{EFAFB233-063F-42B5-8137-9DF3F51BA10A}">
      <p15:sldGuideLst xmlns:p15="http://schemas.microsoft.com/office/powerpoint/2012/main">
        <p15:guide id="5" pos="1784" userDrawn="1">
          <p15:clr>
            <a:srgbClr val="A4A3A4"/>
          </p15:clr>
        </p15:guide>
        <p15:guide id="6" orient="horz" pos="2461" userDrawn="1">
          <p15:clr>
            <a:srgbClr val="A4A3A4"/>
          </p15:clr>
        </p15:guide>
        <p15:guide id="7" orient="horz" pos="1826" userDrawn="1">
          <p15:clr>
            <a:srgbClr val="A4A3A4"/>
          </p15:clr>
        </p15:guide>
        <p15:guide id="8" orient="horz" pos="3776" userDrawn="1">
          <p15:clr>
            <a:srgbClr val="A4A3A4"/>
          </p15:clr>
        </p15:guide>
        <p15:guide id="10" orient="horz" pos="4910" userDrawn="1">
          <p15:clr>
            <a:srgbClr val="A4A3A4"/>
          </p15:clr>
        </p15:guide>
        <p15:guide id="11" orient="horz" pos="7133" userDrawn="1">
          <p15:clr>
            <a:srgbClr val="A4A3A4"/>
          </p15:clr>
        </p15:guide>
        <p15:guide id="12" orient="horz" pos="64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FB"/>
    <a:srgbClr val="9B9898"/>
    <a:srgbClr val="2361E8"/>
    <a:srgbClr val="F3F3F3"/>
    <a:srgbClr val="BFBFBF"/>
    <a:srgbClr val="F4F7FF"/>
    <a:srgbClr val="C8D4FF"/>
    <a:srgbClr val="2463EC"/>
    <a:srgbClr val="F1F1F1"/>
    <a:srgbClr val="003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71" autoAdjust="0"/>
    <p:restoredTop sz="94421" autoAdjust="0"/>
  </p:normalViewPr>
  <p:slideViewPr>
    <p:cSldViewPr>
      <p:cViewPr varScale="1">
        <p:scale>
          <a:sx n="57" d="100"/>
          <a:sy n="57" d="100"/>
        </p:scale>
        <p:origin x="1192" y="184"/>
      </p:cViewPr>
      <p:guideLst>
        <p:guide pos="1784"/>
        <p:guide orient="horz" pos="2461"/>
        <p:guide orient="horz" pos="1826"/>
        <p:guide orient="horz" pos="3776"/>
        <p:guide orient="horz" pos="4910"/>
        <p:guide orient="horz" pos="7133"/>
        <p:guide orient="horz" pos="6498"/>
      </p:guideLst>
    </p:cSldViewPr>
  </p:slideViewPr>
  <p:outlineViewPr>
    <p:cViewPr>
      <p:scale>
        <a:sx n="85" d="100"/>
        <a:sy n="85" d="100"/>
      </p:scale>
      <p:origin x="0" y="-2224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98" d="100"/>
        <a:sy n="98" d="100"/>
      </p:scale>
      <p:origin x="0" y="93008"/>
    </p:cViewPr>
  </p:sorterViewPr>
  <p:notesViewPr>
    <p:cSldViewPr>
      <p:cViewPr varScale="1">
        <p:scale>
          <a:sx n="101" d="100"/>
          <a:sy n="101" d="100"/>
        </p:scale>
        <p:origin x="35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t>28.0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163C9CA-823B-F14C-9E29-9AF9C7454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t>28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ader </a:t>
            </a:r>
            <a:r>
              <a:rPr lang="en-US" dirty="0" err="1"/>
              <a:t>anpass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407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966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>
                <a:solidFill>
                  <a:schemeClr val="tx2"/>
                </a:solidFill>
              </a:rPr>
              <a:t>Verbal auf der </a:t>
            </a:r>
            <a:r>
              <a:rPr lang="en-US" sz="3200" err="1">
                <a:solidFill>
                  <a:schemeClr val="tx2"/>
                </a:solidFill>
              </a:rPr>
              <a:t>Tonspur</a:t>
            </a:r>
            <a:r>
              <a:rPr lang="en-US" sz="3200">
                <a:solidFill>
                  <a:schemeClr val="tx2"/>
                </a:solidFill>
              </a:rPr>
              <a:t> das Bild </a:t>
            </a:r>
            <a:r>
              <a:rPr lang="en-US" sz="3200" err="1">
                <a:solidFill>
                  <a:schemeClr val="tx2"/>
                </a:solidFill>
              </a:rPr>
              <a:t>erklären</a:t>
            </a:r>
            <a:endParaRPr lang="en-US" sz="3200">
              <a:solidFill>
                <a:schemeClr val="tx2"/>
              </a:solidFill>
            </a:endParaRPr>
          </a:p>
          <a:p>
            <a:endParaRPr lang="en-US" sz="3200">
              <a:solidFill>
                <a:schemeClr val="tx2"/>
              </a:solidFill>
            </a:endParaRPr>
          </a:p>
          <a:p>
            <a:r>
              <a:rPr lang="en-US" sz="3200" err="1">
                <a:solidFill>
                  <a:schemeClr val="tx2"/>
                </a:solidFill>
              </a:rPr>
              <a:t>Vollständige</a:t>
            </a:r>
            <a:r>
              <a:rPr lang="en-US" sz="3200">
                <a:solidFill>
                  <a:schemeClr val="tx2"/>
                </a:solidFill>
              </a:rPr>
              <a:t> </a:t>
            </a:r>
            <a:r>
              <a:rPr lang="en-US" sz="3200" err="1">
                <a:solidFill>
                  <a:schemeClr val="tx2"/>
                </a:solidFill>
              </a:rPr>
              <a:t>Abwanderung</a:t>
            </a:r>
            <a:r>
              <a:rPr lang="en-US" sz="3200">
                <a:solidFill>
                  <a:schemeClr val="tx2"/>
                </a:solidFill>
              </a:rPr>
              <a:t>:</a:t>
            </a:r>
            <a:r>
              <a:rPr lang="en-US" sz="3200" b="0">
                <a:solidFill>
                  <a:schemeClr val="tx2"/>
                </a:solidFill>
              </a:rPr>
              <a:t> Ein Kunde, der </a:t>
            </a:r>
            <a:r>
              <a:rPr lang="en-US" sz="3200" b="0" err="1">
                <a:solidFill>
                  <a:schemeClr val="tx2"/>
                </a:solidFill>
              </a:rPr>
              <a:t>üb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ein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bestimmt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Zeitraum</a:t>
            </a:r>
            <a:r>
              <a:rPr lang="en-US" sz="3200" b="0">
                <a:solidFill>
                  <a:schemeClr val="tx2"/>
                </a:solidFill>
              </a:rPr>
              <a:t> (z. B. </a:t>
            </a:r>
            <a:r>
              <a:rPr lang="en-US" sz="3200" b="0" err="1">
                <a:solidFill>
                  <a:schemeClr val="tx2"/>
                </a:solidFill>
              </a:rPr>
              <a:t>sechs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Monat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od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ei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Jahr</a:t>
            </a:r>
            <a:r>
              <a:rPr lang="en-US" sz="3200" b="0">
                <a:solidFill>
                  <a:schemeClr val="tx2"/>
                </a:solidFill>
              </a:rPr>
              <a:t>) </a:t>
            </a:r>
            <a:r>
              <a:rPr lang="en-US" sz="3200" b="0" err="1">
                <a:solidFill>
                  <a:schemeClr val="tx2"/>
                </a:solidFill>
              </a:rPr>
              <a:t>kein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Käufe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getätigt</a:t>
            </a:r>
            <a:r>
              <a:rPr lang="en-US" sz="3200" b="0">
                <a:solidFill>
                  <a:schemeClr val="tx2"/>
                </a:solidFill>
              </a:rPr>
              <a:t> hat.</a:t>
            </a:r>
          </a:p>
          <a:p>
            <a:endParaRPr lang="en-US" sz="3200" b="0">
              <a:solidFill>
                <a:schemeClr val="tx2"/>
              </a:solidFill>
            </a:endParaRPr>
          </a:p>
          <a:p>
            <a:r>
              <a:rPr lang="en-US" sz="3200" err="1">
                <a:solidFill>
                  <a:schemeClr val="tx2"/>
                </a:solidFill>
              </a:rPr>
              <a:t>Teilweise</a:t>
            </a:r>
            <a:r>
              <a:rPr lang="en-US" sz="3200">
                <a:solidFill>
                  <a:schemeClr val="tx2"/>
                </a:solidFill>
              </a:rPr>
              <a:t> </a:t>
            </a:r>
            <a:r>
              <a:rPr lang="en-US" sz="3200" err="1">
                <a:solidFill>
                  <a:schemeClr val="tx2"/>
                </a:solidFill>
              </a:rPr>
              <a:t>Abwanderung</a:t>
            </a:r>
            <a:r>
              <a:rPr lang="en-US" sz="3200">
                <a:solidFill>
                  <a:schemeClr val="tx2"/>
                </a:solidFill>
              </a:rPr>
              <a:t>:</a:t>
            </a:r>
            <a:r>
              <a:rPr lang="en-US" sz="3200" b="0">
                <a:solidFill>
                  <a:schemeClr val="tx2"/>
                </a:solidFill>
              </a:rPr>
              <a:t> Ein Kunde, </a:t>
            </a:r>
            <a:r>
              <a:rPr lang="en-US" sz="3200" b="0" err="1">
                <a:solidFill>
                  <a:schemeClr val="tx2"/>
                </a:solidFill>
              </a:rPr>
              <a:t>dess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Kaufverhalten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deutlich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nachgelassen</a:t>
            </a:r>
            <a:r>
              <a:rPr lang="en-US" sz="3200" b="0">
                <a:solidFill>
                  <a:schemeClr val="tx2"/>
                </a:solidFill>
              </a:rPr>
              <a:t>, </a:t>
            </a:r>
            <a:r>
              <a:rPr lang="en-US" sz="3200" b="0" err="1">
                <a:solidFill>
                  <a:schemeClr val="tx2"/>
                </a:solidFill>
              </a:rPr>
              <a:t>aber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nicht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ganz</a:t>
            </a:r>
            <a:r>
              <a:rPr lang="en-US" sz="3200" b="0">
                <a:solidFill>
                  <a:schemeClr val="tx2"/>
                </a:solidFill>
              </a:rPr>
              <a:t> </a:t>
            </a:r>
            <a:r>
              <a:rPr lang="en-US" sz="3200" b="0" err="1">
                <a:solidFill>
                  <a:schemeClr val="tx2"/>
                </a:solidFill>
              </a:rPr>
              <a:t>aufgehört</a:t>
            </a:r>
            <a:r>
              <a:rPr lang="en-US" sz="3200" b="0">
                <a:solidFill>
                  <a:schemeClr val="tx2"/>
                </a:solidFill>
              </a:rPr>
              <a:t> ha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0010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8BC53-19A7-D677-53BF-F82836A7F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C60AB0-BAEB-3912-0E9E-41DD2D5CB5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E42ABB-9D4B-FA05-E4B4-9C2FCACB5B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FA4D2-92F5-04A4-E074-3FE85B861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9643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C29E1-DEEF-C952-B6C8-7806549A38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B4EFDE-1EB4-491C-3341-EB9D81DB15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7869C1-AC47-4A7D-A248-90CCF464B7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B01E5-C03D-0418-F3BC-099CEB2A39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8570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3121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2E2B02-82BA-A9EC-24E2-3B1A63F95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7ABE4A5-014D-2485-51A0-EEFDF47A4C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78C49A4-41C9-62BD-AA8E-51779FCD2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1043C1-7200-9F39-A3C2-05AF565A1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3174689-BECC-4390-B3B9-306A17FD432A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86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DA9A9-8435-1B57-BAAA-39A1451B8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7C8847-FA43-90F2-8D0E-240F325F46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99E8A0-69A2-8A78-9871-FCFF35BC05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B2B16-4207-388B-981E-916D49777B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861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C37676-05F1-EC2D-34CD-F0A4D35E3E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74FE0D-73DC-601D-097B-893BC25D26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5680D0-57A7-DB49-235B-A8E9B0958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ader </a:t>
            </a:r>
            <a:r>
              <a:rPr lang="en-US" dirty="0" err="1"/>
              <a:t>anpasse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E12E40-B2FE-2C35-80A4-C60583EFE8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364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212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3083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703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8852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C5A366-1D5B-740A-DDE4-F78D10551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2607D8-4909-205B-967E-26B90F1FF0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0BA054-96EB-7D31-819C-7115A83290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050847-6043-5BBF-D295-E5F0602592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049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72472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3355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8461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43">
            <a:extLst>
              <a:ext uri="{FF2B5EF4-FFF2-40B4-BE49-F238E27FC236}">
                <a16:creationId xmlns:a16="http://schemas.microsoft.com/office/drawing/2014/main" id="{5F3206EC-51A7-ED41-8585-7482AED3FFCE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" y="0"/>
            <a:ext cx="24387174" cy="13717588"/>
          </a:xfrm>
          <a:custGeom>
            <a:avLst/>
            <a:gdLst>
              <a:gd name="connsiteX0" fmla="*/ 0 w 7729092"/>
              <a:gd name="connsiteY0" fmla="*/ 0 h 13717588"/>
              <a:gd name="connsiteX1" fmla="*/ 7729092 w 7729092"/>
              <a:gd name="connsiteY1" fmla="*/ 0 h 13717588"/>
              <a:gd name="connsiteX2" fmla="*/ 7729092 w 7729092"/>
              <a:gd name="connsiteY2" fmla="*/ 13717588 h 13717588"/>
              <a:gd name="connsiteX3" fmla="*/ 0 w 7729092"/>
              <a:gd name="connsiteY3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9092" h="13717588">
                <a:moveTo>
                  <a:pt x="0" y="0"/>
                </a:moveTo>
                <a:lnTo>
                  <a:pt x="7729092" y="0"/>
                </a:lnTo>
                <a:lnTo>
                  <a:pt x="7729092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6987AE1-D782-F749-98C3-249E65517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092" y="3978474"/>
            <a:ext cx="12309512" cy="369170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239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MAIN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id="{61FF07E3-74E3-014D-AD7E-B41B3F8EF2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1019" y="5784990"/>
            <a:ext cx="15873148" cy="5034244"/>
          </a:xfrm>
          <a:prstGeom prst="rect">
            <a:avLst/>
          </a:prstGeom>
        </p:spPr>
        <p:txBody>
          <a:bodyPr/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ts val="127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641907" algn="l"/>
              </a:tabLst>
              <a:defRPr lang="en-US" sz="23900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 algn="l" defTabSz="2438645" rtl="0" eaLnBrk="1" latinLnBrk="0" hangingPunct="1">
              <a:lnSpc>
                <a:spcPct val="150000"/>
              </a:lnSpc>
              <a:spcBef>
                <a:spcPts val="1272"/>
              </a:spcBef>
              <a:buFont typeface="Arial" panose="020B0604020202020204" pitchFamily="34" charset="0"/>
              <a:buNone/>
            </a:pPr>
            <a:r>
              <a:rPr lang="en-US" dirty="0"/>
              <a:t>HADR</a:t>
            </a:r>
          </a:p>
        </p:txBody>
      </p:sp>
    </p:spTree>
    <p:extLst>
      <p:ext uri="{BB962C8B-B14F-4D97-AF65-F5344CB8AC3E}">
        <p14:creationId xmlns:p14="http://schemas.microsoft.com/office/powerpoint/2010/main" val="2959828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6F6C0F16-82F5-D54A-83FF-921F20E3A8B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3636865" y="1418937"/>
            <a:ext cx="11224686" cy="10157307"/>
          </a:xfrm>
          <a:custGeom>
            <a:avLst/>
            <a:gdLst>
              <a:gd name="T0" fmla="*/ 681 w 2113"/>
              <a:gd name="T1" fmla="*/ 1560 h 1910"/>
              <a:gd name="T2" fmla="*/ 668 w 2113"/>
              <a:gd name="T3" fmla="*/ 1439 h 1910"/>
              <a:gd name="T4" fmla="*/ 702 w 2113"/>
              <a:gd name="T5" fmla="*/ 1302 h 1910"/>
              <a:gd name="T6" fmla="*/ 703 w 2113"/>
              <a:gd name="T7" fmla="*/ 1301 h 1910"/>
              <a:gd name="T8" fmla="*/ 801 w 2113"/>
              <a:gd name="T9" fmla="*/ 1259 h 1910"/>
              <a:gd name="T10" fmla="*/ 1079 w 2113"/>
              <a:gd name="T11" fmla="*/ 1190 h 1910"/>
              <a:gd name="T12" fmla="*/ 1187 w 2113"/>
              <a:gd name="T13" fmla="*/ 1223 h 1910"/>
              <a:gd name="T14" fmla="*/ 1187 w 2113"/>
              <a:gd name="T15" fmla="*/ 1223 h 1910"/>
              <a:gd name="T16" fmla="*/ 1195 w 2113"/>
              <a:gd name="T17" fmla="*/ 1277 h 1910"/>
              <a:gd name="T18" fmla="*/ 1187 w 2113"/>
              <a:gd name="T19" fmla="*/ 1332 h 1910"/>
              <a:gd name="T20" fmla="*/ 1583 w 2113"/>
              <a:gd name="T21" fmla="*/ 1826 h 1910"/>
              <a:gd name="T22" fmla="*/ 2107 w 2113"/>
              <a:gd name="T23" fmla="*/ 1381 h 1910"/>
              <a:gd name="T24" fmla="*/ 1683 w 2113"/>
              <a:gd name="T25" fmla="*/ 910 h 1910"/>
              <a:gd name="T26" fmla="*/ 1530 w 2113"/>
              <a:gd name="T27" fmla="*/ 924 h 1910"/>
              <a:gd name="T28" fmla="*/ 1401 w 2113"/>
              <a:gd name="T29" fmla="*/ 861 h 1910"/>
              <a:gd name="T30" fmla="*/ 1401 w 2113"/>
              <a:gd name="T31" fmla="*/ 861 h 1910"/>
              <a:gd name="T32" fmla="*/ 1395 w 2113"/>
              <a:gd name="T33" fmla="*/ 791 h 1910"/>
              <a:gd name="T34" fmla="*/ 1411 w 2113"/>
              <a:gd name="T35" fmla="*/ 692 h 1910"/>
              <a:gd name="T36" fmla="*/ 845 w 2113"/>
              <a:gd name="T37" fmla="*/ 27 h 1910"/>
              <a:gd name="T38" fmla="*/ 181 w 2113"/>
              <a:gd name="T39" fmla="*/ 594 h 1910"/>
              <a:gd name="T40" fmla="*/ 215 w 2113"/>
              <a:gd name="T41" fmla="*/ 850 h 1910"/>
              <a:gd name="T42" fmla="*/ 219 w 2113"/>
              <a:gd name="T43" fmla="*/ 1113 h 1910"/>
              <a:gd name="T44" fmla="*/ 219 w 2113"/>
              <a:gd name="T45" fmla="*/ 1115 h 1910"/>
              <a:gd name="T46" fmla="*/ 111 w 2113"/>
              <a:gd name="T47" fmla="*/ 1287 h 1910"/>
              <a:gd name="T48" fmla="*/ 6 w 2113"/>
              <a:gd name="T49" fmla="*/ 1552 h 1910"/>
              <a:gd name="T50" fmla="*/ 265 w 2113"/>
              <a:gd name="T51" fmla="*/ 1862 h 1910"/>
              <a:gd name="T52" fmla="*/ 681 w 2113"/>
              <a:gd name="T53" fmla="*/ 1560 h 1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13" h="1910">
                <a:moveTo>
                  <a:pt x="681" y="1560"/>
                </a:moveTo>
                <a:cubicBezTo>
                  <a:pt x="684" y="1518"/>
                  <a:pt x="680" y="1477"/>
                  <a:pt x="668" y="1439"/>
                </a:cubicBezTo>
                <a:cubicBezTo>
                  <a:pt x="654" y="1390"/>
                  <a:pt x="667" y="1338"/>
                  <a:pt x="702" y="1302"/>
                </a:cubicBezTo>
                <a:cubicBezTo>
                  <a:pt x="703" y="1301"/>
                  <a:pt x="703" y="1301"/>
                  <a:pt x="703" y="1301"/>
                </a:cubicBezTo>
                <a:cubicBezTo>
                  <a:pt x="729" y="1274"/>
                  <a:pt x="764" y="1259"/>
                  <a:pt x="801" y="1259"/>
                </a:cubicBezTo>
                <a:cubicBezTo>
                  <a:pt x="901" y="1258"/>
                  <a:pt x="996" y="1234"/>
                  <a:pt x="1079" y="1190"/>
                </a:cubicBezTo>
                <a:cubicBezTo>
                  <a:pt x="1118" y="1170"/>
                  <a:pt x="1166" y="1185"/>
                  <a:pt x="1187" y="1223"/>
                </a:cubicBezTo>
                <a:cubicBezTo>
                  <a:pt x="1187" y="1223"/>
                  <a:pt x="1187" y="1223"/>
                  <a:pt x="1187" y="1223"/>
                </a:cubicBezTo>
                <a:cubicBezTo>
                  <a:pt x="1196" y="1240"/>
                  <a:pt x="1198" y="1259"/>
                  <a:pt x="1195" y="1277"/>
                </a:cubicBezTo>
                <a:cubicBezTo>
                  <a:pt x="1191" y="1295"/>
                  <a:pt x="1188" y="1313"/>
                  <a:pt x="1187" y="1332"/>
                </a:cubicBezTo>
                <a:cubicBezTo>
                  <a:pt x="1167" y="1577"/>
                  <a:pt x="1343" y="1793"/>
                  <a:pt x="1583" y="1826"/>
                </a:cubicBezTo>
                <a:cubicBezTo>
                  <a:pt x="1855" y="1863"/>
                  <a:pt x="2100" y="1655"/>
                  <a:pt x="2107" y="1381"/>
                </a:cubicBezTo>
                <a:cubicBezTo>
                  <a:pt x="2113" y="1138"/>
                  <a:pt x="1929" y="930"/>
                  <a:pt x="1683" y="910"/>
                </a:cubicBezTo>
                <a:cubicBezTo>
                  <a:pt x="1630" y="906"/>
                  <a:pt x="1578" y="911"/>
                  <a:pt x="1530" y="924"/>
                </a:cubicBezTo>
                <a:cubicBezTo>
                  <a:pt x="1477" y="937"/>
                  <a:pt x="1422" y="911"/>
                  <a:pt x="1401" y="861"/>
                </a:cubicBezTo>
                <a:cubicBezTo>
                  <a:pt x="1401" y="861"/>
                  <a:pt x="1401" y="861"/>
                  <a:pt x="1401" y="861"/>
                </a:cubicBezTo>
                <a:cubicBezTo>
                  <a:pt x="1391" y="839"/>
                  <a:pt x="1389" y="814"/>
                  <a:pt x="1395" y="791"/>
                </a:cubicBezTo>
                <a:cubicBezTo>
                  <a:pt x="1403" y="759"/>
                  <a:pt x="1408" y="726"/>
                  <a:pt x="1411" y="692"/>
                </a:cubicBezTo>
                <a:cubicBezTo>
                  <a:pt x="1439" y="352"/>
                  <a:pt x="1185" y="54"/>
                  <a:pt x="845" y="27"/>
                </a:cubicBezTo>
                <a:cubicBezTo>
                  <a:pt x="506" y="0"/>
                  <a:pt x="208" y="255"/>
                  <a:pt x="181" y="594"/>
                </a:cubicBezTo>
                <a:cubicBezTo>
                  <a:pt x="174" y="684"/>
                  <a:pt x="187" y="770"/>
                  <a:pt x="215" y="850"/>
                </a:cubicBezTo>
                <a:cubicBezTo>
                  <a:pt x="246" y="935"/>
                  <a:pt x="247" y="1027"/>
                  <a:pt x="219" y="1113"/>
                </a:cubicBezTo>
                <a:cubicBezTo>
                  <a:pt x="219" y="1115"/>
                  <a:pt x="219" y="1115"/>
                  <a:pt x="219" y="1115"/>
                </a:cubicBezTo>
                <a:cubicBezTo>
                  <a:pt x="198" y="1181"/>
                  <a:pt x="161" y="1240"/>
                  <a:pt x="111" y="1287"/>
                </a:cubicBezTo>
                <a:cubicBezTo>
                  <a:pt x="42" y="1353"/>
                  <a:pt x="0" y="1447"/>
                  <a:pt x="6" y="1552"/>
                </a:cubicBezTo>
                <a:cubicBezTo>
                  <a:pt x="13" y="1691"/>
                  <a:pt x="130" y="1831"/>
                  <a:pt x="265" y="1862"/>
                </a:cubicBezTo>
                <a:cubicBezTo>
                  <a:pt x="472" y="1910"/>
                  <a:pt x="664" y="1763"/>
                  <a:pt x="681" y="15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83B9303D-45B4-0748-BA71-8D5687E60F1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3417731" y="1445900"/>
            <a:ext cx="9966329" cy="11041146"/>
          </a:xfrm>
          <a:custGeom>
            <a:avLst/>
            <a:gdLst>
              <a:gd name="connsiteX0" fmla="*/ 1749043 w 9966329"/>
              <a:gd name="connsiteY0" fmla="*/ 581 h 11041146"/>
              <a:gd name="connsiteX1" fmla="*/ 2987673 w 9966329"/>
              <a:gd name="connsiteY1" fmla="*/ 457000 h 11041146"/>
              <a:gd name="connsiteX2" fmla="*/ 3944579 w 9966329"/>
              <a:gd name="connsiteY2" fmla="*/ 954400 h 11041146"/>
              <a:gd name="connsiteX3" fmla="*/ 3959077 w 9966329"/>
              <a:gd name="connsiteY3" fmla="*/ 954400 h 11041146"/>
              <a:gd name="connsiteX4" fmla="*/ 5346111 w 9966329"/>
              <a:gd name="connsiteY4" fmla="*/ 819184 h 11041146"/>
              <a:gd name="connsiteX5" fmla="*/ 6679981 w 9966329"/>
              <a:gd name="connsiteY5" fmla="*/ 529437 h 11041146"/>
              <a:gd name="connsiteX6" fmla="*/ 9966329 w 9966329"/>
              <a:gd name="connsiteY6" fmla="*/ 3793927 h 11041146"/>
              <a:gd name="connsiteX7" fmla="*/ 6694479 w 9966329"/>
              <a:gd name="connsiteY7" fmla="*/ 7068076 h 11041146"/>
              <a:gd name="connsiteX8" fmla="*/ 6162865 w 9966329"/>
              <a:gd name="connsiteY8" fmla="*/ 7024614 h 11041146"/>
              <a:gd name="connsiteX9" fmla="*/ 5795567 w 9966329"/>
              <a:gd name="connsiteY9" fmla="*/ 7082563 h 11041146"/>
              <a:gd name="connsiteX10" fmla="*/ 5520093 w 9966329"/>
              <a:gd name="connsiteY10" fmla="*/ 7792445 h 11041146"/>
              <a:gd name="connsiteX11" fmla="*/ 5660247 w 9966329"/>
              <a:gd name="connsiteY11" fmla="*/ 8598909 h 11041146"/>
              <a:gd name="connsiteX12" fmla="*/ 3350137 w 9966329"/>
              <a:gd name="connsiteY12" fmla="*/ 11037619 h 11041146"/>
              <a:gd name="connsiteX13" fmla="*/ 774220 w 9966329"/>
              <a:gd name="connsiteY13" fmla="*/ 8463694 h 11041146"/>
              <a:gd name="connsiteX14" fmla="*/ 3214817 w 9966329"/>
              <a:gd name="connsiteY14" fmla="*/ 6155371 h 11041146"/>
              <a:gd name="connsiteX15" fmla="*/ 3509621 w 9966329"/>
              <a:gd name="connsiteY15" fmla="*/ 6174687 h 11041146"/>
              <a:gd name="connsiteX16" fmla="*/ 3789929 w 9966329"/>
              <a:gd name="connsiteY16" fmla="*/ 6107080 h 11041146"/>
              <a:gd name="connsiteX17" fmla="*/ 3920415 w 9966329"/>
              <a:gd name="connsiteY17" fmla="*/ 5527584 h 11041146"/>
              <a:gd name="connsiteX18" fmla="*/ 3437129 w 9966329"/>
              <a:gd name="connsiteY18" fmla="*/ 4093333 h 11041146"/>
              <a:gd name="connsiteX19" fmla="*/ 3171321 w 9966329"/>
              <a:gd name="connsiteY19" fmla="*/ 3591104 h 11041146"/>
              <a:gd name="connsiteX20" fmla="*/ 3166489 w 9966329"/>
              <a:gd name="connsiteY20" fmla="*/ 3586275 h 11041146"/>
              <a:gd name="connsiteX21" fmla="*/ 2427060 w 9966329"/>
              <a:gd name="connsiteY21" fmla="*/ 3465547 h 11041146"/>
              <a:gd name="connsiteX22" fmla="*/ 1793955 w 9966329"/>
              <a:gd name="connsiteY22" fmla="*/ 3581446 h 11041146"/>
              <a:gd name="connsiteX23" fmla="*/ 20293 w 9966329"/>
              <a:gd name="connsiteY23" fmla="*/ 1519408 h 11041146"/>
              <a:gd name="connsiteX24" fmla="*/ 1542646 w 9966329"/>
              <a:gd name="connsiteY24" fmla="*/ 17549 h 11041146"/>
              <a:gd name="connsiteX25" fmla="*/ 1749043 w 9966329"/>
              <a:gd name="connsiteY25" fmla="*/ 581 h 1104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9966329" h="11041146">
                <a:moveTo>
                  <a:pt x="1749043" y="581"/>
                </a:moveTo>
                <a:cubicBezTo>
                  <a:pt x="2225439" y="-11501"/>
                  <a:pt x="2662059" y="165441"/>
                  <a:pt x="2987673" y="457000"/>
                </a:cubicBezTo>
                <a:cubicBezTo>
                  <a:pt x="3263145" y="698456"/>
                  <a:pt x="3591781" y="872305"/>
                  <a:pt x="3944579" y="954400"/>
                </a:cubicBezTo>
                <a:cubicBezTo>
                  <a:pt x="3944579" y="954400"/>
                  <a:pt x="3944579" y="954400"/>
                  <a:pt x="3959077" y="954400"/>
                </a:cubicBezTo>
                <a:cubicBezTo>
                  <a:pt x="4423033" y="1060641"/>
                  <a:pt x="4911153" y="1017179"/>
                  <a:pt x="5346111" y="819184"/>
                </a:cubicBezTo>
                <a:cubicBezTo>
                  <a:pt x="5752071" y="635677"/>
                  <a:pt x="6206361" y="534266"/>
                  <a:pt x="6679981" y="529437"/>
                </a:cubicBezTo>
                <a:cubicBezTo>
                  <a:pt x="8487473" y="524607"/>
                  <a:pt x="9961497" y="1987833"/>
                  <a:pt x="9966329" y="3793927"/>
                </a:cubicBezTo>
                <a:cubicBezTo>
                  <a:pt x="9966329" y="5600021"/>
                  <a:pt x="8501971" y="7068076"/>
                  <a:pt x="6694479" y="7068076"/>
                </a:cubicBezTo>
                <a:cubicBezTo>
                  <a:pt x="6515663" y="7068076"/>
                  <a:pt x="6336847" y="7053589"/>
                  <a:pt x="6162865" y="7024614"/>
                </a:cubicBezTo>
                <a:cubicBezTo>
                  <a:pt x="6037209" y="7005297"/>
                  <a:pt x="5911555" y="7024614"/>
                  <a:pt x="5795567" y="7082563"/>
                </a:cubicBezTo>
                <a:cubicBezTo>
                  <a:pt x="5544257" y="7217779"/>
                  <a:pt x="5428269" y="7522014"/>
                  <a:pt x="5520093" y="7792445"/>
                </a:cubicBezTo>
                <a:cubicBezTo>
                  <a:pt x="5611917" y="8043560"/>
                  <a:pt x="5660247" y="8313991"/>
                  <a:pt x="5660247" y="8598909"/>
                </a:cubicBezTo>
                <a:cubicBezTo>
                  <a:pt x="5660247" y="9902774"/>
                  <a:pt x="4635679" y="10965182"/>
                  <a:pt x="3350137" y="11037619"/>
                </a:cubicBezTo>
                <a:cubicBezTo>
                  <a:pt x="1900278" y="11114885"/>
                  <a:pt x="696894" y="9912432"/>
                  <a:pt x="774220" y="8463694"/>
                </a:cubicBezTo>
                <a:cubicBezTo>
                  <a:pt x="846713" y="7179146"/>
                  <a:pt x="1909943" y="6155371"/>
                  <a:pt x="3214817" y="6155371"/>
                </a:cubicBezTo>
                <a:cubicBezTo>
                  <a:pt x="3316307" y="6155371"/>
                  <a:pt x="3412965" y="6165029"/>
                  <a:pt x="3509621" y="6174687"/>
                </a:cubicBezTo>
                <a:cubicBezTo>
                  <a:pt x="3611113" y="6189175"/>
                  <a:pt x="3707769" y="6165029"/>
                  <a:pt x="3789929" y="6107080"/>
                </a:cubicBezTo>
                <a:cubicBezTo>
                  <a:pt x="3983243" y="5981522"/>
                  <a:pt x="4041237" y="5725578"/>
                  <a:pt x="3920415" y="5527584"/>
                </a:cubicBezTo>
                <a:cubicBezTo>
                  <a:pt x="3654607" y="5102621"/>
                  <a:pt x="3485457" y="4614879"/>
                  <a:pt x="3437129" y="4093333"/>
                </a:cubicBezTo>
                <a:cubicBezTo>
                  <a:pt x="3417797" y="3895339"/>
                  <a:pt x="3325973" y="3716661"/>
                  <a:pt x="3171321" y="3591104"/>
                </a:cubicBezTo>
                <a:cubicBezTo>
                  <a:pt x="3171321" y="3591104"/>
                  <a:pt x="3171321" y="3591104"/>
                  <a:pt x="3166489" y="3586275"/>
                </a:cubicBezTo>
                <a:cubicBezTo>
                  <a:pt x="2963508" y="3417255"/>
                  <a:pt x="2678369" y="3368964"/>
                  <a:pt x="2427060" y="3465547"/>
                </a:cubicBezTo>
                <a:cubicBezTo>
                  <a:pt x="2228913" y="3542813"/>
                  <a:pt x="2016267" y="3581446"/>
                  <a:pt x="1793955" y="3581446"/>
                </a:cubicBezTo>
                <a:cubicBezTo>
                  <a:pt x="711393" y="3581446"/>
                  <a:pt x="-144024" y="2630107"/>
                  <a:pt x="20293" y="1519408"/>
                </a:cubicBezTo>
                <a:cubicBezTo>
                  <a:pt x="126616" y="795039"/>
                  <a:pt x="817716" y="114132"/>
                  <a:pt x="1542646" y="17549"/>
                </a:cubicBezTo>
                <a:cubicBezTo>
                  <a:pt x="1612119" y="7891"/>
                  <a:pt x="1680987" y="2307"/>
                  <a:pt x="1749043" y="581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74A2E02-1E04-0E48-A208-DDB6BA813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DC25016D-E43E-5147-A8BA-663159FCC8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18152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8">
            <a:extLst>
              <a:ext uri="{FF2B5EF4-FFF2-40B4-BE49-F238E27FC236}">
                <a16:creationId xmlns:a16="http://schemas.microsoft.com/office/drawing/2014/main" id="{3F8EFDF0-94AE-0544-B41D-8A2CE47FE1D2}"/>
              </a:ext>
            </a:extLst>
          </p:cNvPr>
          <p:cNvSpPr>
            <a:spLocks noGrp="1" noEditPoints="1"/>
          </p:cNvSpPr>
          <p:nvPr>
            <p:ph type="pic" sz="quarter" idx="37"/>
          </p:nvPr>
        </p:nvSpPr>
        <p:spPr bwMode="auto">
          <a:xfrm>
            <a:off x="600299" y="1242170"/>
            <a:ext cx="22970552" cy="6984776"/>
          </a:xfrm>
          <a:custGeom>
            <a:avLst/>
            <a:gdLst>
              <a:gd name="T0" fmla="*/ 16906 w 29062"/>
              <a:gd name="T1" fmla="*/ 10937 h 11031"/>
              <a:gd name="T2" fmla="*/ 18437 w 29062"/>
              <a:gd name="T3" fmla="*/ 10906 h 11031"/>
              <a:gd name="T4" fmla="*/ 5656 w 29062"/>
              <a:gd name="T5" fmla="*/ 625 h 11031"/>
              <a:gd name="T6" fmla="*/ 6344 w 29062"/>
              <a:gd name="T7" fmla="*/ 281 h 11031"/>
              <a:gd name="T8" fmla="*/ 28531 w 29062"/>
              <a:gd name="T9" fmla="*/ 7125 h 11031"/>
              <a:gd name="T10" fmla="*/ 28594 w 29062"/>
              <a:gd name="T11" fmla="*/ 7156 h 11031"/>
              <a:gd name="T12" fmla="*/ 437 w 29062"/>
              <a:gd name="T13" fmla="*/ 2656 h 11031"/>
              <a:gd name="T14" fmla="*/ 2219 w 29062"/>
              <a:gd name="T15" fmla="*/ 3187 h 11031"/>
              <a:gd name="T16" fmla="*/ 1312 w 29062"/>
              <a:gd name="T17" fmla="*/ 3656 h 11031"/>
              <a:gd name="T18" fmla="*/ 5906 w 29062"/>
              <a:gd name="T19" fmla="*/ 4062 h 11031"/>
              <a:gd name="T20" fmla="*/ 4719 w 29062"/>
              <a:gd name="T21" fmla="*/ 5344 h 11031"/>
              <a:gd name="T22" fmla="*/ 5250 w 29062"/>
              <a:gd name="T23" fmla="*/ 6500 h 11031"/>
              <a:gd name="T24" fmla="*/ 6187 w 29062"/>
              <a:gd name="T25" fmla="*/ 6969 h 11031"/>
              <a:gd name="T26" fmla="*/ 4656 w 29062"/>
              <a:gd name="T27" fmla="*/ 7687 h 11031"/>
              <a:gd name="T28" fmla="*/ 6031 w 29062"/>
              <a:gd name="T29" fmla="*/ 7719 h 11031"/>
              <a:gd name="T30" fmla="*/ 4906 w 29062"/>
              <a:gd name="T31" fmla="*/ 7812 h 11031"/>
              <a:gd name="T32" fmla="*/ 4656 w 29062"/>
              <a:gd name="T33" fmla="*/ 8094 h 11031"/>
              <a:gd name="T34" fmla="*/ 7750 w 29062"/>
              <a:gd name="T35" fmla="*/ 8687 h 11031"/>
              <a:gd name="T36" fmla="*/ 8531 w 29062"/>
              <a:gd name="T37" fmla="*/ 9125 h 11031"/>
              <a:gd name="T38" fmla="*/ 8875 w 29062"/>
              <a:gd name="T39" fmla="*/ 10312 h 11031"/>
              <a:gd name="T40" fmla="*/ 15000 w 29062"/>
              <a:gd name="T41" fmla="*/ 10625 h 11031"/>
              <a:gd name="T42" fmla="*/ 9969 w 29062"/>
              <a:gd name="T43" fmla="*/ 10125 h 11031"/>
              <a:gd name="T44" fmla="*/ 12469 w 29062"/>
              <a:gd name="T45" fmla="*/ 10094 h 11031"/>
              <a:gd name="T46" fmla="*/ 16500 w 29062"/>
              <a:gd name="T47" fmla="*/ 10094 h 11031"/>
              <a:gd name="T48" fmla="*/ 15656 w 29062"/>
              <a:gd name="T49" fmla="*/ 9406 h 11031"/>
              <a:gd name="T50" fmla="*/ 19094 w 29062"/>
              <a:gd name="T51" fmla="*/ 9406 h 11031"/>
              <a:gd name="T52" fmla="*/ 19031 w 29062"/>
              <a:gd name="T53" fmla="*/ 9375 h 11031"/>
              <a:gd name="T54" fmla="*/ 19656 w 29062"/>
              <a:gd name="T55" fmla="*/ 9437 h 11031"/>
              <a:gd name="T56" fmla="*/ 25156 w 29062"/>
              <a:gd name="T57" fmla="*/ 9094 h 11031"/>
              <a:gd name="T58" fmla="*/ 26344 w 29062"/>
              <a:gd name="T59" fmla="*/ 9062 h 11031"/>
              <a:gd name="T60" fmla="*/ 28594 w 29062"/>
              <a:gd name="T61" fmla="*/ 8406 h 11031"/>
              <a:gd name="T62" fmla="*/ 29062 w 29062"/>
              <a:gd name="T63" fmla="*/ 7312 h 11031"/>
              <a:gd name="T64" fmla="*/ 27906 w 29062"/>
              <a:gd name="T65" fmla="*/ 6531 h 11031"/>
              <a:gd name="T66" fmla="*/ 27062 w 29062"/>
              <a:gd name="T67" fmla="*/ 6312 h 11031"/>
              <a:gd name="T68" fmla="*/ 28156 w 29062"/>
              <a:gd name="T69" fmla="*/ 5594 h 11031"/>
              <a:gd name="T70" fmla="*/ 28312 w 29062"/>
              <a:gd name="T71" fmla="*/ 4781 h 11031"/>
              <a:gd name="T72" fmla="*/ 28437 w 29062"/>
              <a:gd name="T73" fmla="*/ 4281 h 11031"/>
              <a:gd name="T74" fmla="*/ 26500 w 29062"/>
              <a:gd name="T75" fmla="*/ 3719 h 11031"/>
              <a:gd name="T76" fmla="*/ 25687 w 29062"/>
              <a:gd name="T77" fmla="*/ 2344 h 11031"/>
              <a:gd name="T78" fmla="*/ 21187 w 29062"/>
              <a:gd name="T79" fmla="*/ 1625 h 11031"/>
              <a:gd name="T80" fmla="*/ 17906 w 29062"/>
              <a:gd name="T81" fmla="*/ 625 h 11031"/>
              <a:gd name="T82" fmla="*/ 17594 w 29062"/>
              <a:gd name="T83" fmla="*/ 500 h 11031"/>
              <a:gd name="T84" fmla="*/ 4906 w 29062"/>
              <a:gd name="T85" fmla="*/ 875 h 11031"/>
              <a:gd name="T86" fmla="*/ 5250 w 29062"/>
              <a:gd name="T87" fmla="*/ 1375 h 11031"/>
              <a:gd name="T88" fmla="*/ 4969 w 29062"/>
              <a:gd name="T89" fmla="*/ 1687 h 11031"/>
              <a:gd name="T90" fmla="*/ 1219 w 29062"/>
              <a:gd name="T91" fmla="*/ 2312 h 11031"/>
              <a:gd name="T92" fmla="*/ 12875 w 29062"/>
              <a:gd name="T93" fmla="*/ 10750 h 11031"/>
              <a:gd name="T94" fmla="*/ 14187 w 29062"/>
              <a:gd name="T95" fmla="*/ 11000 h 11031"/>
              <a:gd name="T96" fmla="*/ 10469 w 29062"/>
              <a:gd name="T97" fmla="*/ 10000 h 11031"/>
              <a:gd name="T98" fmla="*/ 15594 w 29062"/>
              <a:gd name="T99" fmla="*/ 10406 h 11031"/>
              <a:gd name="T100" fmla="*/ 15750 w 29062"/>
              <a:gd name="T101" fmla="*/ 10937 h 11031"/>
              <a:gd name="T102" fmla="*/ 27281 w 29062"/>
              <a:gd name="T103" fmla="*/ 10156 h 11031"/>
              <a:gd name="T104" fmla="*/ 26687 w 29062"/>
              <a:gd name="T105" fmla="*/ 9937 h 11031"/>
              <a:gd name="T106" fmla="*/ 25125 w 29062"/>
              <a:gd name="T107" fmla="*/ 9844 h 11031"/>
              <a:gd name="T108" fmla="*/ 23594 w 29062"/>
              <a:gd name="T109" fmla="*/ 9937 h 11031"/>
              <a:gd name="T110" fmla="*/ 23625 w 29062"/>
              <a:gd name="T111" fmla="*/ 9906 h 11031"/>
              <a:gd name="T112" fmla="*/ 21906 w 29062"/>
              <a:gd name="T113" fmla="*/ 9719 h 11031"/>
              <a:gd name="T114" fmla="*/ 18937 w 29062"/>
              <a:gd name="T115" fmla="*/ 9750 h 11031"/>
              <a:gd name="T116" fmla="*/ 20594 w 29062"/>
              <a:gd name="T117" fmla="*/ 10062 h 11031"/>
              <a:gd name="T118" fmla="*/ 16312 w 29062"/>
              <a:gd name="T119" fmla="*/ 10562 h 11031"/>
              <a:gd name="T120" fmla="*/ 22469 w 29062"/>
              <a:gd name="T121" fmla="*/ 10656 h 110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9062" h="11031">
                <a:moveTo>
                  <a:pt x="18375" y="406"/>
                </a:moveTo>
                <a:cubicBezTo>
                  <a:pt x="18500" y="406"/>
                  <a:pt x="18625" y="437"/>
                  <a:pt x="18719" y="437"/>
                </a:cubicBezTo>
                <a:cubicBezTo>
                  <a:pt x="18750" y="437"/>
                  <a:pt x="18781" y="437"/>
                  <a:pt x="18812" y="437"/>
                </a:cubicBezTo>
                <a:cubicBezTo>
                  <a:pt x="18844" y="437"/>
                  <a:pt x="18875" y="437"/>
                  <a:pt x="18906" y="406"/>
                </a:cubicBezTo>
                <a:cubicBezTo>
                  <a:pt x="18906" y="406"/>
                  <a:pt x="18906" y="406"/>
                  <a:pt x="18906" y="406"/>
                </a:cubicBezTo>
                <a:cubicBezTo>
                  <a:pt x="18906" y="375"/>
                  <a:pt x="18906" y="375"/>
                  <a:pt x="18875" y="375"/>
                </a:cubicBezTo>
                <a:cubicBezTo>
                  <a:pt x="18875" y="344"/>
                  <a:pt x="18844" y="344"/>
                  <a:pt x="18812" y="312"/>
                </a:cubicBezTo>
                <a:cubicBezTo>
                  <a:pt x="18812" y="312"/>
                  <a:pt x="18812" y="312"/>
                  <a:pt x="18781" y="312"/>
                </a:cubicBezTo>
                <a:cubicBezTo>
                  <a:pt x="18719" y="250"/>
                  <a:pt x="18625" y="219"/>
                  <a:pt x="18531" y="187"/>
                </a:cubicBezTo>
                <a:cubicBezTo>
                  <a:pt x="18406" y="156"/>
                  <a:pt x="18312" y="156"/>
                  <a:pt x="18187" y="156"/>
                </a:cubicBezTo>
                <a:cubicBezTo>
                  <a:pt x="17969" y="125"/>
                  <a:pt x="17750" y="94"/>
                  <a:pt x="17531" y="62"/>
                </a:cubicBezTo>
                <a:cubicBezTo>
                  <a:pt x="17469" y="31"/>
                  <a:pt x="17375" y="31"/>
                  <a:pt x="17375" y="62"/>
                </a:cubicBezTo>
                <a:cubicBezTo>
                  <a:pt x="17344" y="125"/>
                  <a:pt x="17469" y="94"/>
                  <a:pt x="17437" y="187"/>
                </a:cubicBezTo>
                <a:cubicBezTo>
                  <a:pt x="17375" y="219"/>
                  <a:pt x="17281" y="187"/>
                  <a:pt x="17187" y="187"/>
                </a:cubicBezTo>
                <a:cubicBezTo>
                  <a:pt x="17156" y="187"/>
                  <a:pt x="17094" y="187"/>
                  <a:pt x="17062" y="187"/>
                </a:cubicBezTo>
                <a:cubicBezTo>
                  <a:pt x="17000" y="187"/>
                  <a:pt x="16969" y="219"/>
                  <a:pt x="16906" y="250"/>
                </a:cubicBezTo>
                <a:cubicBezTo>
                  <a:pt x="17312" y="312"/>
                  <a:pt x="17656" y="344"/>
                  <a:pt x="18031" y="375"/>
                </a:cubicBezTo>
                <a:cubicBezTo>
                  <a:pt x="18156" y="375"/>
                  <a:pt x="18250" y="406"/>
                  <a:pt x="18375" y="406"/>
                </a:cubicBezTo>
                <a:close/>
                <a:moveTo>
                  <a:pt x="17500" y="10906"/>
                </a:moveTo>
                <a:cubicBezTo>
                  <a:pt x="17406" y="10906"/>
                  <a:pt x="17344" y="10906"/>
                  <a:pt x="17281" y="10937"/>
                </a:cubicBezTo>
                <a:cubicBezTo>
                  <a:pt x="17250" y="10937"/>
                  <a:pt x="17219" y="10906"/>
                  <a:pt x="17219" y="10906"/>
                </a:cubicBezTo>
                <a:cubicBezTo>
                  <a:pt x="17094" y="10906"/>
                  <a:pt x="17000" y="10937"/>
                  <a:pt x="16906" y="10937"/>
                </a:cubicBezTo>
                <a:cubicBezTo>
                  <a:pt x="16906" y="10937"/>
                  <a:pt x="16906" y="10937"/>
                  <a:pt x="16906" y="10937"/>
                </a:cubicBezTo>
                <a:cubicBezTo>
                  <a:pt x="16844" y="10906"/>
                  <a:pt x="16781" y="10906"/>
                  <a:pt x="16719" y="10906"/>
                </a:cubicBezTo>
                <a:cubicBezTo>
                  <a:pt x="16687" y="10906"/>
                  <a:pt x="16625" y="10906"/>
                  <a:pt x="16594" y="10937"/>
                </a:cubicBezTo>
                <a:cubicBezTo>
                  <a:pt x="16406" y="10875"/>
                  <a:pt x="16219" y="10937"/>
                  <a:pt x="16062" y="10969"/>
                </a:cubicBezTo>
                <a:cubicBezTo>
                  <a:pt x="16031" y="11000"/>
                  <a:pt x="16031" y="11000"/>
                  <a:pt x="16000" y="11000"/>
                </a:cubicBezTo>
                <a:cubicBezTo>
                  <a:pt x="16094" y="11000"/>
                  <a:pt x="16187" y="11000"/>
                  <a:pt x="16281" y="11000"/>
                </a:cubicBezTo>
                <a:cubicBezTo>
                  <a:pt x="16375" y="11031"/>
                  <a:pt x="16469" y="11031"/>
                  <a:pt x="16562" y="10969"/>
                </a:cubicBezTo>
                <a:cubicBezTo>
                  <a:pt x="16594" y="11000"/>
                  <a:pt x="16625" y="11000"/>
                  <a:pt x="16656" y="11000"/>
                </a:cubicBezTo>
                <a:cubicBezTo>
                  <a:pt x="16719" y="11000"/>
                  <a:pt x="16750" y="11000"/>
                  <a:pt x="16812" y="11000"/>
                </a:cubicBezTo>
                <a:cubicBezTo>
                  <a:pt x="16844" y="11000"/>
                  <a:pt x="16875" y="10969"/>
                  <a:pt x="16906" y="10969"/>
                </a:cubicBezTo>
                <a:cubicBezTo>
                  <a:pt x="17000" y="11000"/>
                  <a:pt x="17094" y="11000"/>
                  <a:pt x="17187" y="11000"/>
                </a:cubicBezTo>
                <a:cubicBezTo>
                  <a:pt x="17219" y="11000"/>
                  <a:pt x="17250" y="11000"/>
                  <a:pt x="17281" y="10969"/>
                </a:cubicBezTo>
                <a:cubicBezTo>
                  <a:pt x="17312" y="10969"/>
                  <a:pt x="17344" y="10969"/>
                  <a:pt x="17375" y="11000"/>
                </a:cubicBezTo>
                <a:cubicBezTo>
                  <a:pt x="17594" y="11000"/>
                  <a:pt x="17781" y="11000"/>
                  <a:pt x="18000" y="10969"/>
                </a:cubicBezTo>
                <a:cubicBezTo>
                  <a:pt x="18031" y="10969"/>
                  <a:pt x="18062" y="10937"/>
                  <a:pt x="18094" y="10937"/>
                </a:cubicBezTo>
                <a:cubicBezTo>
                  <a:pt x="17906" y="10906"/>
                  <a:pt x="17687" y="10875"/>
                  <a:pt x="17500" y="10906"/>
                </a:cubicBezTo>
                <a:close/>
                <a:moveTo>
                  <a:pt x="19625" y="10937"/>
                </a:moveTo>
                <a:cubicBezTo>
                  <a:pt x="19437" y="10875"/>
                  <a:pt x="19250" y="10875"/>
                  <a:pt x="19062" y="10875"/>
                </a:cubicBezTo>
                <a:cubicBezTo>
                  <a:pt x="19031" y="10875"/>
                  <a:pt x="18969" y="10875"/>
                  <a:pt x="18937" y="10875"/>
                </a:cubicBezTo>
                <a:cubicBezTo>
                  <a:pt x="18844" y="10875"/>
                  <a:pt x="18750" y="10875"/>
                  <a:pt x="18656" y="10875"/>
                </a:cubicBezTo>
                <a:cubicBezTo>
                  <a:pt x="18594" y="10875"/>
                  <a:pt x="18562" y="10875"/>
                  <a:pt x="18500" y="10875"/>
                </a:cubicBezTo>
                <a:cubicBezTo>
                  <a:pt x="18469" y="10875"/>
                  <a:pt x="18437" y="10875"/>
                  <a:pt x="18437" y="10906"/>
                </a:cubicBezTo>
                <a:cubicBezTo>
                  <a:pt x="18437" y="10906"/>
                  <a:pt x="18437" y="10906"/>
                  <a:pt x="18437" y="10906"/>
                </a:cubicBezTo>
                <a:cubicBezTo>
                  <a:pt x="18437" y="10937"/>
                  <a:pt x="18437" y="10937"/>
                  <a:pt x="18469" y="10969"/>
                </a:cubicBezTo>
                <a:cubicBezTo>
                  <a:pt x="18469" y="10969"/>
                  <a:pt x="18500" y="11000"/>
                  <a:pt x="18500" y="10969"/>
                </a:cubicBezTo>
                <a:cubicBezTo>
                  <a:pt x="18687" y="10969"/>
                  <a:pt x="18875" y="10969"/>
                  <a:pt x="19062" y="10969"/>
                </a:cubicBezTo>
                <a:cubicBezTo>
                  <a:pt x="19250" y="10969"/>
                  <a:pt x="19437" y="10969"/>
                  <a:pt x="19625" y="10937"/>
                </a:cubicBezTo>
                <a:cubicBezTo>
                  <a:pt x="19625" y="10937"/>
                  <a:pt x="19625" y="10937"/>
                  <a:pt x="19625" y="10937"/>
                </a:cubicBezTo>
                <a:close/>
                <a:moveTo>
                  <a:pt x="19719" y="10937"/>
                </a:moveTo>
                <a:cubicBezTo>
                  <a:pt x="19719" y="10937"/>
                  <a:pt x="19719" y="10937"/>
                  <a:pt x="19719" y="10937"/>
                </a:cubicBezTo>
                <a:cubicBezTo>
                  <a:pt x="19719" y="10937"/>
                  <a:pt x="19719" y="10937"/>
                  <a:pt x="19719" y="10937"/>
                </a:cubicBezTo>
                <a:cubicBezTo>
                  <a:pt x="19750" y="10937"/>
                  <a:pt x="19781" y="10937"/>
                  <a:pt x="19812" y="10906"/>
                </a:cubicBezTo>
                <a:cubicBezTo>
                  <a:pt x="19812" y="10906"/>
                  <a:pt x="19812" y="10906"/>
                  <a:pt x="19812" y="10906"/>
                </a:cubicBezTo>
                <a:cubicBezTo>
                  <a:pt x="19812" y="10906"/>
                  <a:pt x="19812" y="10875"/>
                  <a:pt x="19812" y="10875"/>
                </a:cubicBezTo>
                <a:cubicBezTo>
                  <a:pt x="19781" y="10875"/>
                  <a:pt x="19750" y="10875"/>
                  <a:pt x="19719" y="10875"/>
                </a:cubicBezTo>
                <a:cubicBezTo>
                  <a:pt x="19719" y="10906"/>
                  <a:pt x="19719" y="10906"/>
                  <a:pt x="19719" y="10937"/>
                </a:cubicBezTo>
                <a:close/>
                <a:moveTo>
                  <a:pt x="5219" y="656"/>
                </a:moveTo>
                <a:cubicBezTo>
                  <a:pt x="5250" y="656"/>
                  <a:pt x="5250" y="625"/>
                  <a:pt x="5281" y="625"/>
                </a:cubicBezTo>
                <a:cubicBezTo>
                  <a:pt x="5281" y="625"/>
                  <a:pt x="5312" y="594"/>
                  <a:pt x="5312" y="594"/>
                </a:cubicBezTo>
                <a:cubicBezTo>
                  <a:pt x="5344" y="625"/>
                  <a:pt x="5406" y="625"/>
                  <a:pt x="5437" y="625"/>
                </a:cubicBezTo>
                <a:cubicBezTo>
                  <a:pt x="5469" y="625"/>
                  <a:pt x="5469" y="625"/>
                  <a:pt x="5500" y="625"/>
                </a:cubicBezTo>
                <a:cubicBezTo>
                  <a:pt x="5500" y="625"/>
                  <a:pt x="5531" y="625"/>
                  <a:pt x="5562" y="625"/>
                </a:cubicBezTo>
                <a:cubicBezTo>
                  <a:pt x="5594" y="625"/>
                  <a:pt x="5594" y="625"/>
                  <a:pt x="5625" y="625"/>
                </a:cubicBezTo>
                <a:cubicBezTo>
                  <a:pt x="5656" y="625"/>
                  <a:pt x="5656" y="656"/>
                  <a:pt x="5656" y="625"/>
                </a:cubicBezTo>
                <a:cubicBezTo>
                  <a:pt x="5687" y="625"/>
                  <a:pt x="5719" y="625"/>
                  <a:pt x="5750" y="625"/>
                </a:cubicBezTo>
                <a:cubicBezTo>
                  <a:pt x="5781" y="625"/>
                  <a:pt x="5781" y="625"/>
                  <a:pt x="5781" y="625"/>
                </a:cubicBezTo>
                <a:cubicBezTo>
                  <a:pt x="5812" y="625"/>
                  <a:pt x="5844" y="625"/>
                  <a:pt x="5875" y="625"/>
                </a:cubicBezTo>
                <a:cubicBezTo>
                  <a:pt x="5875" y="625"/>
                  <a:pt x="5875" y="625"/>
                  <a:pt x="5875" y="625"/>
                </a:cubicBezTo>
                <a:cubicBezTo>
                  <a:pt x="5937" y="594"/>
                  <a:pt x="5969" y="594"/>
                  <a:pt x="6000" y="594"/>
                </a:cubicBezTo>
                <a:cubicBezTo>
                  <a:pt x="6000" y="594"/>
                  <a:pt x="6000" y="594"/>
                  <a:pt x="6000" y="594"/>
                </a:cubicBezTo>
                <a:cubicBezTo>
                  <a:pt x="6062" y="562"/>
                  <a:pt x="6125" y="531"/>
                  <a:pt x="6219" y="500"/>
                </a:cubicBezTo>
                <a:cubicBezTo>
                  <a:pt x="6250" y="531"/>
                  <a:pt x="6312" y="500"/>
                  <a:pt x="6344" y="500"/>
                </a:cubicBezTo>
                <a:cubicBezTo>
                  <a:pt x="6375" y="500"/>
                  <a:pt x="6406" y="531"/>
                  <a:pt x="6406" y="531"/>
                </a:cubicBezTo>
                <a:cubicBezTo>
                  <a:pt x="6719" y="500"/>
                  <a:pt x="7031" y="437"/>
                  <a:pt x="7375" y="406"/>
                </a:cubicBezTo>
                <a:cubicBezTo>
                  <a:pt x="7531" y="375"/>
                  <a:pt x="7781" y="437"/>
                  <a:pt x="7937" y="250"/>
                </a:cubicBezTo>
                <a:cubicBezTo>
                  <a:pt x="7594" y="250"/>
                  <a:pt x="7250" y="281"/>
                  <a:pt x="6937" y="312"/>
                </a:cubicBezTo>
                <a:cubicBezTo>
                  <a:pt x="6844" y="344"/>
                  <a:pt x="6781" y="344"/>
                  <a:pt x="6687" y="375"/>
                </a:cubicBezTo>
                <a:cubicBezTo>
                  <a:pt x="6562" y="375"/>
                  <a:pt x="6469" y="406"/>
                  <a:pt x="6344" y="406"/>
                </a:cubicBezTo>
                <a:cubicBezTo>
                  <a:pt x="6344" y="437"/>
                  <a:pt x="6312" y="437"/>
                  <a:pt x="6312" y="437"/>
                </a:cubicBezTo>
                <a:cubicBezTo>
                  <a:pt x="6281" y="406"/>
                  <a:pt x="6281" y="375"/>
                  <a:pt x="6312" y="344"/>
                </a:cubicBezTo>
                <a:cubicBezTo>
                  <a:pt x="6312" y="344"/>
                  <a:pt x="6312" y="344"/>
                  <a:pt x="6344" y="344"/>
                </a:cubicBezTo>
                <a:cubicBezTo>
                  <a:pt x="6375" y="312"/>
                  <a:pt x="6437" y="312"/>
                  <a:pt x="6469" y="312"/>
                </a:cubicBezTo>
                <a:cubicBezTo>
                  <a:pt x="6500" y="312"/>
                  <a:pt x="6500" y="312"/>
                  <a:pt x="6500" y="312"/>
                </a:cubicBezTo>
                <a:cubicBezTo>
                  <a:pt x="6531" y="312"/>
                  <a:pt x="6562" y="312"/>
                  <a:pt x="6562" y="281"/>
                </a:cubicBezTo>
                <a:cubicBezTo>
                  <a:pt x="6594" y="281"/>
                  <a:pt x="6594" y="281"/>
                  <a:pt x="6594" y="250"/>
                </a:cubicBezTo>
                <a:cubicBezTo>
                  <a:pt x="6500" y="250"/>
                  <a:pt x="6406" y="250"/>
                  <a:pt x="6344" y="281"/>
                </a:cubicBezTo>
                <a:cubicBezTo>
                  <a:pt x="6312" y="281"/>
                  <a:pt x="6281" y="281"/>
                  <a:pt x="6250" y="312"/>
                </a:cubicBezTo>
                <a:cubicBezTo>
                  <a:pt x="6219" y="312"/>
                  <a:pt x="6219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87" y="312"/>
                  <a:pt x="6187" y="312"/>
                  <a:pt x="6187" y="312"/>
                </a:cubicBezTo>
                <a:cubicBezTo>
                  <a:pt x="6125" y="312"/>
                  <a:pt x="6031" y="312"/>
                  <a:pt x="5969" y="312"/>
                </a:cubicBezTo>
                <a:cubicBezTo>
                  <a:pt x="5719" y="312"/>
                  <a:pt x="5500" y="375"/>
                  <a:pt x="5250" y="375"/>
                </a:cubicBezTo>
                <a:cubicBezTo>
                  <a:pt x="5094" y="406"/>
                  <a:pt x="5031" y="562"/>
                  <a:pt x="5062" y="625"/>
                </a:cubicBezTo>
                <a:cubicBezTo>
                  <a:pt x="5094" y="687"/>
                  <a:pt x="5156" y="687"/>
                  <a:pt x="5219" y="656"/>
                </a:cubicBezTo>
                <a:close/>
                <a:moveTo>
                  <a:pt x="23250" y="1469"/>
                </a:moveTo>
                <a:cubicBezTo>
                  <a:pt x="23281" y="1406"/>
                  <a:pt x="23312" y="1344"/>
                  <a:pt x="23344" y="1281"/>
                </a:cubicBezTo>
                <a:cubicBezTo>
                  <a:pt x="23344" y="1250"/>
                  <a:pt x="23375" y="1187"/>
                  <a:pt x="23375" y="1156"/>
                </a:cubicBezTo>
                <a:cubicBezTo>
                  <a:pt x="23375" y="1094"/>
                  <a:pt x="23344" y="1062"/>
                  <a:pt x="23344" y="1000"/>
                </a:cubicBezTo>
                <a:cubicBezTo>
                  <a:pt x="23344" y="969"/>
                  <a:pt x="23312" y="937"/>
                  <a:pt x="23312" y="906"/>
                </a:cubicBezTo>
                <a:cubicBezTo>
                  <a:pt x="23219" y="1094"/>
                  <a:pt x="23156" y="1250"/>
                  <a:pt x="23219" y="1406"/>
                </a:cubicBezTo>
                <a:cubicBezTo>
                  <a:pt x="23219" y="1406"/>
                  <a:pt x="23250" y="1437"/>
                  <a:pt x="23250" y="1469"/>
                </a:cubicBezTo>
                <a:close/>
                <a:moveTo>
                  <a:pt x="28594" y="7156"/>
                </a:move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56"/>
                </a:cubicBezTo>
                <a:cubicBezTo>
                  <a:pt x="28562" y="7156"/>
                  <a:pt x="28562" y="7156"/>
                  <a:pt x="28562" y="7125"/>
                </a:cubicBezTo>
                <a:cubicBezTo>
                  <a:pt x="28562" y="7125"/>
                  <a:pt x="28562" y="7125"/>
                  <a:pt x="28562" y="7125"/>
                </a:cubicBezTo>
                <a:cubicBezTo>
                  <a:pt x="28562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31" y="7125"/>
                  <a:pt x="28531" y="7125"/>
                  <a:pt x="28531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500" y="7125"/>
                  <a:pt x="28500" y="7125"/>
                </a:cubicBezTo>
                <a:cubicBezTo>
                  <a:pt x="28500" y="7125"/>
                  <a:pt x="28469" y="7125"/>
                  <a:pt x="28469" y="7125"/>
                </a:cubicBezTo>
                <a:cubicBezTo>
                  <a:pt x="28469" y="7125"/>
                  <a:pt x="28437" y="7156"/>
                  <a:pt x="28437" y="7156"/>
                </a:cubicBezTo>
                <a:cubicBezTo>
                  <a:pt x="28437" y="7156"/>
                  <a:pt x="28437" y="7156"/>
                  <a:pt x="28469" y="7156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469" y="7187"/>
                  <a:pt x="28469" y="7187"/>
                </a:cubicBezTo>
                <a:cubicBezTo>
                  <a:pt x="28469" y="7187"/>
                  <a:pt x="28500" y="7187"/>
                  <a:pt x="28500" y="7187"/>
                </a:cubicBezTo>
                <a:cubicBezTo>
                  <a:pt x="28500" y="7187"/>
                  <a:pt x="28500" y="7187"/>
                  <a:pt x="28500" y="7187"/>
                </a:cubicBezTo>
                <a:cubicBezTo>
                  <a:pt x="28500" y="7187"/>
                  <a:pt x="28531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62" y="7187"/>
                </a:cubicBezTo>
                <a:cubicBezTo>
                  <a:pt x="28562" y="7187"/>
                  <a:pt x="28562" y="7187"/>
                  <a:pt x="28594" y="7187"/>
                </a:cubicBezTo>
                <a:cubicBezTo>
                  <a:pt x="28594" y="7187"/>
                  <a:pt x="28594" y="7187"/>
                  <a:pt x="28625" y="7187"/>
                </a:cubicBezTo>
                <a:lnTo>
                  <a:pt x="28625" y="7187"/>
                </a:lnTo>
                <a:cubicBezTo>
                  <a:pt x="28625" y="7156"/>
                  <a:pt x="28625" y="7156"/>
                  <a:pt x="28625" y="7156"/>
                </a:cubicBezTo>
                <a:cubicBezTo>
                  <a:pt x="28625" y="7156"/>
                  <a:pt x="28656" y="7156"/>
                  <a:pt x="28656" y="7156"/>
                </a:cubicBezTo>
                <a:cubicBezTo>
                  <a:pt x="28656" y="7187"/>
                  <a:pt x="28625" y="7187"/>
                  <a:pt x="28594" y="7187"/>
                </a:cubicBezTo>
                <a:cubicBezTo>
                  <a:pt x="28594" y="7156"/>
                  <a:pt x="28594" y="7156"/>
                  <a:pt x="28594" y="7156"/>
                </a:cubicBezTo>
                <a:close/>
                <a:moveTo>
                  <a:pt x="11531" y="156"/>
                </a:moveTo>
                <a:cubicBezTo>
                  <a:pt x="11562" y="187"/>
                  <a:pt x="11625" y="187"/>
                  <a:pt x="11656" y="187"/>
                </a:cubicBezTo>
                <a:cubicBezTo>
                  <a:pt x="11719" y="187"/>
                  <a:pt x="11781" y="187"/>
                  <a:pt x="11844" y="187"/>
                </a:cubicBezTo>
                <a:cubicBezTo>
                  <a:pt x="11844" y="187"/>
                  <a:pt x="11844" y="187"/>
                  <a:pt x="11844" y="187"/>
                </a:cubicBezTo>
                <a:cubicBezTo>
                  <a:pt x="11875" y="187"/>
                  <a:pt x="11937" y="187"/>
                  <a:pt x="11969" y="187"/>
                </a:cubicBezTo>
                <a:cubicBezTo>
                  <a:pt x="11844" y="0"/>
                  <a:pt x="11656" y="156"/>
                  <a:pt x="11500" y="94"/>
                </a:cubicBezTo>
                <a:cubicBezTo>
                  <a:pt x="11500" y="94"/>
                  <a:pt x="11500" y="125"/>
                  <a:pt x="11531" y="125"/>
                </a:cubicBezTo>
                <a:cubicBezTo>
                  <a:pt x="11531" y="156"/>
                  <a:pt x="11531" y="156"/>
                  <a:pt x="11531" y="156"/>
                </a:cubicBezTo>
                <a:close/>
                <a:moveTo>
                  <a:pt x="2406" y="1812"/>
                </a:moveTo>
                <a:cubicBezTo>
                  <a:pt x="2406" y="1812"/>
                  <a:pt x="2406" y="1812"/>
                  <a:pt x="2406" y="1812"/>
                </a:cubicBezTo>
                <a:cubicBezTo>
                  <a:pt x="2406" y="1812"/>
                  <a:pt x="2406" y="1781"/>
                  <a:pt x="2406" y="1781"/>
                </a:cubicBezTo>
                <a:cubicBezTo>
                  <a:pt x="2406" y="1781"/>
                  <a:pt x="2406" y="1781"/>
                  <a:pt x="2406" y="1781"/>
                </a:cubicBezTo>
                <a:cubicBezTo>
                  <a:pt x="2406" y="1750"/>
                  <a:pt x="2375" y="1750"/>
                  <a:pt x="2344" y="1781"/>
                </a:cubicBezTo>
                <a:cubicBezTo>
                  <a:pt x="2344" y="1781"/>
                  <a:pt x="2344" y="1781"/>
                  <a:pt x="2344" y="1812"/>
                </a:cubicBezTo>
                <a:cubicBezTo>
                  <a:pt x="2344" y="1812"/>
                  <a:pt x="2344" y="1812"/>
                  <a:pt x="2344" y="1812"/>
                </a:cubicBezTo>
                <a:cubicBezTo>
                  <a:pt x="2375" y="1812"/>
                  <a:pt x="2375" y="1812"/>
                  <a:pt x="2406" y="1812"/>
                </a:cubicBezTo>
                <a:close/>
                <a:moveTo>
                  <a:pt x="250" y="2625"/>
                </a:moveTo>
                <a:cubicBezTo>
                  <a:pt x="219" y="2625"/>
                  <a:pt x="219" y="2625"/>
                  <a:pt x="219" y="2625"/>
                </a:cubicBezTo>
                <a:cubicBezTo>
                  <a:pt x="219" y="2656"/>
                  <a:pt x="219" y="2656"/>
                  <a:pt x="219" y="2656"/>
                </a:cubicBezTo>
                <a:cubicBezTo>
                  <a:pt x="219" y="2656"/>
                  <a:pt x="250" y="2656"/>
                  <a:pt x="250" y="2656"/>
                </a:cubicBezTo>
                <a:cubicBezTo>
                  <a:pt x="250" y="2656"/>
                  <a:pt x="281" y="2656"/>
                  <a:pt x="281" y="2625"/>
                </a:cubicBezTo>
                <a:cubicBezTo>
                  <a:pt x="344" y="2656"/>
                  <a:pt x="375" y="2656"/>
                  <a:pt x="437" y="2656"/>
                </a:cubicBezTo>
                <a:cubicBezTo>
                  <a:pt x="469" y="2656"/>
                  <a:pt x="531" y="2625"/>
                  <a:pt x="562" y="2625"/>
                </a:cubicBezTo>
                <a:cubicBezTo>
                  <a:pt x="656" y="2594"/>
                  <a:pt x="719" y="2594"/>
                  <a:pt x="812" y="2594"/>
                </a:cubicBezTo>
                <a:cubicBezTo>
                  <a:pt x="812" y="2625"/>
                  <a:pt x="812" y="2625"/>
                  <a:pt x="812" y="2656"/>
                </a:cubicBezTo>
                <a:cubicBezTo>
                  <a:pt x="781" y="2656"/>
                  <a:pt x="750" y="2687"/>
                  <a:pt x="750" y="2687"/>
                </a:cubicBezTo>
                <a:cubicBezTo>
                  <a:pt x="719" y="2687"/>
                  <a:pt x="719" y="2687"/>
                  <a:pt x="719" y="2687"/>
                </a:cubicBezTo>
                <a:cubicBezTo>
                  <a:pt x="687" y="2687"/>
                  <a:pt x="687" y="2719"/>
                  <a:pt x="656" y="2719"/>
                </a:cubicBezTo>
                <a:cubicBezTo>
                  <a:pt x="656" y="2719"/>
                  <a:pt x="625" y="2719"/>
                  <a:pt x="625" y="2719"/>
                </a:cubicBezTo>
                <a:cubicBezTo>
                  <a:pt x="562" y="2750"/>
                  <a:pt x="500" y="2750"/>
                  <a:pt x="500" y="2844"/>
                </a:cubicBezTo>
                <a:cubicBezTo>
                  <a:pt x="500" y="2844"/>
                  <a:pt x="500" y="2844"/>
                  <a:pt x="500" y="2844"/>
                </a:cubicBezTo>
                <a:cubicBezTo>
                  <a:pt x="594" y="2844"/>
                  <a:pt x="687" y="2875"/>
                  <a:pt x="781" y="2875"/>
                </a:cubicBezTo>
                <a:cubicBezTo>
                  <a:pt x="812" y="2875"/>
                  <a:pt x="844" y="2875"/>
                  <a:pt x="906" y="2844"/>
                </a:cubicBezTo>
                <a:cubicBezTo>
                  <a:pt x="906" y="2844"/>
                  <a:pt x="906" y="2844"/>
                  <a:pt x="937" y="2844"/>
                </a:cubicBezTo>
                <a:cubicBezTo>
                  <a:pt x="969" y="2844"/>
                  <a:pt x="1000" y="2844"/>
                  <a:pt x="1031" y="2844"/>
                </a:cubicBezTo>
                <a:cubicBezTo>
                  <a:pt x="1031" y="2875"/>
                  <a:pt x="1062" y="2875"/>
                  <a:pt x="1062" y="2875"/>
                </a:cubicBezTo>
                <a:cubicBezTo>
                  <a:pt x="1094" y="2969"/>
                  <a:pt x="906" y="2969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906" y="3062"/>
                  <a:pt x="906" y="3062"/>
                  <a:pt x="906" y="3062"/>
                </a:cubicBezTo>
                <a:cubicBezTo>
                  <a:pt x="1094" y="3094"/>
                  <a:pt x="1187" y="3094"/>
                  <a:pt x="1250" y="3125"/>
                </a:cubicBezTo>
                <a:cubicBezTo>
                  <a:pt x="1250" y="3156"/>
                  <a:pt x="1281" y="3187"/>
                  <a:pt x="1281" y="3187"/>
                </a:cubicBezTo>
                <a:cubicBezTo>
                  <a:pt x="1281" y="3219"/>
                  <a:pt x="1312" y="3281"/>
                  <a:pt x="1312" y="3312"/>
                </a:cubicBezTo>
                <a:cubicBezTo>
                  <a:pt x="1312" y="3312"/>
                  <a:pt x="1312" y="3312"/>
                  <a:pt x="1312" y="3312"/>
                </a:cubicBezTo>
                <a:cubicBezTo>
                  <a:pt x="1625" y="3312"/>
                  <a:pt x="1906" y="3250"/>
                  <a:pt x="2219" y="3187"/>
                </a:cubicBezTo>
                <a:cubicBezTo>
                  <a:pt x="2531" y="3125"/>
                  <a:pt x="2844" y="3125"/>
                  <a:pt x="3156" y="3094"/>
                </a:cubicBezTo>
                <a:cubicBezTo>
                  <a:pt x="3469" y="3062"/>
                  <a:pt x="3781" y="3062"/>
                  <a:pt x="4062" y="3000"/>
                </a:cubicBezTo>
                <a:cubicBezTo>
                  <a:pt x="4344" y="2969"/>
                  <a:pt x="4625" y="2937"/>
                  <a:pt x="4937" y="3000"/>
                </a:cubicBezTo>
                <a:cubicBezTo>
                  <a:pt x="4906" y="3031"/>
                  <a:pt x="4969" y="3062"/>
                  <a:pt x="5062" y="3062"/>
                </a:cubicBezTo>
                <a:cubicBezTo>
                  <a:pt x="5062" y="3094"/>
                  <a:pt x="5094" y="3094"/>
                  <a:pt x="5094" y="3094"/>
                </a:cubicBezTo>
                <a:cubicBezTo>
                  <a:pt x="5094" y="3094"/>
                  <a:pt x="5094" y="3094"/>
                  <a:pt x="5125" y="3094"/>
                </a:cubicBezTo>
                <a:cubicBezTo>
                  <a:pt x="5125" y="3125"/>
                  <a:pt x="5125" y="3156"/>
                  <a:pt x="5094" y="3187"/>
                </a:cubicBezTo>
                <a:cubicBezTo>
                  <a:pt x="4969" y="3219"/>
                  <a:pt x="4844" y="3219"/>
                  <a:pt x="4719" y="3219"/>
                </a:cubicBezTo>
                <a:cubicBezTo>
                  <a:pt x="4469" y="3219"/>
                  <a:pt x="4187" y="3156"/>
                  <a:pt x="3937" y="3187"/>
                </a:cubicBezTo>
                <a:cubicBezTo>
                  <a:pt x="3437" y="3187"/>
                  <a:pt x="2937" y="3156"/>
                  <a:pt x="2500" y="3344"/>
                </a:cubicBezTo>
                <a:cubicBezTo>
                  <a:pt x="2437" y="3375"/>
                  <a:pt x="2250" y="3344"/>
                  <a:pt x="2187" y="3375"/>
                </a:cubicBezTo>
                <a:cubicBezTo>
                  <a:pt x="2156" y="3375"/>
                  <a:pt x="2156" y="3406"/>
                  <a:pt x="2156" y="3406"/>
                </a:cubicBezTo>
                <a:cubicBezTo>
                  <a:pt x="2156" y="3406"/>
                  <a:pt x="2125" y="3437"/>
                  <a:pt x="2125" y="3437"/>
                </a:cubicBezTo>
                <a:cubicBezTo>
                  <a:pt x="2125" y="3469"/>
                  <a:pt x="2156" y="3500"/>
                  <a:pt x="2187" y="3500"/>
                </a:cubicBezTo>
                <a:cubicBezTo>
                  <a:pt x="2187" y="3500"/>
                  <a:pt x="2219" y="3531"/>
                  <a:pt x="2219" y="3531"/>
                </a:cubicBezTo>
                <a:cubicBezTo>
                  <a:pt x="2250" y="3531"/>
                  <a:pt x="2250" y="3531"/>
                  <a:pt x="2281" y="3531"/>
                </a:cubicBezTo>
                <a:cubicBezTo>
                  <a:pt x="2312" y="3531"/>
                  <a:pt x="2344" y="3500"/>
                  <a:pt x="2406" y="3531"/>
                </a:cubicBezTo>
                <a:cubicBezTo>
                  <a:pt x="2437" y="3531"/>
                  <a:pt x="2500" y="3531"/>
                  <a:pt x="2531" y="3531"/>
                </a:cubicBezTo>
                <a:cubicBezTo>
                  <a:pt x="2344" y="3625"/>
                  <a:pt x="2125" y="3625"/>
                  <a:pt x="1937" y="3625"/>
                </a:cubicBezTo>
                <a:cubicBezTo>
                  <a:pt x="1812" y="3625"/>
                  <a:pt x="1719" y="3625"/>
                  <a:pt x="1625" y="3625"/>
                </a:cubicBezTo>
                <a:cubicBezTo>
                  <a:pt x="1531" y="3625"/>
                  <a:pt x="1469" y="3625"/>
                  <a:pt x="1406" y="3625"/>
                </a:cubicBezTo>
                <a:cubicBezTo>
                  <a:pt x="1375" y="3656"/>
                  <a:pt x="1344" y="3656"/>
                  <a:pt x="1312" y="3656"/>
                </a:cubicBezTo>
                <a:cubicBezTo>
                  <a:pt x="1187" y="3687"/>
                  <a:pt x="1062" y="3750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937" y="3875"/>
                  <a:pt x="937" y="3875"/>
                  <a:pt x="937" y="3875"/>
                </a:cubicBezTo>
                <a:cubicBezTo>
                  <a:pt x="1469" y="3781"/>
                  <a:pt x="1969" y="3812"/>
                  <a:pt x="2437" y="3844"/>
                </a:cubicBezTo>
                <a:cubicBezTo>
                  <a:pt x="2812" y="3875"/>
                  <a:pt x="3187" y="3906"/>
                  <a:pt x="3562" y="3875"/>
                </a:cubicBezTo>
                <a:cubicBezTo>
                  <a:pt x="3500" y="3875"/>
                  <a:pt x="3469" y="3844"/>
                  <a:pt x="3406" y="3844"/>
                </a:cubicBezTo>
                <a:cubicBezTo>
                  <a:pt x="3281" y="3812"/>
                  <a:pt x="3125" y="3781"/>
                  <a:pt x="2969" y="3781"/>
                </a:cubicBezTo>
                <a:cubicBezTo>
                  <a:pt x="2906" y="3781"/>
                  <a:pt x="2844" y="3781"/>
                  <a:pt x="2812" y="3750"/>
                </a:cubicBezTo>
                <a:cubicBezTo>
                  <a:pt x="2812" y="3750"/>
                  <a:pt x="2812" y="3750"/>
                  <a:pt x="2812" y="3719"/>
                </a:cubicBezTo>
                <a:cubicBezTo>
                  <a:pt x="2812" y="3719"/>
                  <a:pt x="2812" y="3719"/>
                  <a:pt x="2844" y="3719"/>
                </a:cubicBezTo>
                <a:cubicBezTo>
                  <a:pt x="2875" y="3687"/>
                  <a:pt x="2844" y="3656"/>
                  <a:pt x="2844" y="3625"/>
                </a:cubicBezTo>
                <a:cubicBezTo>
                  <a:pt x="2812" y="3594"/>
                  <a:pt x="2812" y="3594"/>
                  <a:pt x="2844" y="3562"/>
                </a:cubicBezTo>
                <a:cubicBezTo>
                  <a:pt x="2844" y="3562"/>
                  <a:pt x="2875" y="3562"/>
                  <a:pt x="2906" y="3562"/>
                </a:cubicBezTo>
                <a:cubicBezTo>
                  <a:pt x="2937" y="3562"/>
                  <a:pt x="2969" y="3562"/>
                  <a:pt x="3000" y="3594"/>
                </a:cubicBezTo>
                <a:cubicBezTo>
                  <a:pt x="3125" y="3656"/>
                  <a:pt x="3250" y="3656"/>
                  <a:pt x="3375" y="3656"/>
                </a:cubicBezTo>
                <a:cubicBezTo>
                  <a:pt x="3437" y="3656"/>
                  <a:pt x="3500" y="3656"/>
                  <a:pt x="3594" y="3687"/>
                </a:cubicBezTo>
                <a:cubicBezTo>
                  <a:pt x="3625" y="3687"/>
                  <a:pt x="3656" y="3687"/>
                  <a:pt x="3687" y="3687"/>
                </a:cubicBezTo>
                <a:cubicBezTo>
                  <a:pt x="3969" y="3687"/>
                  <a:pt x="4219" y="3656"/>
                  <a:pt x="4469" y="3687"/>
                </a:cubicBezTo>
                <a:cubicBezTo>
                  <a:pt x="4562" y="3687"/>
                  <a:pt x="4625" y="3687"/>
                  <a:pt x="4687" y="3687"/>
                </a:cubicBezTo>
                <a:cubicBezTo>
                  <a:pt x="5187" y="3750"/>
                  <a:pt x="5719" y="3719"/>
                  <a:pt x="6187" y="3875"/>
                </a:cubicBezTo>
                <a:cubicBezTo>
                  <a:pt x="6125" y="3969"/>
                  <a:pt x="6062" y="4031"/>
                  <a:pt x="6000" y="4062"/>
                </a:cubicBezTo>
                <a:cubicBezTo>
                  <a:pt x="5969" y="4062"/>
                  <a:pt x="5937" y="4062"/>
                  <a:pt x="5906" y="4062"/>
                </a:cubicBezTo>
                <a:cubicBezTo>
                  <a:pt x="5875" y="4062"/>
                  <a:pt x="5875" y="4062"/>
                  <a:pt x="5844" y="4062"/>
                </a:cubicBezTo>
                <a:cubicBezTo>
                  <a:pt x="5812" y="4094"/>
                  <a:pt x="5781" y="4094"/>
                  <a:pt x="5750" y="4062"/>
                </a:cubicBezTo>
                <a:cubicBezTo>
                  <a:pt x="5687" y="4062"/>
                  <a:pt x="5656" y="4062"/>
                  <a:pt x="5625" y="4062"/>
                </a:cubicBezTo>
                <a:cubicBezTo>
                  <a:pt x="5531" y="4062"/>
                  <a:pt x="5469" y="4031"/>
                  <a:pt x="5406" y="4031"/>
                </a:cubicBezTo>
                <a:cubicBezTo>
                  <a:pt x="5375" y="4031"/>
                  <a:pt x="5375" y="4031"/>
                  <a:pt x="5375" y="4031"/>
                </a:cubicBezTo>
                <a:cubicBezTo>
                  <a:pt x="5125" y="4000"/>
                  <a:pt x="4906" y="3937"/>
                  <a:pt x="4687" y="4000"/>
                </a:cubicBezTo>
                <a:cubicBezTo>
                  <a:pt x="4656" y="4000"/>
                  <a:pt x="4656" y="4000"/>
                  <a:pt x="4656" y="4000"/>
                </a:cubicBezTo>
                <a:cubicBezTo>
                  <a:pt x="4312" y="3969"/>
                  <a:pt x="4000" y="3937"/>
                  <a:pt x="3625" y="3875"/>
                </a:cubicBezTo>
                <a:cubicBezTo>
                  <a:pt x="3625" y="3906"/>
                  <a:pt x="3656" y="3906"/>
                  <a:pt x="3656" y="3937"/>
                </a:cubicBezTo>
                <a:cubicBezTo>
                  <a:pt x="3781" y="4000"/>
                  <a:pt x="3937" y="4031"/>
                  <a:pt x="3875" y="4125"/>
                </a:cubicBezTo>
                <a:cubicBezTo>
                  <a:pt x="3844" y="4219"/>
                  <a:pt x="3812" y="4344"/>
                  <a:pt x="3812" y="4437"/>
                </a:cubicBezTo>
                <a:cubicBezTo>
                  <a:pt x="3812" y="4500"/>
                  <a:pt x="3781" y="4562"/>
                  <a:pt x="3781" y="4625"/>
                </a:cubicBezTo>
                <a:cubicBezTo>
                  <a:pt x="3781" y="4625"/>
                  <a:pt x="3781" y="4625"/>
                  <a:pt x="3781" y="4625"/>
                </a:cubicBezTo>
                <a:cubicBezTo>
                  <a:pt x="3781" y="4656"/>
                  <a:pt x="3750" y="4656"/>
                  <a:pt x="3750" y="4656"/>
                </a:cubicBezTo>
                <a:cubicBezTo>
                  <a:pt x="3750" y="4656"/>
                  <a:pt x="3750" y="4687"/>
                  <a:pt x="3781" y="4687"/>
                </a:cubicBezTo>
                <a:cubicBezTo>
                  <a:pt x="4031" y="4719"/>
                  <a:pt x="4125" y="4906"/>
                  <a:pt x="4344" y="4969"/>
                </a:cubicBezTo>
                <a:cubicBezTo>
                  <a:pt x="4406" y="4969"/>
                  <a:pt x="4469" y="5000"/>
                  <a:pt x="4500" y="5031"/>
                </a:cubicBezTo>
                <a:cubicBezTo>
                  <a:pt x="4531" y="5031"/>
                  <a:pt x="4531" y="5031"/>
                  <a:pt x="4562" y="5062"/>
                </a:cubicBezTo>
                <a:cubicBezTo>
                  <a:pt x="4594" y="5062"/>
                  <a:pt x="4594" y="5094"/>
                  <a:pt x="4625" y="5094"/>
                </a:cubicBezTo>
                <a:cubicBezTo>
                  <a:pt x="4656" y="5125"/>
                  <a:pt x="4656" y="5156"/>
                  <a:pt x="4687" y="5187"/>
                </a:cubicBezTo>
                <a:cubicBezTo>
                  <a:pt x="4687" y="5219"/>
                  <a:pt x="4687" y="5250"/>
                  <a:pt x="4687" y="5312"/>
                </a:cubicBezTo>
                <a:cubicBezTo>
                  <a:pt x="4687" y="5312"/>
                  <a:pt x="4687" y="5312"/>
                  <a:pt x="4719" y="5344"/>
                </a:cubicBezTo>
                <a:cubicBezTo>
                  <a:pt x="4719" y="5375"/>
                  <a:pt x="4750" y="5406"/>
                  <a:pt x="4750" y="5437"/>
                </a:cubicBezTo>
                <a:cubicBezTo>
                  <a:pt x="4781" y="5437"/>
                  <a:pt x="4781" y="5469"/>
                  <a:pt x="4812" y="5500"/>
                </a:cubicBezTo>
                <a:cubicBezTo>
                  <a:pt x="4844" y="5531"/>
                  <a:pt x="4875" y="5562"/>
                  <a:pt x="4937" y="5594"/>
                </a:cubicBezTo>
                <a:cubicBezTo>
                  <a:pt x="5031" y="5625"/>
                  <a:pt x="5156" y="5625"/>
                  <a:pt x="5250" y="5687"/>
                </a:cubicBezTo>
                <a:cubicBezTo>
                  <a:pt x="5187" y="5719"/>
                  <a:pt x="5125" y="5719"/>
                  <a:pt x="5062" y="5750"/>
                </a:cubicBezTo>
                <a:cubicBezTo>
                  <a:pt x="5000" y="5750"/>
                  <a:pt x="4937" y="5750"/>
                  <a:pt x="4875" y="5719"/>
                </a:cubicBezTo>
                <a:cubicBezTo>
                  <a:pt x="4812" y="5719"/>
                  <a:pt x="4781" y="5719"/>
                  <a:pt x="4750" y="5750"/>
                </a:cubicBezTo>
                <a:cubicBezTo>
                  <a:pt x="4719" y="5750"/>
                  <a:pt x="4719" y="5750"/>
                  <a:pt x="4687" y="5750"/>
                </a:cubicBezTo>
                <a:cubicBezTo>
                  <a:pt x="4656" y="5781"/>
                  <a:pt x="4656" y="5781"/>
                  <a:pt x="4625" y="5812"/>
                </a:cubicBezTo>
                <a:cubicBezTo>
                  <a:pt x="4625" y="5812"/>
                  <a:pt x="4625" y="5812"/>
                  <a:pt x="4594" y="5812"/>
                </a:cubicBezTo>
                <a:cubicBezTo>
                  <a:pt x="4594" y="5844"/>
                  <a:pt x="4562" y="5875"/>
                  <a:pt x="4562" y="5875"/>
                </a:cubicBezTo>
                <a:cubicBezTo>
                  <a:pt x="4625" y="5937"/>
                  <a:pt x="4625" y="6000"/>
                  <a:pt x="4625" y="6062"/>
                </a:cubicBezTo>
                <a:cubicBezTo>
                  <a:pt x="4594" y="6125"/>
                  <a:pt x="4531" y="6187"/>
                  <a:pt x="4469" y="6250"/>
                </a:cubicBezTo>
                <a:cubicBezTo>
                  <a:pt x="4437" y="6281"/>
                  <a:pt x="4406" y="6312"/>
                  <a:pt x="4375" y="6344"/>
                </a:cubicBezTo>
                <a:cubicBezTo>
                  <a:pt x="4375" y="6344"/>
                  <a:pt x="4406" y="6344"/>
                  <a:pt x="4437" y="6344"/>
                </a:cubicBezTo>
                <a:cubicBezTo>
                  <a:pt x="4500" y="6344"/>
                  <a:pt x="4562" y="6344"/>
                  <a:pt x="4625" y="6312"/>
                </a:cubicBezTo>
                <a:cubicBezTo>
                  <a:pt x="4656" y="6312"/>
                  <a:pt x="4687" y="6312"/>
                  <a:pt x="4687" y="6312"/>
                </a:cubicBezTo>
                <a:cubicBezTo>
                  <a:pt x="4781" y="6281"/>
                  <a:pt x="4875" y="6281"/>
                  <a:pt x="4937" y="6281"/>
                </a:cubicBezTo>
                <a:cubicBezTo>
                  <a:pt x="4969" y="6312"/>
                  <a:pt x="5000" y="6312"/>
                  <a:pt x="5031" y="6312"/>
                </a:cubicBezTo>
                <a:cubicBezTo>
                  <a:pt x="4875" y="6437"/>
                  <a:pt x="4625" y="6406"/>
                  <a:pt x="4437" y="6469"/>
                </a:cubicBezTo>
                <a:cubicBezTo>
                  <a:pt x="4625" y="6562"/>
                  <a:pt x="4812" y="6562"/>
                  <a:pt x="5000" y="6531"/>
                </a:cubicBezTo>
                <a:cubicBezTo>
                  <a:pt x="5062" y="6531"/>
                  <a:pt x="5156" y="6500"/>
                  <a:pt x="5250" y="6500"/>
                </a:cubicBezTo>
                <a:cubicBezTo>
                  <a:pt x="5281" y="6500"/>
                  <a:pt x="5281" y="6469"/>
                  <a:pt x="5312" y="6469"/>
                </a:cubicBezTo>
                <a:cubicBezTo>
                  <a:pt x="5406" y="6469"/>
                  <a:pt x="5500" y="6469"/>
                  <a:pt x="5594" y="6469"/>
                </a:cubicBezTo>
                <a:cubicBezTo>
                  <a:pt x="5625" y="6469"/>
                  <a:pt x="5687" y="6469"/>
                  <a:pt x="5750" y="6469"/>
                </a:cubicBezTo>
                <a:cubicBezTo>
                  <a:pt x="5656" y="6500"/>
                  <a:pt x="5656" y="6531"/>
                  <a:pt x="5625" y="6531"/>
                </a:cubicBezTo>
                <a:cubicBezTo>
                  <a:pt x="5562" y="6531"/>
                  <a:pt x="5500" y="6531"/>
                  <a:pt x="5469" y="6562"/>
                </a:cubicBezTo>
                <a:cubicBezTo>
                  <a:pt x="5406" y="6562"/>
                  <a:pt x="5375" y="6625"/>
                  <a:pt x="5375" y="6656"/>
                </a:cubicBezTo>
                <a:cubicBezTo>
                  <a:pt x="5375" y="6656"/>
                  <a:pt x="5375" y="6687"/>
                  <a:pt x="5375" y="6687"/>
                </a:cubicBezTo>
                <a:cubicBezTo>
                  <a:pt x="5375" y="6750"/>
                  <a:pt x="5437" y="6750"/>
                  <a:pt x="5531" y="6750"/>
                </a:cubicBezTo>
                <a:cubicBezTo>
                  <a:pt x="5562" y="6750"/>
                  <a:pt x="5594" y="6750"/>
                  <a:pt x="5656" y="6719"/>
                </a:cubicBezTo>
                <a:cubicBezTo>
                  <a:pt x="5875" y="6719"/>
                  <a:pt x="6125" y="6687"/>
                  <a:pt x="6375" y="6656"/>
                </a:cubicBezTo>
                <a:cubicBezTo>
                  <a:pt x="6437" y="6687"/>
                  <a:pt x="6437" y="6719"/>
                  <a:pt x="6469" y="6781"/>
                </a:cubicBezTo>
                <a:cubicBezTo>
                  <a:pt x="6469" y="6781"/>
                  <a:pt x="6500" y="6812"/>
                  <a:pt x="6500" y="6812"/>
                </a:cubicBezTo>
                <a:cubicBezTo>
                  <a:pt x="6375" y="6844"/>
                  <a:pt x="6250" y="6875"/>
                  <a:pt x="6094" y="6875"/>
                </a:cubicBezTo>
                <a:cubicBezTo>
                  <a:pt x="5969" y="6875"/>
                  <a:pt x="5844" y="6906"/>
                  <a:pt x="5719" y="6906"/>
                </a:cubicBezTo>
                <a:cubicBezTo>
                  <a:pt x="5562" y="6937"/>
                  <a:pt x="5406" y="7000"/>
                  <a:pt x="5250" y="7094"/>
                </a:cubicBezTo>
                <a:cubicBezTo>
                  <a:pt x="5219" y="7094"/>
                  <a:pt x="5187" y="7125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156" y="7156"/>
                  <a:pt x="5156" y="7156"/>
                  <a:pt x="5156" y="7156"/>
                </a:cubicBezTo>
                <a:cubicBezTo>
                  <a:pt x="5406" y="7125"/>
                  <a:pt x="5687" y="7094"/>
                  <a:pt x="5906" y="7031"/>
                </a:cubicBezTo>
                <a:cubicBezTo>
                  <a:pt x="5969" y="7031"/>
                  <a:pt x="6000" y="7000"/>
                  <a:pt x="6031" y="7000"/>
                </a:cubicBezTo>
                <a:cubicBezTo>
                  <a:pt x="6062" y="7000"/>
                  <a:pt x="6125" y="6969"/>
                  <a:pt x="6156" y="6969"/>
                </a:cubicBezTo>
                <a:cubicBezTo>
                  <a:pt x="6156" y="6969"/>
                  <a:pt x="6187" y="6969"/>
                  <a:pt x="6187" y="6969"/>
                </a:cubicBezTo>
                <a:cubicBezTo>
                  <a:pt x="6187" y="6969"/>
                  <a:pt x="6187" y="6969"/>
                  <a:pt x="6219" y="6969"/>
                </a:cubicBezTo>
                <a:cubicBezTo>
                  <a:pt x="6250" y="6969"/>
                  <a:pt x="6281" y="6937"/>
                  <a:pt x="6344" y="6937"/>
                </a:cubicBezTo>
                <a:cubicBezTo>
                  <a:pt x="6344" y="6937"/>
                  <a:pt x="6344" y="6937"/>
                  <a:pt x="6344" y="6937"/>
                </a:cubicBezTo>
                <a:cubicBezTo>
                  <a:pt x="6344" y="6969"/>
                  <a:pt x="6344" y="6969"/>
                  <a:pt x="6344" y="6969"/>
                </a:cubicBezTo>
                <a:cubicBezTo>
                  <a:pt x="6344" y="7031"/>
                  <a:pt x="6312" y="7094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437" y="7156"/>
                  <a:pt x="6437" y="7156"/>
                  <a:pt x="6437" y="7156"/>
                </a:cubicBezTo>
                <a:cubicBezTo>
                  <a:pt x="6187" y="7281"/>
                  <a:pt x="5875" y="7312"/>
                  <a:pt x="5594" y="7344"/>
                </a:cubicBezTo>
                <a:cubicBezTo>
                  <a:pt x="5531" y="7375"/>
                  <a:pt x="5500" y="7375"/>
                  <a:pt x="5437" y="7375"/>
                </a:cubicBezTo>
                <a:cubicBezTo>
                  <a:pt x="5437" y="7375"/>
                  <a:pt x="5406" y="7406"/>
                  <a:pt x="5406" y="7406"/>
                </a:cubicBezTo>
                <a:cubicBezTo>
                  <a:pt x="5375" y="7406"/>
                  <a:pt x="5344" y="7406"/>
                  <a:pt x="5312" y="7406"/>
                </a:cubicBezTo>
                <a:cubicBezTo>
                  <a:pt x="5281" y="7437"/>
                  <a:pt x="5281" y="7437"/>
                  <a:pt x="5250" y="7437"/>
                </a:cubicBezTo>
                <a:cubicBezTo>
                  <a:pt x="5219" y="7437"/>
                  <a:pt x="5187" y="7469"/>
                  <a:pt x="5156" y="7469"/>
                </a:cubicBezTo>
                <a:cubicBezTo>
                  <a:pt x="5156" y="7469"/>
                  <a:pt x="5125" y="7469"/>
                  <a:pt x="5125" y="7469"/>
                </a:cubicBezTo>
                <a:cubicBezTo>
                  <a:pt x="5094" y="7500"/>
                  <a:pt x="5062" y="7500"/>
                  <a:pt x="5031" y="7531"/>
                </a:cubicBezTo>
                <a:cubicBezTo>
                  <a:pt x="5000" y="7531"/>
                  <a:pt x="5000" y="7531"/>
                  <a:pt x="5000" y="7531"/>
                </a:cubicBezTo>
                <a:cubicBezTo>
                  <a:pt x="4969" y="7562"/>
                  <a:pt x="4906" y="7562"/>
                  <a:pt x="4875" y="7594"/>
                </a:cubicBezTo>
                <a:cubicBezTo>
                  <a:pt x="4844" y="7594"/>
                  <a:pt x="4844" y="7594"/>
                  <a:pt x="4812" y="7594"/>
                </a:cubicBezTo>
                <a:cubicBezTo>
                  <a:pt x="4812" y="7625"/>
                  <a:pt x="4781" y="7625"/>
                  <a:pt x="4750" y="7656"/>
                </a:cubicBezTo>
                <a:cubicBezTo>
                  <a:pt x="4719" y="7656"/>
                  <a:pt x="4687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625" y="7687"/>
                  <a:pt x="4594" y="7719"/>
                  <a:pt x="4562" y="7719"/>
                </a:cubicBezTo>
                <a:cubicBezTo>
                  <a:pt x="4531" y="7750"/>
                  <a:pt x="4500" y="7750"/>
                  <a:pt x="4469" y="7781"/>
                </a:cubicBezTo>
                <a:cubicBezTo>
                  <a:pt x="4469" y="7781"/>
                  <a:pt x="4469" y="7781"/>
                  <a:pt x="4469" y="7781"/>
                </a:cubicBezTo>
                <a:cubicBezTo>
                  <a:pt x="4531" y="7750"/>
                  <a:pt x="4594" y="7719"/>
                  <a:pt x="4656" y="7687"/>
                </a:cubicBezTo>
                <a:cubicBezTo>
                  <a:pt x="4656" y="7687"/>
                  <a:pt x="4656" y="7687"/>
                  <a:pt x="4656" y="7687"/>
                </a:cubicBezTo>
                <a:cubicBezTo>
                  <a:pt x="4906" y="7594"/>
                  <a:pt x="5187" y="7562"/>
                  <a:pt x="5437" y="7500"/>
                </a:cubicBezTo>
                <a:cubicBezTo>
                  <a:pt x="5437" y="7500"/>
                  <a:pt x="5437" y="7500"/>
                  <a:pt x="5469" y="7500"/>
                </a:cubicBezTo>
                <a:cubicBezTo>
                  <a:pt x="5500" y="7500"/>
                  <a:pt x="5562" y="7500"/>
                  <a:pt x="5594" y="7500"/>
                </a:cubicBezTo>
                <a:cubicBezTo>
                  <a:pt x="5594" y="7500"/>
                  <a:pt x="5594" y="7500"/>
                  <a:pt x="5594" y="7500"/>
                </a:cubicBezTo>
                <a:cubicBezTo>
                  <a:pt x="5625" y="7469"/>
                  <a:pt x="5656" y="7469"/>
                  <a:pt x="5687" y="7469"/>
                </a:cubicBezTo>
                <a:cubicBezTo>
                  <a:pt x="5750" y="7469"/>
                  <a:pt x="5812" y="7469"/>
                  <a:pt x="5844" y="7500"/>
                </a:cubicBezTo>
                <a:cubicBezTo>
                  <a:pt x="5906" y="7594"/>
                  <a:pt x="5719" y="7562"/>
                  <a:pt x="5719" y="7656"/>
                </a:cubicBezTo>
                <a:cubicBezTo>
                  <a:pt x="5812" y="7656"/>
                  <a:pt x="5906" y="7594"/>
                  <a:pt x="6031" y="7562"/>
                </a:cubicBezTo>
                <a:cubicBezTo>
                  <a:pt x="6062" y="7562"/>
                  <a:pt x="6125" y="7531"/>
                  <a:pt x="6187" y="7531"/>
                </a:cubicBezTo>
                <a:cubicBezTo>
                  <a:pt x="6250" y="7531"/>
                  <a:pt x="6312" y="7531"/>
                  <a:pt x="6344" y="7625"/>
                </a:cubicBezTo>
                <a:cubicBezTo>
                  <a:pt x="6344" y="7625"/>
                  <a:pt x="6344" y="7625"/>
                  <a:pt x="6344" y="7625"/>
                </a:cubicBezTo>
                <a:cubicBezTo>
                  <a:pt x="6312" y="7625"/>
                  <a:pt x="6281" y="7656"/>
                  <a:pt x="6250" y="7656"/>
                </a:cubicBezTo>
                <a:cubicBezTo>
                  <a:pt x="6219" y="7656"/>
                  <a:pt x="6219" y="7656"/>
                  <a:pt x="6219" y="7656"/>
                </a:cubicBezTo>
                <a:cubicBezTo>
                  <a:pt x="6187" y="7656"/>
                  <a:pt x="6187" y="7656"/>
                  <a:pt x="6187" y="7625"/>
                </a:cubicBezTo>
                <a:cubicBezTo>
                  <a:pt x="6125" y="7625"/>
                  <a:pt x="6062" y="7656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31" y="7719"/>
                  <a:pt x="6031" y="7719"/>
                  <a:pt x="6031" y="7719"/>
                </a:cubicBezTo>
                <a:cubicBezTo>
                  <a:pt x="6062" y="7719"/>
                  <a:pt x="6125" y="7750"/>
                  <a:pt x="6156" y="7750"/>
                </a:cubicBezTo>
                <a:cubicBezTo>
                  <a:pt x="6219" y="7750"/>
                  <a:pt x="6250" y="7750"/>
                  <a:pt x="6312" y="7719"/>
                </a:cubicBezTo>
                <a:cubicBezTo>
                  <a:pt x="6344" y="7719"/>
                  <a:pt x="6375" y="7687"/>
                  <a:pt x="6406" y="7687"/>
                </a:cubicBezTo>
                <a:cubicBezTo>
                  <a:pt x="6437" y="7719"/>
                  <a:pt x="6469" y="7719"/>
                  <a:pt x="6500" y="7719"/>
                </a:cubicBezTo>
                <a:cubicBezTo>
                  <a:pt x="7125" y="7656"/>
                  <a:pt x="7719" y="7656"/>
                  <a:pt x="8312" y="7719"/>
                </a:cubicBezTo>
                <a:cubicBezTo>
                  <a:pt x="8625" y="7750"/>
                  <a:pt x="8937" y="7625"/>
                  <a:pt x="9219" y="7750"/>
                </a:cubicBezTo>
                <a:cubicBezTo>
                  <a:pt x="9156" y="7781"/>
                  <a:pt x="9094" y="7781"/>
                  <a:pt x="9031" y="7812"/>
                </a:cubicBezTo>
                <a:cubicBezTo>
                  <a:pt x="9031" y="7812"/>
                  <a:pt x="9031" y="7812"/>
                  <a:pt x="9031" y="7812"/>
                </a:cubicBezTo>
                <a:cubicBezTo>
                  <a:pt x="8875" y="7781"/>
                  <a:pt x="8750" y="7781"/>
                  <a:pt x="8594" y="7781"/>
                </a:cubicBezTo>
                <a:cubicBezTo>
                  <a:pt x="8562" y="7781"/>
                  <a:pt x="8500" y="7781"/>
                  <a:pt x="8437" y="7812"/>
                </a:cubicBezTo>
                <a:cubicBezTo>
                  <a:pt x="8437" y="7812"/>
                  <a:pt x="8406" y="7812"/>
                  <a:pt x="8375" y="7812"/>
                </a:cubicBezTo>
                <a:cubicBezTo>
                  <a:pt x="8406" y="7812"/>
                  <a:pt x="8406" y="7844"/>
                  <a:pt x="8437" y="7844"/>
                </a:cubicBezTo>
                <a:cubicBezTo>
                  <a:pt x="8562" y="7906"/>
                  <a:pt x="8687" y="7937"/>
                  <a:pt x="8812" y="7906"/>
                </a:cubicBezTo>
                <a:cubicBezTo>
                  <a:pt x="8875" y="7906"/>
                  <a:pt x="8969" y="7875"/>
                  <a:pt x="9031" y="7875"/>
                </a:cubicBezTo>
                <a:cubicBezTo>
                  <a:pt x="9031" y="7906"/>
                  <a:pt x="9062" y="7937"/>
                  <a:pt x="9125" y="7969"/>
                </a:cubicBezTo>
                <a:cubicBezTo>
                  <a:pt x="9187" y="8000"/>
                  <a:pt x="9250" y="8000"/>
                  <a:pt x="9250" y="8062"/>
                </a:cubicBezTo>
                <a:cubicBezTo>
                  <a:pt x="9000" y="8187"/>
                  <a:pt x="8719" y="8125"/>
                  <a:pt x="8469" y="8094"/>
                </a:cubicBezTo>
                <a:cubicBezTo>
                  <a:pt x="7312" y="8000"/>
                  <a:pt x="6125" y="8031"/>
                  <a:pt x="4969" y="8062"/>
                </a:cubicBezTo>
                <a:cubicBezTo>
                  <a:pt x="4937" y="7906"/>
                  <a:pt x="5156" y="7969"/>
                  <a:pt x="5219" y="7875"/>
                </a:cubicBezTo>
                <a:cubicBezTo>
                  <a:pt x="5156" y="7844"/>
                  <a:pt x="5125" y="7812"/>
                  <a:pt x="5062" y="7812"/>
                </a:cubicBezTo>
                <a:cubicBezTo>
                  <a:pt x="5000" y="7812"/>
                  <a:pt x="4969" y="7812"/>
                  <a:pt x="4906" y="7812"/>
                </a:cubicBezTo>
                <a:cubicBezTo>
                  <a:pt x="4875" y="7812"/>
                  <a:pt x="4844" y="7844"/>
                  <a:pt x="4812" y="7844"/>
                </a:cubicBezTo>
                <a:cubicBezTo>
                  <a:pt x="4781" y="7844"/>
                  <a:pt x="4781" y="7844"/>
                  <a:pt x="4750" y="7844"/>
                </a:cubicBezTo>
                <a:cubicBezTo>
                  <a:pt x="4750" y="7844"/>
                  <a:pt x="4750" y="7844"/>
                  <a:pt x="4750" y="7844"/>
                </a:cubicBezTo>
                <a:cubicBezTo>
                  <a:pt x="4750" y="7844"/>
                  <a:pt x="4719" y="7844"/>
                  <a:pt x="4719" y="7844"/>
                </a:cubicBezTo>
                <a:cubicBezTo>
                  <a:pt x="4719" y="7875"/>
                  <a:pt x="4719" y="7875"/>
                  <a:pt x="4719" y="7875"/>
                </a:cubicBezTo>
                <a:cubicBezTo>
                  <a:pt x="4719" y="7875"/>
                  <a:pt x="4719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875"/>
                  <a:pt x="4687" y="7875"/>
                </a:cubicBezTo>
                <a:cubicBezTo>
                  <a:pt x="4687" y="7875"/>
                  <a:pt x="4687" y="7906"/>
                  <a:pt x="4687" y="7906"/>
                </a:cubicBezTo>
                <a:cubicBezTo>
                  <a:pt x="4687" y="7906"/>
                  <a:pt x="4687" y="7906"/>
                  <a:pt x="4687" y="7906"/>
                </a:cubicBezTo>
                <a:cubicBezTo>
                  <a:pt x="4687" y="7906"/>
                  <a:pt x="4812" y="7937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812" y="7969"/>
                  <a:pt x="4812" y="7969"/>
                  <a:pt x="4812" y="7969"/>
                </a:cubicBezTo>
                <a:cubicBezTo>
                  <a:pt x="4781" y="8000"/>
                  <a:pt x="4719" y="8000"/>
                  <a:pt x="4687" y="8031"/>
                </a:cubicBezTo>
                <a:cubicBezTo>
                  <a:pt x="4687" y="8031"/>
                  <a:pt x="4687" y="8031"/>
                  <a:pt x="4687" y="8031"/>
                </a:cubicBezTo>
                <a:cubicBezTo>
                  <a:pt x="4687" y="8062"/>
                  <a:pt x="4687" y="8062"/>
                  <a:pt x="4656" y="8062"/>
                </a:cubicBezTo>
                <a:cubicBezTo>
                  <a:pt x="4656" y="8062"/>
                  <a:pt x="4656" y="8062"/>
                  <a:pt x="4656" y="8062"/>
                </a:cubicBezTo>
                <a:cubicBezTo>
                  <a:pt x="4656" y="8062"/>
                  <a:pt x="4656" y="8094"/>
                  <a:pt x="4656" y="8094"/>
                </a:cubicBezTo>
                <a:cubicBezTo>
                  <a:pt x="4656" y="8094"/>
                  <a:pt x="4656" y="8094"/>
                  <a:pt x="4656" y="8094"/>
                </a:cubicBezTo>
                <a:cubicBezTo>
                  <a:pt x="4687" y="8094"/>
                  <a:pt x="4687" y="8125"/>
                  <a:pt x="4687" y="8125"/>
                </a:cubicBezTo>
                <a:cubicBezTo>
                  <a:pt x="4719" y="8156"/>
                  <a:pt x="4719" y="8156"/>
                  <a:pt x="4719" y="8156"/>
                </a:cubicBezTo>
                <a:cubicBezTo>
                  <a:pt x="4781" y="8250"/>
                  <a:pt x="4875" y="8281"/>
                  <a:pt x="5000" y="8219"/>
                </a:cubicBezTo>
                <a:cubicBezTo>
                  <a:pt x="5031" y="8250"/>
                  <a:pt x="5094" y="8250"/>
                  <a:pt x="5125" y="8250"/>
                </a:cubicBezTo>
                <a:cubicBezTo>
                  <a:pt x="5125" y="8281"/>
                  <a:pt x="5156" y="8281"/>
                  <a:pt x="5187" y="8281"/>
                </a:cubicBezTo>
                <a:cubicBezTo>
                  <a:pt x="5250" y="8281"/>
                  <a:pt x="5281" y="8281"/>
                  <a:pt x="5344" y="8281"/>
                </a:cubicBezTo>
                <a:cubicBezTo>
                  <a:pt x="5375" y="8312"/>
                  <a:pt x="5437" y="8312"/>
                  <a:pt x="5469" y="8312"/>
                </a:cubicBezTo>
                <a:cubicBezTo>
                  <a:pt x="5500" y="8312"/>
                  <a:pt x="5500" y="8312"/>
                  <a:pt x="5531" y="8281"/>
                </a:cubicBezTo>
                <a:cubicBezTo>
                  <a:pt x="5562" y="8312"/>
                  <a:pt x="5594" y="8312"/>
                  <a:pt x="5625" y="8312"/>
                </a:cubicBezTo>
                <a:cubicBezTo>
                  <a:pt x="5687" y="8344"/>
                  <a:pt x="5750" y="8344"/>
                  <a:pt x="5844" y="8375"/>
                </a:cubicBezTo>
                <a:cubicBezTo>
                  <a:pt x="5875" y="8375"/>
                  <a:pt x="5906" y="8375"/>
                  <a:pt x="5937" y="8375"/>
                </a:cubicBezTo>
                <a:cubicBezTo>
                  <a:pt x="6125" y="8375"/>
                  <a:pt x="6281" y="8375"/>
                  <a:pt x="6437" y="8375"/>
                </a:cubicBezTo>
                <a:cubicBezTo>
                  <a:pt x="6625" y="8375"/>
                  <a:pt x="6781" y="8375"/>
                  <a:pt x="6969" y="8375"/>
                </a:cubicBezTo>
                <a:cubicBezTo>
                  <a:pt x="7000" y="8375"/>
                  <a:pt x="7031" y="8375"/>
                  <a:pt x="7062" y="8375"/>
                </a:cubicBezTo>
                <a:cubicBezTo>
                  <a:pt x="7062" y="8375"/>
                  <a:pt x="7062" y="8375"/>
                  <a:pt x="7062" y="8375"/>
                </a:cubicBezTo>
                <a:cubicBezTo>
                  <a:pt x="7125" y="8406"/>
                  <a:pt x="6969" y="8469"/>
                  <a:pt x="7031" y="8500"/>
                </a:cubicBezTo>
                <a:cubicBezTo>
                  <a:pt x="7344" y="8437"/>
                  <a:pt x="7437" y="8469"/>
                  <a:pt x="7375" y="8687"/>
                </a:cubicBezTo>
                <a:cubicBezTo>
                  <a:pt x="7375" y="8719"/>
                  <a:pt x="7375" y="8750"/>
                  <a:pt x="7375" y="8750"/>
                </a:cubicBezTo>
                <a:cubicBezTo>
                  <a:pt x="7375" y="8781"/>
                  <a:pt x="7375" y="8781"/>
                  <a:pt x="7375" y="8781"/>
                </a:cubicBezTo>
                <a:cubicBezTo>
                  <a:pt x="7406" y="8781"/>
                  <a:pt x="7406" y="8781"/>
                  <a:pt x="7437" y="8781"/>
                </a:cubicBezTo>
                <a:cubicBezTo>
                  <a:pt x="7469" y="8781"/>
                  <a:pt x="7500" y="8781"/>
                  <a:pt x="7500" y="8750"/>
                </a:cubicBezTo>
                <a:cubicBezTo>
                  <a:pt x="7594" y="8750"/>
                  <a:pt x="7687" y="8719"/>
                  <a:pt x="7750" y="8687"/>
                </a:cubicBezTo>
                <a:cubicBezTo>
                  <a:pt x="7844" y="8656"/>
                  <a:pt x="7937" y="8594"/>
                  <a:pt x="8000" y="8594"/>
                </a:cubicBezTo>
                <a:cubicBezTo>
                  <a:pt x="8062" y="8625"/>
                  <a:pt x="7969" y="8656"/>
                  <a:pt x="7969" y="8656"/>
                </a:cubicBezTo>
                <a:cubicBezTo>
                  <a:pt x="7969" y="8687"/>
                  <a:pt x="8000" y="8687"/>
                  <a:pt x="8000" y="8687"/>
                </a:cubicBezTo>
                <a:cubicBezTo>
                  <a:pt x="8031" y="8687"/>
                  <a:pt x="8062" y="8687"/>
                  <a:pt x="8094" y="8687"/>
                </a:cubicBezTo>
                <a:cubicBezTo>
                  <a:pt x="8094" y="8656"/>
                  <a:pt x="8125" y="8656"/>
                  <a:pt x="8156" y="8687"/>
                </a:cubicBezTo>
                <a:cubicBezTo>
                  <a:pt x="8156" y="8750"/>
                  <a:pt x="8125" y="8750"/>
                  <a:pt x="8062" y="8781"/>
                </a:cubicBezTo>
                <a:cubicBezTo>
                  <a:pt x="8062" y="8781"/>
                  <a:pt x="8031" y="8781"/>
                  <a:pt x="8031" y="8781"/>
                </a:cubicBezTo>
                <a:cubicBezTo>
                  <a:pt x="7844" y="8875"/>
                  <a:pt x="7656" y="8937"/>
                  <a:pt x="7500" y="9094"/>
                </a:cubicBezTo>
                <a:cubicBezTo>
                  <a:pt x="7500" y="9094"/>
                  <a:pt x="7469" y="9125"/>
                  <a:pt x="7437" y="9156"/>
                </a:cubicBezTo>
                <a:cubicBezTo>
                  <a:pt x="7656" y="9094"/>
                  <a:pt x="7844" y="9062"/>
                  <a:pt x="8000" y="9000"/>
                </a:cubicBezTo>
                <a:cubicBezTo>
                  <a:pt x="8187" y="8969"/>
                  <a:pt x="8375" y="8906"/>
                  <a:pt x="8562" y="8875"/>
                </a:cubicBezTo>
                <a:cubicBezTo>
                  <a:pt x="8562" y="8906"/>
                  <a:pt x="8562" y="8906"/>
                  <a:pt x="8562" y="8937"/>
                </a:cubicBezTo>
                <a:cubicBezTo>
                  <a:pt x="8469" y="8969"/>
                  <a:pt x="8375" y="9031"/>
                  <a:pt x="8281" y="9062"/>
                </a:cubicBezTo>
                <a:cubicBezTo>
                  <a:pt x="8281" y="9094"/>
                  <a:pt x="8250" y="9094"/>
                  <a:pt x="8250" y="9094"/>
                </a:cubicBezTo>
                <a:cubicBezTo>
                  <a:pt x="8125" y="9156"/>
                  <a:pt x="8000" y="9187"/>
                  <a:pt x="8000" y="9312"/>
                </a:cubicBezTo>
                <a:cubicBezTo>
                  <a:pt x="8000" y="9312"/>
                  <a:pt x="8000" y="9312"/>
                  <a:pt x="8000" y="9312"/>
                </a:cubicBezTo>
                <a:cubicBezTo>
                  <a:pt x="8000" y="9312"/>
                  <a:pt x="8000" y="9312"/>
                  <a:pt x="8031" y="9312"/>
                </a:cubicBezTo>
                <a:cubicBezTo>
                  <a:pt x="8031" y="9344"/>
                  <a:pt x="8031" y="9344"/>
                  <a:pt x="8062" y="9344"/>
                </a:cubicBezTo>
                <a:cubicBezTo>
                  <a:pt x="8062" y="9344"/>
                  <a:pt x="8062" y="9344"/>
                  <a:pt x="8062" y="9344"/>
                </a:cubicBezTo>
                <a:cubicBezTo>
                  <a:pt x="8062" y="9344"/>
                  <a:pt x="8031" y="9312"/>
                  <a:pt x="8031" y="9312"/>
                </a:cubicBezTo>
                <a:cubicBezTo>
                  <a:pt x="8031" y="9312"/>
                  <a:pt x="8000" y="9312"/>
                  <a:pt x="8000" y="9312"/>
                </a:cubicBezTo>
                <a:cubicBezTo>
                  <a:pt x="8187" y="9250"/>
                  <a:pt x="8344" y="9187"/>
                  <a:pt x="8531" y="9125"/>
                </a:cubicBezTo>
                <a:cubicBezTo>
                  <a:pt x="8531" y="9125"/>
                  <a:pt x="8531" y="9125"/>
                  <a:pt x="8531" y="9125"/>
                </a:cubicBezTo>
                <a:cubicBezTo>
                  <a:pt x="8531" y="9125"/>
                  <a:pt x="8562" y="9125"/>
                  <a:pt x="8562" y="9094"/>
                </a:cubicBezTo>
                <a:cubicBezTo>
                  <a:pt x="8594" y="9094"/>
                  <a:pt x="8594" y="9094"/>
                  <a:pt x="8594" y="9094"/>
                </a:cubicBezTo>
                <a:cubicBezTo>
                  <a:pt x="8594" y="9094"/>
                  <a:pt x="8625" y="9094"/>
                  <a:pt x="8625" y="9094"/>
                </a:cubicBezTo>
                <a:cubicBezTo>
                  <a:pt x="8656" y="9094"/>
                  <a:pt x="8656" y="9094"/>
                  <a:pt x="8656" y="9094"/>
                </a:cubicBezTo>
                <a:cubicBezTo>
                  <a:pt x="8656" y="9094"/>
                  <a:pt x="8687" y="9094"/>
                  <a:pt x="8719" y="9062"/>
                </a:cubicBezTo>
                <a:cubicBezTo>
                  <a:pt x="8719" y="9062"/>
                  <a:pt x="8719" y="9062"/>
                  <a:pt x="8719" y="9062"/>
                </a:cubicBezTo>
                <a:cubicBezTo>
                  <a:pt x="8750" y="9062"/>
                  <a:pt x="8750" y="9062"/>
                  <a:pt x="8781" y="9062"/>
                </a:cubicBezTo>
                <a:cubicBezTo>
                  <a:pt x="8781" y="9062"/>
                  <a:pt x="8781" y="9062"/>
                  <a:pt x="8781" y="9062"/>
                </a:cubicBezTo>
                <a:cubicBezTo>
                  <a:pt x="8812" y="9062"/>
                  <a:pt x="8812" y="9062"/>
                  <a:pt x="8844" y="9062"/>
                </a:cubicBezTo>
                <a:cubicBezTo>
                  <a:pt x="8844" y="9062"/>
                  <a:pt x="8875" y="9062"/>
                  <a:pt x="8875" y="9062"/>
                </a:cubicBezTo>
                <a:cubicBezTo>
                  <a:pt x="8875" y="9062"/>
                  <a:pt x="8906" y="9062"/>
                  <a:pt x="8906" y="9062"/>
                </a:cubicBezTo>
                <a:cubicBezTo>
                  <a:pt x="8937" y="9062"/>
                  <a:pt x="8937" y="9062"/>
                  <a:pt x="8937" y="9062"/>
                </a:cubicBezTo>
                <a:cubicBezTo>
                  <a:pt x="8969" y="9062"/>
                  <a:pt x="8969" y="9062"/>
                  <a:pt x="9000" y="9062"/>
                </a:cubicBezTo>
                <a:cubicBezTo>
                  <a:pt x="9000" y="9062"/>
                  <a:pt x="9031" y="9062"/>
                  <a:pt x="9031" y="9062"/>
                </a:cubicBezTo>
                <a:cubicBezTo>
                  <a:pt x="9062" y="9062"/>
                  <a:pt x="9062" y="9062"/>
                  <a:pt x="9094" y="9062"/>
                </a:cubicBezTo>
                <a:cubicBezTo>
                  <a:pt x="9000" y="9094"/>
                  <a:pt x="8937" y="9125"/>
                  <a:pt x="8844" y="9156"/>
                </a:cubicBezTo>
                <a:cubicBezTo>
                  <a:pt x="8594" y="9250"/>
                  <a:pt x="8344" y="9375"/>
                  <a:pt x="8125" y="9469"/>
                </a:cubicBezTo>
                <a:cubicBezTo>
                  <a:pt x="7969" y="9562"/>
                  <a:pt x="7906" y="9625"/>
                  <a:pt x="7937" y="9719"/>
                </a:cubicBezTo>
                <a:cubicBezTo>
                  <a:pt x="7969" y="9719"/>
                  <a:pt x="7969" y="9750"/>
                  <a:pt x="7969" y="9781"/>
                </a:cubicBezTo>
                <a:cubicBezTo>
                  <a:pt x="8000" y="9781"/>
                  <a:pt x="8031" y="9812"/>
                  <a:pt x="8031" y="9812"/>
                </a:cubicBezTo>
                <a:cubicBezTo>
                  <a:pt x="8312" y="10000"/>
                  <a:pt x="8469" y="10250"/>
                  <a:pt x="8875" y="10312"/>
                </a:cubicBezTo>
                <a:cubicBezTo>
                  <a:pt x="8906" y="10312"/>
                  <a:pt x="8906" y="10344"/>
                  <a:pt x="8937" y="10375"/>
                </a:cubicBezTo>
                <a:cubicBezTo>
                  <a:pt x="8969" y="10375"/>
                  <a:pt x="8969" y="10406"/>
                  <a:pt x="9000" y="10406"/>
                </a:cubicBezTo>
                <a:cubicBezTo>
                  <a:pt x="9250" y="10531"/>
                  <a:pt x="9562" y="10625"/>
                  <a:pt x="9812" y="10562"/>
                </a:cubicBezTo>
                <a:cubicBezTo>
                  <a:pt x="10000" y="10531"/>
                  <a:pt x="10125" y="10531"/>
                  <a:pt x="10250" y="10531"/>
                </a:cubicBezTo>
                <a:cubicBezTo>
                  <a:pt x="10719" y="10594"/>
                  <a:pt x="11156" y="10594"/>
                  <a:pt x="11594" y="10625"/>
                </a:cubicBezTo>
                <a:cubicBezTo>
                  <a:pt x="11750" y="10625"/>
                  <a:pt x="11906" y="10625"/>
                  <a:pt x="12062" y="10625"/>
                </a:cubicBezTo>
                <a:cubicBezTo>
                  <a:pt x="12062" y="10625"/>
                  <a:pt x="12094" y="10625"/>
                  <a:pt x="12094" y="10625"/>
                </a:cubicBezTo>
                <a:cubicBezTo>
                  <a:pt x="12125" y="10625"/>
                  <a:pt x="12156" y="10625"/>
                  <a:pt x="12187" y="10625"/>
                </a:cubicBezTo>
                <a:cubicBezTo>
                  <a:pt x="12187" y="10625"/>
                  <a:pt x="12219" y="10625"/>
                  <a:pt x="12219" y="10625"/>
                </a:cubicBezTo>
                <a:cubicBezTo>
                  <a:pt x="12531" y="10625"/>
                  <a:pt x="12875" y="10594"/>
                  <a:pt x="13187" y="10656"/>
                </a:cubicBezTo>
                <a:cubicBezTo>
                  <a:pt x="13281" y="10625"/>
                  <a:pt x="13406" y="10562"/>
                  <a:pt x="13500" y="10531"/>
                </a:cubicBezTo>
                <a:cubicBezTo>
                  <a:pt x="13562" y="10500"/>
                  <a:pt x="13625" y="10500"/>
                  <a:pt x="13656" y="10500"/>
                </a:cubicBezTo>
                <a:cubicBezTo>
                  <a:pt x="13812" y="10469"/>
                  <a:pt x="13937" y="10469"/>
                  <a:pt x="14094" y="10469"/>
                </a:cubicBezTo>
                <a:cubicBezTo>
                  <a:pt x="14187" y="10469"/>
                  <a:pt x="14281" y="10469"/>
                  <a:pt x="14344" y="10469"/>
                </a:cubicBezTo>
                <a:cubicBezTo>
                  <a:pt x="14437" y="10469"/>
                  <a:pt x="14531" y="10469"/>
                  <a:pt x="14625" y="10500"/>
                </a:cubicBezTo>
                <a:cubicBezTo>
                  <a:pt x="14687" y="10500"/>
                  <a:pt x="14719" y="10500"/>
                  <a:pt x="14781" y="10531"/>
                </a:cubicBezTo>
                <a:cubicBezTo>
                  <a:pt x="14719" y="10562"/>
                  <a:pt x="14719" y="10562"/>
                  <a:pt x="14719" y="10594"/>
                </a:cubicBezTo>
                <a:cubicBezTo>
                  <a:pt x="14719" y="10594"/>
                  <a:pt x="14719" y="10594"/>
                  <a:pt x="14750" y="10594"/>
                </a:cubicBezTo>
                <a:cubicBezTo>
                  <a:pt x="14750" y="10625"/>
                  <a:pt x="14781" y="10625"/>
                  <a:pt x="14812" y="10625"/>
                </a:cubicBezTo>
                <a:cubicBezTo>
                  <a:pt x="14844" y="10625"/>
                  <a:pt x="14875" y="10625"/>
                  <a:pt x="14875" y="10625"/>
                </a:cubicBezTo>
                <a:cubicBezTo>
                  <a:pt x="14906" y="10625"/>
                  <a:pt x="14937" y="10625"/>
                  <a:pt x="14969" y="10625"/>
                </a:cubicBezTo>
                <a:cubicBezTo>
                  <a:pt x="14969" y="10625"/>
                  <a:pt x="14969" y="10625"/>
                  <a:pt x="15000" y="10625"/>
                </a:cubicBezTo>
                <a:cubicBezTo>
                  <a:pt x="15031" y="10625"/>
                  <a:pt x="15062" y="10594"/>
                  <a:pt x="15062" y="10562"/>
                </a:cubicBezTo>
                <a:cubicBezTo>
                  <a:pt x="15062" y="10531"/>
                  <a:pt x="15125" y="10469"/>
                  <a:pt x="15187" y="10437"/>
                </a:cubicBezTo>
                <a:cubicBezTo>
                  <a:pt x="15187" y="10437"/>
                  <a:pt x="15187" y="10437"/>
                  <a:pt x="15187" y="10437"/>
                </a:cubicBezTo>
                <a:cubicBezTo>
                  <a:pt x="15219" y="10437"/>
                  <a:pt x="15219" y="10437"/>
                  <a:pt x="15219" y="10437"/>
                </a:cubicBezTo>
                <a:cubicBezTo>
                  <a:pt x="15312" y="10437"/>
                  <a:pt x="15344" y="10437"/>
                  <a:pt x="15375" y="10437"/>
                </a:cubicBezTo>
                <a:cubicBezTo>
                  <a:pt x="15406" y="10406"/>
                  <a:pt x="15406" y="10406"/>
                  <a:pt x="15406" y="10406"/>
                </a:cubicBezTo>
                <a:cubicBezTo>
                  <a:pt x="15437" y="10375"/>
                  <a:pt x="15437" y="10375"/>
                  <a:pt x="15469" y="10344"/>
                </a:cubicBezTo>
                <a:cubicBezTo>
                  <a:pt x="15469" y="10312"/>
                  <a:pt x="15500" y="10312"/>
                  <a:pt x="15531" y="10281"/>
                </a:cubicBezTo>
                <a:cubicBezTo>
                  <a:pt x="15531" y="10281"/>
                  <a:pt x="15531" y="10281"/>
                  <a:pt x="15562" y="10250"/>
                </a:cubicBezTo>
                <a:cubicBezTo>
                  <a:pt x="15500" y="10250"/>
                  <a:pt x="15437" y="10250"/>
                  <a:pt x="15406" y="10250"/>
                </a:cubicBezTo>
                <a:cubicBezTo>
                  <a:pt x="15344" y="10250"/>
                  <a:pt x="15281" y="10250"/>
                  <a:pt x="15219" y="10250"/>
                </a:cubicBezTo>
                <a:cubicBezTo>
                  <a:pt x="15187" y="10219"/>
                  <a:pt x="15125" y="10250"/>
                  <a:pt x="15094" y="10250"/>
                </a:cubicBezTo>
                <a:cubicBezTo>
                  <a:pt x="15031" y="10250"/>
                  <a:pt x="14969" y="10250"/>
                  <a:pt x="14937" y="10281"/>
                </a:cubicBezTo>
                <a:cubicBezTo>
                  <a:pt x="14250" y="10281"/>
                  <a:pt x="13562" y="10281"/>
                  <a:pt x="12875" y="10312"/>
                </a:cubicBezTo>
                <a:cubicBezTo>
                  <a:pt x="12500" y="10312"/>
                  <a:pt x="12125" y="10312"/>
                  <a:pt x="11750" y="10312"/>
                </a:cubicBezTo>
                <a:cubicBezTo>
                  <a:pt x="11625" y="10312"/>
                  <a:pt x="11500" y="10312"/>
                  <a:pt x="11375" y="10281"/>
                </a:cubicBezTo>
                <a:cubicBezTo>
                  <a:pt x="10844" y="10281"/>
                  <a:pt x="10344" y="10219"/>
                  <a:pt x="9844" y="10187"/>
                </a:cubicBezTo>
                <a:cubicBezTo>
                  <a:pt x="9844" y="10187"/>
                  <a:pt x="9812" y="10187"/>
                  <a:pt x="9812" y="10187"/>
                </a:cubicBezTo>
                <a:cubicBezTo>
                  <a:pt x="9812" y="10187"/>
                  <a:pt x="9812" y="10187"/>
                  <a:pt x="9781" y="10187"/>
                </a:cubicBezTo>
                <a:cubicBezTo>
                  <a:pt x="9781" y="10187"/>
                  <a:pt x="9781" y="10187"/>
                  <a:pt x="9781" y="10187"/>
                </a:cubicBezTo>
                <a:cubicBezTo>
                  <a:pt x="9750" y="10187"/>
                  <a:pt x="9750" y="10156"/>
                  <a:pt x="9750" y="10156"/>
                </a:cubicBezTo>
                <a:cubicBezTo>
                  <a:pt x="9844" y="10156"/>
                  <a:pt x="9906" y="10125"/>
                  <a:pt x="9969" y="10125"/>
                </a:cubicBezTo>
                <a:cubicBezTo>
                  <a:pt x="10031" y="10125"/>
                  <a:pt x="10125" y="10094"/>
                  <a:pt x="10187" y="10062"/>
                </a:cubicBezTo>
                <a:cubicBezTo>
                  <a:pt x="10219" y="10062"/>
                  <a:pt x="10281" y="10031"/>
                  <a:pt x="10250" y="9969"/>
                </a:cubicBezTo>
                <a:cubicBezTo>
                  <a:pt x="10125" y="9875"/>
                  <a:pt x="10156" y="9812"/>
                  <a:pt x="10219" y="9812"/>
                </a:cubicBezTo>
                <a:cubicBezTo>
                  <a:pt x="10250" y="9781"/>
                  <a:pt x="10281" y="9781"/>
                  <a:pt x="10312" y="9781"/>
                </a:cubicBezTo>
                <a:cubicBezTo>
                  <a:pt x="10344" y="9781"/>
                  <a:pt x="10344" y="9781"/>
                  <a:pt x="10344" y="9781"/>
                </a:cubicBezTo>
                <a:cubicBezTo>
                  <a:pt x="10375" y="9781"/>
                  <a:pt x="10406" y="9781"/>
                  <a:pt x="10437" y="9781"/>
                </a:cubicBezTo>
                <a:cubicBezTo>
                  <a:pt x="10500" y="9750"/>
                  <a:pt x="10594" y="9750"/>
                  <a:pt x="10656" y="9781"/>
                </a:cubicBezTo>
                <a:cubicBezTo>
                  <a:pt x="10687" y="9781"/>
                  <a:pt x="10687" y="9781"/>
                  <a:pt x="10719" y="9781"/>
                </a:cubicBezTo>
                <a:cubicBezTo>
                  <a:pt x="10781" y="9781"/>
                  <a:pt x="10844" y="9781"/>
                  <a:pt x="10906" y="9750"/>
                </a:cubicBezTo>
                <a:cubicBezTo>
                  <a:pt x="10937" y="9750"/>
                  <a:pt x="10969" y="9750"/>
                  <a:pt x="11000" y="9750"/>
                </a:cubicBezTo>
                <a:cubicBezTo>
                  <a:pt x="11031" y="9750"/>
                  <a:pt x="11031" y="9781"/>
                  <a:pt x="11031" y="9781"/>
                </a:cubicBezTo>
                <a:cubicBezTo>
                  <a:pt x="11031" y="9812"/>
                  <a:pt x="11031" y="9812"/>
                  <a:pt x="11031" y="9844"/>
                </a:cubicBezTo>
                <a:cubicBezTo>
                  <a:pt x="11062" y="9844"/>
                  <a:pt x="11062" y="9844"/>
                  <a:pt x="11062" y="9875"/>
                </a:cubicBezTo>
                <a:cubicBezTo>
                  <a:pt x="11062" y="9906"/>
                  <a:pt x="11062" y="9937"/>
                  <a:pt x="11062" y="9969"/>
                </a:cubicBezTo>
                <a:cubicBezTo>
                  <a:pt x="11094" y="10000"/>
                  <a:pt x="11094" y="10031"/>
                  <a:pt x="11094" y="10062"/>
                </a:cubicBezTo>
                <a:cubicBezTo>
                  <a:pt x="11094" y="10094"/>
                  <a:pt x="11125" y="10125"/>
                  <a:pt x="11156" y="10125"/>
                </a:cubicBezTo>
                <a:cubicBezTo>
                  <a:pt x="11187" y="10156"/>
                  <a:pt x="11250" y="10187"/>
                  <a:pt x="11312" y="10156"/>
                </a:cubicBezTo>
                <a:cubicBezTo>
                  <a:pt x="11687" y="10094"/>
                  <a:pt x="12031" y="10094"/>
                  <a:pt x="12375" y="10094"/>
                </a:cubicBezTo>
                <a:cubicBezTo>
                  <a:pt x="12375" y="10094"/>
                  <a:pt x="12375" y="10094"/>
                  <a:pt x="12406" y="10094"/>
                </a:cubicBezTo>
                <a:cubicBezTo>
                  <a:pt x="12406" y="10094"/>
                  <a:pt x="12406" y="10094"/>
                  <a:pt x="12406" y="10094"/>
                </a:cubicBezTo>
                <a:cubicBezTo>
                  <a:pt x="12437" y="10094"/>
                  <a:pt x="12437" y="10094"/>
                  <a:pt x="12469" y="10094"/>
                </a:cubicBezTo>
                <a:cubicBezTo>
                  <a:pt x="12469" y="10094"/>
                  <a:pt x="12469" y="10094"/>
                  <a:pt x="12469" y="10094"/>
                </a:cubicBezTo>
                <a:cubicBezTo>
                  <a:pt x="12500" y="10094"/>
                  <a:pt x="12500" y="10094"/>
                  <a:pt x="12531" y="10062"/>
                </a:cubicBezTo>
                <a:cubicBezTo>
                  <a:pt x="12562" y="10062"/>
                  <a:pt x="12562" y="10062"/>
                  <a:pt x="12562" y="10031"/>
                </a:cubicBezTo>
                <a:cubicBezTo>
                  <a:pt x="12562" y="10031"/>
                  <a:pt x="12562" y="10031"/>
                  <a:pt x="12531" y="10000"/>
                </a:cubicBezTo>
                <a:cubicBezTo>
                  <a:pt x="12531" y="10000"/>
                  <a:pt x="12531" y="10000"/>
                  <a:pt x="12500" y="9969"/>
                </a:cubicBezTo>
                <a:cubicBezTo>
                  <a:pt x="12656" y="9969"/>
                  <a:pt x="12687" y="9969"/>
                  <a:pt x="12750" y="10000"/>
                </a:cubicBezTo>
                <a:cubicBezTo>
                  <a:pt x="12812" y="10000"/>
                  <a:pt x="12844" y="10031"/>
                  <a:pt x="12906" y="10094"/>
                </a:cubicBezTo>
                <a:cubicBezTo>
                  <a:pt x="12937" y="10094"/>
                  <a:pt x="12969" y="10094"/>
                  <a:pt x="13000" y="10094"/>
                </a:cubicBezTo>
                <a:cubicBezTo>
                  <a:pt x="13125" y="10094"/>
                  <a:pt x="13250" y="10094"/>
                  <a:pt x="13344" y="10094"/>
                </a:cubicBezTo>
                <a:cubicBezTo>
                  <a:pt x="13687" y="10094"/>
                  <a:pt x="14031" y="10125"/>
                  <a:pt x="14375" y="10094"/>
                </a:cubicBezTo>
                <a:cubicBezTo>
                  <a:pt x="14375" y="10094"/>
                  <a:pt x="14375" y="10094"/>
                  <a:pt x="14375" y="10094"/>
                </a:cubicBezTo>
                <a:cubicBezTo>
                  <a:pt x="14469" y="10062"/>
                  <a:pt x="14562" y="10094"/>
                  <a:pt x="14625" y="10094"/>
                </a:cubicBezTo>
                <a:cubicBezTo>
                  <a:pt x="14625" y="10094"/>
                  <a:pt x="14625" y="10094"/>
                  <a:pt x="14625" y="10094"/>
                </a:cubicBezTo>
                <a:cubicBezTo>
                  <a:pt x="14656" y="10062"/>
                  <a:pt x="14687" y="10062"/>
                  <a:pt x="14719" y="10062"/>
                </a:cubicBezTo>
                <a:cubicBezTo>
                  <a:pt x="14719" y="10062"/>
                  <a:pt x="14719" y="10062"/>
                  <a:pt x="14719" y="10062"/>
                </a:cubicBezTo>
                <a:cubicBezTo>
                  <a:pt x="14750" y="10062"/>
                  <a:pt x="14781" y="10062"/>
                  <a:pt x="14812" y="10062"/>
                </a:cubicBezTo>
                <a:cubicBezTo>
                  <a:pt x="14812" y="10062"/>
                  <a:pt x="14812" y="10062"/>
                  <a:pt x="14844" y="10062"/>
                </a:cubicBezTo>
                <a:cubicBezTo>
                  <a:pt x="14844" y="10094"/>
                  <a:pt x="14875" y="10094"/>
                  <a:pt x="14906" y="10094"/>
                </a:cubicBezTo>
                <a:cubicBezTo>
                  <a:pt x="14906" y="10094"/>
                  <a:pt x="14906" y="10094"/>
                  <a:pt x="14937" y="10094"/>
                </a:cubicBezTo>
                <a:cubicBezTo>
                  <a:pt x="14937" y="10094"/>
                  <a:pt x="14969" y="10094"/>
                  <a:pt x="14969" y="10094"/>
                </a:cubicBezTo>
                <a:cubicBezTo>
                  <a:pt x="15094" y="10094"/>
                  <a:pt x="15219" y="10094"/>
                  <a:pt x="15344" y="10094"/>
                </a:cubicBezTo>
                <a:cubicBezTo>
                  <a:pt x="15469" y="10094"/>
                  <a:pt x="15625" y="10094"/>
                  <a:pt x="15750" y="10094"/>
                </a:cubicBezTo>
                <a:cubicBezTo>
                  <a:pt x="16000" y="10094"/>
                  <a:pt x="16250" y="10062"/>
                  <a:pt x="16500" y="10094"/>
                </a:cubicBezTo>
                <a:cubicBezTo>
                  <a:pt x="16687" y="10094"/>
                  <a:pt x="16719" y="9969"/>
                  <a:pt x="16719" y="9906"/>
                </a:cubicBezTo>
                <a:cubicBezTo>
                  <a:pt x="16719" y="9906"/>
                  <a:pt x="16719" y="9875"/>
                  <a:pt x="16719" y="9875"/>
                </a:cubicBezTo>
                <a:cubicBezTo>
                  <a:pt x="16750" y="9750"/>
                  <a:pt x="16594" y="9781"/>
                  <a:pt x="16500" y="9812"/>
                </a:cubicBezTo>
                <a:cubicBezTo>
                  <a:pt x="16375" y="9812"/>
                  <a:pt x="16250" y="9781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56" y="9812"/>
                  <a:pt x="16156" y="9812"/>
                  <a:pt x="16156" y="9812"/>
                </a:cubicBezTo>
                <a:cubicBezTo>
                  <a:pt x="16125" y="9781"/>
                  <a:pt x="16062" y="9781"/>
                  <a:pt x="15969" y="9781"/>
                </a:cubicBezTo>
                <a:cubicBezTo>
                  <a:pt x="15906" y="9781"/>
                  <a:pt x="15844" y="9781"/>
                  <a:pt x="15812" y="9719"/>
                </a:cubicBezTo>
                <a:cubicBezTo>
                  <a:pt x="15875" y="9719"/>
                  <a:pt x="15937" y="9687"/>
                  <a:pt x="15969" y="9687"/>
                </a:cubicBezTo>
                <a:cubicBezTo>
                  <a:pt x="16062" y="9687"/>
                  <a:pt x="16156" y="9687"/>
                  <a:pt x="16250" y="9687"/>
                </a:cubicBezTo>
                <a:cubicBezTo>
                  <a:pt x="16312" y="9719"/>
                  <a:pt x="16406" y="9719"/>
                  <a:pt x="16500" y="9687"/>
                </a:cubicBezTo>
                <a:cubicBezTo>
                  <a:pt x="16531" y="9687"/>
                  <a:pt x="16531" y="9687"/>
                  <a:pt x="16562" y="9687"/>
                </a:cubicBezTo>
                <a:cubicBezTo>
                  <a:pt x="16594" y="9687"/>
                  <a:pt x="16625" y="9687"/>
                  <a:pt x="16656" y="9687"/>
                </a:cubicBezTo>
                <a:cubicBezTo>
                  <a:pt x="16812" y="9719"/>
                  <a:pt x="17000" y="9750"/>
                  <a:pt x="17156" y="9656"/>
                </a:cubicBezTo>
                <a:cubicBezTo>
                  <a:pt x="17250" y="9719"/>
                  <a:pt x="17312" y="9719"/>
                  <a:pt x="17406" y="9687"/>
                </a:cubicBezTo>
                <a:cubicBezTo>
                  <a:pt x="17469" y="9656"/>
                  <a:pt x="17531" y="9625"/>
                  <a:pt x="17562" y="9562"/>
                </a:cubicBezTo>
                <a:cubicBezTo>
                  <a:pt x="17406" y="9656"/>
                  <a:pt x="17281" y="9562"/>
                  <a:pt x="17156" y="9625"/>
                </a:cubicBezTo>
                <a:cubicBezTo>
                  <a:pt x="17156" y="9594"/>
                  <a:pt x="17156" y="9594"/>
                  <a:pt x="17125" y="9594"/>
                </a:cubicBezTo>
                <a:cubicBezTo>
                  <a:pt x="17094" y="9594"/>
                  <a:pt x="17062" y="9562"/>
                  <a:pt x="17031" y="9562"/>
                </a:cubicBezTo>
                <a:cubicBezTo>
                  <a:pt x="16344" y="9562"/>
                  <a:pt x="15656" y="9594"/>
                  <a:pt x="14969" y="9594"/>
                </a:cubicBezTo>
                <a:cubicBezTo>
                  <a:pt x="14906" y="9531"/>
                  <a:pt x="14875" y="9500"/>
                  <a:pt x="14844" y="9437"/>
                </a:cubicBezTo>
                <a:cubicBezTo>
                  <a:pt x="15094" y="9375"/>
                  <a:pt x="15406" y="9437"/>
                  <a:pt x="15656" y="9406"/>
                </a:cubicBezTo>
                <a:cubicBezTo>
                  <a:pt x="15750" y="9406"/>
                  <a:pt x="15844" y="9406"/>
                  <a:pt x="15937" y="9406"/>
                </a:cubicBezTo>
                <a:cubicBezTo>
                  <a:pt x="16187" y="9375"/>
                  <a:pt x="16437" y="9375"/>
                  <a:pt x="16656" y="9312"/>
                </a:cubicBezTo>
                <a:cubicBezTo>
                  <a:pt x="16781" y="9312"/>
                  <a:pt x="16844" y="9344"/>
                  <a:pt x="16906" y="9375"/>
                </a:cubicBezTo>
                <a:cubicBezTo>
                  <a:pt x="16906" y="9375"/>
                  <a:pt x="16937" y="9375"/>
                  <a:pt x="16969" y="9406"/>
                </a:cubicBezTo>
                <a:cubicBezTo>
                  <a:pt x="17000" y="9312"/>
                  <a:pt x="17062" y="9281"/>
                  <a:pt x="17156" y="9281"/>
                </a:cubicBezTo>
                <a:cubicBezTo>
                  <a:pt x="17187" y="9281"/>
                  <a:pt x="17187" y="9281"/>
                  <a:pt x="17219" y="9281"/>
                </a:cubicBezTo>
                <a:cubicBezTo>
                  <a:pt x="17281" y="9312"/>
                  <a:pt x="17344" y="9312"/>
                  <a:pt x="17375" y="9312"/>
                </a:cubicBezTo>
                <a:cubicBezTo>
                  <a:pt x="17531" y="9312"/>
                  <a:pt x="17719" y="9281"/>
                  <a:pt x="17875" y="9281"/>
                </a:cubicBezTo>
                <a:cubicBezTo>
                  <a:pt x="17906" y="9281"/>
                  <a:pt x="17969" y="9312"/>
                  <a:pt x="18031" y="9312"/>
                </a:cubicBezTo>
                <a:cubicBezTo>
                  <a:pt x="18031" y="9312"/>
                  <a:pt x="18031" y="9344"/>
                  <a:pt x="18062" y="9344"/>
                </a:cubicBezTo>
                <a:cubicBezTo>
                  <a:pt x="18094" y="9375"/>
                  <a:pt x="18125" y="9406"/>
                  <a:pt x="18156" y="9375"/>
                </a:cubicBezTo>
                <a:cubicBezTo>
                  <a:pt x="18156" y="9375"/>
                  <a:pt x="18156" y="9344"/>
                  <a:pt x="18187" y="9312"/>
                </a:cubicBezTo>
                <a:cubicBezTo>
                  <a:pt x="18187" y="9312"/>
                  <a:pt x="18219" y="9312"/>
                  <a:pt x="18219" y="9312"/>
                </a:cubicBezTo>
                <a:cubicBezTo>
                  <a:pt x="18219" y="9344"/>
                  <a:pt x="18250" y="9344"/>
                  <a:pt x="18250" y="9344"/>
                </a:cubicBezTo>
                <a:cubicBezTo>
                  <a:pt x="18312" y="9344"/>
                  <a:pt x="18344" y="9344"/>
                  <a:pt x="18406" y="9312"/>
                </a:cubicBezTo>
                <a:cubicBezTo>
                  <a:pt x="18406" y="9312"/>
                  <a:pt x="18437" y="9312"/>
                  <a:pt x="18437" y="9312"/>
                </a:cubicBezTo>
                <a:cubicBezTo>
                  <a:pt x="18500" y="9312"/>
                  <a:pt x="18531" y="9312"/>
                  <a:pt x="18562" y="9312"/>
                </a:cubicBezTo>
                <a:cubicBezTo>
                  <a:pt x="18625" y="9281"/>
                  <a:pt x="18687" y="9312"/>
                  <a:pt x="18687" y="9344"/>
                </a:cubicBezTo>
                <a:cubicBezTo>
                  <a:pt x="18812" y="9437"/>
                  <a:pt x="18906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62" y="9406"/>
                  <a:pt x="19094" y="9406"/>
                  <a:pt x="19094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25" y="9406"/>
                  <a:pt x="19125" y="9406"/>
                </a:cubicBezTo>
                <a:cubicBezTo>
                  <a:pt x="19125" y="9406"/>
                  <a:pt x="19156" y="9406"/>
                  <a:pt x="19156" y="9406"/>
                </a:cubicBezTo>
                <a:cubicBezTo>
                  <a:pt x="19156" y="9406"/>
                  <a:pt x="19156" y="9406"/>
                  <a:pt x="19156" y="9406"/>
                </a:cubicBezTo>
                <a:cubicBezTo>
                  <a:pt x="19156" y="9375"/>
                  <a:pt x="19156" y="9375"/>
                  <a:pt x="19156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75"/>
                  <a:pt x="19187" y="9375"/>
                  <a:pt x="19187" y="9375"/>
                </a:cubicBezTo>
                <a:cubicBezTo>
                  <a:pt x="19187" y="9344"/>
                  <a:pt x="19187" y="9344"/>
                  <a:pt x="19187" y="9344"/>
                </a:cubicBezTo>
                <a:cubicBezTo>
                  <a:pt x="19187" y="9344"/>
                  <a:pt x="19187" y="9344"/>
                  <a:pt x="19156" y="9312"/>
                </a:cubicBezTo>
                <a:cubicBezTo>
                  <a:pt x="19156" y="9312"/>
                  <a:pt x="19156" y="9312"/>
                  <a:pt x="19156" y="9312"/>
                </a:cubicBezTo>
                <a:cubicBezTo>
                  <a:pt x="19156" y="9312"/>
                  <a:pt x="19156" y="9312"/>
                  <a:pt x="19125" y="9312"/>
                </a:cubicBezTo>
                <a:cubicBezTo>
                  <a:pt x="19125" y="9312"/>
                  <a:pt x="19125" y="9344"/>
                  <a:pt x="19125" y="9344"/>
                </a:cubicBezTo>
                <a:cubicBezTo>
                  <a:pt x="19125" y="9344"/>
                  <a:pt x="19125" y="9344"/>
                  <a:pt x="19125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94" y="9344"/>
                  <a:pt x="19094" y="9344"/>
                </a:cubicBezTo>
                <a:cubicBezTo>
                  <a:pt x="19094" y="9344"/>
                  <a:pt x="19062" y="9344"/>
                  <a:pt x="19062" y="9344"/>
                </a:cubicBezTo>
                <a:cubicBezTo>
                  <a:pt x="19062" y="9344"/>
                  <a:pt x="19062" y="9344"/>
                  <a:pt x="19062" y="9344"/>
                </a:cubicBezTo>
                <a:cubicBezTo>
                  <a:pt x="19062" y="9344"/>
                  <a:pt x="19062" y="9375"/>
                  <a:pt x="19062" y="9375"/>
                </a:cubicBezTo>
                <a:cubicBezTo>
                  <a:pt x="19062" y="9375"/>
                  <a:pt x="19062" y="9375"/>
                  <a:pt x="19062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375"/>
                  <a:pt x="19031" y="9375"/>
                  <a:pt x="19031" y="9375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31" y="9406"/>
                  <a:pt x="19031" y="9406"/>
                  <a:pt x="19031" y="9406"/>
                </a:cubicBezTo>
                <a:cubicBezTo>
                  <a:pt x="19000" y="9375"/>
                  <a:pt x="19000" y="9375"/>
                  <a:pt x="19031" y="9344"/>
                </a:cubicBezTo>
                <a:cubicBezTo>
                  <a:pt x="19031" y="9312"/>
                  <a:pt x="19062" y="9250"/>
                  <a:pt x="18969" y="9250"/>
                </a:cubicBezTo>
                <a:cubicBezTo>
                  <a:pt x="18969" y="9250"/>
                  <a:pt x="18969" y="9250"/>
                  <a:pt x="18969" y="9250"/>
                </a:cubicBezTo>
                <a:cubicBezTo>
                  <a:pt x="19156" y="9250"/>
                  <a:pt x="19312" y="9187"/>
                  <a:pt x="19469" y="9156"/>
                </a:cubicBezTo>
                <a:cubicBezTo>
                  <a:pt x="19469" y="9156"/>
                  <a:pt x="19469" y="9156"/>
                  <a:pt x="19469" y="9156"/>
                </a:cubicBezTo>
                <a:cubicBezTo>
                  <a:pt x="19500" y="9156"/>
                  <a:pt x="19531" y="9156"/>
                  <a:pt x="19531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94" y="9187"/>
                  <a:pt x="19625" y="9187"/>
                  <a:pt x="19656" y="9187"/>
                </a:cubicBezTo>
                <a:cubicBezTo>
                  <a:pt x="19656" y="9219"/>
                  <a:pt x="19625" y="9219"/>
                  <a:pt x="19625" y="9250"/>
                </a:cubicBezTo>
                <a:cubicBezTo>
                  <a:pt x="19625" y="9250"/>
                  <a:pt x="19625" y="9250"/>
                  <a:pt x="19594" y="9250"/>
                </a:cubicBezTo>
                <a:cubicBezTo>
                  <a:pt x="19562" y="9312"/>
                  <a:pt x="19469" y="9312"/>
                  <a:pt x="19375" y="9312"/>
                </a:cubicBezTo>
                <a:cubicBezTo>
                  <a:pt x="19375" y="9312"/>
                  <a:pt x="19375" y="9312"/>
                  <a:pt x="19344" y="9312"/>
                </a:cubicBezTo>
                <a:cubicBezTo>
                  <a:pt x="19344" y="9312"/>
                  <a:pt x="19312" y="9344"/>
                  <a:pt x="19312" y="9344"/>
                </a:cubicBezTo>
                <a:cubicBezTo>
                  <a:pt x="19281" y="9344"/>
                  <a:pt x="19281" y="9375"/>
                  <a:pt x="19250" y="9375"/>
                </a:cubicBezTo>
                <a:cubicBezTo>
                  <a:pt x="19344" y="9406"/>
                  <a:pt x="19406" y="9406"/>
                  <a:pt x="19469" y="9406"/>
                </a:cubicBezTo>
                <a:cubicBezTo>
                  <a:pt x="19531" y="9437"/>
                  <a:pt x="19594" y="9437"/>
                  <a:pt x="19656" y="9437"/>
                </a:cubicBezTo>
                <a:cubicBezTo>
                  <a:pt x="19781" y="9437"/>
                  <a:pt x="19906" y="9437"/>
                  <a:pt x="20062" y="9437"/>
                </a:cubicBezTo>
                <a:cubicBezTo>
                  <a:pt x="20187" y="9437"/>
                  <a:pt x="20312" y="9437"/>
                  <a:pt x="20437" y="9406"/>
                </a:cubicBezTo>
                <a:cubicBezTo>
                  <a:pt x="20562" y="9406"/>
                  <a:pt x="20719" y="9406"/>
                  <a:pt x="20844" y="9406"/>
                </a:cubicBezTo>
                <a:cubicBezTo>
                  <a:pt x="21156" y="9437"/>
                  <a:pt x="21469" y="9437"/>
                  <a:pt x="21781" y="9437"/>
                </a:cubicBezTo>
                <a:cubicBezTo>
                  <a:pt x="22312" y="9469"/>
                  <a:pt x="22844" y="9437"/>
                  <a:pt x="23375" y="9469"/>
                </a:cubicBezTo>
                <a:cubicBezTo>
                  <a:pt x="23812" y="9500"/>
                  <a:pt x="24250" y="9500"/>
                  <a:pt x="24719" y="9531"/>
                </a:cubicBezTo>
                <a:cubicBezTo>
                  <a:pt x="24844" y="9531"/>
                  <a:pt x="25000" y="9562"/>
                  <a:pt x="25156" y="9562"/>
                </a:cubicBezTo>
                <a:cubicBezTo>
                  <a:pt x="25312" y="9562"/>
                  <a:pt x="25469" y="9531"/>
                  <a:pt x="25625" y="9500"/>
                </a:cubicBezTo>
                <a:cubicBezTo>
                  <a:pt x="25719" y="9500"/>
                  <a:pt x="25844" y="9500"/>
                  <a:pt x="25937" y="9531"/>
                </a:cubicBezTo>
                <a:cubicBezTo>
                  <a:pt x="25969" y="9531"/>
                  <a:pt x="25969" y="9531"/>
                  <a:pt x="26000" y="9562"/>
                </a:cubicBezTo>
                <a:cubicBezTo>
                  <a:pt x="26062" y="9562"/>
                  <a:pt x="26094" y="9562"/>
                  <a:pt x="26156" y="9562"/>
                </a:cubicBezTo>
                <a:cubicBezTo>
                  <a:pt x="26250" y="9562"/>
                  <a:pt x="26375" y="9500"/>
                  <a:pt x="26500" y="9469"/>
                </a:cubicBezTo>
                <a:cubicBezTo>
                  <a:pt x="26344" y="9344"/>
                  <a:pt x="26219" y="9469"/>
                  <a:pt x="26094" y="9437"/>
                </a:cubicBezTo>
                <a:cubicBezTo>
                  <a:pt x="26094" y="9437"/>
                  <a:pt x="26062" y="9437"/>
                  <a:pt x="26062" y="9437"/>
                </a:cubicBezTo>
                <a:cubicBezTo>
                  <a:pt x="26062" y="9437"/>
                  <a:pt x="26062" y="9437"/>
                  <a:pt x="26062" y="9437"/>
                </a:cubicBezTo>
                <a:cubicBezTo>
                  <a:pt x="26062" y="9437"/>
                  <a:pt x="26031" y="9437"/>
                  <a:pt x="26031" y="9437"/>
                </a:cubicBezTo>
                <a:cubicBezTo>
                  <a:pt x="26031" y="9406"/>
                  <a:pt x="26000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937" y="9437"/>
                  <a:pt x="25937" y="9437"/>
                  <a:pt x="25937" y="9437"/>
                </a:cubicBezTo>
                <a:cubicBezTo>
                  <a:pt x="25844" y="9406"/>
                  <a:pt x="25750" y="9406"/>
                  <a:pt x="25687" y="9406"/>
                </a:cubicBezTo>
                <a:cubicBezTo>
                  <a:pt x="25531" y="9375"/>
                  <a:pt x="25406" y="9344"/>
                  <a:pt x="25312" y="9250"/>
                </a:cubicBezTo>
                <a:cubicBezTo>
                  <a:pt x="25437" y="9125"/>
                  <a:pt x="25125" y="9187"/>
                  <a:pt x="25156" y="9094"/>
                </a:cubicBezTo>
                <a:cubicBezTo>
                  <a:pt x="25219" y="9094"/>
                  <a:pt x="25281" y="9062"/>
                  <a:pt x="25375" y="9062"/>
                </a:cubicBezTo>
                <a:cubicBezTo>
                  <a:pt x="25469" y="9062"/>
                  <a:pt x="25594" y="9062"/>
                  <a:pt x="25719" y="9062"/>
                </a:cubicBezTo>
                <a:cubicBezTo>
                  <a:pt x="25812" y="9062"/>
                  <a:pt x="25937" y="9062"/>
                  <a:pt x="26062" y="9031"/>
                </a:cubicBezTo>
                <a:cubicBezTo>
                  <a:pt x="26062" y="9031"/>
                  <a:pt x="26062" y="9031"/>
                  <a:pt x="26062" y="9062"/>
                </a:cubicBezTo>
                <a:cubicBezTo>
                  <a:pt x="26062" y="9062"/>
                  <a:pt x="26094" y="9062"/>
                  <a:pt x="26125" y="9094"/>
                </a:cubicBezTo>
                <a:cubicBezTo>
                  <a:pt x="26156" y="9094"/>
                  <a:pt x="26219" y="9094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94"/>
                  <a:pt x="26312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44" y="9094"/>
                  <a:pt x="26344" y="9094"/>
                  <a:pt x="26344" y="9094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375" y="9125"/>
                  <a:pt x="26375" y="9125"/>
                </a:cubicBezTo>
                <a:cubicBezTo>
                  <a:pt x="26375" y="9125"/>
                  <a:pt x="26406" y="9094"/>
                  <a:pt x="26406" y="9094"/>
                </a:cubicBezTo>
                <a:cubicBezTo>
                  <a:pt x="26406" y="9094"/>
                  <a:pt x="26406" y="9094"/>
                  <a:pt x="26406" y="9094"/>
                </a:cubicBezTo>
                <a:cubicBezTo>
                  <a:pt x="26406" y="9094"/>
                  <a:pt x="26406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75" y="9062"/>
                  <a:pt x="26375" y="9062"/>
                  <a:pt x="26375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44" y="9062"/>
                  <a:pt x="26344" y="9062"/>
                </a:cubicBezTo>
                <a:cubicBezTo>
                  <a:pt x="26344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312" y="9062"/>
                  <a:pt x="26312" y="9062"/>
                  <a:pt x="26312" y="9062"/>
                </a:cubicBezTo>
                <a:cubicBezTo>
                  <a:pt x="26125" y="8937"/>
                  <a:pt x="26312" y="8906"/>
                  <a:pt x="26406" y="8844"/>
                </a:cubicBezTo>
                <a:cubicBezTo>
                  <a:pt x="26437" y="8844"/>
                  <a:pt x="26469" y="8844"/>
                  <a:pt x="26500" y="8844"/>
                </a:cubicBezTo>
                <a:cubicBezTo>
                  <a:pt x="26594" y="8906"/>
                  <a:pt x="26656" y="8906"/>
                  <a:pt x="26719" y="8875"/>
                </a:cubicBezTo>
                <a:cubicBezTo>
                  <a:pt x="26781" y="8844"/>
                  <a:pt x="26812" y="8812"/>
                  <a:pt x="26844" y="8781"/>
                </a:cubicBezTo>
                <a:cubicBezTo>
                  <a:pt x="26937" y="8719"/>
                  <a:pt x="27094" y="8812"/>
                  <a:pt x="27219" y="8781"/>
                </a:cubicBezTo>
                <a:cubicBezTo>
                  <a:pt x="27219" y="8781"/>
                  <a:pt x="27250" y="8750"/>
                  <a:pt x="27250" y="8750"/>
                </a:cubicBezTo>
                <a:cubicBezTo>
                  <a:pt x="27312" y="8750"/>
                  <a:pt x="27375" y="8781"/>
                  <a:pt x="27406" y="8781"/>
                </a:cubicBezTo>
                <a:cubicBezTo>
                  <a:pt x="27406" y="8781"/>
                  <a:pt x="27437" y="8781"/>
                  <a:pt x="27437" y="8781"/>
                </a:cubicBezTo>
                <a:cubicBezTo>
                  <a:pt x="27625" y="8500"/>
                  <a:pt x="28125" y="8625"/>
                  <a:pt x="28406" y="8469"/>
                </a:cubicBezTo>
                <a:cubicBezTo>
                  <a:pt x="28437" y="8469"/>
                  <a:pt x="28437" y="8437"/>
                  <a:pt x="28469" y="8437"/>
                </a:cubicBezTo>
                <a:cubicBezTo>
                  <a:pt x="28469" y="8437"/>
                  <a:pt x="28469" y="8437"/>
                  <a:pt x="28469" y="8437"/>
                </a:cubicBezTo>
                <a:cubicBezTo>
                  <a:pt x="28500" y="8437"/>
                  <a:pt x="28500" y="8437"/>
                  <a:pt x="28531" y="8437"/>
                </a:cubicBezTo>
                <a:cubicBezTo>
                  <a:pt x="28531" y="8437"/>
                  <a:pt x="28531" y="8437"/>
                  <a:pt x="28531" y="8437"/>
                </a:cubicBezTo>
                <a:cubicBezTo>
                  <a:pt x="28562" y="8437"/>
                  <a:pt x="28562" y="8437"/>
                  <a:pt x="28562" y="8437"/>
                </a:cubicBezTo>
                <a:cubicBezTo>
                  <a:pt x="28562" y="8437"/>
                  <a:pt x="28562" y="8437"/>
                  <a:pt x="28594" y="8437"/>
                </a:cubicBezTo>
                <a:cubicBezTo>
                  <a:pt x="28594" y="8437"/>
                  <a:pt x="28594" y="8437"/>
                  <a:pt x="28594" y="8406"/>
                </a:cubicBezTo>
                <a:cubicBezTo>
                  <a:pt x="28594" y="8406"/>
                  <a:pt x="28594" y="8406"/>
                  <a:pt x="28594" y="8406"/>
                </a:cubicBezTo>
                <a:cubicBezTo>
                  <a:pt x="28594" y="8406"/>
                  <a:pt x="28594" y="8375"/>
                  <a:pt x="28594" y="8375"/>
                </a:cubicBezTo>
                <a:cubicBezTo>
                  <a:pt x="28562" y="8375"/>
                  <a:pt x="28562" y="8375"/>
                  <a:pt x="28562" y="8344"/>
                </a:cubicBezTo>
                <a:cubicBezTo>
                  <a:pt x="28469" y="8406"/>
                  <a:pt x="28375" y="8406"/>
                  <a:pt x="28281" y="8406"/>
                </a:cubicBezTo>
                <a:cubicBezTo>
                  <a:pt x="28281" y="8406"/>
                  <a:pt x="28250" y="8406"/>
                  <a:pt x="28219" y="8406"/>
                </a:cubicBezTo>
                <a:cubicBezTo>
                  <a:pt x="28156" y="8406"/>
                  <a:pt x="28094" y="8406"/>
                  <a:pt x="28031" y="8469"/>
                </a:cubicBezTo>
                <a:cubicBezTo>
                  <a:pt x="28031" y="8469"/>
                  <a:pt x="28031" y="8469"/>
                  <a:pt x="28000" y="8469"/>
                </a:cubicBezTo>
                <a:cubicBezTo>
                  <a:pt x="28000" y="8469"/>
                  <a:pt x="28000" y="8500"/>
                  <a:pt x="28000" y="8500"/>
                </a:cubicBezTo>
                <a:cubicBezTo>
                  <a:pt x="27937" y="8500"/>
                  <a:pt x="27906" y="8531"/>
                  <a:pt x="27875" y="8500"/>
                </a:cubicBezTo>
                <a:cubicBezTo>
                  <a:pt x="27812" y="8500"/>
                  <a:pt x="27750" y="8469"/>
                  <a:pt x="27687" y="8469"/>
                </a:cubicBezTo>
                <a:cubicBezTo>
                  <a:pt x="27750" y="8406"/>
                  <a:pt x="27812" y="8375"/>
                  <a:pt x="27875" y="8344"/>
                </a:cubicBezTo>
                <a:cubicBezTo>
                  <a:pt x="28062" y="8250"/>
                  <a:pt x="28250" y="8187"/>
                  <a:pt x="28469" y="8094"/>
                </a:cubicBezTo>
                <a:cubicBezTo>
                  <a:pt x="28500" y="8094"/>
                  <a:pt x="28531" y="8094"/>
                  <a:pt x="28562" y="8094"/>
                </a:cubicBezTo>
                <a:cubicBezTo>
                  <a:pt x="28562" y="8094"/>
                  <a:pt x="28594" y="8094"/>
                  <a:pt x="28594" y="8062"/>
                </a:cubicBezTo>
                <a:cubicBezTo>
                  <a:pt x="28625" y="8062"/>
                  <a:pt x="28656" y="8062"/>
                  <a:pt x="28656" y="8031"/>
                </a:cubicBezTo>
                <a:cubicBezTo>
                  <a:pt x="28687" y="8031"/>
                  <a:pt x="28687" y="8031"/>
                  <a:pt x="28719" y="8031"/>
                </a:cubicBezTo>
                <a:cubicBezTo>
                  <a:pt x="28719" y="8000"/>
                  <a:pt x="28750" y="8000"/>
                  <a:pt x="28750" y="7969"/>
                </a:cubicBezTo>
                <a:cubicBezTo>
                  <a:pt x="28750" y="7969"/>
                  <a:pt x="28750" y="7969"/>
                  <a:pt x="28750" y="7969"/>
                </a:cubicBezTo>
                <a:cubicBezTo>
                  <a:pt x="28719" y="7937"/>
                  <a:pt x="28656" y="7969"/>
                  <a:pt x="28594" y="7969"/>
                </a:cubicBezTo>
                <a:cubicBezTo>
                  <a:pt x="28594" y="7969"/>
                  <a:pt x="28594" y="7969"/>
                  <a:pt x="28562" y="7969"/>
                </a:cubicBezTo>
                <a:cubicBezTo>
                  <a:pt x="28562" y="7969"/>
                  <a:pt x="28531" y="7969"/>
                  <a:pt x="28500" y="7937"/>
                </a:cubicBezTo>
                <a:cubicBezTo>
                  <a:pt x="28750" y="7750"/>
                  <a:pt x="28687" y="7437"/>
                  <a:pt x="29062" y="7312"/>
                </a:cubicBezTo>
                <a:lnTo>
                  <a:pt x="29062" y="7312"/>
                </a:lnTo>
                <a:cubicBezTo>
                  <a:pt x="28844" y="7312"/>
                  <a:pt x="28625" y="7344"/>
                  <a:pt x="28375" y="7312"/>
                </a:cubicBezTo>
                <a:cubicBezTo>
                  <a:pt x="28344" y="7312"/>
                  <a:pt x="28344" y="7312"/>
                  <a:pt x="28312" y="7281"/>
                </a:cubicBezTo>
                <a:cubicBezTo>
                  <a:pt x="28250" y="7281"/>
                  <a:pt x="28250" y="7250"/>
                  <a:pt x="28250" y="7250"/>
                </a:cubicBezTo>
                <a:cubicBezTo>
                  <a:pt x="28281" y="7219"/>
                  <a:pt x="28344" y="7187"/>
                  <a:pt x="28375" y="7156"/>
                </a:cubicBezTo>
                <a:cubicBezTo>
                  <a:pt x="28281" y="7156"/>
                  <a:pt x="28219" y="7156"/>
                  <a:pt x="28125" y="7125"/>
                </a:cubicBezTo>
                <a:cubicBezTo>
                  <a:pt x="28062" y="7125"/>
                  <a:pt x="28000" y="7094"/>
                  <a:pt x="27937" y="7094"/>
                </a:cubicBezTo>
                <a:cubicBezTo>
                  <a:pt x="27937" y="7062"/>
                  <a:pt x="27937" y="7062"/>
                  <a:pt x="27937" y="7062"/>
                </a:cubicBezTo>
                <a:cubicBezTo>
                  <a:pt x="28031" y="7000"/>
                  <a:pt x="28094" y="6969"/>
                  <a:pt x="28187" y="6937"/>
                </a:cubicBezTo>
                <a:cubicBezTo>
                  <a:pt x="28250" y="6969"/>
                  <a:pt x="28312" y="6937"/>
                  <a:pt x="28344" y="6906"/>
                </a:cubicBezTo>
                <a:cubicBezTo>
                  <a:pt x="28344" y="6906"/>
                  <a:pt x="28344" y="6906"/>
                  <a:pt x="28344" y="6906"/>
                </a:cubicBezTo>
                <a:cubicBezTo>
                  <a:pt x="28375" y="6906"/>
                  <a:pt x="28375" y="6875"/>
                  <a:pt x="28375" y="6875"/>
                </a:cubicBezTo>
                <a:cubicBezTo>
                  <a:pt x="28375" y="6875"/>
                  <a:pt x="28375" y="6875"/>
                  <a:pt x="28375" y="6875"/>
                </a:cubicBezTo>
                <a:cubicBezTo>
                  <a:pt x="28375" y="6875"/>
                  <a:pt x="28375" y="6875"/>
                  <a:pt x="28344" y="6875"/>
                </a:cubicBezTo>
                <a:cubicBezTo>
                  <a:pt x="28344" y="6844"/>
                  <a:pt x="28312" y="6875"/>
                  <a:pt x="28312" y="6875"/>
                </a:cubicBezTo>
                <a:cubicBezTo>
                  <a:pt x="28281" y="6875"/>
                  <a:pt x="28250" y="6875"/>
                  <a:pt x="28187" y="6875"/>
                </a:cubicBezTo>
                <a:cubicBezTo>
                  <a:pt x="28000" y="6719"/>
                  <a:pt x="27781" y="6781"/>
                  <a:pt x="27531" y="6844"/>
                </a:cubicBezTo>
                <a:cubicBezTo>
                  <a:pt x="27469" y="6875"/>
                  <a:pt x="27375" y="6875"/>
                  <a:pt x="27312" y="6844"/>
                </a:cubicBezTo>
                <a:cubicBezTo>
                  <a:pt x="27281" y="6844"/>
                  <a:pt x="27250" y="6844"/>
                  <a:pt x="27250" y="6844"/>
                </a:cubicBezTo>
                <a:cubicBezTo>
                  <a:pt x="27250" y="6812"/>
                  <a:pt x="27281" y="6781"/>
                  <a:pt x="27281" y="6750"/>
                </a:cubicBezTo>
                <a:cubicBezTo>
                  <a:pt x="27625" y="6719"/>
                  <a:pt x="27969" y="6656"/>
                  <a:pt x="28312" y="6594"/>
                </a:cubicBezTo>
                <a:cubicBezTo>
                  <a:pt x="28187" y="6531"/>
                  <a:pt x="28094" y="6531"/>
                  <a:pt x="27969" y="6531"/>
                </a:cubicBezTo>
                <a:cubicBezTo>
                  <a:pt x="27937" y="6531"/>
                  <a:pt x="27937" y="6531"/>
                  <a:pt x="27906" y="6531"/>
                </a:cubicBezTo>
                <a:cubicBezTo>
                  <a:pt x="27875" y="6531"/>
                  <a:pt x="27812" y="6562"/>
                  <a:pt x="27781" y="6531"/>
                </a:cubicBezTo>
                <a:cubicBezTo>
                  <a:pt x="27781" y="6531"/>
                  <a:pt x="27781" y="6500"/>
                  <a:pt x="27781" y="6469"/>
                </a:cubicBezTo>
                <a:cubicBezTo>
                  <a:pt x="27781" y="6469"/>
                  <a:pt x="27781" y="6469"/>
                  <a:pt x="27781" y="6469"/>
                </a:cubicBezTo>
                <a:cubicBezTo>
                  <a:pt x="27781" y="6469"/>
                  <a:pt x="27781" y="6437"/>
                  <a:pt x="27812" y="6437"/>
                </a:cubicBezTo>
                <a:cubicBezTo>
                  <a:pt x="27812" y="6437"/>
                  <a:pt x="27812" y="6437"/>
                  <a:pt x="27812" y="6437"/>
                </a:cubicBezTo>
                <a:cubicBezTo>
                  <a:pt x="27812" y="6437"/>
                  <a:pt x="27812" y="6406"/>
                  <a:pt x="27812" y="6406"/>
                </a:cubicBezTo>
                <a:cubicBezTo>
                  <a:pt x="27812" y="6406"/>
                  <a:pt x="27812" y="6406"/>
                  <a:pt x="27812" y="6406"/>
                </a:cubicBezTo>
                <a:cubicBezTo>
                  <a:pt x="27812" y="6406"/>
                  <a:pt x="27844" y="6406"/>
                  <a:pt x="27844" y="6406"/>
                </a:cubicBezTo>
                <a:cubicBezTo>
                  <a:pt x="27844" y="6406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44" y="6375"/>
                  <a:pt x="27844" y="6375"/>
                  <a:pt x="27844" y="6375"/>
                </a:cubicBezTo>
                <a:cubicBezTo>
                  <a:pt x="27875" y="6375"/>
                  <a:pt x="27875" y="6375"/>
                  <a:pt x="27875" y="6375"/>
                </a:cubicBezTo>
                <a:cubicBezTo>
                  <a:pt x="27875" y="6344"/>
                  <a:pt x="27875" y="6344"/>
                  <a:pt x="27875" y="6344"/>
                </a:cubicBezTo>
                <a:cubicBezTo>
                  <a:pt x="27875" y="6344"/>
                  <a:pt x="27906" y="6344"/>
                  <a:pt x="27906" y="6344"/>
                </a:cubicBezTo>
                <a:cubicBezTo>
                  <a:pt x="27906" y="6344"/>
                  <a:pt x="27906" y="6344"/>
                  <a:pt x="27906" y="6344"/>
                </a:cubicBezTo>
                <a:cubicBezTo>
                  <a:pt x="27812" y="6344"/>
                  <a:pt x="27687" y="6375"/>
                  <a:pt x="27562" y="6375"/>
                </a:cubicBezTo>
                <a:cubicBezTo>
                  <a:pt x="27437" y="6406"/>
                  <a:pt x="27344" y="6406"/>
                  <a:pt x="27219" y="6406"/>
                </a:cubicBezTo>
                <a:cubicBezTo>
                  <a:pt x="27219" y="6406"/>
                  <a:pt x="27187" y="6406"/>
                  <a:pt x="27187" y="6437"/>
                </a:cubicBezTo>
                <a:cubicBezTo>
                  <a:pt x="27187" y="6437"/>
                  <a:pt x="27156" y="6437"/>
                  <a:pt x="27156" y="6437"/>
                </a:cubicBezTo>
                <a:cubicBezTo>
                  <a:pt x="27156" y="6437"/>
                  <a:pt x="27125" y="6437"/>
                  <a:pt x="27125" y="6437"/>
                </a:cubicBezTo>
                <a:cubicBezTo>
                  <a:pt x="27094" y="6437"/>
                  <a:pt x="27031" y="6406"/>
                  <a:pt x="27031" y="6406"/>
                </a:cubicBezTo>
                <a:cubicBezTo>
                  <a:pt x="27000" y="6375"/>
                  <a:pt x="27031" y="6375"/>
                  <a:pt x="27062" y="6312"/>
                </a:cubicBezTo>
                <a:cubicBezTo>
                  <a:pt x="27062" y="6312"/>
                  <a:pt x="27094" y="6312"/>
                  <a:pt x="27094" y="6281"/>
                </a:cubicBezTo>
                <a:cubicBezTo>
                  <a:pt x="27125" y="6312"/>
                  <a:pt x="27125" y="6312"/>
                  <a:pt x="27125" y="6312"/>
                </a:cubicBezTo>
                <a:cubicBezTo>
                  <a:pt x="27219" y="6312"/>
                  <a:pt x="27250" y="6281"/>
                  <a:pt x="27281" y="6250"/>
                </a:cubicBezTo>
                <a:cubicBezTo>
                  <a:pt x="27344" y="6219"/>
                  <a:pt x="27406" y="6219"/>
                  <a:pt x="27469" y="6187"/>
                </a:cubicBezTo>
                <a:cubicBezTo>
                  <a:pt x="27469" y="6187"/>
                  <a:pt x="27500" y="6187"/>
                  <a:pt x="27500" y="6187"/>
                </a:cubicBezTo>
                <a:cubicBezTo>
                  <a:pt x="27594" y="6187"/>
                  <a:pt x="27656" y="6187"/>
                  <a:pt x="27750" y="6187"/>
                </a:cubicBezTo>
                <a:cubicBezTo>
                  <a:pt x="27781" y="6187"/>
                  <a:pt x="27781" y="6187"/>
                  <a:pt x="27812" y="6156"/>
                </a:cubicBezTo>
                <a:cubicBezTo>
                  <a:pt x="27875" y="6156"/>
                  <a:pt x="27906" y="6156"/>
                  <a:pt x="27969" y="6156"/>
                </a:cubicBezTo>
                <a:cubicBezTo>
                  <a:pt x="28000" y="6156"/>
                  <a:pt x="28000" y="6125"/>
                  <a:pt x="28031" y="6125"/>
                </a:cubicBezTo>
                <a:cubicBezTo>
                  <a:pt x="28062" y="6125"/>
                  <a:pt x="28125" y="6094"/>
                  <a:pt x="28156" y="6094"/>
                </a:cubicBezTo>
                <a:cubicBezTo>
                  <a:pt x="28250" y="6062"/>
                  <a:pt x="28344" y="6000"/>
                  <a:pt x="28437" y="5906"/>
                </a:cubicBezTo>
                <a:cubicBezTo>
                  <a:pt x="28375" y="5937"/>
                  <a:pt x="28344" y="5937"/>
                  <a:pt x="28312" y="5937"/>
                </a:cubicBezTo>
                <a:cubicBezTo>
                  <a:pt x="28219" y="5969"/>
                  <a:pt x="28125" y="6000"/>
                  <a:pt x="28031" y="6031"/>
                </a:cubicBezTo>
                <a:cubicBezTo>
                  <a:pt x="28094" y="6000"/>
                  <a:pt x="28156" y="5969"/>
                  <a:pt x="28187" y="5906"/>
                </a:cubicBezTo>
                <a:cubicBezTo>
                  <a:pt x="28187" y="5906"/>
                  <a:pt x="28219" y="5906"/>
                  <a:pt x="28219" y="5875"/>
                </a:cubicBezTo>
                <a:cubicBezTo>
                  <a:pt x="28250" y="5844"/>
                  <a:pt x="28250" y="5812"/>
                  <a:pt x="28250" y="5750"/>
                </a:cubicBezTo>
                <a:cubicBezTo>
                  <a:pt x="28250" y="5750"/>
                  <a:pt x="28250" y="5719"/>
                  <a:pt x="28250" y="5719"/>
                </a:cubicBezTo>
                <a:cubicBezTo>
                  <a:pt x="28250" y="5656"/>
                  <a:pt x="28250" y="5656"/>
                  <a:pt x="28250" y="5625"/>
                </a:cubicBezTo>
                <a:cubicBezTo>
                  <a:pt x="28250" y="5625"/>
                  <a:pt x="28250" y="5625"/>
                  <a:pt x="28219" y="5625"/>
                </a:cubicBezTo>
                <a:cubicBezTo>
                  <a:pt x="28219" y="5594"/>
                  <a:pt x="28219" y="5594"/>
                  <a:pt x="28219" y="5594"/>
                </a:cubicBezTo>
                <a:cubicBezTo>
                  <a:pt x="28219" y="5594"/>
                  <a:pt x="28219" y="5594"/>
                  <a:pt x="28187" y="5594"/>
                </a:cubicBezTo>
                <a:cubicBezTo>
                  <a:pt x="28187" y="5594"/>
                  <a:pt x="28187" y="5594"/>
                  <a:pt x="28156" y="5594"/>
                </a:cubicBezTo>
                <a:cubicBezTo>
                  <a:pt x="28156" y="5594"/>
                  <a:pt x="28156" y="5594"/>
                  <a:pt x="28125" y="5625"/>
                </a:cubicBezTo>
                <a:cubicBezTo>
                  <a:pt x="28125" y="5625"/>
                  <a:pt x="28094" y="5625"/>
                  <a:pt x="28094" y="5625"/>
                </a:cubicBezTo>
                <a:cubicBezTo>
                  <a:pt x="28094" y="5625"/>
                  <a:pt x="28062" y="5656"/>
                  <a:pt x="28062" y="5656"/>
                </a:cubicBezTo>
                <a:cubicBezTo>
                  <a:pt x="28062" y="5656"/>
                  <a:pt x="28031" y="5656"/>
                  <a:pt x="28031" y="5656"/>
                </a:cubicBezTo>
                <a:cubicBezTo>
                  <a:pt x="27812" y="5750"/>
                  <a:pt x="27594" y="5844"/>
                  <a:pt x="27344" y="5906"/>
                </a:cubicBezTo>
                <a:cubicBezTo>
                  <a:pt x="27250" y="5937"/>
                  <a:pt x="27156" y="5937"/>
                  <a:pt x="27094" y="5969"/>
                </a:cubicBezTo>
                <a:cubicBezTo>
                  <a:pt x="27031" y="5906"/>
                  <a:pt x="27062" y="5875"/>
                  <a:pt x="27125" y="5812"/>
                </a:cubicBezTo>
                <a:cubicBezTo>
                  <a:pt x="27312" y="5812"/>
                  <a:pt x="27437" y="5750"/>
                  <a:pt x="27594" y="5687"/>
                </a:cubicBezTo>
                <a:cubicBezTo>
                  <a:pt x="27656" y="5656"/>
                  <a:pt x="27687" y="5656"/>
                  <a:pt x="27750" y="5625"/>
                </a:cubicBezTo>
                <a:cubicBezTo>
                  <a:pt x="27750" y="5625"/>
                  <a:pt x="27750" y="5625"/>
                  <a:pt x="27781" y="5594"/>
                </a:cubicBezTo>
                <a:cubicBezTo>
                  <a:pt x="27781" y="5594"/>
                  <a:pt x="27781" y="5594"/>
                  <a:pt x="27781" y="5562"/>
                </a:cubicBezTo>
                <a:cubicBezTo>
                  <a:pt x="27781" y="5562"/>
                  <a:pt x="27750" y="5562"/>
                  <a:pt x="27687" y="5562"/>
                </a:cubicBezTo>
                <a:cubicBezTo>
                  <a:pt x="27719" y="5500"/>
                  <a:pt x="27687" y="5437"/>
                  <a:pt x="27719" y="5375"/>
                </a:cubicBezTo>
                <a:cubicBezTo>
                  <a:pt x="27719" y="5344"/>
                  <a:pt x="27719" y="5312"/>
                  <a:pt x="27750" y="5281"/>
                </a:cubicBezTo>
                <a:cubicBezTo>
                  <a:pt x="27781" y="5219"/>
                  <a:pt x="27844" y="5156"/>
                  <a:pt x="27906" y="5125"/>
                </a:cubicBezTo>
                <a:cubicBezTo>
                  <a:pt x="27906" y="5094"/>
                  <a:pt x="27937" y="5094"/>
                  <a:pt x="27969" y="5094"/>
                </a:cubicBezTo>
                <a:cubicBezTo>
                  <a:pt x="28031" y="5062"/>
                  <a:pt x="28094" y="5031"/>
                  <a:pt x="28187" y="5000"/>
                </a:cubicBezTo>
                <a:cubicBezTo>
                  <a:pt x="28219" y="5000"/>
                  <a:pt x="28219" y="5000"/>
                  <a:pt x="28250" y="5000"/>
                </a:cubicBezTo>
                <a:cubicBezTo>
                  <a:pt x="28312" y="4969"/>
                  <a:pt x="28375" y="4969"/>
                  <a:pt x="28437" y="4937"/>
                </a:cubicBezTo>
                <a:cubicBezTo>
                  <a:pt x="28500" y="4937"/>
                  <a:pt x="28562" y="4906"/>
                  <a:pt x="28625" y="4906"/>
                </a:cubicBezTo>
                <a:cubicBezTo>
                  <a:pt x="28562" y="4875"/>
                  <a:pt x="28500" y="4844"/>
                  <a:pt x="28469" y="4844"/>
                </a:cubicBezTo>
                <a:cubicBezTo>
                  <a:pt x="28406" y="4812"/>
                  <a:pt x="28344" y="4812"/>
                  <a:pt x="28312" y="4781"/>
                </a:cubicBezTo>
                <a:cubicBezTo>
                  <a:pt x="28281" y="4781"/>
                  <a:pt x="28250" y="4750"/>
                  <a:pt x="28250" y="4750"/>
                </a:cubicBezTo>
                <a:cubicBezTo>
                  <a:pt x="28219" y="4719"/>
                  <a:pt x="28219" y="4719"/>
                  <a:pt x="28219" y="4687"/>
                </a:cubicBezTo>
                <a:cubicBezTo>
                  <a:pt x="28219" y="4687"/>
                  <a:pt x="28219" y="4687"/>
                  <a:pt x="28219" y="4687"/>
                </a:cubicBezTo>
                <a:cubicBezTo>
                  <a:pt x="28219" y="4687"/>
                  <a:pt x="28219" y="4656"/>
                  <a:pt x="28250" y="4656"/>
                </a:cubicBezTo>
                <a:cubicBezTo>
                  <a:pt x="28281" y="4625"/>
                  <a:pt x="28312" y="4625"/>
                  <a:pt x="28312" y="4625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94"/>
                  <a:pt x="28312" y="4594"/>
                </a:cubicBezTo>
                <a:cubicBezTo>
                  <a:pt x="28312" y="4594"/>
                  <a:pt x="28312" y="4562"/>
                  <a:pt x="28281" y="4562"/>
                </a:cubicBezTo>
                <a:cubicBezTo>
                  <a:pt x="28281" y="4562"/>
                  <a:pt x="28281" y="4562"/>
                  <a:pt x="28250" y="4562"/>
                </a:cubicBezTo>
                <a:cubicBezTo>
                  <a:pt x="28250" y="4562"/>
                  <a:pt x="28250" y="4562"/>
                  <a:pt x="28250" y="4562"/>
                </a:cubicBezTo>
                <a:cubicBezTo>
                  <a:pt x="28219" y="4562"/>
                  <a:pt x="28219" y="4562"/>
                  <a:pt x="28219" y="4562"/>
                </a:cubicBezTo>
                <a:cubicBezTo>
                  <a:pt x="28031" y="4594"/>
                  <a:pt x="27812" y="4594"/>
                  <a:pt x="27625" y="4625"/>
                </a:cubicBezTo>
                <a:cubicBezTo>
                  <a:pt x="27406" y="4625"/>
                  <a:pt x="27219" y="4656"/>
                  <a:pt x="27000" y="4656"/>
                </a:cubicBezTo>
                <a:cubicBezTo>
                  <a:pt x="26687" y="4687"/>
                  <a:pt x="26406" y="4781"/>
                  <a:pt x="26094" y="4719"/>
                </a:cubicBezTo>
                <a:cubicBezTo>
                  <a:pt x="26062" y="4687"/>
                  <a:pt x="26031" y="4687"/>
                  <a:pt x="26031" y="4656"/>
                </a:cubicBezTo>
                <a:cubicBezTo>
                  <a:pt x="26187" y="4625"/>
                  <a:pt x="26344" y="4562"/>
                  <a:pt x="26500" y="4531"/>
                </a:cubicBezTo>
                <a:cubicBezTo>
                  <a:pt x="26906" y="4437"/>
                  <a:pt x="27312" y="4500"/>
                  <a:pt x="27719" y="4469"/>
                </a:cubicBezTo>
                <a:cubicBezTo>
                  <a:pt x="27875" y="4531"/>
                  <a:pt x="27969" y="4469"/>
                  <a:pt x="28094" y="4437"/>
                </a:cubicBezTo>
                <a:cubicBezTo>
                  <a:pt x="28125" y="4406"/>
                  <a:pt x="28125" y="4406"/>
                  <a:pt x="28156" y="4375"/>
                </a:cubicBezTo>
                <a:cubicBezTo>
                  <a:pt x="28187" y="4375"/>
                  <a:pt x="28187" y="4375"/>
                  <a:pt x="28219" y="4344"/>
                </a:cubicBezTo>
                <a:cubicBezTo>
                  <a:pt x="28281" y="4312"/>
                  <a:pt x="28344" y="4281"/>
                  <a:pt x="28437" y="4281"/>
                </a:cubicBezTo>
                <a:cubicBezTo>
                  <a:pt x="28437" y="4281"/>
                  <a:pt x="28437" y="4281"/>
                  <a:pt x="28437" y="4281"/>
                </a:cubicBezTo>
                <a:cubicBezTo>
                  <a:pt x="28250" y="4219"/>
                  <a:pt x="28125" y="4187"/>
                  <a:pt x="27969" y="4219"/>
                </a:cubicBezTo>
                <a:cubicBezTo>
                  <a:pt x="27969" y="4219"/>
                  <a:pt x="27937" y="4219"/>
                  <a:pt x="27906" y="4250"/>
                </a:cubicBezTo>
                <a:cubicBezTo>
                  <a:pt x="27812" y="4219"/>
                  <a:pt x="27719" y="4219"/>
                  <a:pt x="27625" y="4219"/>
                </a:cubicBezTo>
                <a:cubicBezTo>
                  <a:pt x="27594" y="4156"/>
                  <a:pt x="27594" y="4125"/>
                  <a:pt x="27625" y="4094"/>
                </a:cubicBezTo>
                <a:cubicBezTo>
                  <a:pt x="27625" y="4094"/>
                  <a:pt x="27625" y="4094"/>
                  <a:pt x="27625" y="4094"/>
                </a:cubicBezTo>
                <a:cubicBezTo>
                  <a:pt x="27656" y="4094"/>
                  <a:pt x="27687" y="4094"/>
                  <a:pt x="27687" y="4094"/>
                </a:cubicBezTo>
                <a:cubicBezTo>
                  <a:pt x="27687" y="4094"/>
                  <a:pt x="27719" y="4094"/>
                  <a:pt x="27719" y="4094"/>
                </a:cubicBezTo>
                <a:cubicBezTo>
                  <a:pt x="27812" y="4094"/>
                  <a:pt x="27906" y="4125"/>
                  <a:pt x="27937" y="4062"/>
                </a:cubicBezTo>
                <a:cubicBezTo>
                  <a:pt x="27906" y="4031"/>
                  <a:pt x="27906" y="4031"/>
                  <a:pt x="27906" y="4031"/>
                </a:cubicBezTo>
                <a:cubicBezTo>
                  <a:pt x="27719" y="3844"/>
                  <a:pt x="27469" y="3937"/>
                  <a:pt x="27250" y="3906"/>
                </a:cubicBezTo>
                <a:cubicBezTo>
                  <a:pt x="27219" y="3906"/>
                  <a:pt x="27187" y="3906"/>
                  <a:pt x="27156" y="3906"/>
                </a:cubicBezTo>
                <a:cubicBezTo>
                  <a:pt x="27094" y="3906"/>
                  <a:pt x="27062" y="3906"/>
                  <a:pt x="27000" y="3906"/>
                </a:cubicBezTo>
                <a:cubicBezTo>
                  <a:pt x="26969" y="3906"/>
                  <a:pt x="26937" y="3906"/>
                  <a:pt x="26906" y="3906"/>
                </a:cubicBezTo>
                <a:cubicBezTo>
                  <a:pt x="26906" y="3906"/>
                  <a:pt x="26875" y="3906"/>
                  <a:pt x="26875" y="3906"/>
                </a:cubicBezTo>
                <a:cubicBezTo>
                  <a:pt x="26844" y="3906"/>
                  <a:pt x="26844" y="3906"/>
                  <a:pt x="26844" y="3875"/>
                </a:cubicBezTo>
                <a:cubicBezTo>
                  <a:pt x="26812" y="3875"/>
                  <a:pt x="26812" y="3875"/>
                  <a:pt x="26812" y="3844"/>
                </a:cubicBezTo>
                <a:cubicBezTo>
                  <a:pt x="26812" y="3812"/>
                  <a:pt x="26844" y="3781"/>
                  <a:pt x="26906" y="3750"/>
                </a:cubicBezTo>
                <a:cubicBezTo>
                  <a:pt x="27000" y="3719"/>
                  <a:pt x="27125" y="3719"/>
                  <a:pt x="27219" y="3687"/>
                </a:cubicBezTo>
                <a:cubicBezTo>
                  <a:pt x="27250" y="3687"/>
                  <a:pt x="27250" y="3687"/>
                  <a:pt x="27250" y="3687"/>
                </a:cubicBezTo>
                <a:cubicBezTo>
                  <a:pt x="27156" y="3719"/>
                  <a:pt x="27062" y="3719"/>
                  <a:pt x="26969" y="3719"/>
                </a:cubicBezTo>
                <a:cubicBezTo>
                  <a:pt x="26812" y="3687"/>
                  <a:pt x="26656" y="3656"/>
                  <a:pt x="26500" y="3719"/>
                </a:cubicBezTo>
                <a:cubicBezTo>
                  <a:pt x="26281" y="3719"/>
                  <a:pt x="26094" y="3750"/>
                  <a:pt x="25875" y="3750"/>
                </a:cubicBezTo>
                <a:cubicBezTo>
                  <a:pt x="25844" y="3750"/>
                  <a:pt x="25781" y="3750"/>
                  <a:pt x="25750" y="3750"/>
                </a:cubicBezTo>
                <a:cubicBezTo>
                  <a:pt x="25719" y="3719"/>
                  <a:pt x="25719" y="3719"/>
                  <a:pt x="25687" y="3719"/>
                </a:cubicBezTo>
                <a:cubicBezTo>
                  <a:pt x="25687" y="3719"/>
                  <a:pt x="25656" y="3687"/>
                  <a:pt x="25656" y="3687"/>
                </a:cubicBezTo>
                <a:cubicBezTo>
                  <a:pt x="25625" y="3625"/>
                  <a:pt x="25719" y="3594"/>
                  <a:pt x="25781" y="3562"/>
                </a:cubicBezTo>
                <a:cubicBezTo>
                  <a:pt x="25781" y="3562"/>
                  <a:pt x="25781" y="3562"/>
                  <a:pt x="25781" y="3562"/>
                </a:cubicBezTo>
                <a:cubicBezTo>
                  <a:pt x="25875" y="3500"/>
                  <a:pt x="25969" y="3437"/>
                  <a:pt x="25969" y="3375"/>
                </a:cubicBezTo>
                <a:cubicBezTo>
                  <a:pt x="25969" y="3344"/>
                  <a:pt x="25969" y="3312"/>
                  <a:pt x="25969" y="3281"/>
                </a:cubicBezTo>
                <a:cubicBezTo>
                  <a:pt x="25969" y="3250"/>
                  <a:pt x="25937" y="3219"/>
                  <a:pt x="25906" y="3156"/>
                </a:cubicBezTo>
                <a:cubicBezTo>
                  <a:pt x="25906" y="3156"/>
                  <a:pt x="25906" y="3156"/>
                  <a:pt x="25875" y="3125"/>
                </a:cubicBezTo>
                <a:cubicBezTo>
                  <a:pt x="25844" y="3094"/>
                  <a:pt x="25781" y="3062"/>
                  <a:pt x="25719" y="3062"/>
                </a:cubicBezTo>
                <a:cubicBezTo>
                  <a:pt x="25625" y="3031"/>
                  <a:pt x="25500" y="3062"/>
                  <a:pt x="25375" y="3062"/>
                </a:cubicBezTo>
                <a:cubicBezTo>
                  <a:pt x="25437" y="2937"/>
                  <a:pt x="25594" y="2906"/>
                  <a:pt x="25719" y="2875"/>
                </a:cubicBezTo>
                <a:cubicBezTo>
                  <a:pt x="25781" y="2875"/>
                  <a:pt x="25812" y="2875"/>
                  <a:pt x="25844" y="2875"/>
                </a:cubicBezTo>
                <a:cubicBezTo>
                  <a:pt x="25906" y="2844"/>
                  <a:pt x="25937" y="2844"/>
                  <a:pt x="25969" y="2812"/>
                </a:cubicBezTo>
                <a:cubicBezTo>
                  <a:pt x="25969" y="2812"/>
                  <a:pt x="26000" y="2812"/>
                  <a:pt x="26000" y="2812"/>
                </a:cubicBezTo>
                <a:cubicBezTo>
                  <a:pt x="26031" y="2781"/>
                  <a:pt x="26031" y="2750"/>
                  <a:pt x="26031" y="2719"/>
                </a:cubicBezTo>
                <a:cubicBezTo>
                  <a:pt x="26031" y="2719"/>
                  <a:pt x="26031" y="2687"/>
                  <a:pt x="26031" y="2687"/>
                </a:cubicBezTo>
                <a:cubicBezTo>
                  <a:pt x="26000" y="2656"/>
                  <a:pt x="26000" y="2594"/>
                  <a:pt x="26000" y="2562"/>
                </a:cubicBezTo>
                <a:cubicBezTo>
                  <a:pt x="25969" y="2531"/>
                  <a:pt x="25969" y="2469"/>
                  <a:pt x="25937" y="2437"/>
                </a:cubicBezTo>
                <a:cubicBezTo>
                  <a:pt x="25906" y="2406"/>
                  <a:pt x="25844" y="2375"/>
                  <a:pt x="25781" y="2344"/>
                </a:cubicBezTo>
                <a:cubicBezTo>
                  <a:pt x="25750" y="2344"/>
                  <a:pt x="25719" y="2344"/>
                  <a:pt x="25687" y="2344"/>
                </a:cubicBezTo>
                <a:cubicBezTo>
                  <a:pt x="25594" y="2344"/>
                  <a:pt x="25562" y="2344"/>
                  <a:pt x="25531" y="2344"/>
                </a:cubicBezTo>
                <a:cubicBezTo>
                  <a:pt x="25531" y="2344"/>
                  <a:pt x="25531" y="2344"/>
                  <a:pt x="25500" y="2312"/>
                </a:cubicBezTo>
                <a:cubicBezTo>
                  <a:pt x="25500" y="2312"/>
                  <a:pt x="25531" y="2281"/>
                  <a:pt x="25531" y="2250"/>
                </a:cubicBezTo>
                <a:cubicBezTo>
                  <a:pt x="25562" y="2250"/>
                  <a:pt x="25562" y="2250"/>
                  <a:pt x="25562" y="2250"/>
                </a:cubicBezTo>
                <a:cubicBezTo>
                  <a:pt x="25562" y="2250"/>
                  <a:pt x="25562" y="2219"/>
                  <a:pt x="25594" y="2219"/>
                </a:cubicBezTo>
                <a:cubicBezTo>
                  <a:pt x="25594" y="2219"/>
                  <a:pt x="25594" y="2187"/>
                  <a:pt x="25594" y="2187"/>
                </a:cubicBezTo>
                <a:cubicBezTo>
                  <a:pt x="25531" y="2187"/>
                  <a:pt x="25469" y="2156"/>
                  <a:pt x="25469" y="2156"/>
                </a:cubicBezTo>
                <a:cubicBezTo>
                  <a:pt x="25437" y="2125"/>
                  <a:pt x="25437" y="2094"/>
                  <a:pt x="25437" y="2031"/>
                </a:cubicBezTo>
                <a:cubicBezTo>
                  <a:pt x="25437" y="2031"/>
                  <a:pt x="25437" y="2031"/>
                  <a:pt x="25437" y="2031"/>
                </a:cubicBezTo>
                <a:cubicBezTo>
                  <a:pt x="25437" y="2031"/>
                  <a:pt x="25437" y="2031"/>
                  <a:pt x="25406" y="2000"/>
                </a:cubicBezTo>
                <a:cubicBezTo>
                  <a:pt x="25406" y="2000"/>
                  <a:pt x="25406" y="2000"/>
                  <a:pt x="25406" y="2000"/>
                </a:cubicBezTo>
                <a:cubicBezTo>
                  <a:pt x="25375" y="2000"/>
                  <a:pt x="25375" y="2000"/>
                  <a:pt x="25344" y="2000"/>
                </a:cubicBezTo>
                <a:cubicBezTo>
                  <a:pt x="25281" y="1969"/>
                  <a:pt x="25187" y="2031"/>
                  <a:pt x="25125" y="1969"/>
                </a:cubicBezTo>
                <a:cubicBezTo>
                  <a:pt x="25125" y="1937"/>
                  <a:pt x="25125" y="1906"/>
                  <a:pt x="25125" y="1906"/>
                </a:cubicBezTo>
                <a:cubicBezTo>
                  <a:pt x="25156" y="1875"/>
                  <a:pt x="25187" y="1875"/>
                  <a:pt x="25219" y="1875"/>
                </a:cubicBezTo>
                <a:cubicBezTo>
                  <a:pt x="25250" y="1875"/>
                  <a:pt x="25281" y="1844"/>
                  <a:pt x="25312" y="1812"/>
                </a:cubicBezTo>
                <a:cubicBezTo>
                  <a:pt x="25000" y="1812"/>
                  <a:pt x="24687" y="1812"/>
                  <a:pt x="24375" y="1812"/>
                </a:cubicBezTo>
                <a:cubicBezTo>
                  <a:pt x="23750" y="1812"/>
                  <a:pt x="23125" y="1844"/>
                  <a:pt x="22500" y="1844"/>
                </a:cubicBezTo>
                <a:cubicBezTo>
                  <a:pt x="22312" y="1844"/>
                  <a:pt x="22094" y="1844"/>
                  <a:pt x="21875" y="1812"/>
                </a:cubicBezTo>
                <a:cubicBezTo>
                  <a:pt x="21750" y="1812"/>
                  <a:pt x="21562" y="1812"/>
                  <a:pt x="21437" y="1750"/>
                </a:cubicBezTo>
                <a:cubicBezTo>
                  <a:pt x="21375" y="1750"/>
                  <a:pt x="21344" y="1750"/>
                  <a:pt x="21312" y="1719"/>
                </a:cubicBezTo>
                <a:cubicBezTo>
                  <a:pt x="21250" y="1687"/>
                  <a:pt x="21219" y="1656"/>
                  <a:pt x="21187" y="1625"/>
                </a:cubicBezTo>
                <a:cubicBezTo>
                  <a:pt x="21156" y="1594"/>
                  <a:pt x="21156" y="1562"/>
                  <a:pt x="21125" y="1531"/>
                </a:cubicBezTo>
                <a:cubicBezTo>
                  <a:pt x="21125" y="1469"/>
                  <a:pt x="21094" y="1437"/>
                  <a:pt x="21062" y="1406"/>
                </a:cubicBezTo>
                <a:cubicBezTo>
                  <a:pt x="21000" y="1344"/>
                  <a:pt x="20937" y="1344"/>
                  <a:pt x="20875" y="1344"/>
                </a:cubicBezTo>
                <a:cubicBezTo>
                  <a:pt x="20844" y="1344"/>
                  <a:pt x="20781" y="1344"/>
                  <a:pt x="20750" y="1344"/>
                </a:cubicBezTo>
                <a:cubicBezTo>
                  <a:pt x="20719" y="1344"/>
                  <a:pt x="20719" y="1344"/>
                  <a:pt x="20687" y="1344"/>
                </a:cubicBezTo>
                <a:cubicBezTo>
                  <a:pt x="20656" y="1344"/>
                  <a:pt x="20656" y="1344"/>
                  <a:pt x="20656" y="1344"/>
                </a:cubicBezTo>
                <a:cubicBezTo>
                  <a:pt x="20625" y="1344"/>
                  <a:pt x="20625" y="1312"/>
                  <a:pt x="20594" y="1312"/>
                </a:cubicBezTo>
                <a:cubicBezTo>
                  <a:pt x="20656" y="1281"/>
                  <a:pt x="20719" y="1219"/>
                  <a:pt x="20781" y="1187"/>
                </a:cubicBezTo>
                <a:cubicBezTo>
                  <a:pt x="20750" y="1187"/>
                  <a:pt x="20719" y="1156"/>
                  <a:pt x="20656" y="1156"/>
                </a:cubicBezTo>
                <a:cubicBezTo>
                  <a:pt x="20625" y="1156"/>
                  <a:pt x="20594" y="1156"/>
                  <a:pt x="20562" y="1156"/>
                </a:cubicBezTo>
                <a:cubicBezTo>
                  <a:pt x="20562" y="1156"/>
                  <a:pt x="20531" y="1156"/>
                  <a:pt x="20531" y="1125"/>
                </a:cubicBezTo>
                <a:cubicBezTo>
                  <a:pt x="20500" y="1125"/>
                  <a:pt x="20500" y="1125"/>
                  <a:pt x="20500" y="1094"/>
                </a:cubicBezTo>
                <a:cubicBezTo>
                  <a:pt x="20531" y="1062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31"/>
                </a:cubicBezTo>
                <a:cubicBezTo>
                  <a:pt x="20531" y="1031"/>
                  <a:pt x="20531" y="1031"/>
                  <a:pt x="20531" y="1000"/>
                </a:cubicBezTo>
                <a:cubicBezTo>
                  <a:pt x="20531" y="969"/>
                  <a:pt x="20531" y="937"/>
                  <a:pt x="20500" y="906"/>
                </a:cubicBezTo>
                <a:cubicBezTo>
                  <a:pt x="20437" y="875"/>
                  <a:pt x="20375" y="875"/>
                  <a:pt x="20312" y="844"/>
                </a:cubicBezTo>
                <a:cubicBezTo>
                  <a:pt x="20281" y="844"/>
                  <a:pt x="20250" y="812"/>
                  <a:pt x="20219" y="812"/>
                </a:cubicBezTo>
                <a:cubicBezTo>
                  <a:pt x="19969" y="719"/>
                  <a:pt x="19687" y="625"/>
                  <a:pt x="19437" y="656"/>
                </a:cubicBezTo>
                <a:cubicBezTo>
                  <a:pt x="19250" y="687"/>
                  <a:pt x="19062" y="656"/>
                  <a:pt x="18875" y="625"/>
                </a:cubicBezTo>
                <a:cubicBezTo>
                  <a:pt x="18562" y="594"/>
                  <a:pt x="18250" y="562"/>
                  <a:pt x="17906" y="656"/>
                </a:cubicBezTo>
                <a:cubicBezTo>
                  <a:pt x="17906" y="656"/>
                  <a:pt x="17906" y="656"/>
                  <a:pt x="17906" y="625"/>
                </a:cubicBezTo>
                <a:cubicBezTo>
                  <a:pt x="17906" y="625"/>
                  <a:pt x="17906" y="625"/>
                  <a:pt x="17937" y="625"/>
                </a:cubicBezTo>
                <a:cubicBezTo>
                  <a:pt x="17937" y="594"/>
                  <a:pt x="17969" y="594"/>
                  <a:pt x="17969" y="594"/>
                </a:cubicBezTo>
                <a:cubicBezTo>
                  <a:pt x="18000" y="594"/>
                  <a:pt x="18000" y="594"/>
                  <a:pt x="18000" y="594"/>
                </a:cubicBezTo>
                <a:cubicBezTo>
                  <a:pt x="18031" y="594"/>
                  <a:pt x="18062" y="594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62"/>
                  <a:pt x="18062" y="562"/>
                </a:cubicBezTo>
                <a:cubicBezTo>
                  <a:pt x="18062" y="562"/>
                  <a:pt x="18062" y="531"/>
                  <a:pt x="18062" y="531"/>
                </a:cubicBezTo>
                <a:cubicBezTo>
                  <a:pt x="18031" y="500"/>
                  <a:pt x="18000" y="500"/>
                  <a:pt x="17969" y="469"/>
                </a:cubicBezTo>
                <a:cubicBezTo>
                  <a:pt x="17906" y="469"/>
                  <a:pt x="17844" y="469"/>
                  <a:pt x="17781" y="469"/>
                </a:cubicBezTo>
                <a:cubicBezTo>
                  <a:pt x="17781" y="469"/>
                  <a:pt x="17781" y="469"/>
                  <a:pt x="17781" y="469"/>
                </a:cubicBezTo>
                <a:cubicBezTo>
                  <a:pt x="17750" y="469"/>
                  <a:pt x="17750" y="469"/>
                  <a:pt x="17719" y="469"/>
                </a:cubicBezTo>
                <a:cubicBezTo>
                  <a:pt x="17719" y="469"/>
                  <a:pt x="17719" y="469"/>
                  <a:pt x="17719" y="469"/>
                </a:cubicBezTo>
                <a:cubicBezTo>
                  <a:pt x="17719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87" y="500"/>
                  <a:pt x="17687" y="500"/>
                </a:cubicBezTo>
                <a:cubicBezTo>
                  <a:pt x="17687" y="500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56" y="531"/>
                  <a:pt x="17656" y="531"/>
                </a:cubicBezTo>
                <a:cubicBezTo>
                  <a:pt x="17656" y="531"/>
                  <a:pt x="17625" y="500"/>
                  <a:pt x="17625" y="500"/>
                </a:cubicBezTo>
                <a:cubicBezTo>
                  <a:pt x="17625" y="500"/>
                  <a:pt x="17625" y="500"/>
                  <a:pt x="17625" y="500"/>
                </a:cubicBezTo>
                <a:cubicBezTo>
                  <a:pt x="17594" y="500"/>
                  <a:pt x="17594" y="500"/>
                  <a:pt x="17594" y="500"/>
                </a:cubicBezTo>
                <a:cubicBezTo>
                  <a:pt x="17562" y="469"/>
                  <a:pt x="17531" y="469"/>
                  <a:pt x="17500" y="469"/>
                </a:cubicBezTo>
                <a:cubicBezTo>
                  <a:pt x="17500" y="437"/>
                  <a:pt x="17500" y="437"/>
                  <a:pt x="17469" y="437"/>
                </a:cubicBezTo>
                <a:cubicBezTo>
                  <a:pt x="17469" y="437"/>
                  <a:pt x="17469" y="437"/>
                  <a:pt x="17469" y="437"/>
                </a:cubicBezTo>
                <a:cubicBezTo>
                  <a:pt x="17437" y="437"/>
                  <a:pt x="17437" y="437"/>
                  <a:pt x="17437" y="437"/>
                </a:cubicBezTo>
                <a:cubicBezTo>
                  <a:pt x="17437" y="437"/>
                  <a:pt x="17406" y="437"/>
                  <a:pt x="17406" y="437"/>
                </a:cubicBezTo>
                <a:cubicBezTo>
                  <a:pt x="17406" y="437"/>
                  <a:pt x="17375" y="437"/>
                  <a:pt x="17375" y="437"/>
                </a:cubicBezTo>
                <a:cubicBezTo>
                  <a:pt x="17031" y="406"/>
                  <a:pt x="16656" y="344"/>
                  <a:pt x="16312" y="500"/>
                </a:cubicBezTo>
                <a:cubicBezTo>
                  <a:pt x="16219" y="531"/>
                  <a:pt x="16094" y="469"/>
                  <a:pt x="15969" y="469"/>
                </a:cubicBezTo>
                <a:cubicBezTo>
                  <a:pt x="15906" y="469"/>
                  <a:pt x="15875" y="437"/>
                  <a:pt x="15812" y="469"/>
                </a:cubicBezTo>
                <a:cubicBezTo>
                  <a:pt x="15687" y="500"/>
                  <a:pt x="15562" y="531"/>
                  <a:pt x="15406" y="531"/>
                </a:cubicBezTo>
                <a:cubicBezTo>
                  <a:pt x="15156" y="500"/>
                  <a:pt x="14906" y="531"/>
                  <a:pt x="14656" y="531"/>
                </a:cubicBezTo>
                <a:cubicBezTo>
                  <a:pt x="14281" y="531"/>
                  <a:pt x="13906" y="562"/>
                  <a:pt x="13531" y="562"/>
                </a:cubicBezTo>
                <a:cubicBezTo>
                  <a:pt x="13406" y="562"/>
                  <a:pt x="13281" y="562"/>
                  <a:pt x="13156" y="562"/>
                </a:cubicBezTo>
                <a:cubicBezTo>
                  <a:pt x="12906" y="562"/>
                  <a:pt x="12656" y="531"/>
                  <a:pt x="12406" y="531"/>
                </a:cubicBezTo>
                <a:cubicBezTo>
                  <a:pt x="12312" y="500"/>
                  <a:pt x="12219" y="500"/>
                  <a:pt x="12094" y="500"/>
                </a:cubicBezTo>
                <a:cubicBezTo>
                  <a:pt x="11812" y="500"/>
                  <a:pt x="11500" y="500"/>
                  <a:pt x="11187" y="500"/>
                </a:cubicBezTo>
                <a:cubicBezTo>
                  <a:pt x="11000" y="500"/>
                  <a:pt x="10781" y="500"/>
                  <a:pt x="10562" y="500"/>
                </a:cubicBezTo>
                <a:cubicBezTo>
                  <a:pt x="10344" y="500"/>
                  <a:pt x="10125" y="500"/>
                  <a:pt x="9906" y="500"/>
                </a:cubicBezTo>
                <a:cubicBezTo>
                  <a:pt x="8719" y="531"/>
                  <a:pt x="7531" y="531"/>
                  <a:pt x="6375" y="687"/>
                </a:cubicBezTo>
                <a:cubicBezTo>
                  <a:pt x="6125" y="719"/>
                  <a:pt x="5875" y="750"/>
                  <a:pt x="5625" y="750"/>
                </a:cubicBezTo>
                <a:cubicBezTo>
                  <a:pt x="5500" y="781"/>
                  <a:pt x="5406" y="781"/>
                  <a:pt x="5281" y="781"/>
                </a:cubicBezTo>
                <a:cubicBezTo>
                  <a:pt x="5156" y="812"/>
                  <a:pt x="5031" y="844"/>
                  <a:pt x="4906" y="875"/>
                </a:cubicBezTo>
                <a:cubicBezTo>
                  <a:pt x="4906" y="875"/>
                  <a:pt x="4906" y="875"/>
                  <a:pt x="4875" y="875"/>
                </a:cubicBezTo>
                <a:cubicBezTo>
                  <a:pt x="4844" y="875"/>
                  <a:pt x="4812" y="875"/>
                  <a:pt x="4781" y="875"/>
                </a:cubicBezTo>
                <a:cubicBezTo>
                  <a:pt x="4750" y="906"/>
                  <a:pt x="4719" y="906"/>
                  <a:pt x="4719" y="937"/>
                </a:cubicBezTo>
                <a:cubicBezTo>
                  <a:pt x="4719" y="969"/>
                  <a:pt x="4719" y="969"/>
                  <a:pt x="4719" y="969"/>
                </a:cubicBezTo>
                <a:cubicBezTo>
                  <a:pt x="4750" y="1000"/>
                  <a:pt x="4781" y="1000"/>
                  <a:pt x="4812" y="1000"/>
                </a:cubicBezTo>
                <a:cubicBezTo>
                  <a:pt x="4844" y="1031"/>
                  <a:pt x="4844" y="1031"/>
                  <a:pt x="4875" y="1031"/>
                </a:cubicBezTo>
                <a:cubicBezTo>
                  <a:pt x="4906" y="1000"/>
                  <a:pt x="4937" y="1000"/>
                  <a:pt x="4937" y="1000"/>
                </a:cubicBezTo>
                <a:cubicBezTo>
                  <a:pt x="4969" y="1000"/>
                  <a:pt x="5000" y="1000"/>
                  <a:pt x="5000" y="1000"/>
                </a:cubicBezTo>
                <a:cubicBezTo>
                  <a:pt x="5031" y="969"/>
                  <a:pt x="5062" y="969"/>
                  <a:pt x="5094" y="969"/>
                </a:cubicBezTo>
                <a:cubicBezTo>
                  <a:pt x="5094" y="969"/>
                  <a:pt x="5125" y="969"/>
                  <a:pt x="5125" y="969"/>
                </a:cubicBezTo>
                <a:cubicBezTo>
                  <a:pt x="5187" y="1000"/>
                  <a:pt x="5219" y="1031"/>
                  <a:pt x="5187" y="1156"/>
                </a:cubicBezTo>
                <a:cubicBezTo>
                  <a:pt x="5250" y="1125"/>
                  <a:pt x="5281" y="1125"/>
                  <a:pt x="5312" y="1125"/>
                </a:cubicBezTo>
                <a:cubicBezTo>
                  <a:pt x="5406" y="1125"/>
                  <a:pt x="5531" y="1125"/>
                  <a:pt x="5625" y="1156"/>
                </a:cubicBezTo>
                <a:cubicBezTo>
                  <a:pt x="5625" y="1187"/>
                  <a:pt x="5656" y="1187"/>
                  <a:pt x="5656" y="1187"/>
                </a:cubicBezTo>
                <a:cubicBezTo>
                  <a:pt x="5656" y="1187"/>
                  <a:pt x="5656" y="1187"/>
                  <a:pt x="5656" y="1219"/>
                </a:cubicBezTo>
                <a:cubicBezTo>
                  <a:pt x="5687" y="1219"/>
                  <a:pt x="5687" y="1219"/>
                  <a:pt x="5687" y="1219"/>
                </a:cubicBezTo>
                <a:cubicBezTo>
                  <a:pt x="5687" y="1219"/>
                  <a:pt x="5687" y="1219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50"/>
                  <a:pt x="5687" y="1250"/>
                  <a:pt x="5687" y="1250"/>
                </a:cubicBezTo>
                <a:cubicBezTo>
                  <a:pt x="5687" y="1281"/>
                  <a:pt x="5656" y="1281"/>
                  <a:pt x="5625" y="1281"/>
                </a:cubicBezTo>
                <a:cubicBezTo>
                  <a:pt x="5531" y="1281"/>
                  <a:pt x="5469" y="1312"/>
                  <a:pt x="5375" y="1344"/>
                </a:cubicBezTo>
                <a:cubicBezTo>
                  <a:pt x="5344" y="1375"/>
                  <a:pt x="5281" y="1375"/>
                  <a:pt x="5250" y="1375"/>
                </a:cubicBezTo>
                <a:cubicBezTo>
                  <a:pt x="5187" y="1406"/>
                  <a:pt x="5156" y="1406"/>
                  <a:pt x="5094" y="1406"/>
                </a:cubicBezTo>
                <a:cubicBezTo>
                  <a:pt x="4906" y="1375"/>
                  <a:pt x="4719" y="1437"/>
                  <a:pt x="4531" y="1500"/>
                </a:cubicBezTo>
                <a:cubicBezTo>
                  <a:pt x="4375" y="1500"/>
                  <a:pt x="4250" y="1500"/>
                  <a:pt x="4094" y="1531"/>
                </a:cubicBezTo>
                <a:cubicBezTo>
                  <a:pt x="4062" y="1531"/>
                  <a:pt x="4000" y="1562"/>
                  <a:pt x="3937" y="1594"/>
                </a:cubicBezTo>
                <a:cubicBezTo>
                  <a:pt x="4156" y="1687"/>
                  <a:pt x="4344" y="1594"/>
                  <a:pt x="4531" y="1562"/>
                </a:cubicBezTo>
                <a:cubicBezTo>
                  <a:pt x="4562" y="1562"/>
                  <a:pt x="4594" y="1562"/>
                  <a:pt x="4625" y="1562"/>
                </a:cubicBezTo>
                <a:cubicBezTo>
                  <a:pt x="4625" y="1562"/>
                  <a:pt x="4656" y="1562"/>
                  <a:pt x="4656" y="1562"/>
                </a:cubicBezTo>
                <a:cubicBezTo>
                  <a:pt x="4687" y="1562"/>
                  <a:pt x="4719" y="1531"/>
                  <a:pt x="4750" y="1531"/>
                </a:cubicBezTo>
                <a:cubicBezTo>
                  <a:pt x="4812" y="1531"/>
                  <a:pt x="4844" y="1531"/>
                  <a:pt x="4906" y="1531"/>
                </a:cubicBezTo>
                <a:cubicBezTo>
                  <a:pt x="4906" y="1531"/>
                  <a:pt x="4937" y="1531"/>
                  <a:pt x="4969" y="1531"/>
                </a:cubicBezTo>
                <a:cubicBezTo>
                  <a:pt x="4969" y="1531"/>
                  <a:pt x="4969" y="1531"/>
                  <a:pt x="5000" y="1531"/>
                </a:cubicBezTo>
                <a:cubicBezTo>
                  <a:pt x="5000" y="1531"/>
                  <a:pt x="5000" y="1531"/>
                  <a:pt x="5031" y="1562"/>
                </a:cubicBezTo>
                <a:cubicBezTo>
                  <a:pt x="5031" y="1562"/>
                  <a:pt x="5031" y="1562"/>
                  <a:pt x="5031" y="1562"/>
                </a:cubicBezTo>
                <a:cubicBezTo>
                  <a:pt x="5062" y="1594"/>
                  <a:pt x="5094" y="1625"/>
                  <a:pt x="5094" y="1656"/>
                </a:cubicBezTo>
                <a:cubicBezTo>
                  <a:pt x="5156" y="1687"/>
                  <a:pt x="5219" y="1656"/>
                  <a:pt x="5312" y="1625"/>
                </a:cubicBezTo>
                <a:cubicBezTo>
                  <a:pt x="5406" y="1562"/>
                  <a:pt x="5500" y="1594"/>
                  <a:pt x="5594" y="1625"/>
                </a:cubicBezTo>
                <a:cubicBezTo>
                  <a:pt x="5531" y="1656"/>
                  <a:pt x="5500" y="1687"/>
                  <a:pt x="5469" y="1687"/>
                </a:cubicBezTo>
                <a:cubicBezTo>
                  <a:pt x="5437" y="1719"/>
                  <a:pt x="5437" y="1719"/>
                  <a:pt x="5406" y="1719"/>
                </a:cubicBezTo>
                <a:cubicBezTo>
                  <a:pt x="5375" y="1719"/>
                  <a:pt x="5344" y="1719"/>
                  <a:pt x="5281" y="1719"/>
                </a:cubicBezTo>
                <a:cubicBezTo>
                  <a:pt x="5250" y="1719"/>
                  <a:pt x="5219" y="1687"/>
                  <a:pt x="5219" y="1687"/>
                </a:cubicBezTo>
                <a:cubicBezTo>
                  <a:pt x="5187" y="1687"/>
                  <a:pt x="5156" y="1687"/>
                  <a:pt x="5125" y="1656"/>
                </a:cubicBezTo>
                <a:cubicBezTo>
                  <a:pt x="5062" y="1656"/>
                  <a:pt x="5031" y="1656"/>
                  <a:pt x="4969" y="1687"/>
                </a:cubicBezTo>
                <a:cubicBezTo>
                  <a:pt x="4844" y="1750"/>
                  <a:pt x="4687" y="1781"/>
                  <a:pt x="4562" y="1812"/>
                </a:cubicBezTo>
                <a:cubicBezTo>
                  <a:pt x="4500" y="1844"/>
                  <a:pt x="4437" y="1844"/>
                  <a:pt x="4406" y="1844"/>
                </a:cubicBezTo>
                <a:cubicBezTo>
                  <a:pt x="4187" y="1875"/>
                  <a:pt x="3969" y="1906"/>
                  <a:pt x="3781" y="1937"/>
                </a:cubicBezTo>
                <a:cubicBezTo>
                  <a:pt x="3312" y="2062"/>
                  <a:pt x="2781" y="2000"/>
                  <a:pt x="2312" y="2125"/>
                </a:cubicBezTo>
                <a:cubicBezTo>
                  <a:pt x="2187" y="2094"/>
                  <a:pt x="2094" y="2125"/>
                  <a:pt x="2000" y="2156"/>
                </a:cubicBezTo>
                <a:cubicBezTo>
                  <a:pt x="1937" y="2156"/>
                  <a:pt x="1875" y="2187"/>
                  <a:pt x="1812" y="2156"/>
                </a:cubicBezTo>
                <a:cubicBezTo>
                  <a:pt x="1812" y="2156"/>
                  <a:pt x="1812" y="2125"/>
                  <a:pt x="1812" y="2125"/>
                </a:cubicBezTo>
                <a:cubicBezTo>
                  <a:pt x="1781" y="2094"/>
                  <a:pt x="1781" y="2062"/>
                  <a:pt x="1812" y="2031"/>
                </a:cubicBezTo>
                <a:cubicBezTo>
                  <a:pt x="1844" y="2031"/>
                  <a:pt x="1844" y="2031"/>
                  <a:pt x="1844" y="2031"/>
                </a:cubicBezTo>
                <a:cubicBezTo>
                  <a:pt x="1844" y="2000"/>
                  <a:pt x="1875" y="2000"/>
                  <a:pt x="1875" y="2000"/>
                </a:cubicBezTo>
                <a:cubicBezTo>
                  <a:pt x="1906" y="1906"/>
                  <a:pt x="2062" y="1937"/>
                  <a:pt x="2125" y="1875"/>
                </a:cubicBezTo>
                <a:cubicBezTo>
                  <a:pt x="2156" y="1875"/>
                  <a:pt x="2187" y="1844"/>
                  <a:pt x="2187" y="1812"/>
                </a:cubicBezTo>
                <a:cubicBezTo>
                  <a:pt x="2031" y="1812"/>
                  <a:pt x="1875" y="1844"/>
                  <a:pt x="1687" y="1844"/>
                </a:cubicBezTo>
                <a:cubicBezTo>
                  <a:pt x="1531" y="1875"/>
                  <a:pt x="1375" y="1906"/>
                  <a:pt x="1219" y="1937"/>
                </a:cubicBezTo>
                <a:cubicBezTo>
                  <a:pt x="781" y="2000"/>
                  <a:pt x="375" y="2094"/>
                  <a:pt x="0" y="2281"/>
                </a:cubicBezTo>
                <a:cubicBezTo>
                  <a:pt x="0" y="2281"/>
                  <a:pt x="0" y="2281"/>
                  <a:pt x="0" y="2281"/>
                </a:cubicBezTo>
                <a:cubicBezTo>
                  <a:pt x="62" y="2344"/>
                  <a:pt x="156" y="2375"/>
                  <a:pt x="219" y="2406"/>
                </a:cubicBezTo>
                <a:cubicBezTo>
                  <a:pt x="312" y="2437"/>
                  <a:pt x="375" y="2437"/>
                  <a:pt x="500" y="2437"/>
                </a:cubicBezTo>
                <a:cubicBezTo>
                  <a:pt x="625" y="2406"/>
                  <a:pt x="750" y="2375"/>
                  <a:pt x="875" y="2344"/>
                </a:cubicBezTo>
                <a:cubicBezTo>
                  <a:pt x="937" y="2344"/>
                  <a:pt x="969" y="2344"/>
                  <a:pt x="1000" y="2312"/>
                </a:cubicBezTo>
                <a:cubicBezTo>
                  <a:pt x="1031" y="2344"/>
                  <a:pt x="1062" y="2344"/>
                  <a:pt x="1125" y="2312"/>
                </a:cubicBezTo>
                <a:cubicBezTo>
                  <a:pt x="1156" y="2312"/>
                  <a:pt x="1187" y="2312"/>
                  <a:pt x="1219" y="2312"/>
                </a:cubicBezTo>
                <a:cubicBezTo>
                  <a:pt x="1219" y="2312"/>
                  <a:pt x="1250" y="2312"/>
                  <a:pt x="1250" y="2312"/>
                </a:cubicBezTo>
                <a:cubicBezTo>
                  <a:pt x="1281" y="2344"/>
                  <a:pt x="1312" y="2344"/>
                  <a:pt x="1344" y="2344"/>
                </a:cubicBezTo>
                <a:cubicBezTo>
                  <a:pt x="1312" y="2375"/>
                  <a:pt x="1250" y="2406"/>
                  <a:pt x="1219" y="2406"/>
                </a:cubicBezTo>
                <a:cubicBezTo>
                  <a:pt x="1187" y="2406"/>
                  <a:pt x="1187" y="2406"/>
                  <a:pt x="1156" y="2406"/>
                </a:cubicBezTo>
                <a:cubicBezTo>
                  <a:pt x="1094" y="2437"/>
                  <a:pt x="1062" y="2437"/>
                  <a:pt x="1031" y="2437"/>
                </a:cubicBezTo>
                <a:cubicBezTo>
                  <a:pt x="750" y="2500"/>
                  <a:pt x="500" y="2500"/>
                  <a:pt x="281" y="2625"/>
                </a:cubicBezTo>
                <a:cubicBezTo>
                  <a:pt x="281" y="2625"/>
                  <a:pt x="250" y="2625"/>
                  <a:pt x="250" y="2625"/>
                </a:cubicBezTo>
                <a:cubicBezTo>
                  <a:pt x="250" y="2625"/>
                  <a:pt x="250" y="2625"/>
                  <a:pt x="250" y="2625"/>
                </a:cubicBezTo>
                <a:close/>
                <a:moveTo>
                  <a:pt x="27094" y="9937"/>
                </a:moveTo>
                <a:cubicBezTo>
                  <a:pt x="27000" y="9906"/>
                  <a:pt x="26937" y="9906"/>
                  <a:pt x="26875" y="9906"/>
                </a:cubicBezTo>
                <a:cubicBezTo>
                  <a:pt x="26844" y="9937"/>
                  <a:pt x="26812" y="9937"/>
                  <a:pt x="26781" y="9969"/>
                </a:cubicBezTo>
                <a:cubicBezTo>
                  <a:pt x="26844" y="10031"/>
                  <a:pt x="26906" y="10031"/>
                  <a:pt x="26969" y="10031"/>
                </a:cubicBezTo>
                <a:cubicBezTo>
                  <a:pt x="27031" y="10031"/>
                  <a:pt x="27125" y="9969"/>
                  <a:pt x="27219" y="9969"/>
                </a:cubicBezTo>
                <a:cubicBezTo>
                  <a:pt x="27187" y="9969"/>
                  <a:pt x="27156" y="9937"/>
                  <a:pt x="27156" y="9937"/>
                </a:cubicBezTo>
                <a:cubicBezTo>
                  <a:pt x="27125" y="9937"/>
                  <a:pt x="27094" y="9937"/>
                  <a:pt x="27094" y="9937"/>
                </a:cubicBezTo>
                <a:close/>
                <a:moveTo>
                  <a:pt x="22531" y="10969"/>
                </a:moveTo>
                <a:lnTo>
                  <a:pt x="22562" y="10937"/>
                </a:lnTo>
                <a:lnTo>
                  <a:pt x="22531" y="10937"/>
                </a:lnTo>
                <a:lnTo>
                  <a:pt x="22531" y="10969"/>
                </a:lnTo>
                <a:close/>
                <a:moveTo>
                  <a:pt x="12937" y="10750"/>
                </a:moveTo>
                <a:cubicBezTo>
                  <a:pt x="12906" y="10750"/>
                  <a:pt x="12875" y="10750"/>
                  <a:pt x="12875" y="10750"/>
                </a:cubicBezTo>
                <a:cubicBezTo>
                  <a:pt x="12875" y="10750"/>
                  <a:pt x="12875" y="10750"/>
                  <a:pt x="12875" y="10750"/>
                </a:cubicBezTo>
                <a:cubicBezTo>
                  <a:pt x="12844" y="10750"/>
                  <a:pt x="12844" y="10781"/>
                  <a:pt x="12844" y="10781"/>
                </a:cubicBezTo>
                <a:cubicBezTo>
                  <a:pt x="12844" y="10781"/>
                  <a:pt x="12844" y="10781"/>
                  <a:pt x="12844" y="10781"/>
                </a:cubicBezTo>
                <a:cubicBezTo>
                  <a:pt x="12875" y="10781"/>
                  <a:pt x="12906" y="10781"/>
                  <a:pt x="12937" y="10781"/>
                </a:cubicBezTo>
                <a:cubicBezTo>
                  <a:pt x="12937" y="10781"/>
                  <a:pt x="12937" y="10781"/>
                  <a:pt x="12937" y="10750"/>
                </a:cubicBezTo>
                <a:cubicBezTo>
                  <a:pt x="12937" y="10750"/>
                  <a:pt x="12937" y="10750"/>
                  <a:pt x="12937" y="10750"/>
                </a:cubicBezTo>
                <a:close/>
                <a:moveTo>
                  <a:pt x="13187" y="10656"/>
                </a:moveTo>
                <a:cubicBezTo>
                  <a:pt x="12969" y="10719"/>
                  <a:pt x="13062" y="10781"/>
                  <a:pt x="13156" y="10844"/>
                </a:cubicBezTo>
                <a:cubicBezTo>
                  <a:pt x="13156" y="10844"/>
                  <a:pt x="13156" y="10844"/>
                  <a:pt x="13156" y="10844"/>
                </a:cubicBezTo>
                <a:cubicBezTo>
                  <a:pt x="13187" y="10844"/>
                  <a:pt x="13219" y="10844"/>
                  <a:pt x="13219" y="10844"/>
                </a:cubicBezTo>
                <a:cubicBezTo>
                  <a:pt x="13219" y="10844"/>
                  <a:pt x="13219" y="10844"/>
                  <a:pt x="13219" y="10844"/>
                </a:cubicBezTo>
                <a:cubicBezTo>
                  <a:pt x="13187" y="10875"/>
                  <a:pt x="13125" y="10875"/>
                  <a:pt x="13062" y="10875"/>
                </a:cubicBezTo>
                <a:cubicBezTo>
                  <a:pt x="12937" y="10906"/>
                  <a:pt x="12781" y="10906"/>
                  <a:pt x="12594" y="10906"/>
                </a:cubicBezTo>
                <a:cubicBezTo>
                  <a:pt x="12156" y="10875"/>
                  <a:pt x="11719" y="10906"/>
                  <a:pt x="11250" y="10875"/>
                </a:cubicBezTo>
                <a:cubicBezTo>
                  <a:pt x="10937" y="10844"/>
                  <a:pt x="10594" y="10844"/>
                  <a:pt x="10281" y="10812"/>
                </a:cubicBezTo>
                <a:cubicBezTo>
                  <a:pt x="10000" y="10812"/>
                  <a:pt x="9719" y="10812"/>
                  <a:pt x="9406" y="10781"/>
                </a:cubicBezTo>
                <a:cubicBezTo>
                  <a:pt x="9312" y="10781"/>
                  <a:pt x="9219" y="10781"/>
                  <a:pt x="9125" y="10781"/>
                </a:cubicBezTo>
                <a:cubicBezTo>
                  <a:pt x="9437" y="10875"/>
                  <a:pt x="9750" y="10969"/>
                  <a:pt x="10094" y="11000"/>
                </a:cubicBezTo>
                <a:cubicBezTo>
                  <a:pt x="10187" y="11000"/>
                  <a:pt x="10312" y="11000"/>
                  <a:pt x="10406" y="11000"/>
                </a:cubicBezTo>
                <a:cubicBezTo>
                  <a:pt x="10531" y="11000"/>
                  <a:pt x="10625" y="11000"/>
                  <a:pt x="10750" y="11000"/>
                </a:cubicBezTo>
                <a:cubicBezTo>
                  <a:pt x="11062" y="11000"/>
                  <a:pt x="11375" y="11000"/>
                  <a:pt x="11719" y="11000"/>
                </a:cubicBezTo>
                <a:cubicBezTo>
                  <a:pt x="12125" y="11000"/>
                  <a:pt x="12531" y="11000"/>
                  <a:pt x="12937" y="11000"/>
                </a:cubicBezTo>
                <a:cubicBezTo>
                  <a:pt x="13375" y="11000"/>
                  <a:pt x="13781" y="11000"/>
                  <a:pt x="14187" y="11000"/>
                </a:cubicBezTo>
                <a:cubicBezTo>
                  <a:pt x="14187" y="10969"/>
                  <a:pt x="14187" y="10937"/>
                  <a:pt x="14156" y="10937"/>
                </a:cubicBezTo>
                <a:cubicBezTo>
                  <a:pt x="14125" y="10906"/>
                  <a:pt x="14062" y="10906"/>
                  <a:pt x="14000" y="10906"/>
                </a:cubicBezTo>
                <a:cubicBezTo>
                  <a:pt x="13844" y="10906"/>
                  <a:pt x="13656" y="10937"/>
                  <a:pt x="13531" y="10906"/>
                </a:cubicBezTo>
                <a:cubicBezTo>
                  <a:pt x="13469" y="10875"/>
                  <a:pt x="13406" y="10875"/>
                  <a:pt x="13375" y="10844"/>
                </a:cubicBezTo>
                <a:cubicBezTo>
                  <a:pt x="13375" y="10812"/>
                  <a:pt x="13406" y="10812"/>
                  <a:pt x="13437" y="10781"/>
                </a:cubicBezTo>
                <a:cubicBezTo>
                  <a:pt x="13437" y="10781"/>
                  <a:pt x="13437" y="10781"/>
                  <a:pt x="13437" y="10781"/>
                </a:cubicBezTo>
                <a:cubicBezTo>
                  <a:pt x="13469" y="10781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50"/>
                  <a:pt x="13469" y="10750"/>
                  <a:pt x="13469" y="10750"/>
                </a:cubicBezTo>
                <a:cubicBezTo>
                  <a:pt x="13469" y="10719"/>
                  <a:pt x="13406" y="10719"/>
                  <a:pt x="13344" y="10719"/>
                </a:cubicBezTo>
                <a:cubicBezTo>
                  <a:pt x="13312" y="10719"/>
                  <a:pt x="13312" y="10719"/>
                  <a:pt x="13312" y="10719"/>
                </a:cubicBezTo>
                <a:cubicBezTo>
                  <a:pt x="13312" y="10719"/>
                  <a:pt x="13281" y="10719"/>
                  <a:pt x="13281" y="10719"/>
                </a:cubicBezTo>
                <a:cubicBezTo>
                  <a:pt x="13281" y="10719"/>
                  <a:pt x="13250" y="10719"/>
                  <a:pt x="13250" y="10687"/>
                </a:cubicBezTo>
                <a:cubicBezTo>
                  <a:pt x="13250" y="10687"/>
                  <a:pt x="13250" y="10687"/>
                  <a:pt x="13250" y="10687"/>
                </a:cubicBezTo>
                <a:cubicBezTo>
                  <a:pt x="13219" y="10687"/>
                  <a:pt x="13187" y="10656"/>
                  <a:pt x="13187" y="10656"/>
                </a:cubicBezTo>
                <a:close/>
                <a:moveTo>
                  <a:pt x="10375" y="9969"/>
                </a:moveTo>
                <a:cubicBezTo>
                  <a:pt x="10344" y="9969"/>
                  <a:pt x="10344" y="10000"/>
                  <a:pt x="10344" y="10000"/>
                </a:cubicBezTo>
                <a:cubicBezTo>
                  <a:pt x="10344" y="10031"/>
                  <a:pt x="10344" y="10031"/>
                  <a:pt x="10344" y="10031"/>
                </a:cubicBezTo>
                <a:cubicBezTo>
                  <a:pt x="10375" y="10031"/>
                  <a:pt x="10406" y="10031"/>
                  <a:pt x="10437" y="10031"/>
                </a:cubicBezTo>
                <a:cubicBezTo>
                  <a:pt x="10437" y="10031"/>
                  <a:pt x="10437" y="10031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10000"/>
                  <a:pt x="10469" y="10000"/>
                  <a:pt x="10469" y="10000"/>
                </a:cubicBezTo>
                <a:cubicBezTo>
                  <a:pt x="10469" y="9969"/>
                  <a:pt x="10469" y="9969"/>
                  <a:pt x="10437" y="9969"/>
                </a:cubicBezTo>
                <a:cubicBezTo>
                  <a:pt x="10437" y="9969"/>
                  <a:pt x="10406" y="9969"/>
                  <a:pt x="10375" y="9969"/>
                </a:cubicBezTo>
                <a:close/>
                <a:moveTo>
                  <a:pt x="26937" y="8875"/>
                </a:move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37" y="8875"/>
                </a:cubicBezTo>
                <a:cubicBezTo>
                  <a:pt x="26937" y="8875"/>
                  <a:pt x="26937" y="8875"/>
                  <a:pt x="26906" y="8875"/>
                </a:cubicBezTo>
                <a:cubicBezTo>
                  <a:pt x="26906" y="8875"/>
                  <a:pt x="26906" y="8875"/>
                  <a:pt x="26906" y="8875"/>
                </a:cubicBezTo>
                <a:cubicBezTo>
                  <a:pt x="26906" y="8875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06" y="8906"/>
                  <a:pt x="26906" y="8906"/>
                </a:cubicBezTo>
                <a:cubicBezTo>
                  <a:pt x="26906" y="8906"/>
                  <a:pt x="26937" y="8906"/>
                  <a:pt x="26937" y="8875"/>
                </a:cubicBezTo>
                <a:close/>
                <a:moveTo>
                  <a:pt x="17531" y="9875"/>
                </a:moveTo>
                <a:cubicBezTo>
                  <a:pt x="17531" y="9875"/>
                  <a:pt x="17562" y="9875"/>
                  <a:pt x="17562" y="9875"/>
                </a:cubicBezTo>
                <a:cubicBezTo>
                  <a:pt x="17562" y="9875"/>
                  <a:pt x="17562" y="9844"/>
                  <a:pt x="17562" y="9844"/>
                </a:cubicBezTo>
                <a:cubicBezTo>
                  <a:pt x="17562" y="9844"/>
                  <a:pt x="17594" y="9844"/>
                  <a:pt x="17594" y="9812"/>
                </a:cubicBezTo>
                <a:cubicBezTo>
                  <a:pt x="17594" y="9812"/>
                  <a:pt x="17594" y="9812"/>
                  <a:pt x="17594" y="9812"/>
                </a:cubicBezTo>
                <a:cubicBezTo>
                  <a:pt x="17562" y="9781"/>
                  <a:pt x="17531" y="9781"/>
                  <a:pt x="17500" y="9781"/>
                </a:cubicBezTo>
                <a:cubicBezTo>
                  <a:pt x="17469" y="9781"/>
                  <a:pt x="17437" y="9781"/>
                  <a:pt x="17437" y="9812"/>
                </a:cubicBezTo>
                <a:cubicBezTo>
                  <a:pt x="17437" y="9812"/>
                  <a:pt x="17437" y="9844"/>
                  <a:pt x="17437" y="9844"/>
                </a:cubicBezTo>
                <a:cubicBezTo>
                  <a:pt x="17469" y="9875"/>
                  <a:pt x="17500" y="9875"/>
                  <a:pt x="17531" y="9875"/>
                </a:cubicBezTo>
                <a:close/>
                <a:moveTo>
                  <a:pt x="15625" y="10375"/>
                </a:moveTo>
                <a:cubicBezTo>
                  <a:pt x="15625" y="10375"/>
                  <a:pt x="15625" y="10375"/>
                  <a:pt x="15594" y="10406"/>
                </a:cubicBezTo>
                <a:lnTo>
                  <a:pt x="15594" y="10406"/>
                </a:lnTo>
                <a:lnTo>
                  <a:pt x="15594" y="10406"/>
                </a:lnTo>
                <a:cubicBezTo>
                  <a:pt x="15625" y="10406"/>
                  <a:pt x="15656" y="10406"/>
                  <a:pt x="15656" y="10375"/>
                </a:cubicBezTo>
                <a:cubicBezTo>
                  <a:pt x="15656" y="10375"/>
                  <a:pt x="15656" y="10375"/>
                  <a:pt x="15656" y="10375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56" y="10344"/>
                  <a:pt x="15656" y="10344"/>
                </a:cubicBezTo>
                <a:cubicBezTo>
                  <a:pt x="15656" y="10344"/>
                  <a:pt x="15625" y="10344"/>
                  <a:pt x="15625" y="10375"/>
                </a:cubicBezTo>
                <a:close/>
                <a:moveTo>
                  <a:pt x="15594" y="10406"/>
                </a:moveTo>
                <a:close/>
                <a:moveTo>
                  <a:pt x="12469" y="187"/>
                </a:moveTo>
                <a:cubicBezTo>
                  <a:pt x="12500" y="187"/>
                  <a:pt x="12500" y="187"/>
                  <a:pt x="12531" y="187"/>
                </a:cubicBezTo>
                <a:cubicBezTo>
                  <a:pt x="12562" y="187"/>
                  <a:pt x="12594" y="156"/>
                  <a:pt x="12656" y="125"/>
                </a:cubicBezTo>
                <a:cubicBezTo>
                  <a:pt x="12531" y="125"/>
                  <a:pt x="12437" y="125"/>
                  <a:pt x="12312" y="125"/>
                </a:cubicBezTo>
                <a:cubicBezTo>
                  <a:pt x="12375" y="156"/>
                  <a:pt x="12437" y="187"/>
                  <a:pt x="12469" y="187"/>
                </a:cubicBezTo>
                <a:close/>
                <a:moveTo>
                  <a:pt x="15250" y="10969"/>
                </a:moveTo>
                <a:cubicBezTo>
                  <a:pt x="15250" y="10969"/>
                  <a:pt x="15250" y="10969"/>
                  <a:pt x="15250" y="10969"/>
                </a:cubicBezTo>
                <a:cubicBezTo>
                  <a:pt x="15156" y="10937"/>
                  <a:pt x="15094" y="10906"/>
                  <a:pt x="15031" y="10906"/>
                </a:cubicBezTo>
                <a:cubicBezTo>
                  <a:pt x="15000" y="10906"/>
                  <a:pt x="14937" y="10937"/>
                  <a:pt x="14906" y="11000"/>
                </a:cubicBezTo>
                <a:cubicBezTo>
                  <a:pt x="15031" y="11000"/>
                  <a:pt x="15125" y="11031"/>
                  <a:pt x="15219" y="10969"/>
                </a:cubicBezTo>
                <a:cubicBezTo>
                  <a:pt x="15250" y="11000"/>
                  <a:pt x="15281" y="11000"/>
                  <a:pt x="15312" y="11000"/>
                </a:cubicBezTo>
                <a:cubicBezTo>
                  <a:pt x="15500" y="11031"/>
                  <a:pt x="15687" y="11031"/>
                  <a:pt x="15875" y="10937"/>
                </a:cubicBezTo>
                <a:cubicBezTo>
                  <a:pt x="15844" y="10937"/>
                  <a:pt x="15781" y="10937"/>
                  <a:pt x="15750" y="10937"/>
                </a:cubicBezTo>
                <a:cubicBezTo>
                  <a:pt x="15562" y="10937"/>
                  <a:pt x="15406" y="10875"/>
                  <a:pt x="15250" y="10969"/>
                </a:cubicBezTo>
                <a:close/>
                <a:moveTo>
                  <a:pt x="13937" y="156"/>
                </a:moveTo>
                <a:cubicBezTo>
                  <a:pt x="14000" y="125"/>
                  <a:pt x="14094" y="125"/>
                  <a:pt x="14156" y="156"/>
                </a:cubicBezTo>
                <a:cubicBezTo>
                  <a:pt x="14156" y="156"/>
                  <a:pt x="14187" y="94"/>
                  <a:pt x="14187" y="94"/>
                </a:cubicBezTo>
                <a:cubicBezTo>
                  <a:pt x="14156" y="62"/>
                  <a:pt x="14125" y="31"/>
                  <a:pt x="14094" y="62"/>
                </a:cubicBezTo>
                <a:cubicBezTo>
                  <a:pt x="14062" y="62"/>
                  <a:pt x="14000" y="62"/>
                  <a:pt x="13969" y="62"/>
                </a:cubicBezTo>
                <a:cubicBezTo>
                  <a:pt x="13844" y="94"/>
                  <a:pt x="13687" y="62"/>
                  <a:pt x="13531" y="94"/>
                </a:cubicBezTo>
                <a:cubicBezTo>
                  <a:pt x="13531" y="94"/>
                  <a:pt x="13531" y="94"/>
                  <a:pt x="13531" y="94"/>
                </a:cubicBezTo>
                <a:cubicBezTo>
                  <a:pt x="13656" y="187"/>
                  <a:pt x="13812" y="156"/>
                  <a:pt x="13937" y="156"/>
                </a:cubicBezTo>
                <a:close/>
                <a:moveTo>
                  <a:pt x="27281" y="10531"/>
                </a:moveTo>
                <a:cubicBezTo>
                  <a:pt x="27250" y="10500"/>
                  <a:pt x="27250" y="10500"/>
                  <a:pt x="27219" y="10500"/>
                </a:cubicBezTo>
                <a:cubicBezTo>
                  <a:pt x="27156" y="10531"/>
                  <a:pt x="27062" y="10531"/>
                  <a:pt x="27000" y="10531"/>
                </a:cubicBezTo>
                <a:cubicBezTo>
                  <a:pt x="26875" y="10531"/>
                  <a:pt x="26750" y="10531"/>
                  <a:pt x="26656" y="10562"/>
                </a:cubicBezTo>
                <a:cubicBezTo>
                  <a:pt x="26594" y="10594"/>
                  <a:pt x="26562" y="10625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500" y="10687"/>
                  <a:pt x="26500" y="10687"/>
                  <a:pt x="26500" y="10687"/>
                </a:cubicBezTo>
                <a:cubicBezTo>
                  <a:pt x="26750" y="10719"/>
                  <a:pt x="26969" y="10719"/>
                  <a:pt x="27187" y="10719"/>
                </a:cubicBezTo>
                <a:cubicBezTo>
                  <a:pt x="27312" y="10750"/>
                  <a:pt x="27312" y="10719"/>
                  <a:pt x="27281" y="10687"/>
                </a:cubicBezTo>
                <a:cubicBezTo>
                  <a:pt x="27250" y="10625"/>
                  <a:pt x="27219" y="10594"/>
                  <a:pt x="27281" y="10594"/>
                </a:cubicBezTo>
                <a:cubicBezTo>
                  <a:pt x="27344" y="10562"/>
                  <a:pt x="27312" y="10531"/>
                  <a:pt x="27281" y="10531"/>
                </a:cubicBezTo>
                <a:close/>
                <a:moveTo>
                  <a:pt x="27469" y="10156"/>
                </a:moveTo>
                <a:cubicBezTo>
                  <a:pt x="27406" y="10156"/>
                  <a:pt x="27344" y="10156"/>
                  <a:pt x="27281" y="10156"/>
                </a:cubicBezTo>
                <a:cubicBezTo>
                  <a:pt x="27250" y="10156"/>
                  <a:pt x="27219" y="10187"/>
                  <a:pt x="27219" y="10187"/>
                </a:cubicBezTo>
                <a:cubicBezTo>
                  <a:pt x="27187" y="10187"/>
                  <a:pt x="27187" y="10187"/>
                  <a:pt x="27187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56" y="10187"/>
                  <a:pt x="27156" y="10187"/>
                </a:cubicBezTo>
                <a:cubicBezTo>
                  <a:pt x="27156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125" y="10187"/>
                  <a:pt x="27125" y="10187"/>
                  <a:pt x="27125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94" y="10187"/>
                  <a:pt x="27094" y="10187"/>
                </a:cubicBezTo>
                <a:cubicBezTo>
                  <a:pt x="27094" y="10187"/>
                  <a:pt x="27062" y="10187"/>
                  <a:pt x="27062" y="10187"/>
                </a:cubicBezTo>
                <a:cubicBezTo>
                  <a:pt x="27062" y="10187"/>
                  <a:pt x="27062" y="10187"/>
                  <a:pt x="27062" y="10187"/>
                </a:cubicBezTo>
                <a:cubicBezTo>
                  <a:pt x="27031" y="10219"/>
                  <a:pt x="27031" y="10219"/>
                  <a:pt x="27000" y="10219"/>
                </a:cubicBezTo>
                <a:cubicBezTo>
                  <a:pt x="27000" y="10219"/>
                  <a:pt x="26969" y="10219"/>
                  <a:pt x="26969" y="10187"/>
                </a:cubicBezTo>
                <a:cubicBezTo>
                  <a:pt x="26937" y="10187"/>
                  <a:pt x="26875" y="10187"/>
                  <a:pt x="26844" y="10187"/>
                </a:cubicBezTo>
                <a:cubicBezTo>
                  <a:pt x="26812" y="10187"/>
                  <a:pt x="26781" y="10187"/>
                  <a:pt x="26719" y="10187"/>
                </a:cubicBezTo>
                <a:cubicBezTo>
                  <a:pt x="26594" y="10187"/>
                  <a:pt x="26469" y="10187"/>
                  <a:pt x="26344" y="10219"/>
                </a:cubicBezTo>
                <a:cubicBezTo>
                  <a:pt x="26156" y="10219"/>
                  <a:pt x="25937" y="10219"/>
                  <a:pt x="25750" y="10156"/>
                </a:cubicBezTo>
                <a:cubicBezTo>
                  <a:pt x="25875" y="10125"/>
                  <a:pt x="26000" y="10125"/>
                  <a:pt x="26156" y="10125"/>
                </a:cubicBezTo>
                <a:cubicBezTo>
                  <a:pt x="26219" y="10125"/>
                  <a:pt x="26344" y="10125"/>
                  <a:pt x="26312" y="10031"/>
                </a:cubicBezTo>
                <a:cubicBezTo>
                  <a:pt x="26406" y="10000"/>
                  <a:pt x="26500" y="9969"/>
                  <a:pt x="26625" y="9969"/>
                </a:cubicBezTo>
                <a:cubicBezTo>
                  <a:pt x="26625" y="9969"/>
                  <a:pt x="26625" y="9969"/>
                  <a:pt x="26625" y="9969"/>
                </a:cubicBezTo>
                <a:cubicBezTo>
                  <a:pt x="26656" y="9969"/>
                  <a:pt x="26687" y="9969"/>
                  <a:pt x="26687" y="9937"/>
                </a:cubicBezTo>
                <a:cubicBezTo>
                  <a:pt x="26687" y="9937"/>
                  <a:pt x="26625" y="9937"/>
                  <a:pt x="26625" y="9906"/>
                </a:cubicBezTo>
                <a:cubicBezTo>
                  <a:pt x="26531" y="9906"/>
                  <a:pt x="26469" y="9906"/>
                  <a:pt x="26375" y="9875"/>
                </a:cubicBezTo>
                <a:cubicBezTo>
                  <a:pt x="26406" y="9875"/>
                  <a:pt x="26406" y="9844"/>
                  <a:pt x="26406" y="9812"/>
                </a:cubicBezTo>
                <a:cubicBezTo>
                  <a:pt x="26500" y="9812"/>
                  <a:pt x="26562" y="9812"/>
                  <a:pt x="26656" y="9781"/>
                </a:cubicBezTo>
                <a:cubicBezTo>
                  <a:pt x="26656" y="9781"/>
                  <a:pt x="26656" y="9781"/>
                  <a:pt x="26656" y="9781"/>
                </a:cubicBezTo>
                <a:cubicBezTo>
                  <a:pt x="26781" y="9844"/>
                  <a:pt x="26875" y="9781"/>
                  <a:pt x="27000" y="9781"/>
                </a:cubicBezTo>
                <a:cubicBezTo>
                  <a:pt x="27000" y="9781"/>
                  <a:pt x="27000" y="9781"/>
                  <a:pt x="27000" y="9781"/>
                </a:cubicBezTo>
                <a:cubicBezTo>
                  <a:pt x="27031" y="9812"/>
                  <a:pt x="27094" y="9812"/>
                  <a:pt x="27125" y="9781"/>
                </a:cubicBezTo>
                <a:cubicBezTo>
                  <a:pt x="27125" y="9781"/>
                  <a:pt x="27125" y="9781"/>
                  <a:pt x="27125" y="9781"/>
                </a:cubicBezTo>
                <a:cubicBezTo>
                  <a:pt x="27125" y="9719"/>
                  <a:pt x="27062" y="9719"/>
                  <a:pt x="27031" y="9719"/>
                </a:cubicBezTo>
                <a:cubicBezTo>
                  <a:pt x="27000" y="9719"/>
                  <a:pt x="27000" y="9719"/>
                  <a:pt x="26969" y="9719"/>
                </a:cubicBezTo>
                <a:cubicBezTo>
                  <a:pt x="26875" y="9687"/>
                  <a:pt x="26781" y="9687"/>
                  <a:pt x="26656" y="9719"/>
                </a:cubicBezTo>
                <a:cubicBezTo>
                  <a:pt x="26094" y="9656"/>
                  <a:pt x="25500" y="9687"/>
                  <a:pt x="24937" y="9687"/>
                </a:cubicBezTo>
                <a:cubicBezTo>
                  <a:pt x="24937" y="9687"/>
                  <a:pt x="24937" y="9719"/>
                  <a:pt x="24937" y="9719"/>
                </a:cubicBezTo>
                <a:cubicBezTo>
                  <a:pt x="24969" y="9750"/>
                  <a:pt x="25000" y="9750"/>
                  <a:pt x="25000" y="9750"/>
                </a:cubicBezTo>
                <a:cubicBezTo>
                  <a:pt x="25031" y="9750"/>
                  <a:pt x="25031" y="9750"/>
                  <a:pt x="25062" y="9750"/>
                </a:cubicBezTo>
                <a:cubicBezTo>
                  <a:pt x="25062" y="9750"/>
                  <a:pt x="25094" y="9750"/>
                  <a:pt x="25094" y="9750"/>
                </a:cubicBezTo>
                <a:cubicBezTo>
                  <a:pt x="25125" y="9750"/>
                  <a:pt x="25125" y="9781"/>
                  <a:pt x="25156" y="9781"/>
                </a:cubicBezTo>
                <a:cubicBezTo>
                  <a:pt x="25156" y="9781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56" y="9812"/>
                  <a:pt x="25156" y="9812"/>
                </a:cubicBezTo>
                <a:cubicBezTo>
                  <a:pt x="25156" y="9812"/>
                  <a:pt x="25125" y="9844"/>
                  <a:pt x="25125" y="9844"/>
                </a:cubicBezTo>
                <a:cubicBezTo>
                  <a:pt x="25062" y="9875"/>
                  <a:pt x="25000" y="9875"/>
                  <a:pt x="25000" y="9906"/>
                </a:cubicBezTo>
                <a:cubicBezTo>
                  <a:pt x="25125" y="10000"/>
                  <a:pt x="25250" y="9937"/>
                  <a:pt x="25375" y="9906"/>
                </a:cubicBezTo>
                <a:cubicBezTo>
                  <a:pt x="25375" y="9906"/>
                  <a:pt x="25375" y="9906"/>
                  <a:pt x="25375" y="9906"/>
                </a:cubicBezTo>
                <a:cubicBezTo>
                  <a:pt x="25469" y="9937"/>
                  <a:pt x="25562" y="9969"/>
                  <a:pt x="25656" y="9906"/>
                </a:cubicBezTo>
                <a:cubicBezTo>
                  <a:pt x="25687" y="9906"/>
                  <a:pt x="25687" y="9906"/>
                  <a:pt x="25687" y="9906"/>
                </a:cubicBezTo>
                <a:cubicBezTo>
                  <a:pt x="25719" y="9906"/>
                  <a:pt x="25750" y="9906"/>
                  <a:pt x="25781" y="9906"/>
                </a:cubicBezTo>
                <a:cubicBezTo>
                  <a:pt x="25844" y="9906"/>
                  <a:pt x="25875" y="9906"/>
                  <a:pt x="25937" y="9906"/>
                </a:cubicBezTo>
                <a:cubicBezTo>
                  <a:pt x="26000" y="9906"/>
                  <a:pt x="26031" y="9906"/>
                  <a:pt x="26062" y="9937"/>
                </a:cubicBezTo>
                <a:cubicBezTo>
                  <a:pt x="26031" y="9969"/>
                  <a:pt x="26000" y="9969"/>
                  <a:pt x="25969" y="10000"/>
                </a:cubicBezTo>
                <a:cubicBezTo>
                  <a:pt x="25969" y="10000"/>
                  <a:pt x="25937" y="10031"/>
                  <a:pt x="25906" y="10031"/>
                </a:cubicBezTo>
                <a:cubicBezTo>
                  <a:pt x="25906" y="10031"/>
                  <a:pt x="25875" y="10031"/>
                  <a:pt x="25875" y="10031"/>
                </a:cubicBezTo>
                <a:cubicBezTo>
                  <a:pt x="25844" y="10031"/>
                  <a:pt x="25812" y="10031"/>
                  <a:pt x="25781" y="10031"/>
                </a:cubicBezTo>
                <a:cubicBezTo>
                  <a:pt x="25750" y="10031"/>
                  <a:pt x="25687" y="10062"/>
                  <a:pt x="25656" y="10062"/>
                </a:cubicBezTo>
                <a:cubicBezTo>
                  <a:pt x="24844" y="10094"/>
                  <a:pt x="24000" y="10125"/>
                  <a:pt x="23187" y="10125"/>
                </a:cubicBezTo>
                <a:cubicBezTo>
                  <a:pt x="23187" y="10094"/>
                  <a:pt x="23187" y="10062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219" y="10000"/>
                  <a:pt x="23219" y="10000"/>
                </a:cubicBezTo>
                <a:cubicBezTo>
                  <a:pt x="23219" y="10000"/>
                  <a:pt x="23219" y="10000"/>
                  <a:pt x="23250" y="10000"/>
                </a:cubicBezTo>
                <a:cubicBezTo>
                  <a:pt x="23250" y="10000"/>
                  <a:pt x="23250" y="10000"/>
                  <a:pt x="23281" y="10000"/>
                </a:cubicBezTo>
                <a:cubicBezTo>
                  <a:pt x="23281" y="10000"/>
                  <a:pt x="23281" y="10000"/>
                  <a:pt x="23281" y="10000"/>
                </a:cubicBezTo>
                <a:cubicBezTo>
                  <a:pt x="23312" y="10000"/>
                  <a:pt x="23312" y="10000"/>
                  <a:pt x="23344" y="10000"/>
                </a:cubicBezTo>
                <a:cubicBezTo>
                  <a:pt x="23437" y="10000"/>
                  <a:pt x="23531" y="10000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37"/>
                </a:cubicBezTo>
                <a:cubicBezTo>
                  <a:pt x="23594" y="9937"/>
                  <a:pt x="23594" y="9937"/>
                  <a:pt x="23594" y="9969"/>
                </a:cubicBezTo>
                <a:cubicBezTo>
                  <a:pt x="23594" y="9969"/>
                  <a:pt x="23594" y="9969"/>
                  <a:pt x="23594" y="9969"/>
                </a:cubicBezTo>
                <a:cubicBezTo>
                  <a:pt x="23625" y="9969"/>
                  <a:pt x="23625" y="9969"/>
                  <a:pt x="23656" y="9969"/>
                </a:cubicBezTo>
                <a:cubicBezTo>
                  <a:pt x="23656" y="9969"/>
                  <a:pt x="23656" y="9969"/>
                  <a:pt x="23656" y="9969"/>
                </a:cubicBezTo>
                <a:cubicBezTo>
                  <a:pt x="23656" y="9969"/>
                  <a:pt x="23656" y="9969"/>
                  <a:pt x="23687" y="9969"/>
                </a:cubicBezTo>
                <a:cubicBezTo>
                  <a:pt x="23750" y="9969"/>
                  <a:pt x="23844" y="9969"/>
                  <a:pt x="23906" y="9969"/>
                </a:cubicBezTo>
                <a:cubicBezTo>
                  <a:pt x="24031" y="9969"/>
                  <a:pt x="24156" y="9969"/>
                  <a:pt x="24281" y="9937"/>
                </a:cubicBezTo>
                <a:cubicBezTo>
                  <a:pt x="24281" y="9937"/>
                  <a:pt x="24281" y="9937"/>
                  <a:pt x="24281" y="9937"/>
                </a:cubicBezTo>
                <a:cubicBezTo>
                  <a:pt x="24437" y="9937"/>
                  <a:pt x="24625" y="10031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906"/>
                  <a:pt x="24687" y="9906"/>
                </a:cubicBezTo>
                <a:cubicBezTo>
                  <a:pt x="24719" y="9906"/>
                  <a:pt x="24719" y="9906"/>
                  <a:pt x="24750" y="9906"/>
                </a:cubicBezTo>
                <a:cubicBezTo>
                  <a:pt x="24750" y="9906"/>
                  <a:pt x="24719" y="9906"/>
                  <a:pt x="24719" y="9906"/>
                </a:cubicBezTo>
                <a:cubicBezTo>
                  <a:pt x="24719" y="9875"/>
                  <a:pt x="24719" y="9875"/>
                  <a:pt x="24687" y="9875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87" y="9875"/>
                  <a:pt x="24687" y="9844"/>
                </a:cubicBezTo>
                <a:cubicBezTo>
                  <a:pt x="24687" y="9875"/>
                  <a:pt x="24687" y="9875"/>
                  <a:pt x="24687" y="9875"/>
                </a:cubicBezTo>
                <a:cubicBezTo>
                  <a:pt x="24687" y="9875"/>
                  <a:pt x="24656" y="9875"/>
                  <a:pt x="24656" y="9875"/>
                </a:cubicBezTo>
                <a:cubicBezTo>
                  <a:pt x="24531" y="9906"/>
                  <a:pt x="24406" y="9812"/>
                  <a:pt x="24312" y="9906"/>
                </a:cubicBezTo>
                <a:cubicBezTo>
                  <a:pt x="24094" y="9875"/>
                  <a:pt x="23844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625" y="9906"/>
                  <a:pt x="23625" y="9906"/>
                  <a:pt x="23625" y="9906"/>
                </a:cubicBezTo>
                <a:cubicBezTo>
                  <a:pt x="23594" y="9906"/>
                  <a:pt x="23562" y="9875"/>
                  <a:pt x="23500" y="9875"/>
                </a:cubicBezTo>
                <a:cubicBezTo>
                  <a:pt x="23500" y="9875"/>
                  <a:pt x="23500" y="9875"/>
                  <a:pt x="23500" y="9875"/>
                </a:cubicBezTo>
                <a:cubicBezTo>
                  <a:pt x="23500" y="9875"/>
                  <a:pt x="23500" y="9875"/>
                  <a:pt x="23469" y="9875"/>
                </a:cubicBezTo>
                <a:cubicBezTo>
                  <a:pt x="23375" y="9781"/>
                  <a:pt x="23594" y="9719"/>
                  <a:pt x="23625" y="9625"/>
                </a:cubicBezTo>
                <a:cubicBezTo>
                  <a:pt x="23531" y="9625"/>
                  <a:pt x="23437" y="9625"/>
                  <a:pt x="23375" y="9625"/>
                </a:cubicBezTo>
                <a:cubicBezTo>
                  <a:pt x="23156" y="9594"/>
                  <a:pt x="22969" y="9594"/>
                  <a:pt x="22781" y="9594"/>
                </a:cubicBezTo>
                <a:cubicBezTo>
                  <a:pt x="22656" y="9625"/>
                  <a:pt x="22562" y="9625"/>
                  <a:pt x="22437" y="9656"/>
                </a:cubicBezTo>
                <a:cubicBezTo>
                  <a:pt x="22437" y="9656"/>
                  <a:pt x="22437" y="9656"/>
                  <a:pt x="22437" y="9656"/>
                </a:cubicBezTo>
                <a:cubicBezTo>
                  <a:pt x="22375" y="9656"/>
                  <a:pt x="22312" y="9594"/>
                  <a:pt x="22250" y="9656"/>
                </a:cubicBezTo>
                <a:cubicBezTo>
                  <a:pt x="22250" y="9656"/>
                  <a:pt x="22250" y="9656"/>
                  <a:pt x="22250" y="9656"/>
                </a:cubicBezTo>
                <a:cubicBezTo>
                  <a:pt x="22219" y="9625"/>
                  <a:pt x="22187" y="9656"/>
                  <a:pt x="22156" y="9656"/>
                </a:cubicBezTo>
                <a:cubicBezTo>
                  <a:pt x="22125" y="9625"/>
                  <a:pt x="22094" y="9625"/>
                  <a:pt x="22062" y="9625"/>
                </a:cubicBezTo>
                <a:cubicBezTo>
                  <a:pt x="22031" y="9625"/>
                  <a:pt x="22000" y="9656"/>
                  <a:pt x="21969" y="9656"/>
                </a:cubicBezTo>
                <a:cubicBezTo>
                  <a:pt x="21969" y="9656"/>
                  <a:pt x="21969" y="9687"/>
                  <a:pt x="21969" y="9687"/>
                </a:cubicBezTo>
                <a:cubicBezTo>
                  <a:pt x="21969" y="9719"/>
                  <a:pt x="22000" y="9750"/>
                  <a:pt x="22000" y="9750"/>
                </a:cubicBezTo>
                <a:cubicBezTo>
                  <a:pt x="22000" y="9750"/>
                  <a:pt x="21969" y="9750"/>
                  <a:pt x="21937" y="9750"/>
                </a:cubicBezTo>
                <a:cubicBezTo>
                  <a:pt x="21937" y="9750"/>
                  <a:pt x="21906" y="9719"/>
                  <a:pt x="21906" y="9719"/>
                </a:cubicBezTo>
                <a:cubicBezTo>
                  <a:pt x="21875" y="9719"/>
                  <a:pt x="21875" y="9719"/>
                  <a:pt x="21844" y="9719"/>
                </a:cubicBezTo>
                <a:cubicBezTo>
                  <a:pt x="21844" y="9687"/>
                  <a:pt x="21844" y="9687"/>
                  <a:pt x="21812" y="9687"/>
                </a:cubicBezTo>
                <a:cubicBezTo>
                  <a:pt x="21812" y="9687"/>
                  <a:pt x="21812" y="9687"/>
                  <a:pt x="21781" y="9687"/>
                </a:cubicBezTo>
                <a:cubicBezTo>
                  <a:pt x="21781" y="9719"/>
                  <a:pt x="21750" y="9719"/>
                  <a:pt x="21719" y="9719"/>
                </a:cubicBezTo>
                <a:cubicBezTo>
                  <a:pt x="21375" y="9750"/>
                  <a:pt x="21000" y="9750"/>
                  <a:pt x="20656" y="9750"/>
                </a:cubicBezTo>
                <a:cubicBezTo>
                  <a:pt x="20687" y="9719"/>
                  <a:pt x="20750" y="9719"/>
                  <a:pt x="20781" y="9687"/>
                </a:cubicBezTo>
                <a:cubicBezTo>
                  <a:pt x="20812" y="9656"/>
                  <a:pt x="20812" y="9625"/>
                  <a:pt x="20812" y="9594"/>
                </a:cubicBezTo>
                <a:cubicBezTo>
                  <a:pt x="20750" y="9625"/>
                  <a:pt x="20656" y="9625"/>
                  <a:pt x="20594" y="9594"/>
                </a:cubicBezTo>
                <a:cubicBezTo>
                  <a:pt x="20531" y="9594"/>
                  <a:pt x="20437" y="9594"/>
                  <a:pt x="20375" y="9562"/>
                </a:cubicBezTo>
                <a:cubicBezTo>
                  <a:pt x="20281" y="9531"/>
                  <a:pt x="20187" y="9500"/>
                  <a:pt x="20094" y="9594"/>
                </a:cubicBezTo>
                <a:cubicBezTo>
                  <a:pt x="20062" y="9625"/>
                  <a:pt x="20062" y="9625"/>
                  <a:pt x="20062" y="9656"/>
                </a:cubicBezTo>
                <a:cubicBezTo>
                  <a:pt x="20062" y="9656"/>
                  <a:pt x="20094" y="9656"/>
                  <a:pt x="20094" y="9656"/>
                </a:cubicBezTo>
                <a:cubicBezTo>
                  <a:pt x="20125" y="9687"/>
                  <a:pt x="20156" y="9687"/>
                  <a:pt x="20187" y="9687"/>
                </a:cubicBezTo>
                <a:cubicBezTo>
                  <a:pt x="20187" y="9719"/>
                  <a:pt x="20187" y="9719"/>
                  <a:pt x="20187" y="9750"/>
                </a:cubicBezTo>
                <a:cubicBezTo>
                  <a:pt x="19875" y="9750"/>
                  <a:pt x="19594" y="9750"/>
                  <a:pt x="19312" y="9750"/>
                </a:cubicBezTo>
                <a:cubicBezTo>
                  <a:pt x="19312" y="9750"/>
                  <a:pt x="19281" y="9719"/>
                  <a:pt x="19281" y="9719"/>
                </a:cubicBezTo>
                <a:cubicBezTo>
                  <a:pt x="19250" y="9687"/>
                  <a:pt x="19312" y="9656"/>
                  <a:pt x="19344" y="9594"/>
                </a:cubicBezTo>
                <a:cubicBezTo>
                  <a:pt x="19344" y="9594"/>
                  <a:pt x="19375" y="9594"/>
                  <a:pt x="19375" y="9594"/>
                </a:cubicBezTo>
                <a:cubicBezTo>
                  <a:pt x="19219" y="9594"/>
                  <a:pt x="19094" y="9625"/>
                  <a:pt x="19000" y="9625"/>
                </a:cubicBezTo>
                <a:cubicBezTo>
                  <a:pt x="18969" y="9625"/>
                  <a:pt x="18969" y="9625"/>
                  <a:pt x="18937" y="9625"/>
                </a:cubicBezTo>
                <a:cubicBezTo>
                  <a:pt x="18906" y="9656"/>
                  <a:pt x="18906" y="9656"/>
                  <a:pt x="18906" y="9687"/>
                </a:cubicBezTo>
                <a:cubicBezTo>
                  <a:pt x="18906" y="9687"/>
                  <a:pt x="18906" y="9719"/>
                  <a:pt x="18937" y="9750"/>
                </a:cubicBezTo>
                <a:cubicBezTo>
                  <a:pt x="18906" y="9750"/>
                  <a:pt x="18906" y="9750"/>
                  <a:pt x="18906" y="9750"/>
                </a:cubicBezTo>
                <a:cubicBezTo>
                  <a:pt x="18844" y="9719"/>
                  <a:pt x="18781" y="9781"/>
                  <a:pt x="18719" y="9781"/>
                </a:cubicBezTo>
                <a:cubicBezTo>
                  <a:pt x="18687" y="9750"/>
                  <a:pt x="18687" y="9750"/>
                  <a:pt x="18656" y="9719"/>
                </a:cubicBezTo>
                <a:cubicBezTo>
                  <a:pt x="18687" y="9719"/>
                  <a:pt x="18719" y="9719"/>
                  <a:pt x="18750" y="9687"/>
                </a:cubicBezTo>
                <a:cubicBezTo>
                  <a:pt x="18781" y="9687"/>
                  <a:pt x="18781" y="9656"/>
                  <a:pt x="18812" y="9656"/>
                </a:cubicBezTo>
                <a:cubicBezTo>
                  <a:pt x="18812" y="9656"/>
                  <a:pt x="18812" y="9656"/>
                  <a:pt x="18812" y="9656"/>
                </a:cubicBezTo>
                <a:cubicBezTo>
                  <a:pt x="18812" y="9656"/>
                  <a:pt x="18812" y="9656"/>
                  <a:pt x="18812" y="9625"/>
                </a:cubicBezTo>
                <a:cubicBezTo>
                  <a:pt x="18781" y="9625"/>
                  <a:pt x="18750" y="9625"/>
                  <a:pt x="18719" y="9625"/>
                </a:cubicBezTo>
                <a:cubicBezTo>
                  <a:pt x="18719" y="9625"/>
                  <a:pt x="18687" y="9625"/>
                  <a:pt x="18687" y="9625"/>
                </a:cubicBezTo>
                <a:cubicBezTo>
                  <a:pt x="18625" y="9656"/>
                  <a:pt x="18625" y="9687"/>
                  <a:pt x="18656" y="9719"/>
                </a:cubicBezTo>
                <a:cubicBezTo>
                  <a:pt x="18594" y="9750"/>
                  <a:pt x="18500" y="9750"/>
                  <a:pt x="18406" y="9750"/>
                </a:cubicBezTo>
                <a:cubicBezTo>
                  <a:pt x="18250" y="9750"/>
                  <a:pt x="18094" y="9750"/>
                  <a:pt x="17937" y="9750"/>
                </a:cubicBezTo>
                <a:cubicBezTo>
                  <a:pt x="17875" y="9781"/>
                  <a:pt x="17844" y="9781"/>
                  <a:pt x="17812" y="9781"/>
                </a:cubicBezTo>
                <a:cubicBezTo>
                  <a:pt x="17750" y="9812"/>
                  <a:pt x="17687" y="9844"/>
                  <a:pt x="17625" y="9875"/>
                </a:cubicBezTo>
                <a:cubicBezTo>
                  <a:pt x="17812" y="9875"/>
                  <a:pt x="18000" y="9906"/>
                  <a:pt x="18187" y="9906"/>
                </a:cubicBezTo>
                <a:cubicBezTo>
                  <a:pt x="18375" y="9906"/>
                  <a:pt x="18562" y="9906"/>
                  <a:pt x="18750" y="9875"/>
                </a:cubicBezTo>
                <a:cubicBezTo>
                  <a:pt x="19125" y="9906"/>
                  <a:pt x="19531" y="9906"/>
                  <a:pt x="19906" y="9906"/>
                </a:cubicBezTo>
                <a:cubicBezTo>
                  <a:pt x="19906" y="9906"/>
                  <a:pt x="19906" y="9937"/>
                  <a:pt x="19906" y="9937"/>
                </a:cubicBezTo>
                <a:cubicBezTo>
                  <a:pt x="19812" y="10031"/>
                  <a:pt x="19875" y="10062"/>
                  <a:pt x="19937" y="10062"/>
                </a:cubicBezTo>
                <a:cubicBezTo>
                  <a:pt x="19969" y="10062"/>
                  <a:pt x="20000" y="10062"/>
                  <a:pt x="20031" y="10062"/>
                </a:cubicBezTo>
                <a:cubicBezTo>
                  <a:pt x="20125" y="10062"/>
                  <a:pt x="20187" y="10062"/>
                  <a:pt x="20250" y="10062"/>
                </a:cubicBezTo>
                <a:cubicBezTo>
                  <a:pt x="20375" y="10031"/>
                  <a:pt x="20500" y="10031"/>
                  <a:pt x="20594" y="10062"/>
                </a:cubicBezTo>
                <a:cubicBezTo>
                  <a:pt x="20719" y="10062"/>
                  <a:pt x="20812" y="10062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37" y="10094"/>
                  <a:pt x="20937" y="10094"/>
                  <a:pt x="20937" y="10094"/>
                </a:cubicBezTo>
                <a:cubicBezTo>
                  <a:pt x="20906" y="10125"/>
                  <a:pt x="20875" y="10156"/>
                  <a:pt x="20844" y="10156"/>
                </a:cubicBezTo>
                <a:cubicBezTo>
                  <a:pt x="20812" y="10187"/>
                  <a:pt x="20781" y="10187"/>
                  <a:pt x="20750" y="10187"/>
                </a:cubicBezTo>
                <a:cubicBezTo>
                  <a:pt x="20656" y="10219"/>
                  <a:pt x="20594" y="10219"/>
                  <a:pt x="20500" y="10219"/>
                </a:cubicBezTo>
                <a:cubicBezTo>
                  <a:pt x="20406" y="10187"/>
                  <a:pt x="20312" y="10187"/>
                  <a:pt x="20187" y="10187"/>
                </a:cubicBezTo>
                <a:cubicBezTo>
                  <a:pt x="19969" y="10156"/>
                  <a:pt x="19719" y="10125"/>
                  <a:pt x="19469" y="10125"/>
                </a:cubicBezTo>
                <a:cubicBezTo>
                  <a:pt x="19406" y="10125"/>
                  <a:pt x="19375" y="10125"/>
                  <a:pt x="19312" y="10156"/>
                </a:cubicBezTo>
                <a:cubicBezTo>
                  <a:pt x="19312" y="10125"/>
                  <a:pt x="19312" y="10125"/>
                  <a:pt x="19312" y="10125"/>
                </a:cubicBezTo>
                <a:cubicBezTo>
                  <a:pt x="19281" y="10125"/>
                  <a:pt x="19250" y="10125"/>
                  <a:pt x="19219" y="10125"/>
                </a:cubicBezTo>
                <a:cubicBezTo>
                  <a:pt x="19187" y="10156"/>
                  <a:pt x="19156" y="10156"/>
                  <a:pt x="19125" y="10187"/>
                </a:cubicBezTo>
                <a:cubicBezTo>
                  <a:pt x="19094" y="10187"/>
                  <a:pt x="19094" y="10187"/>
                  <a:pt x="19062" y="10219"/>
                </a:cubicBezTo>
                <a:cubicBezTo>
                  <a:pt x="18906" y="10219"/>
                  <a:pt x="18750" y="10281"/>
                  <a:pt x="18562" y="10312"/>
                </a:cubicBezTo>
                <a:cubicBezTo>
                  <a:pt x="18500" y="10312"/>
                  <a:pt x="18437" y="10312"/>
                  <a:pt x="18406" y="10312"/>
                </a:cubicBezTo>
                <a:cubicBezTo>
                  <a:pt x="18281" y="10312"/>
                  <a:pt x="18187" y="10312"/>
                  <a:pt x="18062" y="10312"/>
                </a:cubicBezTo>
                <a:cubicBezTo>
                  <a:pt x="17969" y="10281"/>
                  <a:pt x="17875" y="10312"/>
                  <a:pt x="17750" y="10375"/>
                </a:cubicBezTo>
                <a:cubicBezTo>
                  <a:pt x="17625" y="10281"/>
                  <a:pt x="17469" y="10375"/>
                  <a:pt x="17312" y="10344"/>
                </a:cubicBezTo>
                <a:cubicBezTo>
                  <a:pt x="17062" y="10344"/>
                  <a:pt x="16812" y="10344"/>
                  <a:pt x="16594" y="10344"/>
                </a:cubicBezTo>
                <a:cubicBezTo>
                  <a:pt x="16500" y="10344"/>
                  <a:pt x="16437" y="10344"/>
                  <a:pt x="16344" y="10344"/>
                </a:cubicBezTo>
                <a:cubicBezTo>
                  <a:pt x="16281" y="10344"/>
                  <a:pt x="16156" y="10375"/>
                  <a:pt x="16187" y="10437"/>
                </a:cubicBezTo>
                <a:cubicBezTo>
                  <a:pt x="16187" y="10469"/>
                  <a:pt x="16281" y="10562"/>
                  <a:pt x="16312" y="10562"/>
                </a:cubicBezTo>
                <a:cubicBezTo>
                  <a:pt x="16375" y="10562"/>
                  <a:pt x="16406" y="10562"/>
                  <a:pt x="16437" y="10562"/>
                </a:cubicBezTo>
                <a:cubicBezTo>
                  <a:pt x="16750" y="10562"/>
                  <a:pt x="17062" y="10625"/>
                  <a:pt x="17375" y="10562"/>
                </a:cubicBezTo>
                <a:cubicBezTo>
                  <a:pt x="17469" y="10562"/>
                  <a:pt x="17562" y="10562"/>
                  <a:pt x="17656" y="10562"/>
                </a:cubicBezTo>
                <a:cubicBezTo>
                  <a:pt x="17687" y="10562"/>
                  <a:pt x="17719" y="10562"/>
                  <a:pt x="17750" y="10562"/>
                </a:cubicBezTo>
                <a:cubicBezTo>
                  <a:pt x="17781" y="10562"/>
                  <a:pt x="17781" y="10531"/>
                  <a:pt x="17812" y="10531"/>
                </a:cubicBezTo>
                <a:cubicBezTo>
                  <a:pt x="17875" y="10562"/>
                  <a:pt x="17906" y="10562"/>
                  <a:pt x="17969" y="10562"/>
                </a:cubicBezTo>
                <a:cubicBezTo>
                  <a:pt x="18000" y="10562"/>
                  <a:pt x="18062" y="10562"/>
                  <a:pt x="18094" y="10594"/>
                </a:cubicBezTo>
                <a:cubicBezTo>
                  <a:pt x="18375" y="10594"/>
                  <a:pt x="18687" y="10531"/>
                  <a:pt x="18969" y="10531"/>
                </a:cubicBezTo>
                <a:cubicBezTo>
                  <a:pt x="19031" y="10531"/>
                  <a:pt x="19094" y="10562"/>
                  <a:pt x="19156" y="10562"/>
                </a:cubicBezTo>
                <a:cubicBezTo>
                  <a:pt x="19250" y="10562"/>
                  <a:pt x="19344" y="10594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437" y="10531"/>
                  <a:pt x="19437" y="10531"/>
                  <a:pt x="19437" y="10531"/>
                </a:cubicBezTo>
                <a:cubicBezTo>
                  <a:pt x="19969" y="10594"/>
                  <a:pt x="20500" y="10562"/>
                  <a:pt x="21062" y="10562"/>
                </a:cubicBezTo>
                <a:cubicBezTo>
                  <a:pt x="21125" y="10562"/>
                  <a:pt x="21219" y="10531"/>
                  <a:pt x="21281" y="10594"/>
                </a:cubicBezTo>
                <a:cubicBezTo>
                  <a:pt x="21281" y="10594"/>
                  <a:pt x="21250" y="10625"/>
                  <a:pt x="21219" y="10625"/>
                </a:cubicBezTo>
                <a:cubicBezTo>
                  <a:pt x="21219" y="10656"/>
                  <a:pt x="21187" y="10687"/>
                  <a:pt x="21156" y="10687"/>
                </a:cubicBezTo>
                <a:cubicBezTo>
                  <a:pt x="21219" y="10687"/>
                  <a:pt x="21250" y="10687"/>
                  <a:pt x="21281" y="10687"/>
                </a:cubicBezTo>
                <a:cubicBezTo>
                  <a:pt x="21406" y="10687"/>
                  <a:pt x="21406" y="10687"/>
                  <a:pt x="21500" y="10656"/>
                </a:cubicBezTo>
                <a:cubicBezTo>
                  <a:pt x="21531" y="10625"/>
                  <a:pt x="21562" y="10625"/>
                  <a:pt x="21625" y="10594"/>
                </a:cubicBezTo>
                <a:cubicBezTo>
                  <a:pt x="21719" y="10562"/>
                  <a:pt x="21844" y="10562"/>
                  <a:pt x="21937" y="10562"/>
                </a:cubicBezTo>
                <a:cubicBezTo>
                  <a:pt x="22094" y="10562"/>
                  <a:pt x="22219" y="10625"/>
                  <a:pt x="22344" y="10687"/>
                </a:cubicBezTo>
                <a:cubicBezTo>
                  <a:pt x="22375" y="10687"/>
                  <a:pt x="22437" y="10687"/>
                  <a:pt x="22469" y="10656"/>
                </a:cubicBezTo>
                <a:cubicBezTo>
                  <a:pt x="22531" y="10719"/>
                  <a:pt x="22625" y="10750"/>
                  <a:pt x="22687" y="10812"/>
                </a:cubicBezTo>
                <a:cubicBezTo>
                  <a:pt x="22719" y="10844"/>
                  <a:pt x="22719" y="10844"/>
                  <a:pt x="22750" y="10875"/>
                </a:cubicBezTo>
                <a:cubicBezTo>
                  <a:pt x="22719" y="10906"/>
                  <a:pt x="22594" y="10937"/>
                  <a:pt x="22719" y="10969"/>
                </a:cubicBezTo>
                <a:cubicBezTo>
                  <a:pt x="22906" y="10969"/>
                  <a:pt x="23094" y="10906"/>
                  <a:pt x="23281" y="10875"/>
                </a:cubicBezTo>
                <a:cubicBezTo>
                  <a:pt x="23281" y="10875"/>
                  <a:pt x="23281" y="10875"/>
                  <a:pt x="23312" y="10844"/>
                </a:cubicBezTo>
                <a:cubicBezTo>
                  <a:pt x="23312" y="10844"/>
                  <a:pt x="23312" y="10844"/>
                  <a:pt x="23312" y="10844"/>
                </a:cubicBezTo>
                <a:cubicBezTo>
                  <a:pt x="23281" y="10812"/>
                  <a:pt x="23281" y="10812"/>
                  <a:pt x="23250" y="10781"/>
                </a:cubicBezTo>
                <a:cubicBezTo>
                  <a:pt x="23187" y="10750"/>
                  <a:pt x="23156" y="10687"/>
                  <a:pt x="23187" y="10625"/>
                </a:cubicBezTo>
                <a:cubicBezTo>
                  <a:pt x="23187" y="10625"/>
                  <a:pt x="23219" y="10594"/>
                  <a:pt x="23219" y="10562"/>
                </a:cubicBezTo>
                <a:cubicBezTo>
                  <a:pt x="23250" y="10562"/>
                  <a:pt x="23250" y="10562"/>
                  <a:pt x="23281" y="10531"/>
                </a:cubicBezTo>
                <a:cubicBezTo>
                  <a:pt x="23625" y="10562"/>
                  <a:pt x="23969" y="10531"/>
                  <a:pt x="24312" y="10500"/>
                </a:cubicBezTo>
                <a:cubicBezTo>
                  <a:pt x="24594" y="10500"/>
                  <a:pt x="24875" y="10469"/>
                  <a:pt x="25156" y="10437"/>
                </a:cubicBezTo>
                <a:cubicBezTo>
                  <a:pt x="25375" y="10406"/>
                  <a:pt x="25562" y="10375"/>
                  <a:pt x="25781" y="10375"/>
                </a:cubicBezTo>
                <a:cubicBezTo>
                  <a:pt x="26062" y="10344"/>
                  <a:pt x="26344" y="10344"/>
                  <a:pt x="26625" y="10344"/>
                </a:cubicBezTo>
                <a:cubicBezTo>
                  <a:pt x="26906" y="10375"/>
                  <a:pt x="27187" y="10312"/>
                  <a:pt x="27500" y="10344"/>
                </a:cubicBezTo>
                <a:cubicBezTo>
                  <a:pt x="27594" y="10375"/>
                  <a:pt x="27562" y="10281"/>
                  <a:pt x="27562" y="10250"/>
                </a:cubicBezTo>
                <a:cubicBezTo>
                  <a:pt x="27594" y="10219"/>
                  <a:pt x="27594" y="10219"/>
                  <a:pt x="27562" y="10187"/>
                </a:cubicBezTo>
                <a:cubicBezTo>
                  <a:pt x="27562" y="10187"/>
                  <a:pt x="27531" y="10156"/>
                  <a:pt x="27469" y="10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101E861-19DB-0F4C-841C-AB36ACCC68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EE5EF342-4613-144F-9AB5-20FA7565A4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93FA757-5EFA-AA48-A1C5-3D9D5F1E7CD3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01AD20A3-6A77-FA4B-A880-1256D242A88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57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2">
            <a:extLst>
              <a:ext uri="{FF2B5EF4-FFF2-40B4-BE49-F238E27FC236}">
                <a16:creationId xmlns:a16="http://schemas.microsoft.com/office/drawing/2014/main" id="{830EA73D-D34B-7B4A-9122-2A11A4C63CC0}"/>
              </a:ext>
            </a:extLst>
          </p:cNvPr>
          <p:cNvSpPr>
            <a:spLocks noGrp="1" noEditPoints="1"/>
          </p:cNvSpPr>
          <p:nvPr>
            <p:ph type="pic" sz="quarter" idx="36"/>
          </p:nvPr>
        </p:nvSpPr>
        <p:spPr bwMode="auto">
          <a:xfrm>
            <a:off x="672307" y="522090"/>
            <a:ext cx="22106456" cy="9865096"/>
          </a:xfrm>
          <a:custGeom>
            <a:avLst/>
            <a:gdLst>
              <a:gd name="T0" fmla="*/ 4594 w 40031"/>
              <a:gd name="T1" fmla="*/ 4407 h 14313"/>
              <a:gd name="T2" fmla="*/ 2219 w 40031"/>
              <a:gd name="T3" fmla="*/ 3688 h 14313"/>
              <a:gd name="T4" fmla="*/ 594 w 40031"/>
              <a:gd name="T5" fmla="*/ 3938 h 14313"/>
              <a:gd name="T6" fmla="*/ 1312 w 40031"/>
              <a:gd name="T7" fmla="*/ 4657 h 14313"/>
              <a:gd name="T8" fmla="*/ 2375 w 40031"/>
              <a:gd name="T9" fmla="*/ 5719 h 14313"/>
              <a:gd name="T10" fmla="*/ 3906 w 40031"/>
              <a:gd name="T11" fmla="*/ 6500 h 14313"/>
              <a:gd name="T12" fmla="*/ 9469 w 40031"/>
              <a:gd name="T13" fmla="*/ 10188 h 14313"/>
              <a:gd name="T14" fmla="*/ 14750 w 40031"/>
              <a:gd name="T15" fmla="*/ 11438 h 14313"/>
              <a:gd name="T16" fmla="*/ 18031 w 40031"/>
              <a:gd name="T17" fmla="*/ 13438 h 14313"/>
              <a:gd name="T18" fmla="*/ 19875 w 40031"/>
              <a:gd name="T19" fmla="*/ 11469 h 14313"/>
              <a:gd name="T20" fmla="*/ 20281 w 40031"/>
              <a:gd name="T21" fmla="*/ 11469 h 14313"/>
              <a:gd name="T22" fmla="*/ 20156 w 40031"/>
              <a:gd name="T23" fmla="*/ 11157 h 14313"/>
              <a:gd name="T24" fmla="*/ 21250 w 40031"/>
              <a:gd name="T25" fmla="*/ 11813 h 14313"/>
              <a:gd name="T26" fmla="*/ 22437 w 40031"/>
              <a:gd name="T27" fmla="*/ 10969 h 14313"/>
              <a:gd name="T28" fmla="*/ 23000 w 40031"/>
              <a:gd name="T29" fmla="*/ 10407 h 14313"/>
              <a:gd name="T30" fmla="*/ 23031 w 40031"/>
              <a:gd name="T31" fmla="*/ 9594 h 14313"/>
              <a:gd name="T32" fmla="*/ 24531 w 40031"/>
              <a:gd name="T33" fmla="*/ 9750 h 14313"/>
              <a:gd name="T34" fmla="*/ 30406 w 40031"/>
              <a:gd name="T35" fmla="*/ 11282 h 14313"/>
              <a:gd name="T36" fmla="*/ 34219 w 40031"/>
              <a:gd name="T37" fmla="*/ 11907 h 14313"/>
              <a:gd name="T38" fmla="*/ 35812 w 40031"/>
              <a:gd name="T39" fmla="*/ 12313 h 14313"/>
              <a:gd name="T40" fmla="*/ 37125 w 40031"/>
              <a:gd name="T41" fmla="*/ 12094 h 14313"/>
              <a:gd name="T42" fmla="*/ 38969 w 40031"/>
              <a:gd name="T43" fmla="*/ 13500 h 14313"/>
              <a:gd name="T44" fmla="*/ 39469 w 40031"/>
              <a:gd name="T45" fmla="*/ 12532 h 14313"/>
              <a:gd name="T46" fmla="*/ 38250 w 40031"/>
              <a:gd name="T47" fmla="*/ 9875 h 14313"/>
              <a:gd name="T48" fmla="*/ 38406 w 40031"/>
              <a:gd name="T49" fmla="*/ 5688 h 14313"/>
              <a:gd name="T50" fmla="*/ 37062 w 40031"/>
              <a:gd name="T51" fmla="*/ 6219 h 14313"/>
              <a:gd name="T52" fmla="*/ 36219 w 40031"/>
              <a:gd name="T53" fmla="*/ 6250 h 14313"/>
              <a:gd name="T54" fmla="*/ 36062 w 40031"/>
              <a:gd name="T55" fmla="*/ 5844 h 14313"/>
              <a:gd name="T56" fmla="*/ 37094 w 40031"/>
              <a:gd name="T57" fmla="*/ 5063 h 14313"/>
              <a:gd name="T58" fmla="*/ 37281 w 40031"/>
              <a:gd name="T59" fmla="*/ 4907 h 14313"/>
              <a:gd name="T60" fmla="*/ 37875 w 40031"/>
              <a:gd name="T61" fmla="*/ 3625 h 14313"/>
              <a:gd name="T62" fmla="*/ 36187 w 40031"/>
              <a:gd name="T63" fmla="*/ 4719 h 14313"/>
              <a:gd name="T64" fmla="*/ 35594 w 40031"/>
              <a:gd name="T65" fmla="*/ 5063 h 14313"/>
              <a:gd name="T66" fmla="*/ 34500 w 40031"/>
              <a:gd name="T67" fmla="*/ 5313 h 14313"/>
              <a:gd name="T68" fmla="*/ 36125 w 40031"/>
              <a:gd name="T69" fmla="*/ 4469 h 14313"/>
              <a:gd name="T70" fmla="*/ 38594 w 40031"/>
              <a:gd name="T71" fmla="*/ 2750 h 14313"/>
              <a:gd name="T72" fmla="*/ 36375 w 40031"/>
              <a:gd name="T73" fmla="*/ 3157 h 14313"/>
              <a:gd name="T74" fmla="*/ 35687 w 40031"/>
              <a:gd name="T75" fmla="*/ 2907 h 14313"/>
              <a:gd name="T76" fmla="*/ 28219 w 40031"/>
              <a:gd name="T77" fmla="*/ 2907 h 14313"/>
              <a:gd name="T78" fmla="*/ 28000 w 40031"/>
              <a:gd name="T79" fmla="*/ 1813 h 14313"/>
              <a:gd name="T80" fmla="*/ 25781 w 40031"/>
              <a:gd name="T81" fmla="*/ 1219 h 14313"/>
              <a:gd name="T82" fmla="*/ 18875 w 40031"/>
              <a:gd name="T83" fmla="*/ 5125 h 14313"/>
              <a:gd name="T84" fmla="*/ 10937 w 40031"/>
              <a:gd name="T85" fmla="*/ 2844 h 14313"/>
              <a:gd name="T86" fmla="*/ 6656 w 40031"/>
              <a:gd name="T87" fmla="*/ 688 h 14313"/>
              <a:gd name="T88" fmla="*/ 8469 w 40031"/>
              <a:gd name="T89" fmla="*/ 2625 h 14313"/>
              <a:gd name="T90" fmla="*/ 8375 w 40031"/>
              <a:gd name="T91" fmla="*/ 3000 h 14313"/>
              <a:gd name="T92" fmla="*/ 7562 w 40031"/>
              <a:gd name="T93" fmla="*/ 3063 h 14313"/>
              <a:gd name="T94" fmla="*/ 7187 w 40031"/>
              <a:gd name="T95" fmla="*/ 3532 h 14313"/>
              <a:gd name="T96" fmla="*/ 7187 w 40031"/>
              <a:gd name="T97" fmla="*/ 4375 h 14313"/>
              <a:gd name="T98" fmla="*/ 6656 w 40031"/>
              <a:gd name="T99" fmla="*/ 4844 h 14313"/>
              <a:gd name="T100" fmla="*/ 21312 w 40031"/>
              <a:gd name="T101" fmla="*/ 12219 h 14313"/>
              <a:gd name="T102" fmla="*/ 28187 w 40031"/>
              <a:gd name="T103" fmla="*/ 1032 h 14313"/>
              <a:gd name="T104" fmla="*/ 28031 w 40031"/>
              <a:gd name="T105" fmla="*/ 1375 h 14313"/>
              <a:gd name="T106" fmla="*/ 35156 w 40031"/>
              <a:gd name="T107" fmla="*/ 5438 h 14313"/>
              <a:gd name="T108" fmla="*/ 35812 w 40031"/>
              <a:gd name="T109" fmla="*/ 3875 h 14313"/>
              <a:gd name="T110" fmla="*/ 35156 w 40031"/>
              <a:gd name="T111" fmla="*/ 3782 h 14313"/>
              <a:gd name="T112" fmla="*/ 7094 w 40031"/>
              <a:gd name="T113" fmla="*/ 4625 h 14313"/>
              <a:gd name="T114" fmla="*/ 34031 w 40031"/>
              <a:gd name="T115" fmla="*/ 5469 h 14313"/>
              <a:gd name="T116" fmla="*/ 19406 w 40031"/>
              <a:gd name="T117" fmla="*/ 5063 h 14313"/>
              <a:gd name="T118" fmla="*/ 8562 w 40031"/>
              <a:gd name="T119" fmla="*/ 4469 h 14313"/>
              <a:gd name="T120" fmla="*/ 7844 w 40031"/>
              <a:gd name="T121" fmla="*/ 3407 h 14313"/>
              <a:gd name="T122" fmla="*/ 20844 w 40031"/>
              <a:gd name="T123" fmla="*/ 11438 h 14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031" h="14313">
                <a:moveTo>
                  <a:pt x="6562" y="4844"/>
                </a:moveTo>
                <a:cubicBezTo>
                  <a:pt x="6531" y="4813"/>
                  <a:pt x="6500" y="4782"/>
                  <a:pt x="6437" y="4750"/>
                </a:cubicBezTo>
                <a:cubicBezTo>
                  <a:pt x="6469" y="4813"/>
                  <a:pt x="6531" y="4813"/>
                  <a:pt x="6562" y="4844"/>
                </a:cubicBezTo>
                <a:cubicBezTo>
                  <a:pt x="6687" y="4907"/>
                  <a:pt x="6844" y="5000"/>
                  <a:pt x="6937" y="5125"/>
                </a:cubicBezTo>
                <a:cubicBezTo>
                  <a:pt x="6937" y="5125"/>
                  <a:pt x="6937" y="5157"/>
                  <a:pt x="6906" y="5157"/>
                </a:cubicBezTo>
                <a:cubicBezTo>
                  <a:pt x="6844" y="5188"/>
                  <a:pt x="6781" y="5157"/>
                  <a:pt x="6719" y="5125"/>
                </a:cubicBezTo>
                <a:cubicBezTo>
                  <a:pt x="6187" y="4875"/>
                  <a:pt x="5625" y="4688"/>
                  <a:pt x="5094" y="4469"/>
                </a:cubicBezTo>
                <a:cubicBezTo>
                  <a:pt x="5031" y="4469"/>
                  <a:pt x="4937" y="4407"/>
                  <a:pt x="4937" y="4438"/>
                </a:cubicBezTo>
                <a:cubicBezTo>
                  <a:pt x="4781" y="4532"/>
                  <a:pt x="4687" y="4438"/>
                  <a:pt x="4594" y="4407"/>
                </a:cubicBezTo>
                <a:cubicBezTo>
                  <a:pt x="4504" y="4377"/>
                  <a:pt x="4442" y="4347"/>
                  <a:pt x="4327" y="4372"/>
                </a:cubicBezTo>
                <a:cubicBezTo>
                  <a:pt x="4335" y="4368"/>
                  <a:pt x="4344" y="4360"/>
                  <a:pt x="4344" y="4344"/>
                </a:cubicBezTo>
                <a:cubicBezTo>
                  <a:pt x="4312" y="4313"/>
                  <a:pt x="4312" y="4313"/>
                  <a:pt x="4281" y="4313"/>
                </a:cubicBezTo>
                <a:cubicBezTo>
                  <a:pt x="4281" y="4313"/>
                  <a:pt x="4250" y="4344"/>
                  <a:pt x="4250" y="4344"/>
                </a:cubicBezTo>
                <a:cubicBezTo>
                  <a:pt x="4250" y="4375"/>
                  <a:pt x="4281" y="4375"/>
                  <a:pt x="4312" y="4375"/>
                </a:cubicBezTo>
                <a:cubicBezTo>
                  <a:pt x="4594" y="4532"/>
                  <a:pt x="4812" y="4657"/>
                  <a:pt x="5031" y="4782"/>
                </a:cubicBezTo>
                <a:cubicBezTo>
                  <a:pt x="4937" y="4750"/>
                  <a:pt x="4844" y="4719"/>
                  <a:pt x="4750" y="4688"/>
                </a:cubicBezTo>
                <a:cubicBezTo>
                  <a:pt x="4469" y="4532"/>
                  <a:pt x="4219" y="4375"/>
                  <a:pt x="3937" y="4282"/>
                </a:cubicBezTo>
                <a:cubicBezTo>
                  <a:pt x="3375" y="4094"/>
                  <a:pt x="2812" y="3844"/>
                  <a:pt x="2219" y="3688"/>
                </a:cubicBezTo>
                <a:cubicBezTo>
                  <a:pt x="1750" y="3532"/>
                  <a:pt x="1312" y="3344"/>
                  <a:pt x="844" y="3219"/>
                </a:cubicBezTo>
                <a:cubicBezTo>
                  <a:pt x="562" y="3125"/>
                  <a:pt x="281" y="3032"/>
                  <a:pt x="0" y="3000"/>
                </a:cubicBezTo>
                <a:cubicBezTo>
                  <a:pt x="0" y="3032"/>
                  <a:pt x="0" y="3032"/>
                  <a:pt x="0" y="3063"/>
                </a:cubicBezTo>
                <a:cubicBezTo>
                  <a:pt x="31" y="3063"/>
                  <a:pt x="31" y="3063"/>
                  <a:pt x="62" y="3063"/>
                </a:cubicBezTo>
                <a:cubicBezTo>
                  <a:pt x="406" y="3344"/>
                  <a:pt x="750" y="3563"/>
                  <a:pt x="1156" y="3750"/>
                </a:cubicBezTo>
                <a:cubicBezTo>
                  <a:pt x="1500" y="3907"/>
                  <a:pt x="1812" y="4094"/>
                  <a:pt x="1969" y="4438"/>
                </a:cubicBezTo>
                <a:cubicBezTo>
                  <a:pt x="1750" y="4344"/>
                  <a:pt x="1531" y="4250"/>
                  <a:pt x="1312" y="4157"/>
                </a:cubicBezTo>
                <a:cubicBezTo>
                  <a:pt x="1062" y="4063"/>
                  <a:pt x="844" y="3969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3938"/>
                  <a:pt x="594" y="3938"/>
                  <a:pt x="594" y="3938"/>
                </a:cubicBezTo>
                <a:cubicBezTo>
                  <a:pt x="594" y="4000"/>
                  <a:pt x="656" y="4032"/>
                  <a:pt x="687" y="4032"/>
                </a:cubicBezTo>
                <a:cubicBezTo>
                  <a:pt x="906" y="4188"/>
                  <a:pt x="1156" y="4313"/>
                  <a:pt x="1406" y="4407"/>
                </a:cubicBezTo>
                <a:cubicBezTo>
                  <a:pt x="1687" y="4532"/>
                  <a:pt x="1937" y="4657"/>
                  <a:pt x="2219" y="4813"/>
                </a:cubicBezTo>
                <a:cubicBezTo>
                  <a:pt x="2375" y="4875"/>
                  <a:pt x="2531" y="4938"/>
                  <a:pt x="2687" y="5063"/>
                </a:cubicBezTo>
                <a:cubicBezTo>
                  <a:pt x="2594" y="5063"/>
                  <a:pt x="2562" y="5063"/>
                  <a:pt x="2531" y="5032"/>
                </a:cubicBezTo>
                <a:cubicBezTo>
                  <a:pt x="2281" y="4907"/>
                  <a:pt x="2031" y="4782"/>
                  <a:pt x="1781" y="4688"/>
                </a:cubicBezTo>
                <a:cubicBezTo>
                  <a:pt x="1750" y="4657"/>
                  <a:pt x="1687" y="4657"/>
                  <a:pt x="1656" y="4657"/>
                </a:cubicBezTo>
                <a:cubicBezTo>
                  <a:pt x="1531" y="4657"/>
                  <a:pt x="1437" y="4688"/>
                  <a:pt x="1312" y="4657"/>
                </a:cubicBezTo>
                <a:cubicBezTo>
                  <a:pt x="1125" y="4594"/>
                  <a:pt x="969" y="4500"/>
                  <a:pt x="812" y="4469"/>
                </a:cubicBezTo>
                <a:cubicBezTo>
                  <a:pt x="781" y="4500"/>
                  <a:pt x="781" y="4500"/>
                  <a:pt x="781" y="4500"/>
                </a:cubicBezTo>
                <a:cubicBezTo>
                  <a:pt x="812" y="4532"/>
                  <a:pt x="844" y="4563"/>
                  <a:pt x="906" y="4594"/>
                </a:cubicBezTo>
                <a:cubicBezTo>
                  <a:pt x="1312" y="4875"/>
                  <a:pt x="1719" y="5125"/>
                  <a:pt x="2125" y="5407"/>
                </a:cubicBezTo>
                <a:cubicBezTo>
                  <a:pt x="2281" y="5500"/>
                  <a:pt x="2469" y="5594"/>
                  <a:pt x="2594" y="5719"/>
                </a:cubicBezTo>
                <a:cubicBezTo>
                  <a:pt x="2562" y="5719"/>
                  <a:pt x="2562" y="5750"/>
                  <a:pt x="2562" y="5750"/>
                </a:cubicBezTo>
                <a:cubicBezTo>
                  <a:pt x="2500" y="5750"/>
                  <a:pt x="2437" y="5750"/>
                  <a:pt x="2406" y="5719"/>
                </a:cubicBezTo>
                <a:cubicBezTo>
                  <a:pt x="2406" y="5719"/>
                  <a:pt x="2406" y="5719"/>
                  <a:pt x="2406" y="5719"/>
                </a:cubicBezTo>
                <a:cubicBezTo>
                  <a:pt x="2406" y="5719"/>
                  <a:pt x="2375" y="5719"/>
                  <a:pt x="2375" y="5719"/>
                </a:cubicBezTo>
                <a:cubicBezTo>
                  <a:pt x="2375" y="5719"/>
                  <a:pt x="2375" y="5719"/>
                  <a:pt x="2406" y="5750"/>
                </a:cubicBezTo>
                <a:cubicBezTo>
                  <a:pt x="2625" y="5907"/>
                  <a:pt x="2875" y="6094"/>
                  <a:pt x="3125" y="6250"/>
                </a:cubicBezTo>
                <a:cubicBezTo>
                  <a:pt x="3219" y="6344"/>
                  <a:pt x="3312" y="6375"/>
                  <a:pt x="3437" y="6250"/>
                </a:cubicBezTo>
                <a:cubicBezTo>
                  <a:pt x="3469" y="6219"/>
                  <a:pt x="3500" y="6157"/>
                  <a:pt x="3562" y="6219"/>
                </a:cubicBezTo>
                <a:cubicBezTo>
                  <a:pt x="3625" y="6282"/>
                  <a:pt x="3562" y="6344"/>
                  <a:pt x="3531" y="6375"/>
                </a:cubicBezTo>
                <a:cubicBezTo>
                  <a:pt x="3437" y="6438"/>
                  <a:pt x="3437" y="6500"/>
                  <a:pt x="3531" y="6532"/>
                </a:cubicBezTo>
                <a:cubicBezTo>
                  <a:pt x="3625" y="6594"/>
                  <a:pt x="3687" y="6657"/>
                  <a:pt x="3750" y="6719"/>
                </a:cubicBezTo>
                <a:cubicBezTo>
                  <a:pt x="3781" y="6719"/>
                  <a:pt x="3812" y="6719"/>
                  <a:pt x="3844" y="6719"/>
                </a:cubicBezTo>
                <a:cubicBezTo>
                  <a:pt x="3969" y="6657"/>
                  <a:pt x="4000" y="6594"/>
                  <a:pt x="3906" y="6500"/>
                </a:cubicBezTo>
                <a:cubicBezTo>
                  <a:pt x="3875" y="6438"/>
                  <a:pt x="3844" y="6407"/>
                  <a:pt x="3906" y="6375"/>
                </a:cubicBezTo>
                <a:cubicBezTo>
                  <a:pt x="3969" y="6313"/>
                  <a:pt x="4000" y="6375"/>
                  <a:pt x="4031" y="6407"/>
                </a:cubicBezTo>
                <a:cubicBezTo>
                  <a:pt x="4156" y="6563"/>
                  <a:pt x="4156" y="6625"/>
                  <a:pt x="4031" y="6782"/>
                </a:cubicBezTo>
                <a:cubicBezTo>
                  <a:pt x="3969" y="6844"/>
                  <a:pt x="3969" y="6875"/>
                  <a:pt x="4031" y="6907"/>
                </a:cubicBezTo>
                <a:cubicBezTo>
                  <a:pt x="4344" y="7125"/>
                  <a:pt x="4656" y="7407"/>
                  <a:pt x="4969" y="7625"/>
                </a:cubicBezTo>
                <a:cubicBezTo>
                  <a:pt x="5250" y="7844"/>
                  <a:pt x="5562" y="8000"/>
                  <a:pt x="5844" y="8188"/>
                </a:cubicBezTo>
                <a:cubicBezTo>
                  <a:pt x="6281" y="8469"/>
                  <a:pt x="6750" y="8750"/>
                  <a:pt x="7219" y="9000"/>
                </a:cubicBezTo>
                <a:cubicBezTo>
                  <a:pt x="7750" y="9313"/>
                  <a:pt x="8250" y="9625"/>
                  <a:pt x="8812" y="9875"/>
                </a:cubicBezTo>
                <a:cubicBezTo>
                  <a:pt x="9031" y="10000"/>
                  <a:pt x="9250" y="10125"/>
                  <a:pt x="9469" y="10188"/>
                </a:cubicBezTo>
                <a:cubicBezTo>
                  <a:pt x="9500" y="10125"/>
                  <a:pt x="9469" y="10063"/>
                  <a:pt x="9437" y="10032"/>
                </a:cubicBezTo>
                <a:cubicBezTo>
                  <a:pt x="9469" y="10063"/>
                  <a:pt x="9500" y="10125"/>
                  <a:pt x="9469" y="10188"/>
                </a:cubicBezTo>
                <a:cubicBezTo>
                  <a:pt x="9531" y="10219"/>
                  <a:pt x="9562" y="10250"/>
                  <a:pt x="9625" y="10250"/>
                </a:cubicBezTo>
                <a:cubicBezTo>
                  <a:pt x="10250" y="10532"/>
                  <a:pt x="10906" y="10750"/>
                  <a:pt x="11625" y="10875"/>
                </a:cubicBezTo>
                <a:cubicBezTo>
                  <a:pt x="12062" y="10969"/>
                  <a:pt x="12500" y="11032"/>
                  <a:pt x="12969" y="11094"/>
                </a:cubicBezTo>
                <a:cubicBezTo>
                  <a:pt x="13219" y="11094"/>
                  <a:pt x="13500" y="11094"/>
                  <a:pt x="13750" y="11094"/>
                </a:cubicBezTo>
                <a:cubicBezTo>
                  <a:pt x="13781" y="11157"/>
                  <a:pt x="13844" y="11188"/>
                  <a:pt x="13906" y="11219"/>
                </a:cubicBezTo>
                <a:cubicBezTo>
                  <a:pt x="14156" y="11250"/>
                  <a:pt x="14375" y="11375"/>
                  <a:pt x="14656" y="11375"/>
                </a:cubicBezTo>
                <a:cubicBezTo>
                  <a:pt x="14687" y="11375"/>
                  <a:pt x="14719" y="11407"/>
                  <a:pt x="14750" y="11438"/>
                </a:cubicBezTo>
                <a:cubicBezTo>
                  <a:pt x="15156" y="11688"/>
                  <a:pt x="15531" y="12000"/>
                  <a:pt x="15906" y="12375"/>
                </a:cubicBezTo>
                <a:cubicBezTo>
                  <a:pt x="16156" y="12594"/>
                  <a:pt x="16406" y="12844"/>
                  <a:pt x="16625" y="13094"/>
                </a:cubicBezTo>
                <a:cubicBezTo>
                  <a:pt x="16781" y="13219"/>
                  <a:pt x="16875" y="13407"/>
                  <a:pt x="17000" y="13531"/>
                </a:cubicBezTo>
                <a:cubicBezTo>
                  <a:pt x="17187" y="13781"/>
                  <a:pt x="17375" y="14000"/>
                  <a:pt x="17531" y="14250"/>
                </a:cubicBezTo>
                <a:cubicBezTo>
                  <a:pt x="17562" y="14313"/>
                  <a:pt x="17594" y="14281"/>
                  <a:pt x="17594" y="14250"/>
                </a:cubicBezTo>
                <a:cubicBezTo>
                  <a:pt x="17625" y="14188"/>
                  <a:pt x="17812" y="14156"/>
                  <a:pt x="17719" y="14031"/>
                </a:cubicBezTo>
                <a:cubicBezTo>
                  <a:pt x="17719" y="14000"/>
                  <a:pt x="17750" y="13969"/>
                  <a:pt x="17781" y="13938"/>
                </a:cubicBezTo>
                <a:cubicBezTo>
                  <a:pt x="17875" y="13813"/>
                  <a:pt x="17969" y="13719"/>
                  <a:pt x="17969" y="13563"/>
                </a:cubicBezTo>
                <a:cubicBezTo>
                  <a:pt x="17969" y="13500"/>
                  <a:pt x="18000" y="13469"/>
                  <a:pt x="18031" y="13438"/>
                </a:cubicBezTo>
                <a:cubicBezTo>
                  <a:pt x="18125" y="13375"/>
                  <a:pt x="18187" y="13313"/>
                  <a:pt x="18219" y="13219"/>
                </a:cubicBezTo>
                <a:cubicBezTo>
                  <a:pt x="18250" y="13032"/>
                  <a:pt x="18219" y="12844"/>
                  <a:pt x="18281" y="12657"/>
                </a:cubicBezTo>
                <a:cubicBezTo>
                  <a:pt x="18375" y="12407"/>
                  <a:pt x="18344" y="12157"/>
                  <a:pt x="18250" y="11907"/>
                </a:cubicBezTo>
                <a:cubicBezTo>
                  <a:pt x="18219" y="11813"/>
                  <a:pt x="18156" y="11688"/>
                  <a:pt x="18187" y="11563"/>
                </a:cubicBezTo>
                <a:cubicBezTo>
                  <a:pt x="18250" y="11438"/>
                  <a:pt x="18219" y="11313"/>
                  <a:pt x="18219" y="11188"/>
                </a:cubicBezTo>
                <a:cubicBezTo>
                  <a:pt x="18500" y="11313"/>
                  <a:pt x="18719" y="11532"/>
                  <a:pt x="19031" y="11594"/>
                </a:cubicBezTo>
                <a:cubicBezTo>
                  <a:pt x="19250" y="11625"/>
                  <a:pt x="19469" y="11719"/>
                  <a:pt x="19687" y="11782"/>
                </a:cubicBezTo>
                <a:cubicBezTo>
                  <a:pt x="19812" y="11813"/>
                  <a:pt x="19969" y="11750"/>
                  <a:pt x="20000" y="11625"/>
                </a:cubicBezTo>
                <a:cubicBezTo>
                  <a:pt x="20031" y="11532"/>
                  <a:pt x="19906" y="11500"/>
                  <a:pt x="19875" y="11469"/>
                </a:cubicBezTo>
                <a:cubicBezTo>
                  <a:pt x="19781" y="11375"/>
                  <a:pt x="19719" y="11313"/>
                  <a:pt x="19625" y="11250"/>
                </a:cubicBezTo>
                <a:cubicBezTo>
                  <a:pt x="19594" y="11219"/>
                  <a:pt x="19562" y="11188"/>
                  <a:pt x="19562" y="11125"/>
                </a:cubicBezTo>
                <a:cubicBezTo>
                  <a:pt x="19687" y="11188"/>
                  <a:pt x="19750" y="11282"/>
                  <a:pt x="19875" y="11313"/>
                </a:cubicBezTo>
                <a:cubicBezTo>
                  <a:pt x="19906" y="11250"/>
                  <a:pt x="19812" y="11219"/>
                  <a:pt x="19844" y="11157"/>
                </a:cubicBezTo>
                <a:cubicBezTo>
                  <a:pt x="19844" y="11157"/>
                  <a:pt x="19844" y="11157"/>
                  <a:pt x="19844" y="11157"/>
                </a:cubicBezTo>
                <a:cubicBezTo>
                  <a:pt x="19969" y="11219"/>
                  <a:pt x="20062" y="11344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375"/>
                  <a:pt x="20187" y="11375"/>
                  <a:pt x="20187" y="11375"/>
                </a:cubicBezTo>
                <a:cubicBezTo>
                  <a:pt x="20187" y="11438"/>
                  <a:pt x="20219" y="11469"/>
                  <a:pt x="20281" y="11469"/>
                </a:cubicBezTo>
                <a:cubicBezTo>
                  <a:pt x="20281" y="11500"/>
                  <a:pt x="20281" y="11532"/>
                  <a:pt x="20312" y="11532"/>
                </a:cubicBezTo>
                <a:cubicBezTo>
                  <a:pt x="20344" y="11532"/>
                  <a:pt x="20344" y="11532"/>
                  <a:pt x="20344" y="11500"/>
                </a:cubicBezTo>
                <a:cubicBezTo>
                  <a:pt x="20344" y="11469"/>
                  <a:pt x="20312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69"/>
                  <a:pt x="20281" y="11469"/>
                  <a:pt x="20281" y="11469"/>
                </a:cubicBezTo>
                <a:cubicBezTo>
                  <a:pt x="20281" y="11407"/>
                  <a:pt x="20250" y="11375"/>
                  <a:pt x="20187" y="11375"/>
                </a:cubicBezTo>
                <a:cubicBezTo>
                  <a:pt x="20187" y="11313"/>
                  <a:pt x="20156" y="11282"/>
                  <a:pt x="20094" y="11219"/>
                </a:cubicBezTo>
                <a:cubicBezTo>
                  <a:pt x="20094" y="11188"/>
                  <a:pt x="20062" y="11188"/>
                  <a:pt x="20094" y="11157"/>
                </a:cubicBezTo>
                <a:cubicBezTo>
                  <a:pt x="20094" y="11125"/>
                  <a:pt x="20125" y="11157"/>
                  <a:pt x="20156" y="11157"/>
                </a:cubicBezTo>
                <a:cubicBezTo>
                  <a:pt x="20312" y="11188"/>
                  <a:pt x="20406" y="11313"/>
                  <a:pt x="20500" y="11438"/>
                </a:cubicBezTo>
                <a:cubicBezTo>
                  <a:pt x="20656" y="11625"/>
                  <a:pt x="20875" y="11750"/>
                  <a:pt x="20969" y="11969"/>
                </a:cubicBezTo>
                <a:cubicBezTo>
                  <a:pt x="21000" y="12032"/>
                  <a:pt x="21094" y="12125"/>
                  <a:pt x="21156" y="12188"/>
                </a:cubicBezTo>
                <a:cubicBezTo>
                  <a:pt x="21219" y="12250"/>
                  <a:pt x="21219" y="12188"/>
                  <a:pt x="21219" y="12157"/>
                </a:cubicBezTo>
                <a:cubicBezTo>
                  <a:pt x="21219" y="12157"/>
                  <a:pt x="21219" y="12157"/>
                  <a:pt x="21219" y="12157"/>
                </a:cubicBezTo>
                <a:cubicBezTo>
                  <a:pt x="21281" y="12157"/>
                  <a:pt x="21312" y="12157"/>
                  <a:pt x="21281" y="12063"/>
                </a:cubicBezTo>
                <a:cubicBezTo>
                  <a:pt x="21250" y="12032"/>
                  <a:pt x="21219" y="11969"/>
                  <a:pt x="21219" y="11907"/>
                </a:cubicBezTo>
                <a:cubicBezTo>
                  <a:pt x="21219" y="11907"/>
                  <a:pt x="21219" y="11907"/>
                  <a:pt x="21219" y="11907"/>
                </a:cubicBezTo>
                <a:cubicBezTo>
                  <a:pt x="21250" y="11875"/>
                  <a:pt x="21281" y="11875"/>
                  <a:pt x="21250" y="11813"/>
                </a:cubicBezTo>
                <a:cubicBezTo>
                  <a:pt x="21250" y="11782"/>
                  <a:pt x="21219" y="11719"/>
                  <a:pt x="21250" y="11688"/>
                </a:cubicBezTo>
                <a:cubicBezTo>
                  <a:pt x="21406" y="11532"/>
                  <a:pt x="21281" y="11407"/>
                  <a:pt x="21250" y="11282"/>
                </a:cubicBezTo>
                <a:cubicBezTo>
                  <a:pt x="21250" y="11219"/>
                  <a:pt x="21219" y="11157"/>
                  <a:pt x="21187" y="11094"/>
                </a:cubicBezTo>
                <a:cubicBezTo>
                  <a:pt x="21187" y="11032"/>
                  <a:pt x="21125" y="10969"/>
                  <a:pt x="21187" y="10938"/>
                </a:cubicBezTo>
                <a:cubicBezTo>
                  <a:pt x="21250" y="10907"/>
                  <a:pt x="21281" y="10938"/>
                  <a:pt x="21344" y="10969"/>
                </a:cubicBezTo>
                <a:cubicBezTo>
                  <a:pt x="21500" y="11032"/>
                  <a:pt x="21656" y="11157"/>
                  <a:pt x="21781" y="11282"/>
                </a:cubicBezTo>
                <a:cubicBezTo>
                  <a:pt x="22000" y="11469"/>
                  <a:pt x="22250" y="11625"/>
                  <a:pt x="22531" y="11719"/>
                </a:cubicBezTo>
                <a:cubicBezTo>
                  <a:pt x="22500" y="11375"/>
                  <a:pt x="22344" y="11125"/>
                  <a:pt x="22219" y="10844"/>
                </a:cubicBezTo>
                <a:cubicBezTo>
                  <a:pt x="22312" y="10875"/>
                  <a:pt x="22344" y="10969"/>
                  <a:pt x="22437" y="10969"/>
                </a:cubicBezTo>
                <a:cubicBezTo>
                  <a:pt x="22531" y="11000"/>
                  <a:pt x="22562" y="11063"/>
                  <a:pt x="22594" y="11125"/>
                </a:cubicBezTo>
                <a:cubicBezTo>
                  <a:pt x="22719" y="11313"/>
                  <a:pt x="22781" y="11532"/>
                  <a:pt x="22844" y="11782"/>
                </a:cubicBezTo>
                <a:cubicBezTo>
                  <a:pt x="22875" y="11875"/>
                  <a:pt x="23156" y="12000"/>
                  <a:pt x="23250" y="11969"/>
                </a:cubicBezTo>
                <a:cubicBezTo>
                  <a:pt x="23281" y="11969"/>
                  <a:pt x="23281" y="11938"/>
                  <a:pt x="23281" y="11907"/>
                </a:cubicBezTo>
                <a:cubicBezTo>
                  <a:pt x="23375" y="11719"/>
                  <a:pt x="23312" y="11563"/>
                  <a:pt x="23219" y="11407"/>
                </a:cubicBezTo>
                <a:cubicBezTo>
                  <a:pt x="23125" y="11188"/>
                  <a:pt x="22969" y="11000"/>
                  <a:pt x="22844" y="10782"/>
                </a:cubicBezTo>
                <a:cubicBezTo>
                  <a:pt x="22844" y="10782"/>
                  <a:pt x="22844" y="10782"/>
                  <a:pt x="22844" y="10782"/>
                </a:cubicBezTo>
                <a:cubicBezTo>
                  <a:pt x="23031" y="10969"/>
                  <a:pt x="23187" y="11157"/>
                  <a:pt x="23344" y="11375"/>
                </a:cubicBezTo>
                <a:cubicBezTo>
                  <a:pt x="23312" y="11032"/>
                  <a:pt x="23125" y="10719"/>
                  <a:pt x="23000" y="10407"/>
                </a:cubicBezTo>
                <a:cubicBezTo>
                  <a:pt x="23125" y="10469"/>
                  <a:pt x="23187" y="10625"/>
                  <a:pt x="23344" y="10532"/>
                </a:cubicBezTo>
                <a:cubicBezTo>
                  <a:pt x="23344" y="10532"/>
                  <a:pt x="23375" y="10563"/>
                  <a:pt x="23375" y="10594"/>
                </a:cubicBezTo>
                <a:cubicBezTo>
                  <a:pt x="23437" y="10657"/>
                  <a:pt x="23469" y="10719"/>
                  <a:pt x="23500" y="10782"/>
                </a:cubicBezTo>
                <a:cubicBezTo>
                  <a:pt x="23594" y="10907"/>
                  <a:pt x="23656" y="11063"/>
                  <a:pt x="23719" y="11219"/>
                </a:cubicBezTo>
                <a:cubicBezTo>
                  <a:pt x="23719" y="11282"/>
                  <a:pt x="23750" y="11313"/>
                  <a:pt x="23812" y="11313"/>
                </a:cubicBezTo>
                <a:cubicBezTo>
                  <a:pt x="23875" y="11313"/>
                  <a:pt x="23906" y="11282"/>
                  <a:pt x="23906" y="11219"/>
                </a:cubicBezTo>
                <a:cubicBezTo>
                  <a:pt x="23906" y="11094"/>
                  <a:pt x="23937" y="11000"/>
                  <a:pt x="23906" y="10875"/>
                </a:cubicBezTo>
                <a:cubicBezTo>
                  <a:pt x="23812" y="10563"/>
                  <a:pt x="23656" y="10344"/>
                  <a:pt x="23469" y="10094"/>
                </a:cubicBezTo>
                <a:cubicBezTo>
                  <a:pt x="23344" y="9907"/>
                  <a:pt x="23187" y="9782"/>
                  <a:pt x="23031" y="9594"/>
                </a:cubicBezTo>
                <a:cubicBezTo>
                  <a:pt x="23031" y="9594"/>
                  <a:pt x="23031" y="9594"/>
                  <a:pt x="23031" y="9594"/>
                </a:cubicBezTo>
                <a:cubicBezTo>
                  <a:pt x="23187" y="9563"/>
                  <a:pt x="23344" y="9563"/>
                  <a:pt x="23437" y="9469"/>
                </a:cubicBezTo>
                <a:cubicBezTo>
                  <a:pt x="23531" y="9469"/>
                  <a:pt x="23594" y="9469"/>
                  <a:pt x="23687" y="9469"/>
                </a:cubicBezTo>
                <a:cubicBezTo>
                  <a:pt x="23750" y="9469"/>
                  <a:pt x="23844" y="9469"/>
                  <a:pt x="23906" y="9469"/>
                </a:cubicBezTo>
                <a:cubicBezTo>
                  <a:pt x="24031" y="9500"/>
                  <a:pt x="24156" y="9532"/>
                  <a:pt x="24281" y="9500"/>
                </a:cubicBezTo>
                <a:cubicBezTo>
                  <a:pt x="24437" y="9469"/>
                  <a:pt x="24594" y="9563"/>
                  <a:pt x="24750" y="9625"/>
                </a:cubicBezTo>
                <a:cubicBezTo>
                  <a:pt x="24781" y="9657"/>
                  <a:pt x="24844" y="9688"/>
                  <a:pt x="24906" y="9688"/>
                </a:cubicBezTo>
                <a:cubicBezTo>
                  <a:pt x="24750" y="9782"/>
                  <a:pt x="24625" y="9657"/>
                  <a:pt x="24469" y="9688"/>
                </a:cubicBezTo>
                <a:cubicBezTo>
                  <a:pt x="24500" y="9719"/>
                  <a:pt x="24500" y="9750"/>
                  <a:pt x="24531" y="9750"/>
                </a:cubicBezTo>
                <a:cubicBezTo>
                  <a:pt x="24875" y="9907"/>
                  <a:pt x="25219" y="10000"/>
                  <a:pt x="25594" y="10094"/>
                </a:cubicBezTo>
                <a:cubicBezTo>
                  <a:pt x="25844" y="10157"/>
                  <a:pt x="26125" y="10188"/>
                  <a:pt x="26375" y="10250"/>
                </a:cubicBezTo>
                <a:cubicBezTo>
                  <a:pt x="26531" y="10313"/>
                  <a:pt x="26656" y="10407"/>
                  <a:pt x="26812" y="10438"/>
                </a:cubicBezTo>
                <a:cubicBezTo>
                  <a:pt x="27219" y="10594"/>
                  <a:pt x="27656" y="10688"/>
                  <a:pt x="28094" y="10750"/>
                </a:cubicBezTo>
                <a:cubicBezTo>
                  <a:pt x="28344" y="10813"/>
                  <a:pt x="28594" y="10875"/>
                  <a:pt x="28844" y="10875"/>
                </a:cubicBezTo>
                <a:cubicBezTo>
                  <a:pt x="29187" y="10969"/>
                  <a:pt x="29500" y="11063"/>
                  <a:pt x="29844" y="11125"/>
                </a:cubicBezTo>
                <a:cubicBezTo>
                  <a:pt x="29969" y="11157"/>
                  <a:pt x="30094" y="11219"/>
                  <a:pt x="30219" y="11219"/>
                </a:cubicBezTo>
                <a:cubicBezTo>
                  <a:pt x="30250" y="11250"/>
                  <a:pt x="30281" y="11250"/>
                  <a:pt x="30344" y="11250"/>
                </a:cubicBezTo>
                <a:cubicBezTo>
                  <a:pt x="30344" y="11282"/>
                  <a:pt x="30375" y="11282"/>
                  <a:pt x="30406" y="11282"/>
                </a:cubicBezTo>
                <a:cubicBezTo>
                  <a:pt x="30437" y="11313"/>
                  <a:pt x="30500" y="11282"/>
                  <a:pt x="30531" y="11282"/>
                </a:cubicBezTo>
                <a:cubicBezTo>
                  <a:pt x="30562" y="11313"/>
                  <a:pt x="30562" y="11313"/>
                  <a:pt x="30562" y="11313"/>
                </a:cubicBezTo>
                <a:cubicBezTo>
                  <a:pt x="30687" y="11375"/>
                  <a:pt x="30812" y="11375"/>
                  <a:pt x="30937" y="11407"/>
                </a:cubicBezTo>
                <a:cubicBezTo>
                  <a:pt x="31250" y="11500"/>
                  <a:pt x="31562" y="11563"/>
                  <a:pt x="31844" y="11625"/>
                </a:cubicBezTo>
                <a:cubicBezTo>
                  <a:pt x="32187" y="11719"/>
                  <a:pt x="32531" y="11813"/>
                  <a:pt x="32844" y="11938"/>
                </a:cubicBezTo>
                <a:cubicBezTo>
                  <a:pt x="33031" y="12000"/>
                  <a:pt x="33187" y="12125"/>
                  <a:pt x="33375" y="12000"/>
                </a:cubicBezTo>
                <a:cubicBezTo>
                  <a:pt x="33437" y="12000"/>
                  <a:pt x="33500" y="12000"/>
                  <a:pt x="33594" y="11969"/>
                </a:cubicBezTo>
                <a:cubicBezTo>
                  <a:pt x="33750" y="12000"/>
                  <a:pt x="33937" y="11938"/>
                  <a:pt x="34125" y="11969"/>
                </a:cubicBezTo>
                <a:cubicBezTo>
                  <a:pt x="34156" y="11969"/>
                  <a:pt x="34219" y="11969"/>
                  <a:pt x="34219" y="11907"/>
                </a:cubicBezTo>
                <a:cubicBezTo>
                  <a:pt x="34219" y="11875"/>
                  <a:pt x="34219" y="11844"/>
                  <a:pt x="34187" y="11813"/>
                </a:cubicBezTo>
                <a:cubicBezTo>
                  <a:pt x="34094" y="11750"/>
                  <a:pt x="34031" y="11657"/>
                  <a:pt x="33937" y="11625"/>
                </a:cubicBezTo>
                <a:cubicBezTo>
                  <a:pt x="33906" y="11594"/>
                  <a:pt x="33844" y="11594"/>
                  <a:pt x="33844" y="11532"/>
                </a:cubicBezTo>
                <a:cubicBezTo>
                  <a:pt x="33875" y="11500"/>
                  <a:pt x="33937" y="11500"/>
                  <a:pt x="33969" y="11500"/>
                </a:cubicBezTo>
                <a:cubicBezTo>
                  <a:pt x="34000" y="11500"/>
                  <a:pt x="34031" y="11532"/>
                  <a:pt x="34094" y="11532"/>
                </a:cubicBezTo>
                <a:cubicBezTo>
                  <a:pt x="34375" y="11563"/>
                  <a:pt x="34594" y="11719"/>
                  <a:pt x="34875" y="11813"/>
                </a:cubicBezTo>
                <a:cubicBezTo>
                  <a:pt x="35187" y="11938"/>
                  <a:pt x="35469" y="12094"/>
                  <a:pt x="35687" y="12375"/>
                </a:cubicBezTo>
                <a:cubicBezTo>
                  <a:pt x="35719" y="12407"/>
                  <a:pt x="35750" y="12469"/>
                  <a:pt x="35781" y="12438"/>
                </a:cubicBezTo>
                <a:cubicBezTo>
                  <a:pt x="35812" y="12407"/>
                  <a:pt x="35812" y="12375"/>
                  <a:pt x="35812" y="12313"/>
                </a:cubicBezTo>
                <a:cubicBezTo>
                  <a:pt x="35750" y="12125"/>
                  <a:pt x="35687" y="11938"/>
                  <a:pt x="35594" y="11750"/>
                </a:cubicBezTo>
                <a:cubicBezTo>
                  <a:pt x="35500" y="11657"/>
                  <a:pt x="35531" y="11594"/>
                  <a:pt x="35656" y="11532"/>
                </a:cubicBezTo>
                <a:cubicBezTo>
                  <a:pt x="35781" y="11500"/>
                  <a:pt x="35844" y="11532"/>
                  <a:pt x="35906" y="11594"/>
                </a:cubicBezTo>
                <a:cubicBezTo>
                  <a:pt x="36406" y="11969"/>
                  <a:pt x="36719" y="12469"/>
                  <a:pt x="36906" y="13063"/>
                </a:cubicBezTo>
                <a:cubicBezTo>
                  <a:pt x="36969" y="13250"/>
                  <a:pt x="36969" y="13469"/>
                  <a:pt x="37062" y="13656"/>
                </a:cubicBezTo>
                <a:cubicBezTo>
                  <a:pt x="37125" y="13563"/>
                  <a:pt x="37094" y="13563"/>
                  <a:pt x="37125" y="13469"/>
                </a:cubicBezTo>
                <a:cubicBezTo>
                  <a:pt x="37156" y="13032"/>
                  <a:pt x="37094" y="12625"/>
                  <a:pt x="36937" y="12219"/>
                </a:cubicBezTo>
                <a:cubicBezTo>
                  <a:pt x="36906" y="12125"/>
                  <a:pt x="36875" y="12032"/>
                  <a:pt x="36937" y="12000"/>
                </a:cubicBezTo>
                <a:cubicBezTo>
                  <a:pt x="37031" y="11938"/>
                  <a:pt x="37062" y="12063"/>
                  <a:pt x="37125" y="12094"/>
                </a:cubicBezTo>
                <a:cubicBezTo>
                  <a:pt x="37406" y="12375"/>
                  <a:pt x="37625" y="12688"/>
                  <a:pt x="37812" y="13032"/>
                </a:cubicBezTo>
                <a:cubicBezTo>
                  <a:pt x="37844" y="13094"/>
                  <a:pt x="37875" y="13125"/>
                  <a:pt x="37937" y="13125"/>
                </a:cubicBezTo>
                <a:cubicBezTo>
                  <a:pt x="38000" y="13125"/>
                  <a:pt x="38000" y="13063"/>
                  <a:pt x="38000" y="13000"/>
                </a:cubicBezTo>
                <a:cubicBezTo>
                  <a:pt x="38031" y="12782"/>
                  <a:pt x="38156" y="12563"/>
                  <a:pt x="38062" y="12313"/>
                </a:cubicBezTo>
                <a:cubicBezTo>
                  <a:pt x="38062" y="12282"/>
                  <a:pt x="38031" y="12219"/>
                  <a:pt x="38062" y="12188"/>
                </a:cubicBezTo>
                <a:cubicBezTo>
                  <a:pt x="38125" y="12188"/>
                  <a:pt x="38156" y="12250"/>
                  <a:pt x="38187" y="12282"/>
                </a:cubicBezTo>
                <a:cubicBezTo>
                  <a:pt x="38344" y="12438"/>
                  <a:pt x="38469" y="12625"/>
                  <a:pt x="38562" y="12844"/>
                </a:cubicBezTo>
                <a:cubicBezTo>
                  <a:pt x="38687" y="13032"/>
                  <a:pt x="38781" y="13250"/>
                  <a:pt x="38906" y="13438"/>
                </a:cubicBezTo>
                <a:cubicBezTo>
                  <a:pt x="38906" y="13469"/>
                  <a:pt x="38906" y="13531"/>
                  <a:pt x="38969" y="13500"/>
                </a:cubicBezTo>
                <a:cubicBezTo>
                  <a:pt x="39031" y="13500"/>
                  <a:pt x="39000" y="13469"/>
                  <a:pt x="39000" y="13438"/>
                </a:cubicBezTo>
                <a:cubicBezTo>
                  <a:pt x="39000" y="13407"/>
                  <a:pt x="39000" y="13375"/>
                  <a:pt x="39031" y="13375"/>
                </a:cubicBezTo>
                <a:cubicBezTo>
                  <a:pt x="39156" y="13375"/>
                  <a:pt x="39125" y="13282"/>
                  <a:pt x="39125" y="13219"/>
                </a:cubicBezTo>
                <a:cubicBezTo>
                  <a:pt x="39125" y="12938"/>
                  <a:pt x="39031" y="12688"/>
                  <a:pt x="38969" y="12438"/>
                </a:cubicBezTo>
                <a:cubicBezTo>
                  <a:pt x="38969" y="12407"/>
                  <a:pt x="38906" y="12344"/>
                  <a:pt x="38969" y="12313"/>
                </a:cubicBezTo>
                <a:cubicBezTo>
                  <a:pt x="39000" y="12282"/>
                  <a:pt x="39062" y="12313"/>
                  <a:pt x="39094" y="12344"/>
                </a:cubicBezTo>
                <a:cubicBezTo>
                  <a:pt x="39187" y="12407"/>
                  <a:pt x="39281" y="12500"/>
                  <a:pt x="39375" y="12594"/>
                </a:cubicBezTo>
                <a:cubicBezTo>
                  <a:pt x="39406" y="12594"/>
                  <a:pt x="39437" y="12625"/>
                  <a:pt x="39469" y="12594"/>
                </a:cubicBezTo>
                <a:cubicBezTo>
                  <a:pt x="39500" y="12594"/>
                  <a:pt x="39469" y="12563"/>
                  <a:pt x="39469" y="12532"/>
                </a:cubicBezTo>
                <a:cubicBezTo>
                  <a:pt x="39437" y="12313"/>
                  <a:pt x="39312" y="12094"/>
                  <a:pt x="39219" y="11907"/>
                </a:cubicBezTo>
                <a:cubicBezTo>
                  <a:pt x="39125" y="11719"/>
                  <a:pt x="39000" y="11532"/>
                  <a:pt x="38906" y="11375"/>
                </a:cubicBezTo>
                <a:cubicBezTo>
                  <a:pt x="38937" y="11344"/>
                  <a:pt x="38937" y="11344"/>
                  <a:pt x="38937" y="11344"/>
                </a:cubicBezTo>
                <a:cubicBezTo>
                  <a:pt x="39406" y="11657"/>
                  <a:pt x="39687" y="12125"/>
                  <a:pt x="40031" y="12532"/>
                </a:cubicBezTo>
                <a:lnTo>
                  <a:pt x="40031" y="12532"/>
                </a:lnTo>
                <a:cubicBezTo>
                  <a:pt x="40031" y="12469"/>
                  <a:pt x="40031" y="12438"/>
                  <a:pt x="40000" y="12375"/>
                </a:cubicBezTo>
                <a:cubicBezTo>
                  <a:pt x="39937" y="12157"/>
                  <a:pt x="39875" y="11907"/>
                  <a:pt x="39812" y="11688"/>
                </a:cubicBezTo>
                <a:cubicBezTo>
                  <a:pt x="39750" y="11532"/>
                  <a:pt x="39781" y="11344"/>
                  <a:pt x="39656" y="11219"/>
                </a:cubicBezTo>
                <a:cubicBezTo>
                  <a:pt x="39250" y="10688"/>
                  <a:pt x="38781" y="10250"/>
                  <a:pt x="38250" y="9875"/>
                </a:cubicBezTo>
                <a:cubicBezTo>
                  <a:pt x="38125" y="9782"/>
                  <a:pt x="38031" y="9750"/>
                  <a:pt x="37937" y="9657"/>
                </a:cubicBezTo>
                <a:cubicBezTo>
                  <a:pt x="37937" y="9750"/>
                  <a:pt x="38000" y="9782"/>
                  <a:pt x="38000" y="9844"/>
                </a:cubicBezTo>
                <a:cubicBezTo>
                  <a:pt x="37875" y="9813"/>
                  <a:pt x="37750" y="9750"/>
                  <a:pt x="37687" y="9657"/>
                </a:cubicBezTo>
                <a:cubicBezTo>
                  <a:pt x="37562" y="9469"/>
                  <a:pt x="37375" y="9344"/>
                  <a:pt x="37156" y="9250"/>
                </a:cubicBezTo>
                <a:cubicBezTo>
                  <a:pt x="36562" y="8969"/>
                  <a:pt x="35937" y="8782"/>
                  <a:pt x="35312" y="8594"/>
                </a:cubicBezTo>
                <a:cubicBezTo>
                  <a:pt x="35187" y="8563"/>
                  <a:pt x="35062" y="8469"/>
                  <a:pt x="34937" y="8500"/>
                </a:cubicBezTo>
                <a:cubicBezTo>
                  <a:pt x="35375" y="8282"/>
                  <a:pt x="35781" y="8032"/>
                  <a:pt x="36187" y="7750"/>
                </a:cubicBezTo>
                <a:cubicBezTo>
                  <a:pt x="36906" y="7219"/>
                  <a:pt x="37562" y="6594"/>
                  <a:pt x="38187" y="5969"/>
                </a:cubicBezTo>
                <a:cubicBezTo>
                  <a:pt x="38281" y="5875"/>
                  <a:pt x="38344" y="5782"/>
                  <a:pt x="38406" y="5688"/>
                </a:cubicBezTo>
                <a:cubicBezTo>
                  <a:pt x="38437" y="5625"/>
                  <a:pt x="38469" y="5594"/>
                  <a:pt x="38406" y="5532"/>
                </a:cubicBezTo>
                <a:cubicBezTo>
                  <a:pt x="38375" y="5500"/>
                  <a:pt x="38344" y="5563"/>
                  <a:pt x="38312" y="5594"/>
                </a:cubicBezTo>
                <a:cubicBezTo>
                  <a:pt x="38219" y="5688"/>
                  <a:pt x="38125" y="5782"/>
                  <a:pt x="38031" y="5844"/>
                </a:cubicBezTo>
                <a:cubicBezTo>
                  <a:pt x="37531" y="6219"/>
                  <a:pt x="37031" y="6688"/>
                  <a:pt x="36500" y="7063"/>
                </a:cubicBezTo>
                <a:cubicBezTo>
                  <a:pt x="36375" y="7188"/>
                  <a:pt x="36250" y="7313"/>
                  <a:pt x="36062" y="7375"/>
                </a:cubicBezTo>
                <a:cubicBezTo>
                  <a:pt x="36094" y="7344"/>
                  <a:pt x="36094" y="7313"/>
                  <a:pt x="36125" y="7282"/>
                </a:cubicBezTo>
                <a:cubicBezTo>
                  <a:pt x="36656" y="6907"/>
                  <a:pt x="37156" y="6469"/>
                  <a:pt x="37625" y="6000"/>
                </a:cubicBezTo>
                <a:cubicBezTo>
                  <a:pt x="37656" y="5969"/>
                  <a:pt x="37687" y="5969"/>
                  <a:pt x="37687" y="5875"/>
                </a:cubicBezTo>
                <a:cubicBezTo>
                  <a:pt x="37500" y="6032"/>
                  <a:pt x="37250" y="6094"/>
                  <a:pt x="37062" y="6219"/>
                </a:cubicBezTo>
                <a:cubicBezTo>
                  <a:pt x="37000" y="6250"/>
                  <a:pt x="36906" y="6282"/>
                  <a:pt x="36844" y="6313"/>
                </a:cubicBezTo>
                <a:cubicBezTo>
                  <a:pt x="36812" y="6344"/>
                  <a:pt x="36750" y="6375"/>
                  <a:pt x="36719" y="6313"/>
                </a:cubicBezTo>
                <a:cubicBezTo>
                  <a:pt x="36719" y="6219"/>
                  <a:pt x="36687" y="6282"/>
                  <a:pt x="36656" y="6313"/>
                </a:cubicBezTo>
                <a:cubicBezTo>
                  <a:pt x="36594" y="6344"/>
                  <a:pt x="36562" y="6375"/>
                  <a:pt x="36531" y="6407"/>
                </a:cubicBezTo>
                <a:cubicBezTo>
                  <a:pt x="36375" y="6500"/>
                  <a:pt x="36250" y="6594"/>
                  <a:pt x="36094" y="6688"/>
                </a:cubicBezTo>
                <a:cubicBezTo>
                  <a:pt x="36094" y="6657"/>
                  <a:pt x="36062" y="6657"/>
                  <a:pt x="36062" y="6625"/>
                </a:cubicBezTo>
                <a:cubicBezTo>
                  <a:pt x="36250" y="6500"/>
                  <a:pt x="36469" y="6407"/>
                  <a:pt x="36625" y="6219"/>
                </a:cubicBezTo>
                <a:cubicBezTo>
                  <a:pt x="36562" y="6188"/>
                  <a:pt x="36500" y="6188"/>
                  <a:pt x="36437" y="6219"/>
                </a:cubicBezTo>
                <a:cubicBezTo>
                  <a:pt x="36375" y="6250"/>
                  <a:pt x="36281" y="6250"/>
                  <a:pt x="36219" y="6250"/>
                </a:cubicBezTo>
                <a:cubicBezTo>
                  <a:pt x="36187" y="6250"/>
                  <a:pt x="36125" y="6282"/>
                  <a:pt x="36125" y="6250"/>
                </a:cubicBezTo>
                <a:cubicBezTo>
                  <a:pt x="36094" y="6188"/>
                  <a:pt x="36156" y="6188"/>
                  <a:pt x="36156" y="6157"/>
                </a:cubicBezTo>
                <a:cubicBezTo>
                  <a:pt x="36375" y="5907"/>
                  <a:pt x="36625" y="5719"/>
                  <a:pt x="36875" y="5469"/>
                </a:cubicBezTo>
                <a:cubicBezTo>
                  <a:pt x="36969" y="5375"/>
                  <a:pt x="37062" y="5313"/>
                  <a:pt x="37125" y="5188"/>
                </a:cubicBezTo>
                <a:cubicBezTo>
                  <a:pt x="37125" y="5188"/>
                  <a:pt x="37125" y="5188"/>
                  <a:pt x="37125" y="5188"/>
                </a:cubicBezTo>
                <a:cubicBezTo>
                  <a:pt x="37156" y="5157"/>
                  <a:pt x="37156" y="5157"/>
                  <a:pt x="37156" y="5157"/>
                </a:cubicBezTo>
                <a:cubicBezTo>
                  <a:pt x="37125" y="5125"/>
                  <a:pt x="37125" y="5157"/>
                  <a:pt x="37125" y="5157"/>
                </a:cubicBezTo>
                <a:cubicBezTo>
                  <a:pt x="37094" y="5157"/>
                  <a:pt x="37062" y="5188"/>
                  <a:pt x="37062" y="5188"/>
                </a:cubicBezTo>
                <a:cubicBezTo>
                  <a:pt x="36750" y="5438"/>
                  <a:pt x="36406" y="5657"/>
                  <a:pt x="36062" y="5844"/>
                </a:cubicBezTo>
                <a:cubicBezTo>
                  <a:pt x="35875" y="5969"/>
                  <a:pt x="35656" y="6094"/>
                  <a:pt x="35437" y="6219"/>
                </a:cubicBezTo>
                <a:cubicBezTo>
                  <a:pt x="35437" y="6219"/>
                  <a:pt x="35437" y="6219"/>
                  <a:pt x="35437" y="6219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250" y="5657"/>
                  <a:pt x="36250" y="5657"/>
                  <a:pt x="36250" y="5657"/>
                </a:cubicBezTo>
                <a:cubicBezTo>
                  <a:pt x="36375" y="5563"/>
                  <a:pt x="36500" y="5469"/>
                  <a:pt x="36625" y="5407"/>
                </a:cubicBezTo>
                <a:cubicBezTo>
                  <a:pt x="36750" y="5313"/>
                  <a:pt x="36875" y="5282"/>
                  <a:pt x="36937" y="5125"/>
                </a:cubicBezTo>
                <a:cubicBezTo>
                  <a:pt x="36937" y="5125"/>
                  <a:pt x="36937" y="5125"/>
                  <a:pt x="36937" y="5125"/>
                </a:cubicBezTo>
                <a:cubicBezTo>
                  <a:pt x="37031" y="5157"/>
                  <a:pt x="37062" y="5125"/>
                  <a:pt x="37062" y="5063"/>
                </a:cubicBezTo>
                <a:cubicBezTo>
                  <a:pt x="37062" y="5063"/>
                  <a:pt x="37094" y="5063"/>
                  <a:pt x="37094" y="5063"/>
                </a:cubicBezTo>
                <a:cubicBezTo>
                  <a:pt x="37094" y="5063"/>
                  <a:pt x="37125" y="5063"/>
                  <a:pt x="37125" y="5032"/>
                </a:cubicBezTo>
                <a:cubicBezTo>
                  <a:pt x="37125" y="5032"/>
                  <a:pt x="37125" y="5032"/>
                  <a:pt x="37125" y="5032"/>
                </a:cubicBezTo>
                <a:cubicBezTo>
                  <a:pt x="37156" y="5032"/>
                  <a:pt x="37187" y="5000"/>
                  <a:pt x="37187" y="4969"/>
                </a:cubicBezTo>
                <a:cubicBezTo>
                  <a:pt x="37187" y="4969"/>
                  <a:pt x="37187" y="4969"/>
                  <a:pt x="37187" y="4969"/>
                </a:cubicBezTo>
                <a:cubicBezTo>
                  <a:pt x="37219" y="4969"/>
                  <a:pt x="37219" y="4969"/>
                  <a:pt x="37219" y="4938"/>
                </a:cubicBezTo>
                <a:cubicBezTo>
                  <a:pt x="37250" y="4938"/>
                  <a:pt x="37250" y="4938"/>
                  <a:pt x="37250" y="4938"/>
                </a:cubicBezTo>
                <a:cubicBezTo>
                  <a:pt x="37250" y="4938"/>
                  <a:pt x="37281" y="4938"/>
                  <a:pt x="37250" y="4907"/>
                </a:cubicBezTo>
                <a:cubicBezTo>
                  <a:pt x="37250" y="4907"/>
                  <a:pt x="37250" y="4907"/>
                  <a:pt x="37250" y="4907"/>
                </a:cubicBezTo>
                <a:cubicBezTo>
                  <a:pt x="37281" y="4907"/>
                  <a:pt x="37281" y="4907"/>
                  <a:pt x="37281" y="4907"/>
                </a:cubicBezTo>
                <a:cubicBezTo>
                  <a:pt x="37437" y="4782"/>
                  <a:pt x="37594" y="4688"/>
                  <a:pt x="37687" y="4532"/>
                </a:cubicBezTo>
                <a:cubicBezTo>
                  <a:pt x="37531" y="4532"/>
                  <a:pt x="37406" y="4625"/>
                  <a:pt x="37281" y="4657"/>
                </a:cubicBezTo>
                <a:cubicBezTo>
                  <a:pt x="37219" y="4688"/>
                  <a:pt x="37156" y="4688"/>
                  <a:pt x="37094" y="4657"/>
                </a:cubicBezTo>
                <a:cubicBezTo>
                  <a:pt x="37031" y="4563"/>
                  <a:pt x="37094" y="4500"/>
                  <a:pt x="37156" y="4438"/>
                </a:cubicBezTo>
                <a:cubicBezTo>
                  <a:pt x="37344" y="4219"/>
                  <a:pt x="37562" y="4032"/>
                  <a:pt x="37719" y="3813"/>
                </a:cubicBezTo>
                <a:cubicBezTo>
                  <a:pt x="37719" y="3813"/>
                  <a:pt x="37719" y="3813"/>
                  <a:pt x="37719" y="3813"/>
                </a:cubicBezTo>
                <a:cubicBezTo>
                  <a:pt x="37719" y="3782"/>
                  <a:pt x="37750" y="3782"/>
                  <a:pt x="37750" y="3782"/>
                </a:cubicBezTo>
                <a:cubicBezTo>
                  <a:pt x="37812" y="3782"/>
                  <a:pt x="37812" y="3719"/>
                  <a:pt x="37844" y="3688"/>
                </a:cubicBezTo>
                <a:cubicBezTo>
                  <a:pt x="37875" y="3657"/>
                  <a:pt x="37906" y="3657"/>
                  <a:pt x="37875" y="3625"/>
                </a:cubicBezTo>
                <a:cubicBezTo>
                  <a:pt x="37875" y="3563"/>
                  <a:pt x="37812" y="3594"/>
                  <a:pt x="37781" y="3594"/>
                </a:cubicBezTo>
                <a:cubicBezTo>
                  <a:pt x="37625" y="3657"/>
                  <a:pt x="37469" y="3782"/>
                  <a:pt x="37375" y="3907"/>
                </a:cubicBezTo>
                <a:cubicBezTo>
                  <a:pt x="37156" y="4000"/>
                  <a:pt x="37000" y="4157"/>
                  <a:pt x="36812" y="4282"/>
                </a:cubicBezTo>
                <a:cubicBezTo>
                  <a:pt x="36781" y="4282"/>
                  <a:pt x="36781" y="4282"/>
                  <a:pt x="36781" y="4313"/>
                </a:cubicBezTo>
                <a:cubicBezTo>
                  <a:pt x="36781" y="4313"/>
                  <a:pt x="36781" y="4313"/>
                  <a:pt x="36781" y="4313"/>
                </a:cubicBezTo>
                <a:cubicBezTo>
                  <a:pt x="36719" y="4313"/>
                  <a:pt x="36687" y="4313"/>
                  <a:pt x="36687" y="4375"/>
                </a:cubicBezTo>
                <a:cubicBezTo>
                  <a:pt x="36687" y="4375"/>
                  <a:pt x="36687" y="4375"/>
                  <a:pt x="36687" y="4375"/>
                </a:cubicBezTo>
                <a:cubicBezTo>
                  <a:pt x="36625" y="4375"/>
                  <a:pt x="36594" y="4375"/>
                  <a:pt x="36594" y="4438"/>
                </a:cubicBezTo>
                <a:cubicBezTo>
                  <a:pt x="36437" y="4500"/>
                  <a:pt x="36344" y="4625"/>
                  <a:pt x="36187" y="4719"/>
                </a:cubicBezTo>
                <a:cubicBezTo>
                  <a:pt x="36125" y="4719"/>
                  <a:pt x="36062" y="4719"/>
                  <a:pt x="36031" y="4782"/>
                </a:cubicBezTo>
                <a:cubicBezTo>
                  <a:pt x="36031" y="4782"/>
                  <a:pt x="36031" y="4782"/>
                  <a:pt x="36031" y="4782"/>
                </a:cubicBezTo>
                <a:cubicBezTo>
                  <a:pt x="35969" y="4782"/>
                  <a:pt x="35937" y="4813"/>
                  <a:pt x="35906" y="4875"/>
                </a:cubicBezTo>
                <a:cubicBezTo>
                  <a:pt x="35906" y="4875"/>
                  <a:pt x="35906" y="4875"/>
                  <a:pt x="35906" y="4875"/>
                </a:cubicBezTo>
                <a:cubicBezTo>
                  <a:pt x="35844" y="4875"/>
                  <a:pt x="35781" y="4875"/>
                  <a:pt x="35750" y="4969"/>
                </a:cubicBezTo>
                <a:cubicBezTo>
                  <a:pt x="35750" y="4969"/>
                  <a:pt x="35750" y="4969"/>
                  <a:pt x="35750" y="4969"/>
                </a:cubicBezTo>
                <a:cubicBezTo>
                  <a:pt x="35719" y="4969"/>
                  <a:pt x="35687" y="4969"/>
                  <a:pt x="35687" y="5000"/>
                </a:cubicBezTo>
                <a:cubicBezTo>
                  <a:pt x="35687" y="5000"/>
                  <a:pt x="35687" y="5000"/>
                  <a:pt x="35687" y="5000"/>
                </a:cubicBezTo>
                <a:cubicBezTo>
                  <a:pt x="35625" y="4969"/>
                  <a:pt x="35594" y="4969"/>
                  <a:pt x="35594" y="5063"/>
                </a:cubicBezTo>
                <a:cubicBezTo>
                  <a:pt x="35594" y="5063"/>
                  <a:pt x="35594" y="5063"/>
                  <a:pt x="35594" y="5063"/>
                </a:cubicBezTo>
                <a:cubicBezTo>
                  <a:pt x="35531" y="5032"/>
                  <a:pt x="35500" y="5063"/>
                  <a:pt x="35469" y="5063"/>
                </a:cubicBezTo>
                <a:cubicBezTo>
                  <a:pt x="35219" y="5188"/>
                  <a:pt x="34969" y="5282"/>
                  <a:pt x="34719" y="5375"/>
                </a:cubicBezTo>
                <a:cubicBezTo>
                  <a:pt x="34562" y="5407"/>
                  <a:pt x="34406" y="5438"/>
                  <a:pt x="34219" y="5500"/>
                </a:cubicBezTo>
                <a:cubicBezTo>
                  <a:pt x="34250" y="5438"/>
                  <a:pt x="34312" y="5438"/>
                  <a:pt x="34281" y="5407"/>
                </a:cubicBezTo>
                <a:cubicBezTo>
                  <a:pt x="34312" y="5407"/>
                  <a:pt x="34312" y="5407"/>
                  <a:pt x="34312" y="5407"/>
                </a:cubicBezTo>
                <a:cubicBezTo>
                  <a:pt x="34344" y="5407"/>
                  <a:pt x="34344" y="5407"/>
                  <a:pt x="34375" y="5375"/>
                </a:cubicBezTo>
                <a:cubicBezTo>
                  <a:pt x="34375" y="5375"/>
                  <a:pt x="34375" y="5375"/>
                  <a:pt x="34375" y="5375"/>
                </a:cubicBezTo>
                <a:cubicBezTo>
                  <a:pt x="34437" y="5375"/>
                  <a:pt x="34469" y="5375"/>
                  <a:pt x="34500" y="5313"/>
                </a:cubicBezTo>
                <a:cubicBezTo>
                  <a:pt x="34531" y="5313"/>
                  <a:pt x="34531" y="5313"/>
                  <a:pt x="34562" y="5313"/>
                </a:cubicBezTo>
                <a:cubicBezTo>
                  <a:pt x="34969" y="5094"/>
                  <a:pt x="35406" y="4907"/>
                  <a:pt x="35812" y="4688"/>
                </a:cubicBezTo>
                <a:cubicBezTo>
                  <a:pt x="35937" y="4625"/>
                  <a:pt x="36062" y="4594"/>
                  <a:pt x="36125" y="4469"/>
                </a:cubicBezTo>
                <a:cubicBezTo>
                  <a:pt x="36094" y="4469"/>
                  <a:pt x="36062" y="4469"/>
                  <a:pt x="36031" y="4469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31" y="4438"/>
                  <a:pt x="36031" y="4438"/>
                  <a:pt x="36031" y="4438"/>
                </a:cubicBezTo>
                <a:cubicBezTo>
                  <a:pt x="36031" y="4469"/>
                  <a:pt x="36031" y="4469"/>
                  <a:pt x="36031" y="4469"/>
                </a:cubicBezTo>
                <a:cubicBezTo>
                  <a:pt x="36062" y="4469"/>
                  <a:pt x="36094" y="4469"/>
                  <a:pt x="36125" y="4469"/>
                </a:cubicBezTo>
                <a:cubicBezTo>
                  <a:pt x="36125" y="4469"/>
                  <a:pt x="36125" y="4469"/>
                  <a:pt x="36125" y="4469"/>
                </a:cubicBezTo>
                <a:cubicBezTo>
                  <a:pt x="36156" y="4469"/>
                  <a:pt x="36219" y="4469"/>
                  <a:pt x="36250" y="4438"/>
                </a:cubicBezTo>
                <a:cubicBezTo>
                  <a:pt x="36531" y="4250"/>
                  <a:pt x="36844" y="4063"/>
                  <a:pt x="37125" y="3844"/>
                </a:cubicBezTo>
                <a:cubicBezTo>
                  <a:pt x="37156" y="3875"/>
                  <a:pt x="37187" y="3875"/>
                  <a:pt x="37187" y="3813"/>
                </a:cubicBezTo>
                <a:cubicBezTo>
                  <a:pt x="37187" y="3813"/>
                  <a:pt x="37187" y="3813"/>
                  <a:pt x="37187" y="3813"/>
                </a:cubicBezTo>
                <a:cubicBezTo>
                  <a:pt x="37219" y="3844"/>
                  <a:pt x="37281" y="3844"/>
                  <a:pt x="37250" y="3782"/>
                </a:cubicBezTo>
                <a:cubicBezTo>
                  <a:pt x="37250" y="3782"/>
                  <a:pt x="37250" y="3782"/>
                  <a:pt x="37250" y="3782"/>
                </a:cubicBezTo>
                <a:cubicBezTo>
                  <a:pt x="37312" y="3844"/>
                  <a:pt x="37375" y="3782"/>
                  <a:pt x="37437" y="3750"/>
                </a:cubicBezTo>
                <a:cubicBezTo>
                  <a:pt x="37625" y="3594"/>
                  <a:pt x="37875" y="3469"/>
                  <a:pt x="38062" y="3250"/>
                </a:cubicBezTo>
                <a:cubicBezTo>
                  <a:pt x="38250" y="3125"/>
                  <a:pt x="38469" y="3000"/>
                  <a:pt x="38594" y="2750"/>
                </a:cubicBezTo>
                <a:cubicBezTo>
                  <a:pt x="38625" y="2688"/>
                  <a:pt x="38687" y="2657"/>
                  <a:pt x="38656" y="2594"/>
                </a:cubicBezTo>
                <a:cubicBezTo>
                  <a:pt x="38594" y="2532"/>
                  <a:pt x="38531" y="2563"/>
                  <a:pt x="38469" y="2594"/>
                </a:cubicBezTo>
                <a:cubicBezTo>
                  <a:pt x="38437" y="2594"/>
                  <a:pt x="38437" y="2594"/>
                  <a:pt x="38406" y="2625"/>
                </a:cubicBezTo>
                <a:cubicBezTo>
                  <a:pt x="38219" y="2688"/>
                  <a:pt x="38000" y="2750"/>
                  <a:pt x="37812" y="2813"/>
                </a:cubicBezTo>
                <a:cubicBezTo>
                  <a:pt x="37750" y="2844"/>
                  <a:pt x="37656" y="2844"/>
                  <a:pt x="37625" y="2750"/>
                </a:cubicBezTo>
                <a:cubicBezTo>
                  <a:pt x="37594" y="2657"/>
                  <a:pt x="37531" y="2625"/>
                  <a:pt x="37437" y="2688"/>
                </a:cubicBezTo>
                <a:cubicBezTo>
                  <a:pt x="37312" y="2750"/>
                  <a:pt x="37187" y="2750"/>
                  <a:pt x="37062" y="2844"/>
                </a:cubicBezTo>
                <a:cubicBezTo>
                  <a:pt x="37000" y="2813"/>
                  <a:pt x="36969" y="2844"/>
                  <a:pt x="36937" y="2875"/>
                </a:cubicBezTo>
                <a:cubicBezTo>
                  <a:pt x="36719" y="2969"/>
                  <a:pt x="36531" y="3032"/>
                  <a:pt x="36375" y="3157"/>
                </a:cubicBezTo>
                <a:cubicBezTo>
                  <a:pt x="36312" y="3188"/>
                  <a:pt x="36281" y="3219"/>
                  <a:pt x="36250" y="3188"/>
                </a:cubicBezTo>
                <a:cubicBezTo>
                  <a:pt x="36219" y="3125"/>
                  <a:pt x="36250" y="3063"/>
                  <a:pt x="36281" y="3032"/>
                </a:cubicBezTo>
                <a:cubicBezTo>
                  <a:pt x="36312" y="3032"/>
                  <a:pt x="36312" y="3032"/>
                  <a:pt x="36344" y="3000"/>
                </a:cubicBezTo>
                <a:cubicBezTo>
                  <a:pt x="36656" y="2813"/>
                  <a:pt x="36969" y="2657"/>
                  <a:pt x="37344" y="2563"/>
                </a:cubicBezTo>
                <a:cubicBezTo>
                  <a:pt x="37375" y="2532"/>
                  <a:pt x="37437" y="2532"/>
                  <a:pt x="37406" y="2469"/>
                </a:cubicBezTo>
                <a:cubicBezTo>
                  <a:pt x="37375" y="2375"/>
                  <a:pt x="37281" y="2282"/>
                  <a:pt x="37281" y="2188"/>
                </a:cubicBezTo>
                <a:cubicBezTo>
                  <a:pt x="37250" y="2032"/>
                  <a:pt x="37187" y="2032"/>
                  <a:pt x="37062" y="2094"/>
                </a:cubicBezTo>
                <a:cubicBezTo>
                  <a:pt x="36937" y="2157"/>
                  <a:pt x="36844" y="2219"/>
                  <a:pt x="36719" y="2282"/>
                </a:cubicBezTo>
                <a:cubicBezTo>
                  <a:pt x="36375" y="2500"/>
                  <a:pt x="36062" y="2719"/>
                  <a:pt x="35687" y="2907"/>
                </a:cubicBezTo>
                <a:cubicBezTo>
                  <a:pt x="35062" y="3250"/>
                  <a:pt x="34406" y="3500"/>
                  <a:pt x="33750" y="3782"/>
                </a:cubicBezTo>
                <a:cubicBezTo>
                  <a:pt x="32812" y="4188"/>
                  <a:pt x="31875" y="4532"/>
                  <a:pt x="30906" y="4813"/>
                </a:cubicBezTo>
                <a:cubicBezTo>
                  <a:pt x="30344" y="4969"/>
                  <a:pt x="29781" y="5094"/>
                  <a:pt x="29250" y="5219"/>
                </a:cubicBezTo>
                <a:cubicBezTo>
                  <a:pt x="28656" y="5344"/>
                  <a:pt x="28094" y="5438"/>
                  <a:pt x="27500" y="5563"/>
                </a:cubicBezTo>
                <a:cubicBezTo>
                  <a:pt x="26844" y="5625"/>
                  <a:pt x="26844" y="5625"/>
                  <a:pt x="26844" y="5625"/>
                </a:cubicBezTo>
                <a:cubicBezTo>
                  <a:pt x="26875" y="5594"/>
                  <a:pt x="26906" y="5594"/>
                  <a:pt x="26937" y="5563"/>
                </a:cubicBezTo>
                <a:cubicBezTo>
                  <a:pt x="27156" y="5407"/>
                  <a:pt x="27375" y="5250"/>
                  <a:pt x="27531" y="5032"/>
                </a:cubicBezTo>
                <a:cubicBezTo>
                  <a:pt x="27937" y="4500"/>
                  <a:pt x="28281" y="3907"/>
                  <a:pt x="28437" y="3250"/>
                </a:cubicBezTo>
                <a:cubicBezTo>
                  <a:pt x="28531" y="2969"/>
                  <a:pt x="28500" y="2907"/>
                  <a:pt x="28219" y="2907"/>
                </a:cubicBezTo>
                <a:cubicBezTo>
                  <a:pt x="28156" y="2782"/>
                  <a:pt x="28156" y="2657"/>
                  <a:pt x="28187" y="2532"/>
                </a:cubicBezTo>
                <a:cubicBezTo>
                  <a:pt x="28219" y="2375"/>
                  <a:pt x="28219" y="2250"/>
                  <a:pt x="28219" y="2094"/>
                </a:cubicBezTo>
                <a:cubicBezTo>
                  <a:pt x="28156" y="2125"/>
                  <a:pt x="28094" y="2157"/>
                  <a:pt x="28031" y="2188"/>
                </a:cubicBezTo>
                <a:cubicBezTo>
                  <a:pt x="28000" y="2188"/>
                  <a:pt x="27937" y="2219"/>
                  <a:pt x="27937" y="2157"/>
                </a:cubicBezTo>
                <a:cubicBezTo>
                  <a:pt x="27906" y="2125"/>
                  <a:pt x="27937" y="2094"/>
                  <a:pt x="28000" y="2063"/>
                </a:cubicBezTo>
                <a:cubicBezTo>
                  <a:pt x="28062" y="2032"/>
                  <a:pt x="28125" y="2000"/>
                  <a:pt x="28187" y="1938"/>
                </a:cubicBezTo>
                <a:cubicBezTo>
                  <a:pt x="28219" y="1907"/>
                  <a:pt x="28250" y="1875"/>
                  <a:pt x="28219" y="1813"/>
                </a:cubicBezTo>
                <a:cubicBezTo>
                  <a:pt x="28187" y="1782"/>
                  <a:pt x="28125" y="1750"/>
                  <a:pt x="28094" y="1782"/>
                </a:cubicBezTo>
                <a:cubicBezTo>
                  <a:pt x="28062" y="1782"/>
                  <a:pt x="28031" y="1782"/>
                  <a:pt x="28000" y="1813"/>
                </a:cubicBezTo>
                <a:cubicBezTo>
                  <a:pt x="27875" y="1875"/>
                  <a:pt x="27750" y="1844"/>
                  <a:pt x="27656" y="1719"/>
                </a:cubicBezTo>
                <a:cubicBezTo>
                  <a:pt x="27594" y="1813"/>
                  <a:pt x="27531" y="1907"/>
                  <a:pt x="27437" y="1938"/>
                </a:cubicBezTo>
                <a:cubicBezTo>
                  <a:pt x="27281" y="2032"/>
                  <a:pt x="27219" y="2157"/>
                  <a:pt x="27094" y="2282"/>
                </a:cubicBezTo>
                <a:cubicBezTo>
                  <a:pt x="26937" y="2532"/>
                  <a:pt x="26781" y="2782"/>
                  <a:pt x="26531" y="2938"/>
                </a:cubicBezTo>
                <a:cubicBezTo>
                  <a:pt x="26500" y="2969"/>
                  <a:pt x="26500" y="3000"/>
                  <a:pt x="26437" y="3000"/>
                </a:cubicBezTo>
                <a:cubicBezTo>
                  <a:pt x="26406" y="2969"/>
                  <a:pt x="26437" y="2938"/>
                  <a:pt x="26437" y="2907"/>
                </a:cubicBezTo>
                <a:cubicBezTo>
                  <a:pt x="26406" y="2688"/>
                  <a:pt x="26469" y="2469"/>
                  <a:pt x="26500" y="2250"/>
                </a:cubicBezTo>
                <a:cubicBezTo>
                  <a:pt x="26500" y="2000"/>
                  <a:pt x="26469" y="1750"/>
                  <a:pt x="26250" y="1563"/>
                </a:cubicBezTo>
                <a:cubicBezTo>
                  <a:pt x="26125" y="1438"/>
                  <a:pt x="26000" y="1282"/>
                  <a:pt x="25781" y="1219"/>
                </a:cubicBezTo>
                <a:cubicBezTo>
                  <a:pt x="25719" y="1188"/>
                  <a:pt x="25594" y="1157"/>
                  <a:pt x="25531" y="1219"/>
                </a:cubicBezTo>
                <a:cubicBezTo>
                  <a:pt x="25406" y="1375"/>
                  <a:pt x="25219" y="1438"/>
                  <a:pt x="25125" y="1625"/>
                </a:cubicBezTo>
                <a:cubicBezTo>
                  <a:pt x="25000" y="1813"/>
                  <a:pt x="24906" y="1813"/>
                  <a:pt x="24687" y="1719"/>
                </a:cubicBezTo>
                <a:cubicBezTo>
                  <a:pt x="24594" y="1657"/>
                  <a:pt x="24500" y="1625"/>
                  <a:pt x="24406" y="1657"/>
                </a:cubicBezTo>
                <a:cubicBezTo>
                  <a:pt x="24125" y="1688"/>
                  <a:pt x="23906" y="1875"/>
                  <a:pt x="23719" y="2094"/>
                </a:cubicBezTo>
                <a:cubicBezTo>
                  <a:pt x="23500" y="2313"/>
                  <a:pt x="23281" y="2563"/>
                  <a:pt x="23062" y="2750"/>
                </a:cubicBezTo>
                <a:cubicBezTo>
                  <a:pt x="22437" y="3375"/>
                  <a:pt x="21719" y="3907"/>
                  <a:pt x="20937" y="4344"/>
                </a:cubicBezTo>
                <a:cubicBezTo>
                  <a:pt x="20656" y="4532"/>
                  <a:pt x="20344" y="4688"/>
                  <a:pt x="20031" y="4782"/>
                </a:cubicBezTo>
                <a:cubicBezTo>
                  <a:pt x="19656" y="4938"/>
                  <a:pt x="19250" y="5032"/>
                  <a:pt x="18875" y="5125"/>
                </a:cubicBezTo>
                <a:cubicBezTo>
                  <a:pt x="18906" y="5125"/>
                  <a:pt x="18937" y="5125"/>
                  <a:pt x="18969" y="5125"/>
                </a:cubicBezTo>
                <a:cubicBezTo>
                  <a:pt x="18937" y="5125"/>
                  <a:pt x="18906" y="5125"/>
                  <a:pt x="18875" y="5125"/>
                </a:cubicBezTo>
                <a:cubicBezTo>
                  <a:pt x="18656" y="5125"/>
                  <a:pt x="18469" y="5219"/>
                  <a:pt x="18250" y="5219"/>
                </a:cubicBezTo>
                <a:cubicBezTo>
                  <a:pt x="18000" y="5157"/>
                  <a:pt x="17781" y="5157"/>
                  <a:pt x="17531" y="5094"/>
                </a:cubicBezTo>
                <a:cubicBezTo>
                  <a:pt x="17344" y="5063"/>
                  <a:pt x="17156" y="5000"/>
                  <a:pt x="16969" y="4969"/>
                </a:cubicBezTo>
                <a:cubicBezTo>
                  <a:pt x="16562" y="4875"/>
                  <a:pt x="16187" y="4782"/>
                  <a:pt x="15781" y="4688"/>
                </a:cubicBezTo>
                <a:cubicBezTo>
                  <a:pt x="15375" y="4563"/>
                  <a:pt x="14937" y="4438"/>
                  <a:pt x="14500" y="4282"/>
                </a:cubicBezTo>
                <a:cubicBezTo>
                  <a:pt x="13937" y="4094"/>
                  <a:pt x="13344" y="3907"/>
                  <a:pt x="12781" y="3657"/>
                </a:cubicBezTo>
                <a:cubicBezTo>
                  <a:pt x="12156" y="3407"/>
                  <a:pt x="11562" y="3125"/>
                  <a:pt x="10937" y="2844"/>
                </a:cubicBezTo>
                <a:cubicBezTo>
                  <a:pt x="10906" y="2844"/>
                  <a:pt x="10844" y="2813"/>
                  <a:pt x="10812" y="2782"/>
                </a:cubicBezTo>
                <a:cubicBezTo>
                  <a:pt x="10406" y="2594"/>
                  <a:pt x="10000" y="2375"/>
                  <a:pt x="9594" y="2157"/>
                </a:cubicBezTo>
                <a:cubicBezTo>
                  <a:pt x="9219" y="1938"/>
                  <a:pt x="8812" y="1719"/>
                  <a:pt x="8437" y="1469"/>
                </a:cubicBezTo>
                <a:cubicBezTo>
                  <a:pt x="8000" y="1188"/>
                  <a:pt x="7531" y="938"/>
                  <a:pt x="7125" y="625"/>
                </a:cubicBezTo>
                <a:cubicBezTo>
                  <a:pt x="6844" y="407"/>
                  <a:pt x="6531" y="219"/>
                  <a:pt x="6250" y="0"/>
                </a:cubicBezTo>
                <a:cubicBezTo>
                  <a:pt x="6219" y="0"/>
                  <a:pt x="6187" y="0"/>
                  <a:pt x="6156" y="0"/>
                </a:cubicBezTo>
                <a:cubicBezTo>
                  <a:pt x="6156" y="63"/>
                  <a:pt x="6156" y="125"/>
                  <a:pt x="6187" y="157"/>
                </a:cubicBezTo>
                <a:cubicBezTo>
                  <a:pt x="6312" y="313"/>
                  <a:pt x="6437" y="469"/>
                  <a:pt x="6594" y="625"/>
                </a:cubicBezTo>
                <a:cubicBezTo>
                  <a:pt x="6594" y="657"/>
                  <a:pt x="6625" y="688"/>
                  <a:pt x="6656" y="688"/>
                </a:cubicBezTo>
                <a:cubicBezTo>
                  <a:pt x="6656" y="688"/>
                  <a:pt x="6687" y="688"/>
                  <a:pt x="6687" y="688"/>
                </a:cubicBezTo>
                <a:cubicBezTo>
                  <a:pt x="7000" y="1032"/>
                  <a:pt x="7312" y="1344"/>
                  <a:pt x="7656" y="1657"/>
                </a:cubicBezTo>
                <a:cubicBezTo>
                  <a:pt x="7656" y="1657"/>
                  <a:pt x="7656" y="1657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687" y="1688"/>
                  <a:pt x="7687" y="1688"/>
                  <a:pt x="7687" y="1688"/>
                </a:cubicBezTo>
                <a:cubicBezTo>
                  <a:pt x="7875" y="1844"/>
                  <a:pt x="8031" y="2000"/>
                  <a:pt x="8219" y="2188"/>
                </a:cubicBezTo>
                <a:cubicBezTo>
                  <a:pt x="8219" y="2344"/>
                  <a:pt x="8312" y="2469"/>
                  <a:pt x="8437" y="2563"/>
                </a:cubicBezTo>
                <a:cubicBezTo>
                  <a:pt x="8437" y="2594"/>
                  <a:pt x="8437" y="2594"/>
                  <a:pt x="8437" y="2625"/>
                </a:cubicBezTo>
                <a:cubicBezTo>
                  <a:pt x="8437" y="2625"/>
                  <a:pt x="8469" y="2625"/>
                  <a:pt x="8469" y="2625"/>
                </a:cubicBezTo>
                <a:cubicBezTo>
                  <a:pt x="8531" y="2719"/>
                  <a:pt x="8594" y="2782"/>
                  <a:pt x="8687" y="2844"/>
                </a:cubicBezTo>
                <a:cubicBezTo>
                  <a:pt x="8781" y="2938"/>
                  <a:pt x="8844" y="3063"/>
                  <a:pt x="8969" y="3125"/>
                </a:cubicBezTo>
                <a:cubicBezTo>
                  <a:pt x="9000" y="3157"/>
                  <a:pt x="9000" y="3219"/>
                  <a:pt x="8969" y="3250"/>
                </a:cubicBezTo>
                <a:cubicBezTo>
                  <a:pt x="8781" y="3188"/>
                  <a:pt x="8594" y="3094"/>
                  <a:pt x="8406" y="3032"/>
                </a:cubicBezTo>
                <a:cubicBezTo>
                  <a:pt x="8531" y="3157"/>
                  <a:pt x="8687" y="3219"/>
                  <a:pt x="8844" y="3313"/>
                </a:cubicBezTo>
                <a:cubicBezTo>
                  <a:pt x="8687" y="3219"/>
                  <a:pt x="8531" y="3157"/>
                  <a:pt x="8406" y="3032"/>
                </a:cubicBezTo>
                <a:cubicBezTo>
                  <a:pt x="8375" y="3032"/>
                  <a:pt x="8375" y="3032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75" y="3000"/>
                  <a:pt x="8375" y="3000"/>
                  <a:pt x="8375" y="3000"/>
                </a:cubicBezTo>
                <a:cubicBezTo>
                  <a:pt x="8312" y="3000"/>
                  <a:pt x="8281" y="2969"/>
                  <a:pt x="8219" y="2938"/>
                </a:cubicBezTo>
                <a:cubicBezTo>
                  <a:pt x="8094" y="2875"/>
                  <a:pt x="7937" y="2782"/>
                  <a:pt x="7781" y="2782"/>
                </a:cubicBezTo>
                <a:cubicBezTo>
                  <a:pt x="7562" y="2594"/>
                  <a:pt x="7281" y="2563"/>
                  <a:pt x="7000" y="2438"/>
                </a:cubicBezTo>
                <a:cubicBezTo>
                  <a:pt x="7000" y="2438"/>
                  <a:pt x="6969" y="2469"/>
                  <a:pt x="7000" y="2500"/>
                </a:cubicBezTo>
                <a:cubicBezTo>
                  <a:pt x="7156" y="2688"/>
                  <a:pt x="7312" y="2875"/>
                  <a:pt x="7531" y="3000"/>
                </a:cubicBezTo>
                <a:cubicBezTo>
                  <a:pt x="7500" y="3000"/>
                  <a:pt x="7500" y="3000"/>
                  <a:pt x="7500" y="3000"/>
                </a:cubicBezTo>
                <a:cubicBezTo>
                  <a:pt x="7500" y="3000"/>
                  <a:pt x="7531" y="3000"/>
                  <a:pt x="7531" y="3000"/>
                </a:cubicBezTo>
                <a:cubicBezTo>
                  <a:pt x="7531" y="3032"/>
                  <a:pt x="7531" y="3032"/>
                  <a:pt x="7531" y="3032"/>
                </a:cubicBezTo>
                <a:cubicBezTo>
                  <a:pt x="7531" y="3063"/>
                  <a:pt x="7531" y="3063"/>
                  <a:pt x="7562" y="3063"/>
                </a:cubicBezTo>
                <a:cubicBezTo>
                  <a:pt x="7562" y="3063"/>
                  <a:pt x="7562" y="3063"/>
                  <a:pt x="7562" y="3063"/>
                </a:cubicBezTo>
                <a:cubicBezTo>
                  <a:pt x="7594" y="3125"/>
                  <a:pt x="7656" y="3188"/>
                  <a:pt x="7687" y="3250"/>
                </a:cubicBezTo>
                <a:cubicBezTo>
                  <a:pt x="7719" y="3313"/>
                  <a:pt x="7719" y="3344"/>
                  <a:pt x="7719" y="3375"/>
                </a:cubicBezTo>
                <a:cubicBezTo>
                  <a:pt x="7687" y="3375"/>
                  <a:pt x="7687" y="3375"/>
                  <a:pt x="7656" y="3407"/>
                </a:cubicBezTo>
                <a:cubicBezTo>
                  <a:pt x="7437" y="3344"/>
                  <a:pt x="7250" y="3188"/>
                  <a:pt x="7000" y="3188"/>
                </a:cubicBezTo>
                <a:cubicBezTo>
                  <a:pt x="7031" y="3250"/>
                  <a:pt x="7125" y="3250"/>
                  <a:pt x="7156" y="3313"/>
                </a:cubicBezTo>
                <a:cubicBezTo>
                  <a:pt x="7094" y="3438"/>
                  <a:pt x="7281" y="3438"/>
                  <a:pt x="7281" y="3500"/>
                </a:cubicBezTo>
                <a:cubicBezTo>
                  <a:pt x="7281" y="3500"/>
                  <a:pt x="7281" y="3500"/>
                  <a:pt x="7281" y="3500"/>
                </a:cubicBezTo>
                <a:cubicBezTo>
                  <a:pt x="7250" y="3500"/>
                  <a:pt x="7219" y="3532"/>
                  <a:pt x="7187" y="3532"/>
                </a:cubicBezTo>
                <a:cubicBezTo>
                  <a:pt x="7094" y="3469"/>
                  <a:pt x="6937" y="3438"/>
                  <a:pt x="6875" y="3375"/>
                </a:cubicBezTo>
                <a:cubicBezTo>
                  <a:pt x="6719" y="3188"/>
                  <a:pt x="6531" y="3094"/>
                  <a:pt x="6344" y="2969"/>
                </a:cubicBezTo>
                <a:cubicBezTo>
                  <a:pt x="6187" y="2844"/>
                  <a:pt x="6062" y="2719"/>
                  <a:pt x="5875" y="2657"/>
                </a:cubicBezTo>
                <a:cubicBezTo>
                  <a:pt x="5844" y="2625"/>
                  <a:pt x="5781" y="2594"/>
                  <a:pt x="5750" y="2625"/>
                </a:cubicBezTo>
                <a:cubicBezTo>
                  <a:pt x="5719" y="2688"/>
                  <a:pt x="5750" y="2719"/>
                  <a:pt x="5781" y="2750"/>
                </a:cubicBezTo>
                <a:cubicBezTo>
                  <a:pt x="5937" y="3032"/>
                  <a:pt x="6187" y="3219"/>
                  <a:pt x="6375" y="3469"/>
                </a:cubicBezTo>
                <a:cubicBezTo>
                  <a:pt x="6469" y="3563"/>
                  <a:pt x="6594" y="3657"/>
                  <a:pt x="6531" y="3844"/>
                </a:cubicBezTo>
                <a:cubicBezTo>
                  <a:pt x="6531" y="3844"/>
                  <a:pt x="6531" y="3844"/>
                  <a:pt x="6562" y="3875"/>
                </a:cubicBezTo>
                <a:cubicBezTo>
                  <a:pt x="6750" y="4032"/>
                  <a:pt x="6969" y="4219"/>
                  <a:pt x="7187" y="4375"/>
                </a:cubicBezTo>
                <a:cubicBezTo>
                  <a:pt x="6969" y="4219"/>
                  <a:pt x="6750" y="4032"/>
                  <a:pt x="6562" y="3875"/>
                </a:cubicBezTo>
                <a:cubicBezTo>
                  <a:pt x="6562" y="3907"/>
                  <a:pt x="6531" y="3969"/>
                  <a:pt x="6500" y="4000"/>
                </a:cubicBezTo>
                <a:cubicBezTo>
                  <a:pt x="6500" y="4032"/>
                  <a:pt x="6500" y="4032"/>
                  <a:pt x="6500" y="4063"/>
                </a:cubicBezTo>
                <a:cubicBezTo>
                  <a:pt x="6469" y="4094"/>
                  <a:pt x="6437" y="4125"/>
                  <a:pt x="6375" y="4125"/>
                </a:cubicBezTo>
                <a:cubicBezTo>
                  <a:pt x="6250" y="4188"/>
                  <a:pt x="6281" y="4219"/>
                  <a:pt x="6375" y="4282"/>
                </a:cubicBezTo>
                <a:cubicBezTo>
                  <a:pt x="6500" y="4407"/>
                  <a:pt x="6656" y="4500"/>
                  <a:pt x="6812" y="4625"/>
                </a:cubicBezTo>
                <a:cubicBezTo>
                  <a:pt x="7094" y="4844"/>
                  <a:pt x="7406" y="5000"/>
                  <a:pt x="7687" y="5219"/>
                </a:cubicBezTo>
                <a:cubicBezTo>
                  <a:pt x="7531" y="5219"/>
                  <a:pt x="7437" y="5125"/>
                  <a:pt x="7281" y="5094"/>
                </a:cubicBezTo>
                <a:cubicBezTo>
                  <a:pt x="7094" y="5032"/>
                  <a:pt x="6875" y="4938"/>
                  <a:pt x="6656" y="4844"/>
                </a:cubicBezTo>
                <a:cubicBezTo>
                  <a:pt x="6625" y="4844"/>
                  <a:pt x="6594" y="4844"/>
                  <a:pt x="6562" y="4844"/>
                </a:cubicBezTo>
                <a:close/>
                <a:moveTo>
                  <a:pt x="37187" y="5125"/>
                </a:move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125"/>
                </a:cubicBezTo>
                <a:cubicBezTo>
                  <a:pt x="37187" y="5125"/>
                  <a:pt x="37187" y="5125"/>
                  <a:pt x="37187" y="5094"/>
                </a:cubicBezTo>
                <a:cubicBezTo>
                  <a:pt x="37187" y="5125"/>
                  <a:pt x="37187" y="5125"/>
                  <a:pt x="37187" y="5125"/>
                </a:cubicBezTo>
                <a:close/>
                <a:moveTo>
                  <a:pt x="21312" y="12219"/>
                </a:moveTo>
                <a:lnTo>
                  <a:pt x="21312" y="12219"/>
                </a:lnTo>
                <a:lnTo>
                  <a:pt x="21312" y="12219"/>
                </a:lnTo>
                <a:close/>
                <a:moveTo>
                  <a:pt x="28187" y="1032"/>
                </a:moveTo>
                <a:cubicBezTo>
                  <a:pt x="28219" y="1063"/>
                  <a:pt x="28219" y="1094"/>
                  <a:pt x="28250" y="1063"/>
                </a:cubicBezTo>
                <a:cubicBezTo>
                  <a:pt x="28281" y="1063"/>
                  <a:pt x="28312" y="1032"/>
                  <a:pt x="28312" y="1000"/>
                </a:cubicBezTo>
                <a:cubicBezTo>
                  <a:pt x="28312" y="938"/>
                  <a:pt x="28312" y="907"/>
                  <a:pt x="28312" y="875"/>
                </a:cubicBezTo>
                <a:cubicBezTo>
                  <a:pt x="28312" y="813"/>
                  <a:pt x="28312" y="750"/>
                  <a:pt x="28281" y="657"/>
                </a:cubicBezTo>
                <a:cubicBezTo>
                  <a:pt x="28281" y="594"/>
                  <a:pt x="28281" y="500"/>
                  <a:pt x="28187" y="500"/>
                </a:cubicBezTo>
                <a:cubicBezTo>
                  <a:pt x="28125" y="500"/>
                  <a:pt x="28094" y="594"/>
                  <a:pt x="28094" y="657"/>
                </a:cubicBezTo>
                <a:cubicBezTo>
                  <a:pt x="28062" y="719"/>
                  <a:pt x="28000" y="782"/>
                  <a:pt x="28031" y="844"/>
                </a:cubicBezTo>
                <a:cubicBezTo>
                  <a:pt x="28094" y="907"/>
                  <a:pt x="28125" y="969"/>
                  <a:pt x="28187" y="1032"/>
                </a:cubicBezTo>
                <a:close/>
                <a:moveTo>
                  <a:pt x="27937" y="1688"/>
                </a:moveTo>
                <a:cubicBezTo>
                  <a:pt x="28000" y="1657"/>
                  <a:pt x="28094" y="1657"/>
                  <a:pt x="28156" y="1625"/>
                </a:cubicBezTo>
                <a:cubicBezTo>
                  <a:pt x="28219" y="1594"/>
                  <a:pt x="28281" y="1688"/>
                  <a:pt x="28312" y="1594"/>
                </a:cubicBezTo>
                <a:cubicBezTo>
                  <a:pt x="28312" y="1532"/>
                  <a:pt x="28312" y="1469"/>
                  <a:pt x="28281" y="1407"/>
                </a:cubicBezTo>
                <a:cubicBezTo>
                  <a:pt x="28219" y="1344"/>
                  <a:pt x="28187" y="1250"/>
                  <a:pt x="28125" y="1188"/>
                </a:cubicBezTo>
                <a:cubicBezTo>
                  <a:pt x="28062" y="1125"/>
                  <a:pt x="28062" y="1000"/>
                  <a:pt x="27969" y="1000"/>
                </a:cubicBezTo>
                <a:cubicBezTo>
                  <a:pt x="27906" y="1032"/>
                  <a:pt x="27906" y="1157"/>
                  <a:pt x="27875" y="1250"/>
                </a:cubicBezTo>
                <a:cubicBezTo>
                  <a:pt x="27844" y="1344"/>
                  <a:pt x="27875" y="1344"/>
                  <a:pt x="27937" y="1313"/>
                </a:cubicBezTo>
                <a:cubicBezTo>
                  <a:pt x="28000" y="1282"/>
                  <a:pt x="28031" y="1313"/>
                  <a:pt x="28031" y="1375"/>
                </a:cubicBezTo>
                <a:cubicBezTo>
                  <a:pt x="28062" y="1438"/>
                  <a:pt x="28000" y="1438"/>
                  <a:pt x="27969" y="1438"/>
                </a:cubicBezTo>
                <a:cubicBezTo>
                  <a:pt x="27906" y="1469"/>
                  <a:pt x="27875" y="1469"/>
                  <a:pt x="27844" y="1500"/>
                </a:cubicBezTo>
                <a:cubicBezTo>
                  <a:pt x="27781" y="1563"/>
                  <a:pt x="27750" y="1594"/>
                  <a:pt x="27781" y="1657"/>
                </a:cubicBezTo>
                <a:cubicBezTo>
                  <a:pt x="27812" y="1750"/>
                  <a:pt x="27875" y="1688"/>
                  <a:pt x="27937" y="1688"/>
                </a:cubicBezTo>
                <a:close/>
                <a:moveTo>
                  <a:pt x="36344" y="4782"/>
                </a:moveTo>
                <a:cubicBezTo>
                  <a:pt x="36344" y="4782"/>
                  <a:pt x="36344" y="4782"/>
                  <a:pt x="36344" y="4782"/>
                </a:cubicBezTo>
                <a:cubicBezTo>
                  <a:pt x="36344" y="4813"/>
                  <a:pt x="36312" y="4844"/>
                  <a:pt x="36312" y="4844"/>
                </a:cubicBezTo>
                <a:cubicBezTo>
                  <a:pt x="36312" y="4844"/>
                  <a:pt x="36344" y="4813"/>
                  <a:pt x="36344" y="4782"/>
                </a:cubicBezTo>
                <a:close/>
                <a:moveTo>
                  <a:pt x="35156" y="5438"/>
                </a:moveTo>
                <a:cubicBezTo>
                  <a:pt x="35156" y="5438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25" y="5469"/>
                  <a:pt x="35125" y="5469"/>
                </a:cubicBezTo>
                <a:cubicBezTo>
                  <a:pt x="35125" y="5469"/>
                  <a:pt x="35156" y="5438"/>
                  <a:pt x="35156" y="5438"/>
                </a:cubicBezTo>
                <a:close/>
                <a:moveTo>
                  <a:pt x="36031" y="3688"/>
                </a:moveTo>
                <a:cubicBezTo>
                  <a:pt x="36344" y="3532"/>
                  <a:pt x="36625" y="3375"/>
                  <a:pt x="36937" y="3157"/>
                </a:cubicBezTo>
                <a:cubicBezTo>
                  <a:pt x="36625" y="3375"/>
                  <a:pt x="36344" y="3532"/>
                  <a:pt x="36031" y="3688"/>
                </a:cubicBezTo>
                <a:cubicBezTo>
                  <a:pt x="36031" y="3688"/>
                  <a:pt x="36031" y="3688"/>
                  <a:pt x="36031" y="3688"/>
                </a:cubicBezTo>
                <a:close/>
                <a:moveTo>
                  <a:pt x="35812" y="3875"/>
                </a:moveTo>
                <a:cubicBezTo>
                  <a:pt x="35812" y="3875"/>
                  <a:pt x="35844" y="3875"/>
                  <a:pt x="35844" y="3875"/>
                </a:cubicBezTo>
                <a:cubicBezTo>
                  <a:pt x="35844" y="3875"/>
                  <a:pt x="35812" y="3875"/>
                  <a:pt x="35812" y="3875"/>
                </a:cubicBezTo>
                <a:close/>
                <a:moveTo>
                  <a:pt x="35687" y="3844"/>
                </a:moveTo>
                <a:cubicBezTo>
                  <a:pt x="35687" y="3844"/>
                  <a:pt x="35687" y="3844"/>
                  <a:pt x="35687" y="3844"/>
                </a:cubicBezTo>
                <a:cubicBezTo>
                  <a:pt x="35594" y="3875"/>
                  <a:pt x="35531" y="3907"/>
                  <a:pt x="35437" y="3969"/>
                </a:cubicBezTo>
                <a:cubicBezTo>
                  <a:pt x="35531" y="3907"/>
                  <a:pt x="35594" y="3875"/>
                  <a:pt x="35687" y="3844"/>
                </a:cubicBezTo>
                <a:close/>
                <a:moveTo>
                  <a:pt x="35437" y="3500"/>
                </a:moveTo>
                <a:cubicBezTo>
                  <a:pt x="35437" y="3500"/>
                  <a:pt x="35437" y="3532"/>
                  <a:pt x="35437" y="3563"/>
                </a:cubicBezTo>
                <a:cubicBezTo>
                  <a:pt x="35344" y="3625"/>
                  <a:pt x="35250" y="3688"/>
                  <a:pt x="35156" y="3782"/>
                </a:cubicBezTo>
                <a:cubicBezTo>
                  <a:pt x="35250" y="3688"/>
                  <a:pt x="35344" y="3625"/>
                  <a:pt x="35437" y="3563"/>
                </a:cubicBezTo>
                <a:cubicBezTo>
                  <a:pt x="35437" y="3532"/>
                  <a:pt x="35437" y="3500"/>
                  <a:pt x="35437" y="3500"/>
                </a:cubicBezTo>
                <a:close/>
                <a:moveTo>
                  <a:pt x="35094" y="3938"/>
                </a:moveTo>
                <a:cubicBezTo>
                  <a:pt x="35125" y="3938"/>
                  <a:pt x="35125" y="3938"/>
                  <a:pt x="35125" y="3938"/>
                </a:cubicBezTo>
                <a:cubicBezTo>
                  <a:pt x="35125" y="3938"/>
                  <a:pt x="35125" y="3938"/>
                  <a:pt x="35094" y="3938"/>
                </a:cubicBezTo>
                <a:cubicBezTo>
                  <a:pt x="35094" y="3938"/>
                  <a:pt x="35094" y="3938"/>
                  <a:pt x="35094" y="3938"/>
                </a:cubicBezTo>
                <a:close/>
                <a:moveTo>
                  <a:pt x="7094" y="4625"/>
                </a:moveTo>
                <a:cubicBezTo>
                  <a:pt x="7062" y="4625"/>
                  <a:pt x="7031" y="4594"/>
                  <a:pt x="7000" y="4594"/>
                </a:cubicBezTo>
                <a:cubicBezTo>
                  <a:pt x="7031" y="4594"/>
                  <a:pt x="7062" y="4625"/>
                  <a:pt x="7094" y="4625"/>
                </a:cubicBezTo>
                <a:cubicBezTo>
                  <a:pt x="7094" y="4625"/>
                  <a:pt x="7094" y="4625"/>
                  <a:pt x="7094" y="4625"/>
                </a:cubicBezTo>
                <a:close/>
                <a:moveTo>
                  <a:pt x="36000" y="7438"/>
                </a:moveTo>
                <a:cubicBezTo>
                  <a:pt x="36000" y="7438"/>
                  <a:pt x="36000" y="7438"/>
                  <a:pt x="36000" y="7407"/>
                </a:cubicBezTo>
                <a:cubicBezTo>
                  <a:pt x="36000" y="7407"/>
                  <a:pt x="36000" y="7407"/>
                  <a:pt x="36000" y="7407"/>
                </a:cubicBezTo>
                <a:cubicBezTo>
                  <a:pt x="36000" y="7438"/>
                  <a:pt x="36000" y="7438"/>
                  <a:pt x="36000" y="7438"/>
                </a:cubicBezTo>
                <a:close/>
                <a:moveTo>
                  <a:pt x="36000" y="7407"/>
                </a:moveTo>
                <a:cubicBezTo>
                  <a:pt x="36031" y="7407"/>
                  <a:pt x="36031" y="7407"/>
                  <a:pt x="36031" y="7407"/>
                </a:cubicBezTo>
                <a:cubicBezTo>
                  <a:pt x="36031" y="7407"/>
                  <a:pt x="36031" y="7407"/>
                  <a:pt x="36000" y="7407"/>
                </a:cubicBezTo>
                <a:close/>
                <a:moveTo>
                  <a:pt x="34031" y="5469"/>
                </a:moveTo>
                <a:cubicBezTo>
                  <a:pt x="34031" y="5469"/>
                  <a:pt x="34031" y="5469"/>
                  <a:pt x="34031" y="5469"/>
                </a:cubicBezTo>
                <a:cubicBezTo>
                  <a:pt x="34062" y="5469"/>
                  <a:pt x="34094" y="5438"/>
                  <a:pt x="34156" y="5438"/>
                </a:cubicBezTo>
                <a:cubicBezTo>
                  <a:pt x="34094" y="5438"/>
                  <a:pt x="34062" y="5469"/>
                  <a:pt x="34031" y="5469"/>
                </a:cubicBezTo>
                <a:close/>
                <a:moveTo>
                  <a:pt x="33219" y="4875"/>
                </a:moveTo>
                <a:cubicBezTo>
                  <a:pt x="33219" y="4875"/>
                  <a:pt x="33219" y="4875"/>
                  <a:pt x="33219" y="4875"/>
                </a:cubicBezTo>
                <a:cubicBezTo>
                  <a:pt x="33187" y="4907"/>
                  <a:pt x="33187" y="4938"/>
                  <a:pt x="33156" y="4938"/>
                </a:cubicBezTo>
                <a:cubicBezTo>
                  <a:pt x="33187" y="4938"/>
                  <a:pt x="33187" y="4907"/>
                  <a:pt x="33219" y="4875"/>
                </a:cubicBezTo>
                <a:close/>
                <a:moveTo>
                  <a:pt x="19594" y="5032"/>
                </a:moveTo>
                <a:cubicBezTo>
                  <a:pt x="19531" y="5032"/>
                  <a:pt x="19469" y="5032"/>
                  <a:pt x="19406" y="5063"/>
                </a:cubicBezTo>
                <a:cubicBezTo>
                  <a:pt x="19469" y="5032"/>
                  <a:pt x="19531" y="5032"/>
                  <a:pt x="19594" y="5032"/>
                </a:cubicBezTo>
                <a:close/>
                <a:moveTo>
                  <a:pt x="8656" y="4282"/>
                </a:moveTo>
                <a:cubicBezTo>
                  <a:pt x="8687" y="4282"/>
                  <a:pt x="8687" y="4313"/>
                  <a:pt x="8687" y="4313"/>
                </a:cubicBezTo>
                <a:cubicBezTo>
                  <a:pt x="8687" y="4313"/>
                  <a:pt x="8687" y="4282"/>
                  <a:pt x="8656" y="4282"/>
                </a:cubicBezTo>
                <a:close/>
                <a:moveTo>
                  <a:pt x="8562" y="4469"/>
                </a:moveTo>
                <a:cubicBezTo>
                  <a:pt x="8562" y="4469"/>
                  <a:pt x="8562" y="4469"/>
                  <a:pt x="8562" y="4469"/>
                </a:cubicBezTo>
                <a:cubicBezTo>
                  <a:pt x="8562" y="4469"/>
                  <a:pt x="8562" y="4469"/>
                  <a:pt x="8562" y="4469"/>
                </a:cubicBezTo>
                <a:close/>
                <a:moveTo>
                  <a:pt x="8562" y="4438"/>
                </a:moveTo>
                <a:cubicBezTo>
                  <a:pt x="8562" y="4438"/>
                  <a:pt x="8562" y="4469"/>
                  <a:pt x="8562" y="4469"/>
                </a:cubicBezTo>
                <a:cubicBezTo>
                  <a:pt x="8562" y="4438"/>
                  <a:pt x="8562" y="4438"/>
                  <a:pt x="8562" y="4438"/>
                </a:cubicBezTo>
                <a:cubicBezTo>
                  <a:pt x="8531" y="4469"/>
                  <a:pt x="8469" y="4469"/>
                  <a:pt x="8469" y="4469"/>
                </a:cubicBezTo>
                <a:cubicBezTo>
                  <a:pt x="8469" y="4469"/>
                  <a:pt x="8531" y="4469"/>
                  <a:pt x="8562" y="4438"/>
                </a:cubicBezTo>
                <a:close/>
                <a:moveTo>
                  <a:pt x="8344" y="4125"/>
                </a:moveTo>
                <a:cubicBezTo>
                  <a:pt x="8406" y="4125"/>
                  <a:pt x="8437" y="4125"/>
                  <a:pt x="8500" y="4157"/>
                </a:cubicBezTo>
                <a:cubicBezTo>
                  <a:pt x="8437" y="4125"/>
                  <a:pt x="8406" y="4125"/>
                  <a:pt x="8344" y="4125"/>
                </a:cubicBezTo>
                <a:cubicBezTo>
                  <a:pt x="8344" y="4125"/>
                  <a:pt x="8344" y="4125"/>
                  <a:pt x="8344" y="4094"/>
                </a:cubicBezTo>
                <a:lnTo>
                  <a:pt x="8344" y="4125"/>
                </a:lnTo>
                <a:close/>
                <a:moveTo>
                  <a:pt x="7844" y="3407"/>
                </a:moveTo>
                <a:cubicBezTo>
                  <a:pt x="7812" y="3375"/>
                  <a:pt x="7781" y="3344"/>
                  <a:pt x="7750" y="3344"/>
                </a:cubicBezTo>
                <a:cubicBezTo>
                  <a:pt x="7781" y="3344"/>
                  <a:pt x="7812" y="3375"/>
                  <a:pt x="7844" y="3407"/>
                </a:cubicBezTo>
                <a:close/>
                <a:moveTo>
                  <a:pt x="18062" y="10063"/>
                </a:moveTo>
                <a:cubicBezTo>
                  <a:pt x="18062" y="10063"/>
                  <a:pt x="18062" y="10063"/>
                  <a:pt x="18062" y="10063"/>
                </a:cubicBezTo>
                <a:cubicBezTo>
                  <a:pt x="18219" y="10125"/>
                  <a:pt x="18375" y="10219"/>
                  <a:pt x="18562" y="10282"/>
                </a:cubicBezTo>
                <a:cubicBezTo>
                  <a:pt x="18375" y="10219"/>
                  <a:pt x="18219" y="10125"/>
                  <a:pt x="18062" y="10063"/>
                </a:cubicBezTo>
                <a:close/>
                <a:moveTo>
                  <a:pt x="20812" y="11407"/>
                </a:moveTo>
                <a:cubicBezTo>
                  <a:pt x="20812" y="11407"/>
                  <a:pt x="20812" y="11407"/>
                  <a:pt x="20812" y="11407"/>
                </a:cubicBezTo>
                <a:cubicBezTo>
                  <a:pt x="20844" y="11407"/>
                  <a:pt x="20844" y="11438"/>
                  <a:pt x="20844" y="11438"/>
                </a:cubicBezTo>
                <a:cubicBezTo>
                  <a:pt x="20844" y="11438"/>
                  <a:pt x="20844" y="11407"/>
                  <a:pt x="20812" y="11407"/>
                </a:cubicBezTo>
                <a:close/>
                <a:moveTo>
                  <a:pt x="36281" y="11625"/>
                </a:move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25"/>
                  <a:pt x="36281" y="11625"/>
                </a:cubicBezTo>
                <a:cubicBezTo>
                  <a:pt x="36281" y="11625"/>
                  <a:pt x="36281" y="11657"/>
                  <a:pt x="36312" y="11657"/>
                </a:cubicBezTo>
                <a:cubicBezTo>
                  <a:pt x="36281" y="11657"/>
                  <a:pt x="36281" y="11625"/>
                  <a:pt x="36281" y="116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A4319B7-2945-2F4F-8753-B519AD92FF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FE24245-ECFB-C44F-8565-D05E99A94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C0D4801-62D0-1B42-BE30-329290E1F06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72892175-23D2-A544-9A43-8F900A254AE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612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46">
            <a:extLst>
              <a:ext uri="{FF2B5EF4-FFF2-40B4-BE49-F238E27FC236}">
                <a16:creationId xmlns:a16="http://schemas.microsoft.com/office/drawing/2014/main" id="{355B46E3-781F-4E48-B8DF-D825F5D67F0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 bwMode="auto">
          <a:xfrm>
            <a:off x="672307" y="1314178"/>
            <a:ext cx="23042560" cy="6984776"/>
          </a:xfrm>
          <a:custGeom>
            <a:avLst/>
            <a:gdLst>
              <a:gd name="T0" fmla="*/ 36250 w 36656"/>
              <a:gd name="T1" fmla="*/ 3500 h 13469"/>
              <a:gd name="T2" fmla="*/ 34562 w 36656"/>
              <a:gd name="T3" fmla="*/ 4344 h 13469"/>
              <a:gd name="T4" fmla="*/ 31219 w 36656"/>
              <a:gd name="T5" fmla="*/ 1594 h 13469"/>
              <a:gd name="T6" fmla="*/ 24969 w 36656"/>
              <a:gd name="T7" fmla="*/ 906 h 13469"/>
              <a:gd name="T8" fmla="*/ 24719 w 36656"/>
              <a:gd name="T9" fmla="*/ 969 h 13469"/>
              <a:gd name="T10" fmla="*/ 24625 w 36656"/>
              <a:gd name="T11" fmla="*/ 1156 h 13469"/>
              <a:gd name="T12" fmla="*/ 22344 w 36656"/>
              <a:gd name="T13" fmla="*/ 1687 h 13469"/>
              <a:gd name="T14" fmla="*/ 22000 w 36656"/>
              <a:gd name="T15" fmla="*/ 1625 h 13469"/>
              <a:gd name="T16" fmla="*/ 22312 w 36656"/>
              <a:gd name="T17" fmla="*/ 1469 h 13469"/>
              <a:gd name="T18" fmla="*/ 20000 w 36656"/>
              <a:gd name="T19" fmla="*/ 1562 h 13469"/>
              <a:gd name="T20" fmla="*/ 21625 w 36656"/>
              <a:gd name="T21" fmla="*/ 500 h 13469"/>
              <a:gd name="T22" fmla="*/ 19750 w 36656"/>
              <a:gd name="T23" fmla="*/ 750 h 13469"/>
              <a:gd name="T24" fmla="*/ 19719 w 36656"/>
              <a:gd name="T25" fmla="*/ 750 h 13469"/>
              <a:gd name="T26" fmla="*/ 19219 w 36656"/>
              <a:gd name="T27" fmla="*/ 812 h 13469"/>
              <a:gd name="T28" fmla="*/ 18937 w 36656"/>
              <a:gd name="T29" fmla="*/ 0 h 13469"/>
              <a:gd name="T30" fmla="*/ 13875 w 36656"/>
              <a:gd name="T31" fmla="*/ 469 h 13469"/>
              <a:gd name="T32" fmla="*/ 10625 w 36656"/>
              <a:gd name="T33" fmla="*/ 594 h 13469"/>
              <a:gd name="T34" fmla="*/ 9781 w 36656"/>
              <a:gd name="T35" fmla="*/ 531 h 13469"/>
              <a:gd name="T36" fmla="*/ 5969 w 36656"/>
              <a:gd name="T37" fmla="*/ 1750 h 13469"/>
              <a:gd name="T38" fmla="*/ 5156 w 36656"/>
              <a:gd name="T39" fmla="*/ 2781 h 13469"/>
              <a:gd name="T40" fmla="*/ 4906 w 36656"/>
              <a:gd name="T41" fmla="*/ 3750 h 13469"/>
              <a:gd name="T42" fmla="*/ 4625 w 36656"/>
              <a:gd name="T43" fmla="*/ 5312 h 13469"/>
              <a:gd name="T44" fmla="*/ 1812 w 36656"/>
              <a:gd name="T45" fmla="*/ 5500 h 13469"/>
              <a:gd name="T46" fmla="*/ 2031 w 36656"/>
              <a:gd name="T47" fmla="*/ 6719 h 13469"/>
              <a:gd name="T48" fmla="*/ 469 w 36656"/>
              <a:gd name="T49" fmla="*/ 7125 h 13469"/>
              <a:gd name="T50" fmla="*/ 1750 w 36656"/>
              <a:gd name="T51" fmla="*/ 7531 h 13469"/>
              <a:gd name="T52" fmla="*/ 2187 w 36656"/>
              <a:gd name="T53" fmla="*/ 8375 h 13469"/>
              <a:gd name="T54" fmla="*/ 8187 w 36656"/>
              <a:gd name="T55" fmla="*/ 9562 h 13469"/>
              <a:gd name="T56" fmla="*/ 8812 w 36656"/>
              <a:gd name="T57" fmla="*/ 10094 h 13469"/>
              <a:gd name="T58" fmla="*/ 6719 w 36656"/>
              <a:gd name="T59" fmla="*/ 10844 h 13469"/>
              <a:gd name="T60" fmla="*/ 9875 w 36656"/>
              <a:gd name="T61" fmla="*/ 11312 h 13469"/>
              <a:gd name="T62" fmla="*/ 10500 w 36656"/>
              <a:gd name="T63" fmla="*/ 11750 h 13469"/>
              <a:gd name="T64" fmla="*/ 15906 w 36656"/>
              <a:gd name="T65" fmla="*/ 11062 h 13469"/>
              <a:gd name="T66" fmla="*/ 16531 w 36656"/>
              <a:gd name="T67" fmla="*/ 11375 h 13469"/>
              <a:gd name="T68" fmla="*/ 16750 w 36656"/>
              <a:gd name="T69" fmla="*/ 11937 h 13469"/>
              <a:gd name="T70" fmla="*/ 15844 w 36656"/>
              <a:gd name="T71" fmla="*/ 12750 h 13469"/>
              <a:gd name="T72" fmla="*/ 15344 w 36656"/>
              <a:gd name="T73" fmla="*/ 12844 h 13469"/>
              <a:gd name="T74" fmla="*/ 17375 w 36656"/>
              <a:gd name="T75" fmla="*/ 12781 h 13469"/>
              <a:gd name="T76" fmla="*/ 17656 w 36656"/>
              <a:gd name="T77" fmla="*/ 13437 h 13469"/>
              <a:gd name="T78" fmla="*/ 24250 w 36656"/>
              <a:gd name="T79" fmla="*/ 12500 h 13469"/>
              <a:gd name="T80" fmla="*/ 27156 w 36656"/>
              <a:gd name="T81" fmla="*/ 11875 h 13469"/>
              <a:gd name="T82" fmla="*/ 25844 w 36656"/>
              <a:gd name="T83" fmla="*/ 12844 h 13469"/>
              <a:gd name="T84" fmla="*/ 27219 w 36656"/>
              <a:gd name="T85" fmla="*/ 12719 h 13469"/>
              <a:gd name="T86" fmla="*/ 27156 w 36656"/>
              <a:gd name="T87" fmla="*/ 13125 h 13469"/>
              <a:gd name="T88" fmla="*/ 32406 w 36656"/>
              <a:gd name="T89" fmla="*/ 9031 h 13469"/>
              <a:gd name="T90" fmla="*/ 32437 w 36656"/>
              <a:gd name="T91" fmla="*/ 8969 h 13469"/>
              <a:gd name="T92" fmla="*/ 32406 w 36656"/>
              <a:gd name="T93" fmla="*/ 8969 h 13469"/>
              <a:gd name="T94" fmla="*/ 31906 w 36656"/>
              <a:gd name="T95" fmla="*/ 9312 h 13469"/>
              <a:gd name="T96" fmla="*/ 32281 w 36656"/>
              <a:gd name="T97" fmla="*/ 8625 h 13469"/>
              <a:gd name="T98" fmla="*/ 31344 w 36656"/>
              <a:gd name="T99" fmla="*/ 9000 h 13469"/>
              <a:gd name="T100" fmla="*/ 29969 w 36656"/>
              <a:gd name="T101" fmla="*/ 9531 h 13469"/>
              <a:gd name="T102" fmla="*/ 34531 w 36656"/>
              <a:gd name="T103" fmla="*/ 6437 h 13469"/>
              <a:gd name="T104" fmla="*/ 36531 w 36656"/>
              <a:gd name="T105" fmla="*/ 3969 h 13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656" h="13469">
                <a:moveTo>
                  <a:pt x="35969" y="4156"/>
                </a:moveTo>
                <a:cubicBezTo>
                  <a:pt x="36031" y="4094"/>
                  <a:pt x="36125" y="4000"/>
                  <a:pt x="36187" y="3937"/>
                </a:cubicBezTo>
                <a:cubicBezTo>
                  <a:pt x="36344" y="3781"/>
                  <a:pt x="36469" y="3594"/>
                  <a:pt x="36594" y="3437"/>
                </a:cubicBezTo>
                <a:cubicBezTo>
                  <a:pt x="36625" y="3406"/>
                  <a:pt x="36656" y="3375"/>
                  <a:pt x="36625" y="3344"/>
                </a:cubicBezTo>
                <a:cubicBezTo>
                  <a:pt x="36594" y="3281"/>
                  <a:pt x="36562" y="3344"/>
                  <a:pt x="36531" y="3344"/>
                </a:cubicBezTo>
                <a:cubicBezTo>
                  <a:pt x="36406" y="3375"/>
                  <a:pt x="36312" y="3437"/>
                  <a:pt x="36250" y="3500"/>
                </a:cubicBezTo>
                <a:cubicBezTo>
                  <a:pt x="36062" y="3656"/>
                  <a:pt x="35875" y="3781"/>
                  <a:pt x="35687" y="3906"/>
                </a:cubicBezTo>
                <a:cubicBezTo>
                  <a:pt x="35687" y="3937"/>
                  <a:pt x="35625" y="3969"/>
                  <a:pt x="35594" y="3906"/>
                </a:cubicBezTo>
                <a:cubicBezTo>
                  <a:pt x="35562" y="3750"/>
                  <a:pt x="35469" y="3906"/>
                  <a:pt x="35469" y="3906"/>
                </a:cubicBezTo>
                <a:cubicBezTo>
                  <a:pt x="35281" y="4000"/>
                  <a:pt x="35125" y="4125"/>
                  <a:pt x="34937" y="4250"/>
                </a:cubicBezTo>
                <a:cubicBezTo>
                  <a:pt x="34937" y="4250"/>
                  <a:pt x="34937" y="4250"/>
                  <a:pt x="34906" y="4250"/>
                </a:cubicBezTo>
                <a:cubicBezTo>
                  <a:pt x="34781" y="4344"/>
                  <a:pt x="34656" y="4375"/>
                  <a:pt x="34562" y="4344"/>
                </a:cubicBezTo>
                <a:cubicBezTo>
                  <a:pt x="34500" y="4312"/>
                  <a:pt x="34469" y="4281"/>
                  <a:pt x="34406" y="4250"/>
                </a:cubicBezTo>
                <a:cubicBezTo>
                  <a:pt x="34344" y="4187"/>
                  <a:pt x="34312" y="4125"/>
                  <a:pt x="34312" y="4062"/>
                </a:cubicBezTo>
                <a:cubicBezTo>
                  <a:pt x="34219" y="3844"/>
                  <a:pt x="34125" y="3625"/>
                  <a:pt x="34000" y="3437"/>
                </a:cubicBezTo>
                <a:cubicBezTo>
                  <a:pt x="33781" y="3125"/>
                  <a:pt x="33500" y="2875"/>
                  <a:pt x="33187" y="2656"/>
                </a:cubicBezTo>
                <a:cubicBezTo>
                  <a:pt x="32812" y="2344"/>
                  <a:pt x="32375" y="2094"/>
                  <a:pt x="31906" y="1875"/>
                </a:cubicBezTo>
                <a:cubicBezTo>
                  <a:pt x="31687" y="1781"/>
                  <a:pt x="31469" y="1656"/>
                  <a:pt x="31219" y="1594"/>
                </a:cubicBezTo>
                <a:cubicBezTo>
                  <a:pt x="31187" y="1594"/>
                  <a:pt x="31156" y="1562"/>
                  <a:pt x="31125" y="1562"/>
                </a:cubicBezTo>
                <a:cubicBezTo>
                  <a:pt x="30719" y="1344"/>
                  <a:pt x="30250" y="1250"/>
                  <a:pt x="29812" y="1125"/>
                </a:cubicBezTo>
                <a:cubicBezTo>
                  <a:pt x="29656" y="1094"/>
                  <a:pt x="29500" y="1094"/>
                  <a:pt x="29344" y="1031"/>
                </a:cubicBezTo>
                <a:cubicBezTo>
                  <a:pt x="29094" y="969"/>
                  <a:pt x="28844" y="937"/>
                  <a:pt x="28594" y="906"/>
                </a:cubicBezTo>
                <a:cubicBezTo>
                  <a:pt x="27781" y="781"/>
                  <a:pt x="26969" y="781"/>
                  <a:pt x="26156" y="812"/>
                </a:cubicBezTo>
                <a:cubicBezTo>
                  <a:pt x="25750" y="812"/>
                  <a:pt x="25375" y="906"/>
                  <a:pt x="24969" y="906"/>
                </a:cubicBezTo>
                <a:cubicBezTo>
                  <a:pt x="25000" y="937"/>
                  <a:pt x="25000" y="969"/>
                  <a:pt x="25031" y="1000"/>
                </a:cubicBezTo>
                <a:cubicBezTo>
                  <a:pt x="25031" y="1031"/>
                  <a:pt x="25062" y="1062"/>
                  <a:pt x="25062" y="1094"/>
                </a:cubicBezTo>
                <a:cubicBezTo>
                  <a:pt x="25031" y="1125"/>
                  <a:pt x="25000" y="1156"/>
                  <a:pt x="24937" y="1156"/>
                </a:cubicBezTo>
                <a:cubicBezTo>
                  <a:pt x="24906" y="1156"/>
                  <a:pt x="24906" y="1125"/>
                  <a:pt x="24875" y="1094"/>
                </a:cubicBezTo>
                <a:cubicBezTo>
                  <a:pt x="24844" y="1031"/>
                  <a:pt x="24812" y="906"/>
                  <a:pt x="24687" y="969"/>
                </a:cubicBezTo>
                <a:cubicBezTo>
                  <a:pt x="24687" y="969"/>
                  <a:pt x="24719" y="969"/>
                  <a:pt x="24719" y="969"/>
                </a:cubicBezTo>
                <a:cubicBezTo>
                  <a:pt x="24781" y="1031"/>
                  <a:pt x="24781" y="1094"/>
                  <a:pt x="24781" y="1156"/>
                </a:cubicBezTo>
                <a:cubicBezTo>
                  <a:pt x="24750" y="1375"/>
                  <a:pt x="24594" y="1437"/>
                  <a:pt x="24437" y="1500"/>
                </a:cubicBezTo>
                <a:cubicBezTo>
                  <a:pt x="24375" y="1531"/>
                  <a:pt x="24344" y="1531"/>
                  <a:pt x="24312" y="1469"/>
                </a:cubicBezTo>
                <a:cubicBezTo>
                  <a:pt x="24312" y="1406"/>
                  <a:pt x="24312" y="1375"/>
                  <a:pt x="24375" y="1344"/>
                </a:cubicBezTo>
                <a:cubicBezTo>
                  <a:pt x="24437" y="1344"/>
                  <a:pt x="24500" y="1312"/>
                  <a:pt x="24562" y="1250"/>
                </a:cubicBezTo>
                <a:cubicBezTo>
                  <a:pt x="24594" y="1219"/>
                  <a:pt x="24625" y="1187"/>
                  <a:pt x="24625" y="1156"/>
                </a:cubicBezTo>
                <a:cubicBezTo>
                  <a:pt x="24594" y="1094"/>
                  <a:pt x="24531" y="1125"/>
                  <a:pt x="24500" y="1125"/>
                </a:cubicBezTo>
                <a:cubicBezTo>
                  <a:pt x="24406" y="1125"/>
                  <a:pt x="24312" y="1187"/>
                  <a:pt x="24219" y="1187"/>
                </a:cubicBezTo>
                <a:cubicBezTo>
                  <a:pt x="24187" y="1187"/>
                  <a:pt x="24156" y="1187"/>
                  <a:pt x="24125" y="1187"/>
                </a:cubicBezTo>
                <a:cubicBezTo>
                  <a:pt x="24094" y="1219"/>
                  <a:pt x="24062" y="1219"/>
                  <a:pt x="24031" y="1219"/>
                </a:cubicBezTo>
                <a:cubicBezTo>
                  <a:pt x="23875" y="1250"/>
                  <a:pt x="23719" y="1281"/>
                  <a:pt x="23562" y="1344"/>
                </a:cubicBezTo>
                <a:cubicBezTo>
                  <a:pt x="23156" y="1406"/>
                  <a:pt x="22750" y="1562"/>
                  <a:pt x="22344" y="1687"/>
                </a:cubicBezTo>
                <a:cubicBezTo>
                  <a:pt x="22312" y="1687"/>
                  <a:pt x="22250" y="1719"/>
                  <a:pt x="22187" y="1750"/>
                </a:cubicBezTo>
                <a:cubicBezTo>
                  <a:pt x="21594" y="1937"/>
                  <a:pt x="21031" y="2125"/>
                  <a:pt x="20469" y="2406"/>
                </a:cubicBezTo>
                <a:cubicBezTo>
                  <a:pt x="20375" y="2437"/>
                  <a:pt x="20250" y="2500"/>
                  <a:pt x="20125" y="2406"/>
                </a:cubicBezTo>
                <a:cubicBezTo>
                  <a:pt x="20469" y="2219"/>
                  <a:pt x="20875" y="2187"/>
                  <a:pt x="21187" y="2000"/>
                </a:cubicBezTo>
                <a:cubicBezTo>
                  <a:pt x="21156" y="2000"/>
                  <a:pt x="21156" y="1969"/>
                  <a:pt x="21125" y="1969"/>
                </a:cubicBezTo>
                <a:cubicBezTo>
                  <a:pt x="21406" y="1812"/>
                  <a:pt x="21719" y="1719"/>
                  <a:pt x="22000" y="1625"/>
                </a:cubicBezTo>
                <a:cubicBezTo>
                  <a:pt x="22656" y="1437"/>
                  <a:pt x="23312" y="1250"/>
                  <a:pt x="24000" y="1125"/>
                </a:cubicBezTo>
                <a:cubicBezTo>
                  <a:pt x="24031" y="1125"/>
                  <a:pt x="24062" y="1125"/>
                  <a:pt x="24094" y="1062"/>
                </a:cubicBezTo>
                <a:cubicBezTo>
                  <a:pt x="24031" y="1062"/>
                  <a:pt x="23969" y="1062"/>
                  <a:pt x="23937" y="1062"/>
                </a:cubicBezTo>
                <a:cubicBezTo>
                  <a:pt x="23656" y="1125"/>
                  <a:pt x="23406" y="1156"/>
                  <a:pt x="23156" y="1250"/>
                </a:cubicBezTo>
                <a:cubicBezTo>
                  <a:pt x="23062" y="1250"/>
                  <a:pt x="22969" y="1281"/>
                  <a:pt x="22875" y="1312"/>
                </a:cubicBezTo>
                <a:cubicBezTo>
                  <a:pt x="22687" y="1344"/>
                  <a:pt x="22500" y="1406"/>
                  <a:pt x="22312" y="1469"/>
                </a:cubicBezTo>
                <a:cubicBezTo>
                  <a:pt x="22187" y="1500"/>
                  <a:pt x="22062" y="1531"/>
                  <a:pt x="21937" y="1594"/>
                </a:cubicBezTo>
                <a:cubicBezTo>
                  <a:pt x="21594" y="1687"/>
                  <a:pt x="21281" y="1812"/>
                  <a:pt x="20937" y="1937"/>
                </a:cubicBezTo>
                <a:cubicBezTo>
                  <a:pt x="20719" y="1937"/>
                  <a:pt x="20469" y="1969"/>
                  <a:pt x="20250" y="1937"/>
                </a:cubicBezTo>
                <a:cubicBezTo>
                  <a:pt x="20156" y="1906"/>
                  <a:pt x="20094" y="1875"/>
                  <a:pt x="20000" y="1844"/>
                </a:cubicBezTo>
                <a:cubicBezTo>
                  <a:pt x="19937" y="1812"/>
                  <a:pt x="19812" y="1812"/>
                  <a:pt x="19812" y="1687"/>
                </a:cubicBezTo>
                <a:cubicBezTo>
                  <a:pt x="19812" y="1594"/>
                  <a:pt x="19937" y="1594"/>
                  <a:pt x="20000" y="1562"/>
                </a:cubicBezTo>
                <a:cubicBezTo>
                  <a:pt x="20312" y="1406"/>
                  <a:pt x="20625" y="1281"/>
                  <a:pt x="20937" y="1156"/>
                </a:cubicBezTo>
                <a:cubicBezTo>
                  <a:pt x="21094" y="1094"/>
                  <a:pt x="21250" y="969"/>
                  <a:pt x="21437" y="937"/>
                </a:cubicBezTo>
                <a:cubicBezTo>
                  <a:pt x="21781" y="812"/>
                  <a:pt x="22156" y="750"/>
                  <a:pt x="22531" y="656"/>
                </a:cubicBezTo>
                <a:cubicBezTo>
                  <a:pt x="22656" y="625"/>
                  <a:pt x="22844" y="594"/>
                  <a:pt x="22969" y="500"/>
                </a:cubicBezTo>
                <a:cubicBezTo>
                  <a:pt x="22406" y="469"/>
                  <a:pt x="21875" y="656"/>
                  <a:pt x="21281" y="656"/>
                </a:cubicBezTo>
                <a:cubicBezTo>
                  <a:pt x="21406" y="562"/>
                  <a:pt x="21531" y="594"/>
                  <a:pt x="21625" y="500"/>
                </a:cubicBezTo>
                <a:cubicBezTo>
                  <a:pt x="21500" y="500"/>
                  <a:pt x="21406" y="531"/>
                  <a:pt x="21281" y="531"/>
                </a:cubicBezTo>
                <a:cubicBezTo>
                  <a:pt x="20812" y="594"/>
                  <a:pt x="20344" y="687"/>
                  <a:pt x="19844" y="781"/>
                </a:cubicBezTo>
                <a:cubicBezTo>
                  <a:pt x="19844" y="781"/>
                  <a:pt x="19844" y="781"/>
                  <a:pt x="19844" y="781"/>
                </a:cubicBezTo>
                <a:cubicBezTo>
                  <a:pt x="19844" y="781"/>
                  <a:pt x="19812" y="781"/>
                  <a:pt x="19812" y="781"/>
                </a:cubicBezTo>
                <a:cubicBezTo>
                  <a:pt x="19812" y="781"/>
                  <a:pt x="19812" y="781"/>
                  <a:pt x="19812" y="781"/>
                </a:cubicBezTo>
                <a:cubicBezTo>
                  <a:pt x="19781" y="781"/>
                  <a:pt x="19750" y="781"/>
                  <a:pt x="19750" y="750"/>
                </a:cubicBezTo>
                <a:cubicBezTo>
                  <a:pt x="19750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50" y="750"/>
                  <a:pt x="19781" y="750"/>
                  <a:pt x="19781" y="750"/>
                </a:cubicBezTo>
                <a:cubicBezTo>
                  <a:pt x="19812" y="719"/>
                  <a:pt x="19812" y="719"/>
                  <a:pt x="19812" y="719"/>
                </a:cubicBezTo>
                <a:cubicBezTo>
                  <a:pt x="19781" y="719"/>
                  <a:pt x="19750" y="719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719" y="750"/>
                  <a:pt x="19719" y="750"/>
                  <a:pt x="19719" y="750"/>
                </a:cubicBezTo>
                <a:cubicBezTo>
                  <a:pt x="19562" y="719"/>
                  <a:pt x="19375" y="781"/>
                  <a:pt x="19219" y="812"/>
                </a:cubicBezTo>
                <a:cubicBezTo>
                  <a:pt x="19125" y="812"/>
                  <a:pt x="19062" y="812"/>
                  <a:pt x="19031" y="719"/>
                </a:cubicBezTo>
                <a:cubicBezTo>
                  <a:pt x="19000" y="625"/>
                  <a:pt x="19000" y="562"/>
                  <a:pt x="19094" y="500"/>
                </a:cubicBezTo>
                <a:cubicBezTo>
                  <a:pt x="19219" y="406"/>
                  <a:pt x="19375" y="375"/>
                  <a:pt x="19469" y="250"/>
                </a:cubicBezTo>
                <a:cubicBezTo>
                  <a:pt x="19500" y="219"/>
                  <a:pt x="19531" y="219"/>
                  <a:pt x="19531" y="187"/>
                </a:cubicBezTo>
                <a:cubicBezTo>
                  <a:pt x="19531" y="156"/>
                  <a:pt x="19500" y="125"/>
                  <a:pt x="19469" y="125"/>
                </a:cubicBezTo>
                <a:cubicBezTo>
                  <a:pt x="19281" y="62"/>
                  <a:pt x="19125" y="0"/>
                  <a:pt x="18937" y="0"/>
                </a:cubicBezTo>
                <a:cubicBezTo>
                  <a:pt x="18812" y="0"/>
                  <a:pt x="18656" y="31"/>
                  <a:pt x="18531" y="62"/>
                </a:cubicBezTo>
                <a:cubicBezTo>
                  <a:pt x="18219" y="94"/>
                  <a:pt x="17937" y="125"/>
                  <a:pt x="17625" y="156"/>
                </a:cubicBezTo>
                <a:cubicBezTo>
                  <a:pt x="17000" y="250"/>
                  <a:pt x="16344" y="344"/>
                  <a:pt x="15719" y="531"/>
                </a:cubicBezTo>
                <a:cubicBezTo>
                  <a:pt x="15187" y="656"/>
                  <a:pt x="14687" y="625"/>
                  <a:pt x="14156" y="625"/>
                </a:cubicBezTo>
                <a:cubicBezTo>
                  <a:pt x="14125" y="625"/>
                  <a:pt x="14062" y="625"/>
                  <a:pt x="14062" y="562"/>
                </a:cubicBezTo>
                <a:cubicBezTo>
                  <a:pt x="14062" y="437"/>
                  <a:pt x="13937" y="469"/>
                  <a:pt x="13875" y="469"/>
                </a:cubicBezTo>
                <a:cubicBezTo>
                  <a:pt x="13406" y="437"/>
                  <a:pt x="12937" y="500"/>
                  <a:pt x="12469" y="562"/>
                </a:cubicBezTo>
                <a:cubicBezTo>
                  <a:pt x="12187" y="594"/>
                  <a:pt x="11937" y="625"/>
                  <a:pt x="11656" y="656"/>
                </a:cubicBezTo>
                <a:cubicBezTo>
                  <a:pt x="11187" y="656"/>
                  <a:pt x="10687" y="656"/>
                  <a:pt x="10219" y="781"/>
                </a:cubicBezTo>
                <a:cubicBezTo>
                  <a:pt x="10062" y="812"/>
                  <a:pt x="9781" y="844"/>
                  <a:pt x="9687" y="812"/>
                </a:cubicBezTo>
                <a:cubicBezTo>
                  <a:pt x="9719" y="781"/>
                  <a:pt x="9719" y="781"/>
                  <a:pt x="9750" y="781"/>
                </a:cubicBezTo>
                <a:cubicBezTo>
                  <a:pt x="10031" y="687"/>
                  <a:pt x="10344" y="625"/>
                  <a:pt x="10625" y="594"/>
                </a:cubicBezTo>
                <a:cubicBezTo>
                  <a:pt x="11031" y="531"/>
                  <a:pt x="11406" y="469"/>
                  <a:pt x="11812" y="437"/>
                </a:cubicBezTo>
                <a:cubicBezTo>
                  <a:pt x="11844" y="406"/>
                  <a:pt x="11875" y="406"/>
                  <a:pt x="11875" y="375"/>
                </a:cubicBezTo>
                <a:cubicBezTo>
                  <a:pt x="11875" y="312"/>
                  <a:pt x="11812" y="344"/>
                  <a:pt x="11781" y="344"/>
                </a:cubicBezTo>
                <a:cubicBezTo>
                  <a:pt x="11562" y="344"/>
                  <a:pt x="11312" y="406"/>
                  <a:pt x="11094" y="437"/>
                </a:cubicBezTo>
                <a:cubicBezTo>
                  <a:pt x="10844" y="469"/>
                  <a:pt x="10625" y="531"/>
                  <a:pt x="10375" y="562"/>
                </a:cubicBezTo>
                <a:cubicBezTo>
                  <a:pt x="10187" y="594"/>
                  <a:pt x="9969" y="531"/>
                  <a:pt x="9781" y="531"/>
                </a:cubicBezTo>
                <a:cubicBezTo>
                  <a:pt x="9562" y="500"/>
                  <a:pt x="9375" y="500"/>
                  <a:pt x="9156" y="562"/>
                </a:cubicBezTo>
                <a:cubicBezTo>
                  <a:pt x="9031" y="594"/>
                  <a:pt x="8906" y="625"/>
                  <a:pt x="8750" y="656"/>
                </a:cubicBezTo>
                <a:cubicBezTo>
                  <a:pt x="8687" y="656"/>
                  <a:pt x="8625" y="687"/>
                  <a:pt x="8562" y="687"/>
                </a:cubicBezTo>
                <a:cubicBezTo>
                  <a:pt x="8156" y="781"/>
                  <a:pt x="7750" y="937"/>
                  <a:pt x="7344" y="1094"/>
                </a:cubicBezTo>
                <a:cubicBezTo>
                  <a:pt x="7219" y="1125"/>
                  <a:pt x="7125" y="1187"/>
                  <a:pt x="7000" y="1219"/>
                </a:cubicBezTo>
                <a:cubicBezTo>
                  <a:pt x="6656" y="1375"/>
                  <a:pt x="6312" y="1531"/>
                  <a:pt x="5969" y="1750"/>
                </a:cubicBezTo>
                <a:cubicBezTo>
                  <a:pt x="5687" y="1937"/>
                  <a:pt x="5437" y="2156"/>
                  <a:pt x="5156" y="2344"/>
                </a:cubicBezTo>
                <a:cubicBezTo>
                  <a:pt x="5000" y="2437"/>
                  <a:pt x="4875" y="2562"/>
                  <a:pt x="4812" y="2750"/>
                </a:cubicBezTo>
                <a:cubicBezTo>
                  <a:pt x="4844" y="2750"/>
                  <a:pt x="4906" y="2750"/>
                  <a:pt x="4937" y="2719"/>
                </a:cubicBezTo>
                <a:cubicBezTo>
                  <a:pt x="5000" y="2687"/>
                  <a:pt x="5062" y="2656"/>
                  <a:pt x="5094" y="2656"/>
                </a:cubicBezTo>
                <a:cubicBezTo>
                  <a:pt x="5156" y="2687"/>
                  <a:pt x="5187" y="2687"/>
                  <a:pt x="5187" y="2719"/>
                </a:cubicBezTo>
                <a:cubicBezTo>
                  <a:pt x="5219" y="2750"/>
                  <a:pt x="5187" y="2781"/>
                  <a:pt x="5156" y="2781"/>
                </a:cubicBezTo>
                <a:cubicBezTo>
                  <a:pt x="4969" y="2937"/>
                  <a:pt x="4875" y="3156"/>
                  <a:pt x="4719" y="3344"/>
                </a:cubicBezTo>
                <a:cubicBezTo>
                  <a:pt x="4687" y="3406"/>
                  <a:pt x="4625" y="3469"/>
                  <a:pt x="4656" y="3531"/>
                </a:cubicBezTo>
                <a:cubicBezTo>
                  <a:pt x="4719" y="3594"/>
                  <a:pt x="4781" y="3531"/>
                  <a:pt x="4844" y="3531"/>
                </a:cubicBezTo>
                <a:cubicBezTo>
                  <a:pt x="4937" y="3500"/>
                  <a:pt x="4937" y="3531"/>
                  <a:pt x="4906" y="3594"/>
                </a:cubicBezTo>
                <a:cubicBezTo>
                  <a:pt x="4906" y="3625"/>
                  <a:pt x="4906" y="3656"/>
                  <a:pt x="4875" y="3687"/>
                </a:cubicBezTo>
                <a:cubicBezTo>
                  <a:pt x="4875" y="3750"/>
                  <a:pt x="4875" y="3781"/>
                  <a:pt x="4906" y="3750"/>
                </a:cubicBezTo>
                <a:cubicBezTo>
                  <a:pt x="5125" y="3719"/>
                  <a:pt x="5000" y="3844"/>
                  <a:pt x="4969" y="3875"/>
                </a:cubicBezTo>
                <a:cubicBezTo>
                  <a:pt x="4875" y="4062"/>
                  <a:pt x="4750" y="4219"/>
                  <a:pt x="4625" y="4406"/>
                </a:cubicBezTo>
                <a:cubicBezTo>
                  <a:pt x="4500" y="4594"/>
                  <a:pt x="4437" y="4781"/>
                  <a:pt x="4375" y="5000"/>
                </a:cubicBezTo>
                <a:cubicBezTo>
                  <a:pt x="4344" y="5062"/>
                  <a:pt x="4344" y="5156"/>
                  <a:pt x="4375" y="5219"/>
                </a:cubicBezTo>
                <a:cubicBezTo>
                  <a:pt x="4406" y="5281"/>
                  <a:pt x="4469" y="5219"/>
                  <a:pt x="4531" y="5219"/>
                </a:cubicBezTo>
                <a:cubicBezTo>
                  <a:pt x="4625" y="5219"/>
                  <a:pt x="4656" y="5219"/>
                  <a:pt x="4625" y="5312"/>
                </a:cubicBezTo>
                <a:cubicBezTo>
                  <a:pt x="4625" y="5406"/>
                  <a:pt x="4594" y="5469"/>
                  <a:pt x="4562" y="5562"/>
                </a:cubicBezTo>
                <a:cubicBezTo>
                  <a:pt x="4562" y="5687"/>
                  <a:pt x="4500" y="5719"/>
                  <a:pt x="4375" y="5687"/>
                </a:cubicBezTo>
                <a:cubicBezTo>
                  <a:pt x="3719" y="5656"/>
                  <a:pt x="3031" y="5625"/>
                  <a:pt x="2344" y="5500"/>
                </a:cubicBezTo>
                <a:cubicBezTo>
                  <a:pt x="2312" y="5500"/>
                  <a:pt x="2281" y="5531"/>
                  <a:pt x="2219" y="5531"/>
                </a:cubicBezTo>
                <a:cubicBezTo>
                  <a:pt x="2125" y="5594"/>
                  <a:pt x="2031" y="5594"/>
                  <a:pt x="1937" y="5500"/>
                </a:cubicBezTo>
                <a:cubicBezTo>
                  <a:pt x="1906" y="5469"/>
                  <a:pt x="1844" y="5469"/>
                  <a:pt x="1812" y="5500"/>
                </a:cubicBezTo>
                <a:cubicBezTo>
                  <a:pt x="1844" y="5562"/>
                  <a:pt x="1937" y="5625"/>
                  <a:pt x="1906" y="5719"/>
                </a:cubicBezTo>
                <a:cubicBezTo>
                  <a:pt x="1844" y="5906"/>
                  <a:pt x="1812" y="6094"/>
                  <a:pt x="1594" y="6125"/>
                </a:cubicBezTo>
                <a:cubicBezTo>
                  <a:pt x="1594" y="6125"/>
                  <a:pt x="1562" y="6156"/>
                  <a:pt x="1531" y="6156"/>
                </a:cubicBezTo>
                <a:cubicBezTo>
                  <a:pt x="1469" y="6219"/>
                  <a:pt x="1469" y="6219"/>
                  <a:pt x="1531" y="6281"/>
                </a:cubicBezTo>
                <a:cubicBezTo>
                  <a:pt x="1656" y="6406"/>
                  <a:pt x="1844" y="6469"/>
                  <a:pt x="1969" y="6594"/>
                </a:cubicBezTo>
                <a:cubicBezTo>
                  <a:pt x="2000" y="6625"/>
                  <a:pt x="2031" y="6656"/>
                  <a:pt x="2031" y="6719"/>
                </a:cubicBezTo>
                <a:cubicBezTo>
                  <a:pt x="2000" y="6781"/>
                  <a:pt x="1937" y="6781"/>
                  <a:pt x="1906" y="6781"/>
                </a:cubicBezTo>
                <a:cubicBezTo>
                  <a:pt x="1875" y="6781"/>
                  <a:pt x="1812" y="6781"/>
                  <a:pt x="1781" y="6781"/>
                </a:cubicBezTo>
                <a:cubicBezTo>
                  <a:pt x="1406" y="6844"/>
                  <a:pt x="1000" y="6844"/>
                  <a:pt x="594" y="6844"/>
                </a:cubicBezTo>
                <a:cubicBezTo>
                  <a:pt x="531" y="6844"/>
                  <a:pt x="437" y="6812"/>
                  <a:pt x="406" y="6875"/>
                </a:cubicBezTo>
                <a:cubicBezTo>
                  <a:pt x="375" y="6937"/>
                  <a:pt x="437" y="6969"/>
                  <a:pt x="469" y="7031"/>
                </a:cubicBezTo>
                <a:cubicBezTo>
                  <a:pt x="500" y="7062"/>
                  <a:pt x="500" y="7094"/>
                  <a:pt x="469" y="7125"/>
                </a:cubicBezTo>
                <a:cubicBezTo>
                  <a:pt x="437" y="7156"/>
                  <a:pt x="406" y="7156"/>
                  <a:pt x="375" y="7125"/>
                </a:cubicBezTo>
                <a:cubicBezTo>
                  <a:pt x="344" y="7062"/>
                  <a:pt x="281" y="7000"/>
                  <a:pt x="219" y="6937"/>
                </a:cubicBezTo>
                <a:cubicBezTo>
                  <a:pt x="156" y="6875"/>
                  <a:pt x="94" y="6906"/>
                  <a:pt x="62" y="6969"/>
                </a:cubicBezTo>
                <a:cubicBezTo>
                  <a:pt x="0" y="7031"/>
                  <a:pt x="0" y="7094"/>
                  <a:pt x="94" y="7125"/>
                </a:cubicBezTo>
                <a:cubicBezTo>
                  <a:pt x="187" y="7156"/>
                  <a:pt x="250" y="7219"/>
                  <a:pt x="344" y="7250"/>
                </a:cubicBezTo>
                <a:cubicBezTo>
                  <a:pt x="781" y="7406"/>
                  <a:pt x="1250" y="7469"/>
                  <a:pt x="1750" y="7531"/>
                </a:cubicBezTo>
                <a:cubicBezTo>
                  <a:pt x="1969" y="7562"/>
                  <a:pt x="2219" y="7562"/>
                  <a:pt x="2469" y="7687"/>
                </a:cubicBezTo>
                <a:cubicBezTo>
                  <a:pt x="2562" y="7750"/>
                  <a:pt x="2625" y="7812"/>
                  <a:pt x="2594" y="7937"/>
                </a:cubicBezTo>
                <a:cubicBezTo>
                  <a:pt x="2594" y="8031"/>
                  <a:pt x="2469" y="8031"/>
                  <a:pt x="2406" y="8062"/>
                </a:cubicBezTo>
                <a:cubicBezTo>
                  <a:pt x="2250" y="8094"/>
                  <a:pt x="2125" y="8094"/>
                  <a:pt x="2000" y="8125"/>
                </a:cubicBezTo>
                <a:cubicBezTo>
                  <a:pt x="1906" y="8156"/>
                  <a:pt x="1937" y="8187"/>
                  <a:pt x="1969" y="8250"/>
                </a:cubicBezTo>
                <a:cubicBezTo>
                  <a:pt x="2031" y="8312"/>
                  <a:pt x="2125" y="8344"/>
                  <a:pt x="2187" y="8375"/>
                </a:cubicBezTo>
                <a:cubicBezTo>
                  <a:pt x="2469" y="8500"/>
                  <a:pt x="2750" y="8594"/>
                  <a:pt x="3062" y="8625"/>
                </a:cubicBezTo>
                <a:cubicBezTo>
                  <a:pt x="3469" y="8719"/>
                  <a:pt x="3875" y="8812"/>
                  <a:pt x="4312" y="8875"/>
                </a:cubicBezTo>
                <a:cubicBezTo>
                  <a:pt x="4875" y="8969"/>
                  <a:pt x="5437" y="9031"/>
                  <a:pt x="6031" y="9125"/>
                </a:cubicBezTo>
                <a:cubicBezTo>
                  <a:pt x="6687" y="9187"/>
                  <a:pt x="7344" y="9250"/>
                  <a:pt x="8000" y="9312"/>
                </a:cubicBezTo>
                <a:cubicBezTo>
                  <a:pt x="8125" y="9344"/>
                  <a:pt x="8250" y="9344"/>
                  <a:pt x="8406" y="9375"/>
                </a:cubicBezTo>
                <a:cubicBezTo>
                  <a:pt x="8312" y="9437"/>
                  <a:pt x="8250" y="9500"/>
                  <a:pt x="8187" y="9562"/>
                </a:cubicBezTo>
                <a:cubicBezTo>
                  <a:pt x="8125" y="9625"/>
                  <a:pt x="8125" y="9656"/>
                  <a:pt x="8219" y="9687"/>
                </a:cubicBezTo>
                <a:cubicBezTo>
                  <a:pt x="8312" y="9750"/>
                  <a:pt x="8469" y="9781"/>
                  <a:pt x="8594" y="9844"/>
                </a:cubicBezTo>
                <a:cubicBezTo>
                  <a:pt x="8625" y="9844"/>
                  <a:pt x="8656" y="9844"/>
                  <a:pt x="8687" y="9875"/>
                </a:cubicBezTo>
                <a:cubicBezTo>
                  <a:pt x="8781" y="9875"/>
                  <a:pt x="8875" y="9906"/>
                  <a:pt x="8937" y="10000"/>
                </a:cubicBezTo>
                <a:cubicBezTo>
                  <a:pt x="8937" y="10000"/>
                  <a:pt x="8937" y="10000"/>
                  <a:pt x="8937" y="10000"/>
                </a:cubicBezTo>
                <a:cubicBezTo>
                  <a:pt x="8906" y="10031"/>
                  <a:pt x="8844" y="10062"/>
                  <a:pt x="8812" y="10094"/>
                </a:cubicBezTo>
                <a:cubicBezTo>
                  <a:pt x="8781" y="10094"/>
                  <a:pt x="8781" y="10094"/>
                  <a:pt x="8781" y="10094"/>
                </a:cubicBezTo>
                <a:cubicBezTo>
                  <a:pt x="8750" y="10125"/>
                  <a:pt x="8719" y="10125"/>
                  <a:pt x="8687" y="10125"/>
                </a:cubicBezTo>
                <a:cubicBezTo>
                  <a:pt x="8687" y="10125"/>
                  <a:pt x="8656" y="10156"/>
                  <a:pt x="8656" y="10156"/>
                </a:cubicBezTo>
                <a:cubicBezTo>
                  <a:pt x="8437" y="10219"/>
                  <a:pt x="8219" y="10281"/>
                  <a:pt x="8000" y="10344"/>
                </a:cubicBezTo>
                <a:cubicBezTo>
                  <a:pt x="7719" y="10437"/>
                  <a:pt x="7437" y="10531"/>
                  <a:pt x="7156" y="10625"/>
                </a:cubicBezTo>
                <a:cubicBezTo>
                  <a:pt x="7000" y="10687"/>
                  <a:pt x="6844" y="10750"/>
                  <a:pt x="6719" y="10844"/>
                </a:cubicBezTo>
                <a:cubicBezTo>
                  <a:pt x="6656" y="10937"/>
                  <a:pt x="6656" y="11000"/>
                  <a:pt x="6750" y="11031"/>
                </a:cubicBezTo>
                <a:cubicBezTo>
                  <a:pt x="6875" y="11094"/>
                  <a:pt x="7000" y="11094"/>
                  <a:pt x="7156" y="11125"/>
                </a:cubicBezTo>
                <a:cubicBezTo>
                  <a:pt x="7844" y="11156"/>
                  <a:pt x="8531" y="11031"/>
                  <a:pt x="9219" y="10937"/>
                </a:cubicBezTo>
                <a:cubicBezTo>
                  <a:pt x="9406" y="10906"/>
                  <a:pt x="9625" y="10875"/>
                  <a:pt x="9812" y="10969"/>
                </a:cubicBezTo>
                <a:cubicBezTo>
                  <a:pt x="9906" y="11000"/>
                  <a:pt x="9969" y="11062"/>
                  <a:pt x="10000" y="11125"/>
                </a:cubicBezTo>
                <a:cubicBezTo>
                  <a:pt x="10000" y="11219"/>
                  <a:pt x="9937" y="11281"/>
                  <a:pt x="9875" y="11312"/>
                </a:cubicBezTo>
                <a:cubicBezTo>
                  <a:pt x="9844" y="11312"/>
                  <a:pt x="9781" y="11344"/>
                  <a:pt x="9750" y="11375"/>
                </a:cubicBezTo>
                <a:cubicBezTo>
                  <a:pt x="9781" y="11437"/>
                  <a:pt x="9906" y="11375"/>
                  <a:pt x="9875" y="11469"/>
                </a:cubicBezTo>
                <a:cubicBezTo>
                  <a:pt x="9812" y="11594"/>
                  <a:pt x="9906" y="11594"/>
                  <a:pt x="9969" y="11594"/>
                </a:cubicBezTo>
                <a:cubicBezTo>
                  <a:pt x="10062" y="11594"/>
                  <a:pt x="10156" y="11594"/>
                  <a:pt x="10219" y="11594"/>
                </a:cubicBezTo>
                <a:cubicBezTo>
                  <a:pt x="10250" y="11594"/>
                  <a:pt x="10312" y="11594"/>
                  <a:pt x="10312" y="11656"/>
                </a:cubicBezTo>
                <a:cubicBezTo>
                  <a:pt x="10344" y="11719"/>
                  <a:pt x="10406" y="11750"/>
                  <a:pt x="10500" y="11750"/>
                </a:cubicBezTo>
                <a:cubicBezTo>
                  <a:pt x="10812" y="11750"/>
                  <a:pt x="11125" y="11750"/>
                  <a:pt x="11469" y="11719"/>
                </a:cubicBezTo>
                <a:cubicBezTo>
                  <a:pt x="11844" y="11656"/>
                  <a:pt x="12250" y="11656"/>
                  <a:pt x="12656" y="11594"/>
                </a:cubicBezTo>
                <a:cubicBezTo>
                  <a:pt x="13156" y="11531"/>
                  <a:pt x="13625" y="11469"/>
                  <a:pt x="14125" y="11406"/>
                </a:cubicBezTo>
                <a:cubicBezTo>
                  <a:pt x="14531" y="11344"/>
                  <a:pt x="14937" y="11281"/>
                  <a:pt x="15375" y="11187"/>
                </a:cubicBezTo>
                <a:cubicBezTo>
                  <a:pt x="15406" y="11187"/>
                  <a:pt x="15469" y="11187"/>
                  <a:pt x="15500" y="11156"/>
                </a:cubicBezTo>
                <a:cubicBezTo>
                  <a:pt x="15625" y="11156"/>
                  <a:pt x="15781" y="11125"/>
                  <a:pt x="15906" y="11062"/>
                </a:cubicBezTo>
                <a:cubicBezTo>
                  <a:pt x="15969" y="11094"/>
                  <a:pt x="16031" y="11062"/>
                  <a:pt x="16094" y="11094"/>
                </a:cubicBezTo>
                <a:cubicBezTo>
                  <a:pt x="16125" y="11094"/>
                  <a:pt x="16156" y="11094"/>
                  <a:pt x="16187" y="11094"/>
                </a:cubicBezTo>
                <a:cubicBezTo>
                  <a:pt x="15812" y="11187"/>
                  <a:pt x="15469" y="11219"/>
                  <a:pt x="15125" y="11344"/>
                </a:cubicBezTo>
                <a:cubicBezTo>
                  <a:pt x="15281" y="11344"/>
                  <a:pt x="15437" y="11312"/>
                  <a:pt x="15562" y="11344"/>
                </a:cubicBezTo>
                <a:cubicBezTo>
                  <a:pt x="15750" y="11406"/>
                  <a:pt x="15906" y="11344"/>
                  <a:pt x="16062" y="11375"/>
                </a:cubicBezTo>
                <a:cubicBezTo>
                  <a:pt x="16219" y="11375"/>
                  <a:pt x="16375" y="11375"/>
                  <a:pt x="16531" y="11375"/>
                </a:cubicBezTo>
                <a:cubicBezTo>
                  <a:pt x="16562" y="11375"/>
                  <a:pt x="16594" y="11344"/>
                  <a:pt x="16594" y="11406"/>
                </a:cubicBezTo>
                <a:cubicBezTo>
                  <a:pt x="16594" y="11437"/>
                  <a:pt x="16562" y="11437"/>
                  <a:pt x="16531" y="11437"/>
                </a:cubicBezTo>
                <a:cubicBezTo>
                  <a:pt x="16406" y="11469"/>
                  <a:pt x="16312" y="11500"/>
                  <a:pt x="16187" y="11531"/>
                </a:cubicBezTo>
                <a:cubicBezTo>
                  <a:pt x="15969" y="11562"/>
                  <a:pt x="15719" y="11625"/>
                  <a:pt x="15500" y="11687"/>
                </a:cubicBezTo>
                <a:cubicBezTo>
                  <a:pt x="15625" y="11687"/>
                  <a:pt x="15750" y="11781"/>
                  <a:pt x="15875" y="11750"/>
                </a:cubicBezTo>
                <a:cubicBezTo>
                  <a:pt x="16187" y="11750"/>
                  <a:pt x="16469" y="11812"/>
                  <a:pt x="16750" y="11937"/>
                </a:cubicBezTo>
                <a:cubicBezTo>
                  <a:pt x="16812" y="11937"/>
                  <a:pt x="16844" y="11969"/>
                  <a:pt x="16844" y="12000"/>
                </a:cubicBezTo>
                <a:cubicBezTo>
                  <a:pt x="16844" y="12062"/>
                  <a:pt x="16812" y="12062"/>
                  <a:pt x="16750" y="12094"/>
                </a:cubicBezTo>
                <a:cubicBezTo>
                  <a:pt x="16500" y="12219"/>
                  <a:pt x="16187" y="12250"/>
                  <a:pt x="15906" y="12375"/>
                </a:cubicBezTo>
                <a:cubicBezTo>
                  <a:pt x="15750" y="12406"/>
                  <a:pt x="15594" y="12437"/>
                  <a:pt x="15469" y="12500"/>
                </a:cubicBezTo>
                <a:cubicBezTo>
                  <a:pt x="15375" y="12531"/>
                  <a:pt x="15250" y="12500"/>
                  <a:pt x="15250" y="12656"/>
                </a:cubicBezTo>
                <a:cubicBezTo>
                  <a:pt x="15437" y="12687"/>
                  <a:pt x="15656" y="12656"/>
                  <a:pt x="15844" y="12750"/>
                </a:cubicBezTo>
                <a:cubicBezTo>
                  <a:pt x="15812" y="12750"/>
                  <a:pt x="15781" y="12750"/>
                  <a:pt x="15781" y="12750"/>
                </a:cubicBezTo>
                <a:cubicBezTo>
                  <a:pt x="15594" y="12812"/>
                  <a:pt x="15406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781"/>
                  <a:pt x="15250" y="12781"/>
                  <a:pt x="15250" y="12781"/>
                </a:cubicBezTo>
                <a:cubicBezTo>
                  <a:pt x="15250" y="12812"/>
                  <a:pt x="15312" y="12781"/>
                  <a:pt x="15344" y="12812"/>
                </a:cubicBezTo>
                <a:cubicBezTo>
                  <a:pt x="15344" y="12812"/>
                  <a:pt x="15344" y="12812"/>
                  <a:pt x="15344" y="12844"/>
                </a:cubicBezTo>
                <a:cubicBezTo>
                  <a:pt x="15312" y="12844"/>
                  <a:pt x="15250" y="12906"/>
                  <a:pt x="15187" y="12906"/>
                </a:cubicBezTo>
                <a:cubicBezTo>
                  <a:pt x="15094" y="12875"/>
                  <a:pt x="15031" y="12937"/>
                  <a:pt x="14937" y="12937"/>
                </a:cubicBezTo>
                <a:cubicBezTo>
                  <a:pt x="15000" y="12937"/>
                  <a:pt x="15094" y="12969"/>
                  <a:pt x="15187" y="12969"/>
                </a:cubicBezTo>
                <a:cubicBezTo>
                  <a:pt x="15656" y="12906"/>
                  <a:pt x="16156" y="12844"/>
                  <a:pt x="16625" y="12781"/>
                </a:cubicBezTo>
                <a:cubicBezTo>
                  <a:pt x="16719" y="12781"/>
                  <a:pt x="16781" y="12844"/>
                  <a:pt x="16875" y="12844"/>
                </a:cubicBezTo>
                <a:cubicBezTo>
                  <a:pt x="17031" y="12812"/>
                  <a:pt x="17219" y="12812"/>
                  <a:pt x="17375" y="12781"/>
                </a:cubicBezTo>
                <a:cubicBezTo>
                  <a:pt x="17437" y="12781"/>
                  <a:pt x="17531" y="12781"/>
                  <a:pt x="17562" y="12875"/>
                </a:cubicBezTo>
                <a:cubicBezTo>
                  <a:pt x="17594" y="12969"/>
                  <a:pt x="17531" y="13000"/>
                  <a:pt x="17437" y="13031"/>
                </a:cubicBezTo>
                <a:cubicBezTo>
                  <a:pt x="17312" y="13094"/>
                  <a:pt x="17187" y="13156"/>
                  <a:pt x="17062" y="13219"/>
                </a:cubicBezTo>
                <a:cubicBezTo>
                  <a:pt x="17031" y="13219"/>
                  <a:pt x="17000" y="13250"/>
                  <a:pt x="17000" y="13281"/>
                </a:cubicBezTo>
                <a:cubicBezTo>
                  <a:pt x="17000" y="13344"/>
                  <a:pt x="17031" y="13344"/>
                  <a:pt x="17062" y="13375"/>
                </a:cubicBezTo>
                <a:cubicBezTo>
                  <a:pt x="17250" y="13406"/>
                  <a:pt x="17437" y="13469"/>
                  <a:pt x="17656" y="13437"/>
                </a:cubicBezTo>
                <a:cubicBezTo>
                  <a:pt x="18031" y="13437"/>
                  <a:pt x="18406" y="13406"/>
                  <a:pt x="18781" y="13375"/>
                </a:cubicBezTo>
                <a:cubicBezTo>
                  <a:pt x="19250" y="13312"/>
                  <a:pt x="19719" y="13250"/>
                  <a:pt x="20156" y="13219"/>
                </a:cubicBezTo>
                <a:cubicBezTo>
                  <a:pt x="20562" y="13156"/>
                  <a:pt x="21000" y="13094"/>
                  <a:pt x="21406" y="13031"/>
                </a:cubicBezTo>
                <a:cubicBezTo>
                  <a:pt x="21656" y="13000"/>
                  <a:pt x="21937" y="12969"/>
                  <a:pt x="22187" y="12875"/>
                </a:cubicBezTo>
                <a:cubicBezTo>
                  <a:pt x="22437" y="12875"/>
                  <a:pt x="22656" y="12812"/>
                  <a:pt x="22906" y="12781"/>
                </a:cubicBezTo>
                <a:cubicBezTo>
                  <a:pt x="23344" y="12687"/>
                  <a:pt x="23812" y="12594"/>
                  <a:pt x="24250" y="12500"/>
                </a:cubicBezTo>
                <a:cubicBezTo>
                  <a:pt x="24750" y="12375"/>
                  <a:pt x="25250" y="12250"/>
                  <a:pt x="25750" y="12094"/>
                </a:cubicBezTo>
                <a:cubicBezTo>
                  <a:pt x="25969" y="12031"/>
                  <a:pt x="26187" y="12000"/>
                  <a:pt x="26406" y="11937"/>
                </a:cubicBezTo>
                <a:cubicBezTo>
                  <a:pt x="26594" y="11875"/>
                  <a:pt x="26781" y="11781"/>
                  <a:pt x="26969" y="11719"/>
                </a:cubicBezTo>
                <a:cubicBezTo>
                  <a:pt x="27094" y="11719"/>
                  <a:pt x="27094" y="11719"/>
                  <a:pt x="27156" y="11844"/>
                </a:cubicBezTo>
                <a:cubicBezTo>
                  <a:pt x="27187" y="11844"/>
                  <a:pt x="27187" y="11844"/>
                  <a:pt x="27187" y="11875"/>
                </a:cubicBezTo>
                <a:cubicBezTo>
                  <a:pt x="27156" y="11875"/>
                  <a:pt x="27156" y="11875"/>
                  <a:pt x="27156" y="11875"/>
                </a:cubicBezTo>
                <a:cubicBezTo>
                  <a:pt x="27062" y="11906"/>
                  <a:pt x="27000" y="11969"/>
                  <a:pt x="26906" y="12000"/>
                </a:cubicBezTo>
                <a:cubicBezTo>
                  <a:pt x="26719" y="12094"/>
                  <a:pt x="26562" y="12187"/>
                  <a:pt x="26375" y="12281"/>
                </a:cubicBezTo>
                <a:cubicBezTo>
                  <a:pt x="26281" y="12312"/>
                  <a:pt x="26187" y="12406"/>
                  <a:pt x="26094" y="12437"/>
                </a:cubicBezTo>
                <a:cubicBezTo>
                  <a:pt x="26062" y="12500"/>
                  <a:pt x="26031" y="12531"/>
                  <a:pt x="26094" y="12562"/>
                </a:cubicBezTo>
                <a:cubicBezTo>
                  <a:pt x="26219" y="12625"/>
                  <a:pt x="26156" y="12656"/>
                  <a:pt x="26094" y="12687"/>
                </a:cubicBezTo>
                <a:cubicBezTo>
                  <a:pt x="26000" y="12750"/>
                  <a:pt x="25937" y="12781"/>
                  <a:pt x="25844" y="12844"/>
                </a:cubicBezTo>
                <a:cubicBezTo>
                  <a:pt x="25781" y="12875"/>
                  <a:pt x="25625" y="12875"/>
                  <a:pt x="25656" y="13000"/>
                </a:cubicBezTo>
                <a:cubicBezTo>
                  <a:pt x="25687" y="13094"/>
                  <a:pt x="25844" y="13062"/>
                  <a:pt x="25937" y="13031"/>
                </a:cubicBezTo>
                <a:cubicBezTo>
                  <a:pt x="25969" y="13031"/>
                  <a:pt x="26000" y="13000"/>
                  <a:pt x="26031" y="13000"/>
                </a:cubicBezTo>
                <a:cubicBezTo>
                  <a:pt x="26312" y="12937"/>
                  <a:pt x="26562" y="12875"/>
                  <a:pt x="26844" y="12812"/>
                </a:cubicBezTo>
                <a:cubicBezTo>
                  <a:pt x="26937" y="12781"/>
                  <a:pt x="27000" y="12750"/>
                  <a:pt x="27125" y="12750"/>
                </a:cubicBezTo>
                <a:cubicBezTo>
                  <a:pt x="27156" y="12719"/>
                  <a:pt x="27187" y="12719"/>
                  <a:pt x="27219" y="12719"/>
                </a:cubicBezTo>
                <a:cubicBezTo>
                  <a:pt x="27125" y="12875"/>
                  <a:pt x="26969" y="12937"/>
                  <a:pt x="26812" y="13000"/>
                </a:cubicBezTo>
                <a:cubicBezTo>
                  <a:pt x="26719" y="13031"/>
                  <a:pt x="26687" y="13125"/>
                  <a:pt x="26625" y="13187"/>
                </a:cubicBezTo>
                <a:cubicBezTo>
                  <a:pt x="26625" y="13187"/>
                  <a:pt x="26594" y="13219"/>
                  <a:pt x="26625" y="13250"/>
                </a:cubicBezTo>
                <a:cubicBezTo>
                  <a:pt x="26625" y="13281"/>
                  <a:pt x="26656" y="13250"/>
                  <a:pt x="26687" y="13250"/>
                </a:cubicBezTo>
                <a:cubicBezTo>
                  <a:pt x="26781" y="13219"/>
                  <a:pt x="26875" y="13219"/>
                  <a:pt x="26969" y="13156"/>
                </a:cubicBezTo>
                <a:cubicBezTo>
                  <a:pt x="27031" y="13125"/>
                  <a:pt x="27094" y="13094"/>
                  <a:pt x="27156" y="13125"/>
                </a:cubicBezTo>
                <a:cubicBezTo>
                  <a:pt x="27250" y="13156"/>
                  <a:pt x="27312" y="13156"/>
                  <a:pt x="27375" y="13125"/>
                </a:cubicBezTo>
                <a:cubicBezTo>
                  <a:pt x="27594" y="13000"/>
                  <a:pt x="27812" y="12875"/>
                  <a:pt x="28000" y="12750"/>
                </a:cubicBezTo>
                <a:cubicBezTo>
                  <a:pt x="28250" y="12594"/>
                  <a:pt x="28500" y="12437"/>
                  <a:pt x="28750" y="12281"/>
                </a:cubicBezTo>
                <a:cubicBezTo>
                  <a:pt x="29219" y="12000"/>
                  <a:pt x="29625" y="11687"/>
                  <a:pt x="30062" y="11406"/>
                </a:cubicBezTo>
                <a:cubicBezTo>
                  <a:pt x="30437" y="11125"/>
                  <a:pt x="30781" y="10781"/>
                  <a:pt x="31125" y="10469"/>
                </a:cubicBezTo>
                <a:cubicBezTo>
                  <a:pt x="31594" y="10031"/>
                  <a:pt x="32062" y="9594"/>
                  <a:pt x="32406" y="9031"/>
                </a:cubicBezTo>
                <a:cubicBezTo>
                  <a:pt x="32406" y="9031"/>
                  <a:pt x="32406" y="9031"/>
                  <a:pt x="32406" y="9000"/>
                </a:cubicBezTo>
                <a:cubicBezTo>
                  <a:pt x="32406" y="9000"/>
                  <a:pt x="32406" y="9000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37" y="8969"/>
                  <a:pt x="32437" y="8969"/>
                </a:cubicBezTo>
                <a:cubicBezTo>
                  <a:pt x="32437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406" y="8969"/>
                  <a:pt x="32406" y="8969"/>
                  <a:pt x="32406" y="8969"/>
                </a:cubicBezTo>
                <a:cubicBezTo>
                  <a:pt x="32344" y="9000"/>
                  <a:pt x="32281" y="9031"/>
                  <a:pt x="32219" y="9094"/>
                </a:cubicBezTo>
                <a:cubicBezTo>
                  <a:pt x="32094" y="9156"/>
                  <a:pt x="32031" y="9250"/>
                  <a:pt x="31906" y="9312"/>
                </a:cubicBezTo>
                <a:cubicBezTo>
                  <a:pt x="31875" y="9312"/>
                  <a:pt x="31844" y="9344"/>
                  <a:pt x="31812" y="9312"/>
                </a:cubicBezTo>
                <a:cubicBezTo>
                  <a:pt x="31781" y="9312"/>
                  <a:pt x="31812" y="9281"/>
                  <a:pt x="31812" y="9250"/>
                </a:cubicBezTo>
                <a:cubicBezTo>
                  <a:pt x="31812" y="9187"/>
                  <a:pt x="31844" y="9156"/>
                  <a:pt x="31844" y="9156"/>
                </a:cubicBezTo>
                <a:cubicBezTo>
                  <a:pt x="31969" y="8969"/>
                  <a:pt x="32156" y="8844"/>
                  <a:pt x="32312" y="8719"/>
                </a:cubicBezTo>
                <a:cubicBezTo>
                  <a:pt x="32406" y="8625"/>
                  <a:pt x="32469" y="8562"/>
                  <a:pt x="32531" y="8469"/>
                </a:cubicBezTo>
                <a:cubicBezTo>
                  <a:pt x="32437" y="8531"/>
                  <a:pt x="32344" y="8656"/>
                  <a:pt x="32281" y="8625"/>
                </a:cubicBezTo>
                <a:cubicBezTo>
                  <a:pt x="32125" y="8594"/>
                  <a:pt x="32062" y="8687"/>
                  <a:pt x="32000" y="8719"/>
                </a:cubicBezTo>
                <a:cubicBezTo>
                  <a:pt x="31875" y="8812"/>
                  <a:pt x="31750" y="8906"/>
                  <a:pt x="31625" y="9000"/>
                </a:cubicBezTo>
                <a:cubicBezTo>
                  <a:pt x="31562" y="9031"/>
                  <a:pt x="31531" y="9125"/>
                  <a:pt x="31406" y="9125"/>
                </a:cubicBezTo>
                <a:cubicBezTo>
                  <a:pt x="31437" y="9094"/>
                  <a:pt x="31437" y="9062"/>
                  <a:pt x="31437" y="9062"/>
                </a:cubicBezTo>
                <a:cubicBezTo>
                  <a:pt x="31437" y="9031"/>
                  <a:pt x="31469" y="8969"/>
                  <a:pt x="31437" y="8969"/>
                </a:cubicBezTo>
                <a:cubicBezTo>
                  <a:pt x="31406" y="8937"/>
                  <a:pt x="31375" y="8969"/>
                  <a:pt x="31344" y="9000"/>
                </a:cubicBezTo>
                <a:cubicBezTo>
                  <a:pt x="31281" y="9031"/>
                  <a:pt x="31219" y="9094"/>
                  <a:pt x="31156" y="9156"/>
                </a:cubicBezTo>
                <a:cubicBezTo>
                  <a:pt x="31000" y="9250"/>
                  <a:pt x="30875" y="9406"/>
                  <a:pt x="30687" y="9406"/>
                </a:cubicBezTo>
                <a:cubicBezTo>
                  <a:pt x="30531" y="9406"/>
                  <a:pt x="30437" y="9469"/>
                  <a:pt x="30312" y="9531"/>
                </a:cubicBezTo>
                <a:cubicBezTo>
                  <a:pt x="30250" y="9562"/>
                  <a:pt x="30187" y="9625"/>
                  <a:pt x="30125" y="9656"/>
                </a:cubicBezTo>
                <a:cubicBezTo>
                  <a:pt x="30062" y="9687"/>
                  <a:pt x="30031" y="9750"/>
                  <a:pt x="29969" y="9719"/>
                </a:cubicBezTo>
                <a:cubicBezTo>
                  <a:pt x="29937" y="9656"/>
                  <a:pt x="29969" y="9594"/>
                  <a:pt x="29969" y="9531"/>
                </a:cubicBezTo>
                <a:cubicBezTo>
                  <a:pt x="30062" y="9312"/>
                  <a:pt x="30094" y="9062"/>
                  <a:pt x="29969" y="8812"/>
                </a:cubicBezTo>
                <a:cubicBezTo>
                  <a:pt x="29937" y="8719"/>
                  <a:pt x="29969" y="8687"/>
                  <a:pt x="30062" y="8656"/>
                </a:cubicBezTo>
                <a:cubicBezTo>
                  <a:pt x="30219" y="8625"/>
                  <a:pt x="30406" y="8562"/>
                  <a:pt x="30594" y="8500"/>
                </a:cubicBezTo>
                <a:cubicBezTo>
                  <a:pt x="30875" y="8437"/>
                  <a:pt x="31125" y="8344"/>
                  <a:pt x="31375" y="8219"/>
                </a:cubicBezTo>
                <a:cubicBezTo>
                  <a:pt x="31875" y="8031"/>
                  <a:pt x="32375" y="7812"/>
                  <a:pt x="32844" y="7531"/>
                </a:cubicBezTo>
                <a:cubicBezTo>
                  <a:pt x="33437" y="7219"/>
                  <a:pt x="34000" y="6844"/>
                  <a:pt x="34531" y="6437"/>
                </a:cubicBezTo>
                <a:cubicBezTo>
                  <a:pt x="34969" y="6125"/>
                  <a:pt x="35406" y="5812"/>
                  <a:pt x="35781" y="5406"/>
                </a:cubicBezTo>
                <a:cubicBezTo>
                  <a:pt x="35969" y="5219"/>
                  <a:pt x="36125" y="5000"/>
                  <a:pt x="36281" y="4812"/>
                </a:cubicBezTo>
                <a:cubicBezTo>
                  <a:pt x="36281" y="4781"/>
                  <a:pt x="36437" y="4656"/>
                  <a:pt x="36250" y="4656"/>
                </a:cubicBezTo>
                <a:cubicBezTo>
                  <a:pt x="36219" y="4656"/>
                  <a:pt x="36219" y="4594"/>
                  <a:pt x="36250" y="4594"/>
                </a:cubicBezTo>
                <a:cubicBezTo>
                  <a:pt x="36375" y="4437"/>
                  <a:pt x="36344" y="4187"/>
                  <a:pt x="36531" y="4062"/>
                </a:cubicBezTo>
                <a:cubicBezTo>
                  <a:pt x="36531" y="4031"/>
                  <a:pt x="36562" y="4000"/>
                  <a:pt x="36531" y="3969"/>
                </a:cubicBezTo>
                <a:cubicBezTo>
                  <a:pt x="36531" y="3937"/>
                  <a:pt x="36500" y="3969"/>
                  <a:pt x="36469" y="3969"/>
                </a:cubicBezTo>
                <a:cubicBezTo>
                  <a:pt x="36312" y="4062"/>
                  <a:pt x="36156" y="4156"/>
                  <a:pt x="36031" y="4219"/>
                </a:cubicBezTo>
                <a:cubicBezTo>
                  <a:pt x="36000" y="4250"/>
                  <a:pt x="35969" y="4250"/>
                  <a:pt x="35937" y="4250"/>
                </a:cubicBezTo>
                <a:cubicBezTo>
                  <a:pt x="35906" y="4219"/>
                  <a:pt x="35969" y="4187"/>
                  <a:pt x="35969" y="4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9D9DA03-1895-844A-96ED-E35566767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8334ED0-4CE5-594E-8240-33F5F9BCDB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8C65541-C9AA-6244-9E24-C762A3F788A9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5C0EC5D6-D7F4-8445-8618-B7357491BB2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455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9">
            <a:extLst>
              <a:ext uri="{FF2B5EF4-FFF2-40B4-BE49-F238E27FC236}">
                <a16:creationId xmlns:a16="http://schemas.microsoft.com/office/drawing/2014/main" id="{F0D06142-3BDE-C941-9806-01F67EB8077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auto">
          <a:xfrm>
            <a:off x="888331" y="1458194"/>
            <a:ext cx="22898544" cy="6696744"/>
          </a:xfrm>
          <a:custGeom>
            <a:avLst/>
            <a:gdLst>
              <a:gd name="T0" fmla="*/ 31188 w 36219"/>
              <a:gd name="T1" fmla="*/ 8312 h 14562"/>
              <a:gd name="T2" fmla="*/ 31813 w 36219"/>
              <a:gd name="T3" fmla="*/ 7281 h 14562"/>
              <a:gd name="T4" fmla="*/ 30781 w 36219"/>
              <a:gd name="T5" fmla="*/ 6719 h 14562"/>
              <a:gd name="T6" fmla="*/ 32563 w 36219"/>
              <a:gd name="T7" fmla="*/ 6531 h 14562"/>
              <a:gd name="T8" fmla="*/ 32594 w 36219"/>
              <a:gd name="T9" fmla="*/ 5937 h 14562"/>
              <a:gd name="T10" fmla="*/ 30031 w 36219"/>
              <a:gd name="T11" fmla="*/ 5656 h 14562"/>
              <a:gd name="T12" fmla="*/ 30375 w 36219"/>
              <a:gd name="T13" fmla="*/ 4844 h 14562"/>
              <a:gd name="T14" fmla="*/ 29906 w 36219"/>
              <a:gd name="T15" fmla="*/ 2750 h 14562"/>
              <a:gd name="T16" fmla="*/ 27281 w 36219"/>
              <a:gd name="T17" fmla="*/ 1594 h 14562"/>
              <a:gd name="T18" fmla="*/ 27156 w 36219"/>
              <a:gd name="T19" fmla="*/ 1250 h 14562"/>
              <a:gd name="T20" fmla="*/ 26531 w 36219"/>
              <a:gd name="T21" fmla="*/ 219 h 14562"/>
              <a:gd name="T22" fmla="*/ 21156 w 36219"/>
              <a:gd name="T23" fmla="*/ 62 h 14562"/>
              <a:gd name="T24" fmla="*/ 9563 w 36219"/>
              <a:gd name="T25" fmla="*/ 687 h 14562"/>
              <a:gd name="T26" fmla="*/ 7219 w 36219"/>
              <a:gd name="T27" fmla="*/ 2625 h 14562"/>
              <a:gd name="T28" fmla="*/ 7813 w 36219"/>
              <a:gd name="T29" fmla="*/ 3344 h 14562"/>
              <a:gd name="T30" fmla="*/ 9563 w 36219"/>
              <a:gd name="T31" fmla="*/ 3844 h 14562"/>
              <a:gd name="T32" fmla="*/ 7031 w 36219"/>
              <a:gd name="T33" fmla="*/ 4031 h 14562"/>
              <a:gd name="T34" fmla="*/ 3094 w 36219"/>
              <a:gd name="T35" fmla="*/ 4344 h 14562"/>
              <a:gd name="T36" fmla="*/ 94 w 36219"/>
              <a:gd name="T37" fmla="*/ 4594 h 14562"/>
              <a:gd name="T38" fmla="*/ 1906 w 36219"/>
              <a:gd name="T39" fmla="*/ 5875 h 14562"/>
              <a:gd name="T40" fmla="*/ 6125 w 36219"/>
              <a:gd name="T41" fmla="*/ 6750 h 14562"/>
              <a:gd name="T42" fmla="*/ 4438 w 36219"/>
              <a:gd name="T43" fmla="*/ 7406 h 14562"/>
              <a:gd name="T44" fmla="*/ 4219 w 36219"/>
              <a:gd name="T45" fmla="*/ 8125 h 14562"/>
              <a:gd name="T46" fmla="*/ 4438 w 36219"/>
              <a:gd name="T47" fmla="*/ 8375 h 14562"/>
              <a:gd name="T48" fmla="*/ 3719 w 36219"/>
              <a:gd name="T49" fmla="*/ 8687 h 14562"/>
              <a:gd name="T50" fmla="*/ 4375 w 36219"/>
              <a:gd name="T51" fmla="*/ 9281 h 14562"/>
              <a:gd name="T52" fmla="*/ 4875 w 36219"/>
              <a:gd name="T53" fmla="*/ 9406 h 14562"/>
              <a:gd name="T54" fmla="*/ 6531 w 36219"/>
              <a:gd name="T55" fmla="*/ 9906 h 14562"/>
              <a:gd name="T56" fmla="*/ 7500 w 36219"/>
              <a:gd name="T57" fmla="*/ 10969 h 14562"/>
              <a:gd name="T58" fmla="*/ 9813 w 36219"/>
              <a:gd name="T59" fmla="*/ 11656 h 14562"/>
              <a:gd name="T60" fmla="*/ 12531 w 36219"/>
              <a:gd name="T61" fmla="*/ 11687 h 14562"/>
              <a:gd name="T62" fmla="*/ 13531 w 36219"/>
              <a:gd name="T63" fmla="*/ 12875 h 14562"/>
              <a:gd name="T64" fmla="*/ 15375 w 36219"/>
              <a:gd name="T65" fmla="*/ 13469 h 14562"/>
              <a:gd name="T66" fmla="*/ 16000 w 36219"/>
              <a:gd name="T67" fmla="*/ 14062 h 14562"/>
              <a:gd name="T68" fmla="*/ 14438 w 36219"/>
              <a:gd name="T69" fmla="*/ 14500 h 14562"/>
              <a:gd name="T70" fmla="*/ 14438 w 36219"/>
              <a:gd name="T71" fmla="*/ 14531 h 14562"/>
              <a:gd name="T72" fmla="*/ 17656 w 36219"/>
              <a:gd name="T73" fmla="*/ 13937 h 14562"/>
              <a:gd name="T74" fmla="*/ 19156 w 36219"/>
              <a:gd name="T75" fmla="*/ 13656 h 14562"/>
              <a:gd name="T76" fmla="*/ 20969 w 36219"/>
              <a:gd name="T77" fmla="*/ 13781 h 14562"/>
              <a:gd name="T78" fmla="*/ 26781 w 36219"/>
              <a:gd name="T79" fmla="*/ 13219 h 14562"/>
              <a:gd name="T80" fmla="*/ 27938 w 36219"/>
              <a:gd name="T81" fmla="*/ 13250 h 14562"/>
              <a:gd name="T82" fmla="*/ 29531 w 36219"/>
              <a:gd name="T83" fmla="*/ 13531 h 14562"/>
              <a:gd name="T84" fmla="*/ 29875 w 36219"/>
              <a:gd name="T85" fmla="*/ 13156 h 14562"/>
              <a:gd name="T86" fmla="*/ 28844 w 36219"/>
              <a:gd name="T87" fmla="*/ 13156 h 14562"/>
              <a:gd name="T88" fmla="*/ 27438 w 36219"/>
              <a:gd name="T89" fmla="*/ 12875 h 14562"/>
              <a:gd name="T90" fmla="*/ 26906 w 36219"/>
              <a:gd name="T91" fmla="*/ 13094 h 14562"/>
              <a:gd name="T92" fmla="*/ 24688 w 36219"/>
              <a:gd name="T93" fmla="*/ 13156 h 14562"/>
              <a:gd name="T94" fmla="*/ 23563 w 36219"/>
              <a:gd name="T95" fmla="*/ 13219 h 14562"/>
              <a:gd name="T96" fmla="*/ 24031 w 36219"/>
              <a:gd name="T97" fmla="*/ 12812 h 14562"/>
              <a:gd name="T98" fmla="*/ 25969 w 36219"/>
              <a:gd name="T99" fmla="*/ 12812 h 14562"/>
              <a:gd name="T100" fmla="*/ 23906 w 36219"/>
              <a:gd name="T101" fmla="*/ 12469 h 14562"/>
              <a:gd name="T102" fmla="*/ 22344 w 36219"/>
              <a:gd name="T103" fmla="*/ 12219 h 14562"/>
              <a:gd name="T104" fmla="*/ 22344 w 36219"/>
              <a:gd name="T105" fmla="*/ 11812 h 14562"/>
              <a:gd name="T106" fmla="*/ 25688 w 36219"/>
              <a:gd name="T107" fmla="*/ 11250 h 14562"/>
              <a:gd name="T108" fmla="*/ 29531 w 36219"/>
              <a:gd name="T109" fmla="*/ 11125 h 14562"/>
              <a:gd name="T110" fmla="*/ 30344 w 36219"/>
              <a:gd name="T111" fmla="*/ 10844 h 14562"/>
              <a:gd name="T112" fmla="*/ 31938 w 36219"/>
              <a:gd name="T113" fmla="*/ 10094 h 14562"/>
              <a:gd name="T114" fmla="*/ 31906 w 36219"/>
              <a:gd name="T115" fmla="*/ 9687 h 14562"/>
              <a:gd name="T116" fmla="*/ 33625 w 36219"/>
              <a:gd name="T117" fmla="*/ 9500 h 14562"/>
              <a:gd name="T118" fmla="*/ 36219 w 36219"/>
              <a:gd name="T119" fmla="*/ 9094 h 14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219" h="14562">
                <a:moveTo>
                  <a:pt x="36156" y="9031"/>
                </a:moveTo>
                <a:cubicBezTo>
                  <a:pt x="36156" y="9000"/>
                  <a:pt x="36094" y="9000"/>
                  <a:pt x="36063" y="9000"/>
                </a:cubicBezTo>
                <a:cubicBezTo>
                  <a:pt x="35781" y="8969"/>
                  <a:pt x="35531" y="8937"/>
                  <a:pt x="35250" y="8906"/>
                </a:cubicBezTo>
                <a:cubicBezTo>
                  <a:pt x="35000" y="8844"/>
                  <a:pt x="34719" y="8812"/>
                  <a:pt x="34438" y="8812"/>
                </a:cubicBezTo>
                <a:cubicBezTo>
                  <a:pt x="34406" y="8812"/>
                  <a:pt x="34375" y="8781"/>
                  <a:pt x="34313" y="8781"/>
                </a:cubicBezTo>
                <a:cubicBezTo>
                  <a:pt x="34313" y="8781"/>
                  <a:pt x="34281" y="8781"/>
                  <a:pt x="34281" y="8781"/>
                </a:cubicBezTo>
                <a:cubicBezTo>
                  <a:pt x="34219" y="8781"/>
                  <a:pt x="34156" y="8812"/>
                  <a:pt x="34094" y="8812"/>
                </a:cubicBezTo>
                <a:cubicBezTo>
                  <a:pt x="33594" y="8750"/>
                  <a:pt x="33094" y="8719"/>
                  <a:pt x="32594" y="8687"/>
                </a:cubicBezTo>
                <a:cubicBezTo>
                  <a:pt x="32500" y="8687"/>
                  <a:pt x="32406" y="8687"/>
                  <a:pt x="32313" y="8687"/>
                </a:cubicBezTo>
                <a:cubicBezTo>
                  <a:pt x="32125" y="8687"/>
                  <a:pt x="31906" y="8656"/>
                  <a:pt x="31719" y="8656"/>
                </a:cubicBezTo>
                <a:cubicBezTo>
                  <a:pt x="31656" y="8625"/>
                  <a:pt x="31594" y="8625"/>
                  <a:pt x="31500" y="8625"/>
                </a:cubicBezTo>
                <a:cubicBezTo>
                  <a:pt x="31375" y="8562"/>
                  <a:pt x="31313" y="8500"/>
                  <a:pt x="31250" y="8406"/>
                </a:cubicBezTo>
                <a:cubicBezTo>
                  <a:pt x="31219" y="8375"/>
                  <a:pt x="31219" y="8344"/>
                  <a:pt x="31188" y="8312"/>
                </a:cubicBezTo>
                <a:cubicBezTo>
                  <a:pt x="31406" y="8250"/>
                  <a:pt x="31625" y="8187"/>
                  <a:pt x="31844" y="8125"/>
                </a:cubicBezTo>
                <a:cubicBezTo>
                  <a:pt x="32125" y="8062"/>
                  <a:pt x="32438" y="8031"/>
                  <a:pt x="32750" y="7969"/>
                </a:cubicBezTo>
                <a:cubicBezTo>
                  <a:pt x="32781" y="7937"/>
                  <a:pt x="32813" y="7937"/>
                  <a:pt x="32844" y="7937"/>
                </a:cubicBezTo>
                <a:cubicBezTo>
                  <a:pt x="32906" y="7906"/>
                  <a:pt x="32938" y="7875"/>
                  <a:pt x="32969" y="7844"/>
                </a:cubicBezTo>
                <a:cubicBezTo>
                  <a:pt x="33000" y="7812"/>
                  <a:pt x="33000" y="7781"/>
                  <a:pt x="32969" y="7750"/>
                </a:cubicBezTo>
                <a:cubicBezTo>
                  <a:pt x="32938" y="7719"/>
                  <a:pt x="32906" y="7687"/>
                  <a:pt x="32906" y="7656"/>
                </a:cubicBezTo>
                <a:cubicBezTo>
                  <a:pt x="32875" y="7625"/>
                  <a:pt x="32875" y="7625"/>
                  <a:pt x="32844" y="7594"/>
                </a:cubicBezTo>
                <a:cubicBezTo>
                  <a:pt x="32750" y="7531"/>
                  <a:pt x="32563" y="7469"/>
                  <a:pt x="32406" y="7406"/>
                </a:cubicBezTo>
                <a:cubicBezTo>
                  <a:pt x="32375" y="7406"/>
                  <a:pt x="32344" y="7375"/>
                  <a:pt x="32313" y="7375"/>
                </a:cubicBezTo>
                <a:cubicBezTo>
                  <a:pt x="32250" y="7344"/>
                  <a:pt x="32188" y="7344"/>
                  <a:pt x="32125" y="7312"/>
                </a:cubicBezTo>
                <a:cubicBezTo>
                  <a:pt x="32094" y="7312"/>
                  <a:pt x="32063" y="7312"/>
                  <a:pt x="32063" y="7312"/>
                </a:cubicBezTo>
                <a:cubicBezTo>
                  <a:pt x="32000" y="7281"/>
                  <a:pt x="31969" y="7281"/>
                  <a:pt x="31906" y="7281"/>
                </a:cubicBezTo>
                <a:cubicBezTo>
                  <a:pt x="31875" y="7281"/>
                  <a:pt x="31844" y="7281"/>
                  <a:pt x="31813" y="7281"/>
                </a:cubicBezTo>
                <a:cubicBezTo>
                  <a:pt x="31594" y="7312"/>
                  <a:pt x="31375" y="7344"/>
                  <a:pt x="31156" y="7344"/>
                </a:cubicBezTo>
                <a:cubicBezTo>
                  <a:pt x="30781" y="7344"/>
                  <a:pt x="30406" y="7281"/>
                  <a:pt x="30031" y="7250"/>
                </a:cubicBezTo>
                <a:cubicBezTo>
                  <a:pt x="29938" y="7250"/>
                  <a:pt x="29875" y="7250"/>
                  <a:pt x="29844" y="7219"/>
                </a:cubicBezTo>
                <a:cubicBezTo>
                  <a:pt x="29781" y="7187"/>
                  <a:pt x="29750" y="7156"/>
                  <a:pt x="29750" y="7094"/>
                </a:cubicBezTo>
                <a:cubicBezTo>
                  <a:pt x="29750" y="7094"/>
                  <a:pt x="29750" y="7094"/>
                  <a:pt x="29750" y="7062"/>
                </a:cubicBezTo>
                <a:cubicBezTo>
                  <a:pt x="29781" y="7000"/>
                  <a:pt x="29906" y="6937"/>
                  <a:pt x="29969" y="6937"/>
                </a:cubicBezTo>
                <a:cubicBezTo>
                  <a:pt x="30000" y="6937"/>
                  <a:pt x="30000" y="6937"/>
                  <a:pt x="30000" y="6937"/>
                </a:cubicBezTo>
                <a:cubicBezTo>
                  <a:pt x="30063" y="6969"/>
                  <a:pt x="30094" y="6969"/>
                  <a:pt x="30125" y="6969"/>
                </a:cubicBezTo>
                <a:cubicBezTo>
                  <a:pt x="30344" y="6969"/>
                  <a:pt x="30531" y="6875"/>
                  <a:pt x="30750" y="6875"/>
                </a:cubicBezTo>
                <a:cubicBezTo>
                  <a:pt x="30781" y="6875"/>
                  <a:pt x="30813" y="6875"/>
                  <a:pt x="30844" y="6875"/>
                </a:cubicBezTo>
                <a:cubicBezTo>
                  <a:pt x="30906" y="6844"/>
                  <a:pt x="30969" y="6844"/>
                  <a:pt x="30813" y="6750"/>
                </a:cubicBezTo>
                <a:cubicBezTo>
                  <a:pt x="30813" y="6750"/>
                  <a:pt x="30813" y="6750"/>
                  <a:pt x="30781" y="6750"/>
                </a:cubicBezTo>
                <a:cubicBezTo>
                  <a:pt x="30781" y="6750"/>
                  <a:pt x="30781" y="6719"/>
                  <a:pt x="30781" y="6719"/>
                </a:cubicBezTo>
                <a:cubicBezTo>
                  <a:pt x="30781" y="6719"/>
                  <a:pt x="30781" y="6687"/>
                  <a:pt x="30781" y="6687"/>
                </a:cubicBezTo>
                <a:cubicBezTo>
                  <a:pt x="30813" y="6656"/>
                  <a:pt x="30813" y="6656"/>
                  <a:pt x="30844" y="6625"/>
                </a:cubicBezTo>
                <a:cubicBezTo>
                  <a:pt x="30906" y="6594"/>
                  <a:pt x="30938" y="6625"/>
                  <a:pt x="30969" y="6656"/>
                </a:cubicBezTo>
                <a:cubicBezTo>
                  <a:pt x="30969" y="6656"/>
                  <a:pt x="31000" y="6656"/>
                  <a:pt x="31000" y="6656"/>
                </a:cubicBezTo>
                <a:cubicBezTo>
                  <a:pt x="31094" y="6687"/>
                  <a:pt x="31188" y="6687"/>
                  <a:pt x="31250" y="6719"/>
                </a:cubicBezTo>
                <a:cubicBezTo>
                  <a:pt x="31469" y="6719"/>
                  <a:pt x="31719" y="6719"/>
                  <a:pt x="31938" y="6750"/>
                </a:cubicBezTo>
                <a:cubicBezTo>
                  <a:pt x="31969" y="6750"/>
                  <a:pt x="32031" y="6750"/>
                  <a:pt x="32063" y="6750"/>
                </a:cubicBezTo>
                <a:cubicBezTo>
                  <a:pt x="32094" y="6750"/>
                  <a:pt x="32156" y="6719"/>
                  <a:pt x="32188" y="6719"/>
                </a:cubicBezTo>
                <a:cubicBezTo>
                  <a:pt x="32188" y="6687"/>
                  <a:pt x="32219" y="6687"/>
                  <a:pt x="32219" y="6687"/>
                </a:cubicBezTo>
                <a:cubicBezTo>
                  <a:pt x="32313" y="6625"/>
                  <a:pt x="32375" y="6562"/>
                  <a:pt x="32500" y="6531"/>
                </a:cubicBezTo>
                <a:cubicBezTo>
                  <a:pt x="32531" y="6531"/>
                  <a:pt x="32531" y="6531"/>
                  <a:pt x="32531" y="6531"/>
                </a:cubicBezTo>
                <a:cubicBezTo>
                  <a:pt x="32531" y="6562"/>
                  <a:pt x="32531" y="6562"/>
                  <a:pt x="32563" y="6562"/>
                </a:cubicBezTo>
                <a:cubicBezTo>
                  <a:pt x="32563" y="6562"/>
                  <a:pt x="32594" y="6531"/>
                  <a:pt x="32563" y="6531"/>
                </a:cubicBezTo>
                <a:cubicBezTo>
                  <a:pt x="32563" y="6500"/>
                  <a:pt x="32563" y="6437"/>
                  <a:pt x="32563" y="6406"/>
                </a:cubicBezTo>
                <a:cubicBezTo>
                  <a:pt x="32563" y="6312"/>
                  <a:pt x="32594" y="6250"/>
                  <a:pt x="32531" y="6187"/>
                </a:cubicBezTo>
                <a:cubicBezTo>
                  <a:pt x="32500" y="6156"/>
                  <a:pt x="32438" y="6125"/>
                  <a:pt x="32375" y="6125"/>
                </a:cubicBezTo>
                <a:cubicBezTo>
                  <a:pt x="32375" y="6125"/>
                  <a:pt x="32406" y="6094"/>
                  <a:pt x="32406" y="6062"/>
                </a:cubicBezTo>
                <a:cubicBezTo>
                  <a:pt x="32406" y="6062"/>
                  <a:pt x="32406" y="6031"/>
                  <a:pt x="32406" y="6031"/>
                </a:cubicBezTo>
                <a:cubicBezTo>
                  <a:pt x="32469" y="6062"/>
                  <a:pt x="32563" y="6094"/>
                  <a:pt x="32625" y="6125"/>
                </a:cubicBezTo>
                <a:cubicBezTo>
                  <a:pt x="32688" y="6156"/>
                  <a:pt x="32750" y="6250"/>
                  <a:pt x="32844" y="6156"/>
                </a:cubicBezTo>
                <a:cubicBezTo>
                  <a:pt x="32875" y="6156"/>
                  <a:pt x="32875" y="6125"/>
                  <a:pt x="32875" y="6094"/>
                </a:cubicBezTo>
                <a:cubicBezTo>
                  <a:pt x="32875" y="6062"/>
                  <a:pt x="32875" y="6062"/>
                  <a:pt x="32875" y="6031"/>
                </a:cubicBezTo>
                <a:cubicBezTo>
                  <a:pt x="32844" y="6031"/>
                  <a:pt x="32844" y="6031"/>
                  <a:pt x="32844" y="6031"/>
                </a:cubicBezTo>
                <a:cubicBezTo>
                  <a:pt x="32813" y="6000"/>
                  <a:pt x="32813" y="6000"/>
                  <a:pt x="32781" y="5969"/>
                </a:cubicBezTo>
                <a:cubicBezTo>
                  <a:pt x="32750" y="5937"/>
                  <a:pt x="32688" y="5937"/>
                  <a:pt x="32656" y="5937"/>
                </a:cubicBezTo>
                <a:cubicBezTo>
                  <a:pt x="32625" y="5937"/>
                  <a:pt x="32594" y="5937"/>
                  <a:pt x="32594" y="5937"/>
                </a:cubicBezTo>
                <a:cubicBezTo>
                  <a:pt x="32563" y="5937"/>
                  <a:pt x="32531" y="5937"/>
                  <a:pt x="32500" y="5937"/>
                </a:cubicBezTo>
                <a:cubicBezTo>
                  <a:pt x="32500" y="5937"/>
                  <a:pt x="32469" y="5906"/>
                  <a:pt x="32469" y="5906"/>
                </a:cubicBezTo>
                <a:cubicBezTo>
                  <a:pt x="32469" y="5875"/>
                  <a:pt x="32469" y="5875"/>
                  <a:pt x="32438" y="5875"/>
                </a:cubicBezTo>
                <a:cubicBezTo>
                  <a:pt x="32438" y="5844"/>
                  <a:pt x="32438" y="5844"/>
                  <a:pt x="32406" y="5844"/>
                </a:cubicBezTo>
                <a:cubicBezTo>
                  <a:pt x="32406" y="5844"/>
                  <a:pt x="32406" y="5844"/>
                  <a:pt x="32375" y="5812"/>
                </a:cubicBezTo>
                <a:cubicBezTo>
                  <a:pt x="32219" y="5812"/>
                  <a:pt x="32063" y="5812"/>
                  <a:pt x="31906" y="5812"/>
                </a:cubicBezTo>
                <a:cubicBezTo>
                  <a:pt x="31875" y="5781"/>
                  <a:pt x="31844" y="5781"/>
                  <a:pt x="31813" y="5750"/>
                </a:cubicBezTo>
                <a:cubicBezTo>
                  <a:pt x="31781" y="5750"/>
                  <a:pt x="31781" y="5719"/>
                  <a:pt x="31750" y="5719"/>
                </a:cubicBezTo>
                <a:cubicBezTo>
                  <a:pt x="31719" y="5719"/>
                  <a:pt x="31719" y="5719"/>
                  <a:pt x="31688" y="5719"/>
                </a:cubicBezTo>
                <a:cubicBezTo>
                  <a:pt x="31563" y="5687"/>
                  <a:pt x="31438" y="5656"/>
                  <a:pt x="31313" y="5656"/>
                </a:cubicBezTo>
                <a:cubicBezTo>
                  <a:pt x="30938" y="5594"/>
                  <a:pt x="30563" y="5594"/>
                  <a:pt x="30156" y="5656"/>
                </a:cubicBezTo>
                <a:cubicBezTo>
                  <a:pt x="30125" y="5656"/>
                  <a:pt x="30094" y="5656"/>
                  <a:pt x="30063" y="5656"/>
                </a:cubicBezTo>
                <a:cubicBezTo>
                  <a:pt x="30031" y="5656"/>
                  <a:pt x="30031" y="5656"/>
                  <a:pt x="30031" y="5656"/>
                </a:cubicBezTo>
                <a:cubicBezTo>
                  <a:pt x="30000" y="5625"/>
                  <a:pt x="30000" y="5625"/>
                  <a:pt x="30031" y="5594"/>
                </a:cubicBezTo>
                <a:cubicBezTo>
                  <a:pt x="30031" y="5562"/>
                  <a:pt x="30031" y="5531"/>
                  <a:pt x="30031" y="5531"/>
                </a:cubicBezTo>
                <a:cubicBezTo>
                  <a:pt x="30000" y="5531"/>
                  <a:pt x="30000" y="5531"/>
                  <a:pt x="30000" y="5500"/>
                </a:cubicBezTo>
                <a:cubicBezTo>
                  <a:pt x="29969" y="5500"/>
                  <a:pt x="29938" y="5500"/>
                  <a:pt x="29938" y="5500"/>
                </a:cubicBezTo>
                <a:cubicBezTo>
                  <a:pt x="29906" y="5531"/>
                  <a:pt x="29906" y="5531"/>
                  <a:pt x="29875" y="5531"/>
                </a:cubicBezTo>
                <a:cubicBezTo>
                  <a:pt x="29844" y="5531"/>
                  <a:pt x="29844" y="5531"/>
                  <a:pt x="29813" y="5531"/>
                </a:cubicBezTo>
                <a:cubicBezTo>
                  <a:pt x="29781" y="5531"/>
                  <a:pt x="29750" y="5531"/>
                  <a:pt x="29750" y="5531"/>
                </a:cubicBezTo>
                <a:cubicBezTo>
                  <a:pt x="29688" y="5531"/>
                  <a:pt x="29656" y="5500"/>
                  <a:pt x="29625" y="5500"/>
                </a:cubicBezTo>
                <a:cubicBezTo>
                  <a:pt x="29625" y="5500"/>
                  <a:pt x="29594" y="5469"/>
                  <a:pt x="29594" y="5469"/>
                </a:cubicBezTo>
                <a:cubicBezTo>
                  <a:pt x="29594" y="5469"/>
                  <a:pt x="29563" y="5469"/>
                  <a:pt x="29563" y="5469"/>
                </a:cubicBezTo>
                <a:cubicBezTo>
                  <a:pt x="29500" y="5406"/>
                  <a:pt x="29406" y="5344"/>
                  <a:pt x="29313" y="5312"/>
                </a:cubicBezTo>
                <a:cubicBezTo>
                  <a:pt x="29531" y="5250"/>
                  <a:pt x="29719" y="5187"/>
                  <a:pt x="29906" y="5125"/>
                </a:cubicBezTo>
                <a:cubicBezTo>
                  <a:pt x="30094" y="5031"/>
                  <a:pt x="30250" y="4969"/>
                  <a:pt x="30375" y="4844"/>
                </a:cubicBezTo>
                <a:cubicBezTo>
                  <a:pt x="30469" y="4750"/>
                  <a:pt x="30563" y="4687"/>
                  <a:pt x="30656" y="4625"/>
                </a:cubicBezTo>
                <a:cubicBezTo>
                  <a:pt x="30750" y="4562"/>
                  <a:pt x="30813" y="4531"/>
                  <a:pt x="30938" y="4500"/>
                </a:cubicBezTo>
                <a:cubicBezTo>
                  <a:pt x="30969" y="4500"/>
                  <a:pt x="31000" y="4500"/>
                  <a:pt x="31031" y="4500"/>
                </a:cubicBezTo>
                <a:cubicBezTo>
                  <a:pt x="31125" y="4469"/>
                  <a:pt x="31219" y="4437"/>
                  <a:pt x="31281" y="4437"/>
                </a:cubicBezTo>
                <a:cubicBezTo>
                  <a:pt x="31656" y="4406"/>
                  <a:pt x="31938" y="4281"/>
                  <a:pt x="32125" y="4125"/>
                </a:cubicBezTo>
                <a:cubicBezTo>
                  <a:pt x="32219" y="4062"/>
                  <a:pt x="32281" y="4000"/>
                  <a:pt x="32344" y="3969"/>
                </a:cubicBezTo>
                <a:cubicBezTo>
                  <a:pt x="32344" y="3937"/>
                  <a:pt x="32375" y="3937"/>
                  <a:pt x="32375" y="3906"/>
                </a:cubicBezTo>
                <a:cubicBezTo>
                  <a:pt x="32406" y="3875"/>
                  <a:pt x="32406" y="3844"/>
                  <a:pt x="32438" y="3812"/>
                </a:cubicBezTo>
                <a:cubicBezTo>
                  <a:pt x="32438" y="3750"/>
                  <a:pt x="32438" y="3719"/>
                  <a:pt x="32438" y="3687"/>
                </a:cubicBezTo>
                <a:cubicBezTo>
                  <a:pt x="32406" y="3531"/>
                  <a:pt x="32250" y="3344"/>
                  <a:pt x="32063" y="3250"/>
                </a:cubicBezTo>
                <a:cubicBezTo>
                  <a:pt x="32000" y="3187"/>
                  <a:pt x="31906" y="3156"/>
                  <a:pt x="31813" y="3156"/>
                </a:cubicBezTo>
                <a:cubicBezTo>
                  <a:pt x="31625" y="3094"/>
                  <a:pt x="31406" y="3062"/>
                  <a:pt x="31188" y="3000"/>
                </a:cubicBezTo>
                <a:cubicBezTo>
                  <a:pt x="30750" y="2906"/>
                  <a:pt x="30344" y="2844"/>
                  <a:pt x="29906" y="2750"/>
                </a:cubicBezTo>
                <a:cubicBezTo>
                  <a:pt x="29688" y="2719"/>
                  <a:pt x="29469" y="2687"/>
                  <a:pt x="29250" y="2656"/>
                </a:cubicBezTo>
                <a:cubicBezTo>
                  <a:pt x="28969" y="2625"/>
                  <a:pt x="28688" y="2594"/>
                  <a:pt x="28406" y="2562"/>
                </a:cubicBezTo>
                <a:cubicBezTo>
                  <a:pt x="28125" y="2531"/>
                  <a:pt x="27844" y="2469"/>
                  <a:pt x="27563" y="2437"/>
                </a:cubicBezTo>
                <a:cubicBezTo>
                  <a:pt x="27000" y="2375"/>
                  <a:pt x="26438" y="2312"/>
                  <a:pt x="25875" y="2250"/>
                </a:cubicBezTo>
                <a:cubicBezTo>
                  <a:pt x="25813" y="2250"/>
                  <a:pt x="25750" y="2250"/>
                  <a:pt x="25688" y="2219"/>
                </a:cubicBezTo>
                <a:cubicBezTo>
                  <a:pt x="25594" y="2219"/>
                  <a:pt x="25500" y="2187"/>
                  <a:pt x="25438" y="2094"/>
                </a:cubicBezTo>
                <a:cubicBezTo>
                  <a:pt x="25625" y="2094"/>
                  <a:pt x="25844" y="2031"/>
                  <a:pt x="26000" y="2062"/>
                </a:cubicBezTo>
                <a:cubicBezTo>
                  <a:pt x="26063" y="2062"/>
                  <a:pt x="26125" y="2062"/>
                  <a:pt x="26188" y="2094"/>
                </a:cubicBezTo>
                <a:cubicBezTo>
                  <a:pt x="26219" y="2125"/>
                  <a:pt x="26250" y="2125"/>
                  <a:pt x="26250" y="2125"/>
                </a:cubicBezTo>
                <a:cubicBezTo>
                  <a:pt x="26313" y="2125"/>
                  <a:pt x="26344" y="2094"/>
                  <a:pt x="26344" y="2062"/>
                </a:cubicBezTo>
                <a:cubicBezTo>
                  <a:pt x="26375" y="1969"/>
                  <a:pt x="26406" y="1906"/>
                  <a:pt x="26469" y="1844"/>
                </a:cubicBezTo>
                <a:cubicBezTo>
                  <a:pt x="26594" y="1750"/>
                  <a:pt x="26750" y="1656"/>
                  <a:pt x="26969" y="1625"/>
                </a:cubicBezTo>
                <a:cubicBezTo>
                  <a:pt x="27063" y="1594"/>
                  <a:pt x="27156" y="1594"/>
                  <a:pt x="27281" y="1594"/>
                </a:cubicBezTo>
                <a:cubicBezTo>
                  <a:pt x="27281" y="1594"/>
                  <a:pt x="27313" y="1594"/>
                  <a:pt x="27313" y="1594"/>
                </a:cubicBezTo>
                <a:cubicBezTo>
                  <a:pt x="27313" y="1594"/>
                  <a:pt x="27344" y="1562"/>
                  <a:pt x="27344" y="1562"/>
                </a:cubicBezTo>
                <a:cubicBezTo>
                  <a:pt x="27344" y="1531"/>
                  <a:pt x="27344" y="1531"/>
                  <a:pt x="27313" y="1531"/>
                </a:cubicBezTo>
                <a:cubicBezTo>
                  <a:pt x="27313" y="1531"/>
                  <a:pt x="27313" y="1531"/>
                  <a:pt x="27281" y="1531"/>
                </a:cubicBezTo>
                <a:cubicBezTo>
                  <a:pt x="27250" y="1500"/>
                  <a:pt x="27219" y="1500"/>
                  <a:pt x="27188" y="1500"/>
                </a:cubicBezTo>
                <a:cubicBezTo>
                  <a:pt x="27156" y="1500"/>
                  <a:pt x="27094" y="1500"/>
                  <a:pt x="27094" y="1500"/>
                </a:cubicBezTo>
                <a:cubicBezTo>
                  <a:pt x="27094" y="1406"/>
                  <a:pt x="27219" y="1406"/>
                  <a:pt x="27281" y="1375"/>
                </a:cubicBezTo>
                <a:cubicBezTo>
                  <a:pt x="27281" y="1344"/>
                  <a:pt x="27313" y="1344"/>
                  <a:pt x="27313" y="1312"/>
                </a:cubicBezTo>
                <a:cubicBezTo>
                  <a:pt x="27313" y="1312"/>
                  <a:pt x="27313" y="1281"/>
                  <a:pt x="27344" y="1281"/>
                </a:cubicBezTo>
                <a:cubicBezTo>
                  <a:pt x="27344" y="1250"/>
                  <a:pt x="27344" y="1250"/>
                  <a:pt x="27344" y="1250"/>
                </a:cubicBezTo>
                <a:cubicBezTo>
                  <a:pt x="27344" y="1250"/>
                  <a:pt x="27313" y="1219"/>
                  <a:pt x="27313" y="1219"/>
                </a:cubicBezTo>
                <a:cubicBezTo>
                  <a:pt x="27281" y="1219"/>
                  <a:pt x="27250" y="1187"/>
                  <a:pt x="27219" y="1219"/>
                </a:cubicBezTo>
                <a:cubicBezTo>
                  <a:pt x="27188" y="1219"/>
                  <a:pt x="27188" y="1219"/>
                  <a:pt x="27156" y="1250"/>
                </a:cubicBezTo>
                <a:cubicBezTo>
                  <a:pt x="27125" y="1281"/>
                  <a:pt x="27094" y="1312"/>
                  <a:pt x="27031" y="1281"/>
                </a:cubicBezTo>
                <a:cubicBezTo>
                  <a:pt x="27031" y="1281"/>
                  <a:pt x="27000" y="1281"/>
                  <a:pt x="27000" y="1250"/>
                </a:cubicBezTo>
                <a:cubicBezTo>
                  <a:pt x="26969" y="1250"/>
                  <a:pt x="26938" y="1219"/>
                  <a:pt x="26938" y="1187"/>
                </a:cubicBezTo>
                <a:cubicBezTo>
                  <a:pt x="26938" y="1187"/>
                  <a:pt x="26938" y="1156"/>
                  <a:pt x="26938" y="1156"/>
                </a:cubicBezTo>
                <a:cubicBezTo>
                  <a:pt x="26969" y="1125"/>
                  <a:pt x="26969" y="1094"/>
                  <a:pt x="27031" y="1094"/>
                </a:cubicBezTo>
                <a:cubicBezTo>
                  <a:pt x="27188" y="1000"/>
                  <a:pt x="27344" y="969"/>
                  <a:pt x="27563" y="1031"/>
                </a:cubicBezTo>
                <a:cubicBezTo>
                  <a:pt x="27563" y="969"/>
                  <a:pt x="27531" y="906"/>
                  <a:pt x="27531" y="875"/>
                </a:cubicBezTo>
                <a:cubicBezTo>
                  <a:pt x="27531" y="812"/>
                  <a:pt x="27531" y="781"/>
                  <a:pt x="27563" y="719"/>
                </a:cubicBezTo>
                <a:cubicBezTo>
                  <a:pt x="27563" y="687"/>
                  <a:pt x="27594" y="625"/>
                  <a:pt x="27594" y="562"/>
                </a:cubicBezTo>
                <a:cubicBezTo>
                  <a:pt x="27594" y="500"/>
                  <a:pt x="27563" y="469"/>
                  <a:pt x="27531" y="437"/>
                </a:cubicBezTo>
                <a:cubicBezTo>
                  <a:pt x="27438" y="406"/>
                  <a:pt x="27344" y="375"/>
                  <a:pt x="27250" y="344"/>
                </a:cubicBezTo>
                <a:cubicBezTo>
                  <a:pt x="27094" y="250"/>
                  <a:pt x="26938" y="187"/>
                  <a:pt x="26719" y="219"/>
                </a:cubicBezTo>
                <a:cubicBezTo>
                  <a:pt x="26656" y="219"/>
                  <a:pt x="26594" y="219"/>
                  <a:pt x="26531" y="219"/>
                </a:cubicBezTo>
                <a:cubicBezTo>
                  <a:pt x="26188" y="250"/>
                  <a:pt x="25844" y="312"/>
                  <a:pt x="25500" y="281"/>
                </a:cubicBezTo>
                <a:cubicBezTo>
                  <a:pt x="25438" y="281"/>
                  <a:pt x="25406" y="250"/>
                  <a:pt x="25344" y="250"/>
                </a:cubicBezTo>
                <a:cubicBezTo>
                  <a:pt x="25094" y="219"/>
                  <a:pt x="24875" y="187"/>
                  <a:pt x="24625" y="156"/>
                </a:cubicBezTo>
                <a:cubicBezTo>
                  <a:pt x="24531" y="156"/>
                  <a:pt x="24469" y="156"/>
                  <a:pt x="24375" y="156"/>
                </a:cubicBezTo>
                <a:cubicBezTo>
                  <a:pt x="24313" y="156"/>
                  <a:pt x="24250" y="156"/>
                  <a:pt x="24188" y="156"/>
                </a:cubicBezTo>
                <a:cubicBezTo>
                  <a:pt x="24156" y="187"/>
                  <a:pt x="24094" y="187"/>
                  <a:pt x="24031" y="219"/>
                </a:cubicBezTo>
                <a:cubicBezTo>
                  <a:pt x="23906" y="219"/>
                  <a:pt x="23813" y="250"/>
                  <a:pt x="23688" y="187"/>
                </a:cubicBezTo>
                <a:cubicBezTo>
                  <a:pt x="23500" y="125"/>
                  <a:pt x="23313" y="125"/>
                  <a:pt x="23125" y="125"/>
                </a:cubicBezTo>
                <a:cubicBezTo>
                  <a:pt x="23094" y="125"/>
                  <a:pt x="23094" y="125"/>
                  <a:pt x="23063" y="125"/>
                </a:cubicBezTo>
                <a:cubicBezTo>
                  <a:pt x="23000" y="125"/>
                  <a:pt x="22969" y="125"/>
                  <a:pt x="22938" y="156"/>
                </a:cubicBezTo>
                <a:cubicBezTo>
                  <a:pt x="22875" y="156"/>
                  <a:pt x="22813" y="156"/>
                  <a:pt x="22781" y="156"/>
                </a:cubicBezTo>
                <a:cubicBezTo>
                  <a:pt x="22750" y="156"/>
                  <a:pt x="22750" y="156"/>
                  <a:pt x="22750" y="156"/>
                </a:cubicBezTo>
                <a:cubicBezTo>
                  <a:pt x="22219" y="94"/>
                  <a:pt x="21688" y="94"/>
                  <a:pt x="21156" y="62"/>
                </a:cubicBezTo>
                <a:cubicBezTo>
                  <a:pt x="20969" y="31"/>
                  <a:pt x="20781" y="62"/>
                  <a:pt x="20594" y="62"/>
                </a:cubicBezTo>
                <a:cubicBezTo>
                  <a:pt x="20406" y="62"/>
                  <a:pt x="20219" y="62"/>
                  <a:pt x="20031" y="62"/>
                </a:cubicBezTo>
                <a:cubicBezTo>
                  <a:pt x="19438" y="31"/>
                  <a:pt x="18844" y="31"/>
                  <a:pt x="18281" y="31"/>
                </a:cubicBezTo>
                <a:cubicBezTo>
                  <a:pt x="17094" y="0"/>
                  <a:pt x="15906" y="0"/>
                  <a:pt x="14719" y="31"/>
                </a:cubicBezTo>
                <a:cubicBezTo>
                  <a:pt x="14125" y="31"/>
                  <a:pt x="13531" y="62"/>
                  <a:pt x="12938" y="62"/>
                </a:cubicBezTo>
                <a:cubicBezTo>
                  <a:pt x="12813" y="62"/>
                  <a:pt x="12688" y="94"/>
                  <a:pt x="12563" y="94"/>
                </a:cubicBezTo>
                <a:cubicBezTo>
                  <a:pt x="11938" y="94"/>
                  <a:pt x="11313" y="125"/>
                  <a:pt x="10719" y="187"/>
                </a:cubicBezTo>
                <a:cubicBezTo>
                  <a:pt x="10469" y="219"/>
                  <a:pt x="10219" y="250"/>
                  <a:pt x="9969" y="281"/>
                </a:cubicBezTo>
                <a:cubicBezTo>
                  <a:pt x="9938" y="281"/>
                  <a:pt x="9906" y="312"/>
                  <a:pt x="9875" y="312"/>
                </a:cubicBezTo>
                <a:cubicBezTo>
                  <a:pt x="9781" y="344"/>
                  <a:pt x="9719" y="344"/>
                  <a:pt x="9688" y="375"/>
                </a:cubicBezTo>
                <a:cubicBezTo>
                  <a:pt x="9656" y="406"/>
                  <a:pt x="9656" y="406"/>
                  <a:pt x="9656" y="437"/>
                </a:cubicBezTo>
                <a:cubicBezTo>
                  <a:pt x="9594" y="469"/>
                  <a:pt x="9594" y="500"/>
                  <a:pt x="9594" y="562"/>
                </a:cubicBezTo>
                <a:cubicBezTo>
                  <a:pt x="9563" y="594"/>
                  <a:pt x="9563" y="625"/>
                  <a:pt x="9563" y="687"/>
                </a:cubicBezTo>
                <a:cubicBezTo>
                  <a:pt x="9563" y="781"/>
                  <a:pt x="9563" y="875"/>
                  <a:pt x="9625" y="969"/>
                </a:cubicBezTo>
                <a:cubicBezTo>
                  <a:pt x="9625" y="969"/>
                  <a:pt x="9656" y="1000"/>
                  <a:pt x="9656" y="1000"/>
                </a:cubicBezTo>
                <a:cubicBezTo>
                  <a:pt x="9656" y="1031"/>
                  <a:pt x="9656" y="1062"/>
                  <a:pt x="9625" y="1094"/>
                </a:cubicBezTo>
                <a:cubicBezTo>
                  <a:pt x="9625" y="1094"/>
                  <a:pt x="9625" y="1094"/>
                  <a:pt x="9594" y="1094"/>
                </a:cubicBezTo>
                <a:cubicBezTo>
                  <a:pt x="9594" y="1094"/>
                  <a:pt x="9563" y="1125"/>
                  <a:pt x="9500" y="1125"/>
                </a:cubicBezTo>
                <a:cubicBezTo>
                  <a:pt x="9344" y="1156"/>
                  <a:pt x="9156" y="1156"/>
                  <a:pt x="8969" y="1187"/>
                </a:cubicBezTo>
                <a:cubicBezTo>
                  <a:pt x="8813" y="1219"/>
                  <a:pt x="8625" y="1219"/>
                  <a:pt x="8438" y="1187"/>
                </a:cubicBezTo>
                <a:cubicBezTo>
                  <a:pt x="8250" y="1187"/>
                  <a:pt x="8094" y="1187"/>
                  <a:pt x="7969" y="1219"/>
                </a:cubicBezTo>
                <a:cubicBezTo>
                  <a:pt x="7813" y="1250"/>
                  <a:pt x="7719" y="1281"/>
                  <a:pt x="7625" y="1344"/>
                </a:cubicBezTo>
                <a:cubicBezTo>
                  <a:pt x="7500" y="1375"/>
                  <a:pt x="7438" y="1469"/>
                  <a:pt x="7375" y="1531"/>
                </a:cubicBezTo>
                <a:cubicBezTo>
                  <a:pt x="7313" y="1625"/>
                  <a:pt x="7281" y="1719"/>
                  <a:pt x="7281" y="1844"/>
                </a:cubicBezTo>
                <a:cubicBezTo>
                  <a:pt x="7219" y="2094"/>
                  <a:pt x="7375" y="2344"/>
                  <a:pt x="7250" y="2562"/>
                </a:cubicBezTo>
                <a:cubicBezTo>
                  <a:pt x="7219" y="2594"/>
                  <a:pt x="7219" y="2594"/>
                  <a:pt x="7219" y="2625"/>
                </a:cubicBezTo>
                <a:cubicBezTo>
                  <a:pt x="7188" y="2656"/>
                  <a:pt x="7156" y="2687"/>
                  <a:pt x="7094" y="2719"/>
                </a:cubicBezTo>
                <a:cubicBezTo>
                  <a:pt x="7094" y="2719"/>
                  <a:pt x="7094" y="2750"/>
                  <a:pt x="7094" y="2750"/>
                </a:cubicBezTo>
                <a:cubicBezTo>
                  <a:pt x="7094" y="2781"/>
                  <a:pt x="7094" y="2781"/>
                  <a:pt x="7094" y="2812"/>
                </a:cubicBezTo>
                <a:cubicBezTo>
                  <a:pt x="7094" y="2812"/>
                  <a:pt x="7094" y="2812"/>
                  <a:pt x="7094" y="2812"/>
                </a:cubicBezTo>
                <a:cubicBezTo>
                  <a:pt x="7125" y="2844"/>
                  <a:pt x="7156" y="2844"/>
                  <a:pt x="7156" y="2844"/>
                </a:cubicBezTo>
                <a:cubicBezTo>
                  <a:pt x="7281" y="2906"/>
                  <a:pt x="7281" y="3000"/>
                  <a:pt x="7344" y="3094"/>
                </a:cubicBezTo>
                <a:cubicBezTo>
                  <a:pt x="7375" y="3094"/>
                  <a:pt x="7406" y="3125"/>
                  <a:pt x="7438" y="3156"/>
                </a:cubicBezTo>
                <a:cubicBezTo>
                  <a:pt x="7469" y="3156"/>
                  <a:pt x="7469" y="3156"/>
                  <a:pt x="7469" y="3156"/>
                </a:cubicBezTo>
                <a:cubicBezTo>
                  <a:pt x="7531" y="3156"/>
                  <a:pt x="7594" y="3156"/>
                  <a:pt x="7625" y="3187"/>
                </a:cubicBezTo>
                <a:cubicBezTo>
                  <a:pt x="7656" y="3219"/>
                  <a:pt x="7688" y="3250"/>
                  <a:pt x="7719" y="3281"/>
                </a:cubicBezTo>
                <a:cubicBezTo>
                  <a:pt x="7719" y="3281"/>
                  <a:pt x="7750" y="3281"/>
                  <a:pt x="7750" y="3312"/>
                </a:cubicBezTo>
                <a:cubicBezTo>
                  <a:pt x="7750" y="3312"/>
                  <a:pt x="7781" y="3312"/>
                  <a:pt x="7781" y="3312"/>
                </a:cubicBezTo>
                <a:cubicBezTo>
                  <a:pt x="7781" y="3344"/>
                  <a:pt x="7813" y="3344"/>
                  <a:pt x="7813" y="3344"/>
                </a:cubicBezTo>
                <a:cubicBezTo>
                  <a:pt x="7844" y="3344"/>
                  <a:pt x="7906" y="3375"/>
                  <a:pt x="7969" y="3344"/>
                </a:cubicBezTo>
                <a:cubicBezTo>
                  <a:pt x="8063" y="3344"/>
                  <a:pt x="8156" y="3375"/>
                  <a:pt x="8219" y="3281"/>
                </a:cubicBezTo>
                <a:cubicBezTo>
                  <a:pt x="8313" y="3187"/>
                  <a:pt x="8406" y="3187"/>
                  <a:pt x="8469" y="3250"/>
                </a:cubicBezTo>
                <a:cubicBezTo>
                  <a:pt x="8500" y="3250"/>
                  <a:pt x="8500" y="3281"/>
                  <a:pt x="8531" y="3281"/>
                </a:cubicBezTo>
                <a:cubicBezTo>
                  <a:pt x="8531" y="3312"/>
                  <a:pt x="8563" y="3312"/>
                  <a:pt x="8563" y="3344"/>
                </a:cubicBezTo>
                <a:cubicBezTo>
                  <a:pt x="8594" y="3344"/>
                  <a:pt x="8594" y="3375"/>
                  <a:pt x="8594" y="3375"/>
                </a:cubicBezTo>
                <a:cubicBezTo>
                  <a:pt x="8625" y="3375"/>
                  <a:pt x="8625" y="3406"/>
                  <a:pt x="8656" y="3406"/>
                </a:cubicBezTo>
                <a:cubicBezTo>
                  <a:pt x="8719" y="3437"/>
                  <a:pt x="8750" y="3437"/>
                  <a:pt x="8813" y="3437"/>
                </a:cubicBezTo>
                <a:cubicBezTo>
                  <a:pt x="8875" y="3437"/>
                  <a:pt x="8906" y="3437"/>
                  <a:pt x="8969" y="3437"/>
                </a:cubicBezTo>
                <a:cubicBezTo>
                  <a:pt x="9188" y="3469"/>
                  <a:pt x="9406" y="3500"/>
                  <a:pt x="9625" y="3531"/>
                </a:cubicBezTo>
                <a:cubicBezTo>
                  <a:pt x="9656" y="3594"/>
                  <a:pt x="9594" y="3625"/>
                  <a:pt x="9563" y="3687"/>
                </a:cubicBezTo>
                <a:cubicBezTo>
                  <a:pt x="9563" y="3687"/>
                  <a:pt x="9531" y="3719"/>
                  <a:pt x="9531" y="3719"/>
                </a:cubicBezTo>
                <a:cubicBezTo>
                  <a:pt x="9500" y="3750"/>
                  <a:pt x="9500" y="3812"/>
                  <a:pt x="9563" y="3844"/>
                </a:cubicBezTo>
                <a:cubicBezTo>
                  <a:pt x="9531" y="3844"/>
                  <a:pt x="9500" y="3875"/>
                  <a:pt x="9469" y="3875"/>
                </a:cubicBezTo>
                <a:cubicBezTo>
                  <a:pt x="9438" y="3875"/>
                  <a:pt x="9375" y="3875"/>
                  <a:pt x="9344" y="3844"/>
                </a:cubicBezTo>
                <a:cubicBezTo>
                  <a:pt x="9344" y="3844"/>
                  <a:pt x="9313" y="3844"/>
                  <a:pt x="9313" y="3844"/>
                </a:cubicBezTo>
                <a:cubicBezTo>
                  <a:pt x="9250" y="3844"/>
                  <a:pt x="9188" y="3812"/>
                  <a:pt x="9125" y="3812"/>
                </a:cubicBezTo>
                <a:cubicBezTo>
                  <a:pt x="9000" y="3812"/>
                  <a:pt x="8875" y="3812"/>
                  <a:pt x="8781" y="3906"/>
                </a:cubicBezTo>
                <a:cubicBezTo>
                  <a:pt x="8781" y="3906"/>
                  <a:pt x="8750" y="3906"/>
                  <a:pt x="8750" y="3906"/>
                </a:cubicBezTo>
                <a:cubicBezTo>
                  <a:pt x="8719" y="3906"/>
                  <a:pt x="8688" y="3906"/>
                  <a:pt x="8688" y="3906"/>
                </a:cubicBezTo>
                <a:cubicBezTo>
                  <a:pt x="8375" y="3875"/>
                  <a:pt x="8031" y="3906"/>
                  <a:pt x="7750" y="3875"/>
                </a:cubicBezTo>
                <a:cubicBezTo>
                  <a:pt x="7594" y="3844"/>
                  <a:pt x="7531" y="3906"/>
                  <a:pt x="7469" y="3937"/>
                </a:cubicBezTo>
                <a:cubicBezTo>
                  <a:pt x="7438" y="3969"/>
                  <a:pt x="7406" y="4000"/>
                  <a:pt x="7344" y="4000"/>
                </a:cubicBezTo>
                <a:cubicBezTo>
                  <a:pt x="7344" y="4000"/>
                  <a:pt x="7313" y="4031"/>
                  <a:pt x="7281" y="4031"/>
                </a:cubicBezTo>
                <a:cubicBezTo>
                  <a:pt x="7281" y="4031"/>
                  <a:pt x="7250" y="4031"/>
                  <a:pt x="7219" y="4031"/>
                </a:cubicBezTo>
                <a:cubicBezTo>
                  <a:pt x="7156" y="4031"/>
                  <a:pt x="7094" y="4031"/>
                  <a:pt x="7031" y="4031"/>
                </a:cubicBezTo>
                <a:cubicBezTo>
                  <a:pt x="6969" y="4031"/>
                  <a:pt x="6906" y="4031"/>
                  <a:pt x="6844" y="4031"/>
                </a:cubicBezTo>
                <a:cubicBezTo>
                  <a:pt x="6781" y="4062"/>
                  <a:pt x="6750" y="4062"/>
                  <a:pt x="6688" y="4062"/>
                </a:cubicBezTo>
                <a:cubicBezTo>
                  <a:pt x="6594" y="4062"/>
                  <a:pt x="6500" y="4094"/>
                  <a:pt x="6406" y="4094"/>
                </a:cubicBezTo>
                <a:cubicBezTo>
                  <a:pt x="6344" y="4094"/>
                  <a:pt x="6281" y="4094"/>
                  <a:pt x="6250" y="4094"/>
                </a:cubicBezTo>
                <a:cubicBezTo>
                  <a:pt x="6125" y="4094"/>
                  <a:pt x="6000" y="4062"/>
                  <a:pt x="5875" y="4031"/>
                </a:cubicBezTo>
                <a:cubicBezTo>
                  <a:pt x="5844" y="4000"/>
                  <a:pt x="5844" y="4000"/>
                  <a:pt x="5813" y="4031"/>
                </a:cubicBezTo>
                <a:cubicBezTo>
                  <a:pt x="5813" y="4062"/>
                  <a:pt x="5781" y="4094"/>
                  <a:pt x="5750" y="4125"/>
                </a:cubicBezTo>
                <a:cubicBezTo>
                  <a:pt x="5719" y="4125"/>
                  <a:pt x="5688" y="4125"/>
                  <a:pt x="5656" y="4156"/>
                </a:cubicBezTo>
                <a:cubicBezTo>
                  <a:pt x="5656" y="4156"/>
                  <a:pt x="5625" y="4156"/>
                  <a:pt x="5594" y="4156"/>
                </a:cubicBezTo>
                <a:cubicBezTo>
                  <a:pt x="5563" y="4156"/>
                  <a:pt x="5531" y="4156"/>
                  <a:pt x="5500" y="4156"/>
                </a:cubicBezTo>
                <a:cubicBezTo>
                  <a:pt x="5469" y="4156"/>
                  <a:pt x="5469" y="4156"/>
                  <a:pt x="5438" y="4156"/>
                </a:cubicBezTo>
                <a:cubicBezTo>
                  <a:pt x="4938" y="4250"/>
                  <a:pt x="4438" y="4187"/>
                  <a:pt x="3906" y="4250"/>
                </a:cubicBezTo>
                <a:cubicBezTo>
                  <a:pt x="3656" y="4312"/>
                  <a:pt x="3375" y="4344"/>
                  <a:pt x="3094" y="4344"/>
                </a:cubicBezTo>
                <a:cubicBezTo>
                  <a:pt x="2906" y="4375"/>
                  <a:pt x="2719" y="4375"/>
                  <a:pt x="2531" y="4375"/>
                </a:cubicBezTo>
                <a:cubicBezTo>
                  <a:pt x="2344" y="4375"/>
                  <a:pt x="2156" y="4344"/>
                  <a:pt x="1969" y="4344"/>
                </a:cubicBezTo>
                <a:cubicBezTo>
                  <a:pt x="1875" y="4344"/>
                  <a:pt x="1781" y="4344"/>
                  <a:pt x="1688" y="4312"/>
                </a:cubicBezTo>
                <a:cubicBezTo>
                  <a:pt x="1625" y="4312"/>
                  <a:pt x="1563" y="4312"/>
                  <a:pt x="1500" y="4312"/>
                </a:cubicBezTo>
                <a:cubicBezTo>
                  <a:pt x="1406" y="4312"/>
                  <a:pt x="1313" y="4344"/>
                  <a:pt x="1219" y="4344"/>
                </a:cubicBezTo>
                <a:cubicBezTo>
                  <a:pt x="1188" y="4344"/>
                  <a:pt x="1125" y="4344"/>
                  <a:pt x="1094" y="4344"/>
                </a:cubicBezTo>
                <a:cubicBezTo>
                  <a:pt x="1031" y="4344"/>
                  <a:pt x="1000" y="4312"/>
                  <a:pt x="938" y="4312"/>
                </a:cubicBezTo>
                <a:cubicBezTo>
                  <a:pt x="906" y="4312"/>
                  <a:pt x="875" y="4281"/>
                  <a:pt x="844" y="4250"/>
                </a:cubicBezTo>
                <a:cubicBezTo>
                  <a:pt x="813" y="4250"/>
                  <a:pt x="813" y="4250"/>
                  <a:pt x="781" y="4219"/>
                </a:cubicBezTo>
                <a:cubicBezTo>
                  <a:pt x="750" y="4250"/>
                  <a:pt x="750" y="4250"/>
                  <a:pt x="719" y="4250"/>
                </a:cubicBezTo>
                <a:cubicBezTo>
                  <a:pt x="563" y="4281"/>
                  <a:pt x="313" y="4219"/>
                  <a:pt x="219" y="4312"/>
                </a:cubicBezTo>
                <a:cubicBezTo>
                  <a:pt x="219" y="4344"/>
                  <a:pt x="219" y="4344"/>
                  <a:pt x="219" y="4344"/>
                </a:cubicBezTo>
                <a:cubicBezTo>
                  <a:pt x="156" y="4437"/>
                  <a:pt x="125" y="4500"/>
                  <a:pt x="94" y="4594"/>
                </a:cubicBezTo>
                <a:cubicBezTo>
                  <a:pt x="94" y="4625"/>
                  <a:pt x="63" y="4656"/>
                  <a:pt x="63" y="4687"/>
                </a:cubicBezTo>
                <a:cubicBezTo>
                  <a:pt x="31" y="4781"/>
                  <a:pt x="31" y="4844"/>
                  <a:pt x="31" y="4937"/>
                </a:cubicBezTo>
                <a:cubicBezTo>
                  <a:pt x="0" y="5062"/>
                  <a:pt x="0" y="5156"/>
                  <a:pt x="0" y="5281"/>
                </a:cubicBezTo>
                <a:cubicBezTo>
                  <a:pt x="31" y="5312"/>
                  <a:pt x="31" y="5344"/>
                  <a:pt x="31" y="5406"/>
                </a:cubicBezTo>
                <a:cubicBezTo>
                  <a:pt x="63" y="5437"/>
                  <a:pt x="94" y="5469"/>
                  <a:pt x="125" y="5500"/>
                </a:cubicBezTo>
                <a:cubicBezTo>
                  <a:pt x="156" y="5500"/>
                  <a:pt x="188" y="5500"/>
                  <a:pt x="250" y="5500"/>
                </a:cubicBezTo>
                <a:cubicBezTo>
                  <a:pt x="313" y="5500"/>
                  <a:pt x="344" y="5500"/>
                  <a:pt x="406" y="5500"/>
                </a:cubicBezTo>
                <a:cubicBezTo>
                  <a:pt x="469" y="5500"/>
                  <a:pt x="500" y="5500"/>
                  <a:pt x="563" y="5531"/>
                </a:cubicBezTo>
                <a:cubicBezTo>
                  <a:pt x="875" y="5562"/>
                  <a:pt x="1156" y="5656"/>
                  <a:pt x="1469" y="5687"/>
                </a:cubicBezTo>
                <a:cubicBezTo>
                  <a:pt x="1563" y="5687"/>
                  <a:pt x="1656" y="5719"/>
                  <a:pt x="1719" y="5750"/>
                </a:cubicBezTo>
                <a:cubicBezTo>
                  <a:pt x="1719" y="5750"/>
                  <a:pt x="1750" y="5750"/>
                  <a:pt x="1781" y="5781"/>
                </a:cubicBezTo>
                <a:cubicBezTo>
                  <a:pt x="1781" y="5781"/>
                  <a:pt x="1813" y="5781"/>
                  <a:pt x="1813" y="5812"/>
                </a:cubicBezTo>
                <a:cubicBezTo>
                  <a:pt x="1844" y="5812"/>
                  <a:pt x="1875" y="5844"/>
                  <a:pt x="1906" y="5875"/>
                </a:cubicBezTo>
                <a:cubicBezTo>
                  <a:pt x="1938" y="5875"/>
                  <a:pt x="1938" y="5906"/>
                  <a:pt x="1938" y="5937"/>
                </a:cubicBezTo>
                <a:cubicBezTo>
                  <a:pt x="2000" y="6000"/>
                  <a:pt x="2063" y="6062"/>
                  <a:pt x="2094" y="6125"/>
                </a:cubicBezTo>
                <a:cubicBezTo>
                  <a:pt x="2156" y="6187"/>
                  <a:pt x="2219" y="6250"/>
                  <a:pt x="2281" y="6312"/>
                </a:cubicBezTo>
                <a:cubicBezTo>
                  <a:pt x="2375" y="6375"/>
                  <a:pt x="2500" y="6437"/>
                  <a:pt x="2625" y="6469"/>
                </a:cubicBezTo>
                <a:cubicBezTo>
                  <a:pt x="2688" y="6500"/>
                  <a:pt x="2750" y="6531"/>
                  <a:pt x="2813" y="6531"/>
                </a:cubicBezTo>
                <a:cubicBezTo>
                  <a:pt x="2969" y="6562"/>
                  <a:pt x="3125" y="6562"/>
                  <a:pt x="3313" y="6531"/>
                </a:cubicBezTo>
                <a:cubicBezTo>
                  <a:pt x="3500" y="6531"/>
                  <a:pt x="3688" y="6562"/>
                  <a:pt x="3844" y="6562"/>
                </a:cubicBezTo>
                <a:cubicBezTo>
                  <a:pt x="4094" y="6625"/>
                  <a:pt x="4313" y="6656"/>
                  <a:pt x="4563" y="6687"/>
                </a:cubicBezTo>
                <a:cubicBezTo>
                  <a:pt x="4625" y="6687"/>
                  <a:pt x="4688" y="6687"/>
                  <a:pt x="4750" y="6687"/>
                </a:cubicBezTo>
                <a:cubicBezTo>
                  <a:pt x="5156" y="6687"/>
                  <a:pt x="5594" y="6719"/>
                  <a:pt x="6000" y="6719"/>
                </a:cubicBezTo>
                <a:cubicBezTo>
                  <a:pt x="6000" y="6719"/>
                  <a:pt x="6031" y="6719"/>
                  <a:pt x="6031" y="6719"/>
                </a:cubicBezTo>
                <a:cubicBezTo>
                  <a:pt x="6063" y="6719"/>
                  <a:pt x="6063" y="6719"/>
                  <a:pt x="6094" y="6719"/>
                </a:cubicBezTo>
                <a:cubicBezTo>
                  <a:pt x="6094" y="6719"/>
                  <a:pt x="6125" y="6719"/>
                  <a:pt x="6125" y="6750"/>
                </a:cubicBezTo>
                <a:cubicBezTo>
                  <a:pt x="6125" y="6750"/>
                  <a:pt x="6156" y="6750"/>
                  <a:pt x="6156" y="6750"/>
                </a:cubicBezTo>
                <a:cubicBezTo>
                  <a:pt x="6156" y="6750"/>
                  <a:pt x="6188" y="6750"/>
                  <a:pt x="6188" y="6781"/>
                </a:cubicBezTo>
                <a:cubicBezTo>
                  <a:pt x="6188" y="6781"/>
                  <a:pt x="6188" y="6781"/>
                  <a:pt x="6188" y="6812"/>
                </a:cubicBezTo>
                <a:cubicBezTo>
                  <a:pt x="6188" y="6875"/>
                  <a:pt x="6094" y="6844"/>
                  <a:pt x="6031" y="6844"/>
                </a:cubicBezTo>
                <a:cubicBezTo>
                  <a:pt x="5938" y="6844"/>
                  <a:pt x="5875" y="6844"/>
                  <a:pt x="5844" y="6875"/>
                </a:cubicBezTo>
                <a:cubicBezTo>
                  <a:pt x="5844" y="6875"/>
                  <a:pt x="5844" y="6906"/>
                  <a:pt x="5844" y="6906"/>
                </a:cubicBezTo>
                <a:cubicBezTo>
                  <a:pt x="5844" y="6937"/>
                  <a:pt x="5844" y="6969"/>
                  <a:pt x="5875" y="7000"/>
                </a:cubicBezTo>
                <a:cubicBezTo>
                  <a:pt x="5875" y="7000"/>
                  <a:pt x="5906" y="7062"/>
                  <a:pt x="5844" y="7062"/>
                </a:cubicBezTo>
                <a:cubicBezTo>
                  <a:pt x="5594" y="7031"/>
                  <a:pt x="5375" y="7125"/>
                  <a:pt x="5188" y="7187"/>
                </a:cubicBezTo>
                <a:cubicBezTo>
                  <a:pt x="5125" y="7219"/>
                  <a:pt x="5031" y="7250"/>
                  <a:pt x="4969" y="7250"/>
                </a:cubicBezTo>
                <a:cubicBezTo>
                  <a:pt x="4969" y="7281"/>
                  <a:pt x="4938" y="7281"/>
                  <a:pt x="4906" y="7281"/>
                </a:cubicBezTo>
                <a:cubicBezTo>
                  <a:pt x="4844" y="7312"/>
                  <a:pt x="4781" y="7312"/>
                  <a:pt x="4688" y="7344"/>
                </a:cubicBezTo>
                <a:cubicBezTo>
                  <a:pt x="4594" y="7344"/>
                  <a:pt x="4531" y="7375"/>
                  <a:pt x="4438" y="7406"/>
                </a:cubicBezTo>
                <a:cubicBezTo>
                  <a:pt x="4375" y="7469"/>
                  <a:pt x="4281" y="7500"/>
                  <a:pt x="4188" y="7531"/>
                </a:cubicBezTo>
                <a:cubicBezTo>
                  <a:pt x="4156" y="7562"/>
                  <a:pt x="4094" y="7562"/>
                  <a:pt x="4000" y="7594"/>
                </a:cubicBezTo>
                <a:cubicBezTo>
                  <a:pt x="4000" y="7594"/>
                  <a:pt x="4031" y="7594"/>
                  <a:pt x="4031" y="7594"/>
                </a:cubicBezTo>
                <a:cubicBezTo>
                  <a:pt x="4031" y="7594"/>
                  <a:pt x="4031" y="7594"/>
                  <a:pt x="4031" y="7625"/>
                </a:cubicBezTo>
                <a:cubicBezTo>
                  <a:pt x="4063" y="7625"/>
                  <a:pt x="4094" y="7656"/>
                  <a:pt x="4125" y="7656"/>
                </a:cubicBezTo>
                <a:cubicBezTo>
                  <a:pt x="4156" y="7687"/>
                  <a:pt x="4188" y="7719"/>
                  <a:pt x="4250" y="7719"/>
                </a:cubicBezTo>
                <a:cubicBezTo>
                  <a:pt x="4188" y="7750"/>
                  <a:pt x="4125" y="7750"/>
                  <a:pt x="4094" y="7750"/>
                </a:cubicBezTo>
                <a:cubicBezTo>
                  <a:pt x="4063" y="7781"/>
                  <a:pt x="4000" y="7781"/>
                  <a:pt x="3969" y="7781"/>
                </a:cubicBezTo>
                <a:cubicBezTo>
                  <a:pt x="3938" y="7812"/>
                  <a:pt x="3906" y="7844"/>
                  <a:pt x="3906" y="7875"/>
                </a:cubicBezTo>
                <a:cubicBezTo>
                  <a:pt x="3906" y="7906"/>
                  <a:pt x="3906" y="7937"/>
                  <a:pt x="3938" y="7969"/>
                </a:cubicBezTo>
                <a:cubicBezTo>
                  <a:pt x="3969" y="8000"/>
                  <a:pt x="4063" y="8031"/>
                  <a:pt x="4125" y="8062"/>
                </a:cubicBezTo>
                <a:cubicBezTo>
                  <a:pt x="4125" y="8062"/>
                  <a:pt x="4156" y="8062"/>
                  <a:pt x="4156" y="8062"/>
                </a:cubicBezTo>
                <a:cubicBezTo>
                  <a:pt x="4188" y="8094"/>
                  <a:pt x="4219" y="8125"/>
                  <a:pt x="4219" y="8125"/>
                </a:cubicBezTo>
                <a:cubicBezTo>
                  <a:pt x="4250" y="8156"/>
                  <a:pt x="4281" y="8156"/>
                  <a:pt x="4313" y="8156"/>
                </a:cubicBezTo>
                <a:cubicBezTo>
                  <a:pt x="4344" y="8187"/>
                  <a:pt x="4375" y="8187"/>
                  <a:pt x="4406" y="8187"/>
                </a:cubicBezTo>
                <a:cubicBezTo>
                  <a:pt x="4406" y="8156"/>
                  <a:pt x="4438" y="8156"/>
                  <a:pt x="4438" y="8156"/>
                </a:cubicBezTo>
                <a:cubicBezTo>
                  <a:pt x="4469" y="8156"/>
                  <a:pt x="4469" y="8125"/>
                  <a:pt x="4500" y="8125"/>
                </a:cubicBezTo>
                <a:cubicBezTo>
                  <a:pt x="4531" y="8125"/>
                  <a:pt x="4531" y="8125"/>
                  <a:pt x="4563" y="8125"/>
                </a:cubicBezTo>
                <a:cubicBezTo>
                  <a:pt x="4563" y="8156"/>
                  <a:pt x="4563" y="8156"/>
                  <a:pt x="4563" y="8156"/>
                </a:cubicBezTo>
                <a:cubicBezTo>
                  <a:pt x="4594" y="8187"/>
                  <a:pt x="4563" y="8250"/>
                  <a:pt x="4594" y="8312"/>
                </a:cubicBezTo>
                <a:cubicBezTo>
                  <a:pt x="4594" y="8312"/>
                  <a:pt x="4594" y="8312"/>
                  <a:pt x="4625" y="8312"/>
                </a:cubicBezTo>
                <a:cubicBezTo>
                  <a:pt x="4625" y="8344"/>
                  <a:pt x="4719" y="8312"/>
                  <a:pt x="4750" y="8344"/>
                </a:cubicBezTo>
                <a:cubicBezTo>
                  <a:pt x="4750" y="8344"/>
                  <a:pt x="4750" y="8344"/>
                  <a:pt x="4719" y="8375"/>
                </a:cubicBezTo>
                <a:cubicBezTo>
                  <a:pt x="4719" y="8406"/>
                  <a:pt x="4688" y="8406"/>
                  <a:pt x="4656" y="8406"/>
                </a:cubicBezTo>
                <a:cubicBezTo>
                  <a:pt x="4625" y="8437"/>
                  <a:pt x="4531" y="8437"/>
                  <a:pt x="4469" y="8406"/>
                </a:cubicBezTo>
                <a:cubicBezTo>
                  <a:pt x="4469" y="8406"/>
                  <a:pt x="4469" y="8375"/>
                  <a:pt x="4438" y="8375"/>
                </a:cubicBezTo>
                <a:cubicBezTo>
                  <a:pt x="4438" y="8344"/>
                  <a:pt x="4406" y="8312"/>
                  <a:pt x="4406" y="8312"/>
                </a:cubicBezTo>
                <a:cubicBezTo>
                  <a:pt x="4375" y="8281"/>
                  <a:pt x="4375" y="8281"/>
                  <a:pt x="4344" y="8281"/>
                </a:cubicBezTo>
                <a:cubicBezTo>
                  <a:pt x="4313" y="8281"/>
                  <a:pt x="4313" y="8281"/>
                  <a:pt x="4281" y="8281"/>
                </a:cubicBezTo>
                <a:cubicBezTo>
                  <a:pt x="4094" y="8312"/>
                  <a:pt x="3969" y="8281"/>
                  <a:pt x="3875" y="8187"/>
                </a:cubicBezTo>
                <a:cubicBezTo>
                  <a:pt x="3844" y="8156"/>
                  <a:pt x="3813" y="8125"/>
                  <a:pt x="3813" y="8094"/>
                </a:cubicBezTo>
                <a:cubicBezTo>
                  <a:pt x="3781" y="8031"/>
                  <a:pt x="3688" y="8000"/>
                  <a:pt x="3625" y="8000"/>
                </a:cubicBezTo>
                <a:cubicBezTo>
                  <a:pt x="3563" y="8000"/>
                  <a:pt x="3563" y="8031"/>
                  <a:pt x="3531" y="8031"/>
                </a:cubicBezTo>
                <a:cubicBezTo>
                  <a:pt x="3500" y="8062"/>
                  <a:pt x="3500" y="8094"/>
                  <a:pt x="3500" y="8125"/>
                </a:cubicBezTo>
                <a:cubicBezTo>
                  <a:pt x="3500" y="8156"/>
                  <a:pt x="3500" y="8187"/>
                  <a:pt x="3500" y="8219"/>
                </a:cubicBezTo>
                <a:cubicBezTo>
                  <a:pt x="3500" y="8250"/>
                  <a:pt x="3500" y="8250"/>
                  <a:pt x="3500" y="8281"/>
                </a:cubicBezTo>
                <a:cubicBezTo>
                  <a:pt x="3531" y="8344"/>
                  <a:pt x="3531" y="8375"/>
                  <a:pt x="3563" y="8406"/>
                </a:cubicBezTo>
                <a:cubicBezTo>
                  <a:pt x="3594" y="8500"/>
                  <a:pt x="3625" y="8562"/>
                  <a:pt x="3656" y="8625"/>
                </a:cubicBezTo>
                <a:cubicBezTo>
                  <a:pt x="3688" y="8625"/>
                  <a:pt x="3688" y="8656"/>
                  <a:pt x="3719" y="8687"/>
                </a:cubicBezTo>
                <a:cubicBezTo>
                  <a:pt x="3813" y="8625"/>
                  <a:pt x="3906" y="8594"/>
                  <a:pt x="4000" y="8562"/>
                </a:cubicBezTo>
                <a:cubicBezTo>
                  <a:pt x="4188" y="8500"/>
                  <a:pt x="4406" y="8531"/>
                  <a:pt x="4594" y="8562"/>
                </a:cubicBezTo>
                <a:cubicBezTo>
                  <a:pt x="4688" y="8562"/>
                  <a:pt x="4813" y="8594"/>
                  <a:pt x="4906" y="8625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38" y="8687"/>
                  <a:pt x="4938" y="8687"/>
                </a:cubicBezTo>
                <a:cubicBezTo>
                  <a:pt x="4938" y="8687"/>
                  <a:pt x="4906" y="8719"/>
                  <a:pt x="4906" y="8719"/>
                </a:cubicBezTo>
                <a:cubicBezTo>
                  <a:pt x="4875" y="8719"/>
                  <a:pt x="4844" y="8719"/>
                  <a:pt x="4813" y="8687"/>
                </a:cubicBezTo>
                <a:cubicBezTo>
                  <a:pt x="4813" y="8687"/>
                  <a:pt x="4781" y="8687"/>
                  <a:pt x="4781" y="8687"/>
                </a:cubicBezTo>
                <a:cubicBezTo>
                  <a:pt x="4750" y="8687"/>
                  <a:pt x="4719" y="8687"/>
                  <a:pt x="4688" y="8687"/>
                </a:cubicBezTo>
                <a:cubicBezTo>
                  <a:pt x="4656" y="8687"/>
                  <a:pt x="4656" y="8719"/>
                  <a:pt x="4656" y="8750"/>
                </a:cubicBezTo>
                <a:cubicBezTo>
                  <a:pt x="4688" y="8781"/>
                  <a:pt x="4688" y="8812"/>
                  <a:pt x="4656" y="8844"/>
                </a:cubicBezTo>
                <a:cubicBezTo>
                  <a:pt x="4656" y="8969"/>
                  <a:pt x="4500" y="9031"/>
                  <a:pt x="4406" y="9156"/>
                </a:cubicBezTo>
                <a:cubicBezTo>
                  <a:pt x="4375" y="9187"/>
                  <a:pt x="4344" y="9219"/>
                  <a:pt x="4375" y="9281"/>
                </a:cubicBezTo>
                <a:cubicBezTo>
                  <a:pt x="4375" y="9312"/>
                  <a:pt x="4344" y="9312"/>
                  <a:pt x="4313" y="9312"/>
                </a:cubicBezTo>
                <a:cubicBezTo>
                  <a:pt x="4281" y="9312"/>
                  <a:pt x="4219" y="9312"/>
                  <a:pt x="4156" y="9312"/>
                </a:cubicBezTo>
                <a:cubicBezTo>
                  <a:pt x="4156" y="9312"/>
                  <a:pt x="4125" y="9312"/>
                  <a:pt x="4125" y="9312"/>
                </a:cubicBezTo>
                <a:cubicBezTo>
                  <a:pt x="4031" y="9281"/>
                  <a:pt x="3906" y="9250"/>
                  <a:pt x="3813" y="9219"/>
                </a:cubicBezTo>
                <a:cubicBezTo>
                  <a:pt x="3844" y="9250"/>
                  <a:pt x="3875" y="9250"/>
                  <a:pt x="3875" y="9281"/>
                </a:cubicBezTo>
                <a:cubicBezTo>
                  <a:pt x="3906" y="9312"/>
                  <a:pt x="3938" y="9344"/>
                  <a:pt x="3969" y="9344"/>
                </a:cubicBezTo>
                <a:cubicBezTo>
                  <a:pt x="4063" y="9406"/>
                  <a:pt x="4094" y="9406"/>
                  <a:pt x="4219" y="9375"/>
                </a:cubicBezTo>
                <a:cubicBezTo>
                  <a:pt x="4281" y="9375"/>
                  <a:pt x="4313" y="9344"/>
                  <a:pt x="4406" y="9344"/>
                </a:cubicBezTo>
                <a:cubicBezTo>
                  <a:pt x="4406" y="9312"/>
                  <a:pt x="4438" y="9312"/>
                  <a:pt x="4438" y="9312"/>
                </a:cubicBezTo>
                <a:cubicBezTo>
                  <a:pt x="4469" y="9312"/>
                  <a:pt x="4469" y="9312"/>
                  <a:pt x="4500" y="9312"/>
                </a:cubicBezTo>
                <a:cubicBezTo>
                  <a:pt x="4531" y="9312"/>
                  <a:pt x="4563" y="9312"/>
                  <a:pt x="4594" y="9312"/>
                </a:cubicBezTo>
                <a:cubicBezTo>
                  <a:pt x="4625" y="9312"/>
                  <a:pt x="4656" y="9344"/>
                  <a:pt x="4656" y="9344"/>
                </a:cubicBezTo>
                <a:cubicBezTo>
                  <a:pt x="4719" y="9375"/>
                  <a:pt x="4813" y="9406"/>
                  <a:pt x="4875" y="9406"/>
                </a:cubicBezTo>
                <a:cubicBezTo>
                  <a:pt x="4938" y="9437"/>
                  <a:pt x="4969" y="9437"/>
                  <a:pt x="5031" y="9437"/>
                </a:cubicBezTo>
                <a:cubicBezTo>
                  <a:pt x="5094" y="9437"/>
                  <a:pt x="5156" y="9437"/>
                  <a:pt x="5219" y="9469"/>
                </a:cubicBezTo>
                <a:cubicBezTo>
                  <a:pt x="5313" y="9469"/>
                  <a:pt x="5375" y="9500"/>
                  <a:pt x="5438" y="9531"/>
                </a:cubicBezTo>
                <a:cubicBezTo>
                  <a:pt x="5500" y="9562"/>
                  <a:pt x="5531" y="9594"/>
                  <a:pt x="5563" y="9656"/>
                </a:cubicBezTo>
                <a:cubicBezTo>
                  <a:pt x="5594" y="9656"/>
                  <a:pt x="5594" y="9656"/>
                  <a:pt x="5594" y="9656"/>
                </a:cubicBezTo>
                <a:cubicBezTo>
                  <a:pt x="5594" y="9656"/>
                  <a:pt x="5625" y="9656"/>
                  <a:pt x="5688" y="9656"/>
                </a:cubicBezTo>
                <a:cubicBezTo>
                  <a:pt x="5719" y="9656"/>
                  <a:pt x="5781" y="9625"/>
                  <a:pt x="5813" y="9625"/>
                </a:cubicBezTo>
                <a:cubicBezTo>
                  <a:pt x="5813" y="9594"/>
                  <a:pt x="5844" y="9594"/>
                  <a:pt x="5875" y="9562"/>
                </a:cubicBezTo>
                <a:cubicBezTo>
                  <a:pt x="5938" y="9562"/>
                  <a:pt x="5969" y="9594"/>
                  <a:pt x="6000" y="9594"/>
                </a:cubicBezTo>
                <a:cubicBezTo>
                  <a:pt x="6031" y="9625"/>
                  <a:pt x="6031" y="9625"/>
                  <a:pt x="6063" y="9656"/>
                </a:cubicBezTo>
                <a:cubicBezTo>
                  <a:pt x="6063" y="9656"/>
                  <a:pt x="6063" y="9656"/>
                  <a:pt x="6094" y="9687"/>
                </a:cubicBezTo>
                <a:cubicBezTo>
                  <a:pt x="6094" y="9719"/>
                  <a:pt x="6156" y="9750"/>
                  <a:pt x="6188" y="9781"/>
                </a:cubicBezTo>
                <a:cubicBezTo>
                  <a:pt x="6281" y="9812"/>
                  <a:pt x="6406" y="9844"/>
                  <a:pt x="6531" y="9906"/>
                </a:cubicBezTo>
                <a:cubicBezTo>
                  <a:pt x="6531" y="9906"/>
                  <a:pt x="6563" y="9937"/>
                  <a:pt x="6563" y="9937"/>
                </a:cubicBezTo>
                <a:cubicBezTo>
                  <a:pt x="6688" y="10000"/>
                  <a:pt x="6781" y="10031"/>
                  <a:pt x="6875" y="10094"/>
                </a:cubicBezTo>
                <a:cubicBezTo>
                  <a:pt x="7156" y="10250"/>
                  <a:pt x="7438" y="10437"/>
                  <a:pt x="7688" y="10625"/>
                </a:cubicBezTo>
                <a:cubicBezTo>
                  <a:pt x="7625" y="10656"/>
                  <a:pt x="7563" y="10656"/>
                  <a:pt x="7500" y="10687"/>
                </a:cubicBezTo>
                <a:cubicBezTo>
                  <a:pt x="7406" y="10687"/>
                  <a:pt x="7344" y="10719"/>
                  <a:pt x="7281" y="10719"/>
                </a:cubicBezTo>
                <a:cubicBezTo>
                  <a:pt x="7344" y="10750"/>
                  <a:pt x="7406" y="10781"/>
                  <a:pt x="7469" y="10781"/>
                </a:cubicBezTo>
                <a:cubicBezTo>
                  <a:pt x="7500" y="10781"/>
                  <a:pt x="7563" y="10781"/>
                  <a:pt x="7625" y="10781"/>
                </a:cubicBezTo>
                <a:cubicBezTo>
                  <a:pt x="7625" y="10781"/>
                  <a:pt x="7656" y="10781"/>
                  <a:pt x="7688" y="10781"/>
                </a:cubicBezTo>
                <a:cubicBezTo>
                  <a:pt x="7719" y="10812"/>
                  <a:pt x="7750" y="10844"/>
                  <a:pt x="7781" y="10875"/>
                </a:cubicBezTo>
                <a:cubicBezTo>
                  <a:pt x="7781" y="10906"/>
                  <a:pt x="7781" y="10906"/>
                  <a:pt x="7750" y="10906"/>
                </a:cubicBezTo>
                <a:cubicBezTo>
                  <a:pt x="7719" y="10937"/>
                  <a:pt x="7625" y="10906"/>
                  <a:pt x="7594" y="10937"/>
                </a:cubicBezTo>
                <a:cubicBezTo>
                  <a:pt x="7563" y="10937"/>
                  <a:pt x="7563" y="10937"/>
                  <a:pt x="7531" y="10937"/>
                </a:cubicBezTo>
                <a:cubicBezTo>
                  <a:pt x="7531" y="10937"/>
                  <a:pt x="7500" y="10969"/>
                  <a:pt x="7500" y="10969"/>
                </a:cubicBezTo>
                <a:cubicBezTo>
                  <a:pt x="7531" y="10969"/>
                  <a:pt x="7563" y="11000"/>
                  <a:pt x="7594" y="11000"/>
                </a:cubicBezTo>
                <a:cubicBezTo>
                  <a:pt x="7781" y="11125"/>
                  <a:pt x="7625" y="11250"/>
                  <a:pt x="7531" y="11375"/>
                </a:cubicBezTo>
                <a:cubicBezTo>
                  <a:pt x="7563" y="11344"/>
                  <a:pt x="7594" y="11344"/>
                  <a:pt x="7656" y="11344"/>
                </a:cubicBezTo>
                <a:cubicBezTo>
                  <a:pt x="7719" y="11344"/>
                  <a:pt x="7781" y="11344"/>
                  <a:pt x="7875" y="11344"/>
                </a:cubicBezTo>
                <a:cubicBezTo>
                  <a:pt x="7969" y="11375"/>
                  <a:pt x="8063" y="11406"/>
                  <a:pt x="8156" y="11437"/>
                </a:cubicBezTo>
                <a:cubicBezTo>
                  <a:pt x="8188" y="11437"/>
                  <a:pt x="8219" y="11469"/>
                  <a:pt x="8219" y="11469"/>
                </a:cubicBezTo>
                <a:cubicBezTo>
                  <a:pt x="8250" y="11469"/>
                  <a:pt x="8281" y="11500"/>
                  <a:pt x="8313" y="11500"/>
                </a:cubicBezTo>
                <a:cubicBezTo>
                  <a:pt x="8438" y="11562"/>
                  <a:pt x="8563" y="11625"/>
                  <a:pt x="8688" y="11625"/>
                </a:cubicBezTo>
                <a:cubicBezTo>
                  <a:pt x="8719" y="11625"/>
                  <a:pt x="8750" y="11594"/>
                  <a:pt x="8750" y="11594"/>
                </a:cubicBezTo>
                <a:cubicBezTo>
                  <a:pt x="8813" y="11594"/>
                  <a:pt x="8844" y="11594"/>
                  <a:pt x="8906" y="11562"/>
                </a:cubicBezTo>
                <a:cubicBezTo>
                  <a:pt x="8969" y="11562"/>
                  <a:pt x="9063" y="11562"/>
                  <a:pt x="9156" y="11562"/>
                </a:cubicBezTo>
                <a:cubicBezTo>
                  <a:pt x="9281" y="11594"/>
                  <a:pt x="9406" y="11594"/>
                  <a:pt x="9563" y="11625"/>
                </a:cubicBezTo>
                <a:cubicBezTo>
                  <a:pt x="9625" y="11625"/>
                  <a:pt x="9719" y="11656"/>
                  <a:pt x="9813" y="11656"/>
                </a:cubicBezTo>
                <a:cubicBezTo>
                  <a:pt x="9719" y="11500"/>
                  <a:pt x="9688" y="11437"/>
                  <a:pt x="9781" y="11437"/>
                </a:cubicBezTo>
                <a:cubicBezTo>
                  <a:pt x="9813" y="11406"/>
                  <a:pt x="9906" y="11406"/>
                  <a:pt x="10063" y="11406"/>
                </a:cubicBezTo>
                <a:cubicBezTo>
                  <a:pt x="10031" y="11437"/>
                  <a:pt x="10031" y="11469"/>
                  <a:pt x="10000" y="11500"/>
                </a:cubicBezTo>
                <a:cubicBezTo>
                  <a:pt x="10000" y="11531"/>
                  <a:pt x="9969" y="11562"/>
                  <a:pt x="9938" y="11562"/>
                </a:cubicBezTo>
                <a:cubicBezTo>
                  <a:pt x="9938" y="11594"/>
                  <a:pt x="9906" y="11594"/>
                  <a:pt x="9906" y="11594"/>
                </a:cubicBezTo>
                <a:cubicBezTo>
                  <a:pt x="9844" y="11656"/>
                  <a:pt x="9875" y="11687"/>
                  <a:pt x="9938" y="11687"/>
                </a:cubicBezTo>
                <a:cubicBezTo>
                  <a:pt x="9969" y="11719"/>
                  <a:pt x="10000" y="11719"/>
                  <a:pt x="10031" y="11719"/>
                </a:cubicBezTo>
                <a:cubicBezTo>
                  <a:pt x="10344" y="11687"/>
                  <a:pt x="10625" y="11719"/>
                  <a:pt x="10938" y="11719"/>
                </a:cubicBezTo>
                <a:cubicBezTo>
                  <a:pt x="11031" y="11719"/>
                  <a:pt x="11125" y="11719"/>
                  <a:pt x="11219" y="11719"/>
                </a:cubicBezTo>
                <a:cubicBezTo>
                  <a:pt x="11281" y="11719"/>
                  <a:pt x="11344" y="11687"/>
                  <a:pt x="11406" y="11687"/>
                </a:cubicBezTo>
                <a:cubicBezTo>
                  <a:pt x="11531" y="11687"/>
                  <a:pt x="11656" y="11687"/>
                  <a:pt x="11781" y="11687"/>
                </a:cubicBezTo>
                <a:cubicBezTo>
                  <a:pt x="11844" y="11687"/>
                  <a:pt x="11906" y="11687"/>
                  <a:pt x="11969" y="11687"/>
                </a:cubicBezTo>
                <a:cubicBezTo>
                  <a:pt x="12156" y="11719"/>
                  <a:pt x="12344" y="11719"/>
                  <a:pt x="12531" y="11687"/>
                </a:cubicBezTo>
                <a:cubicBezTo>
                  <a:pt x="12594" y="11687"/>
                  <a:pt x="12656" y="11687"/>
                  <a:pt x="12719" y="11687"/>
                </a:cubicBezTo>
                <a:cubicBezTo>
                  <a:pt x="12750" y="11687"/>
                  <a:pt x="12781" y="11687"/>
                  <a:pt x="12813" y="11687"/>
                </a:cubicBezTo>
                <a:cubicBezTo>
                  <a:pt x="12875" y="11687"/>
                  <a:pt x="12938" y="11687"/>
                  <a:pt x="12969" y="11719"/>
                </a:cubicBezTo>
                <a:cubicBezTo>
                  <a:pt x="13000" y="11750"/>
                  <a:pt x="13031" y="11781"/>
                  <a:pt x="13063" y="11812"/>
                </a:cubicBezTo>
                <a:cubicBezTo>
                  <a:pt x="13063" y="11844"/>
                  <a:pt x="13063" y="11875"/>
                  <a:pt x="13063" y="11906"/>
                </a:cubicBezTo>
                <a:cubicBezTo>
                  <a:pt x="13063" y="11937"/>
                  <a:pt x="13063" y="11969"/>
                  <a:pt x="13031" y="11969"/>
                </a:cubicBezTo>
                <a:cubicBezTo>
                  <a:pt x="12875" y="12281"/>
                  <a:pt x="12938" y="12406"/>
                  <a:pt x="13313" y="12625"/>
                </a:cubicBezTo>
                <a:cubicBezTo>
                  <a:pt x="13344" y="12625"/>
                  <a:pt x="13375" y="12656"/>
                  <a:pt x="13375" y="12656"/>
                </a:cubicBezTo>
                <a:cubicBezTo>
                  <a:pt x="13406" y="12656"/>
                  <a:pt x="13406" y="12687"/>
                  <a:pt x="13438" y="12687"/>
                </a:cubicBezTo>
                <a:cubicBezTo>
                  <a:pt x="13469" y="12687"/>
                  <a:pt x="13469" y="12719"/>
                  <a:pt x="13500" y="12719"/>
                </a:cubicBezTo>
                <a:cubicBezTo>
                  <a:pt x="13531" y="12719"/>
                  <a:pt x="13531" y="12750"/>
                  <a:pt x="13563" y="12750"/>
                </a:cubicBezTo>
                <a:cubicBezTo>
                  <a:pt x="13563" y="12750"/>
                  <a:pt x="13563" y="12750"/>
                  <a:pt x="13563" y="12750"/>
                </a:cubicBezTo>
                <a:cubicBezTo>
                  <a:pt x="13531" y="12812"/>
                  <a:pt x="13531" y="12844"/>
                  <a:pt x="13531" y="12875"/>
                </a:cubicBezTo>
                <a:cubicBezTo>
                  <a:pt x="13531" y="12875"/>
                  <a:pt x="13563" y="12875"/>
                  <a:pt x="13563" y="12906"/>
                </a:cubicBezTo>
                <a:cubicBezTo>
                  <a:pt x="13563" y="12906"/>
                  <a:pt x="13563" y="12906"/>
                  <a:pt x="13563" y="12906"/>
                </a:cubicBezTo>
                <a:cubicBezTo>
                  <a:pt x="13594" y="12906"/>
                  <a:pt x="13594" y="12906"/>
                  <a:pt x="13594" y="12906"/>
                </a:cubicBezTo>
                <a:cubicBezTo>
                  <a:pt x="13594" y="12906"/>
                  <a:pt x="13625" y="12906"/>
                  <a:pt x="13625" y="12906"/>
                </a:cubicBezTo>
                <a:cubicBezTo>
                  <a:pt x="13656" y="12906"/>
                  <a:pt x="13688" y="12937"/>
                  <a:pt x="13719" y="12937"/>
                </a:cubicBezTo>
                <a:cubicBezTo>
                  <a:pt x="13750" y="12937"/>
                  <a:pt x="13813" y="12937"/>
                  <a:pt x="13844" y="12937"/>
                </a:cubicBezTo>
                <a:cubicBezTo>
                  <a:pt x="14156" y="13062"/>
                  <a:pt x="14688" y="12969"/>
                  <a:pt x="14781" y="13344"/>
                </a:cubicBezTo>
                <a:cubicBezTo>
                  <a:pt x="14781" y="13344"/>
                  <a:pt x="14781" y="13375"/>
                  <a:pt x="14813" y="13375"/>
                </a:cubicBezTo>
                <a:cubicBezTo>
                  <a:pt x="14813" y="13406"/>
                  <a:pt x="14844" y="13406"/>
                  <a:pt x="14844" y="13406"/>
                </a:cubicBezTo>
                <a:cubicBezTo>
                  <a:pt x="14875" y="13406"/>
                  <a:pt x="14906" y="13437"/>
                  <a:pt x="14906" y="13437"/>
                </a:cubicBezTo>
                <a:cubicBezTo>
                  <a:pt x="14938" y="13437"/>
                  <a:pt x="14969" y="13437"/>
                  <a:pt x="15000" y="13437"/>
                </a:cubicBezTo>
                <a:cubicBezTo>
                  <a:pt x="15031" y="13437"/>
                  <a:pt x="15063" y="13406"/>
                  <a:pt x="15094" y="13437"/>
                </a:cubicBezTo>
                <a:cubicBezTo>
                  <a:pt x="15188" y="13437"/>
                  <a:pt x="15281" y="13437"/>
                  <a:pt x="15375" y="13469"/>
                </a:cubicBezTo>
                <a:cubicBezTo>
                  <a:pt x="15375" y="13500"/>
                  <a:pt x="15406" y="13500"/>
                  <a:pt x="15406" y="13531"/>
                </a:cubicBezTo>
                <a:cubicBezTo>
                  <a:pt x="15375" y="13562"/>
                  <a:pt x="15375" y="13562"/>
                  <a:pt x="15375" y="13594"/>
                </a:cubicBezTo>
                <a:cubicBezTo>
                  <a:pt x="15313" y="13594"/>
                  <a:pt x="15281" y="13594"/>
                  <a:pt x="15219" y="13562"/>
                </a:cubicBezTo>
                <a:cubicBezTo>
                  <a:pt x="15063" y="13562"/>
                  <a:pt x="14906" y="13531"/>
                  <a:pt x="14750" y="13500"/>
                </a:cubicBezTo>
                <a:cubicBezTo>
                  <a:pt x="14688" y="13500"/>
                  <a:pt x="14625" y="13469"/>
                  <a:pt x="14563" y="13437"/>
                </a:cubicBezTo>
                <a:cubicBezTo>
                  <a:pt x="14469" y="13656"/>
                  <a:pt x="14469" y="13656"/>
                  <a:pt x="14938" y="13656"/>
                </a:cubicBezTo>
                <a:cubicBezTo>
                  <a:pt x="14906" y="13719"/>
                  <a:pt x="14875" y="13781"/>
                  <a:pt x="14906" y="13812"/>
                </a:cubicBezTo>
                <a:cubicBezTo>
                  <a:pt x="14906" y="13844"/>
                  <a:pt x="14906" y="13844"/>
                  <a:pt x="14938" y="13875"/>
                </a:cubicBezTo>
                <a:cubicBezTo>
                  <a:pt x="14969" y="13875"/>
                  <a:pt x="15031" y="13906"/>
                  <a:pt x="15063" y="13906"/>
                </a:cubicBezTo>
                <a:cubicBezTo>
                  <a:pt x="15094" y="13906"/>
                  <a:pt x="15125" y="13906"/>
                  <a:pt x="15156" y="13906"/>
                </a:cubicBezTo>
                <a:cubicBezTo>
                  <a:pt x="15375" y="13906"/>
                  <a:pt x="15563" y="13937"/>
                  <a:pt x="15781" y="13937"/>
                </a:cubicBezTo>
                <a:cubicBezTo>
                  <a:pt x="15844" y="13937"/>
                  <a:pt x="15938" y="13969"/>
                  <a:pt x="15969" y="13969"/>
                </a:cubicBezTo>
                <a:cubicBezTo>
                  <a:pt x="16000" y="14000"/>
                  <a:pt x="16031" y="14031"/>
                  <a:pt x="16000" y="14062"/>
                </a:cubicBezTo>
                <a:cubicBezTo>
                  <a:pt x="16000" y="14094"/>
                  <a:pt x="15969" y="14125"/>
                  <a:pt x="15938" y="14187"/>
                </a:cubicBezTo>
                <a:cubicBezTo>
                  <a:pt x="15875" y="14219"/>
                  <a:pt x="15813" y="14250"/>
                  <a:pt x="15750" y="14281"/>
                </a:cubicBezTo>
                <a:cubicBezTo>
                  <a:pt x="15594" y="14406"/>
                  <a:pt x="15406" y="14469"/>
                  <a:pt x="15094" y="14437"/>
                </a:cubicBezTo>
                <a:cubicBezTo>
                  <a:pt x="15031" y="14437"/>
                  <a:pt x="14969" y="14406"/>
                  <a:pt x="14906" y="14406"/>
                </a:cubicBezTo>
                <a:cubicBezTo>
                  <a:pt x="14906" y="14406"/>
                  <a:pt x="14906" y="14406"/>
                  <a:pt x="14875" y="14406"/>
                </a:cubicBezTo>
                <a:cubicBezTo>
                  <a:pt x="14875" y="14406"/>
                  <a:pt x="14875" y="14406"/>
                  <a:pt x="14875" y="14406"/>
                </a:cubicBezTo>
                <a:cubicBezTo>
                  <a:pt x="14750" y="14375"/>
                  <a:pt x="14625" y="14375"/>
                  <a:pt x="14500" y="14469"/>
                </a:cubicBezTo>
                <a:cubicBezTo>
                  <a:pt x="14500" y="14469"/>
                  <a:pt x="14500" y="14469"/>
                  <a:pt x="14500" y="14469"/>
                </a:cubicBezTo>
                <a:cubicBezTo>
                  <a:pt x="14500" y="14469"/>
                  <a:pt x="14500" y="14469"/>
                  <a:pt x="14469" y="14469"/>
                </a:cubicBezTo>
                <a:cubicBezTo>
                  <a:pt x="14469" y="14500"/>
                  <a:pt x="14469" y="14500"/>
                  <a:pt x="14469" y="14500"/>
                </a:cubicBezTo>
                <a:cubicBezTo>
                  <a:pt x="14469" y="14500"/>
                  <a:pt x="14469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38" y="14469"/>
                  <a:pt x="14438" y="14469"/>
                </a:cubicBezTo>
                <a:cubicBezTo>
                  <a:pt x="14438" y="14469"/>
                  <a:pt x="14406" y="14469"/>
                  <a:pt x="14406" y="14469"/>
                </a:cubicBezTo>
                <a:cubicBezTo>
                  <a:pt x="14375" y="14469"/>
                  <a:pt x="14344" y="14469"/>
                  <a:pt x="14344" y="14469"/>
                </a:cubicBezTo>
                <a:cubicBezTo>
                  <a:pt x="14375" y="14500"/>
                  <a:pt x="14406" y="14500"/>
                  <a:pt x="14438" y="14500"/>
                </a:cubicBezTo>
                <a:cubicBezTo>
                  <a:pt x="14438" y="14500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31"/>
                  <a:pt x="14438" y="14531"/>
                  <a:pt x="14438" y="14531"/>
                </a:cubicBezTo>
                <a:cubicBezTo>
                  <a:pt x="14438" y="14500"/>
                  <a:pt x="14438" y="14500"/>
                  <a:pt x="14438" y="14500"/>
                </a:cubicBezTo>
                <a:cubicBezTo>
                  <a:pt x="14688" y="14531"/>
                  <a:pt x="14938" y="14531"/>
                  <a:pt x="15188" y="14562"/>
                </a:cubicBezTo>
                <a:cubicBezTo>
                  <a:pt x="15656" y="14562"/>
                  <a:pt x="16156" y="14562"/>
                  <a:pt x="16656" y="14562"/>
                </a:cubicBezTo>
                <a:cubicBezTo>
                  <a:pt x="17875" y="14531"/>
                  <a:pt x="19094" y="14437"/>
                  <a:pt x="20344" y="14312"/>
                </a:cubicBezTo>
                <a:cubicBezTo>
                  <a:pt x="20281" y="14250"/>
                  <a:pt x="20188" y="14187"/>
                  <a:pt x="20125" y="14156"/>
                </a:cubicBezTo>
                <a:cubicBezTo>
                  <a:pt x="20094" y="14156"/>
                  <a:pt x="20031" y="14125"/>
                  <a:pt x="20000" y="14094"/>
                </a:cubicBezTo>
                <a:cubicBezTo>
                  <a:pt x="19969" y="14094"/>
                  <a:pt x="19938" y="14062"/>
                  <a:pt x="19906" y="14062"/>
                </a:cubicBezTo>
                <a:cubicBezTo>
                  <a:pt x="19813" y="14031"/>
                  <a:pt x="19750" y="14000"/>
                  <a:pt x="19688" y="13969"/>
                </a:cubicBezTo>
                <a:cubicBezTo>
                  <a:pt x="19625" y="13969"/>
                  <a:pt x="19531" y="13969"/>
                  <a:pt x="19469" y="13969"/>
                </a:cubicBezTo>
                <a:cubicBezTo>
                  <a:pt x="19406" y="13969"/>
                  <a:pt x="19313" y="13969"/>
                  <a:pt x="19250" y="13969"/>
                </a:cubicBezTo>
                <a:cubicBezTo>
                  <a:pt x="19094" y="13937"/>
                  <a:pt x="18938" y="13937"/>
                  <a:pt x="18781" y="13937"/>
                </a:cubicBezTo>
                <a:cubicBezTo>
                  <a:pt x="18625" y="13937"/>
                  <a:pt x="18469" y="13937"/>
                  <a:pt x="18313" y="13937"/>
                </a:cubicBezTo>
                <a:cubicBezTo>
                  <a:pt x="18094" y="13906"/>
                  <a:pt x="17875" y="13906"/>
                  <a:pt x="17656" y="13937"/>
                </a:cubicBezTo>
                <a:cubicBezTo>
                  <a:pt x="17531" y="13937"/>
                  <a:pt x="17438" y="13906"/>
                  <a:pt x="17375" y="13875"/>
                </a:cubicBezTo>
                <a:cubicBezTo>
                  <a:pt x="17281" y="13875"/>
                  <a:pt x="17188" y="13844"/>
                  <a:pt x="17094" y="13812"/>
                </a:cubicBezTo>
                <a:cubicBezTo>
                  <a:pt x="17063" y="13812"/>
                  <a:pt x="17031" y="13812"/>
                  <a:pt x="17031" y="13812"/>
                </a:cubicBezTo>
                <a:cubicBezTo>
                  <a:pt x="17000" y="13781"/>
                  <a:pt x="17000" y="13781"/>
                  <a:pt x="16969" y="13750"/>
                </a:cubicBezTo>
                <a:cubicBezTo>
                  <a:pt x="16969" y="13719"/>
                  <a:pt x="16969" y="13687"/>
                  <a:pt x="16969" y="13656"/>
                </a:cubicBezTo>
                <a:cubicBezTo>
                  <a:pt x="16969" y="13656"/>
                  <a:pt x="16969" y="13656"/>
                  <a:pt x="16969" y="13656"/>
                </a:cubicBezTo>
                <a:cubicBezTo>
                  <a:pt x="16969" y="13625"/>
                  <a:pt x="16969" y="13625"/>
                  <a:pt x="17000" y="13625"/>
                </a:cubicBezTo>
                <a:cubicBezTo>
                  <a:pt x="17000" y="13594"/>
                  <a:pt x="17031" y="13594"/>
                  <a:pt x="17063" y="13594"/>
                </a:cubicBezTo>
                <a:cubicBezTo>
                  <a:pt x="17094" y="13594"/>
                  <a:pt x="17125" y="13594"/>
                  <a:pt x="17125" y="13594"/>
                </a:cubicBezTo>
                <a:cubicBezTo>
                  <a:pt x="17313" y="13625"/>
                  <a:pt x="17469" y="13656"/>
                  <a:pt x="17625" y="13656"/>
                </a:cubicBezTo>
                <a:cubicBezTo>
                  <a:pt x="17875" y="13687"/>
                  <a:pt x="18156" y="13656"/>
                  <a:pt x="18406" y="13656"/>
                </a:cubicBezTo>
                <a:cubicBezTo>
                  <a:pt x="18469" y="13656"/>
                  <a:pt x="18563" y="13656"/>
                  <a:pt x="18656" y="13625"/>
                </a:cubicBezTo>
                <a:cubicBezTo>
                  <a:pt x="18813" y="13625"/>
                  <a:pt x="18969" y="13625"/>
                  <a:pt x="19156" y="13656"/>
                </a:cubicBezTo>
                <a:cubicBezTo>
                  <a:pt x="19219" y="13656"/>
                  <a:pt x="19281" y="13656"/>
                  <a:pt x="19344" y="13656"/>
                </a:cubicBezTo>
                <a:cubicBezTo>
                  <a:pt x="19531" y="13656"/>
                  <a:pt x="19750" y="13656"/>
                  <a:pt x="19938" y="13625"/>
                </a:cubicBezTo>
                <a:cubicBezTo>
                  <a:pt x="19969" y="13625"/>
                  <a:pt x="20000" y="13625"/>
                  <a:pt x="20000" y="13625"/>
                </a:cubicBezTo>
                <a:cubicBezTo>
                  <a:pt x="20125" y="13594"/>
                  <a:pt x="20250" y="13562"/>
                  <a:pt x="20375" y="13594"/>
                </a:cubicBezTo>
                <a:cubicBezTo>
                  <a:pt x="20375" y="13594"/>
                  <a:pt x="20406" y="13594"/>
                  <a:pt x="20406" y="13594"/>
                </a:cubicBezTo>
                <a:cubicBezTo>
                  <a:pt x="20438" y="13594"/>
                  <a:pt x="20469" y="13594"/>
                  <a:pt x="20469" y="13625"/>
                </a:cubicBezTo>
                <a:cubicBezTo>
                  <a:pt x="20500" y="13625"/>
                  <a:pt x="20531" y="13656"/>
                  <a:pt x="20563" y="13687"/>
                </a:cubicBezTo>
                <a:cubicBezTo>
                  <a:pt x="20531" y="13687"/>
                  <a:pt x="20500" y="13719"/>
                  <a:pt x="20531" y="13719"/>
                </a:cubicBezTo>
                <a:cubicBezTo>
                  <a:pt x="20531" y="13719"/>
                  <a:pt x="20531" y="13719"/>
                  <a:pt x="20531" y="13719"/>
                </a:cubicBezTo>
                <a:cubicBezTo>
                  <a:pt x="20563" y="13719"/>
                  <a:pt x="20563" y="13719"/>
                  <a:pt x="20594" y="13719"/>
                </a:cubicBezTo>
                <a:cubicBezTo>
                  <a:pt x="20625" y="13750"/>
                  <a:pt x="20688" y="13750"/>
                  <a:pt x="20719" y="13750"/>
                </a:cubicBezTo>
                <a:cubicBezTo>
                  <a:pt x="20813" y="13781"/>
                  <a:pt x="20875" y="13781"/>
                  <a:pt x="20938" y="13781"/>
                </a:cubicBezTo>
                <a:cubicBezTo>
                  <a:pt x="20969" y="13781"/>
                  <a:pt x="20969" y="13781"/>
                  <a:pt x="20969" y="13781"/>
                </a:cubicBezTo>
                <a:cubicBezTo>
                  <a:pt x="21031" y="13781"/>
                  <a:pt x="21063" y="13781"/>
                  <a:pt x="21094" y="13781"/>
                </a:cubicBezTo>
                <a:cubicBezTo>
                  <a:pt x="21125" y="13750"/>
                  <a:pt x="21125" y="13750"/>
                  <a:pt x="21156" y="13750"/>
                </a:cubicBezTo>
                <a:cubicBezTo>
                  <a:pt x="21219" y="13687"/>
                  <a:pt x="21250" y="13625"/>
                  <a:pt x="21281" y="13562"/>
                </a:cubicBezTo>
                <a:cubicBezTo>
                  <a:pt x="21406" y="13562"/>
                  <a:pt x="21531" y="13562"/>
                  <a:pt x="21656" y="13562"/>
                </a:cubicBezTo>
                <a:cubicBezTo>
                  <a:pt x="21938" y="13531"/>
                  <a:pt x="22188" y="13531"/>
                  <a:pt x="22438" y="13500"/>
                </a:cubicBezTo>
                <a:cubicBezTo>
                  <a:pt x="22563" y="13500"/>
                  <a:pt x="22688" y="13500"/>
                  <a:pt x="22844" y="13469"/>
                </a:cubicBezTo>
                <a:cubicBezTo>
                  <a:pt x="23406" y="13406"/>
                  <a:pt x="24031" y="13531"/>
                  <a:pt x="24594" y="13312"/>
                </a:cubicBezTo>
                <a:cubicBezTo>
                  <a:pt x="24625" y="13312"/>
                  <a:pt x="24656" y="13281"/>
                  <a:pt x="24688" y="13281"/>
                </a:cubicBezTo>
                <a:cubicBezTo>
                  <a:pt x="24750" y="13250"/>
                  <a:pt x="24844" y="13219"/>
                  <a:pt x="24906" y="13250"/>
                </a:cubicBezTo>
                <a:cubicBezTo>
                  <a:pt x="25313" y="13375"/>
                  <a:pt x="25750" y="13187"/>
                  <a:pt x="26156" y="13250"/>
                </a:cubicBezTo>
                <a:cubicBezTo>
                  <a:pt x="26219" y="13250"/>
                  <a:pt x="26281" y="13250"/>
                  <a:pt x="26344" y="13281"/>
                </a:cubicBezTo>
                <a:cubicBezTo>
                  <a:pt x="26375" y="13281"/>
                  <a:pt x="26438" y="13281"/>
                  <a:pt x="26500" y="13281"/>
                </a:cubicBezTo>
                <a:cubicBezTo>
                  <a:pt x="26594" y="13312"/>
                  <a:pt x="26719" y="13281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781" y="13219"/>
                  <a:pt x="26781" y="13219"/>
                  <a:pt x="26781" y="13219"/>
                </a:cubicBezTo>
                <a:cubicBezTo>
                  <a:pt x="26813" y="13219"/>
                  <a:pt x="26875" y="13219"/>
                  <a:pt x="26906" y="13219"/>
                </a:cubicBezTo>
                <a:cubicBezTo>
                  <a:pt x="26969" y="13250"/>
                  <a:pt x="27031" y="13281"/>
                  <a:pt x="27125" y="13312"/>
                </a:cubicBezTo>
                <a:cubicBezTo>
                  <a:pt x="27250" y="13344"/>
                  <a:pt x="27406" y="13312"/>
                  <a:pt x="27563" y="13281"/>
                </a:cubicBezTo>
                <a:cubicBezTo>
                  <a:pt x="27594" y="13312"/>
                  <a:pt x="27594" y="13312"/>
                  <a:pt x="27625" y="13312"/>
                </a:cubicBezTo>
                <a:cubicBezTo>
                  <a:pt x="27656" y="13312"/>
                  <a:pt x="27688" y="13281"/>
                  <a:pt x="27719" y="13281"/>
                </a:cubicBezTo>
                <a:cubicBezTo>
                  <a:pt x="27750" y="13281"/>
                  <a:pt x="27750" y="13250"/>
                  <a:pt x="27781" y="13250"/>
                </a:cubicBezTo>
                <a:cubicBezTo>
                  <a:pt x="27813" y="13250"/>
                  <a:pt x="27813" y="13250"/>
                  <a:pt x="27844" y="13250"/>
                </a:cubicBezTo>
                <a:cubicBezTo>
                  <a:pt x="27875" y="13250"/>
                  <a:pt x="27906" y="13250"/>
                  <a:pt x="27938" y="13250"/>
                </a:cubicBezTo>
                <a:cubicBezTo>
                  <a:pt x="27938" y="13250"/>
                  <a:pt x="27938" y="13250"/>
                  <a:pt x="27938" y="13250"/>
                </a:cubicBezTo>
                <a:cubicBezTo>
                  <a:pt x="27969" y="13219"/>
                  <a:pt x="27969" y="13187"/>
                  <a:pt x="27938" y="13156"/>
                </a:cubicBezTo>
                <a:cubicBezTo>
                  <a:pt x="28063" y="13156"/>
                  <a:pt x="28219" y="13156"/>
                  <a:pt x="28219" y="13250"/>
                </a:cubicBezTo>
                <a:cubicBezTo>
                  <a:pt x="28219" y="13344"/>
                  <a:pt x="28219" y="13406"/>
                  <a:pt x="28281" y="13437"/>
                </a:cubicBezTo>
                <a:cubicBezTo>
                  <a:pt x="28313" y="13469"/>
                  <a:pt x="28406" y="13469"/>
                  <a:pt x="28563" y="13500"/>
                </a:cubicBezTo>
                <a:cubicBezTo>
                  <a:pt x="28625" y="13500"/>
                  <a:pt x="28688" y="13500"/>
                  <a:pt x="28781" y="13469"/>
                </a:cubicBezTo>
                <a:cubicBezTo>
                  <a:pt x="28781" y="13469"/>
                  <a:pt x="28813" y="13469"/>
                  <a:pt x="28813" y="13469"/>
                </a:cubicBezTo>
                <a:cubicBezTo>
                  <a:pt x="28844" y="13469"/>
                  <a:pt x="28906" y="13469"/>
                  <a:pt x="28938" y="13469"/>
                </a:cubicBezTo>
                <a:cubicBezTo>
                  <a:pt x="29031" y="13469"/>
                  <a:pt x="29125" y="13531"/>
                  <a:pt x="29156" y="13625"/>
                </a:cubicBezTo>
                <a:cubicBezTo>
                  <a:pt x="29156" y="13625"/>
                  <a:pt x="29188" y="13656"/>
                  <a:pt x="29188" y="13656"/>
                </a:cubicBezTo>
                <a:cubicBezTo>
                  <a:pt x="29219" y="13656"/>
                  <a:pt x="29219" y="13625"/>
                  <a:pt x="29250" y="13625"/>
                </a:cubicBezTo>
                <a:cubicBezTo>
                  <a:pt x="29281" y="13594"/>
                  <a:pt x="29313" y="13594"/>
                  <a:pt x="29344" y="13562"/>
                </a:cubicBezTo>
                <a:cubicBezTo>
                  <a:pt x="29406" y="13531"/>
                  <a:pt x="29469" y="13531"/>
                  <a:pt x="29531" y="13531"/>
                </a:cubicBezTo>
                <a:cubicBezTo>
                  <a:pt x="29563" y="13531"/>
                  <a:pt x="29594" y="13531"/>
                  <a:pt x="29625" y="13531"/>
                </a:cubicBezTo>
                <a:cubicBezTo>
                  <a:pt x="29781" y="13531"/>
                  <a:pt x="29906" y="13594"/>
                  <a:pt x="30031" y="13594"/>
                </a:cubicBezTo>
                <a:cubicBezTo>
                  <a:pt x="30375" y="13594"/>
                  <a:pt x="30688" y="13594"/>
                  <a:pt x="31031" y="13562"/>
                </a:cubicBezTo>
                <a:cubicBezTo>
                  <a:pt x="31250" y="13562"/>
                  <a:pt x="31469" y="13531"/>
                  <a:pt x="31688" y="13531"/>
                </a:cubicBezTo>
                <a:cubicBezTo>
                  <a:pt x="32000" y="13500"/>
                  <a:pt x="32344" y="13469"/>
                  <a:pt x="32688" y="13469"/>
                </a:cubicBezTo>
                <a:cubicBezTo>
                  <a:pt x="32656" y="13437"/>
                  <a:pt x="32625" y="13437"/>
                  <a:pt x="32594" y="13406"/>
                </a:cubicBezTo>
                <a:cubicBezTo>
                  <a:pt x="32531" y="13375"/>
                  <a:pt x="32469" y="13344"/>
                  <a:pt x="32406" y="13344"/>
                </a:cubicBezTo>
                <a:cubicBezTo>
                  <a:pt x="32375" y="13344"/>
                  <a:pt x="32344" y="13312"/>
                  <a:pt x="32313" y="13312"/>
                </a:cubicBezTo>
                <a:cubicBezTo>
                  <a:pt x="32188" y="13281"/>
                  <a:pt x="32094" y="13281"/>
                  <a:pt x="31969" y="13250"/>
                </a:cubicBezTo>
                <a:cubicBezTo>
                  <a:pt x="31781" y="13250"/>
                  <a:pt x="31625" y="13219"/>
                  <a:pt x="31438" y="13219"/>
                </a:cubicBezTo>
                <a:cubicBezTo>
                  <a:pt x="31281" y="13187"/>
                  <a:pt x="31094" y="13187"/>
                  <a:pt x="30938" y="13125"/>
                </a:cubicBezTo>
                <a:cubicBezTo>
                  <a:pt x="30750" y="13094"/>
                  <a:pt x="30594" y="13062"/>
                  <a:pt x="30406" y="13062"/>
                </a:cubicBezTo>
                <a:cubicBezTo>
                  <a:pt x="30219" y="13062"/>
                  <a:pt x="30063" y="13094"/>
                  <a:pt x="29875" y="13156"/>
                </a:cubicBezTo>
                <a:cubicBezTo>
                  <a:pt x="29844" y="13156"/>
                  <a:pt x="29813" y="13156"/>
                  <a:pt x="29750" y="13187"/>
                </a:cubicBezTo>
                <a:cubicBezTo>
                  <a:pt x="29719" y="13187"/>
                  <a:pt x="29688" y="13187"/>
                  <a:pt x="29688" y="13187"/>
                </a:cubicBezTo>
                <a:cubicBezTo>
                  <a:pt x="29656" y="13156"/>
                  <a:pt x="29625" y="13156"/>
                  <a:pt x="29594" y="13156"/>
                </a:cubicBezTo>
                <a:cubicBezTo>
                  <a:pt x="29594" y="13156"/>
                  <a:pt x="29594" y="13125"/>
                  <a:pt x="29563" y="13125"/>
                </a:cubicBezTo>
                <a:cubicBezTo>
                  <a:pt x="29563" y="13125"/>
                  <a:pt x="29531" y="13094"/>
                  <a:pt x="29500" y="13094"/>
                </a:cubicBezTo>
                <a:cubicBezTo>
                  <a:pt x="29438" y="13062"/>
                  <a:pt x="29406" y="13062"/>
                  <a:pt x="29375" y="13062"/>
                </a:cubicBezTo>
                <a:cubicBezTo>
                  <a:pt x="29344" y="13062"/>
                  <a:pt x="29313" y="13094"/>
                  <a:pt x="29281" y="13094"/>
                </a:cubicBezTo>
                <a:cubicBezTo>
                  <a:pt x="29281" y="13125"/>
                  <a:pt x="29250" y="13125"/>
                  <a:pt x="29250" y="13125"/>
                </a:cubicBezTo>
                <a:cubicBezTo>
                  <a:pt x="29219" y="13156"/>
                  <a:pt x="29219" y="13156"/>
                  <a:pt x="29219" y="13156"/>
                </a:cubicBezTo>
                <a:cubicBezTo>
                  <a:pt x="29156" y="13219"/>
                  <a:pt x="29094" y="13250"/>
                  <a:pt x="29063" y="13250"/>
                </a:cubicBezTo>
                <a:cubicBezTo>
                  <a:pt x="29031" y="13250"/>
                  <a:pt x="29031" y="13250"/>
                  <a:pt x="29000" y="13250"/>
                </a:cubicBezTo>
                <a:cubicBezTo>
                  <a:pt x="28969" y="13250"/>
                  <a:pt x="28969" y="13250"/>
                  <a:pt x="28938" y="13219"/>
                </a:cubicBezTo>
                <a:cubicBezTo>
                  <a:pt x="28906" y="13219"/>
                  <a:pt x="28875" y="13187"/>
                  <a:pt x="28844" y="13156"/>
                </a:cubicBezTo>
                <a:cubicBezTo>
                  <a:pt x="28781" y="13000"/>
                  <a:pt x="28688" y="12906"/>
                  <a:pt x="28500" y="12875"/>
                </a:cubicBezTo>
                <a:cubicBezTo>
                  <a:pt x="28438" y="12875"/>
                  <a:pt x="28375" y="12875"/>
                  <a:pt x="28281" y="12875"/>
                </a:cubicBezTo>
                <a:cubicBezTo>
                  <a:pt x="28250" y="12875"/>
                  <a:pt x="28250" y="12906"/>
                  <a:pt x="28219" y="12906"/>
                </a:cubicBezTo>
                <a:cubicBezTo>
                  <a:pt x="28188" y="12906"/>
                  <a:pt x="28188" y="12875"/>
                  <a:pt x="28156" y="12875"/>
                </a:cubicBezTo>
                <a:cubicBezTo>
                  <a:pt x="28125" y="12875"/>
                  <a:pt x="28063" y="12875"/>
                  <a:pt x="28031" y="12875"/>
                </a:cubicBezTo>
                <a:cubicBezTo>
                  <a:pt x="27969" y="12844"/>
                  <a:pt x="27875" y="12812"/>
                  <a:pt x="27781" y="12781"/>
                </a:cubicBezTo>
                <a:cubicBezTo>
                  <a:pt x="27875" y="12812"/>
                  <a:pt x="27906" y="12844"/>
                  <a:pt x="27906" y="12875"/>
                </a:cubicBezTo>
                <a:cubicBezTo>
                  <a:pt x="27906" y="12906"/>
                  <a:pt x="27875" y="12906"/>
                  <a:pt x="27844" y="12937"/>
                </a:cubicBezTo>
                <a:cubicBezTo>
                  <a:pt x="27813" y="12937"/>
                  <a:pt x="27781" y="12969"/>
                  <a:pt x="27750" y="12969"/>
                </a:cubicBezTo>
                <a:cubicBezTo>
                  <a:pt x="27656" y="12969"/>
                  <a:pt x="27563" y="12937"/>
                  <a:pt x="27531" y="12937"/>
                </a:cubicBezTo>
                <a:cubicBezTo>
                  <a:pt x="27469" y="12937"/>
                  <a:pt x="27438" y="12937"/>
                  <a:pt x="27438" y="12906"/>
                </a:cubicBezTo>
                <a:cubicBezTo>
                  <a:pt x="27406" y="12906"/>
                  <a:pt x="27406" y="12906"/>
                  <a:pt x="27406" y="12906"/>
                </a:cubicBezTo>
                <a:cubicBezTo>
                  <a:pt x="27406" y="12875"/>
                  <a:pt x="27438" y="12875"/>
                  <a:pt x="27438" y="12875"/>
                </a:cubicBezTo>
                <a:cubicBezTo>
                  <a:pt x="27438" y="12844"/>
                  <a:pt x="27469" y="12812"/>
                  <a:pt x="27531" y="12781"/>
                </a:cubicBezTo>
                <a:cubicBezTo>
                  <a:pt x="27500" y="12781"/>
                  <a:pt x="27469" y="12781"/>
                  <a:pt x="27469" y="12781"/>
                </a:cubicBezTo>
                <a:cubicBezTo>
                  <a:pt x="27406" y="12781"/>
                  <a:pt x="27375" y="12812"/>
                  <a:pt x="27313" y="12844"/>
                </a:cubicBezTo>
                <a:cubicBezTo>
                  <a:pt x="27250" y="12875"/>
                  <a:pt x="27219" y="12906"/>
                  <a:pt x="27156" y="12906"/>
                </a:cubicBezTo>
                <a:cubicBezTo>
                  <a:pt x="27125" y="12906"/>
                  <a:pt x="27094" y="12906"/>
                  <a:pt x="27063" y="12937"/>
                </a:cubicBezTo>
                <a:cubicBezTo>
                  <a:pt x="27063" y="12937"/>
                  <a:pt x="27031" y="12937"/>
                  <a:pt x="27031" y="12937"/>
                </a:cubicBezTo>
                <a:cubicBezTo>
                  <a:pt x="27000" y="12969"/>
                  <a:pt x="27000" y="13000"/>
                  <a:pt x="27031" y="13031"/>
                </a:cubicBezTo>
                <a:cubicBezTo>
                  <a:pt x="27031" y="13031"/>
                  <a:pt x="27063" y="13031"/>
                  <a:pt x="27063" y="13031"/>
                </a:cubicBezTo>
                <a:cubicBezTo>
                  <a:pt x="27125" y="13094"/>
                  <a:pt x="27188" y="13125"/>
                  <a:pt x="27094" y="13156"/>
                </a:cubicBezTo>
                <a:cubicBezTo>
                  <a:pt x="27063" y="13156"/>
                  <a:pt x="27063" y="13156"/>
                  <a:pt x="27031" y="13156"/>
                </a:cubicBezTo>
                <a:cubicBezTo>
                  <a:pt x="27031" y="13156"/>
                  <a:pt x="27000" y="13156"/>
                  <a:pt x="27000" y="13156"/>
                </a:cubicBezTo>
                <a:cubicBezTo>
                  <a:pt x="27000" y="13156"/>
                  <a:pt x="26969" y="13156"/>
                  <a:pt x="26938" y="13125"/>
                </a:cubicBezTo>
                <a:cubicBezTo>
                  <a:pt x="26938" y="13125"/>
                  <a:pt x="26906" y="13125"/>
                  <a:pt x="26906" y="13094"/>
                </a:cubicBezTo>
                <a:cubicBezTo>
                  <a:pt x="26875" y="13094"/>
                  <a:pt x="26875" y="13094"/>
                  <a:pt x="26844" y="13094"/>
                </a:cubicBezTo>
                <a:cubicBezTo>
                  <a:pt x="26844" y="13062"/>
                  <a:pt x="26813" y="13062"/>
                  <a:pt x="26813" y="13062"/>
                </a:cubicBezTo>
                <a:cubicBezTo>
                  <a:pt x="26813" y="13062"/>
                  <a:pt x="26781" y="13062"/>
                  <a:pt x="26781" y="13062"/>
                </a:cubicBezTo>
                <a:cubicBezTo>
                  <a:pt x="26719" y="13062"/>
                  <a:pt x="26688" y="13062"/>
                  <a:pt x="26625" y="13094"/>
                </a:cubicBezTo>
                <a:cubicBezTo>
                  <a:pt x="26594" y="13094"/>
                  <a:pt x="26594" y="13094"/>
                  <a:pt x="26594" y="13094"/>
                </a:cubicBezTo>
                <a:cubicBezTo>
                  <a:pt x="26563" y="13094"/>
                  <a:pt x="26531" y="13094"/>
                  <a:pt x="26500" y="13094"/>
                </a:cubicBezTo>
                <a:cubicBezTo>
                  <a:pt x="26500" y="13125"/>
                  <a:pt x="26500" y="13125"/>
                  <a:pt x="26469" y="13125"/>
                </a:cubicBezTo>
                <a:cubicBezTo>
                  <a:pt x="26438" y="13125"/>
                  <a:pt x="26406" y="13156"/>
                  <a:pt x="26344" y="13156"/>
                </a:cubicBezTo>
                <a:cubicBezTo>
                  <a:pt x="26156" y="13094"/>
                  <a:pt x="25938" y="13094"/>
                  <a:pt x="25750" y="13094"/>
                </a:cubicBezTo>
                <a:cubicBezTo>
                  <a:pt x="25563" y="13094"/>
                  <a:pt x="25375" y="13125"/>
                  <a:pt x="25188" y="13156"/>
                </a:cubicBezTo>
                <a:cubicBezTo>
                  <a:pt x="25125" y="13187"/>
                  <a:pt x="25094" y="13187"/>
                  <a:pt x="25031" y="13187"/>
                </a:cubicBezTo>
                <a:cubicBezTo>
                  <a:pt x="25000" y="13187"/>
                  <a:pt x="24938" y="13187"/>
                  <a:pt x="24906" y="13187"/>
                </a:cubicBezTo>
                <a:cubicBezTo>
                  <a:pt x="24813" y="13187"/>
                  <a:pt x="24750" y="13156"/>
                  <a:pt x="24688" y="13156"/>
                </a:cubicBezTo>
                <a:cubicBezTo>
                  <a:pt x="24656" y="13125"/>
                  <a:pt x="24625" y="13125"/>
                  <a:pt x="24625" y="13125"/>
                </a:cubicBezTo>
                <a:cubicBezTo>
                  <a:pt x="24594" y="13125"/>
                  <a:pt x="24594" y="13125"/>
                  <a:pt x="24594" y="13125"/>
                </a:cubicBezTo>
                <a:cubicBezTo>
                  <a:pt x="24594" y="13094"/>
                  <a:pt x="24563" y="13094"/>
                  <a:pt x="24563" y="13062"/>
                </a:cubicBezTo>
                <a:cubicBezTo>
                  <a:pt x="24563" y="13062"/>
                  <a:pt x="24563" y="13062"/>
                  <a:pt x="24563" y="13062"/>
                </a:cubicBezTo>
                <a:cubicBezTo>
                  <a:pt x="24531" y="13031"/>
                  <a:pt x="24531" y="13031"/>
                  <a:pt x="24531" y="13031"/>
                </a:cubicBezTo>
                <a:cubicBezTo>
                  <a:pt x="24531" y="13031"/>
                  <a:pt x="24500" y="13031"/>
                  <a:pt x="24469" y="13031"/>
                </a:cubicBezTo>
                <a:cubicBezTo>
                  <a:pt x="24375" y="13062"/>
                  <a:pt x="24375" y="13125"/>
                  <a:pt x="24406" y="13187"/>
                </a:cubicBezTo>
                <a:cubicBezTo>
                  <a:pt x="24406" y="13219"/>
                  <a:pt x="24469" y="13250"/>
                  <a:pt x="24469" y="13281"/>
                </a:cubicBezTo>
                <a:cubicBezTo>
                  <a:pt x="24469" y="13281"/>
                  <a:pt x="24469" y="13281"/>
                  <a:pt x="24375" y="13312"/>
                </a:cubicBezTo>
                <a:cubicBezTo>
                  <a:pt x="24344" y="13312"/>
                  <a:pt x="24313" y="13312"/>
                  <a:pt x="24250" y="13312"/>
                </a:cubicBezTo>
                <a:cubicBezTo>
                  <a:pt x="23969" y="13312"/>
                  <a:pt x="23688" y="13375"/>
                  <a:pt x="23406" y="13312"/>
                </a:cubicBezTo>
                <a:cubicBezTo>
                  <a:pt x="23406" y="13281"/>
                  <a:pt x="23406" y="13281"/>
                  <a:pt x="23406" y="13281"/>
                </a:cubicBezTo>
                <a:cubicBezTo>
                  <a:pt x="23438" y="13250"/>
                  <a:pt x="23500" y="13250"/>
                  <a:pt x="23563" y="13219"/>
                </a:cubicBezTo>
                <a:cubicBezTo>
                  <a:pt x="23594" y="13219"/>
                  <a:pt x="23594" y="13187"/>
                  <a:pt x="23625" y="13187"/>
                </a:cubicBezTo>
                <a:cubicBezTo>
                  <a:pt x="23625" y="13187"/>
                  <a:pt x="23625" y="13187"/>
                  <a:pt x="23625" y="13187"/>
                </a:cubicBezTo>
                <a:cubicBezTo>
                  <a:pt x="23656" y="13156"/>
                  <a:pt x="23656" y="13156"/>
                  <a:pt x="23656" y="13156"/>
                </a:cubicBezTo>
                <a:cubicBezTo>
                  <a:pt x="23656" y="13156"/>
                  <a:pt x="23656" y="13125"/>
                  <a:pt x="23656" y="13125"/>
                </a:cubicBezTo>
                <a:cubicBezTo>
                  <a:pt x="23625" y="13094"/>
                  <a:pt x="23625" y="13094"/>
                  <a:pt x="23594" y="13094"/>
                </a:cubicBezTo>
                <a:cubicBezTo>
                  <a:pt x="23500" y="13031"/>
                  <a:pt x="23469" y="13000"/>
                  <a:pt x="23500" y="12969"/>
                </a:cubicBezTo>
                <a:cubicBezTo>
                  <a:pt x="23500" y="12969"/>
                  <a:pt x="23531" y="12969"/>
                  <a:pt x="23531" y="12969"/>
                </a:cubicBezTo>
                <a:cubicBezTo>
                  <a:pt x="23531" y="12969"/>
                  <a:pt x="23563" y="12969"/>
                  <a:pt x="23563" y="12937"/>
                </a:cubicBezTo>
                <a:cubicBezTo>
                  <a:pt x="23594" y="12937"/>
                  <a:pt x="23625" y="12937"/>
                  <a:pt x="23656" y="12937"/>
                </a:cubicBezTo>
                <a:cubicBezTo>
                  <a:pt x="23688" y="12906"/>
                  <a:pt x="23719" y="12906"/>
                  <a:pt x="23750" y="12906"/>
                </a:cubicBezTo>
                <a:cubicBezTo>
                  <a:pt x="23750" y="12906"/>
                  <a:pt x="23781" y="12906"/>
                  <a:pt x="23813" y="12906"/>
                </a:cubicBezTo>
                <a:cubicBezTo>
                  <a:pt x="23844" y="12906"/>
                  <a:pt x="23875" y="12906"/>
                  <a:pt x="23906" y="12906"/>
                </a:cubicBezTo>
                <a:cubicBezTo>
                  <a:pt x="23938" y="12875"/>
                  <a:pt x="24000" y="12875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031" y="12812"/>
                  <a:pt x="24031" y="12812"/>
                  <a:pt x="24031" y="12812"/>
                </a:cubicBezTo>
                <a:cubicBezTo>
                  <a:pt x="24125" y="12906"/>
                  <a:pt x="24313" y="12875"/>
                  <a:pt x="24438" y="12875"/>
                </a:cubicBezTo>
                <a:cubicBezTo>
                  <a:pt x="24469" y="12875"/>
                  <a:pt x="24500" y="12906"/>
                  <a:pt x="24531" y="12906"/>
                </a:cubicBezTo>
                <a:cubicBezTo>
                  <a:pt x="24563" y="12906"/>
                  <a:pt x="24563" y="12906"/>
                  <a:pt x="24594" y="12906"/>
                </a:cubicBezTo>
                <a:cubicBezTo>
                  <a:pt x="24781" y="12969"/>
                  <a:pt x="24844" y="12875"/>
                  <a:pt x="24938" y="12812"/>
                </a:cubicBezTo>
                <a:cubicBezTo>
                  <a:pt x="25000" y="12812"/>
                  <a:pt x="25031" y="12812"/>
                  <a:pt x="25063" y="12781"/>
                </a:cubicBezTo>
                <a:cubicBezTo>
                  <a:pt x="25094" y="12812"/>
                  <a:pt x="25125" y="12812"/>
                  <a:pt x="25156" y="12844"/>
                </a:cubicBezTo>
                <a:cubicBezTo>
                  <a:pt x="25281" y="12875"/>
                  <a:pt x="25406" y="12875"/>
                  <a:pt x="25531" y="12875"/>
                </a:cubicBezTo>
                <a:cubicBezTo>
                  <a:pt x="25594" y="12875"/>
                  <a:pt x="25656" y="12844"/>
                  <a:pt x="25719" y="12844"/>
                </a:cubicBezTo>
                <a:cubicBezTo>
                  <a:pt x="25750" y="12844"/>
                  <a:pt x="25781" y="12844"/>
                  <a:pt x="25813" y="12844"/>
                </a:cubicBezTo>
                <a:cubicBezTo>
                  <a:pt x="25875" y="12844"/>
                  <a:pt x="25938" y="12844"/>
                  <a:pt x="25969" y="12812"/>
                </a:cubicBezTo>
                <a:cubicBezTo>
                  <a:pt x="25969" y="12812"/>
                  <a:pt x="25969" y="12812"/>
                  <a:pt x="25969" y="12812"/>
                </a:cubicBezTo>
                <a:cubicBezTo>
                  <a:pt x="25969" y="12781"/>
                  <a:pt x="25969" y="12781"/>
                  <a:pt x="25969" y="12781"/>
                </a:cubicBezTo>
                <a:cubicBezTo>
                  <a:pt x="25969" y="12750"/>
                  <a:pt x="25938" y="12719"/>
                  <a:pt x="25906" y="12719"/>
                </a:cubicBezTo>
                <a:cubicBezTo>
                  <a:pt x="25906" y="12719"/>
                  <a:pt x="25875" y="12719"/>
                  <a:pt x="25844" y="12719"/>
                </a:cubicBezTo>
                <a:cubicBezTo>
                  <a:pt x="25813" y="12719"/>
                  <a:pt x="25813" y="12719"/>
                  <a:pt x="25813" y="12719"/>
                </a:cubicBezTo>
                <a:cubicBezTo>
                  <a:pt x="25781" y="12719"/>
                  <a:pt x="25750" y="12719"/>
                  <a:pt x="25719" y="12719"/>
                </a:cubicBezTo>
                <a:cubicBezTo>
                  <a:pt x="25594" y="12750"/>
                  <a:pt x="25469" y="12750"/>
                  <a:pt x="25375" y="12750"/>
                </a:cubicBezTo>
                <a:cubicBezTo>
                  <a:pt x="25281" y="12750"/>
                  <a:pt x="25219" y="12750"/>
                  <a:pt x="25188" y="12719"/>
                </a:cubicBezTo>
                <a:cubicBezTo>
                  <a:pt x="25156" y="12687"/>
                  <a:pt x="25094" y="12687"/>
                  <a:pt x="25063" y="12656"/>
                </a:cubicBezTo>
                <a:cubicBezTo>
                  <a:pt x="24906" y="12594"/>
                  <a:pt x="24750" y="12562"/>
                  <a:pt x="24563" y="12531"/>
                </a:cubicBezTo>
                <a:cubicBezTo>
                  <a:pt x="24469" y="12531"/>
                  <a:pt x="24406" y="12531"/>
                  <a:pt x="24313" y="12500"/>
                </a:cubicBezTo>
                <a:cubicBezTo>
                  <a:pt x="24250" y="12500"/>
                  <a:pt x="24219" y="12500"/>
                  <a:pt x="24188" y="12500"/>
                </a:cubicBezTo>
                <a:cubicBezTo>
                  <a:pt x="24094" y="12500"/>
                  <a:pt x="24000" y="12469"/>
                  <a:pt x="23906" y="12469"/>
                </a:cubicBezTo>
                <a:cubicBezTo>
                  <a:pt x="23844" y="12469"/>
                  <a:pt x="23750" y="12469"/>
                  <a:pt x="23688" y="12469"/>
                </a:cubicBezTo>
                <a:cubicBezTo>
                  <a:pt x="23625" y="12500"/>
                  <a:pt x="23563" y="12531"/>
                  <a:pt x="23531" y="12594"/>
                </a:cubicBezTo>
                <a:cubicBezTo>
                  <a:pt x="23500" y="12594"/>
                  <a:pt x="23500" y="12594"/>
                  <a:pt x="23500" y="12625"/>
                </a:cubicBezTo>
                <a:cubicBezTo>
                  <a:pt x="23469" y="12625"/>
                  <a:pt x="23469" y="12625"/>
                  <a:pt x="23438" y="12625"/>
                </a:cubicBezTo>
                <a:cubicBezTo>
                  <a:pt x="23438" y="12625"/>
                  <a:pt x="23406" y="12625"/>
                  <a:pt x="23406" y="12625"/>
                </a:cubicBezTo>
                <a:cubicBezTo>
                  <a:pt x="23406" y="12625"/>
                  <a:pt x="23406" y="12625"/>
                  <a:pt x="23375" y="12625"/>
                </a:cubicBezTo>
                <a:cubicBezTo>
                  <a:pt x="23375" y="12594"/>
                  <a:pt x="23375" y="12594"/>
                  <a:pt x="23375" y="12594"/>
                </a:cubicBezTo>
                <a:cubicBezTo>
                  <a:pt x="23281" y="12406"/>
                  <a:pt x="23063" y="12469"/>
                  <a:pt x="22875" y="12437"/>
                </a:cubicBezTo>
                <a:cubicBezTo>
                  <a:pt x="22719" y="12406"/>
                  <a:pt x="22563" y="12406"/>
                  <a:pt x="22438" y="12375"/>
                </a:cubicBezTo>
                <a:cubicBezTo>
                  <a:pt x="22313" y="12344"/>
                  <a:pt x="22219" y="12344"/>
                  <a:pt x="22094" y="12281"/>
                </a:cubicBezTo>
                <a:cubicBezTo>
                  <a:pt x="22063" y="12281"/>
                  <a:pt x="22031" y="12250"/>
                  <a:pt x="22000" y="12250"/>
                </a:cubicBezTo>
                <a:cubicBezTo>
                  <a:pt x="22125" y="12156"/>
                  <a:pt x="22156" y="12250"/>
                  <a:pt x="22219" y="12250"/>
                </a:cubicBezTo>
                <a:cubicBezTo>
                  <a:pt x="22281" y="12250"/>
                  <a:pt x="22313" y="12250"/>
                  <a:pt x="22344" y="12219"/>
                </a:cubicBezTo>
                <a:cubicBezTo>
                  <a:pt x="22375" y="12219"/>
                  <a:pt x="22406" y="12219"/>
                  <a:pt x="22406" y="12156"/>
                </a:cubicBezTo>
                <a:cubicBezTo>
                  <a:pt x="22406" y="12156"/>
                  <a:pt x="22406" y="12125"/>
                  <a:pt x="22406" y="12125"/>
                </a:cubicBezTo>
                <a:cubicBezTo>
                  <a:pt x="22406" y="12094"/>
                  <a:pt x="22406" y="12094"/>
                  <a:pt x="22406" y="12094"/>
                </a:cubicBezTo>
                <a:cubicBezTo>
                  <a:pt x="22406" y="12094"/>
                  <a:pt x="22406" y="12062"/>
                  <a:pt x="22406" y="12062"/>
                </a:cubicBezTo>
                <a:cubicBezTo>
                  <a:pt x="22375" y="12062"/>
                  <a:pt x="22375" y="12062"/>
                  <a:pt x="22375" y="12031"/>
                </a:cubicBezTo>
                <a:cubicBezTo>
                  <a:pt x="22344" y="12031"/>
                  <a:pt x="22344" y="12031"/>
                  <a:pt x="22313" y="12031"/>
                </a:cubicBezTo>
                <a:cubicBezTo>
                  <a:pt x="22219" y="12031"/>
                  <a:pt x="22188" y="12031"/>
                  <a:pt x="22156" y="12031"/>
                </a:cubicBezTo>
                <a:cubicBezTo>
                  <a:pt x="22156" y="12031"/>
                  <a:pt x="22156" y="12000"/>
                  <a:pt x="22156" y="12000"/>
                </a:cubicBezTo>
                <a:cubicBezTo>
                  <a:pt x="22156" y="12000"/>
                  <a:pt x="22156" y="12000"/>
                  <a:pt x="22156" y="11969"/>
                </a:cubicBezTo>
                <a:cubicBezTo>
                  <a:pt x="22156" y="11969"/>
                  <a:pt x="22188" y="11969"/>
                  <a:pt x="22188" y="11937"/>
                </a:cubicBezTo>
                <a:cubicBezTo>
                  <a:pt x="22219" y="11937"/>
                  <a:pt x="22219" y="11906"/>
                  <a:pt x="22219" y="11906"/>
                </a:cubicBezTo>
                <a:cubicBezTo>
                  <a:pt x="22250" y="11875"/>
                  <a:pt x="22281" y="11844"/>
                  <a:pt x="22313" y="11844"/>
                </a:cubicBezTo>
                <a:cubicBezTo>
                  <a:pt x="22313" y="11844"/>
                  <a:pt x="22313" y="11812"/>
                  <a:pt x="22344" y="11812"/>
                </a:cubicBezTo>
                <a:cubicBezTo>
                  <a:pt x="22406" y="11781"/>
                  <a:pt x="22500" y="11750"/>
                  <a:pt x="22625" y="11750"/>
                </a:cubicBezTo>
                <a:cubicBezTo>
                  <a:pt x="22688" y="11750"/>
                  <a:pt x="22719" y="11750"/>
                  <a:pt x="22781" y="11750"/>
                </a:cubicBezTo>
                <a:cubicBezTo>
                  <a:pt x="22813" y="11719"/>
                  <a:pt x="22875" y="11687"/>
                  <a:pt x="22875" y="11656"/>
                </a:cubicBezTo>
                <a:cubicBezTo>
                  <a:pt x="22875" y="11625"/>
                  <a:pt x="22906" y="11594"/>
                  <a:pt x="22875" y="11562"/>
                </a:cubicBezTo>
                <a:cubicBezTo>
                  <a:pt x="22906" y="11562"/>
                  <a:pt x="22906" y="11594"/>
                  <a:pt x="22938" y="11594"/>
                </a:cubicBezTo>
                <a:cubicBezTo>
                  <a:pt x="22969" y="11656"/>
                  <a:pt x="23031" y="11687"/>
                  <a:pt x="23094" y="11687"/>
                </a:cubicBezTo>
                <a:cubicBezTo>
                  <a:pt x="23219" y="11750"/>
                  <a:pt x="23375" y="11750"/>
                  <a:pt x="23500" y="11719"/>
                </a:cubicBezTo>
                <a:cubicBezTo>
                  <a:pt x="23563" y="11719"/>
                  <a:pt x="23594" y="11719"/>
                  <a:pt x="23625" y="11719"/>
                </a:cubicBezTo>
                <a:cubicBezTo>
                  <a:pt x="24000" y="11656"/>
                  <a:pt x="24469" y="11656"/>
                  <a:pt x="24781" y="11531"/>
                </a:cubicBezTo>
                <a:cubicBezTo>
                  <a:pt x="24813" y="11531"/>
                  <a:pt x="24813" y="11531"/>
                  <a:pt x="24844" y="11531"/>
                </a:cubicBezTo>
                <a:cubicBezTo>
                  <a:pt x="24875" y="11500"/>
                  <a:pt x="24938" y="11500"/>
                  <a:pt x="24969" y="11500"/>
                </a:cubicBezTo>
                <a:cubicBezTo>
                  <a:pt x="25063" y="11469"/>
                  <a:pt x="25188" y="11469"/>
                  <a:pt x="25281" y="11469"/>
                </a:cubicBezTo>
                <a:cubicBezTo>
                  <a:pt x="25469" y="11437"/>
                  <a:pt x="25594" y="11375"/>
                  <a:pt x="25688" y="11250"/>
                </a:cubicBezTo>
                <a:cubicBezTo>
                  <a:pt x="25719" y="11250"/>
                  <a:pt x="25781" y="11250"/>
                  <a:pt x="25813" y="11250"/>
                </a:cubicBezTo>
                <a:cubicBezTo>
                  <a:pt x="26125" y="11219"/>
                  <a:pt x="26344" y="11062"/>
                  <a:pt x="26656" y="11062"/>
                </a:cubicBezTo>
                <a:cubicBezTo>
                  <a:pt x="26750" y="11062"/>
                  <a:pt x="26875" y="11062"/>
                  <a:pt x="26969" y="11031"/>
                </a:cubicBezTo>
                <a:cubicBezTo>
                  <a:pt x="27000" y="11031"/>
                  <a:pt x="27063" y="11000"/>
                  <a:pt x="27094" y="11000"/>
                </a:cubicBezTo>
                <a:cubicBezTo>
                  <a:pt x="27313" y="10969"/>
                  <a:pt x="27500" y="10906"/>
                  <a:pt x="27719" y="10937"/>
                </a:cubicBezTo>
                <a:cubicBezTo>
                  <a:pt x="27750" y="10937"/>
                  <a:pt x="27813" y="10969"/>
                  <a:pt x="27875" y="10969"/>
                </a:cubicBezTo>
                <a:cubicBezTo>
                  <a:pt x="28000" y="11031"/>
                  <a:pt x="28188" y="11031"/>
                  <a:pt x="28344" y="11062"/>
                </a:cubicBezTo>
                <a:cubicBezTo>
                  <a:pt x="28406" y="11062"/>
                  <a:pt x="28438" y="11062"/>
                  <a:pt x="28469" y="11062"/>
                </a:cubicBezTo>
                <a:cubicBezTo>
                  <a:pt x="28531" y="11062"/>
                  <a:pt x="28594" y="11062"/>
                  <a:pt x="28656" y="11062"/>
                </a:cubicBezTo>
                <a:cubicBezTo>
                  <a:pt x="28844" y="11094"/>
                  <a:pt x="29000" y="11094"/>
                  <a:pt x="29188" y="11125"/>
                </a:cubicBezTo>
                <a:cubicBezTo>
                  <a:pt x="29250" y="11156"/>
                  <a:pt x="29313" y="11156"/>
                  <a:pt x="29344" y="11187"/>
                </a:cubicBezTo>
                <a:cubicBezTo>
                  <a:pt x="29406" y="11187"/>
                  <a:pt x="29438" y="11187"/>
                  <a:pt x="29469" y="11187"/>
                </a:cubicBezTo>
                <a:cubicBezTo>
                  <a:pt x="29500" y="11156"/>
                  <a:pt x="29531" y="11156"/>
                  <a:pt x="29531" y="11125"/>
                </a:cubicBezTo>
                <a:cubicBezTo>
                  <a:pt x="29531" y="11125"/>
                  <a:pt x="29563" y="11125"/>
                  <a:pt x="29563" y="11125"/>
                </a:cubicBezTo>
                <a:cubicBezTo>
                  <a:pt x="29563" y="11094"/>
                  <a:pt x="29531" y="11062"/>
                  <a:pt x="29500" y="11062"/>
                </a:cubicBezTo>
                <a:cubicBezTo>
                  <a:pt x="29469" y="11062"/>
                  <a:pt x="29469" y="11062"/>
                  <a:pt x="29438" y="11062"/>
                </a:cubicBezTo>
                <a:cubicBezTo>
                  <a:pt x="29406" y="11062"/>
                  <a:pt x="29344" y="11062"/>
                  <a:pt x="29344" y="11031"/>
                </a:cubicBezTo>
                <a:cubicBezTo>
                  <a:pt x="29313" y="11031"/>
                  <a:pt x="29313" y="11031"/>
                  <a:pt x="29313" y="11000"/>
                </a:cubicBezTo>
                <a:cubicBezTo>
                  <a:pt x="29313" y="11000"/>
                  <a:pt x="29313" y="10969"/>
                  <a:pt x="29313" y="10969"/>
                </a:cubicBezTo>
                <a:cubicBezTo>
                  <a:pt x="29344" y="10875"/>
                  <a:pt x="29438" y="10906"/>
                  <a:pt x="29531" y="10906"/>
                </a:cubicBezTo>
                <a:cubicBezTo>
                  <a:pt x="29656" y="10906"/>
                  <a:pt x="29750" y="10937"/>
                  <a:pt x="29875" y="10937"/>
                </a:cubicBezTo>
                <a:cubicBezTo>
                  <a:pt x="30000" y="10937"/>
                  <a:pt x="30125" y="10937"/>
                  <a:pt x="30219" y="10906"/>
                </a:cubicBezTo>
                <a:cubicBezTo>
                  <a:pt x="30250" y="10875"/>
                  <a:pt x="30281" y="10906"/>
                  <a:pt x="30281" y="10906"/>
                </a:cubicBezTo>
                <a:cubicBezTo>
                  <a:pt x="30313" y="10906"/>
                  <a:pt x="30313" y="10906"/>
                  <a:pt x="30344" y="10906"/>
                </a:cubicBezTo>
                <a:cubicBezTo>
                  <a:pt x="30344" y="10875"/>
                  <a:pt x="30344" y="10875"/>
                  <a:pt x="30344" y="10875"/>
                </a:cubicBezTo>
                <a:cubicBezTo>
                  <a:pt x="30344" y="10875"/>
                  <a:pt x="30344" y="10875"/>
                  <a:pt x="30344" y="10844"/>
                </a:cubicBezTo>
                <a:cubicBezTo>
                  <a:pt x="30375" y="10812"/>
                  <a:pt x="30375" y="10781"/>
                  <a:pt x="30313" y="10750"/>
                </a:cubicBezTo>
                <a:cubicBezTo>
                  <a:pt x="30313" y="10750"/>
                  <a:pt x="30313" y="10750"/>
                  <a:pt x="30281" y="10750"/>
                </a:cubicBezTo>
                <a:cubicBezTo>
                  <a:pt x="30188" y="10719"/>
                  <a:pt x="30094" y="10719"/>
                  <a:pt x="30031" y="10687"/>
                </a:cubicBezTo>
                <a:cubicBezTo>
                  <a:pt x="29969" y="10687"/>
                  <a:pt x="29875" y="10656"/>
                  <a:pt x="29906" y="10594"/>
                </a:cubicBezTo>
                <a:cubicBezTo>
                  <a:pt x="29938" y="10531"/>
                  <a:pt x="30031" y="10500"/>
                  <a:pt x="30094" y="10531"/>
                </a:cubicBezTo>
                <a:cubicBezTo>
                  <a:pt x="30281" y="10562"/>
                  <a:pt x="30469" y="10594"/>
                  <a:pt x="30656" y="10562"/>
                </a:cubicBezTo>
                <a:cubicBezTo>
                  <a:pt x="30719" y="10562"/>
                  <a:pt x="30781" y="10562"/>
                  <a:pt x="30844" y="10562"/>
                </a:cubicBezTo>
                <a:cubicBezTo>
                  <a:pt x="31094" y="10531"/>
                  <a:pt x="31344" y="10469"/>
                  <a:pt x="31594" y="10437"/>
                </a:cubicBezTo>
                <a:cubicBezTo>
                  <a:pt x="31625" y="10406"/>
                  <a:pt x="31688" y="10406"/>
                  <a:pt x="31719" y="10375"/>
                </a:cubicBezTo>
                <a:cubicBezTo>
                  <a:pt x="31750" y="10375"/>
                  <a:pt x="31781" y="10375"/>
                  <a:pt x="31781" y="10344"/>
                </a:cubicBezTo>
                <a:cubicBezTo>
                  <a:pt x="31844" y="10312"/>
                  <a:pt x="31875" y="10312"/>
                  <a:pt x="31875" y="10281"/>
                </a:cubicBezTo>
                <a:cubicBezTo>
                  <a:pt x="31906" y="10250"/>
                  <a:pt x="31906" y="10250"/>
                  <a:pt x="31938" y="10219"/>
                </a:cubicBezTo>
                <a:cubicBezTo>
                  <a:pt x="31938" y="10187"/>
                  <a:pt x="31938" y="10156"/>
                  <a:pt x="31938" y="10094"/>
                </a:cubicBezTo>
                <a:cubicBezTo>
                  <a:pt x="31938" y="10000"/>
                  <a:pt x="31969" y="9875"/>
                  <a:pt x="31844" y="9812"/>
                </a:cubicBezTo>
                <a:cubicBezTo>
                  <a:pt x="31813" y="9781"/>
                  <a:pt x="31750" y="9750"/>
                  <a:pt x="31656" y="9750"/>
                </a:cubicBezTo>
                <a:cubicBezTo>
                  <a:pt x="31625" y="9750"/>
                  <a:pt x="31625" y="9750"/>
                  <a:pt x="31594" y="9750"/>
                </a:cubicBezTo>
                <a:cubicBezTo>
                  <a:pt x="31563" y="9750"/>
                  <a:pt x="31563" y="9750"/>
                  <a:pt x="31563" y="9719"/>
                </a:cubicBezTo>
                <a:cubicBezTo>
                  <a:pt x="31531" y="9719"/>
                  <a:pt x="31531" y="9719"/>
                  <a:pt x="31531" y="9719"/>
                </a:cubicBezTo>
                <a:cubicBezTo>
                  <a:pt x="31531" y="9719"/>
                  <a:pt x="31500" y="9719"/>
                  <a:pt x="31500" y="9687"/>
                </a:cubicBezTo>
                <a:cubicBezTo>
                  <a:pt x="31500" y="9687"/>
                  <a:pt x="31469" y="9656"/>
                  <a:pt x="31500" y="9625"/>
                </a:cubicBezTo>
                <a:cubicBezTo>
                  <a:pt x="31531" y="9594"/>
                  <a:pt x="31563" y="9594"/>
                  <a:pt x="31563" y="9594"/>
                </a:cubicBezTo>
                <a:cubicBezTo>
                  <a:pt x="31594" y="9562"/>
                  <a:pt x="31625" y="9562"/>
                  <a:pt x="31656" y="9562"/>
                </a:cubicBezTo>
                <a:cubicBezTo>
                  <a:pt x="31656" y="9562"/>
                  <a:pt x="31656" y="9562"/>
                  <a:pt x="31688" y="9594"/>
                </a:cubicBezTo>
                <a:cubicBezTo>
                  <a:pt x="31719" y="9594"/>
                  <a:pt x="31750" y="9594"/>
                  <a:pt x="31781" y="9625"/>
                </a:cubicBezTo>
                <a:cubicBezTo>
                  <a:pt x="31813" y="9625"/>
                  <a:pt x="31844" y="9656"/>
                  <a:pt x="31844" y="9656"/>
                </a:cubicBezTo>
                <a:cubicBezTo>
                  <a:pt x="31875" y="9687"/>
                  <a:pt x="31875" y="9687"/>
                  <a:pt x="31906" y="9687"/>
                </a:cubicBezTo>
                <a:cubicBezTo>
                  <a:pt x="31938" y="9687"/>
                  <a:pt x="31938" y="9719"/>
                  <a:pt x="31969" y="9719"/>
                </a:cubicBezTo>
                <a:cubicBezTo>
                  <a:pt x="32000" y="9719"/>
                  <a:pt x="32063" y="9719"/>
                  <a:pt x="32094" y="9719"/>
                </a:cubicBezTo>
                <a:cubicBezTo>
                  <a:pt x="32156" y="9687"/>
                  <a:pt x="32219" y="9656"/>
                  <a:pt x="32281" y="9656"/>
                </a:cubicBezTo>
                <a:cubicBezTo>
                  <a:pt x="32344" y="9656"/>
                  <a:pt x="32375" y="9687"/>
                  <a:pt x="32438" y="9687"/>
                </a:cubicBezTo>
                <a:cubicBezTo>
                  <a:pt x="32500" y="9687"/>
                  <a:pt x="32563" y="9687"/>
                  <a:pt x="32625" y="9656"/>
                </a:cubicBezTo>
                <a:cubicBezTo>
                  <a:pt x="32688" y="9656"/>
                  <a:pt x="32750" y="9625"/>
                  <a:pt x="32781" y="9594"/>
                </a:cubicBezTo>
                <a:cubicBezTo>
                  <a:pt x="32813" y="9594"/>
                  <a:pt x="32844" y="9562"/>
                  <a:pt x="32844" y="9531"/>
                </a:cubicBezTo>
                <a:cubicBezTo>
                  <a:pt x="32875" y="9500"/>
                  <a:pt x="32938" y="9469"/>
                  <a:pt x="33000" y="9437"/>
                </a:cubicBezTo>
                <a:cubicBezTo>
                  <a:pt x="33125" y="9500"/>
                  <a:pt x="33125" y="9531"/>
                  <a:pt x="33094" y="9594"/>
                </a:cubicBezTo>
                <a:cubicBezTo>
                  <a:pt x="33063" y="9594"/>
                  <a:pt x="33031" y="9625"/>
                  <a:pt x="33000" y="9656"/>
                </a:cubicBezTo>
                <a:cubicBezTo>
                  <a:pt x="32969" y="9687"/>
                  <a:pt x="32906" y="9687"/>
                  <a:pt x="32875" y="9719"/>
                </a:cubicBezTo>
                <a:cubicBezTo>
                  <a:pt x="33188" y="9719"/>
                  <a:pt x="33406" y="9687"/>
                  <a:pt x="33563" y="9562"/>
                </a:cubicBezTo>
                <a:cubicBezTo>
                  <a:pt x="33563" y="9531"/>
                  <a:pt x="33594" y="9531"/>
                  <a:pt x="33625" y="9500"/>
                </a:cubicBezTo>
                <a:cubicBezTo>
                  <a:pt x="33656" y="9500"/>
                  <a:pt x="33688" y="9500"/>
                  <a:pt x="33719" y="9500"/>
                </a:cubicBezTo>
                <a:cubicBezTo>
                  <a:pt x="33750" y="9500"/>
                  <a:pt x="33813" y="9469"/>
                  <a:pt x="33875" y="9469"/>
                </a:cubicBezTo>
                <a:cubicBezTo>
                  <a:pt x="33844" y="9500"/>
                  <a:pt x="33844" y="9500"/>
                  <a:pt x="33844" y="9531"/>
                </a:cubicBezTo>
                <a:cubicBezTo>
                  <a:pt x="33844" y="9594"/>
                  <a:pt x="33875" y="9625"/>
                  <a:pt x="33938" y="9625"/>
                </a:cubicBezTo>
                <a:cubicBezTo>
                  <a:pt x="33969" y="9625"/>
                  <a:pt x="33969" y="9625"/>
                  <a:pt x="34000" y="9625"/>
                </a:cubicBezTo>
                <a:cubicBezTo>
                  <a:pt x="34031" y="9625"/>
                  <a:pt x="34063" y="9625"/>
                  <a:pt x="34063" y="9625"/>
                </a:cubicBezTo>
                <a:cubicBezTo>
                  <a:pt x="34094" y="9625"/>
                  <a:pt x="34094" y="9625"/>
                  <a:pt x="34094" y="9625"/>
                </a:cubicBezTo>
                <a:cubicBezTo>
                  <a:pt x="34156" y="9625"/>
                  <a:pt x="34188" y="9594"/>
                  <a:pt x="34219" y="9625"/>
                </a:cubicBezTo>
                <a:cubicBezTo>
                  <a:pt x="34344" y="9625"/>
                  <a:pt x="34438" y="9594"/>
                  <a:pt x="34500" y="9562"/>
                </a:cubicBezTo>
                <a:cubicBezTo>
                  <a:pt x="34563" y="9562"/>
                  <a:pt x="34594" y="9562"/>
                  <a:pt x="34656" y="9562"/>
                </a:cubicBezTo>
                <a:cubicBezTo>
                  <a:pt x="34844" y="9594"/>
                  <a:pt x="35031" y="9594"/>
                  <a:pt x="35188" y="9562"/>
                </a:cubicBezTo>
                <a:cubicBezTo>
                  <a:pt x="35469" y="9469"/>
                  <a:pt x="35719" y="9344"/>
                  <a:pt x="36031" y="9312"/>
                </a:cubicBezTo>
                <a:cubicBezTo>
                  <a:pt x="36125" y="9312"/>
                  <a:pt x="36219" y="9187"/>
                  <a:pt x="36219" y="9094"/>
                </a:cubicBezTo>
                <a:cubicBezTo>
                  <a:pt x="36219" y="9062"/>
                  <a:pt x="36188" y="9031"/>
                  <a:pt x="36156" y="903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6117CA0-7F8C-3B42-8553-01983542E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700FB8C3-60C0-394A-A86E-2C151665EE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4AB5B9-5B6E-C64D-83B9-E7A36313A19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2EA92C6F-B372-6441-A74F-C25F9FEC96C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23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8">
            <a:extLst>
              <a:ext uri="{FF2B5EF4-FFF2-40B4-BE49-F238E27FC236}">
                <a16:creationId xmlns:a16="http://schemas.microsoft.com/office/drawing/2014/main" id="{75ED8754-013A-4746-99CA-BDEB1BA08F01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816323" y="1026146"/>
            <a:ext cx="22610512" cy="7560840"/>
          </a:xfrm>
          <a:custGeom>
            <a:avLst/>
            <a:gdLst>
              <a:gd name="T0" fmla="*/ 10437 w 31906"/>
              <a:gd name="T1" fmla="*/ 12093 h 12781"/>
              <a:gd name="T2" fmla="*/ 12062 w 31906"/>
              <a:gd name="T3" fmla="*/ 11812 h 12781"/>
              <a:gd name="T4" fmla="*/ 30062 w 31906"/>
              <a:gd name="T5" fmla="*/ 8593 h 12781"/>
              <a:gd name="T6" fmla="*/ 29781 w 31906"/>
              <a:gd name="T7" fmla="*/ 7468 h 12781"/>
              <a:gd name="T8" fmla="*/ 29500 w 31906"/>
              <a:gd name="T9" fmla="*/ 7187 h 12781"/>
              <a:gd name="T10" fmla="*/ 29750 w 31906"/>
              <a:gd name="T11" fmla="*/ 5875 h 12781"/>
              <a:gd name="T12" fmla="*/ 30219 w 31906"/>
              <a:gd name="T13" fmla="*/ 5093 h 12781"/>
              <a:gd name="T14" fmla="*/ 31656 w 31906"/>
              <a:gd name="T15" fmla="*/ 3781 h 12781"/>
              <a:gd name="T16" fmla="*/ 30687 w 31906"/>
              <a:gd name="T17" fmla="*/ 3750 h 12781"/>
              <a:gd name="T18" fmla="*/ 30250 w 31906"/>
              <a:gd name="T19" fmla="*/ 3218 h 12781"/>
              <a:gd name="T20" fmla="*/ 28000 w 31906"/>
              <a:gd name="T21" fmla="*/ 3093 h 12781"/>
              <a:gd name="T22" fmla="*/ 28687 w 31906"/>
              <a:gd name="T23" fmla="*/ 2406 h 12781"/>
              <a:gd name="T24" fmla="*/ 27312 w 31906"/>
              <a:gd name="T25" fmla="*/ 2156 h 12781"/>
              <a:gd name="T26" fmla="*/ 27437 w 31906"/>
              <a:gd name="T27" fmla="*/ 1250 h 12781"/>
              <a:gd name="T28" fmla="*/ 26312 w 31906"/>
              <a:gd name="T29" fmla="*/ 812 h 12781"/>
              <a:gd name="T30" fmla="*/ 24281 w 31906"/>
              <a:gd name="T31" fmla="*/ 1062 h 12781"/>
              <a:gd name="T32" fmla="*/ 23219 w 31906"/>
              <a:gd name="T33" fmla="*/ 750 h 12781"/>
              <a:gd name="T34" fmla="*/ 22812 w 31906"/>
              <a:gd name="T35" fmla="*/ 156 h 12781"/>
              <a:gd name="T36" fmla="*/ 20437 w 31906"/>
              <a:gd name="T37" fmla="*/ 1000 h 12781"/>
              <a:gd name="T38" fmla="*/ 16906 w 31906"/>
              <a:gd name="T39" fmla="*/ 875 h 12781"/>
              <a:gd name="T40" fmla="*/ 17875 w 31906"/>
              <a:gd name="T41" fmla="*/ 312 h 12781"/>
              <a:gd name="T42" fmla="*/ 11437 w 31906"/>
              <a:gd name="T43" fmla="*/ 562 h 12781"/>
              <a:gd name="T44" fmla="*/ 2906 w 31906"/>
              <a:gd name="T45" fmla="*/ 3250 h 12781"/>
              <a:gd name="T46" fmla="*/ 2031 w 31906"/>
              <a:gd name="T47" fmla="*/ 5000 h 12781"/>
              <a:gd name="T48" fmla="*/ 219 w 31906"/>
              <a:gd name="T49" fmla="*/ 6843 h 12781"/>
              <a:gd name="T50" fmla="*/ 1344 w 31906"/>
              <a:gd name="T51" fmla="*/ 7500 h 12781"/>
              <a:gd name="T52" fmla="*/ 2375 w 31906"/>
              <a:gd name="T53" fmla="*/ 8593 h 12781"/>
              <a:gd name="T54" fmla="*/ 4219 w 31906"/>
              <a:gd name="T55" fmla="*/ 9031 h 12781"/>
              <a:gd name="T56" fmla="*/ 5500 w 31906"/>
              <a:gd name="T57" fmla="*/ 9343 h 12781"/>
              <a:gd name="T58" fmla="*/ 4719 w 31906"/>
              <a:gd name="T59" fmla="*/ 9843 h 12781"/>
              <a:gd name="T60" fmla="*/ 5156 w 31906"/>
              <a:gd name="T61" fmla="*/ 10437 h 12781"/>
              <a:gd name="T62" fmla="*/ 5313 w 31906"/>
              <a:gd name="T63" fmla="*/ 11000 h 12781"/>
              <a:gd name="T64" fmla="*/ 7906 w 31906"/>
              <a:gd name="T65" fmla="*/ 11156 h 12781"/>
              <a:gd name="T66" fmla="*/ 7156 w 31906"/>
              <a:gd name="T67" fmla="*/ 11968 h 12781"/>
              <a:gd name="T68" fmla="*/ 7437 w 31906"/>
              <a:gd name="T69" fmla="*/ 12468 h 12781"/>
              <a:gd name="T70" fmla="*/ 7281 w 31906"/>
              <a:gd name="T71" fmla="*/ 12593 h 12781"/>
              <a:gd name="T72" fmla="*/ 9094 w 31906"/>
              <a:gd name="T73" fmla="*/ 12156 h 12781"/>
              <a:gd name="T74" fmla="*/ 8750 w 31906"/>
              <a:gd name="T75" fmla="*/ 11875 h 12781"/>
              <a:gd name="T76" fmla="*/ 9062 w 31906"/>
              <a:gd name="T77" fmla="*/ 11718 h 12781"/>
              <a:gd name="T78" fmla="*/ 8969 w 31906"/>
              <a:gd name="T79" fmla="*/ 11125 h 12781"/>
              <a:gd name="T80" fmla="*/ 9219 w 31906"/>
              <a:gd name="T81" fmla="*/ 10937 h 12781"/>
              <a:gd name="T82" fmla="*/ 9844 w 31906"/>
              <a:gd name="T83" fmla="*/ 10875 h 12781"/>
              <a:gd name="T84" fmla="*/ 11375 w 31906"/>
              <a:gd name="T85" fmla="*/ 11406 h 12781"/>
              <a:gd name="T86" fmla="*/ 12281 w 31906"/>
              <a:gd name="T87" fmla="*/ 11625 h 12781"/>
              <a:gd name="T88" fmla="*/ 12656 w 31906"/>
              <a:gd name="T89" fmla="*/ 11750 h 12781"/>
              <a:gd name="T90" fmla="*/ 14344 w 31906"/>
              <a:gd name="T91" fmla="*/ 11312 h 12781"/>
              <a:gd name="T92" fmla="*/ 15094 w 31906"/>
              <a:gd name="T93" fmla="*/ 11062 h 12781"/>
              <a:gd name="T94" fmla="*/ 16344 w 31906"/>
              <a:gd name="T95" fmla="*/ 10875 h 12781"/>
              <a:gd name="T96" fmla="*/ 17719 w 31906"/>
              <a:gd name="T97" fmla="*/ 10593 h 12781"/>
              <a:gd name="T98" fmla="*/ 18094 w 31906"/>
              <a:gd name="T99" fmla="*/ 10687 h 12781"/>
              <a:gd name="T100" fmla="*/ 21719 w 31906"/>
              <a:gd name="T101" fmla="*/ 11031 h 12781"/>
              <a:gd name="T102" fmla="*/ 28469 w 31906"/>
              <a:gd name="T103" fmla="*/ 9687 h 12781"/>
              <a:gd name="T104" fmla="*/ 30250 w 31906"/>
              <a:gd name="T105" fmla="*/ 9125 h 12781"/>
              <a:gd name="T106" fmla="*/ 3375 w 31906"/>
              <a:gd name="T107" fmla="*/ 9375 h 12781"/>
              <a:gd name="T108" fmla="*/ 17312 w 31906"/>
              <a:gd name="T109" fmla="*/ 10968 h 12781"/>
              <a:gd name="T110" fmla="*/ 15969 w 31906"/>
              <a:gd name="T111" fmla="*/ 11468 h 12781"/>
              <a:gd name="T112" fmla="*/ 4719 w 31906"/>
              <a:gd name="T113" fmla="*/ 9468 h 12781"/>
              <a:gd name="T114" fmla="*/ 4438 w 31906"/>
              <a:gd name="T115" fmla="*/ 9750 h 12781"/>
              <a:gd name="T116" fmla="*/ 28687 w 31906"/>
              <a:gd name="T117" fmla="*/ 3156 h 12781"/>
              <a:gd name="T118" fmla="*/ 29625 w 31906"/>
              <a:gd name="T119" fmla="*/ 9593 h 12781"/>
              <a:gd name="T120" fmla="*/ 30562 w 31906"/>
              <a:gd name="T121" fmla="*/ 9250 h 12781"/>
              <a:gd name="T122" fmla="*/ 28812 w 31906"/>
              <a:gd name="T123" fmla="*/ 9781 h 12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06" h="12781">
                <a:moveTo>
                  <a:pt x="11937" y="11812"/>
                </a:moveTo>
                <a:cubicBezTo>
                  <a:pt x="11844" y="11812"/>
                  <a:pt x="11750" y="11843"/>
                  <a:pt x="11656" y="11843"/>
                </a:cubicBezTo>
                <a:cubicBezTo>
                  <a:pt x="11625" y="11875"/>
                  <a:pt x="11594" y="11875"/>
                  <a:pt x="11562" y="11906"/>
                </a:cubicBezTo>
                <a:cubicBezTo>
                  <a:pt x="11500" y="11906"/>
                  <a:pt x="11437" y="11968"/>
                  <a:pt x="11375" y="11968"/>
                </a:cubicBezTo>
                <a:cubicBezTo>
                  <a:pt x="11375" y="11968"/>
                  <a:pt x="11375" y="11968"/>
                  <a:pt x="11344" y="11968"/>
                </a:cubicBezTo>
                <a:cubicBezTo>
                  <a:pt x="11344" y="11937"/>
                  <a:pt x="11344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312" y="11937"/>
                  <a:pt x="11312" y="11937"/>
                </a:cubicBezTo>
                <a:cubicBezTo>
                  <a:pt x="11312" y="11937"/>
                  <a:pt x="11281" y="11906"/>
                  <a:pt x="11281" y="11906"/>
                </a:cubicBezTo>
                <a:cubicBezTo>
                  <a:pt x="11250" y="11906"/>
                  <a:pt x="11250" y="11937"/>
                  <a:pt x="11250" y="11937"/>
                </a:cubicBezTo>
                <a:cubicBezTo>
                  <a:pt x="11250" y="11937"/>
                  <a:pt x="11250" y="11937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50" y="11968"/>
                  <a:pt x="11250" y="11968"/>
                </a:cubicBezTo>
                <a:cubicBezTo>
                  <a:pt x="11250" y="11968"/>
                  <a:pt x="11219" y="11968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219" y="12000"/>
                  <a:pt x="11219" y="12000"/>
                  <a:pt x="11219" y="12000"/>
                </a:cubicBezTo>
                <a:cubicBezTo>
                  <a:pt x="11094" y="12000"/>
                  <a:pt x="10969" y="12000"/>
                  <a:pt x="10875" y="12000"/>
                </a:cubicBezTo>
                <a:cubicBezTo>
                  <a:pt x="10844" y="12000"/>
                  <a:pt x="10844" y="12000"/>
                  <a:pt x="10844" y="11968"/>
                </a:cubicBezTo>
                <a:cubicBezTo>
                  <a:pt x="10844" y="11968"/>
                  <a:pt x="10844" y="11968"/>
                  <a:pt x="10844" y="11968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812" y="11937"/>
                  <a:pt x="10812" y="11937"/>
                  <a:pt x="10812" y="11937"/>
                </a:cubicBezTo>
                <a:cubicBezTo>
                  <a:pt x="10781" y="11937"/>
                  <a:pt x="10781" y="11937"/>
                  <a:pt x="10781" y="11937"/>
                </a:cubicBezTo>
                <a:cubicBezTo>
                  <a:pt x="10781" y="11937"/>
                  <a:pt x="10781" y="11937"/>
                  <a:pt x="10781" y="11968"/>
                </a:cubicBezTo>
                <a:cubicBezTo>
                  <a:pt x="10781" y="11968"/>
                  <a:pt x="10781" y="11968"/>
                  <a:pt x="10781" y="11968"/>
                </a:cubicBezTo>
                <a:cubicBezTo>
                  <a:pt x="10750" y="11968"/>
                  <a:pt x="10719" y="11968"/>
                  <a:pt x="10687" y="12000"/>
                </a:cubicBezTo>
                <a:cubicBezTo>
                  <a:pt x="10656" y="12000"/>
                  <a:pt x="10625" y="12000"/>
                  <a:pt x="10594" y="12031"/>
                </a:cubicBezTo>
                <a:cubicBezTo>
                  <a:pt x="10562" y="12062"/>
                  <a:pt x="10500" y="12093"/>
                  <a:pt x="10437" y="12093"/>
                </a:cubicBezTo>
                <a:cubicBezTo>
                  <a:pt x="10437" y="12093"/>
                  <a:pt x="10406" y="12093"/>
                  <a:pt x="10406" y="12093"/>
                </a:cubicBezTo>
                <a:cubicBezTo>
                  <a:pt x="10375" y="12093"/>
                  <a:pt x="10344" y="12093"/>
                  <a:pt x="10312" y="12093"/>
                </a:cubicBezTo>
                <a:cubicBezTo>
                  <a:pt x="10312" y="12093"/>
                  <a:pt x="10312" y="12093"/>
                  <a:pt x="10281" y="12093"/>
                </a:cubicBezTo>
                <a:cubicBezTo>
                  <a:pt x="10281" y="12062"/>
                  <a:pt x="10281" y="12062"/>
                  <a:pt x="10250" y="12062"/>
                </a:cubicBezTo>
                <a:cubicBezTo>
                  <a:pt x="10250" y="12062"/>
                  <a:pt x="10219" y="12031"/>
                  <a:pt x="10219" y="12031"/>
                </a:cubicBezTo>
                <a:cubicBezTo>
                  <a:pt x="10219" y="12031"/>
                  <a:pt x="10187" y="12031"/>
                  <a:pt x="10187" y="12031"/>
                </a:cubicBezTo>
                <a:cubicBezTo>
                  <a:pt x="10187" y="12031"/>
                  <a:pt x="10187" y="12031"/>
                  <a:pt x="10156" y="12031"/>
                </a:cubicBezTo>
                <a:cubicBezTo>
                  <a:pt x="10156" y="12031"/>
                  <a:pt x="10156" y="12062"/>
                  <a:pt x="10156" y="12062"/>
                </a:cubicBezTo>
                <a:cubicBezTo>
                  <a:pt x="10156" y="12062"/>
                  <a:pt x="10125" y="12062"/>
                  <a:pt x="10125" y="12062"/>
                </a:cubicBezTo>
                <a:cubicBezTo>
                  <a:pt x="10125" y="12062"/>
                  <a:pt x="10125" y="12093"/>
                  <a:pt x="10125" y="12093"/>
                </a:cubicBezTo>
                <a:cubicBezTo>
                  <a:pt x="10094" y="12093"/>
                  <a:pt x="10094" y="12125"/>
                  <a:pt x="10094" y="12125"/>
                </a:cubicBezTo>
                <a:cubicBezTo>
                  <a:pt x="10125" y="12156"/>
                  <a:pt x="10125" y="12156"/>
                  <a:pt x="10125" y="12156"/>
                </a:cubicBezTo>
                <a:cubicBezTo>
                  <a:pt x="10156" y="12156"/>
                  <a:pt x="10187" y="12156"/>
                  <a:pt x="10187" y="12156"/>
                </a:cubicBezTo>
                <a:cubicBezTo>
                  <a:pt x="10219" y="12156"/>
                  <a:pt x="10219" y="12156"/>
                  <a:pt x="10219" y="12156"/>
                </a:cubicBezTo>
                <a:cubicBezTo>
                  <a:pt x="10312" y="12156"/>
                  <a:pt x="10406" y="12156"/>
                  <a:pt x="10500" y="12156"/>
                </a:cubicBezTo>
                <a:cubicBezTo>
                  <a:pt x="10500" y="12125"/>
                  <a:pt x="10531" y="12125"/>
                  <a:pt x="10562" y="12125"/>
                </a:cubicBezTo>
                <a:cubicBezTo>
                  <a:pt x="10594" y="12125"/>
                  <a:pt x="10594" y="12125"/>
                  <a:pt x="10594" y="12125"/>
                </a:cubicBezTo>
                <a:cubicBezTo>
                  <a:pt x="10625" y="12093"/>
                  <a:pt x="10656" y="12093"/>
                  <a:pt x="10656" y="12093"/>
                </a:cubicBezTo>
                <a:cubicBezTo>
                  <a:pt x="10687" y="12093"/>
                  <a:pt x="10719" y="12093"/>
                  <a:pt x="10719" y="12093"/>
                </a:cubicBezTo>
                <a:cubicBezTo>
                  <a:pt x="10750" y="12093"/>
                  <a:pt x="10750" y="12093"/>
                  <a:pt x="10750" y="12093"/>
                </a:cubicBezTo>
                <a:cubicBezTo>
                  <a:pt x="10844" y="12093"/>
                  <a:pt x="10906" y="12093"/>
                  <a:pt x="10969" y="12062"/>
                </a:cubicBezTo>
                <a:cubicBezTo>
                  <a:pt x="11031" y="12062"/>
                  <a:pt x="11062" y="12062"/>
                  <a:pt x="11094" y="12062"/>
                </a:cubicBezTo>
                <a:cubicBezTo>
                  <a:pt x="11219" y="12062"/>
                  <a:pt x="11344" y="12031"/>
                  <a:pt x="11437" y="12000"/>
                </a:cubicBezTo>
                <a:cubicBezTo>
                  <a:pt x="11469" y="12000"/>
                  <a:pt x="11469" y="12000"/>
                  <a:pt x="11500" y="12000"/>
                </a:cubicBezTo>
                <a:cubicBezTo>
                  <a:pt x="11562" y="11968"/>
                  <a:pt x="11594" y="11968"/>
                  <a:pt x="11656" y="11968"/>
                </a:cubicBezTo>
                <a:cubicBezTo>
                  <a:pt x="11719" y="11937"/>
                  <a:pt x="11781" y="11937"/>
                  <a:pt x="11844" y="11937"/>
                </a:cubicBezTo>
                <a:cubicBezTo>
                  <a:pt x="11844" y="11937"/>
                  <a:pt x="11875" y="11937"/>
                  <a:pt x="11875" y="11937"/>
                </a:cubicBezTo>
                <a:cubicBezTo>
                  <a:pt x="11906" y="11937"/>
                  <a:pt x="11906" y="11937"/>
                  <a:pt x="11937" y="11937"/>
                </a:cubicBezTo>
                <a:cubicBezTo>
                  <a:pt x="11969" y="11937"/>
                  <a:pt x="12031" y="11937"/>
                  <a:pt x="12031" y="11906"/>
                </a:cubicBezTo>
                <a:cubicBezTo>
                  <a:pt x="12062" y="11875"/>
                  <a:pt x="12062" y="11843"/>
                  <a:pt x="12062" y="11812"/>
                </a:cubicBezTo>
                <a:cubicBezTo>
                  <a:pt x="12031" y="11812"/>
                  <a:pt x="12031" y="11812"/>
                  <a:pt x="12000" y="11812"/>
                </a:cubicBezTo>
                <a:cubicBezTo>
                  <a:pt x="11969" y="11812"/>
                  <a:pt x="11937" y="11812"/>
                  <a:pt x="11937" y="11812"/>
                </a:cubicBezTo>
                <a:close/>
                <a:moveTo>
                  <a:pt x="31906" y="9156"/>
                </a:moveTo>
                <a:cubicBezTo>
                  <a:pt x="31875" y="9125"/>
                  <a:pt x="31844" y="9125"/>
                  <a:pt x="31812" y="9125"/>
                </a:cubicBezTo>
                <a:cubicBezTo>
                  <a:pt x="31812" y="9125"/>
                  <a:pt x="31812" y="9125"/>
                  <a:pt x="31781" y="9125"/>
                </a:cubicBezTo>
                <a:cubicBezTo>
                  <a:pt x="31781" y="9125"/>
                  <a:pt x="31781" y="9125"/>
                  <a:pt x="31750" y="9125"/>
                </a:cubicBezTo>
                <a:cubicBezTo>
                  <a:pt x="31750" y="9125"/>
                  <a:pt x="31750" y="9125"/>
                  <a:pt x="31719" y="9125"/>
                </a:cubicBezTo>
                <a:cubicBezTo>
                  <a:pt x="31719" y="9125"/>
                  <a:pt x="31719" y="9125"/>
                  <a:pt x="31687" y="9125"/>
                </a:cubicBezTo>
                <a:cubicBezTo>
                  <a:pt x="31687" y="9125"/>
                  <a:pt x="31687" y="9125"/>
                  <a:pt x="31687" y="9125"/>
                </a:cubicBezTo>
                <a:cubicBezTo>
                  <a:pt x="31656" y="9125"/>
                  <a:pt x="31656" y="9125"/>
                  <a:pt x="31625" y="9156"/>
                </a:cubicBezTo>
                <a:cubicBezTo>
                  <a:pt x="31625" y="9156"/>
                  <a:pt x="31625" y="9156"/>
                  <a:pt x="31625" y="9187"/>
                </a:cubicBezTo>
                <a:cubicBezTo>
                  <a:pt x="31625" y="9187"/>
                  <a:pt x="31625" y="9187"/>
                  <a:pt x="31656" y="9218"/>
                </a:cubicBezTo>
                <a:cubicBezTo>
                  <a:pt x="31687" y="9218"/>
                  <a:pt x="31750" y="9218"/>
                  <a:pt x="31781" y="9218"/>
                </a:cubicBezTo>
                <a:cubicBezTo>
                  <a:pt x="31812" y="9218"/>
                  <a:pt x="31906" y="9250"/>
                  <a:pt x="31906" y="9187"/>
                </a:cubicBezTo>
                <a:cubicBezTo>
                  <a:pt x="31906" y="9187"/>
                  <a:pt x="31906" y="9156"/>
                  <a:pt x="31906" y="9156"/>
                </a:cubicBezTo>
                <a:close/>
                <a:moveTo>
                  <a:pt x="31250" y="9062"/>
                </a:moveTo>
                <a:cubicBezTo>
                  <a:pt x="31156" y="9031"/>
                  <a:pt x="31062" y="9062"/>
                  <a:pt x="31000" y="9000"/>
                </a:cubicBezTo>
                <a:cubicBezTo>
                  <a:pt x="31000" y="8968"/>
                  <a:pt x="31031" y="8968"/>
                  <a:pt x="31062" y="8968"/>
                </a:cubicBezTo>
                <a:cubicBezTo>
                  <a:pt x="31062" y="8968"/>
                  <a:pt x="31094" y="8968"/>
                  <a:pt x="31094" y="8937"/>
                </a:cubicBezTo>
                <a:cubicBezTo>
                  <a:pt x="31094" y="8937"/>
                  <a:pt x="31094" y="8937"/>
                  <a:pt x="31094" y="8906"/>
                </a:cubicBezTo>
                <a:cubicBezTo>
                  <a:pt x="31031" y="8906"/>
                  <a:pt x="30937" y="8906"/>
                  <a:pt x="30875" y="8906"/>
                </a:cubicBezTo>
                <a:cubicBezTo>
                  <a:pt x="30750" y="8875"/>
                  <a:pt x="30594" y="8875"/>
                  <a:pt x="30437" y="8875"/>
                </a:cubicBezTo>
                <a:cubicBezTo>
                  <a:pt x="30375" y="8875"/>
                  <a:pt x="30312" y="8875"/>
                  <a:pt x="30219" y="8875"/>
                </a:cubicBezTo>
                <a:cubicBezTo>
                  <a:pt x="30125" y="8875"/>
                  <a:pt x="30000" y="8843"/>
                  <a:pt x="29875" y="8906"/>
                </a:cubicBezTo>
                <a:cubicBezTo>
                  <a:pt x="29875" y="8906"/>
                  <a:pt x="29844" y="8906"/>
                  <a:pt x="29812" y="8906"/>
                </a:cubicBezTo>
                <a:cubicBezTo>
                  <a:pt x="29781" y="8906"/>
                  <a:pt x="29781" y="8906"/>
                  <a:pt x="29750" y="8906"/>
                </a:cubicBezTo>
                <a:cubicBezTo>
                  <a:pt x="29750" y="8875"/>
                  <a:pt x="29750" y="8875"/>
                  <a:pt x="29750" y="8875"/>
                </a:cubicBezTo>
                <a:cubicBezTo>
                  <a:pt x="29812" y="8843"/>
                  <a:pt x="29906" y="8812"/>
                  <a:pt x="29969" y="8781"/>
                </a:cubicBezTo>
                <a:cubicBezTo>
                  <a:pt x="30000" y="8750"/>
                  <a:pt x="30062" y="8687"/>
                  <a:pt x="30062" y="8625"/>
                </a:cubicBezTo>
                <a:cubicBezTo>
                  <a:pt x="30062" y="8625"/>
                  <a:pt x="30062" y="8593"/>
                  <a:pt x="30062" y="8593"/>
                </a:cubicBezTo>
                <a:cubicBezTo>
                  <a:pt x="30062" y="8562"/>
                  <a:pt x="30062" y="8531"/>
                  <a:pt x="30094" y="8531"/>
                </a:cubicBezTo>
                <a:cubicBezTo>
                  <a:pt x="30125" y="8468"/>
                  <a:pt x="30219" y="8437"/>
                  <a:pt x="30312" y="8437"/>
                </a:cubicBezTo>
                <a:cubicBezTo>
                  <a:pt x="30344" y="8437"/>
                  <a:pt x="30344" y="8437"/>
                  <a:pt x="30375" y="8437"/>
                </a:cubicBezTo>
                <a:cubicBezTo>
                  <a:pt x="30406" y="8437"/>
                  <a:pt x="30406" y="8406"/>
                  <a:pt x="30437" y="8406"/>
                </a:cubicBezTo>
                <a:cubicBezTo>
                  <a:pt x="30437" y="8375"/>
                  <a:pt x="30437" y="8375"/>
                  <a:pt x="30437" y="8375"/>
                </a:cubicBezTo>
                <a:cubicBezTo>
                  <a:pt x="30344" y="8312"/>
                  <a:pt x="30344" y="8218"/>
                  <a:pt x="30281" y="8156"/>
                </a:cubicBezTo>
                <a:cubicBezTo>
                  <a:pt x="30250" y="8156"/>
                  <a:pt x="30250" y="8125"/>
                  <a:pt x="30219" y="8093"/>
                </a:cubicBezTo>
                <a:cubicBezTo>
                  <a:pt x="30187" y="8093"/>
                  <a:pt x="30125" y="8062"/>
                  <a:pt x="30062" y="8062"/>
                </a:cubicBezTo>
                <a:cubicBezTo>
                  <a:pt x="30000" y="8062"/>
                  <a:pt x="29937" y="8062"/>
                  <a:pt x="29906" y="8062"/>
                </a:cubicBezTo>
                <a:cubicBezTo>
                  <a:pt x="29844" y="8031"/>
                  <a:pt x="29812" y="8031"/>
                  <a:pt x="29750" y="8031"/>
                </a:cubicBezTo>
                <a:cubicBezTo>
                  <a:pt x="29719" y="8031"/>
                  <a:pt x="29656" y="8031"/>
                  <a:pt x="29594" y="8031"/>
                </a:cubicBezTo>
                <a:cubicBezTo>
                  <a:pt x="29500" y="8000"/>
                  <a:pt x="29406" y="8000"/>
                  <a:pt x="29312" y="8000"/>
                </a:cubicBezTo>
                <a:cubicBezTo>
                  <a:pt x="29125" y="8000"/>
                  <a:pt x="28906" y="8000"/>
                  <a:pt x="28719" y="7968"/>
                </a:cubicBezTo>
                <a:cubicBezTo>
                  <a:pt x="28687" y="7968"/>
                  <a:pt x="28656" y="7968"/>
                  <a:pt x="28625" y="7968"/>
                </a:cubicBezTo>
                <a:cubicBezTo>
                  <a:pt x="28625" y="7968"/>
                  <a:pt x="28594" y="7968"/>
                  <a:pt x="28594" y="7968"/>
                </a:cubicBezTo>
                <a:cubicBezTo>
                  <a:pt x="28562" y="7937"/>
                  <a:pt x="28594" y="7937"/>
                  <a:pt x="28625" y="7906"/>
                </a:cubicBezTo>
                <a:cubicBezTo>
                  <a:pt x="28625" y="7875"/>
                  <a:pt x="28625" y="7875"/>
                  <a:pt x="28656" y="7875"/>
                </a:cubicBezTo>
                <a:cubicBezTo>
                  <a:pt x="28687" y="7812"/>
                  <a:pt x="28781" y="7750"/>
                  <a:pt x="28656" y="7687"/>
                </a:cubicBezTo>
                <a:cubicBezTo>
                  <a:pt x="28656" y="7687"/>
                  <a:pt x="28625" y="7687"/>
                  <a:pt x="28625" y="7687"/>
                </a:cubicBezTo>
                <a:cubicBezTo>
                  <a:pt x="28594" y="7687"/>
                  <a:pt x="28562" y="7687"/>
                  <a:pt x="28562" y="7656"/>
                </a:cubicBezTo>
                <a:cubicBezTo>
                  <a:pt x="28562" y="7656"/>
                  <a:pt x="28562" y="7656"/>
                  <a:pt x="28562" y="7656"/>
                </a:cubicBezTo>
                <a:cubicBezTo>
                  <a:pt x="28562" y="7625"/>
                  <a:pt x="28594" y="7625"/>
                  <a:pt x="28625" y="7593"/>
                </a:cubicBezTo>
                <a:cubicBezTo>
                  <a:pt x="28625" y="7593"/>
                  <a:pt x="28656" y="7593"/>
                  <a:pt x="28656" y="7593"/>
                </a:cubicBezTo>
                <a:cubicBezTo>
                  <a:pt x="28687" y="7593"/>
                  <a:pt x="28719" y="7625"/>
                  <a:pt x="28750" y="7625"/>
                </a:cubicBezTo>
                <a:cubicBezTo>
                  <a:pt x="28750" y="7656"/>
                  <a:pt x="28781" y="7656"/>
                  <a:pt x="28781" y="7656"/>
                </a:cubicBezTo>
                <a:cubicBezTo>
                  <a:pt x="28812" y="7687"/>
                  <a:pt x="28844" y="7687"/>
                  <a:pt x="28906" y="7687"/>
                </a:cubicBezTo>
                <a:cubicBezTo>
                  <a:pt x="28906" y="7687"/>
                  <a:pt x="28906" y="7687"/>
                  <a:pt x="28937" y="7687"/>
                </a:cubicBezTo>
                <a:cubicBezTo>
                  <a:pt x="29125" y="7687"/>
                  <a:pt x="29312" y="7656"/>
                  <a:pt x="29469" y="7593"/>
                </a:cubicBezTo>
                <a:cubicBezTo>
                  <a:pt x="29531" y="7562"/>
                  <a:pt x="29625" y="7531"/>
                  <a:pt x="29687" y="7500"/>
                </a:cubicBezTo>
                <a:cubicBezTo>
                  <a:pt x="29719" y="7500"/>
                  <a:pt x="29750" y="7468"/>
                  <a:pt x="29781" y="7468"/>
                </a:cubicBezTo>
                <a:cubicBezTo>
                  <a:pt x="29781" y="7468"/>
                  <a:pt x="29750" y="7468"/>
                  <a:pt x="29719" y="7468"/>
                </a:cubicBezTo>
                <a:cubicBezTo>
                  <a:pt x="29656" y="7468"/>
                  <a:pt x="29562" y="7437"/>
                  <a:pt x="29531" y="7437"/>
                </a:cubicBezTo>
                <a:cubicBezTo>
                  <a:pt x="29469" y="7437"/>
                  <a:pt x="29437" y="7437"/>
                  <a:pt x="29437" y="7468"/>
                </a:cubicBezTo>
                <a:cubicBezTo>
                  <a:pt x="29344" y="7562"/>
                  <a:pt x="29219" y="7562"/>
                  <a:pt x="29125" y="7562"/>
                </a:cubicBezTo>
                <a:cubicBezTo>
                  <a:pt x="29094" y="7562"/>
                  <a:pt x="29062" y="7562"/>
                  <a:pt x="29031" y="7562"/>
                </a:cubicBezTo>
                <a:cubicBezTo>
                  <a:pt x="29031" y="7562"/>
                  <a:pt x="29031" y="7562"/>
                  <a:pt x="29000" y="7562"/>
                </a:cubicBezTo>
                <a:cubicBezTo>
                  <a:pt x="28969" y="7562"/>
                  <a:pt x="28937" y="7562"/>
                  <a:pt x="28906" y="7562"/>
                </a:cubicBezTo>
                <a:cubicBezTo>
                  <a:pt x="28906" y="7562"/>
                  <a:pt x="28875" y="7562"/>
                  <a:pt x="28875" y="7562"/>
                </a:cubicBezTo>
                <a:cubicBezTo>
                  <a:pt x="28812" y="7562"/>
                  <a:pt x="28781" y="7531"/>
                  <a:pt x="28750" y="7500"/>
                </a:cubicBezTo>
                <a:cubicBezTo>
                  <a:pt x="28750" y="7468"/>
                  <a:pt x="28750" y="7468"/>
                  <a:pt x="28750" y="7468"/>
                </a:cubicBezTo>
                <a:cubicBezTo>
                  <a:pt x="28781" y="7437"/>
                  <a:pt x="28781" y="7437"/>
                  <a:pt x="28812" y="7437"/>
                </a:cubicBezTo>
                <a:cubicBezTo>
                  <a:pt x="28844" y="7437"/>
                  <a:pt x="28844" y="7437"/>
                  <a:pt x="28875" y="7437"/>
                </a:cubicBezTo>
                <a:cubicBezTo>
                  <a:pt x="28875" y="7437"/>
                  <a:pt x="28906" y="7437"/>
                  <a:pt x="28906" y="7437"/>
                </a:cubicBezTo>
                <a:cubicBezTo>
                  <a:pt x="28969" y="7406"/>
                  <a:pt x="29000" y="7406"/>
                  <a:pt x="29062" y="7406"/>
                </a:cubicBezTo>
                <a:cubicBezTo>
                  <a:pt x="29062" y="7406"/>
                  <a:pt x="29062" y="7406"/>
                  <a:pt x="29062" y="7406"/>
                </a:cubicBezTo>
                <a:cubicBezTo>
                  <a:pt x="29094" y="7406"/>
                  <a:pt x="29094" y="7406"/>
                  <a:pt x="29125" y="7406"/>
                </a:cubicBezTo>
                <a:cubicBezTo>
                  <a:pt x="29125" y="7406"/>
                  <a:pt x="29156" y="7406"/>
                  <a:pt x="29156" y="7406"/>
                </a:cubicBezTo>
                <a:cubicBezTo>
                  <a:pt x="29187" y="7406"/>
                  <a:pt x="29219" y="7406"/>
                  <a:pt x="29250" y="7406"/>
                </a:cubicBezTo>
                <a:cubicBezTo>
                  <a:pt x="29250" y="7375"/>
                  <a:pt x="29281" y="7375"/>
                  <a:pt x="29281" y="7343"/>
                </a:cubicBezTo>
                <a:cubicBezTo>
                  <a:pt x="29312" y="7343"/>
                  <a:pt x="29312" y="7343"/>
                  <a:pt x="29344" y="7343"/>
                </a:cubicBezTo>
                <a:cubicBezTo>
                  <a:pt x="29375" y="7343"/>
                  <a:pt x="29406" y="7343"/>
                  <a:pt x="29437" y="7343"/>
                </a:cubicBezTo>
                <a:cubicBezTo>
                  <a:pt x="29469" y="7343"/>
                  <a:pt x="29500" y="7343"/>
                  <a:pt x="29531" y="7375"/>
                </a:cubicBezTo>
                <a:cubicBezTo>
                  <a:pt x="29562" y="7406"/>
                  <a:pt x="29562" y="7406"/>
                  <a:pt x="29562" y="7375"/>
                </a:cubicBezTo>
                <a:cubicBezTo>
                  <a:pt x="29594" y="7375"/>
                  <a:pt x="29594" y="7343"/>
                  <a:pt x="29594" y="7343"/>
                </a:cubicBezTo>
                <a:cubicBezTo>
                  <a:pt x="29625" y="7343"/>
                  <a:pt x="29656" y="7312"/>
                  <a:pt x="29656" y="7281"/>
                </a:cubicBezTo>
                <a:cubicBezTo>
                  <a:pt x="29656" y="7281"/>
                  <a:pt x="29656" y="7250"/>
                  <a:pt x="29656" y="7250"/>
                </a:cubicBezTo>
                <a:cubicBezTo>
                  <a:pt x="29656" y="7250"/>
                  <a:pt x="29625" y="7250"/>
                  <a:pt x="29625" y="7218"/>
                </a:cubicBezTo>
                <a:cubicBezTo>
                  <a:pt x="29625" y="7218"/>
                  <a:pt x="29594" y="7218"/>
                  <a:pt x="29594" y="7187"/>
                </a:cubicBezTo>
                <a:cubicBezTo>
                  <a:pt x="29562" y="7187"/>
                  <a:pt x="29562" y="7187"/>
                  <a:pt x="29531" y="7187"/>
                </a:cubicBezTo>
                <a:cubicBezTo>
                  <a:pt x="29531" y="7187"/>
                  <a:pt x="29500" y="7187"/>
                  <a:pt x="29500" y="7187"/>
                </a:cubicBezTo>
                <a:cubicBezTo>
                  <a:pt x="29469" y="7187"/>
                  <a:pt x="29437" y="7187"/>
                  <a:pt x="29406" y="7187"/>
                </a:cubicBezTo>
                <a:cubicBezTo>
                  <a:pt x="29406" y="7156"/>
                  <a:pt x="29406" y="7125"/>
                  <a:pt x="29406" y="7093"/>
                </a:cubicBezTo>
                <a:cubicBezTo>
                  <a:pt x="29406" y="7093"/>
                  <a:pt x="29375" y="7062"/>
                  <a:pt x="29344" y="7031"/>
                </a:cubicBezTo>
                <a:cubicBezTo>
                  <a:pt x="29312" y="7031"/>
                  <a:pt x="29312" y="7000"/>
                  <a:pt x="29281" y="7000"/>
                </a:cubicBezTo>
                <a:cubicBezTo>
                  <a:pt x="29281" y="6968"/>
                  <a:pt x="29312" y="6968"/>
                  <a:pt x="29344" y="6968"/>
                </a:cubicBezTo>
                <a:cubicBezTo>
                  <a:pt x="29344" y="6968"/>
                  <a:pt x="29344" y="6968"/>
                  <a:pt x="29375" y="6968"/>
                </a:cubicBezTo>
                <a:cubicBezTo>
                  <a:pt x="29406" y="6968"/>
                  <a:pt x="29437" y="6968"/>
                  <a:pt x="29437" y="6937"/>
                </a:cubicBezTo>
                <a:cubicBezTo>
                  <a:pt x="29437" y="6906"/>
                  <a:pt x="29437" y="6906"/>
                  <a:pt x="29406" y="6906"/>
                </a:cubicBezTo>
                <a:cubicBezTo>
                  <a:pt x="29375" y="6875"/>
                  <a:pt x="29312" y="6875"/>
                  <a:pt x="29281" y="6843"/>
                </a:cubicBezTo>
                <a:cubicBezTo>
                  <a:pt x="29344" y="6812"/>
                  <a:pt x="29406" y="6812"/>
                  <a:pt x="29375" y="6750"/>
                </a:cubicBezTo>
                <a:cubicBezTo>
                  <a:pt x="29375" y="6718"/>
                  <a:pt x="29344" y="6718"/>
                  <a:pt x="29344" y="6718"/>
                </a:cubicBezTo>
                <a:cubicBezTo>
                  <a:pt x="29344" y="6687"/>
                  <a:pt x="29312" y="6687"/>
                  <a:pt x="29312" y="6656"/>
                </a:cubicBezTo>
                <a:cubicBezTo>
                  <a:pt x="29312" y="6625"/>
                  <a:pt x="29344" y="6562"/>
                  <a:pt x="29469" y="6531"/>
                </a:cubicBezTo>
                <a:cubicBezTo>
                  <a:pt x="29500" y="6531"/>
                  <a:pt x="29500" y="6531"/>
                  <a:pt x="29531" y="6531"/>
                </a:cubicBezTo>
                <a:cubicBezTo>
                  <a:pt x="29531" y="6531"/>
                  <a:pt x="29562" y="6531"/>
                  <a:pt x="29562" y="6500"/>
                </a:cubicBezTo>
                <a:cubicBezTo>
                  <a:pt x="29594" y="6500"/>
                  <a:pt x="29625" y="6500"/>
                  <a:pt x="29656" y="6468"/>
                </a:cubicBezTo>
                <a:cubicBezTo>
                  <a:pt x="29656" y="6468"/>
                  <a:pt x="29687" y="6468"/>
                  <a:pt x="29687" y="6468"/>
                </a:cubicBezTo>
                <a:cubicBezTo>
                  <a:pt x="29719" y="6437"/>
                  <a:pt x="29719" y="6406"/>
                  <a:pt x="29719" y="6375"/>
                </a:cubicBezTo>
                <a:cubicBezTo>
                  <a:pt x="29719" y="6343"/>
                  <a:pt x="29719" y="6343"/>
                  <a:pt x="29719" y="6343"/>
                </a:cubicBezTo>
                <a:cubicBezTo>
                  <a:pt x="29719" y="6312"/>
                  <a:pt x="29656" y="6281"/>
                  <a:pt x="29594" y="6312"/>
                </a:cubicBezTo>
                <a:cubicBezTo>
                  <a:pt x="29562" y="6312"/>
                  <a:pt x="29531" y="6312"/>
                  <a:pt x="29531" y="6312"/>
                </a:cubicBezTo>
                <a:cubicBezTo>
                  <a:pt x="29500" y="6281"/>
                  <a:pt x="29469" y="6250"/>
                  <a:pt x="29469" y="6250"/>
                </a:cubicBezTo>
                <a:cubicBezTo>
                  <a:pt x="29469" y="6218"/>
                  <a:pt x="29500" y="6218"/>
                  <a:pt x="29500" y="6187"/>
                </a:cubicBezTo>
                <a:cubicBezTo>
                  <a:pt x="29500" y="6187"/>
                  <a:pt x="29500" y="6187"/>
                  <a:pt x="29500" y="6156"/>
                </a:cubicBezTo>
                <a:cubicBezTo>
                  <a:pt x="29469" y="6156"/>
                  <a:pt x="29469" y="6125"/>
                  <a:pt x="29437" y="6125"/>
                </a:cubicBezTo>
                <a:cubicBezTo>
                  <a:pt x="29406" y="6093"/>
                  <a:pt x="29312" y="6093"/>
                  <a:pt x="29250" y="6093"/>
                </a:cubicBezTo>
                <a:cubicBezTo>
                  <a:pt x="29312" y="6062"/>
                  <a:pt x="29344" y="6031"/>
                  <a:pt x="29375" y="6031"/>
                </a:cubicBezTo>
                <a:cubicBezTo>
                  <a:pt x="29437" y="6000"/>
                  <a:pt x="29469" y="6000"/>
                  <a:pt x="29500" y="5968"/>
                </a:cubicBezTo>
                <a:cubicBezTo>
                  <a:pt x="29562" y="5968"/>
                  <a:pt x="29594" y="5937"/>
                  <a:pt x="29625" y="5937"/>
                </a:cubicBezTo>
                <a:cubicBezTo>
                  <a:pt x="29656" y="5906"/>
                  <a:pt x="29719" y="5906"/>
                  <a:pt x="29750" y="5875"/>
                </a:cubicBezTo>
                <a:cubicBezTo>
                  <a:pt x="29812" y="5843"/>
                  <a:pt x="29844" y="5781"/>
                  <a:pt x="29906" y="5718"/>
                </a:cubicBezTo>
                <a:cubicBezTo>
                  <a:pt x="29906" y="5687"/>
                  <a:pt x="29937" y="5656"/>
                  <a:pt x="29937" y="5593"/>
                </a:cubicBezTo>
                <a:cubicBezTo>
                  <a:pt x="29969" y="5562"/>
                  <a:pt x="29969" y="5500"/>
                  <a:pt x="29937" y="5437"/>
                </a:cubicBezTo>
                <a:cubicBezTo>
                  <a:pt x="29969" y="5437"/>
                  <a:pt x="30000" y="5437"/>
                  <a:pt x="30000" y="5406"/>
                </a:cubicBezTo>
                <a:cubicBezTo>
                  <a:pt x="30031" y="5375"/>
                  <a:pt x="30031" y="5375"/>
                  <a:pt x="30062" y="5343"/>
                </a:cubicBezTo>
                <a:cubicBezTo>
                  <a:pt x="30062" y="5343"/>
                  <a:pt x="30062" y="5343"/>
                  <a:pt x="30062" y="5312"/>
                </a:cubicBezTo>
                <a:cubicBezTo>
                  <a:pt x="30094" y="5312"/>
                  <a:pt x="30156" y="5312"/>
                  <a:pt x="30187" y="5312"/>
                </a:cubicBezTo>
                <a:cubicBezTo>
                  <a:pt x="30219" y="5343"/>
                  <a:pt x="30187" y="5375"/>
                  <a:pt x="30187" y="5406"/>
                </a:cubicBezTo>
                <a:cubicBezTo>
                  <a:pt x="30187" y="5406"/>
                  <a:pt x="30187" y="5406"/>
                  <a:pt x="30219" y="5437"/>
                </a:cubicBezTo>
                <a:cubicBezTo>
                  <a:pt x="30219" y="5437"/>
                  <a:pt x="30219" y="5437"/>
                  <a:pt x="30250" y="5437"/>
                </a:cubicBezTo>
                <a:cubicBezTo>
                  <a:pt x="30250" y="5437"/>
                  <a:pt x="30250" y="5437"/>
                  <a:pt x="30281" y="5406"/>
                </a:cubicBezTo>
                <a:cubicBezTo>
                  <a:pt x="30312" y="5406"/>
                  <a:pt x="30312" y="5406"/>
                  <a:pt x="30312" y="5375"/>
                </a:cubicBezTo>
                <a:cubicBezTo>
                  <a:pt x="30312" y="5375"/>
                  <a:pt x="30312" y="5343"/>
                  <a:pt x="30312" y="5343"/>
                </a:cubicBezTo>
                <a:cubicBezTo>
                  <a:pt x="30312" y="5343"/>
                  <a:pt x="30281" y="5312"/>
                  <a:pt x="30281" y="5312"/>
                </a:cubicBezTo>
                <a:cubicBezTo>
                  <a:pt x="30250" y="5312"/>
                  <a:pt x="30281" y="5281"/>
                  <a:pt x="30281" y="5250"/>
                </a:cubicBezTo>
                <a:cubicBezTo>
                  <a:pt x="30281" y="5250"/>
                  <a:pt x="30281" y="5218"/>
                  <a:pt x="30281" y="5218"/>
                </a:cubicBezTo>
                <a:cubicBezTo>
                  <a:pt x="30281" y="5218"/>
                  <a:pt x="30250" y="5187"/>
                  <a:pt x="30219" y="5187"/>
                </a:cubicBezTo>
                <a:cubicBezTo>
                  <a:pt x="30187" y="5187"/>
                  <a:pt x="30156" y="5218"/>
                  <a:pt x="30156" y="5218"/>
                </a:cubicBezTo>
                <a:cubicBezTo>
                  <a:pt x="30156" y="5218"/>
                  <a:pt x="30156" y="5218"/>
                  <a:pt x="30187" y="5218"/>
                </a:cubicBezTo>
                <a:cubicBezTo>
                  <a:pt x="30187" y="5250"/>
                  <a:pt x="30187" y="5250"/>
                  <a:pt x="30187" y="5250"/>
                </a:cubicBezTo>
                <a:cubicBezTo>
                  <a:pt x="30187" y="5250"/>
                  <a:pt x="30187" y="5250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87" y="5281"/>
                  <a:pt x="30187" y="5281"/>
                  <a:pt x="30187" y="5281"/>
                </a:cubicBezTo>
                <a:cubicBezTo>
                  <a:pt x="30125" y="5281"/>
                  <a:pt x="30062" y="5250"/>
                  <a:pt x="30000" y="5250"/>
                </a:cubicBezTo>
                <a:cubicBezTo>
                  <a:pt x="29937" y="5250"/>
                  <a:pt x="29844" y="5218"/>
                  <a:pt x="29781" y="5218"/>
                </a:cubicBezTo>
                <a:cubicBezTo>
                  <a:pt x="29812" y="5218"/>
                  <a:pt x="29812" y="5187"/>
                  <a:pt x="29844" y="5187"/>
                </a:cubicBezTo>
                <a:cubicBezTo>
                  <a:pt x="29906" y="5156"/>
                  <a:pt x="29969" y="5156"/>
                  <a:pt x="30031" y="5156"/>
                </a:cubicBezTo>
                <a:cubicBezTo>
                  <a:pt x="30062" y="5156"/>
                  <a:pt x="30094" y="5156"/>
                  <a:pt x="30125" y="5156"/>
                </a:cubicBezTo>
                <a:cubicBezTo>
                  <a:pt x="30125" y="5156"/>
                  <a:pt x="30156" y="5156"/>
                  <a:pt x="30156" y="5156"/>
                </a:cubicBezTo>
                <a:cubicBezTo>
                  <a:pt x="30187" y="5125"/>
                  <a:pt x="30219" y="5125"/>
                  <a:pt x="30219" y="5093"/>
                </a:cubicBezTo>
                <a:cubicBezTo>
                  <a:pt x="30219" y="5093"/>
                  <a:pt x="30187" y="5093"/>
                  <a:pt x="30187" y="5093"/>
                </a:cubicBezTo>
                <a:cubicBezTo>
                  <a:pt x="30125" y="5062"/>
                  <a:pt x="30125" y="5031"/>
                  <a:pt x="30156" y="5000"/>
                </a:cubicBezTo>
                <a:cubicBezTo>
                  <a:pt x="30156" y="5000"/>
                  <a:pt x="30187" y="4968"/>
                  <a:pt x="30187" y="4968"/>
                </a:cubicBezTo>
                <a:cubicBezTo>
                  <a:pt x="30187" y="4968"/>
                  <a:pt x="30187" y="4937"/>
                  <a:pt x="30219" y="4937"/>
                </a:cubicBezTo>
                <a:cubicBezTo>
                  <a:pt x="30219" y="4937"/>
                  <a:pt x="30219" y="4937"/>
                  <a:pt x="30219" y="4937"/>
                </a:cubicBezTo>
                <a:cubicBezTo>
                  <a:pt x="30219" y="4937"/>
                  <a:pt x="30219" y="4906"/>
                  <a:pt x="30250" y="4906"/>
                </a:cubicBezTo>
                <a:cubicBezTo>
                  <a:pt x="30250" y="4906"/>
                  <a:pt x="30250" y="4906"/>
                  <a:pt x="30250" y="4875"/>
                </a:cubicBezTo>
                <a:cubicBezTo>
                  <a:pt x="30219" y="4875"/>
                  <a:pt x="30219" y="4875"/>
                  <a:pt x="30187" y="4875"/>
                </a:cubicBezTo>
                <a:cubicBezTo>
                  <a:pt x="30187" y="4875"/>
                  <a:pt x="30156" y="4875"/>
                  <a:pt x="30156" y="4875"/>
                </a:cubicBezTo>
                <a:cubicBezTo>
                  <a:pt x="30094" y="4875"/>
                  <a:pt x="30062" y="4875"/>
                  <a:pt x="30031" y="4875"/>
                </a:cubicBezTo>
                <a:cubicBezTo>
                  <a:pt x="30000" y="4875"/>
                  <a:pt x="30000" y="4875"/>
                  <a:pt x="29969" y="4875"/>
                </a:cubicBezTo>
                <a:cubicBezTo>
                  <a:pt x="29937" y="4875"/>
                  <a:pt x="29906" y="4843"/>
                  <a:pt x="29906" y="4843"/>
                </a:cubicBezTo>
                <a:cubicBezTo>
                  <a:pt x="29875" y="4812"/>
                  <a:pt x="29875" y="4781"/>
                  <a:pt x="29844" y="4750"/>
                </a:cubicBezTo>
                <a:cubicBezTo>
                  <a:pt x="29812" y="4718"/>
                  <a:pt x="29812" y="4718"/>
                  <a:pt x="29781" y="4687"/>
                </a:cubicBezTo>
                <a:cubicBezTo>
                  <a:pt x="29750" y="4625"/>
                  <a:pt x="29687" y="4593"/>
                  <a:pt x="29656" y="4531"/>
                </a:cubicBezTo>
                <a:cubicBezTo>
                  <a:pt x="29625" y="4468"/>
                  <a:pt x="29562" y="4437"/>
                  <a:pt x="29469" y="4437"/>
                </a:cubicBezTo>
                <a:cubicBezTo>
                  <a:pt x="29469" y="4437"/>
                  <a:pt x="29437" y="4437"/>
                  <a:pt x="29406" y="4468"/>
                </a:cubicBezTo>
                <a:cubicBezTo>
                  <a:pt x="29375" y="4468"/>
                  <a:pt x="29375" y="4468"/>
                  <a:pt x="29344" y="4468"/>
                </a:cubicBezTo>
                <a:cubicBezTo>
                  <a:pt x="29219" y="4500"/>
                  <a:pt x="29094" y="4468"/>
                  <a:pt x="28937" y="4500"/>
                </a:cubicBezTo>
                <a:cubicBezTo>
                  <a:pt x="29031" y="4437"/>
                  <a:pt x="29125" y="4406"/>
                  <a:pt x="29187" y="4375"/>
                </a:cubicBezTo>
                <a:cubicBezTo>
                  <a:pt x="29250" y="4343"/>
                  <a:pt x="29281" y="4312"/>
                  <a:pt x="29344" y="4312"/>
                </a:cubicBezTo>
                <a:cubicBezTo>
                  <a:pt x="29406" y="4312"/>
                  <a:pt x="29469" y="4281"/>
                  <a:pt x="29531" y="4281"/>
                </a:cubicBezTo>
                <a:cubicBezTo>
                  <a:pt x="29594" y="4250"/>
                  <a:pt x="29625" y="4250"/>
                  <a:pt x="29687" y="4250"/>
                </a:cubicBezTo>
                <a:cubicBezTo>
                  <a:pt x="29812" y="4218"/>
                  <a:pt x="29937" y="4187"/>
                  <a:pt x="30062" y="4187"/>
                </a:cubicBezTo>
                <a:cubicBezTo>
                  <a:pt x="30125" y="4156"/>
                  <a:pt x="30187" y="4156"/>
                  <a:pt x="30250" y="4156"/>
                </a:cubicBezTo>
                <a:cubicBezTo>
                  <a:pt x="30406" y="4093"/>
                  <a:pt x="30594" y="4062"/>
                  <a:pt x="30781" y="4031"/>
                </a:cubicBezTo>
                <a:cubicBezTo>
                  <a:pt x="30812" y="4031"/>
                  <a:pt x="30844" y="4000"/>
                  <a:pt x="30875" y="4000"/>
                </a:cubicBezTo>
                <a:cubicBezTo>
                  <a:pt x="31000" y="3968"/>
                  <a:pt x="31094" y="3968"/>
                  <a:pt x="31219" y="3937"/>
                </a:cubicBezTo>
                <a:cubicBezTo>
                  <a:pt x="31375" y="3906"/>
                  <a:pt x="31500" y="3875"/>
                  <a:pt x="31625" y="3781"/>
                </a:cubicBezTo>
                <a:cubicBezTo>
                  <a:pt x="31656" y="3781"/>
                  <a:pt x="31656" y="3781"/>
                  <a:pt x="31656" y="3781"/>
                </a:cubicBezTo>
                <a:cubicBezTo>
                  <a:pt x="31687" y="3781"/>
                  <a:pt x="31687" y="3781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50"/>
                  <a:pt x="31687" y="3750"/>
                  <a:pt x="31687" y="3750"/>
                </a:cubicBezTo>
                <a:cubicBezTo>
                  <a:pt x="31687" y="3718"/>
                  <a:pt x="31687" y="3718"/>
                  <a:pt x="31687" y="3718"/>
                </a:cubicBezTo>
                <a:cubicBezTo>
                  <a:pt x="31656" y="3718"/>
                  <a:pt x="31656" y="3718"/>
                  <a:pt x="31625" y="3718"/>
                </a:cubicBezTo>
                <a:cubicBezTo>
                  <a:pt x="31625" y="3718"/>
                  <a:pt x="31625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594" y="3718"/>
                  <a:pt x="31594" y="3718"/>
                  <a:pt x="31594" y="3718"/>
                </a:cubicBezTo>
                <a:cubicBezTo>
                  <a:pt x="31625" y="3656"/>
                  <a:pt x="31594" y="3593"/>
                  <a:pt x="31500" y="3562"/>
                </a:cubicBezTo>
                <a:cubicBezTo>
                  <a:pt x="31469" y="3562"/>
                  <a:pt x="31469" y="3562"/>
                  <a:pt x="31469" y="3562"/>
                </a:cubicBezTo>
                <a:cubicBezTo>
                  <a:pt x="31437" y="3562"/>
                  <a:pt x="31437" y="3562"/>
                  <a:pt x="31406" y="3562"/>
                </a:cubicBezTo>
                <a:cubicBezTo>
                  <a:pt x="31406" y="3562"/>
                  <a:pt x="31375" y="3562"/>
                  <a:pt x="31375" y="3562"/>
                </a:cubicBezTo>
                <a:cubicBezTo>
                  <a:pt x="31344" y="3593"/>
                  <a:pt x="31344" y="3593"/>
                  <a:pt x="31344" y="3593"/>
                </a:cubicBezTo>
                <a:cubicBezTo>
                  <a:pt x="31344" y="3625"/>
                  <a:pt x="31344" y="3625"/>
                  <a:pt x="31344" y="3625"/>
                </a:cubicBezTo>
                <a:cubicBezTo>
                  <a:pt x="31375" y="3656"/>
                  <a:pt x="31437" y="3656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37" y="3718"/>
                  <a:pt x="31437" y="3718"/>
                  <a:pt x="31437" y="3718"/>
                </a:cubicBezTo>
                <a:cubicBezTo>
                  <a:pt x="31406" y="3718"/>
                  <a:pt x="31406" y="3718"/>
                  <a:pt x="31406" y="3718"/>
                </a:cubicBezTo>
                <a:cubicBezTo>
                  <a:pt x="31375" y="3718"/>
                  <a:pt x="31375" y="3718"/>
                  <a:pt x="31344" y="3718"/>
                </a:cubicBezTo>
                <a:cubicBezTo>
                  <a:pt x="31312" y="3750"/>
                  <a:pt x="31312" y="3750"/>
                  <a:pt x="31281" y="3781"/>
                </a:cubicBezTo>
                <a:cubicBezTo>
                  <a:pt x="31250" y="3781"/>
                  <a:pt x="31219" y="3781"/>
                  <a:pt x="31156" y="3781"/>
                </a:cubicBezTo>
                <a:cubicBezTo>
                  <a:pt x="31156" y="3781"/>
                  <a:pt x="31125" y="3812"/>
                  <a:pt x="31125" y="3812"/>
                </a:cubicBezTo>
                <a:cubicBezTo>
                  <a:pt x="31031" y="3812"/>
                  <a:pt x="30969" y="3843"/>
                  <a:pt x="30906" y="3875"/>
                </a:cubicBezTo>
                <a:cubicBezTo>
                  <a:pt x="30875" y="3875"/>
                  <a:pt x="30875" y="3875"/>
                  <a:pt x="30844" y="3875"/>
                </a:cubicBezTo>
                <a:cubicBezTo>
                  <a:pt x="30812" y="3906"/>
                  <a:pt x="30750" y="3906"/>
                  <a:pt x="30719" y="3906"/>
                </a:cubicBezTo>
                <a:cubicBezTo>
                  <a:pt x="30687" y="3906"/>
                  <a:pt x="30656" y="3906"/>
                  <a:pt x="30656" y="3875"/>
                </a:cubicBezTo>
                <a:cubicBezTo>
                  <a:pt x="30562" y="3812"/>
                  <a:pt x="30719" y="3812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87" y="3750"/>
                </a:cubicBezTo>
                <a:cubicBezTo>
                  <a:pt x="30687" y="3750"/>
                  <a:pt x="30687" y="3750"/>
                  <a:pt x="30656" y="3750"/>
                </a:cubicBezTo>
                <a:cubicBezTo>
                  <a:pt x="30656" y="3750"/>
                  <a:pt x="30656" y="3750"/>
                  <a:pt x="30656" y="3750"/>
                </a:cubicBezTo>
                <a:cubicBezTo>
                  <a:pt x="30625" y="3750"/>
                  <a:pt x="30594" y="3750"/>
                  <a:pt x="30594" y="3750"/>
                </a:cubicBezTo>
                <a:cubicBezTo>
                  <a:pt x="30562" y="3750"/>
                  <a:pt x="30531" y="3781"/>
                  <a:pt x="30500" y="3781"/>
                </a:cubicBezTo>
                <a:cubicBezTo>
                  <a:pt x="30500" y="3781"/>
                  <a:pt x="30500" y="3781"/>
                  <a:pt x="30469" y="3781"/>
                </a:cubicBezTo>
                <a:cubicBezTo>
                  <a:pt x="30469" y="3812"/>
                  <a:pt x="30437" y="3812"/>
                  <a:pt x="30437" y="3843"/>
                </a:cubicBezTo>
                <a:cubicBezTo>
                  <a:pt x="30406" y="3875"/>
                  <a:pt x="30312" y="3875"/>
                  <a:pt x="30312" y="3843"/>
                </a:cubicBezTo>
                <a:cubicBezTo>
                  <a:pt x="30312" y="3843"/>
                  <a:pt x="30312" y="3812"/>
                  <a:pt x="30312" y="3812"/>
                </a:cubicBezTo>
                <a:cubicBezTo>
                  <a:pt x="30312" y="3812"/>
                  <a:pt x="30312" y="3812"/>
                  <a:pt x="30312" y="3812"/>
                </a:cubicBezTo>
                <a:cubicBezTo>
                  <a:pt x="30312" y="3781"/>
                  <a:pt x="30312" y="3781"/>
                  <a:pt x="30312" y="3781"/>
                </a:cubicBezTo>
                <a:cubicBezTo>
                  <a:pt x="30281" y="3750"/>
                  <a:pt x="30250" y="3718"/>
                  <a:pt x="30281" y="3718"/>
                </a:cubicBezTo>
                <a:cubicBezTo>
                  <a:pt x="30281" y="3687"/>
                  <a:pt x="30312" y="3687"/>
                  <a:pt x="30344" y="3687"/>
                </a:cubicBezTo>
                <a:cubicBezTo>
                  <a:pt x="30469" y="3625"/>
                  <a:pt x="30562" y="3531"/>
                  <a:pt x="30625" y="3437"/>
                </a:cubicBezTo>
                <a:cubicBezTo>
                  <a:pt x="30625" y="3437"/>
                  <a:pt x="30625" y="3406"/>
                  <a:pt x="30656" y="3406"/>
                </a:cubicBezTo>
                <a:cubicBezTo>
                  <a:pt x="30656" y="3375"/>
                  <a:pt x="30656" y="3375"/>
                  <a:pt x="30687" y="3375"/>
                </a:cubicBezTo>
                <a:cubicBezTo>
                  <a:pt x="30687" y="3375"/>
                  <a:pt x="30719" y="3343"/>
                  <a:pt x="30719" y="3343"/>
                </a:cubicBezTo>
                <a:cubicBezTo>
                  <a:pt x="30719" y="3312"/>
                  <a:pt x="30719" y="3312"/>
                  <a:pt x="30687" y="3312"/>
                </a:cubicBezTo>
                <a:cubicBezTo>
                  <a:pt x="30687" y="3281"/>
                  <a:pt x="30656" y="3281"/>
                  <a:pt x="30656" y="3281"/>
                </a:cubicBezTo>
                <a:cubicBezTo>
                  <a:pt x="30656" y="3281"/>
                  <a:pt x="30625" y="3281"/>
                  <a:pt x="30625" y="3281"/>
                </a:cubicBezTo>
                <a:cubicBezTo>
                  <a:pt x="30625" y="3312"/>
                  <a:pt x="30625" y="3312"/>
                  <a:pt x="30625" y="3312"/>
                </a:cubicBezTo>
                <a:cubicBezTo>
                  <a:pt x="30594" y="3312"/>
                  <a:pt x="30594" y="3312"/>
                  <a:pt x="30594" y="3312"/>
                </a:cubicBezTo>
                <a:cubicBezTo>
                  <a:pt x="30562" y="3312"/>
                  <a:pt x="30562" y="3312"/>
                  <a:pt x="30562" y="3312"/>
                </a:cubicBezTo>
                <a:cubicBezTo>
                  <a:pt x="30531" y="3343"/>
                  <a:pt x="30500" y="3343"/>
                  <a:pt x="30500" y="3343"/>
                </a:cubicBezTo>
                <a:cubicBezTo>
                  <a:pt x="30469" y="3343"/>
                  <a:pt x="30437" y="3312"/>
                  <a:pt x="30406" y="3312"/>
                </a:cubicBezTo>
                <a:cubicBezTo>
                  <a:pt x="30406" y="3281"/>
                  <a:pt x="30406" y="3281"/>
                  <a:pt x="30375" y="3250"/>
                </a:cubicBezTo>
                <a:cubicBezTo>
                  <a:pt x="30375" y="3250"/>
                  <a:pt x="30375" y="3250"/>
                  <a:pt x="30375" y="3250"/>
                </a:cubicBezTo>
                <a:cubicBezTo>
                  <a:pt x="30406" y="3250"/>
                  <a:pt x="30437" y="3218"/>
                  <a:pt x="30406" y="3187"/>
                </a:cubicBezTo>
                <a:cubicBezTo>
                  <a:pt x="30406" y="3187"/>
                  <a:pt x="30406" y="3187"/>
                  <a:pt x="30375" y="3187"/>
                </a:cubicBezTo>
                <a:cubicBezTo>
                  <a:pt x="30344" y="3187"/>
                  <a:pt x="30312" y="3187"/>
                  <a:pt x="30312" y="3187"/>
                </a:cubicBezTo>
                <a:cubicBezTo>
                  <a:pt x="30281" y="3187"/>
                  <a:pt x="30281" y="3218"/>
                  <a:pt x="30250" y="3218"/>
                </a:cubicBezTo>
                <a:cubicBezTo>
                  <a:pt x="30250" y="3250"/>
                  <a:pt x="30219" y="3250"/>
                  <a:pt x="30187" y="3250"/>
                </a:cubicBezTo>
                <a:cubicBezTo>
                  <a:pt x="30187" y="3250"/>
                  <a:pt x="30156" y="3250"/>
                  <a:pt x="30125" y="3250"/>
                </a:cubicBezTo>
                <a:cubicBezTo>
                  <a:pt x="30125" y="3250"/>
                  <a:pt x="30125" y="3218"/>
                  <a:pt x="30094" y="3218"/>
                </a:cubicBezTo>
                <a:cubicBezTo>
                  <a:pt x="30094" y="3218"/>
                  <a:pt x="30094" y="3218"/>
                  <a:pt x="30062" y="3187"/>
                </a:cubicBezTo>
                <a:cubicBezTo>
                  <a:pt x="30000" y="3156"/>
                  <a:pt x="29906" y="3093"/>
                  <a:pt x="29781" y="3093"/>
                </a:cubicBezTo>
                <a:cubicBezTo>
                  <a:pt x="29750" y="3093"/>
                  <a:pt x="29750" y="3093"/>
                  <a:pt x="29719" y="3093"/>
                </a:cubicBezTo>
                <a:cubicBezTo>
                  <a:pt x="29594" y="3093"/>
                  <a:pt x="29437" y="3125"/>
                  <a:pt x="29344" y="3156"/>
                </a:cubicBezTo>
                <a:cubicBezTo>
                  <a:pt x="29250" y="3187"/>
                  <a:pt x="29219" y="3218"/>
                  <a:pt x="29156" y="3250"/>
                </a:cubicBezTo>
                <a:cubicBezTo>
                  <a:pt x="29094" y="3312"/>
                  <a:pt x="29062" y="3343"/>
                  <a:pt x="28969" y="3375"/>
                </a:cubicBezTo>
                <a:cubicBezTo>
                  <a:pt x="28875" y="3406"/>
                  <a:pt x="28750" y="3437"/>
                  <a:pt x="28625" y="3468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37"/>
                  <a:pt x="28625" y="3437"/>
                  <a:pt x="28625" y="3437"/>
                </a:cubicBezTo>
                <a:cubicBezTo>
                  <a:pt x="28625" y="3406"/>
                  <a:pt x="28625" y="3406"/>
                  <a:pt x="28594" y="3406"/>
                </a:cubicBezTo>
                <a:cubicBezTo>
                  <a:pt x="28594" y="3406"/>
                  <a:pt x="28594" y="3375"/>
                  <a:pt x="28594" y="3375"/>
                </a:cubicBezTo>
                <a:cubicBezTo>
                  <a:pt x="28594" y="3375"/>
                  <a:pt x="28562" y="3375"/>
                  <a:pt x="28562" y="3375"/>
                </a:cubicBezTo>
                <a:cubicBezTo>
                  <a:pt x="28531" y="3375"/>
                  <a:pt x="28500" y="3375"/>
                  <a:pt x="28469" y="3406"/>
                </a:cubicBezTo>
                <a:cubicBezTo>
                  <a:pt x="28469" y="3406"/>
                  <a:pt x="28437" y="3437"/>
                  <a:pt x="28406" y="3437"/>
                </a:cubicBezTo>
                <a:cubicBezTo>
                  <a:pt x="28344" y="3437"/>
                  <a:pt x="28312" y="3406"/>
                  <a:pt x="28250" y="3406"/>
                </a:cubicBezTo>
                <a:cubicBezTo>
                  <a:pt x="28219" y="3406"/>
                  <a:pt x="28187" y="3406"/>
                  <a:pt x="28187" y="3406"/>
                </a:cubicBezTo>
                <a:cubicBezTo>
                  <a:pt x="28156" y="3406"/>
                  <a:pt x="28125" y="3406"/>
                  <a:pt x="28125" y="3406"/>
                </a:cubicBezTo>
                <a:cubicBezTo>
                  <a:pt x="28094" y="3406"/>
                  <a:pt x="28062" y="3406"/>
                  <a:pt x="28031" y="3406"/>
                </a:cubicBezTo>
                <a:cubicBezTo>
                  <a:pt x="27969" y="3406"/>
                  <a:pt x="27937" y="3437"/>
                  <a:pt x="27875" y="3437"/>
                </a:cubicBezTo>
                <a:cubicBezTo>
                  <a:pt x="27875" y="3437"/>
                  <a:pt x="27906" y="3437"/>
                  <a:pt x="27906" y="3406"/>
                </a:cubicBezTo>
                <a:cubicBezTo>
                  <a:pt x="27906" y="3375"/>
                  <a:pt x="27875" y="3343"/>
                  <a:pt x="27875" y="3312"/>
                </a:cubicBezTo>
                <a:cubicBezTo>
                  <a:pt x="27875" y="3281"/>
                  <a:pt x="27875" y="3218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06" y="3187"/>
                  <a:pt x="27906" y="3187"/>
                  <a:pt x="27906" y="3187"/>
                </a:cubicBezTo>
                <a:cubicBezTo>
                  <a:pt x="27969" y="3187"/>
                  <a:pt x="27969" y="3156"/>
                  <a:pt x="28000" y="3125"/>
                </a:cubicBezTo>
                <a:cubicBezTo>
                  <a:pt x="28000" y="3125"/>
                  <a:pt x="28000" y="3093"/>
                  <a:pt x="28000" y="3093"/>
                </a:cubicBezTo>
                <a:cubicBezTo>
                  <a:pt x="28000" y="3093"/>
                  <a:pt x="28000" y="3062"/>
                  <a:pt x="28000" y="3062"/>
                </a:cubicBezTo>
                <a:cubicBezTo>
                  <a:pt x="28000" y="3062"/>
                  <a:pt x="28000" y="3062"/>
                  <a:pt x="28031" y="3031"/>
                </a:cubicBezTo>
                <a:cubicBezTo>
                  <a:pt x="28031" y="3031"/>
                  <a:pt x="28062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00"/>
                  <a:pt x="28094" y="3000"/>
                  <a:pt x="28094" y="3000"/>
                </a:cubicBezTo>
                <a:cubicBezTo>
                  <a:pt x="28094" y="3031"/>
                  <a:pt x="28094" y="3062"/>
                  <a:pt x="28125" y="3062"/>
                </a:cubicBezTo>
                <a:cubicBezTo>
                  <a:pt x="28125" y="3062"/>
                  <a:pt x="28125" y="3062"/>
                  <a:pt x="28125" y="3062"/>
                </a:cubicBezTo>
                <a:cubicBezTo>
                  <a:pt x="28156" y="3062"/>
                  <a:pt x="28156" y="3062"/>
                  <a:pt x="28156" y="3062"/>
                </a:cubicBezTo>
                <a:cubicBezTo>
                  <a:pt x="28156" y="3062"/>
                  <a:pt x="28187" y="3062"/>
                  <a:pt x="28187" y="3062"/>
                </a:cubicBezTo>
                <a:cubicBezTo>
                  <a:pt x="28187" y="3062"/>
                  <a:pt x="28219" y="3062"/>
                  <a:pt x="28219" y="3062"/>
                </a:cubicBezTo>
                <a:cubicBezTo>
                  <a:pt x="28219" y="3062"/>
                  <a:pt x="28250" y="3062"/>
                  <a:pt x="28250" y="3062"/>
                </a:cubicBezTo>
                <a:cubicBezTo>
                  <a:pt x="28281" y="3062"/>
                  <a:pt x="28281" y="3062"/>
                  <a:pt x="28281" y="3062"/>
                </a:cubicBezTo>
                <a:cubicBezTo>
                  <a:pt x="28281" y="3031"/>
                  <a:pt x="28312" y="3031"/>
                  <a:pt x="28312" y="3031"/>
                </a:cubicBezTo>
                <a:cubicBezTo>
                  <a:pt x="28312" y="3031"/>
                  <a:pt x="28281" y="3031"/>
                  <a:pt x="28281" y="3031"/>
                </a:cubicBezTo>
                <a:cubicBezTo>
                  <a:pt x="28281" y="3000"/>
                  <a:pt x="28281" y="2968"/>
                  <a:pt x="28281" y="2968"/>
                </a:cubicBezTo>
                <a:cubicBezTo>
                  <a:pt x="28281" y="2968"/>
                  <a:pt x="28312" y="2937"/>
                  <a:pt x="28312" y="2937"/>
                </a:cubicBezTo>
                <a:cubicBezTo>
                  <a:pt x="28312" y="2937"/>
                  <a:pt x="28312" y="2937"/>
                  <a:pt x="28344" y="2937"/>
                </a:cubicBezTo>
                <a:cubicBezTo>
                  <a:pt x="28344" y="2906"/>
                  <a:pt x="28344" y="2906"/>
                  <a:pt x="28344" y="2906"/>
                </a:cubicBezTo>
                <a:cubicBezTo>
                  <a:pt x="28375" y="2875"/>
                  <a:pt x="28375" y="2875"/>
                  <a:pt x="28375" y="2875"/>
                </a:cubicBezTo>
                <a:cubicBezTo>
                  <a:pt x="28344" y="2843"/>
                  <a:pt x="28312" y="2812"/>
                  <a:pt x="28250" y="2812"/>
                </a:cubicBezTo>
                <a:cubicBezTo>
                  <a:pt x="28281" y="2781"/>
                  <a:pt x="28312" y="2781"/>
                  <a:pt x="28344" y="2750"/>
                </a:cubicBezTo>
                <a:cubicBezTo>
                  <a:pt x="28437" y="2718"/>
                  <a:pt x="28500" y="2656"/>
                  <a:pt x="28594" y="2593"/>
                </a:cubicBezTo>
                <a:cubicBezTo>
                  <a:pt x="28594" y="2593"/>
                  <a:pt x="28625" y="2593"/>
                  <a:pt x="28625" y="2593"/>
                </a:cubicBezTo>
                <a:cubicBezTo>
                  <a:pt x="28656" y="2562"/>
                  <a:pt x="28687" y="2531"/>
                  <a:pt x="28719" y="2500"/>
                </a:cubicBezTo>
                <a:cubicBezTo>
                  <a:pt x="28719" y="2500"/>
                  <a:pt x="28719" y="2500"/>
                  <a:pt x="28719" y="2500"/>
                </a:cubicBezTo>
                <a:cubicBezTo>
                  <a:pt x="28750" y="2468"/>
                  <a:pt x="28750" y="2468"/>
                  <a:pt x="28750" y="2468"/>
                </a:cubicBezTo>
                <a:cubicBezTo>
                  <a:pt x="28750" y="2437"/>
                  <a:pt x="28750" y="2437"/>
                  <a:pt x="28750" y="2437"/>
                </a:cubicBezTo>
                <a:cubicBezTo>
                  <a:pt x="28750" y="2437"/>
                  <a:pt x="28750" y="2437"/>
                  <a:pt x="28719" y="2437"/>
                </a:cubicBezTo>
                <a:cubicBezTo>
                  <a:pt x="28719" y="2437"/>
                  <a:pt x="28719" y="2406"/>
                  <a:pt x="28687" y="2406"/>
                </a:cubicBezTo>
                <a:cubicBezTo>
                  <a:pt x="28687" y="2406"/>
                  <a:pt x="28687" y="2406"/>
                  <a:pt x="28687" y="2406"/>
                </a:cubicBezTo>
                <a:cubicBezTo>
                  <a:pt x="28656" y="2406"/>
                  <a:pt x="28656" y="2437"/>
                  <a:pt x="28625" y="2437"/>
                </a:cubicBezTo>
                <a:cubicBezTo>
                  <a:pt x="28625" y="2437"/>
                  <a:pt x="28625" y="2437"/>
                  <a:pt x="28625" y="2437"/>
                </a:cubicBezTo>
                <a:cubicBezTo>
                  <a:pt x="28562" y="2468"/>
                  <a:pt x="28531" y="2468"/>
                  <a:pt x="28469" y="2500"/>
                </a:cubicBezTo>
                <a:cubicBezTo>
                  <a:pt x="28406" y="2500"/>
                  <a:pt x="28312" y="2500"/>
                  <a:pt x="28250" y="2500"/>
                </a:cubicBezTo>
                <a:cubicBezTo>
                  <a:pt x="28094" y="2531"/>
                  <a:pt x="27969" y="2437"/>
                  <a:pt x="27844" y="2500"/>
                </a:cubicBezTo>
                <a:cubicBezTo>
                  <a:pt x="27812" y="2500"/>
                  <a:pt x="27812" y="2500"/>
                  <a:pt x="27781" y="2500"/>
                </a:cubicBezTo>
                <a:cubicBezTo>
                  <a:pt x="27750" y="2500"/>
                  <a:pt x="27687" y="2500"/>
                  <a:pt x="27656" y="2500"/>
                </a:cubicBezTo>
                <a:cubicBezTo>
                  <a:pt x="27594" y="2468"/>
                  <a:pt x="27531" y="2468"/>
                  <a:pt x="27469" y="2468"/>
                </a:cubicBezTo>
                <a:cubicBezTo>
                  <a:pt x="27437" y="2468"/>
                  <a:pt x="27375" y="2468"/>
                  <a:pt x="27344" y="2437"/>
                </a:cubicBezTo>
                <a:cubicBezTo>
                  <a:pt x="27312" y="2437"/>
                  <a:pt x="27312" y="2437"/>
                  <a:pt x="27312" y="2406"/>
                </a:cubicBezTo>
                <a:cubicBezTo>
                  <a:pt x="27312" y="2406"/>
                  <a:pt x="27344" y="2375"/>
                  <a:pt x="27344" y="2375"/>
                </a:cubicBezTo>
                <a:cubicBezTo>
                  <a:pt x="27344" y="2375"/>
                  <a:pt x="27344" y="2375"/>
                  <a:pt x="27375" y="2375"/>
                </a:cubicBezTo>
                <a:cubicBezTo>
                  <a:pt x="27375" y="2375"/>
                  <a:pt x="27406" y="2375"/>
                  <a:pt x="27406" y="2375"/>
                </a:cubicBezTo>
                <a:cubicBezTo>
                  <a:pt x="27437" y="2375"/>
                  <a:pt x="27437" y="2375"/>
                  <a:pt x="27469" y="2375"/>
                </a:cubicBezTo>
                <a:cubicBezTo>
                  <a:pt x="27469" y="2375"/>
                  <a:pt x="27469" y="2375"/>
                  <a:pt x="27469" y="2375"/>
                </a:cubicBezTo>
                <a:cubicBezTo>
                  <a:pt x="27500" y="2375"/>
                  <a:pt x="27531" y="2375"/>
                  <a:pt x="27531" y="2375"/>
                </a:cubicBezTo>
                <a:cubicBezTo>
                  <a:pt x="27656" y="2375"/>
                  <a:pt x="27781" y="2406"/>
                  <a:pt x="27844" y="2375"/>
                </a:cubicBezTo>
                <a:cubicBezTo>
                  <a:pt x="27906" y="2375"/>
                  <a:pt x="27937" y="2343"/>
                  <a:pt x="27937" y="2250"/>
                </a:cubicBezTo>
                <a:cubicBezTo>
                  <a:pt x="27937" y="2250"/>
                  <a:pt x="27937" y="2250"/>
                  <a:pt x="27937" y="2250"/>
                </a:cubicBezTo>
                <a:cubicBezTo>
                  <a:pt x="27937" y="2250"/>
                  <a:pt x="27969" y="2250"/>
                  <a:pt x="27969" y="2250"/>
                </a:cubicBezTo>
                <a:cubicBezTo>
                  <a:pt x="27969" y="2250"/>
                  <a:pt x="28000" y="2250"/>
                  <a:pt x="28000" y="2250"/>
                </a:cubicBezTo>
                <a:cubicBezTo>
                  <a:pt x="28000" y="2250"/>
                  <a:pt x="28031" y="2250"/>
                  <a:pt x="28031" y="2250"/>
                </a:cubicBezTo>
                <a:cubicBezTo>
                  <a:pt x="28062" y="2218"/>
                  <a:pt x="28094" y="2218"/>
                  <a:pt x="28062" y="2187"/>
                </a:cubicBezTo>
                <a:cubicBezTo>
                  <a:pt x="28031" y="2156"/>
                  <a:pt x="28000" y="2156"/>
                  <a:pt x="27969" y="2156"/>
                </a:cubicBezTo>
                <a:cubicBezTo>
                  <a:pt x="27937" y="2156"/>
                  <a:pt x="27906" y="2156"/>
                  <a:pt x="27906" y="2156"/>
                </a:cubicBezTo>
                <a:cubicBezTo>
                  <a:pt x="27844" y="2218"/>
                  <a:pt x="27750" y="2250"/>
                  <a:pt x="27687" y="2281"/>
                </a:cubicBezTo>
                <a:cubicBezTo>
                  <a:pt x="27656" y="2281"/>
                  <a:pt x="27594" y="2281"/>
                  <a:pt x="27562" y="2281"/>
                </a:cubicBezTo>
                <a:cubicBezTo>
                  <a:pt x="27531" y="2281"/>
                  <a:pt x="27531" y="2281"/>
                  <a:pt x="27500" y="2281"/>
                </a:cubicBezTo>
                <a:cubicBezTo>
                  <a:pt x="27500" y="2281"/>
                  <a:pt x="27469" y="2281"/>
                  <a:pt x="27469" y="2312"/>
                </a:cubicBezTo>
                <a:cubicBezTo>
                  <a:pt x="27344" y="2312"/>
                  <a:pt x="27312" y="2218"/>
                  <a:pt x="27312" y="2156"/>
                </a:cubicBezTo>
                <a:cubicBezTo>
                  <a:pt x="27312" y="2156"/>
                  <a:pt x="27312" y="2125"/>
                  <a:pt x="27312" y="2093"/>
                </a:cubicBezTo>
                <a:cubicBezTo>
                  <a:pt x="27312" y="2093"/>
                  <a:pt x="27312" y="2062"/>
                  <a:pt x="27344" y="2031"/>
                </a:cubicBezTo>
                <a:cubicBezTo>
                  <a:pt x="27344" y="2031"/>
                  <a:pt x="27344" y="2031"/>
                  <a:pt x="27344" y="2031"/>
                </a:cubicBezTo>
                <a:cubicBezTo>
                  <a:pt x="27469" y="2062"/>
                  <a:pt x="27562" y="2031"/>
                  <a:pt x="27656" y="2000"/>
                </a:cubicBezTo>
                <a:cubicBezTo>
                  <a:pt x="27656" y="2000"/>
                  <a:pt x="27687" y="1968"/>
                  <a:pt x="27719" y="1968"/>
                </a:cubicBezTo>
                <a:cubicBezTo>
                  <a:pt x="27750" y="1937"/>
                  <a:pt x="27812" y="1906"/>
                  <a:pt x="27875" y="1906"/>
                </a:cubicBezTo>
                <a:cubicBezTo>
                  <a:pt x="27875" y="1906"/>
                  <a:pt x="27875" y="1906"/>
                  <a:pt x="27875" y="1875"/>
                </a:cubicBezTo>
                <a:cubicBezTo>
                  <a:pt x="27906" y="1875"/>
                  <a:pt x="27906" y="1875"/>
                  <a:pt x="27937" y="1875"/>
                </a:cubicBezTo>
                <a:cubicBezTo>
                  <a:pt x="27937" y="1875"/>
                  <a:pt x="27937" y="1875"/>
                  <a:pt x="27969" y="1843"/>
                </a:cubicBezTo>
                <a:cubicBezTo>
                  <a:pt x="27969" y="1843"/>
                  <a:pt x="27969" y="1843"/>
                  <a:pt x="27969" y="1843"/>
                </a:cubicBezTo>
                <a:cubicBezTo>
                  <a:pt x="27969" y="1843"/>
                  <a:pt x="27969" y="1812"/>
                  <a:pt x="27969" y="1812"/>
                </a:cubicBezTo>
                <a:cubicBezTo>
                  <a:pt x="27937" y="1812"/>
                  <a:pt x="27906" y="1812"/>
                  <a:pt x="27906" y="1812"/>
                </a:cubicBezTo>
                <a:cubicBezTo>
                  <a:pt x="27875" y="1812"/>
                  <a:pt x="27875" y="1812"/>
                  <a:pt x="27875" y="1812"/>
                </a:cubicBezTo>
                <a:cubicBezTo>
                  <a:pt x="27875" y="1812"/>
                  <a:pt x="27844" y="1812"/>
                  <a:pt x="27844" y="1812"/>
                </a:cubicBezTo>
                <a:cubicBezTo>
                  <a:pt x="27812" y="1812"/>
                  <a:pt x="27812" y="1812"/>
                  <a:pt x="27781" y="1843"/>
                </a:cubicBezTo>
                <a:cubicBezTo>
                  <a:pt x="27781" y="1843"/>
                  <a:pt x="27750" y="1843"/>
                  <a:pt x="27750" y="1843"/>
                </a:cubicBezTo>
                <a:cubicBezTo>
                  <a:pt x="27750" y="1875"/>
                  <a:pt x="27719" y="1875"/>
                  <a:pt x="27687" y="1875"/>
                </a:cubicBezTo>
                <a:cubicBezTo>
                  <a:pt x="27656" y="1906"/>
                  <a:pt x="27594" y="1906"/>
                  <a:pt x="27531" y="1906"/>
                </a:cubicBezTo>
                <a:cubicBezTo>
                  <a:pt x="27531" y="1906"/>
                  <a:pt x="27531" y="1906"/>
                  <a:pt x="27500" y="1906"/>
                </a:cubicBezTo>
                <a:cubicBezTo>
                  <a:pt x="27437" y="1906"/>
                  <a:pt x="27344" y="1906"/>
                  <a:pt x="27281" y="1937"/>
                </a:cubicBezTo>
                <a:cubicBezTo>
                  <a:pt x="27375" y="1843"/>
                  <a:pt x="27531" y="1812"/>
                  <a:pt x="27656" y="1781"/>
                </a:cubicBezTo>
                <a:cubicBezTo>
                  <a:pt x="27719" y="1750"/>
                  <a:pt x="27750" y="1750"/>
                  <a:pt x="27812" y="1718"/>
                </a:cubicBezTo>
                <a:cubicBezTo>
                  <a:pt x="27844" y="1718"/>
                  <a:pt x="27875" y="1718"/>
                  <a:pt x="27906" y="1718"/>
                </a:cubicBezTo>
                <a:cubicBezTo>
                  <a:pt x="27906" y="1718"/>
                  <a:pt x="27906" y="1718"/>
                  <a:pt x="27906" y="1718"/>
                </a:cubicBezTo>
                <a:cubicBezTo>
                  <a:pt x="27906" y="1718"/>
                  <a:pt x="27906" y="1687"/>
                  <a:pt x="27937" y="1687"/>
                </a:cubicBezTo>
                <a:cubicBezTo>
                  <a:pt x="27937" y="1687"/>
                  <a:pt x="27937" y="1656"/>
                  <a:pt x="27906" y="1656"/>
                </a:cubicBezTo>
                <a:cubicBezTo>
                  <a:pt x="27906" y="1625"/>
                  <a:pt x="27875" y="1625"/>
                  <a:pt x="27875" y="1625"/>
                </a:cubicBezTo>
                <a:cubicBezTo>
                  <a:pt x="27844" y="1625"/>
                  <a:pt x="27844" y="1625"/>
                  <a:pt x="27812" y="1593"/>
                </a:cubicBezTo>
                <a:cubicBezTo>
                  <a:pt x="27500" y="1593"/>
                  <a:pt x="27656" y="1343"/>
                  <a:pt x="27469" y="1250"/>
                </a:cubicBezTo>
                <a:cubicBezTo>
                  <a:pt x="27437" y="1250"/>
                  <a:pt x="27437" y="1250"/>
                  <a:pt x="27437" y="1250"/>
                </a:cubicBezTo>
                <a:cubicBezTo>
                  <a:pt x="27437" y="1250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218"/>
                  <a:pt x="27437" y="1218"/>
                  <a:pt x="27437" y="1218"/>
                </a:cubicBezTo>
                <a:cubicBezTo>
                  <a:pt x="27437" y="1187"/>
                  <a:pt x="27469" y="1187"/>
                  <a:pt x="27469" y="1187"/>
                </a:cubicBezTo>
                <a:cubicBezTo>
                  <a:pt x="27531" y="1156"/>
                  <a:pt x="27531" y="1156"/>
                  <a:pt x="27531" y="1125"/>
                </a:cubicBezTo>
                <a:cubicBezTo>
                  <a:pt x="27531" y="1125"/>
                  <a:pt x="27531" y="1125"/>
                  <a:pt x="27531" y="1125"/>
                </a:cubicBezTo>
                <a:cubicBezTo>
                  <a:pt x="27531" y="1093"/>
                  <a:pt x="27500" y="1093"/>
                  <a:pt x="27500" y="1093"/>
                </a:cubicBezTo>
                <a:cubicBezTo>
                  <a:pt x="27500" y="1093"/>
                  <a:pt x="27469" y="1093"/>
                  <a:pt x="27469" y="1093"/>
                </a:cubicBezTo>
                <a:cubicBezTo>
                  <a:pt x="27437" y="1093"/>
                  <a:pt x="27437" y="1093"/>
                  <a:pt x="27437" y="1093"/>
                </a:cubicBezTo>
                <a:cubicBezTo>
                  <a:pt x="27344" y="1093"/>
                  <a:pt x="27312" y="1062"/>
                  <a:pt x="27281" y="1062"/>
                </a:cubicBezTo>
                <a:cubicBezTo>
                  <a:pt x="27281" y="1031"/>
                  <a:pt x="27281" y="1031"/>
                  <a:pt x="27281" y="1000"/>
                </a:cubicBezTo>
                <a:cubicBezTo>
                  <a:pt x="27281" y="1000"/>
                  <a:pt x="27281" y="968"/>
                  <a:pt x="27281" y="968"/>
                </a:cubicBezTo>
                <a:cubicBezTo>
                  <a:pt x="27281" y="937"/>
                  <a:pt x="27281" y="937"/>
                  <a:pt x="27281" y="906"/>
                </a:cubicBezTo>
                <a:cubicBezTo>
                  <a:pt x="27281" y="906"/>
                  <a:pt x="27281" y="875"/>
                  <a:pt x="27281" y="875"/>
                </a:cubicBezTo>
                <a:cubicBezTo>
                  <a:pt x="27281" y="875"/>
                  <a:pt x="27281" y="843"/>
                  <a:pt x="27281" y="843"/>
                </a:cubicBezTo>
                <a:cubicBezTo>
                  <a:pt x="27281" y="812"/>
                  <a:pt x="27219" y="781"/>
                  <a:pt x="27094" y="843"/>
                </a:cubicBezTo>
                <a:cubicBezTo>
                  <a:pt x="27062" y="875"/>
                  <a:pt x="26937" y="906"/>
                  <a:pt x="26875" y="843"/>
                </a:cubicBezTo>
                <a:cubicBezTo>
                  <a:pt x="26875" y="843"/>
                  <a:pt x="26875" y="843"/>
                  <a:pt x="26875" y="843"/>
                </a:cubicBezTo>
                <a:cubicBezTo>
                  <a:pt x="26875" y="812"/>
                  <a:pt x="26906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44" y="781"/>
                  <a:pt x="26844" y="781"/>
                  <a:pt x="26844" y="781"/>
                </a:cubicBezTo>
                <a:cubicBezTo>
                  <a:pt x="26812" y="781"/>
                  <a:pt x="26781" y="781"/>
                  <a:pt x="26781" y="812"/>
                </a:cubicBezTo>
                <a:cubicBezTo>
                  <a:pt x="26781" y="812"/>
                  <a:pt x="26750" y="812"/>
                  <a:pt x="26750" y="812"/>
                </a:cubicBezTo>
                <a:cubicBezTo>
                  <a:pt x="26750" y="812"/>
                  <a:pt x="26750" y="843"/>
                  <a:pt x="26750" y="843"/>
                </a:cubicBezTo>
                <a:cubicBezTo>
                  <a:pt x="26719" y="843"/>
                  <a:pt x="26719" y="875"/>
                  <a:pt x="26687" y="875"/>
                </a:cubicBezTo>
                <a:cubicBezTo>
                  <a:pt x="26687" y="875"/>
                  <a:pt x="26687" y="875"/>
                  <a:pt x="26687" y="875"/>
                </a:cubicBezTo>
                <a:cubicBezTo>
                  <a:pt x="26656" y="875"/>
                  <a:pt x="26656" y="875"/>
                  <a:pt x="26625" y="875"/>
                </a:cubicBezTo>
                <a:cubicBezTo>
                  <a:pt x="26594" y="875"/>
                  <a:pt x="26594" y="875"/>
                  <a:pt x="26562" y="875"/>
                </a:cubicBezTo>
                <a:cubicBezTo>
                  <a:pt x="26500" y="875"/>
                  <a:pt x="26437" y="875"/>
                  <a:pt x="26406" y="906"/>
                </a:cubicBezTo>
                <a:cubicBezTo>
                  <a:pt x="26375" y="843"/>
                  <a:pt x="26344" y="843"/>
                  <a:pt x="26312" y="812"/>
                </a:cubicBezTo>
                <a:cubicBezTo>
                  <a:pt x="26312" y="812"/>
                  <a:pt x="26281" y="812"/>
                  <a:pt x="26281" y="812"/>
                </a:cubicBezTo>
                <a:cubicBezTo>
                  <a:pt x="26250" y="812"/>
                  <a:pt x="26187" y="875"/>
                  <a:pt x="26125" y="906"/>
                </a:cubicBezTo>
                <a:cubicBezTo>
                  <a:pt x="26125" y="906"/>
                  <a:pt x="26125" y="906"/>
                  <a:pt x="26125" y="906"/>
                </a:cubicBezTo>
                <a:cubicBezTo>
                  <a:pt x="26125" y="906"/>
                  <a:pt x="26094" y="906"/>
                  <a:pt x="26094" y="906"/>
                </a:cubicBezTo>
                <a:cubicBezTo>
                  <a:pt x="26094" y="937"/>
                  <a:pt x="26094" y="937"/>
                  <a:pt x="26094" y="937"/>
                </a:cubicBezTo>
                <a:cubicBezTo>
                  <a:pt x="26094" y="937"/>
                  <a:pt x="26125" y="937"/>
                  <a:pt x="26156" y="937"/>
                </a:cubicBezTo>
                <a:cubicBezTo>
                  <a:pt x="26219" y="906"/>
                  <a:pt x="26281" y="937"/>
                  <a:pt x="26344" y="937"/>
                </a:cubicBezTo>
                <a:cubicBezTo>
                  <a:pt x="26344" y="968"/>
                  <a:pt x="26375" y="968"/>
                  <a:pt x="26406" y="968"/>
                </a:cubicBezTo>
                <a:cubicBezTo>
                  <a:pt x="26375" y="968"/>
                  <a:pt x="26375" y="1000"/>
                  <a:pt x="26344" y="1000"/>
                </a:cubicBezTo>
                <a:cubicBezTo>
                  <a:pt x="26312" y="1031"/>
                  <a:pt x="26250" y="1031"/>
                  <a:pt x="26219" y="1031"/>
                </a:cubicBezTo>
                <a:cubicBezTo>
                  <a:pt x="26187" y="1031"/>
                  <a:pt x="26156" y="1031"/>
                  <a:pt x="26125" y="1031"/>
                </a:cubicBezTo>
                <a:cubicBezTo>
                  <a:pt x="26125" y="1031"/>
                  <a:pt x="26094" y="1000"/>
                  <a:pt x="26094" y="1000"/>
                </a:cubicBezTo>
                <a:cubicBezTo>
                  <a:pt x="26094" y="1000"/>
                  <a:pt x="26062" y="1000"/>
                  <a:pt x="26062" y="968"/>
                </a:cubicBezTo>
                <a:cubicBezTo>
                  <a:pt x="26031" y="968"/>
                  <a:pt x="26031" y="968"/>
                  <a:pt x="26031" y="937"/>
                </a:cubicBezTo>
                <a:cubicBezTo>
                  <a:pt x="26031" y="937"/>
                  <a:pt x="26000" y="937"/>
                  <a:pt x="26000" y="937"/>
                </a:cubicBezTo>
                <a:cubicBezTo>
                  <a:pt x="26000" y="937"/>
                  <a:pt x="25969" y="937"/>
                  <a:pt x="25937" y="937"/>
                </a:cubicBezTo>
                <a:cubicBezTo>
                  <a:pt x="25937" y="937"/>
                  <a:pt x="25906" y="937"/>
                  <a:pt x="25906" y="937"/>
                </a:cubicBezTo>
                <a:cubicBezTo>
                  <a:pt x="25812" y="968"/>
                  <a:pt x="25719" y="1000"/>
                  <a:pt x="25625" y="1000"/>
                </a:cubicBezTo>
                <a:cubicBezTo>
                  <a:pt x="25562" y="1031"/>
                  <a:pt x="25500" y="1031"/>
                  <a:pt x="25437" y="1031"/>
                </a:cubicBezTo>
                <a:cubicBezTo>
                  <a:pt x="25344" y="1062"/>
                  <a:pt x="25250" y="1062"/>
                  <a:pt x="25125" y="1062"/>
                </a:cubicBezTo>
                <a:cubicBezTo>
                  <a:pt x="25062" y="1062"/>
                  <a:pt x="25031" y="1062"/>
                  <a:pt x="24969" y="1093"/>
                </a:cubicBezTo>
                <a:cubicBezTo>
                  <a:pt x="24781" y="1125"/>
                  <a:pt x="24625" y="1187"/>
                  <a:pt x="24437" y="1218"/>
                </a:cubicBezTo>
                <a:cubicBezTo>
                  <a:pt x="24437" y="1250"/>
                  <a:pt x="24437" y="1250"/>
                  <a:pt x="24406" y="1250"/>
                </a:cubicBezTo>
                <a:cubicBezTo>
                  <a:pt x="24406" y="1250"/>
                  <a:pt x="24375" y="1250"/>
                  <a:pt x="24375" y="1250"/>
                </a:cubicBezTo>
                <a:cubicBezTo>
                  <a:pt x="24344" y="1250"/>
                  <a:pt x="24344" y="1250"/>
                  <a:pt x="24312" y="1250"/>
                </a:cubicBezTo>
                <a:cubicBezTo>
                  <a:pt x="24312" y="1250"/>
                  <a:pt x="24312" y="1218"/>
                  <a:pt x="24312" y="1218"/>
                </a:cubicBezTo>
                <a:cubicBezTo>
                  <a:pt x="24281" y="1187"/>
                  <a:pt x="24312" y="1187"/>
                  <a:pt x="24344" y="1156"/>
                </a:cubicBezTo>
                <a:cubicBezTo>
                  <a:pt x="24344" y="1156"/>
                  <a:pt x="24344" y="1125"/>
                  <a:pt x="24375" y="1125"/>
                </a:cubicBezTo>
                <a:cubicBezTo>
                  <a:pt x="24375" y="1125"/>
                  <a:pt x="24375" y="1093"/>
                  <a:pt x="24375" y="1093"/>
                </a:cubicBezTo>
                <a:cubicBezTo>
                  <a:pt x="24344" y="1093"/>
                  <a:pt x="24344" y="1062"/>
                  <a:pt x="24281" y="1062"/>
                </a:cubicBezTo>
                <a:cubicBezTo>
                  <a:pt x="24281" y="1062"/>
                  <a:pt x="24281" y="1062"/>
                  <a:pt x="24281" y="1062"/>
                </a:cubicBezTo>
                <a:cubicBezTo>
                  <a:pt x="24281" y="1062"/>
                  <a:pt x="24281" y="1062"/>
                  <a:pt x="24250" y="1062"/>
                </a:cubicBezTo>
                <a:cubicBezTo>
                  <a:pt x="24250" y="1062"/>
                  <a:pt x="24250" y="1031"/>
                  <a:pt x="24250" y="1031"/>
                </a:cubicBezTo>
                <a:cubicBezTo>
                  <a:pt x="24219" y="1031"/>
                  <a:pt x="24219" y="1031"/>
                  <a:pt x="24219" y="1000"/>
                </a:cubicBezTo>
                <a:cubicBezTo>
                  <a:pt x="24219" y="1000"/>
                  <a:pt x="24187" y="1000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968"/>
                  <a:pt x="24187" y="968"/>
                  <a:pt x="24187" y="968"/>
                </a:cubicBezTo>
                <a:cubicBezTo>
                  <a:pt x="24187" y="1000"/>
                  <a:pt x="24156" y="1031"/>
                  <a:pt x="24156" y="1031"/>
                </a:cubicBezTo>
                <a:cubicBezTo>
                  <a:pt x="24125" y="1093"/>
                  <a:pt x="24062" y="1156"/>
                  <a:pt x="24000" y="1187"/>
                </a:cubicBezTo>
                <a:cubicBezTo>
                  <a:pt x="23969" y="1187"/>
                  <a:pt x="23906" y="1156"/>
                  <a:pt x="23937" y="1125"/>
                </a:cubicBezTo>
                <a:cubicBezTo>
                  <a:pt x="23937" y="1125"/>
                  <a:pt x="23937" y="1093"/>
                  <a:pt x="23937" y="1093"/>
                </a:cubicBezTo>
                <a:cubicBezTo>
                  <a:pt x="23969" y="1031"/>
                  <a:pt x="23906" y="1000"/>
                  <a:pt x="23812" y="968"/>
                </a:cubicBezTo>
                <a:cubicBezTo>
                  <a:pt x="23812" y="968"/>
                  <a:pt x="23781" y="968"/>
                  <a:pt x="23781" y="968"/>
                </a:cubicBezTo>
                <a:cubicBezTo>
                  <a:pt x="23719" y="968"/>
                  <a:pt x="23687" y="1062"/>
                  <a:pt x="23594" y="1031"/>
                </a:cubicBezTo>
                <a:cubicBezTo>
                  <a:pt x="23625" y="968"/>
                  <a:pt x="23656" y="937"/>
                  <a:pt x="23687" y="875"/>
                </a:cubicBezTo>
                <a:cubicBezTo>
                  <a:pt x="23656" y="906"/>
                  <a:pt x="23594" y="906"/>
                  <a:pt x="23562" y="906"/>
                </a:cubicBezTo>
                <a:cubicBezTo>
                  <a:pt x="23531" y="906"/>
                  <a:pt x="23500" y="875"/>
                  <a:pt x="23500" y="812"/>
                </a:cubicBezTo>
                <a:cubicBezTo>
                  <a:pt x="23500" y="812"/>
                  <a:pt x="23531" y="812"/>
                  <a:pt x="23531" y="812"/>
                </a:cubicBezTo>
                <a:cubicBezTo>
                  <a:pt x="23531" y="781"/>
                  <a:pt x="23531" y="781"/>
                  <a:pt x="23531" y="781"/>
                </a:cubicBezTo>
                <a:cubicBezTo>
                  <a:pt x="23531" y="781"/>
                  <a:pt x="23531" y="781"/>
                  <a:pt x="23562" y="781"/>
                </a:cubicBezTo>
                <a:cubicBezTo>
                  <a:pt x="23562" y="750"/>
                  <a:pt x="23531" y="750"/>
                  <a:pt x="23500" y="750"/>
                </a:cubicBezTo>
                <a:cubicBezTo>
                  <a:pt x="23500" y="750"/>
                  <a:pt x="23469" y="750"/>
                  <a:pt x="23469" y="750"/>
                </a:cubicBezTo>
                <a:cubicBezTo>
                  <a:pt x="23469" y="750"/>
                  <a:pt x="23469" y="750"/>
                  <a:pt x="23437" y="750"/>
                </a:cubicBezTo>
                <a:cubicBezTo>
                  <a:pt x="23437" y="750"/>
                  <a:pt x="23437" y="750"/>
                  <a:pt x="23406" y="750"/>
                </a:cubicBezTo>
                <a:cubicBezTo>
                  <a:pt x="23406" y="750"/>
                  <a:pt x="23375" y="750"/>
                  <a:pt x="23375" y="750"/>
                </a:cubicBezTo>
                <a:cubicBezTo>
                  <a:pt x="23375" y="781"/>
                  <a:pt x="23375" y="781"/>
                  <a:pt x="23375" y="781"/>
                </a:cubicBezTo>
                <a:cubicBezTo>
                  <a:pt x="23344" y="781"/>
                  <a:pt x="23344" y="812"/>
                  <a:pt x="23312" y="812"/>
                </a:cubicBezTo>
                <a:cubicBezTo>
                  <a:pt x="23312" y="812"/>
                  <a:pt x="23281" y="843"/>
                  <a:pt x="23250" y="843"/>
                </a:cubicBezTo>
                <a:cubicBezTo>
                  <a:pt x="23219" y="843"/>
                  <a:pt x="23250" y="781"/>
                  <a:pt x="23250" y="750"/>
                </a:cubicBezTo>
                <a:cubicBezTo>
                  <a:pt x="23219" y="750"/>
                  <a:pt x="23219" y="750"/>
                  <a:pt x="23219" y="750"/>
                </a:cubicBezTo>
                <a:cubicBezTo>
                  <a:pt x="23187" y="750"/>
                  <a:pt x="23187" y="750"/>
                  <a:pt x="23156" y="750"/>
                </a:cubicBezTo>
                <a:cubicBezTo>
                  <a:pt x="23094" y="781"/>
                  <a:pt x="23062" y="781"/>
                  <a:pt x="23062" y="750"/>
                </a:cubicBezTo>
                <a:cubicBezTo>
                  <a:pt x="23062" y="718"/>
                  <a:pt x="23062" y="718"/>
                  <a:pt x="23094" y="718"/>
                </a:cubicBezTo>
                <a:cubicBezTo>
                  <a:pt x="23094" y="687"/>
                  <a:pt x="23094" y="687"/>
                  <a:pt x="23094" y="656"/>
                </a:cubicBezTo>
                <a:cubicBezTo>
                  <a:pt x="23125" y="656"/>
                  <a:pt x="23125" y="625"/>
                  <a:pt x="23094" y="625"/>
                </a:cubicBezTo>
                <a:cubicBezTo>
                  <a:pt x="23094" y="625"/>
                  <a:pt x="23094" y="625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94" y="593"/>
                  <a:pt x="23094" y="593"/>
                  <a:pt x="23094" y="593"/>
                </a:cubicBezTo>
                <a:cubicBezTo>
                  <a:pt x="23062" y="593"/>
                  <a:pt x="23062" y="593"/>
                  <a:pt x="23062" y="625"/>
                </a:cubicBezTo>
                <a:cubicBezTo>
                  <a:pt x="22969" y="656"/>
                  <a:pt x="22906" y="656"/>
                  <a:pt x="22875" y="625"/>
                </a:cubicBezTo>
                <a:cubicBezTo>
                  <a:pt x="22844" y="593"/>
                  <a:pt x="22844" y="562"/>
                  <a:pt x="22844" y="531"/>
                </a:cubicBezTo>
                <a:cubicBezTo>
                  <a:pt x="22844" y="531"/>
                  <a:pt x="22844" y="500"/>
                  <a:pt x="22844" y="500"/>
                </a:cubicBezTo>
                <a:cubicBezTo>
                  <a:pt x="22812" y="500"/>
                  <a:pt x="22750" y="500"/>
                  <a:pt x="22719" y="468"/>
                </a:cubicBezTo>
                <a:cubicBezTo>
                  <a:pt x="22687" y="468"/>
                  <a:pt x="22687" y="468"/>
                  <a:pt x="22656" y="468"/>
                </a:cubicBezTo>
                <a:cubicBezTo>
                  <a:pt x="22625" y="437"/>
                  <a:pt x="22594" y="437"/>
                  <a:pt x="22594" y="406"/>
                </a:cubicBezTo>
                <a:cubicBezTo>
                  <a:pt x="22594" y="406"/>
                  <a:pt x="22594" y="406"/>
                  <a:pt x="22594" y="375"/>
                </a:cubicBezTo>
                <a:cubicBezTo>
                  <a:pt x="22594" y="375"/>
                  <a:pt x="22594" y="375"/>
                  <a:pt x="22594" y="375"/>
                </a:cubicBezTo>
                <a:cubicBezTo>
                  <a:pt x="22594" y="343"/>
                  <a:pt x="22625" y="312"/>
                  <a:pt x="22687" y="312"/>
                </a:cubicBezTo>
                <a:cubicBezTo>
                  <a:pt x="22687" y="312"/>
                  <a:pt x="22687" y="312"/>
                  <a:pt x="22719" y="312"/>
                </a:cubicBezTo>
                <a:cubicBezTo>
                  <a:pt x="22719" y="312"/>
                  <a:pt x="22719" y="312"/>
                  <a:pt x="22750" y="312"/>
                </a:cubicBezTo>
                <a:cubicBezTo>
                  <a:pt x="22812" y="281"/>
                  <a:pt x="22875" y="281"/>
                  <a:pt x="22937" y="250"/>
                </a:cubicBezTo>
                <a:cubicBezTo>
                  <a:pt x="23000" y="250"/>
                  <a:pt x="23062" y="218"/>
                  <a:pt x="23125" y="218"/>
                </a:cubicBezTo>
                <a:cubicBezTo>
                  <a:pt x="23062" y="218"/>
                  <a:pt x="23000" y="218"/>
                  <a:pt x="22906" y="218"/>
                </a:cubicBezTo>
                <a:cubicBezTo>
                  <a:pt x="22906" y="218"/>
                  <a:pt x="22906" y="218"/>
                  <a:pt x="22875" y="218"/>
                </a:cubicBezTo>
                <a:cubicBezTo>
                  <a:pt x="22844" y="218"/>
                  <a:pt x="22844" y="187"/>
                  <a:pt x="22844" y="187"/>
                </a:cubicBezTo>
                <a:cubicBezTo>
                  <a:pt x="22875" y="187"/>
                  <a:pt x="22875" y="156"/>
                  <a:pt x="22875" y="156"/>
                </a:cubicBezTo>
                <a:cubicBezTo>
                  <a:pt x="22906" y="156"/>
                  <a:pt x="22906" y="156"/>
                  <a:pt x="22906" y="156"/>
                </a:cubicBezTo>
                <a:cubicBezTo>
                  <a:pt x="22875" y="125"/>
                  <a:pt x="22875" y="125"/>
                  <a:pt x="22875" y="125"/>
                </a:cubicBezTo>
                <a:cubicBezTo>
                  <a:pt x="22875" y="125"/>
                  <a:pt x="22844" y="125"/>
                  <a:pt x="22844" y="125"/>
                </a:cubicBezTo>
                <a:cubicBezTo>
                  <a:pt x="22812" y="125"/>
                  <a:pt x="22812" y="156"/>
                  <a:pt x="22812" y="156"/>
                </a:cubicBezTo>
                <a:cubicBezTo>
                  <a:pt x="22781" y="156"/>
                  <a:pt x="22781" y="156"/>
                  <a:pt x="22781" y="156"/>
                </a:cubicBezTo>
                <a:cubicBezTo>
                  <a:pt x="22750" y="156"/>
                  <a:pt x="22750" y="156"/>
                  <a:pt x="22719" y="156"/>
                </a:cubicBezTo>
                <a:cubicBezTo>
                  <a:pt x="22719" y="156"/>
                  <a:pt x="22687" y="156"/>
                  <a:pt x="22687" y="125"/>
                </a:cubicBezTo>
                <a:cubicBezTo>
                  <a:pt x="22687" y="125"/>
                  <a:pt x="22687" y="125"/>
                  <a:pt x="22719" y="93"/>
                </a:cubicBezTo>
                <a:cubicBezTo>
                  <a:pt x="22719" y="93"/>
                  <a:pt x="22750" y="93"/>
                  <a:pt x="22750" y="93"/>
                </a:cubicBezTo>
                <a:cubicBezTo>
                  <a:pt x="22781" y="93"/>
                  <a:pt x="22781" y="62"/>
                  <a:pt x="22812" y="62"/>
                </a:cubicBezTo>
                <a:cubicBezTo>
                  <a:pt x="22844" y="62"/>
                  <a:pt x="22844" y="62"/>
                  <a:pt x="22844" y="31"/>
                </a:cubicBezTo>
                <a:cubicBezTo>
                  <a:pt x="22844" y="31"/>
                  <a:pt x="22844" y="0"/>
                  <a:pt x="22844" y="0"/>
                </a:cubicBezTo>
                <a:cubicBezTo>
                  <a:pt x="22812" y="0"/>
                  <a:pt x="22781" y="0"/>
                  <a:pt x="22750" y="31"/>
                </a:cubicBezTo>
                <a:cubicBezTo>
                  <a:pt x="22687" y="31"/>
                  <a:pt x="22625" y="62"/>
                  <a:pt x="22562" y="93"/>
                </a:cubicBezTo>
                <a:cubicBezTo>
                  <a:pt x="22531" y="93"/>
                  <a:pt x="22500" y="93"/>
                  <a:pt x="22469" y="93"/>
                </a:cubicBezTo>
                <a:cubicBezTo>
                  <a:pt x="22406" y="125"/>
                  <a:pt x="22375" y="125"/>
                  <a:pt x="22344" y="156"/>
                </a:cubicBezTo>
                <a:cubicBezTo>
                  <a:pt x="22344" y="156"/>
                  <a:pt x="22344" y="187"/>
                  <a:pt x="22344" y="187"/>
                </a:cubicBezTo>
                <a:cubicBezTo>
                  <a:pt x="22312" y="250"/>
                  <a:pt x="22437" y="218"/>
                  <a:pt x="22469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437" y="250"/>
                  <a:pt x="22437" y="250"/>
                  <a:pt x="22437" y="250"/>
                </a:cubicBezTo>
                <a:cubicBezTo>
                  <a:pt x="22344" y="250"/>
                  <a:pt x="22281" y="375"/>
                  <a:pt x="22156" y="375"/>
                </a:cubicBezTo>
                <a:cubicBezTo>
                  <a:pt x="22156" y="375"/>
                  <a:pt x="22156" y="375"/>
                  <a:pt x="22156" y="375"/>
                </a:cubicBezTo>
                <a:cubicBezTo>
                  <a:pt x="22094" y="375"/>
                  <a:pt x="22062" y="343"/>
                  <a:pt x="22000" y="312"/>
                </a:cubicBezTo>
                <a:cubicBezTo>
                  <a:pt x="22000" y="312"/>
                  <a:pt x="22000" y="312"/>
                  <a:pt x="22000" y="312"/>
                </a:cubicBezTo>
                <a:cubicBezTo>
                  <a:pt x="22000" y="312"/>
                  <a:pt x="21969" y="312"/>
                  <a:pt x="21969" y="312"/>
                </a:cubicBezTo>
                <a:cubicBezTo>
                  <a:pt x="21969" y="312"/>
                  <a:pt x="21969" y="312"/>
                  <a:pt x="21969" y="312"/>
                </a:cubicBezTo>
                <a:cubicBezTo>
                  <a:pt x="21937" y="312"/>
                  <a:pt x="21906" y="312"/>
                  <a:pt x="21906" y="312"/>
                </a:cubicBezTo>
                <a:cubicBezTo>
                  <a:pt x="21719" y="375"/>
                  <a:pt x="21562" y="468"/>
                  <a:pt x="21375" y="531"/>
                </a:cubicBezTo>
                <a:cubicBezTo>
                  <a:pt x="21375" y="531"/>
                  <a:pt x="21375" y="531"/>
                  <a:pt x="21375" y="531"/>
                </a:cubicBezTo>
                <a:cubicBezTo>
                  <a:pt x="21344" y="562"/>
                  <a:pt x="21312" y="562"/>
                  <a:pt x="21312" y="593"/>
                </a:cubicBezTo>
                <a:cubicBezTo>
                  <a:pt x="21375" y="750"/>
                  <a:pt x="21312" y="843"/>
                  <a:pt x="21156" y="906"/>
                </a:cubicBezTo>
                <a:cubicBezTo>
                  <a:pt x="21125" y="937"/>
                  <a:pt x="21125" y="937"/>
                  <a:pt x="21094" y="937"/>
                </a:cubicBezTo>
                <a:cubicBezTo>
                  <a:pt x="20937" y="1000"/>
                  <a:pt x="20781" y="1031"/>
                  <a:pt x="20656" y="1031"/>
                </a:cubicBezTo>
                <a:cubicBezTo>
                  <a:pt x="20594" y="1031"/>
                  <a:pt x="20500" y="1031"/>
                  <a:pt x="20437" y="1000"/>
                </a:cubicBezTo>
                <a:cubicBezTo>
                  <a:pt x="20375" y="1000"/>
                  <a:pt x="20281" y="1000"/>
                  <a:pt x="20219" y="968"/>
                </a:cubicBezTo>
                <a:cubicBezTo>
                  <a:pt x="20187" y="968"/>
                  <a:pt x="20187" y="937"/>
                  <a:pt x="20187" y="937"/>
                </a:cubicBezTo>
                <a:cubicBezTo>
                  <a:pt x="20125" y="937"/>
                  <a:pt x="20094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20062" y="906"/>
                  <a:pt x="20062" y="906"/>
                  <a:pt x="20062" y="906"/>
                </a:cubicBezTo>
                <a:cubicBezTo>
                  <a:pt x="19969" y="937"/>
                  <a:pt x="19875" y="937"/>
                  <a:pt x="19781" y="937"/>
                </a:cubicBezTo>
                <a:cubicBezTo>
                  <a:pt x="19687" y="937"/>
                  <a:pt x="19594" y="937"/>
                  <a:pt x="19500" y="906"/>
                </a:cubicBezTo>
                <a:cubicBezTo>
                  <a:pt x="19344" y="906"/>
                  <a:pt x="19156" y="875"/>
                  <a:pt x="18969" y="875"/>
                </a:cubicBezTo>
                <a:cubicBezTo>
                  <a:pt x="18969" y="875"/>
                  <a:pt x="18937" y="875"/>
                  <a:pt x="18937" y="875"/>
                </a:cubicBezTo>
                <a:cubicBezTo>
                  <a:pt x="18906" y="875"/>
                  <a:pt x="18906" y="875"/>
                  <a:pt x="18906" y="875"/>
                </a:cubicBezTo>
                <a:cubicBezTo>
                  <a:pt x="18844" y="875"/>
                  <a:pt x="18812" y="843"/>
                  <a:pt x="18781" y="812"/>
                </a:cubicBezTo>
                <a:cubicBezTo>
                  <a:pt x="18750" y="812"/>
                  <a:pt x="18750" y="781"/>
                  <a:pt x="18750" y="781"/>
                </a:cubicBezTo>
                <a:cubicBezTo>
                  <a:pt x="18719" y="718"/>
                  <a:pt x="18625" y="625"/>
                  <a:pt x="18437" y="718"/>
                </a:cubicBezTo>
                <a:cubicBezTo>
                  <a:pt x="18281" y="843"/>
                  <a:pt x="18094" y="937"/>
                  <a:pt x="17812" y="906"/>
                </a:cubicBezTo>
                <a:cubicBezTo>
                  <a:pt x="17781" y="906"/>
                  <a:pt x="17750" y="906"/>
                  <a:pt x="17687" y="906"/>
                </a:cubicBezTo>
                <a:cubicBezTo>
                  <a:pt x="17625" y="937"/>
                  <a:pt x="17562" y="937"/>
                  <a:pt x="17531" y="937"/>
                </a:cubicBezTo>
                <a:cubicBezTo>
                  <a:pt x="17500" y="937"/>
                  <a:pt x="17469" y="937"/>
                  <a:pt x="17469" y="937"/>
                </a:cubicBezTo>
                <a:cubicBezTo>
                  <a:pt x="17406" y="937"/>
                  <a:pt x="17375" y="906"/>
                  <a:pt x="17344" y="906"/>
                </a:cubicBezTo>
                <a:cubicBezTo>
                  <a:pt x="17312" y="875"/>
                  <a:pt x="17187" y="906"/>
                  <a:pt x="17187" y="906"/>
                </a:cubicBezTo>
                <a:cubicBezTo>
                  <a:pt x="17125" y="968"/>
                  <a:pt x="17062" y="968"/>
                  <a:pt x="16969" y="1000"/>
                </a:cubicBezTo>
                <a:cubicBezTo>
                  <a:pt x="16875" y="1031"/>
                  <a:pt x="16719" y="1000"/>
                  <a:pt x="16625" y="1031"/>
                </a:cubicBezTo>
                <a:cubicBezTo>
                  <a:pt x="16594" y="1031"/>
                  <a:pt x="16594" y="1031"/>
                  <a:pt x="16562" y="1031"/>
                </a:cubicBezTo>
                <a:cubicBezTo>
                  <a:pt x="16500" y="1062"/>
                  <a:pt x="16469" y="1062"/>
                  <a:pt x="16406" y="1093"/>
                </a:cubicBezTo>
                <a:cubicBezTo>
                  <a:pt x="16375" y="1093"/>
                  <a:pt x="16375" y="1093"/>
                  <a:pt x="16344" y="1093"/>
                </a:cubicBezTo>
                <a:cubicBezTo>
                  <a:pt x="16312" y="1093"/>
                  <a:pt x="16281" y="1093"/>
                  <a:pt x="16250" y="1062"/>
                </a:cubicBezTo>
                <a:cubicBezTo>
                  <a:pt x="16250" y="1031"/>
                  <a:pt x="16281" y="1031"/>
                  <a:pt x="16312" y="1000"/>
                </a:cubicBezTo>
                <a:cubicBezTo>
                  <a:pt x="16344" y="1000"/>
                  <a:pt x="16375" y="1000"/>
                  <a:pt x="16406" y="1000"/>
                </a:cubicBezTo>
                <a:cubicBezTo>
                  <a:pt x="16469" y="968"/>
                  <a:pt x="16562" y="968"/>
                  <a:pt x="16625" y="937"/>
                </a:cubicBezTo>
                <a:cubicBezTo>
                  <a:pt x="16656" y="937"/>
                  <a:pt x="16656" y="937"/>
                  <a:pt x="16687" y="937"/>
                </a:cubicBezTo>
                <a:cubicBezTo>
                  <a:pt x="16750" y="906"/>
                  <a:pt x="16812" y="875"/>
                  <a:pt x="16906" y="875"/>
                </a:cubicBezTo>
                <a:cubicBezTo>
                  <a:pt x="16969" y="875"/>
                  <a:pt x="17000" y="843"/>
                  <a:pt x="17062" y="843"/>
                </a:cubicBezTo>
                <a:cubicBezTo>
                  <a:pt x="17062" y="812"/>
                  <a:pt x="17094" y="812"/>
                  <a:pt x="17125" y="812"/>
                </a:cubicBezTo>
                <a:cubicBezTo>
                  <a:pt x="17156" y="781"/>
                  <a:pt x="17156" y="781"/>
                  <a:pt x="17187" y="781"/>
                </a:cubicBezTo>
                <a:cubicBezTo>
                  <a:pt x="17281" y="750"/>
                  <a:pt x="17375" y="750"/>
                  <a:pt x="17469" y="781"/>
                </a:cubicBezTo>
                <a:cubicBezTo>
                  <a:pt x="17469" y="781"/>
                  <a:pt x="17469" y="781"/>
                  <a:pt x="17469" y="781"/>
                </a:cubicBezTo>
                <a:cubicBezTo>
                  <a:pt x="17531" y="781"/>
                  <a:pt x="17562" y="781"/>
                  <a:pt x="17625" y="812"/>
                </a:cubicBezTo>
                <a:cubicBezTo>
                  <a:pt x="17625" y="812"/>
                  <a:pt x="17625" y="812"/>
                  <a:pt x="17625" y="812"/>
                </a:cubicBezTo>
                <a:cubicBezTo>
                  <a:pt x="17594" y="812"/>
                  <a:pt x="17594" y="812"/>
                  <a:pt x="17562" y="812"/>
                </a:cubicBezTo>
                <a:cubicBezTo>
                  <a:pt x="17562" y="843"/>
                  <a:pt x="17531" y="843"/>
                  <a:pt x="17562" y="843"/>
                </a:cubicBezTo>
                <a:cubicBezTo>
                  <a:pt x="17562" y="875"/>
                  <a:pt x="17594" y="875"/>
                  <a:pt x="17625" y="875"/>
                </a:cubicBezTo>
                <a:cubicBezTo>
                  <a:pt x="17625" y="843"/>
                  <a:pt x="17656" y="843"/>
                  <a:pt x="17656" y="843"/>
                </a:cubicBezTo>
                <a:cubicBezTo>
                  <a:pt x="17750" y="812"/>
                  <a:pt x="17875" y="812"/>
                  <a:pt x="18000" y="812"/>
                </a:cubicBezTo>
                <a:cubicBezTo>
                  <a:pt x="18000" y="812"/>
                  <a:pt x="18031" y="812"/>
                  <a:pt x="18062" y="812"/>
                </a:cubicBezTo>
                <a:cubicBezTo>
                  <a:pt x="18094" y="812"/>
                  <a:pt x="18125" y="781"/>
                  <a:pt x="18156" y="781"/>
                </a:cubicBezTo>
                <a:cubicBezTo>
                  <a:pt x="18187" y="750"/>
                  <a:pt x="18219" y="718"/>
                  <a:pt x="18281" y="718"/>
                </a:cubicBezTo>
                <a:cubicBezTo>
                  <a:pt x="18281" y="687"/>
                  <a:pt x="18281" y="687"/>
                  <a:pt x="18312" y="687"/>
                </a:cubicBezTo>
                <a:cubicBezTo>
                  <a:pt x="18344" y="687"/>
                  <a:pt x="18344" y="687"/>
                  <a:pt x="18375" y="656"/>
                </a:cubicBezTo>
                <a:cubicBezTo>
                  <a:pt x="18406" y="656"/>
                  <a:pt x="18406" y="656"/>
                  <a:pt x="18406" y="656"/>
                </a:cubicBezTo>
                <a:cubicBezTo>
                  <a:pt x="18469" y="656"/>
                  <a:pt x="18531" y="656"/>
                  <a:pt x="18594" y="656"/>
                </a:cubicBezTo>
                <a:cubicBezTo>
                  <a:pt x="18656" y="656"/>
                  <a:pt x="18719" y="656"/>
                  <a:pt x="18812" y="656"/>
                </a:cubicBezTo>
                <a:cubicBezTo>
                  <a:pt x="18719" y="593"/>
                  <a:pt x="18625" y="593"/>
                  <a:pt x="18531" y="593"/>
                </a:cubicBezTo>
                <a:cubicBezTo>
                  <a:pt x="18500" y="593"/>
                  <a:pt x="18469" y="593"/>
                  <a:pt x="18437" y="593"/>
                </a:cubicBezTo>
                <a:cubicBezTo>
                  <a:pt x="18375" y="593"/>
                  <a:pt x="18281" y="625"/>
                  <a:pt x="18219" y="625"/>
                </a:cubicBezTo>
                <a:cubicBezTo>
                  <a:pt x="18187" y="625"/>
                  <a:pt x="18187" y="625"/>
                  <a:pt x="18187" y="625"/>
                </a:cubicBezTo>
                <a:cubicBezTo>
                  <a:pt x="18156" y="625"/>
                  <a:pt x="18156" y="625"/>
                  <a:pt x="18125" y="625"/>
                </a:cubicBezTo>
                <a:cubicBezTo>
                  <a:pt x="18156" y="593"/>
                  <a:pt x="18187" y="562"/>
                  <a:pt x="18187" y="531"/>
                </a:cubicBezTo>
                <a:cubicBezTo>
                  <a:pt x="18187" y="500"/>
                  <a:pt x="18156" y="468"/>
                  <a:pt x="18062" y="468"/>
                </a:cubicBezTo>
                <a:cubicBezTo>
                  <a:pt x="18031" y="468"/>
                  <a:pt x="17969" y="468"/>
                  <a:pt x="17937" y="437"/>
                </a:cubicBezTo>
                <a:cubicBezTo>
                  <a:pt x="17937" y="437"/>
                  <a:pt x="17937" y="406"/>
                  <a:pt x="17937" y="406"/>
                </a:cubicBezTo>
                <a:cubicBezTo>
                  <a:pt x="18031" y="312"/>
                  <a:pt x="17906" y="343"/>
                  <a:pt x="17875" y="312"/>
                </a:cubicBezTo>
                <a:cubicBezTo>
                  <a:pt x="17812" y="250"/>
                  <a:pt x="17750" y="250"/>
                  <a:pt x="17687" y="218"/>
                </a:cubicBezTo>
                <a:cubicBezTo>
                  <a:pt x="17625" y="187"/>
                  <a:pt x="17562" y="187"/>
                  <a:pt x="17500" y="156"/>
                </a:cubicBezTo>
                <a:cubicBezTo>
                  <a:pt x="17500" y="156"/>
                  <a:pt x="17469" y="156"/>
                  <a:pt x="17437" y="125"/>
                </a:cubicBezTo>
                <a:cubicBezTo>
                  <a:pt x="17437" y="125"/>
                  <a:pt x="17406" y="125"/>
                  <a:pt x="17375" y="125"/>
                </a:cubicBezTo>
                <a:cubicBezTo>
                  <a:pt x="17312" y="93"/>
                  <a:pt x="17250" y="93"/>
                  <a:pt x="17187" y="62"/>
                </a:cubicBezTo>
                <a:cubicBezTo>
                  <a:pt x="17156" y="62"/>
                  <a:pt x="17125" y="62"/>
                  <a:pt x="17094" y="62"/>
                </a:cubicBezTo>
                <a:cubicBezTo>
                  <a:pt x="16969" y="31"/>
                  <a:pt x="16875" y="31"/>
                  <a:pt x="16781" y="31"/>
                </a:cubicBezTo>
                <a:cubicBezTo>
                  <a:pt x="16719" y="31"/>
                  <a:pt x="16625" y="31"/>
                  <a:pt x="16562" y="31"/>
                </a:cubicBezTo>
                <a:cubicBezTo>
                  <a:pt x="16094" y="31"/>
                  <a:pt x="15656" y="156"/>
                  <a:pt x="15219" y="250"/>
                </a:cubicBezTo>
                <a:cubicBezTo>
                  <a:pt x="14844" y="312"/>
                  <a:pt x="14500" y="437"/>
                  <a:pt x="14125" y="531"/>
                </a:cubicBezTo>
                <a:cubicBezTo>
                  <a:pt x="14031" y="562"/>
                  <a:pt x="13906" y="625"/>
                  <a:pt x="13781" y="656"/>
                </a:cubicBezTo>
                <a:cubicBezTo>
                  <a:pt x="13281" y="781"/>
                  <a:pt x="12750" y="875"/>
                  <a:pt x="12219" y="937"/>
                </a:cubicBezTo>
                <a:cubicBezTo>
                  <a:pt x="12062" y="968"/>
                  <a:pt x="11875" y="1000"/>
                  <a:pt x="11719" y="1062"/>
                </a:cubicBezTo>
                <a:cubicBezTo>
                  <a:pt x="11687" y="1062"/>
                  <a:pt x="11656" y="1062"/>
                  <a:pt x="11656" y="1062"/>
                </a:cubicBezTo>
                <a:cubicBezTo>
                  <a:pt x="11656" y="1031"/>
                  <a:pt x="11625" y="1031"/>
                  <a:pt x="11656" y="1000"/>
                </a:cubicBezTo>
                <a:cubicBezTo>
                  <a:pt x="11656" y="1000"/>
                  <a:pt x="11656" y="1000"/>
                  <a:pt x="11656" y="1000"/>
                </a:cubicBezTo>
                <a:cubicBezTo>
                  <a:pt x="11687" y="1000"/>
                  <a:pt x="11687" y="1000"/>
                  <a:pt x="11687" y="968"/>
                </a:cubicBezTo>
                <a:cubicBezTo>
                  <a:pt x="11719" y="968"/>
                  <a:pt x="11750" y="937"/>
                  <a:pt x="11750" y="937"/>
                </a:cubicBezTo>
                <a:cubicBezTo>
                  <a:pt x="11781" y="937"/>
                  <a:pt x="11812" y="937"/>
                  <a:pt x="11844" y="937"/>
                </a:cubicBezTo>
                <a:cubicBezTo>
                  <a:pt x="11937" y="937"/>
                  <a:pt x="11969" y="906"/>
                  <a:pt x="11969" y="906"/>
                </a:cubicBezTo>
                <a:cubicBezTo>
                  <a:pt x="12000" y="906"/>
                  <a:pt x="11969" y="875"/>
                  <a:pt x="11969" y="875"/>
                </a:cubicBezTo>
                <a:cubicBezTo>
                  <a:pt x="11969" y="843"/>
                  <a:pt x="11937" y="843"/>
                  <a:pt x="11906" y="812"/>
                </a:cubicBezTo>
                <a:cubicBezTo>
                  <a:pt x="11875" y="812"/>
                  <a:pt x="11875" y="781"/>
                  <a:pt x="11875" y="781"/>
                </a:cubicBezTo>
                <a:cubicBezTo>
                  <a:pt x="11844" y="781"/>
                  <a:pt x="11812" y="750"/>
                  <a:pt x="11812" y="718"/>
                </a:cubicBezTo>
                <a:cubicBezTo>
                  <a:pt x="11812" y="718"/>
                  <a:pt x="11812" y="687"/>
                  <a:pt x="11781" y="687"/>
                </a:cubicBezTo>
                <a:cubicBezTo>
                  <a:pt x="11781" y="656"/>
                  <a:pt x="11750" y="625"/>
                  <a:pt x="11750" y="625"/>
                </a:cubicBezTo>
                <a:cubicBezTo>
                  <a:pt x="11750" y="625"/>
                  <a:pt x="11719" y="625"/>
                  <a:pt x="11719" y="625"/>
                </a:cubicBezTo>
                <a:cubicBezTo>
                  <a:pt x="11687" y="593"/>
                  <a:pt x="11656" y="593"/>
                  <a:pt x="11625" y="593"/>
                </a:cubicBezTo>
                <a:cubicBezTo>
                  <a:pt x="11594" y="593"/>
                  <a:pt x="11594" y="593"/>
                  <a:pt x="11562" y="593"/>
                </a:cubicBezTo>
                <a:cubicBezTo>
                  <a:pt x="11531" y="562"/>
                  <a:pt x="11469" y="562"/>
                  <a:pt x="11437" y="562"/>
                </a:cubicBezTo>
                <a:cubicBezTo>
                  <a:pt x="11375" y="562"/>
                  <a:pt x="11312" y="562"/>
                  <a:pt x="11250" y="562"/>
                </a:cubicBezTo>
                <a:cubicBezTo>
                  <a:pt x="11187" y="562"/>
                  <a:pt x="11094" y="593"/>
                  <a:pt x="11031" y="593"/>
                </a:cubicBezTo>
                <a:cubicBezTo>
                  <a:pt x="10969" y="593"/>
                  <a:pt x="10906" y="593"/>
                  <a:pt x="10844" y="593"/>
                </a:cubicBezTo>
                <a:cubicBezTo>
                  <a:pt x="10719" y="593"/>
                  <a:pt x="10562" y="593"/>
                  <a:pt x="10437" y="593"/>
                </a:cubicBezTo>
                <a:cubicBezTo>
                  <a:pt x="10312" y="593"/>
                  <a:pt x="10187" y="625"/>
                  <a:pt x="10031" y="625"/>
                </a:cubicBezTo>
                <a:cubicBezTo>
                  <a:pt x="9969" y="625"/>
                  <a:pt x="9906" y="656"/>
                  <a:pt x="9844" y="656"/>
                </a:cubicBezTo>
                <a:cubicBezTo>
                  <a:pt x="9469" y="687"/>
                  <a:pt x="9125" y="750"/>
                  <a:pt x="8750" y="781"/>
                </a:cubicBezTo>
                <a:cubicBezTo>
                  <a:pt x="8656" y="812"/>
                  <a:pt x="8531" y="812"/>
                  <a:pt x="8406" y="843"/>
                </a:cubicBezTo>
                <a:cubicBezTo>
                  <a:pt x="8156" y="875"/>
                  <a:pt x="7937" y="906"/>
                  <a:pt x="7687" y="968"/>
                </a:cubicBezTo>
                <a:cubicBezTo>
                  <a:pt x="7312" y="1031"/>
                  <a:pt x="6937" y="1125"/>
                  <a:pt x="6562" y="1218"/>
                </a:cubicBezTo>
                <a:cubicBezTo>
                  <a:pt x="6344" y="1250"/>
                  <a:pt x="6156" y="1281"/>
                  <a:pt x="5937" y="1343"/>
                </a:cubicBezTo>
                <a:cubicBezTo>
                  <a:pt x="5875" y="1343"/>
                  <a:pt x="5812" y="1375"/>
                  <a:pt x="5750" y="1375"/>
                </a:cubicBezTo>
                <a:cubicBezTo>
                  <a:pt x="5594" y="1437"/>
                  <a:pt x="5406" y="1500"/>
                  <a:pt x="5219" y="1531"/>
                </a:cubicBezTo>
                <a:cubicBezTo>
                  <a:pt x="4719" y="1687"/>
                  <a:pt x="4188" y="1843"/>
                  <a:pt x="3656" y="2000"/>
                </a:cubicBezTo>
                <a:cubicBezTo>
                  <a:pt x="3438" y="2062"/>
                  <a:pt x="3219" y="2125"/>
                  <a:pt x="3031" y="2218"/>
                </a:cubicBezTo>
                <a:cubicBezTo>
                  <a:pt x="2938" y="2250"/>
                  <a:pt x="2844" y="2281"/>
                  <a:pt x="2719" y="2312"/>
                </a:cubicBezTo>
                <a:cubicBezTo>
                  <a:pt x="2625" y="2375"/>
                  <a:pt x="2531" y="2406"/>
                  <a:pt x="2438" y="2437"/>
                </a:cubicBezTo>
                <a:cubicBezTo>
                  <a:pt x="2375" y="2468"/>
                  <a:pt x="2344" y="2500"/>
                  <a:pt x="2313" y="2531"/>
                </a:cubicBezTo>
                <a:cubicBezTo>
                  <a:pt x="2281" y="2531"/>
                  <a:pt x="2281" y="2562"/>
                  <a:pt x="2250" y="2562"/>
                </a:cubicBezTo>
                <a:cubicBezTo>
                  <a:pt x="2188" y="2656"/>
                  <a:pt x="2156" y="2781"/>
                  <a:pt x="2156" y="2906"/>
                </a:cubicBezTo>
                <a:cubicBezTo>
                  <a:pt x="2156" y="2906"/>
                  <a:pt x="2156" y="2937"/>
                  <a:pt x="2156" y="2937"/>
                </a:cubicBezTo>
                <a:cubicBezTo>
                  <a:pt x="2156" y="3000"/>
                  <a:pt x="2156" y="3031"/>
                  <a:pt x="2188" y="3093"/>
                </a:cubicBezTo>
                <a:cubicBezTo>
                  <a:pt x="2188" y="3093"/>
                  <a:pt x="2219" y="3125"/>
                  <a:pt x="2250" y="3156"/>
                </a:cubicBezTo>
                <a:cubicBezTo>
                  <a:pt x="2281" y="3187"/>
                  <a:pt x="2344" y="3218"/>
                  <a:pt x="2375" y="3250"/>
                </a:cubicBezTo>
                <a:cubicBezTo>
                  <a:pt x="2438" y="3250"/>
                  <a:pt x="2469" y="3281"/>
                  <a:pt x="2500" y="3281"/>
                </a:cubicBezTo>
                <a:cubicBezTo>
                  <a:pt x="2531" y="3281"/>
                  <a:pt x="2563" y="3281"/>
                  <a:pt x="2563" y="3281"/>
                </a:cubicBezTo>
                <a:cubicBezTo>
                  <a:pt x="2594" y="3281"/>
                  <a:pt x="2625" y="3281"/>
                  <a:pt x="2625" y="3281"/>
                </a:cubicBezTo>
                <a:cubicBezTo>
                  <a:pt x="2656" y="3281"/>
                  <a:pt x="2688" y="3281"/>
                  <a:pt x="2688" y="3281"/>
                </a:cubicBezTo>
                <a:cubicBezTo>
                  <a:pt x="2750" y="3281"/>
                  <a:pt x="2781" y="3281"/>
                  <a:pt x="2844" y="3250"/>
                </a:cubicBezTo>
                <a:cubicBezTo>
                  <a:pt x="2844" y="3250"/>
                  <a:pt x="2875" y="3250"/>
                  <a:pt x="2906" y="3250"/>
                </a:cubicBezTo>
                <a:cubicBezTo>
                  <a:pt x="2938" y="3218"/>
                  <a:pt x="3000" y="3187"/>
                  <a:pt x="3031" y="3187"/>
                </a:cubicBezTo>
                <a:cubicBezTo>
                  <a:pt x="3094" y="3156"/>
                  <a:pt x="3125" y="3125"/>
                  <a:pt x="3156" y="3093"/>
                </a:cubicBezTo>
                <a:cubicBezTo>
                  <a:pt x="3250" y="3062"/>
                  <a:pt x="3313" y="3000"/>
                  <a:pt x="3406" y="2937"/>
                </a:cubicBezTo>
                <a:cubicBezTo>
                  <a:pt x="3563" y="2843"/>
                  <a:pt x="3750" y="2750"/>
                  <a:pt x="3969" y="2656"/>
                </a:cubicBezTo>
                <a:cubicBezTo>
                  <a:pt x="4000" y="2625"/>
                  <a:pt x="4063" y="2593"/>
                  <a:pt x="4094" y="2593"/>
                </a:cubicBezTo>
                <a:cubicBezTo>
                  <a:pt x="4219" y="2531"/>
                  <a:pt x="4313" y="2500"/>
                  <a:pt x="4438" y="2468"/>
                </a:cubicBezTo>
                <a:cubicBezTo>
                  <a:pt x="4469" y="2437"/>
                  <a:pt x="4531" y="2437"/>
                  <a:pt x="4594" y="2406"/>
                </a:cubicBezTo>
                <a:cubicBezTo>
                  <a:pt x="5031" y="2281"/>
                  <a:pt x="5438" y="2156"/>
                  <a:pt x="5875" y="2031"/>
                </a:cubicBezTo>
                <a:cubicBezTo>
                  <a:pt x="6281" y="1906"/>
                  <a:pt x="6719" y="1781"/>
                  <a:pt x="7156" y="1687"/>
                </a:cubicBezTo>
                <a:cubicBezTo>
                  <a:pt x="7312" y="1656"/>
                  <a:pt x="7469" y="1625"/>
                  <a:pt x="7656" y="1593"/>
                </a:cubicBezTo>
                <a:cubicBezTo>
                  <a:pt x="7719" y="1562"/>
                  <a:pt x="7750" y="1562"/>
                  <a:pt x="7812" y="1562"/>
                </a:cubicBezTo>
                <a:cubicBezTo>
                  <a:pt x="7812" y="1562"/>
                  <a:pt x="7781" y="1593"/>
                  <a:pt x="7750" y="1593"/>
                </a:cubicBezTo>
                <a:cubicBezTo>
                  <a:pt x="7687" y="1625"/>
                  <a:pt x="7625" y="1656"/>
                  <a:pt x="7531" y="1687"/>
                </a:cubicBezTo>
                <a:cubicBezTo>
                  <a:pt x="7375" y="1750"/>
                  <a:pt x="7219" y="1781"/>
                  <a:pt x="7062" y="1843"/>
                </a:cubicBezTo>
                <a:cubicBezTo>
                  <a:pt x="6750" y="1937"/>
                  <a:pt x="6437" y="2031"/>
                  <a:pt x="6125" y="2156"/>
                </a:cubicBezTo>
                <a:cubicBezTo>
                  <a:pt x="5969" y="2218"/>
                  <a:pt x="5812" y="2250"/>
                  <a:pt x="5687" y="2312"/>
                </a:cubicBezTo>
                <a:cubicBezTo>
                  <a:pt x="5063" y="2562"/>
                  <a:pt x="4438" y="2843"/>
                  <a:pt x="3844" y="3093"/>
                </a:cubicBezTo>
                <a:cubicBezTo>
                  <a:pt x="3781" y="3125"/>
                  <a:pt x="3719" y="3125"/>
                  <a:pt x="3656" y="3156"/>
                </a:cubicBezTo>
                <a:cubicBezTo>
                  <a:pt x="3500" y="3218"/>
                  <a:pt x="3313" y="3281"/>
                  <a:pt x="3156" y="3375"/>
                </a:cubicBezTo>
                <a:cubicBezTo>
                  <a:pt x="2938" y="3500"/>
                  <a:pt x="2688" y="3625"/>
                  <a:pt x="2469" y="3750"/>
                </a:cubicBezTo>
                <a:cubicBezTo>
                  <a:pt x="2250" y="3875"/>
                  <a:pt x="2031" y="4000"/>
                  <a:pt x="1813" y="4156"/>
                </a:cubicBezTo>
                <a:cubicBezTo>
                  <a:pt x="1563" y="4281"/>
                  <a:pt x="1250" y="4437"/>
                  <a:pt x="1219" y="4656"/>
                </a:cubicBezTo>
                <a:cubicBezTo>
                  <a:pt x="1219" y="4687"/>
                  <a:pt x="1219" y="4718"/>
                  <a:pt x="1219" y="4750"/>
                </a:cubicBezTo>
                <a:cubicBezTo>
                  <a:pt x="1250" y="4781"/>
                  <a:pt x="1250" y="4812"/>
                  <a:pt x="1250" y="4812"/>
                </a:cubicBezTo>
                <a:cubicBezTo>
                  <a:pt x="1250" y="4843"/>
                  <a:pt x="1281" y="4875"/>
                  <a:pt x="1281" y="4906"/>
                </a:cubicBezTo>
                <a:cubicBezTo>
                  <a:pt x="1313" y="4968"/>
                  <a:pt x="1375" y="5000"/>
                  <a:pt x="1438" y="5031"/>
                </a:cubicBezTo>
                <a:cubicBezTo>
                  <a:pt x="1469" y="5062"/>
                  <a:pt x="1500" y="5093"/>
                  <a:pt x="1563" y="5093"/>
                </a:cubicBezTo>
                <a:cubicBezTo>
                  <a:pt x="1563" y="5093"/>
                  <a:pt x="1594" y="5093"/>
                  <a:pt x="1625" y="5093"/>
                </a:cubicBezTo>
                <a:cubicBezTo>
                  <a:pt x="1688" y="5093"/>
                  <a:pt x="1750" y="5093"/>
                  <a:pt x="1813" y="5062"/>
                </a:cubicBezTo>
                <a:cubicBezTo>
                  <a:pt x="1875" y="5031"/>
                  <a:pt x="1938" y="5031"/>
                  <a:pt x="2031" y="5000"/>
                </a:cubicBezTo>
                <a:cubicBezTo>
                  <a:pt x="2188" y="4968"/>
                  <a:pt x="2375" y="4937"/>
                  <a:pt x="2563" y="4843"/>
                </a:cubicBezTo>
                <a:cubicBezTo>
                  <a:pt x="2594" y="4843"/>
                  <a:pt x="2625" y="4812"/>
                  <a:pt x="2656" y="4812"/>
                </a:cubicBezTo>
                <a:cubicBezTo>
                  <a:pt x="2719" y="4843"/>
                  <a:pt x="2813" y="4875"/>
                  <a:pt x="2906" y="4906"/>
                </a:cubicBezTo>
                <a:cubicBezTo>
                  <a:pt x="2969" y="4937"/>
                  <a:pt x="3031" y="4968"/>
                  <a:pt x="3000" y="5000"/>
                </a:cubicBezTo>
                <a:cubicBezTo>
                  <a:pt x="2969" y="5031"/>
                  <a:pt x="2969" y="5031"/>
                  <a:pt x="2938" y="5062"/>
                </a:cubicBezTo>
                <a:cubicBezTo>
                  <a:pt x="2875" y="5093"/>
                  <a:pt x="2875" y="5125"/>
                  <a:pt x="2844" y="5156"/>
                </a:cubicBezTo>
                <a:cubicBezTo>
                  <a:pt x="2844" y="5187"/>
                  <a:pt x="2844" y="5218"/>
                  <a:pt x="2844" y="5218"/>
                </a:cubicBezTo>
                <a:cubicBezTo>
                  <a:pt x="2844" y="5250"/>
                  <a:pt x="2844" y="5250"/>
                  <a:pt x="2844" y="5250"/>
                </a:cubicBezTo>
                <a:cubicBezTo>
                  <a:pt x="2844" y="5281"/>
                  <a:pt x="2844" y="5281"/>
                  <a:pt x="2844" y="5281"/>
                </a:cubicBezTo>
                <a:cubicBezTo>
                  <a:pt x="2813" y="5312"/>
                  <a:pt x="2813" y="5312"/>
                  <a:pt x="2813" y="5312"/>
                </a:cubicBezTo>
                <a:cubicBezTo>
                  <a:pt x="2781" y="5343"/>
                  <a:pt x="2781" y="5375"/>
                  <a:pt x="2781" y="5406"/>
                </a:cubicBezTo>
                <a:cubicBezTo>
                  <a:pt x="2781" y="5437"/>
                  <a:pt x="2781" y="5468"/>
                  <a:pt x="2781" y="5500"/>
                </a:cubicBezTo>
                <a:cubicBezTo>
                  <a:pt x="2750" y="5562"/>
                  <a:pt x="2656" y="5593"/>
                  <a:pt x="2563" y="5593"/>
                </a:cubicBezTo>
                <a:cubicBezTo>
                  <a:pt x="2313" y="5656"/>
                  <a:pt x="2094" y="5750"/>
                  <a:pt x="1844" y="5843"/>
                </a:cubicBezTo>
                <a:cubicBezTo>
                  <a:pt x="1813" y="5843"/>
                  <a:pt x="1750" y="5875"/>
                  <a:pt x="1688" y="5875"/>
                </a:cubicBezTo>
                <a:cubicBezTo>
                  <a:pt x="1500" y="5937"/>
                  <a:pt x="1313" y="6000"/>
                  <a:pt x="1125" y="6031"/>
                </a:cubicBezTo>
                <a:cubicBezTo>
                  <a:pt x="1063" y="6062"/>
                  <a:pt x="969" y="6062"/>
                  <a:pt x="906" y="6093"/>
                </a:cubicBezTo>
                <a:cubicBezTo>
                  <a:pt x="875" y="6093"/>
                  <a:pt x="844" y="6125"/>
                  <a:pt x="813" y="6125"/>
                </a:cubicBezTo>
                <a:cubicBezTo>
                  <a:pt x="719" y="6187"/>
                  <a:pt x="625" y="6218"/>
                  <a:pt x="500" y="6250"/>
                </a:cubicBezTo>
                <a:cubicBezTo>
                  <a:pt x="438" y="6281"/>
                  <a:pt x="375" y="6312"/>
                  <a:pt x="313" y="6343"/>
                </a:cubicBezTo>
                <a:cubicBezTo>
                  <a:pt x="250" y="6343"/>
                  <a:pt x="219" y="6375"/>
                  <a:pt x="188" y="6406"/>
                </a:cubicBezTo>
                <a:cubicBezTo>
                  <a:pt x="125" y="6437"/>
                  <a:pt x="94" y="6468"/>
                  <a:pt x="63" y="6500"/>
                </a:cubicBezTo>
                <a:cubicBezTo>
                  <a:pt x="31" y="6500"/>
                  <a:pt x="31" y="6531"/>
                  <a:pt x="31" y="6531"/>
                </a:cubicBezTo>
                <a:cubicBezTo>
                  <a:pt x="0" y="6562"/>
                  <a:pt x="0" y="6593"/>
                  <a:pt x="31" y="6625"/>
                </a:cubicBezTo>
                <a:cubicBezTo>
                  <a:pt x="31" y="6625"/>
                  <a:pt x="31" y="6625"/>
                  <a:pt x="63" y="6656"/>
                </a:cubicBezTo>
                <a:cubicBezTo>
                  <a:pt x="63" y="6656"/>
                  <a:pt x="94" y="6656"/>
                  <a:pt x="94" y="6687"/>
                </a:cubicBezTo>
                <a:cubicBezTo>
                  <a:pt x="125" y="6687"/>
                  <a:pt x="125" y="6687"/>
                  <a:pt x="125" y="6687"/>
                </a:cubicBezTo>
                <a:cubicBezTo>
                  <a:pt x="156" y="6687"/>
                  <a:pt x="156" y="6687"/>
                  <a:pt x="156" y="6687"/>
                </a:cubicBezTo>
                <a:cubicBezTo>
                  <a:pt x="156" y="6718"/>
                  <a:pt x="156" y="6718"/>
                  <a:pt x="156" y="6718"/>
                </a:cubicBezTo>
                <a:cubicBezTo>
                  <a:pt x="31" y="6781"/>
                  <a:pt x="125" y="6812"/>
                  <a:pt x="219" y="6843"/>
                </a:cubicBezTo>
                <a:cubicBezTo>
                  <a:pt x="219" y="6843"/>
                  <a:pt x="219" y="6843"/>
                  <a:pt x="219" y="6875"/>
                </a:cubicBezTo>
                <a:cubicBezTo>
                  <a:pt x="219" y="6875"/>
                  <a:pt x="219" y="6875"/>
                  <a:pt x="219" y="6875"/>
                </a:cubicBezTo>
                <a:cubicBezTo>
                  <a:pt x="219" y="6906"/>
                  <a:pt x="188" y="6906"/>
                  <a:pt x="188" y="6906"/>
                </a:cubicBezTo>
                <a:cubicBezTo>
                  <a:pt x="156" y="6937"/>
                  <a:pt x="94" y="6968"/>
                  <a:pt x="94" y="7000"/>
                </a:cubicBezTo>
                <a:cubicBezTo>
                  <a:pt x="63" y="7000"/>
                  <a:pt x="63" y="7031"/>
                  <a:pt x="31" y="7031"/>
                </a:cubicBezTo>
                <a:cubicBezTo>
                  <a:pt x="31" y="7062"/>
                  <a:pt x="31" y="7093"/>
                  <a:pt x="63" y="7125"/>
                </a:cubicBezTo>
                <a:cubicBezTo>
                  <a:pt x="63" y="7156"/>
                  <a:pt x="63" y="7156"/>
                  <a:pt x="63" y="7187"/>
                </a:cubicBezTo>
                <a:cubicBezTo>
                  <a:pt x="63" y="7218"/>
                  <a:pt x="63" y="7218"/>
                  <a:pt x="63" y="7250"/>
                </a:cubicBezTo>
                <a:cubicBezTo>
                  <a:pt x="94" y="7250"/>
                  <a:pt x="94" y="7281"/>
                  <a:pt x="125" y="7281"/>
                </a:cubicBezTo>
                <a:cubicBezTo>
                  <a:pt x="156" y="7281"/>
                  <a:pt x="156" y="7312"/>
                  <a:pt x="188" y="7312"/>
                </a:cubicBezTo>
                <a:cubicBezTo>
                  <a:pt x="188" y="7343"/>
                  <a:pt x="188" y="7343"/>
                  <a:pt x="188" y="7343"/>
                </a:cubicBezTo>
                <a:cubicBezTo>
                  <a:pt x="188" y="7375"/>
                  <a:pt x="188" y="7375"/>
                  <a:pt x="188" y="7375"/>
                </a:cubicBezTo>
                <a:cubicBezTo>
                  <a:pt x="219" y="7406"/>
                  <a:pt x="219" y="7437"/>
                  <a:pt x="250" y="7468"/>
                </a:cubicBezTo>
                <a:cubicBezTo>
                  <a:pt x="281" y="7468"/>
                  <a:pt x="344" y="7500"/>
                  <a:pt x="375" y="7500"/>
                </a:cubicBezTo>
                <a:cubicBezTo>
                  <a:pt x="438" y="7500"/>
                  <a:pt x="500" y="7500"/>
                  <a:pt x="531" y="7468"/>
                </a:cubicBezTo>
                <a:cubicBezTo>
                  <a:pt x="563" y="7437"/>
                  <a:pt x="563" y="7437"/>
                  <a:pt x="594" y="7437"/>
                </a:cubicBezTo>
                <a:cubicBezTo>
                  <a:pt x="625" y="7406"/>
                  <a:pt x="688" y="7406"/>
                  <a:pt x="719" y="7375"/>
                </a:cubicBezTo>
                <a:cubicBezTo>
                  <a:pt x="750" y="7375"/>
                  <a:pt x="781" y="7375"/>
                  <a:pt x="781" y="7375"/>
                </a:cubicBezTo>
                <a:cubicBezTo>
                  <a:pt x="813" y="7343"/>
                  <a:pt x="844" y="7343"/>
                  <a:pt x="875" y="7343"/>
                </a:cubicBezTo>
                <a:cubicBezTo>
                  <a:pt x="875" y="7343"/>
                  <a:pt x="906" y="7343"/>
                  <a:pt x="906" y="7343"/>
                </a:cubicBezTo>
                <a:cubicBezTo>
                  <a:pt x="938" y="7375"/>
                  <a:pt x="938" y="7375"/>
                  <a:pt x="938" y="7375"/>
                </a:cubicBezTo>
                <a:cubicBezTo>
                  <a:pt x="969" y="7375"/>
                  <a:pt x="1000" y="7406"/>
                  <a:pt x="1000" y="7406"/>
                </a:cubicBezTo>
                <a:cubicBezTo>
                  <a:pt x="1031" y="7406"/>
                  <a:pt x="1031" y="7406"/>
                  <a:pt x="1031" y="7406"/>
                </a:cubicBezTo>
                <a:cubicBezTo>
                  <a:pt x="1031" y="7437"/>
                  <a:pt x="1031" y="7437"/>
                  <a:pt x="1031" y="7437"/>
                </a:cubicBezTo>
                <a:cubicBezTo>
                  <a:pt x="1031" y="7468"/>
                  <a:pt x="1031" y="7468"/>
                  <a:pt x="1063" y="7500"/>
                </a:cubicBezTo>
                <a:cubicBezTo>
                  <a:pt x="1063" y="7500"/>
                  <a:pt x="1094" y="7500"/>
                  <a:pt x="1094" y="7531"/>
                </a:cubicBezTo>
                <a:cubicBezTo>
                  <a:pt x="1094" y="7531"/>
                  <a:pt x="1125" y="7531"/>
                  <a:pt x="1125" y="7531"/>
                </a:cubicBezTo>
                <a:cubicBezTo>
                  <a:pt x="1156" y="7531"/>
                  <a:pt x="1188" y="7500"/>
                  <a:pt x="1219" y="7500"/>
                </a:cubicBezTo>
                <a:cubicBezTo>
                  <a:pt x="1219" y="7500"/>
                  <a:pt x="1250" y="7500"/>
                  <a:pt x="1250" y="7500"/>
                </a:cubicBezTo>
                <a:cubicBezTo>
                  <a:pt x="1281" y="7500"/>
                  <a:pt x="1313" y="7500"/>
                  <a:pt x="1344" y="7500"/>
                </a:cubicBezTo>
                <a:cubicBezTo>
                  <a:pt x="1344" y="7500"/>
                  <a:pt x="1375" y="7500"/>
                  <a:pt x="1375" y="7500"/>
                </a:cubicBezTo>
                <a:cubicBezTo>
                  <a:pt x="1406" y="7500"/>
                  <a:pt x="1406" y="7500"/>
                  <a:pt x="1438" y="7500"/>
                </a:cubicBezTo>
                <a:cubicBezTo>
                  <a:pt x="1344" y="7625"/>
                  <a:pt x="1250" y="7687"/>
                  <a:pt x="1125" y="7781"/>
                </a:cubicBezTo>
                <a:cubicBezTo>
                  <a:pt x="969" y="7843"/>
                  <a:pt x="844" y="7906"/>
                  <a:pt x="688" y="7968"/>
                </a:cubicBezTo>
                <a:cubicBezTo>
                  <a:pt x="594" y="8000"/>
                  <a:pt x="500" y="8062"/>
                  <a:pt x="406" y="8093"/>
                </a:cubicBezTo>
                <a:cubicBezTo>
                  <a:pt x="406" y="8093"/>
                  <a:pt x="406" y="8093"/>
                  <a:pt x="375" y="8093"/>
                </a:cubicBezTo>
                <a:cubicBezTo>
                  <a:pt x="375" y="8093"/>
                  <a:pt x="375" y="8093"/>
                  <a:pt x="375" y="8093"/>
                </a:cubicBezTo>
                <a:cubicBezTo>
                  <a:pt x="344" y="8093"/>
                  <a:pt x="313" y="8125"/>
                  <a:pt x="313" y="8125"/>
                </a:cubicBezTo>
                <a:cubicBezTo>
                  <a:pt x="281" y="8125"/>
                  <a:pt x="281" y="8156"/>
                  <a:pt x="313" y="8156"/>
                </a:cubicBezTo>
                <a:cubicBezTo>
                  <a:pt x="313" y="8156"/>
                  <a:pt x="344" y="8156"/>
                  <a:pt x="344" y="8156"/>
                </a:cubicBezTo>
                <a:cubicBezTo>
                  <a:pt x="375" y="8156"/>
                  <a:pt x="406" y="8156"/>
                  <a:pt x="438" y="8187"/>
                </a:cubicBezTo>
                <a:cubicBezTo>
                  <a:pt x="438" y="8187"/>
                  <a:pt x="469" y="8187"/>
                  <a:pt x="469" y="8187"/>
                </a:cubicBezTo>
                <a:cubicBezTo>
                  <a:pt x="500" y="8218"/>
                  <a:pt x="531" y="8250"/>
                  <a:pt x="563" y="8250"/>
                </a:cubicBezTo>
                <a:cubicBezTo>
                  <a:pt x="594" y="8281"/>
                  <a:pt x="594" y="8281"/>
                  <a:pt x="625" y="8281"/>
                </a:cubicBezTo>
                <a:cubicBezTo>
                  <a:pt x="688" y="8281"/>
                  <a:pt x="781" y="8281"/>
                  <a:pt x="875" y="8281"/>
                </a:cubicBezTo>
                <a:cubicBezTo>
                  <a:pt x="938" y="8281"/>
                  <a:pt x="1000" y="8281"/>
                  <a:pt x="1063" y="8281"/>
                </a:cubicBezTo>
                <a:cubicBezTo>
                  <a:pt x="1156" y="8281"/>
                  <a:pt x="1219" y="8281"/>
                  <a:pt x="1313" y="8312"/>
                </a:cubicBezTo>
                <a:cubicBezTo>
                  <a:pt x="1344" y="8312"/>
                  <a:pt x="1375" y="8312"/>
                  <a:pt x="1406" y="8343"/>
                </a:cubicBezTo>
                <a:cubicBezTo>
                  <a:pt x="1469" y="8343"/>
                  <a:pt x="1500" y="8343"/>
                  <a:pt x="1531" y="8343"/>
                </a:cubicBezTo>
                <a:cubicBezTo>
                  <a:pt x="1531" y="8343"/>
                  <a:pt x="1563" y="8343"/>
                  <a:pt x="1594" y="8343"/>
                </a:cubicBezTo>
                <a:cubicBezTo>
                  <a:pt x="1594" y="8343"/>
                  <a:pt x="1625" y="8375"/>
                  <a:pt x="1625" y="8343"/>
                </a:cubicBezTo>
                <a:cubicBezTo>
                  <a:pt x="1656" y="8343"/>
                  <a:pt x="1688" y="8343"/>
                  <a:pt x="1688" y="8343"/>
                </a:cubicBezTo>
                <a:cubicBezTo>
                  <a:pt x="1719" y="8343"/>
                  <a:pt x="1719" y="8343"/>
                  <a:pt x="1750" y="8343"/>
                </a:cubicBezTo>
                <a:cubicBezTo>
                  <a:pt x="1781" y="8343"/>
                  <a:pt x="1813" y="8343"/>
                  <a:pt x="1844" y="8312"/>
                </a:cubicBezTo>
                <a:cubicBezTo>
                  <a:pt x="1906" y="8312"/>
                  <a:pt x="2000" y="8312"/>
                  <a:pt x="2094" y="8312"/>
                </a:cubicBezTo>
                <a:cubicBezTo>
                  <a:pt x="2281" y="8312"/>
                  <a:pt x="2281" y="8312"/>
                  <a:pt x="2281" y="8406"/>
                </a:cubicBezTo>
                <a:cubicBezTo>
                  <a:pt x="2281" y="8437"/>
                  <a:pt x="2281" y="8437"/>
                  <a:pt x="2313" y="8437"/>
                </a:cubicBezTo>
                <a:cubicBezTo>
                  <a:pt x="2344" y="8437"/>
                  <a:pt x="2375" y="8468"/>
                  <a:pt x="2375" y="8500"/>
                </a:cubicBezTo>
                <a:cubicBezTo>
                  <a:pt x="2406" y="8500"/>
                  <a:pt x="2406" y="8531"/>
                  <a:pt x="2406" y="8531"/>
                </a:cubicBezTo>
                <a:cubicBezTo>
                  <a:pt x="2406" y="8562"/>
                  <a:pt x="2406" y="8562"/>
                  <a:pt x="2375" y="8593"/>
                </a:cubicBezTo>
                <a:cubicBezTo>
                  <a:pt x="2375" y="8625"/>
                  <a:pt x="2375" y="8656"/>
                  <a:pt x="2375" y="8687"/>
                </a:cubicBezTo>
                <a:cubicBezTo>
                  <a:pt x="2344" y="8781"/>
                  <a:pt x="2375" y="8875"/>
                  <a:pt x="2469" y="8937"/>
                </a:cubicBezTo>
                <a:cubicBezTo>
                  <a:pt x="2531" y="8937"/>
                  <a:pt x="2563" y="8968"/>
                  <a:pt x="2625" y="9000"/>
                </a:cubicBezTo>
                <a:cubicBezTo>
                  <a:pt x="2656" y="9000"/>
                  <a:pt x="2688" y="9000"/>
                  <a:pt x="2719" y="9031"/>
                </a:cubicBezTo>
                <a:cubicBezTo>
                  <a:pt x="2813" y="9031"/>
                  <a:pt x="2906" y="9062"/>
                  <a:pt x="3031" y="9062"/>
                </a:cubicBezTo>
                <a:cubicBezTo>
                  <a:pt x="3125" y="9062"/>
                  <a:pt x="3219" y="9062"/>
                  <a:pt x="3344" y="9031"/>
                </a:cubicBezTo>
                <a:cubicBezTo>
                  <a:pt x="3375" y="9031"/>
                  <a:pt x="3406" y="9031"/>
                  <a:pt x="3438" y="9031"/>
                </a:cubicBezTo>
                <a:cubicBezTo>
                  <a:pt x="3469" y="9031"/>
                  <a:pt x="3469" y="9031"/>
                  <a:pt x="3469" y="9031"/>
                </a:cubicBezTo>
                <a:cubicBezTo>
                  <a:pt x="3500" y="9031"/>
                  <a:pt x="3500" y="9031"/>
                  <a:pt x="3531" y="9031"/>
                </a:cubicBezTo>
                <a:cubicBezTo>
                  <a:pt x="3531" y="9031"/>
                  <a:pt x="3531" y="9000"/>
                  <a:pt x="3531" y="9000"/>
                </a:cubicBezTo>
                <a:cubicBezTo>
                  <a:pt x="3500" y="9000"/>
                  <a:pt x="3500" y="8968"/>
                  <a:pt x="3500" y="8968"/>
                </a:cubicBezTo>
                <a:cubicBezTo>
                  <a:pt x="3469" y="8968"/>
                  <a:pt x="3469" y="8937"/>
                  <a:pt x="3469" y="8937"/>
                </a:cubicBezTo>
                <a:cubicBezTo>
                  <a:pt x="3406" y="8875"/>
                  <a:pt x="3469" y="8875"/>
                  <a:pt x="3531" y="8875"/>
                </a:cubicBezTo>
                <a:cubicBezTo>
                  <a:pt x="3563" y="8875"/>
                  <a:pt x="3563" y="8875"/>
                  <a:pt x="3563" y="8875"/>
                </a:cubicBezTo>
                <a:cubicBezTo>
                  <a:pt x="3594" y="8875"/>
                  <a:pt x="3656" y="8875"/>
                  <a:pt x="3688" y="8875"/>
                </a:cubicBezTo>
                <a:cubicBezTo>
                  <a:pt x="3688" y="8875"/>
                  <a:pt x="3688" y="8875"/>
                  <a:pt x="3688" y="8875"/>
                </a:cubicBezTo>
                <a:cubicBezTo>
                  <a:pt x="3719" y="8875"/>
                  <a:pt x="3719" y="8875"/>
                  <a:pt x="3719" y="8875"/>
                </a:cubicBezTo>
                <a:cubicBezTo>
                  <a:pt x="3750" y="8875"/>
                  <a:pt x="3781" y="8875"/>
                  <a:pt x="3781" y="8843"/>
                </a:cubicBezTo>
                <a:cubicBezTo>
                  <a:pt x="3813" y="8843"/>
                  <a:pt x="3813" y="8812"/>
                  <a:pt x="3813" y="8812"/>
                </a:cubicBezTo>
                <a:cubicBezTo>
                  <a:pt x="3813" y="8812"/>
                  <a:pt x="3813" y="8812"/>
                  <a:pt x="3844" y="8812"/>
                </a:cubicBezTo>
                <a:cubicBezTo>
                  <a:pt x="3844" y="8812"/>
                  <a:pt x="3844" y="8812"/>
                  <a:pt x="3844" y="8812"/>
                </a:cubicBezTo>
                <a:cubicBezTo>
                  <a:pt x="3875" y="8812"/>
                  <a:pt x="3875" y="8812"/>
                  <a:pt x="3875" y="8812"/>
                </a:cubicBezTo>
                <a:cubicBezTo>
                  <a:pt x="3969" y="8875"/>
                  <a:pt x="4063" y="8906"/>
                  <a:pt x="4188" y="8937"/>
                </a:cubicBezTo>
                <a:cubicBezTo>
                  <a:pt x="4250" y="8968"/>
                  <a:pt x="4344" y="8968"/>
                  <a:pt x="4406" y="8968"/>
                </a:cubicBezTo>
                <a:cubicBezTo>
                  <a:pt x="4469" y="8968"/>
                  <a:pt x="4500" y="9000"/>
                  <a:pt x="4469" y="9031"/>
                </a:cubicBezTo>
                <a:cubicBezTo>
                  <a:pt x="4469" y="9031"/>
                  <a:pt x="4469" y="9031"/>
                  <a:pt x="4469" y="9031"/>
                </a:cubicBezTo>
                <a:cubicBezTo>
                  <a:pt x="4469" y="9031"/>
                  <a:pt x="4438" y="9062"/>
                  <a:pt x="4438" y="9062"/>
                </a:cubicBezTo>
                <a:cubicBezTo>
                  <a:pt x="4406" y="9062"/>
                  <a:pt x="4406" y="9062"/>
                  <a:pt x="4406" y="9062"/>
                </a:cubicBezTo>
                <a:cubicBezTo>
                  <a:pt x="4375" y="9031"/>
                  <a:pt x="4344" y="9031"/>
                  <a:pt x="4344" y="9031"/>
                </a:cubicBezTo>
                <a:cubicBezTo>
                  <a:pt x="4313" y="9031"/>
                  <a:pt x="4281" y="9031"/>
                  <a:pt x="4219" y="9031"/>
                </a:cubicBezTo>
                <a:cubicBezTo>
                  <a:pt x="4125" y="9031"/>
                  <a:pt x="4063" y="9062"/>
                  <a:pt x="3969" y="9062"/>
                </a:cubicBezTo>
                <a:cubicBezTo>
                  <a:pt x="4000" y="9093"/>
                  <a:pt x="4063" y="9125"/>
                  <a:pt x="4156" y="9156"/>
                </a:cubicBezTo>
                <a:cubicBezTo>
                  <a:pt x="4188" y="9156"/>
                  <a:pt x="4219" y="9156"/>
                  <a:pt x="4219" y="9156"/>
                </a:cubicBezTo>
                <a:cubicBezTo>
                  <a:pt x="4281" y="9187"/>
                  <a:pt x="4344" y="9187"/>
                  <a:pt x="4406" y="9187"/>
                </a:cubicBezTo>
                <a:cubicBezTo>
                  <a:pt x="4438" y="9187"/>
                  <a:pt x="4500" y="9187"/>
                  <a:pt x="4531" y="9187"/>
                </a:cubicBezTo>
                <a:cubicBezTo>
                  <a:pt x="4594" y="9156"/>
                  <a:pt x="4563" y="9156"/>
                  <a:pt x="4563" y="9125"/>
                </a:cubicBezTo>
                <a:cubicBezTo>
                  <a:pt x="4563" y="9125"/>
                  <a:pt x="4531" y="9125"/>
                  <a:pt x="4531" y="9125"/>
                </a:cubicBezTo>
                <a:cubicBezTo>
                  <a:pt x="4531" y="9125"/>
                  <a:pt x="4531" y="9125"/>
                  <a:pt x="4531" y="9125"/>
                </a:cubicBezTo>
                <a:cubicBezTo>
                  <a:pt x="4531" y="9093"/>
                  <a:pt x="4531" y="9093"/>
                  <a:pt x="4531" y="9093"/>
                </a:cubicBezTo>
                <a:cubicBezTo>
                  <a:pt x="4594" y="9093"/>
                  <a:pt x="4625" y="9062"/>
                  <a:pt x="4656" y="9062"/>
                </a:cubicBezTo>
                <a:cubicBezTo>
                  <a:pt x="4688" y="9062"/>
                  <a:pt x="4719" y="9062"/>
                  <a:pt x="4750" y="9093"/>
                </a:cubicBezTo>
                <a:cubicBezTo>
                  <a:pt x="4750" y="9093"/>
                  <a:pt x="4750" y="9093"/>
                  <a:pt x="4750" y="9093"/>
                </a:cubicBezTo>
                <a:cubicBezTo>
                  <a:pt x="4750" y="9125"/>
                  <a:pt x="4750" y="9125"/>
                  <a:pt x="4719" y="9125"/>
                </a:cubicBezTo>
                <a:cubicBezTo>
                  <a:pt x="4656" y="9218"/>
                  <a:pt x="4688" y="9218"/>
                  <a:pt x="4813" y="9218"/>
                </a:cubicBezTo>
                <a:cubicBezTo>
                  <a:pt x="4938" y="9218"/>
                  <a:pt x="5000" y="9156"/>
                  <a:pt x="5125" y="9218"/>
                </a:cubicBezTo>
                <a:cubicBezTo>
                  <a:pt x="5281" y="9312"/>
                  <a:pt x="5375" y="9281"/>
                  <a:pt x="5438" y="9125"/>
                </a:cubicBezTo>
                <a:cubicBezTo>
                  <a:pt x="5469" y="9156"/>
                  <a:pt x="5500" y="9218"/>
                  <a:pt x="5531" y="9218"/>
                </a:cubicBezTo>
                <a:cubicBezTo>
                  <a:pt x="5531" y="9250"/>
                  <a:pt x="5563" y="9250"/>
                  <a:pt x="5594" y="9250"/>
                </a:cubicBezTo>
                <a:cubicBezTo>
                  <a:pt x="5594" y="9250"/>
                  <a:pt x="5625" y="9250"/>
                  <a:pt x="5656" y="9250"/>
                </a:cubicBezTo>
                <a:cubicBezTo>
                  <a:pt x="5687" y="9218"/>
                  <a:pt x="5625" y="9156"/>
                  <a:pt x="5719" y="9156"/>
                </a:cubicBezTo>
                <a:cubicBezTo>
                  <a:pt x="5781" y="9187"/>
                  <a:pt x="5812" y="9156"/>
                  <a:pt x="5875" y="9156"/>
                </a:cubicBezTo>
                <a:cubicBezTo>
                  <a:pt x="5906" y="9156"/>
                  <a:pt x="5937" y="9156"/>
                  <a:pt x="5969" y="9156"/>
                </a:cubicBezTo>
                <a:cubicBezTo>
                  <a:pt x="6000" y="9156"/>
                  <a:pt x="6000" y="9125"/>
                  <a:pt x="6031" y="9125"/>
                </a:cubicBezTo>
                <a:cubicBezTo>
                  <a:pt x="6062" y="9125"/>
                  <a:pt x="6094" y="9125"/>
                  <a:pt x="6125" y="9156"/>
                </a:cubicBezTo>
                <a:cubicBezTo>
                  <a:pt x="6125" y="9156"/>
                  <a:pt x="6094" y="9187"/>
                  <a:pt x="6094" y="9218"/>
                </a:cubicBezTo>
                <a:cubicBezTo>
                  <a:pt x="6062" y="9281"/>
                  <a:pt x="6000" y="9312"/>
                  <a:pt x="5906" y="9343"/>
                </a:cubicBezTo>
                <a:cubicBezTo>
                  <a:pt x="5844" y="9343"/>
                  <a:pt x="5812" y="9343"/>
                  <a:pt x="5750" y="9343"/>
                </a:cubicBezTo>
                <a:cubicBezTo>
                  <a:pt x="5719" y="9343"/>
                  <a:pt x="5687" y="9343"/>
                  <a:pt x="5656" y="9343"/>
                </a:cubicBezTo>
                <a:cubicBezTo>
                  <a:pt x="5625" y="9343"/>
                  <a:pt x="5594" y="9343"/>
                  <a:pt x="5531" y="9343"/>
                </a:cubicBezTo>
                <a:cubicBezTo>
                  <a:pt x="5531" y="9343"/>
                  <a:pt x="5531" y="9343"/>
                  <a:pt x="5500" y="9343"/>
                </a:cubicBezTo>
                <a:cubicBezTo>
                  <a:pt x="5438" y="9343"/>
                  <a:pt x="5375" y="9343"/>
                  <a:pt x="5344" y="9375"/>
                </a:cubicBezTo>
                <a:cubicBezTo>
                  <a:pt x="5250" y="9406"/>
                  <a:pt x="5156" y="9375"/>
                  <a:pt x="5063" y="9406"/>
                </a:cubicBezTo>
                <a:cubicBezTo>
                  <a:pt x="5031" y="9406"/>
                  <a:pt x="5031" y="9437"/>
                  <a:pt x="5000" y="9437"/>
                </a:cubicBezTo>
                <a:cubicBezTo>
                  <a:pt x="4969" y="9437"/>
                  <a:pt x="4938" y="9468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38" y="9500"/>
                  <a:pt x="4938" y="9500"/>
                  <a:pt x="4938" y="9500"/>
                </a:cubicBezTo>
                <a:cubicBezTo>
                  <a:pt x="4969" y="9468"/>
                  <a:pt x="5031" y="9468"/>
                  <a:pt x="5063" y="9468"/>
                </a:cubicBezTo>
                <a:cubicBezTo>
                  <a:pt x="5188" y="9500"/>
                  <a:pt x="5313" y="9531"/>
                  <a:pt x="5375" y="9406"/>
                </a:cubicBezTo>
                <a:cubicBezTo>
                  <a:pt x="5375" y="9406"/>
                  <a:pt x="5375" y="9406"/>
                  <a:pt x="5375" y="9406"/>
                </a:cubicBezTo>
                <a:cubicBezTo>
                  <a:pt x="5438" y="9406"/>
                  <a:pt x="5469" y="9406"/>
                  <a:pt x="5531" y="9406"/>
                </a:cubicBezTo>
                <a:cubicBezTo>
                  <a:pt x="5531" y="9406"/>
                  <a:pt x="5531" y="9406"/>
                  <a:pt x="5531" y="9406"/>
                </a:cubicBezTo>
                <a:cubicBezTo>
                  <a:pt x="5563" y="9406"/>
                  <a:pt x="5563" y="9406"/>
                  <a:pt x="5563" y="9406"/>
                </a:cubicBezTo>
                <a:cubicBezTo>
                  <a:pt x="5594" y="9406"/>
                  <a:pt x="5625" y="9406"/>
                  <a:pt x="5625" y="9406"/>
                </a:cubicBezTo>
                <a:cubicBezTo>
                  <a:pt x="5656" y="9406"/>
                  <a:pt x="5656" y="9406"/>
                  <a:pt x="5687" y="9437"/>
                </a:cubicBezTo>
                <a:cubicBezTo>
                  <a:pt x="5687" y="9437"/>
                  <a:pt x="5719" y="9437"/>
                  <a:pt x="5719" y="9437"/>
                </a:cubicBezTo>
                <a:cubicBezTo>
                  <a:pt x="5750" y="9437"/>
                  <a:pt x="5750" y="9468"/>
                  <a:pt x="5750" y="9468"/>
                </a:cubicBezTo>
                <a:cubicBezTo>
                  <a:pt x="5750" y="9468"/>
                  <a:pt x="5750" y="9500"/>
                  <a:pt x="5719" y="9500"/>
                </a:cubicBezTo>
                <a:cubicBezTo>
                  <a:pt x="5719" y="9531"/>
                  <a:pt x="5687" y="9562"/>
                  <a:pt x="5625" y="9562"/>
                </a:cubicBezTo>
                <a:cubicBezTo>
                  <a:pt x="5594" y="9562"/>
                  <a:pt x="5563" y="9562"/>
                  <a:pt x="5531" y="9562"/>
                </a:cubicBezTo>
                <a:cubicBezTo>
                  <a:pt x="5531" y="9562"/>
                  <a:pt x="5531" y="9562"/>
                  <a:pt x="5531" y="9593"/>
                </a:cubicBezTo>
                <a:cubicBezTo>
                  <a:pt x="5500" y="9593"/>
                  <a:pt x="5500" y="9593"/>
                  <a:pt x="5500" y="9593"/>
                </a:cubicBezTo>
                <a:cubicBezTo>
                  <a:pt x="5406" y="9625"/>
                  <a:pt x="5344" y="9656"/>
                  <a:pt x="5281" y="9687"/>
                </a:cubicBezTo>
                <a:cubicBezTo>
                  <a:pt x="5250" y="9687"/>
                  <a:pt x="5219" y="9687"/>
                  <a:pt x="5188" y="9718"/>
                </a:cubicBezTo>
                <a:cubicBezTo>
                  <a:pt x="5188" y="9718"/>
                  <a:pt x="5156" y="9750"/>
                  <a:pt x="5125" y="9750"/>
                </a:cubicBezTo>
                <a:cubicBezTo>
                  <a:pt x="5063" y="9750"/>
                  <a:pt x="5000" y="9781"/>
                  <a:pt x="4938" y="9781"/>
                </a:cubicBezTo>
                <a:cubicBezTo>
                  <a:pt x="4906" y="9781"/>
                  <a:pt x="4875" y="9781"/>
                  <a:pt x="4844" y="9781"/>
                </a:cubicBezTo>
                <a:cubicBezTo>
                  <a:pt x="4844" y="9781"/>
                  <a:pt x="4813" y="9781"/>
                  <a:pt x="4781" y="9781"/>
                </a:cubicBezTo>
                <a:cubicBezTo>
                  <a:pt x="4781" y="9781"/>
                  <a:pt x="4781" y="9781"/>
                  <a:pt x="4781" y="9781"/>
                </a:cubicBezTo>
                <a:cubicBezTo>
                  <a:pt x="4781" y="9781"/>
                  <a:pt x="4750" y="9781"/>
                  <a:pt x="4750" y="9812"/>
                </a:cubicBezTo>
                <a:cubicBezTo>
                  <a:pt x="4719" y="9812"/>
                  <a:pt x="4719" y="9812"/>
                  <a:pt x="4719" y="9843"/>
                </a:cubicBezTo>
                <a:cubicBezTo>
                  <a:pt x="4719" y="9906"/>
                  <a:pt x="4969" y="9812"/>
                  <a:pt x="4813" y="9937"/>
                </a:cubicBezTo>
                <a:cubicBezTo>
                  <a:pt x="4813" y="9968"/>
                  <a:pt x="4813" y="10000"/>
                  <a:pt x="4875" y="10000"/>
                </a:cubicBezTo>
                <a:cubicBezTo>
                  <a:pt x="4906" y="10000"/>
                  <a:pt x="4938" y="10000"/>
                  <a:pt x="4938" y="10000"/>
                </a:cubicBezTo>
                <a:cubicBezTo>
                  <a:pt x="4938" y="9968"/>
                  <a:pt x="4938" y="9968"/>
                  <a:pt x="4938" y="9968"/>
                </a:cubicBezTo>
                <a:cubicBezTo>
                  <a:pt x="4906" y="9906"/>
                  <a:pt x="4969" y="9906"/>
                  <a:pt x="5000" y="9906"/>
                </a:cubicBezTo>
                <a:cubicBezTo>
                  <a:pt x="5000" y="9906"/>
                  <a:pt x="5000" y="9906"/>
                  <a:pt x="5000" y="9906"/>
                </a:cubicBezTo>
                <a:cubicBezTo>
                  <a:pt x="5000" y="9906"/>
                  <a:pt x="5000" y="9875"/>
                  <a:pt x="5031" y="9875"/>
                </a:cubicBezTo>
                <a:cubicBezTo>
                  <a:pt x="5031" y="9875"/>
                  <a:pt x="5031" y="9875"/>
                  <a:pt x="5031" y="9875"/>
                </a:cubicBezTo>
                <a:cubicBezTo>
                  <a:pt x="5031" y="9875"/>
                  <a:pt x="5063" y="9875"/>
                  <a:pt x="5063" y="9875"/>
                </a:cubicBezTo>
                <a:cubicBezTo>
                  <a:pt x="5063" y="9906"/>
                  <a:pt x="5063" y="9906"/>
                  <a:pt x="5094" y="9906"/>
                </a:cubicBezTo>
                <a:cubicBezTo>
                  <a:pt x="5063" y="9937"/>
                  <a:pt x="5063" y="9937"/>
                  <a:pt x="5094" y="9968"/>
                </a:cubicBezTo>
                <a:cubicBezTo>
                  <a:pt x="5094" y="9968"/>
                  <a:pt x="5094" y="9968"/>
                  <a:pt x="5094" y="10000"/>
                </a:cubicBezTo>
                <a:cubicBezTo>
                  <a:pt x="5125" y="10000"/>
                  <a:pt x="5125" y="10000"/>
                  <a:pt x="5125" y="10000"/>
                </a:cubicBezTo>
                <a:cubicBezTo>
                  <a:pt x="5125" y="10000"/>
                  <a:pt x="5156" y="10031"/>
                  <a:pt x="5156" y="10031"/>
                </a:cubicBezTo>
                <a:cubicBezTo>
                  <a:pt x="5156" y="10031"/>
                  <a:pt x="5188" y="10031"/>
                  <a:pt x="5188" y="10031"/>
                </a:cubicBezTo>
                <a:cubicBezTo>
                  <a:pt x="5188" y="10031"/>
                  <a:pt x="5188" y="10062"/>
                  <a:pt x="5188" y="10062"/>
                </a:cubicBezTo>
                <a:cubicBezTo>
                  <a:pt x="5188" y="10062"/>
                  <a:pt x="5156" y="10062"/>
                  <a:pt x="5156" y="10062"/>
                </a:cubicBezTo>
                <a:cubicBezTo>
                  <a:pt x="5156" y="10093"/>
                  <a:pt x="5156" y="10125"/>
                  <a:pt x="5188" y="10125"/>
                </a:cubicBezTo>
                <a:cubicBezTo>
                  <a:pt x="5188" y="10156"/>
                  <a:pt x="5188" y="10156"/>
                  <a:pt x="5219" y="10156"/>
                </a:cubicBezTo>
                <a:cubicBezTo>
                  <a:pt x="5250" y="10156"/>
                  <a:pt x="5281" y="10156"/>
                  <a:pt x="5313" y="10156"/>
                </a:cubicBezTo>
                <a:cubicBezTo>
                  <a:pt x="5344" y="10156"/>
                  <a:pt x="5375" y="10187"/>
                  <a:pt x="5375" y="10187"/>
                </a:cubicBezTo>
                <a:cubicBezTo>
                  <a:pt x="5500" y="10187"/>
                  <a:pt x="5625" y="10187"/>
                  <a:pt x="5687" y="10218"/>
                </a:cubicBezTo>
                <a:cubicBezTo>
                  <a:pt x="5625" y="10250"/>
                  <a:pt x="5594" y="10312"/>
                  <a:pt x="5563" y="10343"/>
                </a:cubicBezTo>
                <a:cubicBezTo>
                  <a:pt x="5500" y="10375"/>
                  <a:pt x="5438" y="10406"/>
                  <a:pt x="5375" y="10406"/>
                </a:cubicBezTo>
                <a:cubicBezTo>
                  <a:pt x="5344" y="10406"/>
                  <a:pt x="5344" y="10406"/>
                  <a:pt x="5313" y="10406"/>
                </a:cubicBezTo>
                <a:cubicBezTo>
                  <a:pt x="5313" y="10406"/>
                  <a:pt x="5313" y="10406"/>
                  <a:pt x="5281" y="10406"/>
                </a:cubicBezTo>
                <a:cubicBezTo>
                  <a:pt x="5250" y="10406"/>
                  <a:pt x="5250" y="10406"/>
                  <a:pt x="5219" y="10406"/>
                </a:cubicBezTo>
                <a:cubicBezTo>
                  <a:pt x="5188" y="10406"/>
                  <a:pt x="5188" y="10406"/>
                  <a:pt x="5156" y="10406"/>
                </a:cubicBezTo>
                <a:cubicBezTo>
                  <a:pt x="5156" y="10406"/>
                  <a:pt x="5156" y="10406"/>
                  <a:pt x="5156" y="10437"/>
                </a:cubicBezTo>
                <a:cubicBezTo>
                  <a:pt x="5156" y="10437"/>
                  <a:pt x="5156" y="10437"/>
                  <a:pt x="5156" y="10437"/>
                </a:cubicBezTo>
                <a:cubicBezTo>
                  <a:pt x="5156" y="10437"/>
                  <a:pt x="5188" y="10437"/>
                  <a:pt x="5188" y="10437"/>
                </a:cubicBezTo>
                <a:cubicBezTo>
                  <a:pt x="5219" y="10437"/>
                  <a:pt x="5219" y="10468"/>
                  <a:pt x="5250" y="10468"/>
                </a:cubicBezTo>
                <a:cubicBezTo>
                  <a:pt x="5250" y="10468"/>
                  <a:pt x="5250" y="10468"/>
                  <a:pt x="5250" y="10500"/>
                </a:cubicBezTo>
                <a:cubicBezTo>
                  <a:pt x="5281" y="10500"/>
                  <a:pt x="5250" y="10500"/>
                  <a:pt x="5250" y="10500"/>
                </a:cubicBezTo>
                <a:cubicBezTo>
                  <a:pt x="5250" y="10531"/>
                  <a:pt x="5250" y="10531"/>
                  <a:pt x="5219" y="10531"/>
                </a:cubicBezTo>
                <a:cubicBezTo>
                  <a:pt x="5188" y="10562"/>
                  <a:pt x="5125" y="10593"/>
                  <a:pt x="5125" y="10625"/>
                </a:cubicBezTo>
                <a:cubicBezTo>
                  <a:pt x="5094" y="10656"/>
                  <a:pt x="5125" y="10656"/>
                  <a:pt x="5125" y="10687"/>
                </a:cubicBezTo>
                <a:cubicBezTo>
                  <a:pt x="5156" y="10718"/>
                  <a:pt x="5156" y="10718"/>
                  <a:pt x="5156" y="10718"/>
                </a:cubicBezTo>
                <a:cubicBezTo>
                  <a:pt x="5219" y="10750"/>
                  <a:pt x="5281" y="10781"/>
                  <a:pt x="5344" y="10812"/>
                </a:cubicBezTo>
                <a:cubicBezTo>
                  <a:pt x="5375" y="10812"/>
                  <a:pt x="5406" y="10812"/>
                  <a:pt x="5438" y="10812"/>
                </a:cubicBezTo>
                <a:cubicBezTo>
                  <a:pt x="5469" y="10812"/>
                  <a:pt x="5500" y="10812"/>
                  <a:pt x="5531" y="10812"/>
                </a:cubicBezTo>
                <a:cubicBezTo>
                  <a:pt x="5531" y="10812"/>
                  <a:pt x="5531" y="10812"/>
                  <a:pt x="5563" y="10781"/>
                </a:cubicBezTo>
                <a:cubicBezTo>
                  <a:pt x="5563" y="10781"/>
                  <a:pt x="5563" y="10781"/>
                  <a:pt x="5594" y="10781"/>
                </a:cubicBezTo>
                <a:cubicBezTo>
                  <a:pt x="5594" y="10781"/>
                  <a:pt x="5594" y="10781"/>
                  <a:pt x="5625" y="10781"/>
                </a:cubicBezTo>
                <a:cubicBezTo>
                  <a:pt x="5625" y="10781"/>
                  <a:pt x="5656" y="10781"/>
                  <a:pt x="5656" y="10812"/>
                </a:cubicBezTo>
                <a:cubicBezTo>
                  <a:pt x="5656" y="10843"/>
                  <a:pt x="5656" y="10843"/>
                  <a:pt x="5625" y="10875"/>
                </a:cubicBezTo>
                <a:cubicBezTo>
                  <a:pt x="5625" y="10875"/>
                  <a:pt x="5594" y="10875"/>
                  <a:pt x="5563" y="10875"/>
                </a:cubicBezTo>
                <a:cubicBezTo>
                  <a:pt x="5531" y="10875"/>
                  <a:pt x="5469" y="10875"/>
                  <a:pt x="5438" y="10875"/>
                </a:cubicBezTo>
                <a:cubicBezTo>
                  <a:pt x="5375" y="10906"/>
                  <a:pt x="5344" y="10906"/>
                  <a:pt x="5281" y="10906"/>
                </a:cubicBezTo>
                <a:cubicBezTo>
                  <a:pt x="5250" y="10906"/>
                  <a:pt x="5250" y="10906"/>
                  <a:pt x="5219" y="10906"/>
                </a:cubicBezTo>
                <a:cubicBezTo>
                  <a:pt x="5219" y="10906"/>
                  <a:pt x="5219" y="10906"/>
                  <a:pt x="5188" y="10906"/>
                </a:cubicBezTo>
                <a:cubicBezTo>
                  <a:pt x="5156" y="10906"/>
                  <a:pt x="5094" y="10906"/>
                  <a:pt x="5063" y="10937"/>
                </a:cubicBezTo>
                <a:cubicBezTo>
                  <a:pt x="5063" y="10937"/>
                  <a:pt x="5063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31" y="10968"/>
                  <a:pt x="5031" y="10968"/>
                  <a:pt x="5031" y="10968"/>
                </a:cubicBezTo>
                <a:cubicBezTo>
                  <a:pt x="5094" y="10968"/>
                  <a:pt x="5125" y="10968"/>
                  <a:pt x="5156" y="10968"/>
                </a:cubicBezTo>
                <a:cubicBezTo>
                  <a:pt x="5188" y="10968"/>
                  <a:pt x="5188" y="10968"/>
                  <a:pt x="5219" y="10968"/>
                </a:cubicBezTo>
                <a:cubicBezTo>
                  <a:pt x="5250" y="10968"/>
                  <a:pt x="5250" y="10968"/>
                  <a:pt x="5281" y="10968"/>
                </a:cubicBezTo>
                <a:cubicBezTo>
                  <a:pt x="5281" y="10968"/>
                  <a:pt x="5313" y="10968"/>
                  <a:pt x="5313" y="10968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00"/>
                  <a:pt x="5313" y="11000"/>
                </a:cubicBezTo>
                <a:cubicBezTo>
                  <a:pt x="5313" y="11000"/>
                  <a:pt x="5313" y="11031"/>
                  <a:pt x="5313" y="11031"/>
                </a:cubicBezTo>
                <a:cubicBezTo>
                  <a:pt x="5313" y="11031"/>
                  <a:pt x="5313" y="11031"/>
                  <a:pt x="5313" y="11062"/>
                </a:cubicBezTo>
                <a:cubicBezTo>
                  <a:pt x="5313" y="11062"/>
                  <a:pt x="5313" y="11093"/>
                  <a:pt x="5281" y="11125"/>
                </a:cubicBezTo>
                <a:cubicBezTo>
                  <a:pt x="5281" y="11125"/>
                  <a:pt x="5281" y="11125"/>
                  <a:pt x="5281" y="11125"/>
                </a:cubicBezTo>
                <a:cubicBezTo>
                  <a:pt x="5344" y="11156"/>
                  <a:pt x="5438" y="11093"/>
                  <a:pt x="5531" y="11093"/>
                </a:cubicBezTo>
                <a:cubicBezTo>
                  <a:pt x="5563" y="11093"/>
                  <a:pt x="5594" y="11125"/>
                  <a:pt x="5594" y="11156"/>
                </a:cubicBezTo>
                <a:cubicBezTo>
                  <a:pt x="5563" y="11156"/>
                  <a:pt x="5531" y="11187"/>
                  <a:pt x="5500" y="11218"/>
                </a:cubicBezTo>
                <a:cubicBezTo>
                  <a:pt x="5500" y="11218"/>
                  <a:pt x="5469" y="11250"/>
                  <a:pt x="5438" y="11250"/>
                </a:cubicBezTo>
                <a:cubicBezTo>
                  <a:pt x="5438" y="11250"/>
                  <a:pt x="5406" y="11250"/>
                  <a:pt x="5406" y="11250"/>
                </a:cubicBezTo>
                <a:cubicBezTo>
                  <a:pt x="5406" y="11250"/>
                  <a:pt x="5375" y="11250"/>
                  <a:pt x="5375" y="11281"/>
                </a:cubicBezTo>
                <a:cubicBezTo>
                  <a:pt x="5375" y="11281"/>
                  <a:pt x="5375" y="11281"/>
                  <a:pt x="5375" y="11281"/>
                </a:cubicBezTo>
                <a:cubicBezTo>
                  <a:pt x="5344" y="11281"/>
                  <a:pt x="5344" y="11281"/>
                  <a:pt x="5344" y="11312"/>
                </a:cubicBezTo>
                <a:cubicBezTo>
                  <a:pt x="5313" y="11312"/>
                  <a:pt x="5313" y="11343"/>
                  <a:pt x="5344" y="11375"/>
                </a:cubicBezTo>
                <a:cubicBezTo>
                  <a:pt x="5344" y="11375"/>
                  <a:pt x="5344" y="11375"/>
                  <a:pt x="5344" y="11375"/>
                </a:cubicBezTo>
                <a:cubicBezTo>
                  <a:pt x="5344" y="11375"/>
                  <a:pt x="5344" y="11406"/>
                  <a:pt x="5375" y="11406"/>
                </a:cubicBezTo>
                <a:cubicBezTo>
                  <a:pt x="5375" y="11406"/>
                  <a:pt x="5406" y="11406"/>
                  <a:pt x="5438" y="11406"/>
                </a:cubicBezTo>
                <a:cubicBezTo>
                  <a:pt x="5438" y="11406"/>
                  <a:pt x="5469" y="11406"/>
                  <a:pt x="5469" y="11406"/>
                </a:cubicBezTo>
                <a:cubicBezTo>
                  <a:pt x="5500" y="11406"/>
                  <a:pt x="5500" y="11406"/>
                  <a:pt x="5531" y="11406"/>
                </a:cubicBezTo>
                <a:cubicBezTo>
                  <a:pt x="5563" y="11437"/>
                  <a:pt x="5594" y="11406"/>
                  <a:pt x="5625" y="11406"/>
                </a:cubicBezTo>
                <a:cubicBezTo>
                  <a:pt x="5656" y="11406"/>
                  <a:pt x="5687" y="11406"/>
                  <a:pt x="5750" y="11375"/>
                </a:cubicBezTo>
                <a:cubicBezTo>
                  <a:pt x="5781" y="11375"/>
                  <a:pt x="5812" y="11375"/>
                  <a:pt x="5844" y="11375"/>
                </a:cubicBezTo>
                <a:cubicBezTo>
                  <a:pt x="6219" y="11312"/>
                  <a:pt x="6625" y="11281"/>
                  <a:pt x="7031" y="11281"/>
                </a:cubicBezTo>
                <a:cubicBezTo>
                  <a:pt x="7125" y="11250"/>
                  <a:pt x="7219" y="11250"/>
                  <a:pt x="7344" y="11250"/>
                </a:cubicBezTo>
                <a:cubicBezTo>
                  <a:pt x="7375" y="11218"/>
                  <a:pt x="7437" y="11218"/>
                  <a:pt x="7500" y="11218"/>
                </a:cubicBezTo>
                <a:cubicBezTo>
                  <a:pt x="7562" y="11218"/>
                  <a:pt x="7594" y="11250"/>
                  <a:pt x="7656" y="11250"/>
                </a:cubicBezTo>
                <a:cubicBezTo>
                  <a:pt x="7656" y="11250"/>
                  <a:pt x="7687" y="11250"/>
                  <a:pt x="7687" y="11250"/>
                </a:cubicBezTo>
                <a:cubicBezTo>
                  <a:pt x="7719" y="11250"/>
                  <a:pt x="7750" y="11250"/>
                  <a:pt x="7781" y="11218"/>
                </a:cubicBezTo>
                <a:cubicBezTo>
                  <a:pt x="7812" y="11187"/>
                  <a:pt x="7844" y="11156"/>
                  <a:pt x="7906" y="11156"/>
                </a:cubicBezTo>
                <a:cubicBezTo>
                  <a:pt x="7906" y="11156"/>
                  <a:pt x="7937" y="11187"/>
                  <a:pt x="7937" y="11187"/>
                </a:cubicBezTo>
                <a:cubicBezTo>
                  <a:pt x="7969" y="11187"/>
                  <a:pt x="7969" y="11187"/>
                  <a:pt x="7969" y="11218"/>
                </a:cubicBezTo>
                <a:cubicBezTo>
                  <a:pt x="8000" y="11218"/>
                  <a:pt x="8000" y="11218"/>
                  <a:pt x="8000" y="11218"/>
                </a:cubicBezTo>
                <a:cubicBezTo>
                  <a:pt x="7969" y="11250"/>
                  <a:pt x="7969" y="11281"/>
                  <a:pt x="7937" y="11281"/>
                </a:cubicBezTo>
                <a:cubicBezTo>
                  <a:pt x="7937" y="11281"/>
                  <a:pt x="7906" y="11312"/>
                  <a:pt x="7906" y="11312"/>
                </a:cubicBezTo>
                <a:cubicBezTo>
                  <a:pt x="7875" y="11312"/>
                  <a:pt x="7875" y="11312"/>
                  <a:pt x="7844" y="11312"/>
                </a:cubicBezTo>
                <a:cubicBezTo>
                  <a:pt x="7844" y="11312"/>
                  <a:pt x="7844" y="11312"/>
                  <a:pt x="7812" y="11312"/>
                </a:cubicBezTo>
                <a:cubicBezTo>
                  <a:pt x="7781" y="11343"/>
                  <a:pt x="7750" y="11343"/>
                  <a:pt x="7719" y="11343"/>
                </a:cubicBezTo>
                <a:cubicBezTo>
                  <a:pt x="7719" y="11343"/>
                  <a:pt x="7687" y="11343"/>
                  <a:pt x="7687" y="11312"/>
                </a:cubicBezTo>
                <a:cubicBezTo>
                  <a:pt x="7656" y="11312"/>
                  <a:pt x="7594" y="11312"/>
                  <a:pt x="7594" y="11312"/>
                </a:cubicBezTo>
                <a:cubicBezTo>
                  <a:pt x="7594" y="11312"/>
                  <a:pt x="7594" y="11312"/>
                  <a:pt x="7594" y="11312"/>
                </a:cubicBezTo>
                <a:cubicBezTo>
                  <a:pt x="7594" y="11375"/>
                  <a:pt x="7594" y="11375"/>
                  <a:pt x="7562" y="11406"/>
                </a:cubicBezTo>
                <a:cubicBezTo>
                  <a:pt x="7562" y="11437"/>
                  <a:pt x="7531" y="11437"/>
                  <a:pt x="7500" y="11468"/>
                </a:cubicBezTo>
                <a:cubicBezTo>
                  <a:pt x="7500" y="11468"/>
                  <a:pt x="7469" y="11468"/>
                  <a:pt x="7437" y="11500"/>
                </a:cubicBezTo>
                <a:cubicBezTo>
                  <a:pt x="7437" y="11500"/>
                  <a:pt x="7406" y="11531"/>
                  <a:pt x="7406" y="11531"/>
                </a:cubicBezTo>
                <a:cubicBezTo>
                  <a:pt x="7406" y="11562"/>
                  <a:pt x="7406" y="11593"/>
                  <a:pt x="7375" y="11625"/>
                </a:cubicBezTo>
                <a:cubicBezTo>
                  <a:pt x="7344" y="11625"/>
                  <a:pt x="7312" y="11625"/>
                  <a:pt x="7281" y="11656"/>
                </a:cubicBezTo>
                <a:cubicBezTo>
                  <a:pt x="7281" y="11656"/>
                  <a:pt x="7281" y="11656"/>
                  <a:pt x="7250" y="11656"/>
                </a:cubicBezTo>
                <a:cubicBezTo>
                  <a:pt x="7250" y="11656"/>
                  <a:pt x="7219" y="11656"/>
                  <a:pt x="7187" y="11656"/>
                </a:cubicBezTo>
                <a:cubicBezTo>
                  <a:pt x="7156" y="11656"/>
                  <a:pt x="7156" y="11687"/>
                  <a:pt x="7125" y="11687"/>
                </a:cubicBezTo>
                <a:cubicBezTo>
                  <a:pt x="7125" y="11718"/>
                  <a:pt x="7125" y="11718"/>
                  <a:pt x="7156" y="11750"/>
                </a:cubicBezTo>
                <a:cubicBezTo>
                  <a:pt x="7156" y="11750"/>
                  <a:pt x="7156" y="11750"/>
                  <a:pt x="7187" y="11781"/>
                </a:cubicBezTo>
                <a:cubicBezTo>
                  <a:pt x="7219" y="11812"/>
                  <a:pt x="7281" y="11812"/>
                  <a:pt x="7344" y="11781"/>
                </a:cubicBezTo>
                <a:cubicBezTo>
                  <a:pt x="7406" y="11781"/>
                  <a:pt x="7469" y="11750"/>
                  <a:pt x="7531" y="11750"/>
                </a:cubicBezTo>
                <a:cubicBezTo>
                  <a:pt x="7531" y="11750"/>
                  <a:pt x="7562" y="11781"/>
                  <a:pt x="7594" y="11781"/>
                </a:cubicBezTo>
                <a:cubicBezTo>
                  <a:pt x="7562" y="11812"/>
                  <a:pt x="7500" y="11875"/>
                  <a:pt x="7469" y="11875"/>
                </a:cubicBezTo>
                <a:cubicBezTo>
                  <a:pt x="7469" y="11875"/>
                  <a:pt x="7469" y="11875"/>
                  <a:pt x="7437" y="11875"/>
                </a:cubicBezTo>
                <a:cubicBezTo>
                  <a:pt x="7406" y="11843"/>
                  <a:pt x="7375" y="11843"/>
                  <a:pt x="7344" y="11843"/>
                </a:cubicBezTo>
                <a:cubicBezTo>
                  <a:pt x="7312" y="11843"/>
                  <a:pt x="7312" y="11843"/>
                  <a:pt x="7281" y="11843"/>
                </a:cubicBezTo>
                <a:cubicBezTo>
                  <a:pt x="7219" y="11875"/>
                  <a:pt x="7187" y="11937"/>
                  <a:pt x="7156" y="11968"/>
                </a:cubicBezTo>
                <a:cubicBezTo>
                  <a:pt x="7187" y="11968"/>
                  <a:pt x="7187" y="11968"/>
                  <a:pt x="7219" y="11968"/>
                </a:cubicBezTo>
                <a:cubicBezTo>
                  <a:pt x="7250" y="11968"/>
                  <a:pt x="7281" y="11968"/>
                  <a:pt x="7281" y="11968"/>
                </a:cubicBezTo>
                <a:cubicBezTo>
                  <a:pt x="7312" y="11968"/>
                  <a:pt x="7344" y="11968"/>
                  <a:pt x="7375" y="12000"/>
                </a:cubicBezTo>
                <a:cubicBezTo>
                  <a:pt x="7344" y="12000"/>
                  <a:pt x="7312" y="12031"/>
                  <a:pt x="7312" y="12062"/>
                </a:cubicBezTo>
                <a:cubicBezTo>
                  <a:pt x="7312" y="12062"/>
                  <a:pt x="7312" y="12062"/>
                  <a:pt x="7312" y="12062"/>
                </a:cubicBezTo>
                <a:cubicBezTo>
                  <a:pt x="7281" y="12093"/>
                  <a:pt x="7281" y="12093"/>
                  <a:pt x="7312" y="12125"/>
                </a:cubicBezTo>
                <a:cubicBezTo>
                  <a:pt x="7344" y="12156"/>
                  <a:pt x="7375" y="12156"/>
                  <a:pt x="7406" y="12156"/>
                </a:cubicBezTo>
                <a:cubicBezTo>
                  <a:pt x="7437" y="12156"/>
                  <a:pt x="7437" y="12156"/>
                  <a:pt x="7437" y="12156"/>
                </a:cubicBezTo>
                <a:cubicBezTo>
                  <a:pt x="7469" y="12156"/>
                  <a:pt x="7500" y="12156"/>
                  <a:pt x="7500" y="12156"/>
                </a:cubicBezTo>
                <a:cubicBezTo>
                  <a:pt x="7531" y="12156"/>
                  <a:pt x="7531" y="12156"/>
                  <a:pt x="7531" y="12156"/>
                </a:cubicBezTo>
                <a:cubicBezTo>
                  <a:pt x="7562" y="12187"/>
                  <a:pt x="7562" y="12187"/>
                  <a:pt x="7562" y="12187"/>
                </a:cubicBezTo>
                <a:cubicBezTo>
                  <a:pt x="7562" y="12218"/>
                  <a:pt x="7562" y="12218"/>
                  <a:pt x="7531" y="12250"/>
                </a:cubicBezTo>
                <a:cubicBezTo>
                  <a:pt x="7531" y="12250"/>
                  <a:pt x="7531" y="12250"/>
                  <a:pt x="7500" y="12281"/>
                </a:cubicBezTo>
                <a:cubicBezTo>
                  <a:pt x="7469" y="12281"/>
                  <a:pt x="7469" y="12281"/>
                  <a:pt x="7437" y="12281"/>
                </a:cubicBezTo>
                <a:cubicBezTo>
                  <a:pt x="7406" y="12312"/>
                  <a:pt x="7344" y="12312"/>
                  <a:pt x="7312" y="12343"/>
                </a:cubicBezTo>
                <a:cubicBezTo>
                  <a:pt x="7250" y="12375"/>
                  <a:pt x="7187" y="12375"/>
                  <a:pt x="7125" y="12406"/>
                </a:cubicBezTo>
                <a:cubicBezTo>
                  <a:pt x="7062" y="12406"/>
                  <a:pt x="7000" y="12437"/>
                  <a:pt x="6969" y="12437"/>
                </a:cubicBezTo>
                <a:cubicBezTo>
                  <a:pt x="6969" y="12437"/>
                  <a:pt x="6937" y="12437"/>
                  <a:pt x="6937" y="12437"/>
                </a:cubicBezTo>
                <a:cubicBezTo>
                  <a:pt x="6937" y="12437"/>
                  <a:pt x="6906" y="12406"/>
                  <a:pt x="6906" y="12406"/>
                </a:cubicBezTo>
                <a:cubicBezTo>
                  <a:pt x="6875" y="12406"/>
                  <a:pt x="6844" y="12437"/>
                  <a:pt x="6844" y="12437"/>
                </a:cubicBezTo>
                <a:cubicBezTo>
                  <a:pt x="6812" y="12437"/>
                  <a:pt x="6812" y="12468"/>
                  <a:pt x="6844" y="12468"/>
                </a:cubicBezTo>
                <a:cubicBezTo>
                  <a:pt x="6844" y="12500"/>
                  <a:pt x="6844" y="12500"/>
                  <a:pt x="6875" y="12500"/>
                </a:cubicBezTo>
                <a:cubicBezTo>
                  <a:pt x="6906" y="12500"/>
                  <a:pt x="6969" y="12500"/>
                  <a:pt x="7000" y="12500"/>
                </a:cubicBezTo>
                <a:cubicBezTo>
                  <a:pt x="7062" y="12468"/>
                  <a:pt x="7125" y="12468"/>
                  <a:pt x="7187" y="12437"/>
                </a:cubicBezTo>
                <a:cubicBezTo>
                  <a:pt x="7219" y="12437"/>
                  <a:pt x="7250" y="12437"/>
                  <a:pt x="7281" y="12437"/>
                </a:cubicBezTo>
                <a:cubicBezTo>
                  <a:pt x="7281" y="12437"/>
                  <a:pt x="7312" y="12437"/>
                  <a:pt x="7312" y="12437"/>
                </a:cubicBezTo>
                <a:cubicBezTo>
                  <a:pt x="7312" y="12437"/>
                  <a:pt x="7344" y="12437"/>
                  <a:pt x="7344" y="12437"/>
                </a:cubicBezTo>
                <a:cubicBezTo>
                  <a:pt x="7344" y="12437"/>
                  <a:pt x="7375" y="12437"/>
                  <a:pt x="7375" y="12437"/>
                </a:cubicBezTo>
                <a:cubicBezTo>
                  <a:pt x="7375" y="12437"/>
                  <a:pt x="7375" y="12437"/>
                  <a:pt x="7406" y="12437"/>
                </a:cubicBezTo>
                <a:cubicBezTo>
                  <a:pt x="7406" y="12437"/>
                  <a:pt x="7437" y="12437"/>
                  <a:pt x="7437" y="12468"/>
                </a:cubicBezTo>
                <a:cubicBezTo>
                  <a:pt x="7437" y="12468"/>
                  <a:pt x="7437" y="12500"/>
                  <a:pt x="7406" y="12500"/>
                </a:cubicBezTo>
                <a:cubicBezTo>
                  <a:pt x="7375" y="12531"/>
                  <a:pt x="7344" y="12562"/>
                  <a:pt x="7312" y="12562"/>
                </a:cubicBezTo>
                <a:cubicBezTo>
                  <a:pt x="7312" y="12562"/>
                  <a:pt x="7312" y="12593"/>
                  <a:pt x="7281" y="12593"/>
                </a:cubicBezTo>
                <a:cubicBezTo>
                  <a:pt x="7281" y="12593"/>
                  <a:pt x="7281" y="12593"/>
                  <a:pt x="7250" y="12593"/>
                </a:cubicBezTo>
                <a:cubicBezTo>
                  <a:pt x="7187" y="12562"/>
                  <a:pt x="7125" y="12593"/>
                  <a:pt x="7062" y="12593"/>
                </a:cubicBezTo>
                <a:cubicBezTo>
                  <a:pt x="7031" y="12593"/>
                  <a:pt x="6969" y="12593"/>
                  <a:pt x="6937" y="12593"/>
                </a:cubicBezTo>
                <a:cubicBezTo>
                  <a:pt x="6875" y="12625"/>
                  <a:pt x="6812" y="12625"/>
                  <a:pt x="6719" y="12625"/>
                </a:cubicBezTo>
                <a:cubicBezTo>
                  <a:pt x="6719" y="12625"/>
                  <a:pt x="6719" y="12625"/>
                  <a:pt x="6687" y="12625"/>
                </a:cubicBezTo>
                <a:cubicBezTo>
                  <a:pt x="6656" y="12625"/>
                  <a:pt x="6625" y="12625"/>
                  <a:pt x="6594" y="12656"/>
                </a:cubicBezTo>
                <a:cubicBezTo>
                  <a:pt x="6594" y="12656"/>
                  <a:pt x="6594" y="12687"/>
                  <a:pt x="6594" y="12687"/>
                </a:cubicBezTo>
                <a:cubicBezTo>
                  <a:pt x="6594" y="12750"/>
                  <a:pt x="6656" y="12718"/>
                  <a:pt x="6687" y="12718"/>
                </a:cubicBezTo>
                <a:cubicBezTo>
                  <a:pt x="6719" y="12718"/>
                  <a:pt x="6719" y="12718"/>
                  <a:pt x="6719" y="12718"/>
                </a:cubicBezTo>
                <a:cubicBezTo>
                  <a:pt x="6750" y="12750"/>
                  <a:pt x="6781" y="12750"/>
                  <a:pt x="6844" y="12781"/>
                </a:cubicBezTo>
                <a:cubicBezTo>
                  <a:pt x="6844" y="12781"/>
                  <a:pt x="6844" y="12781"/>
                  <a:pt x="6875" y="12781"/>
                </a:cubicBezTo>
                <a:cubicBezTo>
                  <a:pt x="6937" y="12781"/>
                  <a:pt x="6969" y="12781"/>
                  <a:pt x="6937" y="12718"/>
                </a:cubicBezTo>
                <a:cubicBezTo>
                  <a:pt x="6937" y="12687"/>
                  <a:pt x="6937" y="12687"/>
                  <a:pt x="6937" y="12687"/>
                </a:cubicBezTo>
                <a:cubicBezTo>
                  <a:pt x="6937" y="12656"/>
                  <a:pt x="6937" y="12656"/>
                  <a:pt x="6937" y="12656"/>
                </a:cubicBezTo>
                <a:cubicBezTo>
                  <a:pt x="6937" y="12656"/>
                  <a:pt x="6937" y="12625"/>
                  <a:pt x="6969" y="12625"/>
                </a:cubicBezTo>
                <a:cubicBezTo>
                  <a:pt x="6969" y="12625"/>
                  <a:pt x="6969" y="12625"/>
                  <a:pt x="7000" y="12625"/>
                </a:cubicBezTo>
                <a:cubicBezTo>
                  <a:pt x="7000" y="12625"/>
                  <a:pt x="7031" y="12625"/>
                  <a:pt x="7062" y="12625"/>
                </a:cubicBezTo>
                <a:cubicBezTo>
                  <a:pt x="7062" y="12625"/>
                  <a:pt x="7062" y="12625"/>
                  <a:pt x="7094" y="12625"/>
                </a:cubicBezTo>
                <a:cubicBezTo>
                  <a:pt x="7094" y="12625"/>
                  <a:pt x="7094" y="12656"/>
                  <a:pt x="7125" y="12656"/>
                </a:cubicBezTo>
                <a:cubicBezTo>
                  <a:pt x="7156" y="12687"/>
                  <a:pt x="7094" y="12687"/>
                  <a:pt x="7062" y="12687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062" y="12718"/>
                  <a:pt x="7062" y="12718"/>
                  <a:pt x="7062" y="12718"/>
                </a:cubicBezTo>
                <a:cubicBezTo>
                  <a:pt x="7125" y="12718"/>
                  <a:pt x="7187" y="12718"/>
                  <a:pt x="7219" y="12687"/>
                </a:cubicBezTo>
                <a:cubicBezTo>
                  <a:pt x="7219" y="12687"/>
                  <a:pt x="7219" y="12687"/>
                  <a:pt x="7250" y="12656"/>
                </a:cubicBezTo>
                <a:cubicBezTo>
                  <a:pt x="7250" y="12656"/>
                  <a:pt x="7250" y="12625"/>
                  <a:pt x="7250" y="12625"/>
                </a:cubicBezTo>
                <a:cubicBezTo>
                  <a:pt x="7250" y="12625"/>
                  <a:pt x="7281" y="12593"/>
                  <a:pt x="7281" y="12593"/>
                </a:cubicBezTo>
                <a:cubicBezTo>
                  <a:pt x="7312" y="12593"/>
                  <a:pt x="7375" y="12593"/>
                  <a:pt x="7469" y="12625"/>
                </a:cubicBezTo>
                <a:cubicBezTo>
                  <a:pt x="7469" y="12625"/>
                  <a:pt x="7500" y="12625"/>
                  <a:pt x="7500" y="12656"/>
                </a:cubicBezTo>
                <a:cubicBezTo>
                  <a:pt x="7531" y="12687"/>
                  <a:pt x="7500" y="12687"/>
                  <a:pt x="7531" y="12718"/>
                </a:cubicBezTo>
                <a:cubicBezTo>
                  <a:pt x="7531" y="12718"/>
                  <a:pt x="7531" y="12718"/>
                  <a:pt x="7562" y="12718"/>
                </a:cubicBezTo>
                <a:cubicBezTo>
                  <a:pt x="7562" y="12718"/>
                  <a:pt x="7594" y="12718"/>
                  <a:pt x="7594" y="12750"/>
                </a:cubicBezTo>
                <a:cubicBezTo>
                  <a:pt x="7625" y="12750"/>
                  <a:pt x="7656" y="12750"/>
                  <a:pt x="7687" y="12750"/>
                </a:cubicBezTo>
                <a:cubicBezTo>
                  <a:pt x="7750" y="12750"/>
                  <a:pt x="7812" y="12750"/>
                  <a:pt x="7875" y="12781"/>
                </a:cubicBezTo>
                <a:cubicBezTo>
                  <a:pt x="7906" y="12781"/>
                  <a:pt x="7906" y="12781"/>
                  <a:pt x="7937" y="12781"/>
                </a:cubicBezTo>
                <a:cubicBezTo>
                  <a:pt x="8000" y="12781"/>
                  <a:pt x="8031" y="12781"/>
                  <a:pt x="8062" y="12750"/>
                </a:cubicBezTo>
                <a:cubicBezTo>
                  <a:pt x="8094" y="12750"/>
                  <a:pt x="8156" y="12750"/>
                  <a:pt x="8187" y="12718"/>
                </a:cubicBezTo>
                <a:cubicBezTo>
                  <a:pt x="8219" y="12718"/>
                  <a:pt x="8219" y="12687"/>
                  <a:pt x="8219" y="12687"/>
                </a:cubicBezTo>
                <a:cubicBezTo>
                  <a:pt x="8219" y="12656"/>
                  <a:pt x="8219" y="12656"/>
                  <a:pt x="8219" y="12656"/>
                </a:cubicBezTo>
                <a:cubicBezTo>
                  <a:pt x="8219" y="12625"/>
                  <a:pt x="8250" y="12593"/>
                  <a:pt x="8281" y="12593"/>
                </a:cubicBezTo>
                <a:cubicBezTo>
                  <a:pt x="8344" y="12593"/>
                  <a:pt x="8375" y="12593"/>
                  <a:pt x="8437" y="12593"/>
                </a:cubicBezTo>
                <a:cubicBezTo>
                  <a:pt x="8531" y="12562"/>
                  <a:pt x="8625" y="12531"/>
                  <a:pt x="8719" y="12500"/>
                </a:cubicBezTo>
                <a:cubicBezTo>
                  <a:pt x="8750" y="12500"/>
                  <a:pt x="8781" y="12500"/>
                  <a:pt x="8812" y="12500"/>
                </a:cubicBezTo>
                <a:cubicBezTo>
                  <a:pt x="8781" y="12500"/>
                  <a:pt x="8781" y="12500"/>
                  <a:pt x="8781" y="12500"/>
                </a:cubicBezTo>
                <a:cubicBezTo>
                  <a:pt x="8750" y="12468"/>
                  <a:pt x="8719" y="12468"/>
                  <a:pt x="8687" y="12468"/>
                </a:cubicBezTo>
                <a:cubicBezTo>
                  <a:pt x="8625" y="12468"/>
                  <a:pt x="8594" y="12468"/>
                  <a:pt x="8562" y="12437"/>
                </a:cubicBezTo>
                <a:cubicBezTo>
                  <a:pt x="8562" y="12437"/>
                  <a:pt x="8562" y="12406"/>
                  <a:pt x="8562" y="12406"/>
                </a:cubicBezTo>
                <a:cubicBezTo>
                  <a:pt x="8562" y="12375"/>
                  <a:pt x="8562" y="12375"/>
                  <a:pt x="8562" y="12343"/>
                </a:cubicBezTo>
                <a:cubicBezTo>
                  <a:pt x="8594" y="12343"/>
                  <a:pt x="8594" y="12312"/>
                  <a:pt x="8625" y="12312"/>
                </a:cubicBezTo>
                <a:cubicBezTo>
                  <a:pt x="8656" y="12312"/>
                  <a:pt x="8719" y="12312"/>
                  <a:pt x="8750" y="12312"/>
                </a:cubicBezTo>
                <a:cubicBezTo>
                  <a:pt x="8750" y="12281"/>
                  <a:pt x="8781" y="12281"/>
                  <a:pt x="8781" y="12281"/>
                </a:cubicBezTo>
                <a:cubicBezTo>
                  <a:pt x="8875" y="12250"/>
                  <a:pt x="9000" y="12250"/>
                  <a:pt x="9094" y="12218"/>
                </a:cubicBezTo>
                <a:cubicBezTo>
                  <a:pt x="9156" y="12218"/>
                  <a:pt x="9156" y="12218"/>
                  <a:pt x="9187" y="12187"/>
                </a:cubicBezTo>
                <a:cubicBezTo>
                  <a:pt x="9187" y="12187"/>
                  <a:pt x="9187" y="12156"/>
                  <a:pt x="9156" y="12156"/>
                </a:cubicBezTo>
                <a:cubicBezTo>
                  <a:pt x="9156" y="12156"/>
                  <a:pt x="9156" y="12156"/>
                  <a:pt x="9125" y="12156"/>
                </a:cubicBezTo>
                <a:cubicBezTo>
                  <a:pt x="9125" y="12156"/>
                  <a:pt x="9125" y="12156"/>
                  <a:pt x="9094" y="12156"/>
                </a:cubicBezTo>
                <a:cubicBezTo>
                  <a:pt x="9094" y="12156"/>
                  <a:pt x="9094" y="12156"/>
                  <a:pt x="9094" y="12156"/>
                </a:cubicBezTo>
                <a:cubicBezTo>
                  <a:pt x="9062" y="12156"/>
                  <a:pt x="9062" y="12156"/>
                  <a:pt x="9062" y="12125"/>
                </a:cubicBezTo>
                <a:cubicBezTo>
                  <a:pt x="9062" y="12125"/>
                  <a:pt x="9062" y="12125"/>
                  <a:pt x="9062" y="12093"/>
                </a:cubicBezTo>
                <a:cubicBezTo>
                  <a:pt x="9062" y="12093"/>
                  <a:pt x="9062" y="12093"/>
                  <a:pt x="9062" y="12093"/>
                </a:cubicBezTo>
                <a:cubicBezTo>
                  <a:pt x="9062" y="12062"/>
                  <a:pt x="9062" y="12062"/>
                  <a:pt x="9062" y="12031"/>
                </a:cubicBezTo>
                <a:cubicBezTo>
                  <a:pt x="9094" y="12000"/>
                  <a:pt x="9125" y="11968"/>
                  <a:pt x="9219" y="12000"/>
                </a:cubicBezTo>
                <a:cubicBezTo>
                  <a:pt x="9281" y="12000"/>
                  <a:pt x="9312" y="11968"/>
                  <a:pt x="9344" y="11968"/>
                </a:cubicBezTo>
                <a:cubicBezTo>
                  <a:pt x="9344" y="11937"/>
                  <a:pt x="9344" y="11937"/>
                  <a:pt x="9375" y="11906"/>
                </a:cubicBezTo>
                <a:cubicBezTo>
                  <a:pt x="9375" y="11906"/>
                  <a:pt x="9344" y="11906"/>
                  <a:pt x="9344" y="11906"/>
                </a:cubicBezTo>
                <a:cubicBezTo>
                  <a:pt x="9344" y="11906"/>
                  <a:pt x="9344" y="11906"/>
                  <a:pt x="9344" y="11906"/>
                </a:cubicBezTo>
                <a:cubicBezTo>
                  <a:pt x="9344" y="11906"/>
                  <a:pt x="9312" y="11906"/>
                  <a:pt x="9312" y="11906"/>
                </a:cubicBezTo>
                <a:cubicBezTo>
                  <a:pt x="9312" y="11906"/>
                  <a:pt x="9312" y="11906"/>
                  <a:pt x="9312" y="11906"/>
                </a:cubicBezTo>
                <a:cubicBezTo>
                  <a:pt x="9312" y="11906"/>
                  <a:pt x="9312" y="11875"/>
                  <a:pt x="9281" y="11875"/>
                </a:cubicBezTo>
                <a:cubicBezTo>
                  <a:pt x="9281" y="11875"/>
                  <a:pt x="9281" y="11875"/>
                  <a:pt x="9281" y="11875"/>
                </a:cubicBezTo>
                <a:cubicBezTo>
                  <a:pt x="9281" y="11875"/>
                  <a:pt x="9281" y="11843"/>
                  <a:pt x="9281" y="11843"/>
                </a:cubicBezTo>
                <a:cubicBezTo>
                  <a:pt x="9312" y="11843"/>
                  <a:pt x="9312" y="11843"/>
                  <a:pt x="9312" y="11812"/>
                </a:cubicBezTo>
                <a:cubicBezTo>
                  <a:pt x="9312" y="11812"/>
                  <a:pt x="9312" y="11812"/>
                  <a:pt x="9281" y="11812"/>
                </a:cubicBezTo>
                <a:cubicBezTo>
                  <a:pt x="9281" y="11812"/>
                  <a:pt x="9250" y="11812"/>
                  <a:pt x="9250" y="11812"/>
                </a:cubicBezTo>
                <a:cubicBezTo>
                  <a:pt x="9187" y="11812"/>
                  <a:pt x="9156" y="11812"/>
                  <a:pt x="9125" y="11843"/>
                </a:cubicBezTo>
                <a:cubicBezTo>
                  <a:pt x="9125" y="11875"/>
                  <a:pt x="9156" y="11875"/>
                  <a:pt x="9156" y="11875"/>
                </a:cubicBezTo>
                <a:cubicBezTo>
                  <a:pt x="9156" y="11875"/>
                  <a:pt x="9156" y="11875"/>
                  <a:pt x="9156" y="11906"/>
                </a:cubicBezTo>
                <a:cubicBezTo>
                  <a:pt x="9156" y="11906"/>
                  <a:pt x="9156" y="11906"/>
                  <a:pt x="9156" y="11906"/>
                </a:cubicBezTo>
                <a:cubicBezTo>
                  <a:pt x="9156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125" y="11906"/>
                  <a:pt x="9125" y="11906"/>
                  <a:pt x="9125" y="11906"/>
                </a:cubicBezTo>
                <a:cubicBezTo>
                  <a:pt x="9094" y="11906"/>
                  <a:pt x="9094" y="11906"/>
                  <a:pt x="9094" y="11875"/>
                </a:cubicBezTo>
                <a:cubicBezTo>
                  <a:pt x="9000" y="11843"/>
                  <a:pt x="8906" y="11812"/>
                  <a:pt x="8781" y="11843"/>
                </a:cubicBezTo>
                <a:cubicBezTo>
                  <a:pt x="8781" y="11843"/>
                  <a:pt x="8750" y="11843"/>
                  <a:pt x="8750" y="11875"/>
                </a:cubicBezTo>
                <a:cubicBezTo>
                  <a:pt x="8719" y="11875"/>
                  <a:pt x="8719" y="11875"/>
                  <a:pt x="8687" y="11875"/>
                </a:cubicBezTo>
                <a:cubicBezTo>
                  <a:pt x="8687" y="11875"/>
                  <a:pt x="8687" y="11875"/>
                  <a:pt x="8656" y="11875"/>
                </a:cubicBezTo>
                <a:cubicBezTo>
                  <a:pt x="8625" y="11875"/>
                  <a:pt x="8625" y="11843"/>
                  <a:pt x="8594" y="11843"/>
                </a:cubicBezTo>
                <a:cubicBezTo>
                  <a:pt x="8625" y="11812"/>
                  <a:pt x="8687" y="11812"/>
                  <a:pt x="8719" y="11781"/>
                </a:cubicBezTo>
                <a:cubicBezTo>
                  <a:pt x="8812" y="11781"/>
                  <a:pt x="8937" y="11750"/>
                  <a:pt x="9031" y="11750"/>
                </a:cubicBezTo>
                <a:cubicBezTo>
                  <a:pt x="9062" y="11750"/>
                  <a:pt x="9125" y="11750"/>
                  <a:pt x="9156" y="11750"/>
                </a:cubicBezTo>
                <a:cubicBezTo>
                  <a:pt x="9250" y="11750"/>
                  <a:pt x="9312" y="11750"/>
                  <a:pt x="9406" y="11718"/>
                </a:cubicBezTo>
                <a:cubicBezTo>
                  <a:pt x="9469" y="11718"/>
                  <a:pt x="9562" y="11718"/>
                  <a:pt x="9625" y="11718"/>
                </a:cubicBezTo>
                <a:cubicBezTo>
                  <a:pt x="9687" y="11687"/>
                  <a:pt x="9781" y="11687"/>
                  <a:pt x="9844" y="11687"/>
                </a:cubicBezTo>
                <a:cubicBezTo>
                  <a:pt x="9937" y="11656"/>
                  <a:pt x="10000" y="11656"/>
                  <a:pt x="10094" y="11656"/>
                </a:cubicBezTo>
                <a:cubicBezTo>
                  <a:pt x="10094" y="11656"/>
                  <a:pt x="10125" y="11656"/>
                  <a:pt x="10156" y="11656"/>
                </a:cubicBezTo>
                <a:cubicBezTo>
                  <a:pt x="10187" y="11625"/>
                  <a:pt x="10219" y="11625"/>
                  <a:pt x="10187" y="11593"/>
                </a:cubicBezTo>
                <a:cubicBezTo>
                  <a:pt x="10187" y="11562"/>
                  <a:pt x="10156" y="11562"/>
                  <a:pt x="10156" y="11562"/>
                </a:cubicBezTo>
                <a:cubicBezTo>
                  <a:pt x="10125" y="11562"/>
                  <a:pt x="10062" y="11562"/>
                  <a:pt x="10031" y="11593"/>
                </a:cubicBezTo>
                <a:cubicBezTo>
                  <a:pt x="10031" y="11593"/>
                  <a:pt x="10000" y="11593"/>
                  <a:pt x="9969" y="11593"/>
                </a:cubicBezTo>
                <a:cubicBezTo>
                  <a:pt x="9969" y="11593"/>
                  <a:pt x="9937" y="11625"/>
                  <a:pt x="9906" y="11625"/>
                </a:cubicBezTo>
                <a:cubicBezTo>
                  <a:pt x="9906" y="11625"/>
                  <a:pt x="9906" y="11625"/>
                  <a:pt x="9906" y="11625"/>
                </a:cubicBezTo>
                <a:cubicBezTo>
                  <a:pt x="9875" y="11625"/>
                  <a:pt x="9844" y="11625"/>
                  <a:pt x="9812" y="11593"/>
                </a:cubicBezTo>
                <a:cubicBezTo>
                  <a:pt x="9781" y="11562"/>
                  <a:pt x="9750" y="11562"/>
                  <a:pt x="9750" y="11531"/>
                </a:cubicBezTo>
                <a:cubicBezTo>
                  <a:pt x="9687" y="11500"/>
                  <a:pt x="9625" y="11468"/>
                  <a:pt x="9562" y="11468"/>
                </a:cubicBezTo>
                <a:cubicBezTo>
                  <a:pt x="9531" y="11437"/>
                  <a:pt x="9500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37"/>
                </a:cubicBezTo>
                <a:cubicBezTo>
                  <a:pt x="9469" y="11437"/>
                  <a:pt x="9469" y="11437"/>
                  <a:pt x="9469" y="11468"/>
                </a:cubicBezTo>
                <a:cubicBezTo>
                  <a:pt x="9469" y="11500"/>
                  <a:pt x="9437" y="11531"/>
                  <a:pt x="9406" y="11562"/>
                </a:cubicBezTo>
                <a:cubicBezTo>
                  <a:pt x="9375" y="11562"/>
                  <a:pt x="9375" y="11562"/>
                  <a:pt x="9344" y="11562"/>
                </a:cubicBezTo>
                <a:cubicBezTo>
                  <a:pt x="9312" y="11562"/>
                  <a:pt x="9281" y="11562"/>
                  <a:pt x="9281" y="11562"/>
                </a:cubicBezTo>
                <a:cubicBezTo>
                  <a:pt x="9281" y="11562"/>
                  <a:pt x="9250" y="11562"/>
                  <a:pt x="9250" y="11562"/>
                </a:cubicBezTo>
                <a:cubicBezTo>
                  <a:pt x="9219" y="11562"/>
                  <a:pt x="9187" y="11562"/>
                  <a:pt x="9187" y="11593"/>
                </a:cubicBezTo>
                <a:cubicBezTo>
                  <a:pt x="9250" y="11718"/>
                  <a:pt x="9156" y="11718"/>
                  <a:pt x="9062" y="11718"/>
                </a:cubicBezTo>
                <a:cubicBezTo>
                  <a:pt x="9031" y="11718"/>
                  <a:pt x="9000" y="11718"/>
                  <a:pt x="9000" y="11718"/>
                </a:cubicBezTo>
                <a:cubicBezTo>
                  <a:pt x="8969" y="11718"/>
                  <a:pt x="8969" y="11718"/>
                  <a:pt x="8969" y="11718"/>
                </a:cubicBezTo>
                <a:cubicBezTo>
                  <a:pt x="8937" y="11718"/>
                  <a:pt x="8906" y="11718"/>
                  <a:pt x="8875" y="11718"/>
                </a:cubicBezTo>
                <a:cubicBezTo>
                  <a:pt x="8875" y="11718"/>
                  <a:pt x="8844" y="11718"/>
                  <a:pt x="8812" y="11718"/>
                </a:cubicBezTo>
                <a:cubicBezTo>
                  <a:pt x="8750" y="11718"/>
                  <a:pt x="8656" y="11718"/>
                  <a:pt x="8625" y="11656"/>
                </a:cubicBezTo>
                <a:cubicBezTo>
                  <a:pt x="8594" y="11593"/>
                  <a:pt x="8719" y="11562"/>
                  <a:pt x="8812" y="11531"/>
                </a:cubicBezTo>
                <a:cubicBezTo>
                  <a:pt x="8812" y="11531"/>
                  <a:pt x="8781" y="11531"/>
                  <a:pt x="8781" y="11531"/>
                </a:cubicBezTo>
                <a:cubicBezTo>
                  <a:pt x="8750" y="11531"/>
                  <a:pt x="8719" y="11531"/>
                  <a:pt x="8687" y="11531"/>
                </a:cubicBezTo>
                <a:cubicBezTo>
                  <a:pt x="8625" y="11531"/>
                  <a:pt x="8562" y="11531"/>
                  <a:pt x="8500" y="11531"/>
                </a:cubicBezTo>
                <a:cubicBezTo>
                  <a:pt x="8500" y="11531"/>
                  <a:pt x="8469" y="11531"/>
                  <a:pt x="8469" y="11531"/>
                </a:cubicBezTo>
                <a:cubicBezTo>
                  <a:pt x="8437" y="11531"/>
                  <a:pt x="8406" y="11500"/>
                  <a:pt x="8375" y="11500"/>
                </a:cubicBezTo>
                <a:cubicBezTo>
                  <a:pt x="8375" y="11468"/>
                  <a:pt x="8375" y="11437"/>
                  <a:pt x="8406" y="11437"/>
                </a:cubicBezTo>
                <a:cubicBezTo>
                  <a:pt x="8406" y="11437"/>
                  <a:pt x="8437" y="11406"/>
                  <a:pt x="8469" y="11406"/>
                </a:cubicBezTo>
                <a:cubicBezTo>
                  <a:pt x="8469" y="11406"/>
                  <a:pt x="8469" y="11406"/>
                  <a:pt x="8469" y="11406"/>
                </a:cubicBezTo>
                <a:cubicBezTo>
                  <a:pt x="8531" y="11406"/>
                  <a:pt x="8562" y="11375"/>
                  <a:pt x="8594" y="11375"/>
                </a:cubicBezTo>
                <a:cubicBezTo>
                  <a:pt x="8625" y="11375"/>
                  <a:pt x="8625" y="11375"/>
                  <a:pt x="8656" y="11375"/>
                </a:cubicBezTo>
                <a:cubicBezTo>
                  <a:pt x="8687" y="11406"/>
                  <a:pt x="8719" y="11406"/>
                  <a:pt x="8750" y="11406"/>
                </a:cubicBezTo>
                <a:cubicBezTo>
                  <a:pt x="8750" y="11406"/>
                  <a:pt x="8750" y="11406"/>
                  <a:pt x="8750" y="11406"/>
                </a:cubicBezTo>
                <a:cubicBezTo>
                  <a:pt x="8781" y="11406"/>
                  <a:pt x="8812" y="11375"/>
                  <a:pt x="8812" y="11375"/>
                </a:cubicBezTo>
                <a:cubicBezTo>
                  <a:pt x="8812" y="11375"/>
                  <a:pt x="8812" y="11375"/>
                  <a:pt x="8812" y="11343"/>
                </a:cubicBezTo>
                <a:cubicBezTo>
                  <a:pt x="8844" y="11343"/>
                  <a:pt x="8844" y="11343"/>
                  <a:pt x="8844" y="11343"/>
                </a:cubicBezTo>
                <a:cubicBezTo>
                  <a:pt x="8875" y="11281"/>
                  <a:pt x="8781" y="11281"/>
                  <a:pt x="8750" y="11250"/>
                </a:cubicBezTo>
                <a:cubicBezTo>
                  <a:pt x="8719" y="11250"/>
                  <a:pt x="8719" y="11250"/>
                  <a:pt x="8719" y="11250"/>
                </a:cubicBezTo>
                <a:cubicBezTo>
                  <a:pt x="8687" y="11250"/>
                  <a:pt x="8687" y="11218"/>
                  <a:pt x="8687" y="11218"/>
                </a:cubicBezTo>
                <a:cubicBezTo>
                  <a:pt x="8750" y="11218"/>
                  <a:pt x="8781" y="11218"/>
                  <a:pt x="8812" y="11218"/>
                </a:cubicBezTo>
                <a:cubicBezTo>
                  <a:pt x="8844" y="11218"/>
                  <a:pt x="8906" y="11218"/>
                  <a:pt x="8937" y="11218"/>
                </a:cubicBezTo>
                <a:cubicBezTo>
                  <a:pt x="8969" y="11218"/>
                  <a:pt x="8969" y="11187"/>
                  <a:pt x="8969" y="11187"/>
                </a:cubicBezTo>
                <a:cubicBezTo>
                  <a:pt x="8969" y="11187"/>
                  <a:pt x="9000" y="11187"/>
                  <a:pt x="9000" y="11187"/>
                </a:cubicBezTo>
                <a:cubicBezTo>
                  <a:pt x="9000" y="11156"/>
                  <a:pt x="9000" y="11156"/>
                  <a:pt x="9000" y="11156"/>
                </a:cubicBezTo>
                <a:cubicBezTo>
                  <a:pt x="9000" y="11156"/>
                  <a:pt x="8969" y="11125"/>
                  <a:pt x="8969" y="11125"/>
                </a:cubicBezTo>
                <a:cubicBezTo>
                  <a:pt x="8937" y="11125"/>
                  <a:pt x="8906" y="11125"/>
                  <a:pt x="8875" y="11125"/>
                </a:cubicBezTo>
                <a:cubicBezTo>
                  <a:pt x="8844" y="11125"/>
                  <a:pt x="8844" y="11093"/>
                  <a:pt x="8844" y="11093"/>
                </a:cubicBezTo>
                <a:cubicBezTo>
                  <a:pt x="8812" y="11093"/>
                  <a:pt x="8812" y="11093"/>
                  <a:pt x="8781" y="11093"/>
                </a:cubicBezTo>
                <a:cubicBezTo>
                  <a:pt x="8719" y="11062"/>
                  <a:pt x="8656" y="11062"/>
                  <a:pt x="8594" y="11062"/>
                </a:cubicBezTo>
                <a:cubicBezTo>
                  <a:pt x="8594" y="11062"/>
                  <a:pt x="8562" y="11062"/>
                  <a:pt x="8562" y="11062"/>
                </a:cubicBezTo>
                <a:cubicBezTo>
                  <a:pt x="8562" y="11062"/>
                  <a:pt x="8531" y="11062"/>
                  <a:pt x="8531" y="11062"/>
                </a:cubicBezTo>
                <a:cubicBezTo>
                  <a:pt x="8531" y="11062"/>
                  <a:pt x="8500" y="11062"/>
                  <a:pt x="8500" y="11062"/>
                </a:cubicBezTo>
                <a:cubicBezTo>
                  <a:pt x="8469" y="11062"/>
                  <a:pt x="8469" y="11062"/>
                  <a:pt x="8469" y="11062"/>
                </a:cubicBezTo>
                <a:cubicBezTo>
                  <a:pt x="8437" y="11062"/>
                  <a:pt x="8406" y="11062"/>
                  <a:pt x="8406" y="11062"/>
                </a:cubicBezTo>
                <a:cubicBezTo>
                  <a:pt x="8344" y="11062"/>
                  <a:pt x="8312" y="11062"/>
                  <a:pt x="8281" y="11031"/>
                </a:cubicBezTo>
                <a:cubicBezTo>
                  <a:pt x="8250" y="11000"/>
                  <a:pt x="8219" y="10968"/>
                  <a:pt x="8250" y="10906"/>
                </a:cubicBezTo>
                <a:cubicBezTo>
                  <a:pt x="8250" y="10906"/>
                  <a:pt x="8281" y="10906"/>
                  <a:pt x="8281" y="10906"/>
                </a:cubicBezTo>
                <a:cubicBezTo>
                  <a:pt x="8312" y="10875"/>
                  <a:pt x="8344" y="10875"/>
                  <a:pt x="8375" y="10875"/>
                </a:cubicBezTo>
                <a:cubicBezTo>
                  <a:pt x="8375" y="10875"/>
                  <a:pt x="8375" y="10875"/>
                  <a:pt x="8406" y="10875"/>
                </a:cubicBezTo>
                <a:cubicBezTo>
                  <a:pt x="8437" y="10875"/>
                  <a:pt x="8469" y="10906"/>
                  <a:pt x="8500" y="10906"/>
                </a:cubicBezTo>
                <a:cubicBezTo>
                  <a:pt x="8500" y="10906"/>
                  <a:pt x="8531" y="10906"/>
                  <a:pt x="8531" y="10906"/>
                </a:cubicBezTo>
                <a:cubicBezTo>
                  <a:pt x="8562" y="10906"/>
                  <a:pt x="8562" y="10906"/>
                  <a:pt x="8594" y="10906"/>
                </a:cubicBezTo>
                <a:cubicBezTo>
                  <a:pt x="8594" y="10906"/>
                  <a:pt x="8594" y="10906"/>
                  <a:pt x="8625" y="10906"/>
                </a:cubicBezTo>
                <a:cubicBezTo>
                  <a:pt x="8625" y="10906"/>
                  <a:pt x="8625" y="10875"/>
                  <a:pt x="8625" y="10875"/>
                </a:cubicBezTo>
                <a:cubicBezTo>
                  <a:pt x="8625" y="10875"/>
                  <a:pt x="8625" y="10875"/>
                  <a:pt x="8625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56" y="10875"/>
                  <a:pt x="8656" y="10875"/>
                </a:cubicBezTo>
                <a:cubicBezTo>
                  <a:pt x="8656" y="10875"/>
                  <a:pt x="8687" y="10875"/>
                  <a:pt x="8687" y="10875"/>
                </a:cubicBezTo>
                <a:cubicBezTo>
                  <a:pt x="8687" y="10875"/>
                  <a:pt x="8687" y="10875"/>
                  <a:pt x="8687" y="10875"/>
                </a:cubicBezTo>
                <a:cubicBezTo>
                  <a:pt x="8719" y="10875"/>
                  <a:pt x="8750" y="10875"/>
                  <a:pt x="8781" y="10875"/>
                </a:cubicBezTo>
                <a:cubicBezTo>
                  <a:pt x="8781" y="10875"/>
                  <a:pt x="8781" y="10875"/>
                  <a:pt x="8812" y="10875"/>
                </a:cubicBezTo>
                <a:cubicBezTo>
                  <a:pt x="8844" y="10875"/>
                  <a:pt x="8844" y="10875"/>
                  <a:pt x="8875" y="10875"/>
                </a:cubicBezTo>
                <a:cubicBezTo>
                  <a:pt x="9000" y="10875"/>
                  <a:pt x="9094" y="10937"/>
                  <a:pt x="9250" y="10906"/>
                </a:cubicBezTo>
                <a:cubicBezTo>
                  <a:pt x="9250" y="10906"/>
                  <a:pt x="9250" y="10906"/>
                  <a:pt x="9219" y="10937"/>
                </a:cubicBezTo>
                <a:cubicBezTo>
                  <a:pt x="9219" y="10937"/>
                  <a:pt x="9219" y="10937"/>
                  <a:pt x="9219" y="10937"/>
                </a:cubicBezTo>
                <a:cubicBezTo>
                  <a:pt x="9187" y="10937"/>
                  <a:pt x="9156" y="10968"/>
                  <a:pt x="9156" y="10968"/>
                </a:cubicBezTo>
                <a:cubicBezTo>
                  <a:pt x="9125" y="10968"/>
                  <a:pt x="9094" y="11000"/>
                  <a:pt x="9062" y="11000"/>
                </a:cubicBezTo>
                <a:cubicBezTo>
                  <a:pt x="9062" y="11031"/>
                  <a:pt x="9062" y="11031"/>
                  <a:pt x="9062" y="11031"/>
                </a:cubicBezTo>
                <a:cubicBezTo>
                  <a:pt x="9094" y="11031"/>
                  <a:pt x="9125" y="11031"/>
                  <a:pt x="9156" y="11031"/>
                </a:cubicBezTo>
                <a:cubicBezTo>
                  <a:pt x="9187" y="11031"/>
                  <a:pt x="9187" y="11031"/>
                  <a:pt x="9219" y="11031"/>
                </a:cubicBezTo>
                <a:cubicBezTo>
                  <a:pt x="9281" y="11031"/>
                  <a:pt x="9375" y="11031"/>
                  <a:pt x="9437" y="11000"/>
                </a:cubicBezTo>
                <a:cubicBezTo>
                  <a:pt x="9500" y="11000"/>
                  <a:pt x="9562" y="10968"/>
                  <a:pt x="9625" y="10937"/>
                </a:cubicBezTo>
                <a:cubicBezTo>
                  <a:pt x="9656" y="10968"/>
                  <a:pt x="9656" y="10968"/>
                  <a:pt x="9656" y="10968"/>
                </a:cubicBezTo>
                <a:cubicBezTo>
                  <a:pt x="9656" y="11000"/>
                  <a:pt x="9625" y="11000"/>
                  <a:pt x="9625" y="11031"/>
                </a:cubicBezTo>
                <a:cubicBezTo>
                  <a:pt x="9594" y="11031"/>
                  <a:pt x="9594" y="11031"/>
                  <a:pt x="9594" y="11031"/>
                </a:cubicBezTo>
                <a:cubicBezTo>
                  <a:pt x="9594" y="11062"/>
                  <a:pt x="9594" y="11062"/>
                  <a:pt x="9594" y="11062"/>
                </a:cubicBezTo>
                <a:cubicBezTo>
                  <a:pt x="9594" y="11062"/>
                  <a:pt x="9562" y="11062"/>
                  <a:pt x="9562" y="11062"/>
                </a:cubicBezTo>
                <a:cubicBezTo>
                  <a:pt x="9531" y="11062"/>
                  <a:pt x="9500" y="11062"/>
                  <a:pt x="9500" y="11093"/>
                </a:cubicBezTo>
                <a:cubicBezTo>
                  <a:pt x="9500" y="11093"/>
                  <a:pt x="9500" y="11093"/>
                  <a:pt x="9469" y="11093"/>
                </a:cubicBezTo>
                <a:cubicBezTo>
                  <a:pt x="9437" y="11093"/>
                  <a:pt x="9375" y="11125"/>
                  <a:pt x="9344" y="11156"/>
                </a:cubicBezTo>
                <a:cubicBezTo>
                  <a:pt x="9312" y="11187"/>
                  <a:pt x="9312" y="11187"/>
                  <a:pt x="9312" y="11218"/>
                </a:cubicBezTo>
                <a:cubicBezTo>
                  <a:pt x="9312" y="11218"/>
                  <a:pt x="9312" y="11250"/>
                  <a:pt x="9312" y="11250"/>
                </a:cubicBezTo>
                <a:cubicBezTo>
                  <a:pt x="9312" y="11250"/>
                  <a:pt x="9312" y="11250"/>
                  <a:pt x="9312" y="11281"/>
                </a:cubicBezTo>
                <a:cubicBezTo>
                  <a:pt x="9312" y="11281"/>
                  <a:pt x="9344" y="11281"/>
                  <a:pt x="9344" y="11312"/>
                </a:cubicBezTo>
                <a:cubicBezTo>
                  <a:pt x="9375" y="11312"/>
                  <a:pt x="9375" y="11312"/>
                  <a:pt x="9406" y="11312"/>
                </a:cubicBezTo>
                <a:cubicBezTo>
                  <a:pt x="9469" y="11343"/>
                  <a:pt x="9531" y="11312"/>
                  <a:pt x="9594" y="11312"/>
                </a:cubicBezTo>
                <a:cubicBezTo>
                  <a:pt x="9625" y="11281"/>
                  <a:pt x="9625" y="11281"/>
                  <a:pt x="9656" y="11281"/>
                </a:cubicBezTo>
                <a:cubicBezTo>
                  <a:pt x="9750" y="11187"/>
                  <a:pt x="9719" y="11125"/>
                  <a:pt x="9719" y="11031"/>
                </a:cubicBezTo>
                <a:cubicBezTo>
                  <a:pt x="9750" y="11031"/>
                  <a:pt x="9750" y="11031"/>
                  <a:pt x="9781" y="11031"/>
                </a:cubicBezTo>
                <a:cubicBezTo>
                  <a:pt x="9781" y="11031"/>
                  <a:pt x="9812" y="11031"/>
                  <a:pt x="9812" y="11000"/>
                </a:cubicBezTo>
                <a:cubicBezTo>
                  <a:pt x="9812" y="11000"/>
                  <a:pt x="9844" y="11000"/>
                  <a:pt x="9844" y="10968"/>
                </a:cubicBezTo>
                <a:cubicBezTo>
                  <a:pt x="9844" y="10968"/>
                  <a:pt x="9812" y="10937"/>
                  <a:pt x="9812" y="10937"/>
                </a:cubicBezTo>
                <a:cubicBezTo>
                  <a:pt x="9812" y="10906"/>
                  <a:pt x="9812" y="10875"/>
                  <a:pt x="9812" y="10875"/>
                </a:cubicBezTo>
                <a:cubicBezTo>
                  <a:pt x="9812" y="10875"/>
                  <a:pt x="9812" y="10875"/>
                  <a:pt x="9844" y="10875"/>
                </a:cubicBezTo>
                <a:cubicBezTo>
                  <a:pt x="9844" y="10875"/>
                  <a:pt x="9875" y="10843"/>
                  <a:pt x="9875" y="10843"/>
                </a:cubicBezTo>
                <a:cubicBezTo>
                  <a:pt x="9906" y="10843"/>
                  <a:pt x="9937" y="10843"/>
                  <a:pt x="9969" y="10843"/>
                </a:cubicBezTo>
                <a:cubicBezTo>
                  <a:pt x="9969" y="10843"/>
                  <a:pt x="9969" y="10843"/>
                  <a:pt x="9969" y="10843"/>
                </a:cubicBezTo>
                <a:cubicBezTo>
                  <a:pt x="9969" y="10875"/>
                  <a:pt x="9969" y="10875"/>
                  <a:pt x="10000" y="10875"/>
                </a:cubicBezTo>
                <a:cubicBezTo>
                  <a:pt x="10000" y="10906"/>
                  <a:pt x="10000" y="10906"/>
                  <a:pt x="10062" y="10906"/>
                </a:cubicBezTo>
                <a:cubicBezTo>
                  <a:pt x="10125" y="10906"/>
                  <a:pt x="10187" y="10906"/>
                  <a:pt x="10250" y="10906"/>
                </a:cubicBezTo>
                <a:cubicBezTo>
                  <a:pt x="10312" y="10906"/>
                  <a:pt x="10375" y="10875"/>
                  <a:pt x="10437" y="10875"/>
                </a:cubicBezTo>
                <a:cubicBezTo>
                  <a:pt x="10531" y="10875"/>
                  <a:pt x="10625" y="10843"/>
                  <a:pt x="10719" y="10875"/>
                </a:cubicBezTo>
                <a:cubicBezTo>
                  <a:pt x="10719" y="10875"/>
                  <a:pt x="10750" y="10875"/>
                  <a:pt x="10750" y="10875"/>
                </a:cubicBezTo>
                <a:cubicBezTo>
                  <a:pt x="10750" y="10906"/>
                  <a:pt x="10781" y="10906"/>
                  <a:pt x="10781" y="10937"/>
                </a:cubicBezTo>
                <a:cubicBezTo>
                  <a:pt x="10781" y="10937"/>
                  <a:pt x="10781" y="10968"/>
                  <a:pt x="10781" y="11000"/>
                </a:cubicBezTo>
                <a:cubicBezTo>
                  <a:pt x="10781" y="11031"/>
                  <a:pt x="10812" y="11031"/>
                  <a:pt x="10812" y="11062"/>
                </a:cubicBezTo>
                <a:cubicBezTo>
                  <a:pt x="10844" y="11062"/>
                  <a:pt x="10844" y="11062"/>
                  <a:pt x="10844" y="11062"/>
                </a:cubicBezTo>
                <a:cubicBezTo>
                  <a:pt x="10906" y="11156"/>
                  <a:pt x="10875" y="11218"/>
                  <a:pt x="10750" y="11250"/>
                </a:cubicBezTo>
                <a:cubicBezTo>
                  <a:pt x="10719" y="11250"/>
                  <a:pt x="10719" y="11250"/>
                  <a:pt x="10687" y="11250"/>
                </a:cubicBezTo>
                <a:cubicBezTo>
                  <a:pt x="10656" y="11250"/>
                  <a:pt x="10625" y="11250"/>
                  <a:pt x="10594" y="11250"/>
                </a:cubicBezTo>
                <a:cubicBezTo>
                  <a:pt x="10562" y="11250"/>
                  <a:pt x="10562" y="11250"/>
                  <a:pt x="10531" y="11250"/>
                </a:cubicBezTo>
                <a:cubicBezTo>
                  <a:pt x="10469" y="11218"/>
                  <a:pt x="10406" y="11218"/>
                  <a:pt x="10344" y="11250"/>
                </a:cubicBezTo>
                <a:cubicBezTo>
                  <a:pt x="10219" y="11250"/>
                  <a:pt x="10187" y="11343"/>
                  <a:pt x="10250" y="11468"/>
                </a:cubicBezTo>
                <a:cubicBezTo>
                  <a:pt x="10250" y="11500"/>
                  <a:pt x="10250" y="11500"/>
                  <a:pt x="10250" y="11531"/>
                </a:cubicBezTo>
                <a:cubicBezTo>
                  <a:pt x="10281" y="11531"/>
                  <a:pt x="10281" y="11562"/>
                  <a:pt x="10281" y="11562"/>
                </a:cubicBezTo>
                <a:cubicBezTo>
                  <a:pt x="10312" y="11562"/>
                  <a:pt x="10312" y="11562"/>
                  <a:pt x="10312" y="11562"/>
                </a:cubicBezTo>
                <a:cubicBezTo>
                  <a:pt x="10312" y="11593"/>
                  <a:pt x="10344" y="11593"/>
                  <a:pt x="10344" y="11593"/>
                </a:cubicBezTo>
                <a:cubicBezTo>
                  <a:pt x="10375" y="11593"/>
                  <a:pt x="10437" y="11593"/>
                  <a:pt x="10531" y="11562"/>
                </a:cubicBezTo>
                <a:cubicBezTo>
                  <a:pt x="10594" y="11562"/>
                  <a:pt x="10687" y="11531"/>
                  <a:pt x="10750" y="11531"/>
                </a:cubicBezTo>
                <a:cubicBezTo>
                  <a:pt x="10875" y="11562"/>
                  <a:pt x="10969" y="11500"/>
                  <a:pt x="11062" y="11468"/>
                </a:cubicBezTo>
                <a:cubicBezTo>
                  <a:pt x="11125" y="11437"/>
                  <a:pt x="11187" y="11406"/>
                  <a:pt x="11250" y="11406"/>
                </a:cubicBezTo>
                <a:cubicBezTo>
                  <a:pt x="11281" y="11406"/>
                  <a:pt x="11312" y="11406"/>
                  <a:pt x="11344" y="11406"/>
                </a:cubicBezTo>
                <a:cubicBezTo>
                  <a:pt x="11344" y="11406"/>
                  <a:pt x="11375" y="11406"/>
                  <a:pt x="11375" y="11406"/>
                </a:cubicBezTo>
                <a:cubicBezTo>
                  <a:pt x="11375" y="11406"/>
                  <a:pt x="11375" y="11406"/>
                  <a:pt x="11375" y="11406"/>
                </a:cubicBezTo>
                <a:cubicBezTo>
                  <a:pt x="11437" y="11406"/>
                  <a:pt x="11469" y="11375"/>
                  <a:pt x="11500" y="11406"/>
                </a:cubicBezTo>
                <a:cubicBezTo>
                  <a:pt x="11531" y="11468"/>
                  <a:pt x="11562" y="11531"/>
                  <a:pt x="11531" y="11593"/>
                </a:cubicBezTo>
                <a:cubicBezTo>
                  <a:pt x="11531" y="11593"/>
                  <a:pt x="11531" y="11593"/>
                  <a:pt x="11531" y="11593"/>
                </a:cubicBezTo>
                <a:cubicBezTo>
                  <a:pt x="11500" y="11593"/>
                  <a:pt x="11500" y="11593"/>
                  <a:pt x="11469" y="11593"/>
                </a:cubicBezTo>
                <a:cubicBezTo>
                  <a:pt x="11437" y="11625"/>
                  <a:pt x="11375" y="11593"/>
                  <a:pt x="11312" y="11593"/>
                </a:cubicBezTo>
                <a:cubicBezTo>
                  <a:pt x="11219" y="11562"/>
                  <a:pt x="11094" y="11562"/>
                  <a:pt x="11000" y="11562"/>
                </a:cubicBezTo>
                <a:cubicBezTo>
                  <a:pt x="10969" y="11593"/>
                  <a:pt x="10937" y="11593"/>
                  <a:pt x="10906" y="11625"/>
                </a:cubicBezTo>
                <a:cubicBezTo>
                  <a:pt x="10875" y="11656"/>
                  <a:pt x="10844" y="11687"/>
                  <a:pt x="10812" y="11718"/>
                </a:cubicBezTo>
                <a:cubicBezTo>
                  <a:pt x="10781" y="11750"/>
                  <a:pt x="10781" y="11781"/>
                  <a:pt x="10812" y="11812"/>
                </a:cubicBezTo>
                <a:cubicBezTo>
                  <a:pt x="10844" y="11875"/>
                  <a:pt x="10875" y="11906"/>
                  <a:pt x="10937" y="11906"/>
                </a:cubicBezTo>
                <a:cubicBezTo>
                  <a:pt x="10969" y="11906"/>
                  <a:pt x="11000" y="11906"/>
                  <a:pt x="11000" y="11906"/>
                </a:cubicBezTo>
                <a:cubicBezTo>
                  <a:pt x="11031" y="11906"/>
                  <a:pt x="11031" y="11906"/>
                  <a:pt x="11062" y="11906"/>
                </a:cubicBezTo>
                <a:cubicBezTo>
                  <a:pt x="11125" y="11875"/>
                  <a:pt x="11156" y="11875"/>
                  <a:pt x="11219" y="11843"/>
                </a:cubicBezTo>
                <a:cubicBezTo>
                  <a:pt x="11281" y="11843"/>
                  <a:pt x="11312" y="11812"/>
                  <a:pt x="11375" y="11750"/>
                </a:cubicBezTo>
                <a:cubicBezTo>
                  <a:pt x="11375" y="11718"/>
                  <a:pt x="11406" y="11687"/>
                  <a:pt x="11437" y="11687"/>
                </a:cubicBezTo>
                <a:cubicBezTo>
                  <a:pt x="11500" y="11656"/>
                  <a:pt x="11562" y="11656"/>
                  <a:pt x="11656" y="11687"/>
                </a:cubicBezTo>
                <a:cubicBezTo>
                  <a:pt x="11656" y="11718"/>
                  <a:pt x="11625" y="11718"/>
                  <a:pt x="11625" y="11718"/>
                </a:cubicBezTo>
                <a:cubicBezTo>
                  <a:pt x="11594" y="11750"/>
                  <a:pt x="11531" y="11750"/>
                  <a:pt x="11500" y="11781"/>
                </a:cubicBezTo>
                <a:cubicBezTo>
                  <a:pt x="11500" y="11781"/>
                  <a:pt x="11500" y="11812"/>
                  <a:pt x="11500" y="11812"/>
                </a:cubicBezTo>
                <a:cubicBezTo>
                  <a:pt x="11500" y="11812"/>
                  <a:pt x="11500" y="11843"/>
                  <a:pt x="11531" y="11843"/>
                </a:cubicBezTo>
                <a:cubicBezTo>
                  <a:pt x="11531" y="11843"/>
                  <a:pt x="11531" y="11843"/>
                  <a:pt x="11531" y="11843"/>
                </a:cubicBezTo>
                <a:cubicBezTo>
                  <a:pt x="11531" y="11843"/>
                  <a:pt x="11531" y="11843"/>
                  <a:pt x="11531" y="11812"/>
                </a:cubicBezTo>
                <a:cubicBezTo>
                  <a:pt x="11594" y="11812"/>
                  <a:pt x="11656" y="11781"/>
                  <a:pt x="11719" y="11781"/>
                </a:cubicBezTo>
                <a:cubicBezTo>
                  <a:pt x="11812" y="11781"/>
                  <a:pt x="11906" y="11750"/>
                  <a:pt x="11969" y="11687"/>
                </a:cubicBezTo>
                <a:cubicBezTo>
                  <a:pt x="12000" y="11687"/>
                  <a:pt x="12000" y="11656"/>
                  <a:pt x="12031" y="11656"/>
                </a:cubicBezTo>
                <a:cubicBezTo>
                  <a:pt x="12062" y="11656"/>
                  <a:pt x="12125" y="11656"/>
                  <a:pt x="12187" y="11625"/>
                </a:cubicBezTo>
                <a:cubicBezTo>
                  <a:pt x="12219" y="11625"/>
                  <a:pt x="12219" y="11656"/>
                  <a:pt x="12250" y="11656"/>
                </a:cubicBezTo>
                <a:cubicBezTo>
                  <a:pt x="12250" y="11656"/>
                  <a:pt x="12250" y="11656"/>
                  <a:pt x="12250" y="11656"/>
                </a:cubicBezTo>
                <a:cubicBezTo>
                  <a:pt x="12281" y="11656"/>
                  <a:pt x="12281" y="11656"/>
                  <a:pt x="12281" y="11625"/>
                </a:cubicBezTo>
                <a:cubicBezTo>
                  <a:pt x="12281" y="11625"/>
                  <a:pt x="12281" y="11625"/>
                  <a:pt x="12281" y="11625"/>
                </a:cubicBezTo>
                <a:cubicBezTo>
                  <a:pt x="12281" y="11531"/>
                  <a:pt x="12312" y="11500"/>
                  <a:pt x="12375" y="11500"/>
                </a:cubicBezTo>
                <a:cubicBezTo>
                  <a:pt x="12375" y="11500"/>
                  <a:pt x="12375" y="11500"/>
                  <a:pt x="12375" y="11500"/>
                </a:cubicBezTo>
                <a:cubicBezTo>
                  <a:pt x="12406" y="11500"/>
                  <a:pt x="12406" y="11500"/>
                  <a:pt x="12406" y="11500"/>
                </a:cubicBezTo>
                <a:cubicBezTo>
                  <a:pt x="12437" y="11500"/>
                  <a:pt x="12437" y="11500"/>
                  <a:pt x="12469" y="11500"/>
                </a:cubicBezTo>
                <a:cubicBezTo>
                  <a:pt x="12500" y="11500"/>
                  <a:pt x="12531" y="11531"/>
                  <a:pt x="12562" y="11531"/>
                </a:cubicBezTo>
                <a:cubicBezTo>
                  <a:pt x="12594" y="11531"/>
                  <a:pt x="12594" y="11531"/>
                  <a:pt x="12594" y="11531"/>
                </a:cubicBezTo>
                <a:cubicBezTo>
                  <a:pt x="12594" y="11500"/>
                  <a:pt x="12594" y="11500"/>
                  <a:pt x="12594" y="11500"/>
                </a:cubicBezTo>
                <a:cubicBezTo>
                  <a:pt x="12562" y="11500"/>
                  <a:pt x="12562" y="11468"/>
                  <a:pt x="12531" y="11468"/>
                </a:cubicBezTo>
                <a:cubicBezTo>
                  <a:pt x="12531" y="11468"/>
                  <a:pt x="12500" y="11468"/>
                  <a:pt x="12469" y="11468"/>
                </a:cubicBezTo>
                <a:cubicBezTo>
                  <a:pt x="12437" y="11468"/>
                  <a:pt x="12406" y="11468"/>
                  <a:pt x="12406" y="11468"/>
                </a:cubicBezTo>
                <a:cubicBezTo>
                  <a:pt x="12375" y="11468"/>
                  <a:pt x="12375" y="11468"/>
                  <a:pt x="12375" y="11468"/>
                </a:cubicBezTo>
                <a:cubicBezTo>
                  <a:pt x="12344" y="11468"/>
                  <a:pt x="12344" y="11468"/>
                  <a:pt x="12344" y="11437"/>
                </a:cubicBezTo>
                <a:cubicBezTo>
                  <a:pt x="12344" y="11437"/>
                  <a:pt x="12344" y="11437"/>
                  <a:pt x="12344" y="11437"/>
                </a:cubicBezTo>
                <a:cubicBezTo>
                  <a:pt x="12344" y="11406"/>
                  <a:pt x="12344" y="11406"/>
                  <a:pt x="12375" y="11406"/>
                </a:cubicBezTo>
                <a:cubicBezTo>
                  <a:pt x="12437" y="11406"/>
                  <a:pt x="12500" y="11375"/>
                  <a:pt x="12594" y="11375"/>
                </a:cubicBezTo>
                <a:cubicBezTo>
                  <a:pt x="12625" y="11375"/>
                  <a:pt x="12656" y="11375"/>
                  <a:pt x="12687" y="11375"/>
                </a:cubicBezTo>
                <a:cubicBezTo>
                  <a:pt x="12750" y="11406"/>
                  <a:pt x="12844" y="11406"/>
                  <a:pt x="12906" y="11406"/>
                </a:cubicBezTo>
                <a:cubicBezTo>
                  <a:pt x="12937" y="11406"/>
                  <a:pt x="12937" y="11406"/>
                  <a:pt x="12969" y="11406"/>
                </a:cubicBezTo>
                <a:cubicBezTo>
                  <a:pt x="13031" y="11406"/>
                  <a:pt x="13094" y="11406"/>
                  <a:pt x="13156" y="11406"/>
                </a:cubicBezTo>
                <a:cubicBezTo>
                  <a:pt x="13156" y="11406"/>
                  <a:pt x="13187" y="11406"/>
                  <a:pt x="13187" y="11406"/>
                </a:cubicBezTo>
                <a:cubicBezTo>
                  <a:pt x="13187" y="11406"/>
                  <a:pt x="13187" y="11406"/>
                  <a:pt x="13219" y="11375"/>
                </a:cubicBezTo>
                <a:cubicBezTo>
                  <a:pt x="13219" y="11375"/>
                  <a:pt x="13219" y="11375"/>
                  <a:pt x="13250" y="11375"/>
                </a:cubicBezTo>
                <a:cubicBezTo>
                  <a:pt x="13250" y="11375"/>
                  <a:pt x="13281" y="11406"/>
                  <a:pt x="13281" y="11406"/>
                </a:cubicBezTo>
                <a:cubicBezTo>
                  <a:pt x="13281" y="11406"/>
                  <a:pt x="13281" y="11437"/>
                  <a:pt x="13281" y="11437"/>
                </a:cubicBezTo>
                <a:cubicBezTo>
                  <a:pt x="13281" y="11468"/>
                  <a:pt x="13281" y="11468"/>
                  <a:pt x="13250" y="11500"/>
                </a:cubicBezTo>
                <a:cubicBezTo>
                  <a:pt x="13250" y="11500"/>
                  <a:pt x="13250" y="11500"/>
                  <a:pt x="13250" y="11500"/>
                </a:cubicBezTo>
                <a:cubicBezTo>
                  <a:pt x="13125" y="11531"/>
                  <a:pt x="13094" y="11687"/>
                  <a:pt x="12875" y="11656"/>
                </a:cubicBezTo>
                <a:cubicBezTo>
                  <a:pt x="12875" y="11656"/>
                  <a:pt x="12875" y="11656"/>
                  <a:pt x="12844" y="11656"/>
                </a:cubicBezTo>
                <a:cubicBezTo>
                  <a:pt x="12812" y="11656"/>
                  <a:pt x="12750" y="11687"/>
                  <a:pt x="12687" y="11718"/>
                </a:cubicBezTo>
                <a:cubicBezTo>
                  <a:pt x="12687" y="11718"/>
                  <a:pt x="12656" y="11750"/>
                  <a:pt x="12656" y="11750"/>
                </a:cubicBezTo>
                <a:cubicBezTo>
                  <a:pt x="12656" y="11781"/>
                  <a:pt x="12625" y="11781"/>
                  <a:pt x="12625" y="11812"/>
                </a:cubicBezTo>
                <a:cubicBezTo>
                  <a:pt x="12625" y="11812"/>
                  <a:pt x="12625" y="11812"/>
                  <a:pt x="12625" y="11812"/>
                </a:cubicBezTo>
                <a:cubicBezTo>
                  <a:pt x="12625" y="11843"/>
                  <a:pt x="12625" y="11843"/>
                  <a:pt x="12625" y="11843"/>
                </a:cubicBezTo>
                <a:cubicBezTo>
                  <a:pt x="12625" y="11875"/>
                  <a:pt x="12656" y="11875"/>
                  <a:pt x="12687" y="11906"/>
                </a:cubicBezTo>
                <a:cubicBezTo>
                  <a:pt x="12687" y="11906"/>
                  <a:pt x="12719" y="11937"/>
                  <a:pt x="12750" y="11937"/>
                </a:cubicBezTo>
                <a:cubicBezTo>
                  <a:pt x="12781" y="11937"/>
                  <a:pt x="12844" y="11937"/>
                  <a:pt x="12875" y="11937"/>
                </a:cubicBezTo>
                <a:cubicBezTo>
                  <a:pt x="12906" y="11968"/>
                  <a:pt x="12937" y="11937"/>
                  <a:pt x="12969" y="11937"/>
                </a:cubicBezTo>
                <a:cubicBezTo>
                  <a:pt x="13031" y="11937"/>
                  <a:pt x="13062" y="11906"/>
                  <a:pt x="13062" y="11906"/>
                </a:cubicBezTo>
                <a:cubicBezTo>
                  <a:pt x="13094" y="11875"/>
                  <a:pt x="13094" y="11875"/>
                  <a:pt x="13125" y="11843"/>
                </a:cubicBezTo>
                <a:cubicBezTo>
                  <a:pt x="13125" y="11812"/>
                  <a:pt x="13156" y="11812"/>
                  <a:pt x="13156" y="11781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56" y="11750"/>
                </a:cubicBezTo>
                <a:cubicBezTo>
                  <a:pt x="13156" y="11750"/>
                  <a:pt x="13156" y="11750"/>
                  <a:pt x="13125" y="11750"/>
                </a:cubicBezTo>
                <a:cubicBezTo>
                  <a:pt x="13125" y="11718"/>
                  <a:pt x="13125" y="11718"/>
                  <a:pt x="13094" y="11718"/>
                </a:cubicBezTo>
                <a:cubicBezTo>
                  <a:pt x="13094" y="11718"/>
                  <a:pt x="13062" y="11718"/>
                  <a:pt x="13094" y="11687"/>
                </a:cubicBezTo>
                <a:cubicBezTo>
                  <a:pt x="13094" y="11687"/>
                  <a:pt x="13125" y="11687"/>
                  <a:pt x="13125" y="11687"/>
                </a:cubicBezTo>
                <a:cubicBezTo>
                  <a:pt x="13156" y="11687"/>
                  <a:pt x="13187" y="11687"/>
                  <a:pt x="13219" y="11687"/>
                </a:cubicBezTo>
                <a:cubicBezTo>
                  <a:pt x="13250" y="11687"/>
                  <a:pt x="13250" y="11687"/>
                  <a:pt x="13281" y="11656"/>
                </a:cubicBezTo>
                <a:cubicBezTo>
                  <a:pt x="13281" y="11625"/>
                  <a:pt x="13281" y="11625"/>
                  <a:pt x="13312" y="11593"/>
                </a:cubicBezTo>
                <a:cubicBezTo>
                  <a:pt x="13312" y="11593"/>
                  <a:pt x="13344" y="11562"/>
                  <a:pt x="13375" y="11562"/>
                </a:cubicBezTo>
                <a:cubicBezTo>
                  <a:pt x="13469" y="11500"/>
                  <a:pt x="13625" y="11500"/>
                  <a:pt x="13750" y="11437"/>
                </a:cubicBezTo>
                <a:cubicBezTo>
                  <a:pt x="13687" y="11437"/>
                  <a:pt x="13687" y="11406"/>
                  <a:pt x="13656" y="11406"/>
                </a:cubicBezTo>
                <a:cubicBezTo>
                  <a:pt x="13656" y="11406"/>
                  <a:pt x="13656" y="11375"/>
                  <a:pt x="13656" y="11375"/>
                </a:cubicBezTo>
                <a:cubicBezTo>
                  <a:pt x="13656" y="11343"/>
                  <a:pt x="13719" y="11312"/>
                  <a:pt x="13781" y="11312"/>
                </a:cubicBezTo>
                <a:cubicBezTo>
                  <a:pt x="13937" y="11312"/>
                  <a:pt x="14062" y="11250"/>
                  <a:pt x="14187" y="11218"/>
                </a:cubicBezTo>
                <a:cubicBezTo>
                  <a:pt x="14281" y="11218"/>
                  <a:pt x="14375" y="11187"/>
                  <a:pt x="14437" y="11218"/>
                </a:cubicBezTo>
                <a:cubicBezTo>
                  <a:pt x="14469" y="11218"/>
                  <a:pt x="14469" y="11250"/>
                  <a:pt x="14437" y="11281"/>
                </a:cubicBezTo>
                <a:cubicBezTo>
                  <a:pt x="14437" y="11281"/>
                  <a:pt x="14437" y="11281"/>
                  <a:pt x="14406" y="11281"/>
                </a:cubicBezTo>
                <a:cubicBezTo>
                  <a:pt x="14406" y="11281"/>
                  <a:pt x="14406" y="11312"/>
                  <a:pt x="14375" y="11312"/>
                </a:cubicBezTo>
                <a:cubicBezTo>
                  <a:pt x="14375" y="11312"/>
                  <a:pt x="14344" y="11312"/>
                  <a:pt x="14344" y="11312"/>
                </a:cubicBezTo>
                <a:cubicBezTo>
                  <a:pt x="14312" y="11343"/>
                  <a:pt x="14281" y="11375"/>
                  <a:pt x="14219" y="11375"/>
                </a:cubicBezTo>
                <a:cubicBezTo>
                  <a:pt x="14187" y="11375"/>
                  <a:pt x="14187" y="11375"/>
                  <a:pt x="14156" y="11343"/>
                </a:cubicBezTo>
                <a:cubicBezTo>
                  <a:pt x="14125" y="11343"/>
                  <a:pt x="14125" y="11343"/>
                  <a:pt x="14125" y="11343"/>
                </a:cubicBezTo>
                <a:cubicBezTo>
                  <a:pt x="14094" y="11343"/>
                  <a:pt x="14031" y="11343"/>
                  <a:pt x="14031" y="11375"/>
                </a:cubicBezTo>
                <a:cubicBezTo>
                  <a:pt x="14031" y="11375"/>
                  <a:pt x="14031" y="11375"/>
                  <a:pt x="14031" y="11375"/>
                </a:cubicBezTo>
                <a:cubicBezTo>
                  <a:pt x="14031" y="11406"/>
                  <a:pt x="14031" y="11406"/>
                  <a:pt x="14031" y="11406"/>
                </a:cubicBezTo>
                <a:cubicBezTo>
                  <a:pt x="14062" y="11406"/>
                  <a:pt x="14062" y="11437"/>
                  <a:pt x="14062" y="11437"/>
                </a:cubicBezTo>
                <a:cubicBezTo>
                  <a:pt x="14094" y="11437"/>
                  <a:pt x="14094" y="11437"/>
                  <a:pt x="14094" y="11437"/>
                </a:cubicBezTo>
                <a:cubicBezTo>
                  <a:pt x="14094" y="11437"/>
                  <a:pt x="14125" y="11437"/>
                  <a:pt x="14125" y="11406"/>
                </a:cubicBezTo>
                <a:cubicBezTo>
                  <a:pt x="14156" y="11406"/>
                  <a:pt x="14156" y="11406"/>
                  <a:pt x="14156" y="11406"/>
                </a:cubicBezTo>
                <a:cubicBezTo>
                  <a:pt x="14219" y="11406"/>
                  <a:pt x="14250" y="11406"/>
                  <a:pt x="14281" y="11437"/>
                </a:cubicBezTo>
                <a:cubicBezTo>
                  <a:pt x="14312" y="11437"/>
                  <a:pt x="14312" y="11468"/>
                  <a:pt x="14344" y="11468"/>
                </a:cubicBezTo>
                <a:cubicBezTo>
                  <a:pt x="14344" y="11500"/>
                  <a:pt x="14344" y="11531"/>
                  <a:pt x="14375" y="11531"/>
                </a:cubicBezTo>
                <a:cubicBezTo>
                  <a:pt x="14406" y="11531"/>
                  <a:pt x="14406" y="11531"/>
                  <a:pt x="14437" y="11500"/>
                </a:cubicBezTo>
                <a:cubicBezTo>
                  <a:pt x="14437" y="11500"/>
                  <a:pt x="14437" y="11500"/>
                  <a:pt x="14437" y="11468"/>
                </a:cubicBezTo>
                <a:cubicBezTo>
                  <a:pt x="14437" y="11468"/>
                  <a:pt x="14437" y="11468"/>
                  <a:pt x="14437" y="11437"/>
                </a:cubicBezTo>
                <a:cubicBezTo>
                  <a:pt x="14406" y="11437"/>
                  <a:pt x="14375" y="11437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344" y="11406"/>
                  <a:pt x="14344" y="11406"/>
                  <a:pt x="14344" y="11406"/>
                </a:cubicBezTo>
                <a:cubicBezTo>
                  <a:pt x="14437" y="11375"/>
                  <a:pt x="14562" y="11343"/>
                  <a:pt x="14656" y="11312"/>
                </a:cubicBezTo>
                <a:cubicBezTo>
                  <a:pt x="14656" y="11312"/>
                  <a:pt x="14625" y="11312"/>
                  <a:pt x="14625" y="11312"/>
                </a:cubicBezTo>
                <a:cubicBezTo>
                  <a:pt x="14594" y="11281"/>
                  <a:pt x="14594" y="11281"/>
                  <a:pt x="14594" y="11281"/>
                </a:cubicBezTo>
                <a:cubicBezTo>
                  <a:pt x="14562" y="11250"/>
                  <a:pt x="14562" y="11218"/>
                  <a:pt x="14531" y="11218"/>
                </a:cubicBezTo>
                <a:cubicBezTo>
                  <a:pt x="14531" y="11187"/>
                  <a:pt x="14531" y="11187"/>
                  <a:pt x="14531" y="11187"/>
                </a:cubicBezTo>
                <a:cubicBezTo>
                  <a:pt x="14531" y="11156"/>
                  <a:pt x="14562" y="11156"/>
                  <a:pt x="14594" y="11156"/>
                </a:cubicBezTo>
                <a:cubicBezTo>
                  <a:pt x="14594" y="11156"/>
                  <a:pt x="14594" y="11156"/>
                  <a:pt x="14625" y="11156"/>
                </a:cubicBezTo>
                <a:cubicBezTo>
                  <a:pt x="14656" y="11156"/>
                  <a:pt x="14719" y="11125"/>
                  <a:pt x="14750" y="11125"/>
                </a:cubicBezTo>
                <a:cubicBezTo>
                  <a:pt x="14812" y="11125"/>
                  <a:pt x="14844" y="11125"/>
                  <a:pt x="14906" y="11125"/>
                </a:cubicBezTo>
                <a:cubicBezTo>
                  <a:pt x="14969" y="11093"/>
                  <a:pt x="15031" y="11093"/>
                  <a:pt x="15094" y="11062"/>
                </a:cubicBezTo>
                <a:cubicBezTo>
                  <a:pt x="15094" y="11062"/>
                  <a:pt x="15094" y="11062"/>
                  <a:pt x="15094" y="11062"/>
                </a:cubicBezTo>
                <a:cubicBezTo>
                  <a:pt x="14969" y="11062"/>
                  <a:pt x="14906" y="11062"/>
                  <a:pt x="14844" y="11062"/>
                </a:cubicBezTo>
                <a:cubicBezTo>
                  <a:pt x="14844" y="11031"/>
                  <a:pt x="14844" y="11000"/>
                  <a:pt x="14844" y="11000"/>
                </a:cubicBezTo>
                <a:cubicBezTo>
                  <a:pt x="14906" y="11000"/>
                  <a:pt x="14937" y="11000"/>
                  <a:pt x="14969" y="11000"/>
                </a:cubicBezTo>
                <a:cubicBezTo>
                  <a:pt x="14969" y="11000"/>
                  <a:pt x="14969" y="11000"/>
                  <a:pt x="14969" y="11000"/>
                </a:cubicBezTo>
                <a:cubicBezTo>
                  <a:pt x="15000" y="11000"/>
                  <a:pt x="15000" y="11000"/>
                  <a:pt x="15000" y="11000"/>
                </a:cubicBezTo>
                <a:cubicBezTo>
                  <a:pt x="15031" y="11000"/>
                  <a:pt x="15094" y="11000"/>
                  <a:pt x="15125" y="11000"/>
                </a:cubicBezTo>
                <a:cubicBezTo>
                  <a:pt x="15125" y="11000"/>
                  <a:pt x="15156" y="10968"/>
                  <a:pt x="15156" y="10968"/>
                </a:cubicBezTo>
                <a:cubicBezTo>
                  <a:pt x="15219" y="10968"/>
                  <a:pt x="15281" y="10968"/>
                  <a:pt x="15312" y="10937"/>
                </a:cubicBezTo>
                <a:cubicBezTo>
                  <a:pt x="15344" y="10968"/>
                  <a:pt x="15344" y="10968"/>
                  <a:pt x="15344" y="10937"/>
                </a:cubicBezTo>
                <a:cubicBezTo>
                  <a:pt x="15344" y="10937"/>
                  <a:pt x="15344" y="10937"/>
                  <a:pt x="15344" y="10937"/>
                </a:cubicBezTo>
                <a:cubicBezTo>
                  <a:pt x="15344" y="10937"/>
                  <a:pt x="15344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375" y="10937"/>
                  <a:pt x="15375" y="10937"/>
                </a:cubicBezTo>
                <a:cubicBezTo>
                  <a:pt x="15375" y="10937"/>
                  <a:pt x="15406" y="10937"/>
                  <a:pt x="15406" y="10937"/>
                </a:cubicBezTo>
                <a:cubicBezTo>
                  <a:pt x="15406" y="10937"/>
                  <a:pt x="15406" y="10937"/>
                  <a:pt x="15406" y="10937"/>
                </a:cubicBezTo>
                <a:cubicBezTo>
                  <a:pt x="15437" y="10937"/>
                  <a:pt x="15437" y="10968"/>
                  <a:pt x="15437" y="10968"/>
                </a:cubicBezTo>
                <a:cubicBezTo>
                  <a:pt x="15437" y="10968"/>
                  <a:pt x="15437" y="10968"/>
                  <a:pt x="15437" y="10968"/>
                </a:cubicBezTo>
                <a:cubicBezTo>
                  <a:pt x="15437" y="10968"/>
                  <a:pt x="15406" y="10968"/>
                  <a:pt x="15406" y="10968"/>
                </a:cubicBezTo>
                <a:cubicBezTo>
                  <a:pt x="15406" y="10968"/>
                  <a:pt x="15406" y="10968"/>
                  <a:pt x="15406" y="10968"/>
                </a:cubicBezTo>
                <a:cubicBezTo>
                  <a:pt x="15375" y="11000"/>
                  <a:pt x="15375" y="11000"/>
                  <a:pt x="15375" y="11000"/>
                </a:cubicBezTo>
                <a:cubicBezTo>
                  <a:pt x="15312" y="11000"/>
                  <a:pt x="15250" y="11031"/>
                  <a:pt x="15187" y="11062"/>
                </a:cubicBezTo>
                <a:cubicBezTo>
                  <a:pt x="15375" y="11031"/>
                  <a:pt x="15562" y="11031"/>
                  <a:pt x="15719" y="11000"/>
                </a:cubicBezTo>
                <a:cubicBezTo>
                  <a:pt x="15906" y="10968"/>
                  <a:pt x="16094" y="10937"/>
                  <a:pt x="16250" y="10937"/>
                </a:cubicBezTo>
                <a:cubicBezTo>
                  <a:pt x="16281" y="10906"/>
                  <a:pt x="16281" y="10906"/>
                  <a:pt x="16312" y="10906"/>
                </a:cubicBezTo>
                <a:cubicBezTo>
                  <a:pt x="16312" y="10906"/>
                  <a:pt x="16344" y="10906"/>
                  <a:pt x="16344" y="10906"/>
                </a:cubicBezTo>
                <a:cubicBezTo>
                  <a:pt x="16375" y="10906"/>
                  <a:pt x="16375" y="10875"/>
                  <a:pt x="16375" y="10875"/>
                </a:cubicBezTo>
                <a:cubicBezTo>
                  <a:pt x="16375" y="10875"/>
                  <a:pt x="16375" y="10875"/>
                  <a:pt x="16344" y="10875"/>
                </a:cubicBezTo>
                <a:cubicBezTo>
                  <a:pt x="16344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312" y="10843"/>
                  <a:pt x="16312" y="10843"/>
                </a:cubicBezTo>
                <a:cubicBezTo>
                  <a:pt x="16312" y="10843"/>
                  <a:pt x="16281" y="10875"/>
                  <a:pt x="16281" y="10875"/>
                </a:cubicBezTo>
                <a:cubicBezTo>
                  <a:pt x="16250" y="10875"/>
                  <a:pt x="16250" y="10875"/>
                  <a:pt x="16250" y="10875"/>
                </a:cubicBezTo>
                <a:cubicBezTo>
                  <a:pt x="16187" y="10906"/>
                  <a:pt x="16156" y="10906"/>
                  <a:pt x="16094" y="10906"/>
                </a:cubicBezTo>
                <a:cubicBezTo>
                  <a:pt x="16062" y="10906"/>
                  <a:pt x="16062" y="10906"/>
                  <a:pt x="16062" y="10906"/>
                </a:cubicBezTo>
                <a:cubicBezTo>
                  <a:pt x="16031" y="10906"/>
                  <a:pt x="16000" y="10906"/>
                  <a:pt x="15969" y="10906"/>
                </a:cubicBezTo>
                <a:cubicBezTo>
                  <a:pt x="15937" y="10906"/>
                  <a:pt x="15937" y="10906"/>
                  <a:pt x="15937" y="10906"/>
                </a:cubicBezTo>
                <a:cubicBezTo>
                  <a:pt x="15906" y="10906"/>
                  <a:pt x="15906" y="10906"/>
                  <a:pt x="15875" y="10906"/>
                </a:cubicBezTo>
                <a:cubicBezTo>
                  <a:pt x="15875" y="10906"/>
                  <a:pt x="15844" y="10906"/>
                  <a:pt x="15844" y="10906"/>
                </a:cubicBezTo>
                <a:cubicBezTo>
                  <a:pt x="15781" y="10906"/>
                  <a:pt x="15750" y="10906"/>
                  <a:pt x="15687" y="10937"/>
                </a:cubicBezTo>
                <a:cubicBezTo>
                  <a:pt x="15687" y="10937"/>
                  <a:pt x="15687" y="10937"/>
                  <a:pt x="15656" y="10937"/>
                </a:cubicBezTo>
                <a:cubicBezTo>
                  <a:pt x="15656" y="10937"/>
                  <a:pt x="15625" y="10937"/>
                  <a:pt x="15625" y="10906"/>
                </a:cubicBezTo>
                <a:cubicBezTo>
                  <a:pt x="15625" y="10875"/>
                  <a:pt x="15625" y="10875"/>
                  <a:pt x="15625" y="10875"/>
                </a:cubicBezTo>
                <a:cubicBezTo>
                  <a:pt x="15781" y="10843"/>
                  <a:pt x="15969" y="10843"/>
                  <a:pt x="16125" y="10812"/>
                </a:cubicBezTo>
                <a:cubicBezTo>
                  <a:pt x="16156" y="10781"/>
                  <a:pt x="16219" y="10781"/>
                  <a:pt x="16281" y="10781"/>
                </a:cubicBezTo>
                <a:cubicBezTo>
                  <a:pt x="16281" y="10781"/>
                  <a:pt x="16312" y="10781"/>
                  <a:pt x="16312" y="10750"/>
                </a:cubicBezTo>
                <a:cubicBezTo>
                  <a:pt x="16406" y="10750"/>
                  <a:pt x="16469" y="10750"/>
                  <a:pt x="16469" y="10843"/>
                </a:cubicBezTo>
                <a:cubicBezTo>
                  <a:pt x="16500" y="10843"/>
                  <a:pt x="16500" y="10875"/>
                  <a:pt x="16531" y="10875"/>
                </a:cubicBezTo>
                <a:cubicBezTo>
                  <a:pt x="16531" y="10875"/>
                  <a:pt x="16531" y="10875"/>
                  <a:pt x="16531" y="10875"/>
                </a:cubicBezTo>
                <a:cubicBezTo>
                  <a:pt x="16562" y="10875"/>
                  <a:pt x="16562" y="10875"/>
                  <a:pt x="16562" y="10875"/>
                </a:cubicBezTo>
                <a:cubicBezTo>
                  <a:pt x="16594" y="10875"/>
                  <a:pt x="16625" y="10875"/>
                  <a:pt x="16625" y="10875"/>
                </a:cubicBezTo>
                <a:cubicBezTo>
                  <a:pt x="16687" y="10843"/>
                  <a:pt x="16719" y="10843"/>
                  <a:pt x="16750" y="10812"/>
                </a:cubicBezTo>
                <a:cubicBezTo>
                  <a:pt x="16781" y="10812"/>
                  <a:pt x="16781" y="10812"/>
                  <a:pt x="16781" y="10781"/>
                </a:cubicBezTo>
                <a:cubicBezTo>
                  <a:pt x="16781" y="10781"/>
                  <a:pt x="16750" y="10781"/>
                  <a:pt x="16750" y="10781"/>
                </a:cubicBezTo>
                <a:cubicBezTo>
                  <a:pt x="16656" y="10687"/>
                  <a:pt x="16656" y="10656"/>
                  <a:pt x="16750" y="10625"/>
                </a:cubicBezTo>
                <a:cubicBezTo>
                  <a:pt x="16906" y="10562"/>
                  <a:pt x="17062" y="10562"/>
                  <a:pt x="17250" y="10531"/>
                </a:cubicBezTo>
                <a:cubicBezTo>
                  <a:pt x="17406" y="10531"/>
                  <a:pt x="17562" y="10531"/>
                  <a:pt x="17719" y="10531"/>
                </a:cubicBezTo>
                <a:cubicBezTo>
                  <a:pt x="17719" y="10562"/>
                  <a:pt x="17719" y="10593"/>
                  <a:pt x="17719" y="10593"/>
                </a:cubicBezTo>
                <a:cubicBezTo>
                  <a:pt x="17719" y="10593"/>
                  <a:pt x="17719" y="10593"/>
                  <a:pt x="17719" y="10593"/>
                </a:cubicBezTo>
                <a:cubicBezTo>
                  <a:pt x="17687" y="10593"/>
                  <a:pt x="17656" y="10593"/>
                  <a:pt x="17625" y="10593"/>
                </a:cubicBezTo>
                <a:cubicBezTo>
                  <a:pt x="17625" y="10593"/>
                  <a:pt x="17625" y="10593"/>
                  <a:pt x="17594" y="10593"/>
                </a:cubicBezTo>
                <a:cubicBezTo>
                  <a:pt x="17594" y="10593"/>
                  <a:pt x="17594" y="10593"/>
                  <a:pt x="17594" y="10593"/>
                </a:cubicBezTo>
                <a:cubicBezTo>
                  <a:pt x="17562" y="10593"/>
                  <a:pt x="17562" y="10593"/>
                  <a:pt x="17562" y="10593"/>
                </a:cubicBezTo>
                <a:cubicBezTo>
                  <a:pt x="17562" y="10625"/>
                  <a:pt x="17562" y="10625"/>
                  <a:pt x="17531" y="10625"/>
                </a:cubicBezTo>
                <a:cubicBezTo>
                  <a:pt x="17531" y="10625"/>
                  <a:pt x="17531" y="10625"/>
                  <a:pt x="17531" y="10625"/>
                </a:cubicBezTo>
                <a:cubicBezTo>
                  <a:pt x="17531" y="10625"/>
                  <a:pt x="17531" y="10625"/>
                  <a:pt x="17500" y="10625"/>
                </a:cubicBezTo>
                <a:cubicBezTo>
                  <a:pt x="17500" y="10625"/>
                  <a:pt x="17500" y="10625"/>
                  <a:pt x="17500" y="10625"/>
                </a:cubicBezTo>
                <a:cubicBezTo>
                  <a:pt x="17500" y="10625"/>
                  <a:pt x="17500" y="10656"/>
                  <a:pt x="17500" y="10656"/>
                </a:cubicBezTo>
                <a:cubicBezTo>
                  <a:pt x="17500" y="10656"/>
                  <a:pt x="17500" y="10656"/>
                  <a:pt x="17469" y="10656"/>
                </a:cubicBezTo>
                <a:cubicBezTo>
                  <a:pt x="17469" y="10656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69" y="10687"/>
                  <a:pt x="17469" y="10687"/>
                  <a:pt x="17469" y="10687"/>
                </a:cubicBezTo>
                <a:cubicBezTo>
                  <a:pt x="17437" y="10687"/>
                  <a:pt x="17406" y="10687"/>
                  <a:pt x="17406" y="10687"/>
                </a:cubicBezTo>
                <a:cubicBezTo>
                  <a:pt x="17375" y="10687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375" y="10718"/>
                  <a:pt x="17375" y="10718"/>
                  <a:pt x="17375" y="10718"/>
                </a:cubicBezTo>
                <a:cubicBezTo>
                  <a:pt x="17406" y="10718"/>
                  <a:pt x="17406" y="10718"/>
                  <a:pt x="17437" y="10718"/>
                </a:cubicBezTo>
                <a:cubicBezTo>
                  <a:pt x="17500" y="10718"/>
                  <a:pt x="17562" y="10718"/>
                  <a:pt x="17625" y="10718"/>
                </a:cubicBezTo>
                <a:cubicBezTo>
                  <a:pt x="17625" y="10718"/>
                  <a:pt x="17656" y="10718"/>
                  <a:pt x="17656" y="10718"/>
                </a:cubicBezTo>
                <a:cubicBezTo>
                  <a:pt x="17656" y="10718"/>
                  <a:pt x="17687" y="10718"/>
                  <a:pt x="17687" y="10718"/>
                </a:cubicBezTo>
                <a:cubicBezTo>
                  <a:pt x="17719" y="10718"/>
                  <a:pt x="17719" y="10718"/>
                  <a:pt x="17750" y="10718"/>
                </a:cubicBezTo>
                <a:cubicBezTo>
                  <a:pt x="17750" y="10687"/>
                  <a:pt x="17781" y="10687"/>
                  <a:pt x="17812" y="10656"/>
                </a:cubicBezTo>
                <a:cubicBezTo>
                  <a:pt x="17844" y="10656"/>
                  <a:pt x="17875" y="10687"/>
                  <a:pt x="17906" y="10718"/>
                </a:cubicBezTo>
                <a:cubicBezTo>
                  <a:pt x="17906" y="10718"/>
                  <a:pt x="17906" y="10718"/>
                  <a:pt x="17937" y="10718"/>
                </a:cubicBezTo>
                <a:cubicBezTo>
                  <a:pt x="17937" y="10687"/>
                  <a:pt x="17937" y="10687"/>
                  <a:pt x="17937" y="10687"/>
                </a:cubicBezTo>
                <a:cubicBezTo>
                  <a:pt x="17969" y="10687"/>
                  <a:pt x="18000" y="10687"/>
                  <a:pt x="18031" y="10687"/>
                </a:cubicBezTo>
                <a:cubicBezTo>
                  <a:pt x="18062" y="10687"/>
                  <a:pt x="18062" y="10687"/>
                  <a:pt x="18062" y="10687"/>
                </a:cubicBezTo>
                <a:cubicBezTo>
                  <a:pt x="18094" y="10687"/>
                  <a:pt x="18094" y="10687"/>
                  <a:pt x="18094" y="10687"/>
                </a:cubicBezTo>
                <a:cubicBezTo>
                  <a:pt x="18125" y="10687"/>
                  <a:pt x="18125" y="10656"/>
                  <a:pt x="18156" y="10656"/>
                </a:cubicBezTo>
                <a:cubicBezTo>
                  <a:pt x="18156" y="10656"/>
                  <a:pt x="18156" y="10656"/>
                  <a:pt x="18187" y="10656"/>
                </a:cubicBezTo>
                <a:cubicBezTo>
                  <a:pt x="18187" y="10656"/>
                  <a:pt x="18187" y="10656"/>
                  <a:pt x="18187" y="10656"/>
                </a:cubicBezTo>
                <a:cubicBezTo>
                  <a:pt x="18219" y="10656"/>
                  <a:pt x="18219" y="10687"/>
                  <a:pt x="18250" y="10718"/>
                </a:cubicBezTo>
                <a:cubicBezTo>
                  <a:pt x="18250" y="10718"/>
                  <a:pt x="18250" y="10718"/>
                  <a:pt x="18250" y="10718"/>
                </a:cubicBezTo>
                <a:cubicBezTo>
                  <a:pt x="18281" y="10718"/>
                  <a:pt x="18281" y="10718"/>
                  <a:pt x="18281" y="10750"/>
                </a:cubicBezTo>
                <a:cubicBezTo>
                  <a:pt x="18312" y="10781"/>
                  <a:pt x="18281" y="10812"/>
                  <a:pt x="18187" y="10812"/>
                </a:cubicBezTo>
                <a:cubicBezTo>
                  <a:pt x="18125" y="10843"/>
                  <a:pt x="18094" y="10843"/>
                  <a:pt x="18062" y="10843"/>
                </a:cubicBezTo>
                <a:cubicBezTo>
                  <a:pt x="18000" y="10875"/>
                  <a:pt x="17969" y="10906"/>
                  <a:pt x="17937" y="10937"/>
                </a:cubicBezTo>
                <a:cubicBezTo>
                  <a:pt x="18062" y="10968"/>
                  <a:pt x="18125" y="10968"/>
                  <a:pt x="18219" y="10968"/>
                </a:cubicBezTo>
                <a:cubicBezTo>
                  <a:pt x="18250" y="10968"/>
                  <a:pt x="18281" y="10968"/>
                  <a:pt x="18281" y="10968"/>
                </a:cubicBezTo>
                <a:cubicBezTo>
                  <a:pt x="18312" y="10968"/>
                  <a:pt x="18312" y="10968"/>
                  <a:pt x="18312" y="11000"/>
                </a:cubicBezTo>
                <a:cubicBezTo>
                  <a:pt x="18281" y="11031"/>
                  <a:pt x="18250" y="11062"/>
                  <a:pt x="18281" y="11062"/>
                </a:cubicBezTo>
                <a:cubicBezTo>
                  <a:pt x="18281" y="11062"/>
                  <a:pt x="18281" y="11093"/>
                  <a:pt x="18281" y="11093"/>
                </a:cubicBezTo>
                <a:cubicBezTo>
                  <a:pt x="18312" y="11093"/>
                  <a:pt x="18375" y="11093"/>
                  <a:pt x="18406" y="11093"/>
                </a:cubicBezTo>
                <a:cubicBezTo>
                  <a:pt x="18406" y="11093"/>
                  <a:pt x="18437" y="11125"/>
                  <a:pt x="18437" y="11125"/>
                </a:cubicBezTo>
                <a:cubicBezTo>
                  <a:pt x="18562" y="11125"/>
                  <a:pt x="18656" y="11187"/>
                  <a:pt x="18750" y="11218"/>
                </a:cubicBezTo>
                <a:cubicBezTo>
                  <a:pt x="18781" y="11250"/>
                  <a:pt x="18812" y="11250"/>
                  <a:pt x="18844" y="11250"/>
                </a:cubicBezTo>
                <a:cubicBezTo>
                  <a:pt x="18906" y="11281"/>
                  <a:pt x="19000" y="11312"/>
                  <a:pt x="19031" y="11375"/>
                </a:cubicBezTo>
                <a:cubicBezTo>
                  <a:pt x="19031" y="11375"/>
                  <a:pt x="19031" y="11406"/>
                  <a:pt x="19031" y="11406"/>
                </a:cubicBezTo>
                <a:cubicBezTo>
                  <a:pt x="19031" y="11437"/>
                  <a:pt x="19031" y="11468"/>
                  <a:pt x="19062" y="11500"/>
                </a:cubicBezTo>
                <a:cubicBezTo>
                  <a:pt x="19094" y="11593"/>
                  <a:pt x="19187" y="11656"/>
                  <a:pt x="19312" y="11656"/>
                </a:cubicBezTo>
                <a:cubicBezTo>
                  <a:pt x="19375" y="11656"/>
                  <a:pt x="19437" y="11656"/>
                  <a:pt x="19500" y="11656"/>
                </a:cubicBezTo>
                <a:cubicBezTo>
                  <a:pt x="19687" y="11593"/>
                  <a:pt x="19875" y="11562"/>
                  <a:pt x="20062" y="11531"/>
                </a:cubicBezTo>
                <a:cubicBezTo>
                  <a:pt x="20094" y="11531"/>
                  <a:pt x="20125" y="11531"/>
                  <a:pt x="20187" y="11500"/>
                </a:cubicBezTo>
                <a:cubicBezTo>
                  <a:pt x="20312" y="11468"/>
                  <a:pt x="20437" y="11437"/>
                  <a:pt x="20562" y="11375"/>
                </a:cubicBezTo>
                <a:cubicBezTo>
                  <a:pt x="20594" y="11375"/>
                  <a:pt x="20625" y="11375"/>
                  <a:pt x="20625" y="11375"/>
                </a:cubicBezTo>
                <a:cubicBezTo>
                  <a:pt x="20750" y="11312"/>
                  <a:pt x="20906" y="11312"/>
                  <a:pt x="21031" y="11281"/>
                </a:cubicBezTo>
                <a:cubicBezTo>
                  <a:pt x="21094" y="11281"/>
                  <a:pt x="21125" y="11250"/>
                  <a:pt x="21187" y="11218"/>
                </a:cubicBezTo>
                <a:cubicBezTo>
                  <a:pt x="21344" y="11156"/>
                  <a:pt x="21531" y="11062"/>
                  <a:pt x="21719" y="11031"/>
                </a:cubicBezTo>
                <a:cubicBezTo>
                  <a:pt x="21906" y="10968"/>
                  <a:pt x="22094" y="10937"/>
                  <a:pt x="22312" y="10906"/>
                </a:cubicBezTo>
                <a:cubicBezTo>
                  <a:pt x="22406" y="10906"/>
                  <a:pt x="22500" y="10875"/>
                  <a:pt x="22562" y="10875"/>
                </a:cubicBezTo>
                <a:cubicBezTo>
                  <a:pt x="22656" y="10843"/>
                  <a:pt x="22750" y="10843"/>
                  <a:pt x="22844" y="10812"/>
                </a:cubicBezTo>
                <a:cubicBezTo>
                  <a:pt x="22906" y="10812"/>
                  <a:pt x="23000" y="10812"/>
                  <a:pt x="23094" y="10781"/>
                </a:cubicBezTo>
                <a:cubicBezTo>
                  <a:pt x="23187" y="10781"/>
                  <a:pt x="23281" y="10781"/>
                  <a:pt x="23375" y="10781"/>
                </a:cubicBezTo>
                <a:cubicBezTo>
                  <a:pt x="23406" y="10781"/>
                  <a:pt x="23469" y="10781"/>
                  <a:pt x="23500" y="10781"/>
                </a:cubicBezTo>
                <a:cubicBezTo>
                  <a:pt x="23812" y="10750"/>
                  <a:pt x="24062" y="10625"/>
                  <a:pt x="24375" y="10593"/>
                </a:cubicBezTo>
                <a:cubicBezTo>
                  <a:pt x="24500" y="10593"/>
                  <a:pt x="24594" y="10531"/>
                  <a:pt x="24625" y="10500"/>
                </a:cubicBezTo>
                <a:cubicBezTo>
                  <a:pt x="24656" y="10468"/>
                  <a:pt x="24656" y="10437"/>
                  <a:pt x="24687" y="10406"/>
                </a:cubicBezTo>
                <a:cubicBezTo>
                  <a:pt x="24687" y="10406"/>
                  <a:pt x="24656" y="10375"/>
                  <a:pt x="24656" y="10343"/>
                </a:cubicBezTo>
                <a:cubicBezTo>
                  <a:pt x="24625" y="10312"/>
                  <a:pt x="24656" y="10218"/>
                  <a:pt x="24719" y="10156"/>
                </a:cubicBezTo>
                <a:cubicBezTo>
                  <a:pt x="24750" y="10125"/>
                  <a:pt x="24750" y="10125"/>
                  <a:pt x="24781" y="10125"/>
                </a:cubicBezTo>
                <a:cubicBezTo>
                  <a:pt x="24844" y="10125"/>
                  <a:pt x="24906" y="10093"/>
                  <a:pt x="24969" y="10093"/>
                </a:cubicBezTo>
                <a:cubicBezTo>
                  <a:pt x="25062" y="10062"/>
                  <a:pt x="25187" y="10031"/>
                  <a:pt x="25281" y="10000"/>
                </a:cubicBezTo>
                <a:cubicBezTo>
                  <a:pt x="25469" y="9968"/>
                  <a:pt x="25625" y="9937"/>
                  <a:pt x="25812" y="9906"/>
                </a:cubicBezTo>
                <a:cubicBezTo>
                  <a:pt x="25906" y="9875"/>
                  <a:pt x="26031" y="9843"/>
                  <a:pt x="26156" y="9843"/>
                </a:cubicBezTo>
                <a:cubicBezTo>
                  <a:pt x="26250" y="9812"/>
                  <a:pt x="26344" y="9812"/>
                  <a:pt x="26437" y="9781"/>
                </a:cubicBezTo>
                <a:cubicBezTo>
                  <a:pt x="26750" y="9718"/>
                  <a:pt x="27031" y="9687"/>
                  <a:pt x="27344" y="9656"/>
                </a:cubicBezTo>
                <a:cubicBezTo>
                  <a:pt x="27562" y="9625"/>
                  <a:pt x="27781" y="9562"/>
                  <a:pt x="28000" y="9531"/>
                </a:cubicBezTo>
                <a:cubicBezTo>
                  <a:pt x="28156" y="9500"/>
                  <a:pt x="28281" y="9468"/>
                  <a:pt x="28437" y="9468"/>
                </a:cubicBezTo>
                <a:cubicBezTo>
                  <a:pt x="28437" y="9468"/>
                  <a:pt x="28469" y="9500"/>
                  <a:pt x="28469" y="9500"/>
                </a:cubicBezTo>
                <a:cubicBezTo>
                  <a:pt x="28469" y="9500"/>
                  <a:pt x="28469" y="9500"/>
                  <a:pt x="28469" y="9500"/>
                </a:cubicBezTo>
                <a:cubicBezTo>
                  <a:pt x="28469" y="9531"/>
                  <a:pt x="28437" y="9531"/>
                  <a:pt x="28406" y="9531"/>
                </a:cubicBezTo>
                <a:cubicBezTo>
                  <a:pt x="28406" y="9562"/>
                  <a:pt x="28406" y="9562"/>
                  <a:pt x="28375" y="9562"/>
                </a:cubicBezTo>
                <a:cubicBezTo>
                  <a:pt x="28375" y="9562"/>
                  <a:pt x="28375" y="9562"/>
                  <a:pt x="28375" y="9593"/>
                </a:cubicBezTo>
                <a:cubicBezTo>
                  <a:pt x="28344" y="9593"/>
                  <a:pt x="28344" y="9593"/>
                  <a:pt x="28344" y="9593"/>
                </a:cubicBezTo>
                <a:cubicBezTo>
                  <a:pt x="28344" y="9625"/>
                  <a:pt x="28344" y="9625"/>
                  <a:pt x="28344" y="9656"/>
                </a:cubicBezTo>
                <a:cubicBezTo>
                  <a:pt x="28375" y="9687"/>
                  <a:pt x="28406" y="9687"/>
                  <a:pt x="28437" y="9687"/>
                </a:cubicBezTo>
                <a:cubicBezTo>
                  <a:pt x="28437" y="9687"/>
                  <a:pt x="28437" y="9687"/>
                  <a:pt x="28437" y="9687"/>
                </a:cubicBezTo>
                <a:cubicBezTo>
                  <a:pt x="28469" y="9687"/>
                  <a:pt x="28469" y="9687"/>
                  <a:pt x="28469" y="9687"/>
                </a:cubicBezTo>
                <a:cubicBezTo>
                  <a:pt x="28469" y="9687"/>
                  <a:pt x="28500" y="9687"/>
                  <a:pt x="28500" y="9687"/>
                </a:cubicBezTo>
                <a:cubicBezTo>
                  <a:pt x="28500" y="9687"/>
                  <a:pt x="28500" y="9687"/>
                  <a:pt x="28500" y="9687"/>
                </a:cubicBezTo>
                <a:cubicBezTo>
                  <a:pt x="28531" y="9687"/>
                  <a:pt x="28562" y="9687"/>
                  <a:pt x="28562" y="9656"/>
                </a:cubicBezTo>
                <a:cubicBezTo>
                  <a:pt x="28625" y="9656"/>
                  <a:pt x="28687" y="9625"/>
                  <a:pt x="28719" y="9625"/>
                </a:cubicBezTo>
                <a:cubicBezTo>
                  <a:pt x="28750" y="9593"/>
                  <a:pt x="28812" y="9531"/>
                  <a:pt x="28844" y="9500"/>
                </a:cubicBezTo>
                <a:cubicBezTo>
                  <a:pt x="28812" y="9500"/>
                  <a:pt x="28812" y="9500"/>
                  <a:pt x="28781" y="9500"/>
                </a:cubicBezTo>
                <a:cubicBezTo>
                  <a:pt x="28781" y="9468"/>
                  <a:pt x="28750" y="9468"/>
                  <a:pt x="28750" y="9500"/>
                </a:cubicBezTo>
                <a:cubicBezTo>
                  <a:pt x="28719" y="9500"/>
                  <a:pt x="28656" y="9500"/>
                  <a:pt x="28625" y="9468"/>
                </a:cubicBezTo>
                <a:cubicBezTo>
                  <a:pt x="28625" y="9468"/>
                  <a:pt x="28625" y="9437"/>
                  <a:pt x="28625" y="9437"/>
                </a:cubicBezTo>
                <a:cubicBezTo>
                  <a:pt x="28656" y="9406"/>
                  <a:pt x="28750" y="9406"/>
                  <a:pt x="28781" y="9406"/>
                </a:cubicBezTo>
                <a:cubicBezTo>
                  <a:pt x="28844" y="9375"/>
                  <a:pt x="28906" y="9406"/>
                  <a:pt x="28969" y="9375"/>
                </a:cubicBezTo>
                <a:cubicBezTo>
                  <a:pt x="29000" y="9375"/>
                  <a:pt x="29000" y="9375"/>
                  <a:pt x="29031" y="9343"/>
                </a:cubicBezTo>
                <a:cubicBezTo>
                  <a:pt x="29062" y="9343"/>
                  <a:pt x="29125" y="9343"/>
                  <a:pt x="29187" y="9343"/>
                </a:cubicBezTo>
                <a:cubicBezTo>
                  <a:pt x="29219" y="9343"/>
                  <a:pt x="29281" y="9343"/>
                  <a:pt x="29312" y="9343"/>
                </a:cubicBezTo>
                <a:cubicBezTo>
                  <a:pt x="29344" y="9343"/>
                  <a:pt x="29344" y="9343"/>
                  <a:pt x="29344" y="9343"/>
                </a:cubicBezTo>
                <a:cubicBezTo>
                  <a:pt x="29344" y="9343"/>
                  <a:pt x="29344" y="9343"/>
                  <a:pt x="29375" y="9343"/>
                </a:cubicBezTo>
                <a:cubicBezTo>
                  <a:pt x="29375" y="9343"/>
                  <a:pt x="29406" y="9343"/>
                  <a:pt x="29406" y="9343"/>
                </a:cubicBezTo>
                <a:cubicBezTo>
                  <a:pt x="29469" y="9343"/>
                  <a:pt x="29500" y="9343"/>
                  <a:pt x="29531" y="9343"/>
                </a:cubicBezTo>
                <a:cubicBezTo>
                  <a:pt x="29594" y="9343"/>
                  <a:pt x="29656" y="9343"/>
                  <a:pt x="29719" y="9343"/>
                </a:cubicBezTo>
                <a:cubicBezTo>
                  <a:pt x="29781" y="9312"/>
                  <a:pt x="29844" y="9312"/>
                  <a:pt x="29906" y="9312"/>
                </a:cubicBezTo>
                <a:cubicBezTo>
                  <a:pt x="29906" y="9312"/>
                  <a:pt x="29906" y="9312"/>
                  <a:pt x="29906" y="9312"/>
                </a:cubicBezTo>
                <a:cubicBezTo>
                  <a:pt x="29906" y="9312"/>
                  <a:pt x="29937" y="9312"/>
                  <a:pt x="29937" y="9312"/>
                </a:cubicBezTo>
                <a:cubicBezTo>
                  <a:pt x="29969" y="9312"/>
                  <a:pt x="30000" y="9312"/>
                  <a:pt x="30031" y="9312"/>
                </a:cubicBezTo>
                <a:cubicBezTo>
                  <a:pt x="30062" y="9312"/>
                  <a:pt x="30062" y="9281"/>
                  <a:pt x="30094" y="9281"/>
                </a:cubicBezTo>
                <a:cubicBezTo>
                  <a:pt x="30062" y="9250"/>
                  <a:pt x="30031" y="9250"/>
                  <a:pt x="29969" y="9250"/>
                </a:cubicBezTo>
                <a:cubicBezTo>
                  <a:pt x="29969" y="9250"/>
                  <a:pt x="29937" y="9250"/>
                  <a:pt x="29906" y="9250"/>
                </a:cubicBezTo>
                <a:cubicBezTo>
                  <a:pt x="29906" y="9250"/>
                  <a:pt x="29906" y="9250"/>
                  <a:pt x="29906" y="9250"/>
                </a:cubicBezTo>
                <a:cubicBezTo>
                  <a:pt x="29875" y="9250"/>
                  <a:pt x="29812" y="9250"/>
                  <a:pt x="29781" y="9218"/>
                </a:cubicBezTo>
                <a:cubicBezTo>
                  <a:pt x="29812" y="9218"/>
                  <a:pt x="29844" y="9218"/>
                  <a:pt x="29844" y="9218"/>
                </a:cubicBezTo>
                <a:cubicBezTo>
                  <a:pt x="30000" y="9218"/>
                  <a:pt x="30125" y="9156"/>
                  <a:pt x="30250" y="9125"/>
                </a:cubicBezTo>
                <a:cubicBezTo>
                  <a:pt x="30312" y="9093"/>
                  <a:pt x="30344" y="9093"/>
                  <a:pt x="30375" y="9093"/>
                </a:cubicBezTo>
                <a:cubicBezTo>
                  <a:pt x="30406" y="9062"/>
                  <a:pt x="30437" y="9062"/>
                  <a:pt x="30469" y="9062"/>
                </a:cubicBezTo>
                <a:cubicBezTo>
                  <a:pt x="30469" y="9062"/>
                  <a:pt x="30500" y="9062"/>
                  <a:pt x="30500" y="9062"/>
                </a:cubicBezTo>
                <a:cubicBezTo>
                  <a:pt x="30531" y="9062"/>
                  <a:pt x="30531" y="9062"/>
                  <a:pt x="30562" y="9031"/>
                </a:cubicBezTo>
                <a:cubicBezTo>
                  <a:pt x="30562" y="9031"/>
                  <a:pt x="30562" y="9031"/>
                  <a:pt x="30562" y="9031"/>
                </a:cubicBezTo>
                <a:cubicBezTo>
                  <a:pt x="30594" y="9031"/>
                  <a:pt x="30594" y="9031"/>
                  <a:pt x="30594" y="9031"/>
                </a:cubicBezTo>
                <a:cubicBezTo>
                  <a:pt x="30594" y="9031"/>
                  <a:pt x="30625" y="9062"/>
                  <a:pt x="30625" y="9062"/>
                </a:cubicBezTo>
                <a:cubicBezTo>
                  <a:pt x="30625" y="9062"/>
                  <a:pt x="30625" y="9062"/>
                  <a:pt x="30625" y="9062"/>
                </a:cubicBezTo>
                <a:cubicBezTo>
                  <a:pt x="30656" y="9062"/>
                  <a:pt x="30625" y="9093"/>
                  <a:pt x="30594" y="9093"/>
                </a:cubicBezTo>
                <a:cubicBezTo>
                  <a:pt x="30594" y="9093"/>
                  <a:pt x="30594" y="9125"/>
                  <a:pt x="30594" y="9125"/>
                </a:cubicBezTo>
                <a:cubicBezTo>
                  <a:pt x="30531" y="9125"/>
                  <a:pt x="30500" y="9125"/>
                  <a:pt x="30469" y="9125"/>
                </a:cubicBezTo>
                <a:cubicBezTo>
                  <a:pt x="30437" y="9125"/>
                  <a:pt x="30406" y="9125"/>
                  <a:pt x="30375" y="9125"/>
                </a:cubicBezTo>
                <a:cubicBezTo>
                  <a:pt x="30344" y="9125"/>
                  <a:pt x="30281" y="9125"/>
                  <a:pt x="30250" y="9156"/>
                </a:cubicBezTo>
                <a:cubicBezTo>
                  <a:pt x="30375" y="9218"/>
                  <a:pt x="30500" y="9156"/>
                  <a:pt x="30625" y="9156"/>
                </a:cubicBezTo>
                <a:cubicBezTo>
                  <a:pt x="30719" y="9156"/>
                  <a:pt x="30812" y="9156"/>
                  <a:pt x="30906" y="9125"/>
                </a:cubicBezTo>
                <a:cubicBezTo>
                  <a:pt x="30937" y="9156"/>
                  <a:pt x="30969" y="9125"/>
                  <a:pt x="31000" y="9125"/>
                </a:cubicBezTo>
                <a:cubicBezTo>
                  <a:pt x="31031" y="9125"/>
                  <a:pt x="31062" y="9125"/>
                  <a:pt x="31094" y="9093"/>
                </a:cubicBezTo>
                <a:cubicBezTo>
                  <a:pt x="31125" y="9093"/>
                  <a:pt x="31187" y="9062"/>
                  <a:pt x="31219" y="9062"/>
                </a:cubicBezTo>
                <a:cubicBezTo>
                  <a:pt x="31250" y="9062"/>
                  <a:pt x="31250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81" y="9062"/>
                  <a:pt x="31281" y="9062"/>
                  <a:pt x="31281" y="9062"/>
                </a:cubicBezTo>
                <a:cubicBezTo>
                  <a:pt x="31250" y="9062"/>
                  <a:pt x="31250" y="9062"/>
                  <a:pt x="31250" y="9062"/>
                </a:cubicBezTo>
                <a:close/>
                <a:moveTo>
                  <a:pt x="3531" y="9187"/>
                </a:moveTo>
                <a:cubicBezTo>
                  <a:pt x="3500" y="9187"/>
                  <a:pt x="3469" y="9187"/>
                  <a:pt x="3438" y="9187"/>
                </a:cubicBezTo>
                <a:cubicBezTo>
                  <a:pt x="3406" y="9187"/>
                  <a:pt x="3406" y="9187"/>
                  <a:pt x="3375" y="9187"/>
                </a:cubicBezTo>
                <a:cubicBezTo>
                  <a:pt x="3344" y="9187"/>
                  <a:pt x="3344" y="9218"/>
                  <a:pt x="3313" y="9218"/>
                </a:cubicBezTo>
                <a:cubicBezTo>
                  <a:pt x="3313" y="9250"/>
                  <a:pt x="3281" y="9281"/>
                  <a:pt x="3281" y="9312"/>
                </a:cubicBezTo>
                <a:cubicBezTo>
                  <a:pt x="3281" y="9343"/>
                  <a:pt x="3281" y="9343"/>
                  <a:pt x="3281" y="9343"/>
                </a:cubicBezTo>
                <a:cubicBezTo>
                  <a:pt x="3281" y="9375"/>
                  <a:pt x="3281" y="9375"/>
                  <a:pt x="3313" y="9375"/>
                </a:cubicBezTo>
                <a:cubicBezTo>
                  <a:pt x="3313" y="9375"/>
                  <a:pt x="3344" y="9375"/>
                  <a:pt x="3375" y="9375"/>
                </a:cubicBezTo>
                <a:cubicBezTo>
                  <a:pt x="3375" y="9375"/>
                  <a:pt x="3406" y="9375"/>
                  <a:pt x="3406" y="9375"/>
                </a:cubicBezTo>
                <a:cubicBezTo>
                  <a:pt x="3406" y="9375"/>
                  <a:pt x="3438" y="9375"/>
                  <a:pt x="3438" y="9375"/>
                </a:cubicBezTo>
                <a:cubicBezTo>
                  <a:pt x="3438" y="9375"/>
                  <a:pt x="3438" y="9375"/>
                  <a:pt x="3438" y="9375"/>
                </a:cubicBezTo>
                <a:cubicBezTo>
                  <a:pt x="3438" y="9375"/>
                  <a:pt x="3438" y="9343"/>
                  <a:pt x="3438" y="9343"/>
                </a:cubicBezTo>
                <a:cubicBezTo>
                  <a:pt x="3438" y="9312"/>
                  <a:pt x="3438" y="9312"/>
                  <a:pt x="3438" y="9312"/>
                </a:cubicBezTo>
                <a:cubicBezTo>
                  <a:pt x="3438" y="9312"/>
                  <a:pt x="3438" y="9312"/>
                  <a:pt x="3438" y="9281"/>
                </a:cubicBezTo>
                <a:cubicBezTo>
                  <a:pt x="3438" y="9250"/>
                  <a:pt x="3500" y="9218"/>
                  <a:pt x="3531" y="9187"/>
                </a:cubicBezTo>
                <a:close/>
                <a:moveTo>
                  <a:pt x="9719" y="11812"/>
                </a:moveTo>
                <a:cubicBezTo>
                  <a:pt x="9719" y="11812"/>
                  <a:pt x="9719" y="11812"/>
                  <a:pt x="9687" y="11812"/>
                </a:cubicBezTo>
                <a:cubicBezTo>
                  <a:pt x="9625" y="11812"/>
                  <a:pt x="9562" y="11812"/>
                  <a:pt x="9500" y="11875"/>
                </a:cubicBezTo>
                <a:cubicBezTo>
                  <a:pt x="9469" y="11906"/>
                  <a:pt x="9469" y="11937"/>
                  <a:pt x="9500" y="11937"/>
                </a:cubicBezTo>
                <a:cubicBezTo>
                  <a:pt x="9500" y="11937"/>
                  <a:pt x="9500" y="11968"/>
                  <a:pt x="9500" y="11968"/>
                </a:cubicBezTo>
                <a:cubicBezTo>
                  <a:pt x="9531" y="11968"/>
                  <a:pt x="9531" y="11968"/>
                  <a:pt x="9531" y="11968"/>
                </a:cubicBezTo>
                <a:cubicBezTo>
                  <a:pt x="9562" y="11968"/>
                  <a:pt x="9562" y="11968"/>
                  <a:pt x="9562" y="11968"/>
                </a:cubicBezTo>
                <a:cubicBezTo>
                  <a:pt x="9594" y="11968"/>
                  <a:pt x="9594" y="11968"/>
                  <a:pt x="9594" y="11968"/>
                </a:cubicBezTo>
                <a:cubicBezTo>
                  <a:pt x="9594" y="11968"/>
                  <a:pt x="9594" y="11937"/>
                  <a:pt x="9594" y="11937"/>
                </a:cubicBezTo>
                <a:cubicBezTo>
                  <a:pt x="9594" y="11937"/>
                  <a:pt x="9625" y="11906"/>
                  <a:pt x="9625" y="11906"/>
                </a:cubicBezTo>
                <a:cubicBezTo>
                  <a:pt x="9687" y="11875"/>
                  <a:pt x="9812" y="11875"/>
                  <a:pt x="9875" y="11812"/>
                </a:cubicBezTo>
                <a:cubicBezTo>
                  <a:pt x="9844" y="11812"/>
                  <a:pt x="9812" y="11812"/>
                  <a:pt x="9781" y="11812"/>
                </a:cubicBezTo>
                <a:cubicBezTo>
                  <a:pt x="9750" y="11812"/>
                  <a:pt x="9750" y="11812"/>
                  <a:pt x="9719" y="11812"/>
                </a:cubicBezTo>
                <a:close/>
                <a:moveTo>
                  <a:pt x="17437" y="10906"/>
                </a:moveTo>
                <a:cubicBezTo>
                  <a:pt x="17437" y="10906"/>
                  <a:pt x="17406" y="10906"/>
                  <a:pt x="17406" y="10906"/>
                </a:cubicBezTo>
                <a:cubicBezTo>
                  <a:pt x="17250" y="10906"/>
                  <a:pt x="17094" y="10937"/>
                  <a:pt x="16969" y="10968"/>
                </a:cubicBezTo>
                <a:cubicBezTo>
                  <a:pt x="16906" y="11000"/>
                  <a:pt x="16875" y="11000"/>
                  <a:pt x="16812" y="11031"/>
                </a:cubicBezTo>
                <a:cubicBezTo>
                  <a:pt x="16844" y="11031"/>
                  <a:pt x="16875" y="11031"/>
                  <a:pt x="16906" y="11031"/>
                </a:cubicBezTo>
                <a:cubicBezTo>
                  <a:pt x="16937" y="11062"/>
                  <a:pt x="16969" y="11062"/>
                  <a:pt x="16969" y="11062"/>
                </a:cubicBezTo>
                <a:cubicBezTo>
                  <a:pt x="17000" y="11062"/>
                  <a:pt x="17031" y="11062"/>
                  <a:pt x="17031" y="11031"/>
                </a:cubicBezTo>
                <a:cubicBezTo>
                  <a:pt x="17062" y="11031"/>
                  <a:pt x="17062" y="11031"/>
                  <a:pt x="17094" y="11031"/>
                </a:cubicBezTo>
                <a:cubicBezTo>
                  <a:pt x="17094" y="11031"/>
                  <a:pt x="17094" y="11000"/>
                  <a:pt x="17125" y="11000"/>
                </a:cubicBezTo>
                <a:cubicBezTo>
                  <a:pt x="17187" y="11000"/>
                  <a:pt x="17250" y="10968"/>
                  <a:pt x="17312" y="10968"/>
                </a:cubicBezTo>
                <a:cubicBezTo>
                  <a:pt x="17344" y="10968"/>
                  <a:pt x="17375" y="10968"/>
                  <a:pt x="17406" y="10968"/>
                </a:cubicBezTo>
                <a:cubicBezTo>
                  <a:pt x="17406" y="11000"/>
                  <a:pt x="17437" y="11000"/>
                  <a:pt x="17437" y="11000"/>
                </a:cubicBezTo>
                <a:cubicBezTo>
                  <a:pt x="17437" y="11000"/>
                  <a:pt x="17437" y="11000"/>
                  <a:pt x="17469" y="11000"/>
                </a:cubicBezTo>
                <a:cubicBezTo>
                  <a:pt x="17469" y="10968"/>
                  <a:pt x="17500" y="10968"/>
                  <a:pt x="17500" y="10968"/>
                </a:cubicBezTo>
                <a:cubicBezTo>
                  <a:pt x="17500" y="10968"/>
                  <a:pt x="17500" y="10937"/>
                  <a:pt x="17500" y="10937"/>
                </a:cubicBezTo>
                <a:cubicBezTo>
                  <a:pt x="17469" y="10937"/>
                  <a:pt x="17469" y="10906"/>
                  <a:pt x="17437" y="10906"/>
                </a:cubicBezTo>
                <a:close/>
                <a:moveTo>
                  <a:pt x="16125" y="11218"/>
                </a:moveTo>
                <a:cubicBezTo>
                  <a:pt x="16125" y="11218"/>
                  <a:pt x="16156" y="11250"/>
                  <a:pt x="16156" y="11250"/>
                </a:cubicBezTo>
                <a:cubicBezTo>
                  <a:pt x="16156" y="11250"/>
                  <a:pt x="16156" y="11250"/>
                  <a:pt x="16187" y="11250"/>
                </a:cubicBezTo>
                <a:cubicBezTo>
                  <a:pt x="16187" y="11250"/>
                  <a:pt x="16187" y="11250"/>
                  <a:pt x="16187" y="11250"/>
                </a:cubicBezTo>
                <a:cubicBezTo>
                  <a:pt x="16187" y="11250"/>
                  <a:pt x="16187" y="11250"/>
                  <a:pt x="16219" y="11250"/>
                </a:cubicBezTo>
                <a:cubicBezTo>
                  <a:pt x="16219" y="11250"/>
                  <a:pt x="16219" y="11250"/>
                  <a:pt x="16219" y="11250"/>
                </a:cubicBezTo>
                <a:cubicBezTo>
                  <a:pt x="16250" y="11218"/>
                  <a:pt x="16250" y="11218"/>
                  <a:pt x="16250" y="11187"/>
                </a:cubicBezTo>
                <a:cubicBezTo>
                  <a:pt x="16250" y="11187"/>
                  <a:pt x="16250" y="11156"/>
                  <a:pt x="16219" y="11156"/>
                </a:cubicBezTo>
                <a:cubicBezTo>
                  <a:pt x="16219" y="11156"/>
                  <a:pt x="16219" y="11125"/>
                  <a:pt x="16219" y="11125"/>
                </a:cubicBezTo>
                <a:cubicBezTo>
                  <a:pt x="16219" y="11125"/>
                  <a:pt x="16187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56" y="11125"/>
                  <a:pt x="16156" y="11125"/>
                  <a:pt x="16156" y="11125"/>
                </a:cubicBezTo>
                <a:cubicBezTo>
                  <a:pt x="16125" y="11125"/>
                  <a:pt x="16062" y="11125"/>
                  <a:pt x="16031" y="11125"/>
                </a:cubicBezTo>
                <a:cubicBezTo>
                  <a:pt x="16000" y="11125"/>
                  <a:pt x="15937" y="11156"/>
                  <a:pt x="15906" y="11156"/>
                </a:cubicBezTo>
                <a:cubicBezTo>
                  <a:pt x="15906" y="11156"/>
                  <a:pt x="15906" y="11156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5906" y="11187"/>
                  <a:pt x="15906" y="11187"/>
                  <a:pt x="15906" y="11187"/>
                </a:cubicBezTo>
                <a:cubicBezTo>
                  <a:pt x="16031" y="11125"/>
                  <a:pt x="16062" y="11187"/>
                  <a:pt x="16125" y="11218"/>
                </a:cubicBezTo>
                <a:close/>
                <a:moveTo>
                  <a:pt x="16344" y="11375"/>
                </a:moveTo>
                <a:cubicBezTo>
                  <a:pt x="16312" y="11406"/>
                  <a:pt x="16281" y="11406"/>
                  <a:pt x="16250" y="11406"/>
                </a:cubicBezTo>
                <a:cubicBezTo>
                  <a:pt x="16219" y="11406"/>
                  <a:pt x="16187" y="11406"/>
                  <a:pt x="16156" y="11406"/>
                </a:cubicBezTo>
                <a:cubicBezTo>
                  <a:pt x="16094" y="11406"/>
                  <a:pt x="16062" y="11406"/>
                  <a:pt x="16031" y="11406"/>
                </a:cubicBezTo>
                <a:cubicBezTo>
                  <a:pt x="16000" y="11406"/>
                  <a:pt x="16000" y="11437"/>
                  <a:pt x="15969" y="11437"/>
                </a:cubicBezTo>
                <a:cubicBezTo>
                  <a:pt x="15969" y="11437"/>
                  <a:pt x="15969" y="11468"/>
                  <a:pt x="15969" y="11468"/>
                </a:cubicBezTo>
                <a:cubicBezTo>
                  <a:pt x="16000" y="11468"/>
                  <a:pt x="16062" y="11468"/>
                  <a:pt x="16125" y="11468"/>
                </a:cubicBezTo>
                <a:cubicBezTo>
                  <a:pt x="16125" y="11468"/>
                  <a:pt x="16156" y="11468"/>
                  <a:pt x="16156" y="11468"/>
                </a:cubicBezTo>
                <a:cubicBezTo>
                  <a:pt x="16187" y="11468"/>
                  <a:pt x="16219" y="11468"/>
                  <a:pt x="16250" y="11468"/>
                </a:cubicBezTo>
                <a:cubicBezTo>
                  <a:pt x="16250" y="11468"/>
                  <a:pt x="16250" y="11468"/>
                  <a:pt x="16281" y="11468"/>
                </a:cubicBezTo>
                <a:cubicBezTo>
                  <a:pt x="16281" y="11437"/>
                  <a:pt x="16312" y="11437"/>
                  <a:pt x="16344" y="11375"/>
                </a:cubicBezTo>
                <a:cubicBezTo>
                  <a:pt x="16344" y="11375"/>
                  <a:pt x="16344" y="11375"/>
                  <a:pt x="16344" y="11375"/>
                </a:cubicBezTo>
                <a:close/>
                <a:moveTo>
                  <a:pt x="26500" y="843"/>
                </a:moveTo>
                <a:cubicBezTo>
                  <a:pt x="26500" y="843"/>
                  <a:pt x="26531" y="843"/>
                  <a:pt x="26531" y="812"/>
                </a:cubicBezTo>
                <a:cubicBezTo>
                  <a:pt x="26562" y="812"/>
                  <a:pt x="26562" y="812"/>
                  <a:pt x="26562" y="812"/>
                </a:cubicBezTo>
                <a:cubicBezTo>
                  <a:pt x="26562" y="812"/>
                  <a:pt x="26594" y="812"/>
                  <a:pt x="26594" y="812"/>
                </a:cubicBezTo>
                <a:cubicBezTo>
                  <a:pt x="26594" y="781"/>
                  <a:pt x="26562" y="781"/>
                  <a:pt x="26562" y="781"/>
                </a:cubicBezTo>
                <a:cubicBezTo>
                  <a:pt x="26562" y="781"/>
                  <a:pt x="26562" y="781"/>
                  <a:pt x="26562" y="781"/>
                </a:cubicBezTo>
                <a:cubicBezTo>
                  <a:pt x="26531" y="781"/>
                  <a:pt x="26531" y="781"/>
                  <a:pt x="26531" y="781"/>
                </a:cubicBezTo>
                <a:cubicBezTo>
                  <a:pt x="26500" y="781"/>
                  <a:pt x="26469" y="781"/>
                  <a:pt x="26469" y="812"/>
                </a:cubicBezTo>
                <a:cubicBezTo>
                  <a:pt x="26469" y="812"/>
                  <a:pt x="26469" y="812"/>
                  <a:pt x="26469" y="812"/>
                </a:cubicBezTo>
                <a:cubicBezTo>
                  <a:pt x="26500" y="843"/>
                  <a:pt x="26500" y="843"/>
                  <a:pt x="26500" y="843"/>
                </a:cubicBezTo>
                <a:close/>
                <a:moveTo>
                  <a:pt x="4781" y="9718"/>
                </a:moveTo>
                <a:cubicBezTo>
                  <a:pt x="4781" y="9718"/>
                  <a:pt x="4781" y="9718"/>
                  <a:pt x="4813" y="9718"/>
                </a:cubicBezTo>
                <a:cubicBezTo>
                  <a:pt x="4813" y="9718"/>
                  <a:pt x="4813" y="9718"/>
                  <a:pt x="4844" y="9718"/>
                </a:cubicBezTo>
                <a:cubicBezTo>
                  <a:pt x="4875" y="9718"/>
                  <a:pt x="4906" y="9718"/>
                  <a:pt x="4969" y="9687"/>
                </a:cubicBezTo>
                <a:cubicBezTo>
                  <a:pt x="4969" y="9687"/>
                  <a:pt x="5000" y="9687"/>
                  <a:pt x="5031" y="9687"/>
                </a:cubicBezTo>
                <a:cubicBezTo>
                  <a:pt x="5031" y="9687"/>
                  <a:pt x="5031" y="9656"/>
                  <a:pt x="5063" y="9656"/>
                </a:cubicBezTo>
                <a:cubicBezTo>
                  <a:pt x="5094" y="9656"/>
                  <a:pt x="5125" y="9625"/>
                  <a:pt x="5156" y="9625"/>
                </a:cubicBezTo>
                <a:cubicBezTo>
                  <a:pt x="5094" y="9625"/>
                  <a:pt x="5000" y="9593"/>
                  <a:pt x="4938" y="9593"/>
                </a:cubicBezTo>
                <a:cubicBezTo>
                  <a:pt x="4906" y="9593"/>
                  <a:pt x="4875" y="9593"/>
                  <a:pt x="4844" y="9562"/>
                </a:cubicBezTo>
                <a:cubicBezTo>
                  <a:pt x="4813" y="9562"/>
                  <a:pt x="4781" y="9562"/>
                  <a:pt x="4750" y="9562"/>
                </a:cubicBezTo>
                <a:cubicBezTo>
                  <a:pt x="4750" y="9562"/>
                  <a:pt x="4719" y="9562"/>
                  <a:pt x="4719" y="9562"/>
                </a:cubicBezTo>
                <a:cubicBezTo>
                  <a:pt x="4688" y="9531"/>
                  <a:pt x="4656" y="9531"/>
                  <a:pt x="4656" y="9500"/>
                </a:cubicBezTo>
                <a:cubicBezTo>
                  <a:pt x="4656" y="9468"/>
                  <a:pt x="4688" y="9468"/>
                  <a:pt x="4719" y="9468"/>
                </a:cubicBezTo>
                <a:cubicBezTo>
                  <a:pt x="4719" y="9468"/>
                  <a:pt x="4719" y="9468"/>
                  <a:pt x="4719" y="9468"/>
                </a:cubicBezTo>
                <a:cubicBezTo>
                  <a:pt x="4719" y="9468"/>
                  <a:pt x="4719" y="9468"/>
                  <a:pt x="4750" y="9468"/>
                </a:cubicBezTo>
                <a:cubicBezTo>
                  <a:pt x="4750" y="9468"/>
                  <a:pt x="4750" y="9468"/>
                  <a:pt x="4750" y="9468"/>
                </a:cubicBezTo>
                <a:cubicBezTo>
                  <a:pt x="4813" y="9437"/>
                  <a:pt x="4813" y="9406"/>
                  <a:pt x="4750" y="9406"/>
                </a:cubicBezTo>
                <a:cubicBezTo>
                  <a:pt x="4531" y="9375"/>
                  <a:pt x="4375" y="9218"/>
                  <a:pt x="4094" y="9343"/>
                </a:cubicBezTo>
                <a:cubicBezTo>
                  <a:pt x="4156" y="9375"/>
                  <a:pt x="4219" y="9437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50" y="9500"/>
                  <a:pt x="4250" y="9500"/>
                  <a:pt x="4250" y="9500"/>
                </a:cubicBezTo>
                <a:cubicBezTo>
                  <a:pt x="4219" y="9531"/>
                  <a:pt x="4156" y="9562"/>
                  <a:pt x="4125" y="9593"/>
                </a:cubicBezTo>
                <a:cubicBezTo>
                  <a:pt x="4125" y="9593"/>
                  <a:pt x="4094" y="9625"/>
                  <a:pt x="4094" y="9625"/>
                </a:cubicBezTo>
                <a:cubicBezTo>
                  <a:pt x="4094" y="9625"/>
                  <a:pt x="4094" y="9625"/>
                  <a:pt x="4094" y="9656"/>
                </a:cubicBezTo>
                <a:cubicBezTo>
                  <a:pt x="4094" y="9656"/>
                  <a:pt x="4094" y="9656"/>
                  <a:pt x="4094" y="9656"/>
                </a:cubicBezTo>
                <a:cubicBezTo>
                  <a:pt x="4094" y="9687"/>
                  <a:pt x="4094" y="9687"/>
                  <a:pt x="4094" y="9687"/>
                </a:cubicBezTo>
                <a:cubicBezTo>
                  <a:pt x="4063" y="9718"/>
                  <a:pt x="4063" y="9718"/>
                  <a:pt x="4000" y="9718"/>
                </a:cubicBezTo>
                <a:cubicBezTo>
                  <a:pt x="4000" y="9718"/>
                  <a:pt x="4000" y="9718"/>
                  <a:pt x="3969" y="9718"/>
                </a:cubicBezTo>
                <a:cubicBezTo>
                  <a:pt x="3938" y="9718"/>
                  <a:pt x="3906" y="9687"/>
                  <a:pt x="3875" y="9687"/>
                </a:cubicBezTo>
                <a:cubicBezTo>
                  <a:pt x="3875" y="9687"/>
                  <a:pt x="3844" y="9687"/>
                  <a:pt x="3844" y="9718"/>
                </a:cubicBezTo>
                <a:cubicBezTo>
                  <a:pt x="3844" y="9718"/>
                  <a:pt x="3844" y="9718"/>
                  <a:pt x="3844" y="9718"/>
                </a:cubicBezTo>
                <a:cubicBezTo>
                  <a:pt x="3813" y="9750"/>
                  <a:pt x="3813" y="9781"/>
                  <a:pt x="3844" y="9781"/>
                </a:cubicBezTo>
                <a:cubicBezTo>
                  <a:pt x="3875" y="9812"/>
                  <a:pt x="3906" y="9812"/>
                  <a:pt x="3969" y="9843"/>
                </a:cubicBezTo>
                <a:cubicBezTo>
                  <a:pt x="4000" y="9843"/>
                  <a:pt x="4031" y="9843"/>
                  <a:pt x="4031" y="9843"/>
                </a:cubicBezTo>
                <a:cubicBezTo>
                  <a:pt x="4063" y="9843"/>
                  <a:pt x="4094" y="9843"/>
                  <a:pt x="4094" y="9812"/>
                </a:cubicBezTo>
                <a:cubicBezTo>
                  <a:pt x="4125" y="9812"/>
                  <a:pt x="4156" y="9781"/>
                  <a:pt x="4156" y="9781"/>
                </a:cubicBezTo>
                <a:cubicBezTo>
                  <a:pt x="4156" y="9750"/>
                  <a:pt x="4156" y="9750"/>
                  <a:pt x="4188" y="9750"/>
                </a:cubicBezTo>
                <a:cubicBezTo>
                  <a:pt x="4188" y="9718"/>
                  <a:pt x="4188" y="9718"/>
                  <a:pt x="4188" y="9718"/>
                </a:cubicBezTo>
                <a:cubicBezTo>
                  <a:pt x="4188" y="9718"/>
                  <a:pt x="4219" y="9687"/>
                  <a:pt x="4219" y="9687"/>
                </a:cubicBezTo>
                <a:cubicBezTo>
                  <a:pt x="4250" y="9687"/>
                  <a:pt x="4313" y="9687"/>
                  <a:pt x="4344" y="9687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44" y="9718"/>
                  <a:pt x="4344" y="9718"/>
                  <a:pt x="4344" y="9718"/>
                </a:cubicBezTo>
                <a:cubicBezTo>
                  <a:pt x="4375" y="9718"/>
                  <a:pt x="4375" y="9750"/>
                  <a:pt x="4375" y="9750"/>
                </a:cubicBezTo>
                <a:cubicBezTo>
                  <a:pt x="4406" y="9750"/>
                  <a:pt x="4406" y="9750"/>
                  <a:pt x="4438" y="9750"/>
                </a:cubicBezTo>
                <a:cubicBezTo>
                  <a:pt x="4469" y="9718"/>
                  <a:pt x="4500" y="9687"/>
                  <a:pt x="4531" y="9687"/>
                </a:cubicBezTo>
                <a:cubicBezTo>
                  <a:pt x="4531" y="9656"/>
                  <a:pt x="4563" y="9656"/>
                  <a:pt x="4563" y="9656"/>
                </a:cubicBezTo>
                <a:cubicBezTo>
                  <a:pt x="4594" y="9656"/>
                  <a:pt x="4594" y="9656"/>
                  <a:pt x="4625" y="9687"/>
                </a:cubicBezTo>
                <a:cubicBezTo>
                  <a:pt x="4656" y="9687"/>
                  <a:pt x="4656" y="9687"/>
                  <a:pt x="4656" y="9687"/>
                </a:cubicBezTo>
                <a:cubicBezTo>
                  <a:pt x="4688" y="9718"/>
                  <a:pt x="4719" y="9718"/>
                  <a:pt x="4750" y="9718"/>
                </a:cubicBezTo>
                <a:cubicBezTo>
                  <a:pt x="4750" y="9718"/>
                  <a:pt x="4750" y="9718"/>
                  <a:pt x="4781" y="9718"/>
                </a:cubicBezTo>
                <a:close/>
                <a:moveTo>
                  <a:pt x="17469" y="843"/>
                </a:moveTo>
                <a:cubicBezTo>
                  <a:pt x="17469" y="843"/>
                  <a:pt x="17437" y="875"/>
                  <a:pt x="17437" y="875"/>
                </a:cubicBezTo>
                <a:cubicBezTo>
                  <a:pt x="17437" y="875"/>
                  <a:pt x="17406" y="875"/>
                  <a:pt x="17406" y="875"/>
                </a:cubicBezTo>
                <a:cubicBezTo>
                  <a:pt x="17406" y="875"/>
                  <a:pt x="17406" y="875"/>
                  <a:pt x="17406" y="906"/>
                </a:cubicBezTo>
                <a:cubicBezTo>
                  <a:pt x="17406" y="906"/>
                  <a:pt x="17437" y="906"/>
                  <a:pt x="17469" y="906"/>
                </a:cubicBezTo>
                <a:cubicBezTo>
                  <a:pt x="17469" y="906"/>
                  <a:pt x="17469" y="906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ubicBezTo>
                  <a:pt x="17531" y="875"/>
                  <a:pt x="17531" y="843"/>
                  <a:pt x="17500" y="843"/>
                </a:cubicBezTo>
                <a:cubicBezTo>
                  <a:pt x="17500" y="843"/>
                  <a:pt x="17500" y="843"/>
                  <a:pt x="17469" y="843"/>
                </a:cubicBezTo>
                <a:close/>
                <a:moveTo>
                  <a:pt x="29812" y="7093"/>
                </a:moveTo>
                <a:cubicBezTo>
                  <a:pt x="29875" y="7062"/>
                  <a:pt x="29937" y="7031"/>
                  <a:pt x="30000" y="7000"/>
                </a:cubicBezTo>
                <a:cubicBezTo>
                  <a:pt x="30000" y="7000"/>
                  <a:pt x="30031" y="7000"/>
                  <a:pt x="30031" y="6968"/>
                </a:cubicBezTo>
                <a:cubicBezTo>
                  <a:pt x="30062" y="6968"/>
                  <a:pt x="30125" y="6968"/>
                  <a:pt x="30187" y="7000"/>
                </a:cubicBezTo>
                <a:cubicBezTo>
                  <a:pt x="30125" y="6968"/>
                  <a:pt x="30094" y="6906"/>
                  <a:pt x="30031" y="6906"/>
                </a:cubicBezTo>
                <a:cubicBezTo>
                  <a:pt x="30000" y="6875"/>
                  <a:pt x="30000" y="6875"/>
                  <a:pt x="29969" y="6875"/>
                </a:cubicBezTo>
                <a:cubicBezTo>
                  <a:pt x="29937" y="6875"/>
                  <a:pt x="29937" y="6875"/>
                  <a:pt x="29906" y="6875"/>
                </a:cubicBezTo>
                <a:cubicBezTo>
                  <a:pt x="29875" y="6906"/>
                  <a:pt x="29844" y="6906"/>
                  <a:pt x="29844" y="6937"/>
                </a:cubicBezTo>
                <a:cubicBezTo>
                  <a:pt x="29812" y="6968"/>
                  <a:pt x="29812" y="7031"/>
                  <a:pt x="29781" y="7062"/>
                </a:cubicBezTo>
                <a:cubicBezTo>
                  <a:pt x="29781" y="7062"/>
                  <a:pt x="29781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50" y="7093"/>
                  <a:pt x="29750" y="7093"/>
                  <a:pt x="29750" y="7093"/>
                </a:cubicBezTo>
                <a:cubicBezTo>
                  <a:pt x="29781" y="7093"/>
                  <a:pt x="29812" y="7093"/>
                  <a:pt x="29812" y="7093"/>
                </a:cubicBezTo>
                <a:close/>
                <a:moveTo>
                  <a:pt x="28687" y="3156"/>
                </a:moveTo>
                <a:cubicBezTo>
                  <a:pt x="28719" y="3156"/>
                  <a:pt x="28750" y="3156"/>
                  <a:pt x="28781" y="3156"/>
                </a:cubicBezTo>
                <a:cubicBezTo>
                  <a:pt x="28844" y="3156"/>
                  <a:pt x="28875" y="3125"/>
                  <a:pt x="28906" y="3125"/>
                </a:cubicBezTo>
                <a:cubicBezTo>
                  <a:pt x="28969" y="3093"/>
                  <a:pt x="29031" y="3062"/>
                  <a:pt x="29125" y="3062"/>
                </a:cubicBezTo>
                <a:cubicBezTo>
                  <a:pt x="29062" y="3031"/>
                  <a:pt x="29031" y="3031"/>
                  <a:pt x="29000" y="3031"/>
                </a:cubicBezTo>
                <a:cubicBezTo>
                  <a:pt x="28969" y="3031"/>
                  <a:pt x="28969" y="3031"/>
                  <a:pt x="28969" y="3031"/>
                </a:cubicBezTo>
                <a:cubicBezTo>
                  <a:pt x="28937" y="3031"/>
                  <a:pt x="28906" y="3031"/>
                  <a:pt x="28906" y="3031"/>
                </a:cubicBezTo>
                <a:cubicBezTo>
                  <a:pt x="28875" y="3031"/>
                  <a:pt x="28844" y="3031"/>
                  <a:pt x="28812" y="3062"/>
                </a:cubicBezTo>
                <a:cubicBezTo>
                  <a:pt x="28781" y="3062"/>
                  <a:pt x="28750" y="3093"/>
                  <a:pt x="28719" y="3125"/>
                </a:cubicBezTo>
                <a:cubicBezTo>
                  <a:pt x="28687" y="3125"/>
                  <a:pt x="28687" y="3156"/>
                  <a:pt x="28687" y="3156"/>
                </a:cubicBezTo>
                <a:close/>
                <a:moveTo>
                  <a:pt x="5000" y="9343"/>
                </a:moveTo>
                <a:cubicBezTo>
                  <a:pt x="5000" y="9343"/>
                  <a:pt x="5000" y="9343"/>
                  <a:pt x="5000" y="9343"/>
                </a:cubicBezTo>
                <a:cubicBezTo>
                  <a:pt x="5000" y="9343"/>
                  <a:pt x="5000" y="9343"/>
                  <a:pt x="5000" y="9343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5000" y="9312"/>
                  <a:pt x="5000" y="9312"/>
                </a:cubicBezTo>
                <a:cubicBezTo>
                  <a:pt x="5000" y="9312"/>
                  <a:pt x="4969" y="9312"/>
                  <a:pt x="4969" y="9343"/>
                </a:cubicBezTo>
                <a:cubicBezTo>
                  <a:pt x="4969" y="9343"/>
                  <a:pt x="5000" y="9343"/>
                  <a:pt x="5000" y="9343"/>
                </a:cubicBezTo>
                <a:close/>
                <a:moveTo>
                  <a:pt x="29531" y="9750"/>
                </a:moveTo>
                <a:cubicBezTo>
                  <a:pt x="29500" y="9750"/>
                  <a:pt x="29500" y="9750"/>
                  <a:pt x="29500" y="9750"/>
                </a:cubicBezTo>
                <a:cubicBezTo>
                  <a:pt x="29406" y="9781"/>
                  <a:pt x="29312" y="9781"/>
                  <a:pt x="29281" y="9875"/>
                </a:cubicBezTo>
                <a:cubicBezTo>
                  <a:pt x="29344" y="9843"/>
                  <a:pt x="29406" y="9843"/>
                  <a:pt x="29469" y="9812"/>
                </a:cubicBezTo>
                <a:cubicBezTo>
                  <a:pt x="29500" y="9812"/>
                  <a:pt x="29500" y="9781"/>
                  <a:pt x="29531" y="9750"/>
                </a:cubicBezTo>
                <a:cubicBezTo>
                  <a:pt x="29531" y="9750"/>
                  <a:pt x="29531" y="9750"/>
                  <a:pt x="29531" y="9750"/>
                </a:cubicBezTo>
                <a:close/>
                <a:moveTo>
                  <a:pt x="29687" y="9531"/>
                </a:moveTo>
                <a:cubicBezTo>
                  <a:pt x="29687" y="9531"/>
                  <a:pt x="29687" y="9531"/>
                  <a:pt x="29687" y="9531"/>
                </a:cubicBezTo>
                <a:cubicBezTo>
                  <a:pt x="29687" y="9531"/>
                  <a:pt x="29687" y="9531"/>
                  <a:pt x="29687" y="9531"/>
                </a:cubicBezTo>
                <a:cubicBezTo>
                  <a:pt x="29656" y="9531"/>
                  <a:pt x="29656" y="9531"/>
                  <a:pt x="29656" y="9531"/>
                </a:cubicBezTo>
                <a:cubicBezTo>
                  <a:pt x="29625" y="9531"/>
                  <a:pt x="29625" y="9531"/>
                  <a:pt x="29625" y="9531"/>
                </a:cubicBezTo>
                <a:cubicBezTo>
                  <a:pt x="29594" y="9562"/>
                  <a:pt x="29594" y="9562"/>
                  <a:pt x="29625" y="9593"/>
                </a:cubicBezTo>
                <a:cubicBezTo>
                  <a:pt x="29625" y="9593"/>
                  <a:pt x="29625" y="9593"/>
                  <a:pt x="29625" y="9593"/>
                </a:cubicBezTo>
                <a:cubicBezTo>
                  <a:pt x="29625" y="9625"/>
                  <a:pt x="29625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687" y="9625"/>
                  <a:pt x="29687" y="9625"/>
                  <a:pt x="29687" y="9625"/>
                </a:cubicBezTo>
                <a:cubicBezTo>
                  <a:pt x="29719" y="9625"/>
                  <a:pt x="29750" y="9593"/>
                  <a:pt x="29750" y="9562"/>
                </a:cubicBezTo>
                <a:cubicBezTo>
                  <a:pt x="29750" y="9562"/>
                  <a:pt x="29750" y="9562"/>
                  <a:pt x="29750" y="9531"/>
                </a:cubicBezTo>
                <a:cubicBezTo>
                  <a:pt x="29719" y="9531"/>
                  <a:pt x="29719" y="9531"/>
                  <a:pt x="29687" y="9531"/>
                </a:cubicBezTo>
                <a:close/>
                <a:moveTo>
                  <a:pt x="29125" y="10093"/>
                </a:moveTo>
                <a:cubicBezTo>
                  <a:pt x="29094" y="10093"/>
                  <a:pt x="29062" y="10093"/>
                  <a:pt x="29031" y="10125"/>
                </a:cubicBezTo>
                <a:cubicBezTo>
                  <a:pt x="28969" y="10125"/>
                  <a:pt x="28937" y="10125"/>
                  <a:pt x="28844" y="10156"/>
                </a:cubicBezTo>
                <a:cubicBezTo>
                  <a:pt x="28875" y="10156"/>
                  <a:pt x="28906" y="10156"/>
                  <a:pt x="28906" y="10156"/>
                </a:cubicBezTo>
                <a:cubicBezTo>
                  <a:pt x="29000" y="10187"/>
                  <a:pt x="29062" y="10187"/>
                  <a:pt x="29125" y="10125"/>
                </a:cubicBezTo>
                <a:cubicBezTo>
                  <a:pt x="29125" y="10125"/>
                  <a:pt x="29125" y="10093"/>
                  <a:pt x="29125" y="10093"/>
                </a:cubicBezTo>
                <a:cubicBezTo>
                  <a:pt x="29125" y="10093"/>
                  <a:pt x="29125" y="10093"/>
                  <a:pt x="29125" y="10093"/>
                </a:cubicBezTo>
                <a:close/>
                <a:moveTo>
                  <a:pt x="30219" y="9250"/>
                </a:moveTo>
                <a:cubicBezTo>
                  <a:pt x="30187" y="9250"/>
                  <a:pt x="30156" y="9250"/>
                  <a:pt x="30125" y="9281"/>
                </a:cubicBezTo>
                <a:cubicBezTo>
                  <a:pt x="30156" y="9281"/>
                  <a:pt x="30187" y="9312"/>
                  <a:pt x="30219" y="9312"/>
                </a:cubicBezTo>
                <a:cubicBezTo>
                  <a:pt x="30250" y="9312"/>
                  <a:pt x="30281" y="9312"/>
                  <a:pt x="30281" y="9312"/>
                </a:cubicBezTo>
                <a:cubicBezTo>
                  <a:pt x="30312" y="9312"/>
                  <a:pt x="30344" y="9281"/>
                  <a:pt x="30375" y="9281"/>
                </a:cubicBezTo>
                <a:cubicBezTo>
                  <a:pt x="30344" y="9281"/>
                  <a:pt x="30344" y="9281"/>
                  <a:pt x="30344" y="9281"/>
                </a:cubicBezTo>
                <a:cubicBezTo>
                  <a:pt x="30281" y="9281"/>
                  <a:pt x="30250" y="9250"/>
                  <a:pt x="30219" y="9250"/>
                </a:cubicBezTo>
                <a:close/>
                <a:moveTo>
                  <a:pt x="31000" y="9250"/>
                </a:moveTo>
                <a:cubicBezTo>
                  <a:pt x="31000" y="9250"/>
                  <a:pt x="31000" y="9218"/>
                  <a:pt x="30969" y="9218"/>
                </a:cubicBezTo>
                <a:cubicBezTo>
                  <a:pt x="30969" y="9218"/>
                  <a:pt x="30969" y="9218"/>
                  <a:pt x="30937" y="9218"/>
                </a:cubicBezTo>
                <a:cubicBezTo>
                  <a:pt x="30937" y="9250"/>
                  <a:pt x="30937" y="9250"/>
                  <a:pt x="30906" y="9250"/>
                </a:cubicBezTo>
                <a:cubicBezTo>
                  <a:pt x="30875" y="9218"/>
                  <a:pt x="30844" y="9218"/>
                  <a:pt x="30781" y="9218"/>
                </a:cubicBezTo>
                <a:cubicBezTo>
                  <a:pt x="30750" y="9218"/>
                  <a:pt x="30719" y="9218"/>
                  <a:pt x="30656" y="9250"/>
                </a:cubicBezTo>
                <a:cubicBezTo>
                  <a:pt x="30656" y="9250"/>
                  <a:pt x="30656" y="9250"/>
                  <a:pt x="30625" y="9250"/>
                </a:cubicBezTo>
                <a:cubicBezTo>
                  <a:pt x="30625" y="9250"/>
                  <a:pt x="30594" y="9250"/>
                  <a:pt x="30594" y="9250"/>
                </a:cubicBezTo>
                <a:cubicBezTo>
                  <a:pt x="30594" y="9250"/>
                  <a:pt x="30562" y="9250"/>
                  <a:pt x="30562" y="9250"/>
                </a:cubicBezTo>
                <a:cubicBezTo>
                  <a:pt x="30562" y="9250"/>
                  <a:pt x="30531" y="9250"/>
                  <a:pt x="30531" y="9250"/>
                </a:cubicBezTo>
                <a:cubicBezTo>
                  <a:pt x="30500" y="9250"/>
                  <a:pt x="30500" y="9281"/>
                  <a:pt x="30469" y="9281"/>
                </a:cubicBezTo>
                <a:cubicBezTo>
                  <a:pt x="30500" y="9281"/>
                  <a:pt x="30500" y="9312"/>
                  <a:pt x="30531" y="9312"/>
                </a:cubicBezTo>
                <a:cubicBezTo>
                  <a:pt x="30531" y="9312"/>
                  <a:pt x="30531" y="9312"/>
                  <a:pt x="30562" y="9312"/>
                </a:cubicBezTo>
                <a:cubicBezTo>
                  <a:pt x="30562" y="9312"/>
                  <a:pt x="30594" y="9312"/>
                  <a:pt x="30594" y="9312"/>
                </a:cubicBezTo>
                <a:cubicBezTo>
                  <a:pt x="30625" y="9312"/>
                  <a:pt x="30625" y="9312"/>
                  <a:pt x="30625" y="9312"/>
                </a:cubicBezTo>
                <a:cubicBezTo>
                  <a:pt x="30750" y="9312"/>
                  <a:pt x="30844" y="9312"/>
                  <a:pt x="30937" y="9312"/>
                </a:cubicBezTo>
                <a:cubicBezTo>
                  <a:pt x="30969" y="9312"/>
                  <a:pt x="31000" y="9312"/>
                  <a:pt x="31000" y="9281"/>
                </a:cubicBezTo>
                <a:cubicBezTo>
                  <a:pt x="31031" y="9281"/>
                  <a:pt x="31031" y="9281"/>
                  <a:pt x="31031" y="9250"/>
                </a:cubicBezTo>
                <a:cubicBezTo>
                  <a:pt x="31031" y="9250"/>
                  <a:pt x="31031" y="9250"/>
                  <a:pt x="31000" y="9250"/>
                </a:cubicBezTo>
                <a:close/>
                <a:moveTo>
                  <a:pt x="10781" y="11906"/>
                </a:moveTo>
                <a:cubicBezTo>
                  <a:pt x="10781" y="11906"/>
                  <a:pt x="10781" y="11906"/>
                  <a:pt x="10812" y="11906"/>
                </a:cubicBezTo>
                <a:cubicBezTo>
                  <a:pt x="10812" y="11906"/>
                  <a:pt x="10812" y="11906"/>
                  <a:pt x="10812" y="11906"/>
                </a:cubicBezTo>
                <a:cubicBezTo>
                  <a:pt x="10812" y="11875"/>
                  <a:pt x="10812" y="11875"/>
                  <a:pt x="10781" y="11875"/>
                </a:cubicBezTo>
                <a:cubicBezTo>
                  <a:pt x="10781" y="11875"/>
                  <a:pt x="10781" y="11875"/>
                  <a:pt x="10781" y="11875"/>
                </a:cubicBezTo>
                <a:cubicBezTo>
                  <a:pt x="10781" y="11875"/>
                  <a:pt x="10750" y="11875"/>
                  <a:pt x="10750" y="11875"/>
                </a:cubicBezTo>
                <a:cubicBezTo>
                  <a:pt x="10750" y="11875"/>
                  <a:pt x="10750" y="11875"/>
                  <a:pt x="10750" y="11875"/>
                </a:cubicBezTo>
                <a:cubicBezTo>
                  <a:pt x="10750" y="11875"/>
                  <a:pt x="10750" y="11906"/>
                  <a:pt x="10750" y="11906"/>
                </a:cubicBezTo>
                <a:cubicBezTo>
                  <a:pt x="10750" y="11906"/>
                  <a:pt x="10781" y="11906"/>
                  <a:pt x="10781" y="11906"/>
                </a:cubicBezTo>
                <a:close/>
                <a:moveTo>
                  <a:pt x="28781" y="9750"/>
                </a:moveTo>
                <a:cubicBezTo>
                  <a:pt x="28750" y="9781"/>
                  <a:pt x="28750" y="9781"/>
                  <a:pt x="28719" y="9781"/>
                </a:cubicBezTo>
                <a:cubicBezTo>
                  <a:pt x="28687" y="9781"/>
                  <a:pt x="28687" y="9781"/>
                  <a:pt x="28687" y="9781"/>
                </a:cubicBezTo>
                <a:cubicBezTo>
                  <a:pt x="28625" y="9781"/>
                  <a:pt x="28625" y="9812"/>
                  <a:pt x="28625" y="9843"/>
                </a:cubicBezTo>
                <a:cubicBezTo>
                  <a:pt x="28625" y="9875"/>
                  <a:pt x="28625" y="9875"/>
                  <a:pt x="28625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56" y="9906"/>
                  <a:pt x="28656" y="9906"/>
                </a:cubicBezTo>
                <a:cubicBezTo>
                  <a:pt x="28656" y="9906"/>
                  <a:pt x="28687" y="9875"/>
                  <a:pt x="28719" y="9875"/>
                </a:cubicBezTo>
                <a:cubicBezTo>
                  <a:pt x="28750" y="9843"/>
                  <a:pt x="28812" y="9843"/>
                  <a:pt x="28812" y="9812"/>
                </a:cubicBezTo>
                <a:cubicBezTo>
                  <a:pt x="28812" y="9812"/>
                  <a:pt x="28812" y="9781"/>
                  <a:pt x="28812" y="9781"/>
                </a:cubicBezTo>
                <a:cubicBezTo>
                  <a:pt x="28812" y="9781"/>
                  <a:pt x="28781" y="9750"/>
                  <a:pt x="28781" y="9750"/>
                </a:cubicBezTo>
                <a:close/>
                <a:moveTo>
                  <a:pt x="28031" y="1531"/>
                </a:moveTo>
                <a:cubicBezTo>
                  <a:pt x="28031" y="1531"/>
                  <a:pt x="28031" y="1531"/>
                  <a:pt x="28031" y="1531"/>
                </a:cubicBezTo>
                <a:cubicBezTo>
                  <a:pt x="28031" y="1531"/>
                  <a:pt x="28031" y="1531"/>
                  <a:pt x="28031" y="1531"/>
                </a:cubicBezTo>
                <a:cubicBezTo>
                  <a:pt x="28062" y="1500"/>
                  <a:pt x="28094" y="1500"/>
                  <a:pt x="28125" y="1468"/>
                </a:cubicBezTo>
                <a:cubicBezTo>
                  <a:pt x="28125" y="1437"/>
                  <a:pt x="28125" y="1437"/>
                  <a:pt x="28156" y="1437"/>
                </a:cubicBezTo>
                <a:cubicBezTo>
                  <a:pt x="28187" y="1437"/>
                  <a:pt x="28187" y="1406"/>
                  <a:pt x="28219" y="1406"/>
                </a:cubicBezTo>
                <a:cubicBezTo>
                  <a:pt x="28219" y="1406"/>
                  <a:pt x="28187" y="1375"/>
                  <a:pt x="28156" y="1375"/>
                </a:cubicBezTo>
                <a:cubicBezTo>
                  <a:pt x="28125" y="1375"/>
                  <a:pt x="28125" y="1343"/>
                  <a:pt x="28094" y="1343"/>
                </a:cubicBezTo>
                <a:cubicBezTo>
                  <a:pt x="27969" y="1375"/>
                  <a:pt x="28000" y="1437"/>
                  <a:pt x="27969" y="1468"/>
                </a:cubicBezTo>
                <a:cubicBezTo>
                  <a:pt x="27937" y="1500"/>
                  <a:pt x="27969" y="1531"/>
                  <a:pt x="28031" y="1531"/>
                </a:cubicBezTo>
                <a:close/>
                <a:moveTo>
                  <a:pt x="15906" y="11437"/>
                </a:moveTo>
                <a:cubicBezTo>
                  <a:pt x="15875" y="11437"/>
                  <a:pt x="15875" y="11406"/>
                  <a:pt x="15844" y="11406"/>
                </a:cubicBezTo>
                <a:cubicBezTo>
                  <a:pt x="15844" y="11406"/>
                  <a:pt x="15812" y="11406"/>
                  <a:pt x="15781" y="11406"/>
                </a:cubicBezTo>
                <a:cubicBezTo>
                  <a:pt x="15719" y="11468"/>
                  <a:pt x="15625" y="11500"/>
                  <a:pt x="15531" y="11531"/>
                </a:cubicBezTo>
                <a:cubicBezTo>
                  <a:pt x="15469" y="11562"/>
                  <a:pt x="15437" y="11593"/>
                  <a:pt x="15406" y="11656"/>
                </a:cubicBezTo>
                <a:cubicBezTo>
                  <a:pt x="15437" y="11625"/>
                  <a:pt x="15500" y="11625"/>
                  <a:pt x="15531" y="11625"/>
                </a:cubicBezTo>
                <a:cubicBezTo>
                  <a:pt x="15625" y="11593"/>
                  <a:pt x="15687" y="11562"/>
                  <a:pt x="15750" y="11531"/>
                </a:cubicBezTo>
                <a:cubicBezTo>
                  <a:pt x="15781" y="11500"/>
                  <a:pt x="15812" y="11500"/>
                  <a:pt x="15844" y="11468"/>
                </a:cubicBezTo>
                <a:cubicBezTo>
                  <a:pt x="15844" y="11468"/>
                  <a:pt x="15875" y="11468"/>
                  <a:pt x="15875" y="11468"/>
                </a:cubicBezTo>
                <a:cubicBezTo>
                  <a:pt x="15906" y="11468"/>
                  <a:pt x="15906" y="11468"/>
                  <a:pt x="15906" y="11437"/>
                </a:cubicBezTo>
                <a:cubicBezTo>
                  <a:pt x="15906" y="11437"/>
                  <a:pt x="15906" y="11437"/>
                  <a:pt x="15906" y="11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76A6A7D-DED5-D343-890E-C8598E5D4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CD104851-9ECD-C349-9A03-2125E772C5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0B8ECD8-3654-DD48-8A2F-1B3ADB9EB3A2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5FD84109-B6EF-174F-9B26-F2EC26D4E12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8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4">
            <a:extLst>
              <a:ext uri="{FF2B5EF4-FFF2-40B4-BE49-F238E27FC236}">
                <a16:creationId xmlns:a16="http://schemas.microsoft.com/office/drawing/2014/main" id="{B2B44A93-2BB8-7546-86EA-795C22632255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104355" y="234058"/>
            <a:ext cx="22394488" cy="9433048"/>
          </a:xfrm>
          <a:custGeom>
            <a:avLst/>
            <a:gdLst>
              <a:gd name="T0" fmla="*/ 23250 w 27250"/>
              <a:gd name="T1" fmla="*/ 5750 h 21468"/>
              <a:gd name="T2" fmla="*/ 22063 w 27250"/>
              <a:gd name="T3" fmla="*/ 4969 h 21468"/>
              <a:gd name="T4" fmla="*/ 23032 w 27250"/>
              <a:gd name="T5" fmla="*/ 11656 h 21468"/>
              <a:gd name="T6" fmla="*/ 21907 w 27250"/>
              <a:gd name="T7" fmla="*/ 8406 h 21468"/>
              <a:gd name="T8" fmla="*/ 20938 w 27250"/>
              <a:gd name="T9" fmla="*/ 6625 h 21468"/>
              <a:gd name="T10" fmla="*/ 13407 w 27250"/>
              <a:gd name="T11" fmla="*/ 3375 h 21468"/>
              <a:gd name="T12" fmla="*/ 10250 w 27250"/>
              <a:gd name="T13" fmla="*/ 625 h 21468"/>
              <a:gd name="T14" fmla="*/ 7032 w 27250"/>
              <a:gd name="T15" fmla="*/ 2219 h 21468"/>
              <a:gd name="T16" fmla="*/ 5313 w 27250"/>
              <a:gd name="T17" fmla="*/ 3312 h 21468"/>
              <a:gd name="T18" fmla="*/ 6563 w 27250"/>
              <a:gd name="T19" fmla="*/ 6937 h 21468"/>
              <a:gd name="T20" fmla="*/ 8188 w 27250"/>
              <a:gd name="T21" fmla="*/ 9969 h 21468"/>
              <a:gd name="T22" fmla="*/ 10438 w 27250"/>
              <a:gd name="T23" fmla="*/ 16375 h 21468"/>
              <a:gd name="T24" fmla="*/ 10563 w 27250"/>
              <a:gd name="T25" fmla="*/ 14250 h 21468"/>
              <a:gd name="T26" fmla="*/ 15938 w 27250"/>
              <a:gd name="T27" fmla="*/ 17093 h 21468"/>
              <a:gd name="T28" fmla="*/ 18250 w 27250"/>
              <a:gd name="T29" fmla="*/ 18250 h 21468"/>
              <a:gd name="T30" fmla="*/ 15938 w 27250"/>
              <a:gd name="T31" fmla="*/ 16750 h 21468"/>
              <a:gd name="T32" fmla="*/ 16875 w 27250"/>
              <a:gd name="T33" fmla="*/ 17406 h 21468"/>
              <a:gd name="T34" fmla="*/ 18313 w 27250"/>
              <a:gd name="T35" fmla="*/ 18187 h 21468"/>
              <a:gd name="T36" fmla="*/ 20344 w 27250"/>
              <a:gd name="T37" fmla="*/ 18593 h 21468"/>
              <a:gd name="T38" fmla="*/ 16282 w 27250"/>
              <a:gd name="T39" fmla="*/ 16562 h 21468"/>
              <a:gd name="T40" fmla="*/ 11032 w 27250"/>
              <a:gd name="T41" fmla="*/ 12312 h 21468"/>
              <a:gd name="T42" fmla="*/ 9625 w 27250"/>
              <a:gd name="T43" fmla="*/ 10250 h 21468"/>
              <a:gd name="T44" fmla="*/ 16032 w 27250"/>
              <a:gd name="T45" fmla="*/ 15219 h 21468"/>
              <a:gd name="T46" fmla="*/ 21500 w 27250"/>
              <a:gd name="T47" fmla="*/ 17562 h 21468"/>
              <a:gd name="T48" fmla="*/ 24438 w 27250"/>
              <a:gd name="T49" fmla="*/ 15500 h 21468"/>
              <a:gd name="T50" fmla="*/ 22563 w 27250"/>
              <a:gd name="T51" fmla="*/ 15062 h 21468"/>
              <a:gd name="T52" fmla="*/ 19344 w 27250"/>
              <a:gd name="T53" fmla="*/ 13000 h 21468"/>
              <a:gd name="T54" fmla="*/ 14125 w 27250"/>
              <a:gd name="T55" fmla="*/ 7094 h 21468"/>
              <a:gd name="T56" fmla="*/ 22563 w 27250"/>
              <a:gd name="T57" fmla="*/ 13406 h 21468"/>
              <a:gd name="T58" fmla="*/ 13500 w 27250"/>
              <a:gd name="T59" fmla="*/ 4937 h 21468"/>
              <a:gd name="T60" fmla="*/ 22313 w 27250"/>
              <a:gd name="T61" fmla="*/ 11812 h 21468"/>
              <a:gd name="T62" fmla="*/ 27219 w 27250"/>
              <a:gd name="T63" fmla="*/ 12281 h 21468"/>
              <a:gd name="T64" fmla="*/ 25657 w 27250"/>
              <a:gd name="T65" fmla="*/ 6219 h 21468"/>
              <a:gd name="T66" fmla="*/ 24282 w 27250"/>
              <a:gd name="T67" fmla="*/ 4062 h 21468"/>
              <a:gd name="T68" fmla="*/ 23782 w 27250"/>
              <a:gd name="T69" fmla="*/ 5000 h 21468"/>
              <a:gd name="T70" fmla="*/ 10688 w 27250"/>
              <a:gd name="T71" fmla="*/ 844 h 21468"/>
              <a:gd name="T72" fmla="*/ 11000 w 27250"/>
              <a:gd name="T73" fmla="*/ 1156 h 21468"/>
              <a:gd name="T74" fmla="*/ 11782 w 27250"/>
              <a:gd name="T75" fmla="*/ 1812 h 21468"/>
              <a:gd name="T76" fmla="*/ 11407 w 27250"/>
              <a:gd name="T77" fmla="*/ 1437 h 21468"/>
              <a:gd name="T78" fmla="*/ 1032 w 27250"/>
              <a:gd name="T79" fmla="*/ 12937 h 21468"/>
              <a:gd name="T80" fmla="*/ 20813 w 27250"/>
              <a:gd name="T81" fmla="*/ 18093 h 21468"/>
              <a:gd name="T82" fmla="*/ 4969 w 27250"/>
              <a:gd name="T83" fmla="*/ 8812 h 21468"/>
              <a:gd name="T84" fmla="*/ 3750 w 27250"/>
              <a:gd name="T85" fmla="*/ 10000 h 21468"/>
              <a:gd name="T86" fmla="*/ 7594 w 27250"/>
              <a:gd name="T87" fmla="*/ 17937 h 21468"/>
              <a:gd name="T88" fmla="*/ 2500 w 27250"/>
              <a:gd name="T89" fmla="*/ 16375 h 21468"/>
              <a:gd name="T90" fmla="*/ 9094 w 27250"/>
              <a:gd name="T91" fmla="*/ 16000 h 21468"/>
              <a:gd name="T92" fmla="*/ 6157 w 27250"/>
              <a:gd name="T93" fmla="*/ 18562 h 21468"/>
              <a:gd name="T94" fmla="*/ 3782 w 27250"/>
              <a:gd name="T95" fmla="*/ 11250 h 21468"/>
              <a:gd name="T96" fmla="*/ 6344 w 27250"/>
              <a:gd name="T97" fmla="*/ 16968 h 21468"/>
              <a:gd name="T98" fmla="*/ 6344 w 27250"/>
              <a:gd name="T99" fmla="*/ 10156 h 21468"/>
              <a:gd name="T100" fmla="*/ 7188 w 27250"/>
              <a:gd name="T101" fmla="*/ 14594 h 21468"/>
              <a:gd name="T102" fmla="*/ 9500 w 27250"/>
              <a:gd name="T103" fmla="*/ 19187 h 21468"/>
              <a:gd name="T104" fmla="*/ 5594 w 27250"/>
              <a:gd name="T105" fmla="*/ 17656 h 21468"/>
              <a:gd name="T106" fmla="*/ 2750 w 27250"/>
              <a:gd name="T107" fmla="*/ 10812 h 21468"/>
              <a:gd name="T108" fmla="*/ 188 w 27250"/>
              <a:gd name="T109" fmla="*/ 7156 h 21468"/>
              <a:gd name="T110" fmla="*/ 500 w 27250"/>
              <a:gd name="T111" fmla="*/ 10062 h 21468"/>
              <a:gd name="T112" fmla="*/ 1157 w 27250"/>
              <a:gd name="T113" fmla="*/ 11156 h 21468"/>
              <a:gd name="T114" fmla="*/ 2875 w 27250"/>
              <a:gd name="T115" fmla="*/ 15812 h 21468"/>
              <a:gd name="T116" fmla="*/ 5563 w 27250"/>
              <a:gd name="T117" fmla="*/ 21125 h 21468"/>
              <a:gd name="T118" fmla="*/ 5907 w 27250"/>
              <a:gd name="T119" fmla="*/ 20343 h 21468"/>
              <a:gd name="T120" fmla="*/ 2594 w 27250"/>
              <a:gd name="T121" fmla="*/ 12219 h 21468"/>
              <a:gd name="T122" fmla="*/ 19532 w 27250"/>
              <a:gd name="T123" fmla="*/ 12500 h 21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250" h="21468">
                <a:moveTo>
                  <a:pt x="12969" y="6531"/>
                </a:moveTo>
                <a:cubicBezTo>
                  <a:pt x="12969" y="6531"/>
                  <a:pt x="12969" y="6531"/>
                  <a:pt x="12969" y="6531"/>
                </a:cubicBezTo>
                <a:cubicBezTo>
                  <a:pt x="12969" y="6469"/>
                  <a:pt x="12938" y="6469"/>
                  <a:pt x="12875" y="6437"/>
                </a:cubicBezTo>
                <a:cubicBezTo>
                  <a:pt x="12907" y="6500"/>
                  <a:pt x="12938" y="6531"/>
                  <a:pt x="12969" y="6531"/>
                </a:cubicBezTo>
                <a:cubicBezTo>
                  <a:pt x="13000" y="6594"/>
                  <a:pt x="13063" y="6656"/>
                  <a:pt x="13157" y="6687"/>
                </a:cubicBezTo>
                <a:cubicBezTo>
                  <a:pt x="13125" y="6656"/>
                  <a:pt x="13125" y="6656"/>
                  <a:pt x="13125" y="6656"/>
                </a:cubicBezTo>
                <a:cubicBezTo>
                  <a:pt x="13094" y="6594"/>
                  <a:pt x="13063" y="6531"/>
                  <a:pt x="12969" y="6531"/>
                </a:cubicBezTo>
                <a:close/>
                <a:moveTo>
                  <a:pt x="21032" y="6531"/>
                </a:moveTo>
                <a:cubicBezTo>
                  <a:pt x="21032" y="6531"/>
                  <a:pt x="21032" y="6531"/>
                  <a:pt x="21000" y="6531"/>
                </a:cubicBezTo>
                <a:cubicBezTo>
                  <a:pt x="21000" y="6531"/>
                  <a:pt x="21000" y="6531"/>
                  <a:pt x="21000" y="6531"/>
                </a:cubicBezTo>
                <a:cubicBezTo>
                  <a:pt x="21000" y="6562"/>
                  <a:pt x="21000" y="6562"/>
                  <a:pt x="21000" y="6562"/>
                </a:cubicBezTo>
                <a:cubicBezTo>
                  <a:pt x="21032" y="6562"/>
                  <a:pt x="21032" y="6562"/>
                  <a:pt x="21032" y="6531"/>
                </a:cubicBezTo>
                <a:close/>
                <a:moveTo>
                  <a:pt x="23438" y="4875"/>
                </a:moveTo>
                <a:cubicBezTo>
                  <a:pt x="23438" y="4875"/>
                  <a:pt x="23438" y="4906"/>
                  <a:pt x="23438" y="4906"/>
                </a:cubicBezTo>
                <a:cubicBezTo>
                  <a:pt x="23438" y="4906"/>
                  <a:pt x="23438" y="4875"/>
                  <a:pt x="23438" y="4875"/>
                </a:cubicBezTo>
                <a:cubicBezTo>
                  <a:pt x="23438" y="4875"/>
                  <a:pt x="23438" y="4875"/>
                  <a:pt x="23438" y="4875"/>
                </a:cubicBezTo>
                <a:close/>
                <a:moveTo>
                  <a:pt x="23438" y="4906"/>
                </a:moveTo>
                <a:cubicBezTo>
                  <a:pt x="23438" y="4969"/>
                  <a:pt x="23407" y="5062"/>
                  <a:pt x="23407" y="5125"/>
                </a:cubicBezTo>
                <a:cubicBezTo>
                  <a:pt x="23438" y="5281"/>
                  <a:pt x="23438" y="5406"/>
                  <a:pt x="23500" y="5562"/>
                </a:cubicBezTo>
                <a:cubicBezTo>
                  <a:pt x="23532" y="5625"/>
                  <a:pt x="23532" y="5719"/>
                  <a:pt x="23532" y="5781"/>
                </a:cubicBezTo>
                <a:cubicBezTo>
                  <a:pt x="23469" y="5781"/>
                  <a:pt x="23469" y="5687"/>
                  <a:pt x="23407" y="5719"/>
                </a:cubicBezTo>
                <a:cubicBezTo>
                  <a:pt x="23407" y="5781"/>
                  <a:pt x="23438" y="5844"/>
                  <a:pt x="23438" y="5906"/>
                </a:cubicBezTo>
                <a:cubicBezTo>
                  <a:pt x="23407" y="5906"/>
                  <a:pt x="23375" y="5906"/>
                  <a:pt x="23375" y="5906"/>
                </a:cubicBezTo>
                <a:cubicBezTo>
                  <a:pt x="23375" y="5906"/>
                  <a:pt x="23375" y="5906"/>
                  <a:pt x="23375" y="5906"/>
                </a:cubicBezTo>
                <a:cubicBezTo>
                  <a:pt x="23375" y="5875"/>
                  <a:pt x="23375" y="5875"/>
                  <a:pt x="23375" y="5875"/>
                </a:cubicBezTo>
                <a:cubicBezTo>
                  <a:pt x="23375" y="5875"/>
                  <a:pt x="23375" y="5875"/>
                  <a:pt x="23344" y="5875"/>
                </a:cubicBezTo>
                <a:cubicBezTo>
                  <a:pt x="23344" y="5875"/>
                  <a:pt x="23344" y="5844"/>
                  <a:pt x="23344" y="5844"/>
                </a:cubicBezTo>
                <a:cubicBezTo>
                  <a:pt x="23313" y="5844"/>
                  <a:pt x="23313" y="5844"/>
                  <a:pt x="23313" y="5812"/>
                </a:cubicBezTo>
                <a:cubicBezTo>
                  <a:pt x="23282" y="5812"/>
                  <a:pt x="23282" y="5812"/>
                  <a:pt x="23282" y="5812"/>
                </a:cubicBezTo>
                <a:cubicBezTo>
                  <a:pt x="23282" y="5812"/>
                  <a:pt x="23282" y="5781"/>
                  <a:pt x="23282" y="5781"/>
                </a:cubicBezTo>
                <a:cubicBezTo>
                  <a:pt x="23282" y="5781"/>
                  <a:pt x="23282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50"/>
                  <a:pt x="23250" y="5750"/>
                  <a:pt x="23250" y="5750"/>
                </a:cubicBezTo>
                <a:cubicBezTo>
                  <a:pt x="23250" y="5719"/>
                  <a:pt x="23250" y="5719"/>
                  <a:pt x="23250" y="5719"/>
                </a:cubicBezTo>
                <a:cubicBezTo>
                  <a:pt x="23219" y="5687"/>
                  <a:pt x="23219" y="5656"/>
                  <a:pt x="23188" y="5656"/>
                </a:cubicBezTo>
                <a:cubicBezTo>
                  <a:pt x="23188" y="5656"/>
                  <a:pt x="23188" y="5656"/>
                  <a:pt x="23188" y="5687"/>
                </a:cubicBezTo>
                <a:cubicBezTo>
                  <a:pt x="23125" y="5719"/>
                  <a:pt x="23094" y="5687"/>
                  <a:pt x="23032" y="5656"/>
                </a:cubicBezTo>
                <a:cubicBezTo>
                  <a:pt x="22969" y="5781"/>
                  <a:pt x="23094" y="5906"/>
                  <a:pt x="23094" y="6062"/>
                </a:cubicBezTo>
                <a:cubicBezTo>
                  <a:pt x="22907" y="5781"/>
                  <a:pt x="22844" y="5437"/>
                  <a:pt x="22657" y="5187"/>
                </a:cubicBezTo>
                <a:cubicBezTo>
                  <a:pt x="22532" y="5312"/>
                  <a:pt x="22563" y="5437"/>
                  <a:pt x="22625" y="5562"/>
                </a:cubicBezTo>
                <a:cubicBezTo>
                  <a:pt x="22688" y="5719"/>
                  <a:pt x="22750" y="5906"/>
                  <a:pt x="22813" y="6062"/>
                </a:cubicBezTo>
                <a:cubicBezTo>
                  <a:pt x="22938" y="6312"/>
                  <a:pt x="23032" y="6594"/>
                  <a:pt x="23125" y="6844"/>
                </a:cubicBezTo>
                <a:cubicBezTo>
                  <a:pt x="23219" y="7125"/>
                  <a:pt x="23344" y="7406"/>
                  <a:pt x="23438" y="7687"/>
                </a:cubicBezTo>
                <a:cubicBezTo>
                  <a:pt x="23500" y="7906"/>
                  <a:pt x="23563" y="8156"/>
                  <a:pt x="23657" y="8406"/>
                </a:cubicBezTo>
                <a:cubicBezTo>
                  <a:pt x="23719" y="8656"/>
                  <a:pt x="23813" y="8906"/>
                  <a:pt x="23907" y="9156"/>
                </a:cubicBezTo>
                <a:cubicBezTo>
                  <a:pt x="23969" y="9469"/>
                  <a:pt x="24063" y="9750"/>
                  <a:pt x="24157" y="10062"/>
                </a:cubicBezTo>
                <a:cubicBezTo>
                  <a:pt x="24188" y="10281"/>
                  <a:pt x="24219" y="10469"/>
                  <a:pt x="24282" y="10656"/>
                </a:cubicBezTo>
                <a:cubicBezTo>
                  <a:pt x="24344" y="10812"/>
                  <a:pt x="24375" y="11000"/>
                  <a:pt x="24407" y="11187"/>
                </a:cubicBezTo>
                <a:cubicBezTo>
                  <a:pt x="24438" y="11281"/>
                  <a:pt x="24469" y="11406"/>
                  <a:pt x="24500" y="11531"/>
                </a:cubicBezTo>
                <a:cubicBezTo>
                  <a:pt x="24500" y="11562"/>
                  <a:pt x="24500" y="11594"/>
                  <a:pt x="24438" y="11594"/>
                </a:cubicBezTo>
                <a:cubicBezTo>
                  <a:pt x="24438" y="11625"/>
                  <a:pt x="24407" y="11625"/>
                  <a:pt x="24375" y="11594"/>
                </a:cubicBezTo>
                <a:cubicBezTo>
                  <a:pt x="24313" y="11500"/>
                  <a:pt x="24250" y="11406"/>
                  <a:pt x="24250" y="11281"/>
                </a:cubicBezTo>
                <a:cubicBezTo>
                  <a:pt x="24157" y="10937"/>
                  <a:pt x="24094" y="10625"/>
                  <a:pt x="24000" y="10281"/>
                </a:cubicBezTo>
                <a:cubicBezTo>
                  <a:pt x="23938" y="10000"/>
                  <a:pt x="23844" y="9719"/>
                  <a:pt x="23782" y="9437"/>
                </a:cubicBezTo>
                <a:cubicBezTo>
                  <a:pt x="23688" y="9156"/>
                  <a:pt x="23625" y="8875"/>
                  <a:pt x="23532" y="8594"/>
                </a:cubicBezTo>
                <a:cubicBezTo>
                  <a:pt x="23469" y="8375"/>
                  <a:pt x="23375" y="8125"/>
                  <a:pt x="23313" y="7906"/>
                </a:cubicBezTo>
                <a:cubicBezTo>
                  <a:pt x="23219" y="7594"/>
                  <a:pt x="23094" y="7281"/>
                  <a:pt x="23000" y="6969"/>
                </a:cubicBezTo>
                <a:cubicBezTo>
                  <a:pt x="22907" y="6687"/>
                  <a:pt x="22782" y="6406"/>
                  <a:pt x="22688" y="6125"/>
                </a:cubicBezTo>
                <a:cubicBezTo>
                  <a:pt x="22594" y="5906"/>
                  <a:pt x="22500" y="5687"/>
                  <a:pt x="22438" y="5469"/>
                </a:cubicBezTo>
                <a:cubicBezTo>
                  <a:pt x="22407" y="5375"/>
                  <a:pt x="22313" y="5344"/>
                  <a:pt x="22282" y="5281"/>
                </a:cubicBezTo>
                <a:cubicBezTo>
                  <a:pt x="22219" y="5187"/>
                  <a:pt x="22157" y="5125"/>
                  <a:pt x="22094" y="5031"/>
                </a:cubicBezTo>
                <a:cubicBezTo>
                  <a:pt x="22094" y="5000"/>
                  <a:pt x="22094" y="4969"/>
                  <a:pt x="22063" y="4969"/>
                </a:cubicBezTo>
                <a:cubicBezTo>
                  <a:pt x="22032" y="4969"/>
                  <a:pt x="22032" y="5000"/>
                  <a:pt x="22032" y="5000"/>
                </a:cubicBezTo>
                <a:cubicBezTo>
                  <a:pt x="22032" y="5094"/>
                  <a:pt x="21969" y="5062"/>
                  <a:pt x="21907" y="5062"/>
                </a:cubicBezTo>
                <a:cubicBezTo>
                  <a:pt x="21969" y="5187"/>
                  <a:pt x="22000" y="5250"/>
                  <a:pt x="22032" y="5344"/>
                </a:cubicBezTo>
                <a:cubicBezTo>
                  <a:pt x="22094" y="5500"/>
                  <a:pt x="22125" y="5656"/>
                  <a:pt x="22188" y="5812"/>
                </a:cubicBezTo>
                <a:cubicBezTo>
                  <a:pt x="22250" y="6062"/>
                  <a:pt x="22344" y="6281"/>
                  <a:pt x="22438" y="6531"/>
                </a:cubicBezTo>
                <a:cubicBezTo>
                  <a:pt x="22469" y="6687"/>
                  <a:pt x="22532" y="6875"/>
                  <a:pt x="22563" y="7031"/>
                </a:cubicBezTo>
                <a:cubicBezTo>
                  <a:pt x="22657" y="7219"/>
                  <a:pt x="22719" y="7406"/>
                  <a:pt x="22750" y="7594"/>
                </a:cubicBezTo>
                <a:cubicBezTo>
                  <a:pt x="22813" y="7781"/>
                  <a:pt x="22875" y="7937"/>
                  <a:pt x="22907" y="8125"/>
                </a:cubicBezTo>
                <a:cubicBezTo>
                  <a:pt x="22969" y="8312"/>
                  <a:pt x="23032" y="8531"/>
                  <a:pt x="23094" y="8750"/>
                </a:cubicBezTo>
                <a:cubicBezTo>
                  <a:pt x="23125" y="8844"/>
                  <a:pt x="23157" y="8969"/>
                  <a:pt x="23188" y="9062"/>
                </a:cubicBezTo>
                <a:cubicBezTo>
                  <a:pt x="23219" y="9187"/>
                  <a:pt x="23282" y="9281"/>
                  <a:pt x="23282" y="9406"/>
                </a:cubicBezTo>
                <a:cubicBezTo>
                  <a:pt x="23313" y="9531"/>
                  <a:pt x="23344" y="9625"/>
                  <a:pt x="23375" y="9750"/>
                </a:cubicBezTo>
                <a:cubicBezTo>
                  <a:pt x="23407" y="9906"/>
                  <a:pt x="23469" y="10062"/>
                  <a:pt x="23500" y="10187"/>
                </a:cubicBezTo>
                <a:cubicBezTo>
                  <a:pt x="23532" y="10312"/>
                  <a:pt x="23532" y="10437"/>
                  <a:pt x="23594" y="10531"/>
                </a:cubicBezTo>
                <a:cubicBezTo>
                  <a:pt x="23657" y="10719"/>
                  <a:pt x="23594" y="10906"/>
                  <a:pt x="23688" y="11094"/>
                </a:cubicBezTo>
                <a:cubicBezTo>
                  <a:pt x="23719" y="11094"/>
                  <a:pt x="23719" y="11156"/>
                  <a:pt x="23657" y="11156"/>
                </a:cubicBezTo>
                <a:cubicBezTo>
                  <a:pt x="23625" y="11156"/>
                  <a:pt x="23625" y="11125"/>
                  <a:pt x="23625" y="11094"/>
                </a:cubicBezTo>
                <a:cubicBezTo>
                  <a:pt x="23625" y="10969"/>
                  <a:pt x="23563" y="10844"/>
                  <a:pt x="23532" y="10719"/>
                </a:cubicBezTo>
                <a:cubicBezTo>
                  <a:pt x="23532" y="10687"/>
                  <a:pt x="23532" y="10656"/>
                  <a:pt x="23469" y="10656"/>
                </a:cubicBezTo>
                <a:cubicBezTo>
                  <a:pt x="23532" y="11000"/>
                  <a:pt x="23625" y="11344"/>
                  <a:pt x="23688" y="11656"/>
                </a:cubicBezTo>
                <a:cubicBezTo>
                  <a:pt x="23688" y="11781"/>
                  <a:pt x="23719" y="11875"/>
                  <a:pt x="23719" y="12000"/>
                </a:cubicBezTo>
                <a:cubicBezTo>
                  <a:pt x="23688" y="12000"/>
                  <a:pt x="23657" y="11969"/>
                  <a:pt x="23625" y="11969"/>
                </a:cubicBezTo>
                <a:cubicBezTo>
                  <a:pt x="23532" y="11937"/>
                  <a:pt x="23469" y="11875"/>
                  <a:pt x="23407" y="11844"/>
                </a:cubicBezTo>
                <a:cubicBezTo>
                  <a:pt x="23344" y="11750"/>
                  <a:pt x="23250" y="11719"/>
                  <a:pt x="23188" y="11719"/>
                </a:cubicBezTo>
                <a:cubicBezTo>
                  <a:pt x="23157" y="11719"/>
                  <a:pt x="23157" y="11719"/>
                  <a:pt x="23157" y="11719"/>
                </a:cubicBezTo>
                <a:cubicBezTo>
                  <a:pt x="23125" y="11719"/>
                  <a:pt x="23125" y="11687"/>
                  <a:pt x="23125" y="11687"/>
                </a:cubicBezTo>
                <a:cubicBezTo>
                  <a:pt x="23125" y="11687"/>
                  <a:pt x="23125" y="11656"/>
                  <a:pt x="23125" y="11656"/>
                </a:cubicBezTo>
                <a:cubicBezTo>
                  <a:pt x="23125" y="11656"/>
                  <a:pt x="23125" y="11625"/>
                  <a:pt x="23125" y="11625"/>
                </a:cubicBezTo>
                <a:cubicBezTo>
                  <a:pt x="23125" y="11594"/>
                  <a:pt x="23125" y="11531"/>
                  <a:pt x="23094" y="11500"/>
                </a:cubicBezTo>
                <a:cubicBezTo>
                  <a:pt x="23032" y="11469"/>
                  <a:pt x="23063" y="11344"/>
                  <a:pt x="23000" y="11281"/>
                </a:cubicBezTo>
                <a:cubicBezTo>
                  <a:pt x="23000" y="11406"/>
                  <a:pt x="23000" y="11531"/>
                  <a:pt x="23032" y="11656"/>
                </a:cubicBezTo>
                <a:cubicBezTo>
                  <a:pt x="22969" y="11656"/>
                  <a:pt x="22938" y="11625"/>
                  <a:pt x="22938" y="11562"/>
                </a:cubicBezTo>
                <a:cubicBezTo>
                  <a:pt x="22907" y="11375"/>
                  <a:pt x="22875" y="11187"/>
                  <a:pt x="22813" y="11000"/>
                </a:cubicBezTo>
                <a:cubicBezTo>
                  <a:pt x="22719" y="10656"/>
                  <a:pt x="22688" y="10344"/>
                  <a:pt x="22594" y="10000"/>
                </a:cubicBezTo>
                <a:cubicBezTo>
                  <a:pt x="22469" y="9656"/>
                  <a:pt x="22407" y="9281"/>
                  <a:pt x="22313" y="8906"/>
                </a:cubicBezTo>
                <a:cubicBezTo>
                  <a:pt x="22250" y="8719"/>
                  <a:pt x="22219" y="8531"/>
                  <a:pt x="22157" y="8375"/>
                </a:cubicBezTo>
                <a:cubicBezTo>
                  <a:pt x="22094" y="8094"/>
                  <a:pt x="22032" y="7844"/>
                  <a:pt x="21938" y="7594"/>
                </a:cubicBezTo>
                <a:cubicBezTo>
                  <a:pt x="21875" y="7312"/>
                  <a:pt x="21782" y="7062"/>
                  <a:pt x="21688" y="6812"/>
                </a:cubicBezTo>
                <a:cubicBezTo>
                  <a:pt x="21688" y="6781"/>
                  <a:pt x="21688" y="6750"/>
                  <a:pt x="21688" y="6750"/>
                </a:cubicBezTo>
                <a:cubicBezTo>
                  <a:pt x="21657" y="6719"/>
                  <a:pt x="21657" y="6687"/>
                  <a:pt x="21657" y="6687"/>
                </a:cubicBezTo>
                <a:cubicBezTo>
                  <a:pt x="21657" y="6656"/>
                  <a:pt x="21657" y="6625"/>
                  <a:pt x="21625" y="6625"/>
                </a:cubicBezTo>
                <a:cubicBezTo>
                  <a:pt x="21594" y="6531"/>
                  <a:pt x="21532" y="6437"/>
                  <a:pt x="21438" y="6375"/>
                </a:cubicBezTo>
                <a:cubicBezTo>
                  <a:pt x="21438" y="6375"/>
                  <a:pt x="21407" y="6375"/>
                  <a:pt x="21407" y="6344"/>
                </a:cubicBezTo>
                <a:cubicBezTo>
                  <a:pt x="21438" y="6250"/>
                  <a:pt x="21375" y="6156"/>
                  <a:pt x="21313" y="6094"/>
                </a:cubicBezTo>
                <a:cubicBezTo>
                  <a:pt x="21313" y="6094"/>
                  <a:pt x="21282" y="6031"/>
                  <a:pt x="21250" y="6062"/>
                </a:cubicBezTo>
                <a:cubicBezTo>
                  <a:pt x="21250" y="6094"/>
                  <a:pt x="21250" y="6094"/>
                  <a:pt x="21250" y="6125"/>
                </a:cubicBezTo>
                <a:cubicBezTo>
                  <a:pt x="21282" y="6156"/>
                  <a:pt x="21282" y="6219"/>
                  <a:pt x="21282" y="6250"/>
                </a:cubicBezTo>
                <a:cubicBezTo>
                  <a:pt x="21282" y="6281"/>
                  <a:pt x="21250" y="6312"/>
                  <a:pt x="21250" y="6344"/>
                </a:cubicBezTo>
                <a:cubicBezTo>
                  <a:pt x="21250" y="6406"/>
                  <a:pt x="21344" y="6469"/>
                  <a:pt x="21375" y="6500"/>
                </a:cubicBezTo>
                <a:cubicBezTo>
                  <a:pt x="21438" y="6594"/>
                  <a:pt x="21469" y="6687"/>
                  <a:pt x="21469" y="6781"/>
                </a:cubicBezTo>
                <a:cubicBezTo>
                  <a:pt x="21469" y="6969"/>
                  <a:pt x="21532" y="7156"/>
                  <a:pt x="21563" y="7312"/>
                </a:cubicBezTo>
                <a:cubicBezTo>
                  <a:pt x="21625" y="7437"/>
                  <a:pt x="21688" y="7531"/>
                  <a:pt x="21625" y="7656"/>
                </a:cubicBezTo>
                <a:cubicBezTo>
                  <a:pt x="21594" y="7687"/>
                  <a:pt x="21625" y="7750"/>
                  <a:pt x="21657" y="7781"/>
                </a:cubicBezTo>
                <a:cubicBezTo>
                  <a:pt x="21782" y="7844"/>
                  <a:pt x="21813" y="7969"/>
                  <a:pt x="21750" y="8094"/>
                </a:cubicBezTo>
                <a:cubicBezTo>
                  <a:pt x="21750" y="8125"/>
                  <a:pt x="21750" y="8187"/>
                  <a:pt x="21782" y="8219"/>
                </a:cubicBezTo>
                <a:cubicBezTo>
                  <a:pt x="21782" y="8250"/>
                  <a:pt x="21782" y="8250"/>
                  <a:pt x="21782" y="8250"/>
                </a:cubicBezTo>
                <a:cubicBezTo>
                  <a:pt x="21750" y="8250"/>
                  <a:pt x="21688" y="8219"/>
                  <a:pt x="21688" y="8281"/>
                </a:cubicBezTo>
                <a:cubicBezTo>
                  <a:pt x="21688" y="8344"/>
                  <a:pt x="21657" y="8406"/>
                  <a:pt x="21750" y="8469"/>
                </a:cubicBezTo>
                <a:cubicBezTo>
                  <a:pt x="21782" y="8500"/>
                  <a:pt x="21813" y="8469"/>
                  <a:pt x="21813" y="8406"/>
                </a:cubicBezTo>
                <a:cubicBezTo>
                  <a:pt x="21844" y="8375"/>
                  <a:pt x="21844" y="8344"/>
                  <a:pt x="21844" y="8281"/>
                </a:cubicBezTo>
                <a:cubicBezTo>
                  <a:pt x="21875" y="8312"/>
                  <a:pt x="21907" y="8344"/>
                  <a:pt x="21907" y="8375"/>
                </a:cubicBezTo>
                <a:cubicBezTo>
                  <a:pt x="21907" y="8375"/>
                  <a:pt x="21907" y="8406"/>
                  <a:pt x="21907" y="8406"/>
                </a:cubicBezTo>
                <a:cubicBezTo>
                  <a:pt x="21875" y="8562"/>
                  <a:pt x="21938" y="8687"/>
                  <a:pt x="22000" y="8812"/>
                </a:cubicBezTo>
                <a:cubicBezTo>
                  <a:pt x="22032" y="8844"/>
                  <a:pt x="22032" y="8875"/>
                  <a:pt x="22032" y="8906"/>
                </a:cubicBezTo>
                <a:cubicBezTo>
                  <a:pt x="22032" y="8906"/>
                  <a:pt x="22032" y="8906"/>
                  <a:pt x="22032" y="8906"/>
                </a:cubicBezTo>
                <a:cubicBezTo>
                  <a:pt x="22032" y="8906"/>
                  <a:pt x="22000" y="8906"/>
                  <a:pt x="22000" y="8906"/>
                </a:cubicBezTo>
                <a:cubicBezTo>
                  <a:pt x="22000" y="8937"/>
                  <a:pt x="22000" y="8937"/>
                  <a:pt x="22000" y="8937"/>
                </a:cubicBezTo>
                <a:cubicBezTo>
                  <a:pt x="21969" y="8937"/>
                  <a:pt x="21969" y="8969"/>
                  <a:pt x="22000" y="9000"/>
                </a:cubicBezTo>
                <a:cubicBezTo>
                  <a:pt x="22000" y="9000"/>
                  <a:pt x="22000" y="9000"/>
                  <a:pt x="22000" y="9000"/>
                </a:cubicBezTo>
                <a:cubicBezTo>
                  <a:pt x="21969" y="9000"/>
                  <a:pt x="21969" y="9000"/>
                  <a:pt x="21969" y="9000"/>
                </a:cubicBezTo>
                <a:cubicBezTo>
                  <a:pt x="21969" y="9000"/>
                  <a:pt x="21969" y="8969"/>
                  <a:pt x="21969" y="8969"/>
                </a:cubicBezTo>
                <a:cubicBezTo>
                  <a:pt x="21969" y="8969"/>
                  <a:pt x="21969" y="8969"/>
                  <a:pt x="21969" y="8969"/>
                </a:cubicBezTo>
                <a:cubicBezTo>
                  <a:pt x="21969" y="8969"/>
                  <a:pt x="21969" y="8937"/>
                  <a:pt x="21969" y="8937"/>
                </a:cubicBezTo>
                <a:cubicBezTo>
                  <a:pt x="21969" y="8937"/>
                  <a:pt x="21938" y="8937"/>
                  <a:pt x="21938" y="8906"/>
                </a:cubicBezTo>
                <a:cubicBezTo>
                  <a:pt x="21938" y="8937"/>
                  <a:pt x="21907" y="8969"/>
                  <a:pt x="21875" y="9000"/>
                </a:cubicBezTo>
                <a:cubicBezTo>
                  <a:pt x="21813" y="8937"/>
                  <a:pt x="21844" y="9031"/>
                  <a:pt x="21813" y="9062"/>
                </a:cubicBezTo>
                <a:cubicBezTo>
                  <a:pt x="21813" y="9062"/>
                  <a:pt x="21813" y="9062"/>
                  <a:pt x="21813" y="9062"/>
                </a:cubicBezTo>
                <a:cubicBezTo>
                  <a:pt x="21813" y="9094"/>
                  <a:pt x="21813" y="9094"/>
                  <a:pt x="21782" y="9094"/>
                </a:cubicBezTo>
                <a:cubicBezTo>
                  <a:pt x="21782" y="9094"/>
                  <a:pt x="21782" y="9062"/>
                  <a:pt x="21782" y="9031"/>
                </a:cubicBezTo>
                <a:cubicBezTo>
                  <a:pt x="21782" y="9031"/>
                  <a:pt x="21782" y="9000"/>
                  <a:pt x="21782" y="9000"/>
                </a:cubicBezTo>
                <a:cubicBezTo>
                  <a:pt x="21782" y="9000"/>
                  <a:pt x="21782" y="9000"/>
                  <a:pt x="21750" y="9000"/>
                </a:cubicBezTo>
                <a:cubicBezTo>
                  <a:pt x="21688" y="8781"/>
                  <a:pt x="21625" y="8594"/>
                  <a:pt x="21594" y="8375"/>
                </a:cubicBezTo>
                <a:cubicBezTo>
                  <a:pt x="21532" y="8187"/>
                  <a:pt x="21469" y="7969"/>
                  <a:pt x="21407" y="7781"/>
                </a:cubicBezTo>
                <a:cubicBezTo>
                  <a:pt x="21375" y="7656"/>
                  <a:pt x="21313" y="7531"/>
                  <a:pt x="21282" y="7406"/>
                </a:cubicBezTo>
                <a:cubicBezTo>
                  <a:pt x="21250" y="7281"/>
                  <a:pt x="21219" y="7156"/>
                  <a:pt x="21188" y="7062"/>
                </a:cubicBezTo>
                <a:cubicBezTo>
                  <a:pt x="21188" y="7062"/>
                  <a:pt x="21188" y="7062"/>
                  <a:pt x="21188" y="7062"/>
                </a:cubicBezTo>
                <a:cubicBezTo>
                  <a:pt x="21188" y="6906"/>
                  <a:pt x="21094" y="6750"/>
                  <a:pt x="21032" y="6625"/>
                </a:cubicBezTo>
                <a:cubicBezTo>
                  <a:pt x="21032" y="6656"/>
                  <a:pt x="21032" y="6687"/>
                  <a:pt x="21032" y="6719"/>
                </a:cubicBezTo>
                <a:cubicBezTo>
                  <a:pt x="21032" y="6750"/>
                  <a:pt x="21032" y="6750"/>
                  <a:pt x="21032" y="6750"/>
                </a:cubicBezTo>
                <a:cubicBezTo>
                  <a:pt x="21063" y="6844"/>
                  <a:pt x="21125" y="6906"/>
                  <a:pt x="21094" y="7000"/>
                </a:cubicBezTo>
                <a:cubicBezTo>
                  <a:pt x="21032" y="6937"/>
                  <a:pt x="21000" y="6844"/>
                  <a:pt x="21000" y="6781"/>
                </a:cubicBezTo>
                <a:cubicBezTo>
                  <a:pt x="20969" y="6750"/>
                  <a:pt x="20969" y="6750"/>
                  <a:pt x="20969" y="6719"/>
                </a:cubicBezTo>
                <a:cubicBezTo>
                  <a:pt x="20969" y="6687"/>
                  <a:pt x="20938" y="6656"/>
                  <a:pt x="20938" y="6625"/>
                </a:cubicBezTo>
                <a:cubicBezTo>
                  <a:pt x="20938" y="6437"/>
                  <a:pt x="20844" y="6312"/>
                  <a:pt x="20782" y="6156"/>
                </a:cubicBezTo>
                <a:cubicBezTo>
                  <a:pt x="20782" y="6156"/>
                  <a:pt x="20782" y="6187"/>
                  <a:pt x="20750" y="6219"/>
                </a:cubicBezTo>
                <a:cubicBezTo>
                  <a:pt x="20750" y="6344"/>
                  <a:pt x="20782" y="6469"/>
                  <a:pt x="20875" y="6562"/>
                </a:cubicBezTo>
                <a:cubicBezTo>
                  <a:pt x="21250" y="7812"/>
                  <a:pt x="21625" y="9031"/>
                  <a:pt x="21938" y="10281"/>
                </a:cubicBezTo>
                <a:cubicBezTo>
                  <a:pt x="21969" y="10469"/>
                  <a:pt x="22032" y="10625"/>
                  <a:pt x="22063" y="10812"/>
                </a:cubicBezTo>
                <a:cubicBezTo>
                  <a:pt x="21907" y="10750"/>
                  <a:pt x="21844" y="10625"/>
                  <a:pt x="21719" y="10594"/>
                </a:cubicBezTo>
                <a:cubicBezTo>
                  <a:pt x="21594" y="10531"/>
                  <a:pt x="21532" y="10437"/>
                  <a:pt x="21438" y="10375"/>
                </a:cubicBezTo>
                <a:cubicBezTo>
                  <a:pt x="20969" y="10000"/>
                  <a:pt x="20500" y="9625"/>
                  <a:pt x="20063" y="9250"/>
                </a:cubicBezTo>
                <a:cubicBezTo>
                  <a:pt x="19657" y="8906"/>
                  <a:pt x="19282" y="8594"/>
                  <a:pt x="18907" y="8250"/>
                </a:cubicBezTo>
                <a:cubicBezTo>
                  <a:pt x="18563" y="7937"/>
                  <a:pt x="18250" y="7625"/>
                  <a:pt x="17907" y="7312"/>
                </a:cubicBezTo>
                <a:cubicBezTo>
                  <a:pt x="17250" y="6687"/>
                  <a:pt x="16563" y="6062"/>
                  <a:pt x="15907" y="5437"/>
                </a:cubicBezTo>
                <a:cubicBezTo>
                  <a:pt x="15532" y="5094"/>
                  <a:pt x="15157" y="4781"/>
                  <a:pt x="14782" y="4437"/>
                </a:cubicBezTo>
                <a:cubicBezTo>
                  <a:pt x="14532" y="4187"/>
                  <a:pt x="14250" y="3937"/>
                  <a:pt x="14000" y="3687"/>
                </a:cubicBezTo>
                <a:cubicBezTo>
                  <a:pt x="13938" y="3656"/>
                  <a:pt x="13938" y="3656"/>
                  <a:pt x="13907" y="3687"/>
                </a:cubicBezTo>
                <a:cubicBezTo>
                  <a:pt x="13907" y="3719"/>
                  <a:pt x="13844" y="3687"/>
                  <a:pt x="13813" y="3719"/>
                </a:cubicBezTo>
                <a:cubicBezTo>
                  <a:pt x="13782" y="3687"/>
                  <a:pt x="13782" y="3687"/>
                  <a:pt x="13750" y="3687"/>
                </a:cubicBezTo>
                <a:cubicBezTo>
                  <a:pt x="13688" y="3656"/>
                  <a:pt x="13625" y="3656"/>
                  <a:pt x="13563" y="3625"/>
                </a:cubicBezTo>
                <a:cubicBezTo>
                  <a:pt x="13563" y="3625"/>
                  <a:pt x="13563" y="3625"/>
                  <a:pt x="13563" y="3625"/>
                </a:cubicBezTo>
                <a:cubicBezTo>
                  <a:pt x="13563" y="3594"/>
                  <a:pt x="13563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32" y="3594"/>
                  <a:pt x="13532" y="3594"/>
                  <a:pt x="13532" y="3594"/>
                </a:cubicBezTo>
                <a:cubicBezTo>
                  <a:pt x="13500" y="3594"/>
                  <a:pt x="13500" y="3562"/>
                  <a:pt x="13469" y="3562"/>
                </a:cubicBezTo>
                <a:cubicBezTo>
                  <a:pt x="13469" y="3562"/>
                  <a:pt x="13438" y="3531"/>
                  <a:pt x="13438" y="3531"/>
                </a:cubicBezTo>
                <a:cubicBezTo>
                  <a:pt x="13282" y="3500"/>
                  <a:pt x="13157" y="3406"/>
                  <a:pt x="13063" y="3312"/>
                </a:cubicBezTo>
                <a:cubicBezTo>
                  <a:pt x="13000" y="3250"/>
                  <a:pt x="13000" y="3250"/>
                  <a:pt x="13063" y="3250"/>
                </a:cubicBezTo>
                <a:cubicBezTo>
                  <a:pt x="13094" y="3250"/>
                  <a:pt x="13125" y="3250"/>
                  <a:pt x="13157" y="3281"/>
                </a:cubicBezTo>
                <a:cubicBezTo>
                  <a:pt x="13219" y="3312"/>
                  <a:pt x="13313" y="3375"/>
                  <a:pt x="13407" y="3375"/>
                </a:cubicBezTo>
                <a:cubicBezTo>
                  <a:pt x="13407" y="3375"/>
                  <a:pt x="13407" y="3375"/>
                  <a:pt x="13407" y="3375"/>
                </a:cubicBezTo>
                <a:cubicBezTo>
                  <a:pt x="13438" y="3437"/>
                  <a:pt x="13500" y="3469"/>
                  <a:pt x="13563" y="3469"/>
                </a:cubicBezTo>
                <a:cubicBezTo>
                  <a:pt x="13563" y="3500"/>
                  <a:pt x="13563" y="3500"/>
                  <a:pt x="13594" y="3500"/>
                </a:cubicBezTo>
                <a:cubicBezTo>
                  <a:pt x="13532" y="3437"/>
                  <a:pt x="13500" y="3375"/>
                  <a:pt x="13407" y="3375"/>
                </a:cubicBezTo>
                <a:cubicBezTo>
                  <a:pt x="13407" y="3312"/>
                  <a:pt x="13375" y="3312"/>
                  <a:pt x="13344" y="3281"/>
                </a:cubicBezTo>
                <a:cubicBezTo>
                  <a:pt x="13219" y="3187"/>
                  <a:pt x="13094" y="3125"/>
                  <a:pt x="12969" y="3031"/>
                </a:cubicBezTo>
                <a:cubicBezTo>
                  <a:pt x="12969" y="3031"/>
                  <a:pt x="12938" y="3000"/>
                  <a:pt x="12938" y="3000"/>
                </a:cubicBezTo>
                <a:cubicBezTo>
                  <a:pt x="12907" y="3000"/>
                  <a:pt x="12907" y="2969"/>
                  <a:pt x="12907" y="2969"/>
                </a:cubicBezTo>
                <a:cubicBezTo>
                  <a:pt x="12875" y="2937"/>
                  <a:pt x="12844" y="2906"/>
                  <a:pt x="12782" y="2906"/>
                </a:cubicBezTo>
                <a:cubicBezTo>
                  <a:pt x="12782" y="2906"/>
                  <a:pt x="12782" y="2906"/>
                  <a:pt x="12782" y="2906"/>
                </a:cubicBezTo>
                <a:cubicBezTo>
                  <a:pt x="12782" y="2906"/>
                  <a:pt x="12782" y="2875"/>
                  <a:pt x="12782" y="2875"/>
                </a:cubicBezTo>
                <a:cubicBezTo>
                  <a:pt x="12750" y="2875"/>
                  <a:pt x="12750" y="2875"/>
                  <a:pt x="12719" y="2875"/>
                </a:cubicBezTo>
                <a:cubicBezTo>
                  <a:pt x="12719" y="2875"/>
                  <a:pt x="12719" y="2875"/>
                  <a:pt x="12719" y="2875"/>
                </a:cubicBezTo>
                <a:cubicBezTo>
                  <a:pt x="12719" y="2844"/>
                  <a:pt x="12719" y="2844"/>
                  <a:pt x="12688" y="2844"/>
                </a:cubicBezTo>
                <a:cubicBezTo>
                  <a:pt x="12688" y="2844"/>
                  <a:pt x="12688" y="2844"/>
                  <a:pt x="12688" y="2844"/>
                </a:cubicBezTo>
                <a:cubicBezTo>
                  <a:pt x="12688" y="2812"/>
                  <a:pt x="12688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812"/>
                  <a:pt x="12657" y="2812"/>
                  <a:pt x="12657" y="2812"/>
                </a:cubicBezTo>
                <a:cubicBezTo>
                  <a:pt x="12657" y="2781"/>
                  <a:pt x="12657" y="2781"/>
                  <a:pt x="12625" y="2781"/>
                </a:cubicBezTo>
                <a:cubicBezTo>
                  <a:pt x="12375" y="2594"/>
                  <a:pt x="12157" y="2375"/>
                  <a:pt x="11907" y="2187"/>
                </a:cubicBezTo>
                <a:cubicBezTo>
                  <a:pt x="11813" y="2125"/>
                  <a:pt x="11750" y="2062"/>
                  <a:pt x="11657" y="2000"/>
                </a:cubicBezTo>
                <a:cubicBezTo>
                  <a:pt x="11469" y="1844"/>
                  <a:pt x="11250" y="1687"/>
                  <a:pt x="11094" y="1500"/>
                </a:cubicBezTo>
                <a:cubicBezTo>
                  <a:pt x="11032" y="1406"/>
                  <a:pt x="10875" y="1375"/>
                  <a:pt x="10813" y="1250"/>
                </a:cubicBezTo>
                <a:cubicBezTo>
                  <a:pt x="10813" y="1250"/>
                  <a:pt x="10813" y="1250"/>
                  <a:pt x="10813" y="1250"/>
                </a:cubicBezTo>
                <a:cubicBezTo>
                  <a:pt x="10688" y="1250"/>
                  <a:pt x="10594" y="1156"/>
                  <a:pt x="10532" y="1062"/>
                </a:cubicBezTo>
                <a:cubicBezTo>
                  <a:pt x="10500" y="1031"/>
                  <a:pt x="10469" y="1031"/>
                  <a:pt x="10438" y="1031"/>
                </a:cubicBezTo>
                <a:cubicBezTo>
                  <a:pt x="10407" y="1031"/>
                  <a:pt x="10375" y="1000"/>
                  <a:pt x="10344" y="1000"/>
                </a:cubicBezTo>
                <a:cubicBezTo>
                  <a:pt x="10344" y="969"/>
                  <a:pt x="10344" y="937"/>
                  <a:pt x="10313" y="937"/>
                </a:cubicBezTo>
                <a:cubicBezTo>
                  <a:pt x="10282" y="875"/>
                  <a:pt x="10250" y="875"/>
                  <a:pt x="10188" y="844"/>
                </a:cubicBezTo>
                <a:cubicBezTo>
                  <a:pt x="10157" y="812"/>
                  <a:pt x="10125" y="781"/>
                  <a:pt x="10125" y="750"/>
                </a:cubicBezTo>
                <a:cubicBezTo>
                  <a:pt x="10157" y="750"/>
                  <a:pt x="10188" y="812"/>
                  <a:pt x="10282" y="781"/>
                </a:cubicBezTo>
                <a:cubicBezTo>
                  <a:pt x="10188" y="750"/>
                  <a:pt x="10188" y="656"/>
                  <a:pt x="10125" y="594"/>
                </a:cubicBezTo>
                <a:cubicBezTo>
                  <a:pt x="10157" y="594"/>
                  <a:pt x="10188" y="625"/>
                  <a:pt x="10188" y="625"/>
                </a:cubicBezTo>
                <a:cubicBezTo>
                  <a:pt x="10219" y="625"/>
                  <a:pt x="10219" y="625"/>
                  <a:pt x="10250" y="625"/>
                </a:cubicBezTo>
                <a:cubicBezTo>
                  <a:pt x="10250" y="625"/>
                  <a:pt x="10250" y="625"/>
                  <a:pt x="10250" y="625"/>
                </a:cubicBezTo>
                <a:cubicBezTo>
                  <a:pt x="10282" y="687"/>
                  <a:pt x="10344" y="719"/>
                  <a:pt x="10375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407" y="750"/>
                  <a:pt x="10407" y="750"/>
                  <a:pt x="10407" y="750"/>
                </a:cubicBezTo>
                <a:cubicBezTo>
                  <a:pt x="10375" y="750"/>
                  <a:pt x="10375" y="750"/>
                  <a:pt x="10375" y="750"/>
                </a:cubicBezTo>
                <a:cubicBezTo>
                  <a:pt x="10375" y="687"/>
                  <a:pt x="10313" y="656"/>
                  <a:pt x="10250" y="625"/>
                </a:cubicBezTo>
                <a:cubicBezTo>
                  <a:pt x="10125" y="469"/>
                  <a:pt x="9969" y="406"/>
                  <a:pt x="9782" y="312"/>
                </a:cubicBezTo>
                <a:cubicBezTo>
                  <a:pt x="9500" y="219"/>
                  <a:pt x="9188" y="94"/>
                  <a:pt x="8844" y="94"/>
                </a:cubicBezTo>
                <a:cubicBezTo>
                  <a:pt x="8844" y="94"/>
                  <a:pt x="8844" y="62"/>
                  <a:pt x="8844" y="62"/>
                </a:cubicBezTo>
                <a:cubicBezTo>
                  <a:pt x="8844" y="62"/>
                  <a:pt x="8813" y="62"/>
                  <a:pt x="8813" y="62"/>
                </a:cubicBezTo>
                <a:cubicBezTo>
                  <a:pt x="8782" y="62"/>
                  <a:pt x="8782" y="62"/>
                  <a:pt x="8782" y="62"/>
                </a:cubicBezTo>
                <a:cubicBezTo>
                  <a:pt x="8750" y="0"/>
                  <a:pt x="8719" y="0"/>
                  <a:pt x="8657" y="0"/>
                </a:cubicBezTo>
                <a:cubicBezTo>
                  <a:pt x="8563" y="31"/>
                  <a:pt x="8438" y="31"/>
                  <a:pt x="8344" y="31"/>
                </a:cubicBezTo>
                <a:cubicBezTo>
                  <a:pt x="8282" y="31"/>
                  <a:pt x="8250" y="62"/>
                  <a:pt x="8219" y="62"/>
                </a:cubicBezTo>
                <a:cubicBezTo>
                  <a:pt x="7844" y="250"/>
                  <a:pt x="7750" y="594"/>
                  <a:pt x="7657" y="937"/>
                </a:cubicBezTo>
                <a:cubicBezTo>
                  <a:pt x="7563" y="1344"/>
                  <a:pt x="7594" y="1750"/>
                  <a:pt x="7563" y="2125"/>
                </a:cubicBezTo>
                <a:cubicBezTo>
                  <a:pt x="7563" y="2156"/>
                  <a:pt x="7563" y="2219"/>
                  <a:pt x="7532" y="2219"/>
                </a:cubicBezTo>
                <a:cubicBezTo>
                  <a:pt x="7500" y="2219"/>
                  <a:pt x="7500" y="2187"/>
                  <a:pt x="7500" y="2156"/>
                </a:cubicBezTo>
                <a:cubicBezTo>
                  <a:pt x="7469" y="2156"/>
                  <a:pt x="7469" y="2125"/>
                  <a:pt x="7438" y="2125"/>
                </a:cubicBezTo>
                <a:cubicBezTo>
                  <a:pt x="7438" y="2156"/>
                  <a:pt x="7438" y="2187"/>
                  <a:pt x="7438" y="2219"/>
                </a:cubicBezTo>
                <a:cubicBezTo>
                  <a:pt x="7407" y="2312"/>
                  <a:pt x="7438" y="2406"/>
                  <a:pt x="7375" y="2469"/>
                </a:cubicBezTo>
                <a:cubicBezTo>
                  <a:pt x="7313" y="2531"/>
                  <a:pt x="7313" y="2594"/>
                  <a:pt x="7313" y="2656"/>
                </a:cubicBezTo>
                <a:cubicBezTo>
                  <a:pt x="7313" y="2844"/>
                  <a:pt x="7313" y="3031"/>
                  <a:pt x="7313" y="3219"/>
                </a:cubicBezTo>
                <a:cubicBezTo>
                  <a:pt x="7313" y="3125"/>
                  <a:pt x="7250" y="3062"/>
                  <a:pt x="7250" y="2969"/>
                </a:cubicBezTo>
                <a:cubicBezTo>
                  <a:pt x="7219" y="2719"/>
                  <a:pt x="7282" y="2469"/>
                  <a:pt x="7188" y="2219"/>
                </a:cubicBezTo>
                <a:cubicBezTo>
                  <a:pt x="7157" y="2187"/>
                  <a:pt x="7188" y="2156"/>
                  <a:pt x="7157" y="2125"/>
                </a:cubicBezTo>
                <a:cubicBezTo>
                  <a:pt x="7125" y="2125"/>
                  <a:pt x="7094" y="2156"/>
                  <a:pt x="7094" y="2187"/>
                </a:cubicBezTo>
                <a:cubicBezTo>
                  <a:pt x="7063" y="2187"/>
                  <a:pt x="7063" y="2219"/>
                  <a:pt x="7032" y="2219"/>
                </a:cubicBezTo>
                <a:cubicBezTo>
                  <a:pt x="7000" y="2219"/>
                  <a:pt x="7000" y="2187"/>
                  <a:pt x="7000" y="2156"/>
                </a:cubicBezTo>
                <a:cubicBezTo>
                  <a:pt x="7000" y="2062"/>
                  <a:pt x="6969" y="1969"/>
                  <a:pt x="7000" y="1875"/>
                </a:cubicBezTo>
                <a:cubicBezTo>
                  <a:pt x="7000" y="1812"/>
                  <a:pt x="6907" y="1687"/>
                  <a:pt x="6813" y="1687"/>
                </a:cubicBezTo>
                <a:cubicBezTo>
                  <a:pt x="6719" y="1719"/>
                  <a:pt x="6750" y="1812"/>
                  <a:pt x="6750" y="1844"/>
                </a:cubicBezTo>
                <a:cubicBezTo>
                  <a:pt x="6750" y="2031"/>
                  <a:pt x="6750" y="2187"/>
                  <a:pt x="6750" y="2375"/>
                </a:cubicBezTo>
                <a:cubicBezTo>
                  <a:pt x="6750" y="2406"/>
                  <a:pt x="6782" y="2437"/>
                  <a:pt x="6750" y="2437"/>
                </a:cubicBezTo>
                <a:cubicBezTo>
                  <a:pt x="6625" y="2406"/>
                  <a:pt x="6688" y="2500"/>
                  <a:pt x="6688" y="2531"/>
                </a:cubicBezTo>
                <a:cubicBezTo>
                  <a:pt x="6688" y="2562"/>
                  <a:pt x="6688" y="2625"/>
                  <a:pt x="6688" y="2687"/>
                </a:cubicBezTo>
                <a:cubicBezTo>
                  <a:pt x="6688" y="3062"/>
                  <a:pt x="6688" y="3406"/>
                  <a:pt x="6750" y="3781"/>
                </a:cubicBezTo>
                <a:cubicBezTo>
                  <a:pt x="6782" y="3875"/>
                  <a:pt x="6688" y="3875"/>
                  <a:pt x="6657" y="3875"/>
                </a:cubicBezTo>
                <a:cubicBezTo>
                  <a:pt x="6594" y="3906"/>
                  <a:pt x="6532" y="3875"/>
                  <a:pt x="6532" y="3812"/>
                </a:cubicBezTo>
                <a:cubicBezTo>
                  <a:pt x="6500" y="3656"/>
                  <a:pt x="6469" y="3531"/>
                  <a:pt x="6438" y="3375"/>
                </a:cubicBezTo>
                <a:cubicBezTo>
                  <a:pt x="6438" y="3187"/>
                  <a:pt x="6344" y="3000"/>
                  <a:pt x="6375" y="2812"/>
                </a:cubicBezTo>
                <a:cubicBezTo>
                  <a:pt x="6375" y="2781"/>
                  <a:pt x="6344" y="2750"/>
                  <a:pt x="6313" y="2750"/>
                </a:cubicBezTo>
                <a:cubicBezTo>
                  <a:pt x="6282" y="2750"/>
                  <a:pt x="6282" y="2781"/>
                  <a:pt x="6282" y="2812"/>
                </a:cubicBezTo>
                <a:cubicBezTo>
                  <a:pt x="6313" y="3125"/>
                  <a:pt x="6313" y="3469"/>
                  <a:pt x="6375" y="3781"/>
                </a:cubicBezTo>
                <a:cubicBezTo>
                  <a:pt x="6375" y="3812"/>
                  <a:pt x="6375" y="3844"/>
                  <a:pt x="6313" y="3875"/>
                </a:cubicBezTo>
                <a:cubicBezTo>
                  <a:pt x="6250" y="3875"/>
                  <a:pt x="6250" y="3937"/>
                  <a:pt x="6250" y="4000"/>
                </a:cubicBezTo>
                <a:cubicBezTo>
                  <a:pt x="6282" y="4062"/>
                  <a:pt x="6250" y="4094"/>
                  <a:pt x="6250" y="4156"/>
                </a:cubicBezTo>
                <a:cubicBezTo>
                  <a:pt x="6219" y="4250"/>
                  <a:pt x="6188" y="4281"/>
                  <a:pt x="6094" y="4219"/>
                </a:cubicBezTo>
                <a:cubicBezTo>
                  <a:pt x="6032" y="4187"/>
                  <a:pt x="5969" y="4156"/>
                  <a:pt x="5907" y="4094"/>
                </a:cubicBezTo>
                <a:cubicBezTo>
                  <a:pt x="5938" y="4187"/>
                  <a:pt x="6000" y="4250"/>
                  <a:pt x="5938" y="4312"/>
                </a:cubicBezTo>
                <a:cubicBezTo>
                  <a:pt x="5938" y="4312"/>
                  <a:pt x="5938" y="4312"/>
                  <a:pt x="5938" y="4312"/>
                </a:cubicBezTo>
                <a:cubicBezTo>
                  <a:pt x="5844" y="4187"/>
                  <a:pt x="5938" y="4000"/>
                  <a:pt x="5719" y="3937"/>
                </a:cubicBezTo>
                <a:cubicBezTo>
                  <a:pt x="5719" y="3937"/>
                  <a:pt x="5719" y="3937"/>
                  <a:pt x="5719" y="3937"/>
                </a:cubicBezTo>
                <a:cubicBezTo>
                  <a:pt x="5750" y="3844"/>
                  <a:pt x="5625" y="3750"/>
                  <a:pt x="5657" y="3656"/>
                </a:cubicBezTo>
                <a:cubicBezTo>
                  <a:pt x="5657" y="3500"/>
                  <a:pt x="5625" y="3375"/>
                  <a:pt x="5657" y="3250"/>
                </a:cubicBezTo>
                <a:cubicBezTo>
                  <a:pt x="5657" y="3125"/>
                  <a:pt x="5594" y="3031"/>
                  <a:pt x="5563" y="2969"/>
                </a:cubicBezTo>
                <a:cubicBezTo>
                  <a:pt x="5532" y="2875"/>
                  <a:pt x="5438" y="2875"/>
                  <a:pt x="5375" y="2875"/>
                </a:cubicBezTo>
                <a:cubicBezTo>
                  <a:pt x="5313" y="2875"/>
                  <a:pt x="5313" y="2906"/>
                  <a:pt x="5313" y="2937"/>
                </a:cubicBezTo>
                <a:cubicBezTo>
                  <a:pt x="5313" y="3062"/>
                  <a:pt x="5282" y="3187"/>
                  <a:pt x="5313" y="3312"/>
                </a:cubicBezTo>
                <a:cubicBezTo>
                  <a:pt x="5375" y="3562"/>
                  <a:pt x="5375" y="3812"/>
                  <a:pt x="5407" y="4062"/>
                </a:cubicBezTo>
                <a:cubicBezTo>
                  <a:pt x="5438" y="4312"/>
                  <a:pt x="5469" y="4531"/>
                  <a:pt x="5532" y="4781"/>
                </a:cubicBezTo>
                <a:cubicBezTo>
                  <a:pt x="5563" y="5062"/>
                  <a:pt x="5625" y="5344"/>
                  <a:pt x="5688" y="5656"/>
                </a:cubicBezTo>
                <a:cubicBezTo>
                  <a:pt x="5719" y="5875"/>
                  <a:pt x="5750" y="6125"/>
                  <a:pt x="5813" y="6375"/>
                </a:cubicBezTo>
                <a:cubicBezTo>
                  <a:pt x="5875" y="6562"/>
                  <a:pt x="5907" y="6781"/>
                  <a:pt x="5969" y="7000"/>
                </a:cubicBezTo>
                <a:cubicBezTo>
                  <a:pt x="6000" y="7125"/>
                  <a:pt x="6000" y="7219"/>
                  <a:pt x="6032" y="7344"/>
                </a:cubicBezTo>
                <a:cubicBezTo>
                  <a:pt x="6125" y="7625"/>
                  <a:pt x="6188" y="7906"/>
                  <a:pt x="6250" y="8156"/>
                </a:cubicBezTo>
                <a:cubicBezTo>
                  <a:pt x="6282" y="8344"/>
                  <a:pt x="6344" y="8531"/>
                  <a:pt x="6375" y="8719"/>
                </a:cubicBezTo>
                <a:cubicBezTo>
                  <a:pt x="6407" y="8906"/>
                  <a:pt x="6469" y="9031"/>
                  <a:pt x="6625" y="9156"/>
                </a:cubicBezTo>
                <a:cubicBezTo>
                  <a:pt x="6750" y="9250"/>
                  <a:pt x="6907" y="9344"/>
                  <a:pt x="6938" y="9531"/>
                </a:cubicBezTo>
                <a:cubicBezTo>
                  <a:pt x="6907" y="9562"/>
                  <a:pt x="6907" y="9562"/>
                  <a:pt x="6907" y="9594"/>
                </a:cubicBezTo>
                <a:cubicBezTo>
                  <a:pt x="6938" y="9719"/>
                  <a:pt x="6969" y="9844"/>
                  <a:pt x="7032" y="9969"/>
                </a:cubicBezTo>
                <a:cubicBezTo>
                  <a:pt x="7063" y="10125"/>
                  <a:pt x="8125" y="13687"/>
                  <a:pt x="8188" y="13812"/>
                </a:cubicBezTo>
                <a:cubicBezTo>
                  <a:pt x="8219" y="13906"/>
                  <a:pt x="8250" y="14031"/>
                  <a:pt x="8282" y="14125"/>
                </a:cubicBezTo>
                <a:cubicBezTo>
                  <a:pt x="8313" y="14219"/>
                  <a:pt x="8282" y="14312"/>
                  <a:pt x="8344" y="14375"/>
                </a:cubicBezTo>
                <a:cubicBezTo>
                  <a:pt x="8407" y="14469"/>
                  <a:pt x="8407" y="14594"/>
                  <a:pt x="8469" y="14719"/>
                </a:cubicBezTo>
                <a:cubicBezTo>
                  <a:pt x="8532" y="14875"/>
                  <a:pt x="8563" y="15094"/>
                  <a:pt x="8657" y="15281"/>
                </a:cubicBezTo>
                <a:cubicBezTo>
                  <a:pt x="8719" y="15406"/>
                  <a:pt x="8782" y="15562"/>
                  <a:pt x="8813" y="15687"/>
                </a:cubicBezTo>
                <a:cubicBezTo>
                  <a:pt x="8844" y="15781"/>
                  <a:pt x="8907" y="15781"/>
                  <a:pt x="8969" y="15781"/>
                </a:cubicBezTo>
                <a:cubicBezTo>
                  <a:pt x="9000" y="15781"/>
                  <a:pt x="9000" y="15781"/>
                  <a:pt x="9000" y="15718"/>
                </a:cubicBezTo>
                <a:cubicBezTo>
                  <a:pt x="9000" y="15625"/>
                  <a:pt x="8938" y="15500"/>
                  <a:pt x="8907" y="15406"/>
                </a:cubicBezTo>
                <a:cubicBezTo>
                  <a:pt x="8750" y="15031"/>
                  <a:pt x="8657" y="14656"/>
                  <a:pt x="8532" y="14281"/>
                </a:cubicBezTo>
                <a:cubicBezTo>
                  <a:pt x="8407" y="13844"/>
                  <a:pt x="7250" y="10281"/>
                  <a:pt x="7000" y="9656"/>
                </a:cubicBezTo>
                <a:cubicBezTo>
                  <a:pt x="7032" y="9656"/>
                  <a:pt x="7032" y="9656"/>
                  <a:pt x="7032" y="9656"/>
                </a:cubicBezTo>
                <a:cubicBezTo>
                  <a:pt x="7063" y="9625"/>
                  <a:pt x="7032" y="9594"/>
                  <a:pt x="7032" y="9594"/>
                </a:cubicBezTo>
                <a:cubicBezTo>
                  <a:pt x="7032" y="9500"/>
                  <a:pt x="6969" y="9437"/>
                  <a:pt x="6969" y="9344"/>
                </a:cubicBezTo>
                <a:cubicBezTo>
                  <a:pt x="7000" y="9156"/>
                  <a:pt x="6938" y="9031"/>
                  <a:pt x="6907" y="8844"/>
                </a:cubicBezTo>
                <a:cubicBezTo>
                  <a:pt x="6844" y="8625"/>
                  <a:pt x="6782" y="8406"/>
                  <a:pt x="6719" y="8187"/>
                </a:cubicBezTo>
                <a:cubicBezTo>
                  <a:pt x="6657" y="7937"/>
                  <a:pt x="6625" y="7719"/>
                  <a:pt x="6594" y="7500"/>
                </a:cubicBezTo>
                <a:cubicBezTo>
                  <a:pt x="6563" y="7406"/>
                  <a:pt x="6532" y="7281"/>
                  <a:pt x="6500" y="7187"/>
                </a:cubicBezTo>
                <a:cubicBezTo>
                  <a:pt x="6500" y="7094"/>
                  <a:pt x="6563" y="7031"/>
                  <a:pt x="6563" y="6937"/>
                </a:cubicBezTo>
                <a:cubicBezTo>
                  <a:pt x="6594" y="6875"/>
                  <a:pt x="6594" y="6844"/>
                  <a:pt x="6657" y="6906"/>
                </a:cubicBezTo>
                <a:cubicBezTo>
                  <a:pt x="6688" y="6937"/>
                  <a:pt x="6750" y="6906"/>
                  <a:pt x="6719" y="6844"/>
                </a:cubicBezTo>
                <a:cubicBezTo>
                  <a:pt x="6688" y="6750"/>
                  <a:pt x="6688" y="6625"/>
                  <a:pt x="6657" y="6531"/>
                </a:cubicBezTo>
                <a:cubicBezTo>
                  <a:pt x="6625" y="6344"/>
                  <a:pt x="6563" y="6156"/>
                  <a:pt x="6532" y="5937"/>
                </a:cubicBezTo>
                <a:cubicBezTo>
                  <a:pt x="6500" y="5594"/>
                  <a:pt x="6469" y="5250"/>
                  <a:pt x="6375" y="4906"/>
                </a:cubicBezTo>
                <a:cubicBezTo>
                  <a:pt x="6375" y="4875"/>
                  <a:pt x="6344" y="4812"/>
                  <a:pt x="6438" y="4781"/>
                </a:cubicBezTo>
                <a:cubicBezTo>
                  <a:pt x="6500" y="4781"/>
                  <a:pt x="6532" y="4812"/>
                  <a:pt x="6532" y="4875"/>
                </a:cubicBezTo>
                <a:cubicBezTo>
                  <a:pt x="6563" y="5125"/>
                  <a:pt x="6594" y="5375"/>
                  <a:pt x="6657" y="5625"/>
                </a:cubicBezTo>
                <a:cubicBezTo>
                  <a:pt x="6719" y="5906"/>
                  <a:pt x="6782" y="6219"/>
                  <a:pt x="6844" y="6531"/>
                </a:cubicBezTo>
                <a:cubicBezTo>
                  <a:pt x="6938" y="6969"/>
                  <a:pt x="7000" y="7406"/>
                  <a:pt x="7125" y="7844"/>
                </a:cubicBezTo>
                <a:cubicBezTo>
                  <a:pt x="7219" y="8219"/>
                  <a:pt x="7282" y="8625"/>
                  <a:pt x="7438" y="9000"/>
                </a:cubicBezTo>
                <a:cubicBezTo>
                  <a:pt x="7469" y="9031"/>
                  <a:pt x="7438" y="9062"/>
                  <a:pt x="7500" y="9062"/>
                </a:cubicBezTo>
                <a:cubicBezTo>
                  <a:pt x="7532" y="9062"/>
                  <a:pt x="7500" y="9031"/>
                  <a:pt x="7500" y="9000"/>
                </a:cubicBezTo>
                <a:cubicBezTo>
                  <a:pt x="7532" y="8906"/>
                  <a:pt x="7469" y="8844"/>
                  <a:pt x="7469" y="8750"/>
                </a:cubicBezTo>
                <a:cubicBezTo>
                  <a:pt x="7438" y="8500"/>
                  <a:pt x="7375" y="8219"/>
                  <a:pt x="7313" y="7969"/>
                </a:cubicBezTo>
                <a:cubicBezTo>
                  <a:pt x="7188" y="7469"/>
                  <a:pt x="7094" y="6969"/>
                  <a:pt x="7000" y="6500"/>
                </a:cubicBezTo>
                <a:cubicBezTo>
                  <a:pt x="6875" y="5969"/>
                  <a:pt x="6782" y="5437"/>
                  <a:pt x="6688" y="4906"/>
                </a:cubicBezTo>
                <a:cubicBezTo>
                  <a:pt x="6657" y="4875"/>
                  <a:pt x="6657" y="4812"/>
                  <a:pt x="6719" y="4812"/>
                </a:cubicBezTo>
                <a:cubicBezTo>
                  <a:pt x="6782" y="4781"/>
                  <a:pt x="6782" y="4812"/>
                  <a:pt x="6813" y="4875"/>
                </a:cubicBezTo>
                <a:cubicBezTo>
                  <a:pt x="6844" y="5094"/>
                  <a:pt x="6875" y="5312"/>
                  <a:pt x="6907" y="5531"/>
                </a:cubicBezTo>
                <a:cubicBezTo>
                  <a:pt x="6969" y="5906"/>
                  <a:pt x="7063" y="6250"/>
                  <a:pt x="7125" y="6625"/>
                </a:cubicBezTo>
                <a:cubicBezTo>
                  <a:pt x="7188" y="6875"/>
                  <a:pt x="7250" y="7156"/>
                  <a:pt x="7313" y="7406"/>
                </a:cubicBezTo>
                <a:cubicBezTo>
                  <a:pt x="7344" y="7500"/>
                  <a:pt x="7375" y="7594"/>
                  <a:pt x="7375" y="7687"/>
                </a:cubicBezTo>
                <a:cubicBezTo>
                  <a:pt x="7375" y="7781"/>
                  <a:pt x="7407" y="7875"/>
                  <a:pt x="7438" y="7969"/>
                </a:cubicBezTo>
                <a:cubicBezTo>
                  <a:pt x="7469" y="8031"/>
                  <a:pt x="7407" y="8125"/>
                  <a:pt x="7532" y="8156"/>
                </a:cubicBezTo>
                <a:cubicBezTo>
                  <a:pt x="7532" y="8219"/>
                  <a:pt x="7563" y="8250"/>
                  <a:pt x="7594" y="8281"/>
                </a:cubicBezTo>
                <a:cubicBezTo>
                  <a:pt x="7625" y="8531"/>
                  <a:pt x="7750" y="8750"/>
                  <a:pt x="7813" y="9000"/>
                </a:cubicBezTo>
                <a:cubicBezTo>
                  <a:pt x="7875" y="9219"/>
                  <a:pt x="7938" y="9406"/>
                  <a:pt x="7969" y="9625"/>
                </a:cubicBezTo>
                <a:cubicBezTo>
                  <a:pt x="8000" y="9687"/>
                  <a:pt x="8000" y="9719"/>
                  <a:pt x="8063" y="9719"/>
                </a:cubicBezTo>
                <a:cubicBezTo>
                  <a:pt x="8157" y="9750"/>
                  <a:pt x="8188" y="9812"/>
                  <a:pt x="8219" y="9875"/>
                </a:cubicBezTo>
                <a:cubicBezTo>
                  <a:pt x="8282" y="9937"/>
                  <a:pt x="8157" y="9937"/>
                  <a:pt x="8188" y="9969"/>
                </a:cubicBezTo>
                <a:cubicBezTo>
                  <a:pt x="8188" y="10000"/>
                  <a:pt x="8157" y="10000"/>
                  <a:pt x="8157" y="10031"/>
                </a:cubicBezTo>
                <a:cubicBezTo>
                  <a:pt x="8250" y="10094"/>
                  <a:pt x="8250" y="10219"/>
                  <a:pt x="8282" y="10312"/>
                </a:cubicBezTo>
                <a:cubicBezTo>
                  <a:pt x="8375" y="10500"/>
                  <a:pt x="8375" y="10687"/>
                  <a:pt x="8469" y="10875"/>
                </a:cubicBezTo>
                <a:cubicBezTo>
                  <a:pt x="8500" y="11000"/>
                  <a:pt x="8500" y="11125"/>
                  <a:pt x="8563" y="11250"/>
                </a:cubicBezTo>
                <a:cubicBezTo>
                  <a:pt x="8594" y="11344"/>
                  <a:pt x="8625" y="11437"/>
                  <a:pt x="8657" y="11531"/>
                </a:cubicBezTo>
                <a:cubicBezTo>
                  <a:pt x="8719" y="11781"/>
                  <a:pt x="8782" y="12062"/>
                  <a:pt x="8844" y="12312"/>
                </a:cubicBezTo>
                <a:cubicBezTo>
                  <a:pt x="8875" y="12437"/>
                  <a:pt x="8907" y="12562"/>
                  <a:pt x="8907" y="12687"/>
                </a:cubicBezTo>
                <a:cubicBezTo>
                  <a:pt x="8907" y="12875"/>
                  <a:pt x="9000" y="13000"/>
                  <a:pt x="9032" y="13187"/>
                </a:cubicBezTo>
                <a:cubicBezTo>
                  <a:pt x="9063" y="13344"/>
                  <a:pt x="9157" y="13500"/>
                  <a:pt x="9125" y="13656"/>
                </a:cubicBezTo>
                <a:cubicBezTo>
                  <a:pt x="9125" y="13687"/>
                  <a:pt x="9125" y="13719"/>
                  <a:pt x="9125" y="13750"/>
                </a:cubicBezTo>
                <a:cubicBezTo>
                  <a:pt x="9188" y="13937"/>
                  <a:pt x="9250" y="14125"/>
                  <a:pt x="9313" y="14312"/>
                </a:cubicBezTo>
                <a:cubicBezTo>
                  <a:pt x="9438" y="14719"/>
                  <a:pt x="9563" y="15094"/>
                  <a:pt x="9688" y="15469"/>
                </a:cubicBezTo>
                <a:cubicBezTo>
                  <a:pt x="9782" y="15781"/>
                  <a:pt x="9875" y="16062"/>
                  <a:pt x="10000" y="16375"/>
                </a:cubicBezTo>
                <a:cubicBezTo>
                  <a:pt x="10032" y="16468"/>
                  <a:pt x="10063" y="16593"/>
                  <a:pt x="10125" y="16687"/>
                </a:cubicBezTo>
                <a:cubicBezTo>
                  <a:pt x="10125" y="16593"/>
                  <a:pt x="10125" y="16531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125" y="16468"/>
                  <a:pt x="10125" y="16468"/>
                  <a:pt x="10125" y="16468"/>
                </a:cubicBezTo>
                <a:cubicBezTo>
                  <a:pt x="10219" y="16593"/>
                  <a:pt x="10282" y="16718"/>
                  <a:pt x="10313" y="16875"/>
                </a:cubicBezTo>
                <a:cubicBezTo>
                  <a:pt x="10344" y="16875"/>
                  <a:pt x="10344" y="16906"/>
                  <a:pt x="10344" y="16937"/>
                </a:cubicBezTo>
                <a:cubicBezTo>
                  <a:pt x="10375" y="16968"/>
                  <a:pt x="10375" y="17000"/>
                  <a:pt x="10407" y="17031"/>
                </a:cubicBezTo>
                <a:cubicBezTo>
                  <a:pt x="10407" y="17062"/>
                  <a:pt x="10438" y="17093"/>
                  <a:pt x="10438" y="17125"/>
                </a:cubicBezTo>
                <a:cubicBezTo>
                  <a:pt x="10469" y="17031"/>
                  <a:pt x="10469" y="16968"/>
                  <a:pt x="10532" y="17031"/>
                </a:cubicBezTo>
                <a:cubicBezTo>
                  <a:pt x="10563" y="17062"/>
                  <a:pt x="10594" y="17062"/>
                  <a:pt x="10594" y="17000"/>
                </a:cubicBezTo>
                <a:cubicBezTo>
                  <a:pt x="10594" y="16812"/>
                  <a:pt x="10500" y="16656"/>
                  <a:pt x="10407" y="16531"/>
                </a:cubicBezTo>
                <a:cubicBezTo>
                  <a:pt x="10407" y="16500"/>
                  <a:pt x="10375" y="16500"/>
                  <a:pt x="10375" y="16468"/>
                </a:cubicBezTo>
                <a:cubicBezTo>
                  <a:pt x="10375" y="16468"/>
                  <a:pt x="10375" y="16468"/>
                  <a:pt x="10375" y="16437"/>
                </a:cubicBezTo>
                <a:cubicBezTo>
                  <a:pt x="10375" y="16437"/>
                  <a:pt x="10375" y="16406"/>
                  <a:pt x="10375" y="16406"/>
                </a:cubicBezTo>
                <a:cubicBezTo>
                  <a:pt x="10375" y="16375"/>
                  <a:pt x="10375" y="16375"/>
                  <a:pt x="10375" y="16375"/>
                </a:cubicBezTo>
                <a:cubicBezTo>
                  <a:pt x="10407" y="16375"/>
                  <a:pt x="10407" y="16375"/>
                  <a:pt x="10407" y="16375"/>
                </a:cubicBezTo>
                <a:cubicBezTo>
                  <a:pt x="10407" y="16375"/>
                  <a:pt x="10407" y="16375"/>
                  <a:pt x="10407" y="16406"/>
                </a:cubicBezTo>
                <a:cubicBezTo>
                  <a:pt x="10438" y="16406"/>
                  <a:pt x="10438" y="16375"/>
                  <a:pt x="10438" y="16375"/>
                </a:cubicBezTo>
                <a:cubicBezTo>
                  <a:pt x="10407" y="16343"/>
                  <a:pt x="10407" y="16343"/>
                  <a:pt x="10407" y="16343"/>
                </a:cubicBezTo>
                <a:cubicBezTo>
                  <a:pt x="10407" y="16312"/>
                  <a:pt x="10407" y="16312"/>
                  <a:pt x="10407" y="16312"/>
                </a:cubicBezTo>
                <a:cubicBezTo>
                  <a:pt x="10407" y="16281"/>
                  <a:pt x="10375" y="16250"/>
                  <a:pt x="10375" y="16218"/>
                </a:cubicBezTo>
                <a:cubicBezTo>
                  <a:pt x="10407" y="16218"/>
                  <a:pt x="10438" y="16187"/>
                  <a:pt x="10438" y="16187"/>
                </a:cubicBezTo>
                <a:cubicBezTo>
                  <a:pt x="10438" y="16156"/>
                  <a:pt x="10438" y="16156"/>
                  <a:pt x="10407" y="16125"/>
                </a:cubicBezTo>
                <a:cubicBezTo>
                  <a:pt x="10407" y="16093"/>
                  <a:pt x="10375" y="16062"/>
                  <a:pt x="10375" y="16000"/>
                </a:cubicBezTo>
                <a:cubicBezTo>
                  <a:pt x="10375" y="16000"/>
                  <a:pt x="10407" y="16000"/>
                  <a:pt x="10407" y="16000"/>
                </a:cubicBezTo>
                <a:cubicBezTo>
                  <a:pt x="10407" y="16000"/>
                  <a:pt x="10407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38" y="16000"/>
                  <a:pt x="10438" y="16000"/>
                </a:cubicBezTo>
                <a:cubicBezTo>
                  <a:pt x="10438" y="16000"/>
                  <a:pt x="10469" y="16000"/>
                  <a:pt x="10469" y="16000"/>
                </a:cubicBezTo>
                <a:cubicBezTo>
                  <a:pt x="10469" y="15968"/>
                  <a:pt x="10438" y="15937"/>
                  <a:pt x="10407" y="15937"/>
                </a:cubicBezTo>
                <a:cubicBezTo>
                  <a:pt x="10407" y="15906"/>
                  <a:pt x="10407" y="15906"/>
                  <a:pt x="10407" y="15906"/>
                </a:cubicBezTo>
                <a:cubicBezTo>
                  <a:pt x="10407" y="15875"/>
                  <a:pt x="10407" y="15875"/>
                  <a:pt x="10407" y="15875"/>
                </a:cubicBezTo>
                <a:cubicBezTo>
                  <a:pt x="10500" y="15843"/>
                  <a:pt x="10469" y="15812"/>
                  <a:pt x="10469" y="15750"/>
                </a:cubicBezTo>
                <a:cubicBezTo>
                  <a:pt x="10469" y="15750"/>
                  <a:pt x="10469" y="15718"/>
                  <a:pt x="10469" y="15718"/>
                </a:cubicBezTo>
                <a:cubicBezTo>
                  <a:pt x="10469" y="15687"/>
                  <a:pt x="10407" y="15625"/>
                  <a:pt x="10469" y="15625"/>
                </a:cubicBezTo>
                <a:cubicBezTo>
                  <a:pt x="10500" y="15625"/>
                  <a:pt x="10594" y="15562"/>
                  <a:pt x="10625" y="15656"/>
                </a:cubicBezTo>
                <a:cubicBezTo>
                  <a:pt x="10657" y="15687"/>
                  <a:pt x="10688" y="15750"/>
                  <a:pt x="10719" y="15812"/>
                </a:cubicBezTo>
                <a:cubicBezTo>
                  <a:pt x="10844" y="15968"/>
                  <a:pt x="10969" y="16156"/>
                  <a:pt x="11094" y="16343"/>
                </a:cubicBezTo>
                <a:cubicBezTo>
                  <a:pt x="11094" y="16375"/>
                  <a:pt x="11125" y="16437"/>
                  <a:pt x="11157" y="16406"/>
                </a:cubicBezTo>
                <a:cubicBezTo>
                  <a:pt x="11219" y="16406"/>
                  <a:pt x="11188" y="16343"/>
                  <a:pt x="11188" y="16312"/>
                </a:cubicBezTo>
                <a:cubicBezTo>
                  <a:pt x="11188" y="16281"/>
                  <a:pt x="11188" y="16250"/>
                  <a:pt x="11188" y="16250"/>
                </a:cubicBezTo>
                <a:cubicBezTo>
                  <a:pt x="11219" y="16093"/>
                  <a:pt x="11188" y="16000"/>
                  <a:pt x="11125" y="15875"/>
                </a:cubicBezTo>
                <a:cubicBezTo>
                  <a:pt x="11063" y="15781"/>
                  <a:pt x="11032" y="15687"/>
                  <a:pt x="11000" y="15562"/>
                </a:cubicBezTo>
                <a:cubicBezTo>
                  <a:pt x="10844" y="15187"/>
                  <a:pt x="10719" y="14781"/>
                  <a:pt x="10594" y="14406"/>
                </a:cubicBezTo>
                <a:cubicBezTo>
                  <a:pt x="10594" y="14375"/>
                  <a:pt x="10594" y="14375"/>
                  <a:pt x="10594" y="14375"/>
                </a:cubicBezTo>
                <a:cubicBezTo>
                  <a:pt x="10594" y="14344"/>
                  <a:pt x="10594" y="14344"/>
                  <a:pt x="10563" y="14344"/>
                </a:cubicBezTo>
                <a:cubicBezTo>
                  <a:pt x="10563" y="14312"/>
                  <a:pt x="10563" y="14281"/>
                  <a:pt x="10563" y="14281"/>
                </a:cubicBezTo>
                <a:cubicBezTo>
                  <a:pt x="10563" y="14281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63" y="14250"/>
                  <a:pt x="10563" y="14250"/>
                </a:cubicBezTo>
                <a:cubicBezTo>
                  <a:pt x="10563" y="14250"/>
                  <a:pt x="10532" y="14219"/>
                  <a:pt x="10532" y="14219"/>
                </a:cubicBezTo>
                <a:cubicBezTo>
                  <a:pt x="10532" y="14219"/>
                  <a:pt x="10532" y="14187"/>
                  <a:pt x="10532" y="14187"/>
                </a:cubicBezTo>
                <a:cubicBezTo>
                  <a:pt x="10532" y="14187"/>
                  <a:pt x="10532" y="14187"/>
                  <a:pt x="10532" y="14156"/>
                </a:cubicBezTo>
                <a:cubicBezTo>
                  <a:pt x="10500" y="14125"/>
                  <a:pt x="10500" y="14094"/>
                  <a:pt x="10469" y="14062"/>
                </a:cubicBezTo>
                <a:cubicBezTo>
                  <a:pt x="10469" y="14031"/>
                  <a:pt x="10469" y="14031"/>
                  <a:pt x="10438" y="14000"/>
                </a:cubicBezTo>
                <a:cubicBezTo>
                  <a:pt x="10469" y="14000"/>
                  <a:pt x="10469" y="13969"/>
                  <a:pt x="10469" y="13969"/>
                </a:cubicBezTo>
                <a:cubicBezTo>
                  <a:pt x="10469" y="13937"/>
                  <a:pt x="10438" y="13906"/>
                  <a:pt x="10438" y="13906"/>
                </a:cubicBezTo>
                <a:cubicBezTo>
                  <a:pt x="10407" y="13875"/>
                  <a:pt x="10407" y="13875"/>
                  <a:pt x="10407" y="13875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44"/>
                  <a:pt x="10407" y="13844"/>
                  <a:pt x="10407" y="13844"/>
                </a:cubicBezTo>
                <a:cubicBezTo>
                  <a:pt x="10407" y="13812"/>
                  <a:pt x="10407" y="13812"/>
                  <a:pt x="10375" y="13781"/>
                </a:cubicBezTo>
                <a:cubicBezTo>
                  <a:pt x="10282" y="13469"/>
                  <a:pt x="10188" y="13187"/>
                  <a:pt x="10063" y="12875"/>
                </a:cubicBezTo>
                <a:cubicBezTo>
                  <a:pt x="10063" y="12750"/>
                  <a:pt x="10000" y="12625"/>
                  <a:pt x="9969" y="12500"/>
                </a:cubicBezTo>
                <a:cubicBezTo>
                  <a:pt x="9969" y="12469"/>
                  <a:pt x="9969" y="12437"/>
                  <a:pt x="9938" y="12437"/>
                </a:cubicBezTo>
                <a:cubicBezTo>
                  <a:pt x="9938" y="12312"/>
                  <a:pt x="9844" y="12250"/>
                  <a:pt x="9875" y="12125"/>
                </a:cubicBezTo>
                <a:cubicBezTo>
                  <a:pt x="10469" y="12656"/>
                  <a:pt x="11094" y="13219"/>
                  <a:pt x="11688" y="13750"/>
                </a:cubicBezTo>
                <a:cubicBezTo>
                  <a:pt x="12375" y="14344"/>
                  <a:pt x="13063" y="14906"/>
                  <a:pt x="13782" y="15469"/>
                </a:cubicBezTo>
                <a:cubicBezTo>
                  <a:pt x="14344" y="15906"/>
                  <a:pt x="14907" y="16343"/>
                  <a:pt x="15469" y="16750"/>
                </a:cubicBezTo>
                <a:cubicBezTo>
                  <a:pt x="15500" y="16781"/>
                  <a:pt x="15500" y="16781"/>
                  <a:pt x="15532" y="16812"/>
                </a:cubicBezTo>
                <a:cubicBezTo>
                  <a:pt x="15563" y="16843"/>
                  <a:pt x="15594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875"/>
                  <a:pt x="15657" y="16875"/>
                </a:cubicBezTo>
                <a:cubicBezTo>
                  <a:pt x="15657" y="16875"/>
                  <a:pt x="15657" y="16906"/>
                  <a:pt x="15688" y="16906"/>
                </a:cubicBezTo>
                <a:cubicBezTo>
                  <a:pt x="15688" y="16937"/>
                  <a:pt x="15719" y="16937"/>
                  <a:pt x="15750" y="16937"/>
                </a:cubicBezTo>
                <a:cubicBezTo>
                  <a:pt x="15750" y="16937"/>
                  <a:pt x="15750" y="16937"/>
                  <a:pt x="15750" y="16937"/>
                </a:cubicBezTo>
                <a:cubicBezTo>
                  <a:pt x="15750" y="16968"/>
                  <a:pt x="15782" y="16968"/>
                  <a:pt x="15782" y="17000"/>
                </a:cubicBezTo>
                <a:cubicBezTo>
                  <a:pt x="15813" y="17031"/>
                  <a:pt x="15844" y="17031"/>
                  <a:pt x="15875" y="17062"/>
                </a:cubicBezTo>
                <a:cubicBezTo>
                  <a:pt x="15875" y="17062"/>
                  <a:pt x="15907" y="17062"/>
                  <a:pt x="15938" y="17062"/>
                </a:cubicBezTo>
                <a:cubicBezTo>
                  <a:pt x="15938" y="17093"/>
                  <a:pt x="15938" y="17093"/>
                  <a:pt x="15938" y="17093"/>
                </a:cubicBezTo>
                <a:cubicBezTo>
                  <a:pt x="15969" y="17125"/>
                  <a:pt x="16032" y="17156"/>
                  <a:pt x="16063" y="17187"/>
                </a:cubicBezTo>
                <a:cubicBezTo>
                  <a:pt x="16157" y="17250"/>
                  <a:pt x="16219" y="17312"/>
                  <a:pt x="16313" y="17343"/>
                </a:cubicBezTo>
                <a:cubicBezTo>
                  <a:pt x="16313" y="17343"/>
                  <a:pt x="16313" y="17343"/>
                  <a:pt x="16313" y="17343"/>
                </a:cubicBezTo>
                <a:cubicBezTo>
                  <a:pt x="16344" y="17375"/>
                  <a:pt x="16344" y="17375"/>
                  <a:pt x="16375" y="17406"/>
                </a:cubicBezTo>
                <a:cubicBezTo>
                  <a:pt x="16375" y="17406"/>
                  <a:pt x="16407" y="17437"/>
                  <a:pt x="16438" y="17437"/>
                </a:cubicBezTo>
                <a:cubicBezTo>
                  <a:pt x="16438" y="17437"/>
                  <a:pt x="16438" y="17437"/>
                  <a:pt x="16438" y="17437"/>
                </a:cubicBezTo>
                <a:cubicBezTo>
                  <a:pt x="16469" y="17468"/>
                  <a:pt x="16500" y="17468"/>
                  <a:pt x="16532" y="17468"/>
                </a:cubicBezTo>
                <a:cubicBezTo>
                  <a:pt x="16532" y="17500"/>
                  <a:pt x="16532" y="17500"/>
                  <a:pt x="16532" y="17500"/>
                </a:cubicBezTo>
                <a:cubicBezTo>
                  <a:pt x="16563" y="17562"/>
                  <a:pt x="16657" y="17593"/>
                  <a:pt x="16719" y="17625"/>
                </a:cubicBezTo>
                <a:cubicBezTo>
                  <a:pt x="17344" y="18031"/>
                  <a:pt x="17969" y="18375"/>
                  <a:pt x="18657" y="18625"/>
                </a:cubicBezTo>
                <a:cubicBezTo>
                  <a:pt x="18969" y="18750"/>
                  <a:pt x="19282" y="18781"/>
                  <a:pt x="19594" y="18843"/>
                </a:cubicBezTo>
                <a:cubicBezTo>
                  <a:pt x="19625" y="18843"/>
                  <a:pt x="19625" y="18843"/>
                  <a:pt x="19657" y="18812"/>
                </a:cubicBezTo>
                <a:cubicBezTo>
                  <a:pt x="19688" y="18812"/>
                  <a:pt x="19750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13" y="18812"/>
                  <a:pt x="19813" y="18812"/>
                  <a:pt x="19813" y="18812"/>
                </a:cubicBezTo>
                <a:cubicBezTo>
                  <a:pt x="19844" y="18812"/>
                  <a:pt x="19875" y="18812"/>
                  <a:pt x="19907" y="18812"/>
                </a:cubicBezTo>
                <a:cubicBezTo>
                  <a:pt x="19938" y="18812"/>
                  <a:pt x="20000" y="18812"/>
                  <a:pt x="20032" y="18781"/>
                </a:cubicBezTo>
                <a:cubicBezTo>
                  <a:pt x="20032" y="18781"/>
                  <a:pt x="20063" y="18781"/>
                  <a:pt x="20063" y="18781"/>
                </a:cubicBezTo>
                <a:cubicBezTo>
                  <a:pt x="20125" y="18781"/>
                  <a:pt x="20125" y="18750"/>
                  <a:pt x="20219" y="18750"/>
                </a:cubicBezTo>
                <a:cubicBezTo>
                  <a:pt x="20188" y="18750"/>
                  <a:pt x="20188" y="18718"/>
                  <a:pt x="20157" y="18718"/>
                </a:cubicBezTo>
                <a:cubicBezTo>
                  <a:pt x="20125" y="18718"/>
                  <a:pt x="20094" y="18718"/>
                  <a:pt x="20063" y="18718"/>
                </a:cubicBezTo>
                <a:cubicBezTo>
                  <a:pt x="20032" y="18718"/>
                  <a:pt x="19969" y="18687"/>
                  <a:pt x="19938" y="18687"/>
                </a:cubicBezTo>
                <a:cubicBezTo>
                  <a:pt x="19813" y="18687"/>
                  <a:pt x="19688" y="18687"/>
                  <a:pt x="19563" y="18687"/>
                </a:cubicBezTo>
                <a:cubicBezTo>
                  <a:pt x="19532" y="18656"/>
                  <a:pt x="19500" y="18656"/>
                  <a:pt x="19500" y="18656"/>
                </a:cubicBezTo>
                <a:cubicBezTo>
                  <a:pt x="19469" y="18656"/>
                  <a:pt x="19438" y="18656"/>
                  <a:pt x="19438" y="18625"/>
                </a:cubicBezTo>
                <a:cubicBezTo>
                  <a:pt x="19438" y="18625"/>
                  <a:pt x="19407" y="18625"/>
                  <a:pt x="19407" y="18625"/>
                </a:cubicBezTo>
                <a:cubicBezTo>
                  <a:pt x="19375" y="18625"/>
                  <a:pt x="19375" y="18625"/>
                  <a:pt x="19344" y="18625"/>
                </a:cubicBezTo>
                <a:cubicBezTo>
                  <a:pt x="19344" y="18625"/>
                  <a:pt x="19313" y="18625"/>
                  <a:pt x="19313" y="18625"/>
                </a:cubicBezTo>
                <a:cubicBezTo>
                  <a:pt x="19219" y="18593"/>
                  <a:pt x="19157" y="18593"/>
                  <a:pt x="19094" y="18562"/>
                </a:cubicBezTo>
                <a:cubicBezTo>
                  <a:pt x="18969" y="18531"/>
                  <a:pt x="18875" y="18500"/>
                  <a:pt x="18750" y="18468"/>
                </a:cubicBezTo>
                <a:cubicBezTo>
                  <a:pt x="18594" y="18406"/>
                  <a:pt x="18407" y="18343"/>
                  <a:pt x="18250" y="18250"/>
                </a:cubicBezTo>
                <a:cubicBezTo>
                  <a:pt x="17844" y="18062"/>
                  <a:pt x="17438" y="17843"/>
                  <a:pt x="17063" y="17593"/>
                </a:cubicBezTo>
                <a:cubicBezTo>
                  <a:pt x="17063" y="17593"/>
                  <a:pt x="17063" y="17593"/>
                  <a:pt x="17032" y="17562"/>
                </a:cubicBezTo>
                <a:cubicBezTo>
                  <a:pt x="17032" y="17562"/>
                  <a:pt x="17032" y="17562"/>
                  <a:pt x="17000" y="17562"/>
                </a:cubicBezTo>
                <a:cubicBezTo>
                  <a:pt x="16969" y="17531"/>
                  <a:pt x="16907" y="17500"/>
                  <a:pt x="16844" y="17468"/>
                </a:cubicBezTo>
                <a:cubicBezTo>
                  <a:pt x="16844" y="17468"/>
                  <a:pt x="16844" y="17437"/>
                  <a:pt x="16844" y="17437"/>
                </a:cubicBezTo>
                <a:cubicBezTo>
                  <a:pt x="16844" y="17437"/>
                  <a:pt x="16813" y="17437"/>
                  <a:pt x="16813" y="17437"/>
                </a:cubicBezTo>
                <a:cubicBezTo>
                  <a:pt x="16750" y="17406"/>
                  <a:pt x="16719" y="17375"/>
                  <a:pt x="16657" y="17343"/>
                </a:cubicBezTo>
                <a:cubicBezTo>
                  <a:pt x="16657" y="17343"/>
                  <a:pt x="16657" y="17343"/>
                  <a:pt x="16657" y="17312"/>
                </a:cubicBezTo>
                <a:cubicBezTo>
                  <a:pt x="16657" y="17312"/>
                  <a:pt x="16625" y="17312"/>
                  <a:pt x="16594" y="17312"/>
                </a:cubicBezTo>
                <a:cubicBezTo>
                  <a:pt x="16563" y="17281"/>
                  <a:pt x="16532" y="17250"/>
                  <a:pt x="16500" y="17250"/>
                </a:cubicBezTo>
                <a:cubicBezTo>
                  <a:pt x="16469" y="17218"/>
                  <a:pt x="16469" y="17218"/>
                  <a:pt x="16469" y="17218"/>
                </a:cubicBezTo>
                <a:cubicBezTo>
                  <a:pt x="16438" y="17187"/>
                  <a:pt x="16438" y="17187"/>
                  <a:pt x="16438" y="17187"/>
                </a:cubicBezTo>
                <a:cubicBezTo>
                  <a:pt x="16438" y="17156"/>
                  <a:pt x="16407" y="17156"/>
                  <a:pt x="16407" y="17156"/>
                </a:cubicBezTo>
                <a:cubicBezTo>
                  <a:pt x="16375" y="17156"/>
                  <a:pt x="16313" y="17125"/>
                  <a:pt x="16282" y="17093"/>
                </a:cubicBezTo>
                <a:cubicBezTo>
                  <a:pt x="16282" y="17093"/>
                  <a:pt x="16250" y="17093"/>
                  <a:pt x="16250" y="17062"/>
                </a:cubicBezTo>
                <a:cubicBezTo>
                  <a:pt x="16250" y="17062"/>
                  <a:pt x="16250" y="17062"/>
                  <a:pt x="16250" y="17031"/>
                </a:cubicBezTo>
                <a:cubicBezTo>
                  <a:pt x="16219" y="17031"/>
                  <a:pt x="16219" y="17031"/>
                  <a:pt x="16219" y="17031"/>
                </a:cubicBezTo>
                <a:cubicBezTo>
                  <a:pt x="16157" y="17000"/>
                  <a:pt x="16094" y="16968"/>
                  <a:pt x="16063" y="16937"/>
                </a:cubicBezTo>
                <a:cubicBezTo>
                  <a:pt x="16063" y="16937"/>
                  <a:pt x="16063" y="16937"/>
                  <a:pt x="16063" y="16906"/>
                </a:cubicBezTo>
                <a:cubicBezTo>
                  <a:pt x="16063" y="16906"/>
                  <a:pt x="16032" y="16906"/>
                  <a:pt x="16032" y="16906"/>
                </a:cubicBezTo>
                <a:cubicBezTo>
                  <a:pt x="16032" y="16906"/>
                  <a:pt x="16032" y="16906"/>
                  <a:pt x="16000" y="16906"/>
                </a:cubicBezTo>
                <a:cubicBezTo>
                  <a:pt x="15969" y="16875"/>
                  <a:pt x="15907" y="16843"/>
                  <a:pt x="15875" y="16812"/>
                </a:cubicBezTo>
                <a:cubicBezTo>
                  <a:pt x="15875" y="16781"/>
                  <a:pt x="15875" y="16781"/>
                  <a:pt x="15875" y="16781"/>
                </a:cubicBezTo>
                <a:cubicBezTo>
                  <a:pt x="15844" y="16781"/>
                  <a:pt x="15844" y="16781"/>
                  <a:pt x="15813" y="16781"/>
                </a:cubicBezTo>
                <a:cubicBezTo>
                  <a:pt x="15813" y="16750"/>
                  <a:pt x="15813" y="16750"/>
                  <a:pt x="15813" y="16750"/>
                </a:cubicBezTo>
                <a:cubicBezTo>
                  <a:pt x="15813" y="16718"/>
                  <a:pt x="15844" y="16718"/>
                  <a:pt x="15875" y="16718"/>
                </a:cubicBezTo>
                <a:cubicBezTo>
                  <a:pt x="15875" y="16718"/>
                  <a:pt x="15875" y="16750"/>
                  <a:pt x="15907" y="16750"/>
                </a:cubicBezTo>
                <a:cubicBezTo>
                  <a:pt x="15907" y="16750"/>
                  <a:pt x="15907" y="16750"/>
                  <a:pt x="15907" y="16750"/>
                </a:cubicBezTo>
                <a:cubicBezTo>
                  <a:pt x="15907" y="16750"/>
                  <a:pt x="15907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38" y="16750"/>
                  <a:pt x="15938" y="16750"/>
                </a:cubicBezTo>
                <a:cubicBezTo>
                  <a:pt x="15938" y="16750"/>
                  <a:pt x="15969" y="16781"/>
                  <a:pt x="15969" y="16812"/>
                </a:cubicBezTo>
                <a:cubicBezTo>
                  <a:pt x="16000" y="16812"/>
                  <a:pt x="16032" y="16843"/>
                  <a:pt x="16063" y="16875"/>
                </a:cubicBezTo>
                <a:cubicBezTo>
                  <a:pt x="16063" y="16875"/>
                  <a:pt x="16094" y="16875"/>
                  <a:pt x="16094" y="16875"/>
                </a:cubicBezTo>
                <a:cubicBezTo>
                  <a:pt x="16094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25" y="16875"/>
                  <a:pt x="16125" y="16875"/>
                  <a:pt x="16125" y="16875"/>
                </a:cubicBezTo>
                <a:cubicBezTo>
                  <a:pt x="16157" y="16906"/>
                  <a:pt x="16157" y="16937"/>
                  <a:pt x="16157" y="16937"/>
                </a:cubicBezTo>
                <a:cubicBezTo>
                  <a:pt x="16188" y="16937"/>
                  <a:pt x="16188" y="16937"/>
                  <a:pt x="16188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37"/>
                  <a:pt x="16219" y="16937"/>
                </a:cubicBezTo>
                <a:cubicBezTo>
                  <a:pt x="16219" y="16937"/>
                  <a:pt x="16219" y="16968"/>
                  <a:pt x="16250" y="16968"/>
                </a:cubicBezTo>
                <a:cubicBezTo>
                  <a:pt x="16250" y="17000"/>
                  <a:pt x="16282" y="17000"/>
                  <a:pt x="16282" y="17000"/>
                </a:cubicBezTo>
                <a:cubicBezTo>
                  <a:pt x="16313" y="17000"/>
                  <a:pt x="16313" y="17000"/>
                  <a:pt x="16344" y="17000"/>
                </a:cubicBezTo>
                <a:cubicBezTo>
                  <a:pt x="16344" y="17000"/>
                  <a:pt x="16344" y="17000"/>
                  <a:pt x="16344" y="17000"/>
                </a:cubicBezTo>
                <a:cubicBezTo>
                  <a:pt x="16344" y="17031"/>
                  <a:pt x="16375" y="17062"/>
                  <a:pt x="16375" y="17062"/>
                </a:cubicBezTo>
                <a:cubicBezTo>
                  <a:pt x="16407" y="17093"/>
                  <a:pt x="16407" y="17093"/>
                  <a:pt x="16438" y="17125"/>
                </a:cubicBezTo>
                <a:cubicBezTo>
                  <a:pt x="16438" y="17125"/>
                  <a:pt x="16469" y="17125"/>
                  <a:pt x="16469" y="17125"/>
                </a:cubicBezTo>
                <a:cubicBezTo>
                  <a:pt x="16469" y="17125"/>
                  <a:pt x="16469" y="17125"/>
                  <a:pt x="16500" y="17125"/>
                </a:cubicBezTo>
                <a:cubicBezTo>
                  <a:pt x="16500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32" y="17156"/>
                  <a:pt x="16532" y="17156"/>
                  <a:pt x="16532" y="17156"/>
                </a:cubicBezTo>
                <a:cubicBezTo>
                  <a:pt x="16563" y="17187"/>
                  <a:pt x="16563" y="17218"/>
                  <a:pt x="16594" y="17218"/>
                </a:cubicBezTo>
                <a:cubicBezTo>
                  <a:pt x="16625" y="17250"/>
                  <a:pt x="16657" y="17250"/>
                  <a:pt x="16688" y="17281"/>
                </a:cubicBezTo>
                <a:cubicBezTo>
                  <a:pt x="16719" y="17281"/>
                  <a:pt x="16719" y="17281"/>
                  <a:pt x="16719" y="17281"/>
                </a:cubicBezTo>
                <a:cubicBezTo>
                  <a:pt x="16719" y="17281"/>
                  <a:pt x="16750" y="17281"/>
                  <a:pt x="16750" y="17281"/>
                </a:cubicBezTo>
                <a:cubicBezTo>
                  <a:pt x="16750" y="17281"/>
                  <a:pt x="16750" y="17281"/>
                  <a:pt x="16750" y="17281"/>
                </a:cubicBezTo>
                <a:cubicBezTo>
                  <a:pt x="16750" y="17312"/>
                  <a:pt x="16750" y="17312"/>
                  <a:pt x="16750" y="17312"/>
                </a:cubicBezTo>
                <a:cubicBezTo>
                  <a:pt x="16782" y="17343"/>
                  <a:pt x="16782" y="17343"/>
                  <a:pt x="16782" y="17343"/>
                </a:cubicBezTo>
                <a:cubicBezTo>
                  <a:pt x="16813" y="17343"/>
                  <a:pt x="16813" y="17343"/>
                  <a:pt x="16844" y="17343"/>
                </a:cubicBezTo>
                <a:cubicBezTo>
                  <a:pt x="16844" y="17343"/>
                  <a:pt x="16844" y="17343"/>
                  <a:pt x="16844" y="17343"/>
                </a:cubicBezTo>
                <a:cubicBezTo>
                  <a:pt x="16844" y="17375"/>
                  <a:pt x="16844" y="17406"/>
                  <a:pt x="16875" y="17406"/>
                </a:cubicBezTo>
                <a:cubicBezTo>
                  <a:pt x="16875" y="17406"/>
                  <a:pt x="16907" y="17406"/>
                  <a:pt x="16907" y="17406"/>
                </a:cubicBezTo>
                <a:cubicBezTo>
                  <a:pt x="16907" y="17406"/>
                  <a:pt x="16938" y="17406"/>
                  <a:pt x="16938" y="17406"/>
                </a:cubicBezTo>
                <a:cubicBezTo>
                  <a:pt x="16938" y="17406"/>
                  <a:pt x="16938" y="17406"/>
                  <a:pt x="16938" y="17406"/>
                </a:cubicBezTo>
                <a:cubicBezTo>
                  <a:pt x="17000" y="17468"/>
                  <a:pt x="17032" y="17500"/>
                  <a:pt x="17094" y="17531"/>
                </a:cubicBezTo>
                <a:cubicBezTo>
                  <a:pt x="17157" y="17562"/>
                  <a:pt x="17188" y="17593"/>
                  <a:pt x="17250" y="17593"/>
                </a:cubicBezTo>
                <a:cubicBezTo>
                  <a:pt x="17250" y="17625"/>
                  <a:pt x="17282" y="17625"/>
                  <a:pt x="17282" y="17625"/>
                </a:cubicBezTo>
                <a:cubicBezTo>
                  <a:pt x="17282" y="17625"/>
                  <a:pt x="17282" y="17625"/>
                  <a:pt x="17282" y="17625"/>
                </a:cubicBezTo>
                <a:cubicBezTo>
                  <a:pt x="17313" y="17656"/>
                  <a:pt x="17344" y="17687"/>
                  <a:pt x="17375" y="17718"/>
                </a:cubicBezTo>
                <a:cubicBezTo>
                  <a:pt x="17407" y="17718"/>
                  <a:pt x="17438" y="17750"/>
                  <a:pt x="17438" y="17750"/>
                </a:cubicBezTo>
                <a:cubicBezTo>
                  <a:pt x="17500" y="17781"/>
                  <a:pt x="17563" y="17812"/>
                  <a:pt x="17625" y="17812"/>
                </a:cubicBezTo>
                <a:cubicBezTo>
                  <a:pt x="17625" y="17812"/>
                  <a:pt x="17625" y="17812"/>
                  <a:pt x="17625" y="17812"/>
                </a:cubicBezTo>
                <a:cubicBezTo>
                  <a:pt x="17625" y="17812"/>
                  <a:pt x="17625" y="17812"/>
                  <a:pt x="17625" y="17843"/>
                </a:cubicBezTo>
                <a:cubicBezTo>
                  <a:pt x="17625" y="17843"/>
                  <a:pt x="17625" y="17843"/>
                  <a:pt x="17657" y="17843"/>
                </a:cubicBezTo>
                <a:cubicBezTo>
                  <a:pt x="17657" y="17875"/>
                  <a:pt x="17657" y="17875"/>
                  <a:pt x="17688" y="17875"/>
                </a:cubicBezTo>
                <a:cubicBezTo>
                  <a:pt x="17688" y="17875"/>
                  <a:pt x="17719" y="17875"/>
                  <a:pt x="17719" y="17875"/>
                </a:cubicBezTo>
                <a:cubicBezTo>
                  <a:pt x="17719" y="17875"/>
                  <a:pt x="17719" y="17875"/>
                  <a:pt x="17750" y="17875"/>
                </a:cubicBezTo>
                <a:cubicBezTo>
                  <a:pt x="17750" y="17875"/>
                  <a:pt x="17750" y="17875"/>
                  <a:pt x="17750" y="17875"/>
                </a:cubicBezTo>
                <a:cubicBezTo>
                  <a:pt x="17750" y="17906"/>
                  <a:pt x="17750" y="17906"/>
                  <a:pt x="17750" y="17906"/>
                </a:cubicBezTo>
                <a:cubicBezTo>
                  <a:pt x="17782" y="17937"/>
                  <a:pt x="17813" y="17937"/>
                  <a:pt x="17844" y="17937"/>
                </a:cubicBezTo>
                <a:cubicBezTo>
                  <a:pt x="17844" y="17937"/>
                  <a:pt x="17875" y="17937"/>
                  <a:pt x="17875" y="17968"/>
                </a:cubicBezTo>
                <a:cubicBezTo>
                  <a:pt x="17875" y="17968"/>
                  <a:pt x="17875" y="17968"/>
                  <a:pt x="17875" y="17968"/>
                </a:cubicBezTo>
                <a:cubicBezTo>
                  <a:pt x="17875" y="17968"/>
                  <a:pt x="17907" y="18000"/>
                  <a:pt x="17907" y="18000"/>
                </a:cubicBezTo>
                <a:cubicBezTo>
                  <a:pt x="17907" y="18000"/>
                  <a:pt x="17938" y="18000"/>
                  <a:pt x="17969" y="18000"/>
                </a:cubicBezTo>
                <a:cubicBezTo>
                  <a:pt x="18000" y="18000"/>
                  <a:pt x="18000" y="18031"/>
                  <a:pt x="18000" y="18031"/>
                </a:cubicBezTo>
                <a:cubicBezTo>
                  <a:pt x="18000" y="18031"/>
                  <a:pt x="18032" y="18031"/>
                  <a:pt x="18032" y="18031"/>
                </a:cubicBezTo>
                <a:cubicBezTo>
                  <a:pt x="18032" y="18062"/>
                  <a:pt x="18063" y="18062"/>
                  <a:pt x="18094" y="18062"/>
                </a:cubicBezTo>
                <a:cubicBezTo>
                  <a:pt x="18125" y="18093"/>
                  <a:pt x="18125" y="18093"/>
                  <a:pt x="18157" y="18093"/>
                </a:cubicBezTo>
                <a:cubicBezTo>
                  <a:pt x="18157" y="18093"/>
                  <a:pt x="18157" y="18125"/>
                  <a:pt x="18188" y="18125"/>
                </a:cubicBezTo>
                <a:cubicBezTo>
                  <a:pt x="18219" y="18125"/>
                  <a:pt x="18219" y="18156"/>
                  <a:pt x="18250" y="18156"/>
                </a:cubicBezTo>
                <a:cubicBezTo>
                  <a:pt x="18282" y="18156"/>
                  <a:pt x="18282" y="18156"/>
                  <a:pt x="18282" y="18156"/>
                </a:cubicBezTo>
                <a:cubicBezTo>
                  <a:pt x="18282" y="18187"/>
                  <a:pt x="18313" y="18187"/>
                  <a:pt x="18313" y="18187"/>
                </a:cubicBezTo>
                <a:cubicBezTo>
                  <a:pt x="18313" y="18187"/>
                  <a:pt x="18344" y="18187"/>
                  <a:pt x="18344" y="18218"/>
                </a:cubicBezTo>
                <a:cubicBezTo>
                  <a:pt x="18344" y="18218"/>
                  <a:pt x="18375" y="18218"/>
                  <a:pt x="18375" y="18218"/>
                </a:cubicBezTo>
                <a:cubicBezTo>
                  <a:pt x="18375" y="18218"/>
                  <a:pt x="18375" y="18218"/>
                  <a:pt x="18375" y="18218"/>
                </a:cubicBezTo>
                <a:cubicBezTo>
                  <a:pt x="18375" y="18218"/>
                  <a:pt x="18407" y="18218"/>
                  <a:pt x="18407" y="18218"/>
                </a:cubicBezTo>
                <a:cubicBezTo>
                  <a:pt x="18438" y="18218"/>
                  <a:pt x="18438" y="18218"/>
                  <a:pt x="18438" y="18218"/>
                </a:cubicBezTo>
                <a:cubicBezTo>
                  <a:pt x="18438" y="18218"/>
                  <a:pt x="18438" y="18218"/>
                  <a:pt x="18438" y="18250"/>
                </a:cubicBezTo>
                <a:cubicBezTo>
                  <a:pt x="18469" y="18281"/>
                  <a:pt x="18500" y="18281"/>
                  <a:pt x="18563" y="18281"/>
                </a:cubicBezTo>
                <a:cubicBezTo>
                  <a:pt x="18563" y="18281"/>
                  <a:pt x="18594" y="18281"/>
                  <a:pt x="18625" y="18281"/>
                </a:cubicBezTo>
                <a:cubicBezTo>
                  <a:pt x="18625" y="18312"/>
                  <a:pt x="18657" y="18343"/>
                  <a:pt x="18688" y="18343"/>
                </a:cubicBezTo>
                <a:cubicBezTo>
                  <a:pt x="18719" y="18343"/>
                  <a:pt x="18719" y="18343"/>
                  <a:pt x="18750" y="18343"/>
                </a:cubicBezTo>
                <a:cubicBezTo>
                  <a:pt x="18782" y="18343"/>
                  <a:pt x="18782" y="18343"/>
                  <a:pt x="18813" y="18343"/>
                </a:cubicBezTo>
                <a:cubicBezTo>
                  <a:pt x="18813" y="18375"/>
                  <a:pt x="18844" y="18375"/>
                  <a:pt x="18844" y="18375"/>
                </a:cubicBezTo>
                <a:cubicBezTo>
                  <a:pt x="18844" y="18406"/>
                  <a:pt x="18875" y="18406"/>
                  <a:pt x="18875" y="18406"/>
                </a:cubicBezTo>
                <a:cubicBezTo>
                  <a:pt x="18875" y="18406"/>
                  <a:pt x="18907" y="18406"/>
                  <a:pt x="18907" y="18406"/>
                </a:cubicBezTo>
                <a:cubicBezTo>
                  <a:pt x="18907" y="18406"/>
                  <a:pt x="18907" y="18406"/>
                  <a:pt x="18907" y="18406"/>
                </a:cubicBezTo>
                <a:cubicBezTo>
                  <a:pt x="18938" y="18406"/>
                  <a:pt x="18938" y="18406"/>
                  <a:pt x="18938" y="18406"/>
                </a:cubicBezTo>
                <a:cubicBezTo>
                  <a:pt x="18969" y="18406"/>
                  <a:pt x="19000" y="18406"/>
                  <a:pt x="19000" y="18437"/>
                </a:cubicBezTo>
                <a:cubicBezTo>
                  <a:pt x="19032" y="18437"/>
                  <a:pt x="19032" y="18437"/>
                  <a:pt x="19032" y="18468"/>
                </a:cubicBezTo>
                <a:cubicBezTo>
                  <a:pt x="19063" y="18468"/>
                  <a:pt x="19125" y="18468"/>
                  <a:pt x="19157" y="18468"/>
                </a:cubicBezTo>
                <a:cubicBezTo>
                  <a:pt x="19313" y="18500"/>
                  <a:pt x="19469" y="18531"/>
                  <a:pt x="19625" y="18562"/>
                </a:cubicBezTo>
                <a:cubicBezTo>
                  <a:pt x="19657" y="18562"/>
                  <a:pt x="19688" y="18562"/>
                  <a:pt x="19719" y="18562"/>
                </a:cubicBezTo>
                <a:cubicBezTo>
                  <a:pt x="19719" y="18593"/>
                  <a:pt x="19719" y="18593"/>
                  <a:pt x="19750" y="18593"/>
                </a:cubicBezTo>
                <a:cubicBezTo>
                  <a:pt x="19750" y="18593"/>
                  <a:pt x="19782" y="18593"/>
                  <a:pt x="19813" y="18593"/>
                </a:cubicBezTo>
                <a:cubicBezTo>
                  <a:pt x="19844" y="18593"/>
                  <a:pt x="19875" y="18593"/>
                  <a:pt x="19907" y="18593"/>
                </a:cubicBezTo>
                <a:cubicBezTo>
                  <a:pt x="19907" y="18593"/>
                  <a:pt x="19907" y="18593"/>
                  <a:pt x="19938" y="18593"/>
                </a:cubicBezTo>
                <a:cubicBezTo>
                  <a:pt x="19938" y="18593"/>
                  <a:pt x="19969" y="18593"/>
                  <a:pt x="19969" y="18562"/>
                </a:cubicBezTo>
                <a:cubicBezTo>
                  <a:pt x="20000" y="18562"/>
                  <a:pt x="20032" y="18562"/>
                  <a:pt x="20063" y="18562"/>
                </a:cubicBezTo>
                <a:cubicBezTo>
                  <a:pt x="20063" y="18593"/>
                  <a:pt x="20094" y="18593"/>
                  <a:pt x="20125" y="18593"/>
                </a:cubicBezTo>
                <a:cubicBezTo>
                  <a:pt x="20125" y="18593"/>
                  <a:pt x="20125" y="18593"/>
                  <a:pt x="20125" y="18593"/>
                </a:cubicBezTo>
                <a:cubicBezTo>
                  <a:pt x="20188" y="18625"/>
                  <a:pt x="20250" y="18625"/>
                  <a:pt x="20313" y="18593"/>
                </a:cubicBezTo>
                <a:cubicBezTo>
                  <a:pt x="20313" y="18593"/>
                  <a:pt x="20344" y="18593"/>
                  <a:pt x="20344" y="18593"/>
                </a:cubicBezTo>
                <a:cubicBezTo>
                  <a:pt x="20375" y="18593"/>
                  <a:pt x="20407" y="18593"/>
                  <a:pt x="20438" y="18562"/>
                </a:cubicBezTo>
                <a:cubicBezTo>
                  <a:pt x="20438" y="18562"/>
                  <a:pt x="20438" y="18562"/>
                  <a:pt x="20438" y="18562"/>
                </a:cubicBezTo>
                <a:cubicBezTo>
                  <a:pt x="20469" y="18562"/>
                  <a:pt x="20500" y="18562"/>
                  <a:pt x="20532" y="18562"/>
                </a:cubicBezTo>
                <a:cubicBezTo>
                  <a:pt x="20532" y="18562"/>
                  <a:pt x="20532" y="18562"/>
                  <a:pt x="20532" y="18562"/>
                </a:cubicBezTo>
                <a:cubicBezTo>
                  <a:pt x="20563" y="18562"/>
                  <a:pt x="20594" y="18562"/>
                  <a:pt x="20594" y="18531"/>
                </a:cubicBezTo>
                <a:cubicBezTo>
                  <a:pt x="20625" y="18531"/>
                  <a:pt x="20625" y="18531"/>
                  <a:pt x="20625" y="18531"/>
                </a:cubicBezTo>
                <a:cubicBezTo>
                  <a:pt x="20657" y="18531"/>
                  <a:pt x="20657" y="18531"/>
                  <a:pt x="20657" y="18500"/>
                </a:cubicBezTo>
                <a:cubicBezTo>
                  <a:pt x="20688" y="18500"/>
                  <a:pt x="20688" y="18468"/>
                  <a:pt x="20719" y="18468"/>
                </a:cubicBezTo>
                <a:cubicBezTo>
                  <a:pt x="20719" y="18406"/>
                  <a:pt x="20625" y="18375"/>
                  <a:pt x="20594" y="18343"/>
                </a:cubicBezTo>
                <a:cubicBezTo>
                  <a:pt x="20594" y="18343"/>
                  <a:pt x="20594" y="18343"/>
                  <a:pt x="20563" y="18343"/>
                </a:cubicBezTo>
                <a:cubicBezTo>
                  <a:pt x="20563" y="18312"/>
                  <a:pt x="20532" y="18312"/>
                  <a:pt x="20500" y="18312"/>
                </a:cubicBezTo>
                <a:cubicBezTo>
                  <a:pt x="20500" y="18312"/>
                  <a:pt x="20469" y="18343"/>
                  <a:pt x="20438" y="18343"/>
                </a:cubicBezTo>
                <a:cubicBezTo>
                  <a:pt x="20438" y="18343"/>
                  <a:pt x="20438" y="18343"/>
                  <a:pt x="20407" y="18343"/>
                </a:cubicBezTo>
                <a:cubicBezTo>
                  <a:pt x="20407" y="18343"/>
                  <a:pt x="20375" y="18343"/>
                  <a:pt x="20375" y="18343"/>
                </a:cubicBezTo>
                <a:cubicBezTo>
                  <a:pt x="20313" y="18343"/>
                  <a:pt x="20282" y="18343"/>
                  <a:pt x="20250" y="18343"/>
                </a:cubicBezTo>
                <a:cubicBezTo>
                  <a:pt x="20219" y="18343"/>
                  <a:pt x="20188" y="18343"/>
                  <a:pt x="20157" y="18343"/>
                </a:cubicBezTo>
                <a:cubicBezTo>
                  <a:pt x="20125" y="18343"/>
                  <a:pt x="20125" y="18343"/>
                  <a:pt x="20125" y="18343"/>
                </a:cubicBezTo>
                <a:cubicBezTo>
                  <a:pt x="19532" y="18281"/>
                  <a:pt x="18969" y="18093"/>
                  <a:pt x="18438" y="17875"/>
                </a:cubicBezTo>
                <a:cubicBezTo>
                  <a:pt x="17969" y="17656"/>
                  <a:pt x="17563" y="17406"/>
                  <a:pt x="17157" y="17156"/>
                </a:cubicBezTo>
                <a:cubicBezTo>
                  <a:pt x="16907" y="17000"/>
                  <a:pt x="16688" y="16875"/>
                  <a:pt x="16469" y="16687"/>
                </a:cubicBezTo>
                <a:cubicBezTo>
                  <a:pt x="16469" y="16687"/>
                  <a:pt x="16469" y="16687"/>
                  <a:pt x="16469" y="16687"/>
                </a:cubicBezTo>
                <a:cubicBezTo>
                  <a:pt x="16469" y="16687"/>
                  <a:pt x="16469" y="16687"/>
                  <a:pt x="16438" y="16687"/>
                </a:cubicBezTo>
                <a:cubicBezTo>
                  <a:pt x="16438" y="16687"/>
                  <a:pt x="16407" y="16656"/>
                  <a:pt x="16407" y="16656"/>
                </a:cubicBezTo>
                <a:cubicBezTo>
                  <a:pt x="16407" y="16656"/>
                  <a:pt x="16407" y="16656"/>
                  <a:pt x="16407" y="16625"/>
                </a:cubicBezTo>
                <a:cubicBezTo>
                  <a:pt x="16407" y="16625"/>
                  <a:pt x="16407" y="16625"/>
                  <a:pt x="16407" y="16625"/>
                </a:cubicBezTo>
                <a:cubicBezTo>
                  <a:pt x="16407" y="16625"/>
                  <a:pt x="16375" y="16625"/>
                  <a:pt x="16344" y="16625"/>
                </a:cubicBezTo>
                <a:cubicBezTo>
                  <a:pt x="16344" y="16625"/>
                  <a:pt x="16344" y="16625"/>
                  <a:pt x="16344" y="16593"/>
                </a:cubicBezTo>
                <a:cubicBezTo>
                  <a:pt x="16344" y="16593"/>
                  <a:pt x="16344" y="16593"/>
                  <a:pt x="16344" y="16593"/>
                </a:cubicBezTo>
                <a:cubicBezTo>
                  <a:pt x="16344" y="16593"/>
                  <a:pt x="16344" y="16593"/>
                  <a:pt x="16344" y="16562"/>
                </a:cubicBezTo>
                <a:cubicBezTo>
                  <a:pt x="16344" y="16562"/>
                  <a:pt x="16344" y="16562"/>
                  <a:pt x="16344" y="16562"/>
                </a:cubicBezTo>
                <a:cubicBezTo>
                  <a:pt x="16313" y="16562"/>
                  <a:pt x="16313" y="16562"/>
                  <a:pt x="16282" y="16562"/>
                </a:cubicBezTo>
                <a:cubicBezTo>
                  <a:pt x="16219" y="16531"/>
                  <a:pt x="16188" y="16500"/>
                  <a:pt x="16125" y="16468"/>
                </a:cubicBezTo>
                <a:cubicBezTo>
                  <a:pt x="16125" y="16468"/>
                  <a:pt x="16125" y="16468"/>
                  <a:pt x="16125" y="16468"/>
                </a:cubicBezTo>
                <a:cubicBezTo>
                  <a:pt x="16125" y="16406"/>
                  <a:pt x="16125" y="16406"/>
                  <a:pt x="16063" y="16406"/>
                </a:cubicBezTo>
                <a:cubicBezTo>
                  <a:pt x="16063" y="16406"/>
                  <a:pt x="16063" y="16406"/>
                  <a:pt x="16063" y="16406"/>
                </a:cubicBezTo>
                <a:cubicBezTo>
                  <a:pt x="16063" y="16375"/>
                  <a:pt x="16032" y="16375"/>
                  <a:pt x="16000" y="16375"/>
                </a:cubicBezTo>
                <a:cubicBezTo>
                  <a:pt x="15907" y="16312"/>
                  <a:pt x="15844" y="16250"/>
                  <a:pt x="15750" y="16187"/>
                </a:cubicBezTo>
                <a:cubicBezTo>
                  <a:pt x="15719" y="16187"/>
                  <a:pt x="15688" y="16156"/>
                  <a:pt x="15657" y="16156"/>
                </a:cubicBezTo>
                <a:cubicBezTo>
                  <a:pt x="15657" y="16125"/>
                  <a:pt x="15657" y="16093"/>
                  <a:pt x="15657" y="16093"/>
                </a:cubicBezTo>
                <a:cubicBezTo>
                  <a:pt x="15657" y="16093"/>
                  <a:pt x="15657" y="16093"/>
                  <a:pt x="15657" y="16093"/>
                </a:cubicBezTo>
                <a:cubicBezTo>
                  <a:pt x="15657" y="16093"/>
                  <a:pt x="15625" y="16093"/>
                  <a:pt x="15594" y="16093"/>
                </a:cubicBezTo>
                <a:cubicBezTo>
                  <a:pt x="15594" y="16093"/>
                  <a:pt x="15594" y="16062"/>
                  <a:pt x="15594" y="16062"/>
                </a:cubicBezTo>
                <a:cubicBezTo>
                  <a:pt x="15594" y="16031"/>
                  <a:pt x="15563" y="16031"/>
                  <a:pt x="15532" y="16031"/>
                </a:cubicBezTo>
                <a:cubicBezTo>
                  <a:pt x="15532" y="16031"/>
                  <a:pt x="15500" y="16031"/>
                  <a:pt x="15500" y="16000"/>
                </a:cubicBezTo>
                <a:cubicBezTo>
                  <a:pt x="15500" y="16000"/>
                  <a:pt x="15500" y="16000"/>
                  <a:pt x="15500" y="16000"/>
                </a:cubicBezTo>
                <a:cubicBezTo>
                  <a:pt x="15500" y="16000"/>
                  <a:pt x="15469" y="16000"/>
                  <a:pt x="15469" y="16000"/>
                </a:cubicBezTo>
                <a:cubicBezTo>
                  <a:pt x="15344" y="15906"/>
                  <a:pt x="15188" y="15812"/>
                  <a:pt x="15063" y="15687"/>
                </a:cubicBezTo>
                <a:cubicBezTo>
                  <a:pt x="14875" y="15562"/>
                  <a:pt x="14657" y="15406"/>
                  <a:pt x="14469" y="15250"/>
                </a:cubicBezTo>
                <a:cubicBezTo>
                  <a:pt x="14469" y="15250"/>
                  <a:pt x="14469" y="15250"/>
                  <a:pt x="14469" y="15219"/>
                </a:cubicBezTo>
                <a:cubicBezTo>
                  <a:pt x="14157" y="15000"/>
                  <a:pt x="13875" y="14781"/>
                  <a:pt x="13594" y="14531"/>
                </a:cubicBezTo>
                <a:cubicBezTo>
                  <a:pt x="13594" y="14531"/>
                  <a:pt x="13563" y="14531"/>
                  <a:pt x="13563" y="14531"/>
                </a:cubicBezTo>
                <a:cubicBezTo>
                  <a:pt x="13563" y="14531"/>
                  <a:pt x="13563" y="14531"/>
                  <a:pt x="13563" y="14531"/>
                </a:cubicBezTo>
                <a:cubicBezTo>
                  <a:pt x="13532" y="14531"/>
                  <a:pt x="13532" y="14531"/>
                  <a:pt x="13532" y="14531"/>
                </a:cubicBezTo>
                <a:cubicBezTo>
                  <a:pt x="13469" y="14500"/>
                  <a:pt x="13469" y="14469"/>
                  <a:pt x="13407" y="14437"/>
                </a:cubicBezTo>
                <a:cubicBezTo>
                  <a:pt x="13407" y="14406"/>
                  <a:pt x="13407" y="14406"/>
                  <a:pt x="13375" y="14406"/>
                </a:cubicBezTo>
                <a:cubicBezTo>
                  <a:pt x="13032" y="14125"/>
                  <a:pt x="12688" y="13844"/>
                  <a:pt x="12344" y="13562"/>
                </a:cubicBezTo>
                <a:cubicBezTo>
                  <a:pt x="12094" y="13344"/>
                  <a:pt x="11875" y="13125"/>
                  <a:pt x="11625" y="12937"/>
                </a:cubicBezTo>
                <a:cubicBezTo>
                  <a:pt x="11563" y="12875"/>
                  <a:pt x="11500" y="12812"/>
                  <a:pt x="11438" y="12781"/>
                </a:cubicBezTo>
                <a:cubicBezTo>
                  <a:pt x="11282" y="12625"/>
                  <a:pt x="11125" y="12469"/>
                  <a:pt x="10938" y="12344"/>
                </a:cubicBezTo>
                <a:cubicBezTo>
                  <a:pt x="10938" y="12312"/>
                  <a:pt x="10938" y="12281"/>
                  <a:pt x="10969" y="12281"/>
                </a:cubicBezTo>
                <a:cubicBezTo>
                  <a:pt x="10969" y="12281"/>
                  <a:pt x="10969" y="12281"/>
                  <a:pt x="10969" y="12281"/>
                </a:cubicBezTo>
                <a:cubicBezTo>
                  <a:pt x="11000" y="12281"/>
                  <a:pt x="11000" y="12281"/>
                  <a:pt x="11032" y="12312"/>
                </a:cubicBezTo>
                <a:cubicBezTo>
                  <a:pt x="11188" y="12469"/>
                  <a:pt x="11344" y="12594"/>
                  <a:pt x="11500" y="12719"/>
                </a:cubicBezTo>
                <a:cubicBezTo>
                  <a:pt x="11719" y="12844"/>
                  <a:pt x="11907" y="13000"/>
                  <a:pt x="12094" y="13187"/>
                </a:cubicBezTo>
                <a:cubicBezTo>
                  <a:pt x="12469" y="13469"/>
                  <a:pt x="12844" y="13750"/>
                  <a:pt x="13219" y="14062"/>
                </a:cubicBezTo>
                <a:cubicBezTo>
                  <a:pt x="13438" y="14250"/>
                  <a:pt x="13688" y="14406"/>
                  <a:pt x="13875" y="14562"/>
                </a:cubicBezTo>
                <a:cubicBezTo>
                  <a:pt x="14219" y="14844"/>
                  <a:pt x="14563" y="15062"/>
                  <a:pt x="14875" y="15312"/>
                </a:cubicBezTo>
                <a:cubicBezTo>
                  <a:pt x="15157" y="15531"/>
                  <a:pt x="15438" y="15718"/>
                  <a:pt x="15719" y="15937"/>
                </a:cubicBezTo>
                <a:cubicBezTo>
                  <a:pt x="16000" y="16125"/>
                  <a:pt x="16282" y="16312"/>
                  <a:pt x="16563" y="16500"/>
                </a:cubicBezTo>
                <a:cubicBezTo>
                  <a:pt x="16813" y="16656"/>
                  <a:pt x="17094" y="16843"/>
                  <a:pt x="17344" y="17000"/>
                </a:cubicBezTo>
                <a:cubicBezTo>
                  <a:pt x="17625" y="17156"/>
                  <a:pt x="17907" y="17312"/>
                  <a:pt x="18188" y="17468"/>
                </a:cubicBezTo>
                <a:cubicBezTo>
                  <a:pt x="18407" y="17593"/>
                  <a:pt x="18657" y="17718"/>
                  <a:pt x="18907" y="17812"/>
                </a:cubicBezTo>
                <a:cubicBezTo>
                  <a:pt x="18969" y="17812"/>
                  <a:pt x="19032" y="17875"/>
                  <a:pt x="19094" y="17875"/>
                </a:cubicBezTo>
                <a:cubicBezTo>
                  <a:pt x="19219" y="17906"/>
                  <a:pt x="19344" y="17968"/>
                  <a:pt x="19500" y="18000"/>
                </a:cubicBezTo>
                <a:cubicBezTo>
                  <a:pt x="19625" y="18031"/>
                  <a:pt x="19719" y="18093"/>
                  <a:pt x="19875" y="18093"/>
                </a:cubicBezTo>
                <a:cubicBezTo>
                  <a:pt x="20000" y="18093"/>
                  <a:pt x="20125" y="18125"/>
                  <a:pt x="20282" y="18125"/>
                </a:cubicBezTo>
                <a:cubicBezTo>
                  <a:pt x="20344" y="18000"/>
                  <a:pt x="20250" y="18000"/>
                  <a:pt x="20157" y="18000"/>
                </a:cubicBezTo>
                <a:cubicBezTo>
                  <a:pt x="19938" y="17968"/>
                  <a:pt x="19719" y="17906"/>
                  <a:pt x="19500" y="17843"/>
                </a:cubicBezTo>
                <a:cubicBezTo>
                  <a:pt x="19157" y="17750"/>
                  <a:pt x="18844" y="17625"/>
                  <a:pt x="18532" y="17468"/>
                </a:cubicBezTo>
                <a:cubicBezTo>
                  <a:pt x="18125" y="17250"/>
                  <a:pt x="17719" y="17031"/>
                  <a:pt x="17344" y="16781"/>
                </a:cubicBezTo>
                <a:cubicBezTo>
                  <a:pt x="16907" y="16500"/>
                  <a:pt x="16469" y="16218"/>
                  <a:pt x="16063" y="15906"/>
                </a:cubicBezTo>
                <a:cubicBezTo>
                  <a:pt x="15563" y="15562"/>
                  <a:pt x="15094" y="15219"/>
                  <a:pt x="14625" y="14844"/>
                </a:cubicBezTo>
                <a:cubicBezTo>
                  <a:pt x="14282" y="14594"/>
                  <a:pt x="13938" y="14344"/>
                  <a:pt x="13625" y="14062"/>
                </a:cubicBezTo>
                <a:cubicBezTo>
                  <a:pt x="13188" y="13719"/>
                  <a:pt x="12782" y="13375"/>
                  <a:pt x="12344" y="13031"/>
                </a:cubicBezTo>
                <a:cubicBezTo>
                  <a:pt x="11969" y="12719"/>
                  <a:pt x="11625" y="12406"/>
                  <a:pt x="11250" y="12094"/>
                </a:cubicBezTo>
                <a:cubicBezTo>
                  <a:pt x="11032" y="11937"/>
                  <a:pt x="10813" y="11750"/>
                  <a:pt x="10657" y="11531"/>
                </a:cubicBezTo>
                <a:cubicBezTo>
                  <a:pt x="10625" y="11469"/>
                  <a:pt x="10532" y="11469"/>
                  <a:pt x="10500" y="11406"/>
                </a:cubicBezTo>
                <a:cubicBezTo>
                  <a:pt x="10469" y="11312"/>
                  <a:pt x="10375" y="11219"/>
                  <a:pt x="10313" y="11125"/>
                </a:cubicBezTo>
                <a:cubicBezTo>
                  <a:pt x="10032" y="10906"/>
                  <a:pt x="9813" y="10625"/>
                  <a:pt x="9563" y="10344"/>
                </a:cubicBezTo>
                <a:cubicBezTo>
                  <a:pt x="9563" y="10344"/>
                  <a:pt x="9563" y="10344"/>
                  <a:pt x="9532" y="10344"/>
                </a:cubicBezTo>
                <a:cubicBezTo>
                  <a:pt x="9532" y="10312"/>
                  <a:pt x="9532" y="10281"/>
                  <a:pt x="9532" y="10281"/>
                </a:cubicBezTo>
                <a:cubicBezTo>
                  <a:pt x="9563" y="10250"/>
                  <a:pt x="9563" y="10250"/>
                  <a:pt x="9594" y="10250"/>
                </a:cubicBezTo>
                <a:cubicBezTo>
                  <a:pt x="9594" y="10250"/>
                  <a:pt x="9625" y="10250"/>
                  <a:pt x="9625" y="10250"/>
                </a:cubicBezTo>
                <a:cubicBezTo>
                  <a:pt x="9625" y="10281"/>
                  <a:pt x="9625" y="10281"/>
                  <a:pt x="9625" y="10281"/>
                </a:cubicBezTo>
                <a:cubicBezTo>
                  <a:pt x="9625" y="10281"/>
                  <a:pt x="9625" y="10312"/>
                  <a:pt x="9657" y="10281"/>
                </a:cubicBezTo>
                <a:cubicBezTo>
                  <a:pt x="9750" y="10375"/>
                  <a:pt x="9844" y="10437"/>
                  <a:pt x="9907" y="10500"/>
                </a:cubicBezTo>
                <a:cubicBezTo>
                  <a:pt x="9969" y="10562"/>
                  <a:pt x="10032" y="10625"/>
                  <a:pt x="10125" y="10687"/>
                </a:cubicBezTo>
                <a:cubicBezTo>
                  <a:pt x="10219" y="10781"/>
                  <a:pt x="10344" y="10875"/>
                  <a:pt x="10469" y="10969"/>
                </a:cubicBezTo>
                <a:cubicBezTo>
                  <a:pt x="10469" y="10969"/>
                  <a:pt x="10438" y="10969"/>
                  <a:pt x="10469" y="10969"/>
                </a:cubicBezTo>
                <a:cubicBezTo>
                  <a:pt x="10469" y="10969"/>
                  <a:pt x="10469" y="10969"/>
                  <a:pt x="10469" y="10969"/>
                </a:cubicBezTo>
                <a:cubicBezTo>
                  <a:pt x="10469" y="11000"/>
                  <a:pt x="10469" y="11000"/>
                  <a:pt x="10469" y="11000"/>
                </a:cubicBezTo>
                <a:cubicBezTo>
                  <a:pt x="10469" y="11000"/>
                  <a:pt x="10469" y="11031"/>
                  <a:pt x="10500" y="11031"/>
                </a:cubicBezTo>
                <a:cubicBezTo>
                  <a:pt x="10688" y="11219"/>
                  <a:pt x="10875" y="11375"/>
                  <a:pt x="11094" y="11562"/>
                </a:cubicBezTo>
                <a:cubicBezTo>
                  <a:pt x="11719" y="12094"/>
                  <a:pt x="12344" y="12656"/>
                  <a:pt x="13000" y="13156"/>
                </a:cubicBezTo>
                <a:cubicBezTo>
                  <a:pt x="13282" y="13375"/>
                  <a:pt x="13532" y="13625"/>
                  <a:pt x="13813" y="13844"/>
                </a:cubicBezTo>
                <a:cubicBezTo>
                  <a:pt x="14407" y="14312"/>
                  <a:pt x="15032" y="14781"/>
                  <a:pt x="15657" y="15250"/>
                </a:cubicBezTo>
                <a:cubicBezTo>
                  <a:pt x="15719" y="15281"/>
                  <a:pt x="15750" y="15312"/>
                  <a:pt x="15782" y="15344"/>
                </a:cubicBezTo>
                <a:cubicBezTo>
                  <a:pt x="15813" y="15344"/>
                  <a:pt x="15844" y="15344"/>
                  <a:pt x="15875" y="15312"/>
                </a:cubicBezTo>
                <a:cubicBezTo>
                  <a:pt x="15875" y="15281"/>
                  <a:pt x="15844" y="15281"/>
                  <a:pt x="15844" y="15250"/>
                </a:cubicBezTo>
                <a:cubicBezTo>
                  <a:pt x="15782" y="15250"/>
                  <a:pt x="15750" y="15219"/>
                  <a:pt x="15719" y="15187"/>
                </a:cubicBezTo>
                <a:cubicBezTo>
                  <a:pt x="14875" y="14562"/>
                  <a:pt x="14094" y="13937"/>
                  <a:pt x="13282" y="13281"/>
                </a:cubicBezTo>
                <a:cubicBezTo>
                  <a:pt x="12782" y="12875"/>
                  <a:pt x="12282" y="12437"/>
                  <a:pt x="11750" y="12000"/>
                </a:cubicBezTo>
                <a:cubicBezTo>
                  <a:pt x="11407" y="11719"/>
                  <a:pt x="11032" y="11406"/>
                  <a:pt x="10688" y="11094"/>
                </a:cubicBezTo>
                <a:cubicBezTo>
                  <a:pt x="10625" y="11031"/>
                  <a:pt x="10594" y="10937"/>
                  <a:pt x="10500" y="10937"/>
                </a:cubicBezTo>
                <a:cubicBezTo>
                  <a:pt x="10438" y="10875"/>
                  <a:pt x="10407" y="10844"/>
                  <a:pt x="10375" y="10812"/>
                </a:cubicBezTo>
                <a:cubicBezTo>
                  <a:pt x="10375" y="10812"/>
                  <a:pt x="10375" y="10781"/>
                  <a:pt x="10375" y="10781"/>
                </a:cubicBezTo>
                <a:cubicBezTo>
                  <a:pt x="10407" y="10781"/>
                  <a:pt x="10438" y="10781"/>
                  <a:pt x="10438" y="10812"/>
                </a:cubicBezTo>
                <a:cubicBezTo>
                  <a:pt x="10469" y="10812"/>
                  <a:pt x="10469" y="10812"/>
                  <a:pt x="10469" y="10812"/>
                </a:cubicBezTo>
                <a:cubicBezTo>
                  <a:pt x="10657" y="10969"/>
                  <a:pt x="10844" y="11125"/>
                  <a:pt x="11032" y="11281"/>
                </a:cubicBezTo>
                <a:cubicBezTo>
                  <a:pt x="11532" y="11719"/>
                  <a:pt x="12032" y="12156"/>
                  <a:pt x="12532" y="12562"/>
                </a:cubicBezTo>
                <a:cubicBezTo>
                  <a:pt x="13032" y="12969"/>
                  <a:pt x="13532" y="13406"/>
                  <a:pt x="14032" y="13781"/>
                </a:cubicBezTo>
                <a:cubicBezTo>
                  <a:pt x="14657" y="14281"/>
                  <a:pt x="15282" y="14719"/>
                  <a:pt x="15875" y="15187"/>
                </a:cubicBezTo>
                <a:cubicBezTo>
                  <a:pt x="15907" y="15219"/>
                  <a:pt x="15907" y="15219"/>
                  <a:pt x="15938" y="15219"/>
                </a:cubicBezTo>
                <a:cubicBezTo>
                  <a:pt x="15969" y="15219"/>
                  <a:pt x="16000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32" y="15219"/>
                  <a:pt x="16032" y="15219"/>
                  <a:pt x="16032" y="15219"/>
                </a:cubicBezTo>
                <a:cubicBezTo>
                  <a:pt x="16063" y="15250"/>
                  <a:pt x="16094" y="15281"/>
                  <a:pt x="16125" y="15250"/>
                </a:cubicBezTo>
                <a:cubicBezTo>
                  <a:pt x="16157" y="15250"/>
                  <a:pt x="16157" y="15250"/>
                  <a:pt x="16188" y="15219"/>
                </a:cubicBezTo>
                <a:cubicBezTo>
                  <a:pt x="16219" y="15219"/>
                  <a:pt x="16250" y="15187"/>
                  <a:pt x="16250" y="15219"/>
                </a:cubicBezTo>
                <a:cubicBezTo>
                  <a:pt x="16344" y="15281"/>
                  <a:pt x="16438" y="15344"/>
                  <a:pt x="16438" y="15469"/>
                </a:cubicBezTo>
                <a:cubicBezTo>
                  <a:pt x="16344" y="15469"/>
                  <a:pt x="16344" y="15375"/>
                  <a:pt x="16313" y="15344"/>
                </a:cubicBezTo>
                <a:cubicBezTo>
                  <a:pt x="16282" y="15312"/>
                  <a:pt x="16250" y="15281"/>
                  <a:pt x="16188" y="15312"/>
                </a:cubicBezTo>
                <a:cubicBezTo>
                  <a:pt x="16157" y="15344"/>
                  <a:pt x="16188" y="15375"/>
                  <a:pt x="16219" y="15406"/>
                </a:cubicBezTo>
                <a:cubicBezTo>
                  <a:pt x="16282" y="15469"/>
                  <a:pt x="16344" y="15531"/>
                  <a:pt x="16407" y="15562"/>
                </a:cubicBezTo>
                <a:cubicBezTo>
                  <a:pt x="17000" y="15968"/>
                  <a:pt x="17594" y="16375"/>
                  <a:pt x="18188" y="16718"/>
                </a:cubicBezTo>
                <a:cubicBezTo>
                  <a:pt x="18500" y="16906"/>
                  <a:pt x="18813" y="17062"/>
                  <a:pt x="19125" y="17187"/>
                </a:cubicBezTo>
                <a:cubicBezTo>
                  <a:pt x="19438" y="17343"/>
                  <a:pt x="19782" y="17437"/>
                  <a:pt x="20157" y="17531"/>
                </a:cubicBezTo>
                <a:cubicBezTo>
                  <a:pt x="20157" y="17531"/>
                  <a:pt x="20157" y="17531"/>
                  <a:pt x="20188" y="17562"/>
                </a:cubicBezTo>
                <a:cubicBezTo>
                  <a:pt x="20219" y="17562"/>
                  <a:pt x="20250" y="17562"/>
                  <a:pt x="20282" y="17562"/>
                </a:cubicBezTo>
                <a:cubicBezTo>
                  <a:pt x="20282" y="17562"/>
                  <a:pt x="20313" y="17562"/>
                  <a:pt x="20344" y="17562"/>
                </a:cubicBezTo>
                <a:cubicBezTo>
                  <a:pt x="20344" y="17562"/>
                  <a:pt x="20375" y="17562"/>
                  <a:pt x="20375" y="17562"/>
                </a:cubicBezTo>
                <a:cubicBezTo>
                  <a:pt x="20375" y="17562"/>
                  <a:pt x="20375" y="17562"/>
                  <a:pt x="20407" y="17562"/>
                </a:cubicBezTo>
                <a:cubicBezTo>
                  <a:pt x="20438" y="17625"/>
                  <a:pt x="20469" y="17593"/>
                  <a:pt x="20532" y="17562"/>
                </a:cubicBezTo>
                <a:cubicBezTo>
                  <a:pt x="20563" y="17531"/>
                  <a:pt x="20594" y="17562"/>
                  <a:pt x="20625" y="17562"/>
                </a:cubicBezTo>
                <a:cubicBezTo>
                  <a:pt x="20625" y="17593"/>
                  <a:pt x="20625" y="17593"/>
                  <a:pt x="20625" y="17593"/>
                </a:cubicBezTo>
                <a:cubicBezTo>
                  <a:pt x="20750" y="17625"/>
                  <a:pt x="20875" y="17656"/>
                  <a:pt x="20969" y="17562"/>
                </a:cubicBezTo>
                <a:cubicBezTo>
                  <a:pt x="21032" y="17562"/>
                  <a:pt x="21063" y="17562"/>
                  <a:pt x="21125" y="17562"/>
                </a:cubicBezTo>
                <a:cubicBezTo>
                  <a:pt x="21125" y="17593"/>
                  <a:pt x="21125" y="17593"/>
                  <a:pt x="21157" y="17593"/>
                </a:cubicBezTo>
                <a:cubicBezTo>
                  <a:pt x="21188" y="17625"/>
                  <a:pt x="21282" y="17625"/>
                  <a:pt x="21313" y="17562"/>
                </a:cubicBezTo>
                <a:cubicBezTo>
                  <a:pt x="21313" y="17562"/>
                  <a:pt x="21313" y="17562"/>
                  <a:pt x="21313" y="17562"/>
                </a:cubicBezTo>
                <a:cubicBezTo>
                  <a:pt x="21344" y="17562"/>
                  <a:pt x="21375" y="17562"/>
                  <a:pt x="21375" y="17562"/>
                </a:cubicBezTo>
                <a:cubicBezTo>
                  <a:pt x="21407" y="17531"/>
                  <a:pt x="21438" y="17531"/>
                  <a:pt x="21469" y="17531"/>
                </a:cubicBezTo>
                <a:cubicBezTo>
                  <a:pt x="21469" y="17531"/>
                  <a:pt x="21469" y="17562"/>
                  <a:pt x="21500" y="17562"/>
                </a:cubicBezTo>
                <a:cubicBezTo>
                  <a:pt x="21500" y="17562"/>
                  <a:pt x="21500" y="17562"/>
                  <a:pt x="21500" y="17562"/>
                </a:cubicBezTo>
                <a:cubicBezTo>
                  <a:pt x="21532" y="17562"/>
                  <a:pt x="21532" y="17562"/>
                  <a:pt x="21532" y="17562"/>
                </a:cubicBezTo>
                <a:cubicBezTo>
                  <a:pt x="21532" y="17562"/>
                  <a:pt x="21563" y="17531"/>
                  <a:pt x="21563" y="17531"/>
                </a:cubicBezTo>
                <a:cubicBezTo>
                  <a:pt x="21563" y="17531"/>
                  <a:pt x="21563" y="17531"/>
                  <a:pt x="21563" y="17500"/>
                </a:cubicBezTo>
                <a:cubicBezTo>
                  <a:pt x="21594" y="17500"/>
                  <a:pt x="21625" y="17500"/>
                  <a:pt x="21625" y="17500"/>
                </a:cubicBezTo>
                <a:cubicBezTo>
                  <a:pt x="21657" y="17468"/>
                  <a:pt x="21688" y="17468"/>
                  <a:pt x="21688" y="17437"/>
                </a:cubicBezTo>
                <a:cubicBezTo>
                  <a:pt x="21688" y="17406"/>
                  <a:pt x="21688" y="17375"/>
                  <a:pt x="21688" y="17343"/>
                </a:cubicBezTo>
                <a:cubicBezTo>
                  <a:pt x="21719" y="17312"/>
                  <a:pt x="21719" y="17281"/>
                  <a:pt x="21750" y="17250"/>
                </a:cubicBezTo>
                <a:cubicBezTo>
                  <a:pt x="21813" y="17187"/>
                  <a:pt x="21875" y="17156"/>
                  <a:pt x="21969" y="17125"/>
                </a:cubicBezTo>
                <a:cubicBezTo>
                  <a:pt x="22032" y="17093"/>
                  <a:pt x="22094" y="17093"/>
                  <a:pt x="22188" y="17062"/>
                </a:cubicBezTo>
                <a:cubicBezTo>
                  <a:pt x="22282" y="17031"/>
                  <a:pt x="22344" y="16968"/>
                  <a:pt x="22407" y="16875"/>
                </a:cubicBezTo>
                <a:cubicBezTo>
                  <a:pt x="22407" y="16875"/>
                  <a:pt x="22438" y="16843"/>
                  <a:pt x="22438" y="16843"/>
                </a:cubicBezTo>
                <a:cubicBezTo>
                  <a:pt x="22469" y="16843"/>
                  <a:pt x="22469" y="16812"/>
                  <a:pt x="22500" y="16781"/>
                </a:cubicBezTo>
                <a:cubicBezTo>
                  <a:pt x="22532" y="16718"/>
                  <a:pt x="22563" y="16687"/>
                  <a:pt x="22625" y="16656"/>
                </a:cubicBezTo>
                <a:cubicBezTo>
                  <a:pt x="22657" y="16656"/>
                  <a:pt x="22657" y="16625"/>
                  <a:pt x="22688" y="16625"/>
                </a:cubicBezTo>
                <a:cubicBezTo>
                  <a:pt x="22719" y="16625"/>
                  <a:pt x="22782" y="16593"/>
                  <a:pt x="22844" y="16562"/>
                </a:cubicBezTo>
                <a:cubicBezTo>
                  <a:pt x="22844" y="16562"/>
                  <a:pt x="22875" y="16562"/>
                  <a:pt x="22907" y="16562"/>
                </a:cubicBezTo>
                <a:cubicBezTo>
                  <a:pt x="22938" y="16562"/>
                  <a:pt x="22938" y="16531"/>
                  <a:pt x="22969" y="16500"/>
                </a:cubicBezTo>
                <a:cubicBezTo>
                  <a:pt x="23000" y="16500"/>
                  <a:pt x="23032" y="16468"/>
                  <a:pt x="23063" y="16468"/>
                </a:cubicBezTo>
                <a:cubicBezTo>
                  <a:pt x="23063" y="16468"/>
                  <a:pt x="23063" y="16468"/>
                  <a:pt x="23094" y="16437"/>
                </a:cubicBezTo>
                <a:cubicBezTo>
                  <a:pt x="23094" y="16437"/>
                  <a:pt x="23094" y="16437"/>
                  <a:pt x="23094" y="16437"/>
                </a:cubicBezTo>
                <a:cubicBezTo>
                  <a:pt x="23188" y="16375"/>
                  <a:pt x="23219" y="16250"/>
                  <a:pt x="23282" y="16187"/>
                </a:cubicBezTo>
                <a:cubicBezTo>
                  <a:pt x="23344" y="16156"/>
                  <a:pt x="23407" y="16093"/>
                  <a:pt x="23438" y="16031"/>
                </a:cubicBezTo>
                <a:cubicBezTo>
                  <a:pt x="23469" y="16031"/>
                  <a:pt x="23500" y="16031"/>
                  <a:pt x="23500" y="16000"/>
                </a:cubicBezTo>
                <a:cubicBezTo>
                  <a:pt x="23625" y="15937"/>
                  <a:pt x="23782" y="15906"/>
                  <a:pt x="23875" y="15812"/>
                </a:cubicBezTo>
                <a:cubicBezTo>
                  <a:pt x="24000" y="15812"/>
                  <a:pt x="24094" y="15750"/>
                  <a:pt x="24219" y="15687"/>
                </a:cubicBezTo>
                <a:cubicBezTo>
                  <a:pt x="24125" y="15656"/>
                  <a:pt x="24032" y="15687"/>
                  <a:pt x="23969" y="15687"/>
                </a:cubicBezTo>
                <a:cubicBezTo>
                  <a:pt x="23875" y="15718"/>
                  <a:pt x="23813" y="15718"/>
                  <a:pt x="23719" y="15687"/>
                </a:cubicBezTo>
                <a:cubicBezTo>
                  <a:pt x="23813" y="15625"/>
                  <a:pt x="23907" y="15594"/>
                  <a:pt x="24000" y="15594"/>
                </a:cubicBezTo>
                <a:cubicBezTo>
                  <a:pt x="24094" y="15625"/>
                  <a:pt x="24219" y="15594"/>
                  <a:pt x="24344" y="15562"/>
                </a:cubicBezTo>
                <a:cubicBezTo>
                  <a:pt x="24344" y="15562"/>
                  <a:pt x="24344" y="15562"/>
                  <a:pt x="24375" y="15562"/>
                </a:cubicBezTo>
                <a:cubicBezTo>
                  <a:pt x="24407" y="15562"/>
                  <a:pt x="24438" y="15531"/>
                  <a:pt x="24438" y="15500"/>
                </a:cubicBezTo>
                <a:cubicBezTo>
                  <a:pt x="24469" y="15500"/>
                  <a:pt x="24469" y="15500"/>
                  <a:pt x="24469" y="15500"/>
                </a:cubicBezTo>
                <a:cubicBezTo>
                  <a:pt x="24500" y="15469"/>
                  <a:pt x="24500" y="15437"/>
                  <a:pt x="24532" y="15406"/>
                </a:cubicBezTo>
                <a:cubicBezTo>
                  <a:pt x="24532" y="15375"/>
                  <a:pt x="24532" y="15375"/>
                  <a:pt x="24563" y="15375"/>
                </a:cubicBezTo>
                <a:cubicBezTo>
                  <a:pt x="24500" y="15375"/>
                  <a:pt x="24438" y="15375"/>
                  <a:pt x="24375" y="15344"/>
                </a:cubicBezTo>
                <a:cubicBezTo>
                  <a:pt x="24407" y="15344"/>
                  <a:pt x="24407" y="15344"/>
                  <a:pt x="24438" y="15312"/>
                </a:cubicBezTo>
                <a:cubicBezTo>
                  <a:pt x="24438" y="15312"/>
                  <a:pt x="24469" y="15312"/>
                  <a:pt x="24469" y="15312"/>
                </a:cubicBezTo>
                <a:cubicBezTo>
                  <a:pt x="24532" y="15281"/>
                  <a:pt x="24594" y="15312"/>
                  <a:pt x="24657" y="15250"/>
                </a:cubicBezTo>
                <a:cubicBezTo>
                  <a:pt x="24563" y="15250"/>
                  <a:pt x="24500" y="15219"/>
                  <a:pt x="24438" y="15219"/>
                </a:cubicBezTo>
                <a:cubicBezTo>
                  <a:pt x="24219" y="15219"/>
                  <a:pt x="24000" y="15187"/>
                  <a:pt x="23782" y="15125"/>
                </a:cubicBezTo>
                <a:cubicBezTo>
                  <a:pt x="23282" y="15000"/>
                  <a:pt x="22844" y="14781"/>
                  <a:pt x="22375" y="14562"/>
                </a:cubicBezTo>
                <a:cubicBezTo>
                  <a:pt x="21969" y="14312"/>
                  <a:pt x="21532" y="14062"/>
                  <a:pt x="21157" y="13781"/>
                </a:cubicBezTo>
                <a:cubicBezTo>
                  <a:pt x="20719" y="13469"/>
                  <a:pt x="20313" y="13156"/>
                  <a:pt x="19938" y="12844"/>
                </a:cubicBezTo>
                <a:cubicBezTo>
                  <a:pt x="19844" y="12750"/>
                  <a:pt x="19844" y="12750"/>
                  <a:pt x="19688" y="12781"/>
                </a:cubicBezTo>
                <a:cubicBezTo>
                  <a:pt x="20157" y="13125"/>
                  <a:pt x="20594" y="13500"/>
                  <a:pt x="21063" y="13844"/>
                </a:cubicBezTo>
                <a:cubicBezTo>
                  <a:pt x="21500" y="14156"/>
                  <a:pt x="21969" y="14437"/>
                  <a:pt x="22469" y="14687"/>
                </a:cubicBezTo>
                <a:cubicBezTo>
                  <a:pt x="22500" y="14719"/>
                  <a:pt x="22594" y="14719"/>
                  <a:pt x="22625" y="14812"/>
                </a:cubicBezTo>
                <a:cubicBezTo>
                  <a:pt x="22625" y="14844"/>
                  <a:pt x="22625" y="14875"/>
                  <a:pt x="22625" y="14906"/>
                </a:cubicBezTo>
                <a:cubicBezTo>
                  <a:pt x="22563" y="14875"/>
                  <a:pt x="22500" y="14844"/>
                  <a:pt x="22438" y="14812"/>
                </a:cubicBezTo>
                <a:cubicBezTo>
                  <a:pt x="22344" y="14781"/>
                  <a:pt x="22250" y="14719"/>
                  <a:pt x="22157" y="14656"/>
                </a:cubicBezTo>
                <a:cubicBezTo>
                  <a:pt x="21844" y="14531"/>
                  <a:pt x="21563" y="14344"/>
                  <a:pt x="21282" y="14156"/>
                </a:cubicBezTo>
                <a:cubicBezTo>
                  <a:pt x="21000" y="13969"/>
                  <a:pt x="20719" y="13812"/>
                  <a:pt x="20438" y="13625"/>
                </a:cubicBezTo>
                <a:cubicBezTo>
                  <a:pt x="20157" y="13406"/>
                  <a:pt x="19844" y="13187"/>
                  <a:pt x="19563" y="12969"/>
                </a:cubicBezTo>
                <a:cubicBezTo>
                  <a:pt x="19500" y="12906"/>
                  <a:pt x="19407" y="12844"/>
                  <a:pt x="19313" y="12812"/>
                </a:cubicBezTo>
                <a:cubicBezTo>
                  <a:pt x="19344" y="12875"/>
                  <a:pt x="19375" y="12906"/>
                  <a:pt x="19407" y="12937"/>
                </a:cubicBezTo>
                <a:cubicBezTo>
                  <a:pt x="19500" y="13000"/>
                  <a:pt x="19469" y="13125"/>
                  <a:pt x="19563" y="13187"/>
                </a:cubicBezTo>
                <a:cubicBezTo>
                  <a:pt x="19938" y="13406"/>
                  <a:pt x="20313" y="13687"/>
                  <a:pt x="20688" y="13937"/>
                </a:cubicBezTo>
                <a:cubicBezTo>
                  <a:pt x="20938" y="14125"/>
                  <a:pt x="21219" y="14281"/>
                  <a:pt x="21532" y="14469"/>
                </a:cubicBezTo>
                <a:cubicBezTo>
                  <a:pt x="21594" y="14500"/>
                  <a:pt x="21688" y="14562"/>
                  <a:pt x="21782" y="14625"/>
                </a:cubicBezTo>
                <a:cubicBezTo>
                  <a:pt x="22063" y="14750"/>
                  <a:pt x="22344" y="14906"/>
                  <a:pt x="22625" y="15031"/>
                </a:cubicBezTo>
                <a:cubicBezTo>
                  <a:pt x="22625" y="15031"/>
                  <a:pt x="22625" y="15031"/>
                  <a:pt x="22625" y="15062"/>
                </a:cubicBezTo>
                <a:cubicBezTo>
                  <a:pt x="22594" y="15094"/>
                  <a:pt x="22594" y="15094"/>
                  <a:pt x="22563" y="15062"/>
                </a:cubicBezTo>
                <a:cubicBezTo>
                  <a:pt x="22563" y="15062"/>
                  <a:pt x="22532" y="15062"/>
                  <a:pt x="22532" y="15062"/>
                </a:cubicBezTo>
                <a:cubicBezTo>
                  <a:pt x="22438" y="15031"/>
                  <a:pt x="22313" y="14969"/>
                  <a:pt x="22219" y="14937"/>
                </a:cubicBezTo>
                <a:cubicBezTo>
                  <a:pt x="21782" y="14687"/>
                  <a:pt x="21344" y="14437"/>
                  <a:pt x="20907" y="14156"/>
                </a:cubicBezTo>
                <a:cubicBezTo>
                  <a:pt x="20407" y="13844"/>
                  <a:pt x="19938" y="13531"/>
                  <a:pt x="19469" y="13187"/>
                </a:cubicBezTo>
                <a:cubicBezTo>
                  <a:pt x="19438" y="13187"/>
                  <a:pt x="19438" y="13125"/>
                  <a:pt x="19407" y="13156"/>
                </a:cubicBezTo>
                <a:cubicBezTo>
                  <a:pt x="19344" y="13250"/>
                  <a:pt x="19313" y="13156"/>
                  <a:pt x="19282" y="13125"/>
                </a:cubicBezTo>
                <a:cubicBezTo>
                  <a:pt x="19219" y="13094"/>
                  <a:pt x="19188" y="13031"/>
                  <a:pt x="19157" y="13000"/>
                </a:cubicBezTo>
                <a:cubicBezTo>
                  <a:pt x="19157" y="12969"/>
                  <a:pt x="19157" y="12969"/>
                  <a:pt x="19157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125" y="12969"/>
                  <a:pt x="19125" y="12969"/>
                  <a:pt x="19125" y="12969"/>
                </a:cubicBezTo>
                <a:cubicBezTo>
                  <a:pt x="19094" y="12969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94" y="12937"/>
                </a:cubicBezTo>
                <a:cubicBezTo>
                  <a:pt x="19094" y="12937"/>
                  <a:pt x="19094" y="12937"/>
                  <a:pt x="19063" y="12937"/>
                </a:cubicBezTo>
                <a:cubicBezTo>
                  <a:pt x="19032" y="12844"/>
                  <a:pt x="18907" y="12812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875" y="12719"/>
                  <a:pt x="18875" y="12719"/>
                  <a:pt x="18875" y="12719"/>
                </a:cubicBezTo>
                <a:cubicBezTo>
                  <a:pt x="18907" y="12719"/>
                  <a:pt x="18938" y="12719"/>
                  <a:pt x="18969" y="12750"/>
                </a:cubicBezTo>
                <a:cubicBezTo>
                  <a:pt x="18969" y="12750"/>
                  <a:pt x="18969" y="12750"/>
                  <a:pt x="19000" y="12781"/>
                </a:cubicBezTo>
                <a:cubicBezTo>
                  <a:pt x="19000" y="12781"/>
                  <a:pt x="19032" y="12812"/>
                  <a:pt x="19063" y="12812"/>
                </a:cubicBezTo>
                <a:cubicBezTo>
                  <a:pt x="19125" y="12875"/>
                  <a:pt x="19188" y="12906"/>
                  <a:pt x="19282" y="12937"/>
                </a:cubicBezTo>
                <a:cubicBezTo>
                  <a:pt x="19282" y="12937"/>
                  <a:pt x="19282" y="12937"/>
                  <a:pt x="19282" y="12937"/>
                </a:cubicBezTo>
                <a:cubicBezTo>
                  <a:pt x="19282" y="12969"/>
                  <a:pt x="19313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44" y="13000"/>
                  <a:pt x="19344" y="13000"/>
                  <a:pt x="19344" y="13000"/>
                </a:cubicBezTo>
                <a:cubicBezTo>
                  <a:pt x="19375" y="13000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31"/>
                  <a:pt x="19375" y="13031"/>
                  <a:pt x="19375" y="13031"/>
                </a:cubicBezTo>
                <a:cubicBezTo>
                  <a:pt x="19375" y="13000"/>
                  <a:pt x="19375" y="13000"/>
                  <a:pt x="19344" y="13000"/>
                </a:cubicBezTo>
                <a:cubicBezTo>
                  <a:pt x="19344" y="12969"/>
                  <a:pt x="19313" y="12937"/>
                  <a:pt x="19282" y="12937"/>
                </a:cubicBezTo>
                <a:cubicBezTo>
                  <a:pt x="19250" y="12844"/>
                  <a:pt x="19157" y="12781"/>
                  <a:pt x="19157" y="12687"/>
                </a:cubicBezTo>
                <a:cubicBezTo>
                  <a:pt x="19157" y="12656"/>
                  <a:pt x="19125" y="12656"/>
                  <a:pt x="19125" y="12625"/>
                </a:cubicBezTo>
                <a:cubicBezTo>
                  <a:pt x="18938" y="12469"/>
                  <a:pt x="18750" y="12344"/>
                  <a:pt x="18563" y="12187"/>
                </a:cubicBezTo>
                <a:cubicBezTo>
                  <a:pt x="18094" y="11719"/>
                  <a:pt x="17594" y="11281"/>
                  <a:pt x="17125" y="10812"/>
                </a:cubicBezTo>
                <a:cubicBezTo>
                  <a:pt x="16407" y="10094"/>
                  <a:pt x="15688" y="9375"/>
                  <a:pt x="14938" y="8719"/>
                </a:cubicBezTo>
                <a:cubicBezTo>
                  <a:pt x="14532" y="8375"/>
                  <a:pt x="14157" y="8031"/>
                  <a:pt x="13782" y="7687"/>
                </a:cubicBezTo>
                <a:cubicBezTo>
                  <a:pt x="13532" y="7437"/>
                  <a:pt x="13282" y="7250"/>
                  <a:pt x="13032" y="7000"/>
                </a:cubicBezTo>
                <a:cubicBezTo>
                  <a:pt x="12625" y="6656"/>
                  <a:pt x="12219" y="6281"/>
                  <a:pt x="11813" y="5937"/>
                </a:cubicBezTo>
                <a:cubicBezTo>
                  <a:pt x="11782" y="5906"/>
                  <a:pt x="11782" y="5906"/>
                  <a:pt x="11750" y="5875"/>
                </a:cubicBezTo>
                <a:cubicBezTo>
                  <a:pt x="11719" y="5844"/>
                  <a:pt x="11657" y="5812"/>
                  <a:pt x="11625" y="5750"/>
                </a:cubicBezTo>
                <a:cubicBezTo>
                  <a:pt x="11594" y="5750"/>
                  <a:pt x="11563" y="5719"/>
                  <a:pt x="11532" y="5719"/>
                </a:cubicBezTo>
                <a:cubicBezTo>
                  <a:pt x="11532" y="5687"/>
                  <a:pt x="11500" y="5687"/>
                  <a:pt x="11500" y="5656"/>
                </a:cubicBezTo>
                <a:cubicBezTo>
                  <a:pt x="11469" y="5625"/>
                  <a:pt x="11438" y="5594"/>
                  <a:pt x="11407" y="5594"/>
                </a:cubicBezTo>
                <a:cubicBezTo>
                  <a:pt x="11375" y="5562"/>
                  <a:pt x="11344" y="5531"/>
                  <a:pt x="11313" y="5500"/>
                </a:cubicBezTo>
                <a:cubicBezTo>
                  <a:pt x="11313" y="5500"/>
                  <a:pt x="11282" y="5500"/>
                  <a:pt x="11282" y="5469"/>
                </a:cubicBezTo>
                <a:cubicBezTo>
                  <a:pt x="11250" y="5437"/>
                  <a:pt x="11219" y="5406"/>
                  <a:pt x="11188" y="5375"/>
                </a:cubicBezTo>
                <a:cubicBezTo>
                  <a:pt x="11219" y="5281"/>
                  <a:pt x="11344" y="5281"/>
                  <a:pt x="11375" y="5187"/>
                </a:cubicBezTo>
                <a:cubicBezTo>
                  <a:pt x="11375" y="5156"/>
                  <a:pt x="11407" y="5219"/>
                  <a:pt x="11438" y="5219"/>
                </a:cubicBezTo>
                <a:cubicBezTo>
                  <a:pt x="11532" y="5312"/>
                  <a:pt x="11625" y="5375"/>
                  <a:pt x="11719" y="5469"/>
                </a:cubicBezTo>
                <a:cubicBezTo>
                  <a:pt x="11750" y="5500"/>
                  <a:pt x="11782" y="5500"/>
                  <a:pt x="11813" y="5469"/>
                </a:cubicBezTo>
                <a:cubicBezTo>
                  <a:pt x="11844" y="5437"/>
                  <a:pt x="11782" y="5406"/>
                  <a:pt x="11782" y="5406"/>
                </a:cubicBezTo>
                <a:cubicBezTo>
                  <a:pt x="11625" y="5250"/>
                  <a:pt x="11438" y="5125"/>
                  <a:pt x="11282" y="4969"/>
                </a:cubicBezTo>
                <a:cubicBezTo>
                  <a:pt x="11219" y="4906"/>
                  <a:pt x="11157" y="4875"/>
                  <a:pt x="11094" y="4812"/>
                </a:cubicBezTo>
                <a:cubicBezTo>
                  <a:pt x="11032" y="4750"/>
                  <a:pt x="11032" y="4687"/>
                  <a:pt x="11063" y="4625"/>
                </a:cubicBezTo>
                <a:cubicBezTo>
                  <a:pt x="11125" y="4562"/>
                  <a:pt x="11157" y="4625"/>
                  <a:pt x="11219" y="4656"/>
                </a:cubicBezTo>
                <a:cubicBezTo>
                  <a:pt x="11219" y="4656"/>
                  <a:pt x="11250" y="4656"/>
                  <a:pt x="11282" y="4687"/>
                </a:cubicBezTo>
                <a:cubicBezTo>
                  <a:pt x="11563" y="4937"/>
                  <a:pt x="11875" y="5187"/>
                  <a:pt x="12157" y="5437"/>
                </a:cubicBezTo>
                <a:cubicBezTo>
                  <a:pt x="12438" y="5687"/>
                  <a:pt x="12719" y="5937"/>
                  <a:pt x="13032" y="6187"/>
                </a:cubicBezTo>
                <a:cubicBezTo>
                  <a:pt x="13157" y="6281"/>
                  <a:pt x="13313" y="6375"/>
                  <a:pt x="13438" y="6469"/>
                </a:cubicBezTo>
                <a:cubicBezTo>
                  <a:pt x="13657" y="6687"/>
                  <a:pt x="13875" y="6875"/>
                  <a:pt x="14125" y="7094"/>
                </a:cubicBezTo>
                <a:cubicBezTo>
                  <a:pt x="14438" y="7375"/>
                  <a:pt x="14782" y="7687"/>
                  <a:pt x="15094" y="7969"/>
                </a:cubicBezTo>
                <a:cubicBezTo>
                  <a:pt x="15532" y="8344"/>
                  <a:pt x="15969" y="8750"/>
                  <a:pt x="16375" y="9125"/>
                </a:cubicBezTo>
                <a:cubicBezTo>
                  <a:pt x="16782" y="9500"/>
                  <a:pt x="17157" y="9875"/>
                  <a:pt x="17563" y="10250"/>
                </a:cubicBezTo>
                <a:cubicBezTo>
                  <a:pt x="18032" y="10719"/>
                  <a:pt x="18500" y="11187"/>
                  <a:pt x="18969" y="11625"/>
                </a:cubicBezTo>
                <a:cubicBezTo>
                  <a:pt x="19407" y="12000"/>
                  <a:pt x="19813" y="12375"/>
                  <a:pt x="20282" y="12750"/>
                </a:cubicBezTo>
                <a:cubicBezTo>
                  <a:pt x="20782" y="13156"/>
                  <a:pt x="21313" y="13562"/>
                  <a:pt x="21844" y="13906"/>
                </a:cubicBezTo>
                <a:cubicBezTo>
                  <a:pt x="22094" y="14062"/>
                  <a:pt x="22344" y="14219"/>
                  <a:pt x="22594" y="14375"/>
                </a:cubicBezTo>
                <a:cubicBezTo>
                  <a:pt x="23000" y="14562"/>
                  <a:pt x="23407" y="14781"/>
                  <a:pt x="23844" y="14906"/>
                </a:cubicBezTo>
                <a:cubicBezTo>
                  <a:pt x="24250" y="15031"/>
                  <a:pt x="24688" y="15156"/>
                  <a:pt x="25125" y="15062"/>
                </a:cubicBezTo>
                <a:cubicBezTo>
                  <a:pt x="25313" y="15000"/>
                  <a:pt x="25500" y="14937"/>
                  <a:pt x="25625" y="14750"/>
                </a:cubicBezTo>
                <a:cubicBezTo>
                  <a:pt x="25657" y="14750"/>
                  <a:pt x="25688" y="14719"/>
                  <a:pt x="25657" y="14687"/>
                </a:cubicBezTo>
                <a:cubicBezTo>
                  <a:pt x="25657" y="14656"/>
                  <a:pt x="25625" y="14687"/>
                  <a:pt x="25594" y="14687"/>
                </a:cubicBezTo>
                <a:cubicBezTo>
                  <a:pt x="25594" y="14656"/>
                  <a:pt x="25563" y="14656"/>
                  <a:pt x="25532" y="14687"/>
                </a:cubicBezTo>
                <a:cubicBezTo>
                  <a:pt x="25532" y="14687"/>
                  <a:pt x="25532" y="14687"/>
                  <a:pt x="25500" y="14687"/>
                </a:cubicBezTo>
                <a:cubicBezTo>
                  <a:pt x="25500" y="14687"/>
                  <a:pt x="25500" y="14687"/>
                  <a:pt x="25500" y="14687"/>
                </a:cubicBezTo>
                <a:cubicBezTo>
                  <a:pt x="25500" y="14687"/>
                  <a:pt x="25469" y="14687"/>
                  <a:pt x="25438" y="14625"/>
                </a:cubicBezTo>
                <a:cubicBezTo>
                  <a:pt x="25438" y="14625"/>
                  <a:pt x="25469" y="14625"/>
                  <a:pt x="25469" y="14594"/>
                </a:cubicBezTo>
                <a:cubicBezTo>
                  <a:pt x="25500" y="14594"/>
                  <a:pt x="25500" y="14594"/>
                  <a:pt x="25532" y="14562"/>
                </a:cubicBezTo>
                <a:cubicBezTo>
                  <a:pt x="25532" y="14562"/>
                  <a:pt x="25532" y="14562"/>
                  <a:pt x="25532" y="14562"/>
                </a:cubicBezTo>
                <a:cubicBezTo>
                  <a:pt x="25563" y="14531"/>
                  <a:pt x="25532" y="14500"/>
                  <a:pt x="25500" y="14500"/>
                </a:cubicBezTo>
                <a:cubicBezTo>
                  <a:pt x="25625" y="14469"/>
                  <a:pt x="25719" y="14406"/>
                  <a:pt x="25844" y="14406"/>
                </a:cubicBezTo>
                <a:cubicBezTo>
                  <a:pt x="25875" y="14406"/>
                  <a:pt x="25938" y="14406"/>
                  <a:pt x="25969" y="14406"/>
                </a:cubicBezTo>
                <a:cubicBezTo>
                  <a:pt x="25844" y="14375"/>
                  <a:pt x="25719" y="14312"/>
                  <a:pt x="25594" y="14312"/>
                </a:cubicBezTo>
                <a:cubicBezTo>
                  <a:pt x="25407" y="14281"/>
                  <a:pt x="25188" y="14250"/>
                  <a:pt x="25032" y="14187"/>
                </a:cubicBezTo>
                <a:cubicBezTo>
                  <a:pt x="24500" y="14031"/>
                  <a:pt x="24032" y="13812"/>
                  <a:pt x="23563" y="13562"/>
                </a:cubicBezTo>
                <a:cubicBezTo>
                  <a:pt x="23469" y="13531"/>
                  <a:pt x="23375" y="13469"/>
                  <a:pt x="23282" y="13406"/>
                </a:cubicBezTo>
                <a:cubicBezTo>
                  <a:pt x="23125" y="13312"/>
                  <a:pt x="23000" y="13219"/>
                  <a:pt x="22844" y="13156"/>
                </a:cubicBezTo>
                <a:cubicBezTo>
                  <a:pt x="22750" y="13094"/>
                  <a:pt x="22688" y="13031"/>
                  <a:pt x="22563" y="13000"/>
                </a:cubicBezTo>
                <a:cubicBezTo>
                  <a:pt x="22500" y="12969"/>
                  <a:pt x="22500" y="13000"/>
                  <a:pt x="22500" y="13062"/>
                </a:cubicBezTo>
                <a:cubicBezTo>
                  <a:pt x="22532" y="13125"/>
                  <a:pt x="22500" y="13219"/>
                  <a:pt x="22563" y="13312"/>
                </a:cubicBezTo>
                <a:cubicBezTo>
                  <a:pt x="22563" y="13344"/>
                  <a:pt x="22563" y="13375"/>
                  <a:pt x="22563" y="13406"/>
                </a:cubicBezTo>
                <a:cubicBezTo>
                  <a:pt x="22563" y="13500"/>
                  <a:pt x="22594" y="13562"/>
                  <a:pt x="22594" y="13656"/>
                </a:cubicBezTo>
                <a:cubicBezTo>
                  <a:pt x="22594" y="13656"/>
                  <a:pt x="22563" y="13656"/>
                  <a:pt x="22532" y="13625"/>
                </a:cubicBezTo>
                <a:cubicBezTo>
                  <a:pt x="22407" y="13562"/>
                  <a:pt x="22313" y="13469"/>
                  <a:pt x="22188" y="13406"/>
                </a:cubicBezTo>
                <a:cubicBezTo>
                  <a:pt x="21907" y="13250"/>
                  <a:pt x="21657" y="13062"/>
                  <a:pt x="21407" y="12875"/>
                </a:cubicBezTo>
                <a:cubicBezTo>
                  <a:pt x="21188" y="12750"/>
                  <a:pt x="20969" y="12562"/>
                  <a:pt x="20750" y="12406"/>
                </a:cubicBezTo>
                <a:cubicBezTo>
                  <a:pt x="20438" y="12187"/>
                  <a:pt x="20125" y="11937"/>
                  <a:pt x="19844" y="11719"/>
                </a:cubicBezTo>
                <a:cubicBezTo>
                  <a:pt x="19563" y="11500"/>
                  <a:pt x="19313" y="11281"/>
                  <a:pt x="19032" y="11062"/>
                </a:cubicBezTo>
                <a:cubicBezTo>
                  <a:pt x="18813" y="10875"/>
                  <a:pt x="18594" y="10719"/>
                  <a:pt x="18375" y="10531"/>
                </a:cubicBezTo>
                <a:cubicBezTo>
                  <a:pt x="18094" y="10312"/>
                  <a:pt x="17813" y="10031"/>
                  <a:pt x="17500" y="9781"/>
                </a:cubicBezTo>
                <a:cubicBezTo>
                  <a:pt x="17282" y="9594"/>
                  <a:pt x="17032" y="9375"/>
                  <a:pt x="16782" y="9156"/>
                </a:cubicBezTo>
                <a:cubicBezTo>
                  <a:pt x="16469" y="8875"/>
                  <a:pt x="16157" y="8625"/>
                  <a:pt x="15844" y="8312"/>
                </a:cubicBezTo>
                <a:cubicBezTo>
                  <a:pt x="15532" y="8031"/>
                  <a:pt x="15188" y="7750"/>
                  <a:pt x="14907" y="7406"/>
                </a:cubicBezTo>
                <a:cubicBezTo>
                  <a:pt x="14750" y="7187"/>
                  <a:pt x="14532" y="7000"/>
                  <a:pt x="14313" y="6812"/>
                </a:cubicBezTo>
                <a:cubicBezTo>
                  <a:pt x="14032" y="6562"/>
                  <a:pt x="13719" y="6312"/>
                  <a:pt x="13469" y="6000"/>
                </a:cubicBezTo>
                <a:cubicBezTo>
                  <a:pt x="13438" y="5937"/>
                  <a:pt x="13344" y="5844"/>
                  <a:pt x="13344" y="5781"/>
                </a:cubicBezTo>
                <a:cubicBezTo>
                  <a:pt x="13375" y="5719"/>
                  <a:pt x="13344" y="5719"/>
                  <a:pt x="13313" y="5687"/>
                </a:cubicBezTo>
                <a:cubicBezTo>
                  <a:pt x="13282" y="5656"/>
                  <a:pt x="13250" y="5625"/>
                  <a:pt x="13219" y="5594"/>
                </a:cubicBezTo>
                <a:cubicBezTo>
                  <a:pt x="12969" y="5375"/>
                  <a:pt x="12750" y="5156"/>
                  <a:pt x="12532" y="4969"/>
                </a:cubicBezTo>
                <a:cubicBezTo>
                  <a:pt x="12407" y="4875"/>
                  <a:pt x="12282" y="4750"/>
                  <a:pt x="12157" y="4656"/>
                </a:cubicBezTo>
                <a:cubicBezTo>
                  <a:pt x="12157" y="4625"/>
                  <a:pt x="12125" y="4625"/>
                  <a:pt x="12125" y="4594"/>
                </a:cubicBezTo>
                <a:cubicBezTo>
                  <a:pt x="12157" y="4594"/>
                  <a:pt x="12157" y="4594"/>
                  <a:pt x="12157" y="4594"/>
                </a:cubicBezTo>
                <a:cubicBezTo>
                  <a:pt x="12219" y="4625"/>
                  <a:pt x="12313" y="4594"/>
                  <a:pt x="12407" y="4656"/>
                </a:cubicBezTo>
                <a:cubicBezTo>
                  <a:pt x="12625" y="4844"/>
                  <a:pt x="12844" y="5062"/>
                  <a:pt x="13063" y="5250"/>
                </a:cubicBezTo>
                <a:cubicBezTo>
                  <a:pt x="13094" y="5281"/>
                  <a:pt x="13125" y="5281"/>
                  <a:pt x="13157" y="5219"/>
                </a:cubicBezTo>
                <a:cubicBezTo>
                  <a:pt x="13157" y="5156"/>
                  <a:pt x="13250" y="5125"/>
                  <a:pt x="13282" y="5187"/>
                </a:cubicBezTo>
                <a:cubicBezTo>
                  <a:pt x="13438" y="5344"/>
                  <a:pt x="13657" y="5375"/>
                  <a:pt x="13813" y="5531"/>
                </a:cubicBezTo>
                <a:cubicBezTo>
                  <a:pt x="13844" y="5562"/>
                  <a:pt x="13875" y="5562"/>
                  <a:pt x="13875" y="5562"/>
                </a:cubicBezTo>
                <a:cubicBezTo>
                  <a:pt x="13938" y="5562"/>
                  <a:pt x="13938" y="5562"/>
                  <a:pt x="13938" y="5531"/>
                </a:cubicBezTo>
                <a:cubicBezTo>
                  <a:pt x="13875" y="5469"/>
                  <a:pt x="13875" y="5406"/>
                  <a:pt x="13813" y="5375"/>
                </a:cubicBezTo>
                <a:cubicBezTo>
                  <a:pt x="13688" y="5281"/>
                  <a:pt x="13594" y="5156"/>
                  <a:pt x="13469" y="5031"/>
                </a:cubicBezTo>
                <a:cubicBezTo>
                  <a:pt x="13438" y="5000"/>
                  <a:pt x="13438" y="4969"/>
                  <a:pt x="13500" y="4937"/>
                </a:cubicBezTo>
                <a:cubicBezTo>
                  <a:pt x="13532" y="4937"/>
                  <a:pt x="13594" y="4906"/>
                  <a:pt x="13625" y="4906"/>
                </a:cubicBezTo>
                <a:cubicBezTo>
                  <a:pt x="13719" y="4937"/>
                  <a:pt x="13782" y="4906"/>
                  <a:pt x="13875" y="4844"/>
                </a:cubicBezTo>
                <a:cubicBezTo>
                  <a:pt x="13907" y="4844"/>
                  <a:pt x="13969" y="4844"/>
                  <a:pt x="14000" y="4875"/>
                </a:cubicBezTo>
                <a:cubicBezTo>
                  <a:pt x="14313" y="5156"/>
                  <a:pt x="14594" y="5437"/>
                  <a:pt x="14907" y="5687"/>
                </a:cubicBezTo>
                <a:cubicBezTo>
                  <a:pt x="15344" y="6094"/>
                  <a:pt x="15750" y="6500"/>
                  <a:pt x="16188" y="6875"/>
                </a:cubicBezTo>
                <a:cubicBezTo>
                  <a:pt x="16250" y="6906"/>
                  <a:pt x="16282" y="6969"/>
                  <a:pt x="16313" y="7000"/>
                </a:cubicBezTo>
                <a:cubicBezTo>
                  <a:pt x="16344" y="7031"/>
                  <a:pt x="16407" y="7062"/>
                  <a:pt x="16438" y="7062"/>
                </a:cubicBezTo>
                <a:cubicBezTo>
                  <a:pt x="16469" y="7062"/>
                  <a:pt x="16469" y="7094"/>
                  <a:pt x="16469" y="7094"/>
                </a:cubicBezTo>
                <a:cubicBezTo>
                  <a:pt x="16469" y="7094"/>
                  <a:pt x="16469" y="7125"/>
                  <a:pt x="16500" y="7125"/>
                </a:cubicBezTo>
                <a:cubicBezTo>
                  <a:pt x="16500" y="7125"/>
                  <a:pt x="16500" y="7125"/>
                  <a:pt x="16500" y="7125"/>
                </a:cubicBezTo>
                <a:cubicBezTo>
                  <a:pt x="16500" y="7094"/>
                  <a:pt x="16469" y="7062"/>
                  <a:pt x="16469" y="7062"/>
                </a:cubicBezTo>
                <a:cubicBezTo>
                  <a:pt x="16375" y="6937"/>
                  <a:pt x="16250" y="6812"/>
                  <a:pt x="16125" y="6687"/>
                </a:cubicBezTo>
                <a:cubicBezTo>
                  <a:pt x="15688" y="6281"/>
                  <a:pt x="15250" y="5906"/>
                  <a:pt x="14844" y="5500"/>
                </a:cubicBezTo>
                <a:cubicBezTo>
                  <a:pt x="14657" y="5344"/>
                  <a:pt x="14500" y="5187"/>
                  <a:pt x="14313" y="5031"/>
                </a:cubicBezTo>
                <a:cubicBezTo>
                  <a:pt x="14250" y="4969"/>
                  <a:pt x="14157" y="4906"/>
                  <a:pt x="14094" y="4812"/>
                </a:cubicBezTo>
                <a:cubicBezTo>
                  <a:pt x="14125" y="4812"/>
                  <a:pt x="14125" y="4812"/>
                  <a:pt x="14125" y="4812"/>
                </a:cubicBezTo>
                <a:cubicBezTo>
                  <a:pt x="14157" y="4781"/>
                  <a:pt x="14188" y="4781"/>
                  <a:pt x="14219" y="4781"/>
                </a:cubicBezTo>
                <a:cubicBezTo>
                  <a:pt x="14219" y="4781"/>
                  <a:pt x="14219" y="4812"/>
                  <a:pt x="14250" y="4812"/>
                </a:cubicBezTo>
                <a:cubicBezTo>
                  <a:pt x="14250" y="4812"/>
                  <a:pt x="14250" y="4812"/>
                  <a:pt x="14250" y="4812"/>
                </a:cubicBezTo>
                <a:cubicBezTo>
                  <a:pt x="14250" y="4812"/>
                  <a:pt x="14250" y="4812"/>
                  <a:pt x="14250" y="4844"/>
                </a:cubicBezTo>
                <a:cubicBezTo>
                  <a:pt x="14250" y="4844"/>
                  <a:pt x="14250" y="4844"/>
                  <a:pt x="14250" y="4844"/>
                </a:cubicBezTo>
                <a:cubicBezTo>
                  <a:pt x="14563" y="5125"/>
                  <a:pt x="14875" y="5375"/>
                  <a:pt x="15188" y="5656"/>
                </a:cubicBezTo>
                <a:cubicBezTo>
                  <a:pt x="15688" y="6156"/>
                  <a:pt x="16219" y="6625"/>
                  <a:pt x="16719" y="7094"/>
                </a:cubicBezTo>
                <a:cubicBezTo>
                  <a:pt x="17282" y="7594"/>
                  <a:pt x="17875" y="8125"/>
                  <a:pt x="18438" y="8656"/>
                </a:cubicBezTo>
                <a:cubicBezTo>
                  <a:pt x="18844" y="9031"/>
                  <a:pt x="19250" y="9406"/>
                  <a:pt x="19657" y="9812"/>
                </a:cubicBezTo>
                <a:cubicBezTo>
                  <a:pt x="19750" y="9906"/>
                  <a:pt x="19875" y="10031"/>
                  <a:pt x="20000" y="10125"/>
                </a:cubicBezTo>
                <a:cubicBezTo>
                  <a:pt x="20250" y="10312"/>
                  <a:pt x="20532" y="10531"/>
                  <a:pt x="20782" y="10719"/>
                </a:cubicBezTo>
                <a:cubicBezTo>
                  <a:pt x="21125" y="10969"/>
                  <a:pt x="21469" y="11250"/>
                  <a:pt x="21844" y="11500"/>
                </a:cubicBezTo>
                <a:cubicBezTo>
                  <a:pt x="21875" y="11500"/>
                  <a:pt x="21907" y="11531"/>
                  <a:pt x="21938" y="11562"/>
                </a:cubicBezTo>
                <a:cubicBezTo>
                  <a:pt x="22063" y="11625"/>
                  <a:pt x="22188" y="11719"/>
                  <a:pt x="22313" y="11781"/>
                </a:cubicBezTo>
                <a:cubicBezTo>
                  <a:pt x="22313" y="11781"/>
                  <a:pt x="22313" y="11812"/>
                  <a:pt x="22313" y="11812"/>
                </a:cubicBezTo>
                <a:cubicBezTo>
                  <a:pt x="22344" y="11812"/>
                  <a:pt x="22344" y="11812"/>
                  <a:pt x="22344" y="11812"/>
                </a:cubicBezTo>
                <a:cubicBezTo>
                  <a:pt x="22594" y="11969"/>
                  <a:pt x="22782" y="12125"/>
                  <a:pt x="23032" y="12250"/>
                </a:cubicBezTo>
                <a:cubicBezTo>
                  <a:pt x="23125" y="12375"/>
                  <a:pt x="23282" y="12437"/>
                  <a:pt x="23407" y="12500"/>
                </a:cubicBezTo>
                <a:cubicBezTo>
                  <a:pt x="23438" y="12531"/>
                  <a:pt x="23469" y="12562"/>
                  <a:pt x="23500" y="12562"/>
                </a:cubicBezTo>
                <a:cubicBezTo>
                  <a:pt x="23594" y="12625"/>
                  <a:pt x="23719" y="12719"/>
                  <a:pt x="23844" y="12750"/>
                </a:cubicBezTo>
                <a:cubicBezTo>
                  <a:pt x="23844" y="12750"/>
                  <a:pt x="23844" y="12781"/>
                  <a:pt x="23875" y="12781"/>
                </a:cubicBezTo>
                <a:cubicBezTo>
                  <a:pt x="24282" y="13031"/>
                  <a:pt x="24719" y="13250"/>
                  <a:pt x="25188" y="13469"/>
                </a:cubicBezTo>
                <a:cubicBezTo>
                  <a:pt x="25407" y="13562"/>
                  <a:pt x="25657" y="13656"/>
                  <a:pt x="25907" y="13687"/>
                </a:cubicBezTo>
                <a:cubicBezTo>
                  <a:pt x="25969" y="13750"/>
                  <a:pt x="26032" y="13719"/>
                  <a:pt x="26125" y="13750"/>
                </a:cubicBezTo>
                <a:cubicBezTo>
                  <a:pt x="26282" y="13812"/>
                  <a:pt x="26469" y="13812"/>
                  <a:pt x="26625" y="13781"/>
                </a:cubicBezTo>
                <a:cubicBezTo>
                  <a:pt x="26782" y="13781"/>
                  <a:pt x="26938" y="13719"/>
                  <a:pt x="27032" y="13562"/>
                </a:cubicBezTo>
                <a:cubicBezTo>
                  <a:pt x="27032" y="13531"/>
                  <a:pt x="27063" y="13500"/>
                  <a:pt x="27032" y="13469"/>
                </a:cubicBezTo>
                <a:cubicBezTo>
                  <a:pt x="27000" y="13469"/>
                  <a:pt x="26969" y="13469"/>
                  <a:pt x="26969" y="13500"/>
                </a:cubicBezTo>
                <a:cubicBezTo>
                  <a:pt x="26813" y="13594"/>
                  <a:pt x="26657" y="13625"/>
                  <a:pt x="26500" y="13656"/>
                </a:cubicBezTo>
                <a:cubicBezTo>
                  <a:pt x="26563" y="13562"/>
                  <a:pt x="26625" y="13500"/>
                  <a:pt x="26750" y="13469"/>
                </a:cubicBezTo>
                <a:cubicBezTo>
                  <a:pt x="26907" y="13406"/>
                  <a:pt x="27094" y="13312"/>
                  <a:pt x="27188" y="13156"/>
                </a:cubicBezTo>
                <a:cubicBezTo>
                  <a:pt x="27219" y="13125"/>
                  <a:pt x="27219" y="13094"/>
                  <a:pt x="27219" y="13062"/>
                </a:cubicBezTo>
                <a:cubicBezTo>
                  <a:pt x="27219" y="13000"/>
                  <a:pt x="27188" y="12969"/>
                  <a:pt x="27188" y="12906"/>
                </a:cubicBezTo>
                <a:lnTo>
                  <a:pt x="27188" y="12906"/>
                </a:lnTo>
                <a:cubicBezTo>
                  <a:pt x="27188" y="12906"/>
                  <a:pt x="27188" y="12875"/>
                  <a:pt x="27188" y="12875"/>
                </a:cubicBezTo>
                <a:cubicBezTo>
                  <a:pt x="27188" y="12875"/>
                  <a:pt x="27188" y="12844"/>
                  <a:pt x="27188" y="12844"/>
                </a:cubicBezTo>
                <a:cubicBezTo>
                  <a:pt x="27188" y="12844"/>
                  <a:pt x="27188" y="12844"/>
                  <a:pt x="27188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44"/>
                  <a:pt x="27219" y="12844"/>
                  <a:pt x="27219" y="12844"/>
                </a:cubicBezTo>
                <a:cubicBezTo>
                  <a:pt x="27219" y="12812"/>
                  <a:pt x="27219" y="12812"/>
                  <a:pt x="27219" y="12812"/>
                </a:cubicBezTo>
                <a:cubicBezTo>
                  <a:pt x="27219" y="12812"/>
                  <a:pt x="27219" y="12781"/>
                  <a:pt x="27219" y="12781"/>
                </a:cubicBezTo>
                <a:cubicBezTo>
                  <a:pt x="27219" y="12719"/>
                  <a:pt x="27250" y="12656"/>
                  <a:pt x="27250" y="12594"/>
                </a:cubicBezTo>
                <a:cubicBezTo>
                  <a:pt x="27250" y="12562"/>
                  <a:pt x="27250" y="12531"/>
                  <a:pt x="27250" y="12500"/>
                </a:cubicBezTo>
                <a:cubicBezTo>
                  <a:pt x="27250" y="12469"/>
                  <a:pt x="27250" y="12469"/>
                  <a:pt x="27250" y="12437"/>
                </a:cubicBezTo>
                <a:cubicBezTo>
                  <a:pt x="27219" y="12406"/>
                  <a:pt x="27219" y="12375"/>
                  <a:pt x="27219" y="12312"/>
                </a:cubicBezTo>
                <a:cubicBezTo>
                  <a:pt x="27219" y="12312"/>
                  <a:pt x="27219" y="12312"/>
                  <a:pt x="27219" y="12281"/>
                </a:cubicBezTo>
                <a:cubicBezTo>
                  <a:pt x="27219" y="12281"/>
                  <a:pt x="27219" y="12281"/>
                  <a:pt x="27219" y="12250"/>
                </a:cubicBezTo>
                <a:cubicBezTo>
                  <a:pt x="27219" y="12219"/>
                  <a:pt x="27219" y="12219"/>
                  <a:pt x="27188" y="12187"/>
                </a:cubicBezTo>
                <a:cubicBezTo>
                  <a:pt x="27219" y="12125"/>
                  <a:pt x="27219" y="12094"/>
                  <a:pt x="27219" y="12031"/>
                </a:cubicBezTo>
                <a:cubicBezTo>
                  <a:pt x="27219" y="12031"/>
                  <a:pt x="27219" y="12000"/>
                  <a:pt x="27219" y="11969"/>
                </a:cubicBezTo>
                <a:cubicBezTo>
                  <a:pt x="27219" y="11969"/>
                  <a:pt x="27219" y="11937"/>
                  <a:pt x="27219" y="11937"/>
                </a:cubicBezTo>
                <a:cubicBezTo>
                  <a:pt x="27219" y="11937"/>
                  <a:pt x="27219" y="11906"/>
                  <a:pt x="27219" y="11906"/>
                </a:cubicBezTo>
                <a:cubicBezTo>
                  <a:pt x="27219" y="11906"/>
                  <a:pt x="27219" y="11875"/>
                  <a:pt x="27188" y="11875"/>
                </a:cubicBezTo>
                <a:cubicBezTo>
                  <a:pt x="27157" y="11500"/>
                  <a:pt x="27125" y="11156"/>
                  <a:pt x="27094" y="10781"/>
                </a:cubicBezTo>
                <a:cubicBezTo>
                  <a:pt x="27094" y="10656"/>
                  <a:pt x="27063" y="10531"/>
                  <a:pt x="27063" y="10437"/>
                </a:cubicBezTo>
                <a:cubicBezTo>
                  <a:pt x="27000" y="10000"/>
                  <a:pt x="26907" y="9594"/>
                  <a:pt x="26813" y="9187"/>
                </a:cubicBezTo>
                <a:cubicBezTo>
                  <a:pt x="26782" y="9031"/>
                  <a:pt x="26657" y="8906"/>
                  <a:pt x="26657" y="8750"/>
                </a:cubicBezTo>
                <a:cubicBezTo>
                  <a:pt x="26625" y="8656"/>
                  <a:pt x="26625" y="8562"/>
                  <a:pt x="26563" y="8500"/>
                </a:cubicBezTo>
                <a:cubicBezTo>
                  <a:pt x="26563" y="8469"/>
                  <a:pt x="26532" y="8469"/>
                  <a:pt x="26500" y="8437"/>
                </a:cubicBezTo>
                <a:cubicBezTo>
                  <a:pt x="26500" y="8406"/>
                  <a:pt x="26500" y="8375"/>
                  <a:pt x="26500" y="8344"/>
                </a:cubicBezTo>
                <a:cubicBezTo>
                  <a:pt x="26500" y="8312"/>
                  <a:pt x="26500" y="8281"/>
                  <a:pt x="26500" y="8281"/>
                </a:cubicBezTo>
                <a:cubicBezTo>
                  <a:pt x="26500" y="8281"/>
                  <a:pt x="26500" y="8281"/>
                  <a:pt x="26500" y="8281"/>
                </a:cubicBezTo>
                <a:cubicBezTo>
                  <a:pt x="26500" y="8187"/>
                  <a:pt x="26469" y="8125"/>
                  <a:pt x="26375" y="8062"/>
                </a:cubicBezTo>
                <a:cubicBezTo>
                  <a:pt x="26344" y="8000"/>
                  <a:pt x="26344" y="7937"/>
                  <a:pt x="26344" y="7875"/>
                </a:cubicBezTo>
                <a:cubicBezTo>
                  <a:pt x="26344" y="7844"/>
                  <a:pt x="26344" y="7844"/>
                  <a:pt x="26344" y="7844"/>
                </a:cubicBezTo>
                <a:cubicBezTo>
                  <a:pt x="26344" y="7781"/>
                  <a:pt x="26344" y="7750"/>
                  <a:pt x="26344" y="7719"/>
                </a:cubicBezTo>
                <a:cubicBezTo>
                  <a:pt x="26344" y="7687"/>
                  <a:pt x="26344" y="7687"/>
                  <a:pt x="26344" y="7687"/>
                </a:cubicBezTo>
                <a:cubicBezTo>
                  <a:pt x="26313" y="7687"/>
                  <a:pt x="26313" y="7656"/>
                  <a:pt x="26313" y="7656"/>
                </a:cubicBezTo>
                <a:cubicBezTo>
                  <a:pt x="26313" y="7625"/>
                  <a:pt x="26282" y="7594"/>
                  <a:pt x="26250" y="7594"/>
                </a:cubicBezTo>
                <a:cubicBezTo>
                  <a:pt x="26188" y="7531"/>
                  <a:pt x="26188" y="7469"/>
                  <a:pt x="26157" y="7406"/>
                </a:cubicBezTo>
                <a:cubicBezTo>
                  <a:pt x="26157" y="7375"/>
                  <a:pt x="26125" y="7344"/>
                  <a:pt x="26157" y="7312"/>
                </a:cubicBezTo>
                <a:cubicBezTo>
                  <a:pt x="26157" y="7312"/>
                  <a:pt x="26157" y="7281"/>
                  <a:pt x="26157" y="7281"/>
                </a:cubicBezTo>
                <a:cubicBezTo>
                  <a:pt x="26157" y="7219"/>
                  <a:pt x="26094" y="7187"/>
                  <a:pt x="26063" y="7125"/>
                </a:cubicBezTo>
                <a:cubicBezTo>
                  <a:pt x="26063" y="7125"/>
                  <a:pt x="26063" y="7094"/>
                  <a:pt x="26063" y="7094"/>
                </a:cubicBezTo>
                <a:cubicBezTo>
                  <a:pt x="26063" y="7094"/>
                  <a:pt x="26063" y="7094"/>
                  <a:pt x="26063" y="7094"/>
                </a:cubicBezTo>
                <a:cubicBezTo>
                  <a:pt x="25938" y="6875"/>
                  <a:pt x="25813" y="6656"/>
                  <a:pt x="25719" y="6406"/>
                </a:cubicBezTo>
                <a:cubicBezTo>
                  <a:pt x="25719" y="6344"/>
                  <a:pt x="25719" y="6250"/>
                  <a:pt x="25657" y="6219"/>
                </a:cubicBezTo>
                <a:cubicBezTo>
                  <a:pt x="25625" y="6094"/>
                  <a:pt x="25563" y="6000"/>
                  <a:pt x="25532" y="5875"/>
                </a:cubicBezTo>
                <a:cubicBezTo>
                  <a:pt x="25469" y="5719"/>
                  <a:pt x="25407" y="5531"/>
                  <a:pt x="25344" y="5375"/>
                </a:cubicBezTo>
                <a:cubicBezTo>
                  <a:pt x="25125" y="4937"/>
                  <a:pt x="24875" y="4531"/>
                  <a:pt x="24625" y="4094"/>
                </a:cubicBezTo>
                <a:cubicBezTo>
                  <a:pt x="24625" y="4094"/>
                  <a:pt x="24625" y="4094"/>
                  <a:pt x="24625" y="4094"/>
                </a:cubicBezTo>
                <a:cubicBezTo>
                  <a:pt x="24625" y="4062"/>
                  <a:pt x="24625" y="4062"/>
                  <a:pt x="24594" y="4062"/>
                </a:cubicBezTo>
                <a:cubicBezTo>
                  <a:pt x="24594" y="4031"/>
                  <a:pt x="24563" y="4031"/>
                  <a:pt x="24563" y="4000"/>
                </a:cubicBezTo>
                <a:cubicBezTo>
                  <a:pt x="24563" y="4000"/>
                  <a:pt x="24563" y="4000"/>
                  <a:pt x="24563" y="4000"/>
                </a:cubicBezTo>
                <a:cubicBezTo>
                  <a:pt x="24563" y="3969"/>
                  <a:pt x="24563" y="3969"/>
                  <a:pt x="24563" y="3937"/>
                </a:cubicBezTo>
                <a:cubicBezTo>
                  <a:pt x="24532" y="3937"/>
                  <a:pt x="24532" y="3906"/>
                  <a:pt x="24500" y="3906"/>
                </a:cubicBezTo>
                <a:cubicBezTo>
                  <a:pt x="24500" y="3906"/>
                  <a:pt x="24500" y="3906"/>
                  <a:pt x="24500" y="3906"/>
                </a:cubicBezTo>
                <a:cubicBezTo>
                  <a:pt x="24438" y="3719"/>
                  <a:pt x="24313" y="3625"/>
                  <a:pt x="24188" y="3500"/>
                </a:cubicBezTo>
                <a:cubicBezTo>
                  <a:pt x="24157" y="3469"/>
                  <a:pt x="24125" y="3500"/>
                  <a:pt x="24157" y="3531"/>
                </a:cubicBezTo>
                <a:cubicBezTo>
                  <a:pt x="24157" y="3562"/>
                  <a:pt x="24157" y="3625"/>
                  <a:pt x="24188" y="3656"/>
                </a:cubicBezTo>
                <a:cubicBezTo>
                  <a:pt x="24188" y="3719"/>
                  <a:pt x="24250" y="3750"/>
                  <a:pt x="24282" y="3781"/>
                </a:cubicBezTo>
                <a:cubicBezTo>
                  <a:pt x="24313" y="3812"/>
                  <a:pt x="24313" y="3812"/>
                  <a:pt x="24313" y="3844"/>
                </a:cubicBezTo>
                <a:cubicBezTo>
                  <a:pt x="24313" y="3844"/>
                  <a:pt x="24313" y="3875"/>
                  <a:pt x="24313" y="3875"/>
                </a:cubicBezTo>
                <a:cubicBezTo>
                  <a:pt x="24313" y="3875"/>
                  <a:pt x="24313" y="3875"/>
                  <a:pt x="24344" y="3875"/>
                </a:cubicBezTo>
                <a:cubicBezTo>
                  <a:pt x="24344" y="3875"/>
                  <a:pt x="24344" y="3875"/>
                  <a:pt x="24344" y="3875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344" y="3906"/>
                  <a:pt x="24344" y="3906"/>
                  <a:pt x="24344" y="3906"/>
                </a:cubicBezTo>
                <a:cubicBezTo>
                  <a:pt x="24407" y="4000"/>
                  <a:pt x="24469" y="4094"/>
                  <a:pt x="24532" y="4219"/>
                </a:cubicBezTo>
                <a:cubicBezTo>
                  <a:pt x="24532" y="4219"/>
                  <a:pt x="24532" y="4219"/>
                  <a:pt x="24532" y="4250"/>
                </a:cubicBezTo>
                <a:cubicBezTo>
                  <a:pt x="24532" y="4250"/>
                  <a:pt x="24532" y="4281"/>
                  <a:pt x="24563" y="4281"/>
                </a:cubicBezTo>
                <a:cubicBezTo>
                  <a:pt x="24563" y="4281"/>
                  <a:pt x="24594" y="4312"/>
                  <a:pt x="24594" y="4312"/>
                </a:cubicBezTo>
                <a:cubicBezTo>
                  <a:pt x="24563" y="4344"/>
                  <a:pt x="24563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44"/>
                  <a:pt x="24532" y="4344"/>
                  <a:pt x="24532" y="4344"/>
                </a:cubicBezTo>
                <a:cubicBezTo>
                  <a:pt x="24532" y="4312"/>
                  <a:pt x="24500" y="4312"/>
                  <a:pt x="24500" y="4312"/>
                </a:cubicBezTo>
                <a:cubicBezTo>
                  <a:pt x="24500" y="4312"/>
                  <a:pt x="24500" y="4281"/>
                  <a:pt x="24500" y="4281"/>
                </a:cubicBezTo>
                <a:cubicBezTo>
                  <a:pt x="24407" y="4219"/>
                  <a:pt x="24344" y="4156"/>
                  <a:pt x="24282" y="4062"/>
                </a:cubicBezTo>
                <a:cubicBezTo>
                  <a:pt x="24282" y="4062"/>
                  <a:pt x="24282" y="4031"/>
                  <a:pt x="24250" y="4062"/>
                </a:cubicBezTo>
                <a:cubicBezTo>
                  <a:pt x="24219" y="4062"/>
                  <a:pt x="24250" y="4094"/>
                  <a:pt x="24250" y="4094"/>
                </a:cubicBezTo>
                <a:cubicBezTo>
                  <a:pt x="24282" y="4156"/>
                  <a:pt x="24313" y="4219"/>
                  <a:pt x="24344" y="4281"/>
                </a:cubicBezTo>
                <a:cubicBezTo>
                  <a:pt x="24344" y="4281"/>
                  <a:pt x="24375" y="4312"/>
                  <a:pt x="24375" y="4312"/>
                </a:cubicBezTo>
                <a:cubicBezTo>
                  <a:pt x="24407" y="4375"/>
                  <a:pt x="24438" y="4437"/>
                  <a:pt x="24344" y="4500"/>
                </a:cubicBezTo>
                <a:cubicBezTo>
                  <a:pt x="24313" y="4500"/>
                  <a:pt x="24313" y="4500"/>
                  <a:pt x="24282" y="4469"/>
                </a:cubicBezTo>
                <a:cubicBezTo>
                  <a:pt x="24313" y="4469"/>
                  <a:pt x="24313" y="4469"/>
                  <a:pt x="24313" y="4469"/>
                </a:cubicBezTo>
                <a:cubicBezTo>
                  <a:pt x="24313" y="4437"/>
                  <a:pt x="24282" y="4437"/>
                  <a:pt x="24282" y="4437"/>
                </a:cubicBezTo>
                <a:cubicBezTo>
                  <a:pt x="24282" y="4437"/>
                  <a:pt x="24282" y="4437"/>
                  <a:pt x="24282" y="4437"/>
                </a:cubicBezTo>
                <a:cubicBezTo>
                  <a:pt x="24282" y="4437"/>
                  <a:pt x="24250" y="4437"/>
                  <a:pt x="24250" y="4437"/>
                </a:cubicBezTo>
                <a:cubicBezTo>
                  <a:pt x="24219" y="4312"/>
                  <a:pt x="24157" y="4187"/>
                  <a:pt x="24063" y="4125"/>
                </a:cubicBezTo>
                <a:cubicBezTo>
                  <a:pt x="24032" y="4094"/>
                  <a:pt x="24000" y="4062"/>
                  <a:pt x="23969" y="4094"/>
                </a:cubicBezTo>
                <a:cubicBezTo>
                  <a:pt x="23969" y="4187"/>
                  <a:pt x="23875" y="4219"/>
                  <a:pt x="23875" y="4281"/>
                </a:cubicBezTo>
                <a:cubicBezTo>
                  <a:pt x="23875" y="4281"/>
                  <a:pt x="23875" y="4281"/>
                  <a:pt x="23875" y="4281"/>
                </a:cubicBezTo>
                <a:cubicBezTo>
                  <a:pt x="23875" y="4312"/>
                  <a:pt x="23875" y="4312"/>
                  <a:pt x="23875" y="4312"/>
                </a:cubicBezTo>
                <a:cubicBezTo>
                  <a:pt x="23875" y="4312"/>
                  <a:pt x="23844" y="4312"/>
                  <a:pt x="23844" y="4312"/>
                </a:cubicBezTo>
                <a:cubicBezTo>
                  <a:pt x="23844" y="4312"/>
                  <a:pt x="23844" y="4312"/>
                  <a:pt x="23844" y="4312"/>
                </a:cubicBezTo>
                <a:cubicBezTo>
                  <a:pt x="23813" y="4187"/>
                  <a:pt x="23719" y="4125"/>
                  <a:pt x="23688" y="4031"/>
                </a:cubicBezTo>
                <a:cubicBezTo>
                  <a:pt x="23657" y="4000"/>
                  <a:pt x="23657" y="4000"/>
                  <a:pt x="23657" y="3969"/>
                </a:cubicBezTo>
                <a:cubicBezTo>
                  <a:pt x="23625" y="3906"/>
                  <a:pt x="23532" y="3844"/>
                  <a:pt x="23469" y="3812"/>
                </a:cubicBezTo>
                <a:cubicBezTo>
                  <a:pt x="23438" y="3781"/>
                  <a:pt x="23407" y="3750"/>
                  <a:pt x="23375" y="3719"/>
                </a:cubicBezTo>
                <a:cubicBezTo>
                  <a:pt x="23375" y="3687"/>
                  <a:pt x="23344" y="3687"/>
                  <a:pt x="23344" y="3687"/>
                </a:cubicBezTo>
                <a:cubicBezTo>
                  <a:pt x="23344" y="3656"/>
                  <a:pt x="23344" y="3656"/>
                  <a:pt x="23313" y="3625"/>
                </a:cubicBezTo>
                <a:cubicBezTo>
                  <a:pt x="23313" y="3687"/>
                  <a:pt x="23344" y="3687"/>
                  <a:pt x="23375" y="3719"/>
                </a:cubicBezTo>
                <a:cubicBezTo>
                  <a:pt x="23375" y="3750"/>
                  <a:pt x="23375" y="3781"/>
                  <a:pt x="23375" y="3812"/>
                </a:cubicBezTo>
                <a:cubicBezTo>
                  <a:pt x="23594" y="4156"/>
                  <a:pt x="23719" y="4531"/>
                  <a:pt x="23938" y="4875"/>
                </a:cubicBezTo>
                <a:cubicBezTo>
                  <a:pt x="23969" y="4906"/>
                  <a:pt x="24032" y="4969"/>
                  <a:pt x="24032" y="5062"/>
                </a:cubicBezTo>
                <a:cubicBezTo>
                  <a:pt x="23938" y="5031"/>
                  <a:pt x="23938" y="4937"/>
                  <a:pt x="23875" y="4906"/>
                </a:cubicBezTo>
                <a:cubicBezTo>
                  <a:pt x="23844" y="4875"/>
                  <a:pt x="23813" y="4844"/>
                  <a:pt x="23782" y="4844"/>
                </a:cubicBezTo>
                <a:cubicBezTo>
                  <a:pt x="23750" y="4875"/>
                  <a:pt x="23782" y="4937"/>
                  <a:pt x="23782" y="4969"/>
                </a:cubicBezTo>
                <a:cubicBezTo>
                  <a:pt x="23782" y="4969"/>
                  <a:pt x="23782" y="5000"/>
                  <a:pt x="23782" y="5000"/>
                </a:cubicBezTo>
                <a:cubicBezTo>
                  <a:pt x="23844" y="5125"/>
                  <a:pt x="23875" y="5219"/>
                  <a:pt x="23938" y="5312"/>
                </a:cubicBezTo>
                <a:cubicBezTo>
                  <a:pt x="23969" y="5344"/>
                  <a:pt x="23969" y="5344"/>
                  <a:pt x="23938" y="5375"/>
                </a:cubicBezTo>
                <a:cubicBezTo>
                  <a:pt x="23938" y="5375"/>
                  <a:pt x="23907" y="5344"/>
                  <a:pt x="23907" y="5344"/>
                </a:cubicBezTo>
                <a:cubicBezTo>
                  <a:pt x="23875" y="5281"/>
                  <a:pt x="23844" y="5219"/>
                  <a:pt x="23782" y="5156"/>
                </a:cubicBezTo>
                <a:cubicBezTo>
                  <a:pt x="23750" y="5156"/>
                  <a:pt x="23750" y="5094"/>
                  <a:pt x="23719" y="5094"/>
                </a:cubicBezTo>
                <a:cubicBezTo>
                  <a:pt x="23688" y="5125"/>
                  <a:pt x="23719" y="5156"/>
                  <a:pt x="23719" y="5187"/>
                </a:cubicBezTo>
                <a:cubicBezTo>
                  <a:pt x="23719" y="5187"/>
                  <a:pt x="23719" y="5219"/>
                  <a:pt x="23750" y="5219"/>
                </a:cubicBezTo>
                <a:cubicBezTo>
                  <a:pt x="23750" y="5219"/>
                  <a:pt x="23719" y="5250"/>
                  <a:pt x="23688" y="5250"/>
                </a:cubicBezTo>
                <a:cubicBezTo>
                  <a:pt x="23688" y="5250"/>
                  <a:pt x="23688" y="5219"/>
                  <a:pt x="23688" y="5219"/>
                </a:cubicBezTo>
                <a:cubicBezTo>
                  <a:pt x="23657" y="5187"/>
                  <a:pt x="23657" y="5156"/>
                  <a:pt x="23625" y="5156"/>
                </a:cubicBezTo>
                <a:cubicBezTo>
                  <a:pt x="23563" y="5062"/>
                  <a:pt x="23563" y="4937"/>
                  <a:pt x="23438" y="4906"/>
                </a:cubicBezTo>
                <a:close/>
                <a:moveTo>
                  <a:pt x="2875" y="11437"/>
                </a:moveTo>
                <a:cubicBezTo>
                  <a:pt x="2875" y="11437"/>
                  <a:pt x="2907" y="11437"/>
                  <a:pt x="2907" y="11437"/>
                </a:cubicBezTo>
                <a:cubicBezTo>
                  <a:pt x="2907" y="11437"/>
                  <a:pt x="2907" y="11437"/>
                  <a:pt x="2907" y="11437"/>
                </a:cubicBezTo>
                <a:cubicBezTo>
                  <a:pt x="2907" y="11406"/>
                  <a:pt x="2907" y="11406"/>
                  <a:pt x="2875" y="11406"/>
                </a:cubicBezTo>
                <a:cubicBezTo>
                  <a:pt x="2875" y="11406"/>
                  <a:pt x="2875" y="11437"/>
                  <a:pt x="2875" y="11437"/>
                </a:cubicBezTo>
                <a:close/>
                <a:moveTo>
                  <a:pt x="13219" y="6750"/>
                </a:move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81"/>
                  <a:pt x="13219" y="6781"/>
                </a:cubicBezTo>
                <a:cubicBezTo>
                  <a:pt x="13219" y="6781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ubicBezTo>
                  <a:pt x="13219" y="6750"/>
                  <a:pt x="13219" y="6750"/>
                  <a:pt x="13219" y="6750"/>
                </a:cubicBezTo>
                <a:close/>
                <a:moveTo>
                  <a:pt x="2844" y="11281"/>
                </a:moveTo>
                <a:cubicBezTo>
                  <a:pt x="2844" y="11312"/>
                  <a:pt x="2844" y="11312"/>
                  <a:pt x="2844" y="11312"/>
                </a:cubicBezTo>
                <a:cubicBezTo>
                  <a:pt x="2844" y="11312"/>
                  <a:pt x="2844" y="11344"/>
                  <a:pt x="2844" y="11344"/>
                </a:cubicBezTo>
                <a:cubicBezTo>
                  <a:pt x="2875" y="11312"/>
                  <a:pt x="2875" y="11312"/>
                  <a:pt x="2875" y="11312"/>
                </a:cubicBezTo>
                <a:cubicBezTo>
                  <a:pt x="2875" y="11281"/>
                  <a:pt x="2844" y="11281"/>
                  <a:pt x="2844" y="11281"/>
                </a:cubicBezTo>
                <a:close/>
                <a:moveTo>
                  <a:pt x="10688" y="844"/>
                </a:moveTo>
                <a:cubicBezTo>
                  <a:pt x="10719" y="875"/>
                  <a:pt x="10782" y="906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50" y="969"/>
                  <a:pt x="10719" y="937"/>
                  <a:pt x="10719" y="969"/>
                </a:cubicBezTo>
                <a:cubicBezTo>
                  <a:pt x="10719" y="1000"/>
                  <a:pt x="10750" y="1031"/>
                  <a:pt x="10782" y="1031"/>
                </a:cubicBezTo>
                <a:cubicBezTo>
                  <a:pt x="10844" y="1000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782" y="969"/>
                  <a:pt x="10782" y="969"/>
                  <a:pt x="10782" y="969"/>
                </a:cubicBezTo>
                <a:cubicBezTo>
                  <a:pt x="10813" y="969"/>
                  <a:pt x="10844" y="969"/>
                  <a:pt x="10875" y="1000"/>
                </a:cubicBezTo>
                <a:cubicBezTo>
                  <a:pt x="10907" y="1000"/>
                  <a:pt x="10907" y="1031"/>
                  <a:pt x="10938" y="1031"/>
                </a:cubicBezTo>
                <a:cubicBezTo>
                  <a:pt x="10969" y="1062"/>
                  <a:pt x="10969" y="1062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1000" y="1094"/>
                </a:cubicBezTo>
                <a:cubicBezTo>
                  <a:pt x="11000" y="1094"/>
                  <a:pt x="11000" y="1094"/>
                  <a:pt x="10969" y="1094"/>
                </a:cubicBezTo>
                <a:cubicBezTo>
                  <a:pt x="10969" y="1094"/>
                  <a:pt x="10938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94"/>
                  <a:pt x="10907" y="1094"/>
                  <a:pt x="10907" y="1094"/>
                </a:cubicBezTo>
                <a:cubicBezTo>
                  <a:pt x="10907" y="1062"/>
                  <a:pt x="10875" y="1062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75" y="1031"/>
                  <a:pt x="10875" y="1031"/>
                  <a:pt x="10875" y="1031"/>
                </a:cubicBezTo>
                <a:cubicBezTo>
                  <a:pt x="10844" y="1031"/>
                  <a:pt x="10844" y="1031"/>
                  <a:pt x="10844" y="1031"/>
                </a:cubicBezTo>
                <a:cubicBezTo>
                  <a:pt x="10844" y="1031"/>
                  <a:pt x="10844" y="1062"/>
                  <a:pt x="10844" y="1062"/>
                </a:cubicBezTo>
                <a:cubicBezTo>
                  <a:pt x="10844" y="1094"/>
                  <a:pt x="10875" y="1094"/>
                  <a:pt x="10907" y="1094"/>
                </a:cubicBezTo>
                <a:cubicBezTo>
                  <a:pt x="10907" y="1125"/>
                  <a:pt x="10907" y="1125"/>
                  <a:pt x="10907" y="1125"/>
                </a:cubicBezTo>
                <a:cubicBezTo>
                  <a:pt x="10938" y="1156"/>
                  <a:pt x="10969" y="1156"/>
                  <a:pt x="11000" y="1156"/>
                </a:cubicBezTo>
                <a:cubicBezTo>
                  <a:pt x="11032" y="1219"/>
                  <a:pt x="11063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81"/>
                  <a:pt x="11125" y="1281"/>
                  <a:pt x="11125" y="1312"/>
                </a:cubicBezTo>
                <a:cubicBezTo>
                  <a:pt x="11094" y="1312"/>
                  <a:pt x="11063" y="1281"/>
                  <a:pt x="11032" y="1312"/>
                </a:cubicBezTo>
                <a:cubicBezTo>
                  <a:pt x="10938" y="1187"/>
                  <a:pt x="10875" y="1156"/>
                  <a:pt x="10750" y="1187"/>
                </a:cubicBezTo>
                <a:lnTo>
                  <a:pt x="10750" y="1187"/>
                </a:lnTo>
                <a:cubicBezTo>
                  <a:pt x="10875" y="1187"/>
                  <a:pt x="10907" y="1312"/>
                  <a:pt x="11032" y="1312"/>
                </a:cubicBezTo>
                <a:cubicBezTo>
                  <a:pt x="11282" y="1625"/>
                  <a:pt x="11657" y="1750"/>
                  <a:pt x="11907" y="2031"/>
                </a:cubicBezTo>
                <a:cubicBezTo>
                  <a:pt x="11844" y="2062"/>
                  <a:pt x="11844" y="1969"/>
                  <a:pt x="11782" y="2000"/>
                </a:cubicBezTo>
                <a:cubicBezTo>
                  <a:pt x="11782" y="2031"/>
                  <a:pt x="11813" y="2062"/>
                  <a:pt x="11844" y="2062"/>
                </a:cubicBezTo>
                <a:cubicBezTo>
                  <a:pt x="11969" y="2156"/>
                  <a:pt x="12125" y="2281"/>
                  <a:pt x="12282" y="2375"/>
                </a:cubicBezTo>
                <a:cubicBezTo>
                  <a:pt x="12375" y="2469"/>
                  <a:pt x="12469" y="2562"/>
                  <a:pt x="12594" y="2594"/>
                </a:cubicBezTo>
                <a:cubicBezTo>
                  <a:pt x="12719" y="2687"/>
                  <a:pt x="12813" y="2750"/>
                  <a:pt x="12907" y="2844"/>
                </a:cubicBezTo>
                <a:cubicBezTo>
                  <a:pt x="13000" y="2906"/>
                  <a:pt x="13094" y="3000"/>
                  <a:pt x="13188" y="3031"/>
                </a:cubicBezTo>
                <a:cubicBezTo>
                  <a:pt x="13282" y="3156"/>
                  <a:pt x="13407" y="3187"/>
                  <a:pt x="13500" y="3250"/>
                </a:cubicBezTo>
                <a:cubicBezTo>
                  <a:pt x="13469" y="3219"/>
                  <a:pt x="13407" y="3156"/>
                  <a:pt x="13375" y="3125"/>
                </a:cubicBezTo>
                <a:cubicBezTo>
                  <a:pt x="13313" y="3062"/>
                  <a:pt x="13282" y="3031"/>
                  <a:pt x="13188" y="3000"/>
                </a:cubicBezTo>
                <a:cubicBezTo>
                  <a:pt x="13188" y="3000"/>
                  <a:pt x="13188" y="2969"/>
                  <a:pt x="13157" y="2969"/>
                </a:cubicBezTo>
                <a:cubicBezTo>
                  <a:pt x="13188" y="2969"/>
                  <a:pt x="13188" y="2969"/>
                  <a:pt x="13157" y="2969"/>
                </a:cubicBezTo>
                <a:cubicBezTo>
                  <a:pt x="13157" y="2937"/>
                  <a:pt x="13157" y="2937"/>
                  <a:pt x="13125" y="2937"/>
                </a:cubicBezTo>
                <a:cubicBezTo>
                  <a:pt x="13063" y="2875"/>
                  <a:pt x="13000" y="2781"/>
                  <a:pt x="12938" y="2719"/>
                </a:cubicBezTo>
                <a:cubicBezTo>
                  <a:pt x="12625" y="2437"/>
                  <a:pt x="12344" y="2156"/>
                  <a:pt x="12000" y="1937"/>
                </a:cubicBezTo>
                <a:cubicBezTo>
                  <a:pt x="11969" y="1906"/>
                  <a:pt x="11969" y="1906"/>
                  <a:pt x="11938" y="1906"/>
                </a:cubicBezTo>
                <a:cubicBezTo>
                  <a:pt x="11907" y="1875"/>
                  <a:pt x="11907" y="1875"/>
                  <a:pt x="11875" y="1875"/>
                </a:cubicBezTo>
                <a:cubicBezTo>
                  <a:pt x="11875" y="1875"/>
                  <a:pt x="11875" y="1875"/>
                  <a:pt x="11875" y="1875"/>
                </a:cubicBezTo>
                <a:cubicBezTo>
                  <a:pt x="11875" y="1844"/>
                  <a:pt x="11844" y="1844"/>
                  <a:pt x="11844" y="1844"/>
                </a:cubicBezTo>
                <a:cubicBezTo>
                  <a:pt x="11844" y="1812"/>
                  <a:pt x="11844" y="1812"/>
                  <a:pt x="11813" y="1812"/>
                </a:cubicBezTo>
                <a:cubicBezTo>
                  <a:pt x="11813" y="1812"/>
                  <a:pt x="11813" y="1844"/>
                  <a:pt x="11782" y="1844"/>
                </a:cubicBezTo>
                <a:cubicBezTo>
                  <a:pt x="11813" y="1812"/>
                  <a:pt x="11813" y="1812"/>
                  <a:pt x="11813" y="1812"/>
                </a:cubicBezTo>
                <a:cubicBezTo>
                  <a:pt x="11813" y="1812"/>
                  <a:pt x="11813" y="1812"/>
                  <a:pt x="11782" y="1812"/>
                </a:cubicBezTo>
                <a:cubicBezTo>
                  <a:pt x="11782" y="1781"/>
                  <a:pt x="11782" y="1781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782" y="1750"/>
                  <a:pt x="11782" y="1750"/>
                  <a:pt x="11782" y="1750"/>
                </a:cubicBezTo>
                <a:cubicBezTo>
                  <a:pt x="11813" y="1750"/>
                  <a:pt x="11844" y="1781"/>
                  <a:pt x="11844" y="1750"/>
                </a:cubicBezTo>
                <a:cubicBezTo>
                  <a:pt x="11844" y="1719"/>
                  <a:pt x="11813" y="1719"/>
                  <a:pt x="11782" y="1687"/>
                </a:cubicBezTo>
                <a:cubicBezTo>
                  <a:pt x="11719" y="1625"/>
                  <a:pt x="11657" y="1594"/>
                  <a:pt x="11657" y="1656"/>
                </a:cubicBezTo>
                <a:cubicBezTo>
                  <a:pt x="11688" y="1719"/>
                  <a:pt x="11657" y="1687"/>
                  <a:pt x="11625" y="1687"/>
                </a:cubicBezTo>
                <a:cubicBezTo>
                  <a:pt x="11469" y="1594"/>
                  <a:pt x="11344" y="1500"/>
                  <a:pt x="11188" y="1375"/>
                </a:cubicBezTo>
                <a:cubicBezTo>
                  <a:pt x="11157" y="1375"/>
                  <a:pt x="11125" y="1344"/>
                  <a:pt x="11125" y="1312"/>
                </a:cubicBezTo>
                <a:cubicBezTo>
                  <a:pt x="11157" y="1281"/>
                  <a:pt x="11188" y="1281"/>
                  <a:pt x="11157" y="1250"/>
                </a:cubicBezTo>
                <a:cubicBezTo>
                  <a:pt x="11157" y="1250"/>
                  <a:pt x="11157" y="1250"/>
                  <a:pt x="11157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50"/>
                  <a:pt x="11125" y="1250"/>
                </a:cubicBezTo>
                <a:cubicBezTo>
                  <a:pt x="11125" y="1250"/>
                  <a:pt x="11125" y="1219"/>
                  <a:pt x="11125" y="1219"/>
                </a:cubicBezTo>
                <a:cubicBezTo>
                  <a:pt x="11125" y="1219"/>
                  <a:pt x="11157" y="1219"/>
                  <a:pt x="11157" y="1219"/>
                </a:cubicBezTo>
                <a:cubicBezTo>
                  <a:pt x="11157" y="1219"/>
                  <a:pt x="11188" y="1219"/>
                  <a:pt x="11188" y="1219"/>
                </a:cubicBezTo>
                <a:cubicBezTo>
                  <a:pt x="11219" y="1219"/>
                  <a:pt x="11219" y="1219"/>
                  <a:pt x="11219" y="1219"/>
                </a:cubicBezTo>
                <a:cubicBezTo>
                  <a:pt x="11188" y="1156"/>
                  <a:pt x="11157" y="1125"/>
                  <a:pt x="11094" y="1125"/>
                </a:cubicBezTo>
                <a:cubicBezTo>
                  <a:pt x="11094" y="1094"/>
                  <a:pt x="11094" y="1094"/>
                  <a:pt x="11063" y="1094"/>
                </a:cubicBezTo>
                <a:cubicBezTo>
                  <a:pt x="11063" y="1062"/>
                  <a:pt x="11063" y="1062"/>
                  <a:pt x="11063" y="1062"/>
                </a:cubicBezTo>
                <a:cubicBezTo>
                  <a:pt x="11032" y="1031"/>
                  <a:pt x="11032" y="1031"/>
                  <a:pt x="11032" y="1031"/>
                </a:cubicBezTo>
                <a:cubicBezTo>
                  <a:pt x="10907" y="969"/>
                  <a:pt x="10813" y="906"/>
                  <a:pt x="10719" y="812"/>
                </a:cubicBezTo>
                <a:cubicBezTo>
                  <a:pt x="10719" y="781"/>
                  <a:pt x="10688" y="781"/>
                  <a:pt x="10657" y="781"/>
                </a:cubicBezTo>
                <a:cubicBezTo>
                  <a:pt x="10657" y="781"/>
                  <a:pt x="10625" y="781"/>
                  <a:pt x="10657" y="812"/>
                </a:cubicBezTo>
                <a:cubicBezTo>
                  <a:pt x="10657" y="812"/>
                  <a:pt x="10657" y="812"/>
                  <a:pt x="10657" y="812"/>
                </a:cubicBezTo>
                <a:cubicBezTo>
                  <a:pt x="10657" y="844"/>
                  <a:pt x="10688" y="844"/>
                  <a:pt x="10688" y="844"/>
                </a:cubicBezTo>
                <a:close/>
                <a:moveTo>
                  <a:pt x="11219" y="1219"/>
                </a:moveTo>
                <a:cubicBezTo>
                  <a:pt x="11219" y="1250"/>
                  <a:pt x="11219" y="1281"/>
                  <a:pt x="11188" y="1312"/>
                </a:cubicBezTo>
                <a:cubicBezTo>
                  <a:pt x="11219" y="1344"/>
                  <a:pt x="11250" y="1344"/>
                  <a:pt x="11282" y="1375"/>
                </a:cubicBezTo>
                <a:cubicBezTo>
                  <a:pt x="11313" y="1406"/>
                  <a:pt x="11344" y="1406"/>
                  <a:pt x="11407" y="1437"/>
                </a:cubicBezTo>
                <a:cubicBezTo>
                  <a:pt x="11407" y="1469"/>
                  <a:pt x="11469" y="1500"/>
                  <a:pt x="11532" y="1531"/>
                </a:cubicBezTo>
                <a:cubicBezTo>
                  <a:pt x="11563" y="1531"/>
                  <a:pt x="11594" y="1562"/>
                  <a:pt x="11594" y="1594"/>
                </a:cubicBezTo>
                <a:cubicBezTo>
                  <a:pt x="11594" y="1562"/>
                  <a:pt x="11625" y="1500"/>
                  <a:pt x="11563" y="1469"/>
                </a:cubicBezTo>
                <a:cubicBezTo>
                  <a:pt x="11532" y="1406"/>
                  <a:pt x="11469" y="1375"/>
                  <a:pt x="11407" y="1312"/>
                </a:cubicBezTo>
                <a:cubicBezTo>
                  <a:pt x="11344" y="1281"/>
                  <a:pt x="11282" y="1219"/>
                  <a:pt x="11219" y="1219"/>
                </a:cubicBezTo>
                <a:close/>
                <a:moveTo>
                  <a:pt x="1063" y="12719"/>
                </a:moveTo>
                <a:cubicBezTo>
                  <a:pt x="1032" y="12656"/>
                  <a:pt x="1032" y="12625"/>
                  <a:pt x="1032" y="12594"/>
                </a:cubicBezTo>
                <a:cubicBezTo>
                  <a:pt x="969" y="12656"/>
                  <a:pt x="969" y="12687"/>
                  <a:pt x="1063" y="12719"/>
                </a:cubicBezTo>
                <a:close/>
                <a:moveTo>
                  <a:pt x="6750" y="17406"/>
                </a:moveTo>
                <a:cubicBezTo>
                  <a:pt x="6719" y="17343"/>
                  <a:pt x="6719" y="17281"/>
                  <a:pt x="6688" y="17281"/>
                </a:cubicBezTo>
                <a:cubicBezTo>
                  <a:pt x="6657" y="17250"/>
                  <a:pt x="6657" y="17281"/>
                  <a:pt x="6657" y="17281"/>
                </a:cubicBezTo>
                <a:cubicBezTo>
                  <a:pt x="6657" y="17343"/>
                  <a:pt x="6657" y="17375"/>
                  <a:pt x="6750" y="17406"/>
                </a:cubicBezTo>
                <a:close/>
                <a:moveTo>
                  <a:pt x="875" y="12500"/>
                </a:moveTo>
                <a:cubicBezTo>
                  <a:pt x="907" y="12437"/>
                  <a:pt x="875" y="12406"/>
                  <a:pt x="844" y="12344"/>
                </a:cubicBezTo>
                <a:cubicBezTo>
                  <a:pt x="813" y="12406"/>
                  <a:pt x="875" y="12469"/>
                  <a:pt x="875" y="12500"/>
                </a:cubicBezTo>
                <a:close/>
                <a:moveTo>
                  <a:pt x="12719" y="6250"/>
                </a:moveTo>
                <a:cubicBezTo>
                  <a:pt x="12719" y="6250"/>
                  <a:pt x="12688" y="6250"/>
                  <a:pt x="12688" y="6250"/>
                </a:cubicBezTo>
                <a:cubicBezTo>
                  <a:pt x="12657" y="6281"/>
                  <a:pt x="12657" y="6281"/>
                  <a:pt x="12688" y="6281"/>
                </a:cubicBezTo>
                <a:cubicBezTo>
                  <a:pt x="12719" y="6312"/>
                  <a:pt x="12750" y="6375"/>
                  <a:pt x="12813" y="6406"/>
                </a:cubicBezTo>
                <a:cubicBezTo>
                  <a:pt x="12813" y="6312"/>
                  <a:pt x="12750" y="6312"/>
                  <a:pt x="12719" y="6250"/>
                </a:cubicBezTo>
                <a:close/>
                <a:moveTo>
                  <a:pt x="12563" y="6156"/>
                </a:moveTo>
                <a:cubicBezTo>
                  <a:pt x="12500" y="6062"/>
                  <a:pt x="12469" y="6031"/>
                  <a:pt x="12375" y="6000"/>
                </a:cubicBezTo>
                <a:cubicBezTo>
                  <a:pt x="12407" y="6062"/>
                  <a:pt x="12438" y="6125"/>
                  <a:pt x="12563" y="6156"/>
                </a:cubicBezTo>
                <a:close/>
                <a:moveTo>
                  <a:pt x="15938" y="15437"/>
                </a:moveTo>
                <a:cubicBezTo>
                  <a:pt x="15938" y="15437"/>
                  <a:pt x="15969" y="15469"/>
                  <a:pt x="15969" y="15469"/>
                </a:cubicBezTo>
                <a:cubicBezTo>
                  <a:pt x="16032" y="15500"/>
                  <a:pt x="16063" y="15500"/>
                  <a:pt x="16125" y="15500"/>
                </a:cubicBezTo>
                <a:cubicBezTo>
                  <a:pt x="16094" y="15469"/>
                  <a:pt x="16063" y="15406"/>
                  <a:pt x="16000" y="15406"/>
                </a:cubicBezTo>
                <a:cubicBezTo>
                  <a:pt x="15969" y="15406"/>
                  <a:pt x="15969" y="15406"/>
                  <a:pt x="15938" y="15437"/>
                </a:cubicBezTo>
                <a:close/>
                <a:moveTo>
                  <a:pt x="969" y="12750"/>
                </a:moveTo>
                <a:cubicBezTo>
                  <a:pt x="938" y="12781"/>
                  <a:pt x="969" y="12844"/>
                  <a:pt x="1000" y="12875"/>
                </a:cubicBezTo>
                <a:cubicBezTo>
                  <a:pt x="1000" y="12906"/>
                  <a:pt x="1000" y="12937"/>
                  <a:pt x="1032" y="12937"/>
                </a:cubicBezTo>
                <a:cubicBezTo>
                  <a:pt x="1063" y="12906"/>
                  <a:pt x="1063" y="12875"/>
                  <a:pt x="1063" y="12875"/>
                </a:cubicBezTo>
                <a:cubicBezTo>
                  <a:pt x="1032" y="12812"/>
                  <a:pt x="1032" y="12781"/>
                  <a:pt x="969" y="12750"/>
                </a:cubicBezTo>
                <a:close/>
                <a:moveTo>
                  <a:pt x="32" y="6906"/>
                </a:moveTo>
                <a:cubicBezTo>
                  <a:pt x="32" y="7000"/>
                  <a:pt x="0" y="7062"/>
                  <a:pt x="32" y="7187"/>
                </a:cubicBezTo>
                <a:cubicBezTo>
                  <a:pt x="125" y="7062"/>
                  <a:pt x="63" y="7000"/>
                  <a:pt x="32" y="6906"/>
                </a:cubicBezTo>
                <a:close/>
                <a:moveTo>
                  <a:pt x="13282" y="6781"/>
                </a:moveTo>
                <a:cubicBezTo>
                  <a:pt x="13282" y="6781"/>
                  <a:pt x="13250" y="6812"/>
                  <a:pt x="13282" y="6844"/>
                </a:cubicBezTo>
                <a:cubicBezTo>
                  <a:pt x="13313" y="6875"/>
                  <a:pt x="13375" y="6937"/>
                  <a:pt x="13407" y="6969"/>
                </a:cubicBezTo>
                <a:cubicBezTo>
                  <a:pt x="13438" y="7000"/>
                  <a:pt x="13469" y="6969"/>
                  <a:pt x="13469" y="6937"/>
                </a:cubicBezTo>
                <a:cubicBezTo>
                  <a:pt x="13469" y="6937"/>
                  <a:pt x="13313" y="6781"/>
                  <a:pt x="13282" y="6781"/>
                </a:cubicBezTo>
                <a:close/>
                <a:moveTo>
                  <a:pt x="13594" y="7094"/>
                </a:moveTo>
                <a:cubicBezTo>
                  <a:pt x="13657" y="7156"/>
                  <a:pt x="13688" y="7250"/>
                  <a:pt x="13813" y="7281"/>
                </a:cubicBezTo>
                <a:cubicBezTo>
                  <a:pt x="13750" y="7219"/>
                  <a:pt x="13688" y="7094"/>
                  <a:pt x="13594" y="7094"/>
                </a:cubicBezTo>
                <a:close/>
                <a:moveTo>
                  <a:pt x="14188" y="7594"/>
                </a:moveTo>
                <a:cubicBezTo>
                  <a:pt x="14188" y="7594"/>
                  <a:pt x="14157" y="7594"/>
                  <a:pt x="14157" y="7594"/>
                </a:cubicBezTo>
                <a:cubicBezTo>
                  <a:pt x="14250" y="7687"/>
                  <a:pt x="14313" y="7750"/>
                  <a:pt x="14407" y="7844"/>
                </a:cubicBezTo>
                <a:cubicBezTo>
                  <a:pt x="14407" y="7844"/>
                  <a:pt x="14407" y="7844"/>
                  <a:pt x="14438" y="7844"/>
                </a:cubicBezTo>
                <a:cubicBezTo>
                  <a:pt x="14438" y="7812"/>
                  <a:pt x="14438" y="7812"/>
                  <a:pt x="14407" y="7781"/>
                </a:cubicBezTo>
                <a:cubicBezTo>
                  <a:pt x="14344" y="7719"/>
                  <a:pt x="14282" y="7625"/>
                  <a:pt x="14188" y="7594"/>
                </a:cubicBezTo>
                <a:close/>
                <a:moveTo>
                  <a:pt x="13938" y="7344"/>
                </a:moveTo>
                <a:cubicBezTo>
                  <a:pt x="13938" y="7344"/>
                  <a:pt x="13907" y="7312"/>
                  <a:pt x="13875" y="7312"/>
                </a:cubicBezTo>
                <a:cubicBezTo>
                  <a:pt x="13875" y="7312"/>
                  <a:pt x="13875" y="7344"/>
                  <a:pt x="13875" y="7344"/>
                </a:cubicBezTo>
                <a:cubicBezTo>
                  <a:pt x="13875" y="7344"/>
                  <a:pt x="13875" y="7375"/>
                  <a:pt x="13875" y="7375"/>
                </a:cubicBezTo>
                <a:cubicBezTo>
                  <a:pt x="13938" y="7437"/>
                  <a:pt x="14000" y="7500"/>
                  <a:pt x="14063" y="7562"/>
                </a:cubicBezTo>
                <a:cubicBezTo>
                  <a:pt x="14094" y="7562"/>
                  <a:pt x="14094" y="7594"/>
                  <a:pt x="14125" y="7562"/>
                </a:cubicBezTo>
                <a:cubicBezTo>
                  <a:pt x="14157" y="7531"/>
                  <a:pt x="14125" y="7531"/>
                  <a:pt x="14094" y="7500"/>
                </a:cubicBezTo>
                <a:cubicBezTo>
                  <a:pt x="14063" y="7469"/>
                  <a:pt x="14000" y="7406"/>
                  <a:pt x="13938" y="7344"/>
                </a:cubicBezTo>
                <a:close/>
                <a:moveTo>
                  <a:pt x="20625" y="18031"/>
                </a:moveTo>
                <a:cubicBezTo>
                  <a:pt x="20594" y="18000"/>
                  <a:pt x="20532" y="18000"/>
                  <a:pt x="20532" y="18062"/>
                </a:cubicBezTo>
                <a:cubicBezTo>
                  <a:pt x="20532" y="18093"/>
                  <a:pt x="20563" y="18125"/>
                  <a:pt x="20625" y="18125"/>
                </a:cubicBezTo>
                <a:cubicBezTo>
                  <a:pt x="20688" y="18125"/>
                  <a:pt x="20750" y="18125"/>
                  <a:pt x="20813" y="18093"/>
                </a:cubicBezTo>
                <a:cubicBezTo>
                  <a:pt x="20813" y="18093"/>
                  <a:pt x="20844" y="18125"/>
                  <a:pt x="20844" y="18125"/>
                </a:cubicBezTo>
                <a:cubicBezTo>
                  <a:pt x="20844" y="18093"/>
                  <a:pt x="20813" y="18093"/>
                  <a:pt x="20813" y="18093"/>
                </a:cubicBezTo>
                <a:cubicBezTo>
                  <a:pt x="20813" y="17968"/>
                  <a:pt x="20688" y="18031"/>
                  <a:pt x="20625" y="18031"/>
                </a:cubicBezTo>
                <a:close/>
                <a:moveTo>
                  <a:pt x="21563" y="7844"/>
                </a:moveTo>
                <a:cubicBezTo>
                  <a:pt x="21500" y="7594"/>
                  <a:pt x="21407" y="7312"/>
                  <a:pt x="21313" y="7062"/>
                </a:cubicBezTo>
                <a:cubicBezTo>
                  <a:pt x="21313" y="7344"/>
                  <a:pt x="21438" y="7625"/>
                  <a:pt x="21500" y="7906"/>
                </a:cubicBezTo>
                <a:cubicBezTo>
                  <a:pt x="21532" y="7875"/>
                  <a:pt x="21563" y="7875"/>
                  <a:pt x="21563" y="7844"/>
                </a:cubicBezTo>
                <a:close/>
                <a:moveTo>
                  <a:pt x="8219" y="18000"/>
                </a:moveTo>
                <a:cubicBezTo>
                  <a:pt x="8219" y="17937"/>
                  <a:pt x="8188" y="17875"/>
                  <a:pt x="8125" y="17812"/>
                </a:cubicBezTo>
                <a:cubicBezTo>
                  <a:pt x="8125" y="17781"/>
                  <a:pt x="8125" y="17718"/>
                  <a:pt x="8094" y="17687"/>
                </a:cubicBezTo>
                <a:cubicBezTo>
                  <a:pt x="8000" y="17437"/>
                  <a:pt x="7907" y="17218"/>
                  <a:pt x="7813" y="17000"/>
                </a:cubicBezTo>
                <a:cubicBezTo>
                  <a:pt x="7813" y="16968"/>
                  <a:pt x="7813" y="16968"/>
                  <a:pt x="7813" y="16968"/>
                </a:cubicBezTo>
                <a:cubicBezTo>
                  <a:pt x="7813" y="16937"/>
                  <a:pt x="7813" y="16937"/>
                  <a:pt x="7813" y="16937"/>
                </a:cubicBezTo>
                <a:cubicBezTo>
                  <a:pt x="7813" y="16937"/>
                  <a:pt x="7813" y="16937"/>
                  <a:pt x="7782" y="16937"/>
                </a:cubicBezTo>
                <a:cubicBezTo>
                  <a:pt x="7782" y="16906"/>
                  <a:pt x="7782" y="16906"/>
                  <a:pt x="7750" y="16875"/>
                </a:cubicBezTo>
                <a:cubicBezTo>
                  <a:pt x="7719" y="16750"/>
                  <a:pt x="7657" y="16625"/>
                  <a:pt x="7594" y="16500"/>
                </a:cubicBezTo>
                <a:cubicBezTo>
                  <a:pt x="7563" y="16406"/>
                  <a:pt x="7532" y="16343"/>
                  <a:pt x="7500" y="16250"/>
                </a:cubicBezTo>
                <a:cubicBezTo>
                  <a:pt x="7375" y="15812"/>
                  <a:pt x="7188" y="15406"/>
                  <a:pt x="7000" y="15000"/>
                </a:cubicBezTo>
                <a:cubicBezTo>
                  <a:pt x="6907" y="14750"/>
                  <a:pt x="6813" y="14500"/>
                  <a:pt x="6719" y="14219"/>
                </a:cubicBezTo>
                <a:cubicBezTo>
                  <a:pt x="6719" y="14219"/>
                  <a:pt x="6719" y="14219"/>
                  <a:pt x="6719" y="14219"/>
                </a:cubicBezTo>
                <a:cubicBezTo>
                  <a:pt x="6719" y="14187"/>
                  <a:pt x="6719" y="14187"/>
                  <a:pt x="6688" y="14187"/>
                </a:cubicBezTo>
                <a:cubicBezTo>
                  <a:pt x="6688" y="14187"/>
                  <a:pt x="6688" y="14187"/>
                  <a:pt x="6688" y="14187"/>
                </a:cubicBezTo>
                <a:cubicBezTo>
                  <a:pt x="6688" y="14156"/>
                  <a:pt x="6657" y="14156"/>
                  <a:pt x="6657" y="14156"/>
                </a:cubicBezTo>
                <a:cubicBezTo>
                  <a:pt x="6657" y="14031"/>
                  <a:pt x="5938" y="12094"/>
                  <a:pt x="5594" y="11187"/>
                </a:cubicBezTo>
                <a:cubicBezTo>
                  <a:pt x="5625" y="11187"/>
                  <a:pt x="5594" y="11156"/>
                  <a:pt x="5594" y="11156"/>
                </a:cubicBezTo>
                <a:cubicBezTo>
                  <a:pt x="5594" y="10937"/>
                  <a:pt x="5500" y="10750"/>
                  <a:pt x="5438" y="10562"/>
                </a:cubicBezTo>
                <a:cubicBezTo>
                  <a:pt x="5375" y="10312"/>
                  <a:pt x="5282" y="10031"/>
                  <a:pt x="5219" y="9781"/>
                </a:cubicBezTo>
                <a:cubicBezTo>
                  <a:pt x="5219" y="9781"/>
                  <a:pt x="5219" y="9750"/>
                  <a:pt x="5219" y="9719"/>
                </a:cubicBezTo>
                <a:cubicBezTo>
                  <a:pt x="5188" y="9687"/>
                  <a:pt x="5188" y="9625"/>
                  <a:pt x="5157" y="9562"/>
                </a:cubicBezTo>
                <a:cubicBezTo>
                  <a:pt x="5094" y="9375"/>
                  <a:pt x="5063" y="9187"/>
                  <a:pt x="5000" y="9000"/>
                </a:cubicBezTo>
                <a:cubicBezTo>
                  <a:pt x="5000" y="8937"/>
                  <a:pt x="4969" y="8875"/>
                  <a:pt x="4969" y="8812"/>
                </a:cubicBezTo>
                <a:cubicBezTo>
                  <a:pt x="4813" y="8250"/>
                  <a:pt x="4688" y="7656"/>
                  <a:pt x="4563" y="7094"/>
                </a:cubicBezTo>
                <a:cubicBezTo>
                  <a:pt x="4500" y="6812"/>
                  <a:pt x="4438" y="6531"/>
                  <a:pt x="4375" y="6250"/>
                </a:cubicBezTo>
                <a:cubicBezTo>
                  <a:pt x="4313" y="5969"/>
                  <a:pt x="4282" y="5656"/>
                  <a:pt x="4219" y="5375"/>
                </a:cubicBezTo>
                <a:cubicBezTo>
                  <a:pt x="4188" y="5125"/>
                  <a:pt x="4125" y="4875"/>
                  <a:pt x="4094" y="4656"/>
                </a:cubicBezTo>
                <a:cubicBezTo>
                  <a:pt x="4094" y="4594"/>
                  <a:pt x="4094" y="4562"/>
                  <a:pt x="4094" y="4531"/>
                </a:cubicBezTo>
                <a:cubicBezTo>
                  <a:pt x="4032" y="4125"/>
                  <a:pt x="4032" y="3687"/>
                  <a:pt x="4000" y="3250"/>
                </a:cubicBezTo>
                <a:cubicBezTo>
                  <a:pt x="4000" y="3187"/>
                  <a:pt x="4000" y="3125"/>
                  <a:pt x="3907" y="3156"/>
                </a:cubicBezTo>
                <a:cubicBezTo>
                  <a:pt x="3813" y="3156"/>
                  <a:pt x="3719" y="3094"/>
                  <a:pt x="3719" y="3250"/>
                </a:cubicBezTo>
                <a:cubicBezTo>
                  <a:pt x="3719" y="3344"/>
                  <a:pt x="3563" y="3469"/>
                  <a:pt x="3500" y="3469"/>
                </a:cubicBezTo>
                <a:cubicBezTo>
                  <a:pt x="3469" y="3469"/>
                  <a:pt x="3438" y="3437"/>
                  <a:pt x="3438" y="3406"/>
                </a:cubicBezTo>
                <a:cubicBezTo>
                  <a:pt x="3438" y="3375"/>
                  <a:pt x="3438" y="3312"/>
                  <a:pt x="3438" y="3281"/>
                </a:cubicBezTo>
                <a:cubicBezTo>
                  <a:pt x="3469" y="3187"/>
                  <a:pt x="3407" y="3187"/>
                  <a:pt x="3344" y="3219"/>
                </a:cubicBezTo>
                <a:cubicBezTo>
                  <a:pt x="3250" y="3250"/>
                  <a:pt x="3157" y="3344"/>
                  <a:pt x="3000" y="3344"/>
                </a:cubicBezTo>
                <a:cubicBezTo>
                  <a:pt x="2969" y="3312"/>
                  <a:pt x="2969" y="3375"/>
                  <a:pt x="2969" y="3406"/>
                </a:cubicBezTo>
                <a:cubicBezTo>
                  <a:pt x="2938" y="3719"/>
                  <a:pt x="2844" y="4000"/>
                  <a:pt x="2844" y="4312"/>
                </a:cubicBezTo>
                <a:cubicBezTo>
                  <a:pt x="2813" y="3906"/>
                  <a:pt x="2844" y="3469"/>
                  <a:pt x="2907" y="3062"/>
                </a:cubicBezTo>
                <a:cubicBezTo>
                  <a:pt x="2907" y="3125"/>
                  <a:pt x="2844" y="3156"/>
                  <a:pt x="2844" y="3219"/>
                </a:cubicBezTo>
                <a:cubicBezTo>
                  <a:pt x="2782" y="3594"/>
                  <a:pt x="2719" y="3969"/>
                  <a:pt x="2719" y="4344"/>
                </a:cubicBezTo>
                <a:cubicBezTo>
                  <a:pt x="2688" y="4562"/>
                  <a:pt x="2688" y="4781"/>
                  <a:pt x="2688" y="5000"/>
                </a:cubicBezTo>
                <a:cubicBezTo>
                  <a:pt x="2688" y="5000"/>
                  <a:pt x="2688" y="5000"/>
                  <a:pt x="2688" y="5000"/>
                </a:cubicBezTo>
                <a:cubicBezTo>
                  <a:pt x="2688" y="5000"/>
                  <a:pt x="2688" y="5031"/>
                  <a:pt x="2688" y="5031"/>
                </a:cubicBezTo>
                <a:cubicBezTo>
                  <a:pt x="2688" y="5031"/>
                  <a:pt x="2688" y="5031"/>
                  <a:pt x="2688" y="5062"/>
                </a:cubicBezTo>
                <a:cubicBezTo>
                  <a:pt x="2688" y="5062"/>
                  <a:pt x="2688" y="5062"/>
                  <a:pt x="2688" y="5062"/>
                </a:cubicBezTo>
                <a:cubicBezTo>
                  <a:pt x="2719" y="5062"/>
                  <a:pt x="2719" y="5094"/>
                  <a:pt x="2750" y="5094"/>
                </a:cubicBezTo>
                <a:cubicBezTo>
                  <a:pt x="2750" y="5344"/>
                  <a:pt x="2750" y="5594"/>
                  <a:pt x="2782" y="5844"/>
                </a:cubicBezTo>
                <a:cubicBezTo>
                  <a:pt x="2813" y="5937"/>
                  <a:pt x="2813" y="6031"/>
                  <a:pt x="2844" y="6094"/>
                </a:cubicBezTo>
                <a:cubicBezTo>
                  <a:pt x="2907" y="6562"/>
                  <a:pt x="2969" y="7000"/>
                  <a:pt x="3094" y="7437"/>
                </a:cubicBezTo>
                <a:cubicBezTo>
                  <a:pt x="3094" y="7562"/>
                  <a:pt x="3157" y="7656"/>
                  <a:pt x="3157" y="7781"/>
                </a:cubicBezTo>
                <a:cubicBezTo>
                  <a:pt x="3125" y="7812"/>
                  <a:pt x="3125" y="7844"/>
                  <a:pt x="3157" y="7875"/>
                </a:cubicBezTo>
                <a:cubicBezTo>
                  <a:pt x="3219" y="8312"/>
                  <a:pt x="3344" y="8719"/>
                  <a:pt x="3469" y="9125"/>
                </a:cubicBezTo>
                <a:cubicBezTo>
                  <a:pt x="3563" y="9406"/>
                  <a:pt x="3657" y="9719"/>
                  <a:pt x="3750" y="10000"/>
                </a:cubicBezTo>
                <a:cubicBezTo>
                  <a:pt x="3844" y="10250"/>
                  <a:pt x="3938" y="10531"/>
                  <a:pt x="4063" y="10750"/>
                </a:cubicBezTo>
                <a:cubicBezTo>
                  <a:pt x="4094" y="10781"/>
                  <a:pt x="4094" y="10812"/>
                  <a:pt x="4094" y="10844"/>
                </a:cubicBezTo>
                <a:cubicBezTo>
                  <a:pt x="4219" y="11156"/>
                  <a:pt x="4344" y="11469"/>
                  <a:pt x="4438" y="11781"/>
                </a:cubicBezTo>
                <a:cubicBezTo>
                  <a:pt x="4438" y="11812"/>
                  <a:pt x="4469" y="11812"/>
                  <a:pt x="4469" y="11812"/>
                </a:cubicBezTo>
                <a:cubicBezTo>
                  <a:pt x="4500" y="11844"/>
                  <a:pt x="4500" y="11812"/>
                  <a:pt x="4500" y="11812"/>
                </a:cubicBezTo>
                <a:cubicBezTo>
                  <a:pt x="4500" y="11781"/>
                  <a:pt x="4500" y="11781"/>
                  <a:pt x="4500" y="11781"/>
                </a:cubicBezTo>
                <a:cubicBezTo>
                  <a:pt x="4844" y="12719"/>
                  <a:pt x="5219" y="13750"/>
                  <a:pt x="5250" y="13875"/>
                </a:cubicBezTo>
                <a:cubicBezTo>
                  <a:pt x="5282" y="14000"/>
                  <a:pt x="5313" y="14125"/>
                  <a:pt x="5375" y="14281"/>
                </a:cubicBezTo>
                <a:cubicBezTo>
                  <a:pt x="5532" y="14656"/>
                  <a:pt x="5688" y="15031"/>
                  <a:pt x="5844" y="15406"/>
                </a:cubicBezTo>
                <a:cubicBezTo>
                  <a:pt x="5969" y="15625"/>
                  <a:pt x="6063" y="15875"/>
                  <a:pt x="6188" y="16093"/>
                </a:cubicBezTo>
                <a:cubicBezTo>
                  <a:pt x="6313" y="16343"/>
                  <a:pt x="6407" y="16593"/>
                  <a:pt x="6563" y="16843"/>
                </a:cubicBezTo>
                <a:cubicBezTo>
                  <a:pt x="6594" y="16843"/>
                  <a:pt x="6594" y="16843"/>
                  <a:pt x="6594" y="16843"/>
                </a:cubicBezTo>
                <a:cubicBezTo>
                  <a:pt x="6594" y="16875"/>
                  <a:pt x="6594" y="16875"/>
                  <a:pt x="6594" y="16875"/>
                </a:cubicBezTo>
                <a:cubicBezTo>
                  <a:pt x="6625" y="16875"/>
                  <a:pt x="6625" y="16875"/>
                  <a:pt x="6657" y="16875"/>
                </a:cubicBezTo>
                <a:cubicBezTo>
                  <a:pt x="6657" y="16875"/>
                  <a:pt x="6657" y="16875"/>
                  <a:pt x="6657" y="16875"/>
                </a:cubicBezTo>
                <a:cubicBezTo>
                  <a:pt x="6719" y="16968"/>
                  <a:pt x="6750" y="17031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093"/>
                  <a:pt x="6813" y="17093"/>
                  <a:pt x="6813" y="17093"/>
                </a:cubicBezTo>
                <a:cubicBezTo>
                  <a:pt x="6813" y="17156"/>
                  <a:pt x="6844" y="17187"/>
                  <a:pt x="6875" y="17218"/>
                </a:cubicBezTo>
                <a:cubicBezTo>
                  <a:pt x="6938" y="17406"/>
                  <a:pt x="7032" y="17531"/>
                  <a:pt x="7125" y="17687"/>
                </a:cubicBezTo>
                <a:cubicBezTo>
                  <a:pt x="7125" y="17687"/>
                  <a:pt x="7125" y="17718"/>
                  <a:pt x="7125" y="17718"/>
                </a:cubicBezTo>
                <a:cubicBezTo>
                  <a:pt x="7125" y="17718"/>
                  <a:pt x="7157" y="17718"/>
                  <a:pt x="7157" y="17718"/>
                </a:cubicBezTo>
                <a:cubicBezTo>
                  <a:pt x="7157" y="17718"/>
                  <a:pt x="7157" y="17750"/>
                  <a:pt x="7157" y="17750"/>
                </a:cubicBezTo>
                <a:cubicBezTo>
                  <a:pt x="7157" y="17750"/>
                  <a:pt x="7157" y="17750"/>
                  <a:pt x="7157" y="17781"/>
                </a:cubicBezTo>
                <a:cubicBezTo>
                  <a:pt x="7188" y="17812"/>
                  <a:pt x="7188" y="17843"/>
                  <a:pt x="7188" y="17843"/>
                </a:cubicBezTo>
                <a:cubicBezTo>
                  <a:pt x="7219" y="17875"/>
                  <a:pt x="7219" y="17906"/>
                  <a:pt x="7250" y="17906"/>
                </a:cubicBezTo>
                <a:cubicBezTo>
                  <a:pt x="7282" y="17937"/>
                  <a:pt x="7282" y="17968"/>
                  <a:pt x="7313" y="18000"/>
                </a:cubicBezTo>
                <a:cubicBezTo>
                  <a:pt x="7313" y="17906"/>
                  <a:pt x="7375" y="17875"/>
                  <a:pt x="7438" y="17875"/>
                </a:cubicBezTo>
                <a:cubicBezTo>
                  <a:pt x="7469" y="17875"/>
                  <a:pt x="7500" y="17875"/>
                  <a:pt x="7532" y="17906"/>
                </a:cubicBezTo>
                <a:cubicBezTo>
                  <a:pt x="7532" y="17937"/>
                  <a:pt x="7563" y="17968"/>
                  <a:pt x="7594" y="17937"/>
                </a:cubicBezTo>
                <a:cubicBezTo>
                  <a:pt x="7625" y="17937"/>
                  <a:pt x="7594" y="17906"/>
                  <a:pt x="7594" y="17875"/>
                </a:cubicBezTo>
                <a:cubicBezTo>
                  <a:pt x="7594" y="17843"/>
                  <a:pt x="7594" y="17812"/>
                  <a:pt x="7594" y="17781"/>
                </a:cubicBezTo>
                <a:cubicBezTo>
                  <a:pt x="7594" y="17750"/>
                  <a:pt x="7594" y="17687"/>
                  <a:pt x="7594" y="17656"/>
                </a:cubicBezTo>
                <a:cubicBezTo>
                  <a:pt x="7594" y="17625"/>
                  <a:pt x="7594" y="17593"/>
                  <a:pt x="7563" y="17562"/>
                </a:cubicBezTo>
                <a:cubicBezTo>
                  <a:pt x="7563" y="17500"/>
                  <a:pt x="7500" y="17468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406"/>
                  <a:pt x="7469" y="17406"/>
                  <a:pt x="7469" y="17406"/>
                </a:cubicBezTo>
                <a:cubicBezTo>
                  <a:pt x="7469" y="17375"/>
                  <a:pt x="7469" y="17375"/>
                  <a:pt x="7469" y="17375"/>
                </a:cubicBezTo>
                <a:cubicBezTo>
                  <a:pt x="7469" y="17375"/>
                  <a:pt x="7438" y="17375"/>
                  <a:pt x="7438" y="17375"/>
                </a:cubicBezTo>
                <a:cubicBezTo>
                  <a:pt x="7438" y="17375"/>
                  <a:pt x="7438" y="17375"/>
                  <a:pt x="7438" y="17343"/>
                </a:cubicBezTo>
                <a:cubicBezTo>
                  <a:pt x="7438" y="17343"/>
                  <a:pt x="7438" y="17343"/>
                  <a:pt x="7438" y="17343"/>
                </a:cubicBezTo>
                <a:cubicBezTo>
                  <a:pt x="7438" y="17312"/>
                  <a:pt x="7438" y="17281"/>
                  <a:pt x="7407" y="17250"/>
                </a:cubicBezTo>
                <a:cubicBezTo>
                  <a:pt x="7407" y="17218"/>
                  <a:pt x="7375" y="17156"/>
                  <a:pt x="7344" y="17125"/>
                </a:cubicBezTo>
                <a:cubicBezTo>
                  <a:pt x="7344" y="17093"/>
                  <a:pt x="7375" y="17062"/>
                  <a:pt x="7375" y="17062"/>
                </a:cubicBezTo>
                <a:cubicBezTo>
                  <a:pt x="7469" y="17187"/>
                  <a:pt x="7532" y="17312"/>
                  <a:pt x="7594" y="17468"/>
                </a:cubicBezTo>
                <a:cubicBezTo>
                  <a:pt x="7657" y="17593"/>
                  <a:pt x="7719" y="17718"/>
                  <a:pt x="7782" y="17843"/>
                </a:cubicBezTo>
                <a:cubicBezTo>
                  <a:pt x="7844" y="18000"/>
                  <a:pt x="7938" y="18125"/>
                  <a:pt x="8063" y="18218"/>
                </a:cubicBezTo>
                <a:cubicBezTo>
                  <a:pt x="8063" y="18218"/>
                  <a:pt x="8063" y="18218"/>
                  <a:pt x="8063" y="18218"/>
                </a:cubicBezTo>
                <a:cubicBezTo>
                  <a:pt x="8063" y="18250"/>
                  <a:pt x="8063" y="18250"/>
                  <a:pt x="8063" y="18281"/>
                </a:cubicBezTo>
                <a:cubicBezTo>
                  <a:pt x="8063" y="18281"/>
                  <a:pt x="8063" y="18281"/>
                  <a:pt x="8063" y="18312"/>
                </a:cubicBezTo>
                <a:cubicBezTo>
                  <a:pt x="8063" y="18312"/>
                  <a:pt x="8063" y="18312"/>
                  <a:pt x="8063" y="18343"/>
                </a:cubicBezTo>
                <a:cubicBezTo>
                  <a:pt x="8063" y="18343"/>
                  <a:pt x="8094" y="18343"/>
                  <a:pt x="8094" y="18343"/>
                </a:cubicBezTo>
                <a:cubicBezTo>
                  <a:pt x="8094" y="18343"/>
                  <a:pt x="8125" y="18343"/>
                  <a:pt x="8125" y="18312"/>
                </a:cubicBezTo>
                <a:cubicBezTo>
                  <a:pt x="8094" y="18218"/>
                  <a:pt x="8188" y="18218"/>
                  <a:pt x="8219" y="18156"/>
                </a:cubicBezTo>
                <a:cubicBezTo>
                  <a:pt x="8250" y="18125"/>
                  <a:pt x="8250" y="18093"/>
                  <a:pt x="8250" y="18062"/>
                </a:cubicBezTo>
                <a:cubicBezTo>
                  <a:pt x="8250" y="18031"/>
                  <a:pt x="8250" y="18000"/>
                  <a:pt x="8219" y="18000"/>
                </a:cubicBezTo>
                <a:close/>
                <a:moveTo>
                  <a:pt x="2532" y="16437"/>
                </a:moveTo>
                <a:cubicBezTo>
                  <a:pt x="2563" y="16437"/>
                  <a:pt x="2563" y="16406"/>
                  <a:pt x="2563" y="16406"/>
                </a:cubicBezTo>
                <a:cubicBezTo>
                  <a:pt x="2563" y="16406"/>
                  <a:pt x="2563" y="16406"/>
                  <a:pt x="2563" y="16406"/>
                </a:cubicBezTo>
                <a:cubicBezTo>
                  <a:pt x="2563" y="16406"/>
                  <a:pt x="2532" y="16437"/>
                  <a:pt x="2532" y="16437"/>
                </a:cubicBezTo>
                <a:cubicBezTo>
                  <a:pt x="2500" y="16437"/>
                  <a:pt x="2500" y="16406"/>
                  <a:pt x="2500" y="16375"/>
                </a:cubicBezTo>
                <a:cubicBezTo>
                  <a:pt x="2532" y="16343"/>
                  <a:pt x="2532" y="16312"/>
                  <a:pt x="2500" y="16281"/>
                </a:cubicBezTo>
                <a:cubicBezTo>
                  <a:pt x="2500" y="16281"/>
                  <a:pt x="2500" y="16281"/>
                  <a:pt x="2500" y="16281"/>
                </a:cubicBezTo>
                <a:cubicBezTo>
                  <a:pt x="2500" y="16250"/>
                  <a:pt x="2500" y="16218"/>
                  <a:pt x="2500" y="16218"/>
                </a:cubicBezTo>
                <a:cubicBezTo>
                  <a:pt x="2500" y="16218"/>
                  <a:pt x="2500" y="16218"/>
                  <a:pt x="2469" y="16218"/>
                </a:cubicBezTo>
                <a:cubicBezTo>
                  <a:pt x="2438" y="16218"/>
                  <a:pt x="2438" y="16187"/>
                  <a:pt x="2438" y="16187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38" y="16156"/>
                  <a:pt x="2438" y="16156"/>
                  <a:pt x="2438" y="16156"/>
                </a:cubicBezTo>
                <a:cubicBezTo>
                  <a:pt x="2469" y="16125"/>
                  <a:pt x="2469" y="16093"/>
                  <a:pt x="2438" y="16062"/>
                </a:cubicBezTo>
                <a:cubicBezTo>
                  <a:pt x="2438" y="16000"/>
                  <a:pt x="2375" y="16031"/>
                  <a:pt x="2375" y="16031"/>
                </a:cubicBezTo>
                <a:cubicBezTo>
                  <a:pt x="2344" y="15875"/>
                  <a:pt x="2282" y="15781"/>
                  <a:pt x="2250" y="15625"/>
                </a:cubicBezTo>
                <a:cubicBezTo>
                  <a:pt x="2188" y="15500"/>
                  <a:pt x="2157" y="15375"/>
                  <a:pt x="2094" y="15250"/>
                </a:cubicBezTo>
                <a:cubicBezTo>
                  <a:pt x="2032" y="15125"/>
                  <a:pt x="1969" y="14969"/>
                  <a:pt x="1875" y="14844"/>
                </a:cubicBezTo>
                <a:cubicBezTo>
                  <a:pt x="1875" y="14844"/>
                  <a:pt x="1875" y="14812"/>
                  <a:pt x="1875" y="14781"/>
                </a:cubicBezTo>
                <a:cubicBezTo>
                  <a:pt x="1844" y="14781"/>
                  <a:pt x="1844" y="14781"/>
                  <a:pt x="1844" y="14750"/>
                </a:cubicBezTo>
                <a:cubicBezTo>
                  <a:pt x="1844" y="14750"/>
                  <a:pt x="1844" y="14719"/>
                  <a:pt x="1844" y="14719"/>
                </a:cubicBezTo>
                <a:cubicBezTo>
                  <a:pt x="1813" y="14687"/>
                  <a:pt x="1813" y="14687"/>
                  <a:pt x="1750" y="14656"/>
                </a:cubicBezTo>
                <a:cubicBezTo>
                  <a:pt x="1750" y="14656"/>
                  <a:pt x="1750" y="14656"/>
                  <a:pt x="1750" y="14656"/>
                </a:cubicBezTo>
                <a:cubicBezTo>
                  <a:pt x="1750" y="14656"/>
                  <a:pt x="1750" y="14625"/>
                  <a:pt x="1750" y="14594"/>
                </a:cubicBezTo>
                <a:cubicBezTo>
                  <a:pt x="1750" y="14625"/>
                  <a:pt x="1750" y="14656"/>
                  <a:pt x="1750" y="14656"/>
                </a:cubicBezTo>
                <a:cubicBezTo>
                  <a:pt x="1750" y="14781"/>
                  <a:pt x="1813" y="14875"/>
                  <a:pt x="1844" y="14969"/>
                </a:cubicBezTo>
                <a:cubicBezTo>
                  <a:pt x="1969" y="15437"/>
                  <a:pt x="2188" y="15875"/>
                  <a:pt x="2407" y="16312"/>
                </a:cubicBezTo>
                <a:cubicBezTo>
                  <a:pt x="2407" y="16343"/>
                  <a:pt x="2438" y="16375"/>
                  <a:pt x="2438" y="16406"/>
                </a:cubicBezTo>
                <a:cubicBezTo>
                  <a:pt x="2469" y="16468"/>
                  <a:pt x="2500" y="16500"/>
                  <a:pt x="2532" y="16531"/>
                </a:cubicBezTo>
                <a:cubicBezTo>
                  <a:pt x="2532" y="16562"/>
                  <a:pt x="2563" y="16562"/>
                  <a:pt x="2563" y="16593"/>
                </a:cubicBezTo>
                <a:cubicBezTo>
                  <a:pt x="2563" y="16593"/>
                  <a:pt x="2563" y="16593"/>
                  <a:pt x="2563" y="16593"/>
                </a:cubicBezTo>
                <a:cubicBezTo>
                  <a:pt x="2563" y="16562"/>
                  <a:pt x="2563" y="16562"/>
                  <a:pt x="2532" y="16531"/>
                </a:cubicBezTo>
                <a:cubicBezTo>
                  <a:pt x="2532" y="16500"/>
                  <a:pt x="2532" y="16468"/>
                  <a:pt x="2532" y="16437"/>
                </a:cubicBezTo>
                <a:close/>
                <a:moveTo>
                  <a:pt x="9688" y="17718"/>
                </a:moveTo>
                <a:cubicBezTo>
                  <a:pt x="9625" y="17500"/>
                  <a:pt x="9532" y="17281"/>
                  <a:pt x="9469" y="17062"/>
                </a:cubicBezTo>
                <a:cubicBezTo>
                  <a:pt x="9344" y="16718"/>
                  <a:pt x="9219" y="16343"/>
                  <a:pt x="9094" y="16000"/>
                </a:cubicBezTo>
                <a:cubicBezTo>
                  <a:pt x="9063" y="15937"/>
                  <a:pt x="9000" y="15906"/>
                  <a:pt x="8938" y="15937"/>
                </a:cubicBezTo>
                <a:cubicBezTo>
                  <a:pt x="8875" y="15937"/>
                  <a:pt x="8938" y="16000"/>
                  <a:pt x="8938" y="16062"/>
                </a:cubicBezTo>
                <a:cubicBezTo>
                  <a:pt x="9032" y="16250"/>
                  <a:pt x="9094" y="16468"/>
                  <a:pt x="9188" y="16687"/>
                </a:cubicBezTo>
                <a:cubicBezTo>
                  <a:pt x="9282" y="17031"/>
                  <a:pt x="9407" y="17375"/>
                  <a:pt x="9532" y="17718"/>
                </a:cubicBezTo>
                <a:cubicBezTo>
                  <a:pt x="9625" y="17937"/>
                  <a:pt x="9719" y="18187"/>
                  <a:pt x="9782" y="18406"/>
                </a:cubicBezTo>
                <a:cubicBezTo>
                  <a:pt x="9813" y="18468"/>
                  <a:pt x="9844" y="18500"/>
                  <a:pt x="9907" y="18500"/>
                </a:cubicBezTo>
                <a:cubicBezTo>
                  <a:pt x="9907" y="18531"/>
                  <a:pt x="9938" y="18531"/>
                  <a:pt x="9938" y="18468"/>
                </a:cubicBezTo>
                <a:cubicBezTo>
                  <a:pt x="9938" y="18468"/>
                  <a:pt x="9938" y="18468"/>
                  <a:pt x="9938" y="18437"/>
                </a:cubicBezTo>
                <a:cubicBezTo>
                  <a:pt x="9875" y="18187"/>
                  <a:pt x="9782" y="17968"/>
                  <a:pt x="9688" y="17718"/>
                </a:cubicBezTo>
                <a:close/>
                <a:moveTo>
                  <a:pt x="20469" y="17687"/>
                </a:moveTo>
                <a:cubicBezTo>
                  <a:pt x="20000" y="17625"/>
                  <a:pt x="19594" y="17500"/>
                  <a:pt x="19188" y="17312"/>
                </a:cubicBezTo>
                <a:cubicBezTo>
                  <a:pt x="18875" y="17187"/>
                  <a:pt x="18563" y="17031"/>
                  <a:pt x="18282" y="16875"/>
                </a:cubicBezTo>
                <a:cubicBezTo>
                  <a:pt x="17750" y="16593"/>
                  <a:pt x="17250" y="16250"/>
                  <a:pt x="16719" y="15906"/>
                </a:cubicBezTo>
                <a:cubicBezTo>
                  <a:pt x="16563" y="15781"/>
                  <a:pt x="16375" y="15625"/>
                  <a:pt x="16157" y="15531"/>
                </a:cubicBezTo>
                <a:cubicBezTo>
                  <a:pt x="16188" y="15625"/>
                  <a:pt x="16219" y="15656"/>
                  <a:pt x="16250" y="15687"/>
                </a:cubicBezTo>
                <a:cubicBezTo>
                  <a:pt x="16563" y="15906"/>
                  <a:pt x="16875" y="16093"/>
                  <a:pt x="17188" y="16312"/>
                </a:cubicBezTo>
                <a:cubicBezTo>
                  <a:pt x="17563" y="16562"/>
                  <a:pt x="17938" y="16781"/>
                  <a:pt x="18313" y="17000"/>
                </a:cubicBezTo>
                <a:cubicBezTo>
                  <a:pt x="18844" y="17281"/>
                  <a:pt x="19344" y="17531"/>
                  <a:pt x="19938" y="17656"/>
                </a:cubicBezTo>
                <a:cubicBezTo>
                  <a:pt x="20094" y="17687"/>
                  <a:pt x="20282" y="17750"/>
                  <a:pt x="20469" y="17750"/>
                </a:cubicBezTo>
                <a:cubicBezTo>
                  <a:pt x="20500" y="17750"/>
                  <a:pt x="20532" y="17781"/>
                  <a:pt x="20532" y="17718"/>
                </a:cubicBezTo>
                <a:cubicBezTo>
                  <a:pt x="20532" y="17687"/>
                  <a:pt x="20500" y="17687"/>
                  <a:pt x="20469" y="17687"/>
                </a:cubicBezTo>
                <a:close/>
                <a:moveTo>
                  <a:pt x="4688" y="15250"/>
                </a:moveTo>
                <a:cubicBezTo>
                  <a:pt x="4813" y="15562"/>
                  <a:pt x="5000" y="15875"/>
                  <a:pt x="5125" y="16187"/>
                </a:cubicBezTo>
                <a:cubicBezTo>
                  <a:pt x="5282" y="16468"/>
                  <a:pt x="5438" y="16750"/>
                  <a:pt x="5563" y="17031"/>
                </a:cubicBezTo>
                <a:cubicBezTo>
                  <a:pt x="5688" y="17250"/>
                  <a:pt x="5750" y="17500"/>
                  <a:pt x="5938" y="17656"/>
                </a:cubicBezTo>
                <a:cubicBezTo>
                  <a:pt x="5969" y="17687"/>
                  <a:pt x="5969" y="17718"/>
                  <a:pt x="5969" y="17750"/>
                </a:cubicBezTo>
                <a:cubicBezTo>
                  <a:pt x="6032" y="17875"/>
                  <a:pt x="6000" y="18031"/>
                  <a:pt x="6157" y="18125"/>
                </a:cubicBezTo>
                <a:cubicBezTo>
                  <a:pt x="6188" y="18125"/>
                  <a:pt x="6219" y="18187"/>
                  <a:pt x="6188" y="18218"/>
                </a:cubicBezTo>
                <a:cubicBezTo>
                  <a:pt x="6157" y="18250"/>
                  <a:pt x="6125" y="18250"/>
                  <a:pt x="6094" y="18250"/>
                </a:cubicBezTo>
                <a:cubicBezTo>
                  <a:pt x="6063" y="18218"/>
                  <a:pt x="6032" y="18187"/>
                  <a:pt x="5969" y="18218"/>
                </a:cubicBezTo>
                <a:cubicBezTo>
                  <a:pt x="6063" y="18312"/>
                  <a:pt x="6094" y="18437"/>
                  <a:pt x="6157" y="18562"/>
                </a:cubicBezTo>
                <a:cubicBezTo>
                  <a:pt x="6219" y="18687"/>
                  <a:pt x="6313" y="18781"/>
                  <a:pt x="6407" y="18875"/>
                </a:cubicBezTo>
                <a:cubicBezTo>
                  <a:pt x="6407" y="18906"/>
                  <a:pt x="6407" y="18968"/>
                  <a:pt x="6469" y="18968"/>
                </a:cubicBezTo>
                <a:cubicBezTo>
                  <a:pt x="6500" y="18937"/>
                  <a:pt x="6500" y="18906"/>
                  <a:pt x="6500" y="18875"/>
                </a:cubicBezTo>
                <a:cubicBezTo>
                  <a:pt x="6500" y="18812"/>
                  <a:pt x="6500" y="18781"/>
                  <a:pt x="6469" y="18750"/>
                </a:cubicBezTo>
                <a:cubicBezTo>
                  <a:pt x="6438" y="18750"/>
                  <a:pt x="6438" y="18718"/>
                  <a:pt x="6469" y="18687"/>
                </a:cubicBezTo>
                <a:cubicBezTo>
                  <a:pt x="6500" y="18687"/>
                  <a:pt x="6500" y="18718"/>
                  <a:pt x="6532" y="18718"/>
                </a:cubicBezTo>
                <a:cubicBezTo>
                  <a:pt x="6594" y="18843"/>
                  <a:pt x="6688" y="18968"/>
                  <a:pt x="6782" y="19062"/>
                </a:cubicBezTo>
                <a:cubicBezTo>
                  <a:pt x="6782" y="18906"/>
                  <a:pt x="6750" y="18781"/>
                  <a:pt x="6657" y="18656"/>
                </a:cubicBezTo>
                <a:cubicBezTo>
                  <a:pt x="6594" y="18562"/>
                  <a:pt x="6532" y="18468"/>
                  <a:pt x="6469" y="18375"/>
                </a:cubicBezTo>
                <a:cubicBezTo>
                  <a:pt x="6313" y="18062"/>
                  <a:pt x="6094" y="17781"/>
                  <a:pt x="5969" y="17468"/>
                </a:cubicBezTo>
                <a:cubicBezTo>
                  <a:pt x="5907" y="17312"/>
                  <a:pt x="5813" y="17125"/>
                  <a:pt x="5719" y="16968"/>
                </a:cubicBezTo>
                <a:cubicBezTo>
                  <a:pt x="5532" y="16562"/>
                  <a:pt x="5344" y="16187"/>
                  <a:pt x="5157" y="15781"/>
                </a:cubicBezTo>
                <a:cubicBezTo>
                  <a:pt x="5000" y="15531"/>
                  <a:pt x="4875" y="15250"/>
                  <a:pt x="4782" y="14969"/>
                </a:cubicBezTo>
                <a:cubicBezTo>
                  <a:pt x="4657" y="14750"/>
                  <a:pt x="4563" y="14531"/>
                  <a:pt x="4438" y="14312"/>
                </a:cubicBezTo>
                <a:cubicBezTo>
                  <a:pt x="4407" y="14250"/>
                  <a:pt x="4375" y="14281"/>
                  <a:pt x="4344" y="14281"/>
                </a:cubicBezTo>
                <a:cubicBezTo>
                  <a:pt x="4313" y="14281"/>
                  <a:pt x="3938" y="13312"/>
                  <a:pt x="3625" y="12531"/>
                </a:cubicBezTo>
                <a:cubicBezTo>
                  <a:pt x="3532" y="12281"/>
                  <a:pt x="3438" y="12094"/>
                  <a:pt x="3375" y="11906"/>
                </a:cubicBezTo>
                <a:cubicBezTo>
                  <a:pt x="3407" y="11906"/>
                  <a:pt x="3407" y="11906"/>
                  <a:pt x="3407" y="11906"/>
                </a:cubicBezTo>
                <a:cubicBezTo>
                  <a:pt x="3438" y="11906"/>
                  <a:pt x="3438" y="11875"/>
                  <a:pt x="3438" y="11875"/>
                </a:cubicBezTo>
                <a:cubicBezTo>
                  <a:pt x="3375" y="11781"/>
                  <a:pt x="3375" y="11656"/>
                  <a:pt x="3344" y="11562"/>
                </a:cubicBezTo>
                <a:cubicBezTo>
                  <a:pt x="3282" y="11375"/>
                  <a:pt x="3188" y="11187"/>
                  <a:pt x="3125" y="11000"/>
                </a:cubicBezTo>
                <a:cubicBezTo>
                  <a:pt x="3063" y="10687"/>
                  <a:pt x="2938" y="10406"/>
                  <a:pt x="2813" y="10125"/>
                </a:cubicBezTo>
                <a:cubicBezTo>
                  <a:pt x="2750" y="10000"/>
                  <a:pt x="2782" y="9875"/>
                  <a:pt x="2750" y="9781"/>
                </a:cubicBezTo>
                <a:cubicBezTo>
                  <a:pt x="2719" y="9656"/>
                  <a:pt x="2657" y="9531"/>
                  <a:pt x="2625" y="9406"/>
                </a:cubicBezTo>
                <a:cubicBezTo>
                  <a:pt x="2625" y="9375"/>
                  <a:pt x="2594" y="9312"/>
                  <a:pt x="2625" y="9312"/>
                </a:cubicBezTo>
                <a:cubicBezTo>
                  <a:pt x="2657" y="9312"/>
                  <a:pt x="2688" y="9344"/>
                  <a:pt x="2719" y="9375"/>
                </a:cubicBezTo>
                <a:cubicBezTo>
                  <a:pt x="2782" y="9531"/>
                  <a:pt x="2875" y="9687"/>
                  <a:pt x="2907" y="9844"/>
                </a:cubicBezTo>
                <a:cubicBezTo>
                  <a:pt x="2938" y="9937"/>
                  <a:pt x="2969" y="10031"/>
                  <a:pt x="3032" y="10125"/>
                </a:cubicBezTo>
                <a:cubicBezTo>
                  <a:pt x="3157" y="10250"/>
                  <a:pt x="3188" y="10375"/>
                  <a:pt x="3282" y="10531"/>
                </a:cubicBezTo>
                <a:cubicBezTo>
                  <a:pt x="3407" y="10750"/>
                  <a:pt x="3532" y="10969"/>
                  <a:pt x="3657" y="11187"/>
                </a:cubicBezTo>
                <a:cubicBezTo>
                  <a:pt x="3657" y="11250"/>
                  <a:pt x="3719" y="11281"/>
                  <a:pt x="3782" y="11250"/>
                </a:cubicBezTo>
                <a:cubicBezTo>
                  <a:pt x="3813" y="11219"/>
                  <a:pt x="3875" y="11187"/>
                  <a:pt x="3907" y="11187"/>
                </a:cubicBezTo>
                <a:cubicBezTo>
                  <a:pt x="4000" y="11187"/>
                  <a:pt x="4000" y="11125"/>
                  <a:pt x="4000" y="11094"/>
                </a:cubicBezTo>
                <a:cubicBezTo>
                  <a:pt x="3938" y="10969"/>
                  <a:pt x="3907" y="10844"/>
                  <a:pt x="3875" y="10719"/>
                </a:cubicBezTo>
                <a:cubicBezTo>
                  <a:pt x="3719" y="10250"/>
                  <a:pt x="3563" y="9812"/>
                  <a:pt x="3438" y="9344"/>
                </a:cubicBezTo>
                <a:cubicBezTo>
                  <a:pt x="3344" y="9031"/>
                  <a:pt x="3250" y="8750"/>
                  <a:pt x="3157" y="8437"/>
                </a:cubicBezTo>
                <a:cubicBezTo>
                  <a:pt x="3094" y="8156"/>
                  <a:pt x="3032" y="7906"/>
                  <a:pt x="2969" y="7656"/>
                </a:cubicBezTo>
                <a:cubicBezTo>
                  <a:pt x="2875" y="7219"/>
                  <a:pt x="2782" y="6812"/>
                  <a:pt x="2688" y="6375"/>
                </a:cubicBezTo>
                <a:cubicBezTo>
                  <a:pt x="2594" y="5812"/>
                  <a:pt x="2563" y="5281"/>
                  <a:pt x="2563" y="4781"/>
                </a:cubicBezTo>
                <a:cubicBezTo>
                  <a:pt x="2563" y="4500"/>
                  <a:pt x="2563" y="4281"/>
                  <a:pt x="2563" y="4062"/>
                </a:cubicBezTo>
                <a:cubicBezTo>
                  <a:pt x="2563" y="3937"/>
                  <a:pt x="2500" y="3937"/>
                  <a:pt x="2469" y="3969"/>
                </a:cubicBezTo>
                <a:cubicBezTo>
                  <a:pt x="2344" y="4062"/>
                  <a:pt x="2219" y="4125"/>
                  <a:pt x="2157" y="4250"/>
                </a:cubicBezTo>
                <a:cubicBezTo>
                  <a:pt x="2125" y="4281"/>
                  <a:pt x="2157" y="4312"/>
                  <a:pt x="2094" y="4281"/>
                </a:cubicBezTo>
                <a:cubicBezTo>
                  <a:pt x="2063" y="4281"/>
                  <a:pt x="2063" y="4250"/>
                  <a:pt x="2094" y="4219"/>
                </a:cubicBezTo>
                <a:cubicBezTo>
                  <a:pt x="2125" y="4094"/>
                  <a:pt x="2063" y="3937"/>
                  <a:pt x="2125" y="3812"/>
                </a:cubicBezTo>
                <a:cubicBezTo>
                  <a:pt x="2125" y="3750"/>
                  <a:pt x="2094" y="3687"/>
                  <a:pt x="2032" y="3719"/>
                </a:cubicBezTo>
                <a:cubicBezTo>
                  <a:pt x="1938" y="3719"/>
                  <a:pt x="1782" y="3875"/>
                  <a:pt x="1782" y="4000"/>
                </a:cubicBezTo>
                <a:cubicBezTo>
                  <a:pt x="1782" y="4469"/>
                  <a:pt x="1688" y="4969"/>
                  <a:pt x="1688" y="5437"/>
                </a:cubicBezTo>
                <a:lnTo>
                  <a:pt x="1688" y="5437"/>
                </a:lnTo>
                <a:cubicBezTo>
                  <a:pt x="1719" y="5875"/>
                  <a:pt x="1719" y="6281"/>
                  <a:pt x="1782" y="6719"/>
                </a:cubicBezTo>
                <a:cubicBezTo>
                  <a:pt x="1813" y="6937"/>
                  <a:pt x="1844" y="7156"/>
                  <a:pt x="1907" y="7406"/>
                </a:cubicBezTo>
                <a:cubicBezTo>
                  <a:pt x="1938" y="7750"/>
                  <a:pt x="2032" y="8094"/>
                  <a:pt x="2125" y="8437"/>
                </a:cubicBezTo>
                <a:cubicBezTo>
                  <a:pt x="2219" y="8812"/>
                  <a:pt x="2313" y="9156"/>
                  <a:pt x="2438" y="9531"/>
                </a:cubicBezTo>
                <a:cubicBezTo>
                  <a:pt x="2532" y="9875"/>
                  <a:pt x="2657" y="10250"/>
                  <a:pt x="2782" y="10594"/>
                </a:cubicBezTo>
                <a:cubicBezTo>
                  <a:pt x="2907" y="10937"/>
                  <a:pt x="3000" y="11281"/>
                  <a:pt x="3157" y="11594"/>
                </a:cubicBezTo>
                <a:cubicBezTo>
                  <a:pt x="3219" y="11687"/>
                  <a:pt x="3250" y="11781"/>
                  <a:pt x="3282" y="11875"/>
                </a:cubicBezTo>
                <a:cubicBezTo>
                  <a:pt x="3313" y="11906"/>
                  <a:pt x="3344" y="11906"/>
                  <a:pt x="3375" y="11906"/>
                </a:cubicBezTo>
                <a:cubicBezTo>
                  <a:pt x="3438" y="12094"/>
                  <a:pt x="3532" y="12281"/>
                  <a:pt x="3625" y="12531"/>
                </a:cubicBezTo>
                <a:cubicBezTo>
                  <a:pt x="3938" y="13406"/>
                  <a:pt x="4375" y="14500"/>
                  <a:pt x="4375" y="14562"/>
                </a:cubicBezTo>
                <a:cubicBezTo>
                  <a:pt x="4500" y="14781"/>
                  <a:pt x="4594" y="15031"/>
                  <a:pt x="4688" y="15250"/>
                </a:cubicBezTo>
                <a:close/>
                <a:moveTo>
                  <a:pt x="6313" y="16968"/>
                </a:moveTo>
                <a:cubicBezTo>
                  <a:pt x="6313" y="16937"/>
                  <a:pt x="6344" y="16968"/>
                  <a:pt x="6344" y="16968"/>
                </a:cubicBezTo>
                <a:cubicBezTo>
                  <a:pt x="6407" y="17031"/>
                  <a:pt x="6438" y="17093"/>
                  <a:pt x="6469" y="17156"/>
                </a:cubicBezTo>
                <a:cubicBezTo>
                  <a:pt x="6500" y="17156"/>
                  <a:pt x="6500" y="17218"/>
                  <a:pt x="6532" y="17187"/>
                </a:cubicBezTo>
                <a:cubicBezTo>
                  <a:pt x="6563" y="17187"/>
                  <a:pt x="6594" y="17156"/>
                  <a:pt x="6594" y="17125"/>
                </a:cubicBezTo>
                <a:cubicBezTo>
                  <a:pt x="6594" y="17093"/>
                  <a:pt x="6594" y="17062"/>
                  <a:pt x="6563" y="17031"/>
                </a:cubicBezTo>
                <a:cubicBezTo>
                  <a:pt x="6375" y="16718"/>
                  <a:pt x="6250" y="16406"/>
                  <a:pt x="6094" y="16062"/>
                </a:cubicBezTo>
                <a:cubicBezTo>
                  <a:pt x="5969" y="15843"/>
                  <a:pt x="5844" y="15594"/>
                  <a:pt x="5719" y="15344"/>
                </a:cubicBezTo>
                <a:cubicBezTo>
                  <a:pt x="5594" y="15031"/>
                  <a:pt x="5438" y="14719"/>
                  <a:pt x="5282" y="14406"/>
                </a:cubicBezTo>
                <a:cubicBezTo>
                  <a:pt x="5219" y="14469"/>
                  <a:pt x="5188" y="14531"/>
                  <a:pt x="5125" y="14562"/>
                </a:cubicBezTo>
                <a:cubicBezTo>
                  <a:pt x="5094" y="14562"/>
                  <a:pt x="5094" y="14562"/>
                  <a:pt x="5094" y="14594"/>
                </a:cubicBezTo>
                <a:cubicBezTo>
                  <a:pt x="5125" y="14656"/>
                  <a:pt x="5094" y="14719"/>
                  <a:pt x="5125" y="14781"/>
                </a:cubicBezTo>
                <a:cubicBezTo>
                  <a:pt x="5188" y="15000"/>
                  <a:pt x="5250" y="15187"/>
                  <a:pt x="5313" y="15406"/>
                </a:cubicBezTo>
                <a:cubicBezTo>
                  <a:pt x="5407" y="15625"/>
                  <a:pt x="5532" y="15875"/>
                  <a:pt x="5625" y="16093"/>
                </a:cubicBezTo>
                <a:cubicBezTo>
                  <a:pt x="5813" y="16437"/>
                  <a:pt x="5969" y="16781"/>
                  <a:pt x="6125" y="17125"/>
                </a:cubicBezTo>
                <a:cubicBezTo>
                  <a:pt x="6157" y="17187"/>
                  <a:pt x="6219" y="17281"/>
                  <a:pt x="6250" y="17343"/>
                </a:cubicBezTo>
                <a:cubicBezTo>
                  <a:pt x="6282" y="17375"/>
                  <a:pt x="6344" y="17375"/>
                  <a:pt x="6375" y="17375"/>
                </a:cubicBezTo>
                <a:cubicBezTo>
                  <a:pt x="6407" y="17375"/>
                  <a:pt x="6407" y="17375"/>
                  <a:pt x="6407" y="17343"/>
                </a:cubicBezTo>
                <a:cubicBezTo>
                  <a:pt x="6375" y="17250"/>
                  <a:pt x="6407" y="17093"/>
                  <a:pt x="6313" y="17000"/>
                </a:cubicBezTo>
                <a:cubicBezTo>
                  <a:pt x="6313" y="17000"/>
                  <a:pt x="6282" y="16968"/>
                  <a:pt x="6313" y="16968"/>
                </a:cubicBezTo>
                <a:close/>
                <a:moveTo>
                  <a:pt x="9594" y="19125"/>
                </a:moveTo>
                <a:cubicBezTo>
                  <a:pt x="9438" y="18687"/>
                  <a:pt x="9250" y="18250"/>
                  <a:pt x="9094" y="17843"/>
                </a:cubicBezTo>
                <a:cubicBezTo>
                  <a:pt x="8938" y="17375"/>
                  <a:pt x="8750" y="16906"/>
                  <a:pt x="8594" y="16437"/>
                </a:cubicBezTo>
                <a:cubicBezTo>
                  <a:pt x="8563" y="16375"/>
                  <a:pt x="8563" y="16375"/>
                  <a:pt x="8500" y="16375"/>
                </a:cubicBezTo>
                <a:cubicBezTo>
                  <a:pt x="8438" y="16375"/>
                  <a:pt x="8375" y="16312"/>
                  <a:pt x="8438" y="16281"/>
                </a:cubicBezTo>
                <a:cubicBezTo>
                  <a:pt x="8500" y="16218"/>
                  <a:pt x="8469" y="16156"/>
                  <a:pt x="8469" y="16062"/>
                </a:cubicBezTo>
                <a:cubicBezTo>
                  <a:pt x="8407" y="15812"/>
                  <a:pt x="8250" y="15594"/>
                  <a:pt x="8188" y="15344"/>
                </a:cubicBezTo>
                <a:cubicBezTo>
                  <a:pt x="8094" y="14937"/>
                  <a:pt x="7907" y="14500"/>
                  <a:pt x="7750" y="14062"/>
                </a:cubicBezTo>
                <a:cubicBezTo>
                  <a:pt x="7719" y="14156"/>
                  <a:pt x="7688" y="14156"/>
                  <a:pt x="7657" y="14062"/>
                </a:cubicBezTo>
                <a:cubicBezTo>
                  <a:pt x="7594" y="13969"/>
                  <a:pt x="7532" y="13844"/>
                  <a:pt x="7500" y="13719"/>
                </a:cubicBezTo>
                <a:cubicBezTo>
                  <a:pt x="7500" y="13625"/>
                  <a:pt x="7469" y="13531"/>
                  <a:pt x="7438" y="13469"/>
                </a:cubicBezTo>
                <a:cubicBezTo>
                  <a:pt x="7344" y="13344"/>
                  <a:pt x="6719" y="11656"/>
                  <a:pt x="6344" y="10687"/>
                </a:cubicBezTo>
                <a:cubicBezTo>
                  <a:pt x="6375" y="10531"/>
                  <a:pt x="6407" y="10344"/>
                  <a:pt x="6344" y="10156"/>
                </a:cubicBezTo>
                <a:cubicBezTo>
                  <a:pt x="6282" y="10031"/>
                  <a:pt x="6344" y="9844"/>
                  <a:pt x="6250" y="9719"/>
                </a:cubicBezTo>
                <a:cubicBezTo>
                  <a:pt x="6219" y="9656"/>
                  <a:pt x="6219" y="9594"/>
                  <a:pt x="6282" y="9531"/>
                </a:cubicBezTo>
                <a:cubicBezTo>
                  <a:pt x="6282" y="9500"/>
                  <a:pt x="6282" y="9500"/>
                  <a:pt x="6282" y="9469"/>
                </a:cubicBezTo>
                <a:cubicBezTo>
                  <a:pt x="6250" y="9344"/>
                  <a:pt x="6250" y="9187"/>
                  <a:pt x="6188" y="9031"/>
                </a:cubicBezTo>
                <a:cubicBezTo>
                  <a:pt x="6125" y="8812"/>
                  <a:pt x="6094" y="8594"/>
                  <a:pt x="6032" y="8375"/>
                </a:cubicBezTo>
                <a:cubicBezTo>
                  <a:pt x="5938" y="8062"/>
                  <a:pt x="5875" y="7719"/>
                  <a:pt x="5813" y="7406"/>
                </a:cubicBezTo>
                <a:cubicBezTo>
                  <a:pt x="5750" y="7250"/>
                  <a:pt x="5750" y="7094"/>
                  <a:pt x="5688" y="6937"/>
                </a:cubicBezTo>
                <a:cubicBezTo>
                  <a:pt x="5625" y="6719"/>
                  <a:pt x="5594" y="6469"/>
                  <a:pt x="5532" y="6219"/>
                </a:cubicBezTo>
                <a:cubicBezTo>
                  <a:pt x="5500" y="6062"/>
                  <a:pt x="5469" y="5844"/>
                  <a:pt x="5438" y="5687"/>
                </a:cubicBezTo>
                <a:cubicBezTo>
                  <a:pt x="5344" y="5250"/>
                  <a:pt x="5282" y="4844"/>
                  <a:pt x="5188" y="4437"/>
                </a:cubicBezTo>
                <a:cubicBezTo>
                  <a:pt x="5157" y="4312"/>
                  <a:pt x="5125" y="4219"/>
                  <a:pt x="5125" y="4094"/>
                </a:cubicBezTo>
                <a:cubicBezTo>
                  <a:pt x="5094" y="3969"/>
                  <a:pt x="5094" y="3844"/>
                  <a:pt x="5032" y="3750"/>
                </a:cubicBezTo>
                <a:cubicBezTo>
                  <a:pt x="5032" y="3750"/>
                  <a:pt x="5032" y="3812"/>
                  <a:pt x="5000" y="3812"/>
                </a:cubicBezTo>
                <a:cubicBezTo>
                  <a:pt x="4938" y="3812"/>
                  <a:pt x="4969" y="3750"/>
                  <a:pt x="4938" y="3750"/>
                </a:cubicBezTo>
                <a:cubicBezTo>
                  <a:pt x="4938" y="3687"/>
                  <a:pt x="4907" y="3625"/>
                  <a:pt x="4907" y="3594"/>
                </a:cubicBezTo>
                <a:cubicBezTo>
                  <a:pt x="4844" y="3375"/>
                  <a:pt x="4782" y="3187"/>
                  <a:pt x="4657" y="3031"/>
                </a:cubicBezTo>
                <a:cubicBezTo>
                  <a:pt x="4594" y="2969"/>
                  <a:pt x="4532" y="2937"/>
                  <a:pt x="4469" y="2937"/>
                </a:cubicBezTo>
                <a:cubicBezTo>
                  <a:pt x="4407" y="2969"/>
                  <a:pt x="4344" y="3031"/>
                  <a:pt x="4344" y="3094"/>
                </a:cubicBezTo>
                <a:cubicBezTo>
                  <a:pt x="4375" y="3500"/>
                  <a:pt x="4250" y="3875"/>
                  <a:pt x="4344" y="4250"/>
                </a:cubicBezTo>
                <a:cubicBezTo>
                  <a:pt x="4375" y="4469"/>
                  <a:pt x="4375" y="4687"/>
                  <a:pt x="4407" y="4906"/>
                </a:cubicBezTo>
                <a:cubicBezTo>
                  <a:pt x="4469" y="5406"/>
                  <a:pt x="4563" y="5875"/>
                  <a:pt x="4657" y="6375"/>
                </a:cubicBezTo>
                <a:cubicBezTo>
                  <a:pt x="4719" y="6719"/>
                  <a:pt x="4813" y="7094"/>
                  <a:pt x="4875" y="7469"/>
                </a:cubicBezTo>
                <a:cubicBezTo>
                  <a:pt x="4907" y="7625"/>
                  <a:pt x="4938" y="7781"/>
                  <a:pt x="5000" y="7937"/>
                </a:cubicBezTo>
                <a:cubicBezTo>
                  <a:pt x="5032" y="8187"/>
                  <a:pt x="5125" y="8406"/>
                  <a:pt x="5157" y="8656"/>
                </a:cubicBezTo>
                <a:cubicBezTo>
                  <a:pt x="5157" y="8656"/>
                  <a:pt x="5188" y="8656"/>
                  <a:pt x="5188" y="8687"/>
                </a:cubicBezTo>
                <a:cubicBezTo>
                  <a:pt x="5282" y="9094"/>
                  <a:pt x="5563" y="10094"/>
                  <a:pt x="5594" y="10219"/>
                </a:cubicBezTo>
                <a:cubicBezTo>
                  <a:pt x="5688" y="10531"/>
                  <a:pt x="6875" y="13781"/>
                  <a:pt x="7000" y="14094"/>
                </a:cubicBezTo>
                <a:cubicBezTo>
                  <a:pt x="7032" y="14187"/>
                  <a:pt x="7032" y="14281"/>
                  <a:pt x="7094" y="14344"/>
                </a:cubicBezTo>
                <a:cubicBezTo>
                  <a:pt x="7094" y="14375"/>
                  <a:pt x="7125" y="14406"/>
                  <a:pt x="7125" y="14437"/>
                </a:cubicBezTo>
                <a:cubicBezTo>
                  <a:pt x="7125" y="14437"/>
                  <a:pt x="7125" y="14469"/>
                  <a:pt x="7125" y="14469"/>
                </a:cubicBezTo>
                <a:cubicBezTo>
                  <a:pt x="7157" y="14500"/>
                  <a:pt x="7157" y="14562"/>
                  <a:pt x="7188" y="14594"/>
                </a:cubicBezTo>
                <a:cubicBezTo>
                  <a:pt x="7188" y="14594"/>
                  <a:pt x="7188" y="14625"/>
                  <a:pt x="7188" y="14625"/>
                </a:cubicBezTo>
                <a:cubicBezTo>
                  <a:pt x="7188" y="14625"/>
                  <a:pt x="7188" y="14625"/>
                  <a:pt x="7188" y="14656"/>
                </a:cubicBezTo>
                <a:cubicBezTo>
                  <a:pt x="7188" y="14656"/>
                  <a:pt x="7188" y="14656"/>
                  <a:pt x="7219" y="14656"/>
                </a:cubicBezTo>
                <a:cubicBezTo>
                  <a:pt x="7344" y="15000"/>
                  <a:pt x="7438" y="15344"/>
                  <a:pt x="7563" y="15687"/>
                </a:cubicBezTo>
                <a:cubicBezTo>
                  <a:pt x="7688" y="15968"/>
                  <a:pt x="7813" y="16250"/>
                  <a:pt x="7907" y="16531"/>
                </a:cubicBezTo>
                <a:cubicBezTo>
                  <a:pt x="7938" y="16562"/>
                  <a:pt x="7907" y="16625"/>
                  <a:pt x="7969" y="16625"/>
                </a:cubicBezTo>
                <a:cubicBezTo>
                  <a:pt x="7969" y="16656"/>
                  <a:pt x="7969" y="16687"/>
                  <a:pt x="8000" y="16718"/>
                </a:cubicBezTo>
                <a:cubicBezTo>
                  <a:pt x="8032" y="16812"/>
                  <a:pt x="8063" y="16906"/>
                  <a:pt x="8094" y="17000"/>
                </a:cubicBezTo>
                <a:cubicBezTo>
                  <a:pt x="8188" y="17218"/>
                  <a:pt x="8282" y="17468"/>
                  <a:pt x="8407" y="17718"/>
                </a:cubicBezTo>
                <a:cubicBezTo>
                  <a:pt x="8375" y="17843"/>
                  <a:pt x="8469" y="17906"/>
                  <a:pt x="8500" y="18000"/>
                </a:cubicBezTo>
                <a:cubicBezTo>
                  <a:pt x="8500" y="18031"/>
                  <a:pt x="8532" y="18000"/>
                  <a:pt x="8563" y="18000"/>
                </a:cubicBezTo>
                <a:cubicBezTo>
                  <a:pt x="8594" y="17875"/>
                  <a:pt x="8625" y="17968"/>
                  <a:pt x="8657" y="18000"/>
                </a:cubicBezTo>
                <a:cubicBezTo>
                  <a:pt x="8657" y="18000"/>
                  <a:pt x="8657" y="18031"/>
                  <a:pt x="8688" y="18031"/>
                </a:cubicBezTo>
                <a:cubicBezTo>
                  <a:pt x="8688" y="18031"/>
                  <a:pt x="8688" y="18062"/>
                  <a:pt x="8719" y="18093"/>
                </a:cubicBezTo>
                <a:cubicBezTo>
                  <a:pt x="8719" y="18093"/>
                  <a:pt x="8719" y="18125"/>
                  <a:pt x="8750" y="18125"/>
                </a:cubicBezTo>
                <a:cubicBezTo>
                  <a:pt x="8750" y="18156"/>
                  <a:pt x="8750" y="18156"/>
                  <a:pt x="8750" y="18156"/>
                </a:cubicBezTo>
                <a:cubicBezTo>
                  <a:pt x="8750" y="18156"/>
                  <a:pt x="8750" y="18187"/>
                  <a:pt x="8750" y="18187"/>
                </a:cubicBezTo>
                <a:cubicBezTo>
                  <a:pt x="8750" y="18187"/>
                  <a:pt x="8750" y="18187"/>
                  <a:pt x="8750" y="18187"/>
                </a:cubicBezTo>
                <a:cubicBezTo>
                  <a:pt x="8782" y="18187"/>
                  <a:pt x="8782" y="18218"/>
                  <a:pt x="8782" y="18218"/>
                </a:cubicBezTo>
                <a:cubicBezTo>
                  <a:pt x="8813" y="18250"/>
                  <a:pt x="8813" y="18250"/>
                  <a:pt x="8844" y="18281"/>
                </a:cubicBezTo>
                <a:cubicBezTo>
                  <a:pt x="8844" y="18281"/>
                  <a:pt x="8844" y="18312"/>
                  <a:pt x="8844" y="18312"/>
                </a:cubicBezTo>
                <a:cubicBezTo>
                  <a:pt x="8844" y="18312"/>
                  <a:pt x="8844" y="18312"/>
                  <a:pt x="8844" y="18343"/>
                </a:cubicBezTo>
                <a:cubicBezTo>
                  <a:pt x="8875" y="18343"/>
                  <a:pt x="8875" y="18375"/>
                  <a:pt x="8875" y="18375"/>
                </a:cubicBezTo>
                <a:cubicBezTo>
                  <a:pt x="8875" y="18375"/>
                  <a:pt x="8907" y="18375"/>
                  <a:pt x="8907" y="18406"/>
                </a:cubicBezTo>
                <a:cubicBezTo>
                  <a:pt x="8907" y="18406"/>
                  <a:pt x="8907" y="18406"/>
                  <a:pt x="8938" y="18406"/>
                </a:cubicBezTo>
                <a:cubicBezTo>
                  <a:pt x="8907" y="18437"/>
                  <a:pt x="8907" y="18468"/>
                  <a:pt x="8938" y="18468"/>
                </a:cubicBezTo>
                <a:cubicBezTo>
                  <a:pt x="8938" y="18500"/>
                  <a:pt x="8938" y="18500"/>
                  <a:pt x="8938" y="18500"/>
                </a:cubicBezTo>
                <a:cubicBezTo>
                  <a:pt x="8938" y="18531"/>
                  <a:pt x="8938" y="18531"/>
                  <a:pt x="8938" y="18531"/>
                </a:cubicBezTo>
                <a:cubicBezTo>
                  <a:pt x="9094" y="18781"/>
                  <a:pt x="9188" y="19031"/>
                  <a:pt x="9375" y="19250"/>
                </a:cubicBezTo>
                <a:cubicBezTo>
                  <a:pt x="9407" y="19281"/>
                  <a:pt x="9438" y="19375"/>
                  <a:pt x="9500" y="19375"/>
                </a:cubicBezTo>
                <a:cubicBezTo>
                  <a:pt x="9563" y="19343"/>
                  <a:pt x="9532" y="19250"/>
                  <a:pt x="9500" y="19187"/>
                </a:cubicBezTo>
                <a:cubicBezTo>
                  <a:pt x="9500" y="19093"/>
                  <a:pt x="9532" y="19093"/>
                  <a:pt x="9594" y="19125"/>
                </a:cubicBezTo>
                <a:close/>
                <a:moveTo>
                  <a:pt x="5313" y="8844"/>
                </a:moveTo>
                <a:cubicBezTo>
                  <a:pt x="5313" y="8844"/>
                  <a:pt x="5313" y="8844"/>
                  <a:pt x="5313" y="8844"/>
                </a:cubicBezTo>
                <a:cubicBezTo>
                  <a:pt x="5313" y="8875"/>
                  <a:pt x="5313" y="8875"/>
                  <a:pt x="5313" y="8875"/>
                </a:cubicBezTo>
                <a:cubicBezTo>
                  <a:pt x="5313" y="8906"/>
                  <a:pt x="5313" y="8969"/>
                  <a:pt x="5344" y="9000"/>
                </a:cubicBezTo>
                <a:cubicBezTo>
                  <a:pt x="5375" y="9031"/>
                  <a:pt x="5375" y="9062"/>
                  <a:pt x="5375" y="9094"/>
                </a:cubicBezTo>
                <a:cubicBezTo>
                  <a:pt x="5375" y="9094"/>
                  <a:pt x="5375" y="9125"/>
                  <a:pt x="5375" y="9125"/>
                </a:cubicBezTo>
                <a:cubicBezTo>
                  <a:pt x="5375" y="9125"/>
                  <a:pt x="5375" y="9125"/>
                  <a:pt x="5407" y="9156"/>
                </a:cubicBezTo>
                <a:cubicBezTo>
                  <a:pt x="5407" y="9156"/>
                  <a:pt x="5407" y="9156"/>
                  <a:pt x="5407" y="9156"/>
                </a:cubicBezTo>
                <a:cubicBezTo>
                  <a:pt x="5407" y="9156"/>
                  <a:pt x="5407" y="9187"/>
                  <a:pt x="5407" y="9187"/>
                </a:cubicBezTo>
                <a:cubicBezTo>
                  <a:pt x="5438" y="9344"/>
                  <a:pt x="5469" y="9469"/>
                  <a:pt x="5532" y="9625"/>
                </a:cubicBezTo>
                <a:cubicBezTo>
                  <a:pt x="5469" y="9562"/>
                  <a:pt x="5313" y="9062"/>
                  <a:pt x="5219" y="8719"/>
                </a:cubicBezTo>
                <a:cubicBezTo>
                  <a:pt x="5250" y="8781"/>
                  <a:pt x="5282" y="8812"/>
                  <a:pt x="5313" y="8844"/>
                </a:cubicBezTo>
                <a:close/>
                <a:moveTo>
                  <a:pt x="6313" y="19687"/>
                </a:moveTo>
                <a:cubicBezTo>
                  <a:pt x="6219" y="19500"/>
                  <a:pt x="6125" y="19343"/>
                  <a:pt x="6032" y="19187"/>
                </a:cubicBezTo>
                <a:cubicBezTo>
                  <a:pt x="5938" y="19031"/>
                  <a:pt x="5844" y="18906"/>
                  <a:pt x="5813" y="18750"/>
                </a:cubicBezTo>
                <a:cubicBezTo>
                  <a:pt x="5813" y="18750"/>
                  <a:pt x="5813" y="18750"/>
                  <a:pt x="5813" y="18750"/>
                </a:cubicBezTo>
                <a:cubicBezTo>
                  <a:pt x="5875" y="18812"/>
                  <a:pt x="5969" y="18875"/>
                  <a:pt x="6063" y="18937"/>
                </a:cubicBezTo>
                <a:cubicBezTo>
                  <a:pt x="6125" y="18968"/>
                  <a:pt x="6157" y="19000"/>
                  <a:pt x="6219" y="18937"/>
                </a:cubicBezTo>
                <a:cubicBezTo>
                  <a:pt x="6282" y="18906"/>
                  <a:pt x="6219" y="18875"/>
                  <a:pt x="6219" y="18843"/>
                </a:cubicBezTo>
                <a:cubicBezTo>
                  <a:pt x="6157" y="18718"/>
                  <a:pt x="6063" y="18656"/>
                  <a:pt x="6032" y="18531"/>
                </a:cubicBezTo>
                <a:cubicBezTo>
                  <a:pt x="6000" y="18468"/>
                  <a:pt x="5938" y="18406"/>
                  <a:pt x="5875" y="18437"/>
                </a:cubicBezTo>
                <a:cubicBezTo>
                  <a:pt x="5813" y="18437"/>
                  <a:pt x="5782" y="18406"/>
                  <a:pt x="5782" y="18343"/>
                </a:cubicBezTo>
                <a:cubicBezTo>
                  <a:pt x="5782" y="18343"/>
                  <a:pt x="5782" y="18281"/>
                  <a:pt x="5782" y="18281"/>
                </a:cubicBezTo>
                <a:cubicBezTo>
                  <a:pt x="5938" y="18281"/>
                  <a:pt x="5844" y="18218"/>
                  <a:pt x="5813" y="18187"/>
                </a:cubicBezTo>
                <a:cubicBezTo>
                  <a:pt x="5782" y="18125"/>
                  <a:pt x="5750" y="18062"/>
                  <a:pt x="5719" y="18000"/>
                </a:cubicBezTo>
                <a:cubicBezTo>
                  <a:pt x="5719" y="17968"/>
                  <a:pt x="5688" y="17937"/>
                  <a:pt x="5657" y="17968"/>
                </a:cubicBezTo>
                <a:cubicBezTo>
                  <a:pt x="5625" y="18000"/>
                  <a:pt x="5594" y="18000"/>
                  <a:pt x="5563" y="17968"/>
                </a:cubicBezTo>
                <a:cubicBezTo>
                  <a:pt x="5500" y="17875"/>
                  <a:pt x="5563" y="17875"/>
                  <a:pt x="5594" y="17843"/>
                </a:cubicBezTo>
                <a:cubicBezTo>
                  <a:pt x="5657" y="17812"/>
                  <a:pt x="5688" y="17781"/>
                  <a:pt x="5625" y="17718"/>
                </a:cubicBezTo>
                <a:cubicBezTo>
                  <a:pt x="5625" y="17687"/>
                  <a:pt x="5594" y="17687"/>
                  <a:pt x="5594" y="17656"/>
                </a:cubicBezTo>
                <a:cubicBezTo>
                  <a:pt x="5594" y="17625"/>
                  <a:pt x="5594" y="17593"/>
                  <a:pt x="5625" y="17562"/>
                </a:cubicBezTo>
                <a:cubicBezTo>
                  <a:pt x="5688" y="17531"/>
                  <a:pt x="5688" y="17593"/>
                  <a:pt x="5719" y="17593"/>
                </a:cubicBezTo>
                <a:cubicBezTo>
                  <a:pt x="5750" y="17625"/>
                  <a:pt x="5750" y="17656"/>
                  <a:pt x="5813" y="17656"/>
                </a:cubicBezTo>
                <a:cubicBezTo>
                  <a:pt x="5407" y="16968"/>
                  <a:pt x="5094" y="16218"/>
                  <a:pt x="4657" y="15531"/>
                </a:cubicBezTo>
                <a:cubicBezTo>
                  <a:pt x="4625" y="15562"/>
                  <a:pt x="4657" y="15625"/>
                  <a:pt x="4657" y="15656"/>
                </a:cubicBezTo>
                <a:cubicBezTo>
                  <a:pt x="4657" y="15750"/>
                  <a:pt x="4750" y="15812"/>
                  <a:pt x="4750" y="15875"/>
                </a:cubicBezTo>
                <a:cubicBezTo>
                  <a:pt x="4813" y="16093"/>
                  <a:pt x="4907" y="16250"/>
                  <a:pt x="5000" y="16437"/>
                </a:cubicBezTo>
                <a:cubicBezTo>
                  <a:pt x="5094" y="16593"/>
                  <a:pt x="5125" y="16750"/>
                  <a:pt x="5250" y="16906"/>
                </a:cubicBezTo>
                <a:cubicBezTo>
                  <a:pt x="5250" y="16906"/>
                  <a:pt x="5250" y="16968"/>
                  <a:pt x="5219" y="16968"/>
                </a:cubicBezTo>
                <a:cubicBezTo>
                  <a:pt x="5219" y="17000"/>
                  <a:pt x="5188" y="16968"/>
                  <a:pt x="5188" y="16937"/>
                </a:cubicBezTo>
                <a:cubicBezTo>
                  <a:pt x="5063" y="16718"/>
                  <a:pt x="4938" y="16531"/>
                  <a:pt x="4813" y="16312"/>
                </a:cubicBezTo>
                <a:cubicBezTo>
                  <a:pt x="4719" y="16187"/>
                  <a:pt x="4657" y="16000"/>
                  <a:pt x="4563" y="15843"/>
                </a:cubicBezTo>
                <a:cubicBezTo>
                  <a:pt x="4407" y="15656"/>
                  <a:pt x="4313" y="15437"/>
                  <a:pt x="4157" y="15219"/>
                </a:cubicBezTo>
                <a:cubicBezTo>
                  <a:pt x="4032" y="15000"/>
                  <a:pt x="2813" y="11969"/>
                  <a:pt x="2688" y="11750"/>
                </a:cubicBezTo>
                <a:cubicBezTo>
                  <a:pt x="2657" y="11719"/>
                  <a:pt x="2657" y="11687"/>
                  <a:pt x="2625" y="11687"/>
                </a:cubicBezTo>
                <a:cubicBezTo>
                  <a:pt x="2532" y="11469"/>
                  <a:pt x="2500" y="11250"/>
                  <a:pt x="2407" y="11031"/>
                </a:cubicBezTo>
                <a:cubicBezTo>
                  <a:pt x="2250" y="10562"/>
                  <a:pt x="2094" y="10125"/>
                  <a:pt x="1938" y="9656"/>
                </a:cubicBezTo>
                <a:cubicBezTo>
                  <a:pt x="1813" y="9219"/>
                  <a:pt x="1719" y="8781"/>
                  <a:pt x="1625" y="8344"/>
                </a:cubicBezTo>
                <a:cubicBezTo>
                  <a:pt x="1500" y="7906"/>
                  <a:pt x="1438" y="7437"/>
                  <a:pt x="1375" y="6969"/>
                </a:cubicBezTo>
                <a:cubicBezTo>
                  <a:pt x="1344" y="6656"/>
                  <a:pt x="1313" y="6312"/>
                  <a:pt x="1313" y="5969"/>
                </a:cubicBezTo>
                <a:cubicBezTo>
                  <a:pt x="1282" y="5687"/>
                  <a:pt x="1282" y="5375"/>
                  <a:pt x="1313" y="5094"/>
                </a:cubicBezTo>
                <a:cubicBezTo>
                  <a:pt x="1313" y="5031"/>
                  <a:pt x="1282" y="4969"/>
                  <a:pt x="1375" y="4969"/>
                </a:cubicBezTo>
                <a:cubicBezTo>
                  <a:pt x="1438" y="4969"/>
                  <a:pt x="1500" y="5000"/>
                  <a:pt x="1500" y="5094"/>
                </a:cubicBezTo>
                <a:cubicBezTo>
                  <a:pt x="1500" y="5531"/>
                  <a:pt x="1500" y="6000"/>
                  <a:pt x="1563" y="6437"/>
                </a:cubicBezTo>
                <a:cubicBezTo>
                  <a:pt x="1594" y="6812"/>
                  <a:pt x="1657" y="7156"/>
                  <a:pt x="1719" y="7531"/>
                </a:cubicBezTo>
                <a:cubicBezTo>
                  <a:pt x="1750" y="7812"/>
                  <a:pt x="1844" y="8094"/>
                  <a:pt x="1875" y="8375"/>
                </a:cubicBezTo>
                <a:cubicBezTo>
                  <a:pt x="1938" y="8687"/>
                  <a:pt x="2063" y="8969"/>
                  <a:pt x="2125" y="9281"/>
                </a:cubicBezTo>
                <a:cubicBezTo>
                  <a:pt x="2188" y="9531"/>
                  <a:pt x="2282" y="9750"/>
                  <a:pt x="2344" y="10000"/>
                </a:cubicBezTo>
                <a:cubicBezTo>
                  <a:pt x="2469" y="10375"/>
                  <a:pt x="2594" y="10719"/>
                  <a:pt x="2719" y="11062"/>
                </a:cubicBezTo>
                <a:cubicBezTo>
                  <a:pt x="2750" y="11125"/>
                  <a:pt x="2750" y="11187"/>
                  <a:pt x="2844" y="11250"/>
                </a:cubicBezTo>
                <a:cubicBezTo>
                  <a:pt x="2844" y="11094"/>
                  <a:pt x="2782" y="10969"/>
                  <a:pt x="2750" y="10812"/>
                </a:cubicBezTo>
                <a:cubicBezTo>
                  <a:pt x="2719" y="10656"/>
                  <a:pt x="2657" y="10500"/>
                  <a:pt x="2594" y="10312"/>
                </a:cubicBezTo>
                <a:cubicBezTo>
                  <a:pt x="2500" y="10031"/>
                  <a:pt x="2407" y="9781"/>
                  <a:pt x="2344" y="9469"/>
                </a:cubicBezTo>
                <a:cubicBezTo>
                  <a:pt x="2282" y="9312"/>
                  <a:pt x="2219" y="9125"/>
                  <a:pt x="2188" y="8937"/>
                </a:cubicBezTo>
                <a:cubicBezTo>
                  <a:pt x="2094" y="8625"/>
                  <a:pt x="2032" y="8344"/>
                  <a:pt x="1969" y="8031"/>
                </a:cubicBezTo>
                <a:cubicBezTo>
                  <a:pt x="1875" y="7656"/>
                  <a:pt x="1782" y="7250"/>
                  <a:pt x="1719" y="6844"/>
                </a:cubicBezTo>
                <a:cubicBezTo>
                  <a:pt x="1688" y="6344"/>
                  <a:pt x="1625" y="5812"/>
                  <a:pt x="1625" y="5281"/>
                </a:cubicBezTo>
                <a:cubicBezTo>
                  <a:pt x="1625" y="4906"/>
                  <a:pt x="1625" y="4531"/>
                  <a:pt x="1625" y="4125"/>
                </a:cubicBezTo>
                <a:cubicBezTo>
                  <a:pt x="1532" y="4187"/>
                  <a:pt x="1438" y="4219"/>
                  <a:pt x="1344" y="4219"/>
                </a:cubicBezTo>
                <a:cubicBezTo>
                  <a:pt x="1282" y="4219"/>
                  <a:pt x="1219" y="4281"/>
                  <a:pt x="1219" y="4344"/>
                </a:cubicBezTo>
                <a:cubicBezTo>
                  <a:pt x="1250" y="4562"/>
                  <a:pt x="1188" y="4781"/>
                  <a:pt x="1188" y="5000"/>
                </a:cubicBezTo>
                <a:cubicBezTo>
                  <a:pt x="1188" y="5156"/>
                  <a:pt x="1157" y="5312"/>
                  <a:pt x="1157" y="5469"/>
                </a:cubicBezTo>
                <a:cubicBezTo>
                  <a:pt x="1125" y="5125"/>
                  <a:pt x="1157" y="4812"/>
                  <a:pt x="1094" y="4500"/>
                </a:cubicBezTo>
                <a:cubicBezTo>
                  <a:pt x="1000" y="4594"/>
                  <a:pt x="907" y="4687"/>
                  <a:pt x="782" y="4750"/>
                </a:cubicBezTo>
                <a:cubicBezTo>
                  <a:pt x="750" y="4750"/>
                  <a:pt x="750" y="4750"/>
                  <a:pt x="750" y="4781"/>
                </a:cubicBezTo>
                <a:cubicBezTo>
                  <a:pt x="719" y="4781"/>
                  <a:pt x="688" y="4781"/>
                  <a:pt x="688" y="4812"/>
                </a:cubicBezTo>
                <a:cubicBezTo>
                  <a:pt x="688" y="4812"/>
                  <a:pt x="657" y="4812"/>
                  <a:pt x="657" y="4812"/>
                </a:cubicBezTo>
                <a:cubicBezTo>
                  <a:pt x="532" y="4844"/>
                  <a:pt x="469" y="4875"/>
                  <a:pt x="375" y="4969"/>
                </a:cubicBezTo>
                <a:cubicBezTo>
                  <a:pt x="344" y="5000"/>
                  <a:pt x="344" y="5062"/>
                  <a:pt x="313" y="5094"/>
                </a:cubicBezTo>
                <a:cubicBezTo>
                  <a:pt x="219" y="5281"/>
                  <a:pt x="125" y="5437"/>
                  <a:pt x="157" y="5656"/>
                </a:cubicBezTo>
                <a:cubicBezTo>
                  <a:pt x="219" y="5812"/>
                  <a:pt x="250" y="5969"/>
                  <a:pt x="282" y="6125"/>
                </a:cubicBezTo>
                <a:cubicBezTo>
                  <a:pt x="282" y="6156"/>
                  <a:pt x="313" y="6187"/>
                  <a:pt x="250" y="6187"/>
                </a:cubicBezTo>
                <a:cubicBezTo>
                  <a:pt x="219" y="6219"/>
                  <a:pt x="219" y="6187"/>
                  <a:pt x="188" y="6156"/>
                </a:cubicBezTo>
                <a:cubicBezTo>
                  <a:pt x="157" y="6125"/>
                  <a:pt x="157" y="6062"/>
                  <a:pt x="157" y="5969"/>
                </a:cubicBezTo>
                <a:cubicBezTo>
                  <a:pt x="94" y="6062"/>
                  <a:pt x="94" y="6125"/>
                  <a:pt x="94" y="6187"/>
                </a:cubicBezTo>
                <a:cubicBezTo>
                  <a:pt x="125" y="6281"/>
                  <a:pt x="94" y="6375"/>
                  <a:pt x="157" y="6469"/>
                </a:cubicBezTo>
                <a:cubicBezTo>
                  <a:pt x="157" y="6562"/>
                  <a:pt x="157" y="6656"/>
                  <a:pt x="157" y="6750"/>
                </a:cubicBezTo>
                <a:cubicBezTo>
                  <a:pt x="157" y="6781"/>
                  <a:pt x="157" y="6781"/>
                  <a:pt x="157" y="6781"/>
                </a:cubicBezTo>
                <a:cubicBezTo>
                  <a:pt x="157" y="6844"/>
                  <a:pt x="157" y="6875"/>
                  <a:pt x="157" y="6937"/>
                </a:cubicBezTo>
                <a:cubicBezTo>
                  <a:pt x="157" y="6937"/>
                  <a:pt x="188" y="6969"/>
                  <a:pt x="188" y="6969"/>
                </a:cubicBezTo>
                <a:cubicBezTo>
                  <a:pt x="188" y="7031"/>
                  <a:pt x="188" y="7094"/>
                  <a:pt x="219" y="7125"/>
                </a:cubicBezTo>
                <a:cubicBezTo>
                  <a:pt x="188" y="7156"/>
                  <a:pt x="188" y="7156"/>
                  <a:pt x="188" y="7156"/>
                </a:cubicBezTo>
                <a:cubicBezTo>
                  <a:pt x="188" y="7187"/>
                  <a:pt x="188" y="7187"/>
                  <a:pt x="188" y="7219"/>
                </a:cubicBezTo>
                <a:cubicBezTo>
                  <a:pt x="188" y="7219"/>
                  <a:pt x="188" y="7250"/>
                  <a:pt x="219" y="7281"/>
                </a:cubicBezTo>
                <a:cubicBezTo>
                  <a:pt x="219" y="7312"/>
                  <a:pt x="219" y="7344"/>
                  <a:pt x="219" y="7375"/>
                </a:cubicBezTo>
                <a:cubicBezTo>
                  <a:pt x="219" y="7656"/>
                  <a:pt x="282" y="7969"/>
                  <a:pt x="313" y="8281"/>
                </a:cubicBezTo>
                <a:cubicBezTo>
                  <a:pt x="313" y="8469"/>
                  <a:pt x="344" y="8687"/>
                  <a:pt x="313" y="8875"/>
                </a:cubicBezTo>
                <a:cubicBezTo>
                  <a:pt x="313" y="8937"/>
                  <a:pt x="313" y="9000"/>
                  <a:pt x="344" y="9031"/>
                </a:cubicBezTo>
                <a:cubicBezTo>
                  <a:pt x="375" y="9094"/>
                  <a:pt x="375" y="9187"/>
                  <a:pt x="344" y="9250"/>
                </a:cubicBezTo>
                <a:cubicBezTo>
                  <a:pt x="313" y="9250"/>
                  <a:pt x="282" y="9250"/>
                  <a:pt x="282" y="9219"/>
                </a:cubicBezTo>
                <a:cubicBezTo>
                  <a:pt x="282" y="9094"/>
                  <a:pt x="250" y="9000"/>
                  <a:pt x="219" y="8875"/>
                </a:cubicBezTo>
                <a:cubicBezTo>
                  <a:pt x="219" y="8656"/>
                  <a:pt x="157" y="8406"/>
                  <a:pt x="125" y="8156"/>
                </a:cubicBezTo>
                <a:cubicBezTo>
                  <a:pt x="125" y="8094"/>
                  <a:pt x="94" y="8031"/>
                  <a:pt x="125" y="7969"/>
                </a:cubicBezTo>
                <a:cubicBezTo>
                  <a:pt x="188" y="7969"/>
                  <a:pt x="157" y="8031"/>
                  <a:pt x="188" y="8031"/>
                </a:cubicBezTo>
                <a:cubicBezTo>
                  <a:pt x="219" y="8031"/>
                  <a:pt x="219" y="8000"/>
                  <a:pt x="219" y="7969"/>
                </a:cubicBezTo>
                <a:cubicBezTo>
                  <a:pt x="219" y="7781"/>
                  <a:pt x="157" y="7594"/>
                  <a:pt x="157" y="7406"/>
                </a:cubicBezTo>
                <a:cubicBezTo>
                  <a:pt x="157" y="7344"/>
                  <a:pt x="157" y="7281"/>
                  <a:pt x="125" y="7187"/>
                </a:cubicBezTo>
                <a:cubicBezTo>
                  <a:pt x="125" y="7281"/>
                  <a:pt x="32" y="7281"/>
                  <a:pt x="32" y="7375"/>
                </a:cubicBezTo>
                <a:cubicBezTo>
                  <a:pt x="32" y="7750"/>
                  <a:pt x="0" y="8125"/>
                  <a:pt x="94" y="8531"/>
                </a:cubicBezTo>
                <a:cubicBezTo>
                  <a:pt x="157" y="8875"/>
                  <a:pt x="188" y="9219"/>
                  <a:pt x="219" y="9562"/>
                </a:cubicBezTo>
                <a:cubicBezTo>
                  <a:pt x="282" y="9531"/>
                  <a:pt x="282" y="9469"/>
                  <a:pt x="282" y="9406"/>
                </a:cubicBezTo>
                <a:cubicBezTo>
                  <a:pt x="282" y="9406"/>
                  <a:pt x="282" y="9375"/>
                  <a:pt x="282" y="9375"/>
                </a:cubicBezTo>
                <a:cubicBezTo>
                  <a:pt x="282" y="9344"/>
                  <a:pt x="313" y="9312"/>
                  <a:pt x="344" y="9312"/>
                </a:cubicBezTo>
                <a:cubicBezTo>
                  <a:pt x="344" y="9344"/>
                  <a:pt x="375" y="9375"/>
                  <a:pt x="375" y="9406"/>
                </a:cubicBezTo>
                <a:cubicBezTo>
                  <a:pt x="407" y="9437"/>
                  <a:pt x="407" y="9437"/>
                  <a:pt x="407" y="9469"/>
                </a:cubicBezTo>
                <a:cubicBezTo>
                  <a:pt x="407" y="9500"/>
                  <a:pt x="407" y="9500"/>
                  <a:pt x="407" y="9531"/>
                </a:cubicBezTo>
                <a:cubicBezTo>
                  <a:pt x="407" y="9562"/>
                  <a:pt x="407" y="9594"/>
                  <a:pt x="375" y="9656"/>
                </a:cubicBezTo>
                <a:cubicBezTo>
                  <a:pt x="375" y="9656"/>
                  <a:pt x="344" y="9656"/>
                  <a:pt x="344" y="9656"/>
                </a:cubicBezTo>
                <a:cubicBezTo>
                  <a:pt x="344" y="9687"/>
                  <a:pt x="313" y="9719"/>
                  <a:pt x="313" y="9750"/>
                </a:cubicBezTo>
                <a:cubicBezTo>
                  <a:pt x="313" y="9750"/>
                  <a:pt x="313" y="9781"/>
                  <a:pt x="344" y="9781"/>
                </a:cubicBezTo>
                <a:cubicBezTo>
                  <a:pt x="407" y="9812"/>
                  <a:pt x="375" y="9719"/>
                  <a:pt x="407" y="9719"/>
                </a:cubicBezTo>
                <a:cubicBezTo>
                  <a:pt x="438" y="9750"/>
                  <a:pt x="469" y="9812"/>
                  <a:pt x="438" y="9844"/>
                </a:cubicBezTo>
                <a:cubicBezTo>
                  <a:pt x="407" y="9937"/>
                  <a:pt x="469" y="10000"/>
                  <a:pt x="500" y="10062"/>
                </a:cubicBezTo>
                <a:cubicBezTo>
                  <a:pt x="500" y="10094"/>
                  <a:pt x="500" y="10125"/>
                  <a:pt x="500" y="10125"/>
                </a:cubicBezTo>
                <a:cubicBezTo>
                  <a:pt x="469" y="10281"/>
                  <a:pt x="469" y="10437"/>
                  <a:pt x="532" y="10594"/>
                </a:cubicBezTo>
                <a:cubicBezTo>
                  <a:pt x="594" y="10687"/>
                  <a:pt x="563" y="10812"/>
                  <a:pt x="532" y="10937"/>
                </a:cubicBezTo>
                <a:cubicBezTo>
                  <a:pt x="500" y="10656"/>
                  <a:pt x="407" y="10375"/>
                  <a:pt x="407" y="10062"/>
                </a:cubicBezTo>
                <a:cubicBezTo>
                  <a:pt x="313" y="10250"/>
                  <a:pt x="313" y="10312"/>
                  <a:pt x="344" y="10406"/>
                </a:cubicBezTo>
                <a:cubicBezTo>
                  <a:pt x="375" y="10531"/>
                  <a:pt x="407" y="10687"/>
                  <a:pt x="438" y="10844"/>
                </a:cubicBezTo>
                <a:cubicBezTo>
                  <a:pt x="469" y="11031"/>
                  <a:pt x="500" y="11250"/>
                  <a:pt x="594" y="11469"/>
                </a:cubicBezTo>
                <a:cubicBezTo>
                  <a:pt x="657" y="11562"/>
                  <a:pt x="719" y="11656"/>
                  <a:pt x="657" y="11781"/>
                </a:cubicBezTo>
                <a:cubicBezTo>
                  <a:pt x="657" y="11812"/>
                  <a:pt x="688" y="11937"/>
                  <a:pt x="719" y="12000"/>
                </a:cubicBezTo>
                <a:cubicBezTo>
                  <a:pt x="782" y="12031"/>
                  <a:pt x="813" y="12094"/>
                  <a:pt x="844" y="12156"/>
                </a:cubicBezTo>
                <a:cubicBezTo>
                  <a:pt x="875" y="12125"/>
                  <a:pt x="907" y="12094"/>
                  <a:pt x="875" y="12062"/>
                </a:cubicBezTo>
                <a:cubicBezTo>
                  <a:pt x="844" y="11969"/>
                  <a:pt x="938" y="11969"/>
                  <a:pt x="938" y="11906"/>
                </a:cubicBezTo>
                <a:cubicBezTo>
                  <a:pt x="1000" y="11937"/>
                  <a:pt x="1000" y="11969"/>
                  <a:pt x="1000" y="12000"/>
                </a:cubicBezTo>
                <a:cubicBezTo>
                  <a:pt x="1032" y="12156"/>
                  <a:pt x="1125" y="12281"/>
                  <a:pt x="1157" y="12437"/>
                </a:cubicBezTo>
                <a:cubicBezTo>
                  <a:pt x="1188" y="12500"/>
                  <a:pt x="1188" y="12562"/>
                  <a:pt x="1250" y="12594"/>
                </a:cubicBezTo>
                <a:cubicBezTo>
                  <a:pt x="1219" y="12469"/>
                  <a:pt x="1188" y="12375"/>
                  <a:pt x="1157" y="12250"/>
                </a:cubicBezTo>
                <a:cubicBezTo>
                  <a:pt x="1125" y="12156"/>
                  <a:pt x="1125" y="12031"/>
                  <a:pt x="1063" y="11937"/>
                </a:cubicBezTo>
                <a:cubicBezTo>
                  <a:pt x="1032" y="11812"/>
                  <a:pt x="1000" y="11719"/>
                  <a:pt x="938" y="11594"/>
                </a:cubicBezTo>
                <a:cubicBezTo>
                  <a:pt x="907" y="11500"/>
                  <a:pt x="875" y="11375"/>
                  <a:pt x="875" y="11281"/>
                </a:cubicBezTo>
                <a:cubicBezTo>
                  <a:pt x="1000" y="11437"/>
                  <a:pt x="1032" y="11625"/>
                  <a:pt x="1094" y="11812"/>
                </a:cubicBezTo>
                <a:cubicBezTo>
                  <a:pt x="1219" y="12187"/>
                  <a:pt x="1344" y="12594"/>
                  <a:pt x="1500" y="12937"/>
                </a:cubicBezTo>
                <a:cubicBezTo>
                  <a:pt x="1500" y="13000"/>
                  <a:pt x="1532" y="13000"/>
                  <a:pt x="1563" y="13000"/>
                </a:cubicBezTo>
                <a:cubicBezTo>
                  <a:pt x="1594" y="12969"/>
                  <a:pt x="1594" y="12969"/>
                  <a:pt x="1594" y="12906"/>
                </a:cubicBezTo>
                <a:cubicBezTo>
                  <a:pt x="1532" y="12750"/>
                  <a:pt x="1500" y="12594"/>
                  <a:pt x="1438" y="12437"/>
                </a:cubicBezTo>
                <a:cubicBezTo>
                  <a:pt x="1407" y="12406"/>
                  <a:pt x="1438" y="12344"/>
                  <a:pt x="1407" y="12281"/>
                </a:cubicBezTo>
                <a:cubicBezTo>
                  <a:pt x="1438" y="12281"/>
                  <a:pt x="1438" y="12281"/>
                  <a:pt x="1438" y="12281"/>
                </a:cubicBezTo>
                <a:cubicBezTo>
                  <a:pt x="1532" y="12469"/>
                  <a:pt x="1594" y="12656"/>
                  <a:pt x="1688" y="12844"/>
                </a:cubicBezTo>
                <a:cubicBezTo>
                  <a:pt x="1625" y="12719"/>
                  <a:pt x="1625" y="12562"/>
                  <a:pt x="1563" y="12437"/>
                </a:cubicBezTo>
                <a:cubicBezTo>
                  <a:pt x="1438" y="12062"/>
                  <a:pt x="1313" y="11656"/>
                  <a:pt x="1188" y="11281"/>
                </a:cubicBezTo>
                <a:cubicBezTo>
                  <a:pt x="1188" y="11250"/>
                  <a:pt x="1188" y="11250"/>
                  <a:pt x="1188" y="11219"/>
                </a:cubicBezTo>
                <a:cubicBezTo>
                  <a:pt x="1157" y="11219"/>
                  <a:pt x="1157" y="11187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56"/>
                  <a:pt x="1157" y="11156"/>
                  <a:pt x="1157" y="11156"/>
                </a:cubicBezTo>
                <a:cubicBezTo>
                  <a:pt x="1157" y="11125"/>
                  <a:pt x="1188" y="11125"/>
                  <a:pt x="1188" y="11094"/>
                </a:cubicBezTo>
                <a:cubicBezTo>
                  <a:pt x="1188" y="11125"/>
                  <a:pt x="1188" y="11125"/>
                  <a:pt x="1188" y="11125"/>
                </a:cubicBezTo>
                <a:cubicBezTo>
                  <a:pt x="1188" y="11125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56"/>
                  <a:pt x="1188" y="11156"/>
                </a:cubicBezTo>
                <a:cubicBezTo>
                  <a:pt x="1188" y="11156"/>
                  <a:pt x="1188" y="11187"/>
                  <a:pt x="1188" y="11187"/>
                </a:cubicBezTo>
                <a:cubicBezTo>
                  <a:pt x="1188" y="11187"/>
                  <a:pt x="1188" y="11187"/>
                  <a:pt x="1188" y="11187"/>
                </a:cubicBezTo>
                <a:cubicBezTo>
                  <a:pt x="1188" y="11187"/>
                  <a:pt x="1219" y="11187"/>
                  <a:pt x="1219" y="11187"/>
                </a:cubicBezTo>
                <a:cubicBezTo>
                  <a:pt x="1282" y="11406"/>
                  <a:pt x="1375" y="11625"/>
                  <a:pt x="1438" y="11812"/>
                </a:cubicBezTo>
                <a:cubicBezTo>
                  <a:pt x="1438" y="11844"/>
                  <a:pt x="1438" y="11875"/>
                  <a:pt x="1438" y="11875"/>
                </a:cubicBezTo>
                <a:cubicBezTo>
                  <a:pt x="1532" y="12125"/>
                  <a:pt x="1594" y="12406"/>
                  <a:pt x="1719" y="12625"/>
                </a:cubicBezTo>
                <a:cubicBezTo>
                  <a:pt x="1750" y="12750"/>
                  <a:pt x="1782" y="12875"/>
                  <a:pt x="1844" y="12969"/>
                </a:cubicBezTo>
                <a:cubicBezTo>
                  <a:pt x="1844" y="13031"/>
                  <a:pt x="1875" y="13062"/>
                  <a:pt x="1938" y="13094"/>
                </a:cubicBezTo>
                <a:cubicBezTo>
                  <a:pt x="2219" y="13906"/>
                  <a:pt x="2563" y="14750"/>
                  <a:pt x="2594" y="14844"/>
                </a:cubicBezTo>
                <a:cubicBezTo>
                  <a:pt x="2719" y="15125"/>
                  <a:pt x="2875" y="15406"/>
                  <a:pt x="3000" y="15718"/>
                </a:cubicBezTo>
                <a:cubicBezTo>
                  <a:pt x="3032" y="15718"/>
                  <a:pt x="3032" y="15718"/>
                  <a:pt x="3032" y="15750"/>
                </a:cubicBezTo>
                <a:cubicBezTo>
                  <a:pt x="3032" y="15750"/>
                  <a:pt x="3032" y="15750"/>
                  <a:pt x="3063" y="15750"/>
                </a:cubicBezTo>
                <a:cubicBezTo>
                  <a:pt x="3063" y="15750"/>
                  <a:pt x="3063" y="15750"/>
                  <a:pt x="3063" y="15750"/>
                </a:cubicBezTo>
                <a:cubicBezTo>
                  <a:pt x="3094" y="15812"/>
                  <a:pt x="3094" y="15843"/>
                  <a:pt x="3125" y="15906"/>
                </a:cubicBezTo>
                <a:cubicBezTo>
                  <a:pt x="3125" y="15906"/>
                  <a:pt x="3125" y="15937"/>
                  <a:pt x="3157" y="15937"/>
                </a:cubicBezTo>
                <a:cubicBezTo>
                  <a:pt x="3219" y="16125"/>
                  <a:pt x="3313" y="16281"/>
                  <a:pt x="3375" y="16468"/>
                </a:cubicBezTo>
                <a:cubicBezTo>
                  <a:pt x="3344" y="16468"/>
                  <a:pt x="3344" y="16437"/>
                  <a:pt x="3313" y="16437"/>
                </a:cubicBezTo>
                <a:cubicBezTo>
                  <a:pt x="3313" y="16406"/>
                  <a:pt x="3282" y="16406"/>
                  <a:pt x="3282" y="16406"/>
                </a:cubicBezTo>
                <a:cubicBezTo>
                  <a:pt x="3282" y="16375"/>
                  <a:pt x="3282" y="16375"/>
                  <a:pt x="3282" y="16343"/>
                </a:cubicBezTo>
                <a:cubicBezTo>
                  <a:pt x="3125" y="16062"/>
                  <a:pt x="2969" y="15750"/>
                  <a:pt x="2813" y="15469"/>
                </a:cubicBezTo>
                <a:cubicBezTo>
                  <a:pt x="2750" y="15375"/>
                  <a:pt x="2750" y="15250"/>
                  <a:pt x="2657" y="15156"/>
                </a:cubicBezTo>
                <a:cubicBezTo>
                  <a:pt x="2625" y="15156"/>
                  <a:pt x="2625" y="15156"/>
                  <a:pt x="2625" y="15156"/>
                </a:cubicBezTo>
                <a:cubicBezTo>
                  <a:pt x="2750" y="15406"/>
                  <a:pt x="2844" y="15656"/>
                  <a:pt x="2969" y="15937"/>
                </a:cubicBezTo>
                <a:cubicBezTo>
                  <a:pt x="2875" y="15906"/>
                  <a:pt x="2907" y="15843"/>
                  <a:pt x="2875" y="15812"/>
                </a:cubicBezTo>
                <a:cubicBezTo>
                  <a:pt x="2688" y="15594"/>
                  <a:pt x="2625" y="15344"/>
                  <a:pt x="2500" y="15094"/>
                </a:cubicBezTo>
                <a:cubicBezTo>
                  <a:pt x="2438" y="14969"/>
                  <a:pt x="2407" y="14812"/>
                  <a:pt x="2313" y="14719"/>
                </a:cubicBezTo>
                <a:cubicBezTo>
                  <a:pt x="2282" y="14687"/>
                  <a:pt x="2282" y="14656"/>
                  <a:pt x="2250" y="14656"/>
                </a:cubicBezTo>
                <a:cubicBezTo>
                  <a:pt x="2219" y="14687"/>
                  <a:pt x="2250" y="14719"/>
                  <a:pt x="2219" y="14750"/>
                </a:cubicBezTo>
                <a:cubicBezTo>
                  <a:pt x="2219" y="14844"/>
                  <a:pt x="2282" y="14937"/>
                  <a:pt x="2313" y="15031"/>
                </a:cubicBezTo>
                <a:cubicBezTo>
                  <a:pt x="2344" y="15312"/>
                  <a:pt x="2375" y="15562"/>
                  <a:pt x="2469" y="15812"/>
                </a:cubicBezTo>
                <a:cubicBezTo>
                  <a:pt x="2563" y="16062"/>
                  <a:pt x="2625" y="16312"/>
                  <a:pt x="2719" y="16562"/>
                </a:cubicBezTo>
                <a:cubicBezTo>
                  <a:pt x="2750" y="16687"/>
                  <a:pt x="2782" y="16812"/>
                  <a:pt x="2875" y="16937"/>
                </a:cubicBezTo>
                <a:cubicBezTo>
                  <a:pt x="3000" y="17281"/>
                  <a:pt x="3157" y="17593"/>
                  <a:pt x="3313" y="17906"/>
                </a:cubicBezTo>
                <a:cubicBezTo>
                  <a:pt x="3344" y="17968"/>
                  <a:pt x="3375" y="18031"/>
                  <a:pt x="3407" y="18062"/>
                </a:cubicBezTo>
                <a:cubicBezTo>
                  <a:pt x="3594" y="18468"/>
                  <a:pt x="3844" y="18843"/>
                  <a:pt x="4094" y="19218"/>
                </a:cubicBezTo>
                <a:cubicBezTo>
                  <a:pt x="4094" y="19218"/>
                  <a:pt x="4125" y="19250"/>
                  <a:pt x="4125" y="19281"/>
                </a:cubicBezTo>
                <a:cubicBezTo>
                  <a:pt x="4125" y="19281"/>
                  <a:pt x="4125" y="19281"/>
                  <a:pt x="4125" y="19281"/>
                </a:cubicBezTo>
                <a:cubicBezTo>
                  <a:pt x="4125" y="19312"/>
                  <a:pt x="4157" y="19343"/>
                  <a:pt x="4157" y="19343"/>
                </a:cubicBezTo>
                <a:cubicBezTo>
                  <a:pt x="4188" y="19375"/>
                  <a:pt x="4188" y="19375"/>
                  <a:pt x="4188" y="19406"/>
                </a:cubicBezTo>
                <a:cubicBezTo>
                  <a:pt x="4250" y="19531"/>
                  <a:pt x="4282" y="19687"/>
                  <a:pt x="4407" y="19750"/>
                </a:cubicBezTo>
                <a:cubicBezTo>
                  <a:pt x="4438" y="19781"/>
                  <a:pt x="4438" y="19781"/>
                  <a:pt x="4438" y="19812"/>
                </a:cubicBezTo>
                <a:cubicBezTo>
                  <a:pt x="4438" y="19906"/>
                  <a:pt x="4469" y="19968"/>
                  <a:pt x="4563" y="20000"/>
                </a:cubicBezTo>
                <a:cubicBezTo>
                  <a:pt x="4625" y="20031"/>
                  <a:pt x="4657" y="20062"/>
                  <a:pt x="4657" y="20156"/>
                </a:cubicBezTo>
                <a:cubicBezTo>
                  <a:pt x="4657" y="20187"/>
                  <a:pt x="4657" y="20250"/>
                  <a:pt x="4719" y="20281"/>
                </a:cubicBezTo>
                <a:cubicBezTo>
                  <a:pt x="4750" y="20281"/>
                  <a:pt x="4750" y="20281"/>
                  <a:pt x="4750" y="20281"/>
                </a:cubicBezTo>
                <a:cubicBezTo>
                  <a:pt x="4782" y="20281"/>
                  <a:pt x="4782" y="20312"/>
                  <a:pt x="4782" y="20312"/>
                </a:cubicBezTo>
                <a:cubicBezTo>
                  <a:pt x="4813" y="20375"/>
                  <a:pt x="4813" y="20437"/>
                  <a:pt x="4875" y="20468"/>
                </a:cubicBezTo>
                <a:cubicBezTo>
                  <a:pt x="4938" y="20531"/>
                  <a:pt x="5000" y="20593"/>
                  <a:pt x="5032" y="20687"/>
                </a:cubicBezTo>
                <a:cubicBezTo>
                  <a:pt x="5063" y="20781"/>
                  <a:pt x="5094" y="20843"/>
                  <a:pt x="5157" y="20875"/>
                </a:cubicBezTo>
                <a:cubicBezTo>
                  <a:pt x="5282" y="20968"/>
                  <a:pt x="5313" y="21093"/>
                  <a:pt x="5407" y="21187"/>
                </a:cubicBezTo>
                <a:cubicBezTo>
                  <a:pt x="5407" y="21343"/>
                  <a:pt x="5532" y="21375"/>
                  <a:pt x="5657" y="21468"/>
                </a:cubicBezTo>
                <a:cubicBezTo>
                  <a:pt x="5657" y="21468"/>
                  <a:pt x="5688" y="21468"/>
                  <a:pt x="5688" y="21468"/>
                </a:cubicBezTo>
                <a:cubicBezTo>
                  <a:pt x="5719" y="21468"/>
                  <a:pt x="5719" y="21437"/>
                  <a:pt x="5719" y="21406"/>
                </a:cubicBezTo>
                <a:cubicBezTo>
                  <a:pt x="5719" y="21406"/>
                  <a:pt x="5688" y="21375"/>
                  <a:pt x="5688" y="21375"/>
                </a:cubicBezTo>
                <a:cubicBezTo>
                  <a:pt x="5688" y="21281"/>
                  <a:pt x="5625" y="21187"/>
                  <a:pt x="5563" y="21125"/>
                </a:cubicBezTo>
                <a:cubicBezTo>
                  <a:pt x="5563" y="21125"/>
                  <a:pt x="5532" y="21093"/>
                  <a:pt x="5532" y="21093"/>
                </a:cubicBezTo>
                <a:cubicBezTo>
                  <a:pt x="5532" y="21093"/>
                  <a:pt x="5500" y="21062"/>
                  <a:pt x="5500" y="21062"/>
                </a:cubicBezTo>
                <a:cubicBezTo>
                  <a:pt x="5500" y="21062"/>
                  <a:pt x="5500" y="21031"/>
                  <a:pt x="5500" y="21031"/>
                </a:cubicBezTo>
                <a:cubicBezTo>
                  <a:pt x="5500" y="21031"/>
                  <a:pt x="5500" y="21031"/>
                  <a:pt x="5500" y="21031"/>
                </a:cubicBezTo>
                <a:cubicBezTo>
                  <a:pt x="5500" y="21031"/>
                  <a:pt x="5500" y="21000"/>
                  <a:pt x="5500" y="21000"/>
                </a:cubicBezTo>
                <a:cubicBezTo>
                  <a:pt x="5500" y="21000"/>
                  <a:pt x="5500" y="21000"/>
                  <a:pt x="5500" y="20968"/>
                </a:cubicBezTo>
                <a:cubicBezTo>
                  <a:pt x="5500" y="20968"/>
                  <a:pt x="5469" y="20968"/>
                  <a:pt x="5438" y="20968"/>
                </a:cubicBezTo>
                <a:cubicBezTo>
                  <a:pt x="5438" y="20937"/>
                  <a:pt x="5438" y="20906"/>
                  <a:pt x="5407" y="20906"/>
                </a:cubicBezTo>
                <a:cubicBezTo>
                  <a:pt x="5469" y="20875"/>
                  <a:pt x="5500" y="20875"/>
                  <a:pt x="5532" y="20906"/>
                </a:cubicBezTo>
                <a:cubicBezTo>
                  <a:pt x="5563" y="20906"/>
                  <a:pt x="5563" y="20906"/>
                  <a:pt x="5563" y="20906"/>
                </a:cubicBezTo>
                <a:cubicBezTo>
                  <a:pt x="5594" y="20906"/>
                  <a:pt x="5594" y="20937"/>
                  <a:pt x="5594" y="20937"/>
                </a:cubicBezTo>
                <a:cubicBezTo>
                  <a:pt x="5625" y="20968"/>
                  <a:pt x="5688" y="20968"/>
                  <a:pt x="5719" y="20968"/>
                </a:cubicBezTo>
                <a:cubicBezTo>
                  <a:pt x="5782" y="20968"/>
                  <a:pt x="5813" y="20937"/>
                  <a:pt x="5782" y="20875"/>
                </a:cubicBezTo>
                <a:cubicBezTo>
                  <a:pt x="5782" y="20843"/>
                  <a:pt x="5750" y="20812"/>
                  <a:pt x="5750" y="20812"/>
                </a:cubicBezTo>
                <a:cubicBezTo>
                  <a:pt x="5719" y="20781"/>
                  <a:pt x="5719" y="20750"/>
                  <a:pt x="5719" y="20750"/>
                </a:cubicBezTo>
                <a:cubicBezTo>
                  <a:pt x="5657" y="20687"/>
                  <a:pt x="5625" y="20625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93"/>
                  <a:pt x="5594" y="20593"/>
                  <a:pt x="5594" y="20593"/>
                </a:cubicBezTo>
                <a:cubicBezTo>
                  <a:pt x="5594" y="20562"/>
                  <a:pt x="5594" y="20562"/>
                  <a:pt x="5594" y="20562"/>
                </a:cubicBezTo>
                <a:cubicBezTo>
                  <a:pt x="5594" y="20562"/>
                  <a:pt x="5563" y="20562"/>
                  <a:pt x="5563" y="20531"/>
                </a:cubicBezTo>
                <a:cubicBezTo>
                  <a:pt x="5563" y="20531"/>
                  <a:pt x="5563" y="20531"/>
                  <a:pt x="5563" y="20531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500"/>
                  <a:pt x="5563" y="20500"/>
                </a:cubicBezTo>
                <a:cubicBezTo>
                  <a:pt x="5563" y="20500"/>
                  <a:pt x="5563" y="20468"/>
                  <a:pt x="5563" y="20468"/>
                </a:cubicBezTo>
                <a:cubicBezTo>
                  <a:pt x="5563" y="20437"/>
                  <a:pt x="5563" y="20437"/>
                  <a:pt x="5500" y="20437"/>
                </a:cubicBezTo>
                <a:cubicBezTo>
                  <a:pt x="5500" y="20406"/>
                  <a:pt x="5500" y="20406"/>
                  <a:pt x="5500" y="20406"/>
                </a:cubicBezTo>
                <a:cubicBezTo>
                  <a:pt x="5469" y="20312"/>
                  <a:pt x="5563" y="20312"/>
                  <a:pt x="5594" y="20281"/>
                </a:cubicBezTo>
                <a:cubicBezTo>
                  <a:pt x="5594" y="20250"/>
                  <a:pt x="5625" y="20250"/>
                  <a:pt x="5625" y="20218"/>
                </a:cubicBezTo>
                <a:cubicBezTo>
                  <a:pt x="5688" y="20281"/>
                  <a:pt x="5719" y="20343"/>
                  <a:pt x="5750" y="20406"/>
                </a:cubicBezTo>
                <a:cubicBezTo>
                  <a:pt x="5782" y="20437"/>
                  <a:pt x="5813" y="20437"/>
                  <a:pt x="5844" y="20437"/>
                </a:cubicBezTo>
                <a:cubicBezTo>
                  <a:pt x="5907" y="20406"/>
                  <a:pt x="5907" y="20375"/>
                  <a:pt x="5907" y="20343"/>
                </a:cubicBezTo>
                <a:cubicBezTo>
                  <a:pt x="5907" y="20312"/>
                  <a:pt x="5938" y="20312"/>
                  <a:pt x="5938" y="20281"/>
                </a:cubicBezTo>
                <a:cubicBezTo>
                  <a:pt x="5938" y="20218"/>
                  <a:pt x="5969" y="20218"/>
                  <a:pt x="6000" y="20250"/>
                </a:cubicBezTo>
                <a:cubicBezTo>
                  <a:pt x="6125" y="20312"/>
                  <a:pt x="6125" y="20312"/>
                  <a:pt x="6125" y="20187"/>
                </a:cubicBezTo>
                <a:cubicBezTo>
                  <a:pt x="6125" y="20156"/>
                  <a:pt x="6125" y="20156"/>
                  <a:pt x="6125" y="20156"/>
                </a:cubicBezTo>
                <a:cubicBezTo>
                  <a:pt x="6219" y="20218"/>
                  <a:pt x="6250" y="20312"/>
                  <a:pt x="6313" y="20375"/>
                </a:cubicBezTo>
                <a:cubicBezTo>
                  <a:pt x="6313" y="20375"/>
                  <a:pt x="6313" y="20406"/>
                  <a:pt x="6313" y="20406"/>
                </a:cubicBezTo>
                <a:cubicBezTo>
                  <a:pt x="6313" y="20406"/>
                  <a:pt x="6313" y="20406"/>
                  <a:pt x="6313" y="20406"/>
                </a:cubicBezTo>
                <a:cubicBezTo>
                  <a:pt x="6344" y="20406"/>
                  <a:pt x="6344" y="20406"/>
                  <a:pt x="6344" y="20406"/>
                </a:cubicBezTo>
                <a:cubicBezTo>
                  <a:pt x="6344" y="20406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375" y="20437"/>
                  <a:pt x="6375" y="20437"/>
                  <a:pt x="6375" y="20437"/>
                </a:cubicBezTo>
                <a:cubicBezTo>
                  <a:pt x="6438" y="20593"/>
                  <a:pt x="6532" y="20656"/>
                  <a:pt x="6594" y="20781"/>
                </a:cubicBezTo>
                <a:cubicBezTo>
                  <a:pt x="6625" y="20781"/>
                  <a:pt x="6625" y="20781"/>
                  <a:pt x="6625" y="20812"/>
                </a:cubicBezTo>
                <a:cubicBezTo>
                  <a:pt x="6688" y="20843"/>
                  <a:pt x="6719" y="20843"/>
                  <a:pt x="6782" y="20781"/>
                </a:cubicBezTo>
                <a:cubicBezTo>
                  <a:pt x="6782" y="20812"/>
                  <a:pt x="6813" y="20843"/>
                  <a:pt x="6813" y="20843"/>
                </a:cubicBezTo>
                <a:cubicBezTo>
                  <a:pt x="6844" y="20843"/>
                  <a:pt x="6844" y="20875"/>
                  <a:pt x="6875" y="20875"/>
                </a:cubicBezTo>
                <a:cubicBezTo>
                  <a:pt x="6907" y="20968"/>
                  <a:pt x="6969" y="21062"/>
                  <a:pt x="7032" y="21093"/>
                </a:cubicBezTo>
                <a:cubicBezTo>
                  <a:pt x="7063" y="21125"/>
                  <a:pt x="7063" y="21125"/>
                  <a:pt x="7094" y="21156"/>
                </a:cubicBezTo>
                <a:cubicBezTo>
                  <a:pt x="6969" y="20937"/>
                  <a:pt x="6875" y="20718"/>
                  <a:pt x="6750" y="20500"/>
                </a:cubicBezTo>
                <a:cubicBezTo>
                  <a:pt x="6594" y="20218"/>
                  <a:pt x="6469" y="19937"/>
                  <a:pt x="6313" y="19687"/>
                </a:cubicBezTo>
                <a:close/>
                <a:moveTo>
                  <a:pt x="4000" y="15625"/>
                </a:moveTo>
                <a:cubicBezTo>
                  <a:pt x="4000" y="15625"/>
                  <a:pt x="4000" y="15594"/>
                  <a:pt x="4000" y="15594"/>
                </a:cubicBezTo>
                <a:cubicBezTo>
                  <a:pt x="4000" y="15594"/>
                  <a:pt x="4000" y="15594"/>
                  <a:pt x="3969" y="15594"/>
                </a:cubicBezTo>
                <a:cubicBezTo>
                  <a:pt x="3907" y="15406"/>
                  <a:pt x="3813" y="15219"/>
                  <a:pt x="3719" y="15062"/>
                </a:cubicBezTo>
                <a:cubicBezTo>
                  <a:pt x="3719" y="15000"/>
                  <a:pt x="3719" y="14969"/>
                  <a:pt x="3688" y="14937"/>
                </a:cubicBezTo>
                <a:cubicBezTo>
                  <a:pt x="3688" y="14937"/>
                  <a:pt x="3688" y="14937"/>
                  <a:pt x="3688" y="14906"/>
                </a:cubicBezTo>
                <a:cubicBezTo>
                  <a:pt x="3594" y="14750"/>
                  <a:pt x="2438" y="11781"/>
                  <a:pt x="2344" y="11594"/>
                </a:cubicBezTo>
                <a:cubicBezTo>
                  <a:pt x="2344" y="11562"/>
                  <a:pt x="2344" y="11531"/>
                  <a:pt x="2344" y="11500"/>
                </a:cubicBezTo>
                <a:cubicBezTo>
                  <a:pt x="2344" y="11531"/>
                  <a:pt x="2344" y="11562"/>
                  <a:pt x="2375" y="11594"/>
                </a:cubicBezTo>
                <a:cubicBezTo>
                  <a:pt x="2438" y="11812"/>
                  <a:pt x="2532" y="12000"/>
                  <a:pt x="2594" y="12219"/>
                </a:cubicBezTo>
                <a:cubicBezTo>
                  <a:pt x="2625" y="12281"/>
                  <a:pt x="2657" y="12312"/>
                  <a:pt x="2719" y="12281"/>
                </a:cubicBezTo>
                <a:cubicBezTo>
                  <a:pt x="2750" y="12281"/>
                  <a:pt x="2750" y="12281"/>
                  <a:pt x="2750" y="12250"/>
                </a:cubicBezTo>
                <a:cubicBezTo>
                  <a:pt x="3063" y="13094"/>
                  <a:pt x="3625" y="14594"/>
                  <a:pt x="3657" y="14625"/>
                </a:cubicBezTo>
                <a:cubicBezTo>
                  <a:pt x="3688" y="14656"/>
                  <a:pt x="3688" y="14719"/>
                  <a:pt x="3719" y="14750"/>
                </a:cubicBezTo>
                <a:cubicBezTo>
                  <a:pt x="3750" y="14875"/>
                  <a:pt x="3782" y="15031"/>
                  <a:pt x="3875" y="15125"/>
                </a:cubicBezTo>
                <a:cubicBezTo>
                  <a:pt x="3969" y="15250"/>
                  <a:pt x="3969" y="15406"/>
                  <a:pt x="4032" y="15562"/>
                </a:cubicBezTo>
                <a:cubicBezTo>
                  <a:pt x="4063" y="15562"/>
                  <a:pt x="4032" y="15625"/>
                  <a:pt x="4000" y="15625"/>
                </a:cubicBezTo>
                <a:close/>
                <a:moveTo>
                  <a:pt x="12625" y="6219"/>
                </a:move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594" y="6219"/>
                </a:cubicBezTo>
                <a:cubicBezTo>
                  <a:pt x="12625" y="6219"/>
                  <a:pt x="12625" y="6250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ubicBezTo>
                  <a:pt x="12625" y="6219"/>
                  <a:pt x="12625" y="6219"/>
                  <a:pt x="12625" y="6219"/>
                </a:cubicBezTo>
                <a:close/>
                <a:moveTo>
                  <a:pt x="8125" y="18375"/>
                </a:moveTo>
                <a:cubicBezTo>
                  <a:pt x="8125" y="18406"/>
                  <a:pt x="8125" y="18406"/>
                  <a:pt x="8125" y="18406"/>
                </a:cubicBezTo>
                <a:cubicBezTo>
                  <a:pt x="8125" y="18406"/>
                  <a:pt x="8125" y="18406"/>
                  <a:pt x="8125" y="18406"/>
                </a:cubicBezTo>
                <a:cubicBezTo>
                  <a:pt x="8125" y="18375"/>
                  <a:pt x="8125" y="18375"/>
                  <a:pt x="8125" y="18375"/>
                </a:cubicBezTo>
                <a:cubicBezTo>
                  <a:pt x="8125" y="18375"/>
                  <a:pt x="8125" y="18375"/>
                  <a:pt x="8125" y="18375"/>
                </a:cubicBezTo>
                <a:close/>
                <a:moveTo>
                  <a:pt x="13500" y="7000"/>
                </a:move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00"/>
                  <a:pt x="13500" y="7000"/>
                </a:cubicBezTo>
                <a:cubicBezTo>
                  <a:pt x="13500" y="7000"/>
                  <a:pt x="13500" y="7031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32" y="7000"/>
                  <a:pt x="13532" y="7000"/>
                </a:cubicBezTo>
                <a:cubicBezTo>
                  <a:pt x="13532" y="7000"/>
                  <a:pt x="13500" y="7000"/>
                  <a:pt x="13500" y="7000"/>
                </a:cubicBezTo>
                <a:close/>
                <a:moveTo>
                  <a:pt x="19532" y="12500"/>
                </a:moveTo>
                <a:cubicBezTo>
                  <a:pt x="19063" y="12125"/>
                  <a:pt x="18625" y="11687"/>
                  <a:pt x="18188" y="11281"/>
                </a:cubicBezTo>
                <a:cubicBezTo>
                  <a:pt x="18000" y="11094"/>
                  <a:pt x="17782" y="10937"/>
                  <a:pt x="17625" y="10750"/>
                </a:cubicBezTo>
                <a:cubicBezTo>
                  <a:pt x="17313" y="10406"/>
                  <a:pt x="16938" y="10156"/>
                  <a:pt x="16657" y="9812"/>
                </a:cubicBezTo>
                <a:cubicBezTo>
                  <a:pt x="16438" y="9562"/>
                  <a:pt x="16219" y="9375"/>
                  <a:pt x="15969" y="9156"/>
                </a:cubicBezTo>
                <a:cubicBezTo>
                  <a:pt x="15688" y="8875"/>
                  <a:pt x="15375" y="8625"/>
                  <a:pt x="15063" y="8344"/>
                </a:cubicBezTo>
                <a:cubicBezTo>
                  <a:pt x="14875" y="8219"/>
                  <a:pt x="14719" y="8094"/>
                  <a:pt x="14594" y="7937"/>
                </a:cubicBezTo>
                <a:cubicBezTo>
                  <a:pt x="14563" y="7906"/>
                  <a:pt x="14532" y="7844"/>
                  <a:pt x="14500" y="7875"/>
                </a:cubicBezTo>
                <a:cubicBezTo>
                  <a:pt x="14438" y="7906"/>
                  <a:pt x="14532" y="7937"/>
                  <a:pt x="14532" y="7969"/>
                </a:cubicBezTo>
                <a:cubicBezTo>
                  <a:pt x="14657" y="8094"/>
                  <a:pt x="14813" y="8187"/>
                  <a:pt x="14938" y="8344"/>
                </a:cubicBezTo>
                <a:cubicBezTo>
                  <a:pt x="15032" y="8406"/>
                  <a:pt x="15094" y="8469"/>
                  <a:pt x="15157" y="8531"/>
                </a:cubicBezTo>
                <a:cubicBezTo>
                  <a:pt x="15532" y="8844"/>
                  <a:pt x="15875" y="9156"/>
                  <a:pt x="16219" y="9500"/>
                </a:cubicBezTo>
                <a:cubicBezTo>
                  <a:pt x="16500" y="9781"/>
                  <a:pt x="16750" y="10031"/>
                  <a:pt x="17032" y="10312"/>
                </a:cubicBezTo>
                <a:cubicBezTo>
                  <a:pt x="17688" y="10969"/>
                  <a:pt x="18344" y="11594"/>
                  <a:pt x="19063" y="12219"/>
                </a:cubicBezTo>
                <a:cubicBezTo>
                  <a:pt x="19219" y="12375"/>
                  <a:pt x="19407" y="12531"/>
                  <a:pt x="19594" y="12687"/>
                </a:cubicBezTo>
                <a:cubicBezTo>
                  <a:pt x="19625" y="12719"/>
                  <a:pt x="19625" y="12750"/>
                  <a:pt x="19657" y="12719"/>
                </a:cubicBezTo>
                <a:cubicBezTo>
                  <a:pt x="19657" y="12719"/>
                  <a:pt x="19657" y="12719"/>
                  <a:pt x="19688" y="12719"/>
                </a:cubicBezTo>
                <a:cubicBezTo>
                  <a:pt x="19688" y="12719"/>
                  <a:pt x="19688" y="12687"/>
                  <a:pt x="19688" y="12687"/>
                </a:cubicBezTo>
                <a:cubicBezTo>
                  <a:pt x="19688" y="12656"/>
                  <a:pt x="19688" y="12625"/>
                  <a:pt x="19688" y="12625"/>
                </a:cubicBezTo>
                <a:cubicBezTo>
                  <a:pt x="19657" y="12625"/>
                  <a:pt x="19657" y="12625"/>
                  <a:pt x="19657" y="12625"/>
                </a:cubicBezTo>
                <a:cubicBezTo>
                  <a:pt x="19594" y="12594"/>
                  <a:pt x="19563" y="12531"/>
                  <a:pt x="19532" y="12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3FF19B4-190A-4C41-9CFE-4DA2872EB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6F86B89D-BE00-9B4B-A858-4384BD1172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755FEEC-5C7D-0841-BF64-563C47EC3988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7B034645-D868-BF4D-A000-6FFCBDFAE1A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221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47">
            <a:extLst>
              <a:ext uri="{FF2B5EF4-FFF2-40B4-BE49-F238E27FC236}">
                <a16:creationId xmlns:a16="http://schemas.microsoft.com/office/drawing/2014/main" id="{0C26135D-BE87-3D40-83C7-77CA5BCB624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744315" y="522090"/>
            <a:ext cx="24818523" cy="7920880"/>
          </a:xfrm>
          <a:custGeom>
            <a:avLst/>
            <a:gdLst>
              <a:gd name="T0" fmla="*/ 2688 w 35875"/>
              <a:gd name="T1" fmla="*/ 9375 h 18032"/>
              <a:gd name="T2" fmla="*/ 1031 w 35875"/>
              <a:gd name="T3" fmla="*/ 9782 h 18032"/>
              <a:gd name="T4" fmla="*/ 1625 w 35875"/>
              <a:gd name="T5" fmla="*/ 8625 h 18032"/>
              <a:gd name="T6" fmla="*/ 1031 w 35875"/>
              <a:gd name="T7" fmla="*/ 8157 h 18032"/>
              <a:gd name="T8" fmla="*/ 31 w 35875"/>
              <a:gd name="T9" fmla="*/ 8750 h 18032"/>
              <a:gd name="T10" fmla="*/ 3750 w 35875"/>
              <a:gd name="T11" fmla="*/ 4188 h 18032"/>
              <a:gd name="T12" fmla="*/ 4531 w 35875"/>
              <a:gd name="T13" fmla="*/ 5500 h 18032"/>
              <a:gd name="T14" fmla="*/ 5406 w 35875"/>
              <a:gd name="T15" fmla="*/ 5594 h 18032"/>
              <a:gd name="T16" fmla="*/ 8500 w 35875"/>
              <a:gd name="T17" fmla="*/ 1844 h 18032"/>
              <a:gd name="T18" fmla="*/ 10469 w 35875"/>
              <a:gd name="T19" fmla="*/ 3344 h 18032"/>
              <a:gd name="T20" fmla="*/ 12625 w 35875"/>
              <a:gd name="T21" fmla="*/ 2907 h 18032"/>
              <a:gd name="T22" fmla="*/ 16281 w 35875"/>
              <a:gd name="T23" fmla="*/ 2125 h 18032"/>
              <a:gd name="T24" fmla="*/ 21094 w 35875"/>
              <a:gd name="T25" fmla="*/ 1907 h 18032"/>
              <a:gd name="T26" fmla="*/ 24969 w 35875"/>
              <a:gd name="T27" fmla="*/ 1969 h 18032"/>
              <a:gd name="T28" fmla="*/ 29906 w 35875"/>
              <a:gd name="T29" fmla="*/ 2063 h 18032"/>
              <a:gd name="T30" fmla="*/ 33313 w 35875"/>
              <a:gd name="T31" fmla="*/ 6563 h 18032"/>
              <a:gd name="T32" fmla="*/ 30906 w 35875"/>
              <a:gd name="T33" fmla="*/ 11438 h 18032"/>
              <a:gd name="T34" fmla="*/ 24094 w 35875"/>
              <a:gd name="T35" fmla="*/ 17782 h 18032"/>
              <a:gd name="T36" fmla="*/ 22594 w 35875"/>
              <a:gd name="T37" fmla="*/ 16313 h 18032"/>
              <a:gd name="T38" fmla="*/ 18563 w 35875"/>
              <a:gd name="T39" fmla="*/ 16688 h 18032"/>
              <a:gd name="T40" fmla="*/ 16781 w 35875"/>
              <a:gd name="T41" fmla="*/ 17688 h 18032"/>
              <a:gd name="T42" fmla="*/ 15875 w 35875"/>
              <a:gd name="T43" fmla="*/ 17719 h 18032"/>
              <a:gd name="T44" fmla="*/ 15281 w 35875"/>
              <a:gd name="T45" fmla="*/ 17032 h 18032"/>
              <a:gd name="T46" fmla="*/ 13313 w 35875"/>
              <a:gd name="T47" fmla="*/ 17032 h 18032"/>
              <a:gd name="T48" fmla="*/ 14313 w 35875"/>
              <a:gd name="T49" fmla="*/ 15282 h 18032"/>
              <a:gd name="T50" fmla="*/ 13563 w 35875"/>
              <a:gd name="T51" fmla="*/ 15844 h 18032"/>
              <a:gd name="T52" fmla="*/ 12125 w 35875"/>
              <a:gd name="T53" fmla="*/ 16407 h 18032"/>
              <a:gd name="T54" fmla="*/ 11469 w 35875"/>
              <a:gd name="T55" fmla="*/ 15657 h 18032"/>
              <a:gd name="T56" fmla="*/ 12781 w 35875"/>
              <a:gd name="T57" fmla="*/ 13032 h 18032"/>
              <a:gd name="T58" fmla="*/ 10844 w 35875"/>
              <a:gd name="T59" fmla="*/ 14875 h 18032"/>
              <a:gd name="T60" fmla="*/ 10344 w 35875"/>
              <a:gd name="T61" fmla="*/ 14563 h 18032"/>
              <a:gd name="T62" fmla="*/ 9531 w 35875"/>
              <a:gd name="T63" fmla="*/ 14688 h 18032"/>
              <a:gd name="T64" fmla="*/ 8438 w 35875"/>
              <a:gd name="T65" fmla="*/ 14313 h 18032"/>
              <a:gd name="T66" fmla="*/ 10000 w 35875"/>
              <a:gd name="T67" fmla="*/ 12344 h 18032"/>
              <a:gd name="T68" fmla="*/ 9125 w 35875"/>
              <a:gd name="T69" fmla="*/ 12625 h 18032"/>
              <a:gd name="T70" fmla="*/ 8875 w 35875"/>
              <a:gd name="T71" fmla="*/ 12750 h 18032"/>
              <a:gd name="T72" fmla="*/ 8969 w 35875"/>
              <a:gd name="T73" fmla="*/ 12313 h 18032"/>
              <a:gd name="T74" fmla="*/ 8344 w 35875"/>
              <a:gd name="T75" fmla="*/ 12250 h 18032"/>
              <a:gd name="T76" fmla="*/ 8375 w 35875"/>
              <a:gd name="T77" fmla="*/ 11844 h 18032"/>
              <a:gd name="T78" fmla="*/ 7625 w 35875"/>
              <a:gd name="T79" fmla="*/ 11438 h 18032"/>
              <a:gd name="T80" fmla="*/ 6313 w 35875"/>
              <a:gd name="T81" fmla="*/ 12250 h 18032"/>
              <a:gd name="T82" fmla="*/ 7094 w 35875"/>
              <a:gd name="T83" fmla="*/ 10563 h 18032"/>
              <a:gd name="T84" fmla="*/ 6406 w 35875"/>
              <a:gd name="T85" fmla="*/ 11094 h 18032"/>
              <a:gd name="T86" fmla="*/ 6750 w 35875"/>
              <a:gd name="T87" fmla="*/ 10063 h 18032"/>
              <a:gd name="T88" fmla="*/ 5344 w 35875"/>
              <a:gd name="T89" fmla="*/ 10407 h 18032"/>
              <a:gd name="T90" fmla="*/ 3844 w 35875"/>
              <a:gd name="T91" fmla="*/ 11844 h 18032"/>
              <a:gd name="T92" fmla="*/ 4750 w 35875"/>
              <a:gd name="T93" fmla="*/ 10438 h 18032"/>
              <a:gd name="T94" fmla="*/ 3094 w 35875"/>
              <a:gd name="T95" fmla="*/ 11625 h 18032"/>
              <a:gd name="T96" fmla="*/ 35813 w 35875"/>
              <a:gd name="T97" fmla="*/ 16813 h 18032"/>
              <a:gd name="T98" fmla="*/ 14063 w 35875"/>
              <a:gd name="T99" fmla="*/ 15782 h 18032"/>
              <a:gd name="T100" fmla="*/ 10969 w 35875"/>
              <a:gd name="T101" fmla="*/ 16657 h 18032"/>
              <a:gd name="T102" fmla="*/ 10469 w 35875"/>
              <a:gd name="T103" fmla="*/ 16469 h 18032"/>
              <a:gd name="T104" fmla="*/ 29813 w 35875"/>
              <a:gd name="T105" fmla="*/ 13125 h 18032"/>
              <a:gd name="T106" fmla="*/ 8219 w 35875"/>
              <a:gd name="T107" fmla="*/ 14219 h 18032"/>
              <a:gd name="T108" fmla="*/ 7688 w 35875"/>
              <a:gd name="T109" fmla="*/ 13219 h 18032"/>
              <a:gd name="T110" fmla="*/ 13531 w 35875"/>
              <a:gd name="T111" fmla="*/ 16375 h 18032"/>
              <a:gd name="T112" fmla="*/ 1563 w 35875"/>
              <a:gd name="T113" fmla="*/ 5907 h 18032"/>
              <a:gd name="T114" fmla="*/ 2938 w 35875"/>
              <a:gd name="T115" fmla="*/ 3875 h 18032"/>
              <a:gd name="T116" fmla="*/ 5531 w 35875"/>
              <a:gd name="T117" fmla="*/ 10625 h 18032"/>
              <a:gd name="T118" fmla="*/ 8094 w 35875"/>
              <a:gd name="T119" fmla="*/ 14094 h 18032"/>
              <a:gd name="T120" fmla="*/ 27875 w 35875"/>
              <a:gd name="T121" fmla="*/ 15407 h 18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75" h="18032">
                <a:moveTo>
                  <a:pt x="2125" y="11438"/>
                </a:moveTo>
                <a:cubicBezTo>
                  <a:pt x="2094" y="11407"/>
                  <a:pt x="2063" y="11407"/>
                  <a:pt x="2063" y="11438"/>
                </a:cubicBezTo>
                <a:cubicBezTo>
                  <a:pt x="2063" y="11438"/>
                  <a:pt x="2063" y="11438"/>
                  <a:pt x="2063" y="11469"/>
                </a:cubicBezTo>
                <a:cubicBezTo>
                  <a:pt x="2031" y="11469"/>
                  <a:pt x="2000" y="11500"/>
                  <a:pt x="2031" y="11532"/>
                </a:cubicBezTo>
                <a:cubicBezTo>
                  <a:pt x="2031" y="11532"/>
                  <a:pt x="2063" y="11532"/>
                  <a:pt x="2063" y="11532"/>
                </a:cubicBezTo>
                <a:cubicBezTo>
                  <a:pt x="2063" y="11500"/>
                  <a:pt x="2063" y="11500"/>
                  <a:pt x="2063" y="11469"/>
                </a:cubicBezTo>
                <a:cubicBezTo>
                  <a:pt x="2094" y="11469"/>
                  <a:pt x="2125" y="11469"/>
                  <a:pt x="2125" y="11469"/>
                </a:cubicBezTo>
                <a:cubicBezTo>
                  <a:pt x="2125" y="11438"/>
                  <a:pt x="2125" y="11438"/>
                  <a:pt x="2125" y="11438"/>
                </a:cubicBezTo>
                <a:cubicBezTo>
                  <a:pt x="2125" y="11407"/>
                  <a:pt x="2125" y="11375"/>
                  <a:pt x="2125" y="11344"/>
                </a:cubicBezTo>
                <a:cubicBezTo>
                  <a:pt x="2156" y="11250"/>
                  <a:pt x="2250" y="11157"/>
                  <a:pt x="2313" y="11094"/>
                </a:cubicBezTo>
                <a:cubicBezTo>
                  <a:pt x="2375" y="11032"/>
                  <a:pt x="2438" y="10969"/>
                  <a:pt x="2500" y="10907"/>
                </a:cubicBezTo>
                <a:cubicBezTo>
                  <a:pt x="2625" y="10750"/>
                  <a:pt x="2719" y="10563"/>
                  <a:pt x="2906" y="10438"/>
                </a:cubicBezTo>
                <a:cubicBezTo>
                  <a:pt x="3031" y="10344"/>
                  <a:pt x="2938" y="10188"/>
                  <a:pt x="2844" y="10125"/>
                </a:cubicBezTo>
                <a:cubicBezTo>
                  <a:pt x="2688" y="10063"/>
                  <a:pt x="2781" y="9969"/>
                  <a:pt x="2813" y="9875"/>
                </a:cubicBezTo>
                <a:cubicBezTo>
                  <a:pt x="2938" y="9594"/>
                  <a:pt x="3125" y="9375"/>
                  <a:pt x="3313" y="9157"/>
                </a:cubicBezTo>
                <a:cubicBezTo>
                  <a:pt x="3031" y="9250"/>
                  <a:pt x="3000" y="9657"/>
                  <a:pt x="2625" y="9688"/>
                </a:cubicBezTo>
                <a:cubicBezTo>
                  <a:pt x="2656" y="9563"/>
                  <a:pt x="2750" y="9563"/>
                  <a:pt x="2781" y="9500"/>
                </a:cubicBezTo>
                <a:cubicBezTo>
                  <a:pt x="2813" y="9469"/>
                  <a:pt x="2813" y="9407"/>
                  <a:pt x="2813" y="9375"/>
                </a:cubicBezTo>
                <a:cubicBezTo>
                  <a:pt x="2781" y="9375"/>
                  <a:pt x="2781" y="9375"/>
                  <a:pt x="2750" y="9375"/>
                </a:cubicBezTo>
                <a:cubicBezTo>
                  <a:pt x="2750" y="9375"/>
                  <a:pt x="2719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375"/>
                  <a:pt x="2688" y="9375"/>
                  <a:pt x="2688" y="9375"/>
                </a:cubicBezTo>
                <a:cubicBezTo>
                  <a:pt x="2688" y="9407"/>
                  <a:pt x="2656" y="9438"/>
                  <a:pt x="2656" y="9469"/>
                </a:cubicBezTo>
                <a:cubicBezTo>
                  <a:pt x="2625" y="9500"/>
                  <a:pt x="2594" y="9500"/>
                  <a:pt x="2563" y="9532"/>
                </a:cubicBezTo>
                <a:cubicBezTo>
                  <a:pt x="2531" y="9688"/>
                  <a:pt x="2406" y="9782"/>
                  <a:pt x="2250" y="9875"/>
                </a:cubicBezTo>
                <a:cubicBezTo>
                  <a:pt x="2313" y="9625"/>
                  <a:pt x="2219" y="9469"/>
                  <a:pt x="2031" y="9500"/>
                </a:cubicBezTo>
                <a:cubicBezTo>
                  <a:pt x="1969" y="9688"/>
                  <a:pt x="1844" y="9782"/>
                  <a:pt x="1719" y="9938"/>
                </a:cubicBezTo>
                <a:cubicBezTo>
                  <a:pt x="1656" y="10000"/>
                  <a:pt x="1594" y="10063"/>
                  <a:pt x="1531" y="10125"/>
                </a:cubicBezTo>
                <a:cubicBezTo>
                  <a:pt x="1531" y="10125"/>
                  <a:pt x="1500" y="10157"/>
                  <a:pt x="1500" y="10157"/>
                </a:cubicBezTo>
                <a:cubicBezTo>
                  <a:pt x="1500" y="10157"/>
                  <a:pt x="1500" y="10157"/>
                  <a:pt x="1500" y="10157"/>
                </a:cubicBezTo>
                <a:cubicBezTo>
                  <a:pt x="1438" y="10157"/>
                  <a:pt x="1375" y="10094"/>
                  <a:pt x="1344" y="10125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344" y="10157"/>
                  <a:pt x="1344" y="10157"/>
                  <a:pt x="1344" y="10157"/>
                </a:cubicBezTo>
                <a:cubicBezTo>
                  <a:pt x="1281" y="10188"/>
                  <a:pt x="1375" y="10313"/>
                  <a:pt x="1250" y="10282"/>
                </a:cubicBezTo>
                <a:cubicBezTo>
                  <a:pt x="1250" y="10250"/>
                  <a:pt x="1281" y="10219"/>
                  <a:pt x="1281" y="10188"/>
                </a:cubicBezTo>
                <a:cubicBezTo>
                  <a:pt x="1281" y="10188"/>
                  <a:pt x="1281" y="10157"/>
                  <a:pt x="1281" y="10157"/>
                </a:cubicBezTo>
                <a:cubicBezTo>
                  <a:pt x="1250" y="10157"/>
                  <a:pt x="1250" y="10157"/>
                  <a:pt x="1250" y="10094"/>
                </a:cubicBezTo>
                <a:cubicBezTo>
                  <a:pt x="1250" y="10063"/>
                  <a:pt x="1281" y="10032"/>
                  <a:pt x="1313" y="10063"/>
                </a:cubicBezTo>
                <a:cubicBezTo>
                  <a:pt x="1313" y="10063"/>
                  <a:pt x="1313" y="10063"/>
                  <a:pt x="1313" y="10063"/>
                </a:cubicBezTo>
                <a:cubicBezTo>
                  <a:pt x="1344" y="10000"/>
                  <a:pt x="1344" y="9907"/>
                  <a:pt x="1344" y="9844"/>
                </a:cubicBezTo>
                <a:cubicBezTo>
                  <a:pt x="1313" y="9844"/>
                  <a:pt x="1250" y="9813"/>
                  <a:pt x="1188" y="9813"/>
                </a:cubicBezTo>
                <a:cubicBezTo>
                  <a:pt x="1188" y="9813"/>
                  <a:pt x="1156" y="9782"/>
                  <a:pt x="1125" y="9782"/>
                </a:cubicBezTo>
                <a:cubicBezTo>
                  <a:pt x="1094" y="9782"/>
                  <a:pt x="1063" y="9782"/>
                  <a:pt x="1031" y="9782"/>
                </a:cubicBezTo>
                <a:cubicBezTo>
                  <a:pt x="1000" y="9782"/>
                  <a:pt x="969" y="9782"/>
                  <a:pt x="938" y="9782"/>
                </a:cubicBezTo>
                <a:cubicBezTo>
                  <a:pt x="938" y="9657"/>
                  <a:pt x="1063" y="9625"/>
                  <a:pt x="1125" y="9532"/>
                </a:cubicBezTo>
                <a:cubicBezTo>
                  <a:pt x="1125" y="9532"/>
                  <a:pt x="1188" y="9500"/>
                  <a:pt x="1188" y="9500"/>
                </a:cubicBezTo>
                <a:cubicBezTo>
                  <a:pt x="1281" y="9719"/>
                  <a:pt x="1344" y="9469"/>
                  <a:pt x="1438" y="9500"/>
                </a:cubicBezTo>
                <a:cubicBezTo>
                  <a:pt x="1563" y="9250"/>
                  <a:pt x="1813" y="9157"/>
                  <a:pt x="1906" y="8907"/>
                </a:cubicBezTo>
                <a:cubicBezTo>
                  <a:pt x="1938" y="8844"/>
                  <a:pt x="1969" y="8813"/>
                  <a:pt x="1969" y="8782"/>
                </a:cubicBezTo>
                <a:cubicBezTo>
                  <a:pt x="1969" y="8782"/>
                  <a:pt x="1969" y="8782"/>
                  <a:pt x="1938" y="8782"/>
                </a:cubicBezTo>
                <a:cubicBezTo>
                  <a:pt x="1781" y="8813"/>
                  <a:pt x="1750" y="9032"/>
                  <a:pt x="1531" y="9094"/>
                </a:cubicBezTo>
                <a:cubicBezTo>
                  <a:pt x="1688" y="8907"/>
                  <a:pt x="1781" y="8782"/>
                  <a:pt x="1875" y="8625"/>
                </a:cubicBezTo>
                <a:cubicBezTo>
                  <a:pt x="1906" y="8594"/>
                  <a:pt x="1969" y="8563"/>
                  <a:pt x="2000" y="8532"/>
                </a:cubicBezTo>
                <a:cubicBezTo>
                  <a:pt x="2000" y="8532"/>
                  <a:pt x="2031" y="8500"/>
                  <a:pt x="2031" y="8500"/>
                </a:cubicBezTo>
                <a:cubicBezTo>
                  <a:pt x="2031" y="8469"/>
                  <a:pt x="2031" y="8438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31" y="8375"/>
                  <a:pt x="2031" y="8375"/>
                  <a:pt x="2031" y="8375"/>
                </a:cubicBezTo>
                <a:cubicBezTo>
                  <a:pt x="2000" y="8344"/>
                  <a:pt x="1969" y="8313"/>
                  <a:pt x="1969" y="8313"/>
                </a:cubicBezTo>
                <a:cubicBezTo>
                  <a:pt x="1938" y="8344"/>
                  <a:pt x="1938" y="8344"/>
                  <a:pt x="1938" y="8344"/>
                </a:cubicBezTo>
                <a:cubicBezTo>
                  <a:pt x="1938" y="8375"/>
                  <a:pt x="1906" y="8375"/>
                  <a:pt x="1906" y="8375"/>
                </a:cubicBezTo>
                <a:cubicBezTo>
                  <a:pt x="1844" y="8500"/>
                  <a:pt x="1750" y="8594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25" y="8625"/>
                  <a:pt x="1625" y="8657"/>
                  <a:pt x="1625" y="8657"/>
                </a:cubicBezTo>
                <a:cubicBezTo>
                  <a:pt x="1625" y="8657"/>
                  <a:pt x="1625" y="8625"/>
                  <a:pt x="1625" y="8625"/>
                </a:cubicBezTo>
                <a:cubicBezTo>
                  <a:pt x="1625" y="8625"/>
                  <a:pt x="1625" y="8625"/>
                  <a:pt x="1625" y="8625"/>
                </a:cubicBezTo>
                <a:cubicBezTo>
                  <a:pt x="1656" y="8500"/>
                  <a:pt x="1844" y="8438"/>
                  <a:pt x="1813" y="8282"/>
                </a:cubicBezTo>
                <a:cubicBezTo>
                  <a:pt x="1813" y="8282"/>
                  <a:pt x="1781" y="8282"/>
                  <a:pt x="1750" y="8313"/>
                </a:cubicBezTo>
                <a:cubicBezTo>
                  <a:pt x="1719" y="8344"/>
                  <a:pt x="1719" y="8344"/>
                  <a:pt x="1719" y="8313"/>
                </a:cubicBezTo>
                <a:cubicBezTo>
                  <a:pt x="1719" y="8157"/>
                  <a:pt x="1875" y="8125"/>
                  <a:pt x="1938" y="8032"/>
                </a:cubicBezTo>
                <a:cubicBezTo>
                  <a:pt x="1938" y="8032"/>
                  <a:pt x="1938" y="8032"/>
                  <a:pt x="1938" y="8000"/>
                </a:cubicBezTo>
                <a:cubicBezTo>
                  <a:pt x="1938" y="8000"/>
                  <a:pt x="1938" y="8000"/>
                  <a:pt x="1938" y="8000"/>
                </a:cubicBezTo>
                <a:cubicBezTo>
                  <a:pt x="1969" y="8000"/>
                  <a:pt x="1938" y="7969"/>
                  <a:pt x="1969" y="7969"/>
                </a:cubicBezTo>
                <a:cubicBezTo>
                  <a:pt x="1969" y="7969"/>
                  <a:pt x="1969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69"/>
                  <a:pt x="2000" y="7969"/>
                  <a:pt x="2000" y="7969"/>
                </a:cubicBezTo>
                <a:cubicBezTo>
                  <a:pt x="2000" y="7938"/>
                  <a:pt x="2000" y="7907"/>
                  <a:pt x="2000" y="7875"/>
                </a:cubicBezTo>
                <a:cubicBezTo>
                  <a:pt x="2000" y="7844"/>
                  <a:pt x="2031" y="7782"/>
                  <a:pt x="2000" y="7782"/>
                </a:cubicBezTo>
                <a:cubicBezTo>
                  <a:pt x="1938" y="7719"/>
                  <a:pt x="1906" y="7782"/>
                  <a:pt x="1875" y="7813"/>
                </a:cubicBezTo>
                <a:cubicBezTo>
                  <a:pt x="1688" y="8063"/>
                  <a:pt x="1438" y="8313"/>
                  <a:pt x="1188" y="8532"/>
                </a:cubicBezTo>
                <a:cubicBezTo>
                  <a:pt x="1063" y="8657"/>
                  <a:pt x="906" y="8813"/>
                  <a:pt x="750" y="8938"/>
                </a:cubicBezTo>
                <a:cubicBezTo>
                  <a:pt x="719" y="9000"/>
                  <a:pt x="688" y="9032"/>
                  <a:pt x="656" y="9063"/>
                </a:cubicBezTo>
                <a:cubicBezTo>
                  <a:pt x="531" y="9219"/>
                  <a:pt x="375" y="9313"/>
                  <a:pt x="219" y="9407"/>
                </a:cubicBezTo>
                <a:cubicBezTo>
                  <a:pt x="344" y="9219"/>
                  <a:pt x="406" y="9000"/>
                  <a:pt x="594" y="8875"/>
                </a:cubicBezTo>
                <a:cubicBezTo>
                  <a:pt x="656" y="8782"/>
                  <a:pt x="750" y="8688"/>
                  <a:pt x="813" y="8594"/>
                </a:cubicBezTo>
                <a:cubicBezTo>
                  <a:pt x="969" y="8469"/>
                  <a:pt x="1188" y="8407"/>
                  <a:pt x="1094" y="8125"/>
                </a:cubicBezTo>
                <a:cubicBezTo>
                  <a:pt x="1094" y="8125"/>
                  <a:pt x="1063" y="8125"/>
                  <a:pt x="1031" y="8157"/>
                </a:cubicBezTo>
                <a:cubicBezTo>
                  <a:pt x="1000" y="8219"/>
                  <a:pt x="969" y="8188"/>
                  <a:pt x="938" y="8157"/>
                </a:cubicBezTo>
                <a:cubicBezTo>
                  <a:pt x="875" y="8094"/>
                  <a:pt x="969" y="8063"/>
                  <a:pt x="969" y="8032"/>
                </a:cubicBezTo>
                <a:cubicBezTo>
                  <a:pt x="1156" y="8032"/>
                  <a:pt x="1156" y="7875"/>
                  <a:pt x="1188" y="7782"/>
                </a:cubicBezTo>
                <a:cubicBezTo>
                  <a:pt x="969" y="7844"/>
                  <a:pt x="875" y="8032"/>
                  <a:pt x="719" y="8188"/>
                </a:cubicBezTo>
                <a:cubicBezTo>
                  <a:pt x="688" y="8188"/>
                  <a:pt x="656" y="8219"/>
                  <a:pt x="656" y="8250"/>
                </a:cubicBezTo>
                <a:cubicBezTo>
                  <a:pt x="594" y="8313"/>
                  <a:pt x="531" y="8375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469"/>
                  <a:pt x="469" y="8469"/>
                  <a:pt x="469" y="8469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69" y="8500"/>
                  <a:pt x="469" y="8500"/>
                  <a:pt x="469" y="8500"/>
                </a:cubicBezTo>
                <a:cubicBezTo>
                  <a:pt x="438" y="8500"/>
                  <a:pt x="438" y="8500"/>
                  <a:pt x="438" y="8500"/>
                </a:cubicBezTo>
                <a:cubicBezTo>
                  <a:pt x="406" y="8532"/>
                  <a:pt x="406" y="8532"/>
                  <a:pt x="375" y="8563"/>
                </a:cubicBezTo>
                <a:cubicBezTo>
                  <a:pt x="375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44" y="8563"/>
                  <a:pt x="344" y="8563"/>
                  <a:pt x="344" y="8563"/>
                </a:cubicBezTo>
                <a:cubicBezTo>
                  <a:pt x="313" y="8625"/>
                  <a:pt x="250" y="8657"/>
                  <a:pt x="219" y="8688"/>
                </a:cubicBezTo>
                <a:cubicBezTo>
                  <a:pt x="188" y="8719"/>
                  <a:pt x="125" y="8782"/>
                  <a:pt x="94" y="8813"/>
                </a:cubicBezTo>
                <a:cubicBezTo>
                  <a:pt x="63" y="8844"/>
                  <a:pt x="63" y="8844"/>
                  <a:pt x="31" y="8813"/>
                </a:cubicBezTo>
                <a:cubicBezTo>
                  <a:pt x="0" y="8813"/>
                  <a:pt x="0" y="8782"/>
                  <a:pt x="31" y="8750"/>
                </a:cubicBezTo>
                <a:cubicBezTo>
                  <a:pt x="63" y="8719"/>
                  <a:pt x="94" y="8657"/>
                  <a:pt x="156" y="8625"/>
                </a:cubicBezTo>
                <a:cubicBezTo>
                  <a:pt x="188" y="8563"/>
                  <a:pt x="219" y="8532"/>
                  <a:pt x="281" y="8500"/>
                </a:cubicBezTo>
                <a:cubicBezTo>
                  <a:pt x="281" y="8500"/>
                  <a:pt x="313" y="8469"/>
                  <a:pt x="344" y="8438"/>
                </a:cubicBezTo>
                <a:cubicBezTo>
                  <a:pt x="344" y="8407"/>
                  <a:pt x="375" y="8375"/>
                  <a:pt x="438" y="8375"/>
                </a:cubicBezTo>
                <a:cubicBezTo>
                  <a:pt x="469" y="8282"/>
                  <a:pt x="531" y="8219"/>
                  <a:pt x="594" y="8125"/>
                </a:cubicBezTo>
                <a:cubicBezTo>
                  <a:pt x="844" y="7782"/>
                  <a:pt x="1188" y="7532"/>
                  <a:pt x="1406" y="7157"/>
                </a:cubicBezTo>
                <a:cubicBezTo>
                  <a:pt x="1375" y="7032"/>
                  <a:pt x="1313" y="7094"/>
                  <a:pt x="1250" y="7094"/>
                </a:cubicBezTo>
                <a:cubicBezTo>
                  <a:pt x="1250" y="7125"/>
                  <a:pt x="1219" y="7125"/>
                  <a:pt x="1219" y="7157"/>
                </a:cubicBezTo>
                <a:cubicBezTo>
                  <a:pt x="1219" y="7157"/>
                  <a:pt x="1219" y="7188"/>
                  <a:pt x="1219" y="7188"/>
                </a:cubicBezTo>
                <a:cubicBezTo>
                  <a:pt x="1219" y="7219"/>
                  <a:pt x="1219" y="7219"/>
                  <a:pt x="1219" y="7250"/>
                </a:cubicBezTo>
                <a:cubicBezTo>
                  <a:pt x="1219" y="7250"/>
                  <a:pt x="1219" y="7250"/>
                  <a:pt x="1219" y="7282"/>
                </a:cubicBezTo>
                <a:cubicBezTo>
                  <a:pt x="1250" y="7313"/>
                  <a:pt x="1219" y="7313"/>
                  <a:pt x="1125" y="7250"/>
                </a:cubicBezTo>
                <a:cubicBezTo>
                  <a:pt x="1063" y="7188"/>
                  <a:pt x="1031" y="7282"/>
                  <a:pt x="969" y="7219"/>
                </a:cubicBezTo>
                <a:cubicBezTo>
                  <a:pt x="1063" y="7157"/>
                  <a:pt x="1125" y="7125"/>
                  <a:pt x="1188" y="7063"/>
                </a:cubicBezTo>
                <a:cubicBezTo>
                  <a:pt x="1219" y="6938"/>
                  <a:pt x="1313" y="6844"/>
                  <a:pt x="1406" y="6750"/>
                </a:cubicBezTo>
                <a:cubicBezTo>
                  <a:pt x="1469" y="6688"/>
                  <a:pt x="1531" y="6625"/>
                  <a:pt x="1469" y="6500"/>
                </a:cubicBezTo>
                <a:cubicBezTo>
                  <a:pt x="1438" y="6407"/>
                  <a:pt x="1563" y="6313"/>
                  <a:pt x="1625" y="6282"/>
                </a:cubicBezTo>
                <a:cubicBezTo>
                  <a:pt x="1844" y="6157"/>
                  <a:pt x="1844" y="5875"/>
                  <a:pt x="2063" y="5813"/>
                </a:cubicBezTo>
                <a:cubicBezTo>
                  <a:pt x="2125" y="5469"/>
                  <a:pt x="2406" y="5313"/>
                  <a:pt x="2594" y="5094"/>
                </a:cubicBezTo>
                <a:cubicBezTo>
                  <a:pt x="2719" y="4938"/>
                  <a:pt x="2844" y="4782"/>
                  <a:pt x="3000" y="4688"/>
                </a:cubicBezTo>
                <a:cubicBezTo>
                  <a:pt x="3094" y="4594"/>
                  <a:pt x="3250" y="4625"/>
                  <a:pt x="3344" y="4532"/>
                </a:cubicBezTo>
                <a:cubicBezTo>
                  <a:pt x="3500" y="4438"/>
                  <a:pt x="3594" y="4250"/>
                  <a:pt x="3750" y="4188"/>
                </a:cubicBezTo>
                <a:cubicBezTo>
                  <a:pt x="3781" y="4188"/>
                  <a:pt x="3813" y="4094"/>
                  <a:pt x="3875" y="4188"/>
                </a:cubicBezTo>
                <a:cubicBezTo>
                  <a:pt x="3875" y="4219"/>
                  <a:pt x="3906" y="4282"/>
                  <a:pt x="3844" y="4313"/>
                </a:cubicBezTo>
                <a:cubicBezTo>
                  <a:pt x="3656" y="4375"/>
                  <a:pt x="3781" y="4469"/>
                  <a:pt x="3813" y="4563"/>
                </a:cubicBezTo>
                <a:cubicBezTo>
                  <a:pt x="3813" y="4563"/>
                  <a:pt x="3844" y="4563"/>
                  <a:pt x="3844" y="4563"/>
                </a:cubicBezTo>
                <a:cubicBezTo>
                  <a:pt x="3844" y="4563"/>
                  <a:pt x="3844" y="4563"/>
                  <a:pt x="3844" y="4563"/>
                </a:cubicBezTo>
                <a:cubicBezTo>
                  <a:pt x="3969" y="4563"/>
                  <a:pt x="4063" y="4500"/>
                  <a:pt x="4156" y="4438"/>
                </a:cubicBezTo>
                <a:cubicBezTo>
                  <a:pt x="4219" y="4375"/>
                  <a:pt x="4313" y="4313"/>
                  <a:pt x="4375" y="4250"/>
                </a:cubicBezTo>
                <a:cubicBezTo>
                  <a:pt x="4500" y="4188"/>
                  <a:pt x="4563" y="4094"/>
                  <a:pt x="4750" y="4032"/>
                </a:cubicBezTo>
                <a:cubicBezTo>
                  <a:pt x="4594" y="4344"/>
                  <a:pt x="4313" y="4469"/>
                  <a:pt x="4156" y="4719"/>
                </a:cubicBezTo>
                <a:cubicBezTo>
                  <a:pt x="4156" y="4750"/>
                  <a:pt x="4156" y="4782"/>
                  <a:pt x="4188" y="4844"/>
                </a:cubicBezTo>
                <a:cubicBezTo>
                  <a:pt x="4313" y="4657"/>
                  <a:pt x="4500" y="4532"/>
                  <a:pt x="4656" y="4375"/>
                </a:cubicBezTo>
                <a:cubicBezTo>
                  <a:pt x="4750" y="4313"/>
                  <a:pt x="4813" y="4188"/>
                  <a:pt x="5000" y="4282"/>
                </a:cubicBezTo>
                <a:cubicBezTo>
                  <a:pt x="4781" y="4532"/>
                  <a:pt x="4563" y="4750"/>
                  <a:pt x="4375" y="5000"/>
                </a:cubicBezTo>
                <a:cubicBezTo>
                  <a:pt x="4344" y="5000"/>
                  <a:pt x="4344" y="5032"/>
                  <a:pt x="4313" y="5032"/>
                </a:cubicBezTo>
                <a:cubicBezTo>
                  <a:pt x="4375" y="5094"/>
                  <a:pt x="4375" y="5094"/>
                  <a:pt x="4406" y="5094"/>
                </a:cubicBezTo>
                <a:cubicBezTo>
                  <a:pt x="4438" y="5094"/>
                  <a:pt x="4469" y="4969"/>
                  <a:pt x="4531" y="5032"/>
                </a:cubicBezTo>
                <a:cubicBezTo>
                  <a:pt x="4500" y="5125"/>
                  <a:pt x="4563" y="5282"/>
                  <a:pt x="4406" y="5375"/>
                </a:cubicBezTo>
                <a:cubicBezTo>
                  <a:pt x="4375" y="5438"/>
                  <a:pt x="4344" y="5500"/>
                  <a:pt x="4281" y="5532"/>
                </a:cubicBezTo>
                <a:cubicBezTo>
                  <a:pt x="4281" y="5563"/>
                  <a:pt x="4281" y="5563"/>
                  <a:pt x="4281" y="5594"/>
                </a:cubicBezTo>
                <a:cubicBezTo>
                  <a:pt x="4313" y="5594"/>
                  <a:pt x="4344" y="5594"/>
                  <a:pt x="4375" y="5594"/>
                </a:cubicBezTo>
                <a:cubicBezTo>
                  <a:pt x="4406" y="5594"/>
                  <a:pt x="4469" y="5563"/>
                  <a:pt x="4531" y="5532"/>
                </a:cubicBezTo>
                <a:cubicBezTo>
                  <a:pt x="4531" y="5532"/>
                  <a:pt x="4531" y="5500"/>
                  <a:pt x="4531" y="5500"/>
                </a:cubicBezTo>
                <a:cubicBezTo>
                  <a:pt x="4531" y="5344"/>
                  <a:pt x="4688" y="5469"/>
                  <a:pt x="4719" y="5375"/>
                </a:cubicBezTo>
                <a:cubicBezTo>
                  <a:pt x="4719" y="5344"/>
                  <a:pt x="4781" y="5282"/>
                  <a:pt x="4781" y="5250"/>
                </a:cubicBezTo>
                <a:cubicBezTo>
                  <a:pt x="4781" y="5157"/>
                  <a:pt x="4813" y="5094"/>
                  <a:pt x="4875" y="5063"/>
                </a:cubicBezTo>
                <a:cubicBezTo>
                  <a:pt x="4938" y="5000"/>
                  <a:pt x="5031" y="4875"/>
                  <a:pt x="5094" y="4969"/>
                </a:cubicBezTo>
                <a:cubicBezTo>
                  <a:pt x="5156" y="5032"/>
                  <a:pt x="5031" y="5094"/>
                  <a:pt x="4969" y="5094"/>
                </a:cubicBezTo>
                <a:cubicBezTo>
                  <a:pt x="4875" y="5125"/>
                  <a:pt x="5000" y="5188"/>
                  <a:pt x="4969" y="5219"/>
                </a:cubicBezTo>
                <a:cubicBezTo>
                  <a:pt x="4906" y="5344"/>
                  <a:pt x="4813" y="5438"/>
                  <a:pt x="4719" y="5500"/>
                </a:cubicBezTo>
                <a:cubicBezTo>
                  <a:pt x="4719" y="5532"/>
                  <a:pt x="4719" y="5563"/>
                  <a:pt x="4688" y="5563"/>
                </a:cubicBezTo>
                <a:cubicBezTo>
                  <a:pt x="4688" y="5594"/>
                  <a:pt x="4688" y="5625"/>
                  <a:pt x="4656" y="5625"/>
                </a:cubicBezTo>
                <a:cubicBezTo>
                  <a:pt x="4594" y="5688"/>
                  <a:pt x="4563" y="5782"/>
                  <a:pt x="4500" y="5844"/>
                </a:cubicBezTo>
                <a:cubicBezTo>
                  <a:pt x="4406" y="5938"/>
                  <a:pt x="4469" y="6000"/>
                  <a:pt x="4531" y="6063"/>
                </a:cubicBezTo>
                <a:cubicBezTo>
                  <a:pt x="4563" y="6094"/>
                  <a:pt x="4625" y="6000"/>
                  <a:pt x="4656" y="5969"/>
                </a:cubicBezTo>
                <a:cubicBezTo>
                  <a:pt x="4750" y="5844"/>
                  <a:pt x="4844" y="5719"/>
                  <a:pt x="4938" y="5625"/>
                </a:cubicBezTo>
                <a:cubicBezTo>
                  <a:pt x="5000" y="5563"/>
                  <a:pt x="5031" y="5532"/>
                  <a:pt x="5063" y="5469"/>
                </a:cubicBezTo>
                <a:cubicBezTo>
                  <a:pt x="5125" y="5407"/>
                  <a:pt x="5188" y="5344"/>
                  <a:pt x="5281" y="5313"/>
                </a:cubicBezTo>
                <a:cubicBezTo>
                  <a:pt x="5281" y="5282"/>
                  <a:pt x="5281" y="5282"/>
                  <a:pt x="5281" y="5282"/>
                </a:cubicBezTo>
                <a:cubicBezTo>
                  <a:pt x="5281" y="5282"/>
                  <a:pt x="5313" y="5282"/>
                  <a:pt x="5313" y="5250"/>
                </a:cubicBezTo>
                <a:cubicBezTo>
                  <a:pt x="5313" y="5250"/>
                  <a:pt x="5344" y="5250"/>
                  <a:pt x="5344" y="5250"/>
                </a:cubicBezTo>
                <a:cubicBezTo>
                  <a:pt x="5375" y="5219"/>
                  <a:pt x="5375" y="5219"/>
                  <a:pt x="5406" y="5219"/>
                </a:cubicBezTo>
                <a:cubicBezTo>
                  <a:pt x="5438" y="5188"/>
                  <a:pt x="5469" y="5188"/>
                  <a:pt x="5531" y="5157"/>
                </a:cubicBezTo>
                <a:cubicBezTo>
                  <a:pt x="5563" y="5375"/>
                  <a:pt x="5375" y="5438"/>
                  <a:pt x="5281" y="5563"/>
                </a:cubicBezTo>
                <a:cubicBezTo>
                  <a:pt x="5313" y="5594"/>
                  <a:pt x="5375" y="5625"/>
                  <a:pt x="5406" y="5594"/>
                </a:cubicBezTo>
                <a:cubicBezTo>
                  <a:pt x="5406" y="5563"/>
                  <a:pt x="5438" y="5563"/>
                  <a:pt x="5469" y="5563"/>
                </a:cubicBezTo>
                <a:cubicBezTo>
                  <a:pt x="5625" y="5500"/>
                  <a:pt x="5719" y="5313"/>
                  <a:pt x="5906" y="5250"/>
                </a:cubicBezTo>
                <a:cubicBezTo>
                  <a:pt x="5906" y="5282"/>
                  <a:pt x="5875" y="5313"/>
                  <a:pt x="5844" y="5344"/>
                </a:cubicBezTo>
                <a:cubicBezTo>
                  <a:pt x="5719" y="5532"/>
                  <a:pt x="5531" y="5719"/>
                  <a:pt x="5375" y="5907"/>
                </a:cubicBezTo>
                <a:cubicBezTo>
                  <a:pt x="5375" y="5907"/>
                  <a:pt x="5375" y="5907"/>
                  <a:pt x="5375" y="5907"/>
                </a:cubicBezTo>
                <a:cubicBezTo>
                  <a:pt x="5500" y="5969"/>
                  <a:pt x="5594" y="5813"/>
                  <a:pt x="5625" y="5782"/>
                </a:cubicBezTo>
                <a:cubicBezTo>
                  <a:pt x="5781" y="5563"/>
                  <a:pt x="6000" y="5407"/>
                  <a:pt x="6125" y="5188"/>
                </a:cubicBezTo>
                <a:cubicBezTo>
                  <a:pt x="6188" y="5094"/>
                  <a:pt x="6219" y="4969"/>
                  <a:pt x="6188" y="4907"/>
                </a:cubicBezTo>
                <a:cubicBezTo>
                  <a:pt x="6125" y="4813"/>
                  <a:pt x="6188" y="4782"/>
                  <a:pt x="6219" y="4782"/>
                </a:cubicBezTo>
                <a:cubicBezTo>
                  <a:pt x="6438" y="4813"/>
                  <a:pt x="6531" y="4657"/>
                  <a:pt x="6594" y="4500"/>
                </a:cubicBezTo>
                <a:cubicBezTo>
                  <a:pt x="6656" y="4375"/>
                  <a:pt x="6844" y="4344"/>
                  <a:pt x="6719" y="4157"/>
                </a:cubicBezTo>
                <a:cubicBezTo>
                  <a:pt x="6719" y="4157"/>
                  <a:pt x="6750" y="4094"/>
                  <a:pt x="6781" y="4063"/>
                </a:cubicBezTo>
                <a:cubicBezTo>
                  <a:pt x="6844" y="4063"/>
                  <a:pt x="6906" y="4032"/>
                  <a:pt x="6906" y="3969"/>
                </a:cubicBezTo>
                <a:cubicBezTo>
                  <a:pt x="6875" y="3875"/>
                  <a:pt x="6813" y="3969"/>
                  <a:pt x="6750" y="3938"/>
                </a:cubicBezTo>
                <a:cubicBezTo>
                  <a:pt x="6719" y="3938"/>
                  <a:pt x="6688" y="3938"/>
                  <a:pt x="6656" y="3938"/>
                </a:cubicBezTo>
                <a:cubicBezTo>
                  <a:pt x="6688" y="3782"/>
                  <a:pt x="6906" y="3844"/>
                  <a:pt x="6938" y="3688"/>
                </a:cubicBezTo>
                <a:cubicBezTo>
                  <a:pt x="6969" y="3657"/>
                  <a:pt x="7094" y="3625"/>
                  <a:pt x="6969" y="3563"/>
                </a:cubicBezTo>
                <a:cubicBezTo>
                  <a:pt x="7000" y="3469"/>
                  <a:pt x="7000" y="3375"/>
                  <a:pt x="7063" y="3313"/>
                </a:cubicBezTo>
                <a:cubicBezTo>
                  <a:pt x="7188" y="3157"/>
                  <a:pt x="7313" y="3000"/>
                  <a:pt x="7438" y="2844"/>
                </a:cubicBezTo>
                <a:cubicBezTo>
                  <a:pt x="7563" y="2688"/>
                  <a:pt x="7688" y="2532"/>
                  <a:pt x="7781" y="2313"/>
                </a:cubicBezTo>
                <a:cubicBezTo>
                  <a:pt x="7906" y="2094"/>
                  <a:pt x="8125" y="1938"/>
                  <a:pt x="8281" y="1782"/>
                </a:cubicBezTo>
                <a:cubicBezTo>
                  <a:pt x="8375" y="1688"/>
                  <a:pt x="8469" y="1782"/>
                  <a:pt x="8500" y="1844"/>
                </a:cubicBezTo>
                <a:cubicBezTo>
                  <a:pt x="8563" y="1938"/>
                  <a:pt x="8625" y="1969"/>
                  <a:pt x="8719" y="1969"/>
                </a:cubicBezTo>
                <a:cubicBezTo>
                  <a:pt x="8875" y="1938"/>
                  <a:pt x="8875" y="2000"/>
                  <a:pt x="8875" y="2125"/>
                </a:cubicBezTo>
                <a:cubicBezTo>
                  <a:pt x="8875" y="2250"/>
                  <a:pt x="8875" y="2375"/>
                  <a:pt x="8844" y="2532"/>
                </a:cubicBezTo>
                <a:cubicBezTo>
                  <a:pt x="9094" y="2375"/>
                  <a:pt x="9219" y="2125"/>
                  <a:pt x="9469" y="2032"/>
                </a:cubicBezTo>
                <a:cubicBezTo>
                  <a:pt x="9500" y="2188"/>
                  <a:pt x="9469" y="2375"/>
                  <a:pt x="9594" y="2500"/>
                </a:cubicBezTo>
                <a:cubicBezTo>
                  <a:pt x="9656" y="2344"/>
                  <a:pt x="9844" y="2438"/>
                  <a:pt x="9969" y="2344"/>
                </a:cubicBezTo>
                <a:cubicBezTo>
                  <a:pt x="10031" y="2313"/>
                  <a:pt x="10000" y="2500"/>
                  <a:pt x="10094" y="2563"/>
                </a:cubicBezTo>
                <a:cubicBezTo>
                  <a:pt x="10156" y="2532"/>
                  <a:pt x="10156" y="2344"/>
                  <a:pt x="10281" y="2438"/>
                </a:cubicBezTo>
                <a:cubicBezTo>
                  <a:pt x="10406" y="2500"/>
                  <a:pt x="10406" y="2594"/>
                  <a:pt x="10375" y="2750"/>
                </a:cubicBezTo>
                <a:cubicBezTo>
                  <a:pt x="10375" y="2813"/>
                  <a:pt x="10250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38" y="2938"/>
                  <a:pt x="10438" y="2938"/>
                  <a:pt x="10438" y="2938"/>
                </a:cubicBezTo>
                <a:cubicBezTo>
                  <a:pt x="10406" y="2938"/>
                  <a:pt x="10406" y="2907"/>
                  <a:pt x="10438" y="2875"/>
                </a:cubicBezTo>
                <a:cubicBezTo>
                  <a:pt x="10469" y="2875"/>
                  <a:pt x="10469" y="2907"/>
                  <a:pt x="10469" y="2907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469" y="2938"/>
                  <a:pt x="10469" y="2938"/>
                </a:cubicBezTo>
                <a:cubicBezTo>
                  <a:pt x="10469" y="2938"/>
                  <a:pt x="10500" y="2969"/>
                  <a:pt x="10500" y="2969"/>
                </a:cubicBezTo>
                <a:cubicBezTo>
                  <a:pt x="10500" y="2969"/>
                  <a:pt x="10531" y="2969"/>
                  <a:pt x="10531" y="2938"/>
                </a:cubicBezTo>
                <a:cubicBezTo>
                  <a:pt x="10563" y="2938"/>
                  <a:pt x="10563" y="2907"/>
                  <a:pt x="10563" y="2907"/>
                </a:cubicBezTo>
                <a:cubicBezTo>
                  <a:pt x="10594" y="2907"/>
                  <a:pt x="10594" y="2813"/>
                  <a:pt x="10625" y="2844"/>
                </a:cubicBezTo>
                <a:cubicBezTo>
                  <a:pt x="10688" y="2875"/>
                  <a:pt x="10656" y="2938"/>
                  <a:pt x="10594" y="2938"/>
                </a:cubicBezTo>
                <a:cubicBezTo>
                  <a:pt x="10625" y="3094"/>
                  <a:pt x="10500" y="3188"/>
                  <a:pt x="10469" y="3344"/>
                </a:cubicBezTo>
                <a:cubicBezTo>
                  <a:pt x="10625" y="3250"/>
                  <a:pt x="10656" y="3094"/>
                  <a:pt x="10750" y="3000"/>
                </a:cubicBezTo>
                <a:cubicBezTo>
                  <a:pt x="10781" y="3032"/>
                  <a:pt x="10813" y="3063"/>
                  <a:pt x="10813" y="3063"/>
                </a:cubicBezTo>
                <a:cubicBezTo>
                  <a:pt x="10844" y="3219"/>
                  <a:pt x="10875" y="3313"/>
                  <a:pt x="11063" y="3313"/>
                </a:cubicBezTo>
                <a:cubicBezTo>
                  <a:pt x="11250" y="3313"/>
                  <a:pt x="11188" y="3469"/>
                  <a:pt x="11125" y="3594"/>
                </a:cubicBezTo>
                <a:cubicBezTo>
                  <a:pt x="11094" y="3688"/>
                  <a:pt x="11031" y="3750"/>
                  <a:pt x="10969" y="3844"/>
                </a:cubicBezTo>
                <a:cubicBezTo>
                  <a:pt x="10938" y="3875"/>
                  <a:pt x="10906" y="3907"/>
                  <a:pt x="10938" y="3938"/>
                </a:cubicBezTo>
                <a:cubicBezTo>
                  <a:pt x="11000" y="3969"/>
                  <a:pt x="11031" y="3907"/>
                  <a:pt x="11063" y="3907"/>
                </a:cubicBezTo>
                <a:cubicBezTo>
                  <a:pt x="11063" y="3875"/>
                  <a:pt x="11094" y="3875"/>
                  <a:pt x="11094" y="3844"/>
                </a:cubicBezTo>
                <a:cubicBezTo>
                  <a:pt x="11188" y="3719"/>
                  <a:pt x="11344" y="3625"/>
                  <a:pt x="11344" y="3438"/>
                </a:cubicBezTo>
                <a:cubicBezTo>
                  <a:pt x="11344" y="3375"/>
                  <a:pt x="11469" y="3250"/>
                  <a:pt x="11594" y="3344"/>
                </a:cubicBezTo>
                <a:cubicBezTo>
                  <a:pt x="11625" y="3375"/>
                  <a:pt x="11688" y="3375"/>
                  <a:pt x="11719" y="3407"/>
                </a:cubicBezTo>
                <a:cubicBezTo>
                  <a:pt x="11719" y="3407"/>
                  <a:pt x="11750" y="3407"/>
                  <a:pt x="11750" y="3407"/>
                </a:cubicBezTo>
                <a:cubicBezTo>
                  <a:pt x="11750" y="3407"/>
                  <a:pt x="11781" y="3407"/>
                  <a:pt x="11781" y="3407"/>
                </a:cubicBezTo>
                <a:cubicBezTo>
                  <a:pt x="11781" y="3407"/>
                  <a:pt x="11781" y="3407"/>
                  <a:pt x="11813" y="3407"/>
                </a:cubicBezTo>
                <a:cubicBezTo>
                  <a:pt x="11813" y="3407"/>
                  <a:pt x="11844" y="3407"/>
                  <a:pt x="11844" y="3407"/>
                </a:cubicBezTo>
                <a:cubicBezTo>
                  <a:pt x="11906" y="3438"/>
                  <a:pt x="11938" y="3469"/>
                  <a:pt x="11906" y="3563"/>
                </a:cubicBezTo>
                <a:cubicBezTo>
                  <a:pt x="11938" y="3563"/>
                  <a:pt x="11969" y="3563"/>
                  <a:pt x="12000" y="3563"/>
                </a:cubicBezTo>
                <a:cubicBezTo>
                  <a:pt x="12063" y="3563"/>
                  <a:pt x="12094" y="3532"/>
                  <a:pt x="12094" y="3469"/>
                </a:cubicBezTo>
                <a:cubicBezTo>
                  <a:pt x="12125" y="3375"/>
                  <a:pt x="12188" y="3250"/>
                  <a:pt x="12313" y="3250"/>
                </a:cubicBezTo>
                <a:cubicBezTo>
                  <a:pt x="12375" y="3157"/>
                  <a:pt x="12469" y="3157"/>
                  <a:pt x="12531" y="3125"/>
                </a:cubicBezTo>
                <a:cubicBezTo>
                  <a:pt x="12594" y="3063"/>
                  <a:pt x="12656" y="3000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625" y="2907"/>
                  <a:pt x="12625" y="2907"/>
                  <a:pt x="12625" y="2907"/>
                </a:cubicBezTo>
                <a:cubicBezTo>
                  <a:pt x="12594" y="2907"/>
                  <a:pt x="12594" y="2907"/>
                  <a:pt x="12563" y="2907"/>
                </a:cubicBezTo>
                <a:cubicBezTo>
                  <a:pt x="12500" y="2969"/>
                  <a:pt x="12469" y="2969"/>
                  <a:pt x="12406" y="2875"/>
                </a:cubicBezTo>
                <a:cubicBezTo>
                  <a:pt x="12375" y="2782"/>
                  <a:pt x="12469" y="2844"/>
                  <a:pt x="12500" y="2813"/>
                </a:cubicBezTo>
                <a:cubicBezTo>
                  <a:pt x="12563" y="2750"/>
                  <a:pt x="12594" y="2750"/>
                  <a:pt x="12625" y="2688"/>
                </a:cubicBezTo>
                <a:cubicBezTo>
                  <a:pt x="12719" y="2375"/>
                  <a:pt x="13031" y="2219"/>
                  <a:pt x="13156" y="1969"/>
                </a:cubicBezTo>
                <a:cubicBezTo>
                  <a:pt x="13313" y="1594"/>
                  <a:pt x="13594" y="1344"/>
                  <a:pt x="13844" y="1063"/>
                </a:cubicBezTo>
                <a:cubicBezTo>
                  <a:pt x="13906" y="969"/>
                  <a:pt x="14031" y="907"/>
                  <a:pt x="14094" y="782"/>
                </a:cubicBezTo>
                <a:cubicBezTo>
                  <a:pt x="14094" y="688"/>
                  <a:pt x="14188" y="719"/>
                  <a:pt x="14250" y="750"/>
                </a:cubicBezTo>
                <a:cubicBezTo>
                  <a:pt x="14313" y="844"/>
                  <a:pt x="14406" y="875"/>
                  <a:pt x="14469" y="969"/>
                </a:cubicBezTo>
                <a:cubicBezTo>
                  <a:pt x="14531" y="1125"/>
                  <a:pt x="14625" y="1125"/>
                  <a:pt x="14750" y="1063"/>
                </a:cubicBezTo>
                <a:cubicBezTo>
                  <a:pt x="14875" y="1000"/>
                  <a:pt x="14906" y="1063"/>
                  <a:pt x="14906" y="1188"/>
                </a:cubicBezTo>
                <a:cubicBezTo>
                  <a:pt x="14906" y="1250"/>
                  <a:pt x="14906" y="1313"/>
                  <a:pt x="14906" y="1375"/>
                </a:cubicBezTo>
                <a:cubicBezTo>
                  <a:pt x="14938" y="1407"/>
                  <a:pt x="14938" y="1438"/>
                  <a:pt x="15000" y="1469"/>
                </a:cubicBezTo>
                <a:cubicBezTo>
                  <a:pt x="15000" y="1469"/>
                  <a:pt x="15000" y="1469"/>
                  <a:pt x="15031" y="1469"/>
                </a:cubicBezTo>
                <a:cubicBezTo>
                  <a:pt x="15063" y="1407"/>
                  <a:pt x="15094" y="1344"/>
                  <a:pt x="15156" y="1344"/>
                </a:cubicBezTo>
                <a:cubicBezTo>
                  <a:pt x="15219" y="1282"/>
                  <a:pt x="15281" y="1157"/>
                  <a:pt x="15375" y="1313"/>
                </a:cubicBezTo>
                <a:cubicBezTo>
                  <a:pt x="15375" y="1313"/>
                  <a:pt x="15375" y="1344"/>
                  <a:pt x="15375" y="1344"/>
                </a:cubicBezTo>
                <a:cubicBezTo>
                  <a:pt x="15656" y="1250"/>
                  <a:pt x="15656" y="1500"/>
                  <a:pt x="15750" y="1625"/>
                </a:cubicBezTo>
                <a:cubicBezTo>
                  <a:pt x="15750" y="1625"/>
                  <a:pt x="15781" y="1625"/>
                  <a:pt x="15781" y="1657"/>
                </a:cubicBezTo>
                <a:cubicBezTo>
                  <a:pt x="16000" y="1594"/>
                  <a:pt x="16125" y="1657"/>
                  <a:pt x="16125" y="1844"/>
                </a:cubicBezTo>
                <a:cubicBezTo>
                  <a:pt x="16406" y="1813"/>
                  <a:pt x="16406" y="1813"/>
                  <a:pt x="16281" y="2125"/>
                </a:cubicBezTo>
                <a:cubicBezTo>
                  <a:pt x="16438" y="2000"/>
                  <a:pt x="16594" y="2157"/>
                  <a:pt x="16781" y="2000"/>
                </a:cubicBezTo>
                <a:cubicBezTo>
                  <a:pt x="16688" y="2157"/>
                  <a:pt x="16656" y="2219"/>
                  <a:pt x="16625" y="2313"/>
                </a:cubicBezTo>
                <a:cubicBezTo>
                  <a:pt x="16719" y="2375"/>
                  <a:pt x="16844" y="2282"/>
                  <a:pt x="16938" y="2375"/>
                </a:cubicBezTo>
                <a:cubicBezTo>
                  <a:pt x="16969" y="2438"/>
                  <a:pt x="17031" y="2375"/>
                  <a:pt x="17063" y="2313"/>
                </a:cubicBezTo>
                <a:cubicBezTo>
                  <a:pt x="17156" y="2094"/>
                  <a:pt x="17375" y="1938"/>
                  <a:pt x="17469" y="1719"/>
                </a:cubicBezTo>
                <a:cubicBezTo>
                  <a:pt x="17656" y="1313"/>
                  <a:pt x="17969" y="1000"/>
                  <a:pt x="18250" y="688"/>
                </a:cubicBezTo>
                <a:cubicBezTo>
                  <a:pt x="18500" y="407"/>
                  <a:pt x="18500" y="438"/>
                  <a:pt x="18719" y="719"/>
                </a:cubicBezTo>
                <a:cubicBezTo>
                  <a:pt x="18781" y="782"/>
                  <a:pt x="18844" y="844"/>
                  <a:pt x="18969" y="844"/>
                </a:cubicBezTo>
                <a:cubicBezTo>
                  <a:pt x="19125" y="875"/>
                  <a:pt x="19188" y="969"/>
                  <a:pt x="19125" y="1125"/>
                </a:cubicBezTo>
                <a:cubicBezTo>
                  <a:pt x="19125" y="1157"/>
                  <a:pt x="19125" y="1157"/>
                  <a:pt x="19094" y="1188"/>
                </a:cubicBezTo>
                <a:cubicBezTo>
                  <a:pt x="19125" y="1219"/>
                  <a:pt x="19125" y="1219"/>
                  <a:pt x="19156" y="1219"/>
                </a:cubicBezTo>
                <a:cubicBezTo>
                  <a:pt x="19219" y="1219"/>
                  <a:pt x="19281" y="1157"/>
                  <a:pt x="19313" y="1094"/>
                </a:cubicBezTo>
                <a:cubicBezTo>
                  <a:pt x="19406" y="907"/>
                  <a:pt x="19563" y="1000"/>
                  <a:pt x="19688" y="1000"/>
                </a:cubicBezTo>
                <a:cubicBezTo>
                  <a:pt x="19750" y="969"/>
                  <a:pt x="19844" y="1157"/>
                  <a:pt x="19844" y="1250"/>
                </a:cubicBezTo>
                <a:cubicBezTo>
                  <a:pt x="19844" y="1375"/>
                  <a:pt x="19906" y="1344"/>
                  <a:pt x="19969" y="1313"/>
                </a:cubicBezTo>
                <a:cubicBezTo>
                  <a:pt x="20031" y="1313"/>
                  <a:pt x="20094" y="1313"/>
                  <a:pt x="20156" y="1250"/>
                </a:cubicBezTo>
                <a:cubicBezTo>
                  <a:pt x="20188" y="1219"/>
                  <a:pt x="20281" y="1188"/>
                  <a:pt x="20281" y="1250"/>
                </a:cubicBezTo>
                <a:cubicBezTo>
                  <a:pt x="20281" y="1375"/>
                  <a:pt x="20344" y="1344"/>
                  <a:pt x="20438" y="1344"/>
                </a:cubicBezTo>
                <a:cubicBezTo>
                  <a:pt x="20531" y="1344"/>
                  <a:pt x="20500" y="1438"/>
                  <a:pt x="20500" y="1500"/>
                </a:cubicBezTo>
                <a:cubicBezTo>
                  <a:pt x="20500" y="1594"/>
                  <a:pt x="20469" y="1688"/>
                  <a:pt x="20625" y="1625"/>
                </a:cubicBezTo>
                <a:cubicBezTo>
                  <a:pt x="20656" y="1594"/>
                  <a:pt x="20719" y="1594"/>
                  <a:pt x="20719" y="1657"/>
                </a:cubicBezTo>
                <a:cubicBezTo>
                  <a:pt x="20781" y="1813"/>
                  <a:pt x="20938" y="1844"/>
                  <a:pt x="21094" y="1907"/>
                </a:cubicBezTo>
                <a:cubicBezTo>
                  <a:pt x="21156" y="1938"/>
                  <a:pt x="21219" y="1969"/>
                  <a:pt x="21219" y="1875"/>
                </a:cubicBezTo>
                <a:cubicBezTo>
                  <a:pt x="21281" y="1657"/>
                  <a:pt x="21438" y="1500"/>
                  <a:pt x="21531" y="1282"/>
                </a:cubicBezTo>
                <a:cubicBezTo>
                  <a:pt x="21688" y="844"/>
                  <a:pt x="21969" y="469"/>
                  <a:pt x="22313" y="125"/>
                </a:cubicBezTo>
                <a:cubicBezTo>
                  <a:pt x="22438" y="0"/>
                  <a:pt x="22531" y="157"/>
                  <a:pt x="22563" y="250"/>
                </a:cubicBezTo>
                <a:cubicBezTo>
                  <a:pt x="22625" y="375"/>
                  <a:pt x="22719" y="469"/>
                  <a:pt x="22906" y="438"/>
                </a:cubicBezTo>
                <a:cubicBezTo>
                  <a:pt x="23000" y="438"/>
                  <a:pt x="23000" y="469"/>
                  <a:pt x="22969" y="563"/>
                </a:cubicBezTo>
                <a:cubicBezTo>
                  <a:pt x="22969" y="594"/>
                  <a:pt x="22969" y="657"/>
                  <a:pt x="22938" y="719"/>
                </a:cubicBezTo>
                <a:cubicBezTo>
                  <a:pt x="22969" y="719"/>
                  <a:pt x="22969" y="750"/>
                  <a:pt x="23000" y="750"/>
                </a:cubicBezTo>
                <a:cubicBezTo>
                  <a:pt x="23063" y="657"/>
                  <a:pt x="23156" y="563"/>
                  <a:pt x="23219" y="469"/>
                </a:cubicBezTo>
                <a:cubicBezTo>
                  <a:pt x="23250" y="532"/>
                  <a:pt x="23250" y="625"/>
                  <a:pt x="23219" y="688"/>
                </a:cubicBezTo>
                <a:cubicBezTo>
                  <a:pt x="23313" y="688"/>
                  <a:pt x="23344" y="594"/>
                  <a:pt x="23375" y="532"/>
                </a:cubicBezTo>
                <a:cubicBezTo>
                  <a:pt x="23406" y="500"/>
                  <a:pt x="23438" y="469"/>
                  <a:pt x="23500" y="469"/>
                </a:cubicBezTo>
                <a:cubicBezTo>
                  <a:pt x="23563" y="500"/>
                  <a:pt x="23531" y="563"/>
                  <a:pt x="23531" y="625"/>
                </a:cubicBezTo>
                <a:cubicBezTo>
                  <a:pt x="23531" y="782"/>
                  <a:pt x="23594" y="813"/>
                  <a:pt x="23750" y="750"/>
                </a:cubicBezTo>
                <a:cubicBezTo>
                  <a:pt x="24000" y="688"/>
                  <a:pt x="24219" y="844"/>
                  <a:pt x="24188" y="1125"/>
                </a:cubicBezTo>
                <a:cubicBezTo>
                  <a:pt x="24156" y="1157"/>
                  <a:pt x="24125" y="1188"/>
                  <a:pt x="24188" y="1219"/>
                </a:cubicBezTo>
                <a:cubicBezTo>
                  <a:pt x="24250" y="1219"/>
                  <a:pt x="24281" y="1219"/>
                  <a:pt x="24313" y="1157"/>
                </a:cubicBezTo>
                <a:cubicBezTo>
                  <a:pt x="24375" y="1032"/>
                  <a:pt x="24438" y="1063"/>
                  <a:pt x="24438" y="1188"/>
                </a:cubicBezTo>
                <a:cubicBezTo>
                  <a:pt x="24438" y="1219"/>
                  <a:pt x="24469" y="1250"/>
                  <a:pt x="24469" y="1250"/>
                </a:cubicBezTo>
                <a:cubicBezTo>
                  <a:pt x="24688" y="1313"/>
                  <a:pt x="24750" y="1563"/>
                  <a:pt x="24969" y="1657"/>
                </a:cubicBezTo>
                <a:cubicBezTo>
                  <a:pt x="25031" y="1688"/>
                  <a:pt x="25000" y="1782"/>
                  <a:pt x="24969" y="1844"/>
                </a:cubicBezTo>
                <a:cubicBezTo>
                  <a:pt x="24969" y="1875"/>
                  <a:pt x="24906" y="1938"/>
                  <a:pt x="24969" y="1969"/>
                </a:cubicBezTo>
                <a:cubicBezTo>
                  <a:pt x="25031" y="2000"/>
                  <a:pt x="25094" y="1969"/>
                  <a:pt x="25094" y="1938"/>
                </a:cubicBezTo>
                <a:cubicBezTo>
                  <a:pt x="25188" y="1844"/>
                  <a:pt x="25281" y="1750"/>
                  <a:pt x="25375" y="1938"/>
                </a:cubicBezTo>
                <a:cubicBezTo>
                  <a:pt x="25406" y="2000"/>
                  <a:pt x="25563" y="1969"/>
                  <a:pt x="25594" y="2063"/>
                </a:cubicBezTo>
                <a:cubicBezTo>
                  <a:pt x="25719" y="1969"/>
                  <a:pt x="25844" y="1907"/>
                  <a:pt x="25938" y="1750"/>
                </a:cubicBezTo>
                <a:cubicBezTo>
                  <a:pt x="26031" y="1625"/>
                  <a:pt x="26156" y="1500"/>
                  <a:pt x="26313" y="1438"/>
                </a:cubicBezTo>
                <a:cubicBezTo>
                  <a:pt x="26375" y="1407"/>
                  <a:pt x="26438" y="1375"/>
                  <a:pt x="26500" y="1438"/>
                </a:cubicBezTo>
                <a:cubicBezTo>
                  <a:pt x="26563" y="1532"/>
                  <a:pt x="26625" y="1657"/>
                  <a:pt x="26719" y="1719"/>
                </a:cubicBezTo>
                <a:cubicBezTo>
                  <a:pt x="26875" y="1844"/>
                  <a:pt x="26844" y="1875"/>
                  <a:pt x="26813" y="2094"/>
                </a:cubicBezTo>
                <a:cubicBezTo>
                  <a:pt x="26906" y="2032"/>
                  <a:pt x="26969" y="1938"/>
                  <a:pt x="27063" y="1938"/>
                </a:cubicBezTo>
                <a:cubicBezTo>
                  <a:pt x="27125" y="1907"/>
                  <a:pt x="27188" y="1719"/>
                  <a:pt x="27219" y="1938"/>
                </a:cubicBezTo>
                <a:cubicBezTo>
                  <a:pt x="27219" y="1938"/>
                  <a:pt x="27250" y="1938"/>
                  <a:pt x="27281" y="1938"/>
                </a:cubicBezTo>
                <a:cubicBezTo>
                  <a:pt x="27375" y="1750"/>
                  <a:pt x="27438" y="1875"/>
                  <a:pt x="27563" y="1938"/>
                </a:cubicBezTo>
                <a:cubicBezTo>
                  <a:pt x="27688" y="2032"/>
                  <a:pt x="27844" y="2125"/>
                  <a:pt x="28000" y="2125"/>
                </a:cubicBezTo>
                <a:cubicBezTo>
                  <a:pt x="28094" y="2157"/>
                  <a:pt x="28156" y="2188"/>
                  <a:pt x="28188" y="2250"/>
                </a:cubicBezTo>
                <a:cubicBezTo>
                  <a:pt x="28250" y="2407"/>
                  <a:pt x="28344" y="2344"/>
                  <a:pt x="28406" y="2282"/>
                </a:cubicBezTo>
                <a:cubicBezTo>
                  <a:pt x="28531" y="2188"/>
                  <a:pt x="28594" y="2032"/>
                  <a:pt x="28688" y="1938"/>
                </a:cubicBezTo>
                <a:cubicBezTo>
                  <a:pt x="28781" y="1813"/>
                  <a:pt x="28875" y="1782"/>
                  <a:pt x="29000" y="1938"/>
                </a:cubicBezTo>
                <a:cubicBezTo>
                  <a:pt x="29063" y="2000"/>
                  <a:pt x="29125" y="2188"/>
                  <a:pt x="29313" y="1969"/>
                </a:cubicBezTo>
                <a:cubicBezTo>
                  <a:pt x="29281" y="2344"/>
                  <a:pt x="29031" y="2563"/>
                  <a:pt x="29000" y="2875"/>
                </a:cubicBezTo>
                <a:cubicBezTo>
                  <a:pt x="29125" y="2719"/>
                  <a:pt x="29281" y="2532"/>
                  <a:pt x="29375" y="2344"/>
                </a:cubicBezTo>
                <a:cubicBezTo>
                  <a:pt x="29469" y="2157"/>
                  <a:pt x="29656" y="2125"/>
                  <a:pt x="29844" y="2032"/>
                </a:cubicBezTo>
                <a:cubicBezTo>
                  <a:pt x="29875" y="2000"/>
                  <a:pt x="29906" y="2032"/>
                  <a:pt x="29906" y="2063"/>
                </a:cubicBezTo>
                <a:cubicBezTo>
                  <a:pt x="29938" y="2219"/>
                  <a:pt x="30094" y="2188"/>
                  <a:pt x="30219" y="2219"/>
                </a:cubicBezTo>
                <a:cubicBezTo>
                  <a:pt x="30281" y="2219"/>
                  <a:pt x="30313" y="2219"/>
                  <a:pt x="30375" y="2250"/>
                </a:cubicBezTo>
                <a:cubicBezTo>
                  <a:pt x="30594" y="2438"/>
                  <a:pt x="30844" y="2469"/>
                  <a:pt x="31094" y="2594"/>
                </a:cubicBezTo>
                <a:cubicBezTo>
                  <a:pt x="31594" y="2813"/>
                  <a:pt x="31938" y="3157"/>
                  <a:pt x="32094" y="3688"/>
                </a:cubicBezTo>
                <a:cubicBezTo>
                  <a:pt x="32125" y="3719"/>
                  <a:pt x="32125" y="3782"/>
                  <a:pt x="32156" y="3844"/>
                </a:cubicBezTo>
                <a:cubicBezTo>
                  <a:pt x="32344" y="4000"/>
                  <a:pt x="32344" y="4282"/>
                  <a:pt x="32469" y="4469"/>
                </a:cubicBezTo>
                <a:cubicBezTo>
                  <a:pt x="32531" y="4594"/>
                  <a:pt x="32531" y="4688"/>
                  <a:pt x="32500" y="4813"/>
                </a:cubicBezTo>
                <a:cubicBezTo>
                  <a:pt x="32500" y="4875"/>
                  <a:pt x="32438" y="4969"/>
                  <a:pt x="32563" y="5032"/>
                </a:cubicBezTo>
                <a:cubicBezTo>
                  <a:pt x="32625" y="5063"/>
                  <a:pt x="32500" y="5125"/>
                  <a:pt x="32500" y="5219"/>
                </a:cubicBezTo>
                <a:cubicBezTo>
                  <a:pt x="32531" y="5219"/>
                  <a:pt x="32563" y="5250"/>
                  <a:pt x="32594" y="5188"/>
                </a:cubicBezTo>
                <a:cubicBezTo>
                  <a:pt x="32656" y="5157"/>
                  <a:pt x="32719" y="5157"/>
                  <a:pt x="32750" y="5188"/>
                </a:cubicBezTo>
                <a:cubicBezTo>
                  <a:pt x="32781" y="5219"/>
                  <a:pt x="32813" y="5282"/>
                  <a:pt x="32781" y="5344"/>
                </a:cubicBezTo>
                <a:cubicBezTo>
                  <a:pt x="32750" y="5438"/>
                  <a:pt x="32719" y="5532"/>
                  <a:pt x="32844" y="5594"/>
                </a:cubicBezTo>
                <a:cubicBezTo>
                  <a:pt x="32844" y="5594"/>
                  <a:pt x="32844" y="5594"/>
                  <a:pt x="32844" y="5594"/>
                </a:cubicBezTo>
                <a:cubicBezTo>
                  <a:pt x="32844" y="5594"/>
                  <a:pt x="32844" y="5625"/>
                  <a:pt x="32844" y="5657"/>
                </a:cubicBezTo>
                <a:cubicBezTo>
                  <a:pt x="32844" y="5657"/>
                  <a:pt x="32844" y="5657"/>
                  <a:pt x="32844" y="5657"/>
                </a:cubicBezTo>
                <a:cubicBezTo>
                  <a:pt x="32969" y="5657"/>
                  <a:pt x="32969" y="5719"/>
                  <a:pt x="32938" y="5813"/>
                </a:cubicBezTo>
                <a:cubicBezTo>
                  <a:pt x="32906" y="5907"/>
                  <a:pt x="32844" y="6032"/>
                  <a:pt x="33063" y="5969"/>
                </a:cubicBezTo>
                <a:cubicBezTo>
                  <a:pt x="33063" y="5969"/>
                  <a:pt x="33094" y="5969"/>
                  <a:pt x="33125" y="6000"/>
                </a:cubicBezTo>
                <a:cubicBezTo>
                  <a:pt x="33125" y="6000"/>
                  <a:pt x="33156" y="6032"/>
                  <a:pt x="33156" y="6032"/>
                </a:cubicBezTo>
                <a:lnTo>
                  <a:pt x="33156" y="6032"/>
                </a:lnTo>
                <a:cubicBezTo>
                  <a:pt x="33094" y="6250"/>
                  <a:pt x="33469" y="6282"/>
                  <a:pt x="33313" y="6563"/>
                </a:cubicBezTo>
                <a:cubicBezTo>
                  <a:pt x="33156" y="6907"/>
                  <a:pt x="33000" y="7282"/>
                  <a:pt x="32813" y="7625"/>
                </a:cubicBezTo>
                <a:cubicBezTo>
                  <a:pt x="32656" y="7907"/>
                  <a:pt x="32531" y="8219"/>
                  <a:pt x="32406" y="8500"/>
                </a:cubicBezTo>
                <a:cubicBezTo>
                  <a:pt x="32344" y="8625"/>
                  <a:pt x="32313" y="8782"/>
                  <a:pt x="32156" y="8844"/>
                </a:cubicBezTo>
                <a:cubicBezTo>
                  <a:pt x="32063" y="8875"/>
                  <a:pt x="32156" y="9032"/>
                  <a:pt x="32063" y="9125"/>
                </a:cubicBezTo>
                <a:cubicBezTo>
                  <a:pt x="32000" y="9000"/>
                  <a:pt x="31969" y="8844"/>
                  <a:pt x="32031" y="8657"/>
                </a:cubicBezTo>
                <a:cubicBezTo>
                  <a:pt x="31875" y="8750"/>
                  <a:pt x="31906" y="8907"/>
                  <a:pt x="31813" y="9000"/>
                </a:cubicBezTo>
                <a:cubicBezTo>
                  <a:pt x="31813" y="9000"/>
                  <a:pt x="31813" y="9032"/>
                  <a:pt x="31813" y="9063"/>
                </a:cubicBezTo>
                <a:cubicBezTo>
                  <a:pt x="31844" y="9125"/>
                  <a:pt x="31656" y="9125"/>
                  <a:pt x="31781" y="9219"/>
                </a:cubicBezTo>
                <a:cubicBezTo>
                  <a:pt x="31906" y="9344"/>
                  <a:pt x="31938" y="9157"/>
                  <a:pt x="32000" y="9125"/>
                </a:cubicBezTo>
                <a:cubicBezTo>
                  <a:pt x="32031" y="9313"/>
                  <a:pt x="31844" y="9750"/>
                  <a:pt x="31719" y="9813"/>
                </a:cubicBezTo>
                <a:cubicBezTo>
                  <a:pt x="31656" y="9844"/>
                  <a:pt x="31688" y="9750"/>
                  <a:pt x="31625" y="9750"/>
                </a:cubicBezTo>
                <a:cubicBezTo>
                  <a:pt x="31438" y="9750"/>
                  <a:pt x="31281" y="9938"/>
                  <a:pt x="31250" y="10188"/>
                </a:cubicBezTo>
                <a:cubicBezTo>
                  <a:pt x="31250" y="10219"/>
                  <a:pt x="31250" y="10250"/>
                  <a:pt x="31250" y="10282"/>
                </a:cubicBezTo>
                <a:cubicBezTo>
                  <a:pt x="31281" y="10344"/>
                  <a:pt x="31188" y="10500"/>
                  <a:pt x="31375" y="10469"/>
                </a:cubicBezTo>
                <a:cubicBezTo>
                  <a:pt x="31406" y="10469"/>
                  <a:pt x="31438" y="10532"/>
                  <a:pt x="31406" y="10563"/>
                </a:cubicBezTo>
                <a:cubicBezTo>
                  <a:pt x="31406" y="10563"/>
                  <a:pt x="31375" y="10594"/>
                  <a:pt x="31375" y="10625"/>
                </a:cubicBezTo>
                <a:cubicBezTo>
                  <a:pt x="31375" y="10657"/>
                  <a:pt x="31375" y="10688"/>
                  <a:pt x="31344" y="10688"/>
                </a:cubicBezTo>
                <a:cubicBezTo>
                  <a:pt x="31344" y="10719"/>
                  <a:pt x="31313" y="10719"/>
                  <a:pt x="31250" y="10719"/>
                </a:cubicBezTo>
                <a:cubicBezTo>
                  <a:pt x="31250" y="10719"/>
                  <a:pt x="31219" y="10750"/>
                  <a:pt x="31219" y="10750"/>
                </a:cubicBezTo>
                <a:cubicBezTo>
                  <a:pt x="31250" y="10844"/>
                  <a:pt x="31219" y="10907"/>
                  <a:pt x="31156" y="11000"/>
                </a:cubicBezTo>
                <a:cubicBezTo>
                  <a:pt x="31063" y="11094"/>
                  <a:pt x="30969" y="11157"/>
                  <a:pt x="30969" y="11313"/>
                </a:cubicBezTo>
                <a:cubicBezTo>
                  <a:pt x="31000" y="11375"/>
                  <a:pt x="30938" y="11407"/>
                  <a:pt x="30906" y="11438"/>
                </a:cubicBezTo>
                <a:cubicBezTo>
                  <a:pt x="30875" y="11500"/>
                  <a:pt x="30813" y="11500"/>
                  <a:pt x="30750" y="11500"/>
                </a:cubicBezTo>
                <a:cubicBezTo>
                  <a:pt x="30719" y="11500"/>
                  <a:pt x="30719" y="11469"/>
                  <a:pt x="30719" y="11438"/>
                </a:cubicBezTo>
                <a:cubicBezTo>
                  <a:pt x="30719" y="11344"/>
                  <a:pt x="30781" y="11344"/>
                  <a:pt x="30813" y="11313"/>
                </a:cubicBezTo>
                <a:cubicBezTo>
                  <a:pt x="30844" y="11282"/>
                  <a:pt x="31031" y="11313"/>
                  <a:pt x="30875" y="11188"/>
                </a:cubicBezTo>
                <a:cubicBezTo>
                  <a:pt x="30875" y="11188"/>
                  <a:pt x="30938" y="11094"/>
                  <a:pt x="30969" y="11063"/>
                </a:cubicBezTo>
                <a:cubicBezTo>
                  <a:pt x="30969" y="10969"/>
                  <a:pt x="31094" y="10844"/>
                  <a:pt x="30875" y="10875"/>
                </a:cubicBezTo>
                <a:cubicBezTo>
                  <a:pt x="30750" y="11188"/>
                  <a:pt x="30594" y="11500"/>
                  <a:pt x="30406" y="11750"/>
                </a:cubicBezTo>
                <a:cubicBezTo>
                  <a:pt x="30156" y="12063"/>
                  <a:pt x="30000" y="12438"/>
                  <a:pt x="29719" y="12719"/>
                </a:cubicBezTo>
                <a:cubicBezTo>
                  <a:pt x="29625" y="12813"/>
                  <a:pt x="29563" y="12907"/>
                  <a:pt x="29500" y="13032"/>
                </a:cubicBezTo>
                <a:cubicBezTo>
                  <a:pt x="29375" y="13282"/>
                  <a:pt x="29156" y="13438"/>
                  <a:pt x="29000" y="13688"/>
                </a:cubicBezTo>
                <a:cubicBezTo>
                  <a:pt x="28906" y="13875"/>
                  <a:pt x="28813" y="14032"/>
                  <a:pt x="28688" y="14219"/>
                </a:cubicBezTo>
                <a:cubicBezTo>
                  <a:pt x="28719" y="14063"/>
                  <a:pt x="28656" y="14032"/>
                  <a:pt x="28531" y="14032"/>
                </a:cubicBezTo>
                <a:cubicBezTo>
                  <a:pt x="28438" y="14282"/>
                  <a:pt x="28188" y="14375"/>
                  <a:pt x="28031" y="14563"/>
                </a:cubicBezTo>
                <a:cubicBezTo>
                  <a:pt x="28000" y="14625"/>
                  <a:pt x="27844" y="14657"/>
                  <a:pt x="27969" y="14782"/>
                </a:cubicBezTo>
                <a:cubicBezTo>
                  <a:pt x="27969" y="14782"/>
                  <a:pt x="27906" y="14875"/>
                  <a:pt x="27906" y="14907"/>
                </a:cubicBezTo>
                <a:cubicBezTo>
                  <a:pt x="27688" y="14938"/>
                  <a:pt x="27656" y="15157"/>
                  <a:pt x="27500" y="15250"/>
                </a:cubicBezTo>
                <a:cubicBezTo>
                  <a:pt x="26969" y="15532"/>
                  <a:pt x="26719" y="16125"/>
                  <a:pt x="26281" y="16532"/>
                </a:cubicBezTo>
                <a:cubicBezTo>
                  <a:pt x="26125" y="16657"/>
                  <a:pt x="25938" y="16782"/>
                  <a:pt x="25719" y="16907"/>
                </a:cubicBezTo>
                <a:cubicBezTo>
                  <a:pt x="25938" y="16657"/>
                  <a:pt x="26125" y="16438"/>
                  <a:pt x="26344" y="16219"/>
                </a:cubicBezTo>
                <a:cubicBezTo>
                  <a:pt x="26219" y="16188"/>
                  <a:pt x="26156" y="16313"/>
                  <a:pt x="26094" y="16375"/>
                </a:cubicBezTo>
                <a:cubicBezTo>
                  <a:pt x="25719" y="16782"/>
                  <a:pt x="25344" y="17125"/>
                  <a:pt x="24938" y="17469"/>
                </a:cubicBezTo>
                <a:cubicBezTo>
                  <a:pt x="24688" y="17688"/>
                  <a:pt x="24406" y="17813"/>
                  <a:pt x="24094" y="17782"/>
                </a:cubicBezTo>
                <a:cubicBezTo>
                  <a:pt x="24000" y="17782"/>
                  <a:pt x="23938" y="17688"/>
                  <a:pt x="23813" y="17719"/>
                </a:cubicBezTo>
                <a:cubicBezTo>
                  <a:pt x="23906" y="17563"/>
                  <a:pt x="24063" y="17563"/>
                  <a:pt x="24125" y="17438"/>
                </a:cubicBezTo>
                <a:cubicBezTo>
                  <a:pt x="24063" y="17407"/>
                  <a:pt x="24031" y="17407"/>
                  <a:pt x="24000" y="17438"/>
                </a:cubicBezTo>
                <a:cubicBezTo>
                  <a:pt x="23688" y="17688"/>
                  <a:pt x="23438" y="17532"/>
                  <a:pt x="23188" y="17344"/>
                </a:cubicBezTo>
                <a:cubicBezTo>
                  <a:pt x="23031" y="17250"/>
                  <a:pt x="22906" y="17094"/>
                  <a:pt x="22688" y="17063"/>
                </a:cubicBezTo>
                <a:cubicBezTo>
                  <a:pt x="22781" y="16969"/>
                  <a:pt x="22938" y="16938"/>
                  <a:pt x="23000" y="16813"/>
                </a:cubicBezTo>
                <a:cubicBezTo>
                  <a:pt x="23031" y="16782"/>
                  <a:pt x="23125" y="16719"/>
                  <a:pt x="23063" y="16688"/>
                </a:cubicBezTo>
                <a:cubicBezTo>
                  <a:pt x="23031" y="16625"/>
                  <a:pt x="22969" y="16719"/>
                  <a:pt x="22938" y="16750"/>
                </a:cubicBezTo>
                <a:cubicBezTo>
                  <a:pt x="22813" y="16813"/>
                  <a:pt x="22719" y="16938"/>
                  <a:pt x="22563" y="16938"/>
                </a:cubicBezTo>
                <a:cubicBezTo>
                  <a:pt x="22531" y="16875"/>
                  <a:pt x="22563" y="16844"/>
                  <a:pt x="22594" y="16813"/>
                </a:cubicBezTo>
                <a:cubicBezTo>
                  <a:pt x="22969" y="16532"/>
                  <a:pt x="23250" y="16157"/>
                  <a:pt x="23531" y="15782"/>
                </a:cubicBezTo>
                <a:cubicBezTo>
                  <a:pt x="23563" y="15719"/>
                  <a:pt x="23594" y="15657"/>
                  <a:pt x="23563" y="15563"/>
                </a:cubicBezTo>
                <a:cubicBezTo>
                  <a:pt x="23250" y="15782"/>
                  <a:pt x="22938" y="16000"/>
                  <a:pt x="22719" y="16313"/>
                </a:cubicBezTo>
                <a:cubicBezTo>
                  <a:pt x="22656" y="16250"/>
                  <a:pt x="22781" y="16188"/>
                  <a:pt x="22688" y="16188"/>
                </a:cubicBezTo>
                <a:cubicBezTo>
                  <a:pt x="22625" y="16157"/>
                  <a:pt x="22563" y="16188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625" y="16313"/>
                  <a:pt x="22625" y="16313"/>
                  <a:pt x="22625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313"/>
                </a:cubicBezTo>
                <a:cubicBezTo>
                  <a:pt x="22594" y="16313"/>
                  <a:pt x="22594" y="16313"/>
                  <a:pt x="22594" y="16282"/>
                </a:cubicBezTo>
                <a:cubicBezTo>
                  <a:pt x="22594" y="16282"/>
                  <a:pt x="22594" y="16282"/>
                  <a:pt x="22594" y="16282"/>
                </a:cubicBezTo>
                <a:cubicBezTo>
                  <a:pt x="22563" y="16282"/>
                  <a:pt x="22531" y="16282"/>
                  <a:pt x="22531" y="16282"/>
                </a:cubicBezTo>
                <a:cubicBezTo>
                  <a:pt x="22500" y="16282"/>
                  <a:pt x="22469" y="16313"/>
                  <a:pt x="22469" y="16344"/>
                </a:cubicBezTo>
                <a:cubicBezTo>
                  <a:pt x="22469" y="16344"/>
                  <a:pt x="22438" y="16344"/>
                  <a:pt x="22438" y="16344"/>
                </a:cubicBezTo>
                <a:cubicBezTo>
                  <a:pt x="22375" y="16438"/>
                  <a:pt x="22281" y="16500"/>
                  <a:pt x="22219" y="16563"/>
                </a:cubicBezTo>
                <a:cubicBezTo>
                  <a:pt x="22063" y="16657"/>
                  <a:pt x="21906" y="16750"/>
                  <a:pt x="21750" y="16813"/>
                </a:cubicBezTo>
                <a:cubicBezTo>
                  <a:pt x="21750" y="16813"/>
                  <a:pt x="21750" y="16813"/>
                  <a:pt x="21750" y="16813"/>
                </a:cubicBezTo>
                <a:cubicBezTo>
                  <a:pt x="21750" y="16813"/>
                  <a:pt x="21750" y="16844"/>
                  <a:pt x="21719" y="16844"/>
                </a:cubicBezTo>
                <a:cubicBezTo>
                  <a:pt x="21656" y="16969"/>
                  <a:pt x="21531" y="17032"/>
                  <a:pt x="21344" y="17094"/>
                </a:cubicBezTo>
                <a:cubicBezTo>
                  <a:pt x="21406" y="17000"/>
                  <a:pt x="21469" y="16938"/>
                  <a:pt x="21531" y="16907"/>
                </a:cubicBezTo>
                <a:cubicBezTo>
                  <a:pt x="21656" y="16844"/>
                  <a:pt x="21563" y="16782"/>
                  <a:pt x="21531" y="16719"/>
                </a:cubicBezTo>
                <a:cubicBezTo>
                  <a:pt x="21250" y="16938"/>
                  <a:pt x="21000" y="17157"/>
                  <a:pt x="20688" y="17344"/>
                </a:cubicBezTo>
                <a:cubicBezTo>
                  <a:pt x="20563" y="17438"/>
                  <a:pt x="20469" y="17469"/>
                  <a:pt x="20313" y="17438"/>
                </a:cubicBezTo>
                <a:cubicBezTo>
                  <a:pt x="19906" y="17407"/>
                  <a:pt x="19469" y="17407"/>
                  <a:pt x="19063" y="17250"/>
                </a:cubicBezTo>
                <a:cubicBezTo>
                  <a:pt x="19031" y="17219"/>
                  <a:pt x="19000" y="17219"/>
                  <a:pt x="19000" y="17188"/>
                </a:cubicBezTo>
                <a:cubicBezTo>
                  <a:pt x="18906" y="17063"/>
                  <a:pt x="18813" y="16907"/>
                  <a:pt x="18594" y="16938"/>
                </a:cubicBezTo>
                <a:cubicBezTo>
                  <a:pt x="18531" y="16938"/>
                  <a:pt x="18500" y="16875"/>
                  <a:pt x="18563" y="16844"/>
                </a:cubicBezTo>
                <a:cubicBezTo>
                  <a:pt x="18625" y="16782"/>
                  <a:pt x="18688" y="16719"/>
                  <a:pt x="18750" y="16657"/>
                </a:cubicBezTo>
                <a:cubicBezTo>
                  <a:pt x="18656" y="16563"/>
                  <a:pt x="18594" y="16657"/>
                  <a:pt x="18563" y="16688"/>
                </a:cubicBezTo>
                <a:cubicBezTo>
                  <a:pt x="18438" y="16782"/>
                  <a:pt x="18313" y="16813"/>
                  <a:pt x="18188" y="16782"/>
                </a:cubicBezTo>
                <a:cubicBezTo>
                  <a:pt x="18125" y="16782"/>
                  <a:pt x="18031" y="16844"/>
                  <a:pt x="18125" y="16719"/>
                </a:cubicBezTo>
                <a:cubicBezTo>
                  <a:pt x="18156" y="16688"/>
                  <a:pt x="18125" y="16657"/>
                  <a:pt x="18094" y="16657"/>
                </a:cubicBezTo>
                <a:cubicBezTo>
                  <a:pt x="18031" y="16688"/>
                  <a:pt x="17969" y="16719"/>
                  <a:pt x="18000" y="16782"/>
                </a:cubicBezTo>
                <a:cubicBezTo>
                  <a:pt x="18000" y="16782"/>
                  <a:pt x="18000" y="16782"/>
                  <a:pt x="18031" y="16782"/>
                </a:cubicBezTo>
                <a:cubicBezTo>
                  <a:pt x="18031" y="16782"/>
                  <a:pt x="18031" y="16782"/>
                  <a:pt x="18031" y="16782"/>
                </a:cubicBezTo>
                <a:cubicBezTo>
                  <a:pt x="18031" y="16782"/>
                  <a:pt x="18063" y="16782"/>
                  <a:pt x="18063" y="16813"/>
                </a:cubicBezTo>
                <a:cubicBezTo>
                  <a:pt x="18063" y="16813"/>
                  <a:pt x="18063" y="16844"/>
                  <a:pt x="18031" y="16844"/>
                </a:cubicBezTo>
                <a:cubicBezTo>
                  <a:pt x="18031" y="16844"/>
                  <a:pt x="18031" y="16844"/>
                  <a:pt x="18031" y="16813"/>
                </a:cubicBezTo>
                <a:cubicBezTo>
                  <a:pt x="18031" y="16813"/>
                  <a:pt x="18031" y="16813"/>
                  <a:pt x="18031" y="16782"/>
                </a:cubicBezTo>
                <a:cubicBezTo>
                  <a:pt x="18031" y="16782"/>
                  <a:pt x="18000" y="16782"/>
                  <a:pt x="18000" y="16782"/>
                </a:cubicBezTo>
                <a:cubicBezTo>
                  <a:pt x="18000" y="16782"/>
                  <a:pt x="18000" y="16782"/>
                  <a:pt x="18000" y="16782"/>
                </a:cubicBezTo>
                <a:cubicBezTo>
                  <a:pt x="18000" y="16782"/>
                  <a:pt x="17969" y="16782"/>
                  <a:pt x="17969" y="16782"/>
                </a:cubicBezTo>
                <a:cubicBezTo>
                  <a:pt x="17938" y="16782"/>
                  <a:pt x="17938" y="16782"/>
                  <a:pt x="17938" y="16782"/>
                </a:cubicBezTo>
                <a:cubicBezTo>
                  <a:pt x="17906" y="16813"/>
                  <a:pt x="17906" y="16813"/>
                  <a:pt x="17875" y="16844"/>
                </a:cubicBezTo>
                <a:cubicBezTo>
                  <a:pt x="17563" y="17125"/>
                  <a:pt x="17281" y="17407"/>
                  <a:pt x="16906" y="17625"/>
                </a:cubicBezTo>
                <a:cubicBezTo>
                  <a:pt x="16875" y="17625"/>
                  <a:pt x="16844" y="17657"/>
                  <a:pt x="16813" y="17657"/>
                </a:cubicBezTo>
                <a:cubicBezTo>
                  <a:pt x="16813" y="17657"/>
                  <a:pt x="16781" y="17657"/>
                  <a:pt x="16781" y="17657"/>
                </a:cubicBezTo>
                <a:cubicBezTo>
                  <a:pt x="16750" y="17657"/>
                  <a:pt x="16719" y="17657"/>
                  <a:pt x="16688" y="17657"/>
                </a:cubicBezTo>
                <a:cubicBezTo>
                  <a:pt x="16594" y="17719"/>
                  <a:pt x="16500" y="17782"/>
                  <a:pt x="16406" y="17907"/>
                </a:cubicBezTo>
                <a:cubicBezTo>
                  <a:pt x="16563" y="17844"/>
                  <a:pt x="16656" y="17782"/>
                  <a:pt x="16750" y="17719"/>
                </a:cubicBezTo>
                <a:cubicBezTo>
                  <a:pt x="16750" y="17719"/>
                  <a:pt x="16781" y="17688"/>
                  <a:pt x="16781" y="17688"/>
                </a:cubicBezTo>
                <a:cubicBezTo>
                  <a:pt x="16781" y="17688"/>
                  <a:pt x="16781" y="17657"/>
                  <a:pt x="16781" y="17657"/>
                </a:cubicBezTo>
                <a:cubicBezTo>
                  <a:pt x="16844" y="17500"/>
                  <a:pt x="17000" y="17438"/>
                  <a:pt x="17125" y="17344"/>
                </a:cubicBezTo>
                <a:cubicBezTo>
                  <a:pt x="17125" y="17313"/>
                  <a:pt x="17156" y="17313"/>
                  <a:pt x="17156" y="17282"/>
                </a:cubicBezTo>
                <a:cubicBezTo>
                  <a:pt x="17188" y="17250"/>
                  <a:pt x="17250" y="17219"/>
                  <a:pt x="17281" y="17188"/>
                </a:cubicBezTo>
                <a:cubicBezTo>
                  <a:pt x="17281" y="17188"/>
                  <a:pt x="17313" y="17188"/>
                  <a:pt x="17313" y="17157"/>
                </a:cubicBezTo>
                <a:cubicBezTo>
                  <a:pt x="17344" y="17125"/>
                  <a:pt x="17375" y="17125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94"/>
                  <a:pt x="17406" y="17094"/>
                  <a:pt x="17406" y="17094"/>
                </a:cubicBezTo>
                <a:cubicBezTo>
                  <a:pt x="17406" y="17063"/>
                  <a:pt x="17406" y="17032"/>
                  <a:pt x="17438" y="17032"/>
                </a:cubicBezTo>
                <a:cubicBezTo>
                  <a:pt x="17469" y="17032"/>
                  <a:pt x="17469" y="17032"/>
                  <a:pt x="17469" y="17032"/>
                </a:cubicBezTo>
                <a:cubicBezTo>
                  <a:pt x="17500" y="17032"/>
                  <a:pt x="17500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7000"/>
                  <a:pt x="17531" y="17000"/>
                  <a:pt x="17531" y="17000"/>
                </a:cubicBezTo>
                <a:cubicBezTo>
                  <a:pt x="17531" y="16938"/>
                  <a:pt x="17563" y="16907"/>
                  <a:pt x="17594" y="16907"/>
                </a:cubicBezTo>
                <a:cubicBezTo>
                  <a:pt x="17625" y="16907"/>
                  <a:pt x="17625" y="16875"/>
                  <a:pt x="17656" y="16875"/>
                </a:cubicBezTo>
                <a:cubicBezTo>
                  <a:pt x="17656" y="16875"/>
                  <a:pt x="17656" y="16875"/>
                  <a:pt x="17656" y="16875"/>
                </a:cubicBezTo>
                <a:cubicBezTo>
                  <a:pt x="17656" y="16844"/>
                  <a:pt x="17656" y="16782"/>
                  <a:pt x="17594" y="16782"/>
                </a:cubicBezTo>
                <a:cubicBezTo>
                  <a:pt x="17375" y="16813"/>
                  <a:pt x="17219" y="16969"/>
                  <a:pt x="17031" y="17094"/>
                </a:cubicBezTo>
                <a:cubicBezTo>
                  <a:pt x="16938" y="17188"/>
                  <a:pt x="16844" y="17250"/>
                  <a:pt x="16750" y="17282"/>
                </a:cubicBezTo>
                <a:cubicBezTo>
                  <a:pt x="16625" y="17469"/>
                  <a:pt x="16594" y="17563"/>
                  <a:pt x="15875" y="17657"/>
                </a:cubicBezTo>
                <a:cubicBezTo>
                  <a:pt x="15875" y="17750"/>
                  <a:pt x="16000" y="17688"/>
                  <a:pt x="15969" y="17750"/>
                </a:cubicBezTo>
                <a:cubicBezTo>
                  <a:pt x="15938" y="17813"/>
                  <a:pt x="15938" y="17719"/>
                  <a:pt x="15875" y="17719"/>
                </a:cubicBezTo>
                <a:cubicBezTo>
                  <a:pt x="15813" y="17750"/>
                  <a:pt x="15719" y="17750"/>
                  <a:pt x="15750" y="17875"/>
                </a:cubicBezTo>
                <a:cubicBezTo>
                  <a:pt x="15781" y="17907"/>
                  <a:pt x="15781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50" y="17938"/>
                  <a:pt x="15750" y="17938"/>
                  <a:pt x="15750" y="17938"/>
                </a:cubicBezTo>
                <a:cubicBezTo>
                  <a:pt x="15719" y="17938"/>
                  <a:pt x="15719" y="17938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88" y="17907"/>
                  <a:pt x="15688" y="17907"/>
                  <a:pt x="15688" y="17907"/>
                </a:cubicBezTo>
                <a:cubicBezTo>
                  <a:pt x="15656" y="17907"/>
                  <a:pt x="15656" y="17875"/>
                  <a:pt x="15656" y="17875"/>
                </a:cubicBezTo>
                <a:cubicBezTo>
                  <a:pt x="15625" y="17875"/>
                  <a:pt x="15594" y="17875"/>
                  <a:pt x="15594" y="17844"/>
                </a:cubicBezTo>
                <a:cubicBezTo>
                  <a:pt x="15719" y="17782"/>
                  <a:pt x="15813" y="17625"/>
                  <a:pt x="15969" y="17563"/>
                </a:cubicBezTo>
                <a:cubicBezTo>
                  <a:pt x="16000" y="17563"/>
                  <a:pt x="16031" y="17563"/>
                  <a:pt x="16031" y="17532"/>
                </a:cubicBezTo>
                <a:cubicBezTo>
                  <a:pt x="16063" y="17532"/>
                  <a:pt x="16094" y="17500"/>
                  <a:pt x="16125" y="17500"/>
                </a:cubicBezTo>
                <a:cubicBezTo>
                  <a:pt x="16125" y="17500"/>
                  <a:pt x="16125" y="17500"/>
                  <a:pt x="16125" y="17500"/>
                </a:cubicBezTo>
                <a:cubicBezTo>
                  <a:pt x="16125" y="17469"/>
                  <a:pt x="16125" y="17469"/>
                  <a:pt x="16125" y="17469"/>
                </a:cubicBezTo>
                <a:cubicBezTo>
                  <a:pt x="16125" y="17438"/>
                  <a:pt x="16156" y="17407"/>
                  <a:pt x="16156" y="17407"/>
                </a:cubicBezTo>
                <a:cubicBezTo>
                  <a:pt x="15938" y="17438"/>
                  <a:pt x="15750" y="17563"/>
                  <a:pt x="15563" y="17657"/>
                </a:cubicBezTo>
                <a:cubicBezTo>
                  <a:pt x="15531" y="17688"/>
                  <a:pt x="15500" y="17688"/>
                  <a:pt x="15469" y="17688"/>
                </a:cubicBezTo>
                <a:cubicBezTo>
                  <a:pt x="15250" y="17782"/>
                  <a:pt x="15031" y="17907"/>
                  <a:pt x="14813" y="18000"/>
                </a:cubicBezTo>
                <a:cubicBezTo>
                  <a:pt x="14750" y="18000"/>
                  <a:pt x="14719" y="18032"/>
                  <a:pt x="14656" y="18000"/>
                </a:cubicBezTo>
                <a:cubicBezTo>
                  <a:pt x="14406" y="17907"/>
                  <a:pt x="14156" y="17875"/>
                  <a:pt x="13906" y="17750"/>
                </a:cubicBezTo>
                <a:cubicBezTo>
                  <a:pt x="14406" y="17594"/>
                  <a:pt x="14906" y="17407"/>
                  <a:pt x="15313" y="17032"/>
                </a:cubicBezTo>
                <a:cubicBezTo>
                  <a:pt x="15313" y="17032"/>
                  <a:pt x="15313" y="17032"/>
                  <a:pt x="15281" y="17032"/>
                </a:cubicBezTo>
                <a:cubicBezTo>
                  <a:pt x="15031" y="17094"/>
                  <a:pt x="14844" y="17282"/>
                  <a:pt x="14594" y="17344"/>
                </a:cubicBezTo>
                <a:cubicBezTo>
                  <a:pt x="14531" y="17344"/>
                  <a:pt x="14500" y="17375"/>
                  <a:pt x="14469" y="17313"/>
                </a:cubicBezTo>
                <a:cubicBezTo>
                  <a:pt x="14719" y="17157"/>
                  <a:pt x="14969" y="16969"/>
                  <a:pt x="15156" y="16657"/>
                </a:cubicBezTo>
                <a:cubicBezTo>
                  <a:pt x="14594" y="16907"/>
                  <a:pt x="14156" y="17344"/>
                  <a:pt x="13531" y="17407"/>
                </a:cubicBezTo>
                <a:cubicBezTo>
                  <a:pt x="13469" y="17407"/>
                  <a:pt x="13438" y="17344"/>
                  <a:pt x="13406" y="17313"/>
                </a:cubicBezTo>
                <a:cubicBezTo>
                  <a:pt x="13750" y="17157"/>
                  <a:pt x="14125" y="17032"/>
                  <a:pt x="14438" y="16782"/>
                </a:cubicBezTo>
                <a:cubicBezTo>
                  <a:pt x="14531" y="16719"/>
                  <a:pt x="14594" y="16594"/>
                  <a:pt x="14750" y="16657"/>
                </a:cubicBezTo>
                <a:cubicBezTo>
                  <a:pt x="14813" y="16688"/>
                  <a:pt x="14844" y="16594"/>
                  <a:pt x="14813" y="16532"/>
                </a:cubicBezTo>
                <a:cubicBezTo>
                  <a:pt x="14781" y="16469"/>
                  <a:pt x="14844" y="16469"/>
                  <a:pt x="14875" y="16438"/>
                </a:cubicBezTo>
                <a:cubicBezTo>
                  <a:pt x="15094" y="16282"/>
                  <a:pt x="15281" y="16094"/>
                  <a:pt x="15500" y="15938"/>
                </a:cubicBezTo>
                <a:cubicBezTo>
                  <a:pt x="15531" y="15907"/>
                  <a:pt x="15531" y="15844"/>
                  <a:pt x="15563" y="15813"/>
                </a:cubicBezTo>
                <a:cubicBezTo>
                  <a:pt x="15500" y="15844"/>
                  <a:pt x="15438" y="15907"/>
                  <a:pt x="15375" y="15938"/>
                </a:cubicBezTo>
                <a:cubicBezTo>
                  <a:pt x="15219" y="16032"/>
                  <a:pt x="15094" y="16125"/>
                  <a:pt x="14969" y="16219"/>
                </a:cubicBezTo>
                <a:cubicBezTo>
                  <a:pt x="14906" y="16250"/>
                  <a:pt x="14844" y="16313"/>
                  <a:pt x="14750" y="16344"/>
                </a:cubicBezTo>
                <a:cubicBezTo>
                  <a:pt x="14750" y="16344"/>
                  <a:pt x="14750" y="16344"/>
                  <a:pt x="14750" y="16344"/>
                </a:cubicBezTo>
                <a:cubicBezTo>
                  <a:pt x="14719" y="16407"/>
                  <a:pt x="14719" y="16407"/>
                  <a:pt x="14688" y="16438"/>
                </a:cubicBezTo>
                <a:cubicBezTo>
                  <a:pt x="14656" y="16469"/>
                  <a:pt x="14625" y="16469"/>
                  <a:pt x="14594" y="16500"/>
                </a:cubicBezTo>
                <a:cubicBezTo>
                  <a:pt x="14531" y="16532"/>
                  <a:pt x="14469" y="16563"/>
                  <a:pt x="14406" y="16625"/>
                </a:cubicBezTo>
                <a:cubicBezTo>
                  <a:pt x="14313" y="16500"/>
                  <a:pt x="14250" y="16625"/>
                  <a:pt x="14156" y="16657"/>
                </a:cubicBezTo>
                <a:cubicBezTo>
                  <a:pt x="14031" y="16688"/>
                  <a:pt x="14219" y="16782"/>
                  <a:pt x="14125" y="16750"/>
                </a:cubicBezTo>
                <a:cubicBezTo>
                  <a:pt x="14031" y="16750"/>
                  <a:pt x="14000" y="16750"/>
                  <a:pt x="13969" y="16844"/>
                </a:cubicBezTo>
                <a:cubicBezTo>
                  <a:pt x="13719" y="16750"/>
                  <a:pt x="13563" y="17032"/>
                  <a:pt x="13313" y="17032"/>
                </a:cubicBezTo>
                <a:cubicBezTo>
                  <a:pt x="13438" y="16938"/>
                  <a:pt x="13531" y="16875"/>
                  <a:pt x="13625" y="16782"/>
                </a:cubicBezTo>
                <a:cubicBezTo>
                  <a:pt x="13719" y="16719"/>
                  <a:pt x="13813" y="16625"/>
                  <a:pt x="13906" y="16563"/>
                </a:cubicBezTo>
                <a:cubicBezTo>
                  <a:pt x="13906" y="16563"/>
                  <a:pt x="13906" y="16532"/>
                  <a:pt x="13938" y="16532"/>
                </a:cubicBezTo>
                <a:cubicBezTo>
                  <a:pt x="14156" y="16313"/>
                  <a:pt x="14375" y="16094"/>
                  <a:pt x="14563" y="15875"/>
                </a:cubicBezTo>
                <a:cubicBezTo>
                  <a:pt x="14625" y="15813"/>
                  <a:pt x="14719" y="15782"/>
                  <a:pt x="14656" y="15688"/>
                </a:cubicBezTo>
                <a:cubicBezTo>
                  <a:pt x="14563" y="15625"/>
                  <a:pt x="14531" y="15719"/>
                  <a:pt x="14469" y="15750"/>
                </a:cubicBezTo>
                <a:cubicBezTo>
                  <a:pt x="14438" y="15750"/>
                  <a:pt x="14406" y="15782"/>
                  <a:pt x="14406" y="15813"/>
                </a:cubicBezTo>
                <a:cubicBezTo>
                  <a:pt x="14313" y="15907"/>
                  <a:pt x="14250" y="16032"/>
                  <a:pt x="14063" y="16063"/>
                </a:cubicBezTo>
                <a:cubicBezTo>
                  <a:pt x="14125" y="15907"/>
                  <a:pt x="14250" y="15844"/>
                  <a:pt x="14344" y="15750"/>
                </a:cubicBezTo>
                <a:cubicBezTo>
                  <a:pt x="14438" y="15657"/>
                  <a:pt x="14563" y="15563"/>
                  <a:pt x="14656" y="15438"/>
                </a:cubicBezTo>
                <a:cubicBezTo>
                  <a:pt x="14656" y="15438"/>
                  <a:pt x="14688" y="15407"/>
                  <a:pt x="14688" y="15407"/>
                </a:cubicBezTo>
                <a:cubicBezTo>
                  <a:pt x="14688" y="15375"/>
                  <a:pt x="14688" y="15375"/>
                  <a:pt x="14688" y="15375"/>
                </a:cubicBezTo>
                <a:cubicBezTo>
                  <a:pt x="14688" y="15375"/>
                  <a:pt x="14688" y="15375"/>
                  <a:pt x="14688" y="15344"/>
                </a:cubicBezTo>
                <a:cubicBezTo>
                  <a:pt x="14656" y="15313"/>
                  <a:pt x="14594" y="15313"/>
                  <a:pt x="14656" y="15250"/>
                </a:cubicBezTo>
                <a:cubicBezTo>
                  <a:pt x="14656" y="15219"/>
                  <a:pt x="14688" y="15219"/>
                  <a:pt x="14688" y="15188"/>
                </a:cubicBezTo>
                <a:cubicBezTo>
                  <a:pt x="14656" y="15188"/>
                  <a:pt x="14656" y="15188"/>
                  <a:pt x="14656" y="15188"/>
                </a:cubicBezTo>
                <a:cubicBezTo>
                  <a:pt x="14625" y="15188"/>
                  <a:pt x="14594" y="15188"/>
                  <a:pt x="14594" y="15188"/>
                </a:cubicBezTo>
                <a:cubicBezTo>
                  <a:pt x="14563" y="15219"/>
                  <a:pt x="14531" y="15250"/>
                  <a:pt x="14500" y="15250"/>
                </a:cubicBezTo>
                <a:cubicBezTo>
                  <a:pt x="14500" y="15282"/>
                  <a:pt x="14500" y="15282"/>
                  <a:pt x="14469" y="15313"/>
                </a:cubicBezTo>
                <a:cubicBezTo>
                  <a:pt x="14469" y="15313"/>
                  <a:pt x="14438" y="15313"/>
                  <a:pt x="14438" y="15313"/>
                </a:cubicBezTo>
                <a:cubicBezTo>
                  <a:pt x="14438" y="15375"/>
                  <a:pt x="14406" y="15407"/>
                  <a:pt x="14344" y="15375"/>
                </a:cubicBezTo>
                <a:cubicBezTo>
                  <a:pt x="14281" y="15375"/>
                  <a:pt x="14313" y="15344"/>
                  <a:pt x="14313" y="15282"/>
                </a:cubicBezTo>
                <a:cubicBezTo>
                  <a:pt x="14250" y="15344"/>
                  <a:pt x="14219" y="15375"/>
                  <a:pt x="14156" y="15407"/>
                </a:cubicBezTo>
                <a:cubicBezTo>
                  <a:pt x="14281" y="15438"/>
                  <a:pt x="14375" y="15438"/>
                  <a:pt x="14219" y="15563"/>
                </a:cubicBezTo>
                <a:cubicBezTo>
                  <a:pt x="14125" y="15657"/>
                  <a:pt x="14156" y="15657"/>
                  <a:pt x="14063" y="15625"/>
                </a:cubicBezTo>
                <a:cubicBezTo>
                  <a:pt x="14031" y="15594"/>
                  <a:pt x="14000" y="15625"/>
                  <a:pt x="14000" y="15657"/>
                </a:cubicBezTo>
                <a:cubicBezTo>
                  <a:pt x="13969" y="15657"/>
                  <a:pt x="13938" y="15688"/>
                  <a:pt x="13938" y="15688"/>
                </a:cubicBezTo>
                <a:cubicBezTo>
                  <a:pt x="13906" y="15688"/>
                  <a:pt x="13875" y="15688"/>
                  <a:pt x="13844" y="15688"/>
                </a:cubicBezTo>
                <a:cubicBezTo>
                  <a:pt x="13844" y="15688"/>
                  <a:pt x="13844" y="15688"/>
                  <a:pt x="13813" y="15719"/>
                </a:cubicBezTo>
                <a:cubicBezTo>
                  <a:pt x="13813" y="15719"/>
                  <a:pt x="13813" y="15750"/>
                  <a:pt x="13781" y="15750"/>
                </a:cubicBezTo>
                <a:cubicBezTo>
                  <a:pt x="13781" y="15782"/>
                  <a:pt x="13750" y="15813"/>
                  <a:pt x="13688" y="15813"/>
                </a:cubicBezTo>
                <a:cubicBezTo>
                  <a:pt x="13688" y="15844"/>
                  <a:pt x="13688" y="15875"/>
                  <a:pt x="13688" y="15875"/>
                </a:cubicBezTo>
                <a:cubicBezTo>
                  <a:pt x="13656" y="15875"/>
                  <a:pt x="13656" y="15875"/>
                  <a:pt x="13656" y="15875"/>
                </a:cubicBezTo>
                <a:cubicBezTo>
                  <a:pt x="13625" y="15907"/>
                  <a:pt x="13594" y="15907"/>
                  <a:pt x="13563" y="15938"/>
                </a:cubicBezTo>
                <a:cubicBezTo>
                  <a:pt x="13563" y="16000"/>
                  <a:pt x="13500" y="16000"/>
                  <a:pt x="13469" y="16032"/>
                </a:cubicBezTo>
                <a:cubicBezTo>
                  <a:pt x="13469" y="16032"/>
                  <a:pt x="13469" y="16032"/>
                  <a:pt x="13469" y="16032"/>
                </a:cubicBezTo>
                <a:cubicBezTo>
                  <a:pt x="13469" y="16063"/>
                  <a:pt x="13438" y="16063"/>
                  <a:pt x="13438" y="16094"/>
                </a:cubicBezTo>
                <a:cubicBezTo>
                  <a:pt x="13438" y="16094"/>
                  <a:pt x="13406" y="16094"/>
                  <a:pt x="13406" y="16094"/>
                </a:cubicBezTo>
                <a:cubicBezTo>
                  <a:pt x="13406" y="16125"/>
                  <a:pt x="13375" y="16125"/>
                  <a:pt x="13375" y="16157"/>
                </a:cubicBezTo>
                <a:cubicBezTo>
                  <a:pt x="13344" y="16188"/>
                  <a:pt x="13313" y="16188"/>
                  <a:pt x="13281" y="16188"/>
                </a:cubicBezTo>
                <a:cubicBezTo>
                  <a:pt x="13281" y="16094"/>
                  <a:pt x="13344" y="16032"/>
                  <a:pt x="13438" y="16000"/>
                </a:cubicBezTo>
                <a:cubicBezTo>
                  <a:pt x="13438" y="15969"/>
                  <a:pt x="13469" y="15938"/>
                  <a:pt x="13500" y="15907"/>
                </a:cubicBezTo>
                <a:cubicBezTo>
                  <a:pt x="13500" y="15907"/>
                  <a:pt x="13531" y="15907"/>
                  <a:pt x="13531" y="15875"/>
                </a:cubicBezTo>
                <a:cubicBezTo>
                  <a:pt x="13563" y="15875"/>
                  <a:pt x="13563" y="15844"/>
                  <a:pt x="13563" y="15844"/>
                </a:cubicBezTo>
                <a:cubicBezTo>
                  <a:pt x="13594" y="15844"/>
                  <a:pt x="13594" y="15844"/>
                  <a:pt x="13594" y="15844"/>
                </a:cubicBezTo>
                <a:cubicBezTo>
                  <a:pt x="13625" y="15844"/>
                  <a:pt x="13625" y="15813"/>
                  <a:pt x="13656" y="15813"/>
                </a:cubicBezTo>
                <a:cubicBezTo>
                  <a:pt x="13656" y="15813"/>
                  <a:pt x="13656" y="15813"/>
                  <a:pt x="13656" y="15813"/>
                </a:cubicBezTo>
                <a:cubicBezTo>
                  <a:pt x="13656" y="15782"/>
                  <a:pt x="13656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82"/>
                  <a:pt x="13688" y="15782"/>
                  <a:pt x="13688" y="15782"/>
                </a:cubicBezTo>
                <a:cubicBezTo>
                  <a:pt x="13688" y="15750"/>
                  <a:pt x="13719" y="15688"/>
                  <a:pt x="13750" y="15657"/>
                </a:cubicBezTo>
                <a:cubicBezTo>
                  <a:pt x="13844" y="15563"/>
                  <a:pt x="13719" y="15563"/>
                  <a:pt x="13656" y="15563"/>
                </a:cubicBezTo>
                <a:cubicBezTo>
                  <a:pt x="13656" y="15594"/>
                  <a:pt x="13625" y="15594"/>
                  <a:pt x="13625" y="15625"/>
                </a:cubicBezTo>
                <a:cubicBezTo>
                  <a:pt x="13594" y="15657"/>
                  <a:pt x="13531" y="15719"/>
                  <a:pt x="13500" y="15750"/>
                </a:cubicBezTo>
                <a:cubicBezTo>
                  <a:pt x="13469" y="15813"/>
                  <a:pt x="13438" y="15844"/>
                  <a:pt x="13375" y="15907"/>
                </a:cubicBezTo>
                <a:cubicBezTo>
                  <a:pt x="13281" y="16094"/>
                  <a:pt x="13063" y="16157"/>
                  <a:pt x="12906" y="16250"/>
                </a:cubicBezTo>
                <a:cubicBezTo>
                  <a:pt x="12500" y="16500"/>
                  <a:pt x="12125" y="16844"/>
                  <a:pt x="11719" y="17094"/>
                </a:cubicBezTo>
                <a:cubicBezTo>
                  <a:pt x="11500" y="17250"/>
                  <a:pt x="11313" y="17407"/>
                  <a:pt x="11063" y="17438"/>
                </a:cubicBezTo>
                <a:cubicBezTo>
                  <a:pt x="11219" y="17313"/>
                  <a:pt x="11375" y="17219"/>
                  <a:pt x="11531" y="17094"/>
                </a:cubicBezTo>
                <a:cubicBezTo>
                  <a:pt x="11813" y="16875"/>
                  <a:pt x="12063" y="16688"/>
                  <a:pt x="12313" y="16438"/>
                </a:cubicBezTo>
                <a:cubicBezTo>
                  <a:pt x="12313" y="16438"/>
                  <a:pt x="12281" y="16438"/>
                  <a:pt x="12281" y="16438"/>
                </a:cubicBezTo>
                <a:cubicBezTo>
                  <a:pt x="12281" y="16407"/>
                  <a:pt x="12281" y="16407"/>
                  <a:pt x="12281" y="16407"/>
                </a:cubicBezTo>
                <a:cubicBezTo>
                  <a:pt x="12281" y="16407"/>
                  <a:pt x="12281" y="16407"/>
                  <a:pt x="12250" y="16407"/>
                </a:cubicBezTo>
                <a:cubicBezTo>
                  <a:pt x="12250" y="16407"/>
                  <a:pt x="12219" y="16407"/>
                  <a:pt x="12188" y="16407"/>
                </a:cubicBezTo>
                <a:cubicBezTo>
                  <a:pt x="12156" y="16407"/>
                  <a:pt x="12156" y="16407"/>
                  <a:pt x="12125" y="16407"/>
                </a:cubicBezTo>
                <a:cubicBezTo>
                  <a:pt x="12250" y="16313"/>
                  <a:pt x="12313" y="16157"/>
                  <a:pt x="12406" y="16032"/>
                </a:cubicBezTo>
                <a:cubicBezTo>
                  <a:pt x="12438" y="15969"/>
                  <a:pt x="12500" y="15907"/>
                  <a:pt x="12563" y="15844"/>
                </a:cubicBezTo>
                <a:cubicBezTo>
                  <a:pt x="12594" y="15813"/>
                  <a:pt x="12625" y="15782"/>
                  <a:pt x="12656" y="15750"/>
                </a:cubicBezTo>
                <a:cubicBezTo>
                  <a:pt x="12656" y="15719"/>
                  <a:pt x="12656" y="15719"/>
                  <a:pt x="12688" y="15719"/>
                </a:cubicBezTo>
                <a:cubicBezTo>
                  <a:pt x="12750" y="15625"/>
                  <a:pt x="12875" y="15563"/>
                  <a:pt x="12875" y="15375"/>
                </a:cubicBezTo>
                <a:cubicBezTo>
                  <a:pt x="12781" y="15500"/>
                  <a:pt x="12719" y="15594"/>
                  <a:pt x="12625" y="15625"/>
                </a:cubicBezTo>
                <a:cubicBezTo>
                  <a:pt x="12563" y="15688"/>
                  <a:pt x="12500" y="15907"/>
                  <a:pt x="12344" y="15719"/>
                </a:cubicBezTo>
                <a:cubicBezTo>
                  <a:pt x="12344" y="15688"/>
                  <a:pt x="12188" y="15813"/>
                  <a:pt x="12094" y="15813"/>
                </a:cubicBezTo>
                <a:cubicBezTo>
                  <a:pt x="12063" y="15875"/>
                  <a:pt x="12031" y="15907"/>
                  <a:pt x="11969" y="15938"/>
                </a:cubicBezTo>
                <a:cubicBezTo>
                  <a:pt x="11750" y="16188"/>
                  <a:pt x="11438" y="16344"/>
                  <a:pt x="11156" y="16532"/>
                </a:cubicBezTo>
                <a:cubicBezTo>
                  <a:pt x="11344" y="16344"/>
                  <a:pt x="11500" y="16188"/>
                  <a:pt x="11719" y="16032"/>
                </a:cubicBezTo>
                <a:cubicBezTo>
                  <a:pt x="11781" y="15969"/>
                  <a:pt x="11844" y="15938"/>
                  <a:pt x="11906" y="15875"/>
                </a:cubicBezTo>
                <a:cubicBezTo>
                  <a:pt x="11969" y="15844"/>
                  <a:pt x="12000" y="15813"/>
                  <a:pt x="12063" y="15782"/>
                </a:cubicBezTo>
                <a:cubicBezTo>
                  <a:pt x="12219" y="15563"/>
                  <a:pt x="12406" y="15375"/>
                  <a:pt x="12625" y="15188"/>
                </a:cubicBezTo>
                <a:cubicBezTo>
                  <a:pt x="12750" y="15032"/>
                  <a:pt x="12781" y="14969"/>
                  <a:pt x="12656" y="14813"/>
                </a:cubicBezTo>
                <a:cubicBezTo>
                  <a:pt x="12594" y="14750"/>
                  <a:pt x="12781" y="14688"/>
                  <a:pt x="12625" y="14719"/>
                </a:cubicBezTo>
                <a:cubicBezTo>
                  <a:pt x="12531" y="14719"/>
                  <a:pt x="12563" y="14782"/>
                  <a:pt x="12625" y="14844"/>
                </a:cubicBezTo>
                <a:cubicBezTo>
                  <a:pt x="12625" y="14844"/>
                  <a:pt x="12594" y="14875"/>
                  <a:pt x="12594" y="14907"/>
                </a:cubicBezTo>
                <a:cubicBezTo>
                  <a:pt x="12563" y="14907"/>
                  <a:pt x="12563" y="14938"/>
                  <a:pt x="12563" y="14938"/>
                </a:cubicBezTo>
                <a:cubicBezTo>
                  <a:pt x="12313" y="14719"/>
                  <a:pt x="12313" y="15032"/>
                  <a:pt x="12188" y="15094"/>
                </a:cubicBezTo>
                <a:cubicBezTo>
                  <a:pt x="11969" y="15250"/>
                  <a:pt x="11781" y="15438"/>
                  <a:pt x="11594" y="15625"/>
                </a:cubicBezTo>
                <a:cubicBezTo>
                  <a:pt x="11531" y="15657"/>
                  <a:pt x="11500" y="15719"/>
                  <a:pt x="11469" y="15657"/>
                </a:cubicBezTo>
                <a:cubicBezTo>
                  <a:pt x="11438" y="15625"/>
                  <a:pt x="11469" y="15594"/>
                  <a:pt x="11500" y="15563"/>
                </a:cubicBezTo>
                <a:cubicBezTo>
                  <a:pt x="11875" y="15313"/>
                  <a:pt x="12125" y="14938"/>
                  <a:pt x="12438" y="14625"/>
                </a:cubicBezTo>
                <a:cubicBezTo>
                  <a:pt x="12656" y="14407"/>
                  <a:pt x="12906" y="14188"/>
                  <a:pt x="13094" y="13938"/>
                </a:cubicBezTo>
                <a:cubicBezTo>
                  <a:pt x="13219" y="13813"/>
                  <a:pt x="13313" y="13688"/>
                  <a:pt x="13406" y="13563"/>
                </a:cubicBezTo>
                <a:cubicBezTo>
                  <a:pt x="13469" y="13500"/>
                  <a:pt x="13531" y="13438"/>
                  <a:pt x="13563" y="13344"/>
                </a:cubicBezTo>
                <a:cubicBezTo>
                  <a:pt x="13313" y="13469"/>
                  <a:pt x="13188" y="13688"/>
                  <a:pt x="13031" y="13875"/>
                </a:cubicBezTo>
                <a:cubicBezTo>
                  <a:pt x="12750" y="14157"/>
                  <a:pt x="12469" y="14407"/>
                  <a:pt x="12156" y="14657"/>
                </a:cubicBezTo>
                <a:cubicBezTo>
                  <a:pt x="12188" y="14532"/>
                  <a:pt x="12375" y="14219"/>
                  <a:pt x="12469" y="14125"/>
                </a:cubicBezTo>
                <a:cubicBezTo>
                  <a:pt x="12531" y="14094"/>
                  <a:pt x="12594" y="14063"/>
                  <a:pt x="12594" y="13969"/>
                </a:cubicBezTo>
                <a:cubicBezTo>
                  <a:pt x="12594" y="13938"/>
                  <a:pt x="12563" y="13938"/>
                  <a:pt x="12563" y="13907"/>
                </a:cubicBezTo>
                <a:cubicBezTo>
                  <a:pt x="12438" y="13969"/>
                  <a:pt x="12344" y="14063"/>
                  <a:pt x="12281" y="14157"/>
                </a:cubicBezTo>
                <a:cubicBezTo>
                  <a:pt x="12156" y="14282"/>
                  <a:pt x="12000" y="14250"/>
                  <a:pt x="11875" y="14313"/>
                </a:cubicBezTo>
                <a:cubicBezTo>
                  <a:pt x="11875" y="14313"/>
                  <a:pt x="11844" y="14313"/>
                  <a:pt x="11844" y="14282"/>
                </a:cubicBezTo>
                <a:cubicBezTo>
                  <a:pt x="11844" y="14250"/>
                  <a:pt x="11844" y="14219"/>
                  <a:pt x="11875" y="14188"/>
                </a:cubicBezTo>
                <a:cubicBezTo>
                  <a:pt x="12188" y="14000"/>
                  <a:pt x="12344" y="13625"/>
                  <a:pt x="12656" y="13407"/>
                </a:cubicBezTo>
                <a:cubicBezTo>
                  <a:pt x="12750" y="13344"/>
                  <a:pt x="12781" y="13219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813" y="13125"/>
                  <a:pt x="12813" y="13125"/>
                  <a:pt x="12813" y="13125"/>
                </a:cubicBezTo>
                <a:cubicBezTo>
                  <a:pt x="12781" y="13157"/>
                  <a:pt x="12781" y="13125"/>
                  <a:pt x="12750" y="13094"/>
                </a:cubicBezTo>
                <a:cubicBezTo>
                  <a:pt x="12750" y="13094"/>
                  <a:pt x="12750" y="13094"/>
                  <a:pt x="12750" y="13094"/>
                </a:cubicBezTo>
                <a:cubicBezTo>
                  <a:pt x="12781" y="13063"/>
                  <a:pt x="12781" y="13063"/>
                  <a:pt x="12781" y="13032"/>
                </a:cubicBezTo>
                <a:cubicBezTo>
                  <a:pt x="12813" y="13000"/>
                  <a:pt x="12875" y="12969"/>
                  <a:pt x="12875" y="12938"/>
                </a:cubicBezTo>
                <a:cubicBezTo>
                  <a:pt x="12781" y="13000"/>
                  <a:pt x="12719" y="13094"/>
                  <a:pt x="12688" y="13250"/>
                </a:cubicBezTo>
                <a:cubicBezTo>
                  <a:pt x="12656" y="13375"/>
                  <a:pt x="12500" y="13407"/>
                  <a:pt x="12406" y="13500"/>
                </a:cubicBezTo>
                <a:cubicBezTo>
                  <a:pt x="12344" y="13563"/>
                  <a:pt x="12250" y="13625"/>
                  <a:pt x="12188" y="13688"/>
                </a:cubicBezTo>
                <a:cubicBezTo>
                  <a:pt x="11750" y="14000"/>
                  <a:pt x="11375" y="14407"/>
                  <a:pt x="11031" y="14813"/>
                </a:cubicBezTo>
                <a:cubicBezTo>
                  <a:pt x="11000" y="14844"/>
                  <a:pt x="11000" y="14844"/>
                  <a:pt x="10969" y="14875"/>
                </a:cubicBezTo>
                <a:cubicBezTo>
                  <a:pt x="10969" y="14875"/>
                  <a:pt x="10969" y="14875"/>
                  <a:pt x="10938" y="14875"/>
                </a:cubicBezTo>
                <a:cubicBezTo>
                  <a:pt x="10906" y="14875"/>
                  <a:pt x="10906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13" y="14938"/>
                  <a:pt x="10781" y="15000"/>
                  <a:pt x="10750" y="15032"/>
                </a:cubicBezTo>
                <a:cubicBezTo>
                  <a:pt x="10719" y="15094"/>
                  <a:pt x="10656" y="15157"/>
                  <a:pt x="10594" y="15188"/>
                </a:cubicBezTo>
                <a:cubicBezTo>
                  <a:pt x="10594" y="15250"/>
                  <a:pt x="10563" y="15313"/>
                  <a:pt x="10469" y="15313"/>
                </a:cubicBezTo>
                <a:cubicBezTo>
                  <a:pt x="10469" y="15250"/>
                  <a:pt x="10500" y="15219"/>
                  <a:pt x="10531" y="15188"/>
                </a:cubicBezTo>
                <a:cubicBezTo>
                  <a:pt x="10563" y="15188"/>
                  <a:pt x="10563" y="15157"/>
                  <a:pt x="10594" y="15157"/>
                </a:cubicBezTo>
                <a:cubicBezTo>
                  <a:pt x="10594" y="15157"/>
                  <a:pt x="10594" y="15157"/>
                  <a:pt x="10594" y="15157"/>
                </a:cubicBezTo>
                <a:cubicBezTo>
                  <a:pt x="10625" y="15094"/>
                  <a:pt x="10656" y="15032"/>
                  <a:pt x="10688" y="15000"/>
                </a:cubicBezTo>
                <a:cubicBezTo>
                  <a:pt x="10750" y="14938"/>
                  <a:pt x="10781" y="14907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0844" y="14875"/>
                  <a:pt x="10844" y="14875"/>
                  <a:pt x="10844" y="14875"/>
                </a:cubicBezTo>
                <a:cubicBezTo>
                  <a:pt x="11156" y="14438"/>
                  <a:pt x="11563" y="14094"/>
                  <a:pt x="11813" y="13657"/>
                </a:cubicBezTo>
                <a:cubicBezTo>
                  <a:pt x="11906" y="13532"/>
                  <a:pt x="12031" y="13438"/>
                  <a:pt x="12125" y="13344"/>
                </a:cubicBezTo>
                <a:cubicBezTo>
                  <a:pt x="12188" y="13282"/>
                  <a:pt x="12250" y="13219"/>
                  <a:pt x="12281" y="13125"/>
                </a:cubicBezTo>
                <a:cubicBezTo>
                  <a:pt x="12281" y="13125"/>
                  <a:pt x="12281" y="13094"/>
                  <a:pt x="12281" y="13063"/>
                </a:cubicBezTo>
                <a:cubicBezTo>
                  <a:pt x="12281" y="13032"/>
                  <a:pt x="12250" y="13000"/>
                  <a:pt x="12250" y="12969"/>
                </a:cubicBezTo>
                <a:cubicBezTo>
                  <a:pt x="12250" y="12969"/>
                  <a:pt x="12250" y="12969"/>
                  <a:pt x="12250" y="12969"/>
                </a:cubicBezTo>
                <a:cubicBezTo>
                  <a:pt x="11938" y="13250"/>
                  <a:pt x="11625" y="13532"/>
                  <a:pt x="11375" y="13907"/>
                </a:cubicBezTo>
                <a:cubicBezTo>
                  <a:pt x="11281" y="13782"/>
                  <a:pt x="11531" y="13625"/>
                  <a:pt x="11281" y="13594"/>
                </a:cubicBezTo>
                <a:cubicBezTo>
                  <a:pt x="11188" y="13563"/>
                  <a:pt x="11156" y="13657"/>
                  <a:pt x="11094" y="13719"/>
                </a:cubicBezTo>
                <a:cubicBezTo>
                  <a:pt x="11031" y="13813"/>
                  <a:pt x="11219" y="13719"/>
                  <a:pt x="11219" y="13813"/>
                </a:cubicBezTo>
                <a:cubicBezTo>
                  <a:pt x="11156" y="13813"/>
                  <a:pt x="11094" y="14000"/>
                  <a:pt x="11031" y="13813"/>
                </a:cubicBezTo>
                <a:cubicBezTo>
                  <a:pt x="11000" y="13782"/>
                  <a:pt x="10969" y="13782"/>
                  <a:pt x="10969" y="13813"/>
                </a:cubicBezTo>
                <a:cubicBezTo>
                  <a:pt x="10906" y="13844"/>
                  <a:pt x="10906" y="13875"/>
                  <a:pt x="10938" y="13938"/>
                </a:cubicBezTo>
                <a:cubicBezTo>
                  <a:pt x="11000" y="14063"/>
                  <a:pt x="10938" y="14094"/>
                  <a:pt x="10813" y="14063"/>
                </a:cubicBezTo>
                <a:cubicBezTo>
                  <a:pt x="10813" y="14063"/>
                  <a:pt x="10781" y="14063"/>
                  <a:pt x="10750" y="14125"/>
                </a:cubicBezTo>
                <a:cubicBezTo>
                  <a:pt x="10750" y="14282"/>
                  <a:pt x="10563" y="14500"/>
                  <a:pt x="10406" y="14563"/>
                </a:cubicBezTo>
                <a:cubicBezTo>
                  <a:pt x="10406" y="14563"/>
                  <a:pt x="10406" y="14563"/>
                  <a:pt x="10406" y="14563"/>
                </a:cubicBezTo>
                <a:cubicBezTo>
                  <a:pt x="10406" y="14563"/>
                  <a:pt x="10375" y="14563"/>
                  <a:pt x="10375" y="14563"/>
                </a:cubicBezTo>
                <a:cubicBezTo>
                  <a:pt x="10375" y="14563"/>
                  <a:pt x="10375" y="14594"/>
                  <a:pt x="10375" y="14594"/>
                </a:cubicBezTo>
                <a:cubicBezTo>
                  <a:pt x="10375" y="14594"/>
                  <a:pt x="10375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44" y="14563"/>
                  <a:pt x="10344" y="14563"/>
                </a:cubicBezTo>
                <a:cubicBezTo>
                  <a:pt x="10344" y="14563"/>
                  <a:pt x="10313" y="14594"/>
                  <a:pt x="10313" y="14594"/>
                </a:cubicBezTo>
                <a:cubicBezTo>
                  <a:pt x="10219" y="14688"/>
                  <a:pt x="10125" y="14782"/>
                  <a:pt x="10063" y="14844"/>
                </a:cubicBezTo>
                <a:cubicBezTo>
                  <a:pt x="9813" y="15032"/>
                  <a:pt x="9656" y="15282"/>
                  <a:pt x="9438" y="15438"/>
                </a:cubicBezTo>
                <a:cubicBezTo>
                  <a:pt x="9406" y="15469"/>
                  <a:pt x="9344" y="15532"/>
                  <a:pt x="9313" y="15563"/>
                </a:cubicBezTo>
                <a:cubicBezTo>
                  <a:pt x="9313" y="15563"/>
                  <a:pt x="9281" y="15563"/>
                  <a:pt x="9281" y="15594"/>
                </a:cubicBezTo>
                <a:cubicBezTo>
                  <a:pt x="9250" y="15594"/>
                  <a:pt x="9250" y="15594"/>
                  <a:pt x="9250" y="15594"/>
                </a:cubicBezTo>
                <a:cubicBezTo>
                  <a:pt x="9250" y="15625"/>
                  <a:pt x="9250" y="15625"/>
                  <a:pt x="9250" y="15625"/>
                </a:cubicBezTo>
                <a:cubicBezTo>
                  <a:pt x="9094" y="15750"/>
                  <a:pt x="8938" y="15907"/>
                  <a:pt x="8781" y="16032"/>
                </a:cubicBezTo>
                <a:cubicBezTo>
                  <a:pt x="8625" y="16157"/>
                  <a:pt x="8438" y="16282"/>
                  <a:pt x="8250" y="16407"/>
                </a:cubicBezTo>
                <a:cubicBezTo>
                  <a:pt x="8563" y="16125"/>
                  <a:pt x="8875" y="15813"/>
                  <a:pt x="9188" y="15532"/>
                </a:cubicBezTo>
                <a:cubicBezTo>
                  <a:pt x="9531" y="15250"/>
                  <a:pt x="9750" y="14844"/>
                  <a:pt x="10094" y="14532"/>
                </a:cubicBezTo>
                <a:cubicBezTo>
                  <a:pt x="10281" y="14375"/>
                  <a:pt x="10406" y="14125"/>
                  <a:pt x="10594" y="13907"/>
                </a:cubicBezTo>
                <a:cubicBezTo>
                  <a:pt x="10625" y="13875"/>
                  <a:pt x="10656" y="13875"/>
                  <a:pt x="10688" y="13844"/>
                </a:cubicBezTo>
                <a:cubicBezTo>
                  <a:pt x="10719" y="13813"/>
                  <a:pt x="10750" y="13782"/>
                  <a:pt x="10750" y="13719"/>
                </a:cubicBezTo>
                <a:cubicBezTo>
                  <a:pt x="10750" y="13719"/>
                  <a:pt x="10719" y="13688"/>
                  <a:pt x="10719" y="13688"/>
                </a:cubicBezTo>
                <a:cubicBezTo>
                  <a:pt x="10438" y="13907"/>
                  <a:pt x="10250" y="14188"/>
                  <a:pt x="10000" y="14407"/>
                </a:cubicBezTo>
                <a:cubicBezTo>
                  <a:pt x="9875" y="14532"/>
                  <a:pt x="9750" y="14688"/>
                  <a:pt x="9594" y="14782"/>
                </a:cubicBezTo>
                <a:cubicBezTo>
                  <a:pt x="9594" y="14813"/>
                  <a:pt x="9563" y="14813"/>
                  <a:pt x="9563" y="14813"/>
                </a:cubicBezTo>
                <a:cubicBezTo>
                  <a:pt x="9531" y="14813"/>
                  <a:pt x="9594" y="14688"/>
                  <a:pt x="9531" y="14688"/>
                </a:cubicBezTo>
                <a:cubicBezTo>
                  <a:pt x="9156" y="14969"/>
                  <a:pt x="8813" y="15344"/>
                  <a:pt x="8438" y="15625"/>
                </a:cubicBezTo>
                <a:cubicBezTo>
                  <a:pt x="8375" y="15657"/>
                  <a:pt x="8344" y="15688"/>
                  <a:pt x="8281" y="15719"/>
                </a:cubicBezTo>
                <a:cubicBezTo>
                  <a:pt x="7781" y="16032"/>
                  <a:pt x="7375" y="16500"/>
                  <a:pt x="6813" y="16657"/>
                </a:cubicBezTo>
                <a:cubicBezTo>
                  <a:pt x="6719" y="16688"/>
                  <a:pt x="6688" y="16813"/>
                  <a:pt x="6563" y="16782"/>
                </a:cubicBezTo>
                <a:cubicBezTo>
                  <a:pt x="6438" y="16875"/>
                  <a:pt x="6438" y="16875"/>
                  <a:pt x="6031" y="16782"/>
                </a:cubicBezTo>
                <a:cubicBezTo>
                  <a:pt x="6156" y="16688"/>
                  <a:pt x="6281" y="16657"/>
                  <a:pt x="6438" y="16688"/>
                </a:cubicBezTo>
                <a:cubicBezTo>
                  <a:pt x="6531" y="16657"/>
                  <a:pt x="6594" y="16657"/>
                  <a:pt x="6656" y="16563"/>
                </a:cubicBezTo>
                <a:cubicBezTo>
                  <a:pt x="6781" y="16469"/>
                  <a:pt x="7000" y="16438"/>
                  <a:pt x="7063" y="16344"/>
                </a:cubicBezTo>
                <a:cubicBezTo>
                  <a:pt x="7219" y="16219"/>
                  <a:pt x="7375" y="16094"/>
                  <a:pt x="7500" y="15969"/>
                </a:cubicBezTo>
                <a:cubicBezTo>
                  <a:pt x="7625" y="15813"/>
                  <a:pt x="7813" y="15688"/>
                  <a:pt x="7938" y="15532"/>
                </a:cubicBezTo>
                <a:cubicBezTo>
                  <a:pt x="8031" y="15407"/>
                  <a:pt x="8188" y="15282"/>
                  <a:pt x="8313" y="15188"/>
                </a:cubicBezTo>
                <a:cubicBezTo>
                  <a:pt x="8563" y="15032"/>
                  <a:pt x="8719" y="14782"/>
                  <a:pt x="8969" y="14594"/>
                </a:cubicBezTo>
                <a:cubicBezTo>
                  <a:pt x="8875" y="14532"/>
                  <a:pt x="8844" y="14594"/>
                  <a:pt x="8813" y="14625"/>
                </a:cubicBezTo>
                <a:cubicBezTo>
                  <a:pt x="8531" y="14938"/>
                  <a:pt x="8125" y="15094"/>
                  <a:pt x="7844" y="15407"/>
                </a:cubicBezTo>
                <a:cubicBezTo>
                  <a:pt x="7719" y="15563"/>
                  <a:pt x="7500" y="15719"/>
                  <a:pt x="7250" y="15813"/>
                </a:cubicBezTo>
                <a:cubicBezTo>
                  <a:pt x="7219" y="15844"/>
                  <a:pt x="7156" y="15844"/>
                  <a:pt x="7125" y="15813"/>
                </a:cubicBezTo>
                <a:cubicBezTo>
                  <a:pt x="7094" y="15782"/>
                  <a:pt x="7156" y="15750"/>
                  <a:pt x="7188" y="15719"/>
                </a:cubicBezTo>
                <a:cubicBezTo>
                  <a:pt x="7156" y="15688"/>
                  <a:pt x="7125" y="15657"/>
                  <a:pt x="7125" y="15657"/>
                </a:cubicBezTo>
                <a:cubicBezTo>
                  <a:pt x="6875" y="15750"/>
                  <a:pt x="6688" y="15969"/>
                  <a:pt x="6406" y="16032"/>
                </a:cubicBezTo>
                <a:cubicBezTo>
                  <a:pt x="6781" y="15750"/>
                  <a:pt x="7188" y="15500"/>
                  <a:pt x="7531" y="15188"/>
                </a:cubicBezTo>
                <a:cubicBezTo>
                  <a:pt x="7844" y="14938"/>
                  <a:pt x="8094" y="14688"/>
                  <a:pt x="8375" y="14438"/>
                </a:cubicBezTo>
                <a:cubicBezTo>
                  <a:pt x="8438" y="14407"/>
                  <a:pt x="8438" y="14375"/>
                  <a:pt x="8438" y="14313"/>
                </a:cubicBezTo>
                <a:cubicBezTo>
                  <a:pt x="8438" y="14250"/>
                  <a:pt x="8500" y="14157"/>
                  <a:pt x="8563" y="14188"/>
                </a:cubicBezTo>
                <a:cubicBezTo>
                  <a:pt x="8688" y="14219"/>
                  <a:pt x="8719" y="14125"/>
                  <a:pt x="8750" y="14063"/>
                </a:cubicBezTo>
                <a:cubicBezTo>
                  <a:pt x="8844" y="13938"/>
                  <a:pt x="8906" y="13844"/>
                  <a:pt x="9063" y="13782"/>
                </a:cubicBezTo>
                <a:cubicBezTo>
                  <a:pt x="9156" y="13750"/>
                  <a:pt x="9094" y="13657"/>
                  <a:pt x="9125" y="13563"/>
                </a:cubicBezTo>
                <a:cubicBezTo>
                  <a:pt x="8969" y="13563"/>
                  <a:pt x="8906" y="13719"/>
                  <a:pt x="8813" y="13750"/>
                </a:cubicBezTo>
                <a:cubicBezTo>
                  <a:pt x="8781" y="13782"/>
                  <a:pt x="8781" y="13813"/>
                  <a:pt x="8750" y="13844"/>
                </a:cubicBezTo>
                <a:cubicBezTo>
                  <a:pt x="8719" y="13875"/>
                  <a:pt x="8656" y="13907"/>
                  <a:pt x="8625" y="13875"/>
                </a:cubicBezTo>
                <a:cubicBezTo>
                  <a:pt x="8594" y="13844"/>
                  <a:pt x="8625" y="13813"/>
                  <a:pt x="8656" y="13782"/>
                </a:cubicBezTo>
                <a:cubicBezTo>
                  <a:pt x="8656" y="13750"/>
                  <a:pt x="8688" y="13719"/>
                  <a:pt x="8688" y="13719"/>
                </a:cubicBezTo>
                <a:cubicBezTo>
                  <a:pt x="8906" y="13563"/>
                  <a:pt x="9094" y="13375"/>
                  <a:pt x="9219" y="13157"/>
                </a:cubicBezTo>
                <a:cubicBezTo>
                  <a:pt x="9250" y="13125"/>
                  <a:pt x="9281" y="13063"/>
                  <a:pt x="9375" y="13094"/>
                </a:cubicBezTo>
                <a:cubicBezTo>
                  <a:pt x="9344" y="13250"/>
                  <a:pt x="9219" y="13344"/>
                  <a:pt x="9125" y="13469"/>
                </a:cubicBezTo>
                <a:cubicBezTo>
                  <a:pt x="9156" y="13563"/>
                  <a:pt x="9250" y="13469"/>
                  <a:pt x="9281" y="13563"/>
                </a:cubicBezTo>
                <a:cubicBezTo>
                  <a:pt x="9375" y="13594"/>
                  <a:pt x="9375" y="13532"/>
                  <a:pt x="9344" y="13469"/>
                </a:cubicBezTo>
                <a:cubicBezTo>
                  <a:pt x="9344" y="13344"/>
                  <a:pt x="9375" y="13282"/>
                  <a:pt x="9500" y="13344"/>
                </a:cubicBezTo>
                <a:cubicBezTo>
                  <a:pt x="9531" y="13344"/>
                  <a:pt x="9625" y="13344"/>
                  <a:pt x="9594" y="13282"/>
                </a:cubicBezTo>
                <a:cubicBezTo>
                  <a:pt x="9469" y="13094"/>
                  <a:pt x="9656" y="13188"/>
                  <a:pt x="9719" y="13188"/>
                </a:cubicBezTo>
                <a:cubicBezTo>
                  <a:pt x="9844" y="13125"/>
                  <a:pt x="9938" y="12813"/>
                  <a:pt x="9813" y="12719"/>
                </a:cubicBezTo>
                <a:cubicBezTo>
                  <a:pt x="9781" y="12688"/>
                  <a:pt x="9719" y="12688"/>
                  <a:pt x="9750" y="12625"/>
                </a:cubicBezTo>
                <a:cubicBezTo>
                  <a:pt x="9813" y="12563"/>
                  <a:pt x="9844" y="12438"/>
                  <a:pt x="9938" y="12469"/>
                </a:cubicBezTo>
                <a:cubicBezTo>
                  <a:pt x="10156" y="12563"/>
                  <a:pt x="10125" y="12375"/>
                  <a:pt x="10219" y="12313"/>
                </a:cubicBezTo>
                <a:cubicBezTo>
                  <a:pt x="10094" y="12250"/>
                  <a:pt x="10094" y="12407"/>
                  <a:pt x="10000" y="12344"/>
                </a:cubicBezTo>
                <a:cubicBezTo>
                  <a:pt x="10000" y="12313"/>
                  <a:pt x="10031" y="12282"/>
                  <a:pt x="10063" y="12250"/>
                </a:cubicBezTo>
                <a:cubicBezTo>
                  <a:pt x="10094" y="12219"/>
                  <a:pt x="10156" y="12188"/>
                  <a:pt x="10188" y="12125"/>
                </a:cubicBezTo>
                <a:cubicBezTo>
                  <a:pt x="10156" y="12094"/>
                  <a:pt x="10125" y="12094"/>
                  <a:pt x="10094" y="12094"/>
                </a:cubicBezTo>
                <a:cubicBezTo>
                  <a:pt x="10063" y="12094"/>
                  <a:pt x="10000" y="12094"/>
                  <a:pt x="9969" y="12094"/>
                </a:cubicBezTo>
                <a:cubicBezTo>
                  <a:pt x="9844" y="12063"/>
                  <a:pt x="9781" y="12094"/>
                  <a:pt x="9813" y="12219"/>
                </a:cubicBezTo>
                <a:cubicBezTo>
                  <a:pt x="9813" y="12282"/>
                  <a:pt x="9781" y="12344"/>
                  <a:pt x="9719" y="12375"/>
                </a:cubicBezTo>
                <a:cubicBezTo>
                  <a:pt x="9656" y="12375"/>
                  <a:pt x="9656" y="12407"/>
                  <a:pt x="9625" y="12438"/>
                </a:cubicBezTo>
                <a:cubicBezTo>
                  <a:pt x="9594" y="12500"/>
                  <a:pt x="9625" y="12594"/>
                  <a:pt x="9531" y="12594"/>
                </a:cubicBezTo>
                <a:cubicBezTo>
                  <a:pt x="9469" y="12563"/>
                  <a:pt x="9406" y="12532"/>
                  <a:pt x="9375" y="12469"/>
                </a:cubicBezTo>
                <a:cubicBezTo>
                  <a:pt x="9344" y="12407"/>
                  <a:pt x="9375" y="12313"/>
                  <a:pt x="9469" y="12282"/>
                </a:cubicBezTo>
                <a:cubicBezTo>
                  <a:pt x="9469" y="12282"/>
                  <a:pt x="9469" y="12282"/>
                  <a:pt x="9469" y="12282"/>
                </a:cubicBezTo>
                <a:cubicBezTo>
                  <a:pt x="9500" y="12250"/>
                  <a:pt x="9500" y="12250"/>
                  <a:pt x="9500" y="12219"/>
                </a:cubicBezTo>
                <a:cubicBezTo>
                  <a:pt x="9469" y="12219"/>
                  <a:pt x="9469" y="12219"/>
                  <a:pt x="9438" y="12219"/>
                </a:cubicBezTo>
                <a:cubicBezTo>
                  <a:pt x="9344" y="12282"/>
                  <a:pt x="9250" y="12344"/>
                  <a:pt x="9125" y="12375"/>
                </a:cubicBezTo>
                <a:cubicBezTo>
                  <a:pt x="9094" y="12375"/>
                  <a:pt x="9063" y="12375"/>
                  <a:pt x="9063" y="12375"/>
                </a:cubicBezTo>
                <a:cubicBezTo>
                  <a:pt x="8938" y="12438"/>
                  <a:pt x="8844" y="12563"/>
                  <a:pt x="8781" y="12719"/>
                </a:cubicBezTo>
                <a:cubicBezTo>
                  <a:pt x="8781" y="12719"/>
                  <a:pt x="8813" y="12719"/>
                  <a:pt x="8844" y="12719"/>
                </a:cubicBezTo>
                <a:cubicBezTo>
                  <a:pt x="8906" y="12625"/>
                  <a:pt x="9000" y="12563"/>
                  <a:pt x="9125" y="12469"/>
                </a:cubicBezTo>
                <a:cubicBezTo>
                  <a:pt x="9125" y="12500"/>
                  <a:pt x="9125" y="12532"/>
                  <a:pt x="9125" y="12563"/>
                </a:cubicBezTo>
                <a:cubicBezTo>
                  <a:pt x="9125" y="12594"/>
                  <a:pt x="9125" y="12594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56" y="12657"/>
                  <a:pt x="9156" y="12625"/>
                  <a:pt x="9188" y="12625"/>
                </a:cubicBezTo>
                <a:cubicBezTo>
                  <a:pt x="9219" y="12563"/>
                  <a:pt x="9281" y="12500"/>
                  <a:pt x="9344" y="12594"/>
                </a:cubicBezTo>
                <a:cubicBezTo>
                  <a:pt x="9406" y="12657"/>
                  <a:pt x="9344" y="12719"/>
                  <a:pt x="9281" y="12750"/>
                </a:cubicBezTo>
                <a:cubicBezTo>
                  <a:pt x="9344" y="12782"/>
                  <a:pt x="9375" y="12813"/>
                  <a:pt x="9344" y="12844"/>
                </a:cubicBezTo>
                <a:cubicBezTo>
                  <a:pt x="9313" y="12907"/>
                  <a:pt x="9313" y="12844"/>
                  <a:pt x="9281" y="12844"/>
                </a:cubicBezTo>
                <a:cubicBezTo>
                  <a:pt x="9188" y="12813"/>
                  <a:pt x="9156" y="12907"/>
                  <a:pt x="9156" y="12938"/>
                </a:cubicBezTo>
                <a:cubicBezTo>
                  <a:pt x="9156" y="13125"/>
                  <a:pt x="9000" y="13157"/>
                  <a:pt x="8906" y="13313"/>
                </a:cubicBezTo>
                <a:cubicBezTo>
                  <a:pt x="8813" y="13032"/>
                  <a:pt x="9031" y="12907"/>
                  <a:pt x="9125" y="12750"/>
                </a:cubicBezTo>
                <a:cubicBezTo>
                  <a:pt x="9125" y="12719"/>
                  <a:pt x="9125" y="12688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125" y="12625"/>
                  <a:pt x="9125" y="12625"/>
                  <a:pt x="9125" y="12625"/>
                </a:cubicBezTo>
                <a:cubicBezTo>
                  <a:pt x="9063" y="12625"/>
                  <a:pt x="9031" y="12657"/>
                  <a:pt x="9000" y="12688"/>
                </a:cubicBezTo>
                <a:cubicBezTo>
                  <a:pt x="9000" y="12688"/>
                  <a:pt x="8969" y="12688"/>
                  <a:pt x="8969" y="12719"/>
                </a:cubicBezTo>
                <a:cubicBezTo>
                  <a:pt x="8969" y="12719"/>
                  <a:pt x="8969" y="12719"/>
                  <a:pt x="8938" y="12719"/>
                </a:cubicBezTo>
                <a:cubicBezTo>
                  <a:pt x="8938" y="12719"/>
                  <a:pt x="8906" y="12719"/>
                  <a:pt x="8906" y="12750"/>
                </a:cubicBezTo>
                <a:cubicBezTo>
                  <a:pt x="8906" y="12750"/>
                  <a:pt x="8875" y="12750"/>
                  <a:pt x="8875" y="12750"/>
                </a:cubicBezTo>
                <a:cubicBezTo>
                  <a:pt x="8719" y="12938"/>
                  <a:pt x="8563" y="13094"/>
                  <a:pt x="8406" y="13282"/>
                </a:cubicBezTo>
                <a:cubicBezTo>
                  <a:pt x="8313" y="13375"/>
                  <a:pt x="8281" y="13344"/>
                  <a:pt x="8250" y="13250"/>
                </a:cubicBezTo>
                <a:cubicBezTo>
                  <a:pt x="8094" y="13407"/>
                  <a:pt x="7938" y="13532"/>
                  <a:pt x="7688" y="13594"/>
                </a:cubicBezTo>
                <a:cubicBezTo>
                  <a:pt x="7875" y="13375"/>
                  <a:pt x="8000" y="13188"/>
                  <a:pt x="8219" y="13063"/>
                </a:cubicBezTo>
                <a:cubicBezTo>
                  <a:pt x="8313" y="12938"/>
                  <a:pt x="8344" y="12719"/>
                  <a:pt x="8563" y="12938"/>
                </a:cubicBezTo>
                <a:cubicBezTo>
                  <a:pt x="8594" y="12969"/>
                  <a:pt x="8625" y="12907"/>
                  <a:pt x="8656" y="12907"/>
                </a:cubicBezTo>
                <a:cubicBezTo>
                  <a:pt x="8719" y="12844"/>
                  <a:pt x="8625" y="12844"/>
                  <a:pt x="8625" y="12782"/>
                </a:cubicBezTo>
                <a:cubicBezTo>
                  <a:pt x="8500" y="12688"/>
                  <a:pt x="8594" y="12657"/>
                  <a:pt x="8688" y="12594"/>
                </a:cubicBezTo>
                <a:cubicBezTo>
                  <a:pt x="8781" y="12532"/>
                  <a:pt x="8813" y="12469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781" y="12375"/>
                  <a:pt x="8781" y="12375"/>
                  <a:pt x="8781" y="12375"/>
                </a:cubicBezTo>
                <a:cubicBezTo>
                  <a:pt x="8813" y="12375"/>
                  <a:pt x="8813" y="12375"/>
                  <a:pt x="8844" y="12407"/>
                </a:cubicBezTo>
                <a:cubicBezTo>
                  <a:pt x="8906" y="12407"/>
                  <a:pt x="8938" y="12375"/>
                  <a:pt x="8969" y="12313"/>
                </a:cubicBezTo>
                <a:cubicBezTo>
                  <a:pt x="8969" y="12313"/>
                  <a:pt x="8969" y="12282"/>
                  <a:pt x="8969" y="12282"/>
                </a:cubicBezTo>
                <a:cubicBezTo>
                  <a:pt x="9000" y="12219"/>
                  <a:pt x="9000" y="12125"/>
                  <a:pt x="9063" y="12094"/>
                </a:cubicBezTo>
                <a:cubicBezTo>
                  <a:pt x="9094" y="12063"/>
                  <a:pt x="9156" y="12032"/>
                  <a:pt x="9094" y="11969"/>
                </a:cubicBezTo>
                <a:cubicBezTo>
                  <a:pt x="9063" y="11938"/>
                  <a:pt x="8969" y="11907"/>
                  <a:pt x="8906" y="11907"/>
                </a:cubicBezTo>
                <a:cubicBezTo>
                  <a:pt x="8875" y="11907"/>
                  <a:pt x="8813" y="11969"/>
                  <a:pt x="8813" y="12000"/>
                </a:cubicBezTo>
                <a:cubicBezTo>
                  <a:pt x="8875" y="12125"/>
                  <a:pt x="8781" y="12063"/>
                  <a:pt x="8719" y="12094"/>
                </a:cubicBezTo>
                <a:cubicBezTo>
                  <a:pt x="8719" y="12094"/>
                  <a:pt x="8719" y="12094"/>
                  <a:pt x="8719" y="12094"/>
                </a:cubicBezTo>
                <a:cubicBezTo>
                  <a:pt x="8688" y="12094"/>
                  <a:pt x="8688" y="12125"/>
                  <a:pt x="8656" y="12125"/>
                </a:cubicBezTo>
                <a:cubicBezTo>
                  <a:pt x="8594" y="12157"/>
                  <a:pt x="8563" y="12188"/>
                  <a:pt x="8500" y="12219"/>
                </a:cubicBezTo>
                <a:cubicBezTo>
                  <a:pt x="8500" y="12313"/>
                  <a:pt x="8469" y="12344"/>
                  <a:pt x="8406" y="12344"/>
                </a:cubicBezTo>
                <a:cubicBezTo>
                  <a:pt x="8375" y="12344"/>
                  <a:pt x="8344" y="12375"/>
                  <a:pt x="8313" y="12375"/>
                </a:cubicBezTo>
                <a:cubicBezTo>
                  <a:pt x="8344" y="12407"/>
                  <a:pt x="8375" y="12438"/>
                  <a:pt x="8344" y="12469"/>
                </a:cubicBezTo>
                <a:cubicBezTo>
                  <a:pt x="8344" y="12500"/>
                  <a:pt x="8313" y="12500"/>
                  <a:pt x="8313" y="12500"/>
                </a:cubicBezTo>
                <a:cubicBezTo>
                  <a:pt x="8281" y="12532"/>
                  <a:pt x="8281" y="12532"/>
                  <a:pt x="8250" y="12532"/>
                </a:cubicBezTo>
                <a:cubicBezTo>
                  <a:pt x="8156" y="12625"/>
                  <a:pt x="8063" y="12719"/>
                  <a:pt x="7969" y="12844"/>
                </a:cubicBezTo>
                <a:cubicBezTo>
                  <a:pt x="7969" y="12813"/>
                  <a:pt x="7969" y="12813"/>
                  <a:pt x="7969" y="12813"/>
                </a:cubicBezTo>
                <a:cubicBezTo>
                  <a:pt x="7969" y="12782"/>
                  <a:pt x="7938" y="12782"/>
                  <a:pt x="7938" y="12750"/>
                </a:cubicBezTo>
                <a:cubicBezTo>
                  <a:pt x="7938" y="12750"/>
                  <a:pt x="7938" y="12719"/>
                  <a:pt x="7938" y="12719"/>
                </a:cubicBezTo>
                <a:cubicBezTo>
                  <a:pt x="7938" y="12719"/>
                  <a:pt x="7938" y="12719"/>
                  <a:pt x="7969" y="12719"/>
                </a:cubicBezTo>
                <a:cubicBezTo>
                  <a:pt x="8031" y="12657"/>
                  <a:pt x="8094" y="12594"/>
                  <a:pt x="8125" y="12532"/>
                </a:cubicBezTo>
                <a:cubicBezTo>
                  <a:pt x="8188" y="12469"/>
                  <a:pt x="8250" y="12407"/>
                  <a:pt x="8281" y="12344"/>
                </a:cubicBezTo>
                <a:cubicBezTo>
                  <a:pt x="8313" y="12313"/>
                  <a:pt x="8313" y="12282"/>
                  <a:pt x="8344" y="12250"/>
                </a:cubicBezTo>
                <a:cubicBezTo>
                  <a:pt x="8344" y="12250"/>
                  <a:pt x="8375" y="12250"/>
                  <a:pt x="8375" y="12219"/>
                </a:cubicBezTo>
                <a:cubicBezTo>
                  <a:pt x="8406" y="12219"/>
                  <a:pt x="8406" y="12188"/>
                  <a:pt x="8438" y="12188"/>
                </a:cubicBezTo>
                <a:cubicBezTo>
                  <a:pt x="8469" y="12157"/>
                  <a:pt x="8469" y="12157"/>
                  <a:pt x="8500" y="12125"/>
                </a:cubicBezTo>
                <a:cubicBezTo>
                  <a:pt x="8500" y="12094"/>
                  <a:pt x="8531" y="12063"/>
                  <a:pt x="8531" y="12032"/>
                </a:cubicBezTo>
                <a:cubicBezTo>
                  <a:pt x="8594" y="11969"/>
                  <a:pt x="8688" y="11907"/>
                  <a:pt x="8719" y="11813"/>
                </a:cubicBezTo>
                <a:cubicBezTo>
                  <a:pt x="8719" y="11750"/>
                  <a:pt x="8781" y="11719"/>
                  <a:pt x="8719" y="11688"/>
                </a:cubicBezTo>
                <a:cubicBezTo>
                  <a:pt x="8719" y="11657"/>
                  <a:pt x="8688" y="11657"/>
                  <a:pt x="8688" y="11688"/>
                </a:cubicBezTo>
                <a:cubicBezTo>
                  <a:pt x="8688" y="11688"/>
                  <a:pt x="8688" y="11688"/>
                  <a:pt x="8688" y="11719"/>
                </a:cubicBezTo>
                <a:cubicBezTo>
                  <a:pt x="8688" y="11719"/>
                  <a:pt x="8688" y="11719"/>
                  <a:pt x="8688" y="11719"/>
                </a:cubicBezTo>
                <a:cubicBezTo>
                  <a:pt x="8688" y="11719"/>
                  <a:pt x="8688" y="11719"/>
                  <a:pt x="8656" y="11719"/>
                </a:cubicBezTo>
                <a:cubicBezTo>
                  <a:pt x="8656" y="11719"/>
                  <a:pt x="8625" y="11719"/>
                  <a:pt x="8625" y="11688"/>
                </a:cubicBezTo>
                <a:cubicBezTo>
                  <a:pt x="8625" y="11688"/>
                  <a:pt x="8625" y="11688"/>
                  <a:pt x="8625" y="11688"/>
                </a:cubicBezTo>
                <a:cubicBezTo>
                  <a:pt x="8625" y="11688"/>
                  <a:pt x="8625" y="11688"/>
                  <a:pt x="8656" y="11688"/>
                </a:cubicBezTo>
                <a:cubicBezTo>
                  <a:pt x="8625" y="11657"/>
                  <a:pt x="8656" y="11594"/>
                  <a:pt x="8625" y="11594"/>
                </a:cubicBezTo>
                <a:cubicBezTo>
                  <a:pt x="8625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594"/>
                  <a:pt x="8594" y="11594"/>
                  <a:pt x="8594" y="11594"/>
                </a:cubicBezTo>
                <a:cubicBezTo>
                  <a:pt x="8594" y="11657"/>
                  <a:pt x="8594" y="11719"/>
                  <a:pt x="8500" y="11719"/>
                </a:cubicBezTo>
                <a:cubicBezTo>
                  <a:pt x="8500" y="11750"/>
                  <a:pt x="8469" y="11782"/>
                  <a:pt x="8469" y="11813"/>
                </a:cubicBezTo>
                <a:cubicBezTo>
                  <a:pt x="8438" y="11813"/>
                  <a:pt x="8406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844"/>
                  <a:pt x="8375" y="11844"/>
                  <a:pt x="8375" y="11844"/>
                </a:cubicBezTo>
                <a:cubicBezTo>
                  <a:pt x="8375" y="11938"/>
                  <a:pt x="8313" y="12032"/>
                  <a:pt x="8250" y="12094"/>
                </a:cubicBezTo>
                <a:cubicBezTo>
                  <a:pt x="8188" y="12157"/>
                  <a:pt x="8094" y="12219"/>
                  <a:pt x="8031" y="12313"/>
                </a:cubicBezTo>
                <a:cubicBezTo>
                  <a:pt x="8000" y="12282"/>
                  <a:pt x="8031" y="12219"/>
                  <a:pt x="8063" y="12188"/>
                </a:cubicBezTo>
                <a:cubicBezTo>
                  <a:pt x="8094" y="12125"/>
                  <a:pt x="8188" y="12063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125" y="11969"/>
                  <a:pt x="8125" y="11969"/>
                  <a:pt x="8125" y="11969"/>
                </a:cubicBezTo>
                <a:cubicBezTo>
                  <a:pt x="8094" y="11969"/>
                  <a:pt x="8063" y="11938"/>
                  <a:pt x="8031" y="11938"/>
                </a:cubicBezTo>
                <a:cubicBezTo>
                  <a:pt x="8000" y="11938"/>
                  <a:pt x="8000" y="11938"/>
                  <a:pt x="7969" y="11969"/>
                </a:cubicBezTo>
                <a:cubicBezTo>
                  <a:pt x="7938" y="11969"/>
                  <a:pt x="7938" y="11969"/>
                  <a:pt x="7906" y="11969"/>
                </a:cubicBezTo>
                <a:cubicBezTo>
                  <a:pt x="7875" y="11969"/>
                  <a:pt x="7875" y="11907"/>
                  <a:pt x="7906" y="11875"/>
                </a:cubicBezTo>
                <a:cubicBezTo>
                  <a:pt x="7906" y="11875"/>
                  <a:pt x="7875" y="11844"/>
                  <a:pt x="7875" y="11844"/>
                </a:cubicBezTo>
                <a:cubicBezTo>
                  <a:pt x="7844" y="11844"/>
                  <a:pt x="7781" y="11844"/>
                  <a:pt x="7750" y="11844"/>
                </a:cubicBezTo>
                <a:cubicBezTo>
                  <a:pt x="7469" y="12157"/>
                  <a:pt x="7188" y="12469"/>
                  <a:pt x="6906" y="12813"/>
                </a:cubicBezTo>
                <a:cubicBezTo>
                  <a:pt x="6813" y="12938"/>
                  <a:pt x="6719" y="12969"/>
                  <a:pt x="6594" y="12938"/>
                </a:cubicBezTo>
                <a:cubicBezTo>
                  <a:pt x="6594" y="12844"/>
                  <a:pt x="6656" y="12782"/>
                  <a:pt x="6688" y="12750"/>
                </a:cubicBezTo>
                <a:cubicBezTo>
                  <a:pt x="7094" y="12469"/>
                  <a:pt x="7313" y="12063"/>
                  <a:pt x="7594" y="11688"/>
                </a:cubicBezTo>
                <a:cubicBezTo>
                  <a:pt x="7656" y="11563"/>
                  <a:pt x="7781" y="11469"/>
                  <a:pt x="7844" y="11344"/>
                </a:cubicBezTo>
                <a:cubicBezTo>
                  <a:pt x="7906" y="11219"/>
                  <a:pt x="7969" y="11188"/>
                  <a:pt x="8031" y="11125"/>
                </a:cubicBezTo>
                <a:cubicBezTo>
                  <a:pt x="8094" y="11094"/>
                  <a:pt x="8125" y="11032"/>
                  <a:pt x="8125" y="10969"/>
                </a:cubicBezTo>
                <a:cubicBezTo>
                  <a:pt x="8125" y="10938"/>
                  <a:pt x="8156" y="10875"/>
                  <a:pt x="8063" y="10844"/>
                </a:cubicBezTo>
                <a:cubicBezTo>
                  <a:pt x="8031" y="10844"/>
                  <a:pt x="8000" y="10875"/>
                  <a:pt x="7969" y="10907"/>
                </a:cubicBezTo>
                <a:cubicBezTo>
                  <a:pt x="7906" y="11094"/>
                  <a:pt x="7688" y="11188"/>
                  <a:pt x="7625" y="11438"/>
                </a:cubicBezTo>
                <a:cubicBezTo>
                  <a:pt x="7625" y="11532"/>
                  <a:pt x="7406" y="11594"/>
                  <a:pt x="7344" y="11719"/>
                </a:cubicBezTo>
                <a:cubicBezTo>
                  <a:pt x="7219" y="11875"/>
                  <a:pt x="7063" y="12000"/>
                  <a:pt x="6969" y="12157"/>
                </a:cubicBezTo>
                <a:cubicBezTo>
                  <a:pt x="6906" y="12250"/>
                  <a:pt x="6719" y="12188"/>
                  <a:pt x="6719" y="12344"/>
                </a:cubicBezTo>
                <a:cubicBezTo>
                  <a:pt x="6719" y="12344"/>
                  <a:pt x="6750" y="12344"/>
                  <a:pt x="6719" y="12375"/>
                </a:cubicBezTo>
                <a:cubicBezTo>
                  <a:pt x="6719" y="12375"/>
                  <a:pt x="6719" y="12375"/>
                  <a:pt x="6719" y="12375"/>
                </a:cubicBezTo>
                <a:lnTo>
                  <a:pt x="6719" y="12375"/>
                </a:lnTo>
                <a:cubicBezTo>
                  <a:pt x="6719" y="12375"/>
                  <a:pt x="6719" y="12375"/>
                  <a:pt x="6719" y="12344"/>
                </a:cubicBezTo>
                <a:cubicBezTo>
                  <a:pt x="6719" y="12344"/>
                  <a:pt x="6719" y="12344"/>
                  <a:pt x="6688" y="12344"/>
                </a:cubicBezTo>
                <a:cubicBezTo>
                  <a:pt x="6688" y="12344"/>
                  <a:pt x="6688" y="12344"/>
                  <a:pt x="6656" y="12375"/>
                </a:cubicBezTo>
                <a:cubicBezTo>
                  <a:pt x="6656" y="12344"/>
                  <a:pt x="6656" y="12344"/>
                  <a:pt x="6656" y="12344"/>
                </a:cubicBezTo>
                <a:lnTo>
                  <a:pt x="6656" y="12344"/>
                </a:lnTo>
                <a:cubicBezTo>
                  <a:pt x="6688" y="12344"/>
                  <a:pt x="6688" y="12344"/>
                  <a:pt x="6688" y="12344"/>
                </a:cubicBezTo>
                <a:cubicBezTo>
                  <a:pt x="6781" y="12219"/>
                  <a:pt x="6844" y="12094"/>
                  <a:pt x="6938" y="11969"/>
                </a:cubicBezTo>
                <a:cubicBezTo>
                  <a:pt x="6938" y="11938"/>
                  <a:pt x="7000" y="11907"/>
                  <a:pt x="6969" y="11875"/>
                </a:cubicBezTo>
                <a:cubicBezTo>
                  <a:pt x="6906" y="11844"/>
                  <a:pt x="6875" y="11844"/>
                  <a:pt x="6813" y="11907"/>
                </a:cubicBezTo>
                <a:cubicBezTo>
                  <a:pt x="6688" y="12063"/>
                  <a:pt x="6563" y="12188"/>
                  <a:pt x="6406" y="12344"/>
                </a:cubicBezTo>
                <a:cubicBezTo>
                  <a:pt x="6375" y="12375"/>
                  <a:pt x="6375" y="12438"/>
                  <a:pt x="6313" y="12375"/>
                </a:cubicBezTo>
                <a:cubicBezTo>
                  <a:pt x="6281" y="12344"/>
                  <a:pt x="6281" y="12344"/>
                  <a:pt x="6281" y="12313"/>
                </a:cubicBezTo>
                <a:cubicBezTo>
                  <a:pt x="6281" y="12313"/>
                  <a:pt x="6250" y="12313"/>
                  <a:pt x="6250" y="12313"/>
                </a:cubicBezTo>
                <a:cubicBezTo>
                  <a:pt x="6250" y="12313"/>
                  <a:pt x="6250" y="12313"/>
                  <a:pt x="6250" y="12313"/>
                </a:cubicBezTo>
                <a:cubicBezTo>
                  <a:pt x="6250" y="12282"/>
                  <a:pt x="6250" y="12282"/>
                  <a:pt x="6281" y="12282"/>
                </a:cubicBezTo>
                <a:cubicBezTo>
                  <a:pt x="6281" y="12282"/>
                  <a:pt x="6281" y="12250"/>
                  <a:pt x="6313" y="12250"/>
                </a:cubicBezTo>
                <a:cubicBezTo>
                  <a:pt x="6344" y="12250"/>
                  <a:pt x="6344" y="12219"/>
                  <a:pt x="6344" y="12219"/>
                </a:cubicBezTo>
                <a:cubicBezTo>
                  <a:pt x="6625" y="11907"/>
                  <a:pt x="6906" y="11625"/>
                  <a:pt x="7188" y="11313"/>
                </a:cubicBezTo>
                <a:cubicBezTo>
                  <a:pt x="7281" y="11219"/>
                  <a:pt x="7313" y="11157"/>
                  <a:pt x="7156" y="11157"/>
                </a:cubicBezTo>
                <a:cubicBezTo>
                  <a:pt x="7219" y="11063"/>
                  <a:pt x="7313" y="11000"/>
                  <a:pt x="7375" y="10938"/>
                </a:cubicBezTo>
                <a:cubicBezTo>
                  <a:pt x="7469" y="10813"/>
                  <a:pt x="7594" y="10657"/>
                  <a:pt x="7656" y="10500"/>
                </a:cubicBezTo>
                <a:cubicBezTo>
                  <a:pt x="7625" y="10500"/>
                  <a:pt x="7625" y="10469"/>
                  <a:pt x="7594" y="10469"/>
                </a:cubicBezTo>
                <a:cubicBezTo>
                  <a:pt x="7594" y="10469"/>
                  <a:pt x="7594" y="10469"/>
                  <a:pt x="7594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563" y="10469"/>
                  <a:pt x="7563" y="10469"/>
                  <a:pt x="7563" y="10469"/>
                </a:cubicBezTo>
                <a:cubicBezTo>
                  <a:pt x="7469" y="10469"/>
                  <a:pt x="7438" y="10438"/>
                  <a:pt x="7469" y="10375"/>
                </a:cubicBezTo>
                <a:cubicBezTo>
                  <a:pt x="7469" y="10344"/>
                  <a:pt x="7531" y="10282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500" y="10250"/>
                  <a:pt x="7500" y="10250"/>
                  <a:pt x="7500" y="10250"/>
                </a:cubicBezTo>
                <a:cubicBezTo>
                  <a:pt x="7438" y="10250"/>
                  <a:pt x="7406" y="10250"/>
                  <a:pt x="7375" y="10282"/>
                </a:cubicBezTo>
                <a:cubicBezTo>
                  <a:pt x="7313" y="10344"/>
                  <a:pt x="7344" y="10469"/>
                  <a:pt x="7313" y="10532"/>
                </a:cubicBezTo>
                <a:cubicBezTo>
                  <a:pt x="7406" y="10594"/>
                  <a:pt x="7313" y="10750"/>
                  <a:pt x="7281" y="10750"/>
                </a:cubicBezTo>
                <a:cubicBezTo>
                  <a:pt x="7094" y="10907"/>
                  <a:pt x="7031" y="11157"/>
                  <a:pt x="6750" y="11282"/>
                </a:cubicBezTo>
                <a:cubicBezTo>
                  <a:pt x="6781" y="11219"/>
                  <a:pt x="6813" y="11157"/>
                  <a:pt x="6844" y="11094"/>
                </a:cubicBezTo>
                <a:cubicBezTo>
                  <a:pt x="6875" y="11032"/>
                  <a:pt x="6906" y="10969"/>
                  <a:pt x="6938" y="10907"/>
                </a:cubicBezTo>
                <a:cubicBezTo>
                  <a:pt x="6906" y="10907"/>
                  <a:pt x="6906" y="10907"/>
                  <a:pt x="6906" y="10907"/>
                </a:cubicBezTo>
                <a:cubicBezTo>
                  <a:pt x="6844" y="10875"/>
                  <a:pt x="6813" y="10875"/>
                  <a:pt x="6875" y="10813"/>
                </a:cubicBezTo>
                <a:cubicBezTo>
                  <a:pt x="6938" y="10719"/>
                  <a:pt x="7000" y="10625"/>
                  <a:pt x="7094" y="10563"/>
                </a:cubicBezTo>
                <a:cubicBezTo>
                  <a:pt x="7094" y="10532"/>
                  <a:pt x="7125" y="10500"/>
                  <a:pt x="7125" y="10500"/>
                </a:cubicBezTo>
                <a:cubicBezTo>
                  <a:pt x="7125" y="10438"/>
                  <a:pt x="7125" y="10407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125" y="10375"/>
                  <a:pt x="7125" y="10375"/>
                  <a:pt x="7125" y="10375"/>
                </a:cubicBezTo>
                <a:cubicBezTo>
                  <a:pt x="7000" y="10344"/>
                  <a:pt x="6938" y="10438"/>
                  <a:pt x="6844" y="10500"/>
                </a:cubicBezTo>
                <a:cubicBezTo>
                  <a:pt x="6844" y="10532"/>
                  <a:pt x="6844" y="10532"/>
                  <a:pt x="6813" y="10532"/>
                </a:cubicBezTo>
                <a:cubicBezTo>
                  <a:pt x="6781" y="10594"/>
                  <a:pt x="6781" y="10750"/>
                  <a:pt x="6625" y="10625"/>
                </a:cubicBezTo>
                <a:cubicBezTo>
                  <a:pt x="6625" y="10625"/>
                  <a:pt x="6625" y="10625"/>
                  <a:pt x="6594" y="10625"/>
                </a:cubicBezTo>
                <a:cubicBezTo>
                  <a:pt x="6531" y="10625"/>
                  <a:pt x="6438" y="10782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375" y="10875"/>
                  <a:pt x="6375" y="10875"/>
                  <a:pt x="6375" y="10875"/>
                </a:cubicBezTo>
                <a:cubicBezTo>
                  <a:pt x="6406" y="10907"/>
                  <a:pt x="6406" y="10907"/>
                  <a:pt x="6438" y="10875"/>
                </a:cubicBezTo>
                <a:cubicBezTo>
                  <a:pt x="6438" y="10875"/>
                  <a:pt x="6469" y="10875"/>
                  <a:pt x="6500" y="10844"/>
                </a:cubicBezTo>
                <a:cubicBezTo>
                  <a:pt x="6500" y="10844"/>
                  <a:pt x="6500" y="10875"/>
                  <a:pt x="6500" y="10875"/>
                </a:cubicBezTo>
                <a:cubicBezTo>
                  <a:pt x="6500" y="10875"/>
                  <a:pt x="6500" y="10875"/>
                  <a:pt x="6500" y="10907"/>
                </a:cubicBezTo>
                <a:cubicBezTo>
                  <a:pt x="6531" y="10969"/>
                  <a:pt x="6531" y="11094"/>
                  <a:pt x="6406" y="11094"/>
                </a:cubicBezTo>
                <a:cubicBezTo>
                  <a:pt x="6406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125"/>
                  <a:pt x="6375" y="11125"/>
                </a:cubicBezTo>
                <a:cubicBezTo>
                  <a:pt x="6375" y="11125"/>
                  <a:pt x="6375" y="11094"/>
                  <a:pt x="6406" y="11094"/>
                </a:cubicBezTo>
                <a:cubicBezTo>
                  <a:pt x="6406" y="11094"/>
                  <a:pt x="6406" y="11094"/>
                  <a:pt x="6406" y="11094"/>
                </a:cubicBezTo>
                <a:cubicBezTo>
                  <a:pt x="6406" y="11032"/>
                  <a:pt x="6375" y="10969"/>
                  <a:pt x="6375" y="10875"/>
                </a:cubicBezTo>
                <a:cubicBezTo>
                  <a:pt x="6281" y="10907"/>
                  <a:pt x="6250" y="11063"/>
                  <a:pt x="6156" y="11094"/>
                </a:cubicBezTo>
                <a:cubicBezTo>
                  <a:pt x="6156" y="11094"/>
                  <a:pt x="6125" y="11094"/>
                  <a:pt x="6125" y="11125"/>
                </a:cubicBezTo>
                <a:cubicBezTo>
                  <a:pt x="6031" y="11188"/>
                  <a:pt x="5969" y="11282"/>
                  <a:pt x="6125" y="11344"/>
                </a:cubicBezTo>
                <a:cubicBezTo>
                  <a:pt x="6156" y="11344"/>
                  <a:pt x="6219" y="11375"/>
                  <a:pt x="6156" y="11407"/>
                </a:cubicBezTo>
                <a:cubicBezTo>
                  <a:pt x="6125" y="11469"/>
                  <a:pt x="6094" y="11563"/>
                  <a:pt x="6031" y="11532"/>
                </a:cubicBezTo>
                <a:cubicBezTo>
                  <a:pt x="5969" y="11532"/>
                  <a:pt x="5875" y="11469"/>
                  <a:pt x="5875" y="11407"/>
                </a:cubicBezTo>
                <a:cubicBezTo>
                  <a:pt x="5906" y="11282"/>
                  <a:pt x="5875" y="11157"/>
                  <a:pt x="6031" y="11094"/>
                </a:cubicBezTo>
                <a:cubicBezTo>
                  <a:pt x="6250" y="10875"/>
                  <a:pt x="6406" y="10594"/>
                  <a:pt x="6625" y="10407"/>
                </a:cubicBezTo>
                <a:cubicBezTo>
                  <a:pt x="6656" y="10375"/>
                  <a:pt x="6656" y="10375"/>
                  <a:pt x="6656" y="10344"/>
                </a:cubicBezTo>
                <a:cubicBezTo>
                  <a:pt x="6656" y="10282"/>
                  <a:pt x="6656" y="10219"/>
                  <a:pt x="6625" y="10157"/>
                </a:cubicBezTo>
                <a:cubicBezTo>
                  <a:pt x="6625" y="10157"/>
                  <a:pt x="6625" y="10157"/>
                  <a:pt x="6625" y="10125"/>
                </a:cubicBezTo>
                <a:cubicBezTo>
                  <a:pt x="6594" y="10125"/>
                  <a:pt x="6563" y="10125"/>
                  <a:pt x="6594" y="10157"/>
                </a:cubicBezTo>
                <a:lnTo>
                  <a:pt x="6594" y="10157"/>
                </a:lnTo>
                <a:cubicBezTo>
                  <a:pt x="6594" y="10157"/>
                  <a:pt x="6625" y="10188"/>
                  <a:pt x="6625" y="10157"/>
                </a:cubicBezTo>
                <a:cubicBezTo>
                  <a:pt x="6688" y="10157"/>
                  <a:pt x="6719" y="10125"/>
                  <a:pt x="6750" y="10094"/>
                </a:cubicBezTo>
                <a:cubicBezTo>
                  <a:pt x="6750" y="10094"/>
                  <a:pt x="6750" y="10063"/>
                  <a:pt x="6750" y="10063"/>
                </a:cubicBezTo>
                <a:cubicBezTo>
                  <a:pt x="6781" y="10032"/>
                  <a:pt x="6781" y="10032"/>
                  <a:pt x="6781" y="10032"/>
                </a:cubicBezTo>
                <a:cubicBezTo>
                  <a:pt x="7094" y="10000"/>
                  <a:pt x="7063" y="9625"/>
                  <a:pt x="7250" y="9500"/>
                </a:cubicBezTo>
                <a:cubicBezTo>
                  <a:pt x="7281" y="9469"/>
                  <a:pt x="7344" y="9375"/>
                  <a:pt x="7313" y="9282"/>
                </a:cubicBezTo>
                <a:cubicBezTo>
                  <a:pt x="7281" y="9219"/>
                  <a:pt x="7313" y="9188"/>
                  <a:pt x="7344" y="9157"/>
                </a:cubicBezTo>
                <a:cubicBezTo>
                  <a:pt x="7375" y="9125"/>
                  <a:pt x="7406" y="9094"/>
                  <a:pt x="7438" y="9094"/>
                </a:cubicBezTo>
                <a:cubicBezTo>
                  <a:pt x="7438" y="9063"/>
                  <a:pt x="7438" y="9032"/>
                  <a:pt x="7438" y="9032"/>
                </a:cubicBezTo>
                <a:cubicBezTo>
                  <a:pt x="7469" y="9032"/>
                  <a:pt x="7500" y="9000"/>
                  <a:pt x="7500" y="9000"/>
                </a:cubicBezTo>
                <a:cubicBezTo>
                  <a:pt x="7438" y="8938"/>
                  <a:pt x="7500" y="8844"/>
                  <a:pt x="7531" y="8719"/>
                </a:cubicBezTo>
                <a:cubicBezTo>
                  <a:pt x="7313" y="8907"/>
                  <a:pt x="7188" y="9125"/>
                  <a:pt x="7031" y="9282"/>
                </a:cubicBezTo>
                <a:cubicBezTo>
                  <a:pt x="6844" y="9500"/>
                  <a:pt x="6719" y="9782"/>
                  <a:pt x="6438" y="9907"/>
                </a:cubicBezTo>
                <a:cubicBezTo>
                  <a:pt x="6406" y="9907"/>
                  <a:pt x="6344" y="10000"/>
                  <a:pt x="6313" y="9907"/>
                </a:cubicBezTo>
                <a:cubicBezTo>
                  <a:pt x="6281" y="9875"/>
                  <a:pt x="6313" y="9813"/>
                  <a:pt x="6344" y="9782"/>
                </a:cubicBezTo>
                <a:cubicBezTo>
                  <a:pt x="6469" y="9625"/>
                  <a:pt x="6625" y="9500"/>
                  <a:pt x="6688" y="9313"/>
                </a:cubicBezTo>
                <a:cubicBezTo>
                  <a:pt x="6500" y="9375"/>
                  <a:pt x="6344" y="9500"/>
                  <a:pt x="6188" y="9625"/>
                </a:cubicBezTo>
                <a:cubicBezTo>
                  <a:pt x="6156" y="9625"/>
                  <a:pt x="6125" y="9657"/>
                  <a:pt x="6125" y="9657"/>
                </a:cubicBezTo>
                <a:cubicBezTo>
                  <a:pt x="5906" y="9563"/>
                  <a:pt x="5875" y="9563"/>
                  <a:pt x="5781" y="9750"/>
                </a:cubicBezTo>
                <a:cubicBezTo>
                  <a:pt x="5750" y="9782"/>
                  <a:pt x="5750" y="9813"/>
                  <a:pt x="5750" y="9813"/>
                </a:cubicBezTo>
                <a:cubicBezTo>
                  <a:pt x="5750" y="9938"/>
                  <a:pt x="5906" y="9782"/>
                  <a:pt x="5875" y="9907"/>
                </a:cubicBezTo>
                <a:cubicBezTo>
                  <a:pt x="5875" y="9938"/>
                  <a:pt x="5813" y="10063"/>
                  <a:pt x="5688" y="9969"/>
                </a:cubicBezTo>
                <a:cubicBezTo>
                  <a:pt x="5594" y="9907"/>
                  <a:pt x="5531" y="10094"/>
                  <a:pt x="5438" y="10157"/>
                </a:cubicBezTo>
                <a:cubicBezTo>
                  <a:pt x="5344" y="10250"/>
                  <a:pt x="5531" y="10250"/>
                  <a:pt x="5531" y="10344"/>
                </a:cubicBezTo>
                <a:cubicBezTo>
                  <a:pt x="5469" y="10375"/>
                  <a:pt x="5406" y="10375"/>
                  <a:pt x="5344" y="10407"/>
                </a:cubicBezTo>
                <a:cubicBezTo>
                  <a:pt x="5344" y="10407"/>
                  <a:pt x="5375" y="10438"/>
                  <a:pt x="5375" y="10438"/>
                </a:cubicBezTo>
                <a:cubicBezTo>
                  <a:pt x="5375" y="10469"/>
                  <a:pt x="5344" y="10469"/>
                  <a:pt x="5344" y="10500"/>
                </a:cubicBezTo>
                <a:cubicBezTo>
                  <a:pt x="5313" y="10469"/>
                  <a:pt x="5281" y="10469"/>
                  <a:pt x="5281" y="10438"/>
                </a:cubicBezTo>
                <a:cubicBezTo>
                  <a:pt x="5281" y="10438"/>
                  <a:pt x="5281" y="10438"/>
                  <a:pt x="5281" y="10438"/>
                </a:cubicBezTo>
                <a:cubicBezTo>
                  <a:pt x="5063" y="10532"/>
                  <a:pt x="4906" y="10719"/>
                  <a:pt x="4875" y="10969"/>
                </a:cubicBezTo>
                <a:cubicBezTo>
                  <a:pt x="4844" y="11032"/>
                  <a:pt x="4813" y="11000"/>
                  <a:pt x="4781" y="11032"/>
                </a:cubicBezTo>
                <a:cubicBezTo>
                  <a:pt x="4719" y="11063"/>
                  <a:pt x="4594" y="11094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594" y="11219"/>
                  <a:pt x="4563" y="11219"/>
                  <a:pt x="4563" y="11219"/>
                </a:cubicBezTo>
                <a:cubicBezTo>
                  <a:pt x="4500" y="11250"/>
                  <a:pt x="4469" y="11313"/>
                  <a:pt x="4438" y="11375"/>
                </a:cubicBezTo>
                <a:cubicBezTo>
                  <a:pt x="4438" y="11375"/>
                  <a:pt x="4438" y="11407"/>
                  <a:pt x="4438" y="11407"/>
                </a:cubicBezTo>
                <a:cubicBezTo>
                  <a:pt x="4344" y="11500"/>
                  <a:pt x="4250" y="11594"/>
                  <a:pt x="4156" y="11688"/>
                </a:cubicBezTo>
                <a:cubicBezTo>
                  <a:pt x="4063" y="11844"/>
                  <a:pt x="3938" y="12000"/>
                  <a:pt x="3781" y="12125"/>
                </a:cubicBezTo>
                <a:cubicBezTo>
                  <a:pt x="3719" y="12157"/>
                  <a:pt x="3688" y="12188"/>
                  <a:pt x="3625" y="12125"/>
                </a:cubicBezTo>
                <a:cubicBezTo>
                  <a:pt x="3594" y="12063"/>
                  <a:pt x="3719" y="12094"/>
                  <a:pt x="3719" y="12063"/>
                </a:cubicBezTo>
                <a:cubicBezTo>
                  <a:pt x="3719" y="11969"/>
                  <a:pt x="3813" y="11907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13" y="11844"/>
                  <a:pt x="3781" y="11844"/>
                  <a:pt x="3781" y="11813"/>
                </a:cubicBezTo>
                <a:cubicBezTo>
                  <a:pt x="3781" y="11782"/>
                  <a:pt x="3781" y="11782"/>
                  <a:pt x="3781" y="11782"/>
                </a:cubicBezTo>
                <a:cubicBezTo>
                  <a:pt x="3813" y="11782"/>
                  <a:pt x="3813" y="11813"/>
                  <a:pt x="3844" y="11813"/>
                </a:cubicBezTo>
                <a:cubicBezTo>
                  <a:pt x="3844" y="11813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44" y="11844"/>
                  <a:pt x="3844" y="11844"/>
                  <a:pt x="3844" y="11844"/>
                </a:cubicBezTo>
                <a:cubicBezTo>
                  <a:pt x="3875" y="11844"/>
                  <a:pt x="3906" y="11844"/>
                  <a:pt x="3938" y="11813"/>
                </a:cubicBezTo>
                <a:cubicBezTo>
                  <a:pt x="3938" y="11782"/>
                  <a:pt x="3938" y="11782"/>
                  <a:pt x="3938" y="11719"/>
                </a:cubicBezTo>
                <a:cubicBezTo>
                  <a:pt x="3906" y="11688"/>
                  <a:pt x="3938" y="11657"/>
                  <a:pt x="3906" y="11657"/>
                </a:cubicBezTo>
                <a:lnTo>
                  <a:pt x="3906" y="11657"/>
                </a:lnTo>
                <a:cubicBezTo>
                  <a:pt x="3875" y="11657"/>
                  <a:pt x="3875" y="11657"/>
                  <a:pt x="3875" y="11657"/>
                </a:cubicBezTo>
                <a:cubicBezTo>
                  <a:pt x="3844" y="11719"/>
                  <a:pt x="3906" y="11719"/>
                  <a:pt x="3938" y="11719"/>
                </a:cubicBezTo>
                <a:cubicBezTo>
                  <a:pt x="3938" y="11719"/>
                  <a:pt x="3938" y="11719"/>
                  <a:pt x="3969" y="11719"/>
                </a:cubicBezTo>
                <a:cubicBezTo>
                  <a:pt x="3969" y="11750"/>
                  <a:pt x="4000" y="11719"/>
                  <a:pt x="4000" y="11719"/>
                </a:cubicBezTo>
                <a:cubicBezTo>
                  <a:pt x="4031" y="11688"/>
                  <a:pt x="4063" y="11657"/>
                  <a:pt x="4125" y="11625"/>
                </a:cubicBezTo>
                <a:cubicBezTo>
                  <a:pt x="4188" y="11563"/>
                  <a:pt x="4188" y="11438"/>
                  <a:pt x="4281" y="11375"/>
                </a:cubicBezTo>
                <a:cubicBezTo>
                  <a:pt x="4375" y="11313"/>
                  <a:pt x="4406" y="11125"/>
                  <a:pt x="4438" y="11032"/>
                </a:cubicBezTo>
                <a:cubicBezTo>
                  <a:pt x="4438" y="10844"/>
                  <a:pt x="4656" y="10844"/>
                  <a:pt x="4688" y="10688"/>
                </a:cubicBezTo>
                <a:cubicBezTo>
                  <a:pt x="4750" y="10594"/>
                  <a:pt x="4750" y="10532"/>
                  <a:pt x="4750" y="10438"/>
                </a:cubicBezTo>
                <a:cubicBezTo>
                  <a:pt x="4781" y="10375"/>
                  <a:pt x="4719" y="10188"/>
                  <a:pt x="4906" y="10219"/>
                </a:cubicBezTo>
                <a:cubicBezTo>
                  <a:pt x="4969" y="10000"/>
                  <a:pt x="5156" y="9844"/>
                  <a:pt x="5156" y="9625"/>
                </a:cubicBezTo>
                <a:cubicBezTo>
                  <a:pt x="5156" y="9625"/>
                  <a:pt x="5156" y="9594"/>
                  <a:pt x="5125" y="9594"/>
                </a:cubicBezTo>
                <a:cubicBezTo>
                  <a:pt x="4938" y="9719"/>
                  <a:pt x="4844" y="9938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88" y="10094"/>
                  <a:pt x="4656" y="10125"/>
                  <a:pt x="4656" y="10125"/>
                </a:cubicBezTo>
                <a:cubicBezTo>
                  <a:pt x="4656" y="10125"/>
                  <a:pt x="4625" y="10125"/>
                  <a:pt x="4625" y="10125"/>
                </a:cubicBezTo>
                <a:cubicBezTo>
                  <a:pt x="4625" y="10125"/>
                  <a:pt x="4625" y="10094"/>
                  <a:pt x="4625" y="10094"/>
                </a:cubicBezTo>
                <a:cubicBezTo>
                  <a:pt x="4625" y="10094"/>
                  <a:pt x="4625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63"/>
                  <a:pt x="4656" y="10063"/>
                </a:cubicBezTo>
                <a:cubicBezTo>
                  <a:pt x="4656" y="10063"/>
                  <a:pt x="4656" y="10032"/>
                  <a:pt x="4656" y="10000"/>
                </a:cubicBezTo>
                <a:cubicBezTo>
                  <a:pt x="4688" y="9969"/>
                  <a:pt x="4688" y="9938"/>
                  <a:pt x="4656" y="9907"/>
                </a:cubicBezTo>
                <a:cubicBezTo>
                  <a:pt x="4406" y="10313"/>
                  <a:pt x="4094" y="10657"/>
                  <a:pt x="3719" y="10938"/>
                </a:cubicBezTo>
                <a:cubicBezTo>
                  <a:pt x="3625" y="11032"/>
                  <a:pt x="3406" y="11063"/>
                  <a:pt x="3406" y="11188"/>
                </a:cubicBezTo>
                <a:cubicBezTo>
                  <a:pt x="3375" y="11344"/>
                  <a:pt x="3313" y="11375"/>
                  <a:pt x="3219" y="11407"/>
                </a:cubicBezTo>
                <a:cubicBezTo>
                  <a:pt x="3188" y="11407"/>
                  <a:pt x="3188" y="11407"/>
                  <a:pt x="3156" y="11438"/>
                </a:cubicBezTo>
                <a:cubicBezTo>
                  <a:pt x="3156" y="11438"/>
                  <a:pt x="3125" y="11438"/>
                  <a:pt x="3125" y="11438"/>
                </a:cubicBezTo>
                <a:cubicBezTo>
                  <a:pt x="3094" y="11438"/>
                  <a:pt x="3094" y="11469"/>
                  <a:pt x="3063" y="11500"/>
                </a:cubicBezTo>
                <a:cubicBezTo>
                  <a:pt x="3094" y="11532"/>
                  <a:pt x="3094" y="11563"/>
                  <a:pt x="3094" y="11594"/>
                </a:cubicBezTo>
                <a:cubicBezTo>
                  <a:pt x="3094" y="11594"/>
                  <a:pt x="3094" y="11594"/>
                  <a:pt x="3094" y="11625"/>
                </a:cubicBezTo>
                <a:cubicBezTo>
                  <a:pt x="3094" y="11688"/>
                  <a:pt x="3000" y="11719"/>
                  <a:pt x="2938" y="11719"/>
                </a:cubicBezTo>
                <a:cubicBezTo>
                  <a:pt x="2688" y="11657"/>
                  <a:pt x="2781" y="11844"/>
                  <a:pt x="2750" y="11938"/>
                </a:cubicBezTo>
                <a:cubicBezTo>
                  <a:pt x="2625" y="11938"/>
                  <a:pt x="2563" y="11875"/>
                  <a:pt x="2656" y="11782"/>
                </a:cubicBezTo>
                <a:cubicBezTo>
                  <a:pt x="2719" y="11688"/>
                  <a:pt x="2781" y="11594"/>
                  <a:pt x="2844" y="11563"/>
                </a:cubicBezTo>
                <a:cubicBezTo>
                  <a:pt x="3000" y="11407"/>
                  <a:pt x="2875" y="11407"/>
                  <a:pt x="2781" y="11344"/>
                </a:cubicBezTo>
                <a:cubicBezTo>
                  <a:pt x="2750" y="11344"/>
                  <a:pt x="2688" y="11375"/>
                  <a:pt x="2688" y="11282"/>
                </a:cubicBezTo>
                <a:cubicBezTo>
                  <a:pt x="2688" y="11250"/>
                  <a:pt x="2688" y="11250"/>
                  <a:pt x="2688" y="11250"/>
                </a:cubicBezTo>
                <a:cubicBezTo>
                  <a:pt x="2719" y="11250"/>
                  <a:pt x="2719" y="11250"/>
                  <a:pt x="2719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50" y="11250"/>
                  <a:pt x="2750" y="11250"/>
                  <a:pt x="2750" y="11250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781" y="11219"/>
                  <a:pt x="2781" y="11219"/>
                  <a:pt x="2781" y="11219"/>
                </a:cubicBezTo>
                <a:cubicBezTo>
                  <a:pt x="2813" y="11125"/>
                  <a:pt x="2875" y="11000"/>
                  <a:pt x="2906" y="10907"/>
                </a:cubicBezTo>
                <a:cubicBezTo>
                  <a:pt x="2906" y="10907"/>
                  <a:pt x="2906" y="10907"/>
                  <a:pt x="2906" y="10907"/>
                </a:cubicBezTo>
                <a:cubicBezTo>
                  <a:pt x="2813" y="10969"/>
                  <a:pt x="2719" y="11032"/>
                  <a:pt x="2656" y="11094"/>
                </a:cubicBezTo>
                <a:cubicBezTo>
                  <a:pt x="2625" y="11125"/>
                  <a:pt x="2594" y="11125"/>
                  <a:pt x="2594" y="11094"/>
                </a:cubicBezTo>
                <a:cubicBezTo>
                  <a:pt x="2594" y="11094"/>
                  <a:pt x="2594" y="11094"/>
                  <a:pt x="2563" y="11094"/>
                </a:cubicBezTo>
                <a:cubicBezTo>
                  <a:pt x="2563" y="11063"/>
                  <a:pt x="2563" y="11063"/>
                  <a:pt x="2563" y="11063"/>
                </a:cubicBezTo>
                <a:cubicBezTo>
                  <a:pt x="2469" y="11094"/>
                  <a:pt x="2406" y="11157"/>
                  <a:pt x="2344" y="11250"/>
                </a:cubicBezTo>
                <a:cubicBezTo>
                  <a:pt x="2281" y="11313"/>
                  <a:pt x="2219" y="11375"/>
                  <a:pt x="2125" y="11438"/>
                </a:cubicBezTo>
                <a:close/>
                <a:moveTo>
                  <a:pt x="35813" y="16813"/>
                </a:moveTo>
                <a:cubicBezTo>
                  <a:pt x="35813" y="16813"/>
                  <a:pt x="35813" y="16844"/>
                  <a:pt x="35813" y="16844"/>
                </a:cubicBezTo>
                <a:cubicBezTo>
                  <a:pt x="35813" y="16844"/>
                  <a:pt x="35844" y="16875"/>
                  <a:pt x="35844" y="16875"/>
                </a:cubicBezTo>
                <a:cubicBezTo>
                  <a:pt x="35844" y="16875"/>
                  <a:pt x="35875" y="16844"/>
                  <a:pt x="35875" y="16844"/>
                </a:cubicBezTo>
                <a:cubicBezTo>
                  <a:pt x="35875" y="16844"/>
                  <a:pt x="35844" y="16813"/>
                  <a:pt x="35813" y="16813"/>
                </a:cubicBezTo>
                <a:close/>
                <a:moveTo>
                  <a:pt x="35656" y="16313"/>
                </a:moveTo>
                <a:cubicBezTo>
                  <a:pt x="35656" y="16282"/>
                  <a:pt x="35625" y="16282"/>
                  <a:pt x="35594" y="16282"/>
                </a:cubicBezTo>
                <a:cubicBezTo>
                  <a:pt x="35594" y="16282"/>
                  <a:pt x="35594" y="16313"/>
                  <a:pt x="35594" y="16313"/>
                </a:cubicBezTo>
                <a:cubicBezTo>
                  <a:pt x="35625" y="16344"/>
                  <a:pt x="35625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ubicBezTo>
                  <a:pt x="35656" y="16313"/>
                  <a:pt x="35656" y="16313"/>
                  <a:pt x="35656" y="16313"/>
                </a:cubicBezTo>
                <a:close/>
                <a:moveTo>
                  <a:pt x="1219" y="4969"/>
                </a:moveTo>
                <a:cubicBezTo>
                  <a:pt x="1219" y="4969"/>
                  <a:pt x="1250" y="4938"/>
                  <a:pt x="1250" y="4938"/>
                </a:cubicBezTo>
                <a:cubicBezTo>
                  <a:pt x="1250" y="4938"/>
                  <a:pt x="1219" y="4938"/>
                  <a:pt x="1219" y="4938"/>
                </a:cubicBezTo>
                <a:cubicBezTo>
                  <a:pt x="1219" y="4938"/>
                  <a:pt x="1219" y="4938"/>
                  <a:pt x="1219" y="4938"/>
                </a:cubicBezTo>
                <a:cubicBezTo>
                  <a:pt x="1219" y="4969"/>
                  <a:pt x="1219" y="4969"/>
                  <a:pt x="1219" y="4969"/>
                </a:cubicBezTo>
                <a:close/>
                <a:moveTo>
                  <a:pt x="5938" y="5188"/>
                </a:moveTo>
                <a:cubicBezTo>
                  <a:pt x="5938" y="5188"/>
                  <a:pt x="5938" y="5188"/>
                  <a:pt x="5938" y="5188"/>
                </a:cubicBezTo>
                <a:cubicBezTo>
                  <a:pt x="5938" y="5188"/>
                  <a:pt x="5938" y="5188"/>
                  <a:pt x="5938" y="5188"/>
                </a:cubicBezTo>
                <a:cubicBezTo>
                  <a:pt x="5906" y="5188"/>
                  <a:pt x="5906" y="5188"/>
                  <a:pt x="5906" y="5188"/>
                </a:cubicBezTo>
                <a:cubicBezTo>
                  <a:pt x="5906" y="5188"/>
                  <a:pt x="5906" y="5219"/>
                  <a:pt x="5938" y="5219"/>
                </a:cubicBezTo>
                <a:cubicBezTo>
                  <a:pt x="5938" y="5219"/>
                  <a:pt x="5938" y="5219"/>
                  <a:pt x="5938" y="5188"/>
                </a:cubicBezTo>
                <a:close/>
                <a:moveTo>
                  <a:pt x="14063" y="15782"/>
                </a:moveTo>
                <a:cubicBezTo>
                  <a:pt x="14063" y="15750"/>
                  <a:pt x="14063" y="15750"/>
                  <a:pt x="14031" y="15750"/>
                </a:cubicBezTo>
                <a:cubicBezTo>
                  <a:pt x="14031" y="15750"/>
                  <a:pt x="14000" y="15750"/>
                  <a:pt x="14000" y="15782"/>
                </a:cubicBezTo>
                <a:cubicBezTo>
                  <a:pt x="14000" y="15782"/>
                  <a:pt x="14000" y="15782"/>
                  <a:pt x="14000" y="15782"/>
                </a:cubicBezTo>
                <a:cubicBezTo>
                  <a:pt x="14031" y="15782"/>
                  <a:pt x="14031" y="15782"/>
                  <a:pt x="14063" y="15782"/>
                </a:cubicBezTo>
                <a:close/>
                <a:moveTo>
                  <a:pt x="7938" y="12344"/>
                </a:moveTo>
                <a:lnTo>
                  <a:pt x="7938" y="12344"/>
                </a:lnTo>
                <a:lnTo>
                  <a:pt x="7938" y="12344"/>
                </a:lnTo>
                <a:close/>
                <a:moveTo>
                  <a:pt x="9406" y="13000"/>
                </a:moveTo>
                <a:cubicBezTo>
                  <a:pt x="9406" y="13000"/>
                  <a:pt x="9406" y="13000"/>
                  <a:pt x="9406" y="13000"/>
                </a:cubicBezTo>
                <a:cubicBezTo>
                  <a:pt x="9406" y="13032"/>
                  <a:pt x="9406" y="13032"/>
                  <a:pt x="9406" y="13032"/>
                </a:cubicBezTo>
                <a:cubicBezTo>
                  <a:pt x="9438" y="13032"/>
                  <a:pt x="9406" y="13000"/>
                  <a:pt x="9406" y="13000"/>
                </a:cubicBezTo>
                <a:close/>
                <a:moveTo>
                  <a:pt x="6125" y="4969"/>
                </a:moveTo>
                <a:cubicBezTo>
                  <a:pt x="6125" y="4938"/>
                  <a:pt x="6094" y="4907"/>
                  <a:pt x="6063" y="4938"/>
                </a:cubicBezTo>
                <a:cubicBezTo>
                  <a:pt x="6000" y="4969"/>
                  <a:pt x="6031" y="5032"/>
                  <a:pt x="6031" y="5094"/>
                </a:cubicBezTo>
                <a:cubicBezTo>
                  <a:pt x="6094" y="5063"/>
                  <a:pt x="6156" y="5063"/>
                  <a:pt x="6125" y="4969"/>
                </a:cubicBezTo>
                <a:close/>
                <a:moveTo>
                  <a:pt x="11063" y="16532"/>
                </a:moveTo>
                <a:cubicBezTo>
                  <a:pt x="11031" y="16594"/>
                  <a:pt x="11000" y="16625"/>
                  <a:pt x="11000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06" y="16688"/>
                  <a:pt x="10844" y="16688"/>
                  <a:pt x="10813" y="16813"/>
                </a:cubicBezTo>
                <a:cubicBezTo>
                  <a:pt x="10844" y="16782"/>
                  <a:pt x="10844" y="16782"/>
                  <a:pt x="10875" y="16782"/>
                </a:cubicBezTo>
                <a:cubicBezTo>
                  <a:pt x="10906" y="16719"/>
                  <a:pt x="10938" y="16688"/>
                  <a:pt x="10969" y="16657"/>
                </a:cubicBezTo>
                <a:cubicBezTo>
                  <a:pt x="10969" y="16657"/>
                  <a:pt x="10969" y="16657"/>
                  <a:pt x="10969" y="16657"/>
                </a:cubicBezTo>
                <a:cubicBezTo>
                  <a:pt x="10969" y="16657"/>
                  <a:pt x="11000" y="16657"/>
                  <a:pt x="11000" y="16657"/>
                </a:cubicBezTo>
                <a:cubicBezTo>
                  <a:pt x="11000" y="16625"/>
                  <a:pt x="11000" y="16625"/>
                  <a:pt x="11000" y="16625"/>
                </a:cubicBezTo>
                <a:cubicBezTo>
                  <a:pt x="11000" y="16625"/>
                  <a:pt x="11031" y="16625"/>
                  <a:pt x="11031" y="16625"/>
                </a:cubicBezTo>
                <a:cubicBezTo>
                  <a:pt x="11031" y="16625"/>
                  <a:pt x="11063" y="16594"/>
                  <a:pt x="11063" y="16594"/>
                </a:cubicBezTo>
                <a:cubicBezTo>
                  <a:pt x="11063" y="16563"/>
                  <a:pt x="11063" y="16563"/>
                  <a:pt x="11063" y="16532"/>
                </a:cubicBezTo>
                <a:close/>
                <a:moveTo>
                  <a:pt x="7500" y="12969"/>
                </a:moveTo>
                <a:cubicBezTo>
                  <a:pt x="7469" y="12969"/>
                  <a:pt x="7438" y="12969"/>
                  <a:pt x="7406" y="13000"/>
                </a:cubicBezTo>
                <a:cubicBezTo>
                  <a:pt x="7406" y="13032"/>
                  <a:pt x="7406" y="13032"/>
                  <a:pt x="7406" y="13063"/>
                </a:cubicBezTo>
                <a:cubicBezTo>
                  <a:pt x="7500" y="13063"/>
                  <a:pt x="7469" y="13000"/>
                  <a:pt x="7500" y="12969"/>
                </a:cubicBezTo>
                <a:cubicBezTo>
                  <a:pt x="7594" y="12938"/>
                  <a:pt x="7625" y="12875"/>
                  <a:pt x="7625" y="12813"/>
                </a:cubicBezTo>
                <a:cubicBezTo>
                  <a:pt x="7625" y="12813"/>
                  <a:pt x="7625" y="12813"/>
                  <a:pt x="7625" y="12813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56" y="12750"/>
                  <a:pt x="7719" y="12750"/>
                  <a:pt x="7719" y="12688"/>
                </a:cubicBezTo>
                <a:cubicBezTo>
                  <a:pt x="7656" y="12688"/>
                  <a:pt x="7625" y="12719"/>
                  <a:pt x="7625" y="12782"/>
                </a:cubicBezTo>
                <a:cubicBezTo>
                  <a:pt x="7625" y="12782"/>
                  <a:pt x="7625" y="12782"/>
                  <a:pt x="7625" y="12782"/>
                </a:cubicBezTo>
                <a:cubicBezTo>
                  <a:pt x="7625" y="12782"/>
                  <a:pt x="7625" y="12782"/>
                  <a:pt x="7625" y="12813"/>
                </a:cubicBezTo>
                <a:cubicBezTo>
                  <a:pt x="7594" y="12813"/>
                  <a:pt x="7563" y="12813"/>
                  <a:pt x="7563" y="12844"/>
                </a:cubicBezTo>
                <a:cubicBezTo>
                  <a:pt x="7500" y="12844"/>
                  <a:pt x="7500" y="12907"/>
                  <a:pt x="7500" y="12969"/>
                </a:cubicBezTo>
                <a:close/>
                <a:moveTo>
                  <a:pt x="10469" y="16469"/>
                </a:moveTo>
                <a:cubicBezTo>
                  <a:pt x="10625" y="16438"/>
                  <a:pt x="10656" y="16438"/>
                  <a:pt x="10719" y="16282"/>
                </a:cubicBezTo>
                <a:cubicBezTo>
                  <a:pt x="10594" y="16282"/>
                  <a:pt x="10531" y="16375"/>
                  <a:pt x="10469" y="16469"/>
                </a:cubicBezTo>
                <a:close/>
                <a:moveTo>
                  <a:pt x="13188" y="16219"/>
                </a:move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219" y="16219"/>
                  <a:pt x="13219" y="16219"/>
                  <a:pt x="13250" y="16219"/>
                </a:cubicBezTo>
                <a:cubicBezTo>
                  <a:pt x="13250" y="16188"/>
                  <a:pt x="13250" y="16188"/>
                  <a:pt x="13219" y="16188"/>
                </a:cubicBezTo>
                <a:cubicBezTo>
                  <a:pt x="13219" y="16188"/>
                  <a:pt x="13219" y="16188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88" y="16219"/>
                  <a:pt x="13188" y="16219"/>
                  <a:pt x="13188" y="16219"/>
                </a:cubicBezTo>
                <a:cubicBezTo>
                  <a:pt x="13125" y="16282"/>
                  <a:pt x="13031" y="16375"/>
                  <a:pt x="12969" y="16438"/>
                </a:cubicBezTo>
                <a:cubicBezTo>
                  <a:pt x="13031" y="16407"/>
                  <a:pt x="13125" y="16375"/>
                  <a:pt x="13156" y="16282"/>
                </a:cubicBezTo>
                <a:cubicBezTo>
                  <a:pt x="13188" y="16282"/>
                  <a:pt x="13188" y="16250"/>
                  <a:pt x="13188" y="16219"/>
                </a:cubicBezTo>
                <a:close/>
                <a:moveTo>
                  <a:pt x="563" y="10938"/>
                </a:moveTo>
                <a:cubicBezTo>
                  <a:pt x="875" y="11063"/>
                  <a:pt x="781" y="10844"/>
                  <a:pt x="813" y="10719"/>
                </a:cubicBezTo>
                <a:cubicBezTo>
                  <a:pt x="688" y="10750"/>
                  <a:pt x="688" y="10875"/>
                  <a:pt x="563" y="10938"/>
                </a:cubicBezTo>
                <a:close/>
                <a:moveTo>
                  <a:pt x="438" y="8875"/>
                </a:moveTo>
                <a:cubicBezTo>
                  <a:pt x="219" y="8875"/>
                  <a:pt x="188" y="9032"/>
                  <a:pt x="94" y="9125"/>
                </a:cubicBezTo>
                <a:cubicBezTo>
                  <a:pt x="250" y="9125"/>
                  <a:pt x="313" y="9000"/>
                  <a:pt x="438" y="8875"/>
                </a:cubicBezTo>
                <a:close/>
                <a:moveTo>
                  <a:pt x="29781" y="13000"/>
                </a:moveTo>
                <a:cubicBezTo>
                  <a:pt x="29656" y="12969"/>
                  <a:pt x="29688" y="13063"/>
                  <a:pt x="29656" y="13125"/>
                </a:cubicBezTo>
                <a:cubicBezTo>
                  <a:pt x="29656" y="13125"/>
                  <a:pt x="29656" y="13157"/>
                  <a:pt x="29656" y="13157"/>
                </a:cubicBezTo>
                <a:cubicBezTo>
                  <a:pt x="29656" y="13157"/>
                  <a:pt x="29656" y="13125"/>
                  <a:pt x="29656" y="13125"/>
                </a:cubicBezTo>
                <a:cubicBezTo>
                  <a:pt x="29719" y="13063"/>
                  <a:pt x="29781" y="13157"/>
                  <a:pt x="29813" y="13125"/>
                </a:cubicBezTo>
                <a:cubicBezTo>
                  <a:pt x="29906" y="13094"/>
                  <a:pt x="29875" y="13000"/>
                  <a:pt x="29781" y="13000"/>
                </a:cubicBezTo>
                <a:close/>
                <a:moveTo>
                  <a:pt x="2469" y="12000"/>
                </a:moveTo>
                <a:cubicBezTo>
                  <a:pt x="2406" y="12063"/>
                  <a:pt x="2313" y="12094"/>
                  <a:pt x="2313" y="12282"/>
                </a:cubicBezTo>
                <a:cubicBezTo>
                  <a:pt x="2406" y="12125"/>
                  <a:pt x="2500" y="12219"/>
                  <a:pt x="2531" y="12188"/>
                </a:cubicBezTo>
                <a:cubicBezTo>
                  <a:pt x="2625" y="12094"/>
                  <a:pt x="2469" y="12063"/>
                  <a:pt x="2469" y="12000"/>
                </a:cubicBezTo>
                <a:close/>
                <a:moveTo>
                  <a:pt x="10750" y="16782"/>
                </a:moveTo>
                <a:cubicBezTo>
                  <a:pt x="10594" y="16813"/>
                  <a:pt x="10500" y="16938"/>
                  <a:pt x="10375" y="17000"/>
                </a:cubicBezTo>
                <a:cubicBezTo>
                  <a:pt x="10563" y="17000"/>
                  <a:pt x="10688" y="16938"/>
                  <a:pt x="10750" y="16782"/>
                </a:cubicBezTo>
                <a:close/>
                <a:moveTo>
                  <a:pt x="6625" y="12563"/>
                </a:moveTo>
                <a:cubicBezTo>
                  <a:pt x="6656" y="12532"/>
                  <a:pt x="6656" y="12500"/>
                  <a:pt x="6625" y="12500"/>
                </a:cubicBezTo>
                <a:cubicBezTo>
                  <a:pt x="6594" y="12469"/>
                  <a:pt x="6563" y="12469"/>
                  <a:pt x="6563" y="12469"/>
                </a:cubicBezTo>
                <a:cubicBezTo>
                  <a:pt x="6531" y="12594"/>
                  <a:pt x="6344" y="12625"/>
                  <a:pt x="6406" y="12813"/>
                </a:cubicBezTo>
                <a:cubicBezTo>
                  <a:pt x="6500" y="12719"/>
                  <a:pt x="6563" y="12657"/>
                  <a:pt x="6625" y="12563"/>
                </a:cubicBezTo>
                <a:close/>
                <a:moveTo>
                  <a:pt x="6938" y="15313"/>
                </a:moveTo>
                <a:cubicBezTo>
                  <a:pt x="7125" y="15188"/>
                  <a:pt x="7281" y="15094"/>
                  <a:pt x="7406" y="14969"/>
                </a:cubicBezTo>
                <a:cubicBezTo>
                  <a:pt x="7500" y="14907"/>
                  <a:pt x="7563" y="14875"/>
                  <a:pt x="7625" y="14813"/>
                </a:cubicBezTo>
                <a:cubicBezTo>
                  <a:pt x="7844" y="14657"/>
                  <a:pt x="8031" y="1446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8219" y="14250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19"/>
                </a:cubicBezTo>
                <a:cubicBezTo>
                  <a:pt x="8219" y="14219"/>
                  <a:pt x="8219" y="14219"/>
                  <a:pt x="8219" y="14250"/>
                </a:cubicBezTo>
                <a:cubicBezTo>
                  <a:pt x="8219" y="14250"/>
                  <a:pt x="8219" y="14250"/>
                  <a:pt x="8219" y="14250"/>
                </a:cubicBezTo>
                <a:cubicBezTo>
                  <a:pt x="7875" y="14407"/>
                  <a:pt x="7625" y="14657"/>
                  <a:pt x="7375" y="14938"/>
                </a:cubicBezTo>
                <a:cubicBezTo>
                  <a:pt x="7188" y="15000"/>
                  <a:pt x="7094" y="15157"/>
                  <a:pt x="6938" y="15313"/>
                </a:cubicBezTo>
                <a:close/>
                <a:moveTo>
                  <a:pt x="28375" y="14625"/>
                </a:moveTo>
                <a:cubicBezTo>
                  <a:pt x="28375" y="14625"/>
                  <a:pt x="28313" y="14657"/>
                  <a:pt x="28375" y="14688"/>
                </a:cubicBezTo>
                <a:cubicBezTo>
                  <a:pt x="28406" y="14688"/>
                  <a:pt x="28438" y="14688"/>
                  <a:pt x="28438" y="14625"/>
                </a:cubicBezTo>
                <a:cubicBezTo>
                  <a:pt x="28438" y="14532"/>
                  <a:pt x="28500" y="14438"/>
                  <a:pt x="28563" y="14375"/>
                </a:cubicBezTo>
                <a:cubicBezTo>
                  <a:pt x="28438" y="14407"/>
                  <a:pt x="28281" y="14407"/>
                  <a:pt x="28375" y="14625"/>
                </a:cubicBezTo>
                <a:close/>
                <a:moveTo>
                  <a:pt x="5594" y="12875"/>
                </a:moveTo>
                <a:cubicBezTo>
                  <a:pt x="5563" y="12875"/>
                  <a:pt x="5531" y="12907"/>
                  <a:pt x="5531" y="12938"/>
                </a:cubicBezTo>
                <a:cubicBezTo>
                  <a:pt x="5531" y="13000"/>
                  <a:pt x="5563" y="13000"/>
                  <a:pt x="5625" y="13000"/>
                </a:cubicBezTo>
                <a:cubicBezTo>
                  <a:pt x="5656" y="13000"/>
                  <a:pt x="5719" y="13000"/>
                  <a:pt x="5719" y="12938"/>
                </a:cubicBezTo>
                <a:cubicBezTo>
                  <a:pt x="5750" y="12844"/>
                  <a:pt x="5813" y="12813"/>
                  <a:pt x="5844" y="12719"/>
                </a:cubicBezTo>
                <a:cubicBezTo>
                  <a:pt x="5688" y="12657"/>
                  <a:pt x="5688" y="12813"/>
                  <a:pt x="5594" y="12875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cubicBezTo>
                  <a:pt x="7906" y="12813"/>
                  <a:pt x="7875" y="12813"/>
                  <a:pt x="7844" y="12844"/>
                </a:cubicBezTo>
                <a:cubicBezTo>
                  <a:pt x="7781" y="12844"/>
                  <a:pt x="7750" y="12907"/>
                  <a:pt x="7750" y="12969"/>
                </a:cubicBezTo>
                <a:cubicBezTo>
                  <a:pt x="7719" y="13063"/>
                  <a:pt x="7719" y="13125"/>
                  <a:pt x="7656" y="13157"/>
                </a:cubicBezTo>
                <a:cubicBezTo>
                  <a:pt x="7594" y="13157"/>
                  <a:pt x="7500" y="13125"/>
                  <a:pt x="7531" y="13219"/>
                </a:cubicBezTo>
                <a:cubicBezTo>
                  <a:pt x="7563" y="13313"/>
                  <a:pt x="7625" y="13219"/>
                  <a:pt x="7688" y="13219"/>
                </a:cubicBezTo>
                <a:cubicBezTo>
                  <a:pt x="7750" y="13188"/>
                  <a:pt x="7906" y="13250"/>
                  <a:pt x="7781" y="13063"/>
                </a:cubicBezTo>
                <a:cubicBezTo>
                  <a:pt x="7750" y="13032"/>
                  <a:pt x="7781" y="13032"/>
                  <a:pt x="7813" y="13032"/>
                </a:cubicBezTo>
                <a:cubicBezTo>
                  <a:pt x="7844" y="13032"/>
                  <a:pt x="7875" y="13000"/>
                  <a:pt x="7875" y="12969"/>
                </a:cubicBezTo>
                <a:cubicBezTo>
                  <a:pt x="7906" y="12938"/>
                  <a:pt x="7938" y="12875"/>
                  <a:pt x="7969" y="12844"/>
                </a:cubicBezTo>
                <a:close/>
                <a:moveTo>
                  <a:pt x="7969" y="12844"/>
                </a:moveTo>
                <a:cubicBezTo>
                  <a:pt x="7969" y="12844"/>
                  <a:pt x="7969" y="12844"/>
                  <a:pt x="7969" y="12844"/>
                </a:cubicBezTo>
                <a:moveTo>
                  <a:pt x="1125" y="11375"/>
                </a:moveTo>
                <a:cubicBezTo>
                  <a:pt x="1031" y="11500"/>
                  <a:pt x="875" y="11594"/>
                  <a:pt x="813" y="11782"/>
                </a:cubicBezTo>
                <a:cubicBezTo>
                  <a:pt x="844" y="11813"/>
                  <a:pt x="844" y="11813"/>
                  <a:pt x="875" y="11844"/>
                </a:cubicBezTo>
                <a:cubicBezTo>
                  <a:pt x="969" y="11719"/>
                  <a:pt x="1094" y="11594"/>
                  <a:pt x="1188" y="11469"/>
                </a:cubicBezTo>
                <a:cubicBezTo>
                  <a:pt x="1219" y="11438"/>
                  <a:pt x="1219" y="11407"/>
                  <a:pt x="1219" y="11375"/>
                </a:cubicBezTo>
                <a:cubicBezTo>
                  <a:pt x="1188" y="11344"/>
                  <a:pt x="1156" y="11344"/>
                  <a:pt x="1125" y="11375"/>
                </a:cubicBezTo>
                <a:close/>
                <a:moveTo>
                  <a:pt x="1063" y="9844"/>
                </a:moveTo>
                <a:cubicBezTo>
                  <a:pt x="906" y="10000"/>
                  <a:pt x="750" y="10063"/>
                  <a:pt x="656" y="10250"/>
                </a:cubicBezTo>
                <a:cubicBezTo>
                  <a:pt x="875" y="10188"/>
                  <a:pt x="1000" y="10094"/>
                  <a:pt x="1063" y="9844"/>
                </a:cubicBezTo>
                <a:close/>
                <a:moveTo>
                  <a:pt x="6250" y="12469"/>
                </a:moveTo>
                <a:cubicBezTo>
                  <a:pt x="6156" y="12438"/>
                  <a:pt x="6094" y="12500"/>
                  <a:pt x="6000" y="12532"/>
                </a:cubicBezTo>
                <a:cubicBezTo>
                  <a:pt x="5969" y="12532"/>
                  <a:pt x="5906" y="12532"/>
                  <a:pt x="5906" y="12594"/>
                </a:cubicBezTo>
                <a:cubicBezTo>
                  <a:pt x="5906" y="12625"/>
                  <a:pt x="5938" y="12688"/>
                  <a:pt x="5969" y="12719"/>
                </a:cubicBezTo>
                <a:cubicBezTo>
                  <a:pt x="5969" y="12750"/>
                  <a:pt x="6063" y="12719"/>
                  <a:pt x="6094" y="12688"/>
                </a:cubicBezTo>
                <a:cubicBezTo>
                  <a:pt x="6156" y="12625"/>
                  <a:pt x="6250" y="12594"/>
                  <a:pt x="6250" y="12469"/>
                </a:cubicBezTo>
                <a:close/>
                <a:moveTo>
                  <a:pt x="13531" y="16375"/>
                </a:moveTo>
                <a:cubicBezTo>
                  <a:pt x="13438" y="16282"/>
                  <a:pt x="13438" y="16282"/>
                  <a:pt x="13344" y="16407"/>
                </a:cubicBezTo>
                <a:cubicBezTo>
                  <a:pt x="13250" y="16563"/>
                  <a:pt x="13063" y="16625"/>
                  <a:pt x="12938" y="16719"/>
                </a:cubicBezTo>
                <a:cubicBezTo>
                  <a:pt x="13156" y="16688"/>
                  <a:pt x="13344" y="16532"/>
                  <a:pt x="13531" y="16375"/>
                </a:cubicBezTo>
                <a:close/>
                <a:moveTo>
                  <a:pt x="31438" y="10125"/>
                </a:moveTo>
                <a:cubicBezTo>
                  <a:pt x="31313" y="10188"/>
                  <a:pt x="31469" y="10282"/>
                  <a:pt x="31406" y="10344"/>
                </a:cubicBezTo>
                <a:cubicBezTo>
                  <a:pt x="31406" y="10375"/>
                  <a:pt x="31438" y="10407"/>
                  <a:pt x="31469" y="10375"/>
                </a:cubicBezTo>
                <a:cubicBezTo>
                  <a:pt x="31625" y="10344"/>
                  <a:pt x="31688" y="9969"/>
                  <a:pt x="31563" y="9844"/>
                </a:cubicBezTo>
                <a:cubicBezTo>
                  <a:pt x="31531" y="9969"/>
                  <a:pt x="31531" y="10063"/>
                  <a:pt x="31438" y="10125"/>
                </a:cubicBezTo>
                <a:close/>
                <a:moveTo>
                  <a:pt x="469" y="6094"/>
                </a:moveTo>
                <a:cubicBezTo>
                  <a:pt x="563" y="6063"/>
                  <a:pt x="625" y="5938"/>
                  <a:pt x="750" y="5969"/>
                </a:cubicBezTo>
                <a:cubicBezTo>
                  <a:pt x="813" y="6000"/>
                  <a:pt x="906" y="6000"/>
                  <a:pt x="938" y="5907"/>
                </a:cubicBezTo>
                <a:cubicBezTo>
                  <a:pt x="1000" y="5813"/>
                  <a:pt x="813" y="5875"/>
                  <a:pt x="844" y="5782"/>
                </a:cubicBezTo>
                <a:cubicBezTo>
                  <a:pt x="1094" y="5750"/>
                  <a:pt x="1375" y="5719"/>
                  <a:pt x="1594" y="5532"/>
                </a:cubicBezTo>
                <a:cubicBezTo>
                  <a:pt x="1438" y="5657"/>
                  <a:pt x="1375" y="5875"/>
                  <a:pt x="1125" y="5875"/>
                </a:cubicBezTo>
                <a:cubicBezTo>
                  <a:pt x="1094" y="5875"/>
                  <a:pt x="1094" y="5938"/>
                  <a:pt x="1094" y="5969"/>
                </a:cubicBezTo>
                <a:cubicBezTo>
                  <a:pt x="1125" y="6063"/>
                  <a:pt x="1063" y="6094"/>
                  <a:pt x="969" y="6125"/>
                </a:cubicBezTo>
                <a:cubicBezTo>
                  <a:pt x="938" y="6157"/>
                  <a:pt x="875" y="6157"/>
                  <a:pt x="906" y="6219"/>
                </a:cubicBezTo>
                <a:cubicBezTo>
                  <a:pt x="969" y="6313"/>
                  <a:pt x="969" y="6219"/>
                  <a:pt x="1000" y="6219"/>
                </a:cubicBezTo>
                <a:cubicBezTo>
                  <a:pt x="1094" y="6188"/>
                  <a:pt x="1125" y="6125"/>
                  <a:pt x="1219" y="6157"/>
                </a:cubicBezTo>
                <a:cubicBezTo>
                  <a:pt x="1250" y="6157"/>
                  <a:pt x="1156" y="6250"/>
                  <a:pt x="1281" y="6219"/>
                </a:cubicBezTo>
                <a:cubicBezTo>
                  <a:pt x="1313" y="6188"/>
                  <a:pt x="1313" y="6157"/>
                  <a:pt x="1313" y="6094"/>
                </a:cubicBezTo>
                <a:cubicBezTo>
                  <a:pt x="1344" y="6000"/>
                  <a:pt x="1469" y="6000"/>
                  <a:pt x="1563" y="5907"/>
                </a:cubicBezTo>
                <a:cubicBezTo>
                  <a:pt x="1563" y="5875"/>
                  <a:pt x="1531" y="6032"/>
                  <a:pt x="1625" y="5969"/>
                </a:cubicBezTo>
                <a:cubicBezTo>
                  <a:pt x="1719" y="5938"/>
                  <a:pt x="1531" y="5907"/>
                  <a:pt x="1625" y="5844"/>
                </a:cubicBezTo>
                <a:cubicBezTo>
                  <a:pt x="1625" y="5844"/>
                  <a:pt x="1625" y="5813"/>
                  <a:pt x="1656" y="5813"/>
                </a:cubicBezTo>
                <a:cubicBezTo>
                  <a:pt x="1813" y="5750"/>
                  <a:pt x="1906" y="5594"/>
                  <a:pt x="2063" y="5532"/>
                </a:cubicBezTo>
                <a:cubicBezTo>
                  <a:pt x="2031" y="5500"/>
                  <a:pt x="2000" y="5500"/>
                  <a:pt x="1969" y="5469"/>
                </a:cubicBezTo>
                <a:cubicBezTo>
                  <a:pt x="1969" y="5469"/>
                  <a:pt x="1938" y="5469"/>
                  <a:pt x="1906" y="5438"/>
                </a:cubicBezTo>
                <a:cubicBezTo>
                  <a:pt x="1969" y="5438"/>
                  <a:pt x="2031" y="5438"/>
                  <a:pt x="2063" y="5438"/>
                </a:cubicBezTo>
                <a:cubicBezTo>
                  <a:pt x="2219" y="5469"/>
                  <a:pt x="2313" y="5407"/>
                  <a:pt x="2250" y="5282"/>
                </a:cubicBezTo>
                <a:cubicBezTo>
                  <a:pt x="2219" y="5188"/>
                  <a:pt x="2281" y="5188"/>
                  <a:pt x="2313" y="5157"/>
                </a:cubicBezTo>
                <a:cubicBezTo>
                  <a:pt x="2344" y="5032"/>
                  <a:pt x="2563" y="5094"/>
                  <a:pt x="2563" y="4938"/>
                </a:cubicBezTo>
                <a:cubicBezTo>
                  <a:pt x="2719" y="4782"/>
                  <a:pt x="2719" y="4782"/>
                  <a:pt x="2563" y="4657"/>
                </a:cubicBezTo>
                <a:cubicBezTo>
                  <a:pt x="2688" y="4563"/>
                  <a:pt x="2781" y="4438"/>
                  <a:pt x="2938" y="4438"/>
                </a:cubicBezTo>
                <a:cubicBezTo>
                  <a:pt x="3000" y="4438"/>
                  <a:pt x="3063" y="4407"/>
                  <a:pt x="3063" y="4344"/>
                </a:cubicBezTo>
                <a:cubicBezTo>
                  <a:pt x="3063" y="4313"/>
                  <a:pt x="3063" y="4313"/>
                  <a:pt x="3063" y="4313"/>
                </a:cubicBezTo>
                <a:cubicBezTo>
                  <a:pt x="3031" y="4282"/>
                  <a:pt x="2969" y="4344"/>
                  <a:pt x="2938" y="4282"/>
                </a:cubicBezTo>
                <a:cubicBezTo>
                  <a:pt x="3313" y="4125"/>
                  <a:pt x="3469" y="4032"/>
                  <a:pt x="3531" y="3907"/>
                </a:cubicBezTo>
                <a:cubicBezTo>
                  <a:pt x="3531" y="3907"/>
                  <a:pt x="3531" y="3907"/>
                  <a:pt x="3531" y="3907"/>
                </a:cubicBezTo>
                <a:cubicBezTo>
                  <a:pt x="3531" y="3844"/>
                  <a:pt x="3531" y="3813"/>
                  <a:pt x="3563" y="3750"/>
                </a:cubicBezTo>
                <a:cubicBezTo>
                  <a:pt x="3563" y="3719"/>
                  <a:pt x="3563" y="3719"/>
                  <a:pt x="3563" y="3688"/>
                </a:cubicBezTo>
                <a:cubicBezTo>
                  <a:pt x="3406" y="3657"/>
                  <a:pt x="3313" y="3719"/>
                  <a:pt x="3219" y="3844"/>
                </a:cubicBezTo>
                <a:cubicBezTo>
                  <a:pt x="3156" y="3938"/>
                  <a:pt x="3063" y="3969"/>
                  <a:pt x="2938" y="3969"/>
                </a:cubicBezTo>
                <a:cubicBezTo>
                  <a:pt x="2938" y="3938"/>
                  <a:pt x="2844" y="3907"/>
                  <a:pt x="2938" y="3875"/>
                </a:cubicBezTo>
                <a:cubicBezTo>
                  <a:pt x="3000" y="3844"/>
                  <a:pt x="3063" y="3844"/>
                  <a:pt x="3094" y="3813"/>
                </a:cubicBezTo>
                <a:cubicBezTo>
                  <a:pt x="3156" y="3750"/>
                  <a:pt x="3219" y="3688"/>
                  <a:pt x="3156" y="3594"/>
                </a:cubicBezTo>
                <a:cubicBezTo>
                  <a:pt x="3125" y="3532"/>
                  <a:pt x="3063" y="3563"/>
                  <a:pt x="3000" y="3563"/>
                </a:cubicBezTo>
                <a:cubicBezTo>
                  <a:pt x="2844" y="3594"/>
                  <a:pt x="2719" y="3657"/>
                  <a:pt x="2594" y="3750"/>
                </a:cubicBezTo>
                <a:cubicBezTo>
                  <a:pt x="2344" y="3875"/>
                  <a:pt x="2156" y="4063"/>
                  <a:pt x="1938" y="4250"/>
                </a:cubicBezTo>
                <a:cubicBezTo>
                  <a:pt x="1719" y="4407"/>
                  <a:pt x="1625" y="4719"/>
                  <a:pt x="1344" y="4844"/>
                </a:cubicBezTo>
                <a:cubicBezTo>
                  <a:pt x="1313" y="4844"/>
                  <a:pt x="1281" y="4907"/>
                  <a:pt x="1281" y="4907"/>
                </a:cubicBezTo>
                <a:cubicBezTo>
                  <a:pt x="1406" y="5032"/>
                  <a:pt x="1250" y="5094"/>
                  <a:pt x="1188" y="5157"/>
                </a:cubicBezTo>
                <a:cubicBezTo>
                  <a:pt x="1094" y="5375"/>
                  <a:pt x="813" y="5313"/>
                  <a:pt x="719" y="5532"/>
                </a:cubicBezTo>
                <a:cubicBezTo>
                  <a:pt x="656" y="5563"/>
                  <a:pt x="594" y="5625"/>
                  <a:pt x="594" y="5657"/>
                </a:cubicBezTo>
                <a:cubicBezTo>
                  <a:pt x="656" y="5875"/>
                  <a:pt x="438" y="5938"/>
                  <a:pt x="344" y="6063"/>
                </a:cubicBezTo>
                <a:cubicBezTo>
                  <a:pt x="375" y="6125"/>
                  <a:pt x="406" y="6094"/>
                  <a:pt x="469" y="6094"/>
                </a:cubicBezTo>
                <a:close/>
                <a:moveTo>
                  <a:pt x="5563" y="10719"/>
                </a:moveTo>
                <a:cubicBezTo>
                  <a:pt x="5594" y="10750"/>
                  <a:pt x="5656" y="10750"/>
                  <a:pt x="5656" y="10657"/>
                </a:cubicBezTo>
                <a:cubicBezTo>
                  <a:pt x="5656" y="10532"/>
                  <a:pt x="5813" y="10532"/>
                  <a:pt x="5844" y="10563"/>
                </a:cubicBezTo>
                <a:cubicBezTo>
                  <a:pt x="5938" y="10657"/>
                  <a:pt x="5969" y="10563"/>
                  <a:pt x="6031" y="10500"/>
                </a:cubicBezTo>
                <a:cubicBezTo>
                  <a:pt x="6188" y="10407"/>
                  <a:pt x="6125" y="10250"/>
                  <a:pt x="6125" y="10125"/>
                </a:cubicBezTo>
                <a:cubicBezTo>
                  <a:pt x="6031" y="10219"/>
                  <a:pt x="5813" y="10188"/>
                  <a:pt x="5781" y="10344"/>
                </a:cubicBezTo>
                <a:cubicBezTo>
                  <a:pt x="5781" y="10375"/>
                  <a:pt x="5781" y="10375"/>
                  <a:pt x="5750" y="10375"/>
                </a:cubicBezTo>
                <a:cubicBezTo>
                  <a:pt x="5719" y="10375"/>
                  <a:pt x="5688" y="10282"/>
                  <a:pt x="5656" y="10344"/>
                </a:cubicBezTo>
                <a:cubicBezTo>
                  <a:pt x="5656" y="10344"/>
                  <a:pt x="5656" y="10344"/>
                  <a:pt x="5656" y="10375"/>
                </a:cubicBezTo>
                <a:cubicBezTo>
                  <a:pt x="5625" y="10469"/>
                  <a:pt x="5625" y="10532"/>
                  <a:pt x="5531" y="10625"/>
                </a:cubicBezTo>
                <a:cubicBezTo>
                  <a:pt x="5500" y="10657"/>
                  <a:pt x="5500" y="10719"/>
                  <a:pt x="5563" y="10719"/>
                </a:cubicBezTo>
                <a:close/>
                <a:moveTo>
                  <a:pt x="8156" y="13907"/>
                </a:moveTo>
                <a:cubicBezTo>
                  <a:pt x="8375" y="13782"/>
                  <a:pt x="8594" y="13625"/>
                  <a:pt x="8750" y="13375"/>
                </a:cubicBezTo>
                <a:cubicBezTo>
                  <a:pt x="8750" y="13313"/>
                  <a:pt x="8813" y="13313"/>
                  <a:pt x="8781" y="13250"/>
                </a:cubicBezTo>
                <a:cubicBezTo>
                  <a:pt x="8781" y="13219"/>
                  <a:pt x="8750" y="13188"/>
                  <a:pt x="8719" y="13219"/>
                </a:cubicBezTo>
                <a:cubicBezTo>
                  <a:pt x="8656" y="13313"/>
                  <a:pt x="8469" y="13313"/>
                  <a:pt x="8469" y="13407"/>
                </a:cubicBezTo>
                <a:cubicBezTo>
                  <a:pt x="8406" y="13532"/>
                  <a:pt x="8313" y="13594"/>
                  <a:pt x="8219" y="13657"/>
                </a:cubicBezTo>
                <a:cubicBezTo>
                  <a:pt x="8156" y="13688"/>
                  <a:pt x="8094" y="13719"/>
                  <a:pt x="8031" y="13782"/>
                </a:cubicBezTo>
                <a:cubicBezTo>
                  <a:pt x="7938" y="13875"/>
                  <a:pt x="7906" y="13969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06" y="14125"/>
                  <a:pt x="7906" y="14125"/>
                </a:cubicBezTo>
                <a:cubicBezTo>
                  <a:pt x="7906" y="14125"/>
                  <a:pt x="7938" y="14094"/>
                  <a:pt x="7938" y="14094"/>
                </a:cubicBezTo>
                <a:cubicBezTo>
                  <a:pt x="8000" y="14063"/>
                  <a:pt x="8031" y="14063"/>
                  <a:pt x="8063" y="14063"/>
                </a:cubicBezTo>
                <a:cubicBezTo>
                  <a:pt x="8063" y="14063"/>
                  <a:pt x="8063" y="14063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94" y="14094"/>
                  <a:pt x="8094" y="14063"/>
                  <a:pt x="8094" y="14063"/>
                </a:cubicBezTo>
                <a:cubicBezTo>
                  <a:pt x="8094" y="14094"/>
                  <a:pt x="8094" y="14094"/>
                  <a:pt x="8094" y="14094"/>
                </a:cubicBezTo>
                <a:cubicBezTo>
                  <a:pt x="8000" y="13969"/>
                  <a:pt x="8094" y="13938"/>
                  <a:pt x="8156" y="13907"/>
                </a:cubicBezTo>
                <a:close/>
                <a:moveTo>
                  <a:pt x="2125" y="10532"/>
                </a:moveTo>
                <a:cubicBezTo>
                  <a:pt x="2188" y="10563"/>
                  <a:pt x="2188" y="10469"/>
                  <a:pt x="2250" y="10469"/>
                </a:cubicBezTo>
                <a:cubicBezTo>
                  <a:pt x="2281" y="10688"/>
                  <a:pt x="2063" y="10750"/>
                  <a:pt x="2031" y="10938"/>
                </a:cubicBezTo>
                <a:cubicBezTo>
                  <a:pt x="2250" y="10813"/>
                  <a:pt x="2375" y="10563"/>
                  <a:pt x="2594" y="10469"/>
                </a:cubicBezTo>
                <a:cubicBezTo>
                  <a:pt x="2594" y="10438"/>
                  <a:pt x="2625" y="10407"/>
                  <a:pt x="2625" y="10375"/>
                </a:cubicBezTo>
                <a:cubicBezTo>
                  <a:pt x="2594" y="10344"/>
                  <a:pt x="2563" y="10375"/>
                  <a:pt x="2531" y="10375"/>
                </a:cubicBezTo>
                <a:cubicBezTo>
                  <a:pt x="2469" y="10375"/>
                  <a:pt x="2438" y="10438"/>
                  <a:pt x="2375" y="10469"/>
                </a:cubicBezTo>
                <a:cubicBezTo>
                  <a:pt x="2344" y="10500"/>
                  <a:pt x="2313" y="10500"/>
                  <a:pt x="2250" y="10469"/>
                </a:cubicBezTo>
                <a:cubicBezTo>
                  <a:pt x="2313" y="10375"/>
                  <a:pt x="2406" y="10282"/>
                  <a:pt x="2469" y="10188"/>
                </a:cubicBezTo>
                <a:cubicBezTo>
                  <a:pt x="2531" y="10125"/>
                  <a:pt x="2625" y="10032"/>
                  <a:pt x="2688" y="9938"/>
                </a:cubicBezTo>
                <a:cubicBezTo>
                  <a:pt x="2781" y="9844"/>
                  <a:pt x="2750" y="9813"/>
                  <a:pt x="2656" y="9750"/>
                </a:cubicBezTo>
                <a:cubicBezTo>
                  <a:pt x="2656" y="9969"/>
                  <a:pt x="2406" y="9938"/>
                  <a:pt x="2313" y="10094"/>
                </a:cubicBezTo>
                <a:cubicBezTo>
                  <a:pt x="2219" y="10250"/>
                  <a:pt x="2031" y="10375"/>
                  <a:pt x="1906" y="10563"/>
                </a:cubicBezTo>
                <a:cubicBezTo>
                  <a:pt x="1781" y="10719"/>
                  <a:pt x="1625" y="10844"/>
                  <a:pt x="1531" y="11032"/>
                </a:cubicBezTo>
                <a:cubicBezTo>
                  <a:pt x="1719" y="10938"/>
                  <a:pt x="1875" y="10782"/>
                  <a:pt x="1938" y="10625"/>
                </a:cubicBezTo>
                <a:cubicBezTo>
                  <a:pt x="1969" y="10563"/>
                  <a:pt x="2031" y="10500"/>
                  <a:pt x="2125" y="10532"/>
                </a:cubicBezTo>
                <a:close/>
                <a:moveTo>
                  <a:pt x="28281" y="14844"/>
                </a:moveTo>
                <a:cubicBezTo>
                  <a:pt x="28188" y="14813"/>
                  <a:pt x="28188" y="15032"/>
                  <a:pt x="28063" y="14938"/>
                </a:cubicBezTo>
                <a:cubicBezTo>
                  <a:pt x="28031" y="14907"/>
                  <a:pt x="28031" y="14969"/>
                  <a:pt x="28031" y="14969"/>
                </a:cubicBezTo>
                <a:cubicBezTo>
                  <a:pt x="28094" y="15063"/>
                  <a:pt x="28000" y="15125"/>
                  <a:pt x="27969" y="15188"/>
                </a:cubicBezTo>
                <a:cubicBezTo>
                  <a:pt x="27906" y="15250"/>
                  <a:pt x="27844" y="15313"/>
                  <a:pt x="27875" y="15407"/>
                </a:cubicBezTo>
                <a:cubicBezTo>
                  <a:pt x="27938" y="15344"/>
                  <a:pt x="28000" y="15282"/>
                  <a:pt x="28063" y="15219"/>
                </a:cubicBezTo>
                <a:cubicBezTo>
                  <a:pt x="28156" y="15125"/>
                  <a:pt x="28219" y="15000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ubicBezTo>
                  <a:pt x="28281" y="14844"/>
                  <a:pt x="28281" y="14844"/>
                  <a:pt x="28281" y="148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46D7FCE-DC11-AD48-B31F-F9C09CCF3E5D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8C8A401B-68F8-4B42-8265-8619A294CE4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636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3B0F1E0-8E4E-2F40-8AEE-34330694C2F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600299" y="810122"/>
            <a:ext cx="22970552" cy="7302524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/>
            </a:lvl1pPr>
          </a:lstStyle>
          <a:p>
            <a:pPr lvl="0" algn="ctr"/>
            <a:endParaRPr lang="en-US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6B10262-AF78-504B-8AA7-5C2F2698944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B708AC3-5963-DA4B-9383-1D069C39670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65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5">
            <a:extLst>
              <a:ext uri="{FF2B5EF4-FFF2-40B4-BE49-F238E27FC236}">
                <a16:creationId xmlns:a16="http://schemas.microsoft.com/office/drawing/2014/main" id="{F899075E-6FF3-3846-A898-7A62666DF460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383482" y="882130"/>
            <a:ext cx="23618624" cy="6840759"/>
          </a:xfrm>
          <a:custGeom>
            <a:avLst/>
            <a:gdLst>
              <a:gd name="T0" fmla="*/ 150 w 1845"/>
              <a:gd name="T1" fmla="*/ 413 h 642"/>
              <a:gd name="T2" fmla="*/ 380 w 1845"/>
              <a:gd name="T3" fmla="*/ 368 h 642"/>
              <a:gd name="T4" fmla="*/ 292 w 1845"/>
              <a:gd name="T5" fmla="*/ 387 h 642"/>
              <a:gd name="T6" fmla="*/ 208 w 1845"/>
              <a:gd name="T7" fmla="*/ 410 h 642"/>
              <a:gd name="T8" fmla="*/ 406 w 1845"/>
              <a:gd name="T9" fmla="*/ 377 h 642"/>
              <a:gd name="T10" fmla="*/ 443 w 1845"/>
              <a:gd name="T11" fmla="*/ 440 h 642"/>
              <a:gd name="T12" fmla="*/ 348 w 1845"/>
              <a:gd name="T13" fmla="*/ 453 h 642"/>
              <a:gd name="T14" fmla="*/ 364 w 1845"/>
              <a:gd name="T15" fmla="*/ 484 h 642"/>
              <a:gd name="T16" fmla="*/ 373 w 1845"/>
              <a:gd name="T17" fmla="*/ 553 h 642"/>
              <a:gd name="T18" fmla="*/ 459 w 1845"/>
              <a:gd name="T19" fmla="*/ 609 h 642"/>
              <a:gd name="T20" fmla="*/ 514 w 1845"/>
              <a:gd name="T21" fmla="*/ 634 h 642"/>
              <a:gd name="T22" fmla="*/ 734 w 1845"/>
              <a:gd name="T23" fmla="*/ 616 h 642"/>
              <a:gd name="T24" fmla="*/ 918 w 1845"/>
              <a:gd name="T25" fmla="*/ 617 h 642"/>
              <a:gd name="T26" fmla="*/ 1011 w 1845"/>
              <a:gd name="T27" fmla="*/ 610 h 642"/>
              <a:gd name="T28" fmla="*/ 1068 w 1845"/>
              <a:gd name="T29" fmla="*/ 602 h 642"/>
              <a:gd name="T30" fmla="*/ 1161 w 1845"/>
              <a:gd name="T31" fmla="*/ 597 h 642"/>
              <a:gd name="T32" fmla="*/ 1343 w 1845"/>
              <a:gd name="T33" fmla="*/ 595 h 642"/>
              <a:gd name="T34" fmla="*/ 1450 w 1845"/>
              <a:gd name="T35" fmla="*/ 596 h 642"/>
              <a:gd name="T36" fmla="*/ 1550 w 1845"/>
              <a:gd name="T37" fmla="*/ 612 h 642"/>
              <a:gd name="T38" fmla="*/ 1590 w 1845"/>
              <a:gd name="T39" fmla="*/ 614 h 642"/>
              <a:gd name="T40" fmla="*/ 1696 w 1845"/>
              <a:gd name="T41" fmla="*/ 621 h 642"/>
              <a:gd name="T42" fmla="*/ 1822 w 1845"/>
              <a:gd name="T43" fmla="*/ 641 h 642"/>
              <a:gd name="T44" fmla="*/ 1763 w 1845"/>
              <a:gd name="T45" fmla="*/ 594 h 642"/>
              <a:gd name="T46" fmla="*/ 1554 w 1845"/>
              <a:gd name="T47" fmla="*/ 511 h 642"/>
              <a:gd name="T48" fmla="*/ 1567 w 1845"/>
              <a:gd name="T49" fmla="*/ 508 h 642"/>
              <a:gd name="T50" fmla="*/ 1531 w 1845"/>
              <a:gd name="T51" fmla="*/ 487 h 642"/>
              <a:gd name="T52" fmla="*/ 1367 w 1845"/>
              <a:gd name="T53" fmla="*/ 440 h 642"/>
              <a:gd name="T54" fmla="*/ 1460 w 1845"/>
              <a:gd name="T55" fmla="*/ 454 h 642"/>
              <a:gd name="T56" fmla="*/ 1522 w 1845"/>
              <a:gd name="T57" fmla="*/ 459 h 642"/>
              <a:gd name="T58" fmla="*/ 1576 w 1845"/>
              <a:gd name="T59" fmla="*/ 434 h 642"/>
              <a:gd name="T60" fmla="*/ 1536 w 1845"/>
              <a:gd name="T61" fmla="*/ 430 h 642"/>
              <a:gd name="T62" fmla="*/ 1560 w 1845"/>
              <a:gd name="T63" fmla="*/ 354 h 642"/>
              <a:gd name="T64" fmla="*/ 1559 w 1845"/>
              <a:gd name="T65" fmla="*/ 315 h 642"/>
              <a:gd name="T66" fmla="*/ 1645 w 1845"/>
              <a:gd name="T67" fmla="*/ 323 h 642"/>
              <a:gd name="T68" fmla="*/ 1692 w 1845"/>
              <a:gd name="T69" fmla="*/ 244 h 642"/>
              <a:gd name="T70" fmla="*/ 1723 w 1845"/>
              <a:gd name="T71" fmla="*/ 170 h 642"/>
              <a:gd name="T72" fmla="*/ 1621 w 1845"/>
              <a:gd name="T73" fmla="*/ 112 h 642"/>
              <a:gd name="T74" fmla="*/ 1595 w 1845"/>
              <a:gd name="T75" fmla="*/ 79 h 642"/>
              <a:gd name="T76" fmla="*/ 1653 w 1845"/>
              <a:gd name="T77" fmla="*/ 78 h 642"/>
              <a:gd name="T78" fmla="*/ 1120 w 1845"/>
              <a:gd name="T79" fmla="*/ 6 h 642"/>
              <a:gd name="T80" fmla="*/ 1021 w 1845"/>
              <a:gd name="T81" fmla="*/ 13 h 642"/>
              <a:gd name="T82" fmla="*/ 974 w 1845"/>
              <a:gd name="T83" fmla="*/ 32 h 642"/>
              <a:gd name="T84" fmla="*/ 488 w 1845"/>
              <a:gd name="T85" fmla="*/ 61 h 642"/>
              <a:gd name="T86" fmla="*/ 399 w 1845"/>
              <a:gd name="T87" fmla="*/ 176 h 642"/>
              <a:gd name="T88" fmla="*/ 67 w 1845"/>
              <a:gd name="T89" fmla="*/ 364 h 642"/>
              <a:gd name="T90" fmla="*/ 138 w 1845"/>
              <a:gd name="T91" fmla="*/ 439 h 642"/>
              <a:gd name="T92" fmla="*/ 1541 w 1845"/>
              <a:gd name="T93" fmla="*/ 514 h 642"/>
              <a:gd name="T94" fmla="*/ 1542 w 1845"/>
              <a:gd name="T95" fmla="*/ 434 h 642"/>
              <a:gd name="T96" fmla="*/ 1659 w 1845"/>
              <a:gd name="T97" fmla="*/ 285 h 642"/>
              <a:gd name="T98" fmla="*/ 1552 w 1845"/>
              <a:gd name="T99" fmla="*/ 309 h 642"/>
              <a:gd name="T100" fmla="*/ 1538 w 1845"/>
              <a:gd name="T101" fmla="*/ 286 h 642"/>
              <a:gd name="T102" fmla="*/ 1599 w 1845"/>
              <a:gd name="T103" fmla="*/ 274 h 642"/>
              <a:gd name="T104" fmla="*/ 1382 w 1845"/>
              <a:gd name="T105" fmla="*/ 178 h 642"/>
              <a:gd name="T106" fmla="*/ 1543 w 1845"/>
              <a:gd name="T107" fmla="*/ 216 h 642"/>
              <a:gd name="T108" fmla="*/ 1613 w 1845"/>
              <a:gd name="T109" fmla="*/ 242 h 642"/>
              <a:gd name="T110" fmla="*/ 1465 w 1845"/>
              <a:gd name="T111" fmla="*/ 228 h 642"/>
              <a:gd name="T112" fmla="*/ 1402 w 1845"/>
              <a:gd name="T113" fmla="*/ 191 h 642"/>
              <a:gd name="T114" fmla="*/ 709 w 1845"/>
              <a:gd name="T115" fmla="*/ 609 h 642"/>
              <a:gd name="T116" fmla="*/ 332 w 1845"/>
              <a:gd name="T117" fmla="*/ 272 h 642"/>
              <a:gd name="T118" fmla="*/ 410 w 1845"/>
              <a:gd name="T119" fmla="*/ 168 h 642"/>
              <a:gd name="T120" fmla="*/ 475 w 1845"/>
              <a:gd name="T121" fmla="*/ 144 h 642"/>
              <a:gd name="T122" fmla="*/ 271 w 1845"/>
              <a:gd name="T123" fmla="*/ 290 h 642"/>
              <a:gd name="T124" fmla="*/ 157 w 1845"/>
              <a:gd name="T125" fmla="*/ 33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5" h="642">
                <a:moveTo>
                  <a:pt x="138" y="440"/>
                </a:moveTo>
                <a:lnTo>
                  <a:pt x="135" y="437"/>
                </a:lnTo>
                <a:lnTo>
                  <a:pt x="133" y="436"/>
                </a:lnTo>
                <a:lnTo>
                  <a:pt x="141" y="433"/>
                </a:lnTo>
                <a:lnTo>
                  <a:pt x="149" y="433"/>
                </a:lnTo>
                <a:lnTo>
                  <a:pt x="150" y="435"/>
                </a:lnTo>
                <a:lnTo>
                  <a:pt x="154" y="437"/>
                </a:lnTo>
                <a:lnTo>
                  <a:pt x="163" y="435"/>
                </a:lnTo>
                <a:lnTo>
                  <a:pt x="172" y="431"/>
                </a:lnTo>
                <a:lnTo>
                  <a:pt x="182" y="428"/>
                </a:lnTo>
                <a:lnTo>
                  <a:pt x="192" y="425"/>
                </a:lnTo>
                <a:lnTo>
                  <a:pt x="188" y="422"/>
                </a:lnTo>
                <a:lnTo>
                  <a:pt x="183" y="423"/>
                </a:lnTo>
                <a:lnTo>
                  <a:pt x="179" y="425"/>
                </a:lnTo>
                <a:lnTo>
                  <a:pt x="174" y="426"/>
                </a:lnTo>
                <a:lnTo>
                  <a:pt x="163" y="425"/>
                </a:lnTo>
                <a:lnTo>
                  <a:pt x="151" y="422"/>
                </a:lnTo>
                <a:lnTo>
                  <a:pt x="147" y="422"/>
                </a:lnTo>
                <a:lnTo>
                  <a:pt x="141" y="422"/>
                </a:lnTo>
                <a:lnTo>
                  <a:pt x="135" y="423"/>
                </a:lnTo>
                <a:lnTo>
                  <a:pt x="130" y="426"/>
                </a:lnTo>
                <a:lnTo>
                  <a:pt x="124" y="428"/>
                </a:lnTo>
                <a:lnTo>
                  <a:pt x="118" y="430"/>
                </a:lnTo>
                <a:lnTo>
                  <a:pt x="113" y="431"/>
                </a:lnTo>
                <a:lnTo>
                  <a:pt x="107" y="433"/>
                </a:lnTo>
                <a:lnTo>
                  <a:pt x="112" y="428"/>
                </a:lnTo>
                <a:lnTo>
                  <a:pt x="117" y="423"/>
                </a:lnTo>
                <a:lnTo>
                  <a:pt x="122" y="421"/>
                </a:lnTo>
                <a:lnTo>
                  <a:pt x="125" y="420"/>
                </a:lnTo>
                <a:lnTo>
                  <a:pt x="129" y="420"/>
                </a:lnTo>
                <a:lnTo>
                  <a:pt x="133" y="420"/>
                </a:lnTo>
                <a:lnTo>
                  <a:pt x="139" y="420"/>
                </a:lnTo>
                <a:lnTo>
                  <a:pt x="142" y="419"/>
                </a:lnTo>
                <a:lnTo>
                  <a:pt x="147" y="417"/>
                </a:lnTo>
                <a:lnTo>
                  <a:pt x="150" y="413"/>
                </a:lnTo>
                <a:lnTo>
                  <a:pt x="158" y="411"/>
                </a:lnTo>
                <a:lnTo>
                  <a:pt x="166" y="411"/>
                </a:lnTo>
                <a:lnTo>
                  <a:pt x="179" y="408"/>
                </a:lnTo>
                <a:lnTo>
                  <a:pt x="190" y="404"/>
                </a:lnTo>
                <a:lnTo>
                  <a:pt x="203" y="400"/>
                </a:lnTo>
                <a:lnTo>
                  <a:pt x="214" y="396"/>
                </a:lnTo>
                <a:lnTo>
                  <a:pt x="226" y="393"/>
                </a:lnTo>
                <a:lnTo>
                  <a:pt x="238" y="390"/>
                </a:lnTo>
                <a:lnTo>
                  <a:pt x="249" y="388"/>
                </a:lnTo>
                <a:lnTo>
                  <a:pt x="261" y="385"/>
                </a:lnTo>
                <a:lnTo>
                  <a:pt x="269" y="384"/>
                </a:lnTo>
                <a:lnTo>
                  <a:pt x="275" y="381"/>
                </a:lnTo>
                <a:lnTo>
                  <a:pt x="275" y="379"/>
                </a:lnTo>
                <a:lnTo>
                  <a:pt x="274" y="376"/>
                </a:lnTo>
                <a:lnTo>
                  <a:pt x="275" y="375"/>
                </a:lnTo>
                <a:lnTo>
                  <a:pt x="277" y="373"/>
                </a:lnTo>
                <a:lnTo>
                  <a:pt x="279" y="372"/>
                </a:lnTo>
                <a:lnTo>
                  <a:pt x="281" y="372"/>
                </a:lnTo>
                <a:lnTo>
                  <a:pt x="282" y="376"/>
                </a:lnTo>
                <a:lnTo>
                  <a:pt x="285" y="378"/>
                </a:lnTo>
                <a:lnTo>
                  <a:pt x="288" y="380"/>
                </a:lnTo>
                <a:lnTo>
                  <a:pt x="292" y="379"/>
                </a:lnTo>
                <a:lnTo>
                  <a:pt x="303" y="378"/>
                </a:lnTo>
                <a:lnTo>
                  <a:pt x="312" y="375"/>
                </a:lnTo>
                <a:lnTo>
                  <a:pt x="323" y="372"/>
                </a:lnTo>
                <a:lnTo>
                  <a:pt x="333" y="371"/>
                </a:lnTo>
                <a:lnTo>
                  <a:pt x="345" y="369"/>
                </a:lnTo>
                <a:lnTo>
                  <a:pt x="355" y="367"/>
                </a:lnTo>
                <a:lnTo>
                  <a:pt x="364" y="363"/>
                </a:lnTo>
                <a:lnTo>
                  <a:pt x="374" y="361"/>
                </a:lnTo>
                <a:lnTo>
                  <a:pt x="382" y="359"/>
                </a:lnTo>
                <a:lnTo>
                  <a:pt x="392" y="359"/>
                </a:lnTo>
                <a:lnTo>
                  <a:pt x="388" y="362"/>
                </a:lnTo>
                <a:lnTo>
                  <a:pt x="385" y="365"/>
                </a:lnTo>
                <a:lnTo>
                  <a:pt x="380" y="368"/>
                </a:lnTo>
                <a:lnTo>
                  <a:pt x="374" y="370"/>
                </a:lnTo>
                <a:lnTo>
                  <a:pt x="365" y="371"/>
                </a:lnTo>
                <a:lnTo>
                  <a:pt x="356" y="372"/>
                </a:lnTo>
                <a:lnTo>
                  <a:pt x="354" y="373"/>
                </a:lnTo>
                <a:lnTo>
                  <a:pt x="354" y="376"/>
                </a:lnTo>
                <a:lnTo>
                  <a:pt x="354" y="378"/>
                </a:lnTo>
                <a:lnTo>
                  <a:pt x="354" y="381"/>
                </a:lnTo>
                <a:lnTo>
                  <a:pt x="353" y="382"/>
                </a:lnTo>
                <a:lnTo>
                  <a:pt x="352" y="384"/>
                </a:lnTo>
                <a:lnTo>
                  <a:pt x="349" y="384"/>
                </a:lnTo>
                <a:lnTo>
                  <a:pt x="348" y="384"/>
                </a:lnTo>
                <a:lnTo>
                  <a:pt x="346" y="381"/>
                </a:lnTo>
                <a:lnTo>
                  <a:pt x="346" y="379"/>
                </a:lnTo>
                <a:lnTo>
                  <a:pt x="347" y="377"/>
                </a:lnTo>
                <a:lnTo>
                  <a:pt x="347" y="375"/>
                </a:lnTo>
                <a:lnTo>
                  <a:pt x="343" y="375"/>
                </a:lnTo>
                <a:lnTo>
                  <a:pt x="339" y="376"/>
                </a:lnTo>
                <a:lnTo>
                  <a:pt x="335" y="377"/>
                </a:lnTo>
                <a:lnTo>
                  <a:pt x="331" y="379"/>
                </a:lnTo>
                <a:lnTo>
                  <a:pt x="327" y="380"/>
                </a:lnTo>
                <a:lnTo>
                  <a:pt x="323" y="381"/>
                </a:lnTo>
                <a:lnTo>
                  <a:pt x="319" y="380"/>
                </a:lnTo>
                <a:lnTo>
                  <a:pt x="315" y="380"/>
                </a:lnTo>
                <a:lnTo>
                  <a:pt x="311" y="382"/>
                </a:lnTo>
                <a:lnTo>
                  <a:pt x="306" y="387"/>
                </a:lnTo>
                <a:lnTo>
                  <a:pt x="304" y="389"/>
                </a:lnTo>
                <a:lnTo>
                  <a:pt x="302" y="390"/>
                </a:lnTo>
                <a:lnTo>
                  <a:pt x="299" y="390"/>
                </a:lnTo>
                <a:lnTo>
                  <a:pt x="297" y="390"/>
                </a:lnTo>
                <a:lnTo>
                  <a:pt x="297" y="389"/>
                </a:lnTo>
                <a:lnTo>
                  <a:pt x="298" y="388"/>
                </a:lnTo>
                <a:lnTo>
                  <a:pt x="298" y="387"/>
                </a:lnTo>
                <a:lnTo>
                  <a:pt x="298" y="386"/>
                </a:lnTo>
                <a:lnTo>
                  <a:pt x="295" y="386"/>
                </a:lnTo>
                <a:lnTo>
                  <a:pt x="292" y="387"/>
                </a:lnTo>
                <a:lnTo>
                  <a:pt x="289" y="388"/>
                </a:lnTo>
                <a:lnTo>
                  <a:pt x="287" y="388"/>
                </a:lnTo>
                <a:lnTo>
                  <a:pt x="286" y="389"/>
                </a:lnTo>
                <a:lnTo>
                  <a:pt x="283" y="390"/>
                </a:lnTo>
                <a:lnTo>
                  <a:pt x="283" y="392"/>
                </a:lnTo>
                <a:lnTo>
                  <a:pt x="283" y="393"/>
                </a:lnTo>
                <a:lnTo>
                  <a:pt x="283" y="394"/>
                </a:lnTo>
                <a:lnTo>
                  <a:pt x="283" y="395"/>
                </a:lnTo>
                <a:lnTo>
                  <a:pt x="282" y="395"/>
                </a:lnTo>
                <a:lnTo>
                  <a:pt x="280" y="396"/>
                </a:lnTo>
                <a:lnTo>
                  <a:pt x="278" y="396"/>
                </a:lnTo>
                <a:lnTo>
                  <a:pt x="277" y="397"/>
                </a:lnTo>
                <a:lnTo>
                  <a:pt x="275" y="398"/>
                </a:lnTo>
                <a:lnTo>
                  <a:pt x="274" y="400"/>
                </a:lnTo>
                <a:lnTo>
                  <a:pt x="277" y="398"/>
                </a:lnTo>
                <a:lnTo>
                  <a:pt x="278" y="396"/>
                </a:lnTo>
                <a:lnTo>
                  <a:pt x="278" y="394"/>
                </a:lnTo>
                <a:lnTo>
                  <a:pt x="279" y="392"/>
                </a:lnTo>
                <a:lnTo>
                  <a:pt x="275" y="390"/>
                </a:lnTo>
                <a:lnTo>
                  <a:pt x="271" y="392"/>
                </a:lnTo>
                <a:lnTo>
                  <a:pt x="262" y="393"/>
                </a:lnTo>
                <a:lnTo>
                  <a:pt x="254" y="396"/>
                </a:lnTo>
                <a:lnTo>
                  <a:pt x="255" y="400"/>
                </a:lnTo>
                <a:lnTo>
                  <a:pt x="256" y="403"/>
                </a:lnTo>
                <a:lnTo>
                  <a:pt x="252" y="405"/>
                </a:lnTo>
                <a:lnTo>
                  <a:pt x="247" y="406"/>
                </a:lnTo>
                <a:lnTo>
                  <a:pt x="234" y="409"/>
                </a:lnTo>
                <a:lnTo>
                  <a:pt x="222" y="413"/>
                </a:lnTo>
                <a:lnTo>
                  <a:pt x="220" y="414"/>
                </a:lnTo>
                <a:lnTo>
                  <a:pt x="216" y="414"/>
                </a:lnTo>
                <a:lnTo>
                  <a:pt x="213" y="413"/>
                </a:lnTo>
                <a:lnTo>
                  <a:pt x="211" y="411"/>
                </a:lnTo>
                <a:lnTo>
                  <a:pt x="211" y="410"/>
                </a:lnTo>
                <a:lnTo>
                  <a:pt x="209" y="410"/>
                </a:lnTo>
                <a:lnTo>
                  <a:pt x="208" y="410"/>
                </a:lnTo>
                <a:lnTo>
                  <a:pt x="207" y="412"/>
                </a:lnTo>
                <a:lnTo>
                  <a:pt x="205" y="415"/>
                </a:lnTo>
                <a:lnTo>
                  <a:pt x="206" y="419"/>
                </a:lnTo>
                <a:lnTo>
                  <a:pt x="209" y="420"/>
                </a:lnTo>
                <a:lnTo>
                  <a:pt x="214" y="419"/>
                </a:lnTo>
                <a:lnTo>
                  <a:pt x="221" y="418"/>
                </a:lnTo>
                <a:lnTo>
                  <a:pt x="225" y="417"/>
                </a:lnTo>
                <a:lnTo>
                  <a:pt x="238" y="413"/>
                </a:lnTo>
                <a:lnTo>
                  <a:pt x="250" y="410"/>
                </a:lnTo>
                <a:lnTo>
                  <a:pt x="261" y="409"/>
                </a:lnTo>
                <a:lnTo>
                  <a:pt x="270" y="409"/>
                </a:lnTo>
                <a:lnTo>
                  <a:pt x="280" y="405"/>
                </a:lnTo>
                <a:lnTo>
                  <a:pt x="289" y="402"/>
                </a:lnTo>
                <a:lnTo>
                  <a:pt x="292" y="398"/>
                </a:lnTo>
                <a:lnTo>
                  <a:pt x="296" y="396"/>
                </a:lnTo>
                <a:lnTo>
                  <a:pt x="298" y="397"/>
                </a:lnTo>
                <a:lnTo>
                  <a:pt x="302" y="398"/>
                </a:lnTo>
                <a:lnTo>
                  <a:pt x="304" y="398"/>
                </a:lnTo>
                <a:lnTo>
                  <a:pt x="305" y="398"/>
                </a:lnTo>
                <a:lnTo>
                  <a:pt x="318" y="395"/>
                </a:lnTo>
                <a:lnTo>
                  <a:pt x="330" y="393"/>
                </a:lnTo>
                <a:lnTo>
                  <a:pt x="343" y="390"/>
                </a:lnTo>
                <a:lnTo>
                  <a:pt x="355" y="388"/>
                </a:lnTo>
                <a:lnTo>
                  <a:pt x="368" y="386"/>
                </a:lnTo>
                <a:lnTo>
                  <a:pt x="380" y="384"/>
                </a:lnTo>
                <a:lnTo>
                  <a:pt x="386" y="382"/>
                </a:lnTo>
                <a:lnTo>
                  <a:pt x="392" y="380"/>
                </a:lnTo>
                <a:lnTo>
                  <a:pt x="396" y="379"/>
                </a:lnTo>
                <a:lnTo>
                  <a:pt x="398" y="377"/>
                </a:lnTo>
                <a:lnTo>
                  <a:pt x="399" y="376"/>
                </a:lnTo>
                <a:lnTo>
                  <a:pt x="401" y="375"/>
                </a:lnTo>
                <a:lnTo>
                  <a:pt x="402" y="375"/>
                </a:lnTo>
                <a:lnTo>
                  <a:pt x="403" y="376"/>
                </a:lnTo>
                <a:lnTo>
                  <a:pt x="405" y="376"/>
                </a:lnTo>
                <a:lnTo>
                  <a:pt x="406" y="377"/>
                </a:lnTo>
                <a:lnTo>
                  <a:pt x="407" y="380"/>
                </a:lnTo>
                <a:lnTo>
                  <a:pt x="410" y="380"/>
                </a:lnTo>
                <a:lnTo>
                  <a:pt x="413" y="380"/>
                </a:lnTo>
                <a:lnTo>
                  <a:pt x="417" y="381"/>
                </a:lnTo>
                <a:lnTo>
                  <a:pt x="418" y="384"/>
                </a:lnTo>
                <a:lnTo>
                  <a:pt x="417" y="385"/>
                </a:lnTo>
                <a:lnTo>
                  <a:pt x="414" y="386"/>
                </a:lnTo>
                <a:lnTo>
                  <a:pt x="413" y="387"/>
                </a:lnTo>
                <a:lnTo>
                  <a:pt x="413" y="389"/>
                </a:lnTo>
                <a:lnTo>
                  <a:pt x="414" y="389"/>
                </a:lnTo>
                <a:lnTo>
                  <a:pt x="417" y="389"/>
                </a:lnTo>
                <a:lnTo>
                  <a:pt x="418" y="389"/>
                </a:lnTo>
                <a:lnTo>
                  <a:pt x="422" y="389"/>
                </a:lnTo>
                <a:lnTo>
                  <a:pt x="426" y="390"/>
                </a:lnTo>
                <a:lnTo>
                  <a:pt x="430" y="392"/>
                </a:lnTo>
                <a:lnTo>
                  <a:pt x="432" y="394"/>
                </a:lnTo>
                <a:lnTo>
                  <a:pt x="435" y="398"/>
                </a:lnTo>
                <a:lnTo>
                  <a:pt x="437" y="402"/>
                </a:lnTo>
                <a:lnTo>
                  <a:pt x="440" y="406"/>
                </a:lnTo>
                <a:lnTo>
                  <a:pt x="446" y="410"/>
                </a:lnTo>
                <a:lnTo>
                  <a:pt x="444" y="411"/>
                </a:lnTo>
                <a:lnTo>
                  <a:pt x="443" y="412"/>
                </a:lnTo>
                <a:lnTo>
                  <a:pt x="442" y="412"/>
                </a:lnTo>
                <a:lnTo>
                  <a:pt x="443" y="414"/>
                </a:lnTo>
                <a:lnTo>
                  <a:pt x="448" y="417"/>
                </a:lnTo>
                <a:lnTo>
                  <a:pt x="453" y="419"/>
                </a:lnTo>
                <a:lnTo>
                  <a:pt x="450" y="420"/>
                </a:lnTo>
                <a:lnTo>
                  <a:pt x="447" y="420"/>
                </a:lnTo>
                <a:lnTo>
                  <a:pt x="446" y="421"/>
                </a:lnTo>
                <a:lnTo>
                  <a:pt x="447" y="422"/>
                </a:lnTo>
                <a:lnTo>
                  <a:pt x="450" y="427"/>
                </a:lnTo>
                <a:lnTo>
                  <a:pt x="450" y="433"/>
                </a:lnTo>
                <a:lnTo>
                  <a:pt x="448" y="436"/>
                </a:lnTo>
                <a:lnTo>
                  <a:pt x="446" y="438"/>
                </a:lnTo>
                <a:lnTo>
                  <a:pt x="443" y="440"/>
                </a:lnTo>
                <a:lnTo>
                  <a:pt x="438" y="440"/>
                </a:lnTo>
                <a:lnTo>
                  <a:pt x="430" y="440"/>
                </a:lnTo>
                <a:lnTo>
                  <a:pt x="423" y="442"/>
                </a:lnTo>
                <a:lnTo>
                  <a:pt x="414" y="444"/>
                </a:lnTo>
                <a:lnTo>
                  <a:pt x="405" y="445"/>
                </a:lnTo>
                <a:lnTo>
                  <a:pt x="402" y="445"/>
                </a:lnTo>
                <a:lnTo>
                  <a:pt x="398" y="444"/>
                </a:lnTo>
                <a:lnTo>
                  <a:pt x="396" y="444"/>
                </a:lnTo>
                <a:lnTo>
                  <a:pt x="395" y="443"/>
                </a:lnTo>
                <a:lnTo>
                  <a:pt x="395" y="442"/>
                </a:lnTo>
                <a:lnTo>
                  <a:pt x="396" y="439"/>
                </a:lnTo>
                <a:lnTo>
                  <a:pt x="404" y="435"/>
                </a:lnTo>
                <a:lnTo>
                  <a:pt x="413" y="431"/>
                </a:lnTo>
                <a:lnTo>
                  <a:pt x="422" y="428"/>
                </a:lnTo>
                <a:lnTo>
                  <a:pt x="431" y="423"/>
                </a:lnTo>
                <a:lnTo>
                  <a:pt x="434" y="421"/>
                </a:lnTo>
                <a:lnTo>
                  <a:pt x="435" y="420"/>
                </a:lnTo>
                <a:lnTo>
                  <a:pt x="434" y="418"/>
                </a:lnTo>
                <a:lnTo>
                  <a:pt x="430" y="417"/>
                </a:lnTo>
                <a:lnTo>
                  <a:pt x="423" y="418"/>
                </a:lnTo>
                <a:lnTo>
                  <a:pt x="415" y="420"/>
                </a:lnTo>
                <a:lnTo>
                  <a:pt x="405" y="423"/>
                </a:lnTo>
                <a:lnTo>
                  <a:pt x="395" y="426"/>
                </a:lnTo>
                <a:lnTo>
                  <a:pt x="385" y="429"/>
                </a:lnTo>
                <a:lnTo>
                  <a:pt x="374" y="434"/>
                </a:lnTo>
                <a:lnTo>
                  <a:pt x="366" y="437"/>
                </a:lnTo>
                <a:lnTo>
                  <a:pt x="357" y="440"/>
                </a:lnTo>
                <a:lnTo>
                  <a:pt x="355" y="442"/>
                </a:lnTo>
                <a:lnTo>
                  <a:pt x="354" y="442"/>
                </a:lnTo>
                <a:lnTo>
                  <a:pt x="353" y="444"/>
                </a:lnTo>
                <a:lnTo>
                  <a:pt x="352" y="445"/>
                </a:lnTo>
                <a:lnTo>
                  <a:pt x="352" y="447"/>
                </a:lnTo>
                <a:lnTo>
                  <a:pt x="352" y="451"/>
                </a:lnTo>
                <a:lnTo>
                  <a:pt x="351" y="452"/>
                </a:lnTo>
                <a:lnTo>
                  <a:pt x="348" y="453"/>
                </a:lnTo>
                <a:lnTo>
                  <a:pt x="347" y="454"/>
                </a:lnTo>
                <a:lnTo>
                  <a:pt x="346" y="454"/>
                </a:lnTo>
                <a:lnTo>
                  <a:pt x="346" y="455"/>
                </a:lnTo>
                <a:lnTo>
                  <a:pt x="347" y="456"/>
                </a:lnTo>
                <a:lnTo>
                  <a:pt x="353" y="458"/>
                </a:lnTo>
                <a:lnTo>
                  <a:pt x="361" y="459"/>
                </a:lnTo>
                <a:lnTo>
                  <a:pt x="358" y="461"/>
                </a:lnTo>
                <a:lnTo>
                  <a:pt x="357" y="462"/>
                </a:lnTo>
                <a:lnTo>
                  <a:pt x="355" y="463"/>
                </a:lnTo>
                <a:lnTo>
                  <a:pt x="353" y="463"/>
                </a:lnTo>
                <a:lnTo>
                  <a:pt x="348" y="464"/>
                </a:lnTo>
                <a:lnTo>
                  <a:pt x="345" y="465"/>
                </a:lnTo>
                <a:lnTo>
                  <a:pt x="346" y="468"/>
                </a:lnTo>
                <a:lnTo>
                  <a:pt x="348" y="469"/>
                </a:lnTo>
                <a:lnTo>
                  <a:pt x="352" y="469"/>
                </a:lnTo>
                <a:lnTo>
                  <a:pt x="355" y="468"/>
                </a:lnTo>
                <a:lnTo>
                  <a:pt x="362" y="464"/>
                </a:lnTo>
                <a:lnTo>
                  <a:pt x="368" y="462"/>
                </a:lnTo>
                <a:lnTo>
                  <a:pt x="370" y="463"/>
                </a:lnTo>
                <a:lnTo>
                  <a:pt x="371" y="465"/>
                </a:lnTo>
                <a:lnTo>
                  <a:pt x="371" y="468"/>
                </a:lnTo>
                <a:lnTo>
                  <a:pt x="371" y="471"/>
                </a:lnTo>
                <a:lnTo>
                  <a:pt x="370" y="473"/>
                </a:lnTo>
                <a:lnTo>
                  <a:pt x="369" y="475"/>
                </a:lnTo>
                <a:lnTo>
                  <a:pt x="366" y="476"/>
                </a:lnTo>
                <a:lnTo>
                  <a:pt x="364" y="477"/>
                </a:lnTo>
                <a:lnTo>
                  <a:pt x="362" y="478"/>
                </a:lnTo>
                <a:lnTo>
                  <a:pt x="358" y="479"/>
                </a:lnTo>
                <a:lnTo>
                  <a:pt x="357" y="480"/>
                </a:lnTo>
                <a:lnTo>
                  <a:pt x="357" y="484"/>
                </a:lnTo>
                <a:lnTo>
                  <a:pt x="357" y="485"/>
                </a:lnTo>
                <a:lnTo>
                  <a:pt x="358" y="485"/>
                </a:lnTo>
                <a:lnTo>
                  <a:pt x="360" y="485"/>
                </a:lnTo>
                <a:lnTo>
                  <a:pt x="361" y="485"/>
                </a:lnTo>
                <a:lnTo>
                  <a:pt x="364" y="484"/>
                </a:lnTo>
                <a:lnTo>
                  <a:pt x="366" y="484"/>
                </a:lnTo>
                <a:lnTo>
                  <a:pt x="368" y="486"/>
                </a:lnTo>
                <a:lnTo>
                  <a:pt x="368" y="487"/>
                </a:lnTo>
                <a:lnTo>
                  <a:pt x="366" y="489"/>
                </a:lnTo>
                <a:lnTo>
                  <a:pt x="363" y="490"/>
                </a:lnTo>
                <a:lnTo>
                  <a:pt x="357" y="494"/>
                </a:lnTo>
                <a:lnTo>
                  <a:pt x="353" y="497"/>
                </a:lnTo>
                <a:lnTo>
                  <a:pt x="358" y="500"/>
                </a:lnTo>
                <a:lnTo>
                  <a:pt x="365" y="503"/>
                </a:lnTo>
                <a:lnTo>
                  <a:pt x="368" y="505"/>
                </a:lnTo>
                <a:lnTo>
                  <a:pt x="370" y="508"/>
                </a:lnTo>
                <a:lnTo>
                  <a:pt x="370" y="510"/>
                </a:lnTo>
                <a:lnTo>
                  <a:pt x="370" y="512"/>
                </a:lnTo>
                <a:lnTo>
                  <a:pt x="369" y="514"/>
                </a:lnTo>
                <a:lnTo>
                  <a:pt x="368" y="516"/>
                </a:lnTo>
                <a:lnTo>
                  <a:pt x="368" y="517"/>
                </a:lnTo>
                <a:lnTo>
                  <a:pt x="370" y="518"/>
                </a:lnTo>
                <a:lnTo>
                  <a:pt x="374" y="518"/>
                </a:lnTo>
                <a:lnTo>
                  <a:pt x="379" y="519"/>
                </a:lnTo>
                <a:lnTo>
                  <a:pt x="373" y="521"/>
                </a:lnTo>
                <a:lnTo>
                  <a:pt x="369" y="523"/>
                </a:lnTo>
                <a:lnTo>
                  <a:pt x="366" y="526"/>
                </a:lnTo>
                <a:lnTo>
                  <a:pt x="365" y="528"/>
                </a:lnTo>
                <a:lnTo>
                  <a:pt x="364" y="530"/>
                </a:lnTo>
                <a:lnTo>
                  <a:pt x="365" y="534"/>
                </a:lnTo>
                <a:lnTo>
                  <a:pt x="368" y="535"/>
                </a:lnTo>
                <a:lnTo>
                  <a:pt x="370" y="537"/>
                </a:lnTo>
                <a:lnTo>
                  <a:pt x="372" y="538"/>
                </a:lnTo>
                <a:lnTo>
                  <a:pt x="374" y="539"/>
                </a:lnTo>
                <a:lnTo>
                  <a:pt x="381" y="541"/>
                </a:lnTo>
                <a:lnTo>
                  <a:pt x="386" y="543"/>
                </a:lnTo>
                <a:lnTo>
                  <a:pt x="382" y="544"/>
                </a:lnTo>
                <a:lnTo>
                  <a:pt x="378" y="546"/>
                </a:lnTo>
                <a:lnTo>
                  <a:pt x="376" y="550"/>
                </a:lnTo>
                <a:lnTo>
                  <a:pt x="373" y="553"/>
                </a:lnTo>
                <a:lnTo>
                  <a:pt x="369" y="553"/>
                </a:lnTo>
                <a:lnTo>
                  <a:pt x="363" y="553"/>
                </a:lnTo>
                <a:lnTo>
                  <a:pt x="361" y="554"/>
                </a:lnTo>
                <a:lnTo>
                  <a:pt x="360" y="556"/>
                </a:lnTo>
                <a:lnTo>
                  <a:pt x="361" y="559"/>
                </a:lnTo>
                <a:lnTo>
                  <a:pt x="362" y="560"/>
                </a:lnTo>
                <a:lnTo>
                  <a:pt x="365" y="562"/>
                </a:lnTo>
                <a:lnTo>
                  <a:pt x="369" y="563"/>
                </a:lnTo>
                <a:lnTo>
                  <a:pt x="379" y="562"/>
                </a:lnTo>
                <a:lnTo>
                  <a:pt x="388" y="560"/>
                </a:lnTo>
                <a:lnTo>
                  <a:pt x="396" y="566"/>
                </a:lnTo>
                <a:lnTo>
                  <a:pt x="405" y="571"/>
                </a:lnTo>
                <a:lnTo>
                  <a:pt x="410" y="570"/>
                </a:lnTo>
                <a:lnTo>
                  <a:pt x="413" y="569"/>
                </a:lnTo>
                <a:lnTo>
                  <a:pt x="418" y="569"/>
                </a:lnTo>
                <a:lnTo>
                  <a:pt x="422" y="570"/>
                </a:lnTo>
                <a:lnTo>
                  <a:pt x="431" y="575"/>
                </a:lnTo>
                <a:lnTo>
                  <a:pt x="440" y="577"/>
                </a:lnTo>
                <a:lnTo>
                  <a:pt x="431" y="581"/>
                </a:lnTo>
                <a:lnTo>
                  <a:pt x="422" y="586"/>
                </a:lnTo>
                <a:lnTo>
                  <a:pt x="427" y="592"/>
                </a:lnTo>
                <a:lnTo>
                  <a:pt x="434" y="596"/>
                </a:lnTo>
                <a:lnTo>
                  <a:pt x="442" y="596"/>
                </a:lnTo>
                <a:lnTo>
                  <a:pt x="448" y="595"/>
                </a:lnTo>
                <a:lnTo>
                  <a:pt x="451" y="595"/>
                </a:lnTo>
                <a:lnTo>
                  <a:pt x="452" y="596"/>
                </a:lnTo>
                <a:lnTo>
                  <a:pt x="452" y="597"/>
                </a:lnTo>
                <a:lnTo>
                  <a:pt x="451" y="597"/>
                </a:lnTo>
                <a:lnTo>
                  <a:pt x="447" y="600"/>
                </a:lnTo>
                <a:lnTo>
                  <a:pt x="446" y="602"/>
                </a:lnTo>
                <a:lnTo>
                  <a:pt x="446" y="604"/>
                </a:lnTo>
                <a:lnTo>
                  <a:pt x="447" y="606"/>
                </a:lnTo>
                <a:lnTo>
                  <a:pt x="450" y="608"/>
                </a:lnTo>
                <a:lnTo>
                  <a:pt x="453" y="608"/>
                </a:lnTo>
                <a:lnTo>
                  <a:pt x="459" y="609"/>
                </a:lnTo>
                <a:lnTo>
                  <a:pt x="463" y="609"/>
                </a:lnTo>
                <a:lnTo>
                  <a:pt x="462" y="611"/>
                </a:lnTo>
                <a:lnTo>
                  <a:pt x="461" y="613"/>
                </a:lnTo>
                <a:lnTo>
                  <a:pt x="461" y="616"/>
                </a:lnTo>
                <a:lnTo>
                  <a:pt x="464" y="618"/>
                </a:lnTo>
                <a:lnTo>
                  <a:pt x="465" y="618"/>
                </a:lnTo>
                <a:lnTo>
                  <a:pt x="468" y="618"/>
                </a:lnTo>
                <a:lnTo>
                  <a:pt x="469" y="619"/>
                </a:lnTo>
                <a:lnTo>
                  <a:pt x="469" y="621"/>
                </a:lnTo>
                <a:lnTo>
                  <a:pt x="469" y="624"/>
                </a:lnTo>
                <a:lnTo>
                  <a:pt x="468" y="625"/>
                </a:lnTo>
                <a:lnTo>
                  <a:pt x="465" y="626"/>
                </a:lnTo>
                <a:lnTo>
                  <a:pt x="463" y="627"/>
                </a:lnTo>
                <a:lnTo>
                  <a:pt x="455" y="628"/>
                </a:lnTo>
                <a:lnTo>
                  <a:pt x="450" y="630"/>
                </a:lnTo>
                <a:lnTo>
                  <a:pt x="448" y="631"/>
                </a:lnTo>
                <a:lnTo>
                  <a:pt x="450" y="633"/>
                </a:lnTo>
                <a:lnTo>
                  <a:pt x="451" y="634"/>
                </a:lnTo>
                <a:lnTo>
                  <a:pt x="453" y="634"/>
                </a:lnTo>
                <a:lnTo>
                  <a:pt x="458" y="633"/>
                </a:lnTo>
                <a:lnTo>
                  <a:pt x="460" y="631"/>
                </a:lnTo>
                <a:lnTo>
                  <a:pt x="464" y="630"/>
                </a:lnTo>
                <a:lnTo>
                  <a:pt x="470" y="631"/>
                </a:lnTo>
                <a:lnTo>
                  <a:pt x="473" y="634"/>
                </a:lnTo>
                <a:lnTo>
                  <a:pt x="478" y="636"/>
                </a:lnTo>
                <a:lnTo>
                  <a:pt x="481" y="634"/>
                </a:lnTo>
                <a:lnTo>
                  <a:pt x="486" y="634"/>
                </a:lnTo>
                <a:lnTo>
                  <a:pt x="487" y="635"/>
                </a:lnTo>
                <a:lnTo>
                  <a:pt x="488" y="636"/>
                </a:lnTo>
                <a:lnTo>
                  <a:pt x="491" y="636"/>
                </a:lnTo>
                <a:lnTo>
                  <a:pt x="493" y="636"/>
                </a:lnTo>
                <a:lnTo>
                  <a:pt x="498" y="636"/>
                </a:lnTo>
                <a:lnTo>
                  <a:pt x="505" y="636"/>
                </a:lnTo>
                <a:lnTo>
                  <a:pt x="510" y="635"/>
                </a:lnTo>
                <a:lnTo>
                  <a:pt x="514" y="634"/>
                </a:lnTo>
                <a:lnTo>
                  <a:pt x="520" y="634"/>
                </a:lnTo>
                <a:lnTo>
                  <a:pt x="526" y="634"/>
                </a:lnTo>
                <a:lnTo>
                  <a:pt x="530" y="634"/>
                </a:lnTo>
                <a:lnTo>
                  <a:pt x="534" y="635"/>
                </a:lnTo>
                <a:lnTo>
                  <a:pt x="537" y="633"/>
                </a:lnTo>
                <a:lnTo>
                  <a:pt x="541" y="631"/>
                </a:lnTo>
                <a:lnTo>
                  <a:pt x="547" y="630"/>
                </a:lnTo>
                <a:lnTo>
                  <a:pt x="553" y="629"/>
                </a:lnTo>
                <a:lnTo>
                  <a:pt x="566" y="628"/>
                </a:lnTo>
                <a:lnTo>
                  <a:pt x="578" y="627"/>
                </a:lnTo>
                <a:lnTo>
                  <a:pt x="588" y="624"/>
                </a:lnTo>
                <a:lnTo>
                  <a:pt x="599" y="622"/>
                </a:lnTo>
                <a:lnTo>
                  <a:pt x="602" y="622"/>
                </a:lnTo>
                <a:lnTo>
                  <a:pt x="607" y="624"/>
                </a:lnTo>
                <a:lnTo>
                  <a:pt x="610" y="624"/>
                </a:lnTo>
                <a:lnTo>
                  <a:pt x="613" y="621"/>
                </a:lnTo>
                <a:lnTo>
                  <a:pt x="617" y="618"/>
                </a:lnTo>
                <a:lnTo>
                  <a:pt x="618" y="616"/>
                </a:lnTo>
                <a:lnTo>
                  <a:pt x="619" y="614"/>
                </a:lnTo>
                <a:lnTo>
                  <a:pt x="620" y="613"/>
                </a:lnTo>
                <a:lnTo>
                  <a:pt x="623" y="613"/>
                </a:lnTo>
                <a:lnTo>
                  <a:pt x="625" y="614"/>
                </a:lnTo>
                <a:lnTo>
                  <a:pt x="629" y="617"/>
                </a:lnTo>
                <a:lnTo>
                  <a:pt x="635" y="619"/>
                </a:lnTo>
                <a:lnTo>
                  <a:pt x="640" y="621"/>
                </a:lnTo>
                <a:lnTo>
                  <a:pt x="645" y="621"/>
                </a:lnTo>
                <a:lnTo>
                  <a:pt x="658" y="621"/>
                </a:lnTo>
                <a:lnTo>
                  <a:pt x="670" y="620"/>
                </a:lnTo>
                <a:lnTo>
                  <a:pt x="683" y="619"/>
                </a:lnTo>
                <a:lnTo>
                  <a:pt x="695" y="618"/>
                </a:lnTo>
                <a:lnTo>
                  <a:pt x="702" y="618"/>
                </a:lnTo>
                <a:lnTo>
                  <a:pt x="709" y="617"/>
                </a:lnTo>
                <a:lnTo>
                  <a:pt x="714" y="616"/>
                </a:lnTo>
                <a:lnTo>
                  <a:pt x="719" y="614"/>
                </a:lnTo>
                <a:lnTo>
                  <a:pt x="734" y="616"/>
                </a:lnTo>
                <a:lnTo>
                  <a:pt x="748" y="616"/>
                </a:lnTo>
                <a:lnTo>
                  <a:pt x="751" y="616"/>
                </a:lnTo>
                <a:lnTo>
                  <a:pt x="753" y="616"/>
                </a:lnTo>
                <a:lnTo>
                  <a:pt x="755" y="614"/>
                </a:lnTo>
                <a:lnTo>
                  <a:pt x="756" y="613"/>
                </a:lnTo>
                <a:lnTo>
                  <a:pt x="759" y="612"/>
                </a:lnTo>
                <a:lnTo>
                  <a:pt x="763" y="612"/>
                </a:lnTo>
                <a:lnTo>
                  <a:pt x="765" y="611"/>
                </a:lnTo>
                <a:lnTo>
                  <a:pt x="766" y="611"/>
                </a:lnTo>
                <a:lnTo>
                  <a:pt x="766" y="610"/>
                </a:lnTo>
                <a:lnTo>
                  <a:pt x="766" y="609"/>
                </a:lnTo>
                <a:lnTo>
                  <a:pt x="763" y="608"/>
                </a:lnTo>
                <a:lnTo>
                  <a:pt x="760" y="605"/>
                </a:lnTo>
                <a:lnTo>
                  <a:pt x="766" y="605"/>
                </a:lnTo>
                <a:lnTo>
                  <a:pt x="772" y="603"/>
                </a:lnTo>
                <a:lnTo>
                  <a:pt x="774" y="603"/>
                </a:lnTo>
                <a:lnTo>
                  <a:pt x="777" y="602"/>
                </a:lnTo>
                <a:lnTo>
                  <a:pt x="780" y="603"/>
                </a:lnTo>
                <a:lnTo>
                  <a:pt x="783" y="604"/>
                </a:lnTo>
                <a:lnTo>
                  <a:pt x="786" y="608"/>
                </a:lnTo>
                <a:lnTo>
                  <a:pt x="791" y="610"/>
                </a:lnTo>
                <a:lnTo>
                  <a:pt x="798" y="610"/>
                </a:lnTo>
                <a:lnTo>
                  <a:pt x="804" y="609"/>
                </a:lnTo>
                <a:lnTo>
                  <a:pt x="819" y="608"/>
                </a:lnTo>
                <a:lnTo>
                  <a:pt x="834" y="608"/>
                </a:lnTo>
                <a:lnTo>
                  <a:pt x="850" y="608"/>
                </a:lnTo>
                <a:lnTo>
                  <a:pt x="865" y="608"/>
                </a:lnTo>
                <a:lnTo>
                  <a:pt x="881" y="608"/>
                </a:lnTo>
                <a:lnTo>
                  <a:pt x="896" y="608"/>
                </a:lnTo>
                <a:lnTo>
                  <a:pt x="903" y="606"/>
                </a:lnTo>
                <a:lnTo>
                  <a:pt x="909" y="606"/>
                </a:lnTo>
                <a:lnTo>
                  <a:pt x="912" y="609"/>
                </a:lnTo>
                <a:lnTo>
                  <a:pt x="913" y="612"/>
                </a:lnTo>
                <a:lnTo>
                  <a:pt x="915" y="616"/>
                </a:lnTo>
                <a:lnTo>
                  <a:pt x="918" y="617"/>
                </a:lnTo>
                <a:lnTo>
                  <a:pt x="923" y="617"/>
                </a:lnTo>
                <a:lnTo>
                  <a:pt x="928" y="616"/>
                </a:lnTo>
                <a:lnTo>
                  <a:pt x="932" y="616"/>
                </a:lnTo>
                <a:lnTo>
                  <a:pt x="938" y="614"/>
                </a:lnTo>
                <a:lnTo>
                  <a:pt x="942" y="616"/>
                </a:lnTo>
                <a:lnTo>
                  <a:pt x="946" y="614"/>
                </a:lnTo>
                <a:lnTo>
                  <a:pt x="950" y="616"/>
                </a:lnTo>
                <a:lnTo>
                  <a:pt x="956" y="616"/>
                </a:lnTo>
                <a:lnTo>
                  <a:pt x="958" y="614"/>
                </a:lnTo>
                <a:lnTo>
                  <a:pt x="962" y="614"/>
                </a:lnTo>
                <a:lnTo>
                  <a:pt x="964" y="614"/>
                </a:lnTo>
                <a:lnTo>
                  <a:pt x="966" y="616"/>
                </a:lnTo>
                <a:lnTo>
                  <a:pt x="969" y="614"/>
                </a:lnTo>
                <a:lnTo>
                  <a:pt x="969" y="613"/>
                </a:lnTo>
                <a:lnTo>
                  <a:pt x="969" y="612"/>
                </a:lnTo>
                <a:lnTo>
                  <a:pt x="967" y="611"/>
                </a:lnTo>
                <a:lnTo>
                  <a:pt x="963" y="610"/>
                </a:lnTo>
                <a:lnTo>
                  <a:pt x="959" y="610"/>
                </a:lnTo>
                <a:lnTo>
                  <a:pt x="962" y="608"/>
                </a:lnTo>
                <a:lnTo>
                  <a:pt x="966" y="608"/>
                </a:lnTo>
                <a:lnTo>
                  <a:pt x="972" y="608"/>
                </a:lnTo>
                <a:lnTo>
                  <a:pt x="975" y="608"/>
                </a:lnTo>
                <a:lnTo>
                  <a:pt x="981" y="608"/>
                </a:lnTo>
                <a:lnTo>
                  <a:pt x="987" y="608"/>
                </a:lnTo>
                <a:lnTo>
                  <a:pt x="990" y="605"/>
                </a:lnTo>
                <a:lnTo>
                  <a:pt x="995" y="605"/>
                </a:lnTo>
                <a:lnTo>
                  <a:pt x="996" y="610"/>
                </a:lnTo>
                <a:lnTo>
                  <a:pt x="996" y="616"/>
                </a:lnTo>
                <a:lnTo>
                  <a:pt x="1000" y="617"/>
                </a:lnTo>
                <a:lnTo>
                  <a:pt x="1006" y="617"/>
                </a:lnTo>
                <a:lnTo>
                  <a:pt x="1012" y="616"/>
                </a:lnTo>
                <a:lnTo>
                  <a:pt x="1016" y="613"/>
                </a:lnTo>
                <a:lnTo>
                  <a:pt x="1014" y="612"/>
                </a:lnTo>
                <a:lnTo>
                  <a:pt x="1012" y="611"/>
                </a:lnTo>
                <a:lnTo>
                  <a:pt x="1011" y="610"/>
                </a:lnTo>
                <a:lnTo>
                  <a:pt x="1011" y="606"/>
                </a:lnTo>
                <a:lnTo>
                  <a:pt x="1012" y="605"/>
                </a:lnTo>
                <a:lnTo>
                  <a:pt x="1014" y="604"/>
                </a:lnTo>
                <a:lnTo>
                  <a:pt x="1016" y="604"/>
                </a:lnTo>
                <a:lnTo>
                  <a:pt x="1020" y="604"/>
                </a:lnTo>
                <a:lnTo>
                  <a:pt x="1024" y="605"/>
                </a:lnTo>
                <a:lnTo>
                  <a:pt x="1029" y="605"/>
                </a:lnTo>
                <a:lnTo>
                  <a:pt x="1032" y="602"/>
                </a:lnTo>
                <a:lnTo>
                  <a:pt x="1035" y="597"/>
                </a:lnTo>
                <a:lnTo>
                  <a:pt x="1038" y="595"/>
                </a:lnTo>
                <a:lnTo>
                  <a:pt x="1041" y="594"/>
                </a:lnTo>
                <a:lnTo>
                  <a:pt x="1046" y="593"/>
                </a:lnTo>
                <a:lnTo>
                  <a:pt x="1050" y="592"/>
                </a:lnTo>
                <a:lnTo>
                  <a:pt x="1054" y="594"/>
                </a:lnTo>
                <a:lnTo>
                  <a:pt x="1056" y="596"/>
                </a:lnTo>
                <a:lnTo>
                  <a:pt x="1055" y="600"/>
                </a:lnTo>
                <a:lnTo>
                  <a:pt x="1053" y="602"/>
                </a:lnTo>
                <a:lnTo>
                  <a:pt x="1053" y="604"/>
                </a:lnTo>
                <a:lnTo>
                  <a:pt x="1053" y="605"/>
                </a:lnTo>
                <a:lnTo>
                  <a:pt x="1055" y="606"/>
                </a:lnTo>
                <a:lnTo>
                  <a:pt x="1057" y="606"/>
                </a:lnTo>
                <a:lnTo>
                  <a:pt x="1062" y="606"/>
                </a:lnTo>
                <a:lnTo>
                  <a:pt x="1065" y="606"/>
                </a:lnTo>
                <a:lnTo>
                  <a:pt x="1074" y="606"/>
                </a:lnTo>
                <a:lnTo>
                  <a:pt x="1083" y="609"/>
                </a:lnTo>
                <a:lnTo>
                  <a:pt x="1089" y="610"/>
                </a:lnTo>
                <a:lnTo>
                  <a:pt x="1093" y="610"/>
                </a:lnTo>
                <a:lnTo>
                  <a:pt x="1097" y="609"/>
                </a:lnTo>
                <a:lnTo>
                  <a:pt x="1102" y="606"/>
                </a:lnTo>
                <a:lnTo>
                  <a:pt x="1093" y="604"/>
                </a:lnTo>
                <a:lnTo>
                  <a:pt x="1082" y="602"/>
                </a:lnTo>
                <a:lnTo>
                  <a:pt x="1078" y="603"/>
                </a:lnTo>
                <a:lnTo>
                  <a:pt x="1072" y="603"/>
                </a:lnTo>
                <a:lnTo>
                  <a:pt x="1070" y="603"/>
                </a:lnTo>
                <a:lnTo>
                  <a:pt x="1068" y="602"/>
                </a:lnTo>
                <a:lnTo>
                  <a:pt x="1065" y="601"/>
                </a:lnTo>
                <a:lnTo>
                  <a:pt x="1064" y="600"/>
                </a:lnTo>
                <a:lnTo>
                  <a:pt x="1062" y="597"/>
                </a:lnTo>
                <a:lnTo>
                  <a:pt x="1062" y="596"/>
                </a:lnTo>
                <a:lnTo>
                  <a:pt x="1063" y="595"/>
                </a:lnTo>
                <a:lnTo>
                  <a:pt x="1065" y="595"/>
                </a:lnTo>
                <a:lnTo>
                  <a:pt x="1069" y="594"/>
                </a:lnTo>
                <a:lnTo>
                  <a:pt x="1073" y="594"/>
                </a:lnTo>
                <a:lnTo>
                  <a:pt x="1077" y="594"/>
                </a:lnTo>
                <a:lnTo>
                  <a:pt x="1081" y="593"/>
                </a:lnTo>
                <a:lnTo>
                  <a:pt x="1086" y="592"/>
                </a:lnTo>
                <a:lnTo>
                  <a:pt x="1089" y="591"/>
                </a:lnTo>
                <a:lnTo>
                  <a:pt x="1095" y="594"/>
                </a:lnTo>
                <a:lnTo>
                  <a:pt x="1102" y="594"/>
                </a:lnTo>
                <a:lnTo>
                  <a:pt x="1106" y="589"/>
                </a:lnTo>
                <a:lnTo>
                  <a:pt x="1112" y="585"/>
                </a:lnTo>
                <a:lnTo>
                  <a:pt x="1116" y="585"/>
                </a:lnTo>
                <a:lnTo>
                  <a:pt x="1121" y="586"/>
                </a:lnTo>
                <a:lnTo>
                  <a:pt x="1124" y="587"/>
                </a:lnTo>
                <a:lnTo>
                  <a:pt x="1127" y="589"/>
                </a:lnTo>
                <a:lnTo>
                  <a:pt x="1131" y="589"/>
                </a:lnTo>
                <a:lnTo>
                  <a:pt x="1135" y="589"/>
                </a:lnTo>
                <a:lnTo>
                  <a:pt x="1140" y="589"/>
                </a:lnTo>
                <a:lnTo>
                  <a:pt x="1147" y="589"/>
                </a:lnTo>
                <a:lnTo>
                  <a:pt x="1149" y="588"/>
                </a:lnTo>
                <a:lnTo>
                  <a:pt x="1154" y="587"/>
                </a:lnTo>
                <a:lnTo>
                  <a:pt x="1155" y="587"/>
                </a:lnTo>
                <a:lnTo>
                  <a:pt x="1156" y="587"/>
                </a:lnTo>
                <a:lnTo>
                  <a:pt x="1159" y="587"/>
                </a:lnTo>
                <a:lnTo>
                  <a:pt x="1159" y="589"/>
                </a:lnTo>
                <a:lnTo>
                  <a:pt x="1160" y="592"/>
                </a:lnTo>
                <a:lnTo>
                  <a:pt x="1159" y="595"/>
                </a:lnTo>
                <a:lnTo>
                  <a:pt x="1159" y="596"/>
                </a:lnTo>
                <a:lnTo>
                  <a:pt x="1160" y="597"/>
                </a:lnTo>
                <a:lnTo>
                  <a:pt x="1161" y="597"/>
                </a:lnTo>
                <a:lnTo>
                  <a:pt x="1163" y="599"/>
                </a:lnTo>
                <a:lnTo>
                  <a:pt x="1175" y="600"/>
                </a:lnTo>
                <a:lnTo>
                  <a:pt x="1186" y="600"/>
                </a:lnTo>
                <a:lnTo>
                  <a:pt x="1194" y="599"/>
                </a:lnTo>
                <a:lnTo>
                  <a:pt x="1201" y="599"/>
                </a:lnTo>
                <a:lnTo>
                  <a:pt x="1205" y="600"/>
                </a:lnTo>
                <a:lnTo>
                  <a:pt x="1210" y="599"/>
                </a:lnTo>
                <a:lnTo>
                  <a:pt x="1212" y="597"/>
                </a:lnTo>
                <a:lnTo>
                  <a:pt x="1214" y="597"/>
                </a:lnTo>
                <a:lnTo>
                  <a:pt x="1216" y="599"/>
                </a:lnTo>
                <a:lnTo>
                  <a:pt x="1217" y="601"/>
                </a:lnTo>
                <a:lnTo>
                  <a:pt x="1221" y="603"/>
                </a:lnTo>
                <a:lnTo>
                  <a:pt x="1225" y="603"/>
                </a:lnTo>
                <a:lnTo>
                  <a:pt x="1229" y="602"/>
                </a:lnTo>
                <a:lnTo>
                  <a:pt x="1234" y="600"/>
                </a:lnTo>
                <a:lnTo>
                  <a:pt x="1235" y="597"/>
                </a:lnTo>
                <a:lnTo>
                  <a:pt x="1237" y="594"/>
                </a:lnTo>
                <a:lnTo>
                  <a:pt x="1239" y="593"/>
                </a:lnTo>
                <a:lnTo>
                  <a:pt x="1243" y="592"/>
                </a:lnTo>
                <a:lnTo>
                  <a:pt x="1253" y="592"/>
                </a:lnTo>
                <a:lnTo>
                  <a:pt x="1263" y="593"/>
                </a:lnTo>
                <a:lnTo>
                  <a:pt x="1276" y="594"/>
                </a:lnTo>
                <a:lnTo>
                  <a:pt x="1289" y="595"/>
                </a:lnTo>
                <a:lnTo>
                  <a:pt x="1303" y="596"/>
                </a:lnTo>
                <a:lnTo>
                  <a:pt x="1316" y="599"/>
                </a:lnTo>
                <a:lnTo>
                  <a:pt x="1329" y="600"/>
                </a:lnTo>
                <a:lnTo>
                  <a:pt x="1344" y="602"/>
                </a:lnTo>
                <a:lnTo>
                  <a:pt x="1358" y="603"/>
                </a:lnTo>
                <a:lnTo>
                  <a:pt x="1370" y="603"/>
                </a:lnTo>
                <a:lnTo>
                  <a:pt x="1369" y="600"/>
                </a:lnTo>
                <a:lnTo>
                  <a:pt x="1367" y="599"/>
                </a:lnTo>
                <a:lnTo>
                  <a:pt x="1363" y="599"/>
                </a:lnTo>
                <a:lnTo>
                  <a:pt x="1361" y="599"/>
                </a:lnTo>
                <a:lnTo>
                  <a:pt x="1352" y="596"/>
                </a:lnTo>
                <a:lnTo>
                  <a:pt x="1343" y="595"/>
                </a:lnTo>
                <a:lnTo>
                  <a:pt x="1335" y="595"/>
                </a:lnTo>
                <a:lnTo>
                  <a:pt x="1328" y="594"/>
                </a:lnTo>
                <a:lnTo>
                  <a:pt x="1327" y="593"/>
                </a:lnTo>
                <a:lnTo>
                  <a:pt x="1326" y="592"/>
                </a:lnTo>
                <a:lnTo>
                  <a:pt x="1326" y="591"/>
                </a:lnTo>
                <a:lnTo>
                  <a:pt x="1328" y="588"/>
                </a:lnTo>
                <a:lnTo>
                  <a:pt x="1334" y="588"/>
                </a:lnTo>
                <a:lnTo>
                  <a:pt x="1341" y="589"/>
                </a:lnTo>
                <a:lnTo>
                  <a:pt x="1348" y="591"/>
                </a:lnTo>
                <a:lnTo>
                  <a:pt x="1355" y="592"/>
                </a:lnTo>
                <a:lnTo>
                  <a:pt x="1362" y="594"/>
                </a:lnTo>
                <a:lnTo>
                  <a:pt x="1370" y="594"/>
                </a:lnTo>
                <a:lnTo>
                  <a:pt x="1371" y="592"/>
                </a:lnTo>
                <a:lnTo>
                  <a:pt x="1374" y="589"/>
                </a:lnTo>
                <a:lnTo>
                  <a:pt x="1377" y="588"/>
                </a:lnTo>
                <a:lnTo>
                  <a:pt x="1379" y="589"/>
                </a:lnTo>
                <a:lnTo>
                  <a:pt x="1385" y="588"/>
                </a:lnTo>
                <a:lnTo>
                  <a:pt x="1390" y="586"/>
                </a:lnTo>
                <a:lnTo>
                  <a:pt x="1393" y="584"/>
                </a:lnTo>
                <a:lnTo>
                  <a:pt x="1396" y="584"/>
                </a:lnTo>
                <a:lnTo>
                  <a:pt x="1401" y="584"/>
                </a:lnTo>
                <a:lnTo>
                  <a:pt x="1404" y="585"/>
                </a:lnTo>
                <a:lnTo>
                  <a:pt x="1414" y="586"/>
                </a:lnTo>
                <a:lnTo>
                  <a:pt x="1420" y="587"/>
                </a:lnTo>
                <a:lnTo>
                  <a:pt x="1427" y="587"/>
                </a:lnTo>
                <a:lnTo>
                  <a:pt x="1433" y="586"/>
                </a:lnTo>
                <a:lnTo>
                  <a:pt x="1440" y="587"/>
                </a:lnTo>
                <a:lnTo>
                  <a:pt x="1445" y="589"/>
                </a:lnTo>
                <a:lnTo>
                  <a:pt x="1453" y="591"/>
                </a:lnTo>
                <a:lnTo>
                  <a:pt x="1461" y="593"/>
                </a:lnTo>
                <a:lnTo>
                  <a:pt x="1468" y="595"/>
                </a:lnTo>
                <a:lnTo>
                  <a:pt x="1474" y="601"/>
                </a:lnTo>
                <a:lnTo>
                  <a:pt x="1465" y="599"/>
                </a:lnTo>
                <a:lnTo>
                  <a:pt x="1455" y="595"/>
                </a:lnTo>
                <a:lnTo>
                  <a:pt x="1450" y="596"/>
                </a:lnTo>
                <a:lnTo>
                  <a:pt x="1445" y="597"/>
                </a:lnTo>
                <a:lnTo>
                  <a:pt x="1439" y="596"/>
                </a:lnTo>
                <a:lnTo>
                  <a:pt x="1433" y="597"/>
                </a:lnTo>
                <a:lnTo>
                  <a:pt x="1440" y="601"/>
                </a:lnTo>
                <a:lnTo>
                  <a:pt x="1448" y="604"/>
                </a:lnTo>
                <a:lnTo>
                  <a:pt x="1457" y="605"/>
                </a:lnTo>
                <a:lnTo>
                  <a:pt x="1465" y="606"/>
                </a:lnTo>
                <a:lnTo>
                  <a:pt x="1469" y="606"/>
                </a:lnTo>
                <a:lnTo>
                  <a:pt x="1474" y="606"/>
                </a:lnTo>
                <a:lnTo>
                  <a:pt x="1478" y="606"/>
                </a:lnTo>
                <a:lnTo>
                  <a:pt x="1484" y="608"/>
                </a:lnTo>
                <a:lnTo>
                  <a:pt x="1488" y="609"/>
                </a:lnTo>
                <a:lnTo>
                  <a:pt x="1493" y="609"/>
                </a:lnTo>
                <a:lnTo>
                  <a:pt x="1499" y="609"/>
                </a:lnTo>
                <a:lnTo>
                  <a:pt x="1501" y="606"/>
                </a:lnTo>
                <a:lnTo>
                  <a:pt x="1501" y="609"/>
                </a:lnTo>
                <a:lnTo>
                  <a:pt x="1501" y="611"/>
                </a:lnTo>
                <a:lnTo>
                  <a:pt x="1502" y="611"/>
                </a:lnTo>
                <a:lnTo>
                  <a:pt x="1505" y="611"/>
                </a:lnTo>
                <a:lnTo>
                  <a:pt x="1507" y="609"/>
                </a:lnTo>
                <a:lnTo>
                  <a:pt x="1509" y="606"/>
                </a:lnTo>
                <a:lnTo>
                  <a:pt x="1513" y="608"/>
                </a:lnTo>
                <a:lnTo>
                  <a:pt x="1516" y="608"/>
                </a:lnTo>
                <a:lnTo>
                  <a:pt x="1521" y="608"/>
                </a:lnTo>
                <a:lnTo>
                  <a:pt x="1524" y="606"/>
                </a:lnTo>
                <a:lnTo>
                  <a:pt x="1528" y="609"/>
                </a:lnTo>
                <a:lnTo>
                  <a:pt x="1531" y="611"/>
                </a:lnTo>
                <a:lnTo>
                  <a:pt x="1533" y="614"/>
                </a:lnTo>
                <a:lnTo>
                  <a:pt x="1535" y="617"/>
                </a:lnTo>
                <a:lnTo>
                  <a:pt x="1539" y="619"/>
                </a:lnTo>
                <a:lnTo>
                  <a:pt x="1543" y="620"/>
                </a:lnTo>
                <a:lnTo>
                  <a:pt x="1544" y="617"/>
                </a:lnTo>
                <a:lnTo>
                  <a:pt x="1544" y="613"/>
                </a:lnTo>
                <a:lnTo>
                  <a:pt x="1546" y="612"/>
                </a:lnTo>
                <a:lnTo>
                  <a:pt x="1550" y="612"/>
                </a:lnTo>
                <a:lnTo>
                  <a:pt x="1554" y="612"/>
                </a:lnTo>
                <a:lnTo>
                  <a:pt x="1557" y="613"/>
                </a:lnTo>
                <a:lnTo>
                  <a:pt x="1560" y="616"/>
                </a:lnTo>
                <a:lnTo>
                  <a:pt x="1565" y="617"/>
                </a:lnTo>
                <a:lnTo>
                  <a:pt x="1569" y="618"/>
                </a:lnTo>
                <a:lnTo>
                  <a:pt x="1573" y="617"/>
                </a:lnTo>
                <a:lnTo>
                  <a:pt x="1575" y="616"/>
                </a:lnTo>
                <a:lnTo>
                  <a:pt x="1574" y="613"/>
                </a:lnTo>
                <a:lnTo>
                  <a:pt x="1573" y="612"/>
                </a:lnTo>
                <a:lnTo>
                  <a:pt x="1571" y="610"/>
                </a:lnTo>
                <a:lnTo>
                  <a:pt x="1565" y="606"/>
                </a:lnTo>
                <a:lnTo>
                  <a:pt x="1560" y="605"/>
                </a:lnTo>
                <a:lnTo>
                  <a:pt x="1555" y="604"/>
                </a:lnTo>
                <a:lnTo>
                  <a:pt x="1550" y="603"/>
                </a:lnTo>
                <a:lnTo>
                  <a:pt x="1544" y="601"/>
                </a:lnTo>
                <a:lnTo>
                  <a:pt x="1540" y="597"/>
                </a:lnTo>
                <a:lnTo>
                  <a:pt x="1551" y="599"/>
                </a:lnTo>
                <a:lnTo>
                  <a:pt x="1564" y="602"/>
                </a:lnTo>
                <a:lnTo>
                  <a:pt x="1569" y="603"/>
                </a:lnTo>
                <a:lnTo>
                  <a:pt x="1574" y="602"/>
                </a:lnTo>
                <a:lnTo>
                  <a:pt x="1577" y="600"/>
                </a:lnTo>
                <a:lnTo>
                  <a:pt x="1580" y="599"/>
                </a:lnTo>
                <a:lnTo>
                  <a:pt x="1581" y="602"/>
                </a:lnTo>
                <a:lnTo>
                  <a:pt x="1581" y="606"/>
                </a:lnTo>
                <a:lnTo>
                  <a:pt x="1584" y="608"/>
                </a:lnTo>
                <a:lnTo>
                  <a:pt x="1588" y="609"/>
                </a:lnTo>
                <a:lnTo>
                  <a:pt x="1592" y="610"/>
                </a:lnTo>
                <a:lnTo>
                  <a:pt x="1600" y="611"/>
                </a:lnTo>
                <a:lnTo>
                  <a:pt x="1604" y="612"/>
                </a:lnTo>
                <a:lnTo>
                  <a:pt x="1606" y="614"/>
                </a:lnTo>
                <a:lnTo>
                  <a:pt x="1607" y="616"/>
                </a:lnTo>
                <a:lnTo>
                  <a:pt x="1607" y="618"/>
                </a:lnTo>
                <a:lnTo>
                  <a:pt x="1601" y="618"/>
                </a:lnTo>
                <a:lnTo>
                  <a:pt x="1597" y="617"/>
                </a:lnTo>
                <a:lnTo>
                  <a:pt x="1590" y="614"/>
                </a:lnTo>
                <a:lnTo>
                  <a:pt x="1584" y="613"/>
                </a:lnTo>
                <a:lnTo>
                  <a:pt x="1582" y="613"/>
                </a:lnTo>
                <a:lnTo>
                  <a:pt x="1581" y="614"/>
                </a:lnTo>
                <a:lnTo>
                  <a:pt x="1580" y="616"/>
                </a:lnTo>
                <a:lnTo>
                  <a:pt x="1581" y="617"/>
                </a:lnTo>
                <a:lnTo>
                  <a:pt x="1585" y="618"/>
                </a:lnTo>
                <a:lnTo>
                  <a:pt x="1590" y="618"/>
                </a:lnTo>
                <a:lnTo>
                  <a:pt x="1599" y="621"/>
                </a:lnTo>
                <a:lnTo>
                  <a:pt x="1609" y="625"/>
                </a:lnTo>
                <a:lnTo>
                  <a:pt x="1618" y="626"/>
                </a:lnTo>
                <a:lnTo>
                  <a:pt x="1628" y="625"/>
                </a:lnTo>
                <a:lnTo>
                  <a:pt x="1623" y="624"/>
                </a:lnTo>
                <a:lnTo>
                  <a:pt x="1617" y="621"/>
                </a:lnTo>
                <a:lnTo>
                  <a:pt x="1615" y="620"/>
                </a:lnTo>
                <a:lnTo>
                  <a:pt x="1614" y="619"/>
                </a:lnTo>
                <a:lnTo>
                  <a:pt x="1614" y="617"/>
                </a:lnTo>
                <a:lnTo>
                  <a:pt x="1616" y="616"/>
                </a:lnTo>
                <a:lnTo>
                  <a:pt x="1622" y="614"/>
                </a:lnTo>
                <a:lnTo>
                  <a:pt x="1628" y="616"/>
                </a:lnTo>
                <a:lnTo>
                  <a:pt x="1631" y="616"/>
                </a:lnTo>
                <a:lnTo>
                  <a:pt x="1634" y="616"/>
                </a:lnTo>
                <a:lnTo>
                  <a:pt x="1635" y="613"/>
                </a:lnTo>
                <a:lnTo>
                  <a:pt x="1638" y="612"/>
                </a:lnTo>
                <a:lnTo>
                  <a:pt x="1641" y="614"/>
                </a:lnTo>
                <a:lnTo>
                  <a:pt x="1646" y="618"/>
                </a:lnTo>
                <a:lnTo>
                  <a:pt x="1651" y="619"/>
                </a:lnTo>
                <a:lnTo>
                  <a:pt x="1658" y="618"/>
                </a:lnTo>
                <a:lnTo>
                  <a:pt x="1665" y="619"/>
                </a:lnTo>
                <a:lnTo>
                  <a:pt x="1673" y="621"/>
                </a:lnTo>
                <a:lnTo>
                  <a:pt x="1681" y="624"/>
                </a:lnTo>
                <a:lnTo>
                  <a:pt x="1689" y="625"/>
                </a:lnTo>
                <a:lnTo>
                  <a:pt x="1692" y="625"/>
                </a:lnTo>
                <a:lnTo>
                  <a:pt x="1695" y="624"/>
                </a:lnTo>
                <a:lnTo>
                  <a:pt x="1696" y="622"/>
                </a:lnTo>
                <a:lnTo>
                  <a:pt x="1696" y="621"/>
                </a:lnTo>
                <a:lnTo>
                  <a:pt x="1695" y="617"/>
                </a:lnTo>
                <a:lnTo>
                  <a:pt x="1690" y="613"/>
                </a:lnTo>
                <a:lnTo>
                  <a:pt x="1686" y="613"/>
                </a:lnTo>
                <a:lnTo>
                  <a:pt x="1681" y="616"/>
                </a:lnTo>
                <a:lnTo>
                  <a:pt x="1673" y="614"/>
                </a:lnTo>
                <a:lnTo>
                  <a:pt x="1665" y="612"/>
                </a:lnTo>
                <a:lnTo>
                  <a:pt x="1663" y="612"/>
                </a:lnTo>
                <a:lnTo>
                  <a:pt x="1661" y="612"/>
                </a:lnTo>
                <a:lnTo>
                  <a:pt x="1659" y="611"/>
                </a:lnTo>
                <a:lnTo>
                  <a:pt x="1658" y="608"/>
                </a:lnTo>
                <a:lnTo>
                  <a:pt x="1659" y="605"/>
                </a:lnTo>
                <a:lnTo>
                  <a:pt x="1661" y="604"/>
                </a:lnTo>
                <a:lnTo>
                  <a:pt x="1662" y="604"/>
                </a:lnTo>
                <a:lnTo>
                  <a:pt x="1665" y="603"/>
                </a:lnTo>
                <a:lnTo>
                  <a:pt x="1671" y="603"/>
                </a:lnTo>
                <a:lnTo>
                  <a:pt x="1676" y="604"/>
                </a:lnTo>
                <a:lnTo>
                  <a:pt x="1676" y="608"/>
                </a:lnTo>
                <a:lnTo>
                  <a:pt x="1678" y="611"/>
                </a:lnTo>
                <a:lnTo>
                  <a:pt x="1682" y="610"/>
                </a:lnTo>
                <a:lnTo>
                  <a:pt x="1688" y="609"/>
                </a:lnTo>
                <a:lnTo>
                  <a:pt x="1692" y="609"/>
                </a:lnTo>
                <a:lnTo>
                  <a:pt x="1698" y="608"/>
                </a:lnTo>
                <a:lnTo>
                  <a:pt x="1703" y="603"/>
                </a:lnTo>
                <a:lnTo>
                  <a:pt x="1707" y="602"/>
                </a:lnTo>
                <a:lnTo>
                  <a:pt x="1715" y="603"/>
                </a:lnTo>
                <a:lnTo>
                  <a:pt x="1723" y="606"/>
                </a:lnTo>
                <a:lnTo>
                  <a:pt x="1738" y="611"/>
                </a:lnTo>
                <a:lnTo>
                  <a:pt x="1754" y="614"/>
                </a:lnTo>
                <a:lnTo>
                  <a:pt x="1763" y="617"/>
                </a:lnTo>
                <a:lnTo>
                  <a:pt x="1771" y="620"/>
                </a:lnTo>
                <a:lnTo>
                  <a:pt x="1780" y="624"/>
                </a:lnTo>
                <a:lnTo>
                  <a:pt x="1789" y="628"/>
                </a:lnTo>
                <a:lnTo>
                  <a:pt x="1804" y="634"/>
                </a:lnTo>
                <a:lnTo>
                  <a:pt x="1819" y="639"/>
                </a:lnTo>
                <a:lnTo>
                  <a:pt x="1822" y="641"/>
                </a:lnTo>
                <a:lnTo>
                  <a:pt x="1824" y="641"/>
                </a:lnTo>
                <a:lnTo>
                  <a:pt x="1826" y="638"/>
                </a:lnTo>
                <a:lnTo>
                  <a:pt x="1827" y="636"/>
                </a:lnTo>
                <a:lnTo>
                  <a:pt x="1830" y="637"/>
                </a:lnTo>
                <a:lnTo>
                  <a:pt x="1832" y="638"/>
                </a:lnTo>
                <a:lnTo>
                  <a:pt x="1838" y="642"/>
                </a:lnTo>
                <a:lnTo>
                  <a:pt x="1843" y="642"/>
                </a:lnTo>
                <a:lnTo>
                  <a:pt x="1845" y="642"/>
                </a:lnTo>
                <a:lnTo>
                  <a:pt x="1845" y="641"/>
                </a:lnTo>
                <a:lnTo>
                  <a:pt x="1845" y="639"/>
                </a:lnTo>
                <a:lnTo>
                  <a:pt x="1844" y="638"/>
                </a:lnTo>
                <a:lnTo>
                  <a:pt x="1841" y="637"/>
                </a:lnTo>
                <a:lnTo>
                  <a:pt x="1840" y="636"/>
                </a:lnTo>
                <a:lnTo>
                  <a:pt x="1831" y="633"/>
                </a:lnTo>
                <a:lnTo>
                  <a:pt x="1822" y="629"/>
                </a:lnTo>
                <a:lnTo>
                  <a:pt x="1812" y="627"/>
                </a:lnTo>
                <a:lnTo>
                  <a:pt x="1803" y="625"/>
                </a:lnTo>
                <a:lnTo>
                  <a:pt x="1785" y="618"/>
                </a:lnTo>
                <a:lnTo>
                  <a:pt x="1767" y="611"/>
                </a:lnTo>
                <a:lnTo>
                  <a:pt x="1749" y="604"/>
                </a:lnTo>
                <a:lnTo>
                  <a:pt x="1731" y="599"/>
                </a:lnTo>
                <a:lnTo>
                  <a:pt x="1714" y="594"/>
                </a:lnTo>
                <a:lnTo>
                  <a:pt x="1698" y="587"/>
                </a:lnTo>
                <a:lnTo>
                  <a:pt x="1681" y="583"/>
                </a:lnTo>
                <a:lnTo>
                  <a:pt x="1665" y="576"/>
                </a:lnTo>
                <a:lnTo>
                  <a:pt x="1681" y="576"/>
                </a:lnTo>
                <a:lnTo>
                  <a:pt x="1696" y="578"/>
                </a:lnTo>
                <a:lnTo>
                  <a:pt x="1709" y="581"/>
                </a:lnTo>
                <a:lnTo>
                  <a:pt x="1724" y="585"/>
                </a:lnTo>
                <a:lnTo>
                  <a:pt x="1753" y="595"/>
                </a:lnTo>
                <a:lnTo>
                  <a:pt x="1781" y="603"/>
                </a:lnTo>
                <a:lnTo>
                  <a:pt x="1778" y="600"/>
                </a:lnTo>
                <a:lnTo>
                  <a:pt x="1773" y="597"/>
                </a:lnTo>
                <a:lnTo>
                  <a:pt x="1767" y="595"/>
                </a:lnTo>
                <a:lnTo>
                  <a:pt x="1763" y="594"/>
                </a:lnTo>
                <a:lnTo>
                  <a:pt x="1753" y="591"/>
                </a:lnTo>
                <a:lnTo>
                  <a:pt x="1742" y="587"/>
                </a:lnTo>
                <a:lnTo>
                  <a:pt x="1732" y="583"/>
                </a:lnTo>
                <a:lnTo>
                  <a:pt x="1721" y="579"/>
                </a:lnTo>
                <a:lnTo>
                  <a:pt x="1711" y="576"/>
                </a:lnTo>
                <a:lnTo>
                  <a:pt x="1699" y="572"/>
                </a:lnTo>
                <a:lnTo>
                  <a:pt x="1689" y="569"/>
                </a:lnTo>
                <a:lnTo>
                  <a:pt x="1679" y="567"/>
                </a:lnTo>
                <a:lnTo>
                  <a:pt x="1668" y="563"/>
                </a:lnTo>
                <a:lnTo>
                  <a:pt x="1658" y="561"/>
                </a:lnTo>
                <a:lnTo>
                  <a:pt x="1651" y="559"/>
                </a:lnTo>
                <a:lnTo>
                  <a:pt x="1646" y="556"/>
                </a:lnTo>
                <a:lnTo>
                  <a:pt x="1642" y="553"/>
                </a:lnTo>
                <a:lnTo>
                  <a:pt x="1639" y="551"/>
                </a:lnTo>
                <a:lnTo>
                  <a:pt x="1635" y="550"/>
                </a:lnTo>
                <a:lnTo>
                  <a:pt x="1632" y="547"/>
                </a:lnTo>
                <a:lnTo>
                  <a:pt x="1635" y="546"/>
                </a:lnTo>
                <a:lnTo>
                  <a:pt x="1639" y="544"/>
                </a:lnTo>
                <a:lnTo>
                  <a:pt x="1640" y="542"/>
                </a:lnTo>
                <a:lnTo>
                  <a:pt x="1639" y="539"/>
                </a:lnTo>
                <a:lnTo>
                  <a:pt x="1631" y="537"/>
                </a:lnTo>
                <a:lnTo>
                  <a:pt x="1622" y="537"/>
                </a:lnTo>
                <a:lnTo>
                  <a:pt x="1613" y="535"/>
                </a:lnTo>
                <a:lnTo>
                  <a:pt x="1604" y="533"/>
                </a:lnTo>
                <a:lnTo>
                  <a:pt x="1595" y="529"/>
                </a:lnTo>
                <a:lnTo>
                  <a:pt x="1585" y="526"/>
                </a:lnTo>
                <a:lnTo>
                  <a:pt x="1577" y="523"/>
                </a:lnTo>
                <a:lnTo>
                  <a:pt x="1567" y="520"/>
                </a:lnTo>
                <a:lnTo>
                  <a:pt x="1560" y="518"/>
                </a:lnTo>
                <a:lnTo>
                  <a:pt x="1552" y="516"/>
                </a:lnTo>
                <a:lnTo>
                  <a:pt x="1547" y="514"/>
                </a:lnTo>
                <a:lnTo>
                  <a:pt x="1541" y="513"/>
                </a:lnTo>
                <a:lnTo>
                  <a:pt x="1544" y="511"/>
                </a:lnTo>
                <a:lnTo>
                  <a:pt x="1549" y="511"/>
                </a:lnTo>
                <a:lnTo>
                  <a:pt x="1554" y="511"/>
                </a:lnTo>
                <a:lnTo>
                  <a:pt x="1557" y="512"/>
                </a:lnTo>
                <a:lnTo>
                  <a:pt x="1561" y="514"/>
                </a:lnTo>
                <a:lnTo>
                  <a:pt x="1566" y="516"/>
                </a:lnTo>
                <a:lnTo>
                  <a:pt x="1567" y="516"/>
                </a:lnTo>
                <a:lnTo>
                  <a:pt x="1568" y="516"/>
                </a:lnTo>
                <a:lnTo>
                  <a:pt x="1569" y="516"/>
                </a:lnTo>
                <a:lnTo>
                  <a:pt x="1571" y="516"/>
                </a:lnTo>
                <a:lnTo>
                  <a:pt x="1572" y="517"/>
                </a:lnTo>
                <a:lnTo>
                  <a:pt x="1572" y="518"/>
                </a:lnTo>
                <a:lnTo>
                  <a:pt x="1577" y="519"/>
                </a:lnTo>
                <a:lnTo>
                  <a:pt x="1583" y="520"/>
                </a:lnTo>
                <a:lnTo>
                  <a:pt x="1593" y="521"/>
                </a:lnTo>
                <a:lnTo>
                  <a:pt x="1606" y="523"/>
                </a:lnTo>
                <a:lnTo>
                  <a:pt x="1616" y="526"/>
                </a:lnTo>
                <a:lnTo>
                  <a:pt x="1626" y="529"/>
                </a:lnTo>
                <a:lnTo>
                  <a:pt x="1637" y="533"/>
                </a:lnTo>
                <a:lnTo>
                  <a:pt x="1647" y="536"/>
                </a:lnTo>
                <a:lnTo>
                  <a:pt x="1649" y="537"/>
                </a:lnTo>
                <a:lnTo>
                  <a:pt x="1654" y="539"/>
                </a:lnTo>
                <a:lnTo>
                  <a:pt x="1656" y="539"/>
                </a:lnTo>
                <a:lnTo>
                  <a:pt x="1658" y="539"/>
                </a:lnTo>
                <a:lnTo>
                  <a:pt x="1659" y="539"/>
                </a:lnTo>
                <a:lnTo>
                  <a:pt x="1661" y="538"/>
                </a:lnTo>
                <a:lnTo>
                  <a:pt x="1659" y="536"/>
                </a:lnTo>
                <a:lnTo>
                  <a:pt x="1658" y="535"/>
                </a:lnTo>
                <a:lnTo>
                  <a:pt x="1656" y="534"/>
                </a:lnTo>
                <a:lnTo>
                  <a:pt x="1654" y="533"/>
                </a:lnTo>
                <a:lnTo>
                  <a:pt x="1648" y="531"/>
                </a:lnTo>
                <a:lnTo>
                  <a:pt x="1645" y="530"/>
                </a:lnTo>
                <a:lnTo>
                  <a:pt x="1633" y="528"/>
                </a:lnTo>
                <a:lnTo>
                  <a:pt x="1622" y="525"/>
                </a:lnTo>
                <a:lnTo>
                  <a:pt x="1610" y="521"/>
                </a:lnTo>
                <a:lnTo>
                  <a:pt x="1599" y="517"/>
                </a:lnTo>
                <a:lnTo>
                  <a:pt x="1583" y="512"/>
                </a:lnTo>
                <a:lnTo>
                  <a:pt x="1567" y="508"/>
                </a:lnTo>
                <a:lnTo>
                  <a:pt x="1560" y="505"/>
                </a:lnTo>
                <a:lnTo>
                  <a:pt x="1554" y="503"/>
                </a:lnTo>
                <a:lnTo>
                  <a:pt x="1549" y="503"/>
                </a:lnTo>
                <a:lnTo>
                  <a:pt x="1546" y="502"/>
                </a:lnTo>
                <a:lnTo>
                  <a:pt x="1544" y="501"/>
                </a:lnTo>
                <a:lnTo>
                  <a:pt x="1543" y="501"/>
                </a:lnTo>
                <a:lnTo>
                  <a:pt x="1543" y="501"/>
                </a:lnTo>
                <a:lnTo>
                  <a:pt x="1543" y="500"/>
                </a:lnTo>
                <a:lnTo>
                  <a:pt x="1542" y="498"/>
                </a:lnTo>
                <a:lnTo>
                  <a:pt x="1541" y="497"/>
                </a:lnTo>
                <a:lnTo>
                  <a:pt x="1539" y="498"/>
                </a:lnTo>
                <a:lnTo>
                  <a:pt x="1536" y="500"/>
                </a:lnTo>
                <a:lnTo>
                  <a:pt x="1532" y="498"/>
                </a:lnTo>
                <a:lnTo>
                  <a:pt x="1528" y="497"/>
                </a:lnTo>
                <a:lnTo>
                  <a:pt x="1517" y="494"/>
                </a:lnTo>
                <a:lnTo>
                  <a:pt x="1506" y="492"/>
                </a:lnTo>
                <a:lnTo>
                  <a:pt x="1493" y="489"/>
                </a:lnTo>
                <a:lnTo>
                  <a:pt x="1480" y="486"/>
                </a:lnTo>
                <a:lnTo>
                  <a:pt x="1467" y="484"/>
                </a:lnTo>
                <a:lnTo>
                  <a:pt x="1455" y="480"/>
                </a:lnTo>
                <a:lnTo>
                  <a:pt x="1445" y="479"/>
                </a:lnTo>
                <a:lnTo>
                  <a:pt x="1432" y="477"/>
                </a:lnTo>
                <a:lnTo>
                  <a:pt x="1425" y="475"/>
                </a:lnTo>
                <a:lnTo>
                  <a:pt x="1419" y="473"/>
                </a:lnTo>
                <a:lnTo>
                  <a:pt x="1415" y="471"/>
                </a:lnTo>
                <a:lnTo>
                  <a:pt x="1414" y="469"/>
                </a:lnTo>
                <a:lnTo>
                  <a:pt x="1433" y="472"/>
                </a:lnTo>
                <a:lnTo>
                  <a:pt x="1451" y="476"/>
                </a:lnTo>
                <a:lnTo>
                  <a:pt x="1470" y="480"/>
                </a:lnTo>
                <a:lnTo>
                  <a:pt x="1489" y="485"/>
                </a:lnTo>
                <a:lnTo>
                  <a:pt x="1498" y="485"/>
                </a:lnTo>
                <a:lnTo>
                  <a:pt x="1507" y="485"/>
                </a:lnTo>
                <a:lnTo>
                  <a:pt x="1515" y="485"/>
                </a:lnTo>
                <a:lnTo>
                  <a:pt x="1524" y="486"/>
                </a:lnTo>
                <a:lnTo>
                  <a:pt x="1531" y="487"/>
                </a:lnTo>
                <a:lnTo>
                  <a:pt x="1538" y="488"/>
                </a:lnTo>
                <a:lnTo>
                  <a:pt x="1542" y="490"/>
                </a:lnTo>
                <a:lnTo>
                  <a:pt x="1546" y="492"/>
                </a:lnTo>
                <a:lnTo>
                  <a:pt x="1549" y="492"/>
                </a:lnTo>
                <a:lnTo>
                  <a:pt x="1551" y="492"/>
                </a:lnTo>
                <a:lnTo>
                  <a:pt x="1557" y="493"/>
                </a:lnTo>
                <a:lnTo>
                  <a:pt x="1563" y="494"/>
                </a:lnTo>
                <a:lnTo>
                  <a:pt x="1563" y="493"/>
                </a:lnTo>
                <a:lnTo>
                  <a:pt x="1563" y="492"/>
                </a:lnTo>
                <a:lnTo>
                  <a:pt x="1561" y="490"/>
                </a:lnTo>
                <a:lnTo>
                  <a:pt x="1559" y="489"/>
                </a:lnTo>
                <a:lnTo>
                  <a:pt x="1556" y="488"/>
                </a:lnTo>
                <a:lnTo>
                  <a:pt x="1552" y="487"/>
                </a:lnTo>
                <a:lnTo>
                  <a:pt x="1542" y="485"/>
                </a:lnTo>
                <a:lnTo>
                  <a:pt x="1532" y="483"/>
                </a:lnTo>
                <a:lnTo>
                  <a:pt x="1522" y="480"/>
                </a:lnTo>
                <a:lnTo>
                  <a:pt x="1511" y="478"/>
                </a:lnTo>
                <a:lnTo>
                  <a:pt x="1501" y="475"/>
                </a:lnTo>
                <a:lnTo>
                  <a:pt x="1491" y="472"/>
                </a:lnTo>
                <a:lnTo>
                  <a:pt x="1481" y="470"/>
                </a:lnTo>
                <a:lnTo>
                  <a:pt x="1470" y="468"/>
                </a:lnTo>
                <a:lnTo>
                  <a:pt x="1455" y="463"/>
                </a:lnTo>
                <a:lnTo>
                  <a:pt x="1439" y="461"/>
                </a:lnTo>
                <a:lnTo>
                  <a:pt x="1429" y="459"/>
                </a:lnTo>
                <a:lnTo>
                  <a:pt x="1420" y="456"/>
                </a:lnTo>
                <a:lnTo>
                  <a:pt x="1411" y="453"/>
                </a:lnTo>
                <a:lnTo>
                  <a:pt x="1402" y="452"/>
                </a:lnTo>
                <a:lnTo>
                  <a:pt x="1392" y="452"/>
                </a:lnTo>
                <a:lnTo>
                  <a:pt x="1383" y="451"/>
                </a:lnTo>
                <a:lnTo>
                  <a:pt x="1378" y="450"/>
                </a:lnTo>
                <a:lnTo>
                  <a:pt x="1374" y="450"/>
                </a:lnTo>
                <a:lnTo>
                  <a:pt x="1369" y="448"/>
                </a:lnTo>
                <a:lnTo>
                  <a:pt x="1366" y="446"/>
                </a:lnTo>
                <a:lnTo>
                  <a:pt x="1367" y="444"/>
                </a:lnTo>
                <a:lnTo>
                  <a:pt x="1367" y="440"/>
                </a:lnTo>
                <a:lnTo>
                  <a:pt x="1365" y="439"/>
                </a:lnTo>
                <a:lnTo>
                  <a:pt x="1361" y="438"/>
                </a:lnTo>
                <a:lnTo>
                  <a:pt x="1357" y="438"/>
                </a:lnTo>
                <a:lnTo>
                  <a:pt x="1351" y="439"/>
                </a:lnTo>
                <a:lnTo>
                  <a:pt x="1348" y="439"/>
                </a:lnTo>
                <a:lnTo>
                  <a:pt x="1345" y="439"/>
                </a:lnTo>
                <a:lnTo>
                  <a:pt x="1344" y="439"/>
                </a:lnTo>
                <a:lnTo>
                  <a:pt x="1343" y="438"/>
                </a:lnTo>
                <a:lnTo>
                  <a:pt x="1343" y="437"/>
                </a:lnTo>
                <a:lnTo>
                  <a:pt x="1343" y="435"/>
                </a:lnTo>
                <a:lnTo>
                  <a:pt x="1344" y="433"/>
                </a:lnTo>
                <a:lnTo>
                  <a:pt x="1345" y="431"/>
                </a:lnTo>
                <a:lnTo>
                  <a:pt x="1348" y="430"/>
                </a:lnTo>
                <a:lnTo>
                  <a:pt x="1350" y="429"/>
                </a:lnTo>
                <a:lnTo>
                  <a:pt x="1355" y="430"/>
                </a:lnTo>
                <a:lnTo>
                  <a:pt x="1360" y="431"/>
                </a:lnTo>
                <a:lnTo>
                  <a:pt x="1363" y="431"/>
                </a:lnTo>
                <a:lnTo>
                  <a:pt x="1366" y="433"/>
                </a:lnTo>
                <a:lnTo>
                  <a:pt x="1369" y="431"/>
                </a:lnTo>
                <a:lnTo>
                  <a:pt x="1371" y="430"/>
                </a:lnTo>
                <a:lnTo>
                  <a:pt x="1375" y="433"/>
                </a:lnTo>
                <a:lnTo>
                  <a:pt x="1378" y="436"/>
                </a:lnTo>
                <a:lnTo>
                  <a:pt x="1382" y="434"/>
                </a:lnTo>
                <a:lnTo>
                  <a:pt x="1385" y="434"/>
                </a:lnTo>
                <a:lnTo>
                  <a:pt x="1385" y="436"/>
                </a:lnTo>
                <a:lnTo>
                  <a:pt x="1387" y="438"/>
                </a:lnTo>
                <a:lnTo>
                  <a:pt x="1389" y="438"/>
                </a:lnTo>
                <a:lnTo>
                  <a:pt x="1391" y="439"/>
                </a:lnTo>
                <a:lnTo>
                  <a:pt x="1394" y="439"/>
                </a:lnTo>
                <a:lnTo>
                  <a:pt x="1399" y="440"/>
                </a:lnTo>
                <a:lnTo>
                  <a:pt x="1412" y="442"/>
                </a:lnTo>
                <a:lnTo>
                  <a:pt x="1425" y="444"/>
                </a:lnTo>
                <a:lnTo>
                  <a:pt x="1439" y="450"/>
                </a:lnTo>
                <a:lnTo>
                  <a:pt x="1453" y="454"/>
                </a:lnTo>
                <a:lnTo>
                  <a:pt x="1460" y="454"/>
                </a:lnTo>
                <a:lnTo>
                  <a:pt x="1466" y="456"/>
                </a:lnTo>
                <a:lnTo>
                  <a:pt x="1466" y="458"/>
                </a:lnTo>
                <a:lnTo>
                  <a:pt x="1466" y="459"/>
                </a:lnTo>
                <a:lnTo>
                  <a:pt x="1465" y="460"/>
                </a:lnTo>
                <a:lnTo>
                  <a:pt x="1462" y="460"/>
                </a:lnTo>
                <a:lnTo>
                  <a:pt x="1459" y="461"/>
                </a:lnTo>
                <a:lnTo>
                  <a:pt x="1457" y="462"/>
                </a:lnTo>
                <a:lnTo>
                  <a:pt x="1464" y="462"/>
                </a:lnTo>
                <a:lnTo>
                  <a:pt x="1476" y="464"/>
                </a:lnTo>
                <a:lnTo>
                  <a:pt x="1483" y="464"/>
                </a:lnTo>
                <a:lnTo>
                  <a:pt x="1488" y="464"/>
                </a:lnTo>
                <a:lnTo>
                  <a:pt x="1490" y="464"/>
                </a:lnTo>
                <a:lnTo>
                  <a:pt x="1491" y="463"/>
                </a:lnTo>
                <a:lnTo>
                  <a:pt x="1492" y="463"/>
                </a:lnTo>
                <a:lnTo>
                  <a:pt x="1492" y="462"/>
                </a:lnTo>
                <a:lnTo>
                  <a:pt x="1490" y="461"/>
                </a:lnTo>
                <a:lnTo>
                  <a:pt x="1489" y="460"/>
                </a:lnTo>
                <a:lnTo>
                  <a:pt x="1488" y="459"/>
                </a:lnTo>
                <a:lnTo>
                  <a:pt x="1488" y="458"/>
                </a:lnTo>
                <a:lnTo>
                  <a:pt x="1489" y="458"/>
                </a:lnTo>
                <a:lnTo>
                  <a:pt x="1489" y="458"/>
                </a:lnTo>
                <a:lnTo>
                  <a:pt x="1491" y="458"/>
                </a:lnTo>
                <a:lnTo>
                  <a:pt x="1493" y="459"/>
                </a:lnTo>
                <a:lnTo>
                  <a:pt x="1503" y="460"/>
                </a:lnTo>
                <a:lnTo>
                  <a:pt x="1515" y="462"/>
                </a:lnTo>
                <a:lnTo>
                  <a:pt x="1523" y="464"/>
                </a:lnTo>
                <a:lnTo>
                  <a:pt x="1533" y="464"/>
                </a:lnTo>
                <a:lnTo>
                  <a:pt x="1535" y="463"/>
                </a:lnTo>
                <a:lnTo>
                  <a:pt x="1535" y="461"/>
                </a:lnTo>
                <a:lnTo>
                  <a:pt x="1533" y="461"/>
                </a:lnTo>
                <a:lnTo>
                  <a:pt x="1531" y="460"/>
                </a:lnTo>
                <a:lnTo>
                  <a:pt x="1527" y="460"/>
                </a:lnTo>
                <a:lnTo>
                  <a:pt x="1524" y="460"/>
                </a:lnTo>
                <a:lnTo>
                  <a:pt x="1523" y="459"/>
                </a:lnTo>
                <a:lnTo>
                  <a:pt x="1522" y="459"/>
                </a:lnTo>
                <a:lnTo>
                  <a:pt x="1522" y="458"/>
                </a:lnTo>
                <a:lnTo>
                  <a:pt x="1523" y="455"/>
                </a:lnTo>
                <a:lnTo>
                  <a:pt x="1526" y="455"/>
                </a:lnTo>
                <a:lnTo>
                  <a:pt x="1530" y="455"/>
                </a:lnTo>
                <a:lnTo>
                  <a:pt x="1531" y="455"/>
                </a:lnTo>
                <a:lnTo>
                  <a:pt x="1532" y="455"/>
                </a:lnTo>
                <a:lnTo>
                  <a:pt x="1533" y="454"/>
                </a:lnTo>
                <a:lnTo>
                  <a:pt x="1534" y="452"/>
                </a:lnTo>
                <a:lnTo>
                  <a:pt x="1539" y="454"/>
                </a:lnTo>
                <a:lnTo>
                  <a:pt x="1542" y="458"/>
                </a:lnTo>
                <a:lnTo>
                  <a:pt x="1544" y="460"/>
                </a:lnTo>
                <a:lnTo>
                  <a:pt x="1547" y="461"/>
                </a:lnTo>
                <a:lnTo>
                  <a:pt x="1549" y="461"/>
                </a:lnTo>
                <a:lnTo>
                  <a:pt x="1551" y="461"/>
                </a:lnTo>
                <a:lnTo>
                  <a:pt x="1554" y="461"/>
                </a:lnTo>
                <a:lnTo>
                  <a:pt x="1556" y="460"/>
                </a:lnTo>
                <a:lnTo>
                  <a:pt x="1557" y="458"/>
                </a:lnTo>
                <a:lnTo>
                  <a:pt x="1557" y="455"/>
                </a:lnTo>
                <a:lnTo>
                  <a:pt x="1552" y="455"/>
                </a:lnTo>
                <a:lnTo>
                  <a:pt x="1547" y="455"/>
                </a:lnTo>
                <a:lnTo>
                  <a:pt x="1544" y="455"/>
                </a:lnTo>
                <a:lnTo>
                  <a:pt x="1543" y="454"/>
                </a:lnTo>
                <a:lnTo>
                  <a:pt x="1541" y="452"/>
                </a:lnTo>
                <a:lnTo>
                  <a:pt x="1542" y="452"/>
                </a:lnTo>
                <a:lnTo>
                  <a:pt x="1542" y="451"/>
                </a:lnTo>
                <a:lnTo>
                  <a:pt x="1544" y="451"/>
                </a:lnTo>
                <a:lnTo>
                  <a:pt x="1551" y="447"/>
                </a:lnTo>
                <a:lnTo>
                  <a:pt x="1557" y="446"/>
                </a:lnTo>
                <a:lnTo>
                  <a:pt x="1560" y="446"/>
                </a:lnTo>
                <a:lnTo>
                  <a:pt x="1564" y="446"/>
                </a:lnTo>
                <a:lnTo>
                  <a:pt x="1567" y="447"/>
                </a:lnTo>
                <a:lnTo>
                  <a:pt x="1571" y="448"/>
                </a:lnTo>
                <a:lnTo>
                  <a:pt x="1576" y="442"/>
                </a:lnTo>
                <a:lnTo>
                  <a:pt x="1581" y="433"/>
                </a:lnTo>
                <a:lnTo>
                  <a:pt x="1576" y="434"/>
                </a:lnTo>
                <a:lnTo>
                  <a:pt x="1573" y="433"/>
                </a:lnTo>
                <a:lnTo>
                  <a:pt x="1576" y="431"/>
                </a:lnTo>
                <a:lnTo>
                  <a:pt x="1580" y="427"/>
                </a:lnTo>
                <a:lnTo>
                  <a:pt x="1582" y="425"/>
                </a:lnTo>
                <a:lnTo>
                  <a:pt x="1583" y="422"/>
                </a:lnTo>
                <a:lnTo>
                  <a:pt x="1583" y="421"/>
                </a:lnTo>
                <a:lnTo>
                  <a:pt x="1582" y="420"/>
                </a:lnTo>
                <a:lnTo>
                  <a:pt x="1580" y="421"/>
                </a:lnTo>
                <a:lnTo>
                  <a:pt x="1576" y="422"/>
                </a:lnTo>
                <a:lnTo>
                  <a:pt x="1574" y="423"/>
                </a:lnTo>
                <a:lnTo>
                  <a:pt x="1574" y="423"/>
                </a:lnTo>
                <a:lnTo>
                  <a:pt x="1574" y="422"/>
                </a:lnTo>
                <a:lnTo>
                  <a:pt x="1573" y="421"/>
                </a:lnTo>
                <a:lnTo>
                  <a:pt x="1573" y="419"/>
                </a:lnTo>
                <a:lnTo>
                  <a:pt x="1572" y="418"/>
                </a:lnTo>
                <a:lnTo>
                  <a:pt x="1568" y="418"/>
                </a:lnTo>
                <a:lnTo>
                  <a:pt x="1566" y="419"/>
                </a:lnTo>
                <a:lnTo>
                  <a:pt x="1560" y="418"/>
                </a:lnTo>
                <a:lnTo>
                  <a:pt x="1555" y="418"/>
                </a:lnTo>
                <a:lnTo>
                  <a:pt x="1552" y="419"/>
                </a:lnTo>
                <a:lnTo>
                  <a:pt x="1550" y="420"/>
                </a:lnTo>
                <a:lnTo>
                  <a:pt x="1549" y="421"/>
                </a:lnTo>
                <a:lnTo>
                  <a:pt x="1547" y="425"/>
                </a:lnTo>
                <a:lnTo>
                  <a:pt x="1550" y="425"/>
                </a:lnTo>
                <a:lnTo>
                  <a:pt x="1552" y="425"/>
                </a:lnTo>
                <a:lnTo>
                  <a:pt x="1556" y="426"/>
                </a:lnTo>
                <a:lnTo>
                  <a:pt x="1557" y="427"/>
                </a:lnTo>
                <a:lnTo>
                  <a:pt x="1552" y="428"/>
                </a:lnTo>
                <a:lnTo>
                  <a:pt x="1547" y="428"/>
                </a:lnTo>
                <a:lnTo>
                  <a:pt x="1546" y="430"/>
                </a:lnTo>
                <a:lnTo>
                  <a:pt x="1543" y="431"/>
                </a:lnTo>
                <a:lnTo>
                  <a:pt x="1541" y="434"/>
                </a:lnTo>
                <a:lnTo>
                  <a:pt x="1539" y="433"/>
                </a:lnTo>
                <a:lnTo>
                  <a:pt x="1538" y="431"/>
                </a:lnTo>
                <a:lnTo>
                  <a:pt x="1536" y="430"/>
                </a:lnTo>
                <a:lnTo>
                  <a:pt x="1538" y="429"/>
                </a:lnTo>
                <a:lnTo>
                  <a:pt x="1538" y="428"/>
                </a:lnTo>
                <a:lnTo>
                  <a:pt x="1539" y="422"/>
                </a:lnTo>
                <a:lnTo>
                  <a:pt x="1540" y="418"/>
                </a:lnTo>
                <a:lnTo>
                  <a:pt x="1543" y="414"/>
                </a:lnTo>
                <a:lnTo>
                  <a:pt x="1547" y="410"/>
                </a:lnTo>
                <a:lnTo>
                  <a:pt x="1547" y="408"/>
                </a:lnTo>
                <a:lnTo>
                  <a:pt x="1548" y="405"/>
                </a:lnTo>
                <a:lnTo>
                  <a:pt x="1549" y="404"/>
                </a:lnTo>
                <a:lnTo>
                  <a:pt x="1551" y="403"/>
                </a:lnTo>
                <a:lnTo>
                  <a:pt x="1555" y="402"/>
                </a:lnTo>
                <a:lnTo>
                  <a:pt x="1557" y="402"/>
                </a:lnTo>
                <a:lnTo>
                  <a:pt x="1559" y="400"/>
                </a:lnTo>
                <a:lnTo>
                  <a:pt x="1560" y="396"/>
                </a:lnTo>
                <a:lnTo>
                  <a:pt x="1559" y="394"/>
                </a:lnTo>
                <a:lnTo>
                  <a:pt x="1557" y="392"/>
                </a:lnTo>
                <a:lnTo>
                  <a:pt x="1554" y="392"/>
                </a:lnTo>
                <a:lnTo>
                  <a:pt x="1550" y="392"/>
                </a:lnTo>
                <a:lnTo>
                  <a:pt x="1554" y="388"/>
                </a:lnTo>
                <a:lnTo>
                  <a:pt x="1556" y="385"/>
                </a:lnTo>
                <a:lnTo>
                  <a:pt x="1556" y="380"/>
                </a:lnTo>
                <a:lnTo>
                  <a:pt x="1557" y="377"/>
                </a:lnTo>
                <a:lnTo>
                  <a:pt x="1560" y="376"/>
                </a:lnTo>
                <a:lnTo>
                  <a:pt x="1564" y="373"/>
                </a:lnTo>
                <a:lnTo>
                  <a:pt x="1564" y="371"/>
                </a:lnTo>
                <a:lnTo>
                  <a:pt x="1564" y="370"/>
                </a:lnTo>
                <a:lnTo>
                  <a:pt x="1564" y="368"/>
                </a:lnTo>
                <a:lnTo>
                  <a:pt x="1566" y="367"/>
                </a:lnTo>
                <a:lnTo>
                  <a:pt x="1567" y="367"/>
                </a:lnTo>
                <a:lnTo>
                  <a:pt x="1568" y="365"/>
                </a:lnTo>
                <a:lnTo>
                  <a:pt x="1569" y="364"/>
                </a:lnTo>
                <a:lnTo>
                  <a:pt x="1569" y="363"/>
                </a:lnTo>
                <a:lnTo>
                  <a:pt x="1567" y="361"/>
                </a:lnTo>
                <a:lnTo>
                  <a:pt x="1565" y="359"/>
                </a:lnTo>
                <a:lnTo>
                  <a:pt x="1560" y="354"/>
                </a:lnTo>
                <a:lnTo>
                  <a:pt x="1557" y="350"/>
                </a:lnTo>
                <a:lnTo>
                  <a:pt x="1551" y="346"/>
                </a:lnTo>
                <a:lnTo>
                  <a:pt x="1546" y="344"/>
                </a:lnTo>
                <a:lnTo>
                  <a:pt x="1534" y="340"/>
                </a:lnTo>
                <a:lnTo>
                  <a:pt x="1523" y="337"/>
                </a:lnTo>
                <a:lnTo>
                  <a:pt x="1519" y="336"/>
                </a:lnTo>
                <a:lnTo>
                  <a:pt x="1517" y="335"/>
                </a:lnTo>
                <a:lnTo>
                  <a:pt x="1516" y="334"/>
                </a:lnTo>
                <a:lnTo>
                  <a:pt x="1515" y="332"/>
                </a:lnTo>
                <a:lnTo>
                  <a:pt x="1514" y="334"/>
                </a:lnTo>
                <a:lnTo>
                  <a:pt x="1514" y="334"/>
                </a:lnTo>
                <a:lnTo>
                  <a:pt x="1513" y="334"/>
                </a:lnTo>
                <a:lnTo>
                  <a:pt x="1511" y="334"/>
                </a:lnTo>
                <a:lnTo>
                  <a:pt x="1510" y="331"/>
                </a:lnTo>
                <a:lnTo>
                  <a:pt x="1511" y="330"/>
                </a:lnTo>
                <a:lnTo>
                  <a:pt x="1514" y="328"/>
                </a:lnTo>
                <a:lnTo>
                  <a:pt x="1515" y="327"/>
                </a:lnTo>
                <a:lnTo>
                  <a:pt x="1516" y="325"/>
                </a:lnTo>
                <a:lnTo>
                  <a:pt x="1516" y="322"/>
                </a:lnTo>
                <a:lnTo>
                  <a:pt x="1514" y="320"/>
                </a:lnTo>
                <a:lnTo>
                  <a:pt x="1511" y="318"/>
                </a:lnTo>
                <a:lnTo>
                  <a:pt x="1511" y="317"/>
                </a:lnTo>
                <a:lnTo>
                  <a:pt x="1513" y="313"/>
                </a:lnTo>
                <a:lnTo>
                  <a:pt x="1515" y="312"/>
                </a:lnTo>
                <a:lnTo>
                  <a:pt x="1517" y="312"/>
                </a:lnTo>
                <a:lnTo>
                  <a:pt x="1521" y="312"/>
                </a:lnTo>
                <a:lnTo>
                  <a:pt x="1524" y="313"/>
                </a:lnTo>
                <a:lnTo>
                  <a:pt x="1530" y="317"/>
                </a:lnTo>
                <a:lnTo>
                  <a:pt x="1533" y="321"/>
                </a:lnTo>
                <a:lnTo>
                  <a:pt x="1536" y="318"/>
                </a:lnTo>
                <a:lnTo>
                  <a:pt x="1541" y="315"/>
                </a:lnTo>
                <a:lnTo>
                  <a:pt x="1547" y="315"/>
                </a:lnTo>
                <a:lnTo>
                  <a:pt x="1551" y="314"/>
                </a:lnTo>
                <a:lnTo>
                  <a:pt x="1556" y="315"/>
                </a:lnTo>
                <a:lnTo>
                  <a:pt x="1559" y="315"/>
                </a:lnTo>
                <a:lnTo>
                  <a:pt x="1560" y="313"/>
                </a:lnTo>
                <a:lnTo>
                  <a:pt x="1559" y="313"/>
                </a:lnTo>
                <a:lnTo>
                  <a:pt x="1558" y="312"/>
                </a:lnTo>
                <a:lnTo>
                  <a:pt x="1557" y="311"/>
                </a:lnTo>
                <a:lnTo>
                  <a:pt x="1559" y="310"/>
                </a:lnTo>
                <a:lnTo>
                  <a:pt x="1561" y="311"/>
                </a:lnTo>
                <a:lnTo>
                  <a:pt x="1563" y="313"/>
                </a:lnTo>
                <a:lnTo>
                  <a:pt x="1563" y="317"/>
                </a:lnTo>
                <a:lnTo>
                  <a:pt x="1565" y="318"/>
                </a:lnTo>
                <a:lnTo>
                  <a:pt x="1567" y="319"/>
                </a:lnTo>
                <a:lnTo>
                  <a:pt x="1571" y="320"/>
                </a:lnTo>
                <a:lnTo>
                  <a:pt x="1572" y="319"/>
                </a:lnTo>
                <a:lnTo>
                  <a:pt x="1574" y="317"/>
                </a:lnTo>
                <a:lnTo>
                  <a:pt x="1573" y="315"/>
                </a:lnTo>
                <a:lnTo>
                  <a:pt x="1574" y="313"/>
                </a:lnTo>
                <a:lnTo>
                  <a:pt x="1577" y="313"/>
                </a:lnTo>
                <a:lnTo>
                  <a:pt x="1585" y="314"/>
                </a:lnTo>
                <a:lnTo>
                  <a:pt x="1593" y="317"/>
                </a:lnTo>
                <a:lnTo>
                  <a:pt x="1590" y="317"/>
                </a:lnTo>
                <a:lnTo>
                  <a:pt x="1585" y="317"/>
                </a:lnTo>
                <a:lnTo>
                  <a:pt x="1589" y="320"/>
                </a:lnTo>
                <a:lnTo>
                  <a:pt x="1591" y="321"/>
                </a:lnTo>
                <a:lnTo>
                  <a:pt x="1593" y="320"/>
                </a:lnTo>
                <a:lnTo>
                  <a:pt x="1596" y="320"/>
                </a:lnTo>
                <a:lnTo>
                  <a:pt x="1601" y="318"/>
                </a:lnTo>
                <a:lnTo>
                  <a:pt x="1608" y="317"/>
                </a:lnTo>
                <a:lnTo>
                  <a:pt x="1614" y="320"/>
                </a:lnTo>
                <a:lnTo>
                  <a:pt x="1620" y="322"/>
                </a:lnTo>
                <a:lnTo>
                  <a:pt x="1625" y="322"/>
                </a:lnTo>
                <a:lnTo>
                  <a:pt x="1632" y="321"/>
                </a:lnTo>
                <a:lnTo>
                  <a:pt x="1634" y="320"/>
                </a:lnTo>
                <a:lnTo>
                  <a:pt x="1637" y="320"/>
                </a:lnTo>
                <a:lnTo>
                  <a:pt x="1639" y="322"/>
                </a:lnTo>
                <a:lnTo>
                  <a:pt x="1641" y="323"/>
                </a:lnTo>
                <a:lnTo>
                  <a:pt x="1645" y="323"/>
                </a:lnTo>
                <a:lnTo>
                  <a:pt x="1646" y="323"/>
                </a:lnTo>
                <a:lnTo>
                  <a:pt x="1648" y="321"/>
                </a:lnTo>
                <a:lnTo>
                  <a:pt x="1650" y="320"/>
                </a:lnTo>
                <a:lnTo>
                  <a:pt x="1656" y="319"/>
                </a:lnTo>
                <a:lnTo>
                  <a:pt x="1662" y="319"/>
                </a:lnTo>
                <a:lnTo>
                  <a:pt x="1665" y="318"/>
                </a:lnTo>
                <a:lnTo>
                  <a:pt x="1666" y="317"/>
                </a:lnTo>
                <a:lnTo>
                  <a:pt x="1666" y="314"/>
                </a:lnTo>
                <a:lnTo>
                  <a:pt x="1664" y="313"/>
                </a:lnTo>
                <a:lnTo>
                  <a:pt x="1670" y="312"/>
                </a:lnTo>
                <a:lnTo>
                  <a:pt x="1675" y="312"/>
                </a:lnTo>
                <a:lnTo>
                  <a:pt x="1678" y="311"/>
                </a:lnTo>
                <a:lnTo>
                  <a:pt x="1681" y="311"/>
                </a:lnTo>
                <a:lnTo>
                  <a:pt x="1684" y="312"/>
                </a:lnTo>
                <a:lnTo>
                  <a:pt x="1688" y="313"/>
                </a:lnTo>
                <a:lnTo>
                  <a:pt x="1692" y="312"/>
                </a:lnTo>
                <a:lnTo>
                  <a:pt x="1699" y="309"/>
                </a:lnTo>
                <a:lnTo>
                  <a:pt x="1701" y="305"/>
                </a:lnTo>
                <a:lnTo>
                  <a:pt x="1700" y="304"/>
                </a:lnTo>
                <a:lnTo>
                  <a:pt x="1698" y="303"/>
                </a:lnTo>
                <a:lnTo>
                  <a:pt x="1695" y="304"/>
                </a:lnTo>
                <a:lnTo>
                  <a:pt x="1696" y="301"/>
                </a:lnTo>
                <a:lnTo>
                  <a:pt x="1698" y="298"/>
                </a:lnTo>
                <a:lnTo>
                  <a:pt x="1697" y="296"/>
                </a:lnTo>
                <a:lnTo>
                  <a:pt x="1694" y="295"/>
                </a:lnTo>
                <a:lnTo>
                  <a:pt x="1695" y="287"/>
                </a:lnTo>
                <a:lnTo>
                  <a:pt x="1698" y="280"/>
                </a:lnTo>
                <a:lnTo>
                  <a:pt x="1699" y="276"/>
                </a:lnTo>
                <a:lnTo>
                  <a:pt x="1699" y="272"/>
                </a:lnTo>
                <a:lnTo>
                  <a:pt x="1697" y="269"/>
                </a:lnTo>
                <a:lnTo>
                  <a:pt x="1695" y="265"/>
                </a:lnTo>
                <a:lnTo>
                  <a:pt x="1696" y="259"/>
                </a:lnTo>
                <a:lnTo>
                  <a:pt x="1697" y="251"/>
                </a:lnTo>
                <a:lnTo>
                  <a:pt x="1695" y="247"/>
                </a:lnTo>
                <a:lnTo>
                  <a:pt x="1692" y="244"/>
                </a:lnTo>
                <a:lnTo>
                  <a:pt x="1692" y="239"/>
                </a:lnTo>
                <a:lnTo>
                  <a:pt x="1691" y="236"/>
                </a:lnTo>
                <a:lnTo>
                  <a:pt x="1691" y="231"/>
                </a:lnTo>
                <a:lnTo>
                  <a:pt x="1690" y="228"/>
                </a:lnTo>
                <a:lnTo>
                  <a:pt x="1689" y="226"/>
                </a:lnTo>
                <a:lnTo>
                  <a:pt x="1687" y="222"/>
                </a:lnTo>
                <a:lnTo>
                  <a:pt x="1686" y="219"/>
                </a:lnTo>
                <a:lnTo>
                  <a:pt x="1686" y="218"/>
                </a:lnTo>
                <a:lnTo>
                  <a:pt x="1688" y="215"/>
                </a:lnTo>
                <a:lnTo>
                  <a:pt x="1690" y="213"/>
                </a:lnTo>
                <a:lnTo>
                  <a:pt x="1691" y="209"/>
                </a:lnTo>
                <a:lnTo>
                  <a:pt x="1691" y="203"/>
                </a:lnTo>
                <a:lnTo>
                  <a:pt x="1692" y="199"/>
                </a:lnTo>
                <a:lnTo>
                  <a:pt x="1695" y="198"/>
                </a:lnTo>
                <a:lnTo>
                  <a:pt x="1697" y="198"/>
                </a:lnTo>
                <a:lnTo>
                  <a:pt x="1698" y="201"/>
                </a:lnTo>
                <a:lnTo>
                  <a:pt x="1698" y="203"/>
                </a:lnTo>
                <a:lnTo>
                  <a:pt x="1697" y="205"/>
                </a:lnTo>
                <a:lnTo>
                  <a:pt x="1697" y="206"/>
                </a:lnTo>
                <a:lnTo>
                  <a:pt x="1697" y="207"/>
                </a:lnTo>
                <a:lnTo>
                  <a:pt x="1698" y="209"/>
                </a:lnTo>
                <a:lnTo>
                  <a:pt x="1700" y="210"/>
                </a:lnTo>
                <a:lnTo>
                  <a:pt x="1703" y="210"/>
                </a:lnTo>
                <a:lnTo>
                  <a:pt x="1705" y="207"/>
                </a:lnTo>
                <a:lnTo>
                  <a:pt x="1706" y="205"/>
                </a:lnTo>
                <a:lnTo>
                  <a:pt x="1707" y="202"/>
                </a:lnTo>
                <a:lnTo>
                  <a:pt x="1708" y="198"/>
                </a:lnTo>
                <a:lnTo>
                  <a:pt x="1707" y="196"/>
                </a:lnTo>
                <a:lnTo>
                  <a:pt x="1705" y="194"/>
                </a:lnTo>
                <a:lnTo>
                  <a:pt x="1704" y="190"/>
                </a:lnTo>
                <a:lnTo>
                  <a:pt x="1703" y="186"/>
                </a:lnTo>
                <a:lnTo>
                  <a:pt x="1704" y="181"/>
                </a:lnTo>
                <a:lnTo>
                  <a:pt x="1705" y="176"/>
                </a:lnTo>
                <a:lnTo>
                  <a:pt x="1708" y="172"/>
                </a:lnTo>
                <a:lnTo>
                  <a:pt x="1723" y="170"/>
                </a:lnTo>
                <a:lnTo>
                  <a:pt x="1738" y="170"/>
                </a:lnTo>
                <a:lnTo>
                  <a:pt x="1731" y="162"/>
                </a:lnTo>
                <a:lnTo>
                  <a:pt x="1723" y="155"/>
                </a:lnTo>
                <a:lnTo>
                  <a:pt x="1712" y="151"/>
                </a:lnTo>
                <a:lnTo>
                  <a:pt x="1699" y="147"/>
                </a:lnTo>
                <a:lnTo>
                  <a:pt x="1687" y="144"/>
                </a:lnTo>
                <a:lnTo>
                  <a:pt x="1673" y="141"/>
                </a:lnTo>
                <a:lnTo>
                  <a:pt x="1661" y="139"/>
                </a:lnTo>
                <a:lnTo>
                  <a:pt x="1647" y="136"/>
                </a:lnTo>
                <a:lnTo>
                  <a:pt x="1633" y="133"/>
                </a:lnTo>
                <a:lnTo>
                  <a:pt x="1618" y="130"/>
                </a:lnTo>
                <a:lnTo>
                  <a:pt x="1605" y="127"/>
                </a:lnTo>
                <a:lnTo>
                  <a:pt x="1590" y="124"/>
                </a:lnTo>
                <a:lnTo>
                  <a:pt x="1576" y="121"/>
                </a:lnTo>
                <a:lnTo>
                  <a:pt x="1563" y="119"/>
                </a:lnTo>
                <a:lnTo>
                  <a:pt x="1557" y="116"/>
                </a:lnTo>
                <a:lnTo>
                  <a:pt x="1550" y="115"/>
                </a:lnTo>
                <a:lnTo>
                  <a:pt x="1547" y="114"/>
                </a:lnTo>
                <a:lnTo>
                  <a:pt x="1544" y="113"/>
                </a:lnTo>
                <a:lnTo>
                  <a:pt x="1542" y="112"/>
                </a:lnTo>
                <a:lnTo>
                  <a:pt x="1541" y="108"/>
                </a:lnTo>
                <a:lnTo>
                  <a:pt x="1556" y="110"/>
                </a:lnTo>
                <a:lnTo>
                  <a:pt x="1571" y="112"/>
                </a:lnTo>
                <a:lnTo>
                  <a:pt x="1577" y="112"/>
                </a:lnTo>
                <a:lnTo>
                  <a:pt x="1583" y="113"/>
                </a:lnTo>
                <a:lnTo>
                  <a:pt x="1590" y="111"/>
                </a:lnTo>
                <a:lnTo>
                  <a:pt x="1597" y="108"/>
                </a:lnTo>
                <a:lnTo>
                  <a:pt x="1602" y="110"/>
                </a:lnTo>
                <a:lnTo>
                  <a:pt x="1608" y="112"/>
                </a:lnTo>
                <a:lnTo>
                  <a:pt x="1609" y="113"/>
                </a:lnTo>
                <a:lnTo>
                  <a:pt x="1612" y="113"/>
                </a:lnTo>
                <a:lnTo>
                  <a:pt x="1613" y="112"/>
                </a:lnTo>
                <a:lnTo>
                  <a:pt x="1615" y="111"/>
                </a:lnTo>
                <a:lnTo>
                  <a:pt x="1618" y="111"/>
                </a:lnTo>
                <a:lnTo>
                  <a:pt x="1621" y="112"/>
                </a:lnTo>
                <a:lnTo>
                  <a:pt x="1622" y="111"/>
                </a:lnTo>
                <a:lnTo>
                  <a:pt x="1623" y="106"/>
                </a:lnTo>
                <a:lnTo>
                  <a:pt x="1608" y="105"/>
                </a:lnTo>
                <a:lnTo>
                  <a:pt x="1595" y="104"/>
                </a:lnTo>
                <a:lnTo>
                  <a:pt x="1590" y="103"/>
                </a:lnTo>
                <a:lnTo>
                  <a:pt x="1587" y="101"/>
                </a:lnTo>
                <a:lnTo>
                  <a:pt x="1582" y="101"/>
                </a:lnTo>
                <a:lnTo>
                  <a:pt x="1579" y="99"/>
                </a:lnTo>
                <a:lnTo>
                  <a:pt x="1585" y="97"/>
                </a:lnTo>
                <a:lnTo>
                  <a:pt x="1590" y="95"/>
                </a:lnTo>
                <a:lnTo>
                  <a:pt x="1599" y="97"/>
                </a:lnTo>
                <a:lnTo>
                  <a:pt x="1607" y="99"/>
                </a:lnTo>
                <a:lnTo>
                  <a:pt x="1616" y="99"/>
                </a:lnTo>
                <a:lnTo>
                  <a:pt x="1625" y="101"/>
                </a:lnTo>
                <a:lnTo>
                  <a:pt x="1635" y="102"/>
                </a:lnTo>
                <a:lnTo>
                  <a:pt x="1645" y="104"/>
                </a:lnTo>
                <a:lnTo>
                  <a:pt x="1655" y="106"/>
                </a:lnTo>
                <a:lnTo>
                  <a:pt x="1664" y="107"/>
                </a:lnTo>
                <a:lnTo>
                  <a:pt x="1683" y="112"/>
                </a:lnTo>
                <a:lnTo>
                  <a:pt x="1703" y="116"/>
                </a:lnTo>
                <a:lnTo>
                  <a:pt x="1721" y="123"/>
                </a:lnTo>
                <a:lnTo>
                  <a:pt x="1740" y="129"/>
                </a:lnTo>
                <a:lnTo>
                  <a:pt x="1733" y="124"/>
                </a:lnTo>
                <a:lnTo>
                  <a:pt x="1725" y="120"/>
                </a:lnTo>
                <a:lnTo>
                  <a:pt x="1717" y="118"/>
                </a:lnTo>
                <a:lnTo>
                  <a:pt x="1709" y="114"/>
                </a:lnTo>
                <a:lnTo>
                  <a:pt x="1700" y="111"/>
                </a:lnTo>
                <a:lnTo>
                  <a:pt x="1691" y="107"/>
                </a:lnTo>
                <a:lnTo>
                  <a:pt x="1681" y="104"/>
                </a:lnTo>
                <a:lnTo>
                  <a:pt x="1672" y="101"/>
                </a:lnTo>
                <a:lnTo>
                  <a:pt x="1653" y="95"/>
                </a:lnTo>
                <a:lnTo>
                  <a:pt x="1632" y="89"/>
                </a:lnTo>
                <a:lnTo>
                  <a:pt x="1613" y="85"/>
                </a:lnTo>
                <a:lnTo>
                  <a:pt x="1593" y="80"/>
                </a:lnTo>
                <a:lnTo>
                  <a:pt x="1595" y="79"/>
                </a:lnTo>
                <a:lnTo>
                  <a:pt x="1596" y="78"/>
                </a:lnTo>
                <a:lnTo>
                  <a:pt x="1598" y="78"/>
                </a:lnTo>
                <a:lnTo>
                  <a:pt x="1600" y="78"/>
                </a:lnTo>
                <a:lnTo>
                  <a:pt x="1605" y="80"/>
                </a:lnTo>
                <a:lnTo>
                  <a:pt x="1608" y="80"/>
                </a:lnTo>
                <a:lnTo>
                  <a:pt x="1617" y="81"/>
                </a:lnTo>
                <a:lnTo>
                  <a:pt x="1625" y="82"/>
                </a:lnTo>
                <a:lnTo>
                  <a:pt x="1634" y="85"/>
                </a:lnTo>
                <a:lnTo>
                  <a:pt x="1643" y="85"/>
                </a:lnTo>
                <a:lnTo>
                  <a:pt x="1647" y="85"/>
                </a:lnTo>
                <a:lnTo>
                  <a:pt x="1649" y="85"/>
                </a:lnTo>
                <a:lnTo>
                  <a:pt x="1651" y="87"/>
                </a:lnTo>
                <a:lnTo>
                  <a:pt x="1655" y="89"/>
                </a:lnTo>
                <a:lnTo>
                  <a:pt x="1661" y="90"/>
                </a:lnTo>
                <a:lnTo>
                  <a:pt x="1667" y="91"/>
                </a:lnTo>
                <a:lnTo>
                  <a:pt x="1670" y="91"/>
                </a:lnTo>
                <a:lnTo>
                  <a:pt x="1672" y="93"/>
                </a:lnTo>
                <a:lnTo>
                  <a:pt x="1674" y="93"/>
                </a:lnTo>
                <a:lnTo>
                  <a:pt x="1676" y="91"/>
                </a:lnTo>
                <a:lnTo>
                  <a:pt x="1678" y="93"/>
                </a:lnTo>
                <a:lnTo>
                  <a:pt x="1680" y="95"/>
                </a:lnTo>
                <a:lnTo>
                  <a:pt x="1682" y="95"/>
                </a:lnTo>
                <a:lnTo>
                  <a:pt x="1684" y="95"/>
                </a:lnTo>
                <a:lnTo>
                  <a:pt x="1688" y="97"/>
                </a:lnTo>
                <a:lnTo>
                  <a:pt x="1691" y="99"/>
                </a:lnTo>
                <a:lnTo>
                  <a:pt x="1700" y="101"/>
                </a:lnTo>
                <a:lnTo>
                  <a:pt x="1709" y="102"/>
                </a:lnTo>
                <a:lnTo>
                  <a:pt x="1706" y="98"/>
                </a:lnTo>
                <a:lnTo>
                  <a:pt x="1703" y="96"/>
                </a:lnTo>
                <a:lnTo>
                  <a:pt x="1698" y="95"/>
                </a:lnTo>
                <a:lnTo>
                  <a:pt x="1695" y="93"/>
                </a:lnTo>
                <a:lnTo>
                  <a:pt x="1684" y="89"/>
                </a:lnTo>
                <a:lnTo>
                  <a:pt x="1674" y="86"/>
                </a:lnTo>
                <a:lnTo>
                  <a:pt x="1664" y="81"/>
                </a:lnTo>
                <a:lnTo>
                  <a:pt x="1653" y="78"/>
                </a:lnTo>
                <a:lnTo>
                  <a:pt x="1642" y="74"/>
                </a:lnTo>
                <a:lnTo>
                  <a:pt x="1631" y="71"/>
                </a:lnTo>
                <a:lnTo>
                  <a:pt x="1608" y="65"/>
                </a:lnTo>
                <a:lnTo>
                  <a:pt x="1585" y="61"/>
                </a:lnTo>
                <a:lnTo>
                  <a:pt x="1563" y="56"/>
                </a:lnTo>
                <a:lnTo>
                  <a:pt x="1540" y="52"/>
                </a:lnTo>
                <a:lnTo>
                  <a:pt x="1517" y="47"/>
                </a:lnTo>
                <a:lnTo>
                  <a:pt x="1493" y="43"/>
                </a:lnTo>
                <a:lnTo>
                  <a:pt x="1470" y="38"/>
                </a:lnTo>
                <a:lnTo>
                  <a:pt x="1448" y="35"/>
                </a:lnTo>
                <a:lnTo>
                  <a:pt x="1425" y="31"/>
                </a:lnTo>
                <a:lnTo>
                  <a:pt x="1402" y="27"/>
                </a:lnTo>
                <a:lnTo>
                  <a:pt x="1378" y="23"/>
                </a:lnTo>
                <a:lnTo>
                  <a:pt x="1355" y="20"/>
                </a:lnTo>
                <a:lnTo>
                  <a:pt x="1333" y="18"/>
                </a:lnTo>
                <a:lnTo>
                  <a:pt x="1310" y="14"/>
                </a:lnTo>
                <a:lnTo>
                  <a:pt x="1286" y="12"/>
                </a:lnTo>
                <a:lnTo>
                  <a:pt x="1263" y="10"/>
                </a:lnTo>
                <a:lnTo>
                  <a:pt x="1252" y="8"/>
                </a:lnTo>
                <a:lnTo>
                  <a:pt x="1241" y="6"/>
                </a:lnTo>
                <a:lnTo>
                  <a:pt x="1228" y="5"/>
                </a:lnTo>
                <a:lnTo>
                  <a:pt x="1217" y="5"/>
                </a:lnTo>
                <a:lnTo>
                  <a:pt x="1205" y="5"/>
                </a:lnTo>
                <a:lnTo>
                  <a:pt x="1194" y="5"/>
                </a:lnTo>
                <a:lnTo>
                  <a:pt x="1184" y="3"/>
                </a:lnTo>
                <a:lnTo>
                  <a:pt x="1175" y="0"/>
                </a:lnTo>
                <a:lnTo>
                  <a:pt x="1163" y="0"/>
                </a:lnTo>
                <a:lnTo>
                  <a:pt x="1152" y="2"/>
                </a:lnTo>
                <a:lnTo>
                  <a:pt x="1147" y="2"/>
                </a:lnTo>
                <a:lnTo>
                  <a:pt x="1142" y="2"/>
                </a:lnTo>
                <a:lnTo>
                  <a:pt x="1140" y="4"/>
                </a:lnTo>
                <a:lnTo>
                  <a:pt x="1139" y="6"/>
                </a:lnTo>
                <a:lnTo>
                  <a:pt x="1131" y="7"/>
                </a:lnTo>
                <a:lnTo>
                  <a:pt x="1122" y="6"/>
                </a:lnTo>
                <a:lnTo>
                  <a:pt x="1120" y="6"/>
                </a:lnTo>
                <a:lnTo>
                  <a:pt x="1115" y="6"/>
                </a:lnTo>
                <a:lnTo>
                  <a:pt x="1113" y="6"/>
                </a:lnTo>
                <a:lnTo>
                  <a:pt x="1112" y="7"/>
                </a:lnTo>
                <a:lnTo>
                  <a:pt x="1111" y="8"/>
                </a:lnTo>
                <a:lnTo>
                  <a:pt x="1112" y="10"/>
                </a:lnTo>
                <a:lnTo>
                  <a:pt x="1115" y="10"/>
                </a:lnTo>
                <a:lnTo>
                  <a:pt x="1118" y="10"/>
                </a:lnTo>
                <a:lnTo>
                  <a:pt x="1116" y="12"/>
                </a:lnTo>
                <a:lnTo>
                  <a:pt x="1115" y="13"/>
                </a:lnTo>
                <a:lnTo>
                  <a:pt x="1112" y="14"/>
                </a:lnTo>
                <a:lnTo>
                  <a:pt x="1110" y="15"/>
                </a:lnTo>
                <a:lnTo>
                  <a:pt x="1107" y="15"/>
                </a:lnTo>
                <a:lnTo>
                  <a:pt x="1104" y="13"/>
                </a:lnTo>
                <a:lnTo>
                  <a:pt x="1103" y="11"/>
                </a:lnTo>
                <a:lnTo>
                  <a:pt x="1103" y="8"/>
                </a:lnTo>
                <a:lnTo>
                  <a:pt x="1102" y="7"/>
                </a:lnTo>
                <a:lnTo>
                  <a:pt x="1099" y="7"/>
                </a:lnTo>
                <a:lnTo>
                  <a:pt x="1096" y="8"/>
                </a:lnTo>
                <a:lnTo>
                  <a:pt x="1093" y="10"/>
                </a:lnTo>
                <a:lnTo>
                  <a:pt x="1089" y="8"/>
                </a:lnTo>
                <a:lnTo>
                  <a:pt x="1086" y="7"/>
                </a:lnTo>
                <a:lnTo>
                  <a:pt x="1081" y="6"/>
                </a:lnTo>
                <a:lnTo>
                  <a:pt x="1077" y="7"/>
                </a:lnTo>
                <a:lnTo>
                  <a:pt x="1073" y="10"/>
                </a:lnTo>
                <a:lnTo>
                  <a:pt x="1070" y="12"/>
                </a:lnTo>
                <a:lnTo>
                  <a:pt x="1066" y="11"/>
                </a:lnTo>
                <a:lnTo>
                  <a:pt x="1063" y="7"/>
                </a:lnTo>
                <a:lnTo>
                  <a:pt x="1060" y="7"/>
                </a:lnTo>
                <a:lnTo>
                  <a:pt x="1056" y="8"/>
                </a:lnTo>
                <a:lnTo>
                  <a:pt x="1045" y="11"/>
                </a:lnTo>
                <a:lnTo>
                  <a:pt x="1035" y="12"/>
                </a:lnTo>
                <a:lnTo>
                  <a:pt x="1030" y="12"/>
                </a:lnTo>
                <a:lnTo>
                  <a:pt x="1025" y="12"/>
                </a:lnTo>
                <a:lnTo>
                  <a:pt x="1023" y="12"/>
                </a:lnTo>
                <a:lnTo>
                  <a:pt x="1021" y="13"/>
                </a:lnTo>
                <a:lnTo>
                  <a:pt x="1020" y="14"/>
                </a:lnTo>
                <a:lnTo>
                  <a:pt x="1019" y="16"/>
                </a:lnTo>
                <a:lnTo>
                  <a:pt x="1019" y="20"/>
                </a:lnTo>
                <a:lnTo>
                  <a:pt x="1020" y="21"/>
                </a:lnTo>
                <a:lnTo>
                  <a:pt x="1021" y="21"/>
                </a:lnTo>
                <a:lnTo>
                  <a:pt x="1024" y="21"/>
                </a:lnTo>
                <a:lnTo>
                  <a:pt x="1032" y="24"/>
                </a:lnTo>
                <a:lnTo>
                  <a:pt x="1041" y="28"/>
                </a:lnTo>
                <a:lnTo>
                  <a:pt x="1050" y="29"/>
                </a:lnTo>
                <a:lnTo>
                  <a:pt x="1057" y="28"/>
                </a:lnTo>
                <a:lnTo>
                  <a:pt x="1058" y="25"/>
                </a:lnTo>
                <a:lnTo>
                  <a:pt x="1062" y="22"/>
                </a:lnTo>
                <a:lnTo>
                  <a:pt x="1064" y="22"/>
                </a:lnTo>
                <a:lnTo>
                  <a:pt x="1066" y="22"/>
                </a:lnTo>
                <a:lnTo>
                  <a:pt x="1069" y="22"/>
                </a:lnTo>
                <a:lnTo>
                  <a:pt x="1071" y="24"/>
                </a:lnTo>
                <a:lnTo>
                  <a:pt x="1068" y="27"/>
                </a:lnTo>
                <a:lnTo>
                  <a:pt x="1063" y="29"/>
                </a:lnTo>
                <a:lnTo>
                  <a:pt x="1061" y="32"/>
                </a:lnTo>
                <a:lnTo>
                  <a:pt x="1058" y="35"/>
                </a:lnTo>
                <a:lnTo>
                  <a:pt x="1055" y="35"/>
                </a:lnTo>
                <a:lnTo>
                  <a:pt x="1052" y="35"/>
                </a:lnTo>
                <a:lnTo>
                  <a:pt x="1046" y="32"/>
                </a:lnTo>
                <a:lnTo>
                  <a:pt x="1040" y="32"/>
                </a:lnTo>
                <a:lnTo>
                  <a:pt x="1028" y="33"/>
                </a:lnTo>
                <a:lnTo>
                  <a:pt x="1015" y="35"/>
                </a:lnTo>
                <a:lnTo>
                  <a:pt x="1008" y="35"/>
                </a:lnTo>
                <a:lnTo>
                  <a:pt x="1003" y="35"/>
                </a:lnTo>
                <a:lnTo>
                  <a:pt x="996" y="33"/>
                </a:lnTo>
                <a:lnTo>
                  <a:pt x="990" y="31"/>
                </a:lnTo>
                <a:lnTo>
                  <a:pt x="987" y="30"/>
                </a:lnTo>
                <a:lnTo>
                  <a:pt x="986" y="30"/>
                </a:lnTo>
                <a:lnTo>
                  <a:pt x="983" y="31"/>
                </a:lnTo>
                <a:lnTo>
                  <a:pt x="981" y="31"/>
                </a:lnTo>
                <a:lnTo>
                  <a:pt x="974" y="32"/>
                </a:lnTo>
                <a:lnTo>
                  <a:pt x="969" y="31"/>
                </a:lnTo>
                <a:lnTo>
                  <a:pt x="955" y="31"/>
                </a:lnTo>
                <a:lnTo>
                  <a:pt x="940" y="30"/>
                </a:lnTo>
                <a:lnTo>
                  <a:pt x="926" y="30"/>
                </a:lnTo>
                <a:lnTo>
                  <a:pt x="912" y="29"/>
                </a:lnTo>
                <a:lnTo>
                  <a:pt x="898" y="29"/>
                </a:lnTo>
                <a:lnTo>
                  <a:pt x="884" y="29"/>
                </a:lnTo>
                <a:lnTo>
                  <a:pt x="855" y="30"/>
                </a:lnTo>
                <a:lnTo>
                  <a:pt x="826" y="30"/>
                </a:lnTo>
                <a:lnTo>
                  <a:pt x="797" y="30"/>
                </a:lnTo>
                <a:lnTo>
                  <a:pt x="768" y="31"/>
                </a:lnTo>
                <a:lnTo>
                  <a:pt x="740" y="32"/>
                </a:lnTo>
                <a:lnTo>
                  <a:pt x="710" y="35"/>
                </a:lnTo>
                <a:lnTo>
                  <a:pt x="682" y="36"/>
                </a:lnTo>
                <a:lnTo>
                  <a:pt x="653" y="38"/>
                </a:lnTo>
                <a:lnTo>
                  <a:pt x="637" y="40"/>
                </a:lnTo>
                <a:lnTo>
                  <a:pt x="623" y="43"/>
                </a:lnTo>
                <a:lnTo>
                  <a:pt x="615" y="44"/>
                </a:lnTo>
                <a:lnTo>
                  <a:pt x="607" y="45"/>
                </a:lnTo>
                <a:lnTo>
                  <a:pt x="599" y="46"/>
                </a:lnTo>
                <a:lnTo>
                  <a:pt x="591" y="47"/>
                </a:lnTo>
                <a:lnTo>
                  <a:pt x="590" y="46"/>
                </a:lnTo>
                <a:lnTo>
                  <a:pt x="587" y="45"/>
                </a:lnTo>
                <a:lnTo>
                  <a:pt x="585" y="46"/>
                </a:lnTo>
                <a:lnTo>
                  <a:pt x="583" y="47"/>
                </a:lnTo>
                <a:lnTo>
                  <a:pt x="577" y="48"/>
                </a:lnTo>
                <a:lnTo>
                  <a:pt x="572" y="48"/>
                </a:lnTo>
                <a:lnTo>
                  <a:pt x="561" y="48"/>
                </a:lnTo>
                <a:lnTo>
                  <a:pt x="552" y="50"/>
                </a:lnTo>
                <a:lnTo>
                  <a:pt x="541" y="53"/>
                </a:lnTo>
                <a:lnTo>
                  <a:pt x="530" y="54"/>
                </a:lnTo>
                <a:lnTo>
                  <a:pt x="520" y="55"/>
                </a:lnTo>
                <a:lnTo>
                  <a:pt x="509" y="57"/>
                </a:lnTo>
                <a:lnTo>
                  <a:pt x="498" y="58"/>
                </a:lnTo>
                <a:lnTo>
                  <a:pt x="488" y="61"/>
                </a:lnTo>
                <a:lnTo>
                  <a:pt x="478" y="62"/>
                </a:lnTo>
                <a:lnTo>
                  <a:pt x="468" y="64"/>
                </a:lnTo>
                <a:lnTo>
                  <a:pt x="456" y="65"/>
                </a:lnTo>
                <a:lnTo>
                  <a:pt x="445" y="66"/>
                </a:lnTo>
                <a:lnTo>
                  <a:pt x="432" y="69"/>
                </a:lnTo>
                <a:lnTo>
                  <a:pt x="421" y="70"/>
                </a:lnTo>
                <a:lnTo>
                  <a:pt x="412" y="72"/>
                </a:lnTo>
                <a:lnTo>
                  <a:pt x="404" y="74"/>
                </a:lnTo>
                <a:lnTo>
                  <a:pt x="396" y="78"/>
                </a:lnTo>
                <a:lnTo>
                  <a:pt x="389" y="82"/>
                </a:lnTo>
                <a:lnTo>
                  <a:pt x="382" y="88"/>
                </a:lnTo>
                <a:lnTo>
                  <a:pt x="378" y="95"/>
                </a:lnTo>
                <a:lnTo>
                  <a:pt x="377" y="98"/>
                </a:lnTo>
                <a:lnTo>
                  <a:pt x="376" y="103"/>
                </a:lnTo>
                <a:lnTo>
                  <a:pt x="376" y="106"/>
                </a:lnTo>
                <a:lnTo>
                  <a:pt x="377" y="111"/>
                </a:lnTo>
                <a:lnTo>
                  <a:pt x="378" y="118"/>
                </a:lnTo>
                <a:lnTo>
                  <a:pt x="380" y="126"/>
                </a:lnTo>
                <a:lnTo>
                  <a:pt x="382" y="128"/>
                </a:lnTo>
                <a:lnTo>
                  <a:pt x="385" y="130"/>
                </a:lnTo>
                <a:lnTo>
                  <a:pt x="387" y="133"/>
                </a:lnTo>
                <a:lnTo>
                  <a:pt x="387" y="137"/>
                </a:lnTo>
                <a:lnTo>
                  <a:pt x="385" y="139"/>
                </a:lnTo>
                <a:lnTo>
                  <a:pt x="382" y="141"/>
                </a:lnTo>
                <a:lnTo>
                  <a:pt x="380" y="145"/>
                </a:lnTo>
                <a:lnTo>
                  <a:pt x="379" y="148"/>
                </a:lnTo>
                <a:lnTo>
                  <a:pt x="382" y="155"/>
                </a:lnTo>
                <a:lnTo>
                  <a:pt x="386" y="162"/>
                </a:lnTo>
                <a:lnTo>
                  <a:pt x="386" y="165"/>
                </a:lnTo>
                <a:lnTo>
                  <a:pt x="387" y="168"/>
                </a:lnTo>
                <a:lnTo>
                  <a:pt x="388" y="170"/>
                </a:lnTo>
                <a:lnTo>
                  <a:pt x="390" y="172"/>
                </a:lnTo>
                <a:lnTo>
                  <a:pt x="394" y="173"/>
                </a:lnTo>
                <a:lnTo>
                  <a:pt x="397" y="174"/>
                </a:lnTo>
                <a:lnTo>
                  <a:pt x="399" y="176"/>
                </a:lnTo>
                <a:lnTo>
                  <a:pt x="401" y="179"/>
                </a:lnTo>
                <a:lnTo>
                  <a:pt x="396" y="179"/>
                </a:lnTo>
                <a:lnTo>
                  <a:pt x="392" y="180"/>
                </a:lnTo>
                <a:lnTo>
                  <a:pt x="390" y="185"/>
                </a:lnTo>
                <a:lnTo>
                  <a:pt x="390" y="190"/>
                </a:lnTo>
                <a:lnTo>
                  <a:pt x="387" y="194"/>
                </a:lnTo>
                <a:lnTo>
                  <a:pt x="382" y="196"/>
                </a:lnTo>
                <a:lnTo>
                  <a:pt x="377" y="198"/>
                </a:lnTo>
                <a:lnTo>
                  <a:pt x="371" y="201"/>
                </a:lnTo>
                <a:lnTo>
                  <a:pt x="354" y="207"/>
                </a:lnTo>
                <a:lnTo>
                  <a:pt x="337" y="213"/>
                </a:lnTo>
                <a:lnTo>
                  <a:pt x="331" y="214"/>
                </a:lnTo>
                <a:lnTo>
                  <a:pt x="325" y="216"/>
                </a:lnTo>
                <a:lnTo>
                  <a:pt x="325" y="218"/>
                </a:lnTo>
                <a:lnTo>
                  <a:pt x="325" y="219"/>
                </a:lnTo>
                <a:lnTo>
                  <a:pt x="323" y="219"/>
                </a:lnTo>
                <a:lnTo>
                  <a:pt x="322" y="220"/>
                </a:lnTo>
                <a:lnTo>
                  <a:pt x="318" y="220"/>
                </a:lnTo>
                <a:lnTo>
                  <a:pt x="313" y="221"/>
                </a:lnTo>
                <a:lnTo>
                  <a:pt x="297" y="229"/>
                </a:lnTo>
                <a:lnTo>
                  <a:pt x="280" y="237"/>
                </a:lnTo>
                <a:lnTo>
                  <a:pt x="262" y="245"/>
                </a:lnTo>
                <a:lnTo>
                  <a:pt x="245" y="253"/>
                </a:lnTo>
                <a:lnTo>
                  <a:pt x="229" y="262"/>
                </a:lnTo>
                <a:lnTo>
                  <a:pt x="214" y="270"/>
                </a:lnTo>
                <a:lnTo>
                  <a:pt x="199" y="277"/>
                </a:lnTo>
                <a:lnTo>
                  <a:pt x="186" y="282"/>
                </a:lnTo>
                <a:lnTo>
                  <a:pt x="171" y="293"/>
                </a:lnTo>
                <a:lnTo>
                  <a:pt x="155" y="303"/>
                </a:lnTo>
                <a:lnTo>
                  <a:pt x="140" y="313"/>
                </a:lnTo>
                <a:lnTo>
                  <a:pt x="124" y="323"/>
                </a:lnTo>
                <a:lnTo>
                  <a:pt x="109" y="334"/>
                </a:lnTo>
                <a:lnTo>
                  <a:pt x="96" y="345"/>
                </a:lnTo>
                <a:lnTo>
                  <a:pt x="81" y="354"/>
                </a:lnTo>
                <a:lnTo>
                  <a:pt x="67" y="364"/>
                </a:lnTo>
                <a:lnTo>
                  <a:pt x="55" y="373"/>
                </a:lnTo>
                <a:lnTo>
                  <a:pt x="43" y="384"/>
                </a:lnTo>
                <a:lnTo>
                  <a:pt x="39" y="389"/>
                </a:lnTo>
                <a:lnTo>
                  <a:pt x="34" y="395"/>
                </a:lnTo>
                <a:lnTo>
                  <a:pt x="28" y="398"/>
                </a:lnTo>
                <a:lnTo>
                  <a:pt x="22" y="401"/>
                </a:lnTo>
                <a:lnTo>
                  <a:pt x="15" y="404"/>
                </a:lnTo>
                <a:lnTo>
                  <a:pt x="9" y="410"/>
                </a:lnTo>
                <a:lnTo>
                  <a:pt x="3" y="415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0"/>
                </a:lnTo>
                <a:lnTo>
                  <a:pt x="3" y="433"/>
                </a:lnTo>
                <a:lnTo>
                  <a:pt x="8" y="437"/>
                </a:lnTo>
                <a:lnTo>
                  <a:pt x="14" y="439"/>
                </a:lnTo>
                <a:lnTo>
                  <a:pt x="22" y="440"/>
                </a:lnTo>
                <a:lnTo>
                  <a:pt x="30" y="443"/>
                </a:lnTo>
                <a:lnTo>
                  <a:pt x="38" y="447"/>
                </a:lnTo>
                <a:lnTo>
                  <a:pt x="44" y="453"/>
                </a:lnTo>
                <a:lnTo>
                  <a:pt x="50" y="458"/>
                </a:lnTo>
                <a:lnTo>
                  <a:pt x="58" y="463"/>
                </a:lnTo>
                <a:lnTo>
                  <a:pt x="63" y="464"/>
                </a:lnTo>
                <a:lnTo>
                  <a:pt x="66" y="465"/>
                </a:lnTo>
                <a:lnTo>
                  <a:pt x="71" y="465"/>
                </a:lnTo>
                <a:lnTo>
                  <a:pt x="74" y="464"/>
                </a:lnTo>
                <a:lnTo>
                  <a:pt x="80" y="460"/>
                </a:lnTo>
                <a:lnTo>
                  <a:pt x="85" y="456"/>
                </a:lnTo>
                <a:lnTo>
                  <a:pt x="94" y="455"/>
                </a:lnTo>
                <a:lnTo>
                  <a:pt x="104" y="454"/>
                </a:lnTo>
                <a:lnTo>
                  <a:pt x="113" y="451"/>
                </a:lnTo>
                <a:lnTo>
                  <a:pt x="121" y="447"/>
                </a:lnTo>
                <a:lnTo>
                  <a:pt x="130" y="444"/>
                </a:lnTo>
                <a:lnTo>
                  <a:pt x="138" y="440"/>
                </a:lnTo>
                <a:lnTo>
                  <a:pt x="138" y="439"/>
                </a:lnTo>
                <a:lnTo>
                  <a:pt x="138" y="440"/>
                </a:lnTo>
                <a:close/>
                <a:moveTo>
                  <a:pt x="269" y="402"/>
                </a:moveTo>
                <a:lnTo>
                  <a:pt x="270" y="402"/>
                </a:lnTo>
                <a:lnTo>
                  <a:pt x="271" y="402"/>
                </a:lnTo>
                <a:lnTo>
                  <a:pt x="270" y="402"/>
                </a:lnTo>
                <a:lnTo>
                  <a:pt x="269" y="402"/>
                </a:lnTo>
                <a:close/>
                <a:moveTo>
                  <a:pt x="294" y="393"/>
                </a:moveTo>
                <a:lnTo>
                  <a:pt x="292" y="393"/>
                </a:lnTo>
                <a:lnTo>
                  <a:pt x="290" y="394"/>
                </a:lnTo>
                <a:lnTo>
                  <a:pt x="294" y="393"/>
                </a:lnTo>
                <a:lnTo>
                  <a:pt x="297" y="390"/>
                </a:lnTo>
                <a:lnTo>
                  <a:pt x="296" y="392"/>
                </a:lnTo>
                <a:lnTo>
                  <a:pt x="294" y="393"/>
                </a:lnTo>
                <a:lnTo>
                  <a:pt x="294" y="393"/>
                </a:lnTo>
                <a:lnTo>
                  <a:pt x="294" y="393"/>
                </a:lnTo>
                <a:close/>
                <a:moveTo>
                  <a:pt x="1602" y="543"/>
                </a:moveTo>
                <a:lnTo>
                  <a:pt x="1600" y="542"/>
                </a:lnTo>
                <a:lnTo>
                  <a:pt x="1599" y="541"/>
                </a:lnTo>
                <a:lnTo>
                  <a:pt x="1605" y="544"/>
                </a:lnTo>
                <a:lnTo>
                  <a:pt x="1609" y="546"/>
                </a:lnTo>
                <a:lnTo>
                  <a:pt x="1615" y="547"/>
                </a:lnTo>
                <a:lnTo>
                  <a:pt x="1621" y="547"/>
                </a:lnTo>
                <a:lnTo>
                  <a:pt x="1617" y="548"/>
                </a:lnTo>
                <a:lnTo>
                  <a:pt x="1612" y="547"/>
                </a:lnTo>
                <a:lnTo>
                  <a:pt x="1606" y="545"/>
                </a:lnTo>
                <a:lnTo>
                  <a:pt x="1602" y="543"/>
                </a:lnTo>
                <a:lnTo>
                  <a:pt x="1604" y="544"/>
                </a:lnTo>
                <a:lnTo>
                  <a:pt x="1602" y="543"/>
                </a:lnTo>
                <a:close/>
                <a:moveTo>
                  <a:pt x="1541" y="514"/>
                </a:moveTo>
                <a:lnTo>
                  <a:pt x="1539" y="519"/>
                </a:lnTo>
                <a:lnTo>
                  <a:pt x="1539" y="525"/>
                </a:lnTo>
                <a:lnTo>
                  <a:pt x="1539" y="519"/>
                </a:lnTo>
                <a:lnTo>
                  <a:pt x="1541" y="514"/>
                </a:lnTo>
                <a:lnTo>
                  <a:pt x="1541" y="517"/>
                </a:lnTo>
                <a:lnTo>
                  <a:pt x="1541" y="514"/>
                </a:lnTo>
                <a:close/>
                <a:moveTo>
                  <a:pt x="1556" y="373"/>
                </a:moveTo>
                <a:lnTo>
                  <a:pt x="1556" y="373"/>
                </a:lnTo>
                <a:lnTo>
                  <a:pt x="1556" y="372"/>
                </a:lnTo>
                <a:lnTo>
                  <a:pt x="1557" y="373"/>
                </a:lnTo>
                <a:lnTo>
                  <a:pt x="1556" y="373"/>
                </a:lnTo>
                <a:lnTo>
                  <a:pt x="1556" y="373"/>
                </a:lnTo>
                <a:lnTo>
                  <a:pt x="1556" y="373"/>
                </a:lnTo>
                <a:close/>
                <a:moveTo>
                  <a:pt x="1550" y="368"/>
                </a:moveTo>
                <a:lnTo>
                  <a:pt x="1552" y="368"/>
                </a:lnTo>
                <a:lnTo>
                  <a:pt x="1555" y="369"/>
                </a:lnTo>
                <a:lnTo>
                  <a:pt x="1556" y="371"/>
                </a:lnTo>
                <a:lnTo>
                  <a:pt x="1555" y="372"/>
                </a:lnTo>
                <a:lnTo>
                  <a:pt x="1552" y="372"/>
                </a:lnTo>
                <a:lnTo>
                  <a:pt x="1550" y="371"/>
                </a:lnTo>
                <a:lnTo>
                  <a:pt x="1549" y="369"/>
                </a:lnTo>
                <a:lnTo>
                  <a:pt x="1550" y="368"/>
                </a:lnTo>
                <a:lnTo>
                  <a:pt x="1551" y="368"/>
                </a:lnTo>
                <a:lnTo>
                  <a:pt x="1550" y="368"/>
                </a:lnTo>
                <a:close/>
                <a:moveTo>
                  <a:pt x="1557" y="427"/>
                </a:moveTo>
                <a:lnTo>
                  <a:pt x="1561" y="428"/>
                </a:lnTo>
                <a:lnTo>
                  <a:pt x="1565" y="428"/>
                </a:lnTo>
                <a:lnTo>
                  <a:pt x="1563" y="430"/>
                </a:lnTo>
                <a:lnTo>
                  <a:pt x="1560" y="431"/>
                </a:lnTo>
                <a:lnTo>
                  <a:pt x="1559" y="431"/>
                </a:lnTo>
                <a:lnTo>
                  <a:pt x="1558" y="430"/>
                </a:lnTo>
                <a:lnTo>
                  <a:pt x="1557" y="429"/>
                </a:lnTo>
                <a:lnTo>
                  <a:pt x="1557" y="427"/>
                </a:lnTo>
                <a:lnTo>
                  <a:pt x="1557" y="428"/>
                </a:lnTo>
                <a:lnTo>
                  <a:pt x="1557" y="427"/>
                </a:lnTo>
                <a:close/>
                <a:moveTo>
                  <a:pt x="1550" y="438"/>
                </a:moveTo>
                <a:lnTo>
                  <a:pt x="1548" y="437"/>
                </a:lnTo>
                <a:lnTo>
                  <a:pt x="1544" y="436"/>
                </a:lnTo>
                <a:lnTo>
                  <a:pt x="1543" y="435"/>
                </a:lnTo>
                <a:lnTo>
                  <a:pt x="1543" y="435"/>
                </a:lnTo>
                <a:lnTo>
                  <a:pt x="1542" y="434"/>
                </a:lnTo>
                <a:lnTo>
                  <a:pt x="1543" y="433"/>
                </a:lnTo>
                <a:lnTo>
                  <a:pt x="1543" y="435"/>
                </a:lnTo>
                <a:lnTo>
                  <a:pt x="1546" y="436"/>
                </a:lnTo>
                <a:lnTo>
                  <a:pt x="1548" y="437"/>
                </a:lnTo>
                <a:lnTo>
                  <a:pt x="1550" y="438"/>
                </a:lnTo>
                <a:close/>
                <a:moveTo>
                  <a:pt x="1368" y="461"/>
                </a:moveTo>
                <a:lnTo>
                  <a:pt x="1368" y="461"/>
                </a:lnTo>
                <a:lnTo>
                  <a:pt x="1368" y="461"/>
                </a:lnTo>
                <a:close/>
                <a:moveTo>
                  <a:pt x="1360" y="443"/>
                </a:moveTo>
                <a:lnTo>
                  <a:pt x="1359" y="443"/>
                </a:lnTo>
                <a:lnTo>
                  <a:pt x="1358" y="442"/>
                </a:lnTo>
                <a:lnTo>
                  <a:pt x="1359" y="443"/>
                </a:lnTo>
                <a:lnTo>
                  <a:pt x="1360" y="443"/>
                </a:lnTo>
                <a:close/>
                <a:moveTo>
                  <a:pt x="1576" y="251"/>
                </a:moveTo>
                <a:lnTo>
                  <a:pt x="1572" y="252"/>
                </a:lnTo>
                <a:lnTo>
                  <a:pt x="1565" y="252"/>
                </a:lnTo>
                <a:lnTo>
                  <a:pt x="1557" y="252"/>
                </a:lnTo>
                <a:lnTo>
                  <a:pt x="1551" y="252"/>
                </a:lnTo>
                <a:lnTo>
                  <a:pt x="1557" y="251"/>
                </a:lnTo>
                <a:lnTo>
                  <a:pt x="1561" y="249"/>
                </a:lnTo>
                <a:lnTo>
                  <a:pt x="1554" y="247"/>
                </a:lnTo>
                <a:lnTo>
                  <a:pt x="1546" y="247"/>
                </a:lnTo>
                <a:lnTo>
                  <a:pt x="1554" y="247"/>
                </a:lnTo>
                <a:lnTo>
                  <a:pt x="1561" y="249"/>
                </a:lnTo>
                <a:lnTo>
                  <a:pt x="1569" y="249"/>
                </a:lnTo>
                <a:lnTo>
                  <a:pt x="1577" y="251"/>
                </a:lnTo>
                <a:lnTo>
                  <a:pt x="1576" y="251"/>
                </a:lnTo>
                <a:lnTo>
                  <a:pt x="1576" y="251"/>
                </a:lnTo>
                <a:close/>
                <a:moveTo>
                  <a:pt x="1681" y="279"/>
                </a:move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lnTo>
                  <a:pt x="1681" y="279"/>
                </a:lnTo>
                <a:close/>
                <a:moveTo>
                  <a:pt x="1653" y="282"/>
                </a:moveTo>
                <a:lnTo>
                  <a:pt x="1659" y="285"/>
                </a:lnTo>
                <a:lnTo>
                  <a:pt x="1668" y="286"/>
                </a:lnTo>
                <a:lnTo>
                  <a:pt x="1673" y="286"/>
                </a:lnTo>
                <a:lnTo>
                  <a:pt x="1676" y="285"/>
                </a:lnTo>
                <a:lnTo>
                  <a:pt x="1680" y="282"/>
                </a:lnTo>
                <a:lnTo>
                  <a:pt x="1681" y="279"/>
                </a:lnTo>
                <a:lnTo>
                  <a:pt x="1680" y="284"/>
                </a:lnTo>
                <a:lnTo>
                  <a:pt x="1679" y="287"/>
                </a:lnTo>
                <a:lnTo>
                  <a:pt x="1675" y="289"/>
                </a:lnTo>
                <a:lnTo>
                  <a:pt x="1672" y="290"/>
                </a:lnTo>
                <a:lnTo>
                  <a:pt x="1668" y="290"/>
                </a:lnTo>
                <a:lnTo>
                  <a:pt x="1665" y="292"/>
                </a:lnTo>
                <a:lnTo>
                  <a:pt x="1663" y="295"/>
                </a:lnTo>
                <a:lnTo>
                  <a:pt x="1662" y="298"/>
                </a:lnTo>
                <a:lnTo>
                  <a:pt x="1658" y="298"/>
                </a:lnTo>
                <a:lnTo>
                  <a:pt x="1655" y="298"/>
                </a:lnTo>
                <a:lnTo>
                  <a:pt x="1656" y="302"/>
                </a:lnTo>
                <a:lnTo>
                  <a:pt x="1658" y="304"/>
                </a:lnTo>
                <a:lnTo>
                  <a:pt x="1657" y="305"/>
                </a:lnTo>
                <a:lnTo>
                  <a:pt x="1656" y="306"/>
                </a:lnTo>
                <a:lnTo>
                  <a:pt x="1654" y="307"/>
                </a:lnTo>
                <a:lnTo>
                  <a:pt x="1653" y="306"/>
                </a:lnTo>
                <a:lnTo>
                  <a:pt x="1650" y="305"/>
                </a:lnTo>
                <a:lnTo>
                  <a:pt x="1648" y="305"/>
                </a:lnTo>
                <a:lnTo>
                  <a:pt x="1645" y="305"/>
                </a:lnTo>
                <a:lnTo>
                  <a:pt x="1642" y="306"/>
                </a:lnTo>
                <a:lnTo>
                  <a:pt x="1630" y="307"/>
                </a:lnTo>
                <a:lnTo>
                  <a:pt x="1618" y="307"/>
                </a:lnTo>
                <a:lnTo>
                  <a:pt x="1606" y="309"/>
                </a:lnTo>
                <a:lnTo>
                  <a:pt x="1592" y="309"/>
                </a:lnTo>
                <a:lnTo>
                  <a:pt x="1580" y="306"/>
                </a:lnTo>
                <a:lnTo>
                  <a:pt x="1567" y="305"/>
                </a:lnTo>
                <a:lnTo>
                  <a:pt x="1561" y="304"/>
                </a:lnTo>
                <a:lnTo>
                  <a:pt x="1555" y="305"/>
                </a:lnTo>
                <a:lnTo>
                  <a:pt x="1554" y="307"/>
                </a:lnTo>
                <a:lnTo>
                  <a:pt x="1552" y="309"/>
                </a:lnTo>
                <a:lnTo>
                  <a:pt x="1547" y="307"/>
                </a:lnTo>
                <a:lnTo>
                  <a:pt x="1541" y="305"/>
                </a:lnTo>
                <a:lnTo>
                  <a:pt x="1528" y="303"/>
                </a:lnTo>
                <a:lnTo>
                  <a:pt x="1515" y="303"/>
                </a:lnTo>
                <a:lnTo>
                  <a:pt x="1511" y="303"/>
                </a:lnTo>
                <a:lnTo>
                  <a:pt x="1506" y="304"/>
                </a:lnTo>
                <a:lnTo>
                  <a:pt x="1503" y="304"/>
                </a:lnTo>
                <a:lnTo>
                  <a:pt x="1502" y="303"/>
                </a:lnTo>
                <a:lnTo>
                  <a:pt x="1501" y="302"/>
                </a:lnTo>
                <a:lnTo>
                  <a:pt x="1501" y="299"/>
                </a:lnTo>
                <a:lnTo>
                  <a:pt x="1503" y="295"/>
                </a:lnTo>
                <a:lnTo>
                  <a:pt x="1507" y="292"/>
                </a:lnTo>
                <a:lnTo>
                  <a:pt x="1509" y="292"/>
                </a:lnTo>
                <a:lnTo>
                  <a:pt x="1509" y="294"/>
                </a:lnTo>
                <a:lnTo>
                  <a:pt x="1509" y="295"/>
                </a:lnTo>
                <a:lnTo>
                  <a:pt x="1510" y="297"/>
                </a:lnTo>
                <a:lnTo>
                  <a:pt x="1516" y="299"/>
                </a:lnTo>
                <a:lnTo>
                  <a:pt x="1522" y="301"/>
                </a:lnTo>
                <a:lnTo>
                  <a:pt x="1525" y="301"/>
                </a:lnTo>
                <a:lnTo>
                  <a:pt x="1526" y="299"/>
                </a:lnTo>
                <a:lnTo>
                  <a:pt x="1526" y="298"/>
                </a:lnTo>
                <a:lnTo>
                  <a:pt x="1524" y="297"/>
                </a:lnTo>
                <a:lnTo>
                  <a:pt x="1521" y="295"/>
                </a:lnTo>
                <a:lnTo>
                  <a:pt x="1517" y="292"/>
                </a:lnTo>
                <a:lnTo>
                  <a:pt x="1517" y="289"/>
                </a:lnTo>
                <a:lnTo>
                  <a:pt x="1519" y="286"/>
                </a:lnTo>
                <a:lnTo>
                  <a:pt x="1521" y="285"/>
                </a:lnTo>
                <a:lnTo>
                  <a:pt x="1523" y="285"/>
                </a:lnTo>
                <a:lnTo>
                  <a:pt x="1524" y="286"/>
                </a:lnTo>
                <a:lnTo>
                  <a:pt x="1525" y="287"/>
                </a:lnTo>
                <a:lnTo>
                  <a:pt x="1527" y="288"/>
                </a:lnTo>
                <a:lnTo>
                  <a:pt x="1528" y="288"/>
                </a:lnTo>
                <a:lnTo>
                  <a:pt x="1530" y="288"/>
                </a:lnTo>
                <a:lnTo>
                  <a:pt x="1532" y="287"/>
                </a:lnTo>
                <a:lnTo>
                  <a:pt x="1538" y="286"/>
                </a:lnTo>
                <a:lnTo>
                  <a:pt x="1543" y="286"/>
                </a:lnTo>
                <a:lnTo>
                  <a:pt x="1558" y="285"/>
                </a:lnTo>
                <a:lnTo>
                  <a:pt x="1573" y="284"/>
                </a:lnTo>
                <a:lnTo>
                  <a:pt x="1589" y="287"/>
                </a:lnTo>
                <a:lnTo>
                  <a:pt x="1605" y="289"/>
                </a:lnTo>
                <a:lnTo>
                  <a:pt x="1606" y="288"/>
                </a:lnTo>
                <a:lnTo>
                  <a:pt x="1608" y="288"/>
                </a:lnTo>
                <a:lnTo>
                  <a:pt x="1609" y="287"/>
                </a:lnTo>
                <a:lnTo>
                  <a:pt x="1609" y="285"/>
                </a:lnTo>
                <a:lnTo>
                  <a:pt x="1607" y="284"/>
                </a:lnTo>
                <a:lnTo>
                  <a:pt x="1604" y="285"/>
                </a:lnTo>
                <a:lnTo>
                  <a:pt x="1598" y="285"/>
                </a:lnTo>
                <a:lnTo>
                  <a:pt x="1592" y="282"/>
                </a:lnTo>
                <a:lnTo>
                  <a:pt x="1588" y="279"/>
                </a:lnTo>
                <a:lnTo>
                  <a:pt x="1583" y="276"/>
                </a:lnTo>
                <a:lnTo>
                  <a:pt x="1583" y="277"/>
                </a:lnTo>
                <a:lnTo>
                  <a:pt x="1583" y="276"/>
                </a:lnTo>
                <a:lnTo>
                  <a:pt x="1585" y="274"/>
                </a:lnTo>
                <a:lnTo>
                  <a:pt x="1587" y="274"/>
                </a:lnTo>
                <a:lnTo>
                  <a:pt x="1587" y="276"/>
                </a:lnTo>
                <a:lnTo>
                  <a:pt x="1587" y="277"/>
                </a:lnTo>
                <a:lnTo>
                  <a:pt x="1589" y="278"/>
                </a:lnTo>
                <a:lnTo>
                  <a:pt x="1591" y="277"/>
                </a:lnTo>
                <a:lnTo>
                  <a:pt x="1592" y="274"/>
                </a:lnTo>
                <a:lnTo>
                  <a:pt x="1591" y="273"/>
                </a:lnTo>
                <a:lnTo>
                  <a:pt x="1589" y="272"/>
                </a:lnTo>
                <a:lnTo>
                  <a:pt x="1587" y="272"/>
                </a:lnTo>
                <a:lnTo>
                  <a:pt x="1590" y="271"/>
                </a:lnTo>
                <a:lnTo>
                  <a:pt x="1595" y="270"/>
                </a:lnTo>
                <a:lnTo>
                  <a:pt x="1599" y="270"/>
                </a:lnTo>
                <a:lnTo>
                  <a:pt x="1602" y="271"/>
                </a:lnTo>
                <a:lnTo>
                  <a:pt x="1604" y="272"/>
                </a:lnTo>
                <a:lnTo>
                  <a:pt x="1602" y="273"/>
                </a:lnTo>
                <a:lnTo>
                  <a:pt x="1601" y="274"/>
                </a:lnTo>
                <a:lnTo>
                  <a:pt x="1599" y="274"/>
                </a:lnTo>
                <a:lnTo>
                  <a:pt x="1595" y="276"/>
                </a:lnTo>
                <a:lnTo>
                  <a:pt x="1592" y="276"/>
                </a:lnTo>
                <a:lnTo>
                  <a:pt x="1596" y="278"/>
                </a:lnTo>
                <a:lnTo>
                  <a:pt x="1599" y="279"/>
                </a:lnTo>
                <a:lnTo>
                  <a:pt x="1602" y="279"/>
                </a:lnTo>
                <a:lnTo>
                  <a:pt x="1606" y="279"/>
                </a:lnTo>
                <a:lnTo>
                  <a:pt x="1613" y="281"/>
                </a:lnTo>
                <a:lnTo>
                  <a:pt x="1620" y="285"/>
                </a:lnTo>
                <a:lnTo>
                  <a:pt x="1624" y="285"/>
                </a:lnTo>
                <a:lnTo>
                  <a:pt x="1628" y="285"/>
                </a:lnTo>
                <a:lnTo>
                  <a:pt x="1631" y="284"/>
                </a:lnTo>
                <a:lnTo>
                  <a:pt x="1634" y="282"/>
                </a:lnTo>
                <a:lnTo>
                  <a:pt x="1643" y="281"/>
                </a:lnTo>
                <a:lnTo>
                  <a:pt x="1653" y="282"/>
                </a:lnTo>
                <a:lnTo>
                  <a:pt x="1654" y="284"/>
                </a:lnTo>
                <a:lnTo>
                  <a:pt x="1653" y="282"/>
                </a:lnTo>
                <a:close/>
                <a:moveTo>
                  <a:pt x="1303" y="176"/>
                </a:moveTo>
                <a:lnTo>
                  <a:pt x="1305" y="174"/>
                </a:lnTo>
                <a:lnTo>
                  <a:pt x="1307" y="174"/>
                </a:lnTo>
                <a:lnTo>
                  <a:pt x="1309" y="176"/>
                </a:lnTo>
                <a:lnTo>
                  <a:pt x="1310" y="177"/>
                </a:lnTo>
                <a:lnTo>
                  <a:pt x="1312" y="179"/>
                </a:lnTo>
                <a:lnTo>
                  <a:pt x="1316" y="182"/>
                </a:lnTo>
                <a:lnTo>
                  <a:pt x="1317" y="178"/>
                </a:lnTo>
                <a:lnTo>
                  <a:pt x="1316" y="173"/>
                </a:lnTo>
                <a:lnTo>
                  <a:pt x="1325" y="174"/>
                </a:lnTo>
                <a:lnTo>
                  <a:pt x="1334" y="176"/>
                </a:lnTo>
                <a:lnTo>
                  <a:pt x="1340" y="180"/>
                </a:lnTo>
                <a:lnTo>
                  <a:pt x="1345" y="184"/>
                </a:lnTo>
                <a:lnTo>
                  <a:pt x="1354" y="182"/>
                </a:lnTo>
                <a:lnTo>
                  <a:pt x="1363" y="179"/>
                </a:lnTo>
                <a:lnTo>
                  <a:pt x="1368" y="178"/>
                </a:lnTo>
                <a:lnTo>
                  <a:pt x="1373" y="177"/>
                </a:lnTo>
                <a:lnTo>
                  <a:pt x="1377" y="177"/>
                </a:lnTo>
                <a:lnTo>
                  <a:pt x="1382" y="178"/>
                </a:lnTo>
                <a:lnTo>
                  <a:pt x="1392" y="182"/>
                </a:lnTo>
                <a:lnTo>
                  <a:pt x="1403" y="186"/>
                </a:lnTo>
                <a:lnTo>
                  <a:pt x="1416" y="187"/>
                </a:lnTo>
                <a:lnTo>
                  <a:pt x="1428" y="188"/>
                </a:lnTo>
                <a:lnTo>
                  <a:pt x="1433" y="188"/>
                </a:lnTo>
                <a:lnTo>
                  <a:pt x="1436" y="189"/>
                </a:lnTo>
                <a:lnTo>
                  <a:pt x="1441" y="190"/>
                </a:lnTo>
                <a:lnTo>
                  <a:pt x="1444" y="194"/>
                </a:lnTo>
                <a:lnTo>
                  <a:pt x="1448" y="195"/>
                </a:lnTo>
                <a:lnTo>
                  <a:pt x="1451" y="197"/>
                </a:lnTo>
                <a:lnTo>
                  <a:pt x="1452" y="199"/>
                </a:lnTo>
                <a:lnTo>
                  <a:pt x="1450" y="204"/>
                </a:lnTo>
                <a:lnTo>
                  <a:pt x="1475" y="205"/>
                </a:lnTo>
                <a:lnTo>
                  <a:pt x="1500" y="207"/>
                </a:lnTo>
                <a:lnTo>
                  <a:pt x="1525" y="209"/>
                </a:lnTo>
                <a:lnTo>
                  <a:pt x="1550" y="211"/>
                </a:lnTo>
                <a:lnTo>
                  <a:pt x="1563" y="211"/>
                </a:lnTo>
                <a:lnTo>
                  <a:pt x="1574" y="213"/>
                </a:lnTo>
                <a:lnTo>
                  <a:pt x="1574" y="214"/>
                </a:lnTo>
                <a:lnTo>
                  <a:pt x="1574" y="214"/>
                </a:lnTo>
                <a:lnTo>
                  <a:pt x="1573" y="215"/>
                </a:lnTo>
                <a:lnTo>
                  <a:pt x="1572" y="215"/>
                </a:lnTo>
                <a:lnTo>
                  <a:pt x="1568" y="215"/>
                </a:lnTo>
                <a:lnTo>
                  <a:pt x="1567" y="214"/>
                </a:lnTo>
                <a:lnTo>
                  <a:pt x="1563" y="215"/>
                </a:lnTo>
                <a:lnTo>
                  <a:pt x="1558" y="216"/>
                </a:lnTo>
                <a:lnTo>
                  <a:pt x="1556" y="218"/>
                </a:lnTo>
                <a:lnTo>
                  <a:pt x="1555" y="218"/>
                </a:lnTo>
                <a:lnTo>
                  <a:pt x="1555" y="218"/>
                </a:lnTo>
                <a:lnTo>
                  <a:pt x="1552" y="216"/>
                </a:lnTo>
                <a:lnTo>
                  <a:pt x="1550" y="214"/>
                </a:lnTo>
                <a:lnTo>
                  <a:pt x="1548" y="214"/>
                </a:lnTo>
                <a:lnTo>
                  <a:pt x="1546" y="214"/>
                </a:lnTo>
                <a:lnTo>
                  <a:pt x="1544" y="215"/>
                </a:lnTo>
                <a:lnTo>
                  <a:pt x="1543" y="216"/>
                </a:lnTo>
                <a:lnTo>
                  <a:pt x="1542" y="219"/>
                </a:lnTo>
                <a:lnTo>
                  <a:pt x="1542" y="220"/>
                </a:lnTo>
                <a:lnTo>
                  <a:pt x="1543" y="222"/>
                </a:lnTo>
                <a:lnTo>
                  <a:pt x="1544" y="223"/>
                </a:lnTo>
                <a:lnTo>
                  <a:pt x="1547" y="224"/>
                </a:lnTo>
                <a:lnTo>
                  <a:pt x="1549" y="224"/>
                </a:lnTo>
                <a:lnTo>
                  <a:pt x="1552" y="222"/>
                </a:lnTo>
                <a:lnTo>
                  <a:pt x="1555" y="221"/>
                </a:lnTo>
                <a:lnTo>
                  <a:pt x="1558" y="221"/>
                </a:lnTo>
                <a:lnTo>
                  <a:pt x="1561" y="221"/>
                </a:lnTo>
                <a:lnTo>
                  <a:pt x="1564" y="220"/>
                </a:lnTo>
                <a:lnTo>
                  <a:pt x="1565" y="219"/>
                </a:lnTo>
                <a:lnTo>
                  <a:pt x="1567" y="219"/>
                </a:lnTo>
                <a:lnTo>
                  <a:pt x="1568" y="220"/>
                </a:lnTo>
                <a:lnTo>
                  <a:pt x="1569" y="222"/>
                </a:lnTo>
                <a:lnTo>
                  <a:pt x="1573" y="224"/>
                </a:lnTo>
                <a:lnTo>
                  <a:pt x="1576" y="224"/>
                </a:lnTo>
                <a:lnTo>
                  <a:pt x="1580" y="224"/>
                </a:lnTo>
                <a:lnTo>
                  <a:pt x="1583" y="224"/>
                </a:lnTo>
                <a:lnTo>
                  <a:pt x="1596" y="224"/>
                </a:lnTo>
                <a:lnTo>
                  <a:pt x="1606" y="227"/>
                </a:lnTo>
                <a:lnTo>
                  <a:pt x="1609" y="228"/>
                </a:lnTo>
                <a:lnTo>
                  <a:pt x="1612" y="229"/>
                </a:lnTo>
                <a:lnTo>
                  <a:pt x="1614" y="231"/>
                </a:lnTo>
                <a:lnTo>
                  <a:pt x="1615" y="234"/>
                </a:lnTo>
                <a:lnTo>
                  <a:pt x="1618" y="234"/>
                </a:lnTo>
                <a:lnTo>
                  <a:pt x="1622" y="234"/>
                </a:lnTo>
                <a:lnTo>
                  <a:pt x="1623" y="234"/>
                </a:lnTo>
                <a:lnTo>
                  <a:pt x="1625" y="234"/>
                </a:lnTo>
                <a:lnTo>
                  <a:pt x="1626" y="234"/>
                </a:lnTo>
                <a:lnTo>
                  <a:pt x="1626" y="236"/>
                </a:lnTo>
                <a:lnTo>
                  <a:pt x="1626" y="238"/>
                </a:lnTo>
                <a:lnTo>
                  <a:pt x="1623" y="239"/>
                </a:lnTo>
                <a:lnTo>
                  <a:pt x="1618" y="240"/>
                </a:lnTo>
                <a:lnTo>
                  <a:pt x="1613" y="242"/>
                </a:lnTo>
                <a:lnTo>
                  <a:pt x="1601" y="240"/>
                </a:lnTo>
                <a:lnTo>
                  <a:pt x="1593" y="239"/>
                </a:lnTo>
                <a:lnTo>
                  <a:pt x="1589" y="238"/>
                </a:lnTo>
                <a:lnTo>
                  <a:pt x="1584" y="239"/>
                </a:lnTo>
                <a:lnTo>
                  <a:pt x="1581" y="240"/>
                </a:lnTo>
                <a:lnTo>
                  <a:pt x="1577" y="240"/>
                </a:lnTo>
                <a:lnTo>
                  <a:pt x="1574" y="240"/>
                </a:lnTo>
                <a:lnTo>
                  <a:pt x="1572" y="237"/>
                </a:lnTo>
                <a:lnTo>
                  <a:pt x="1569" y="236"/>
                </a:lnTo>
                <a:lnTo>
                  <a:pt x="1568" y="236"/>
                </a:lnTo>
                <a:lnTo>
                  <a:pt x="1567" y="236"/>
                </a:lnTo>
                <a:lnTo>
                  <a:pt x="1565" y="237"/>
                </a:lnTo>
                <a:lnTo>
                  <a:pt x="1560" y="238"/>
                </a:lnTo>
                <a:lnTo>
                  <a:pt x="1556" y="238"/>
                </a:lnTo>
                <a:lnTo>
                  <a:pt x="1554" y="237"/>
                </a:lnTo>
                <a:lnTo>
                  <a:pt x="1552" y="234"/>
                </a:lnTo>
                <a:lnTo>
                  <a:pt x="1550" y="231"/>
                </a:lnTo>
                <a:lnTo>
                  <a:pt x="1548" y="231"/>
                </a:lnTo>
                <a:lnTo>
                  <a:pt x="1546" y="232"/>
                </a:lnTo>
                <a:lnTo>
                  <a:pt x="1542" y="234"/>
                </a:lnTo>
                <a:lnTo>
                  <a:pt x="1547" y="236"/>
                </a:lnTo>
                <a:lnTo>
                  <a:pt x="1550" y="239"/>
                </a:lnTo>
                <a:lnTo>
                  <a:pt x="1541" y="238"/>
                </a:lnTo>
                <a:lnTo>
                  <a:pt x="1533" y="237"/>
                </a:lnTo>
                <a:lnTo>
                  <a:pt x="1525" y="237"/>
                </a:lnTo>
                <a:lnTo>
                  <a:pt x="1517" y="236"/>
                </a:lnTo>
                <a:lnTo>
                  <a:pt x="1508" y="236"/>
                </a:lnTo>
                <a:lnTo>
                  <a:pt x="1499" y="236"/>
                </a:lnTo>
                <a:lnTo>
                  <a:pt x="1490" y="235"/>
                </a:lnTo>
                <a:lnTo>
                  <a:pt x="1481" y="234"/>
                </a:lnTo>
                <a:lnTo>
                  <a:pt x="1475" y="234"/>
                </a:lnTo>
                <a:lnTo>
                  <a:pt x="1469" y="234"/>
                </a:lnTo>
                <a:lnTo>
                  <a:pt x="1469" y="230"/>
                </a:lnTo>
                <a:lnTo>
                  <a:pt x="1468" y="229"/>
                </a:lnTo>
                <a:lnTo>
                  <a:pt x="1465" y="228"/>
                </a:lnTo>
                <a:lnTo>
                  <a:pt x="1461" y="228"/>
                </a:lnTo>
                <a:lnTo>
                  <a:pt x="1453" y="226"/>
                </a:lnTo>
                <a:lnTo>
                  <a:pt x="1445" y="226"/>
                </a:lnTo>
                <a:lnTo>
                  <a:pt x="1441" y="228"/>
                </a:lnTo>
                <a:lnTo>
                  <a:pt x="1435" y="231"/>
                </a:lnTo>
                <a:lnTo>
                  <a:pt x="1429" y="231"/>
                </a:lnTo>
                <a:lnTo>
                  <a:pt x="1423" y="230"/>
                </a:lnTo>
                <a:lnTo>
                  <a:pt x="1417" y="230"/>
                </a:lnTo>
                <a:lnTo>
                  <a:pt x="1410" y="229"/>
                </a:lnTo>
                <a:lnTo>
                  <a:pt x="1408" y="228"/>
                </a:lnTo>
                <a:lnTo>
                  <a:pt x="1406" y="227"/>
                </a:lnTo>
                <a:lnTo>
                  <a:pt x="1404" y="226"/>
                </a:lnTo>
                <a:lnTo>
                  <a:pt x="1403" y="222"/>
                </a:lnTo>
                <a:lnTo>
                  <a:pt x="1403" y="220"/>
                </a:lnTo>
                <a:lnTo>
                  <a:pt x="1406" y="218"/>
                </a:lnTo>
                <a:lnTo>
                  <a:pt x="1407" y="216"/>
                </a:lnTo>
                <a:lnTo>
                  <a:pt x="1409" y="214"/>
                </a:lnTo>
                <a:lnTo>
                  <a:pt x="1410" y="212"/>
                </a:lnTo>
                <a:lnTo>
                  <a:pt x="1409" y="211"/>
                </a:lnTo>
                <a:lnTo>
                  <a:pt x="1408" y="211"/>
                </a:lnTo>
                <a:lnTo>
                  <a:pt x="1406" y="210"/>
                </a:lnTo>
                <a:lnTo>
                  <a:pt x="1401" y="207"/>
                </a:lnTo>
                <a:lnTo>
                  <a:pt x="1398" y="204"/>
                </a:lnTo>
                <a:lnTo>
                  <a:pt x="1386" y="201"/>
                </a:lnTo>
                <a:lnTo>
                  <a:pt x="1375" y="197"/>
                </a:lnTo>
                <a:lnTo>
                  <a:pt x="1381" y="195"/>
                </a:lnTo>
                <a:lnTo>
                  <a:pt x="1386" y="195"/>
                </a:lnTo>
                <a:lnTo>
                  <a:pt x="1393" y="196"/>
                </a:lnTo>
                <a:lnTo>
                  <a:pt x="1399" y="197"/>
                </a:lnTo>
                <a:lnTo>
                  <a:pt x="1401" y="197"/>
                </a:lnTo>
                <a:lnTo>
                  <a:pt x="1403" y="197"/>
                </a:lnTo>
                <a:lnTo>
                  <a:pt x="1404" y="195"/>
                </a:lnTo>
                <a:lnTo>
                  <a:pt x="1404" y="194"/>
                </a:lnTo>
                <a:lnTo>
                  <a:pt x="1403" y="193"/>
                </a:lnTo>
                <a:lnTo>
                  <a:pt x="1402" y="191"/>
                </a:lnTo>
                <a:lnTo>
                  <a:pt x="1391" y="189"/>
                </a:lnTo>
                <a:lnTo>
                  <a:pt x="1378" y="188"/>
                </a:lnTo>
                <a:lnTo>
                  <a:pt x="1374" y="188"/>
                </a:lnTo>
                <a:lnTo>
                  <a:pt x="1369" y="189"/>
                </a:lnTo>
                <a:lnTo>
                  <a:pt x="1365" y="193"/>
                </a:lnTo>
                <a:lnTo>
                  <a:pt x="1361" y="195"/>
                </a:lnTo>
                <a:lnTo>
                  <a:pt x="1355" y="195"/>
                </a:lnTo>
                <a:lnTo>
                  <a:pt x="1351" y="193"/>
                </a:lnTo>
                <a:lnTo>
                  <a:pt x="1345" y="191"/>
                </a:lnTo>
                <a:lnTo>
                  <a:pt x="1340" y="191"/>
                </a:lnTo>
                <a:lnTo>
                  <a:pt x="1333" y="190"/>
                </a:lnTo>
                <a:lnTo>
                  <a:pt x="1327" y="189"/>
                </a:lnTo>
                <a:lnTo>
                  <a:pt x="1322" y="190"/>
                </a:lnTo>
                <a:lnTo>
                  <a:pt x="1318" y="190"/>
                </a:lnTo>
                <a:lnTo>
                  <a:pt x="1316" y="188"/>
                </a:lnTo>
                <a:lnTo>
                  <a:pt x="1312" y="186"/>
                </a:lnTo>
                <a:lnTo>
                  <a:pt x="1310" y="186"/>
                </a:lnTo>
                <a:lnTo>
                  <a:pt x="1308" y="188"/>
                </a:lnTo>
                <a:lnTo>
                  <a:pt x="1305" y="188"/>
                </a:lnTo>
                <a:lnTo>
                  <a:pt x="1304" y="187"/>
                </a:lnTo>
                <a:lnTo>
                  <a:pt x="1303" y="185"/>
                </a:lnTo>
                <a:lnTo>
                  <a:pt x="1302" y="182"/>
                </a:lnTo>
                <a:lnTo>
                  <a:pt x="1302" y="178"/>
                </a:lnTo>
                <a:lnTo>
                  <a:pt x="1303" y="176"/>
                </a:lnTo>
                <a:lnTo>
                  <a:pt x="1303" y="176"/>
                </a:lnTo>
                <a:lnTo>
                  <a:pt x="1303" y="176"/>
                </a:lnTo>
                <a:close/>
                <a:moveTo>
                  <a:pt x="750" y="340"/>
                </a:moveTo>
                <a:lnTo>
                  <a:pt x="751" y="340"/>
                </a:lnTo>
                <a:lnTo>
                  <a:pt x="751" y="342"/>
                </a:lnTo>
                <a:lnTo>
                  <a:pt x="751" y="340"/>
                </a:lnTo>
                <a:lnTo>
                  <a:pt x="750" y="340"/>
                </a:lnTo>
                <a:close/>
                <a:moveTo>
                  <a:pt x="714" y="610"/>
                </a:moveTo>
                <a:lnTo>
                  <a:pt x="710" y="610"/>
                </a:lnTo>
                <a:lnTo>
                  <a:pt x="707" y="609"/>
                </a:lnTo>
                <a:lnTo>
                  <a:pt x="709" y="609"/>
                </a:lnTo>
                <a:lnTo>
                  <a:pt x="714" y="609"/>
                </a:lnTo>
                <a:lnTo>
                  <a:pt x="718" y="608"/>
                </a:lnTo>
                <a:lnTo>
                  <a:pt x="722" y="608"/>
                </a:lnTo>
                <a:lnTo>
                  <a:pt x="732" y="605"/>
                </a:lnTo>
                <a:lnTo>
                  <a:pt x="741" y="604"/>
                </a:lnTo>
                <a:lnTo>
                  <a:pt x="739" y="604"/>
                </a:lnTo>
                <a:lnTo>
                  <a:pt x="737" y="605"/>
                </a:lnTo>
                <a:lnTo>
                  <a:pt x="742" y="606"/>
                </a:lnTo>
                <a:lnTo>
                  <a:pt x="747" y="606"/>
                </a:lnTo>
                <a:lnTo>
                  <a:pt x="743" y="609"/>
                </a:lnTo>
                <a:lnTo>
                  <a:pt x="740" y="610"/>
                </a:lnTo>
                <a:lnTo>
                  <a:pt x="736" y="609"/>
                </a:lnTo>
                <a:lnTo>
                  <a:pt x="733" y="609"/>
                </a:lnTo>
                <a:lnTo>
                  <a:pt x="726" y="609"/>
                </a:lnTo>
                <a:lnTo>
                  <a:pt x="720" y="611"/>
                </a:lnTo>
                <a:lnTo>
                  <a:pt x="717" y="610"/>
                </a:lnTo>
                <a:lnTo>
                  <a:pt x="714" y="610"/>
                </a:lnTo>
                <a:close/>
                <a:moveTo>
                  <a:pt x="718" y="613"/>
                </a:moveTo>
                <a:lnTo>
                  <a:pt x="719" y="613"/>
                </a:lnTo>
                <a:lnTo>
                  <a:pt x="719" y="613"/>
                </a:lnTo>
                <a:lnTo>
                  <a:pt x="719" y="613"/>
                </a:lnTo>
                <a:lnTo>
                  <a:pt x="718" y="613"/>
                </a:lnTo>
                <a:close/>
                <a:moveTo>
                  <a:pt x="720" y="612"/>
                </a:moveTo>
                <a:lnTo>
                  <a:pt x="720" y="612"/>
                </a:lnTo>
                <a:lnTo>
                  <a:pt x="720" y="611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lnTo>
                  <a:pt x="720" y="612"/>
                </a:lnTo>
                <a:close/>
                <a:moveTo>
                  <a:pt x="330" y="272"/>
                </a:moveTo>
                <a:lnTo>
                  <a:pt x="328" y="271"/>
                </a:lnTo>
                <a:lnTo>
                  <a:pt x="325" y="271"/>
                </a:lnTo>
                <a:lnTo>
                  <a:pt x="329" y="270"/>
                </a:lnTo>
                <a:lnTo>
                  <a:pt x="332" y="270"/>
                </a:lnTo>
                <a:lnTo>
                  <a:pt x="332" y="272"/>
                </a:lnTo>
                <a:lnTo>
                  <a:pt x="330" y="272"/>
                </a:lnTo>
                <a:lnTo>
                  <a:pt x="330" y="272"/>
                </a:lnTo>
                <a:lnTo>
                  <a:pt x="330" y="272"/>
                </a:lnTo>
                <a:close/>
                <a:moveTo>
                  <a:pt x="338" y="270"/>
                </a:moveTo>
                <a:lnTo>
                  <a:pt x="335" y="270"/>
                </a:lnTo>
                <a:lnTo>
                  <a:pt x="335" y="269"/>
                </a:lnTo>
                <a:lnTo>
                  <a:pt x="337" y="269"/>
                </a:lnTo>
                <a:lnTo>
                  <a:pt x="340" y="270"/>
                </a:lnTo>
                <a:lnTo>
                  <a:pt x="339" y="270"/>
                </a:lnTo>
                <a:lnTo>
                  <a:pt x="338" y="270"/>
                </a:lnTo>
                <a:lnTo>
                  <a:pt x="337" y="270"/>
                </a:lnTo>
                <a:lnTo>
                  <a:pt x="338" y="270"/>
                </a:lnTo>
                <a:close/>
                <a:moveTo>
                  <a:pt x="478" y="556"/>
                </a:moveTo>
                <a:lnTo>
                  <a:pt x="479" y="556"/>
                </a:lnTo>
                <a:lnTo>
                  <a:pt x="479" y="556"/>
                </a:lnTo>
                <a:lnTo>
                  <a:pt x="479" y="556"/>
                </a:lnTo>
                <a:lnTo>
                  <a:pt x="478" y="556"/>
                </a:lnTo>
                <a:close/>
                <a:moveTo>
                  <a:pt x="425" y="186"/>
                </a:moveTo>
                <a:lnTo>
                  <a:pt x="421" y="186"/>
                </a:lnTo>
                <a:lnTo>
                  <a:pt x="418" y="185"/>
                </a:lnTo>
                <a:lnTo>
                  <a:pt x="421" y="186"/>
                </a:lnTo>
                <a:lnTo>
                  <a:pt x="425" y="186"/>
                </a:lnTo>
                <a:lnTo>
                  <a:pt x="421" y="182"/>
                </a:lnTo>
                <a:lnTo>
                  <a:pt x="418" y="180"/>
                </a:lnTo>
                <a:lnTo>
                  <a:pt x="413" y="179"/>
                </a:lnTo>
                <a:lnTo>
                  <a:pt x="410" y="177"/>
                </a:lnTo>
                <a:lnTo>
                  <a:pt x="409" y="176"/>
                </a:lnTo>
                <a:lnTo>
                  <a:pt x="409" y="174"/>
                </a:lnTo>
                <a:lnTo>
                  <a:pt x="409" y="173"/>
                </a:lnTo>
                <a:lnTo>
                  <a:pt x="410" y="171"/>
                </a:lnTo>
                <a:lnTo>
                  <a:pt x="411" y="171"/>
                </a:lnTo>
                <a:lnTo>
                  <a:pt x="411" y="169"/>
                </a:lnTo>
                <a:lnTo>
                  <a:pt x="410" y="166"/>
                </a:lnTo>
                <a:lnTo>
                  <a:pt x="409" y="165"/>
                </a:lnTo>
                <a:lnTo>
                  <a:pt x="410" y="168"/>
                </a:lnTo>
                <a:lnTo>
                  <a:pt x="411" y="170"/>
                </a:lnTo>
                <a:lnTo>
                  <a:pt x="415" y="172"/>
                </a:lnTo>
                <a:lnTo>
                  <a:pt x="419" y="173"/>
                </a:lnTo>
                <a:lnTo>
                  <a:pt x="426" y="173"/>
                </a:lnTo>
                <a:lnTo>
                  <a:pt x="432" y="176"/>
                </a:lnTo>
                <a:lnTo>
                  <a:pt x="435" y="178"/>
                </a:lnTo>
                <a:lnTo>
                  <a:pt x="436" y="180"/>
                </a:lnTo>
                <a:lnTo>
                  <a:pt x="436" y="181"/>
                </a:lnTo>
                <a:lnTo>
                  <a:pt x="435" y="184"/>
                </a:lnTo>
                <a:lnTo>
                  <a:pt x="430" y="185"/>
                </a:lnTo>
                <a:lnTo>
                  <a:pt x="425" y="186"/>
                </a:lnTo>
                <a:lnTo>
                  <a:pt x="426" y="186"/>
                </a:lnTo>
                <a:lnTo>
                  <a:pt x="425" y="186"/>
                </a:lnTo>
                <a:close/>
                <a:moveTo>
                  <a:pt x="460" y="154"/>
                </a:moveTo>
                <a:lnTo>
                  <a:pt x="458" y="154"/>
                </a:lnTo>
                <a:lnTo>
                  <a:pt x="455" y="153"/>
                </a:lnTo>
                <a:lnTo>
                  <a:pt x="452" y="152"/>
                </a:lnTo>
                <a:lnTo>
                  <a:pt x="450" y="149"/>
                </a:lnTo>
                <a:lnTo>
                  <a:pt x="453" y="152"/>
                </a:lnTo>
                <a:lnTo>
                  <a:pt x="456" y="153"/>
                </a:lnTo>
                <a:lnTo>
                  <a:pt x="460" y="154"/>
                </a:lnTo>
                <a:lnTo>
                  <a:pt x="463" y="153"/>
                </a:lnTo>
                <a:lnTo>
                  <a:pt x="467" y="152"/>
                </a:lnTo>
                <a:lnTo>
                  <a:pt x="470" y="149"/>
                </a:lnTo>
                <a:lnTo>
                  <a:pt x="472" y="147"/>
                </a:lnTo>
                <a:lnTo>
                  <a:pt x="475" y="145"/>
                </a:lnTo>
                <a:lnTo>
                  <a:pt x="472" y="148"/>
                </a:lnTo>
                <a:lnTo>
                  <a:pt x="469" y="151"/>
                </a:lnTo>
                <a:lnTo>
                  <a:pt x="464" y="153"/>
                </a:lnTo>
                <a:lnTo>
                  <a:pt x="460" y="154"/>
                </a:lnTo>
                <a:lnTo>
                  <a:pt x="461" y="154"/>
                </a:lnTo>
                <a:lnTo>
                  <a:pt x="460" y="154"/>
                </a:lnTo>
                <a:close/>
                <a:moveTo>
                  <a:pt x="476" y="141"/>
                </a:moveTo>
                <a:lnTo>
                  <a:pt x="475" y="143"/>
                </a:lnTo>
                <a:lnTo>
                  <a:pt x="475" y="144"/>
                </a:lnTo>
                <a:lnTo>
                  <a:pt x="475" y="143"/>
                </a:lnTo>
                <a:lnTo>
                  <a:pt x="476" y="141"/>
                </a:lnTo>
                <a:close/>
                <a:moveTo>
                  <a:pt x="469" y="568"/>
                </a:moveTo>
                <a:lnTo>
                  <a:pt x="470" y="564"/>
                </a:lnTo>
                <a:lnTo>
                  <a:pt x="471" y="561"/>
                </a:lnTo>
                <a:lnTo>
                  <a:pt x="473" y="559"/>
                </a:lnTo>
                <a:lnTo>
                  <a:pt x="477" y="556"/>
                </a:lnTo>
                <a:lnTo>
                  <a:pt x="473" y="559"/>
                </a:lnTo>
                <a:lnTo>
                  <a:pt x="471" y="562"/>
                </a:lnTo>
                <a:lnTo>
                  <a:pt x="470" y="567"/>
                </a:lnTo>
                <a:lnTo>
                  <a:pt x="469" y="570"/>
                </a:lnTo>
                <a:lnTo>
                  <a:pt x="469" y="569"/>
                </a:lnTo>
                <a:lnTo>
                  <a:pt x="469" y="568"/>
                </a:lnTo>
                <a:lnTo>
                  <a:pt x="469" y="566"/>
                </a:lnTo>
                <a:lnTo>
                  <a:pt x="469" y="568"/>
                </a:lnTo>
                <a:close/>
                <a:moveTo>
                  <a:pt x="388" y="144"/>
                </a:moveTo>
                <a:lnTo>
                  <a:pt x="386" y="143"/>
                </a:lnTo>
                <a:lnTo>
                  <a:pt x="384" y="140"/>
                </a:lnTo>
                <a:lnTo>
                  <a:pt x="386" y="141"/>
                </a:lnTo>
                <a:lnTo>
                  <a:pt x="388" y="144"/>
                </a:lnTo>
                <a:close/>
                <a:moveTo>
                  <a:pt x="182" y="326"/>
                </a:moveTo>
                <a:lnTo>
                  <a:pt x="178" y="323"/>
                </a:lnTo>
                <a:lnTo>
                  <a:pt x="173" y="322"/>
                </a:lnTo>
                <a:lnTo>
                  <a:pt x="178" y="319"/>
                </a:lnTo>
                <a:lnTo>
                  <a:pt x="182" y="318"/>
                </a:lnTo>
                <a:lnTo>
                  <a:pt x="187" y="318"/>
                </a:lnTo>
                <a:lnTo>
                  <a:pt x="192" y="318"/>
                </a:lnTo>
                <a:lnTo>
                  <a:pt x="203" y="314"/>
                </a:lnTo>
                <a:lnTo>
                  <a:pt x="214" y="311"/>
                </a:lnTo>
                <a:lnTo>
                  <a:pt x="224" y="305"/>
                </a:lnTo>
                <a:lnTo>
                  <a:pt x="236" y="301"/>
                </a:lnTo>
                <a:lnTo>
                  <a:pt x="248" y="297"/>
                </a:lnTo>
                <a:lnTo>
                  <a:pt x="259" y="294"/>
                </a:lnTo>
                <a:lnTo>
                  <a:pt x="265" y="293"/>
                </a:lnTo>
                <a:lnTo>
                  <a:pt x="271" y="290"/>
                </a:lnTo>
                <a:lnTo>
                  <a:pt x="273" y="290"/>
                </a:lnTo>
                <a:lnTo>
                  <a:pt x="277" y="289"/>
                </a:lnTo>
                <a:lnTo>
                  <a:pt x="278" y="288"/>
                </a:lnTo>
                <a:lnTo>
                  <a:pt x="279" y="286"/>
                </a:lnTo>
                <a:lnTo>
                  <a:pt x="281" y="284"/>
                </a:lnTo>
                <a:lnTo>
                  <a:pt x="283" y="281"/>
                </a:lnTo>
                <a:lnTo>
                  <a:pt x="287" y="281"/>
                </a:lnTo>
                <a:lnTo>
                  <a:pt x="291" y="281"/>
                </a:lnTo>
                <a:lnTo>
                  <a:pt x="299" y="280"/>
                </a:lnTo>
                <a:lnTo>
                  <a:pt x="307" y="277"/>
                </a:lnTo>
                <a:lnTo>
                  <a:pt x="312" y="276"/>
                </a:lnTo>
                <a:lnTo>
                  <a:pt x="315" y="274"/>
                </a:lnTo>
                <a:lnTo>
                  <a:pt x="320" y="273"/>
                </a:lnTo>
                <a:lnTo>
                  <a:pt x="324" y="271"/>
                </a:lnTo>
                <a:lnTo>
                  <a:pt x="323" y="272"/>
                </a:lnTo>
                <a:lnTo>
                  <a:pt x="321" y="272"/>
                </a:lnTo>
                <a:lnTo>
                  <a:pt x="323" y="273"/>
                </a:lnTo>
                <a:lnTo>
                  <a:pt x="325" y="274"/>
                </a:lnTo>
                <a:lnTo>
                  <a:pt x="302" y="284"/>
                </a:lnTo>
                <a:lnTo>
                  <a:pt x="278" y="293"/>
                </a:lnTo>
                <a:lnTo>
                  <a:pt x="255" y="302"/>
                </a:lnTo>
                <a:lnTo>
                  <a:pt x="231" y="311"/>
                </a:lnTo>
                <a:lnTo>
                  <a:pt x="220" y="315"/>
                </a:lnTo>
                <a:lnTo>
                  <a:pt x="208" y="320"/>
                </a:lnTo>
                <a:lnTo>
                  <a:pt x="197" y="325"/>
                </a:lnTo>
                <a:lnTo>
                  <a:pt x="186" y="329"/>
                </a:lnTo>
                <a:lnTo>
                  <a:pt x="174" y="334"/>
                </a:lnTo>
                <a:lnTo>
                  <a:pt x="163" y="338"/>
                </a:lnTo>
                <a:lnTo>
                  <a:pt x="158" y="340"/>
                </a:lnTo>
                <a:lnTo>
                  <a:pt x="154" y="343"/>
                </a:lnTo>
                <a:lnTo>
                  <a:pt x="148" y="345"/>
                </a:lnTo>
                <a:lnTo>
                  <a:pt x="143" y="344"/>
                </a:lnTo>
                <a:lnTo>
                  <a:pt x="148" y="340"/>
                </a:lnTo>
                <a:lnTo>
                  <a:pt x="152" y="338"/>
                </a:lnTo>
                <a:lnTo>
                  <a:pt x="157" y="335"/>
                </a:lnTo>
                <a:lnTo>
                  <a:pt x="162" y="332"/>
                </a:lnTo>
                <a:lnTo>
                  <a:pt x="172" y="329"/>
                </a:lnTo>
                <a:lnTo>
                  <a:pt x="182" y="326"/>
                </a:lnTo>
                <a:lnTo>
                  <a:pt x="175" y="327"/>
                </a:lnTo>
                <a:lnTo>
                  <a:pt x="182" y="326"/>
                </a:lnTo>
                <a:close/>
                <a:moveTo>
                  <a:pt x="102" y="353"/>
                </a:moveTo>
                <a:lnTo>
                  <a:pt x="107" y="351"/>
                </a:lnTo>
                <a:lnTo>
                  <a:pt x="113" y="348"/>
                </a:lnTo>
                <a:lnTo>
                  <a:pt x="116" y="348"/>
                </a:lnTo>
                <a:lnTo>
                  <a:pt x="119" y="348"/>
                </a:lnTo>
                <a:lnTo>
                  <a:pt x="121" y="350"/>
                </a:lnTo>
                <a:lnTo>
                  <a:pt x="123" y="351"/>
                </a:lnTo>
                <a:lnTo>
                  <a:pt x="122" y="353"/>
                </a:lnTo>
                <a:lnTo>
                  <a:pt x="121" y="355"/>
                </a:lnTo>
                <a:lnTo>
                  <a:pt x="118" y="356"/>
                </a:lnTo>
                <a:lnTo>
                  <a:pt x="116" y="357"/>
                </a:lnTo>
                <a:lnTo>
                  <a:pt x="113" y="357"/>
                </a:lnTo>
                <a:lnTo>
                  <a:pt x="107" y="357"/>
                </a:lnTo>
                <a:lnTo>
                  <a:pt x="105" y="356"/>
                </a:lnTo>
                <a:lnTo>
                  <a:pt x="104" y="356"/>
                </a:lnTo>
                <a:lnTo>
                  <a:pt x="102" y="355"/>
                </a:lnTo>
                <a:lnTo>
                  <a:pt x="102" y="353"/>
                </a:lnTo>
                <a:lnTo>
                  <a:pt x="104" y="352"/>
                </a:lnTo>
                <a:lnTo>
                  <a:pt x="102" y="353"/>
                </a:lnTo>
                <a:close/>
                <a:moveTo>
                  <a:pt x="134" y="437"/>
                </a:moveTo>
                <a:lnTo>
                  <a:pt x="124" y="442"/>
                </a:lnTo>
                <a:lnTo>
                  <a:pt x="115" y="443"/>
                </a:lnTo>
                <a:lnTo>
                  <a:pt x="118" y="440"/>
                </a:lnTo>
                <a:lnTo>
                  <a:pt x="123" y="438"/>
                </a:lnTo>
                <a:lnTo>
                  <a:pt x="129" y="437"/>
                </a:lnTo>
                <a:lnTo>
                  <a:pt x="134" y="43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0FA2486-C665-1E48-A5C6-9D83EF27990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26F32CBB-17D0-FD49-8CDF-F776BB73856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875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73">
            <a:extLst>
              <a:ext uri="{FF2B5EF4-FFF2-40B4-BE49-F238E27FC236}">
                <a16:creationId xmlns:a16="http://schemas.microsoft.com/office/drawing/2014/main" id="{61C66A45-7205-0541-86C7-965152BA8FB5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-9027" y="342901"/>
            <a:ext cx="24011926" cy="8532117"/>
          </a:xfrm>
          <a:custGeom>
            <a:avLst/>
            <a:gdLst>
              <a:gd name="T0" fmla="*/ 1471 w 1574"/>
              <a:gd name="T1" fmla="*/ 188 h 671"/>
              <a:gd name="T2" fmla="*/ 1456 w 1574"/>
              <a:gd name="T3" fmla="*/ 122 h 671"/>
              <a:gd name="T4" fmla="*/ 1235 w 1574"/>
              <a:gd name="T5" fmla="*/ 144 h 671"/>
              <a:gd name="T6" fmla="*/ 783 w 1574"/>
              <a:gd name="T7" fmla="*/ 241 h 671"/>
              <a:gd name="T8" fmla="*/ 618 w 1574"/>
              <a:gd name="T9" fmla="*/ 222 h 671"/>
              <a:gd name="T10" fmla="*/ 660 w 1574"/>
              <a:gd name="T11" fmla="*/ 280 h 671"/>
              <a:gd name="T12" fmla="*/ 652 w 1574"/>
              <a:gd name="T13" fmla="*/ 333 h 671"/>
              <a:gd name="T14" fmla="*/ 485 w 1574"/>
              <a:gd name="T15" fmla="*/ 297 h 671"/>
              <a:gd name="T16" fmla="*/ 502 w 1574"/>
              <a:gd name="T17" fmla="*/ 350 h 671"/>
              <a:gd name="T18" fmla="*/ 312 w 1574"/>
              <a:gd name="T19" fmla="*/ 300 h 671"/>
              <a:gd name="T20" fmla="*/ 367 w 1574"/>
              <a:gd name="T21" fmla="*/ 263 h 671"/>
              <a:gd name="T22" fmla="*/ 157 w 1574"/>
              <a:gd name="T23" fmla="*/ 158 h 671"/>
              <a:gd name="T24" fmla="*/ 184 w 1574"/>
              <a:gd name="T25" fmla="*/ 219 h 671"/>
              <a:gd name="T26" fmla="*/ 202 w 1574"/>
              <a:gd name="T27" fmla="*/ 276 h 671"/>
              <a:gd name="T28" fmla="*/ 149 w 1574"/>
              <a:gd name="T29" fmla="*/ 315 h 671"/>
              <a:gd name="T30" fmla="*/ 411 w 1574"/>
              <a:gd name="T31" fmla="*/ 448 h 671"/>
              <a:gd name="T32" fmla="*/ 477 w 1574"/>
              <a:gd name="T33" fmla="*/ 514 h 671"/>
              <a:gd name="T34" fmla="*/ 576 w 1574"/>
              <a:gd name="T35" fmla="*/ 547 h 671"/>
              <a:gd name="T36" fmla="*/ 747 w 1574"/>
              <a:gd name="T37" fmla="*/ 597 h 671"/>
              <a:gd name="T38" fmla="*/ 964 w 1574"/>
              <a:gd name="T39" fmla="*/ 623 h 671"/>
              <a:gd name="T40" fmla="*/ 975 w 1574"/>
              <a:gd name="T41" fmla="*/ 633 h 671"/>
              <a:gd name="T42" fmla="*/ 1317 w 1574"/>
              <a:gd name="T43" fmla="*/ 579 h 671"/>
              <a:gd name="T44" fmla="*/ 1566 w 1574"/>
              <a:gd name="T45" fmla="*/ 319 h 671"/>
              <a:gd name="T46" fmla="*/ 674 w 1574"/>
              <a:gd name="T47" fmla="*/ 566 h 671"/>
              <a:gd name="T48" fmla="*/ 377 w 1574"/>
              <a:gd name="T49" fmla="*/ 131 h 671"/>
              <a:gd name="T50" fmla="*/ 306 w 1574"/>
              <a:gd name="T51" fmla="*/ 140 h 671"/>
              <a:gd name="T52" fmla="*/ 435 w 1574"/>
              <a:gd name="T53" fmla="*/ 186 h 671"/>
              <a:gd name="T54" fmla="*/ 648 w 1574"/>
              <a:gd name="T55" fmla="*/ 213 h 671"/>
              <a:gd name="T56" fmla="*/ 633 w 1574"/>
              <a:gd name="T57" fmla="*/ 592 h 671"/>
              <a:gd name="T58" fmla="*/ 93 w 1574"/>
              <a:gd name="T59" fmla="*/ 183 h 671"/>
              <a:gd name="T60" fmla="*/ 467 w 1574"/>
              <a:gd name="T61" fmla="*/ 533 h 671"/>
              <a:gd name="T62" fmla="*/ 273 w 1574"/>
              <a:gd name="T63" fmla="*/ 91 h 671"/>
              <a:gd name="T64" fmla="*/ 857 w 1574"/>
              <a:gd name="T65" fmla="*/ 642 h 671"/>
              <a:gd name="T66" fmla="*/ 1467 w 1574"/>
              <a:gd name="T67" fmla="*/ 62 h 671"/>
              <a:gd name="T68" fmla="*/ 421 w 1574"/>
              <a:gd name="T69" fmla="*/ 159 h 671"/>
              <a:gd name="T70" fmla="*/ 50 w 1574"/>
              <a:gd name="T71" fmla="*/ 399 h 671"/>
              <a:gd name="T72" fmla="*/ 1008 w 1574"/>
              <a:gd name="T73" fmla="*/ 665 h 671"/>
              <a:gd name="T74" fmla="*/ 373 w 1574"/>
              <a:gd name="T75" fmla="*/ 449 h 671"/>
              <a:gd name="T76" fmla="*/ 449 w 1574"/>
              <a:gd name="T77" fmla="*/ 282 h 671"/>
              <a:gd name="T78" fmla="*/ 323 w 1574"/>
              <a:gd name="T79" fmla="*/ 454 h 671"/>
              <a:gd name="T80" fmla="*/ 330 w 1574"/>
              <a:gd name="T81" fmla="*/ 261 h 671"/>
              <a:gd name="T82" fmla="*/ 788 w 1574"/>
              <a:gd name="T83" fmla="*/ 643 h 671"/>
              <a:gd name="T84" fmla="*/ 999 w 1574"/>
              <a:gd name="T85" fmla="*/ 208 h 671"/>
              <a:gd name="T86" fmla="*/ 256 w 1574"/>
              <a:gd name="T87" fmla="*/ 135 h 671"/>
              <a:gd name="T88" fmla="*/ 577 w 1574"/>
              <a:gd name="T89" fmla="*/ 581 h 671"/>
              <a:gd name="T90" fmla="*/ 405 w 1574"/>
              <a:gd name="T91" fmla="*/ 141 h 671"/>
              <a:gd name="T92" fmla="*/ 477 w 1574"/>
              <a:gd name="T93" fmla="*/ 267 h 671"/>
              <a:gd name="T94" fmla="*/ 545 w 1574"/>
              <a:gd name="T95" fmla="*/ 202 h 671"/>
              <a:gd name="T96" fmla="*/ 384 w 1574"/>
              <a:gd name="T97" fmla="*/ 231 h 671"/>
              <a:gd name="T98" fmla="*/ 1426 w 1574"/>
              <a:gd name="T99" fmla="*/ 91 h 671"/>
              <a:gd name="T100" fmla="*/ 533 w 1574"/>
              <a:gd name="T101" fmla="*/ 322 h 671"/>
              <a:gd name="T102" fmla="*/ 247 w 1574"/>
              <a:gd name="T103" fmla="*/ 192 h 671"/>
              <a:gd name="T104" fmla="*/ 238 w 1574"/>
              <a:gd name="T105" fmla="*/ 274 h 671"/>
              <a:gd name="T106" fmla="*/ 262 w 1574"/>
              <a:gd name="T107" fmla="*/ 261 h 671"/>
              <a:gd name="T108" fmla="*/ 189 w 1574"/>
              <a:gd name="T109" fmla="*/ 263 h 671"/>
              <a:gd name="T110" fmla="*/ 266 w 1574"/>
              <a:gd name="T111" fmla="*/ 316 h 671"/>
              <a:gd name="T112" fmla="*/ 359 w 1574"/>
              <a:gd name="T113" fmla="*/ 350 h 671"/>
              <a:gd name="T114" fmla="*/ 355 w 1574"/>
              <a:gd name="T115" fmla="*/ 332 h 671"/>
              <a:gd name="T116" fmla="*/ 858 w 1574"/>
              <a:gd name="T117" fmla="*/ 256 h 671"/>
              <a:gd name="T118" fmla="*/ 570 w 1574"/>
              <a:gd name="T119" fmla="*/ 388 h 671"/>
              <a:gd name="T120" fmla="*/ 500 w 1574"/>
              <a:gd name="T121" fmla="*/ 421 h 671"/>
              <a:gd name="T122" fmla="*/ 533 w 1574"/>
              <a:gd name="T123" fmla="*/ 496 h 671"/>
              <a:gd name="T124" fmla="*/ 713 w 1574"/>
              <a:gd name="T125" fmla="*/ 578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74" h="671">
                <a:moveTo>
                  <a:pt x="1567" y="222"/>
                </a:moveTo>
                <a:lnTo>
                  <a:pt x="1559" y="222"/>
                </a:lnTo>
                <a:lnTo>
                  <a:pt x="1550" y="224"/>
                </a:lnTo>
                <a:lnTo>
                  <a:pt x="1542" y="224"/>
                </a:lnTo>
                <a:lnTo>
                  <a:pt x="1535" y="226"/>
                </a:lnTo>
                <a:lnTo>
                  <a:pt x="1533" y="228"/>
                </a:lnTo>
                <a:lnTo>
                  <a:pt x="1531" y="230"/>
                </a:lnTo>
                <a:lnTo>
                  <a:pt x="1527" y="228"/>
                </a:lnTo>
                <a:lnTo>
                  <a:pt x="1524" y="228"/>
                </a:lnTo>
                <a:lnTo>
                  <a:pt x="1522" y="231"/>
                </a:lnTo>
                <a:lnTo>
                  <a:pt x="1520" y="232"/>
                </a:lnTo>
                <a:lnTo>
                  <a:pt x="1516" y="231"/>
                </a:lnTo>
                <a:lnTo>
                  <a:pt x="1513" y="230"/>
                </a:lnTo>
                <a:lnTo>
                  <a:pt x="1515" y="232"/>
                </a:lnTo>
                <a:lnTo>
                  <a:pt x="1515" y="234"/>
                </a:lnTo>
                <a:lnTo>
                  <a:pt x="1515" y="235"/>
                </a:lnTo>
                <a:lnTo>
                  <a:pt x="1516" y="236"/>
                </a:lnTo>
                <a:lnTo>
                  <a:pt x="1518" y="236"/>
                </a:lnTo>
                <a:lnTo>
                  <a:pt x="1521" y="235"/>
                </a:lnTo>
                <a:lnTo>
                  <a:pt x="1529" y="233"/>
                </a:lnTo>
                <a:lnTo>
                  <a:pt x="1537" y="232"/>
                </a:lnTo>
                <a:lnTo>
                  <a:pt x="1539" y="232"/>
                </a:lnTo>
                <a:lnTo>
                  <a:pt x="1540" y="232"/>
                </a:lnTo>
                <a:lnTo>
                  <a:pt x="1541" y="233"/>
                </a:lnTo>
                <a:lnTo>
                  <a:pt x="1543" y="233"/>
                </a:lnTo>
                <a:lnTo>
                  <a:pt x="1546" y="232"/>
                </a:lnTo>
                <a:lnTo>
                  <a:pt x="1548" y="231"/>
                </a:lnTo>
                <a:lnTo>
                  <a:pt x="1551" y="232"/>
                </a:lnTo>
                <a:lnTo>
                  <a:pt x="1555" y="233"/>
                </a:lnTo>
                <a:lnTo>
                  <a:pt x="1548" y="235"/>
                </a:lnTo>
                <a:lnTo>
                  <a:pt x="1540" y="236"/>
                </a:lnTo>
                <a:lnTo>
                  <a:pt x="1532" y="236"/>
                </a:lnTo>
                <a:lnTo>
                  <a:pt x="1524" y="239"/>
                </a:lnTo>
                <a:lnTo>
                  <a:pt x="1522" y="240"/>
                </a:lnTo>
                <a:lnTo>
                  <a:pt x="1518" y="240"/>
                </a:lnTo>
                <a:lnTo>
                  <a:pt x="1516" y="238"/>
                </a:lnTo>
                <a:lnTo>
                  <a:pt x="1515" y="236"/>
                </a:lnTo>
                <a:lnTo>
                  <a:pt x="1512" y="236"/>
                </a:lnTo>
                <a:lnTo>
                  <a:pt x="1509" y="236"/>
                </a:lnTo>
                <a:lnTo>
                  <a:pt x="1508" y="236"/>
                </a:lnTo>
                <a:lnTo>
                  <a:pt x="1506" y="234"/>
                </a:lnTo>
                <a:lnTo>
                  <a:pt x="1509" y="233"/>
                </a:lnTo>
                <a:lnTo>
                  <a:pt x="1512" y="231"/>
                </a:lnTo>
                <a:lnTo>
                  <a:pt x="1500" y="232"/>
                </a:lnTo>
                <a:lnTo>
                  <a:pt x="1489" y="234"/>
                </a:lnTo>
                <a:lnTo>
                  <a:pt x="1482" y="235"/>
                </a:lnTo>
                <a:lnTo>
                  <a:pt x="1475" y="236"/>
                </a:lnTo>
                <a:lnTo>
                  <a:pt x="1474" y="236"/>
                </a:lnTo>
                <a:lnTo>
                  <a:pt x="1472" y="235"/>
                </a:lnTo>
                <a:lnTo>
                  <a:pt x="1471" y="235"/>
                </a:lnTo>
                <a:lnTo>
                  <a:pt x="1471" y="235"/>
                </a:lnTo>
                <a:lnTo>
                  <a:pt x="1471" y="234"/>
                </a:lnTo>
                <a:lnTo>
                  <a:pt x="1472" y="234"/>
                </a:lnTo>
                <a:lnTo>
                  <a:pt x="1474" y="234"/>
                </a:lnTo>
                <a:lnTo>
                  <a:pt x="1477" y="234"/>
                </a:lnTo>
                <a:lnTo>
                  <a:pt x="1481" y="231"/>
                </a:lnTo>
                <a:lnTo>
                  <a:pt x="1483" y="228"/>
                </a:lnTo>
                <a:lnTo>
                  <a:pt x="1487" y="228"/>
                </a:lnTo>
                <a:lnTo>
                  <a:pt x="1490" y="228"/>
                </a:lnTo>
                <a:lnTo>
                  <a:pt x="1492" y="228"/>
                </a:lnTo>
                <a:lnTo>
                  <a:pt x="1493" y="228"/>
                </a:lnTo>
                <a:lnTo>
                  <a:pt x="1496" y="227"/>
                </a:lnTo>
                <a:lnTo>
                  <a:pt x="1497" y="225"/>
                </a:lnTo>
                <a:lnTo>
                  <a:pt x="1494" y="225"/>
                </a:lnTo>
                <a:lnTo>
                  <a:pt x="1491" y="225"/>
                </a:lnTo>
                <a:lnTo>
                  <a:pt x="1490" y="225"/>
                </a:lnTo>
                <a:lnTo>
                  <a:pt x="1489" y="225"/>
                </a:lnTo>
                <a:lnTo>
                  <a:pt x="1489" y="224"/>
                </a:lnTo>
                <a:lnTo>
                  <a:pt x="1491" y="223"/>
                </a:lnTo>
                <a:lnTo>
                  <a:pt x="1497" y="221"/>
                </a:lnTo>
                <a:lnTo>
                  <a:pt x="1501" y="219"/>
                </a:lnTo>
                <a:lnTo>
                  <a:pt x="1506" y="218"/>
                </a:lnTo>
                <a:lnTo>
                  <a:pt x="1510" y="216"/>
                </a:lnTo>
                <a:lnTo>
                  <a:pt x="1515" y="216"/>
                </a:lnTo>
                <a:lnTo>
                  <a:pt x="1520" y="217"/>
                </a:lnTo>
                <a:lnTo>
                  <a:pt x="1523" y="217"/>
                </a:lnTo>
                <a:lnTo>
                  <a:pt x="1526" y="216"/>
                </a:lnTo>
                <a:lnTo>
                  <a:pt x="1530" y="214"/>
                </a:lnTo>
                <a:lnTo>
                  <a:pt x="1533" y="213"/>
                </a:lnTo>
                <a:lnTo>
                  <a:pt x="1537" y="213"/>
                </a:lnTo>
                <a:lnTo>
                  <a:pt x="1541" y="213"/>
                </a:lnTo>
                <a:lnTo>
                  <a:pt x="1545" y="213"/>
                </a:lnTo>
                <a:lnTo>
                  <a:pt x="1549" y="213"/>
                </a:lnTo>
                <a:lnTo>
                  <a:pt x="1555" y="211"/>
                </a:lnTo>
                <a:lnTo>
                  <a:pt x="1557" y="208"/>
                </a:lnTo>
                <a:lnTo>
                  <a:pt x="1558" y="205"/>
                </a:lnTo>
                <a:lnTo>
                  <a:pt x="1558" y="202"/>
                </a:lnTo>
                <a:lnTo>
                  <a:pt x="1555" y="201"/>
                </a:lnTo>
                <a:lnTo>
                  <a:pt x="1551" y="201"/>
                </a:lnTo>
                <a:lnTo>
                  <a:pt x="1546" y="203"/>
                </a:lnTo>
                <a:lnTo>
                  <a:pt x="1541" y="207"/>
                </a:lnTo>
                <a:lnTo>
                  <a:pt x="1535" y="208"/>
                </a:lnTo>
                <a:lnTo>
                  <a:pt x="1530" y="209"/>
                </a:lnTo>
                <a:lnTo>
                  <a:pt x="1517" y="213"/>
                </a:lnTo>
                <a:lnTo>
                  <a:pt x="1505" y="213"/>
                </a:lnTo>
                <a:lnTo>
                  <a:pt x="1510" y="210"/>
                </a:lnTo>
                <a:lnTo>
                  <a:pt x="1517" y="208"/>
                </a:lnTo>
                <a:lnTo>
                  <a:pt x="1521" y="207"/>
                </a:lnTo>
                <a:lnTo>
                  <a:pt x="1524" y="205"/>
                </a:lnTo>
                <a:lnTo>
                  <a:pt x="1518" y="205"/>
                </a:lnTo>
                <a:lnTo>
                  <a:pt x="1513" y="206"/>
                </a:lnTo>
                <a:lnTo>
                  <a:pt x="1506" y="208"/>
                </a:lnTo>
                <a:lnTo>
                  <a:pt x="1499" y="209"/>
                </a:lnTo>
                <a:lnTo>
                  <a:pt x="1487" y="213"/>
                </a:lnTo>
                <a:lnTo>
                  <a:pt x="1473" y="216"/>
                </a:lnTo>
                <a:lnTo>
                  <a:pt x="1468" y="216"/>
                </a:lnTo>
                <a:lnTo>
                  <a:pt x="1465" y="215"/>
                </a:lnTo>
                <a:lnTo>
                  <a:pt x="1464" y="215"/>
                </a:lnTo>
                <a:lnTo>
                  <a:pt x="1464" y="214"/>
                </a:lnTo>
                <a:lnTo>
                  <a:pt x="1464" y="213"/>
                </a:lnTo>
                <a:lnTo>
                  <a:pt x="1466" y="211"/>
                </a:lnTo>
                <a:lnTo>
                  <a:pt x="1469" y="210"/>
                </a:lnTo>
                <a:lnTo>
                  <a:pt x="1472" y="208"/>
                </a:lnTo>
                <a:lnTo>
                  <a:pt x="1468" y="206"/>
                </a:lnTo>
                <a:lnTo>
                  <a:pt x="1464" y="205"/>
                </a:lnTo>
                <a:lnTo>
                  <a:pt x="1472" y="202"/>
                </a:lnTo>
                <a:lnTo>
                  <a:pt x="1479" y="199"/>
                </a:lnTo>
                <a:lnTo>
                  <a:pt x="1473" y="199"/>
                </a:lnTo>
                <a:lnTo>
                  <a:pt x="1467" y="199"/>
                </a:lnTo>
                <a:lnTo>
                  <a:pt x="1476" y="193"/>
                </a:lnTo>
                <a:lnTo>
                  <a:pt x="1485" y="188"/>
                </a:lnTo>
                <a:lnTo>
                  <a:pt x="1493" y="186"/>
                </a:lnTo>
                <a:lnTo>
                  <a:pt x="1501" y="186"/>
                </a:lnTo>
                <a:lnTo>
                  <a:pt x="1506" y="186"/>
                </a:lnTo>
                <a:lnTo>
                  <a:pt x="1508" y="184"/>
                </a:lnTo>
                <a:lnTo>
                  <a:pt x="1509" y="182"/>
                </a:lnTo>
                <a:lnTo>
                  <a:pt x="1509" y="181"/>
                </a:lnTo>
                <a:lnTo>
                  <a:pt x="1515" y="176"/>
                </a:lnTo>
                <a:lnTo>
                  <a:pt x="1521" y="173"/>
                </a:lnTo>
                <a:lnTo>
                  <a:pt x="1516" y="172"/>
                </a:lnTo>
                <a:lnTo>
                  <a:pt x="1509" y="174"/>
                </a:lnTo>
                <a:lnTo>
                  <a:pt x="1502" y="176"/>
                </a:lnTo>
                <a:lnTo>
                  <a:pt x="1498" y="178"/>
                </a:lnTo>
                <a:lnTo>
                  <a:pt x="1487" y="182"/>
                </a:lnTo>
                <a:lnTo>
                  <a:pt x="1476" y="185"/>
                </a:lnTo>
                <a:lnTo>
                  <a:pt x="1471" y="188"/>
                </a:lnTo>
                <a:lnTo>
                  <a:pt x="1465" y="189"/>
                </a:lnTo>
                <a:lnTo>
                  <a:pt x="1460" y="190"/>
                </a:lnTo>
                <a:lnTo>
                  <a:pt x="1456" y="191"/>
                </a:lnTo>
                <a:lnTo>
                  <a:pt x="1455" y="190"/>
                </a:lnTo>
                <a:lnTo>
                  <a:pt x="1453" y="189"/>
                </a:lnTo>
                <a:lnTo>
                  <a:pt x="1453" y="188"/>
                </a:lnTo>
                <a:lnTo>
                  <a:pt x="1453" y="186"/>
                </a:lnTo>
                <a:lnTo>
                  <a:pt x="1456" y="185"/>
                </a:lnTo>
                <a:lnTo>
                  <a:pt x="1458" y="183"/>
                </a:lnTo>
                <a:lnTo>
                  <a:pt x="1467" y="180"/>
                </a:lnTo>
                <a:lnTo>
                  <a:pt x="1474" y="174"/>
                </a:lnTo>
                <a:lnTo>
                  <a:pt x="1474" y="172"/>
                </a:lnTo>
                <a:lnTo>
                  <a:pt x="1472" y="171"/>
                </a:lnTo>
                <a:lnTo>
                  <a:pt x="1472" y="171"/>
                </a:lnTo>
                <a:lnTo>
                  <a:pt x="1473" y="168"/>
                </a:lnTo>
                <a:lnTo>
                  <a:pt x="1481" y="164"/>
                </a:lnTo>
                <a:lnTo>
                  <a:pt x="1487" y="159"/>
                </a:lnTo>
                <a:lnTo>
                  <a:pt x="1481" y="160"/>
                </a:lnTo>
                <a:lnTo>
                  <a:pt x="1475" y="161"/>
                </a:lnTo>
                <a:lnTo>
                  <a:pt x="1474" y="160"/>
                </a:lnTo>
                <a:lnTo>
                  <a:pt x="1475" y="159"/>
                </a:lnTo>
                <a:lnTo>
                  <a:pt x="1475" y="158"/>
                </a:lnTo>
                <a:lnTo>
                  <a:pt x="1476" y="158"/>
                </a:lnTo>
                <a:lnTo>
                  <a:pt x="1480" y="157"/>
                </a:lnTo>
                <a:lnTo>
                  <a:pt x="1482" y="156"/>
                </a:lnTo>
                <a:lnTo>
                  <a:pt x="1482" y="153"/>
                </a:lnTo>
                <a:lnTo>
                  <a:pt x="1482" y="150"/>
                </a:lnTo>
                <a:lnTo>
                  <a:pt x="1482" y="149"/>
                </a:lnTo>
                <a:lnTo>
                  <a:pt x="1483" y="149"/>
                </a:lnTo>
                <a:lnTo>
                  <a:pt x="1484" y="149"/>
                </a:lnTo>
                <a:lnTo>
                  <a:pt x="1487" y="150"/>
                </a:lnTo>
                <a:lnTo>
                  <a:pt x="1489" y="151"/>
                </a:lnTo>
                <a:lnTo>
                  <a:pt x="1491" y="155"/>
                </a:lnTo>
                <a:lnTo>
                  <a:pt x="1490" y="157"/>
                </a:lnTo>
                <a:lnTo>
                  <a:pt x="1488" y="158"/>
                </a:lnTo>
                <a:lnTo>
                  <a:pt x="1488" y="159"/>
                </a:lnTo>
                <a:lnTo>
                  <a:pt x="1487" y="159"/>
                </a:lnTo>
                <a:lnTo>
                  <a:pt x="1488" y="160"/>
                </a:lnTo>
                <a:lnTo>
                  <a:pt x="1489" y="160"/>
                </a:lnTo>
                <a:lnTo>
                  <a:pt x="1491" y="161"/>
                </a:lnTo>
                <a:lnTo>
                  <a:pt x="1494" y="161"/>
                </a:lnTo>
                <a:lnTo>
                  <a:pt x="1498" y="161"/>
                </a:lnTo>
                <a:lnTo>
                  <a:pt x="1504" y="160"/>
                </a:lnTo>
                <a:lnTo>
                  <a:pt x="1508" y="158"/>
                </a:lnTo>
                <a:lnTo>
                  <a:pt x="1512" y="155"/>
                </a:lnTo>
                <a:lnTo>
                  <a:pt x="1512" y="155"/>
                </a:lnTo>
                <a:lnTo>
                  <a:pt x="1513" y="153"/>
                </a:lnTo>
                <a:lnTo>
                  <a:pt x="1513" y="152"/>
                </a:lnTo>
                <a:lnTo>
                  <a:pt x="1512" y="151"/>
                </a:lnTo>
                <a:lnTo>
                  <a:pt x="1513" y="150"/>
                </a:lnTo>
                <a:lnTo>
                  <a:pt x="1514" y="149"/>
                </a:lnTo>
                <a:lnTo>
                  <a:pt x="1517" y="148"/>
                </a:lnTo>
                <a:lnTo>
                  <a:pt x="1521" y="147"/>
                </a:lnTo>
                <a:lnTo>
                  <a:pt x="1525" y="145"/>
                </a:lnTo>
                <a:lnTo>
                  <a:pt x="1530" y="143"/>
                </a:lnTo>
                <a:lnTo>
                  <a:pt x="1537" y="136"/>
                </a:lnTo>
                <a:lnTo>
                  <a:pt x="1543" y="130"/>
                </a:lnTo>
                <a:lnTo>
                  <a:pt x="1533" y="134"/>
                </a:lnTo>
                <a:lnTo>
                  <a:pt x="1523" y="140"/>
                </a:lnTo>
                <a:lnTo>
                  <a:pt x="1514" y="145"/>
                </a:lnTo>
                <a:lnTo>
                  <a:pt x="1502" y="149"/>
                </a:lnTo>
                <a:lnTo>
                  <a:pt x="1505" y="145"/>
                </a:lnTo>
                <a:lnTo>
                  <a:pt x="1507" y="143"/>
                </a:lnTo>
                <a:lnTo>
                  <a:pt x="1510" y="141"/>
                </a:lnTo>
                <a:lnTo>
                  <a:pt x="1514" y="140"/>
                </a:lnTo>
                <a:lnTo>
                  <a:pt x="1522" y="134"/>
                </a:lnTo>
                <a:lnTo>
                  <a:pt x="1530" y="127"/>
                </a:lnTo>
                <a:lnTo>
                  <a:pt x="1537" y="123"/>
                </a:lnTo>
                <a:lnTo>
                  <a:pt x="1542" y="118"/>
                </a:lnTo>
                <a:lnTo>
                  <a:pt x="1543" y="117"/>
                </a:lnTo>
                <a:lnTo>
                  <a:pt x="1545" y="116"/>
                </a:lnTo>
                <a:lnTo>
                  <a:pt x="1543" y="116"/>
                </a:lnTo>
                <a:lnTo>
                  <a:pt x="1543" y="116"/>
                </a:lnTo>
                <a:lnTo>
                  <a:pt x="1540" y="116"/>
                </a:lnTo>
                <a:lnTo>
                  <a:pt x="1538" y="117"/>
                </a:lnTo>
                <a:lnTo>
                  <a:pt x="1530" y="122"/>
                </a:lnTo>
                <a:lnTo>
                  <a:pt x="1523" y="126"/>
                </a:lnTo>
                <a:lnTo>
                  <a:pt x="1514" y="130"/>
                </a:lnTo>
                <a:lnTo>
                  <a:pt x="1506" y="133"/>
                </a:lnTo>
                <a:lnTo>
                  <a:pt x="1498" y="139"/>
                </a:lnTo>
                <a:lnTo>
                  <a:pt x="1489" y="143"/>
                </a:lnTo>
                <a:lnTo>
                  <a:pt x="1484" y="145"/>
                </a:lnTo>
                <a:lnTo>
                  <a:pt x="1480" y="148"/>
                </a:lnTo>
                <a:lnTo>
                  <a:pt x="1475" y="149"/>
                </a:lnTo>
                <a:lnTo>
                  <a:pt x="1472" y="149"/>
                </a:lnTo>
                <a:lnTo>
                  <a:pt x="1474" y="144"/>
                </a:lnTo>
                <a:lnTo>
                  <a:pt x="1477" y="142"/>
                </a:lnTo>
                <a:lnTo>
                  <a:pt x="1481" y="140"/>
                </a:lnTo>
                <a:lnTo>
                  <a:pt x="1484" y="138"/>
                </a:lnTo>
                <a:lnTo>
                  <a:pt x="1491" y="134"/>
                </a:lnTo>
                <a:lnTo>
                  <a:pt x="1499" y="130"/>
                </a:lnTo>
                <a:lnTo>
                  <a:pt x="1506" y="125"/>
                </a:lnTo>
                <a:lnTo>
                  <a:pt x="1514" y="120"/>
                </a:lnTo>
                <a:lnTo>
                  <a:pt x="1517" y="118"/>
                </a:lnTo>
                <a:lnTo>
                  <a:pt x="1521" y="117"/>
                </a:lnTo>
                <a:lnTo>
                  <a:pt x="1523" y="115"/>
                </a:lnTo>
                <a:lnTo>
                  <a:pt x="1524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5" y="110"/>
                </a:lnTo>
                <a:lnTo>
                  <a:pt x="1524" y="110"/>
                </a:lnTo>
                <a:lnTo>
                  <a:pt x="1520" y="114"/>
                </a:lnTo>
                <a:lnTo>
                  <a:pt x="1515" y="117"/>
                </a:lnTo>
                <a:lnTo>
                  <a:pt x="1509" y="118"/>
                </a:lnTo>
                <a:lnTo>
                  <a:pt x="1505" y="118"/>
                </a:lnTo>
                <a:lnTo>
                  <a:pt x="1506" y="115"/>
                </a:lnTo>
                <a:lnTo>
                  <a:pt x="1507" y="113"/>
                </a:lnTo>
                <a:lnTo>
                  <a:pt x="1509" y="111"/>
                </a:lnTo>
                <a:lnTo>
                  <a:pt x="1513" y="110"/>
                </a:lnTo>
                <a:lnTo>
                  <a:pt x="1518" y="107"/>
                </a:lnTo>
                <a:lnTo>
                  <a:pt x="1524" y="102"/>
                </a:lnTo>
                <a:lnTo>
                  <a:pt x="1526" y="101"/>
                </a:lnTo>
                <a:lnTo>
                  <a:pt x="1530" y="99"/>
                </a:lnTo>
                <a:lnTo>
                  <a:pt x="1530" y="98"/>
                </a:lnTo>
                <a:lnTo>
                  <a:pt x="1531" y="98"/>
                </a:lnTo>
                <a:lnTo>
                  <a:pt x="1530" y="97"/>
                </a:lnTo>
                <a:lnTo>
                  <a:pt x="1527" y="97"/>
                </a:lnTo>
                <a:lnTo>
                  <a:pt x="1521" y="100"/>
                </a:lnTo>
                <a:lnTo>
                  <a:pt x="1515" y="105"/>
                </a:lnTo>
                <a:lnTo>
                  <a:pt x="1498" y="114"/>
                </a:lnTo>
                <a:lnTo>
                  <a:pt x="1482" y="120"/>
                </a:lnTo>
                <a:lnTo>
                  <a:pt x="1476" y="123"/>
                </a:lnTo>
                <a:lnTo>
                  <a:pt x="1472" y="125"/>
                </a:lnTo>
                <a:lnTo>
                  <a:pt x="1469" y="126"/>
                </a:lnTo>
                <a:lnTo>
                  <a:pt x="1468" y="128"/>
                </a:lnTo>
                <a:lnTo>
                  <a:pt x="1465" y="128"/>
                </a:lnTo>
                <a:lnTo>
                  <a:pt x="1463" y="130"/>
                </a:lnTo>
                <a:lnTo>
                  <a:pt x="1459" y="130"/>
                </a:lnTo>
                <a:lnTo>
                  <a:pt x="1458" y="130"/>
                </a:lnTo>
                <a:lnTo>
                  <a:pt x="1457" y="130"/>
                </a:lnTo>
                <a:lnTo>
                  <a:pt x="1456" y="127"/>
                </a:lnTo>
                <a:lnTo>
                  <a:pt x="1453" y="124"/>
                </a:lnTo>
                <a:lnTo>
                  <a:pt x="1453" y="123"/>
                </a:lnTo>
                <a:lnTo>
                  <a:pt x="1456" y="122"/>
                </a:lnTo>
                <a:lnTo>
                  <a:pt x="1458" y="120"/>
                </a:lnTo>
                <a:lnTo>
                  <a:pt x="1461" y="120"/>
                </a:lnTo>
                <a:lnTo>
                  <a:pt x="1465" y="119"/>
                </a:lnTo>
                <a:lnTo>
                  <a:pt x="1468" y="119"/>
                </a:lnTo>
                <a:lnTo>
                  <a:pt x="1471" y="120"/>
                </a:lnTo>
                <a:lnTo>
                  <a:pt x="1473" y="117"/>
                </a:lnTo>
                <a:lnTo>
                  <a:pt x="1476" y="115"/>
                </a:lnTo>
                <a:lnTo>
                  <a:pt x="1481" y="115"/>
                </a:lnTo>
                <a:lnTo>
                  <a:pt x="1485" y="114"/>
                </a:lnTo>
                <a:lnTo>
                  <a:pt x="1491" y="113"/>
                </a:lnTo>
                <a:lnTo>
                  <a:pt x="1496" y="109"/>
                </a:lnTo>
                <a:lnTo>
                  <a:pt x="1500" y="106"/>
                </a:lnTo>
                <a:lnTo>
                  <a:pt x="1501" y="101"/>
                </a:lnTo>
                <a:lnTo>
                  <a:pt x="1500" y="100"/>
                </a:lnTo>
                <a:lnTo>
                  <a:pt x="1497" y="99"/>
                </a:lnTo>
                <a:lnTo>
                  <a:pt x="1494" y="100"/>
                </a:lnTo>
                <a:lnTo>
                  <a:pt x="1492" y="100"/>
                </a:lnTo>
                <a:lnTo>
                  <a:pt x="1492" y="101"/>
                </a:lnTo>
                <a:lnTo>
                  <a:pt x="1493" y="102"/>
                </a:lnTo>
                <a:lnTo>
                  <a:pt x="1493" y="105"/>
                </a:lnTo>
                <a:lnTo>
                  <a:pt x="1492" y="106"/>
                </a:lnTo>
                <a:lnTo>
                  <a:pt x="1489" y="103"/>
                </a:lnTo>
                <a:lnTo>
                  <a:pt x="1485" y="102"/>
                </a:lnTo>
                <a:lnTo>
                  <a:pt x="1485" y="105"/>
                </a:lnTo>
                <a:lnTo>
                  <a:pt x="1484" y="106"/>
                </a:lnTo>
                <a:lnTo>
                  <a:pt x="1483" y="106"/>
                </a:lnTo>
                <a:lnTo>
                  <a:pt x="1482" y="106"/>
                </a:lnTo>
                <a:lnTo>
                  <a:pt x="1479" y="106"/>
                </a:lnTo>
                <a:lnTo>
                  <a:pt x="1475" y="106"/>
                </a:lnTo>
                <a:lnTo>
                  <a:pt x="1465" y="110"/>
                </a:lnTo>
                <a:lnTo>
                  <a:pt x="1456" y="116"/>
                </a:lnTo>
                <a:lnTo>
                  <a:pt x="1453" y="117"/>
                </a:lnTo>
                <a:lnTo>
                  <a:pt x="1452" y="118"/>
                </a:lnTo>
                <a:lnTo>
                  <a:pt x="1450" y="118"/>
                </a:lnTo>
                <a:lnTo>
                  <a:pt x="1448" y="117"/>
                </a:lnTo>
                <a:lnTo>
                  <a:pt x="1444" y="114"/>
                </a:lnTo>
                <a:lnTo>
                  <a:pt x="1440" y="111"/>
                </a:lnTo>
                <a:lnTo>
                  <a:pt x="1435" y="111"/>
                </a:lnTo>
                <a:lnTo>
                  <a:pt x="1431" y="114"/>
                </a:lnTo>
                <a:lnTo>
                  <a:pt x="1428" y="114"/>
                </a:lnTo>
                <a:lnTo>
                  <a:pt x="1426" y="114"/>
                </a:lnTo>
                <a:lnTo>
                  <a:pt x="1425" y="113"/>
                </a:lnTo>
                <a:lnTo>
                  <a:pt x="1424" y="111"/>
                </a:lnTo>
                <a:lnTo>
                  <a:pt x="1425" y="108"/>
                </a:lnTo>
                <a:lnTo>
                  <a:pt x="1426" y="106"/>
                </a:lnTo>
                <a:lnTo>
                  <a:pt x="1427" y="103"/>
                </a:lnTo>
                <a:lnTo>
                  <a:pt x="1425" y="101"/>
                </a:lnTo>
                <a:lnTo>
                  <a:pt x="1422" y="100"/>
                </a:lnTo>
                <a:lnTo>
                  <a:pt x="1418" y="98"/>
                </a:lnTo>
                <a:lnTo>
                  <a:pt x="1420" y="95"/>
                </a:lnTo>
                <a:lnTo>
                  <a:pt x="1423" y="94"/>
                </a:lnTo>
                <a:lnTo>
                  <a:pt x="1425" y="95"/>
                </a:lnTo>
                <a:lnTo>
                  <a:pt x="1428" y="94"/>
                </a:lnTo>
                <a:lnTo>
                  <a:pt x="1432" y="92"/>
                </a:lnTo>
                <a:lnTo>
                  <a:pt x="1436" y="89"/>
                </a:lnTo>
                <a:lnTo>
                  <a:pt x="1441" y="85"/>
                </a:lnTo>
                <a:lnTo>
                  <a:pt x="1446" y="83"/>
                </a:lnTo>
                <a:lnTo>
                  <a:pt x="1450" y="80"/>
                </a:lnTo>
                <a:lnTo>
                  <a:pt x="1456" y="76"/>
                </a:lnTo>
                <a:lnTo>
                  <a:pt x="1453" y="75"/>
                </a:lnTo>
                <a:lnTo>
                  <a:pt x="1451" y="74"/>
                </a:lnTo>
                <a:lnTo>
                  <a:pt x="1449" y="74"/>
                </a:lnTo>
                <a:lnTo>
                  <a:pt x="1447" y="74"/>
                </a:lnTo>
                <a:lnTo>
                  <a:pt x="1442" y="76"/>
                </a:lnTo>
                <a:lnTo>
                  <a:pt x="1439" y="78"/>
                </a:lnTo>
                <a:lnTo>
                  <a:pt x="1428" y="85"/>
                </a:lnTo>
                <a:lnTo>
                  <a:pt x="1419" y="93"/>
                </a:lnTo>
                <a:lnTo>
                  <a:pt x="1409" y="100"/>
                </a:lnTo>
                <a:lnTo>
                  <a:pt x="1399" y="107"/>
                </a:lnTo>
                <a:lnTo>
                  <a:pt x="1387" y="113"/>
                </a:lnTo>
                <a:lnTo>
                  <a:pt x="1377" y="116"/>
                </a:lnTo>
                <a:lnTo>
                  <a:pt x="1389" y="100"/>
                </a:lnTo>
                <a:lnTo>
                  <a:pt x="1400" y="82"/>
                </a:lnTo>
                <a:lnTo>
                  <a:pt x="1403" y="77"/>
                </a:lnTo>
                <a:lnTo>
                  <a:pt x="1407" y="73"/>
                </a:lnTo>
                <a:lnTo>
                  <a:pt x="1408" y="73"/>
                </a:lnTo>
                <a:lnTo>
                  <a:pt x="1409" y="72"/>
                </a:lnTo>
                <a:lnTo>
                  <a:pt x="1409" y="70"/>
                </a:lnTo>
                <a:lnTo>
                  <a:pt x="1410" y="70"/>
                </a:lnTo>
                <a:lnTo>
                  <a:pt x="1411" y="68"/>
                </a:lnTo>
                <a:lnTo>
                  <a:pt x="1414" y="67"/>
                </a:lnTo>
                <a:lnTo>
                  <a:pt x="1413" y="62"/>
                </a:lnTo>
                <a:lnTo>
                  <a:pt x="1411" y="59"/>
                </a:lnTo>
                <a:lnTo>
                  <a:pt x="1415" y="57"/>
                </a:lnTo>
                <a:lnTo>
                  <a:pt x="1417" y="56"/>
                </a:lnTo>
                <a:lnTo>
                  <a:pt x="1420" y="52"/>
                </a:lnTo>
                <a:lnTo>
                  <a:pt x="1423" y="49"/>
                </a:lnTo>
                <a:lnTo>
                  <a:pt x="1425" y="42"/>
                </a:lnTo>
                <a:lnTo>
                  <a:pt x="1427" y="35"/>
                </a:lnTo>
                <a:lnTo>
                  <a:pt x="1431" y="27"/>
                </a:lnTo>
                <a:lnTo>
                  <a:pt x="1436" y="22"/>
                </a:lnTo>
                <a:lnTo>
                  <a:pt x="1439" y="19"/>
                </a:lnTo>
                <a:lnTo>
                  <a:pt x="1442" y="16"/>
                </a:lnTo>
                <a:lnTo>
                  <a:pt x="1446" y="16"/>
                </a:lnTo>
                <a:lnTo>
                  <a:pt x="1448" y="14"/>
                </a:lnTo>
                <a:lnTo>
                  <a:pt x="1448" y="12"/>
                </a:lnTo>
                <a:lnTo>
                  <a:pt x="1448" y="11"/>
                </a:lnTo>
                <a:lnTo>
                  <a:pt x="1448" y="10"/>
                </a:lnTo>
                <a:lnTo>
                  <a:pt x="1447" y="9"/>
                </a:lnTo>
                <a:lnTo>
                  <a:pt x="1443" y="8"/>
                </a:lnTo>
                <a:lnTo>
                  <a:pt x="1441" y="9"/>
                </a:lnTo>
                <a:lnTo>
                  <a:pt x="1439" y="11"/>
                </a:lnTo>
                <a:lnTo>
                  <a:pt x="1438" y="15"/>
                </a:lnTo>
                <a:lnTo>
                  <a:pt x="1436" y="16"/>
                </a:lnTo>
                <a:lnTo>
                  <a:pt x="1434" y="17"/>
                </a:lnTo>
                <a:lnTo>
                  <a:pt x="1427" y="22"/>
                </a:lnTo>
                <a:lnTo>
                  <a:pt x="1423" y="28"/>
                </a:lnTo>
                <a:lnTo>
                  <a:pt x="1418" y="35"/>
                </a:lnTo>
                <a:lnTo>
                  <a:pt x="1413" y="41"/>
                </a:lnTo>
                <a:lnTo>
                  <a:pt x="1411" y="41"/>
                </a:lnTo>
                <a:lnTo>
                  <a:pt x="1410" y="41"/>
                </a:lnTo>
                <a:lnTo>
                  <a:pt x="1410" y="40"/>
                </a:lnTo>
                <a:lnTo>
                  <a:pt x="1410" y="39"/>
                </a:lnTo>
                <a:lnTo>
                  <a:pt x="1413" y="35"/>
                </a:lnTo>
                <a:lnTo>
                  <a:pt x="1414" y="33"/>
                </a:lnTo>
                <a:lnTo>
                  <a:pt x="1418" y="25"/>
                </a:lnTo>
                <a:lnTo>
                  <a:pt x="1423" y="17"/>
                </a:lnTo>
                <a:lnTo>
                  <a:pt x="1425" y="9"/>
                </a:lnTo>
                <a:lnTo>
                  <a:pt x="1425" y="0"/>
                </a:lnTo>
                <a:lnTo>
                  <a:pt x="1418" y="6"/>
                </a:lnTo>
                <a:lnTo>
                  <a:pt x="1410" y="11"/>
                </a:lnTo>
                <a:lnTo>
                  <a:pt x="1403" y="18"/>
                </a:lnTo>
                <a:lnTo>
                  <a:pt x="1397" y="26"/>
                </a:lnTo>
                <a:lnTo>
                  <a:pt x="1384" y="42"/>
                </a:lnTo>
                <a:lnTo>
                  <a:pt x="1369" y="58"/>
                </a:lnTo>
                <a:lnTo>
                  <a:pt x="1361" y="65"/>
                </a:lnTo>
                <a:lnTo>
                  <a:pt x="1351" y="72"/>
                </a:lnTo>
                <a:lnTo>
                  <a:pt x="1342" y="77"/>
                </a:lnTo>
                <a:lnTo>
                  <a:pt x="1332" y="83"/>
                </a:lnTo>
                <a:lnTo>
                  <a:pt x="1323" y="90"/>
                </a:lnTo>
                <a:lnTo>
                  <a:pt x="1314" y="97"/>
                </a:lnTo>
                <a:lnTo>
                  <a:pt x="1303" y="102"/>
                </a:lnTo>
                <a:lnTo>
                  <a:pt x="1294" y="109"/>
                </a:lnTo>
                <a:lnTo>
                  <a:pt x="1275" y="122"/>
                </a:lnTo>
                <a:lnTo>
                  <a:pt x="1255" y="133"/>
                </a:lnTo>
                <a:lnTo>
                  <a:pt x="1235" y="144"/>
                </a:lnTo>
                <a:lnTo>
                  <a:pt x="1214" y="155"/>
                </a:lnTo>
                <a:lnTo>
                  <a:pt x="1194" y="164"/>
                </a:lnTo>
                <a:lnTo>
                  <a:pt x="1174" y="173"/>
                </a:lnTo>
                <a:lnTo>
                  <a:pt x="1152" y="181"/>
                </a:lnTo>
                <a:lnTo>
                  <a:pt x="1130" y="189"/>
                </a:lnTo>
                <a:lnTo>
                  <a:pt x="1120" y="192"/>
                </a:lnTo>
                <a:lnTo>
                  <a:pt x="1109" y="194"/>
                </a:lnTo>
                <a:lnTo>
                  <a:pt x="1096" y="197"/>
                </a:lnTo>
                <a:lnTo>
                  <a:pt x="1085" y="198"/>
                </a:lnTo>
                <a:lnTo>
                  <a:pt x="1082" y="198"/>
                </a:lnTo>
                <a:lnTo>
                  <a:pt x="1080" y="198"/>
                </a:lnTo>
                <a:lnTo>
                  <a:pt x="1078" y="199"/>
                </a:lnTo>
                <a:lnTo>
                  <a:pt x="1077" y="201"/>
                </a:lnTo>
                <a:lnTo>
                  <a:pt x="1079" y="202"/>
                </a:lnTo>
                <a:lnTo>
                  <a:pt x="1082" y="202"/>
                </a:lnTo>
                <a:lnTo>
                  <a:pt x="1088" y="202"/>
                </a:lnTo>
                <a:lnTo>
                  <a:pt x="1095" y="203"/>
                </a:lnTo>
                <a:lnTo>
                  <a:pt x="1100" y="205"/>
                </a:lnTo>
                <a:lnTo>
                  <a:pt x="1105" y="207"/>
                </a:lnTo>
                <a:lnTo>
                  <a:pt x="1094" y="209"/>
                </a:lnTo>
                <a:lnTo>
                  <a:pt x="1081" y="211"/>
                </a:lnTo>
                <a:lnTo>
                  <a:pt x="1069" y="214"/>
                </a:lnTo>
                <a:lnTo>
                  <a:pt x="1056" y="216"/>
                </a:lnTo>
                <a:lnTo>
                  <a:pt x="1045" y="217"/>
                </a:lnTo>
                <a:lnTo>
                  <a:pt x="1034" y="217"/>
                </a:lnTo>
                <a:lnTo>
                  <a:pt x="1028" y="218"/>
                </a:lnTo>
                <a:lnTo>
                  <a:pt x="1022" y="218"/>
                </a:lnTo>
                <a:lnTo>
                  <a:pt x="1016" y="219"/>
                </a:lnTo>
                <a:lnTo>
                  <a:pt x="1011" y="222"/>
                </a:lnTo>
                <a:lnTo>
                  <a:pt x="1013" y="223"/>
                </a:lnTo>
                <a:lnTo>
                  <a:pt x="1015" y="225"/>
                </a:lnTo>
                <a:lnTo>
                  <a:pt x="1018" y="225"/>
                </a:lnTo>
                <a:lnTo>
                  <a:pt x="1021" y="225"/>
                </a:lnTo>
                <a:lnTo>
                  <a:pt x="1024" y="226"/>
                </a:lnTo>
                <a:lnTo>
                  <a:pt x="1028" y="227"/>
                </a:lnTo>
                <a:lnTo>
                  <a:pt x="1032" y="227"/>
                </a:lnTo>
                <a:lnTo>
                  <a:pt x="1036" y="227"/>
                </a:lnTo>
                <a:lnTo>
                  <a:pt x="1032" y="228"/>
                </a:lnTo>
                <a:lnTo>
                  <a:pt x="1030" y="228"/>
                </a:lnTo>
                <a:lnTo>
                  <a:pt x="1024" y="230"/>
                </a:lnTo>
                <a:lnTo>
                  <a:pt x="1018" y="230"/>
                </a:lnTo>
                <a:lnTo>
                  <a:pt x="1011" y="230"/>
                </a:lnTo>
                <a:lnTo>
                  <a:pt x="1005" y="232"/>
                </a:lnTo>
                <a:lnTo>
                  <a:pt x="1007" y="234"/>
                </a:lnTo>
                <a:lnTo>
                  <a:pt x="1010" y="236"/>
                </a:lnTo>
                <a:lnTo>
                  <a:pt x="1013" y="236"/>
                </a:lnTo>
                <a:lnTo>
                  <a:pt x="1016" y="234"/>
                </a:lnTo>
                <a:lnTo>
                  <a:pt x="1020" y="234"/>
                </a:lnTo>
                <a:lnTo>
                  <a:pt x="1024" y="234"/>
                </a:lnTo>
                <a:lnTo>
                  <a:pt x="1028" y="236"/>
                </a:lnTo>
                <a:lnTo>
                  <a:pt x="1031" y="238"/>
                </a:lnTo>
                <a:lnTo>
                  <a:pt x="1024" y="240"/>
                </a:lnTo>
                <a:lnTo>
                  <a:pt x="1018" y="240"/>
                </a:lnTo>
                <a:lnTo>
                  <a:pt x="1011" y="240"/>
                </a:lnTo>
                <a:lnTo>
                  <a:pt x="1004" y="241"/>
                </a:lnTo>
                <a:lnTo>
                  <a:pt x="998" y="242"/>
                </a:lnTo>
                <a:lnTo>
                  <a:pt x="993" y="243"/>
                </a:lnTo>
                <a:lnTo>
                  <a:pt x="986" y="241"/>
                </a:lnTo>
                <a:lnTo>
                  <a:pt x="980" y="239"/>
                </a:lnTo>
                <a:lnTo>
                  <a:pt x="975" y="238"/>
                </a:lnTo>
                <a:lnTo>
                  <a:pt x="971" y="236"/>
                </a:lnTo>
                <a:lnTo>
                  <a:pt x="972" y="240"/>
                </a:lnTo>
                <a:lnTo>
                  <a:pt x="972" y="243"/>
                </a:lnTo>
                <a:lnTo>
                  <a:pt x="970" y="246"/>
                </a:lnTo>
                <a:lnTo>
                  <a:pt x="968" y="247"/>
                </a:lnTo>
                <a:lnTo>
                  <a:pt x="964" y="247"/>
                </a:lnTo>
                <a:lnTo>
                  <a:pt x="961" y="247"/>
                </a:lnTo>
                <a:lnTo>
                  <a:pt x="955" y="246"/>
                </a:lnTo>
                <a:lnTo>
                  <a:pt x="949" y="242"/>
                </a:lnTo>
                <a:lnTo>
                  <a:pt x="950" y="244"/>
                </a:lnTo>
                <a:lnTo>
                  <a:pt x="950" y="247"/>
                </a:lnTo>
                <a:lnTo>
                  <a:pt x="949" y="247"/>
                </a:lnTo>
                <a:lnTo>
                  <a:pt x="948" y="248"/>
                </a:lnTo>
                <a:lnTo>
                  <a:pt x="945" y="248"/>
                </a:lnTo>
                <a:lnTo>
                  <a:pt x="941" y="248"/>
                </a:lnTo>
                <a:lnTo>
                  <a:pt x="929" y="249"/>
                </a:lnTo>
                <a:lnTo>
                  <a:pt x="916" y="249"/>
                </a:lnTo>
                <a:lnTo>
                  <a:pt x="904" y="249"/>
                </a:lnTo>
                <a:lnTo>
                  <a:pt x="890" y="249"/>
                </a:lnTo>
                <a:lnTo>
                  <a:pt x="878" y="248"/>
                </a:lnTo>
                <a:lnTo>
                  <a:pt x="865" y="247"/>
                </a:lnTo>
                <a:lnTo>
                  <a:pt x="853" y="246"/>
                </a:lnTo>
                <a:lnTo>
                  <a:pt x="840" y="243"/>
                </a:lnTo>
                <a:lnTo>
                  <a:pt x="834" y="242"/>
                </a:lnTo>
                <a:lnTo>
                  <a:pt x="829" y="241"/>
                </a:lnTo>
                <a:lnTo>
                  <a:pt x="824" y="239"/>
                </a:lnTo>
                <a:lnTo>
                  <a:pt x="820" y="239"/>
                </a:lnTo>
                <a:lnTo>
                  <a:pt x="820" y="240"/>
                </a:lnTo>
                <a:lnTo>
                  <a:pt x="820" y="240"/>
                </a:lnTo>
                <a:lnTo>
                  <a:pt x="821" y="241"/>
                </a:lnTo>
                <a:lnTo>
                  <a:pt x="823" y="242"/>
                </a:lnTo>
                <a:lnTo>
                  <a:pt x="826" y="243"/>
                </a:lnTo>
                <a:lnTo>
                  <a:pt x="830" y="244"/>
                </a:lnTo>
                <a:lnTo>
                  <a:pt x="839" y="247"/>
                </a:lnTo>
                <a:lnTo>
                  <a:pt x="848" y="248"/>
                </a:lnTo>
                <a:lnTo>
                  <a:pt x="843" y="249"/>
                </a:lnTo>
                <a:lnTo>
                  <a:pt x="840" y="249"/>
                </a:lnTo>
                <a:lnTo>
                  <a:pt x="835" y="248"/>
                </a:lnTo>
                <a:lnTo>
                  <a:pt x="831" y="248"/>
                </a:lnTo>
                <a:lnTo>
                  <a:pt x="823" y="246"/>
                </a:lnTo>
                <a:lnTo>
                  <a:pt x="815" y="247"/>
                </a:lnTo>
                <a:lnTo>
                  <a:pt x="821" y="249"/>
                </a:lnTo>
                <a:lnTo>
                  <a:pt x="828" y="250"/>
                </a:lnTo>
                <a:lnTo>
                  <a:pt x="825" y="252"/>
                </a:lnTo>
                <a:lnTo>
                  <a:pt x="823" y="254"/>
                </a:lnTo>
                <a:lnTo>
                  <a:pt x="822" y="255"/>
                </a:lnTo>
                <a:lnTo>
                  <a:pt x="820" y="255"/>
                </a:lnTo>
                <a:lnTo>
                  <a:pt x="818" y="252"/>
                </a:lnTo>
                <a:lnTo>
                  <a:pt x="818" y="251"/>
                </a:lnTo>
                <a:lnTo>
                  <a:pt x="815" y="252"/>
                </a:lnTo>
                <a:lnTo>
                  <a:pt x="813" y="254"/>
                </a:lnTo>
                <a:lnTo>
                  <a:pt x="809" y="251"/>
                </a:lnTo>
                <a:lnTo>
                  <a:pt x="806" y="248"/>
                </a:lnTo>
                <a:lnTo>
                  <a:pt x="809" y="247"/>
                </a:lnTo>
                <a:lnTo>
                  <a:pt x="810" y="246"/>
                </a:lnTo>
                <a:lnTo>
                  <a:pt x="809" y="244"/>
                </a:lnTo>
                <a:lnTo>
                  <a:pt x="807" y="242"/>
                </a:lnTo>
                <a:lnTo>
                  <a:pt x="799" y="240"/>
                </a:lnTo>
                <a:lnTo>
                  <a:pt x="792" y="239"/>
                </a:lnTo>
                <a:lnTo>
                  <a:pt x="783" y="236"/>
                </a:lnTo>
                <a:lnTo>
                  <a:pt x="775" y="233"/>
                </a:lnTo>
                <a:lnTo>
                  <a:pt x="771" y="232"/>
                </a:lnTo>
                <a:lnTo>
                  <a:pt x="767" y="230"/>
                </a:lnTo>
                <a:lnTo>
                  <a:pt x="765" y="228"/>
                </a:lnTo>
                <a:lnTo>
                  <a:pt x="763" y="228"/>
                </a:lnTo>
                <a:lnTo>
                  <a:pt x="760" y="228"/>
                </a:lnTo>
                <a:lnTo>
                  <a:pt x="759" y="230"/>
                </a:lnTo>
                <a:lnTo>
                  <a:pt x="764" y="234"/>
                </a:lnTo>
                <a:lnTo>
                  <a:pt x="769" y="236"/>
                </a:lnTo>
                <a:lnTo>
                  <a:pt x="772" y="235"/>
                </a:lnTo>
                <a:lnTo>
                  <a:pt x="774" y="234"/>
                </a:lnTo>
                <a:lnTo>
                  <a:pt x="775" y="238"/>
                </a:lnTo>
                <a:lnTo>
                  <a:pt x="776" y="240"/>
                </a:lnTo>
                <a:lnTo>
                  <a:pt x="777" y="240"/>
                </a:lnTo>
                <a:lnTo>
                  <a:pt x="780" y="240"/>
                </a:lnTo>
                <a:lnTo>
                  <a:pt x="783" y="241"/>
                </a:lnTo>
                <a:lnTo>
                  <a:pt x="788" y="243"/>
                </a:lnTo>
                <a:lnTo>
                  <a:pt x="780" y="243"/>
                </a:lnTo>
                <a:lnTo>
                  <a:pt x="773" y="241"/>
                </a:lnTo>
                <a:lnTo>
                  <a:pt x="766" y="239"/>
                </a:lnTo>
                <a:lnTo>
                  <a:pt x="760" y="236"/>
                </a:lnTo>
                <a:lnTo>
                  <a:pt x="752" y="233"/>
                </a:lnTo>
                <a:lnTo>
                  <a:pt x="744" y="231"/>
                </a:lnTo>
                <a:lnTo>
                  <a:pt x="742" y="232"/>
                </a:lnTo>
                <a:lnTo>
                  <a:pt x="742" y="234"/>
                </a:lnTo>
                <a:lnTo>
                  <a:pt x="743" y="235"/>
                </a:lnTo>
                <a:lnTo>
                  <a:pt x="744" y="235"/>
                </a:lnTo>
                <a:lnTo>
                  <a:pt x="747" y="235"/>
                </a:lnTo>
                <a:lnTo>
                  <a:pt x="748" y="236"/>
                </a:lnTo>
                <a:lnTo>
                  <a:pt x="748" y="239"/>
                </a:lnTo>
                <a:lnTo>
                  <a:pt x="747" y="240"/>
                </a:lnTo>
                <a:lnTo>
                  <a:pt x="743" y="240"/>
                </a:lnTo>
                <a:lnTo>
                  <a:pt x="741" y="238"/>
                </a:lnTo>
                <a:lnTo>
                  <a:pt x="739" y="235"/>
                </a:lnTo>
                <a:lnTo>
                  <a:pt x="736" y="234"/>
                </a:lnTo>
                <a:lnTo>
                  <a:pt x="733" y="231"/>
                </a:lnTo>
                <a:lnTo>
                  <a:pt x="729" y="227"/>
                </a:lnTo>
                <a:lnTo>
                  <a:pt x="725" y="230"/>
                </a:lnTo>
                <a:lnTo>
                  <a:pt x="723" y="234"/>
                </a:lnTo>
                <a:lnTo>
                  <a:pt x="729" y="234"/>
                </a:lnTo>
                <a:lnTo>
                  <a:pt x="733" y="236"/>
                </a:lnTo>
                <a:lnTo>
                  <a:pt x="739" y="240"/>
                </a:lnTo>
                <a:lnTo>
                  <a:pt x="743" y="243"/>
                </a:lnTo>
                <a:lnTo>
                  <a:pt x="740" y="244"/>
                </a:lnTo>
                <a:lnTo>
                  <a:pt x="738" y="244"/>
                </a:lnTo>
                <a:lnTo>
                  <a:pt x="735" y="244"/>
                </a:lnTo>
                <a:lnTo>
                  <a:pt x="733" y="243"/>
                </a:lnTo>
                <a:lnTo>
                  <a:pt x="730" y="240"/>
                </a:lnTo>
                <a:lnTo>
                  <a:pt x="729" y="238"/>
                </a:lnTo>
                <a:lnTo>
                  <a:pt x="726" y="238"/>
                </a:lnTo>
                <a:lnTo>
                  <a:pt x="724" y="238"/>
                </a:lnTo>
                <a:lnTo>
                  <a:pt x="722" y="238"/>
                </a:lnTo>
                <a:lnTo>
                  <a:pt x="719" y="236"/>
                </a:lnTo>
                <a:lnTo>
                  <a:pt x="717" y="236"/>
                </a:lnTo>
                <a:lnTo>
                  <a:pt x="717" y="238"/>
                </a:lnTo>
                <a:lnTo>
                  <a:pt x="717" y="240"/>
                </a:lnTo>
                <a:lnTo>
                  <a:pt x="717" y="242"/>
                </a:lnTo>
                <a:lnTo>
                  <a:pt x="711" y="241"/>
                </a:lnTo>
                <a:lnTo>
                  <a:pt x="707" y="240"/>
                </a:lnTo>
                <a:lnTo>
                  <a:pt x="705" y="239"/>
                </a:lnTo>
                <a:lnTo>
                  <a:pt x="702" y="238"/>
                </a:lnTo>
                <a:lnTo>
                  <a:pt x="701" y="234"/>
                </a:lnTo>
                <a:lnTo>
                  <a:pt x="699" y="231"/>
                </a:lnTo>
                <a:lnTo>
                  <a:pt x="697" y="231"/>
                </a:lnTo>
                <a:lnTo>
                  <a:pt x="694" y="230"/>
                </a:lnTo>
                <a:lnTo>
                  <a:pt x="693" y="232"/>
                </a:lnTo>
                <a:lnTo>
                  <a:pt x="693" y="234"/>
                </a:lnTo>
                <a:lnTo>
                  <a:pt x="690" y="234"/>
                </a:lnTo>
                <a:lnTo>
                  <a:pt x="689" y="232"/>
                </a:lnTo>
                <a:lnTo>
                  <a:pt x="689" y="231"/>
                </a:lnTo>
                <a:lnTo>
                  <a:pt x="689" y="230"/>
                </a:lnTo>
                <a:lnTo>
                  <a:pt x="691" y="228"/>
                </a:lnTo>
                <a:lnTo>
                  <a:pt x="694" y="228"/>
                </a:lnTo>
                <a:lnTo>
                  <a:pt x="693" y="226"/>
                </a:lnTo>
                <a:lnTo>
                  <a:pt x="691" y="225"/>
                </a:lnTo>
                <a:lnTo>
                  <a:pt x="689" y="224"/>
                </a:lnTo>
                <a:lnTo>
                  <a:pt x="686" y="224"/>
                </a:lnTo>
                <a:lnTo>
                  <a:pt x="689" y="223"/>
                </a:lnTo>
                <a:lnTo>
                  <a:pt x="690" y="222"/>
                </a:lnTo>
                <a:lnTo>
                  <a:pt x="686" y="219"/>
                </a:lnTo>
                <a:lnTo>
                  <a:pt x="683" y="218"/>
                </a:lnTo>
                <a:lnTo>
                  <a:pt x="680" y="217"/>
                </a:lnTo>
                <a:lnTo>
                  <a:pt x="678" y="217"/>
                </a:lnTo>
                <a:lnTo>
                  <a:pt x="678" y="219"/>
                </a:lnTo>
                <a:lnTo>
                  <a:pt x="680" y="222"/>
                </a:lnTo>
                <a:lnTo>
                  <a:pt x="670" y="218"/>
                </a:lnTo>
                <a:lnTo>
                  <a:pt x="661" y="217"/>
                </a:lnTo>
                <a:lnTo>
                  <a:pt x="667" y="221"/>
                </a:lnTo>
                <a:lnTo>
                  <a:pt x="673" y="224"/>
                </a:lnTo>
                <a:lnTo>
                  <a:pt x="675" y="225"/>
                </a:lnTo>
                <a:lnTo>
                  <a:pt x="677" y="227"/>
                </a:lnTo>
                <a:lnTo>
                  <a:pt x="677" y="230"/>
                </a:lnTo>
                <a:lnTo>
                  <a:pt x="676" y="232"/>
                </a:lnTo>
                <a:lnTo>
                  <a:pt x="680" y="233"/>
                </a:lnTo>
                <a:lnTo>
                  <a:pt x="683" y="233"/>
                </a:lnTo>
                <a:lnTo>
                  <a:pt x="680" y="235"/>
                </a:lnTo>
                <a:lnTo>
                  <a:pt x="676" y="235"/>
                </a:lnTo>
                <a:lnTo>
                  <a:pt x="674" y="234"/>
                </a:lnTo>
                <a:lnTo>
                  <a:pt x="670" y="232"/>
                </a:lnTo>
                <a:lnTo>
                  <a:pt x="668" y="231"/>
                </a:lnTo>
                <a:lnTo>
                  <a:pt x="664" y="230"/>
                </a:lnTo>
                <a:lnTo>
                  <a:pt x="662" y="228"/>
                </a:lnTo>
                <a:lnTo>
                  <a:pt x="660" y="228"/>
                </a:lnTo>
                <a:lnTo>
                  <a:pt x="660" y="230"/>
                </a:lnTo>
                <a:lnTo>
                  <a:pt x="660" y="231"/>
                </a:lnTo>
                <a:lnTo>
                  <a:pt x="664" y="233"/>
                </a:lnTo>
                <a:lnTo>
                  <a:pt x="668" y="233"/>
                </a:lnTo>
                <a:lnTo>
                  <a:pt x="672" y="239"/>
                </a:lnTo>
                <a:lnTo>
                  <a:pt x="676" y="242"/>
                </a:lnTo>
                <a:lnTo>
                  <a:pt x="678" y="243"/>
                </a:lnTo>
                <a:lnTo>
                  <a:pt x="682" y="244"/>
                </a:lnTo>
                <a:lnTo>
                  <a:pt x="684" y="247"/>
                </a:lnTo>
                <a:lnTo>
                  <a:pt x="685" y="249"/>
                </a:lnTo>
                <a:lnTo>
                  <a:pt x="691" y="251"/>
                </a:lnTo>
                <a:lnTo>
                  <a:pt x="698" y="251"/>
                </a:lnTo>
                <a:lnTo>
                  <a:pt x="700" y="252"/>
                </a:lnTo>
                <a:lnTo>
                  <a:pt x="702" y="255"/>
                </a:lnTo>
                <a:lnTo>
                  <a:pt x="705" y="258"/>
                </a:lnTo>
                <a:lnTo>
                  <a:pt x="708" y="259"/>
                </a:lnTo>
                <a:lnTo>
                  <a:pt x="711" y="260"/>
                </a:lnTo>
                <a:lnTo>
                  <a:pt x="714" y="263"/>
                </a:lnTo>
                <a:lnTo>
                  <a:pt x="718" y="264"/>
                </a:lnTo>
                <a:lnTo>
                  <a:pt x="723" y="266"/>
                </a:lnTo>
                <a:lnTo>
                  <a:pt x="725" y="267"/>
                </a:lnTo>
                <a:lnTo>
                  <a:pt x="725" y="268"/>
                </a:lnTo>
                <a:lnTo>
                  <a:pt x="724" y="269"/>
                </a:lnTo>
                <a:lnTo>
                  <a:pt x="722" y="271"/>
                </a:lnTo>
                <a:lnTo>
                  <a:pt x="719" y="268"/>
                </a:lnTo>
                <a:lnTo>
                  <a:pt x="717" y="267"/>
                </a:lnTo>
                <a:lnTo>
                  <a:pt x="714" y="267"/>
                </a:lnTo>
                <a:lnTo>
                  <a:pt x="710" y="266"/>
                </a:lnTo>
                <a:lnTo>
                  <a:pt x="709" y="264"/>
                </a:lnTo>
                <a:lnTo>
                  <a:pt x="708" y="263"/>
                </a:lnTo>
                <a:lnTo>
                  <a:pt x="706" y="261"/>
                </a:lnTo>
                <a:lnTo>
                  <a:pt x="703" y="260"/>
                </a:lnTo>
                <a:lnTo>
                  <a:pt x="694" y="257"/>
                </a:lnTo>
                <a:lnTo>
                  <a:pt x="685" y="252"/>
                </a:lnTo>
                <a:lnTo>
                  <a:pt x="678" y="249"/>
                </a:lnTo>
                <a:lnTo>
                  <a:pt x="670" y="247"/>
                </a:lnTo>
                <a:lnTo>
                  <a:pt x="666" y="246"/>
                </a:lnTo>
                <a:lnTo>
                  <a:pt x="662" y="246"/>
                </a:lnTo>
                <a:lnTo>
                  <a:pt x="659" y="243"/>
                </a:lnTo>
                <a:lnTo>
                  <a:pt x="657" y="241"/>
                </a:lnTo>
                <a:lnTo>
                  <a:pt x="655" y="239"/>
                </a:lnTo>
                <a:lnTo>
                  <a:pt x="652" y="239"/>
                </a:lnTo>
                <a:lnTo>
                  <a:pt x="650" y="238"/>
                </a:lnTo>
                <a:lnTo>
                  <a:pt x="648" y="235"/>
                </a:lnTo>
                <a:lnTo>
                  <a:pt x="645" y="234"/>
                </a:lnTo>
                <a:lnTo>
                  <a:pt x="643" y="232"/>
                </a:lnTo>
                <a:lnTo>
                  <a:pt x="639" y="232"/>
                </a:lnTo>
                <a:lnTo>
                  <a:pt x="634" y="231"/>
                </a:lnTo>
                <a:lnTo>
                  <a:pt x="618" y="222"/>
                </a:lnTo>
                <a:lnTo>
                  <a:pt x="601" y="214"/>
                </a:lnTo>
                <a:lnTo>
                  <a:pt x="598" y="211"/>
                </a:lnTo>
                <a:lnTo>
                  <a:pt x="593" y="211"/>
                </a:lnTo>
                <a:lnTo>
                  <a:pt x="593" y="214"/>
                </a:lnTo>
                <a:lnTo>
                  <a:pt x="593" y="216"/>
                </a:lnTo>
                <a:lnTo>
                  <a:pt x="595" y="217"/>
                </a:lnTo>
                <a:lnTo>
                  <a:pt x="598" y="218"/>
                </a:lnTo>
                <a:lnTo>
                  <a:pt x="601" y="221"/>
                </a:lnTo>
                <a:lnTo>
                  <a:pt x="603" y="225"/>
                </a:lnTo>
                <a:lnTo>
                  <a:pt x="600" y="225"/>
                </a:lnTo>
                <a:lnTo>
                  <a:pt x="596" y="225"/>
                </a:lnTo>
                <a:lnTo>
                  <a:pt x="595" y="226"/>
                </a:lnTo>
                <a:lnTo>
                  <a:pt x="593" y="228"/>
                </a:lnTo>
                <a:lnTo>
                  <a:pt x="592" y="226"/>
                </a:lnTo>
                <a:lnTo>
                  <a:pt x="593" y="224"/>
                </a:lnTo>
                <a:lnTo>
                  <a:pt x="591" y="223"/>
                </a:lnTo>
                <a:lnTo>
                  <a:pt x="587" y="222"/>
                </a:lnTo>
                <a:lnTo>
                  <a:pt x="582" y="216"/>
                </a:lnTo>
                <a:lnTo>
                  <a:pt x="575" y="211"/>
                </a:lnTo>
                <a:lnTo>
                  <a:pt x="574" y="211"/>
                </a:lnTo>
                <a:lnTo>
                  <a:pt x="573" y="213"/>
                </a:lnTo>
                <a:lnTo>
                  <a:pt x="573" y="217"/>
                </a:lnTo>
                <a:lnTo>
                  <a:pt x="573" y="222"/>
                </a:lnTo>
                <a:lnTo>
                  <a:pt x="570" y="221"/>
                </a:lnTo>
                <a:lnTo>
                  <a:pt x="569" y="221"/>
                </a:lnTo>
                <a:lnTo>
                  <a:pt x="569" y="218"/>
                </a:lnTo>
                <a:lnTo>
                  <a:pt x="568" y="217"/>
                </a:lnTo>
                <a:lnTo>
                  <a:pt x="568" y="216"/>
                </a:lnTo>
                <a:lnTo>
                  <a:pt x="566" y="215"/>
                </a:lnTo>
                <a:lnTo>
                  <a:pt x="565" y="215"/>
                </a:lnTo>
                <a:lnTo>
                  <a:pt x="563" y="217"/>
                </a:lnTo>
                <a:lnTo>
                  <a:pt x="562" y="216"/>
                </a:lnTo>
                <a:lnTo>
                  <a:pt x="560" y="216"/>
                </a:lnTo>
                <a:lnTo>
                  <a:pt x="559" y="217"/>
                </a:lnTo>
                <a:lnTo>
                  <a:pt x="560" y="219"/>
                </a:lnTo>
                <a:lnTo>
                  <a:pt x="562" y="221"/>
                </a:lnTo>
                <a:lnTo>
                  <a:pt x="566" y="224"/>
                </a:lnTo>
                <a:lnTo>
                  <a:pt x="566" y="226"/>
                </a:lnTo>
                <a:lnTo>
                  <a:pt x="565" y="227"/>
                </a:lnTo>
                <a:lnTo>
                  <a:pt x="565" y="228"/>
                </a:lnTo>
                <a:lnTo>
                  <a:pt x="567" y="230"/>
                </a:lnTo>
                <a:lnTo>
                  <a:pt x="569" y="230"/>
                </a:lnTo>
                <a:lnTo>
                  <a:pt x="573" y="230"/>
                </a:lnTo>
                <a:lnTo>
                  <a:pt x="574" y="231"/>
                </a:lnTo>
                <a:lnTo>
                  <a:pt x="575" y="232"/>
                </a:lnTo>
                <a:lnTo>
                  <a:pt x="578" y="236"/>
                </a:lnTo>
                <a:lnTo>
                  <a:pt x="582" y="239"/>
                </a:lnTo>
                <a:lnTo>
                  <a:pt x="586" y="241"/>
                </a:lnTo>
                <a:lnTo>
                  <a:pt x="591" y="242"/>
                </a:lnTo>
                <a:lnTo>
                  <a:pt x="603" y="251"/>
                </a:lnTo>
                <a:lnTo>
                  <a:pt x="616" y="259"/>
                </a:lnTo>
                <a:lnTo>
                  <a:pt x="620" y="261"/>
                </a:lnTo>
                <a:lnTo>
                  <a:pt x="624" y="264"/>
                </a:lnTo>
                <a:lnTo>
                  <a:pt x="626" y="266"/>
                </a:lnTo>
                <a:lnTo>
                  <a:pt x="627" y="266"/>
                </a:lnTo>
                <a:lnTo>
                  <a:pt x="627" y="265"/>
                </a:lnTo>
                <a:lnTo>
                  <a:pt x="627" y="264"/>
                </a:lnTo>
                <a:lnTo>
                  <a:pt x="624" y="258"/>
                </a:lnTo>
                <a:lnTo>
                  <a:pt x="619" y="255"/>
                </a:lnTo>
                <a:lnTo>
                  <a:pt x="616" y="255"/>
                </a:lnTo>
                <a:lnTo>
                  <a:pt x="614" y="255"/>
                </a:lnTo>
                <a:lnTo>
                  <a:pt x="614" y="254"/>
                </a:lnTo>
                <a:lnTo>
                  <a:pt x="614" y="251"/>
                </a:lnTo>
                <a:lnTo>
                  <a:pt x="612" y="250"/>
                </a:lnTo>
                <a:lnTo>
                  <a:pt x="609" y="249"/>
                </a:lnTo>
                <a:lnTo>
                  <a:pt x="606" y="247"/>
                </a:lnTo>
                <a:lnTo>
                  <a:pt x="603" y="243"/>
                </a:lnTo>
                <a:lnTo>
                  <a:pt x="599" y="241"/>
                </a:lnTo>
                <a:lnTo>
                  <a:pt x="594" y="240"/>
                </a:lnTo>
                <a:lnTo>
                  <a:pt x="592" y="236"/>
                </a:lnTo>
                <a:lnTo>
                  <a:pt x="591" y="232"/>
                </a:lnTo>
                <a:lnTo>
                  <a:pt x="600" y="238"/>
                </a:lnTo>
                <a:lnTo>
                  <a:pt x="610" y="241"/>
                </a:lnTo>
                <a:lnTo>
                  <a:pt x="615" y="242"/>
                </a:lnTo>
                <a:lnTo>
                  <a:pt x="617" y="244"/>
                </a:lnTo>
                <a:lnTo>
                  <a:pt x="616" y="246"/>
                </a:lnTo>
                <a:lnTo>
                  <a:pt x="616" y="248"/>
                </a:lnTo>
                <a:lnTo>
                  <a:pt x="616" y="250"/>
                </a:lnTo>
                <a:lnTo>
                  <a:pt x="618" y="252"/>
                </a:lnTo>
                <a:lnTo>
                  <a:pt x="624" y="252"/>
                </a:lnTo>
                <a:lnTo>
                  <a:pt x="629" y="254"/>
                </a:lnTo>
                <a:lnTo>
                  <a:pt x="629" y="257"/>
                </a:lnTo>
                <a:lnTo>
                  <a:pt x="632" y="259"/>
                </a:lnTo>
                <a:lnTo>
                  <a:pt x="634" y="260"/>
                </a:lnTo>
                <a:lnTo>
                  <a:pt x="637" y="260"/>
                </a:lnTo>
                <a:lnTo>
                  <a:pt x="636" y="257"/>
                </a:lnTo>
                <a:lnTo>
                  <a:pt x="635" y="255"/>
                </a:lnTo>
                <a:lnTo>
                  <a:pt x="633" y="254"/>
                </a:lnTo>
                <a:lnTo>
                  <a:pt x="629" y="254"/>
                </a:lnTo>
                <a:lnTo>
                  <a:pt x="631" y="251"/>
                </a:lnTo>
                <a:lnTo>
                  <a:pt x="633" y="251"/>
                </a:lnTo>
                <a:lnTo>
                  <a:pt x="635" y="251"/>
                </a:lnTo>
                <a:lnTo>
                  <a:pt x="637" y="254"/>
                </a:lnTo>
                <a:lnTo>
                  <a:pt x="641" y="258"/>
                </a:lnTo>
                <a:lnTo>
                  <a:pt x="645" y="261"/>
                </a:lnTo>
                <a:lnTo>
                  <a:pt x="658" y="263"/>
                </a:lnTo>
                <a:lnTo>
                  <a:pt x="672" y="263"/>
                </a:lnTo>
                <a:lnTo>
                  <a:pt x="667" y="260"/>
                </a:lnTo>
                <a:lnTo>
                  <a:pt x="664" y="258"/>
                </a:lnTo>
                <a:lnTo>
                  <a:pt x="664" y="256"/>
                </a:lnTo>
                <a:lnTo>
                  <a:pt x="666" y="255"/>
                </a:lnTo>
                <a:lnTo>
                  <a:pt x="668" y="255"/>
                </a:lnTo>
                <a:lnTo>
                  <a:pt x="669" y="256"/>
                </a:lnTo>
                <a:lnTo>
                  <a:pt x="673" y="257"/>
                </a:lnTo>
                <a:lnTo>
                  <a:pt x="675" y="259"/>
                </a:lnTo>
                <a:lnTo>
                  <a:pt x="674" y="260"/>
                </a:lnTo>
                <a:lnTo>
                  <a:pt x="673" y="261"/>
                </a:lnTo>
                <a:lnTo>
                  <a:pt x="669" y="265"/>
                </a:lnTo>
                <a:lnTo>
                  <a:pt x="667" y="268"/>
                </a:lnTo>
                <a:lnTo>
                  <a:pt x="669" y="272"/>
                </a:lnTo>
                <a:lnTo>
                  <a:pt x="673" y="274"/>
                </a:lnTo>
                <a:lnTo>
                  <a:pt x="674" y="276"/>
                </a:lnTo>
                <a:lnTo>
                  <a:pt x="675" y="279"/>
                </a:lnTo>
                <a:lnTo>
                  <a:pt x="675" y="281"/>
                </a:lnTo>
                <a:lnTo>
                  <a:pt x="676" y="282"/>
                </a:lnTo>
                <a:lnTo>
                  <a:pt x="680" y="283"/>
                </a:lnTo>
                <a:lnTo>
                  <a:pt x="682" y="284"/>
                </a:lnTo>
                <a:lnTo>
                  <a:pt x="683" y="286"/>
                </a:lnTo>
                <a:lnTo>
                  <a:pt x="685" y="288"/>
                </a:lnTo>
                <a:lnTo>
                  <a:pt x="688" y="288"/>
                </a:lnTo>
                <a:lnTo>
                  <a:pt x="690" y="288"/>
                </a:lnTo>
                <a:lnTo>
                  <a:pt x="693" y="288"/>
                </a:lnTo>
                <a:lnTo>
                  <a:pt x="698" y="290"/>
                </a:lnTo>
                <a:lnTo>
                  <a:pt x="694" y="292"/>
                </a:lnTo>
                <a:lnTo>
                  <a:pt x="691" y="293"/>
                </a:lnTo>
                <a:lnTo>
                  <a:pt x="688" y="292"/>
                </a:lnTo>
                <a:lnTo>
                  <a:pt x="684" y="290"/>
                </a:lnTo>
                <a:lnTo>
                  <a:pt x="680" y="289"/>
                </a:lnTo>
                <a:lnTo>
                  <a:pt x="675" y="286"/>
                </a:lnTo>
                <a:lnTo>
                  <a:pt x="673" y="284"/>
                </a:lnTo>
                <a:lnTo>
                  <a:pt x="672" y="283"/>
                </a:lnTo>
                <a:lnTo>
                  <a:pt x="670" y="281"/>
                </a:lnTo>
                <a:lnTo>
                  <a:pt x="669" y="280"/>
                </a:lnTo>
                <a:lnTo>
                  <a:pt x="667" y="281"/>
                </a:lnTo>
                <a:lnTo>
                  <a:pt x="665" y="281"/>
                </a:lnTo>
                <a:lnTo>
                  <a:pt x="660" y="280"/>
                </a:lnTo>
                <a:lnTo>
                  <a:pt x="656" y="276"/>
                </a:lnTo>
                <a:lnTo>
                  <a:pt x="644" y="271"/>
                </a:lnTo>
                <a:lnTo>
                  <a:pt x="633" y="264"/>
                </a:lnTo>
                <a:lnTo>
                  <a:pt x="634" y="267"/>
                </a:lnTo>
                <a:lnTo>
                  <a:pt x="634" y="269"/>
                </a:lnTo>
                <a:lnTo>
                  <a:pt x="636" y="271"/>
                </a:lnTo>
                <a:lnTo>
                  <a:pt x="639" y="272"/>
                </a:lnTo>
                <a:lnTo>
                  <a:pt x="642" y="273"/>
                </a:lnTo>
                <a:lnTo>
                  <a:pt x="645" y="274"/>
                </a:lnTo>
                <a:lnTo>
                  <a:pt x="651" y="280"/>
                </a:lnTo>
                <a:lnTo>
                  <a:pt x="657" y="285"/>
                </a:lnTo>
                <a:lnTo>
                  <a:pt x="655" y="285"/>
                </a:lnTo>
                <a:lnTo>
                  <a:pt x="652" y="285"/>
                </a:lnTo>
                <a:lnTo>
                  <a:pt x="656" y="289"/>
                </a:lnTo>
                <a:lnTo>
                  <a:pt x="659" y="293"/>
                </a:lnTo>
                <a:lnTo>
                  <a:pt x="658" y="293"/>
                </a:lnTo>
                <a:lnTo>
                  <a:pt x="657" y="293"/>
                </a:lnTo>
                <a:lnTo>
                  <a:pt x="656" y="294"/>
                </a:lnTo>
                <a:lnTo>
                  <a:pt x="657" y="296"/>
                </a:lnTo>
                <a:lnTo>
                  <a:pt x="664" y="298"/>
                </a:lnTo>
                <a:lnTo>
                  <a:pt x="670" y="299"/>
                </a:lnTo>
                <a:lnTo>
                  <a:pt x="667" y="296"/>
                </a:lnTo>
                <a:lnTo>
                  <a:pt x="662" y="292"/>
                </a:lnTo>
                <a:lnTo>
                  <a:pt x="659" y="288"/>
                </a:lnTo>
                <a:lnTo>
                  <a:pt x="659" y="284"/>
                </a:lnTo>
                <a:lnTo>
                  <a:pt x="668" y="289"/>
                </a:lnTo>
                <a:lnTo>
                  <a:pt x="678" y="294"/>
                </a:lnTo>
                <a:lnTo>
                  <a:pt x="681" y="296"/>
                </a:lnTo>
                <a:lnTo>
                  <a:pt x="684" y="298"/>
                </a:lnTo>
                <a:lnTo>
                  <a:pt x="685" y="300"/>
                </a:lnTo>
                <a:lnTo>
                  <a:pt x="688" y="304"/>
                </a:lnTo>
                <a:lnTo>
                  <a:pt x="690" y="302"/>
                </a:lnTo>
                <a:lnTo>
                  <a:pt x="692" y="301"/>
                </a:lnTo>
                <a:lnTo>
                  <a:pt x="694" y="301"/>
                </a:lnTo>
                <a:lnTo>
                  <a:pt x="698" y="302"/>
                </a:lnTo>
                <a:lnTo>
                  <a:pt x="702" y="302"/>
                </a:lnTo>
                <a:lnTo>
                  <a:pt x="707" y="302"/>
                </a:lnTo>
                <a:lnTo>
                  <a:pt x="705" y="300"/>
                </a:lnTo>
                <a:lnTo>
                  <a:pt x="702" y="298"/>
                </a:lnTo>
                <a:lnTo>
                  <a:pt x="700" y="296"/>
                </a:lnTo>
                <a:lnTo>
                  <a:pt x="700" y="292"/>
                </a:lnTo>
                <a:lnTo>
                  <a:pt x="710" y="299"/>
                </a:lnTo>
                <a:lnTo>
                  <a:pt x="722" y="306"/>
                </a:lnTo>
                <a:lnTo>
                  <a:pt x="718" y="305"/>
                </a:lnTo>
                <a:lnTo>
                  <a:pt x="713" y="304"/>
                </a:lnTo>
                <a:lnTo>
                  <a:pt x="710" y="302"/>
                </a:lnTo>
                <a:lnTo>
                  <a:pt x="708" y="302"/>
                </a:lnTo>
                <a:lnTo>
                  <a:pt x="707" y="304"/>
                </a:lnTo>
                <a:lnTo>
                  <a:pt x="706" y="305"/>
                </a:lnTo>
                <a:lnTo>
                  <a:pt x="711" y="308"/>
                </a:lnTo>
                <a:lnTo>
                  <a:pt x="717" y="311"/>
                </a:lnTo>
                <a:lnTo>
                  <a:pt x="715" y="311"/>
                </a:lnTo>
                <a:lnTo>
                  <a:pt x="713" y="313"/>
                </a:lnTo>
                <a:lnTo>
                  <a:pt x="716" y="315"/>
                </a:lnTo>
                <a:lnTo>
                  <a:pt x="719" y="316"/>
                </a:lnTo>
                <a:lnTo>
                  <a:pt x="723" y="316"/>
                </a:lnTo>
                <a:lnTo>
                  <a:pt x="727" y="316"/>
                </a:lnTo>
                <a:lnTo>
                  <a:pt x="725" y="317"/>
                </a:lnTo>
                <a:lnTo>
                  <a:pt x="724" y="318"/>
                </a:lnTo>
                <a:lnTo>
                  <a:pt x="723" y="319"/>
                </a:lnTo>
                <a:lnTo>
                  <a:pt x="722" y="322"/>
                </a:lnTo>
                <a:lnTo>
                  <a:pt x="716" y="321"/>
                </a:lnTo>
                <a:lnTo>
                  <a:pt x="710" y="318"/>
                </a:lnTo>
                <a:lnTo>
                  <a:pt x="703" y="315"/>
                </a:lnTo>
                <a:lnTo>
                  <a:pt x="698" y="311"/>
                </a:lnTo>
                <a:lnTo>
                  <a:pt x="691" y="309"/>
                </a:lnTo>
                <a:lnTo>
                  <a:pt x="684" y="306"/>
                </a:lnTo>
                <a:lnTo>
                  <a:pt x="680" y="304"/>
                </a:lnTo>
                <a:lnTo>
                  <a:pt x="675" y="302"/>
                </a:lnTo>
                <a:lnTo>
                  <a:pt x="674" y="306"/>
                </a:lnTo>
                <a:lnTo>
                  <a:pt x="674" y="310"/>
                </a:lnTo>
                <a:lnTo>
                  <a:pt x="675" y="313"/>
                </a:lnTo>
                <a:lnTo>
                  <a:pt x="677" y="313"/>
                </a:lnTo>
                <a:lnTo>
                  <a:pt x="677" y="311"/>
                </a:lnTo>
                <a:lnTo>
                  <a:pt x="676" y="309"/>
                </a:lnTo>
                <a:lnTo>
                  <a:pt x="677" y="308"/>
                </a:lnTo>
                <a:lnTo>
                  <a:pt x="678" y="307"/>
                </a:lnTo>
                <a:lnTo>
                  <a:pt x="678" y="307"/>
                </a:lnTo>
                <a:lnTo>
                  <a:pt x="680" y="308"/>
                </a:lnTo>
                <a:lnTo>
                  <a:pt x="681" y="311"/>
                </a:lnTo>
                <a:lnTo>
                  <a:pt x="682" y="314"/>
                </a:lnTo>
                <a:lnTo>
                  <a:pt x="689" y="318"/>
                </a:lnTo>
                <a:lnTo>
                  <a:pt x="697" y="321"/>
                </a:lnTo>
                <a:lnTo>
                  <a:pt x="698" y="322"/>
                </a:lnTo>
                <a:lnTo>
                  <a:pt x="700" y="325"/>
                </a:lnTo>
                <a:lnTo>
                  <a:pt x="701" y="327"/>
                </a:lnTo>
                <a:lnTo>
                  <a:pt x="702" y="327"/>
                </a:lnTo>
                <a:lnTo>
                  <a:pt x="703" y="327"/>
                </a:lnTo>
                <a:lnTo>
                  <a:pt x="705" y="326"/>
                </a:lnTo>
                <a:lnTo>
                  <a:pt x="702" y="324"/>
                </a:lnTo>
                <a:lnTo>
                  <a:pt x="701" y="322"/>
                </a:lnTo>
                <a:lnTo>
                  <a:pt x="701" y="319"/>
                </a:lnTo>
                <a:lnTo>
                  <a:pt x="703" y="319"/>
                </a:lnTo>
                <a:lnTo>
                  <a:pt x="706" y="321"/>
                </a:lnTo>
                <a:lnTo>
                  <a:pt x="708" y="323"/>
                </a:lnTo>
                <a:lnTo>
                  <a:pt x="713" y="327"/>
                </a:lnTo>
                <a:lnTo>
                  <a:pt x="715" y="330"/>
                </a:lnTo>
                <a:lnTo>
                  <a:pt x="717" y="330"/>
                </a:lnTo>
                <a:lnTo>
                  <a:pt x="719" y="330"/>
                </a:lnTo>
                <a:lnTo>
                  <a:pt x="719" y="330"/>
                </a:lnTo>
                <a:lnTo>
                  <a:pt x="721" y="331"/>
                </a:lnTo>
                <a:lnTo>
                  <a:pt x="722" y="332"/>
                </a:lnTo>
                <a:lnTo>
                  <a:pt x="724" y="332"/>
                </a:lnTo>
                <a:lnTo>
                  <a:pt x="731" y="334"/>
                </a:lnTo>
                <a:lnTo>
                  <a:pt x="739" y="338"/>
                </a:lnTo>
                <a:lnTo>
                  <a:pt x="733" y="339"/>
                </a:lnTo>
                <a:lnTo>
                  <a:pt x="727" y="339"/>
                </a:lnTo>
                <a:lnTo>
                  <a:pt x="723" y="337"/>
                </a:lnTo>
                <a:lnTo>
                  <a:pt x="718" y="335"/>
                </a:lnTo>
                <a:lnTo>
                  <a:pt x="708" y="331"/>
                </a:lnTo>
                <a:lnTo>
                  <a:pt x="698" y="327"/>
                </a:lnTo>
                <a:lnTo>
                  <a:pt x="689" y="324"/>
                </a:lnTo>
                <a:lnTo>
                  <a:pt x="680" y="321"/>
                </a:lnTo>
                <a:lnTo>
                  <a:pt x="670" y="316"/>
                </a:lnTo>
                <a:lnTo>
                  <a:pt x="661" y="311"/>
                </a:lnTo>
                <a:lnTo>
                  <a:pt x="658" y="309"/>
                </a:lnTo>
                <a:lnTo>
                  <a:pt x="653" y="307"/>
                </a:lnTo>
                <a:lnTo>
                  <a:pt x="652" y="307"/>
                </a:lnTo>
                <a:lnTo>
                  <a:pt x="650" y="307"/>
                </a:lnTo>
                <a:lnTo>
                  <a:pt x="649" y="308"/>
                </a:lnTo>
                <a:lnTo>
                  <a:pt x="648" y="310"/>
                </a:lnTo>
                <a:lnTo>
                  <a:pt x="648" y="313"/>
                </a:lnTo>
                <a:lnTo>
                  <a:pt x="650" y="316"/>
                </a:lnTo>
                <a:lnTo>
                  <a:pt x="651" y="319"/>
                </a:lnTo>
                <a:lnTo>
                  <a:pt x="651" y="323"/>
                </a:lnTo>
                <a:lnTo>
                  <a:pt x="650" y="325"/>
                </a:lnTo>
                <a:lnTo>
                  <a:pt x="651" y="326"/>
                </a:lnTo>
                <a:lnTo>
                  <a:pt x="653" y="327"/>
                </a:lnTo>
                <a:lnTo>
                  <a:pt x="656" y="326"/>
                </a:lnTo>
                <a:lnTo>
                  <a:pt x="657" y="324"/>
                </a:lnTo>
                <a:lnTo>
                  <a:pt x="658" y="323"/>
                </a:lnTo>
                <a:lnTo>
                  <a:pt x="661" y="329"/>
                </a:lnTo>
                <a:lnTo>
                  <a:pt x="664" y="334"/>
                </a:lnTo>
                <a:lnTo>
                  <a:pt x="660" y="335"/>
                </a:lnTo>
                <a:lnTo>
                  <a:pt x="656" y="335"/>
                </a:lnTo>
                <a:lnTo>
                  <a:pt x="652" y="333"/>
                </a:lnTo>
                <a:lnTo>
                  <a:pt x="649" y="331"/>
                </a:lnTo>
                <a:lnTo>
                  <a:pt x="648" y="329"/>
                </a:lnTo>
                <a:lnTo>
                  <a:pt x="648" y="327"/>
                </a:lnTo>
                <a:lnTo>
                  <a:pt x="647" y="326"/>
                </a:lnTo>
                <a:lnTo>
                  <a:pt x="644" y="327"/>
                </a:lnTo>
                <a:lnTo>
                  <a:pt x="644" y="329"/>
                </a:lnTo>
                <a:lnTo>
                  <a:pt x="643" y="330"/>
                </a:lnTo>
                <a:lnTo>
                  <a:pt x="640" y="330"/>
                </a:lnTo>
                <a:lnTo>
                  <a:pt x="636" y="329"/>
                </a:lnTo>
                <a:lnTo>
                  <a:pt x="633" y="327"/>
                </a:lnTo>
                <a:lnTo>
                  <a:pt x="628" y="326"/>
                </a:lnTo>
                <a:lnTo>
                  <a:pt x="624" y="324"/>
                </a:lnTo>
                <a:lnTo>
                  <a:pt x="622" y="322"/>
                </a:lnTo>
                <a:lnTo>
                  <a:pt x="624" y="319"/>
                </a:lnTo>
                <a:lnTo>
                  <a:pt x="624" y="317"/>
                </a:lnTo>
                <a:lnTo>
                  <a:pt x="622" y="315"/>
                </a:lnTo>
                <a:lnTo>
                  <a:pt x="620" y="313"/>
                </a:lnTo>
                <a:lnTo>
                  <a:pt x="620" y="314"/>
                </a:lnTo>
                <a:lnTo>
                  <a:pt x="620" y="313"/>
                </a:lnTo>
                <a:lnTo>
                  <a:pt x="619" y="311"/>
                </a:lnTo>
                <a:lnTo>
                  <a:pt x="618" y="310"/>
                </a:lnTo>
                <a:lnTo>
                  <a:pt x="617" y="310"/>
                </a:lnTo>
                <a:lnTo>
                  <a:pt x="616" y="310"/>
                </a:lnTo>
                <a:lnTo>
                  <a:pt x="614" y="311"/>
                </a:lnTo>
                <a:lnTo>
                  <a:pt x="610" y="313"/>
                </a:lnTo>
                <a:lnTo>
                  <a:pt x="612" y="314"/>
                </a:lnTo>
                <a:lnTo>
                  <a:pt x="616" y="313"/>
                </a:lnTo>
                <a:lnTo>
                  <a:pt x="618" y="315"/>
                </a:lnTo>
                <a:lnTo>
                  <a:pt x="620" y="316"/>
                </a:lnTo>
                <a:lnTo>
                  <a:pt x="622" y="319"/>
                </a:lnTo>
                <a:lnTo>
                  <a:pt x="622" y="322"/>
                </a:lnTo>
                <a:lnTo>
                  <a:pt x="622" y="322"/>
                </a:lnTo>
                <a:lnTo>
                  <a:pt x="622" y="323"/>
                </a:lnTo>
                <a:lnTo>
                  <a:pt x="612" y="318"/>
                </a:lnTo>
                <a:lnTo>
                  <a:pt x="602" y="314"/>
                </a:lnTo>
                <a:lnTo>
                  <a:pt x="593" y="309"/>
                </a:lnTo>
                <a:lnTo>
                  <a:pt x="584" y="306"/>
                </a:lnTo>
                <a:lnTo>
                  <a:pt x="575" y="301"/>
                </a:lnTo>
                <a:lnTo>
                  <a:pt x="567" y="297"/>
                </a:lnTo>
                <a:lnTo>
                  <a:pt x="560" y="293"/>
                </a:lnTo>
                <a:lnTo>
                  <a:pt x="552" y="290"/>
                </a:lnTo>
                <a:lnTo>
                  <a:pt x="549" y="291"/>
                </a:lnTo>
                <a:lnTo>
                  <a:pt x="545" y="290"/>
                </a:lnTo>
                <a:lnTo>
                  <a:pt x="542" y="288"/>
                </a:lnTo>
                <a:lnTo>
                  <a:pt x="540" y="285"/>
                </a:lnTo>
                <a:lnTo>
                  <a:pt x="532" y="282"/>
                </a:lnTo>
                <a:lnTo>
                  <a:pt x="524" y="279"/>
                </a:lnTo>
                <a:lnTo>
                  <a:pt x="520" y="276"/>
                </a:lnTo>
                <a:lnTo>
                  <a:pt x="517" y="274"/>
                </a:lnTo>
                <a:lnTo>
                  <a:pt x="513" y="275"/>
                </a:lnTo>
                <a:lnTo>
                  <a:pt x="509" y="276"/>
                </a:lnTo>
                <a:lnTo>
                  <a:pt x="505" y="279"/>
                </a:lnTo>
                <a:lnTo>
                  <a:pt x="502" y="280"/>
                </a:lnTo>
                <a:lnTo>
                  <a:pt x="499" y="280"/>
                </a:lnTo>
                <a:lnTo>
                  <a:pt x="495" y="279"/>
                </a:lnTo>
                <a:lnTo>
                  <a:pt x="493" y="279"/>
                </a:lnTo>
                <a:lnTo>
                  <a:pt x="492" y="279"/>
                </a:lnTo>
                <a:lnTo>
                  <a:pt x="491" y="280"/>
                </a:lnTo>
                <a:lnTo>
                  <a:pt x="491" y="281"/>
                </a:lnTo>
                <a:lnTo>
                  <a:pt x="495" y="282"/>
                </a:lnTo>
                <a:lnTo>
                  <a:pt x="500" y="283"/>
                </a:lnTo>
                <a:lnTo>
                  <a:pt x="503" y="284"/>
                </a:lnTo>
                <a:lnTo>
                  <a:pt x="505" y="283"/>
                </a:lnTo>
                <a:lnTo>
                  <a:pt x="508" y="282"/>
                </a:lnTo>
                <a:lnTo>
                  <a:pt x="510" y="282"/>
                </a:lnTo>
                <a:lnTo>
                  <a:pt x="512" y="283"/>
                </a:lnTo>
                <a:lnTo>
                  <a:pt x="511" y="284"/>
                </a:lnTo>
                <a:lnTo>
                  <a:pt x="511" y="286"/>
                </a:lnTo>
                <a:lnTo>
                  <a:pt x="510" y="288"/>
                </a:lnTo>
                <a:lnTo>
                  <a:pt x="515" y="291"/>
                </a:lnTo>
                <a:lnTo>
                  <a:pt x="521" y="293"/>
                </a:lnTo>
                <a:lnTo>
                  <a:pt x="524" y="293"/>
                </a:lnTo>
                <a:lnTo>
                  <a:pt x="526" y="294"/>
                </a:lnTo>
                <a:lnTo>
                  <a:pt x="526" y="296"/>
                </a:lnTo>
                <a:lnTo>
                  <a:pt x="527" y="297"/>
                </a:lnTo>
                <a:lnTo>
                  <a:pt x="532" y="297"/>
                </a:lnTo>
                <a:lnTo>
                  <a:pt x="536" y="297"/>
                </a:lnTo>
                <a:lnTo>
                  <a:pt x="544" y="299"/>
                </a:lnTo>
                <a:lnTo>
                  <a:pt x="552" y="304"/>
                </a:lnTo>
                <a:lnTo>
                  <a:pt x="544" y="302"/>
                </a:lnTo>
                <a:lnTo>
                  <a:pt x="538" y="300"/>
                </a:lnTo>
                <a:lnTo>
                  <a:pt x="537" y="301"/>
                </a:lnTo>
                <a:lnTo>
                  <a:pt x="537" y="304"/>
                </a:lnTo>
                <a:lnTo>
                  <a:pt x="538" y="305"/>
                </a:lnTo>
                <a:lnTo>
                  <a:pt x="540" y="306"/>
                </a:lnTo>
                <a:lnTo>
                  <a:pt x="544" y="307"/>
                </a:lnTo>
                <a:lnTo>
                  <a:pt x="546" y="308"/>
                </a:lnTo>
                <a:lnTo>
                  <a:pt x="553" y="311"/>
                </a:lnTo>
                <a:lnTo>
                  <a:pt x="558" y="316"/>
                </a:lnTo>
                <a:lnTo>
                  <a:pt x="567" y="321"/>
                </a:lnTo>
                <a:lnTo>
                  <a:pt x="577" y="325"/>
                </a:lnTo>
                <a:lnTo>
                  <a:pt x="587" y="330"/>
                </a:lnTo>
                <a:lnTo>
                  <a:pt x="596" y="334"/>
                </a:lnTo>
                <a:lnTo>
                  <a:pt x="600" y="337"/>
                </a:lnTo>
                <a:lnTo>
                  <a:pt x="603" y="339"/>
                </a:lnTo>
                <a:lnTo>
                  <a:pt x="609" y="340"/>
                </a:lnTo>
                <a:lnTo>
                  <a:pt x="615" y="341"/>
                </a:lnTo>
                <a:lnTo>
                  <a:pt x="618" y="343"/>
                </a:lnTo>
                <a:lnTo>
                  <a:pt x="620" y="344"/>
                </a:lnTo>
                <a:lnTo>
                  <a:pt x="625" y="346"/>
                </a:lnTo>
                <a:lnTo>
                  <a:pt x="628" y="347"/>
                </a:lnTo>
                <a:lnTo>
                  <a:pt x="629" y="349"/>
                </a:lnTo>
                <a:lnTo>
                  <a:pt x="629" y="351"/>
                </a:lnTo>
                <a:lnTo>
                  <a:pt x="632" y="354"/>
                </a:lnTo>
                <a:lnTo>
                  <a:pt x="634" y="355"/>
                </a:lnTo>
                <a:lnTo>
                  <a:pt x="635" y="357"/>
                </a:lnTo>
                <a:lnTo>
                  <a:pt x="635" y="358"/>
                </a:lnTo>
                <a:lnTo>
                  <a:pt x="635" y="358"/>
                </a:lnTo>
                <a:lnTo>
                  <a:pt x="634" y="359"/>
                </a:lnTo>
                <a:lnTo>
                  <a:pt x="632" y="358"/>
                </a:lnTo>
                <a:lnTo>
                  <a:pt x="628" y="357"/>
                </a:lnTo>
                <a:lnTo>
                  <a:pt x="617" y="354"/>
                </a:lnTo>
                <a:lnTo>
                  <a:pt x="607" y="349"/>
                </a:lnTo>
                <a:lnTo>
                  <a:pt x="596" y="344"/>
                </a:lnTo>
                <a:lnTo>
                  <a:pt x="587" y="340"/>
                </a:lnTo>
                <a:lnTo>
                  <a:pt x="578" y="334"/>
                </a:lnTo>
                <a:lnTo>
                  <a:pt x="569" y="330"/>
                </a:lnTo>
                <a:lnTo>
                  <a:pt x="559" y="326"/>
                </a:lnTo>
                <a:lnTo>
                  <a:pt x="550" y="323"/>
                </a:lnTo>
                <a:lnTo>
                  <a:pt x="542" y="318"/>
                </a:lnTo>
                <a:lnTo>
                  <a:pt x="533" y="313"/>
                </a:lnTo>
                <a:lnTo>
                  <a:pt x="529" y="311"/>
                </a:lnTo>
                <a:lnTo>
                  <a:pt x="525" y="309"/>
                </a:lnTo>
                <a:lnTo>
                  <a:pt x="521" y="308"/>
                </a:lnTo>
                <a:lnTo>
                  <a:pt x="518" y="306"/>
                </a:lnTo>
                <a:lnTo>
                  <a:pt x="515" y="305"/>
                </a:lnTo>
                <a:lnTo>
                  <a:pt x="511" y="304"/>
                </a:lnTo>
                <a:lnTo>
                  <a:pt x="510" y="300"/>
                </a:lnTo>
                <a:lnTo>
                  <a:pt x="509" y="297"/>
                </a:lnTo>
                <a:lnTo>
                  <a:pt x="503" y="296"/>
                </a:lnTo>
                <a:lnTo>
                  <a:pt x="499" y="294"/>
                </a:lnTo>
                <a:lnTo>
                  <a:pt x="494" y="294"/>
                </a:lnTo>
                <a:lnTo>
                  <a:pt x="490" y="294"/>
                </a:lnTo>
                <a:lnTo>
                  <a:pt x="487" y="294"/>
                </a:lnTo>
                <a:lnTo>
                  <a:pt x="486" y="296"/>
                </a:lnTo>
                <a:lnTo>
                  <a:pt x="485" y="297"/>
                </a:lnTo>
                <a:lnTo>
                  <a:pt x="484" y="300"/>
                </a:lnTo>
                <a:lnTo>
                  <a:pt x="484" y="302"/>
                </a:lnTo>
                <a:lnTo>
                  <a:pt x="485" y="304"/>
                </a:lnTo>
                <a:lnTo>
                  <a:pt x="487" y="305"/>
                </a:lnTo>
                <a:lnTo>
                  <a:pt x="491" y="305"/>
                </a:lnTo>
                <a:lnTo>
                  <a:pt x="495" y="305"/>
                </a:lnTo>
                <a:lnTo>
                  <a:pt x="501" y="305"/>
                </a:lnTo>
                <a:lnTo>
                  <a:pt x="502" y="305"/>
                </a:lnTo>
                <a:lnTo>
                  <a:pt x="505" y="306"/>
                </a:lnTo>
                <a:lnTo>
                  <a:pt x="508" y="306"/>
                </a:lnTo>
                <a:lnTo>
                  <a:pt x="508" y="308"/>
                </a:lnTo>
                <a:lnTo>
                  <a:pt x="505" y="309"/>
                </a:lnTo>
                <a:lnTo>
                  <a:pt x="503" y="311"/>
                </a:lnTo>
                <a:lnTo>
                  <a:pt x="505" y="313"/>
                </a:lnTo>
                <a:lnTo>
                  <a:pt x="507" y="315"/>
                </a:lnTo>
                <a:lnTo>
                  <a:pt x="509" y="314"/>
                </a:lnTo>
                <a:lnTo>
                  <a:pt x="511" y="314"/>
                </a:lnTo>
                <a:lnTo>
                  <a:pt x="513" y="315"/>
                </a:lnTo>
                <a:lnTo>
                  <a:pt x="513" y="316"/>
                </a:lnTo>
                <a:lnTo>
                  <a:pt x="512" y="316"/>
                </a:lnTo>
                <a:lnTo>
                  <a:pt x="510" y="317"/>
                </a:lnTo>
                <a:lnTo>
                  <a:pt x="505" y="318"/>
                </a:lnTo>
                <a:lnTo>
                  <a:pt x="502" y="318"/>
                </a:lnTo>
                <a:lnTo>
                  <a:pt x="499" y="318"/>
                </a:lnTo>
                <a:lnTo>
                  <a:pt x="495" y="316"/>
                </a:lnTo>
                <a:lnTo>
                  <a:pt x="491" y="313"/>
                </a:lnTo>
                <a:lnTo>
                  <a:pt x="487" y="310"/>
                </a:lnTo>
                <a:lnTo>
                  <a:pt x="483" y="308"/>
                </a:lnTo>
                <a:lnTo>
                  <a:pt x="478" y="306"/>
                </a:lnTo>
                <a:lnTo>
                  <a:pt x="475" y="305"/>
                </a:lnTo>
                <a:lnTo>
                  <a:pt x="471" y="306"/>
                </a:lnTo>
                <a:lnTo>
                  <a:pt x="495" y="321"/>
                </a:lnTo>
                <a:lnTo>
                  <a:pt x="520" y="333"/>
                </a:lnTo>
                <a:lnTo>
                  <a:pt x="546" y="346"/>
                </a:lnTo>
                <a:lnTo>
                  <a:pt x="573" y="357"/>
                </a:lnTo>
                <a:lnTo>
                  <a:pt x="563" y="350"/>
                </a:lnTo>
                <a:lnTo>
                  <a:pt x="558" y="344"/>
                </a:lnTo>
                <a:lnTo>
                  <a:pt x="561" y="346"/>
                </a:lnTo>
                <a:lnTo>
                  <a:pt x="565" y="347"/>
                </a:lnTo>
                <a:lnTo>
                  <a:pt x="570" y="350"/>
                </a:lnTo>
                <a:lnTo>
                  <a:pt x="576" y="352"/>
                </a:lnTo>
                <a:lnTo>
                  <a:pt x="579" y="355"/>
                </a:lnTo>
                <a:lnTo>
                  <a:pt x="586" y="358"/>
                </a:lnTo>
                <a:lnTo>
                  <a:pt x="592" y="362"/>
                </a:lnTo>
                <a:lnTo>
                  <a:pt x="594" y="365"/>
                </a:lnTo>
                <a:lnTo>
                  <a:pt x="591" y="365"/>
                </a:lnTo>
                <a:lnTo>
                  <a:pt x="587" y="364"/>
                </a:lnTo>
                <a:lnTo>
                  <a:pt x="587" y="363"/>
                </a:lnTo>
                <a:lnTo>
                  <a:pt x="587" y="364"/>
                </a:lnTo>
                <a:lnTo>
                  <a:pt x="582" y="362"/>
                </a:lnTo>
                <a:lnTo>
                  <a:pt x="576" y="359"/>
                </a:lnTo>
                <a:lnTo>
                  <a:pt x="583" y="365"/>
                </a:lnTo>
                <a:lnTo>
                  <a:pt x="591" y="369"/>
                </a:lnTo>
                <a:lnTo>
                  <a:pt x="600" y="373"/>
                </a:lnTo>
                <a:lnTo>
                  <a:pt x="609" y="374"/>
                </a:lnTo>
                <a:lnTo>
                  <a:pt x="606" y="373"/>
                </a:lnTo>
                <a:lnTo>
                  <a:pt x="600" y="371"/>
                </a:lnTo>
                <a:lnTo>
                  <a:pt x="596" y="368"/>
                </a:lnTo>
                <a:lnTo>
                  <a:pt x="594" y="365"/>
                </a:lnTo>
                <a:lnTo>
                  <a:pt x="596" y="364"/>
                </a:lnTo>
                <a:lnTo>
                  <a:pt x="600" y="364"/>
                </a:lnTo>
                <a:lnTo>
                  <a:pt x="602" y="364"/>
                </a:lnTo>
                <a:lnTo>
                  <a:pt x="606" y="365"/>
                </a:lnTo>
                <a:lnTo>
                  <a:pt x="611" y="367"/>
                </a:lnTo>
                <a:lnTo>
                  <a:pt x="616" y="369"/>
                </a:lnTo>
                <a:lnTo>
                  <a:pt x="618" y="371"/>
                </a:lnTo>
                <a:lnTo>
                  <a:pt x="619" y="373"/>
                </a:lnTo>
                <a:lnTo>
                  <a:pt x="622" y="374"/>
                </a:lnTo>
                <a:lnTo>
                  <a:pt x="620" y="376"/>
                </a:lnTo>
                <a:lnTo>
                  <a:pt x="617" y="377"/>
                </a:lnTo>
                <a:lnTo>
                  <a:pt x="612" y="377"/>
                </a:lnTo>
                <a:lnTo>
                  <a:pt x="617" y="380"/>
                </a:lnTo>
                <a:lnTo>
                  <a:pt x="623" y="382"/>
                </a:lnTo>
                <a:lnTo>
                  <a:pt x="628" y="383"/>
                </a:lnTo>
                <a:lnTo>
                  <a:pt x="634" y="384"/>
                </a:lnTo>
                <a:lnTo>
                  <a:pt x="639" y="388"/>
                </a:lnTo>
                <a:lnTo>
                  <a:pt x="643" y="391"/>
                </a:lnTo>
                <a:lnTo>
                  <a:pt x="649" y="394"/>
                </a:lnTo>
                <a:lnTo>
                  <a:pt x="655" y="399"/>
                </a:lnTo>
                <a:lnTo>
                  <a:pt x="649" y="399"/>
                </a:lnTo>
                <a:lnTo>
                  <a:pt x="643" y="399"/>
                </a:lnTo>
                <a:lnTo>
                  <a:pt x="639" y="396"/>
                </a:lnTo>
                <a:lnTo>
                  <a:pt x="634" y="393"/>
                </a:lnTo>
                <a:lnTo>
                  <a:pt x="620" y="388"/>
                </a:lnTo>
                <a:lnTo>
                  <a:pt x="607" y="381"/>
                </a:lnTo>
                <a:lnTo>
                  <a:pt x="598" y="375"/>
                </a:lnTo>
                <a:lnTo>
                  <a:pt x="587" y="372"/>
                </a:lnTo>
                <a:lnTo>
                  <a:pt x="582" y="372"/>
                </a:lnTo>
                <a:lnTo>
                  <a:pt x="576" y="372"/>
                </a:lnTo>
                <a:lnTo>
                  <a:pt x="574" y="372"/>
                </a:lnTo>
                <a:lnTo>
                  <a:pt x="573" y="371"/>
                </a:lnTo>
                <a:lnTo>
                  <a:pt x="573" y="371"/>
                </a:lnTo>
                <a:lnTo>
                  <a:pt x="574" y="369"/>
                </a:lnTo>
                <a:lnTo>
                  <a:pt x="575" y="368"/>
                </a:lnTo>
                <a:lnTo>
                  <a:pt x="577" y="368"/>
                </a:lnTo>
                <a:lnTo>
                  <a:pt x="566" y="362"/>
                </a:lnTo>
                <a:lnTo>
                  <a:pt x="554" y="356"/>
                </a:lnTo>
                <a:lnTo>
                  <a:pt x="546" y="354"/>
                </a:lnTo>
                <a:lnTo>
                  <a:pt x="538" y="352"/>
                </a:lnTo>
                <a:lnTo>
                  <a:pt x="535" y="351"/>
                </a:lnTo>
                <a:lnTo>
                  <a:pt x="532" y="350"/>
                </a:lnTo>
                <a:lnTo>
                  <a:pt x="528" y="348"/>
                </a:lnTo>
                <a:lnTo>
                  <a:pt x="525" y="347"/>
                </a:lnTo>
                <a:lnTo>
                  <a:pt x="527" y="347"/>
                </a:lnTo>
                <a:lnTo>
                  <a:pt x="529" y="344"/>
                </a:lnTo>
                <a:lnTo>
                  <a:pt x="525" y="341"/>
                </a:lnTo>
                <a:lnTo>
                  <a:pt x="518" y="338"/>
                </a:lnTo>
                <a:lnTo>
                  <a:pt x="510" y="338"/>
                </a:lnTo>
                <a:lnTo>
                  <a:pt x="502" y="338"/>
                </a:lnTo>
                <a:lnTo>
                  <a:pt x="504" y="337"/>
                </a:lnTo>
                <a:lnTo>
                  <a:pt x="507" y="335"/>
                </a:lnTo>
                <a:lnTo>
                  <a:pt x="508" y="335"/>
                </a:lnTo>
                <a:lnTo>
                  <a:pt x="508" y="335"/>
                </a:lnTo>
                <a:lnTo>
                  <a:pt x="508" y="334"/>
                </a:lnTo>
                <a:lnTo>
                  <a:pt x="505" y="332"/>
                </a:lnTo>
                <a:lnTo>
                  <a:pt x="501" y="330"/>
                </a:lnTo>
                <a:lnTo>
                  <a:pt x="494" y="327"/>
                </a:lnTo>
                <a:lnTo>
                  <a:pt x="490" y="331"/>
                </a:lnTo>
                <a:lnTo>
                  <a:pt x="485" y="333"/>
                </a:lnTo>
                <a:lnTo>
                  <a:pt x="482" y="331"/>
                </a:lnTo>
                <a:lnTo>
                  <a:pt x="478" y="329"/>
                </a:lnTo>
                <a:lnTo>
                  <a:pt x="472" y="327"/>
                </a:lnTo>
                <a:lnTo>
                  <a:pt x="466" y="327"/>
                </a:lnTo>
                <a:lnTo>
                  <a:pt x="468" y="330"/>
                </a:lnTo>
                <a:lnTo>
                  <a:pt x="470" y="331"/>
                </a:lnTo>
                <a:lnTo>
                  <a:pt x="474" y="333"/>
                </a:lnTo>
                <a:lnTo>
                  <a:pt x="476" y="333"/>
                </a:lnTo>
                <a:lnTo>
                  <a:pt x="483" y="337"/>
                </a:lnTo>
                <a:lnTo>
                  <a:pt x="490" y="340"/>
                </a:lnTo>
                <a:lnTo>
                  <a:pt x="492" y="341"/>
                </a:lnTo>
                <a:lnTo>
                  <a:pt x="495" y="342"/>
                </a:lnTo>
                <a:lnTo>
                  <a:pt x="496" y="343"/>
                </a:lnTo>
                <a:lnTo>
                  <a:pt x="497" y="344"/>
                </a:lnTo>
                <a:lnTo>
                  <a:pt x="503" y="347"/>
                </a:lnTo>
                <a:lnTo>
                  <a:pt x="508" y="349"/>
                </a:lnTo>
                <a:lnTo>
                  <a:pt x="502" y="350"/>
                </a:lnTo>
                <a:lnTo>
                  <a:pt x="495" y="350"/>
                </a:lnTo>
                <a:lnTo>
                  <a:pt x="492" y="350"/>
                </a:lnTo>
                <a:lnTo>
                  <a:pt x="491" y="349"/>
                </a:lnTo>
                <a:lnTo>
                  <a:pt x="490" y="348"/>
                </a:lnTo>
                <a:lnTo>
                  <a:pt x="488" y="346"/>
                </a:lnTo>
                <a:lnTo>
                  <a:pt x="486" y="343"/>
                </a:lnTo>
                <a:lnTo>
                  <a:pt x="485" y="344"/>
                </a:lnTo>
                <a:lnTo>
                  <a:pt x="484" y="347"/>
                </a:lnTo>
                <a:lnTo>
                  <a:pt x="483" y="348"/>
                </a:lnTo>
                <a:lnTo>
                  <a:pt x="480" y="346"/>
                </a:lnTo>
                <a:lnTo>
                  <a:pt x="478" y="343"/>
                </a:lnTo>
                <a:lnTo>
                  <a:pt x="474" y="342"/>
                </a:lnTo>
                <a:lnTo>
                  <a:pt x="467" y="341"/>
                </a:lnTo>
                <a:lnTo>
                  <a:pt x="461" y="338"/>
                </a:lnTo>
                <a:lnTo>
                  <a:pt x="455" y="333"/>
                </a:lnTo>
                <a:lnTo>
                  <a:pt x="451" y="331"/>
                </a:lnTo>
                <a:lnTo>
                  <a:pt x="446" y="332"/>
                </a:lnTo>
                <a:lnTo>
                  <a:pt x="444" y="333"/>
                </a:lnTo>
                <a:lnTo>
                  <a:pt x="443" y="334"/>
                </a:lnTo>
                <a:lnTo>
                  <a:pt x="442" y="335"/>
                </a:lnTo>
                <a:lnTo>
                  <a:pt x="439" y="335"/>
                </a:lnTo>
                <a:lnTo>
                  <a:pt x="444" y="339"/>
                </a:lnTo>
                <a:lnTo>
                  <a:pt x="449" y="343"/>
                </a:lnTo>
                <a:lnTo>
                  <a:pt x="449" y="343"/>
                </a:lnTo>
                <a:lnTo>
                  <a:pt x="451" y="344"/>
                </a:lnTo>
                <a:lnTo>
                  <a:pt x="451" y="346"/>
                </a:lnTo>
                <a:lnTo>
                  <a:pt x="450" y="347"/>
                </a:lnTo>
                <a:lnTo>
                  <a:pt x="447" y="347"/>
                </a:lnTo>
                <a:lnTo>
                  <a:pt x="446" y="344"/>
                </a:lnTo>
                <a:lnTo>
                  <a:pt x="438" y="341"/>
                </a:lnTo>
                <a:lnTo>
                  <a:pt x="430" y="338"/>
                </a:lnTo>
                <a:lnTo>
                  <a:pt x="422" y="337"/>
                </a:lnTo>
                <a:lnTo>
                  <a:pt x="413" y="334"/>
                </a:lnTo>
                <a:lnTo>
                  <a:pt x="408" y="331"/>
                </a:lnTo>
                <a:lnTo>
                  <a:pt x="403" y="326"/>
                </a:lnTo>
                <a:lnTo>
                  <a:pt x="397" y="322"/>
                </a:lnTo>
                <a:lnTo>
                  <a:pt x="392" y="319"/>
                </a:lnTo>
                <a:lnTo>
                  <a:pt x="388" y="318"/>
                </a:lnTo>
                <a:lnTo>
                  <a:pt x="385" y="317"/>
                </a:lnTo>
                <a:lnTo>
                  <a:pt x="381" y="315"/>
                </a:lnTo>
                <a:lnTo>
                  <a:pt x="378" y="313"/>
                </a:lnTo>
                <a:lnTo>
                  <a:pt x="376" y="314"/>
                </a:lnTo>
                <a:lnTo>
                  <a:pt x="375" y="314"/>
                </a:lnTo>
                <a:lnTo>
                  <a:pt x="375" y="315"/>
                </a:lnTo>
                <a:lnTo>
                  <a:pt x="375" y="315"/>
                </a:lnTo>
                <a:lnTo>
                  <a:pt x="376" y="317"/>
                </a:lnTo>
                <a:lnTo>
                  <a:pt x="378" y="319"/>
                </a:lnTo>
                <a:lnTo>
                  <a:pt x="376" y="319"/>
                </a:lnTo>
                <a:lnTo>
                  <a:pt x="373" y="319"/>
                </a:lnTo>
                <a:lnTo>
                  <a:pt x="372" y="318"/>
                </a:lnTo>
                <a:lnTo>
                  <a:pt x="372" y="317"/>
                </a:lnTo>
                <a:lnTo>
                  <a:pt x="371" y="314"/>
                </a:lnTo>
                <a:lnTo>
                  <a:pt x="370" y="310"/>
                </a:lnTo>
                <a:lnTo>
                  <a:pt x="368" y="309"/>
                </a:lnTo>
                <a:lnTo>
                  <a:pt x="364" y="308"/>
                </a:lnTo>
                <a:lnTo>
                  <a:pt x="362" y="309"/>
                </a:lnTo>
                <a:lnTo>
                  <a:pt x="361" y="311"/>
                </a:lnTo>
                <a:lnTo>
                  <a:pt x="360" y="314"/>
                </a:lnTo>
                <a:lnTo>
                  <a:pt x="361" y="316"/>
                </a:lnTo>
                <a:lnTo>
                  <a:pt x="363" y="316"/>
                </a:lnTo>
                <a:lnTo>
                  <a:pt x="367" y="318"/>
                </a:lnTo>
                <a:lnTo>
                  <a:pt x="371" y="321"/>
                </a:lnTo>
                <a:lnTo>
                  <a:pt x="375" y="323"/>
                </a:lnTo>
                <a:lnTo>
                  <a:pt x="379" y="323"/>
                </a:lnTo>
                <a:lnTo>
                  <a:pt x="384" y="323"/>
                </a:lnTo>
                <a:lnTo>
                  <a:pt x="384" y="325"/>
                </a:lnTo>
                <a:lnTo>
                  <a:pt x="385" y="327"/>
                </a:lnTo>
                <a:lnTo>
                  <a:pt x="387" y="329"/>
                </a:lnTo>
                <a:lnTo>
                  <a:pt x="389" y="330"/>
                </a:lnTo>
                <a:lnTo>
                  <a:pt x="395" y="332"/>
                </a:lnTo>
                <a:lnTo>
                  <a:pt x="400" y="333"/>
                </a:lnTo>
                <a:lnTo>
                  <a:pt x="417" y="341"/>
                </a:lnTo>
                <a:lnTo>
                  <a:pt x="433" y="350"/>
                </a:lnTo>
                <a:lnTo>
                  <a:pt x="450" y="359"/>
                </a:lnTo>
                <a:lnTo>
                  <a:pt x="467" y="367"/>
                </a:lnTo>
                <a:lnTo>
                  <a:pt x="474" y="371"/>
                </a:lnTo>
                <a:lnTo>
                  <a:pt x="482" y="373"/>
                </a:lnTo>
                <a:lnTo>
                  <a:pt x="485" y="375"/>
                </a:lnTo>
                <a:lnTo>
                  <a:pt x="488" y="377"/>
                </a:lnTo>
                <a:lnTo>
                  <a:pt x="491" y="381"/>
                </a:lnTo>
                <a:lnTo>
                  <a:pt x="493" y="384"/>
                </a:lnTo>
                <a:lnTo>
                  <a:pt x="478" y="377"/>
                </a:lnTo>
                <a:lnTo>
                  <a:pt x="463" y="372"/>
                </a:lnTo>
                <a:lnTo>
                  <a:pt x="449" y="365"/>
                </a:lnTo>
                <a:lnTo>
                  <a:pt x="434" y="357"/>
                </a:lnTo>
                <a:lnTo>
                  <a:pt x="430" y="355"/>
                </a:lnTo>
                <a:lnTo>
                  <a:pt x="427" y="354"/>
                </a:lnTo>
                <a:lnTo>
                  <a:pt x="425" y="354"/>
                </a:lnTo>
                <a:lnTo>
                  <a:pt x="421" y="352"/>
                </a:lnTo>
                <a:lnTo>
                  <a:pt x="420" y="350"/>
                </a:lnTo>
                <a:lnTo>
                  <a:pt x="418" y="349"/>
                </a:lnTo>
                <a:lnTo>
                  <a:pt x="416" y="348"/>
                </a:lnTo>
                <a:lnTo>
                  <a:pt x="413" y="348"/>
                </a:lnTo>
                <a:lnTo>
                  <a:pt x="412" y="346"/>
                </a:lnTo>
                <a:lnTo>
                  <a:pt x="410" y="344"/>
                </a:lnTo>
                <a:lnTo>
                  <a:pt x="404" y="343"/>
                </a:lnTo>
                <a:lnTo>
                  <a:pt x="398" y="341"/>
                </a:lnTo>
                <a:lnTo>
                  <a:pt x="392" y="340"/>
                </a:lnTo>
                <a:lnTo>
                  <a:pt x="386" y="339"/>
                </a:lnTo>
                <a:lnTo>
                  <a:pt x="380" y="337"/>
                </a:lnTo>
                <a:lnTo>
                  <a:pt x="375" y="332"/>
                </a:lnTo>
                <a:lnTo>
                  <a:pt x="370" y="330"/>
                </a:lnTo>
                <a:lnTo>
                  <a:pt x="364" y="327"/>
                </a:lnTo>
                <a:lnTo>
                  <a:pt x="357" y="326"/>
                </a:lnTo>
                <a:lnTo>
                  <a:pt x="352" y="325"/>
                </a:lnTo>
                <a:lnTo>
                  <a:pt x="350" y="323"/>
                </a:lnTo>
                <a:lnTo>
                  <a:pt x="346" y="322"/>
                </a:lnTo>
                <a:lnTo>
                  <a:pt x="343" y="322"/>
                </a:lnTo>
                <a:lnTo>
                  <a:pt x="339" y="321"/>
                </a:lnTo>
                <a:lnTo>
                  <a:pt x="335" y="317"/>
                </a:lnTo>
                <a:lnTo>
                  <a:pt x="331" y="313"/>
                </a:lnTo>
                <a:lnTo>
                  <a:pt x="326" y="311"/>
                </a:lnTo>
                <a:lnTo>
                  <a:pt x="320" y="309"/>
                </a:lnTo>
                <a:lnTo>
                  <a:pt x="323" y="308"/>
                </a:lnTo>
                <a:lnTo>
                  <a:pt x="326" y="308"/>
                </a:lnTo>
                <a:lnTo>
                  <a:pt x="323" y="306"/>
                </a:lnTo>
                <a:lnTo>
                  <a:pt x="320" y="305"/>
                </a:lnTo>
                <a:lnTo>
                  <a:pt x="315" y="305"/>
                </a:lnTo>
                <a:lnTo>
                  <a:pt x="312" y="305"/>
                </a:lnTo>
                <a:lnTo>
                  <a:pt x="312" y="304"/>
                </a:lnTo>
                <a:lnTo>
                  <a:pt x="309" y="302"/>
                </a:lnTo>
                <a:lnTo>
                  <a:pt x="305" y="304"/>
                </a:lnTo>
                <a:lnTo>
                  <a:pt x="299" y="304"/>
                </a:lnTo>
                <a:lnTo>
                  <a:pt x="299" y="301"/>
                </a:lnTo>
                <a:lnTo>
                  <a:pt x="299" y="299"/>
                </a:lnTo>
                <a:lnTo>
                  <a:pt x="297" y="298"/>
                </a:lnTo>
                <a:lnTo>
                  <a:pt x="296" y="298"/>
                </a:lnTo>
                <a:lnTo>
                  <a:pt x="294" y="297"/>
                </a:lnTo>
                <a:lnTo>
                  <a:pt x="291" y="297"/>
                </a:lnTo>
                <a:lnTo>
                  <a:pt x="290" y="296"/>
                </a:lnTo>
                <a:lnTo>
                  <a:pt x="289" y="293"/>
                </a:lnTo>
                <a:lnTo>
                  <a:pt x="298" y="292"/>
                </a:lnTo>
                <a:lnTo>
                  <a:pt x="305" y="293"/>
                </a:lnTo>
                <a:lnTo>
                  <a:pt x="307" y="296"/>
                </a:lnTo>
                <a:lnTo>
                  <a:pt x="309" y="298"/>
                </a:lnTo>
                <a:lnTo>
                  <a:pt x="312" y="300"/>
                </a:lnTo>
                <a:lnTo>
                  <a:pt x="315" y="300"/>
                </a:lnTo>
                <a:lnTo>
                  <a:pt x="319" y="302"/>
                </a:lnTo>
                <a:lnTo>
                  <a:pt x="322" y="304"/>
                </a:lnTo>
                <a:lnTo>
                  <a:pt x="327" y="304"/>
                </a:lnTo>
                <a:lnTo>
                  <a:pt x="331" y="302"/>
                </a:lnTo>
                <a:lnTo>
                  <a:pt x="339" y="305"/>
                </a:lnTo>
                <a:lnTo>
                  <a:pt x="346" y="309"/>
                </a:lnTo>
                <a:lnTo>
                  <a:pt x="351" y="310"/>
                </a:lnTo>
                <a:lnTo>
                  <a:pt x="355" y="311"/>
                </a:lnTo>
                <a:lnTo>
                  <a:pt x="355" y="309"/>
                </a:lnTo>
                <a:lnTo>
                  <a:pt x="353" y="308"/>
                </a:lnTo>
                <a:lnTo>
                  <a:pt x="353" y="307"/>
                </a:lnTo>
                <a:lnTo>
                  <a:pt x="354" y="306"/>
                </a:lnTo>
                <a:lnTo>
                  <a:pt x="354" y="307"/>
                </a:lnTo>
                <a:lnTo>
                  <a:pt x="355" y="307"/>
                </a:lnTo>
                <a:lnTo>
                  <a:pt x="356" y="306"/>
                </a:lnTo>
                <a:lnTo>
                  <a:pt x="355" y="305"/>
                </a:lnTo>
                <a:lnTo>
                  <a:pt x="356" y="302"/>
                </a:lnTo>
                <a:lnTo>
                  <a:pt x="359" y="301"/>
                </a:lnTo>
                <a:lnTo>
                  <a:pt x="360" y="301"/>
                </a:lnTo>
                <a:lnTo>
                  <a:pt x="361" y="301"/>
                </a:lnTo>
                <a:lnTo>
                  <a:pt x="364" y="302"/>
                </a:lnTo>
                <a:lnTo>
                  <a:pt x="368" y="306"/>
                </a:lnTo>
                <a:lnTo>
                  <a:pt x="372" y="308"/>
                </a:lnTo>
                <a:lnTo>
                  <a:pt x="376" y="308"/>
                </a:lnTo>
                <a:lnTo>
                  <a:pt x="380" y="307"/>
                </a:lnTo>
                <a:lnTo>
                  <a:pt x="384" y="306"/>
                </a:lnTo>
                <a:lnTo>
                  <a:pt x="387" y="306"/>
                </a:lnTo>
                <a:lnTo>
                  <a:pt x="390" y="307"/>
                </a:lnTo>
                <a:lnTo>
                  <a:pt x="393" y="307"/>
                </a:lnTo>
                <a:lnTo>
                  <a:pt x="394" y="306"/>
                </a:lnTo>
                <a:lnTo>
                  <a:pt x="394" y="305"/>
                </a:lnTo>
                <a:lnTo>
                  <a:pt x="395" y="302"/>
                </a:lnTo>
                <a:lnTo>
                  <a:pt x="396" y="301"/>
                </a:lnTo>
                <a:lnTo>
                  <a:pt x="397" y="300"/>
                </a:lnTo>
                <a:lnTo>
                  <a:pt x="395" y="298"/>
                </a:lnTo>
                <a:lnTo>
                  <a:pt x="390" y="298"/>
                </a:lnTo>
                <a:lnTo>
                  <a:pt x="388" y="299"/>
                </a:lnTo>
                <a:lnTo>
                  <a:pt x="386" y="300"/>
                </a:lnTo>
                <a:lnTo>
                  <a:pt x="384" y="300"/>
                </a:lnTo>
                <a:lnTo>
                  <a:pt x="383" y="299"/>
                </a:lnTo>
                <a:lnTo>
                  <a:pt x="378" y="301"/>
                </a:lnTo>
                <a:lnTo>
                  <a:pt x="375" y="304"/>
                </a:lnTo>
                <a:lnTo>
                  <a:pt x="375" y="301"/>
                </a:lnTo>
                <a:lnTo>
                  <a:pt x="375" y="300"/>
                </a:lnTo>
                <a:lnTo>
                  <a:pt x="372" y="297"/>
                </a:lnTo>
                <a:lnTo>
                  <a:pt x="370" y="294"/>
                </a:lnTo>
                <a:lnTo>
                  <a:pt x="365" y="292"/>
                </a:lnTo>
                <a:lnTo>
                  <a:pt x="361" y="289"/>
                </a:lnTo>
                <a:lnTo>
                  <a:pt x="357" y="286"/>
                </a:lnTo>
                <a:lnTo>
                  <a:pt x="354" y="284"/>
                </a:lnTo>
                <a:lnTo>
                  <a:pt x="350" y="283"/>
                </a:lnTo>
                <a:lnTo>
                  <a:pt x="346" y="282"/>
                </a:lnTo>
                <a:lnTo>
                  <a:pt x="340" y="282"/>
                </a:lnTo>
                <a:lnTo>
                  <a:pt x="336" y="282"/>
                </a:lnTo>
                <a:lnTo>
                  <a:pt x="334" y="280"/>
                </a:lnTo>
                <a:lnTo>
                  <a:pt x="332" y="277"/>
                </a:lnTo>
                <a:lnTo>
                  <a:pt x="334" y="275"/>
                </a:lnTo>
                <a:lnTo>
                  <a:pt x="336" y="274"/>
                </a:lnTo>
                <a:lnTo>
                  <a:pt x="336" y="273"/>
                </a:lnTo>
                <a:lnTo>
                  <a:pt x="335" y="272"/>
                </a:lnTo>
                <a:lnTo>
                  <a:pt x="332" y="271"/>
                </a:lnTo>
                <a:lnTo>
                  <a:pt x="330" y="269"/>
                </a:lnTo>
                <a:lnTo>
                  <a:pt x="324" y="268"/>
                </a:lnTo>
                <a:lnTo>
                  <a:pt x="322" y="268"/>
                </a:lnTo>
                <a:lnTo>
                  <a:pt x="312" y="267"/>
                </a:lnTo>
                <a:lnTo>
                  <a:pt x="303" y="267"/>
                </a:lnTo>
                <a:lnTo>
                  <a:pt x="304" y="265"/>
                </a:lnTo>
                <a:lnTo>
                  <a:pt x="306" y="261"/>
                </a:lnTo>
                <a:lnTo>
                  <a:pt x="306" y="260"/>
                </a:lnTo>
                <a:lnTo>
                  <a:pt x="306" y="259"/>
                </a:lnTo>
                <a:lnTo>
                  <a:pt x="306" y="258"/>
                </a:lnTo>
                <a:lnTo>
                  <a:pt x="304" y="257"/>
                </a:lnTo>
                <a:lnTo>
                  <a:pt x="302" y="258"/>
                </a:lnTo>
                <a:lnTo>
                  <a:pt x="299" y="258"/>
                </a:lnTo>
                <a:lnTo>
                  <a:pt x="298" y="256"/>
                </a:lnTo>
                <a:lnTo>
                  <a:pt x="296" y="254"/>
                </a:lnTo>
                <a:lnTo>
                  <a:pt x="288" y="254"/>
                </a:lnTo>
                <a:lnTo>
                  <a:pt x="280" y="251"/>
                </a:lnTo>
                <a:lnTo>
                  <a:pt x="279" y="249"/>
                </a:lnTo>
                <a:lnTo>
                  <a:pt x="280" y="248"/>
                </a:lnTo>
                <a:lnTo>
                  <a:pt x="281" y="247"/>
                </a:lnTo>
                <a:lnTo>
                  <a:pt x="284" y="247"/>
                </a:lnTo>
                <a:lnTo>
                  <a:pt x="289" y="247"/>
                </a:lnTo>
                <a:lnTo>
                  <a:pt x="293" y="248"/>
                </a:lnTo>
                <a:lnTo>
                  <a:pt x="287" y="243"/>
                </a:lnTo>
                <a:lnTo>
                  <a:pt x="280" y="240"/>
                </a:lnTo>
                <a:lnTo>
                  <a:pt x="272" y="236"/>
                </a:lnTo>
                <a:lnTo>
                  <a:pt x="263" y="232"/>
                </a:lnTo>
                <a:lnTo>
                  <a:pt x="255" y="228"/>
                </a:lnTo>
                <a:lnTo>
                  <a:pt x="247" y="225"/>
                </a:lnTo>
                <a:lnTo>
                  <a:pt x="240" y="222"/>
                </a:lnTo>
                <a:lnTo>
                  <a:pt x="233" y="219"/>
                </a:lnTo>
                <a:lnTo>
                  <a:pt x="244" y="222"/>
                </a:lnTo>
                <a:lnTo>
                  <a:pt x="254" y="225"/>
                </a:lnTo>
                <a:lnTo>
                  <a:pt x="265" y="228"/>
                </a:lnTo>
                <a:lnTo>
                  <a:pt x="277" y="232"/>
                </a:lnTo>
                <a:lnTo>
                  <a:pt x="287" y="236"/>
                </a:lnTo>
                <a:lnTo>
                  <a:pt x="298" y="240"/>
                </a:lnTo>
                <a:lnTo>
                  <a:pt x="309" y="244"/>
                </a:lnTo>
                <a:lnTo>
                  <a:pt x="319" y="250"/>
                </a:lnTo>
                <a:lnTo>
                  <a:pt x="323" y="254"/>
                </a:lnTo>
                <a:lnTo>
                  <a:pt x="328" y="256"/>
                </a:lnTo>
                <a:lnTo>
                  <a:pt x="334" y="257"/>
                </a:lnTo>
                <a:lnTo>
                  <a:pt x="338" y="258"/>
                </a:lnTo>
                <a:lnTo>
                  <a:pt x="348" y="263"/>
                </a:lnTo>
                <a:lnTo>
                  <a:pt x="359" y="267"/>
                </a:lnTo>
                <a:lnTo>
                  <a:pt x="362" y="269"/>
                </a:lnTo>
                <a:lnTo>
                  <a:pt x="365" y="271"/>
                </a:lnTo>
                <a:lnTo>
                  <a:pt x="369" y="269"/>
                </a:lnTo>
                <a:lnTo>
                  <a:pt x="371" y="267"/>
                </a:lnTo>
                <a:lnTo>
                  <a:pt x="373" y="266"/>
                </a:lnTo>
                <a:lnTo>
                  <a:pt x="375" y="266"/>
                </a:lnTo>
                <a:lnTo>
                  <a:pt x="375" y="267"/>
                </a:lnTo>
                <a:lnTo>
                  <a:pt x="375" y="268"/>
                </a:lnTo>
                <a:lnTo>
                  <a:pt x="373" y="273"/>
                </a:lnTo>
                <a:lnTo>
                  <a:pt x="371" y="275"/>
                </a:lnTo>
                <a:lnTo>
                  <a:pt x="380" y="277"/>
                </a:lnTo>
                <a:lnTo>
                  <a:pt x="389" y="282"/>
                </a:lnTo>
                <a:lnTo>
                  <a:pt x="398" y="285"/>
                </a:lnTo>
                <a:lnTo>
                  <a:pt x="408" y="289"/>
                </a:lnTo>
                <a:lnTo>
                  <a:pt x="400" y="283"/>
                </a:lnTo>
                <a:lnTo>
                  <a:pt x="394" y="279"/>
                </a:lnTo>
                <a:lnTo>
                  <a:pt x="396" y="277"/>
                </a:lnTo>
                <a:lnTo>
                  <a:pt x="397" y="275"/>
                </a:lnTo>
                <a:lnTo>
                  <a:pt x="395" y="274"/>
                </a:lnTo>
                <a:lnTo>
                  <a:pt x="393" y="274"/>
                </a:lnTo>
                <a:lnTo>
                  <a:pt x="385" y="271"/>
                </a:lnTo>
                <a:lnTo>
                  <a:pt x="379" y="266"/>
                </a:lnTo>
                <a:lnTo>
                  <a:pt x="383" y="266"/>
                </a:lnTo>
                <a:lnTo>
                  <a:pt x="386" y="266"/>
                </a:lnTo>
                <a:lnTo>
                  <a:pt x="380" y="264"/>
                </a:lnTo>
                <a:lnTo>
                  <a:pt x="373" y="261"/>
                </a:lnTo>
                <a:lnTo>
                  <a:pt x="371" y="261"/>
                </a:lnTo>
                <a:lnTo>
                  <a:pt x="369" y="260"/>
                </a:lnTo>
                <a:lnTo>
                  <a:pt x="367" y="263"/>
                </a:lnTo>
                <a:lnTo>
                  <a:pt x="364" y="264"/>
                </a:lnTo>
                <a:lnTo>
                  <a:pt x="362" y="263"/>
                </a:lnTo>
                <a:lnTo>
                  <a:pt x="359" y="261"/>
                </a:lnTo>
                <a:lnTo>
                  <a:pt x="357" y="261"/>
                </a:lnTo>
                <a:lnTo>
                  <a:pt x="357" y="260"/>
                </a:lnTo>
                <a:lnTo>
                  <a:pt x="357" y="259"/>
                </a:lnTo>
                <a:lnTo>
                  <a:pt x="359" y="258"/>
                </a:lnTo>
                <a:lnTo>
                  <a:pt x="363" y="259"/>
                </a:lnTo>
                <a:lnTo>
                  <a:pt x="368" y="259"/>
                </a:lnTo>
                <a:lnTo>
                  <a:pt x="364" y="257"/>
                </a:lnTo>
                <a:lnTo>
                  <a:pt x="362" y="255"/>
                </a:lnTo>
                <a:lnTo>
                  <a:pt x="362" y="252"/>
                </a:lnTo>
                <a:lnTo>
                  <a:pt x="362" y="251"/>
                </a:lnTo>
                <a:lnTo>
                  <a:pt x="360" y="250"/>
                </a:lnTo>
                <a:lnTo>
                  <a:pt x="356" y="250"/>
                </a:lnTo>
                <a:lnTo>
                  <a:pt x="355" y="249"/>
                </a:lnTo>
                <a:lnTo>
                  <a:pt x="354" y="249"/>
                </a:lnTo>
                <a:lnTo>
                  <a:pt x="354" y="248"/>
                </a:lnTo>
                <a:lnTo>
                  <a:pt x="355" y="247"/>
                </a:lnTo>
                <a:lnTo>
                  <a:pt x="356" y="244"/>
                </a:lnTo>
                <a:lnTo>
                  <a:pt x="360" y="243"/>
                </a:lnTo>
                <a:lnTo>
                  <a:pt x="362" y="244"/>
                </a:lnTo>
                <a:lnTo>
                  <a:pt x="364" y="246"/>
                </a:lnTo>
                <a:lnTo>
                  <a:pt x="372" y="249"/>
                </a:lnTo>
                <a:lnTo>
                  <a:pt x="379" y="251"/>
                </a:lnTo>
                <a:lnTo>
                  <a:pt x="387" y="255"/>
                </a:lnTo>
                <a:lnTo>
                  <a:pt x="394" y="258"/>
                </a:lnTo>
                <a:lnTo>
                  <a:pt x="397" y="259"/>
                </a:lnTo>
                <a:lnTo>
                  <a:pt x="400" y="259"/>
                </a:lnTo>
                <a:lnTo>
                  <a:pt x="400" y="257"/>
                </a:lnTo>
                <a:lnTo>
                  <a:pt x="402" y="255"/>
                </a:lnTo>
                <a:lnTo>
                  <a:pt x="405" y="256"/>
                </a:lnTo>
                <a:lnTo>
                  <a:pt x="409" y="257"/>
                </a:lnTo>
                <a:lnTo>
                  <a:pt x="412" y="259"/>
                </a:lnTo>
                <a:lnTo>
                  <a:pt x="416" y="260"/>
                </a:lnTo>
                <a:lnTo>
                  <a:pt x="419" y="263"/>
                </a:lnTo>
                <a:lnTo>
                  <a:pt x="421" y="266"/>
                </a:lnTo>
                <a:lnTo>
                  <a:pt x="418" y="265"/>
                </a:lnTo>
                <a:lnTo>
                  <a:pt x="414" y="264"/>
                </a:lnTo>
                <a:lnTo>
                  <a:pt x="413" y="264"/>
                </a:lnTo>
                <a:lnTo>
                  <a:pt x="411" y="264"/>
                </a:lnTo>
                <a:lnTo>
                  <a:pt x="410" y="264"/>
                </a:lnTo>
                <a:lnTo>
                  <a:pt x="409" y="266"/>
                </a:lnTo>
                <a:lnTo>
                  <a:pt x="414" y="268"/>
                </a:lnTo>
                <a:lnTo>
                  <a:pt x="421" y="269"/>
                </a:lnTo>
                <a:lnTo>
                  <a:pt x="427" y="269"/>
                </a:lnTo>
                <a:lnTo>
                  <a:pt x="434" y="268"/>
                </a:lnTo>
                <a:lnTo>
                  <a:pt x="428" y="263"/>
                </a:lnTo>
                <a:lnTo>
                  <a:pt x="422" y="258"/>
                </a:lnTo>
                <a:lnTo>
                  <a:pt x="416" y="255"/>
                </a:lnTo>
                <a:lnTo>
                  <a:pt x="408" y="252"/>
                </a:lnTo>
                <a:lnTo>
                  <a:pt x="400" y="249"/>
                </a:lnTo>
                <a:lnTo>
                  <a:pt x="392" y="247"/>
                </a:lnTo>
                <a:lnTo>
                  <a:pt x="389" y="246"/>
                </a:lnTo>
                <a:lnTo>
                  <a:pt x="387" y="244"/>
                </a:lnTo>
                <a:lnTo>
                  <a:pt x="386" y="243"/>
                </a:lnTo>
                <a:lnTo>
                  <a:pt x="385" y="241"/>
                </a:lnTo>
                <a:lnTo>
                  <a:pt x="384" y="241"/>
                </a:lnTo>
                <a:lnTo>
                  <a:pt x="381" y="241"/>
                </a:lnTo>
                <a:lnTo>
                  <a:pt x="379" y="241"/>
                </a:lnTo>
                <a:lnTo>
                  <a:pt x="378" y="239"/>
                </a:lnTo>
                <a:lnTo>
                  <a:pt x="372" y="236"/>
                </a:lnTo>
                <a:lnTo>
                  <a:pt x="367" y="234"/>
                </a:lnTo>
                <a:lnTo>
                  <a:pt x="364" y="233"/>
                </a:lnTo>
                <a:lnTo>
                  <a:pt x="363" y="232"/>
                </a:lnTo>
                <a:lnTo>
                  <a:pt x="361" y="232"/>
                </a:lnTo>
                <a:lnTo>
                  <a:pt x="360" y="232"/>
                </a:lnTo>
                <a:lnTo>
                  <a:pt x="354" y="231"/>
                </a:lnTo>
                <a:lnTo>
                  <a:pt x="350" y="228"/>
                </a:lnTo>
                <a:lnTo>
                  <a:pt x="345" y="225"/>
                </a:lnTo>
                <a:lnTo>
                  <a:pt x="339" y="222"/>
                </a:lnTo>
                <a:lnTo>
                  <a:pt x="337" y="222"/>
                </a:lnTo>
                <a:lnTo>
                  <a:pt x="335" y="221"/>
                </a:lnTo>
                <a:lnTo>
                  <a:pt x="331" y="222"/>
                </a:lnTo>
                <a:lnTo>
                  <a:pt x="329" y="223"/>
                </a:lnTo>
                <a:lnTo>
                  <a:pt x="327" y="223"/>
                </a:lnTo>
                <a:lnTo>
                  <a:pt x="327" y="222"/>
                </a:lnTo>
                <a:lnTo>
                  <a:pt x="327" y="221"/>
                </a:lnTo>
                <a:lnTo>
                  <a:pt x="328" y="218"/>
                </a:lnTo>
                <a:lnTo>
                  <a:pt x="327" y="217"/>
                </a:lnTo>
                <a:lnTo>
                  <a:pt x="326" y="216"/>
                </a:lnTo>
                <a:lnTo>
                  <a:pt x="326" y="215"/>
                </a:lnTo>
                <a:lnTo>
                  <a:pt x="329" y="215"/>
                </a:lnTo>
                <a:lnTo>
                  <a:pt x="330" y="216"/>
                </a:lnTo>
                <a:lnTo>
                  <a:pt x="334" y="217"/>
                </a:lnTo>
                <a:lnTo>
                  <a:pt x="335" y="217"/>
                </a:lnTo>
                <a:lnTo>
                  <a:pt x="336" y="217"/>
                </a:lnTo>
                <a:lnTo>
                  <a:pt x="337" y="216"/>
                </a:lnTo>
                <a:lnTo>
                  <a:pt x="337" y="215"/>
                </a:lnTo>
                <a:lnTo>
                  <a:pt x="336" y="214"/>
                </a:lnTo>
                <a:lnTo>
                  <a:pt x="335" y="213"/>
                </a:lnTo>
                <a:lnTo>
                  <a:pt x="332" y="213"/>
                </a:lnTo>
                <a:lnTo>
                  <a:pt x="331" y="214"/>
                </a:lnTo>
                <a:lnTo>
                  <a:pt x="322" y="214"/>
                </a:lnTo>
                <a:lnTo>
                  <a:pt x="314" y="213"/>
                </a:lnTo>
                <a:lnTo>
                  <a:pt x="306" y="211"/>
                </a:lnTo>
                <a:lnTo>
                  <a:pt x="299" y="208"/>
                </a:lnTo>
                <a:lnTo>
                  <a:pt x="309" y="208"/>
                </a:lnTo>
                <a:lnTo>
                  <a:pt x="319" y="208"/>
                </a:lnTo>
                <a:lnTo>
                  <a:pt x="317" y="206"/>
                </a:lnTo>
                <a:lnTo>
                  <a:pt x="313" y="206"/>
                </a:lnTo>
                <a:lnTo>
                  <a:pt x="310" y="205"/>
                </a:lnTo>
                <a:lnTo>
                  <a:pt x="305" y="205"/>
                </a:lnTo>
                <a:lnTo>
                  <a:pt x="303" y="205"/>
                </a:lnTo>
                <a:lnTo>
                  <a:pt x="299" y="203"/>
                </a:lnTo>
                <a:lnTo>
                  <a:pt x="297" y="201"/>
                </a:lnTo>
                <a:lnTo>
                  <a:pt x="295" y="199"/>
                </a:lnTo>
                <a:lnTo>
                  <a:pt x="289" y="199"/>
                </a:lnTo>
                <a:lnTo>
                  <a:pt x="282" y="199"/>
                </a:lnTo>
                <a:lnTo>
                  <a:pt x="281" y="197"/>
                </a:lnTo>
                <a:lnTo>
                  <a:pt x="279" y="196"/>
                </a:lnTo>
                <a:lnTo>
                  <a:pt x="274" y="194"/>
                </a:lnTo>
                <a:lnTo>
                  <a:pt x="270" y="193"/>
                </a:lnTo>
                <a:lnTo>
                  <a:pt x="272" y="192"/>
                </a:lnTo>
                <a:lnTo>
                  <a:pt x="273" y="191"/>
                </a:lnTo>
                <a:lnTo>
                  <a:pt x="265" y="190"/>
                </a:lnTo>
                <a:lnTo>
                  <a:pt x="257" y="186"/>
                </a:lnTo>
                <a:lnTo>
                  <a:pt x="247" y="183"/>
                </a:lnTo>
                <a:lnTo>
                  <a:pt x="237" y="180"/>
                </a:lnTo>
                <a:lnTo>
                  <a:pt x="229" y="180"/>
                </a:lnTo>
                <a:lnTo>
                  <a:pt x="222" y="177"/>
                </a:lnTo>
                <a:lnTo>
                  <a:pt x="221" y="176"/>
                </a:lnTo>
                <a:lnTo>
                  <a:pt x="217" y="174"/>
                </a:lnTo>
                <a:lnTo>
                  <a:pt x="213" y="174"/>
                </a:lnTo>
                <a:lnTo>
                  <a:pt x="208" y="175"/>
                </a:lnTo>
                <a:lnTo>
                  <a:pt x="207" y="173"/>
                </a:lnTo>
                <a:lnTo>
                  <a:pt x="206" y="172"/>
                </a:lnTo>
                <a:lnTo>
                  <a:pt x="205" y="171"/>
                </a:lnTo>
                <a:lnTo>
                  <a:pt x="204" y="169"/>
                </a:lnTo>
                <a:lnTo>
                  <a:pt x="199" y="169"/>
                </a:lnTo>
                <a:lnTo>
                  <a:pt x="195" y="169"/>
                </a:lnTo>
                <a:lnTo>
                  <a:pt x="186" y="167"/>
                </a:lnTo>
                <a:lnTo>
                  <a:pt x="177" y="165"/>
                </a:lnTo>
                <a:lnTo>
                  <a:pt x="171" y="163"/>
                </a:lnTo>
                <a:lnTo>
                  <a:pt x="162" y="159"/>
                </a:lnTo>
                <a:lnTo>
                  <a:pt x="157" y="158"/>
                </a:lnTo>
                <a:lnTo>
                  <a:pt x="153" y="158"/>
                </a:lnTo>
                <a:lnTo>
                  <a:pt x="150" y="159"/>
                </a:lnTo>
                <a:lnTo>
                  <a:pt x="149" y="160"/>
                </a:lnTo>
                <a:lnTo>
                  <a:pt x="155" y="161"/>
                </a:lnTo>
                <a:lnTo>
                  <a:pt x="159" y="163"/>
                </a:lnTo>
                <a:lnTo>
                  <a:pt x="158" y="164"/>
                </a:lnTo>
                <a:lnTo>
                  <a:pt x="157" y="165"/>
                </a:lnTo>
                <a:lnTo>
                  <a:pt x="156" y="166"/>
                </a:lnTo>
                <a:lnTo>
                  <a:pt x="157" y="167"/>
                </a:lnTo>
                <a:lnTo>
                  <a:pt x="164" y="167"/>
                </a:lnTo>
                <a:lnTo>
                  <a:pt x="169" y="165"/>
                </a:lnTo>
                <a:lnTo>
                  <a:pt x="170" y="167"/>
                </a:lnTo>
                <a:lnTo>
                  <a:pt x="170" y="169"/>
                </a:lnTo>
                <a:lnTo>
                  <a:pt x="172" y="173"/>
                </a:lnTo>
                <a:lnTo>
                  <a:pt x="175" y="174"/>
                </a:lnTo>
                <a:lnTo>
                  <a:pt x="178" y="175"/>
                </a:lnTo>
                <a:lnTo>
                  <a:pt x="181" y="175"/>
                </a:lnTo>
                <a:lnTo>
                  <a:pt x="184" y="174"/>
                </a:lnTo>
                <a:lnTo>
                  <a:pt x="187" y="176"/>
                </a:lnTo>
                <a:lnTo>
                  <a:pt x="190" y="178"/>
                </a:lnTo>
                <a:lnTo>
                  <a:pt x="194" y="181"/>
                </a:lnTo>
                <a:lnTo>
                  <a:pt x="197" y="183"/>
                </a:lnTo>
                <a:lnTo>
                  <a:pt x="202" y="183"/>
                </a:lnTo>
                <a:lnTo>
                  <a:pt x="204" y="181"/>
                </a:lnTo>
                <a:lnTo>
                  <a:pt x="207" y="177"/>
                </a:lnTo>
                <a:lnTo>
                  <a:pt x="210" y="178"/>
                </a:lnTo>
                <a:lnTo>
                  <a:pt x="212" y="181"/>
                </a:lnTo>
                <a:lnTo>
                  <a:pt x="210" y="182"/>
                </a:lnTo>
                <a:lnTo>
                  <a:pt x="208" y="182"/>
                </a:lnTo>
                <a:lnTo>
                  <a:pt x="208" y="184"/>
                </a:lnTo>
                <a:lnTo>
                  <a:pt x="208" y="186"/>
                </a:lnTo>
                <a:lnTo>
                  <a:pt x="211" y="188"/>
                </a:lnTo>
                <a:lnTo>
                  <a:pt x="214" y="188"/>
                </a:lnTo>
                <a:lnTo>
                  <a:pt x="215" y="186"/>
                </a:lnTo>
                <a:lnTo>
                  <a:pt x="217" y="186"/>
                </a:lnTo>
                <a:lnTo>
                  <a:pt x="220" y="189"/>
                </a:lnTo>
                <a:lnTo>
                  <a:pt x="223" y="192"/>
                </a:lnTo>
                <a:lnTo>
                  <a:pt x="230" y="194"/>
                </a:lnTo>
                <a:lnTo>
                  <a:pt x="238" y="197"/>
                </a:lnTo>
                <a:lnTo>
                  <a:pt x="240" y="198"/>
                </a:lnTo>
                <a:lnTo>
                  <a:pt x="241" y="199"/>
                </a:lnTo>
                <a:lnTo>
                  <a:pt x="240" y="200"/>
                </a:lnTo>
                <a:lnTo>
                  <a:pt x="237" y="200"/>
                </a:lnTo>
                <a:lnTo>
                  <a:pt x="230" y="198"/>
                </a:lnTo>
                <a:lnTo>
                  <a:pt x="223" y="194"/>
                </a:lnTo>
                <a:lnTo>
                  <a:pt x="214" y="193"/>
                </a:lnTo>
                <a:lnTo>
                  <a:pt x="206" y="191"/>
                </a:lnTo>
                <a:lnTo>
                  <a:pt x="204" y="190"/>
                </a:lnTo>
                <a:lnTo>
                  <a:pt x="200" y="189"/>
                </a:lnTo>
                <a:lnTo>
                  <a:pt x="197" y="189"/>
                </a:lnTo>
                <a:lnTo>
                  <a:pt x="194" y="189"/>
                </a:lnTo>
                <a:lnTo>
                  <a:pt x="190" y="186"/>
                </a:lnTo>
                <a:lnTo>
                  <a:pt x="187" y="184"/>
                </a:lnTo>
                <a:lnTo>
                  <a:pt x="182" y="182"/>
                </a:lnTo>
                <a:lnTo>
                  <a:pt x="178" y="182"/>
                </a:lnTo>
                <a:lnTo>
                  <a:pt x="170" y="180"/>
                </a:lnTo>
                <a:lnTo>
                  <a:pt x="162" y="178"/>
                </a:lnTo>
                <a:lnTo>
                  <a:pt x="156" y="178"/>
                </a:lnTo>
                <a:lnTo>
                  <a:pt x="149" y="178"/>
                </a:lnTo>
                <a:lnTo>
                  <a:pt x="146" y="176"/>
                </a:lnTo>
                <a:lnTo>
                  <a:pt x="142" y="175"/>
                </a:lnTo>
                <a:lnTo>
                  <a:pt x="140" y="176"/>
                </a:lnTo>
                <a:lnTo>
                  <a:pt x="138" y="177"/>
                </a:lnTo>
                <a:lnTo>
                  <a:pt x="134" y="177"/>
                </a:lnTo>
                <a:lnTo>
                  <a:pt x="130" y="175"/>
                </a:lnTo>
                <a:lnTo>
                  <a:pt x="129" y="175"/>
                </a:lnTo>
                <a:lnTo>
                  <a:pt x="126" y="175"/>
                </a:lnTo>
                <a:lnTo>
                  <a:pt x="125" y="175"/>
                </a:lnTo>
                <a:lnTo>
                  <a:pt x="123" y="176"/>
                </a:lnTo>
                <a:lnTo>
                  <a:pt x="130" y="178"/>
                </a:lnTo>
                <a:lnTo>
                  <a:pt x="137" y="180"/>
                </a:lnTo>
                <a:lnTo>
                  <a:pt x="133" y="182"/>
                </a:lnTo>
                <a:lnTo>
                  <a:pt x="131" y="183"/>
                </a:lnTo>
                <a:lnTo>
                  <a:pt x="136" y="185"/>
                </a:lnTo>
                <a:lnTo>
                  <a:pt x="140" y="188"/>
                </a:lnTo>
                <a:lnTo>
                  <a:pt x="146" y="189"/>
                </a:lnTo>
                <a:lnTo>
                  <a:pt x="150" y="189"/>
                </a:lnTo>
                <a:lnTo>
                  <a:pt x="150" y="186"/>
                </a:lnTo>
                <a:lnTo>
                  <a:pt x="148" y="186"/>
                </a:lnTo>
                <a:lnTo>
                  <a:pt x="146" y="185"/>
                </a:lnTo>
                <a:lnTo>
                  <a:pt x="144" y="184"/>
                </a:lnTo>
                <a:lnTo>
                  <a:pt x="142" y="184"/>
                </a:lnTo>
                <a:lnTo>
                  <a:pt x="141" y="183"/>
                </a:lnTo>
                <a:lnTo>
                  <a:pt x="140" y="183"/>
                </a:lnTo>
                <a:lnTo>
                  <a:pt x="141" y="181"/>
                </a:lnTo>
                <a:lnTo>
                  <a:pt x="148" y="182"/>
                </a:lnTo>
                <a:lnTo>
                  <a:pt x="156" y="183"/>
                </a:lnTo>
                <a:lnTo>
                  <a:pt x="157" y="185"/>
                </a:lnTo>
                <a:lnTo>
                  <a:pt x="158" y="189"/>
                </a:lnTo>
                <a:lnTo>
                  <a:pt x="157" y="189"/>
                </a:lnTo>
                <a:lnTo>
                  <a:pt x="156" y="190"/>
                </a:lnTo>
                <a:lnTo>
                  <a:pt x="157" y="191"/>
                </a:lnTo>
                <a:lnTo>
                  <a:pt x="158" y="192"/>
                </a:lnTo>
                <a:lnTo>
                  <a:pt x="161" y="192"/>
                </a:lnTo>
                <a:lnTo>
                  <a:pt x="162" y="193"/>
                </a:lnTo>
                <a:lnTo>
                  <a:pt x="162" y="194"/>
                </a:lnTo>
                <a:lnTo>
                  <a:pt x="161" y="196"/>
                </a:lnTo>
                <a:lnTo>
                  <a:pt x="159" y="196"/>
                </a:lnTo>
                <a:lnTo>
                  <a:pt x="157" y="196"/>
                </a:lnTo>
                <a:lnTo>
                  <a:pt x="153" y="196"/>
                </a:lnTo>
                <a:lnTo>
                  <a:pt x="149" y="194"/>
                </a:lnTo>
                <a:lnTo>
                  <a:pt x="144" y="194"/>
                </a:lnTo>
                <a:lnTo>
                  <a:pt x="139" y="192"/>
                </a:lnTo>
                <a:lnTo>
                  <a:pt x="136" y="190"/>
                </a:lnTo>
                <a:lnTo>
                  <a:pt x="131" y="189"/>
                </a:lnTo>
                <a:lnTo>
                  <a:pt x="128" y="189"/>
                </a:lnTo>
                <a:lnTo>
                  <a:pt x="124" y="189"/>
                </a:lnTo>
                <a:lnTo>
                  <a:pt x="123" y="189"/>
                </a:lnTo>
                <a:lnTo>
                  <a:pt x="122" y="189"/>
                </a:lnTo>
                <a:lnTo>
                  <a:pt x="121" y="189"/>
                </a:lnTo>
                <a:lnTo>
                  <a:pt x="121" y="186"/>
                </a:lnTo>
                <a:lnTo>
                  <a:pt x="118" y="185"/>
                </a:lnTo>
                <a:lnTo>
                  <a:pt x="116" y="186"/>
                </a:lnTo>
                <a:lnTo>
                  <a:pt x="115" y="188"/>
                </a:lnTo>
                <a:lnTo>
                  <a:pt x="115" y="189"/>
                </a:lnTo>
                <a:lnTo>
                  <a:pt x="116" y="190"/>
                </a:lnTo>
                <a:lnTo>
                  <a:pt x="117" y="191"/>
                </a:lnTo>
                <a:lnTo>
                  <a:pt x="123" y="192"/>
                </a:lnTo>
                <a:lnTo>
                  <a:pt x="129" y="192"/>
                </a:lnTo>
                <a:lnTo>
                  <a:pt x="133" y="194"/>
                </a:lnTo>
                <a:lnTo>
                  <a:pt x="138" y="197"/>
                </a:lnTo>
                <a:lnTo>
                  <a:pt x="148" y="201"/>
                </a:lnTo>
                <a:lnTo>
                  <a:pt x="159" y="203"/>
                </a:lnTo>
                <a:lnTo>
                  <a:pt x="171" y="206"/>
                </a:lnTo>
                <a:lnTo>
                  <a:pt x="181" y="209"/>
                </a:lnTo>
                <a:lnTo>
                  <a:pt x="187" y="213"/>
                </a:lnTo>
                <a:lnTo>
                  <a:pt x="191" y="216"/>
                </a:lnTo>
                <a:lnTo>
                  <a:pt x="189" y="216"/>
                </a:lnTo>
                <a:lnTo>
                  <a:pt x="184" y="215"/>
                </a:lnTo>
                <a:lnTo>
                  <a:pt x="182" y="214"/>
                </a:lnTo>
                <a:lnTo>
                  <a:pt x="180" y="215"/>
                </a:lnTo>
                <a:lnTo>
                  <a:pt x="179" y="215"/>
                </a:lnTo>
                <a:lnTo>
                  <a:pt x="180" y="217"/>
                </a:lnTo>
                <a:lnTo>
                  <a:pt x="181" y="218"/>
                </a:lnTo>
                <a:lnTo>
                  <a:pt x="183" y="219"/>
                </a:lnTo>
                <a:lnTo>
                  <a:pt x="184" y="219"/>
                </a:lnTo>
                <a:lnTo>
                  <a:pt x="184" y="221"/>
                </a:lnTo>
                <a:lnTo>
                  <a:pt x="183" y="221"/>
                </a:lnTo>
                <a:lnTo>
                  <a:pt x="182" y="222"/>
                </a:lnTo>
                <a:lnTo>
                  <a:pt x="178" y="222"/>
                </a:lnTo>
                <a:lnTo>
                  <a:pt x="172" y="222"/>
                </a:lnTo>
                <a:lnTo>
                  <a:pt x="170" y="221"/>
                </a:lnTo>
                <a:lnTo>
                  <a:pt x="167" y="219"/>
                </a:lnTo>
                <a:lnTo>
                  <a:pt x="165" y="218"/>
                </a:lnTo>
                <a:lnTo>
                  <a:pt x="165" y="217"/>
                </a:lnTo>
                <a:lnTo>
                  <a:pt x="166" y="216"/>
                </a:lnTo>
                <a:lnTo>
                  <a:pt x="167" y="214"/>
                </a:lnTo>
                <a:lnTo>
                  <a:pt x="165" y="213"/>
                </a:lnTo>
                <a:lnTo>
                  <a:pt x="163" y="211"/>
                </a:lnTo>
                <a:lnTo>
                  <a:pt x="161" y="211"/>
                </a:lnTo>
                <a:lnTo>
                  <a:pt x="157" y="211"/>
                </a:lnTo>
                <a:lnTo>
                  <a:pt x="155" y="213"/>
                </a:lnTo>
                <a:lnTo>
                  <a:pt x="153" y="215"/>
                </a:lnTo>
                <a:lnTo>
                  <a:pt x="153" y="213"/>
                </a:lnTo>
                <a:lnTo>
                  <a:pt x="154" y="210"/>
                </a:lnTo>
                <a:lnTo>
                  <a:pt x="154" y="208"/>
                </a:lnTo>
                <a:lnTo>
                  <a:pt x="153" y="208"/>
                </a:lnTo>
                <a:lnTo>
                  <a:pt x="151" y="208"/>
                </a:lnTo>
                <a:lnTo>
                  <a:pt x="149" y="208"/>
                </a:lnTo>
                <a:lnTo>
                  <a:pt x="147" y="209"/>
                </a:lnTo>
                <a:lnTo>
                  <a:pt x="145" y="210"/>
                </a:lnTo>
                <a:lnTo>
                  <a:pt x="148" y="211"/>
                </a:lnTo>
                <a:lnTo>
                  <a:pt x="150" y="214"/>
                </a:lnTo>
                <a:lnTo>
                  <a:pt x="144" y="214"/>
                </a:lnTo>
                <a:lnTo>
                  <a:pt x="136" y="214"/>
                </a:lnTo>
                <a:lnTo>
                  <a:pt x="136" y="215"/>
                </a:lnTo>
                <a:lnTo>
                  <a:pt x="138" y="216"/>
                </a:lnTo>
                <a:lnTo>
                  <a:pt x="139" y="217"/>
                </a:lnTo>
                <a:lnTo>
                  <a:pt x="142" y="217"/>
                </a:lnTo>
                <a:lnTo>
                  <a:pt x="148" y="218"/>
                </a:lnTo>
                <a:lnTo>
                  <a:pt x="151" y="219"/>
                </a:lnTo>
                <a:lnTo>
                  <a:pt x="162" y="223"/>
                </a:lnTo>
                <a:lnTo>
                  <a:pt x="172" y="226"/>
                </a:lnTo>
                <a:lnTo>
                  <a:pt x="183" y="230"/>
                </a:lnTo>
                <a:lnTo>
                  <a:pt x="194" y="233"/>
                </a:lnTo>
                <a:lnTo>
                  <a:pt x="184" y="233"/>
                </a:lnTo>
                <a:lnTo>
                  <a:pt x="175" y="232"/>
                </a:lnTo>
                <a:lnTo>
                  <a:pt x="178" y="234"/>
                </a:lnTo>
                <a:lnTo>
                  <a:pt x="181" y="236"/>
                </a:lnTo>
                <a:lnTo>
                  <a:pt x="177" y="238"/>
                </a:lnTo>
                <a:lnTo>
                  <a:pt x="171" y="238"/>
                </a:lnTo>
                <a:lnTo>
                  <a:pt x="165" y="235"/>
                </a:lnTo>
                <a:lnTo>
                  <a:pt x="159" y="234"/>
                </a:lnTo>
                <a:lnTo>
                  <a:pt x="154" y="232"/>
                </a:lnTo>
                <a:lnTo>
                  <a:pt x="147" y="231"/>
                </a:lnTo>
                <a:lnTo>
                  <a:pt x="142" y="230"/>
                </a:lnTo>
                <a:lnTo>
                  <a:pt x="138" y="228"/>
                </a:lnTo>
                <a:lnTo>
                  <a:pt x="132" y="226"/>
                </a:lnTo>
                <a:lnTo>
                  <a:pt x="126" y="225"/>
                </a:lnTo>
                <a:lnTo>
                  <a:pt x="121" y="223"/>
                </a:lnTo>
                <a:lnTo>
                  <a:pt x="114" y="221"/>
                </a:lnTo>
                <a:lnTo>
                  <a:pt x="107" y="221"/>
                </a:lnTo>
                <a:lnTo>
                  <a:pt x="101" y="222"/>
                </a:lnTo>
                <a:lnTo>
                  <a:pt x="105" y="224"/>
                </a:lnTo>
                <a:lnTo>
                  <a:pt x="108" y="225"/>
                </a:lnTo>
                <a:lnTo>
                  <a:pt x="113" y="226"/>
                </a:lnTo>
                <a:lnTo>
                  <a:pt x="116" y="226"/>
                </a:lnTo>
                <a:lnTo>
                  <a:pt x="125" y="228"/>
                </a:lnTo>
                <a:lnTo>
                  <a:pt x="133" y="231"/>
                </a:lnTo>
                <a:lnTo>
                  <a:pt x="142" y="232"/>
                </a:lnTo>
                <a:lnTo>
                  <a:pt x="151" y="234"/>
                </a:lnTo>
                <a:lnTo>
                  <a:pt x="159" y="236"/>
                </a:lnTo>
                <a:lnTo>
                  <a:pt x="169" y="240"/>
                </a:lnTo>
                <a:lnTo>
                  <a:pt x="172" y="241"/>
                </a:lnTo>
                <a:lnTo>
                  <a:pt x="174" y="242"/>
                </a:lnTo>
                <a:lnTo>
                  <a:pt x="178" y="242"/>
                </a:lnTo>
                <a:lnTo>
                  <a:pt x="181" y="243"/>
                </a:lnTo>
                <a:lnTo>
                  <a:pt x="183" y="244"/>
                </a:lnTo>
                <a:lnTo>
                  <a:pt x="184" y="247"/>
                </a:lnTo>
                <a:lnTo>
                  <a:pt x="184" y="248"/>
                </a:lnTo>
                <a:lnTo>
                  <a:pt x="184" y="249"/>
                </a:lnTo>
                <a:lnTo>
                  <a:pt x="183" y="250"/>
                </a:lnTo>
                <a:lnTo>
                  <a:pt x="182" y="250"/>
                </a:lnTo>
                <a:lnTo>
                  <a:pt x="178" y="248"/>
                </a:lnTo>
                <a:lnTo>
                  <a:pt x="173" y="246"/>
                </a:lnTo>
                <a:lnTo>
                  <a:pt x="166" y="246"/>
                </a:lnTo>
                <a:lnTo>
                  <a:pt x="159" y="244"/>
                </a:lnTo>
                <a:lnTo>
                  <a:pt x="154" y="242"/>
                </a:lnTo>
                <a:lnTo>
                  <a:pt x="148" y="241"/>
                </a:lnTo>
                <a:lnTo>
                  <a:pt x="141" y="240"/>
                </a:lnTo>
                <a:lnTo>
                  <a:pt x="134" y="239"/>
                </a:lnTo>
                <a:lnTo>
                  <a:pt x="128" y="236"/>
                </a:lnTo>
                <a:lnTo>
                  <a:pt x="120" y="236"/>
                </a:lnTo>
                <a:lnTo>
                  <a:pt x="117" y="236"/>
                </a:lnTo>
                <a:lnTo>
                  <a:pt x="116" y="238"/>
                </a:lnTo>
                <a:lnTo>
                  <a:pt x="117" y="239"/>
                </a:lnTo>
                <a:lnTo>
                  <a:pt x="118" y="239"/>
                </a:lnTo>
                <a:lnTo>
                  <a:pt x="122" y="240"/>
                </a:lnTo>
                <a:lnTo>
                  <a:pt x="125" y="240"/>
                </a:lnTo>
                <a:lnTo>
                  <a:pt x="128" y="240"/>
                </a:lnTo>
                <a:lnTo>
                  <a:pt x="132" y="240"/>
                </a:lnTo>
                <a:lnTo>
                  <a:pt x="133" y="241"/>
                </a:lnTo>
                <a:lnTo>
                  <a:pt x="136" y="243"/>
                </a:lnTo>
                <a:lnTo>
                  <a:pt x="141" y="244"/>
                </a:lnTo>
                <a:lnTo>
                  <a:pt x="148" y="244"/>
                </a:lnTo>
                <a:lnTo>
                  <a:pt x="153" y="247"/>
                </a:lnTo>
                <a:lnTo>
                  <a:pt x="157" y="250"/>
                </a:lnTo>
                <a:lnTo>
                  <a:pt x="165" y="251"/>
                </a:lnTo>
                <a:lnTo>
                  <a:pt x="173" y="254"/>
                </a:lnTo>
                <a:lnTo>
                  <a:pt x="167" y="257"/>
                </a:lnTo>
                <a:lnTo>
                  <a:pt x="162" y="258"/>
                </a:lnTo>
                <a:lnTo>
                  <a:pt x="159" y="257"/>
                </a:lnTo>
                <a:lnTo>
                  <a:pt x="157" y="255"/>
                </a:lnTo>
                <a:lnTo>
                  <a:pt x="154" y="254"/>
                </a:lnTo>
                <a:lnTo>
                  <a:pt x="150" y="254"/>
                </a:lnTo>
                <a:lnTo>
                  <a:pt x="144" y="251"/>
                </a:lnTo>
                <a:lnTo>
                  <a:pt x="137" y="251"/>
                </a:lnTo>
                <a:lnTo>
                  <a:pt x="137" y="252"/>
                </a:lnTo>
                <a:lnTo>
                  <a:pt x="137" y="254"/>
                </a:lnTo>
                <a:lnTo>
                  <a:pt x="137" y="255"/>
                </a:lnTo>
                <a:lnTo>
                  <a:pt x="138" y="255"/>
                </a:lnTo>
                <a:lnTo>
                  <a:pt x="141" y="255"/>
                </a:lnTo>
                <a:lnTo>
                  <a:pt x="144" y="256"/>
                </a:lnTo>
                <a:lnTo>
                  <a:pt x="140" y="257"/>
                </a:lnTo>
                <a:lnTo>
                  <a:pt x="138" y="258"/>
                </a:lnTo>
                <a:lnTo>
                  <a:pt x="144" y="258"/>
                </a:lnTo>
                <a:lnTo>
                  <a:pt x="148" y="257"/>
                </a:lnTo>
                <a:lnTo>
                  <a:pt x="150" y="257"/>
                </a:lnTo>
                <a:lnTo>
                  <a:pt x="150" y="257"/>
                </a:lnTo>
                <a:lnTo>
                  <a:pt x="150" y="258"/>
                </a:lnTo>
                <a:lnTo>
                  <a:pt x="151" y="260"/>
                </a:lnTo>
                <a:lnTo>
                  <a:pt x="154" y="263"/>
                </a:lnTo>
                <a:lnTo>
                  <a:pt x="157" y="263"/>
                </a:lnTo>
                <a:lnTo>
                  <a:pt x="159" y="264"/>
                </a:lnTo>
                <a:lnTo>
                  <a:pt x="162" y="264"/>
                </a:lnTo>
                <a:lnTo>
                  <a:pt x="166" y="263"/>
                </a:lnTo>
                <a:lnTo>
                  <a:pt x="172" y="264"/>
                </a:lnTo>
                <a:lnTo>
                  <a:pt x="177" y="266"/>
                </a:lnTo>
                <a:lnTo>
                  <a:pt x="182" y="269"/>
                </a:lnTo>
                <a:lnTo>
                  <a:pt x="190" y="273"/>
                </a:lnTo>
                <a:lnTo>
                  <a:pt x="198" y="274"/>
                </a:lnTo>
                <a:lnTo>
                  <a:pt x="202" y="276"/>
                </a:lnTo>
                <a:lnTo>
                  <a:pt x="204" y="277"/>
                </a:lnTo>
                <a:lnTo>
                  <a:pt x="205" y="281"/>
                </a:lnTo>
                <a:lnTo>
                  <a:pt x="204" y="285"/>
                </a:lnTo>
                <a:lnTo>
                  <a:pt x="208" y="285"/>
                </a:lnTo>
                <a:lnTo>
                  <a:pt x="213" y="285"/>
                </a:lnTo>
                <a:lnTo>
                  <a:pt x="217" y="286"/>
                </a:lnTo>
                <a:lnTo>
                  <a:pt x="221" y="289"/>
                </a:lnTo>
                <a:lnTo>
                  <a:pt x="213" y="290"/>
                </a:lnTo>
                <a:lnTo>
                  <a:pt x="205" y="289"/>
                </a:lnTo>
                <a:lnTo>
                  <a:pt x="202" y="286"/>
                </a:lnTo>
                <a:lnTo>
                  <a:pt x="198" y="283"/>
                </a:lnTo>
                <a:lnTo>
                  <a:pt x="194" y="283"/>
                </a:lnTo>
                <a:lnTo>
                  <a:pt x="188" y="283"/>
                </a:lnTo>
                <a:lnTo>
                  <a:pt x="184" y="283"/>
                </a:lnTo>
                <a:lnTo>
                  <a:pt x="181" y="282"/>
                </a:lnTo>
                <a:lnTo>
                  <a:pt x="180" y="280"/>
                </a:lnTo>
                <a:lnTo>
                  <a:pt x="179" y="277"/>
                </a:lnTo>
                <a:lnTo>
                  <a:pt x="173" y="277"/>
                </a:lnTo>
                <a:lnTo>
                  <a:pt x="166" y="277"/>
                </a:lnTo>
                <a:lnTo>
                  <a:pt x="161" y="275"/>
                </a:lnTo>
                <a:lnTo>
                  <a:pt x="154" y="272"/>
                </a:lnTo>
                <a:lnTo>
                  <a:pt x="148" y="269"/>
                </a:lnTo>
                <a:lnTo>
                  <a:pt x="141" y="268"/>
                </a:lnTo>
                <a:lnTo>
                  <a:pt x="138" y="269"/>
                </a:lnTo>
                <a:lnTo>
                  <a:pt x="136" y="271"/>
                </a:lnTo>
                <a:lnTo>
                  <a:pt x="133" y="272"/>
                </a:lnTo>
                <a:lnTo>
                  <a:pt x="131" y="275"/>
                </a:lnTo>
                <a:lnTo>
                  <a:pt x="146" y="280"/>
                </a:lnTo>
                <a:lnTo>
                  <a:pt x="161" y="285"/>
                </a:lnTo>
                <a:lnTo>
                  <a:pt x="175" y="290"/>
                </a:lnTo>
                <a:lnTo>
                  <a:pt x="190" y="296"/>
                </a:lnTo>
                <a:lnTo>
                  <a:pt x="204" y="300"/>
                </a:lnTo>
                <a:lnTo>
                  <a:pt x="217" y="306"/>
                </a:lnTo>
                <a:lnTo>
                  <a:pt x="223" y="309"/>
                </a:lnTo>
                <a:lnTo>
                  <a:pt x="230" y="313"/>
                </a:lnTo>
                <a:lnTo>
                  <a:pt x="237" y="315"/>
                </a:lnTo>
                <a:lnTo>
                  <a:pt x="244" y="316"/>
                </a:lnTo>
                <a:lnTo>
                  <a:pt x="243" y="318"/>
                </a:lnTo>
                <a:lnTo>
                  <a:pt x="243" y="322"/>
                </a:lnTo>
                <a:lnTo>
                  <a:pt x="244" y="324"/>
                </a:lnTo>
                <a:lnTo>
                  <a:pt x="246" y="326"/>
                </a:lnTo>
                <a:lnTo>
                  <a:pt x="241" y="326"/>
                </a:lnTo>
                <a:lnTo>
                  <a:pt x="239" y="325"/>
                </a:lnTo>
                <a:lnTo>
                  <a:pt x="237" y="324"/>
                </a:lnTo>
                <a:lnTo>
                  <a:pt x="233" y="323"/>
                </a:lnTo>
                <a:lnTo>
                  <a:pt x="229" y="322"/>
                </a:lnTo>
                <a:lnTo>
                  <a:pt x="223" y="321"/>
                </a:lnTo>
                <a:lnTo>
                  <a:pt x="217" y="319"/>
                </a:lnTo>
                <a:lnTo>
                  <a:pt x="215" y="316"/>
                </a:lnTo>
                <a:lnTo>
                  <a:pt x="216" y="315"/>
                </a:lnTo>
                <a:lnTo>
                  <a:pt x="217" y="314"/>
                </a:lnTo>
                <a:lnTo>
                  <a:pt x="219" y="313"/>
                </a:lnTo>
                <a:lnTo>
                  <a:pt x="217" y="311"/>
                </a:lnTo>
                <a:lnTo>
                  <a:pt x="215" y="311"/>
                </a:lnTo>
                <a:lnTo>
                  <a:pt x="213" y="310"/>
                </a:lnTo>
                <a:lnTo>
                  <a:pt x="212" y="310"/>
                </a:lnTo>
                <a:lnTo>
                  <a:pt x="213" y="307"/>
                </a:lnTo>
                <a:lnTo>
                  <a:pt x="205" y="307"/>
                </a:lnTo>
                <a:lnTo>
                  <a:pt x="197" y="308"/>
                </a:lnTo>
                <a:lnTo>
                  <a:pt x="197" y="307"/>
                </a:lnTo>
                <a:lnTo>
                  <a:pt x="198" y="305"/>
                </a:lnTo>
                <a:lnTo>
                  <a:pt x="198" y="304"/>
                </a:lnTo>
                <a:lnTo>
                  <a:pt x="197" y="304"/>
                </a:lnTo>
                <a:lnTo>
                  <a:pt x="194" y="306"/>
                </a:lnTo>
                <a:lnTo>
                  <a:pt x="191" y="308"/>
                </a:lnTo>
                <a:lnTo>
                  <a:pt x="190" y="306"/>
                </a:lnTo>
                <a:lnTo>
                  <a:pt x="189" y="305"/>
                </a:lnTo>
                <a:lnTo>
                  <a:pt x="187" y="304"/>
                </a:lnTo>
                <a:lnTo>
                  <a:pt x="184" y="305"/>
                </a:lnTo>
                <a:lnTo>
                  <a:pt x="178" y="305"/>
                </a:lnTo>
                <a:lnTo>
                  <a:pt x="174" y="306"/>
                </a:lnTo>
                <a:lnTo>
                  <a:pt x="167" y="307"/>
                </a:lnTo>
                <a:lnTo>
                  <a:pt x="162" y="307"/>
                </a:lnTo>
                <a:lnTo>
                  <a:pt x="158" y="307"/>
                </a:lnTo>
                <a:lnTo>
                  <a:pt x="155" y="307"/>
                </a:lnTo>
                <a:lnTo>
                  <a:pt x="151" y="306"/>
                </a:lnTo>
                <a:lnTo>
                  <a:pt x="149" y="304"/>
                </a:lnTo>
                <a:lnTo>
                  <a:pt x="157" y="304"/>
                </a:lnTo>
                <a:lnTo>
                  <a:pt x="165" y="304"/>
                </a:lnTo>
                <a:lnTo>
                  <a:pt x="169" y="302"/>
                </a:lnTo>
                <a:lnTo>
                  <a:pt x="172" y="301"/>
                </a:lnTo>
                <a:lnTo>
                  <a:pt x="177" y="300"/>
                </a:lnTo>
                <a:lnTo>
                  <a:pt x="179" y="298"/>
                </a:lnTo>
                <a:lnTo>
                  <a:pt x="172" y="298"/>
                </a:lnTo>
                <a:lnTo>
                  <a:pt x="165" y="299"/>
                </a:lnTo>
                <a:lnTo>
                  <a:pt x="157" y="298"/>
                </a:lnTo>
                <a:lnTo>
                  <a:pt x="150" y="294"/>
                </a:lnTo>
                <a:lnTo>
                  <a:pt x="146" y="294"/>
                </a:lnTo>
                <a:lnTo>
                  <a:pt x="140" y="294"/>
                </a:lnTo>
                <a:lnTo>
                  <a:pt x="139" y="293"/>
                </a:lnTo>
                <a:lnTo>
                  <a:pt x="138" y="291"/>
                </a:lnTo>
                <a:lnTo>
                  <a:pt x="136" y="292"/>
                </a:lnTo>
                <a:lnTo>
                  <a:pt x="132" y="293"/>
                </a:lnTo>
                <a:lnTo>
                  <a:pt x="120" y="289"/>
                </a:lnTo>
                <a:lnTo>
                  <a:pt x="107" y="285"/>
                </a:lnTo>
                <a:lnTo>
                  <a:pt x="105" y="286"/>
                </a:lnTo>
                <a:lnTo>
                  <a:pt x="101" y="289"/>
                </a:lnTo>
                <a:lnTo>
                  <a:pt x="99" y="289"/>
                </a:lnTo>
                <a:lnTo>
                  <a:pt x="96" y="289"/>
                </a:lnTo>
                <a:lnTo>
                  <a:pt x="92" y="288"/>
                </a:lnTo>
                <a:lnTo>
                  <a:pt x="89" y="288"/>
                </a:lnTo>
                <a:lnTo>
                  <a:pt x="87" y="289"/>
                </a:lnTo>
                <a:lnTo>
                  <a:pt x="83" y="291"/>
                </a:lnTo>
                <a:lnTo>
                  <a:pt x="89" y="292"/>
                </a:lnTo>
                <a:lnTo>
                  <a:pt x="93" y="293"/>
                </a:lnTo>
                <a:lnTo>
                  <a:pt x="96" y="291"/>
                </a:lnTo>
                <a:lnTo>
                  <a:pt x="99" y="290"/>
                </a:lnTo>
                <a:lnTo>
                  <a:pt x="100" y="292"/>
                </a:lnTo>
                <a:lnTo>
                  <a:pt x="100" y="293"/>
                </a:lnTo>
                <a:lnTo>
                  <a:pt x="103" y="294"/>
                </a:lnTo>
                <a:lnTo>
                  <a:pt x="104" y="296"/>
                </a:lnTo>
                <a:lnTo>
                  <a:pt x="114" y="298"/>
                </a:lnTo>
                <a:lnTo>
                  <a:pt x="123" y="300"/>
                </a:lnTo>
                <a:lnTo>
                  <a:pt x="124" y="300"/>
                </a:lnTo>
                <a:lnTo>
                  <a:pt x="125" y="300"/>
                </a:lnTo>
                <a:lnTo>
                  <a:pt x="126" y="299"/>
                </a:lnTo>
                <a:lnTo>
                  <a:pt x="128" y="298"/>
                </a:lnTo>
                <a:lnTo>
                  <a:pt x="130" y="297"/>
                </a:lnTo>
                <a:lnTo>
                  <a:pt x="133" y="297"/>
                </a:lnTo>
                <a:lnTo>
                  <a:pt x="136" y="298"/>
                </a:lnTo>
                <a:lnTo>
                  <a:pt x="136" y="299"/>
                </a:lnTo>
                <a:lnTo>
                  <a:pt x="133" y="300"/>
                </a:lnTo>
                <a:lnTo>
                  <a:pt x="132" y="300"/>
                </a:lnTo>
                <a:lnTo>
                  <a:pt x="130" y="300"/>
                </a:lnTo>
                <a:lnTo>
                  <a:pt x="129" y="301"/>
                </a:lnTo>
                <a:lnTo>
                  <a:pt x="129" y="302"/>
                </a:lnTo>
                <a:lnTo>
                  <a:pt x="131" y="304"/>
                </a:lnTo>
                <a:lnTo>
                  <a:pt x="132" y="304"/>
                </a:lnTo>
                <a:lnTo>
                  <a:pt x="133" y="304"/>
                </a:lnTo>
                <a:lnTo>
                  <a:pt x="142" y="306"/>
                </a:lnTo>
                <a:lnTo>
                  <a:pt x="150" y="309"/>
                </a:lnTo>
                <a:lnTo>
                  <a:pt x="159" y="311"/>
                </a:lnTo>
                <a:lnTo>
                  <a:pt x="167" y="316"/>
                </a:lnTo>
                <a:lnTo>
                  <a:pt x="158" y="315"/>
                </a:lnTo>
                <a:lnTo>
                  <a:pt x="149" y="313"/>
                </a:lnTo>
                <a:lnTo>
                  <a:pt x="149" y="315"/>
                </a:lnTo>
                <a:lnTo>
                  <a:pt x="150" y="317"/>
                </a:lnTo>
                <a:lnTo>
                  <a:pt x="151" y="318"/>
                </a:lnTo>
                <a:lnTo>
                  <a:pt x="150" y="318"/>
                </a:lnTo>
                <a:lnTo>
                  <a:pt x="149" y="319"/>
                </a:lnTo>
                <a:lnTo>
                  <a:pt x="147" y="319"/>
                </a:lnTo>
                <a:lnTo>
                  <a:pt x="142" y="319"/>
                </a:lnTo>
                <a:lnTo>
                  <a:pt x="137" y="317"/>
                </a:lnTo>
                <a:lnTo>
                  <a:pt x="134" y="317"/>
                </a:lnTo>
                <a:lnTo>
                  <a:pt x="132" y="317"/>
                </a:lnTo>
                <a:lnTo>
                  <a:pt x="130" y="317"/>
                </a:lnTo>
                <a:lnTo>
                  <a:pt x="128" y="318"/>
                </a:lnTo>
                <a:lnTo>
                  <a:pt x="137" y="322"/>
                </a:lnTo>
                <a:lnTo>
                  <a:pt x="147" y="324"/>
                </a:lnTo>
                <a:lnTo>
                  <a:pt x="149" y="325"/>
                </a:lnTo>
                <a:lnTo>
                  <a:pt x="150" y="325"/>
                </a:lnTo>
                <a:lnTo>
                  <a:pt x="151" y="325"/>
                </a:lnTo>
                <a:lnTo>
                  <a:pt x="151" y="324"/>
                </a:lnTo>
                <a:lnTo>
                  <a:pt x="150" y="322"/>
                </a:lnTo>
                <a:lnTo>
                  <a:pt x="151" y="318"/>
                </a:lnTo>
                <a:lnTo>
                  <a:pt x="157" y="318"/>
                </a:lnTo>
                <a:lnTo>
                  <a:pt x="163" y="321"/>
                </a:lnTo>
                <a:lnTo>
                  <a:pt x="174" y="324"/>
                </a:lnTo>
                <a:lnTo>
                  <a:pt x="186" y="327"/>
                </a:lnTo>
                <a:lnTo>
                  <a:pt x="182" y="324"/>
                </a:lnTo>
                <a:lnTo>
                  <a:pt x="179" y="323"/>
                </a:lnTo>
                <a:lnTo>
                  <a:pt x="183" y="322"/>
                </a:lnTo>
                <a:lnTo>
                  <a:pt x="189" y="323"/>
                </a:lnTo>
                <a:lnTo>
                  <a:pt x="194" y="324"/>
                </a:lnTo>
                <a:lnTo>
                  <a:pt x="198" y="326"/>
                </a:lnTo>
                <a:lnTo>
                  <a:pt x="194" y="327"/>
                </a:lnTo>
                <a:lnTo>
                  <a:pt x="189" y="327"/>
                </a:lnTo>
                <a:lnTo>
                  <a:pt x="192" y="330"/>
                </a:lnTo>
                <a:lnTo>
                  <a:pt x="197" y="332"/>
                </a:lnTo>
                <a:lnTo>
                  <a:pt x="202" y="334"/>
                </a:lnTo>
                <a:lnTo>
                  <a:pt x="206" y="335"/>
                </a:lnTo>
                <a:lnTo>
                  <a:pt x="208" y="332"/>
                </a:lnTo>
                <a:lnTo>
                  <a:pt x="213" y="331"/>
                </a:lnTo>
                <a:lnTo>
                  <a:pt x="221" y="334"/>
                </a:lnTo>
                <a:lnTo>
                  <a:pt x="228" y="339"/>
                </a:lnTo>
                <a:lnTo>
                  <a:pt x="222" y="339"/>
                </a:lnTo>
                <a:lnTo>
                  <a:pt x="213" y="338"/>
                </a:lnTo>
                <a:lnTo>
                  <a:pt x="224" y="342"/>
                </a:lnTo>
                <a:lnTo>
                  <a:pt x="236" y="347"/>
                </a:lnTo>
                <a:lnTo>
                  <a:pt x="247" y="352"/>
                </a:lnTo>
                <a:lnTo>
                  <a:pt x="258" y="356"/>
                </a:lnTo>
                <a:lnTo>
                  <a:pt x="263" y="356"/>
                </a:lnTo>
                <a:lnTo>
                  <a:pt x="266" y="357"/>
                </a:lnTo>
                <a:lnTo>
                  <a:pt x="271" y="358"/>
                </a:lnTo>
                <a:lnTo>
                  <a:pt x="274" y="360"/>
                </a:lnTo>
                <a:lnTo>
                  <a:pt x="279" y="360"/>
                </a:lnTo>
                <a:lnTo>
                  <a:pt x="282" y="360"/>
                </a:lnTo>
                <a:lnTo>
                  <a:pt x="285" y="360"/>
                </a:lnTo>
                <a:lnTo>
                  <a:pt x="286" y="362"/>
                </a:lnTo>
                <a:lnTo>
                  <a:pt x="288" y="363"/>
                </a:lnTo>
                <a:lnTo>
                  <a:pt x="289" y="365"/>
                </a:lnTo>
                <a:lnTo>
                  <a:pt x="287" y="365"/>
                </a:lnTo>
                <a:lnTo>
                  <a:pt x="285" y="365"/>
                </a:lnTo>
                <a:lnTo>
                  <a:pt x="284" y="365"/>
                </a:lnTo>
                <a:lnTo>
                  <a:pt x="282" y="365"/>
                </a:lnTo>
                <a:lnTo>
                  <a:pt x="282" y="366"/>
                </a:lnTo>
                <a:lnTo>
                  <a:pt x="284" y="367"/>
                </a:lnTo>
                <a:lnTo>
                  <a:pt x="289" y="368"/>
                </a:lnTo>
                <a:lnTo>
                  <a:pt x="293" y="371"/>
                </a:lnTo>
                <a:lnTo>
                  <a:pt x="293" y="372"/>
                </a:lnTo>
                <a:lnTo>
                  <a:pt x="293" y="373"/>
                </a:lnTo>
                <a:lnTo>
                  <a:pt x="291" y="373"/>
                </a:lnTo>
                <a:lnTo>
                  <a:pt x="289" y="373"/>
                </a:lnTo>
                <a:lnTo>
                  <a:pt x="287" y="372"/>
                </a:lnTo>
                <a:lnTo>
                  <a:pt x="285" y="372"/>
                </a:lnTo>
                <a:lnTo>
                  <a:pt x="284" y="371"/>
                </a:lnTo>
                <a:lnTo>
                  <a:pt x="281" y="371"/>
                </a:lnTo>
                <a:lnTo>
                  <a:pt x="281" y="374"/>
                </a:lnTo>
                <a:lnTo>
                  <a:pt x="284" y="376"/>
                </a:lnTo>
                <a:lnTo>
                  <a:pt x="286" y="375"/>
                </a:lnTo>
                <a:lnTo>
                  <a:pt x="289" y="374"/>
                </a:lnTo>
                <a:lnTo>
                  <a:pt x="291" y="375"/>
                </a:lnTo>
                <a:lnTo>
                  <a:pt x="294" y="376"/>
                </a:lnTo>
                <a:lnTo>
                  <a:pt x="301" y="376"/>
                </a:lnTo>
                <a:lnTo>
                  <a:pt x="307" y="375"/>
                </a:lnTo>
                <a:lnTo>
                  <a:pt x="311" y="377"/>
                </a:lnTo>
                <a:lnTo>
                  <a:pt x="312" y="381"/>
                </a:lnTo>
                <a:lnTo>
                  <a:pt x="311" y="381"/>
                </a:lnTo>
                <a:lnTo>
                  <a:pt x="310" y="382"/>
                </a:lnTo>
                <a:lnTo>
                  <a:pt x="309" y="382"/>
                </a:lnTo>
                <a:lnTo>
                  <a:pt x="306" y="382"/>
                </a:lnTo>
                <a:lnTo>
                  <a:pt x="303" y="381"/>
                </a:lnTo>
                <a:lnTo>
                  <a:pt x="301" y="380"/>
                </a:lnTo>
                <a:lnTo>
                  <a:pt x="299" y="381"/>
                </a:lnTo>
                <a:lnTo>
                  <a:pt x="297" y="384"/>
                </a:lnTo>
                <a:lnTo>
                  <a:pt x="302" y="383"/>
                </a:lnTo>
                <a:lnTo>
                  <a:pt x="305" y="383"/>
                </a:lnTo>
                <a:lnTo>
                  <a:pt x="309" y="385"/>
                </a:lnTo>
                <a:lnTo>
                  <a:pt x="313" y="388"/>
                </a:lnTo>
                <a:lnTo>
                  <a:pt x="322" y="391"/>
                </a:lnTo>
                <a:lnTo>
                  <a:pt x="331" y="394"/>
                </a:lnTo>
                <a:lnTo>
                  <a:pt x="331" y="393"/>
                </a:lnTo>
                <a:lnTo>
                  <a:pt x="334" y="391"/>
                </a:lnTo>
                <a:lnTo>
                  <a:pt x="335" y="391"/>
                </a:lnTo>
                <a:lnTo>
                  <a:pt x="337" y="392"/>
                </a:lnTo>
                <a:lnTo>
                  <a:pt x="338" y="393"/>
                </a:lnTo>
                <a:lnTo>
                  <a:pt x="338" y="394"/>
                </a:lnTo>
                <a:lnTo>
                  <a:pt x="337" y="394"/>
                </a:lnTo>
                <a:lnTo>
                  <a:pt x="337" y="396"/>
                </a:lnTo>
                <a:lnTo>
                  <a:pt x="335" y="396"/>
                </a:lnTo>
                <a:lnTo>
                  <a:pt x="332" y="396"/>
                </a:lnTo>
                <a:lnTo>
                  <a:pt x="340" y="400"/>
                </a:lnTo>
                <a:lnTo>
                  <a:pt x="350" y="404"/>
                </a:lnTo>
                <a:lnTo>
                  <a:pt x="354" y="406"/>
                </a:lnTo>
                <a:lnTo>
                  <a:pt x="360" y="408"/>
                </a:lnTo>
                <a:lnTo>
                  <a:pt x="365" y="410"/>
                </a:lnTo>
                <a:lnTo>
                  <a:pt x="370" y="413"/>
                </a:lnTo>
                <a:lnTo>
                  <a:pt x="372" y="415"/>
                </a:lnTo>
                <a:lnTo>
                  <a:pt x="375" y="417"/>
                </a:lnTo>
                <a:lnTo>
                  <a:pt x="378" y="418"/>
                </a:lnTo>
                <a:lnTo>
                  <a:pt x="383" y="421"/>
                </a:lnTo>
                <a:lnTo>
                  <a:pt x="384" y="422"/>
                </a:lnTo>
                <a:lnTo>
                  <a:pt x="386" y="423"/>
                </a:lnTo>
                <a:lnTo>
                  <a:pt x="388" y="423"/>
                </a:lnTo>
                <a:lnTo>
                  <a:pt x="390" y="423"/>
                </a:lnTo>
                <a:lnTo>
                  <a:pt x="393" y="423"/>
                </a:lnTo>
                <a:lnTo>
                  <a:pt x="395" y="424"/>
                </a:lnTo>
                <a:lnTo>
                  <a:pt x="396" y="425"/>
                </a:lnTo>
                <a:lnTo>
                  <a:pt x="397" y="426"/>
                </a:lnTo>
                <a:lnTo>
                  <a:pt x="404" y="431"/>
                </a:lnTo>
                <a:lnTo>
                  <a:pt x="412" y="433"/>
                </a:lnTo>
                <a:lnTo>
                  <a:pt x="416" y="437"/>
                </a:lnTo>
                <a:lnTo>
                  <a:pt x="417" y="440"/>
                </a:lnTo>
                <a:lnTo>
                  <a:pt x="414" y="441"/>
                </a:lnTo>
                <a:lnTo>
                  <a:pt x="411" y="441"/>
                </a:lnTo>
                <a:lnTo>
                  <a:pt x="410" y="441"/>
                </a:lnTo>
                <a:lnTo>
                  <a:pt x="409" y="442"/>
                </a:lnTo>
                <a:lnTo>
                  <a:pt x="408" y="443"/>
                </a:lnTo>
                <a:lnTo>
                  <a:pt x="406" y="445"/>
                </a:lnTo>
                <a:lnTo>
                  <a:pt x="408" y="447"/>
                </a:lnTo>
                <a:lnTo>
                  <a:pt x="409" y="448"/>
                </a:lnTo>
                <a:lnTo>
                  <a:pt x="411" y="448"/>
                </a:lnTo>
                <a:lnTo>
                  <a:pt x="412" y="449"/>
                </a:lnTo>
                <a:lnTo>
                  <a:pt x="418" y="450"/>
                </a:lnTo>
                <a:lnTo>
                  <a:pt x="422" y="449"/>
                </a:lnTo>
                <a:lnTo>
                  <a:pt x="427" y="448"/>
                </a:lnTo>
                <a:lnTo>
                  <a:pt x="433" y="447"/>
                </a:lnTo>
                <a:lnTo>
                  <a:pt x="431" y="449"/>
                </a:lnTo>
                <a:lnTo>
                  <a:pt x="431" y="450"/>
                </a:lnTo>
                <a:lnTo>
                  <a:pt x="433" y="451"/>
                </a:lnTo>
                <a:lnTo>
                  <a:pt x="434" y="451"/>
                </a:lnTo>
                <a:lnTo>
                  <a:pt x="437" y="452"/>
                </a:lnTo>
                <a:lnTo>
                  <a:pt x="441" y="452"/>
                </a:lnTo>
                <a:lnTo>
                  <a:pt x="444" y="452"/>
                </a:lnTo>
                <a:lnTo>
                  <a:pt x="446" y="452"/>
                </a:lnTo>
                <a:lnTo>
                  <a:pt x="447" y="454"/>
                </a:lnTo>
                <a:lnTo>
                  <a:pt x="447" y="455"/>
                </a:lnTo>
                <a:lnTo>
                  <a:pt x="447" y="456"/>
                </a:lnTo>
                <a:lnTo>
                  <a:pt x="446" y="456"/>
                </a:lnTo>
                <a:lnTo>
                  <a:pt x="445" y="457"/>
                </a:lnTo>
                <a:lnTo>
                  <a:pt x="445" y="459"/>
                </a:lnTo>
                <a:lnTo>
                  <a:pt x="447" y="460"/>
                </a:lnTo>
                <a:lnTo>
                  <a:pt x="451" y="460"/>
                </a:lnTo>
                <a:lnTo>
                  <a:pt x="460" y="463"/>
                </a:lnTo>
                <a:lnTo>
                  <a:pt x="470" y="467"/>
                </a:lnTo>
                <a:lnTo>
                  <a:pt x="463" y="467"/>
                </a:lnTo>
                <a:lnTo>
                  <a:pt x="458" y="467"/>
                </a:lnTo>
                <a:lnTo>
                  <a:pt x="451" y="467"/>
                </a:lnTo>
                <a:lnTo>
                  <a:pt x="445" y="465"/>
                </a:lnTo>
                <a:lnTo>
                  <a:pt x="441" y="462"/>
                </a:lnTo>
                <a:lnTo>
                  <a:pt x="436" y="457"/>
                </a:lnTo>
                <a:lnTo>
                  <a:pt x="433" y="456"/>
                </a:lnTo>
                <a:lnTo>
                  <a:pt x="430" y="456"/>
                </a:lnTo>
                <a:lnTo>
                  <a:pt x="428" y="456"/>
                </a:lnTo>
                <a:lnTo>
                  <a:pt x="425" y="458"/>
                </a:lnTo>
                <a:lnTo>
                  <a:pt x="422" y="462"/>
                </a:lnTo>
                <a:lnTo>
                  <a:pt x="421" y="464"/>
                </a:lnTo>
                <a:lnTo>
                  <a:pt x="421" y="466"/>
                </a:lnTo>
                <a:lnTo>
                  <a:pt x="422" y="467"/>
                </a:lnTo>
                <a:lnTo>
                  <a:pt x="423" y="467"/>
                </a:lnTo>
                <a:lnTo>
                  <a:pt x="426" y="467"/>
                </a:lnTo>
                <a:lnTo>
                  <a:pt x="427" y="470"/>
                </a:lnTo>
                <a:lnTo>
                  <a:pt x="429" y="471"/>
                </a:lnTo>
                <a:lnTo>
                  <a:pt x="431" y="471"/>
                </a:lnTo>
                <a:lnTo>
                  <a:pt x="433" y="470"/>
                </a:lnTo>
                <a:lnTo>
                  <a:pt x="433" y="470"/>
                </a:lnTo>
                <a:lnTo>
                  <a:pt x="431" y="472"/>
                </a:lnTo>
                <a:lnTo>
                  <a:pt x="436" y="473"/>
                </a:lnTo>
                <a:lnTo>
                  <a:pt x="439" y="476"/>
                </a:lnTo>
                <a:lnTo>
                  <a:pt x="442" y="479"/>
                </a:lnTo>
                <a:lnTo>
                  <a:pt x="443" y="481"/>
                </a:lnTo>
                <a:lnTo>
                  <a:pt x="450" y="482"/>
                </a:lnTo>
                <a:lnTo>
                  <a:pt x="455" y="482"/>
                </a:lnTo>
                <a:lnTo>
                  <a:pt x="461" y="487"/>
                </a:lnTo>
                <a:lnTo>
                  <a:pt x="466" y="490"/>
                </a:lnTo>
                <a:lnTo>
                  <a:pt x="472" y="493"/>
                </a:lnTo>
                <a:lnTo>
                  <a:pt x="480" y="497"/>
                </a:lnTo>
                <a:lnTo>
                  <a:pt x="475" y="499"/>
                </a:lnTo>
                <a:lnTo>
                  <a:pt x="469" y="500"/>
                </a:lnTo>
                <a:lnTo>
                  <a:pt x="472" y="503"/>
                </a:lnTo>
                <a:lnTo>
                  <a:pt x="477" y="504"/>
                </a:lnTo>
                <a:lnTo>
                  <a:pt x="482" y="504"/>
                </a:lnTo>
                <a:lnTo>
                  <a:pt x="485" y="503"/>
                </a:lnTo>
                <a:lnTo>
                  <a:pt x="487" y="500"/>
                </a:lnTo>
                <a:lnTo>
                  <a:pt x="487" y="497"/>
                </a:lnTo>
                <a:lnTo>
                  <a:pt x="485" y="495"/>
                </a:lnTo>
                <a:lnTo>
                  <a:pt x="482" y="493"/>
                </a:lnTo>
                <a:lnTo>
                  <a:pt x="485" y="492"/>
                </a:lnTo>
                <a:lnTo>
                  <a:pt x="490" y="493"/>
                </a:lnTo>
                <a:lnTo>
                  <a:pt x="493" y="493"/>
                </a:lnTo>
                <a:lnTo>
                  <a:pt x="496" y="496"/>
                </a:lnTo>
                <a:lnTo>
                  <a:pt x="500" y="497"/>
                </a:lnTo>
                <a:lnTo>
                  <a:pt x="503" y="499"/>
                </a:lnTo>
                <a:lnTo>
                  <a:pt x="505" y="503"/>
                </a:lnTo>
                <a:lnTo>
                  <a:pt x="508" y="505"/>
                </a:lnTo>
                <a:lnTo>
                  <a:pt x="504" y="503"/>
                </a:lnTo>
                <a:lnTo>
                  <a:pt x="499" y="500"/>
                </a:lnTo>
                <a:lnTo>
                  <a:pt x="496" y="499"/>
                </a:lnTo>
                <a:lnTo>
                  <a:pt x="494" y="498"/>
                </a:lnTo>
                <a:lnTo>
                  <a:pt x="492" y="498"/>
                </a:lnTo>
                <a:lnTo>
                  <a:pt x="491" y="499"/>
                </a:lnTo>
                <a:lnTo>
                  <a:pt x="490" y="500"/>
                </a:lnTo>
                <a:lnTo>
                  <a:pt x="490" y="503"/>
                </a:lnTo>
                <a:lnTo>
                  <a:pt x="490" y="505"/>
                </a:lnTo>
                <a:lnTo>
                  <a:pt x="491" y="506"/>
                </a:lnTo>
                <a:lnTo>
                  <a:pt x="495" y="508"/>
                </a:lnTo>
                <a:lnTo>
                  <a:pt x="499" y="510"/>
                </a:lnTo>
                <a:lnTo>
                  <a:pt x="502" y="510"/>
                </a:lnTo>
                <a:lnTo>
                  <a:pt x="507" y="510"/>
                </a:lnTo>
                <a:lnTo>
                  <a:pt x="510" y="512"/>
                </a:lnTo>
                <a:lnTo>
                  <a:pt x="513" y="512"/>
                </a:lnTo>
                <a:lnTo>
                  <a:pt x="515" y="513"/>
                </a:lnTo>
                <a:lnTo>
                  <a:pt x="516" y="512"/>
                </a:lnTo>
                <a:lnTo>
                  <a:pt x="516" y="509"/>
                </a:lnTo>
                <a:lnTo>
                  <a:pt x="518" y="508"/>
                </a:lnTo>
                <a:lnTo>
                  <a:pt x="521" y="508"/>
                </a:lnTo>
                <a:lnTo>
                  <a:pt x="526" y="510"/>
                </a:lnTo>
                <a:lnTo>
                  <a:pt x="529" y="512"/>
                </a:lnTo>
                <a:lnTo>
                  <a:pt x="534" y="514"/>
                </a:lnTo>
                <a:lnTo>
                  <a:pt x="540" y="518"/>
                </a:lnTo>
                <a:lnTo>
                  <a:pt x="548" y="523"/>
                </a:lnTo>
                <a:lnTo>
                  <a:pt x="549" y="523"/>
                </a:lnTo>
                <a:lnTo>
                  <a:pt x="551" y="524"/>
                </a:lnTo>
                <a:lnTo>
                  <a:pt x="553" y="525"/>
                </a:lnTo>
                <a:lnTo>
                  <a:pt x="553" y="526"/>
                </a:lnTo>
                <a:lnTo>
                  <a:pt x="551" y="528"/>
                </a:lnTo>
                <a:lnTo>
                  <a:pt x="548" y="526"/>
                </a:lnTo>
                <a:lnTo>
                  <a:pt x="544" y="525"/>
                </a:lnTo>
                <a:lnTo>
                  <a:pt x="541" y="524"/>
                </a:lnTo>
                <a:lnTo>
                  <a:pt x="537" y="522"/>
                </a:lnTo>
                <a:lnTo>
                  <a:pt x="535" y="517"/>
                </a:lnTo>
                <a:lnTo>
                  <a:pt x="532" y="518"/>
                </a:lnTo>
                <a:lnTo>
                  <a:pt x="529" y="518"/>
                </a:lnTo>
                <a:lnTo>
                  <a:pt x="527" y="517"/>
                </a:lnTo>
                <a:lnTo>
                  <a:pt x="525" y="516"/>
                </a:lnTo>
                <a:lnTo>
                  <a:pt x="523" y="515"/>
                </a:lnTo>
                <a:lnTo>
                  <a:pt x="521" y="514"/>
                </a:lnTo>
                <a:lnTo>
                  <a:pt x="519" y="514"/>
                </a:lnTo>
                <a:lnTo>
                  <a:pt x="519" y="516"/>
                </a:lnTo>
                <a:lnTo>
                  <a:pt x="521" y="517"/>
                </a:lnTo>
                <a:lnTo>
                  <a:pt x="524" y="520"/>
                </a:lnTo>
                <a:lnTo>
                  <a:pt x="526" y="521"/>
                </a:lnTo>
                <a:lnTo>
                  <a:pt x="527" y="521"/>
                </a:lnTo>
                <a:lnTo>
                  <a:pt x="528" y="521"/>
                </a:lnTo>
                <a:lnTo>
                  <a:pt x="530" y="520"/>
                </a:lnTo>
                <a:lnTo>
                  <a:pt x="530" y="523"/>
                </a:lnTo>
                <a:lnTo>
                  <a:pt x="533" y="525"/>
                </a:lnTo>
                <a:lnTo>
                  <a:pt x="535" y="526"/>
                </a:lnTo>
                <a:lnTo>
                  <a:pt x="537" y="526"/>
                </a:lnTo>
                <a:lnTo>
                  <a:pt x="540" y="526"/>
                </a:lnTo>
                <a:lnTo>
                  <a:pt x="541" y="529"/>
                </a:lnTo>
                <a:lnTo>
                  <a:pt x="530" y="529"/>
                </a:lnTo>
                <a:lnTo>
                  <a:pt x="521" y="528"/>
                </a:lnTo>
                <a:lnTo>
                  <a:pt x="512" y="525"/>
                </a:lnTo>
                <a:lnTo>
                  <a:pt x="504" y="522"/>
                </a:lnTo>
                <a:lnTo>
                  <a:pt x="495" y="518"/>
                </a:lnTo>
                <a:lnTo>
                  <a:pt x="486" y="516"/>
                </a:lnTo>
                <a:lnTo>
                  <a:pt x="477" y="514"/>
                </a:lnTo>
                <a:lnTo>
                  <a:pt x="468" y="512"/>
                </a:lnTo>
                <a:lnTo>
                  <a:pt x="459" y="507"/>
                </a:lnTo>
                <a:lnTo>
                  <a:pt x="451" y="505"/>
                </a:lnTo>
                <a:lnTo>
                  <a:pt x="447" y="505"/>
                </a:lnTo>
                <a:lnTo>
                  <a:pt x="444" y="505"/>
                </a:lnTo>
                <a:lnTo>
                  <a:pt x="442" y="506"/>
                </a:lnTo>
                <a:lnTo>
                  <a:pt x="442" y="506"/>
                </a:lnTo>
                <a:lnTo>
                  <a:pt x="441" y="507"/>
                </a:lnTo>
                <a:lnTo>
                  <a:pt x="442" y="508"/>
                </a:lnTo>
                <a:lnTo>
                  <a:pt x="446" y="509"/>
                </a:lnTo>
                <a:lnTo>
                  <a:pt x="451" y="509"/>
                </a:lnTo>
                <a:lnTo>
                  <a:pt x="455" y="513"/>
                </a:lnTo>
                <a:lnTo>
                  <a:pt x="460" y="516"/>
                </a:lnTo>
                <a:lnTo>
                  <a:pt x="468" y="521"/>
                </a:lnTo>
                <a:lnTo>
                  <a:pt x="475" y="525"/>
                </a:lnTo>
                <a:lnTo>
                  <a:pt x="471" y="526"/>
                </a:lnTo>
                <a:lnTo>
                  <a:pt x="469" y="526"/>
                </a:lnTo>
                <a:lnTo>
                  <a:pt x="467" y="525"/>
                </a:lnTo>
                <a:lnTo>
                  <a:pt x="466" y="524"/>
                </a:lnTo>
                <a:lnTo>
                  <a:pt x="463" y="524"/>
                </a:lnTo>
                <a:lnTo>
                  <a:pt x="459" y="524"/>
                </a:lnTo>
                <a:lnTo>
                  <a:pt x="454" y="524"/>
                </a:lnTo>
                <a:lnTo>
                  <a:pt x="450" y="524"/>
                </a:lnTo>
                <a:lnTo>
                  <a:pt x="444" y="525"/>
                </a:lnTo>
                <a:lnTo>
                  <a:pt x="441" y="528"/>
                </a:lnTo>
                <a:lnTo>
                  <a:pt x="449" y="529"/>
                </a:lnTo>
                <a:lnTo>
                  <a:pt x="456" y="529"/>
                </a:lnTo>
                <a:lnTo>
                  <a:pt x="463" y="528"/>
                </a:lnTo>
                <a:lnTo>
                  <a:pt x="470" y="529"/>
                </a:lnTo>
                <a:lnTo>
                  <a:pt x="472" y="529"/>
                </a:lnTo>
                <a:lnTo>
                  <a:pt x="474" y="530"/>
                </a:lnTo>
                <a:lnTo>
                  <a:pt x="474" y="531"/>
                </a:lnTo>
                <a:lnTo>
                  <a:pt x="474" y="531"/>
                </a:lnTo>
                <a:lnTo>
                  <a:pt x="472" y="532"/>
                </a:lnTo>
                <a:lnTo>
                  <a:pt x="472" y="532"/>
                </a:lnTo>
                <a:lnTo>
                  <a:pt x="474" y="532"/>
                </a:lnTo>
                <a:lnTo>
                  <a:pt x="472" y="532"/>
                </a:lnTo>
                <a:lnTo>
                  <a:pt x="474" y="532"/>
                </a:lnTo>
                <a:lnTo>
                  <a:pt x="474" y="532"/>
                </a:lnTo>
                <a:lnTo>
                  <a:pt x="475" y="532"/>
                </a:lnTo>
                <a:lnTo>
                  <a:pt x="476" y="532"/>
                </a:lnTo>
                <a:lnTo>
                  <a:pt x="478" y="533"/>
                </a:lnTo>
                <a:lnTo>
                  <a:pt x="479" y="533"/>
                </a:lnTo>
                <a:lnTo>
                  <a:pt x="488" y="537"/>
                </a:lnTo>
                <a:lnTo>
                  <a:pt x="499" y="540"/>
                </a:lnTo>
                <a:lnTo>
                  <a:pt x="493" y="540"/>
                </a:lnTo>
                <a:lnTo>
                  <a:pt x="487" y="540"/>
                </a:lnTo>
                <a:lnTo>
                  <a:pt x="490" y="543"/>
                </a:lnTo>
                <a:lnTo>
                  <a:pt x="493" y="545"/>
                </a:lnTo>
                <a:lnTo>
                  <a:pt x="496" y="545"/>
                </a:lnTo>
                <a:lnTo>
                  <a:pt x="500" y="545"/>
                </a:lnTo>
                <a:lnTo>
                  <a:pt x="508" y="548"/>
                </a:lnTo>
                <a:lnTo>
                  <a:pt x="517" y="548"/>
                </a:lnTo>
                <a:lnTo>
                  <a:pt x="519" y="548"/>
                </a:lnTo>
                <a:lnTo>
                  <a:pt x="521" y="548"/>
                </a:lnTo>
                <a:lnTo>
                  <a:pt x="523" y="548"/>
                </a:lnTo>
                <a:lnTo>
                  <a:pt x="524" y="549"/>
                </a:lnTo>
                <a:lnTo>
                  <a:pt x="523" y="549"/>
                </a:lnTo>
                <a:lnTo>
                  <a:pt x="521" y="551"/>
                </a:lnTo>
                <a:lnTo>
                  <a:pt x="520" y="551"/>
                </a:lnTo>
                <a:lnTo>
                  <a:pt x="518" y="551"/>
                </a:lnTo>
                <a:lnTo>
                  <a:pt x="513" y="553"/>
                </a:lnTo>
                <a:lnTo>
                  <a:pt x="510" y="555"/>
                </a:lnTo>
                <a:lnTo>
                  <a:pt x="517" y="555"/>
                </a:lnTo>
                <a:lnTo>
                  <a:pt x="523" y="557"/>
                </a:lnTo>
                <a:lnTo>
                  <a:pt x="526" y="556"/>
                </a:lnTo>
                <a:lnTo>
                  <a:pt x="528" y="555"/>
                </a:lnTo>
                <a:lnTo>
                  <a:pt x="529" y="554"/>
                </a:lnTo>
                <a:lnTo>
                  <a:pt x="529" y="551"/>
                </a:lnTo>
                <a:lnTo>
                  <a:pt x="528" y="550"/>
                </a:lnTo>
                <a:lnTo>
                  <a:pt x="528" y="548"/>
                </a:lnTo>
                <a:lnTo>
                  <a:pt x="532" y="547"/>
                </a:lnTo>
                <a:lnTo>
                  <a:pt x="534" y="548"/>
                </a:lnTo>
                <a:lnTo>
                  <a:pt x="538" y="548"/>
                </a:lnTo>
                <a:lnTo>
                  <a:pt x="543" y="549"/>
                </a:lnTo>
                <a:lnTo>
                  <a:pt x="546" y="549"/>
                </a:lnTo>
                <a:lnTo>
                  <a:pt x="551" y="548"/>
                </a:lnTo>
                <a:lnTo>
                  <a:pt x="542" y="545"/>
                </a:lnTo>
                <a:lnTo>
                  <a:pt x="532" y="542"/>
                </a:lnTo>
                <a:lnTo>
                  <a:pt x="523" y="540"/>
                </a:lnTo>
                <a:lnTo>
                  <a:pt x="515" y="535"/>
                </a:lnTo>
                <a:lnTo>
                  <a:pt x="515" y="533"/>
                </a:lnTo>
                <a:lnTo>
                  <a:pt x="516" y="532"/>
                </a:lnTo>
                <a:lnTo>
                  <a:pt x="518" y="531"/>
                </a:lnTo>
                <a:lnTo>
                  <a:pt x="521" y="532"/>
                </a:lnTo>
                <a:lnTo>
                  <a:pt x="524" y="533"/>
                </a:lnTo>
                <a:lnTo>
                  <a:pt x="527" y="534"/>
                </a:lnTo>
                <a:lnTo>
                  <a:pt x="529" y="533"/>
                </a:lnTo>
                <a:lnTo>
                  <a:pt x="532" y="530"/>
                </a:lnTo>
                <a:lnTo>
                  <a:pt x="535" y="531"/>
                </a:lnTo>
                <a:lnTo>
                  <a:pt x="540" y="533"/>
                </a:lnTo>
                <a:lnTo>
                  <a:pt x="541" y="534"/>
                </a:lnTo>
                <a:lnTo>
                  <a:pt x="541" y="535"/>
                </a:lnTo>
                <a:lnTo>
                  <a:pt x="540" y="535"/>
                </a:lnTo>
                <a:lnTo>
                  <a:pt x="538" y="535"/>
                </a:lnTo>
                <a:lnTo>
                  <a:pt x="537" y="537"/>
                </a:lnTo>
                <a:lnTo>
                  <a:pt x="537" y="539"/>
                </a:lnTo>
                <a:lnTo>
                  <a:pt x="543" y="540"/>
                </a:lnTo>
                <a:lnTo>
                  <a:pt x="549" y="540"/>
                </a:lnTo>
                <a:lnTo>
                  <a:pt x="548" y="538"/>
                </a:lnTo>
                <a:lnTo>
                  <a:pt x="545" y="535"/>
                </a:lnTo>
                <a:lnTo>
                  <a:pt x="544" y="535"/>
                </a:lnTo>
                <a:lnTo>
                  <a:pt x="544" y="534"/>
                </a:lnTo>
                <a:lnTo>
                  <a:pt x="544" y="533"/>
                </a:lnTo>
                <a:lnTo>
                  <a:pt x="546" y="532"/>
                </a:lnTo>
                <a:lnTo>
                  <a:pt x="548" y="531"/>
                </a:lnTo>
                <a:lnTo>
                  <a:pt x="550" y="532"/>
                </a:lnTo>
                <a:lnTo>
                  <a:pt x="551" y="533"/>
                </a:lnTo>
                <a:lnTo>
                  <a:pt x="552" y="534"/>
                </a:lnTo>
                <a:lnTo>
                  <a:pt x="554" y="538"/>
                </a:lnTo>
                <a:lnTo>
                  <a:pt x="558" y="540"/>
                </a:lnTo>
                <a:lnTo>
                  <a:pt x="561" y="540"/>
                </a:lnTo>
                <a:lnTo>
                  <a:pt x="560" y="539"/>
                </a:lnTo>
                <a:lnTo>
                  <a:pt x="559" y="537"/>
                </a:lnTo>
                <a:lnTo>
                  <a:pt x="558" y="535"/>
                </a:lnTo>
                <a:lnTo>
                  <a:pt x="558" y="534"/>
                </a:lnTo>
                <a:lnTo>
                  <a:pt x="559" y="532"/>
                </a:lnTo>
                <a:lnTo>
                  <a:pt x="560" y="532"/>
                </a:lnTo>
                <a:lnTo>
                  <a:pt x="562" y="532"/>
                </a:lnTo>
                <a:lnTo>
                  <a:pt x="568" y="533"/>
                </a:lnTo>
                <a:lnTo>
                  <a:pt x="570" y="534"/>
                </a:lnTo>
                <a:lnTo>
                  <a:pt x="566" y="535"/>
                </a:lnTo>
                <a:lnTo>
                  <a:pt x="561" y="535"/>
                </a:lnTo>
                <a:lnTo>
                  <a:pt x="563" y="537"/>
                </a:lnTo>
                <a:lnTo>
                  <a:pt x="563" y="538"/>
                </a:lnTo>
                <a:lnTo>
                  <a:pt x="563" y="539"/>
                </a:lnTo>
                <a:lnTo>
                  <a:pt x="563" y="541"/>
                </a:lnTo>
                <a:lnTo>
                  <a:pt x="563" y="542"/>
                </a:lnTo>
                <a:lnTo>
                  <a:pt x="563" y="543"/>
                </a:lnTo>
                <a:lnTo>
                  <a:pt x="565" y="543"/>
                </a:lnTo>
                <a:lnTo>
                  <a:pt x="568" y="545"/>
                </a:lnTo>
                <a:lnTo>
                  <a:pt x="571" y="543"/>
                </a:lnTo>
                <a:lnTo>
                  <a:pt x="576" y="543"/>
                </a:lnTo>
                <a:lnTo>
                  <a:pt x="577" y="545"/>
                </a:lnTo>
                <a:lnTo>
                  <a:pt x="577" y="546"/>
                </a:lnTo>
                <a:lnTo>
                  <a:pt x="576" y="547"/>
                </a:lnTo>
                <a:lnTo>
                  <a:pt x="576" y="548"/>
                </a:lnTo>
                <a:lnTo>
                  <a:pt x="585" y="549"/>
                </a:lnTo>
                <a:lnTo>
                  <a:pt x="593" y="551"/>
                </a:lnTo>
                <a:lnTo>
                  <a:pt x="599" y="556"/>
                </a:lnTo>
                <a:lnTo>
                  <a:pt x="603" y="560"/>
                </a:lnTo>
                <a:lnTo>
                  <a:pt x="610" y="563"/>
                </a:lnTo>
                <a:lnTo>
                  <a:pt x="617" y="563"/>
                </a:lnTo>
                <a:lnTo>
                  <a:pt x="623" y="565"/>
                </a:lnTo>
                <a:lnTo>
                  <a:pt x="627" y="568"/>
                </a:lnTo>
                <a:lnTo>
                  <a:pt x="633" y="572"/>
                </a:lnTo>
                <a:lnTo>
                  <a:pt x="639" y="574"/>
                </a:lnTo>
                <a:lnTo>
                  <a:pt x="641" y="576"/>
                </a:lnTo>
                <a:lnTo>
                  <a:pt x="643" y="578"/>
                </a:lnTo>
                <a:lnTo>
                  <a:pt x="647" y="578"/>
                </a:lnTo>
                <a:lnTo>
                  <a:pt x="649" y="578"/>
                </a:lnTo>
                <a:lnTo>
                  <a:pt x="656" y="580"/>
                </a:lnTo>
                <a:lnTo>
                  <a:pt x="661" y="583"/>
                </a:lnTo>
                <a:lnTo>
                  <a:pt x="668" y="586"/>
                </a:lnTo>
                <a:lnTo>
                  <a:pt x="675" y="587"/>
                </a:lnTo>
                <a:lnTo>
                  <a:pt x="680" y="587"/>
                </a:lnTo>
                <a:lnTo>
                  <a:pt x="683" y="584"/>
                </a:lnTo>
                <a:lnTo>
                  <a:pt x="681" y="583"/>
                </a:lnTo>
                <a:lnTo>
                  <a:pt x="677" y="583"/>
                </a:lnTo>
                <a:lnTo>
                  <a:pt x="668" y="581"/>
                </a:lnTo>
                <a:lnTo>
                  <a:pt x="660" y="578"/>
                </a:lnTo>
                <a:lnTo>
                  <a:pt x="657" y="578"/>
                </a:lnTo>
                <a:lnTo>
                  <a:pt x="653" y="576"/>
                </a:lnTo>
                <a:lnTo>
                  <a:pt x="652" y="575"/>
                </a:lnTo>
                <a:lnTo>
                  <a:pt x="652" y="574"/>
                </a:lnTo>
                <a:lnTo>
                  <a:pt x="652" y="573"/>
                </a:lnTo>
                <a:lnTo>
                  <a:pt x="651" y="572"/>
                </a:lnTo>
                <a:lnTo>
                  <a:pt x="650" y="572"/>
                </a:lnTo>
                <a:lnTo>
                  <a:pt x="649" y="572"/>
                </a:lnTo>
                <a:lnTo>
                  <a:pt x="641" y="570"/>
                </a:lnTo>
                <a:lnTo>
                  <a:pt x="633" y="567"/>
                </a:lnTo>
                <a:lnTo>
                  <a:pt x="625" y="563"/>
                </a:lnTo>
                <a:lnTo>
                  <a:pt x="618" y="558"/>
                </a:lnTo>
                <a:lnTo>
                  <a:pt x="609" y="556"/>
                </a:lnTo>
                <a:lnTo>
                  <a:pt x="601" y="554"/>
                </a:lnTo>
                <a:lnTo>
                  <a:pt x="593" y="550"/>
                </a:lnTo>
                <a:lnTo>
                  <a:pt x="585" y="547"/>
                </a:lnTo>
                <a:lnTo>
                  <a:pt x="582" y="543"/>
                </a:lnTo>
                <a:lnTo>
                  <a:pt x="578" y="538"/>
                </a:lnTo>
                <a:lnTo>
                  <a:pt x="586" y="540"/>
                </a:lnTo>
                <a:lnTo>
                  <a:pt x="594" y="542"/>
                </a:lnTo>
                <a:lnTo>
                  <a:pt x="596" y="546"/>
                </a:lnTo>
                <a:lnTo>
                  <a:pt x="600" y="548"/>
                </a:lnTo>
                <a:lnTo>
                  <a:pt x="603" y="549"/>
                </a:lnTo>
                <a:lnTo>
                  <a:pt x="607" y="549"/>
                </a:lnTo>
                <a:lnTo>
                  <a:pt x="614" y="553"/>
                </a:lnTo>
                <a:lnTo>
                  <a:pt x="626" y="557"/>
                </a:lnTo>
                <a:lnTo>
                  <a:pt x="639" y="563"/>
                </a:lnTo>
                <a:lnTo>
                  <a:pt x="644" y="564"/>
                </a:lnTo>
                <a:lnTo>
                  <a:pt x="644" y="566"/>
                </a:lnTo>
                <a:lnTo>
                  <a:pt x="645" y="568"/>
                </a:lnTo>
                <a:lnTo>
                  <a:pt x="649" y="570"/>
                </a:lnTo>
                <a:lnTo>
                  <a:pt x="651" y="571"/>
                </a:lnTo>
                <a:lnTo>
                  <a:pt x="658" y="572"/>
                </a:lnTo>
                <a:lnTo>
                  <a:pt x="664" y="573"/>
                </a:lnTo>
                <a:lnTo>
                  <a:pt x="680" y="580"/>
                </a:lnTo>
                <a:lnTo>
                  <a:pt x="697" y="587"/>
                </a:lnTo>
                <a:lnTo>
                  <a:pt x="692" y="587"/>
                </a:lnTo>
                <a:lnTo>
                  <a:pt x="688" y="587"/>
                </a:lnTo>
                <a:lnTo>
                  <a:pt x="686" y="587"/>
                </a:lnTo>
                <a:lnTo>
                  <a:pt x="684" y="587"/>
                </a:lnTo>
                <a:lnTo>
                  <a:pt x="682" y="588"/>
                </a:lnTo>
                <a:lnTo>
                  <a:pt x="681" y="590"/>
                </a:lnTo>
                <a:lnTo>
                  <a:pt x="689" y="592"/>
                </a:lnTo>
                <a:lnTo>
                  <a:pt x="698" y="592"/>
                </a:lnTo>
                <a:lnTo>
                  <a:pt x="707" y="592"/>
                </a:lnTo>
                <a:lnTo>
                  <a:pt x="716" y="592"/>
                </a:lnTo>
                <a:lnTo>
                  <a:pt x="725" y="593"/>
                </a:lnTo>
                <a:lnTo>
                  <a:pt x="734" y="595"/>
                </a:lnTo>
                <a:lnTo>
                  <a:pt x="736" y="596"/>
                </a:lnTo>
                <a:lnTo>
                  <a:pt x="739" y="596"/>
                </a:lnTo>
                <a:lnTo>
                  <a:pt x="740" y="595"/>
                </a:lnTo>
                <a:lnTo>
                  <a:pt x="743" y="593"/>
                </a:lnTo>
                <a:lnTo>
                  <a:pt x="741" y="592"/>
                </a:lnTo>
                <a:lnTo>
                  <a:pt x="740" y="591"/>
                </a:lnTo>
                <a:lnTo>
                  <a:pt x="739" y="589"/>
                </a:lnTo>
                <a:lnTo>
                  <a:pt x="740" y="587"/>
                </a:lnTo>
                <a:lnTo>
                  <a:pt x="738" y="584"/>
                </a:lnTo>
                <a:lnTo>
                  <a:pt x="736" y="582"/>
                </a:lnTo>
                <a:lnTo>
                  <a:pt x="733" y="581"/>
                </a:lnTo>
                <a:lnTo>
                  <a:pt x="731" y="581"/>
                </a:lnTo>
                <a:lnTo>
                  <a:pt x="726" y="584"/>
                </a:lnTo>
                <a:lnTo>
                  <a:pt x="721" y="586"/>
                </a:lnTo>
                <a:lnTo>
                  <a:pt x="719" y="583"/>
                </a:lnTo>
                <a:lnTo>
                  <a:pt x="719" y="581"/>
                </a:lnTo>
                <a:lnTo>
                  <a:pt x="727" y="578"/>
                </a:lnTo>
                <a:lnTo>
                  <a:pt x="735" y="578"/>
                </a:lnTo>
                <a:lnTo>
                  <a:pt x="743" y="581"/>
                </a:lnTo>
                <a:lnTo>
                  <a:pt x="751" y="584"/>
                </a:lnTo>
                <a:lnTo>
                  <a:pt x="748" y="584"/>
                </a:lnTo>
                <a:lnTo>
                  <a:pt x="743" y="586"/>
                </a:lnTo>
                <a:lnTo>
                  <a:pt x="742" y="587"/>
                </a:lnTo>
                <a:lnTo>
                  <a:pt x="742" y="588"/>
                </a:lnTo>
                <a:lnTo>
                  <a:pt x="742" y="589"/>
                </a:lnTo>
                <a:lnTo>
                  <a:pt x="743" y="590"/>
                </a:lnTo>
                <a:lnTo>
                  <a:pt x="748" y="591"/>
                </a:lnTo>
                <a:lnTo>
                  <a:pt x="754" y="592"/>
                </a:lnTo>
                <a:lnTo>
                  <a:pt x="758" y="591"/>
                </a:lnTo>
                <a:lnTo>
                  <a:pt x="763" y="590"/>
                </a:lnTo>
                <a:lnTo>
                  <a:pt x="764" y="588"/>
                </a:lnTo>
                <a:lnTo>
                  <a:pt x="765" y="586"/>
                </a:lnTo>
                <a:lnTo>
                  <a:pt x="767" y="584"/>
                </a:lnTo>
                <a:lnTo>
                  <a:pt x="771" y="586"/>
                </a:lnTo>
                <a:lnTo>
                  <a:pt x="773" y="588"/>
                </a:lnTo>
                <a:lnTo>
                  <a:pt x="774" y="589"/>
                </a:lnTo>
                <a:lnTo>
                  <a:pt x="773" y="590"/>
                </a:lnTo>
                <a:lnTo>
                  <a:pt x="771" y="592"/>
                </a:lnTo>
                <a:lnTo>
                  <a:pt x="776" y="593"/>
                </a:lnTo>
                <a:lnTo>
                  <a:pt x="782" y="595"/>
                </a:lnTo>
                <a:lnTo>
                  <a:pt x="787" y="592"/>
                </a:lnTo>
                <a:lnTo>
                  <a:pt x="791" y="590"/>
                </a:lnTo>
                <a:lnTo>
                  <a:pt x="797" y="592"/>
                </a:lnTo>
                <a:lnTo>
                  <a:pt x="802" y="596"/>
                </a:lnTo>
                <a:lnTo>
                  <a:pt x="810" y="597"/>
                </a:lnTo>
                <a:lnTo>
                  <a:pt x="817" y="600"/>
                </a:lnTo>
                <a:lnTo>
                  <a:pt x="808" y="600"/>
                </a:lnTo>
                <a:lnTo>
                  <a:pt x="799" y="599"/>
                </a:lnTo>
                <a:lnTo>
                  <a:pt x="790" y="598"/>
                </a:lnTo>
                <a:lnTo>
                  <a:pt x="781" y="598"/>
                </a:lnTo>
                <a:lnTo>
                  <a:pt x="777" y="598"/>
                </a:lnTo>
                <a:lnTo>
                  <a:pt x="773" y="598"/>
                </a:lnTo>
                <a:lnTo>
                  <a:pt x="769" y="600"/>
                </a:lnTo>
                <a:lnTo>
                  <a:pt x="766" y="603"/>
                </a:lnTo>
                <a:lnTo>
                  <a:pt x="764" y="601"/>
                </a:lnTo>
                <a:lnTo>
                  <a:pt x="762" y="600"/>
                </a:lnTo>
                <a:lnTo>
                  <a:pt x="759" y="599"/>
                </a:lnTo>
                <a:lnTo>
                  <a:pt x="756" y="599"/>
                </a:lnTo>
                <a:lnTo>
                  <a:pt x="754" y="598"/>
                </a:lnTo>
                <a:lnTo>
                  <a:pt x="751" y="596"/>
                </a:lnTo>
                <a:lnTo>
                  <a:pt x="750" y="595"/>
                </a:lnTo>
                <a:lnTo>
                  <a:pt x="748" y="596"/>
                </a:lnTo>
                <a:lnTo>
                  <a:pt x="747" y="597"/>
                </a:lnTo>
                <a:lnTo>
                  <a:pt x="747" y="598"/>
                </a:lnTo>
                <a:lnTo>
                  <a:pt x="747" y="599"/>
                </a:lnTo>
                <a:lnTo>
                  <a:pt x="748" y="599"/>
                </a:lnTo>
                <a:lnTo>
                  <a:pt x="749" y="600"/>
                </a:lnTo>
                <a:lnTo>
                  <a:pt x="750" y="601"/>
                </a:lnTo>
                <a:lnTo>
                  <a:pt x="750" y="603"/>
                </a:lnTo>
                <a:lnTo>
                  <a:pt x="749" y="604"/>
                </a:lnTo>
                <a:lnTo>
                  <a:pt x="748" y="604"/>
                </a:lnTo>
                <a:lnTo>
                  <a:pt x="746" y="604"/>
                </a:lnTo>
                <a:lnTo>
                  <a:pt x="742" y="603"/>
                </a:lnTo>
                <a:lnTo>
                  <a:pt x="740" y="601"/>
                </a:lnTo>
                <a:lnTo>
                  <a:pt x="735" y="600"/>
                </a:lnTo>
                <a:lnTo>
                  <a:pt x="731" y="600"/>
                </a:lnTo>
                <a:lnTo>
                  <a:pt x="727" y="600"/>
                </a:lnTo>
                <a:lnTo>
                  <a:pt x="723" y="600"/>
                </a:lnTo>
                <a:lnTo>
                  <a:pt x="735" y="604"/>
                </a:lnTo>
                <a:lnTo>
                  <a:pt x="749" y="607"/>
                </a:lnTo>
                <a:lnTo>
                  <a:pt x="754" y="611"/>
                </a:lnTo>
                <a:lnTo>
                  <a:pt x="759" y="612"/>
                </a:lnTo>
                <a:lnTo>
                  <a:pt x="764" y="609"/>
                </a:lnTo>
                <a:lnTo>
                  <a:pt x="767" y="606"/>
                </a:lnTo>
                <a:lnTo>
                  <a:pt x="772" y="607"/>
                </a:lnTo>
                <a:lnTo>
                  <a:pt x="776" y="608"/>
                </a:lnTo>
                <a:lnTo>
                  <a:pt x="780" y="607"/>
                </a:lnTo>
                <a:lnTo>
                  <a:pt x="782" y="604"/>
                </a:lnTo>
                <a:lnTo>
                  <a:pt x="783" y="603"/>
                </a:lnTo>
                <a:lnTo>
                  <a:pt x="783" y="603"/>
                </a:lnTo>
                <a:lnTo>
                  <a:pt x="784" y="603"/>
                </a:lnTo>
                <a:lnTo>
                  <a:pt x="785" y="604"/>
                </a:lnTo>
                <a:lnTo>
                  <a:pt x="788" y="605"/>
                </a:lnTo>
                <a:lnTo>
                  <a:pt x="790" y="606"/>
                </a:lnTo>
                <a:lnTo>
                  <a:pt x="792" y="605"/>
                </a:lnTo>
                <a:lnTo>
                  <a:pt x="796" y="605"/>
                </a:lnTo>
                <a:lnTo>
                  <a:pt x="801" y="604"/>
                </a:lnTo>
                <a:lnTo>
                  <a:pt x="808" y="604"/>
                </a:lnTo>
                <a:lnTo>
                  <a:pt x="813" y="605"/>
                </a:lnTo>
                <a:lnTo>
                  <a:pt x="817" y="606"/>
                </a:lnTo>
                <a:lnTo>
                  <a:pt x="822" y="605"/>
                </a:lnTo>
                <a:lnTo>
                  <a:pt x="824" y="606"/>
                </a:lnTo>
                <a:lnTo>
                  <a:pt x="823" y="608"/>
                </a:lnTo>
                <a:lnTo>
                  <a:pt x="820" y="609"/>
                </a:lnTo>
                <a:lnTo>
                  <a:pt x="806" y="609"/>
                </a:lnTo>
                <a:lnTo>
                  <a:pt x="792" y="608"/>
                </a:lnTo>
                <a:lnTo>
                  <a:pt x="789" y="611"/>
                </a:lnTo>
                <a:lnTo>
                  <a:pt x="785" y="613"/>
                </a:lnTo>
                <a:lnTo>
                  <a:pt x="780" y="613"/>
                </a:lnTo>
                <a:lnTo>
                  <a:pt x="774" y="612"/>
                </a:lnTo>
                <a:lnTo>
                  <a:pt x="776" y="614"/>
                </a:lnTo>
                <a:lnTo>
                  <a:pt x="777" y="615"/>
                </a:lnTo>
                <a:lnTo>
                  <a:pt x="777" y="617"/>
                </a:lnTo>
                <a:lnTo>
                  <a:pt x="775" y="620"/>
                </a:lnTo>
                <a:lnTo>
                  <a:pt x="785" y="618"/>
                </a:lnTo>
                <a:lnTo>
                  <a:pt x="796" y="620"/>
                </a:lnTo>
                <a:lnTo>
                  <a:pt x="798" y="618"/>
                </a:lnTo>
                <a:lnTo>
                  <a:pt x="799" y="620"/>
                </a:lnTo>
                <a:lnTo>
                  <a:pt x="799" y="621"/>
                </a:lnTo>
                <a:lnTo>
                  <a:pt x="798" y="622"/>
                </a:lnTo>
                <a:lnTo>
                  <a:pt x="799" y="623"/>
                </a:lnTo>
                <a:lnTo>
                  <a:pt x="800" y="623"/>
                </a:lnTo>
                <a:lnTo>
                  <a:pt x="802" y="628"/>
                </a:lnTo>
                <a:lnTo>
                  <a:pt x="805" y="629"/>
                </a:lnTo>
                <a:lnTo>
                  <a:pt x="808" y="630"/>
                </a:lnTo>
                <a:lnTo>
                  <a:pt x="812" y="630"/>
                </a:lnTo>
                <a:lnTo>
                  <a:pt x="817" y="628"/>
                </a:lnTo>
                <a:lnTo>
                  <a:pt x="823" y="623"/>
                </a:lnTo>
                <a:lnTo>
                  <a:pt x="817" y="621"/>
                </a:lnTo>
                <a:lnTo>
                  <a:pt x="812" y="620"/>
                </a:lnTo>
                <a:lnTo>
                  <a:pt x="806" y="618"/>
                </a:lnTo>
                <a:lnTo>
                  <a:pt x="800" y="617"/>
                </a:lnTo>
                <a:lnTo>
                  <a:pt x="799" y="615"/>
                </a:lnTo>
                <a:lnTo>
                  <a:pt x="799" y="615"/>
                </a:lnTo>
                <a:lnTo>
                  <a:pt x="800" y="615"/>
                </a:lnTo>
                <a:lnTo>
                  <a:pt x="802" y="615"/>
                </a:lnTo>
                <a:lnTo>
                  <a:pt x="805" y="615"/>
                </a:lnTo>
                <a:lnTo>
                  <a:pt x="808" y="615"/>
                </a:lnTo>
                <a:lnTo>
                  <a:pt x="810" y="614"/>
                </a:lnTo>
                <a:lnTo>
                  <a:pt x="814" y="613"/>
                </a:lnTo>
                <a:lnTo>
                  <a:pt x="821" y="612"/>
                </a:lnTo>
                <a:lnTo>
                  <a:pt x="826" y="612"/>
                </a:lnTo>
                <a:lnTo>
                  <a:pt x="831" y="611"/>
                </a:lnTo>
                <a:lnTo>
                  <a:pt x="835" y="608"/>
                </a:lnTo>
                <a:lnTo>
                  <a:pt x="839" y="607"/>
                </a:lnTo>
                <a:lnTo>
                  <a:pt x="842" y="609"/>
                </a:lnTo>
                <a:lnTo>
                  <a:pt x="842" y="611"/>
                </a:lnTo>
                <a:lnTo>
                  <a:pt x="843" y="612"/>
                </a:lnTo>
                <a:lnTo>
                  <a:pt x="847" y="611"/>
                </a:lnTo>
                <a:lnTo>
                  <a:pt x="848" y="609"/>
                </a:lnTo>
                <a:lnTo>
                  <a:pt x="855" y="608"/>
                </a:lnTo>
                <a:lnTo>
                  <a:pt x="861" y="608"/>
                </a:lnTo>
                <a:lnTo>
                  <a:pt x="867" y="609"/>
                </a:lnTo>
                <a:lnTo>
                  <a:pt x="873" y="609"/>
                </a:lnTo>
                <a:lnTo>
                  <a:pt x="880" y="608"/>
                </a:lnTo>
                <a:lnTo>
                  <a:pt x="887" y="607"/>
                </a:lnTo>
                <a:lnTo>
                  <a:pt x="895" y="607"/>
                </a:lnTo>
                <a:lnTo>
                  <a:pt x="902" y="607"/>
                </a:lnTo>
                <a:lnTo>
                  <a:pt x="917" y="607"/>
                </a:lnTo>
                <a:lnTo>
                  <a:pt x="933" y="607"/>
                </a:lnTo>
                <a:lnTo>
                  <a:pt x="941" y="607"/>
                </a:lnTo>
                <a:lnTo>
                  <a:pt x="949" y="608"/>
                </a:lnTo>
                <a:lnTo>
                  <a:pt x="955" y="609"/>
                </a:lnTo>
                <a:lnTo>
                  <a:pt x="960" y="612"/>
                </a:lnTo>
                <a:lnTo>
                  <a:pt x="953" y="613"/>
                </a:lnTo>
                <a:lnTo>
                  <a:pt x="948" y="612"/>
                </a:lnTo>
                <a:lnTo>
                  <a:pt x="948" y="612"/>
                </a:lnTo>
                <a:lnTo>
                  <a:pt x="948" y="612"/>
                </a:lnTo>
                <a:lnTo>
                  <a:pt x="944" y="612"/>
                </a:lnTo>
                <a:lnTo>
                  <a:pt x="940" y="613"/>
                </a:lnTo>
                <a:lnTo>
                  <a:pt x="940" y="615"/>
                </a:lnTo>
                <a:lnTo>
                  <a:pt x="941" y="616"/>
                </a:lnTo>
                <a:lnTo>
                  <a:pt x="942" y="617"/>
                </a:lnTo>
                <a:lnTo>
                  <a:pt x="944" y="617"/>
                </a:lnTo>
                <a:lnTo>
                  <a:pt x="948" y="617"/>
                </a:lnTo>
                <a:lnTo>
                  <a:pt x="952" y="616"/>
                </a:lnTo>
                <a:lnTo>
                  <a:pt x="956" y="614"/>
                </a:lnTo>
                <a:lnTo>
                  <a:pt x="960" y="612"/>
                </a:lnTo>
                <a:lnTo>
                  <a:pt x="961" y="612"/>
                </a:lnTo>
                <a:lnTo>
                  <a:pt x="963" y="613"/>
                </a:lnTo>
                <a:lnTo>
                  <a:pt x="966" y="613"/>
                </a:lnTo>
                <a:lnTo>
                  <a:pt x="969" y="612"/>
                </a:lnTo>
                <a:lnTo>
                  <a:pt x="979" y="611"/>
                </a:lnTo>
                <a:lnTo>
                  <a:pt x="988" y="612"/>
                </a:lnTo>
                <a:lnTo>
                  <a:pt x="990" y="612"/>
                </a:lnTo>
                <a:lnTo>
                  <a:pt x="993" y="613"/>
                </a:lnTo>
                <a:lnTo>
                  <a:pt x="993" y="614"/>
                </a:lnTo>
                <a:lnTo>
                  <a:pt x="991" y="616"/>
                </a:lnTo>
                <a:lnTo>
                  <a:pt x="989" y="617"/>
                </a:lnTo>
                <a:lnTo>
                  <a:pt x="988" y="618"/>
                </a:lnTo>
                <a:lnTo>
                  <a:pt x="987" y="620"/>
                </a:lnTo>
                <a:lnTo>
                  <a:pt x="986" y="618"/>
                </a:lnTo>
                <a:lnTo>
                  <a:pt x="985" y="618"/>
                </a:lnTo>
                <a:lnTo>
                  <a:pt x="982" y="620"/>
                </a:lnTo>
                <a:lnTo>
                  <a:pt x="982" y="621"/>
                </a:lnTo>
                <a:lnTo>
                  <a:pt x="981" y="623"/>
                </a:lnTo>
                <a:lnTo>
                  <a:pt x="978" y="623"/>
                </a:lnTo>
                <a:lnTo>
                  <a:pt x="974" y="622"/>
                </a:lnTo>
                <a:lnTo>
                  <a:pt x="964" y="623"/>
                </a:lnTo>
                <a:lnTo>
                  <a:pt x="956" y="626"/>
                </a:lnTo>
                <a:lnTo>
                  <a:pt x="952" y="626"/>
                </a:lnTo>
                <a:lnTo>
                  <a:pt x="947" y="626"/>
                </a:lnTo>
                <a:lnTo>
                  <a:pt x="942" y="626"/>
                </a:lnTo>
                <a:lnTo>
                  <a:pt x="939" y="624"/>
                </a:lnTo>
                <a:lnTo>
                  <a:pt x="939" y="622"/>
                </a:lnTo>
                <a:lnTo>
                  <a:pt x="939" y="620"/>
                </a:lnTo>
                <a:lnTo>
                  <a:pt x="938" y="617"/>
                </a:lnTo>
                <a:lnTo>
                  <a:pt x="937" y="615"/>
                </a:lnTo>
                <a:lnTo>
                  <a:pt x="935" y="616"/>
                </a:lnTo>
                <a:lnTo>
                  <a:pt x="932" y="617"/>
                </a:lnTo>
                <a:lnTo>
                  <a:pt x="930" y="617"/>
                </a:lnTo>
                <a:lnTo>
                  <a:pt x="927" y="617"/>
                </a:lnTo>
                <a:lnTo>
                  <a:pt x="922" y="620"/>
                </a:lnTo>
                <a:lnTo>
                  <a:pt x="917" y="623"/>
                </a:lnTo>
                <a:lnTo>
                  <a:pt x="913" y="621"/>
                </a:lnTo>
                <a:lnTo>
                  <a:pt x="908" y="617"/>
                </a:lnTo>
                <a:lnTo>
                  <a:pt x="906" y="618"/>
                </a:lnTo>
                <a:lnTo>
                  <a:pt x="905" y="620"/>
                </a:lnTo>
                <a:lnTo>
                  <a:pt x="907" y="622"/>
                </a:lnTo>
                <a:lnTo>
                  <a:pt x="908" y="622"/>
                </a:lnTo>
                <a:lnTo>
                  <a:pt x="909" y="623"/>
                </a:lnTo>
                <a:lnTo>
                  <a:pt x="908" y="624"/>
                </a:lnTo>
                <a:lnTo>
                  <a:pt x="907" y="625"/>
                </a:lnTo>
                <a:lnTo>
                  <a:pt x="906" y="626"/>
                </a:lnTo>
                <a:lnTo>
                  <a:pt x="903" y="628"/>
                </a:lnTo>
                <a:lnTo>
                  <a:pt x="899" y="629"/>
                </a:lnTo>
                <a:lnTo>
                  <a:pt x="890" y="629"/>
                </a:lnTo>
                <a:lnTo>
                  <a:pt x="882" y="628"/>
                </a:lnTo>
                <a:lnTo>
                  <a:pt x="874" y="629"/>
                </a:lnTo>
                <a:lnTo>
                  <a:pt x="866" y="630"/>
                </a:lnTo>
                <a:lnTo>
                  <a:pt x="863" y="630"/>
                </a:lnTo>
                <a:lnTo>
                  <a:pt x="858" y="631"/>
                </a:lnTo>
                <a:lnTo>
                  <a:pt x="855" y="632"/>
                </a:lnTo>
                <a:lnTo>
                  <a:pt x="854" y="634"/>
                </a:lnTo>
                <a:lnTo>
                  <a:pt x="851" y="636"/>
                </a:lnTo>
                <a:lnTo>
                  <a:pt x="848" y="636"/>
                </a:lnTo>
                <a:lnTo>
                  <a:pt x="846" y="636"/>
                </a:lnTo>
                <a:lnTo>
                  <a:pt x="845" y="633"/>
                </a:lnTo>
                <a:lnTo>
                  <a:pt x="846" y="632"/>
                </a:lnTo>
                <a:lnTo>
                  <a:pt x="847" y="632"/>
                </a:lnTo>
                <a:lnTo>
                  <a:pt x="846" y="631"/>
                </a:lnTo>
                <a:lnTo>
                  <a:pt x="847" y="632"/>
                </a:lnTo>
                <a:lnTo>
                  <a:pt x="847" y="628"/>
                </a:lnTo>
                <a:lnTo>
                  <a:pt x="847" y="624"/>
                </a:lnTo>
                <a:lnTo>
                  <a:pt x="846" y="623"/>
                </a:lnTo>
                <a:lnTo>
                  <a:pt x="845" y="623"/>
                </a:lnTo>
                <a:lnTo>
                  <a:pt x="843" y="624"/>
                </a:lnTo>
                <a:lnTo>
                  <a:pt x="845" y="626"/>
                </a:lnTo>
                <a:lnTo>
                  <a:pt x="843" y="628"/>
                </a:lnTo>
                <a:lnTo>
                  <a:pt x="841" y="630"/>
                </a:lnTo>
                <a:lnTo>
                  <a:pt x="838" y="631"/>
                </a:lnTo>
                <a:lnTo>
                  <a:pt x="834" y="631"/>
                </a:lnTo>
                <a:lnTo>
                  <a:pt x="838" y="632"/>
                </a:lnTo>
                <a:lnTo>
                  <a:pt x="841" y="634"/>
                </a:lnTo>
                <a:lnTo>
                  <a:pt x="845" y="637"/>
                </a:lnTo>
                <a:lnTo>
                  <a:pt x="848" y="636"/>
                </a:lnTo>
                <a:lnTo>
                  <a:pt x="849" y="637"/>
                </a:lnTo>
                <a:lnTo>
                  <a:pt x="848" y="636"/>
                </a:lnTo>
                <a:lnTo>
                  <a:pt x="850" y="637"/>
                </a:lnTo>
                <a:lnTo>
                  <a:pt x="851" y="637"/>
                </a:lnTo>
                <a:lnTo>
                  <a:pt x="853" y="636"/>
                </a:lnTo>
                <a:lnTo>
                  <a:pt x="854" y="634"/>
                </a:lnTo>
                <a:lnTo>
                  <a:pt x="858" y="634"/>
                </a:lnTo>
                <a:lnTo>
                  <a:pt x="862" y="634"/>
                </a:lnTo>
                <a:lnTo>
                  <a:pt x="865" y="634"/>
                </a:lnTo>
                <a:lnTo>
                  <a:pt x="867" y="633"/>
                </a:lnTo>
                <a:lnTo>
                  <a:pt x="870" y="632"/>
                </a:lnTo>
                <a:lnTo>
                  <a:pt x="872" y="631"/>
                </a:lnTo>
                <a:lnTo>
                  <a:pt x="873" y="632"/>
                </a:lnTo>
                <a:lnTo>
                  <a:pt x="874" y="633"/>
                </a:lnTo>
                <a:lnTo>
                  <a:pt x="876" y="634"/>
                </a:lnTo>
                <a:lnTo>
                  <a:pt x="879" y="636"/>
                </a:lnTo>
                <a:lnTo>
                  <a:pt x="878" y="637"/>
                </a:lnTo>
                <a:lnTo>
                  <a:pt x="874" y="638"/>
                </a:lnTo>
                <a:lnTo>
                  <a:pt x="873" y="639"/>
                </a:lnTo>
                <a:lnTo>
                  <a:pt x="872" y="639"/>
                </a:lnTo>
                <a:lnTo>
                  <a:pt x="872" y="640"/>
                </a:lnTo>
                <a:lnTo>
                  <a:pt x="874" y="641"/>
                </a:lnTo>
                <a:lnTo>
                  <a:pt x="876" y="640"/>
                </a:lnTo>
                <a:lnTo>
                  <a:pt x="880" y="638"/>
                </a:lnTo>
                <a:lnTo>
                  <a:pt x="880" y="634"/>
                </a:lnTo>
                <a:lnTo>
                  <a:pt x="880" y="631"/>
                </a:lnTo>
                <a:lnTo>
                  <a:pt x="887" y="631"/>
                </a:lnTo>
                <a:lnTo>
                  <a:pt x="894" y="631"/>
                </a:lnTo>
                <a:lnTo>
                  <a:pt x="891" y="632"/>
                </a:lnTo>
                <a:lnTo>
                  <a:pt x="888" y="633"/>
                </a:lnTo>
                <a:lnTo>
                  <a:pt x="884" y="636"/>
                </a:lnTo>
                <a:lnTo>
                  <a:pt x="883" y="638"/>
                </a:lnTo>
                <a:lnTo>
                  <a:pt x="894" y="636"/>
                </a:lnTo>
                <a:lnTo>
                  <a:pt x="905" y="633"/>
                </a:lnTo>
                <a:lnTo>
                  <a:pt x="908" y="631"/>
                </a:lnTo>
                <a:lnTo>
                  <a:pt x="912" y="630"/>
                </a:lnTo>
                <a:lnTo>
                  <a:pt x="916" y="630"/>
                </a:lnTo>
                <a:lnTo>
                  <a:pt x="920" y="630"/>
                </a:lnTo>
                <a:lnTo>
                  <a:pt x="915" y="632"/>
                </a:lnTo>
                <a:lnTo>
                  <a:pt x="911" y="632"/>
                </a:lnTo>
                <a:lnTo>
                  <a:pt x="908" y="634"/>
                </a:lnTo>
                <a:lnTo>
                  <a:pt x="908" y="636"/>
                </a:lnTo>
                <a:lnTo>
                  <a:pt x="909" y="638"/>
                </a:lnTo>
                <a:lnTo>
                  <a:pt x="912" y="638"/>
                </a:lnTo>
                <a:lnTo>
                  <a:pt x="920" y="636"/>
                </a:lnTo>
                <a:lnTo>
                  <a:pt x="927" y="633"/>
                </a:lnTo>
                <a:lnTo>
                  <a:pt x="931" y="632"/>
                </a:lnTo>
                <a:lnTo>
                  <a:pt x="936" y="632"/>
                </a:lnTo>
                <a:lnTo>
                  <a:pt x="940" y="632"/>
                </a:lnTo>
                <a:lnTo>
                  <a:pt x="945" y="633"/>
                </a:lnTo>
                <a:lnTo>
                  <a:pt x="942" y="634"/>
                </a:lnTo>
                <a:lnTo>
                  <a:pt x="940" y="636"/>
                </a:lnTo>
                <a:lnTo>
                  <a:pt x="939" y="638"/>
                </a:lnTo>
                <a:lnTo>
                  <a:pt x="939" y="639"/>
                </a:lnTo>
                <a:lnTo>
                  <a:pt x="940" y="640"/>
                </a:lnTo>
                <a:lnTo>
                  <a:pt x="942" y="640"/>
                </a:lnTo>
                <a:lnTo>
                  <a:pt x="945" y="639"/>
                </a:lnTo>
                <a:lnTo>
                  <a:pt x="946" y="638"/>
                </a:lnTo>
                <a:lnTo>
                  <a:pt x="950" y="636"/>
                </a:lnTo>
                <a:lnTo>
                  <a:pt x="955" y="633"/>
                </a:lnTo>
                <a:lnTo>
                  <a:pt x="956" y="632"/>
                </a:lnTo>
                <a:lnTo>
                  <a:pt x="958" y="631"/>
                </a:lnTo>
                <a:lnTo>
                  <a:pt x="961" y="631"/>
                </a:lnTo>
                <a:lnTo>
                  <a:pt x="964" y="631"/>
                </a:lnTo>
                <a:lnTo>
                  <a:pt x="962" y="632"/>
                </a:lnTo>
                <a:lnTo>
                  <a:pt x="960" y="632"/>
                </a:lnTo>
                <a:lnTo>
                  <a:pt x="958" y="634"/>
                </a:lnTo>
                <a:lnTo>
                  <a:pt x="960" y="636"/>
                </a:lnTo>
                <a:lnTo>
                  <a:pt x="964" y="636"/>
                </a:lnTo>
                <a:lnTo>
                  <a:pt x="966" y="632"/>
                </a:lnTo>
                <a:lnTo>
                  <a:pt x="970" y="631"/>
                </a:lnTo>
                <a:lnTo>
                  <a:pt x="973" y="631"/>
                </a:lnTo>
                <a:lnTo>
                  <a:pt x="974" y="630"/>
                </a:lnTo>
                <a:lnTo>
                  <a:pt x="975" y="629"/>
                </a:lnTo>
                <a:lnTo>
                  <a:pt x="978" y="629"/>
                </a:lnTo>
                <a:lnTo>
                  <a:pt x="978" y="630"/>
                </a:lnTo>
                <a:lnTo>
                  <a:pt x="975" y="631"/>
                </a:lnTo>
                <a:lnTo>
                  <a:pt x="974" y="632"/>
                </a:lnTo>
                <a:lnTo>
                  <a:pt x="975" y="633"/>
                </a:lnTo>
                <a:lnTo>
                  <a:pt x="977" y="634"/>
                </a:lnTo>
                <a:lnTo>
                  <a:pt x="982" y="633"/>
                </a:lnTo>
                <a:lnTo>
                  <a:pt x="989" y="632"/>
                </a:lnTo>
                <a:lnTo>
                  <a:pt x="1004" y="631"/>
                </a:lnTo>
                <a:lnTo>
                  <a:pt x="1020" y="630"/>
                </a:lnTo>
                <a:lnTo>
                  <a:pt x="1035" y="626"/>
                </a:lnTo>
                <a:lnTo>
                  <a:pt x="1049" y="624"/>
                </a:lnTo>
                <a:lnTo>
                  <a:pt x="1064" y="623"/>
                </a:lnTo>
                <a:lnTo>
                  <a:pt x="1080" y="621"/>
                </a:lnTo>
                <a:lnTo>
                  <a:pt x="1095" y="618"/>
                </a:lnTo>
                <a:lnTo>
                  <a:pt x="1110" y="616"/>
                </a:lnTo>
                <a:lnTo>
                  <a:pt x="1125" y="613"/>
                </a:lnTo>
                <a:lnTo>
                  <a:pt x="1139" y="609"/>
                </a:lnTo>
                <a:lnTo>
                  <a:pt x="1153" y="606"/>
                </a:lnTo>
                <a:lnTo>
                  <a:pt x="1168" y="603"/>
                </a:lnTo>
                <a:lnTo>
                  <a:pt x="1183" y="600"/>
                </a:lnTo>
                <a:lnTo>
                  <a:pt x="1197" y="599"/>
                </a:lnTo>
                <a:lnTo>
                  <a:pt x="1186" y="606"/>
                </a:lnTo>
                <a:lnTo>
                  <a:pt x="1174" y="612"/>
                </a:lnTo>
                <a:lnTo>
                  <a:pt x="1169" y="615"/>
                </a:lnTo>
                <a:lnTo>
                  <a:pt x="1166" y="618"/>
                </a:lnTo>
                <a:lnTo>
                  <a:pt x="1164" y="620"/>
                </a:lnTo>
                <a:lnTo>
                  <a:pt x="1162" y="620"/>
                </a:lnTo>
                <a:lnTo>
                  <a:pt x="1160" y="620"/>
                </a:lnTo>
                <a:lnTo>
                  <a:pt x="1156" y="620"/>
                </a:lnTo>
                <a:lnTo>
                  <a:pt x="1158" y="617"/>
                </a:lnTo>
                <a:lnTo>
                  <a:pt x="1161" y="615"/>
                </a:lnTo>
                <a:lnTo>
                  <a:pt x="1162" y="614"/>
                </a:lnTo>
                <a:lnTo>
                  <a:pt x="1163" y="613"/>
                </a:lnTo>
                <a:lnTo>
                  <a:pt x="1163" y="613"/>
                </a:lnTo>
                <a:lnTo>
                  <a:pt x="1162" y="612"/>
                </a:lnTo>
                <a:lnTo>
                  <a:pt x="1159" y="611"/>
                </a:lnTo>
                <a:lnTo>
                  <a:pt x="1155" y="612"/>
                </a:lnTo>
                <a:lnTo>
                  <a:pt x="1153" y="614"/>
                </a:lnTo>
                <a:lnTo>
                  <a:pt x="1152" y="616"/>
                </a:lnTo>
                <a:lnTo>
                  <a:pt x="1151" y="620"/>
                </a:lnTo>
                <a:lnTo>
                  <a:pt x="1151" y="623"/>
                </a:lnTo>
                <a:lnTo>
                  <a:pt x="1151" y="624"/>
                </a:lnTo>
                <a:lnTo>
                  <a:pt x="1150" y="624"/>
                </a:lnTo>
                <a:lnTo>
                  <a:pt x="1147" y="625"/>
                </a:lnTo>
                <a:lnTo>
                  <a:pt x="1145" y="625"/>
                </a:lnTo>
                <a:lnTo>
                  <a:pt x="1142" y="625"/>
                </a:lnTo>
                <a:lnTo>
                  <a:pt x="1138" y="623"/>
                </a:lnTo>
                <a:lnTo>
                  <a:pt x="1135" y="621"/>
                </a:lnTo>
                <a:lnTo>
                  <a:pt x="1131" y="620"/>
                </a:lnTo>
                <a:lnTo>
                  <a:pt x="1123" y="622"/>
                </a:lnTo>
                <a:lnTo>
                  <a:pt x="1115" y="626"/>
                </a:lnTo>
                <a:lnTo>
                  <a:pt x="1106" y="630"/>
                </a:lnTo>
                <a:lnTo>
                  <a:pt x="1096" y="634"/>
                </a:lnTo>
                <a:lnTo>
                  <a:pt x="1085" y="637"/>
                </a:lnTo>
                <a:lnTo>
                  <a:pt x="1072" y="638"/>
                </a:lnTo>
                <a:lnTo>
                  <a:pt x="1067" y="638"/>
                </a:lnTo>
                <a:lnTo>
                  <a:pt x="1061" y="639"/>
                </a:lnTo>
                <a:lnTo>
                  <a:pt x="1057" y="640"/>
                </a:lnTo>
                <a:lnTo>
                  <a:pt x="1054" y="641"/>
                </a:lnTo>
                <a:lnTo>
                  <a:pt x="1053" y="642"/>
                </a:lnTo>
                <a:lnTo>
                  <a:pt x="1052" y="645"/>
                </a:lnTo>
                <a:lnTo>
                  <a:pt x="1062" y="645"/>
                </a:lnTo>
                <a:lnTo>
                  <a:pt x="1072" y="642"/>
                </a:lnTo>
                <a:lnTo>
                  <a:pt x="1084" y="640"/>
                </a:lnTo>
                <a:lnTo>
                  <a:pt x="1094" y="639"/>
                </a:lnTo>
                <a:lnTo>
                  <a:pt x="1108" y="637"/>
                </a:lnTo>
                <a:lnTo>
                  <a:pt x="1119" y="634"/>
                </a:lnTo>
                <a:lnTo>
                  <a:pt x="1121" y="633"/>
                </a:lnTo>
                <a:lnTo>
                  <a:pt x="1123" y="633"/>
                </a:lnTo>
                <a:lnTo>
                  <a:pt x="1125" y="636"/>
                </a:lnTo>
                <a:lnTo>
                  <a:pt x="1126" y="638"/>
                </a:lnTo>
                <a:lnTo>
                  <a:pt x="1128" y="639"/>
                </a:lnTo>
                <a:lnTo>
                  <a:pt x="1129" y="638"/>
                </a:lnTo>
                <a:lnTo>
                  <a:pt x="1130" y="636"/>
                </a:lnTo>
                <a:lnTo>
                  <a:pt x="1133" y="634"/>
                </a:lnTo>
                <a:lnTo>
                  <a:pt x="1137" y="633"/>
                </a:lnTo>
                <a:lnTo>
                  <a:pt x="1142" y="633"/>
                </a:lnTo>
                <a:lnTo>
                  <a:pt x="1145" y="631"/>
                </a:lnTo>
                <a:lnTo>
                  <a:pt x="1148" y="629"/>
                </a:lnTo>
                <a:lnTo>
                  <a:pt x="1153" y="626"/>
                </a:lnTo>
                <a:lnTo>
                  <a:pt x="1158" y="625"/>
                </a:lnTo>
                <a:lnTo>
                  <a:pt x="1167" y="624"/>
                </a:lnTo>
                <a:lnTo>
                  <a:pt x="1176" y="622"/>
                </a:lnTo>
                <a:lnTo>
                  <a:pt x="1174" y="626"/>
                </a:lnTo>
                <a:lnTo>
                  <a:pt x="1172" y="632"/>
                </a:lnTo>
                <a:lnTo>
                  <a:pt x="1176" y="631"/>
                </a:lnTo>
                <a:lnTo>
                  <a:pt x="1179" y="630"/>
                </a:lnTo>
                <a:lnTo>
                  <a:pt x="1181" y="629"/>
                </a:lnTo>
                <a:lnTo>
                  <a:pt x="1184" y="626"/>
                </a:lnTo>
                <a:lnTo>
                  <a:pt x="1186" y="625"/>
                </a:lnTo>
                <a:lnTo>
                  <a:pt x="1189" y="623"/>
                </a:lnTo>
                <a:lnTo>
                  <a:pt x="1193" y="620"/>
                </a:lnTo>
                <a:lnTo>
                  <a:pt x="1196" y="616"/>
                </a:lnTo>
                <a:lnTo>
                  <a:pt x="1199" y="615"/>
                </a:lnTo>
                <a:lnTo>
                  <a:pt x="1201" y="614"/>
                </a:lnTo>
                <a:lnTo>
                  <a:pt x="1202" y="613"/>
                </a:lnTo>
                <a:lnTo>
                  <a:pt x="1203" y="613"/>
                </a:lnTo>
                <a:lnTo>
                  <a:pt x="1204" y="614"/>
                </a:lnTo>
                <a:lnTo>
                  <a:pt x="1204" y="615"/>
                </a:lnTo>
                <a:lnTo>
                  <a:pt x="1203" y="617"/>
                </a:lnTo>
                <a:lnTo>
                  <a:pt x="1202" y="620"/>
                </a:lnTo>
                <a:lnTo>
                  <a:pt x="1205" y="620"/>
                </a:lnTo>
                <a:lnTo>
                  <a:pt x="1208" y="618"/>
                </a:lnTo>
                <a:lnTo>
                  <a:pt x="1208" y="615"/>
                </a:lnTo>
                <a:lnTo>
                  <a:pt x="1208" y="613"/>
                </a:lnTo>
                <a:lnTo>
                  <a:pt x="1209" y="609"/>
                </a:lnTo>
                <a:lnTo>
                  <a:pt x="1212" y="608"/>
                </a:lnTo>
                <a:lnTo>
                  <a:pt x="1220" y="604"/>
                </a:lnTo>
                <a:lnTo>
                  <a:pt x="1229" y="600"/>
                </a:lnTo>
                <a:lnTo>
                  <a:pt x="1238" y="596"/>
                </a:lnTo>
                <a:lnTo>
                  <a:pt x="1246" y="591"/>
                </a:lnTo>
                <a:lnTo>
                  <a:pt x="1253" y="591"/>
                </a:lnTo>
                <a:lnTo>
                  <a:pt x="1259" y="593"/>
                </a:lnTo>
                <a:lnTo>
                  <a:pt x="1257" y="595"/>
                </a:lnTo>
                <a:lnTo>
                  <a:pt x="1255" y="597"/>
                </a:lnTo>
                <a:lnTo>
                  <a:pt x="1260" y="597"/>
                </a:lnTo>
                <a:lnTo>
                  <a:pt x="1265" y="597"/>
                </a:lnTo>
                <a:lnTo>
                  <a:pt x="1263" y="592"/>
                </a:lnTo>
                <a:lnTo>
                  <a:pt x="1262" y="588"/>
                </a:lnTo>
                <a:lnTo>
                  <a:pt x="1265" y="584"/>
                </a:lnTo>
                <a:lnTo>
                  <a:pt x="1267" y="583"/>
                </a:lnTo>
                <a:lnTo>
                  <a:pt x="1270" y="582"/>
                </a:lnTo>
                <a:lnTo>
                  <a:pt x="1274" y="581"/>
                </a:lnTo>
                <a:lnTo>
                  <a:pt x="1281" y="579"/>
                </a:lnTo>
                <a:lnTo>
                  <a:pt x="1287" y="576"/>
                </a:lnTo>
                <a:lnTo>
                  <a:pt x="1291" y="574"/>
                </a:lnTo>
                <a:lnTo>
                  <a:pt x="1293" y="574"/>
                </a:lnTo>
                <a:lnTo>
                  <a:pt x="1295" y="575"/>
                </a:lnTo>
                <a:lnTo>
                  <a:pt x="1299" y="576"/>
                </a:lnTo>
                <a:lnTo>
                  <a:pt x="1304" y="573"/>
                </a:lnTo>
                <a:lnTo>
                  <a:pt x="1311" y="570"/>
                </a:lnTo>
                <a:lnTo>
                  <a:pt x="1314" y="571"/>
                </a:lnTo>
                <a:lnTo>
                  <a:pt x="1316" y="572"/>
                </a:lnTo>
                <a:lnTo>
                  <a:pt x="1316" y="573"/>
                </a:lnTo>
                <a:lnTo>
                  <a:pt x="1315" y="574"/>
                </a:lnTo>
                <a:lnTo>
                  <a:pt x="1314" y="575"/>
                </a:lnTo>
                <a:lnTo>
                  <a:pt x="1312" y="578"/>
                </a:lnTo>
                <a:lnTo>
                  <a:pt x="1312" y="580"/>
                </a:lnTo>
                <a:lnTo>
                  <a:pt x="1312" y="582"/>
                </a:lnTo>
                <a:lnTo>
                  <a:pt x="1317" y="579"/>
                </a:lnTo>
                <a:lnTo>
                  <a:pt x="1321" y="576"/>
                </a:lnTo>
                <a:lnTo>
                  <a:pt x="1326" y="574"/>
                </a:lnTo>
                <a:lnTo>
                  <a:pt x="1332" y="573"/>
                </a:lnTo>
                <a:lnTo>
                  <a:pt x="1341" y="570"/>
                </a:lnTo>
                <a:lnTo>
                  <a:pt x="1351" y="565"/>
                </a:lnTo>
                <a:lnTo>
                  <a:pt x="1356" y="564"/>
                </a:lnTo>
                <a:lnTo>
                  <a:pt x="1361" y="563"/>
                </a:lnTo>
                <a:lnTo>
                  <a:pt x="1366" y="562"/>
                </a:lnTo>
                <a:lnTo>
                  <a:pt x="1370" y="559"/>
                </a:lnTo>
                <a:lnTo>
                  <a:pt x="1382" y="555"/>
                </a:lnTo>
                <a:lnTo>
                  <a:pt x="1393" y="551"/>
                </a:lnTo>
                <a:lnTo>
                  <a:pt x="1405" y="549"/>
                </a:lnTo>
                <a:lnTo>
                  <a:pt x="1417" y="549"/>
                </a:lnTo>
                <a:lnTo>
                  <a:pt x="1430" y="549"/>
                </a:lnTo>
                <a:lnTo>
                  <a:pt x="1443" y="549"/>
                </a:lnTo>
                <a:lnTo>
                  <a:pt x="1453" y="551"/>
                </a:lnTo>
                <a:lnTo>
                  <a:pt x="1465" y="554"/>
                </a:lnTo>
                <a:lnTo>
                  <a:pt x="1477" y="555"/>
                </a:lnTo>
                <a:lnTo>
                  <a:pt x="1491" y="558"/>
                </a:lnTo>
                <a:lnTo>
                  <a:pt x="1490" y="556"/>
                </a:lnTo>
                <a:lnTo>
                  <a:pt x="1489" y="553"/>
                </a:lnTo>
                <a:lnTo>
                  <a:pt x="1490" y="551"/>
                </a:lnTo>
                <a:lnTo>
                  <a:pt x="1490" y="549"/>
                </a:lnTo>
                <a:lnTo>
                  <a:pt x="1487" y="546"/>
                </a:lnTo>
                <a:lnTo>
                  <a:pt x="1482" y="542"/>
                </a:lnTo>
                <a:lnTo>
                  <a:pt x="1472" y="532"/>
                </a:lnTo>
                <a:lnTo>
                  <a:pt x="1464" y="521"/>
                </a:lnTo>
                <a:lnTo>
                  <a:pt x="1467" y="522"/>
                </a:lnTo>
                <a:lnTo>
                  <a:pt x="1472" y="524"/>
                </a:lnTo>
                <a:lnTo>
                  <a:pt x="1474" y="525"/>
                </a:lnTo>
                <a:lnTo>
                  <a:pt x="1476" y="525"/>
                </a:lnTo>
                <a:lnTo>
                  <a:pt x="1477" y="525"/>
                </a:lnTo>
                <a:lnTo>
                  <a:pt x="1479" y="524"/>
                </a:lnTo>
                <a:lnTo>
                  <a:pt x="1477" y="518"/>
                </a:lnTo>
                <a:lnTo>
                  <a:pt x="1473" y="513"/>
                </a:lnTo>
                <a:lnTo>
                  <a:pt x="1459" y="499"/>
                </a:lnTo>
                <a:lnTo>
                  <a:pt x="1443" y="485"/>
                </a:lnTo>
                <a:lnTo>
                  <a:pt x="1449" y="483"/>
                </a:lnTo>
                <a:lnTo>
                  <a:pt x="1455" y="481"/>
                </a:lnTo>
                <a:lnTo>
                  <a:pt x="1459" y="477"/>
                </a:lnTo>
                <a:lnTo>
                  <a:pt x="1465" y="476"/>
                </a:lnTo>
                <a:lnTo>
                  <a:pt x="1466" y="476"/>
                </a:lnTo>
                <a:lnTo>
                  <a:pt x="1467" y="475"/>
                </a:lnTo>
                <a:lnTo>
                  <a:pt x="1468" y="477"/>
                </a:lnTo>
                <a:lnTo>
                  <a:pt x="1469" y="479"/>
                </a:lnTo>
                <a:lnTo>
                  <a:pt x="1473" y="479"/>
                </a:lnTo>
                <a:lnTo>
                  <a:pt x="1475" y="477"/>
                </a:lnTo>
                <a:lnTo>
                  <a:pt x="1485" y="474"/>
                </a:lnTo>
                <a:lnTo>
                  <a:pt x="1494" y="471"/>
                </a:lnTo>
                <a:lnTo>
                  <a:pt x="1504" y="468"/>
                </a:lnTo>
                <a:lnTo>
                  <a:pt x="1512" y="466"/>
                </a:lnTo>
                <a:lnTo>
                  <a:pt x="1514" y="465"/>
                </a:lnTo>
                <a:lnTo>
                  <a:pt x="1515" y="464"/>
                </a:lnTo>
                <a:lnTo>
                  <a:pt x="1516" y="463"/>
                </a:lnTo>
                <a:lnTo>
                  <a:pt x="1517" y="464"/>
                </a:lnTo>
                <a:lnTo>
                  <a:pt x="1518" y="465"/>
                </a:lnTo>
                <a:lnTo>
                  <a:pt x="1521" y="465"/>
                </a:lnTo>
                <a:lnTo>
                  <a:pt x="1522" y="463"/>
                </a:lnTo>
                <a:lnTo>
                  <a:pt x="1523" y="462"/>
                </a:lnTo>
                <a:lnTo>
                  <a:pt x="1524" y="460"/>
                </a:lnTo>
                <a:lnTo>
                  <a:pt x="1526" y="459"/>
                </a:lnTo>
                <a:lnTo>
                  <a:pt x="1525" y="457"/>
                </a:lnTo>
                <a:lnTo>
                  <a:pt x="1525" y="455"/>
                </a:lnTo>
                <a:lnTo>
                  <a:pt x="1529" y="454"/>
                </a:lnTo>
                <a:lnTo>
                  <a:pt x="1531" y="451"/>
                </a:lnTo>
                <a:lnTo>
                  <a:pt x="1527" y="450"/>
                </a:lnTo>
                <a:lnTo>
                  <a:pt x="1522" y="449"/>
                </a:lnTo>
                <a:lnTo>
                  <a:pt x="1526" y="446"/>
                </a:lnTo>
                <a:lnTo>
                  <a:pt x="1531" y="441"/>
                </a:lnTo>
                <a:lnTo>
                  <a:pt x="1530" y="439"/>
                </a:lnTo>
                <a:lnTo>
                  <a:pt x="1529" y="437"/>
                </a:lnTo>
                <a:lnTo>
                  <a:pt x="1525" y="435"/>
                </a:lnTo>
                <a:lnTo>
                  <a:pt x="1523" y="437"/>
                </a:lnTo>
                <a:lnTo>
                  <a:pt x="1522" y="438"/>
                </a:lnTo>
                <a:lnTo>
                  <a:pt x="1521" y="440"/>
                </a:lnTo>
                <a:lnTo>
                  <a:pt x="1521" y="441"/>
                </a:lnTo>
                <a:lnTo>
                  <a:pt x="1520" y="441"/>
                </a:lnTo>
                <a:lnTo>
                  <a:pt x="1518" y="441"/>
                </a:lnTo>
                <a:lnTo>
                  <a:pt x="1517" y="440"/>
                </a:lnTo>
                <a:lnTo>
                  <a:pt x="1517" y="438"/>
                </a:lnTo>
                <a:lnTo>
                  <a:pt x="1518" y="437"/>
                </a:lnTo>
                <a:lnTo>
                  <a:pt x="1518" y="434"/>
                </a:lnTo>
                <a:lnTo>
                  <a:pt x="1517" y="433"/>
                </a:lnTo>
                <a:lnTo>
                  <a:pt x="1521" y="430"/>
                </a:lnTo>
                <a:lnTo>
                  <a:pt x="1525" y="427"/>
                </a:lnTo>
                <a:lnTo>
                  <a:pt x="1529" y="426"/>
                </a:lnTo>
                <a:lnTo>
                  <a:pt x="1532" y="425"/>
                </a:lnTo>
                <a:lnTo>
                  <a:pt x="1534" y="425"/>
                </a:lnTo>
                <a:lnTo>
                  <a:pt x="1538" y="424"/>
                </a:lnTo>
                <a:lnTo>
                  <a:pt x="1538" y="422"/>
                </a:lnTo>
                <a:lnTo>
                  <a:pt x="1538" y="421"/>
                </a:lnTo>
                <a:lnTo>
                  <a:pt x="1535" y="420"/>
                </a:lnTo>
                <a:lnTo>
                  <a:pt x="1534" y="417"/>
                </a:lnTo>
                <a:lnTo>
                  <a:pt x="1530" y="415"/>
                </a:lnTo>
                <a:lnTo>
                  <a:pt x="1527" y="412"/>
                </a:lnTo>
                <a:lnTo>
                  <a:pt x="1527" y="409"/>
                </a:lnTo>
                <a:lnTo>
                  <a:pt x="1529" y="407"/>
                </a:lnTo>
                <a:lnTo>
                  <a:pt x="1525" y="406"/>
                </a:lnTo>
                <a:lnTo>
                  <a:pt x="1523" y="405"/>
                </a:lnTo>
                <a:lnTo>
                  <a:pt x="1515" y="401"/>
                </a:lnTo>
                <a:lnTo>
                  <a:pt x="1508" y="398"/>
                </a:lnTo>
                <a:lnTo>
                  <a:pt x="1505" y="394"/>
                </a:lnTo>
                <a:lnTo>
                  <a:pt x="1505" y="392"/>
                </a:lnTo>
                <a:lnTo>
                  <a:pt x="1506" y="389"/>
                </a:lnTo>
                <a:lnTo>
                  <a:pt x="1509" y="387"/>
                </a:lnTo>
                <a:lnTo>
                  <a:pt x="1514" y="380"/>
                </a:lnTo>
                <a:lnTo>
                  <a:pt x="1518" y="373"/>
                </a:lnTo>
                <a:lnTo>
                  <a:pt x="1523" y="367"/>
                </a:lnTo>
                <a:lnTo>
                  <a:pt x="1527" y="362"/>
                </a:lnTo>
                <a:lnTo>
                  <a:pt x="1529" y="359"/>
                </a:lnTo>
                <a:lnTo>
                  <a:pt x="1530" y="356"/>
                </a:lnTo>
                <a:lnTo>
                  <a:pt x="1529" y="355"/>
                </a:lnTo>
                <a:lnTo>
                  <a:pt x="1527" y="352"/>
                </a:lnTo>
                <a:lnTo>
                  <a:pt x="1525" y="351"/>
                </a:lnTo>
                <a:lnTo>
                  <a:pt x="1525" y="350"/>
                </a:lnTo>
                <a:lnTo>
                  <a:pt x="1526" y="349"/>
                </a:lnTo>
                <a:lnTo>
                  <a:pt x="1527" y="348"/>
                </a:lnTo>
                <a:lnTo>
                  <a:pt x="1531" y="344"/>
                </a:lnTo>
                <a:lnTo>
                  <a:pt x="1534" y="341"/>
                </a:lnTo>
                <a:lnTo>
                  <a:pt x="1538" y="340"/>
                </a:lnTo>
                <a:lnTo>
                  <a:pt x="1542" y="338"/>
                </a:lnTo>
                <a:lnTo>
                  <a:pt x="1542" y="333"/>
                </a:lnTo>
                <a:lnTo>
                  <a:pt x="1541" y="329"/>
                </a:lnTo>
                <a:lnTo>
                  <a:pt x="1541" y="326"/>
                </a:lnTo>
                <a:lnTo>
                  <a:pt x="1543" y="323"/>
                </a:lnTo>
                <a:lnTo>
                  <a:pt x="1546" y="322"/>
                </a:lnTo>
                <a:lnTo>
                  <a:pt x="1549" y="319"/>
                </a:lnTo>
                <a:lnTo>
                  <a:pt x="1553" y="318"/>
                </a:lnTo>
                <a:lnTo>
                  <a:pt x="1556" y="318"/>
                </a:lnTo>
                <a:lnTo>
                  <a:pt x="1559" y="318"/>
                </a:lnTo>
                <a:lnTo>
                  <a:pt x="1563" y="319"/>
                </a:lnTo>
                <a:lnTo>
                  <a:pt x="1562" y="319"/>
                </a:lnTo>
                <a:lnTo>
                  <a:pt x="1562" y="321"/>
                </a:lnTo>
                <a:lnTo>
                  <a:pt x="1563" y="321"/>
                </a:lnTo>
                <a:lnTo>
                  <a:pt x="1564" y="319"/>
                </a:lnTo>
                <a:lnTo>
                  <a:pt x="1566" y="319"/>
                </a:lnTo>
                <a:lnTo>
                  <a:pt x="1566" y="318"/>
                </a:lnTo>
                <a:lnTo>
                  <a:pt x="1566" y="317"/>
                </a:lnTo>
                <a:lnTo>
                  <a:pt x="1565" y="316"/>
                </a:lnTo>
                <a:lnTo>
                  <a:pt x="1557" y="315"/>
                </a:lnTo>
                <a:lnTo>
                  <a:pt x="1550" y="313"/>
                </a:lnTo>
                <a:lnTo>
                  <a:pt x="1550" y="310"/>
                </a:lnTo>
                <a:lnTo>
                  <a:pt x="1550" y="308"/>
                </a:lnTo>
                <a:lnTo>
                  <a:pt x="1549" y="307"/>
                </a:lnTo>
                <a:lnTo>
                  <a:pt x="1548" y="306"/>
                </a:lnTo>
                <a:lnTo>
                  <a:pt x="1547" y="304"/>
                </a:lnTo>
                <a:lnTo>
                  <a:pt x="1546" y="301"/>
                </a:lnTo>
                <a:lnTo>
                  <a:pt x="1546" y="299"/>
                </a:lnTo>
                <a:lnTo>
                  <a:pt x="1546" y="297"/>
                </a:lnTo>
                <a:lnTo>
                  <a:pt x="1547" y="294"/>
                </a:lnTo>
                <a:lnTo>
                  <a:pt x="1549" y="293"/>
                </a:lnTo>
                <a:lnTo>
                  <a:pt x="1551" y="292"/>
                </a:lnTo>
                <a:lnTo>
                  <a:pt x="1551" y="292"/>
                </a:lnTo>
                <a:lnTo>
                  <a:pt x="1553" y="293"/>
                </a:lnTo>
                <a:lnTo>
                  <a:pt x="1554" y="294"/>
                </a:lnTo>
                <a:lnTo>
                  <a:pt x="1557" y="296"/>
                </a:lnTo>
                <a:lnTo>
                  <a:pt x="1560" y="296"/>
                </a:lnTo>
                <a:lnTo>
                  <a:pt x="1563" y="297"/>
                </a:lnTo>
                <a:lnTo>
                  <a:pt x="1563" y="298"/>
                </a:lnTo>
                <a:lnTo>
                  <a:pt x="1563" y="299"/>
                </a:lnTo>
                <a:lnTo>
                  <a:pt x="1562" y="300"/>
                </a:lnTo>
                <a:lnTo>
                  <a:pt x="1560" y="301"/>
                </a:lnTo>
                <a:lnTo>
                  <a:pt x="1558" y="300"/>
                </a:lnTo>
                <a:lnTo>
                  <a:pt x="1556" y="302"/>
                </a:lnTo>
                <a:lnTo>
                  <a:pt x="1554" y="304"/>
                </a:lnTo>
                <a:lnTo>
                  <a:pt x="1554" y="305"/>
                </a:lnTo>
                <a:lnTo>
                  <a:pt x="1553" y="305"/>
                </a:lnTo>
                <a:lnTo>
                  <a:pt x="1553" y="306"/>
                </a:lnTo>
                <a:lnTo>
                  <a:pt x="1554" y="306"/>
                </a:lnTo>
                <a:lnTo>
                  <a:pt x="1556" y="305"/>
                </a:lnTo>
                <a:lnTo>
                  <a:pt x="1557" y="305"/>
                </a:lnTo>
                <a:lnTo>
                  <a:pt x="1559" y="304"/>
                </a:lnTo>
                <a:lnTo>
                  <a:pt x="1562" y="304"/>
                </a:lnTo>
                <a:lnTo>
                  <a:pt x="1566" y="301"/>
                </a:lnTo>
                <a:lnTo>
                  <a:pt x="1570" y="298"/>
                </a:lnTo>
                <a:lnTo>
                  <a:pt x="1571" y="296"/>
                </a:lnTo>
                <a:lnTo>
                  <a:pt x="1571" y="293"/>
                </a:lnTo>
                <a:lnTo>
                  <a:pt x="1571" y="292"/>
                </a:lnTo>
                <a:lnTo>
                  <a:pt x="1570" y="291"/>
                </a:lnTo>
                <a:lnTo>
                  <a:pt x="1566" y="289"/>
                </a:lnTo>
                <a:lnTo>
                  <a:pt x="1562" y="289"/>
                </a:lnTo>
                <a:lnTo>
                  <a:pt x="1564" y="284"/>
                </a:lnTo>
                <a:lnTo>
                  <a:pt x="1567" y="282"/>
                </a:lnTo>
                <a:lnTo>
                  <a:pt x="1568" y="279"/>
                </a:lnTo>
                <a:lnTo>
                  <a:pt x="1567" y="277"/>
                </a:lnTo>
                <a:lnTo>
                  <a:pt x="1565" y="279"/>
                </a:lnTo>
                <a:lnTo>
                  <a:pt x="1562" y="280"/>
                </a:lnTo>
                <a:lnTo>
                  <a:pt x="1563" y="277"/>
                </a:lnTo>
                <a:lnTo>
                  <a:pt x="1563" y="276"/>
                </a:lnTo>
                <a:lnTo>
                  <a:pt x="1562" y="275"/>
                </a:lnTo>
                <a:lnTo>
                  <a:pt x="1560" y="274"/>
                </a:lnTo>
                <a:lnTo>
                  <a:pt x="1558" y="274"/>
                </a:lnTo>
                <a:lnTo>
                  <a:pt x="1557" y="276"/>
                </a:lnTo>
                <a:lnTo>
                  <a:pt x="1557" y="279"/>
                </a:lnTo>
                <a:lnTo>
                  <a:pt x="1556" y="280"/>
                </a:lnTo>
                <a:lnTo>
                  <a:pt x="1554" y="281"/>
                </a:lnTo>
                <a:lnTo>
                  <a:pt x="1553" y="281"/>
                </a:lnTo>
                <a:lnTo>
                  <a:pt x="1551" y="280"/>
                </a:lnTo>
                <a:lnTo>
                  <a:pt x="1553" y="277"/>
                </a:lnTo>
                <a:lnTo>
                  <a:pt x="1553" y="276"/>
                </a:lnTo>
                <a:lnTo>
                  <a:pt x="1554" y="275"/>
                </a:lnTo>
                <a:lnTo>
                  <a:pt x="1550" y="274"/>
                </a:lnTo>
                <a:lnTo>
                  <a:pt x="1547" y="274"/>
                </a:lnTo>
                <a:lnTo>
                  <a:pt x="1557" y="268"/>
                </a:lnTo>
                <a:lnTo>
                  <a:pt x="1567" y="263"/>
                </a:lnTo>
                <a:lnTo>
                  <a:pt x="1560" y="263"/>
                </a:lnTo>
                <a:lnTo>
                  <a:pt x="1555" y="265"/>
                </a:lnTo>
                <a:lnTo>
                  <a:pt x="1553" y="265"/>
                </a:lnTo>
                <a:lnTo>
                  <a:pt x="1549" y="266"/>
                </a:lnTo>
                <a:lnTo>
                  <a:pt x="1547" y="265"/>
                </a:lnTo>
                <a:lnTo>
                  <a:pt x="1543" y="263"/>
                </a:lnTo>
                <a:lnTo>
                  <a:pt x="1550" y="260"/>
                </a:lnTo>
                <a:lnTo>
                  <a:pt x="1557" y="258"/>
                </a:lnTo>
                <a:lnTo>
                  <a:pt x="1562" y="257"/>
                </a:lnTo>
                <a:lnTo>
                  <a:pt x="1565" y="256"/>
                </a:lnTo>
                <a:lnTo>
                  <a:pt x="1567" y="256"/>
                </a:lnTo>
                <a:lnTo>
                  <a:pt x="1568" y="255"/>
                </a:lnTo>
                <a:lnTo>
                  <a:pt x="1570" y="252"/>
                </a:lnTo>
                <a:lnTo>
                  <a:pt x="1570" y="250"/>
                </a:lnTo>
                <a:lnTo>
                  <a:pt x="1567" y="248"/>
                </a:lnTo>
                <a:lnTo>
                  <a:pt x="1565" y="248"/>
                </a:lnTo>
                <a:lnTo>
                  <a:pt x="1563" y="248"/>
                </a:lnTo>
                <a:lnTo>
                  <a:pt x="1560" y="248"/>
                </a:lnTo>
                <a:lnTo>
                  <a:pt x="1555" y="250"/>
                </a:lnTo>
                <a:lnTo>
                  <a:pt x="1549" y="250"/>
                </a:lnTo>
                <a:lnTo>
                  <a:pt x="1543" y="250"/>
                </a:lnTo>
                <a:lnTo>
                  <a:pt x="1538" y="251"/>
                </a:lnTo>
                <a:lnTo>
                  <a:pt x="1531" y="252"/>
                </a:lnTo>
                <a:lnTo>
                  <a:pt x="1523" y="254"/>
                </a:lnTo>
                <a:lnTo>
                  <a:pt x="1518" y="254"/>
                </a:lnTo>
                <a:lnTo>
                  <a:pt x="1515" y="252"/>
                </a:lnTo>
                <a:lnTo>
                  <a:pt x="1512" y="252"/>
                </a:lnTo>
                <a:lnTo>
                  <a:pt x="1509" y="250"/>
                </a:lnTo>
                <a:lnTo>
                  <a:pt x="1525" y="246"/>
                </a:lnTo>
                <a:lnTo>
                  <a:pt x="1542" y="241"/>
                </a:lnTo>
                <a:lnTo>
                  <a:pt x="1548" y="240"/>
                </a:lnTo>
                <a:lnTo>
                  <a:pt x="1556" y="238"/>
                </a:lnTo>
                <a:lnTo>
                  <a:pt x="1559" y="235"/>
                </a:lnTo>
                <a:lnTo>
                  <a:pt x="1560" y="234"/>
                </a:lnTo>
                <a:lnTo>
                  <a:pt x="1560" y="231"/>
                </a:lnTo>
                <a:lnTo>
                  <a:pt x="1558" y="228"/>
                </a:lnTo>
                <a:lnTo>
                  <a:pt x="1562" y="227"/>
                </a:lnTo>
                <a:lnTo>
                  <a:pt x="1564" y="226"/>
                </a:lnTo>
                <a:lnTo>
                  <a:pt x="1567" y="225"/>
                </a:lnTo>
                <a:lnTo>
                  <a:pt x="1571" y="225"/>
                </a:lnTo>
                <a:lnTo>
                  <a:pt x="1572" y="225"/>
                </a:lnTo>
                <a:lnTo>
                  <a:pt x="1573" y="225"/>
                </a:lnTo>
                <a:lnTo>
                  <a:pt x="1574" y="224"/>
                </a:lnTo>
                <a:lnTo>
                  <a:pt x="1573" y="223"/>
                </a:lnTo>
                <a:lnTo>
                  <a:pt x="1571" y="222"/>
                </a:lnTo>
                <a:lnTo>
                  <a:pt x="1567" y="222"/>
                </a:lnTo>
                <a:lnTo>
                  <a:pt x="1568" y="222"/>
                </a:lnTo>
                <a:lnTo>
                  <a:pt x="1567" y="222"/>
                </a:lnTo>
                <a:close/>
                <a:moveTo>
                  <a:pt x="666" y="268"/>
                </a:moveTo>
                <a:lnTo>
                  <a:pt x="664" y="269"/>
                </a:lnTo>
                <a:lnTo>
                  <a:pt x="660" y="268"/>
                </a:lnTo>
                <a:lnTo>
                  <a:pt x="658" y="268"/>
                </a:lnTo>
                <a:lnTo>
                  <a:pt x="656" y="266"/>
                </a:lnTo>
                <a:lnTo>
                  <a:pt x="656" y="268"/>
                </a:lnTo>
                <a:lnTo>
                  <a:pt x="657" y="272"/>
                </a:lnTo>
                <a:lnTo>
                  <a:pt x="659" y="274"/>
                </a:lnTo>
                <a:lnTo>
                  <a:pt x="661" y="274"/>
                </a:lnTo>
                <a:lnTo>
                  <a:pt x="664" y="272"/>
                </a:lnTo>
                <a:lnTo>
                  <a:pt x="666" y="268"/>
                </a:lnTo>
                <a:lnTo>
                  <a:pt x="662" y="269"/>
                </a:lnTo>
                <a:lnTo>
                  <a:pt x="666" y="268"/>
                </a:lnTo>
                <a:close/>
                <a:moveTo>
                  <a:pt x="674" y="566"/>
                </a:moveTo>
                <a:lnTo>
                  <a:pt x="674" y="567"/>
                </a:lnTo>
                <a:lnTo>
                  <a:pt x="677" y="567"/>
                </a:lnTo>
                <a:lnTo>
                  <a:pt x="675" y="566"/>
                </a:lnTo>
                <a:lnTo>
                  <a:pt x="674" y="566"/>
                </a:lnTo>
                <a:lnTo>
                  <a:pt x="674" y="566"/>
                </a:lnTo>
                <a:lnTo>
                  <a:pt x="674" y="566"/>
                </a:lnTo>
                <a:close/>
                <a:moveTo>
                  <a:pt x="657" y="559"/>
                </a:moveTo>
                <a:lnTo>
                  <a:pt x="661" y="562"/>
                </a:lnTo>
                <a:lnTo>
                  <a:pt x="666" y="562"/>
                </a:lnTo>
                <a:lnTo>
                  <a:pt x="664" y="559"/>
                </a:lnTo>
                <a:lnTo>
                  <a:pt x="662" y="558"/>
                </a:lnTo>
                <a:lnTo>
                  <a:pt x="660" y="558"/>
                </a:lnTo>
                <a:lnTo>
                  <a:pt x="657" y="559"/>
                </a:lnTo>
                <a:close/>
                <a:moveTo>
                  <a:pt x="334" y="329"/>
                </a:moveTo>
                <a:lnTo>
                  <a:pt x="334" y="331"/>
                </a:lnTo>
                <a:lnTo>
                  <a:pt x="335" y="332"/>
                </a:lnTo>
                <a:lnTo>
                  <a:pt x="338" y="332"/>
                </a:lnTo>
                <a:lnTo>
                  <a:pt x="342" y="331"/>
                </a:lnTo>
                <a:lnTo>
                  <a:pt x="338" y="330"/>
                </a:lnTo>
                <a:lnTo>
                  <a:pt x="334" y="329"/>
                </a:lnTo>
                <a:lnTo>
                  <a:pt x="335" y="329"/>
                </a:lnTo>
                <a:lnTo>
                  <a:pt x="334" y="329"/>
                </a:lnTo>
                <a:close/>
                <a:moveTo>
                  <a:pt x="311" y="319"/>
                </a:moveTo>
                <a:lnTo>
                  <a:pt x="311" y="319"/>
                </a:lnTo>
                <a:lnTo>
                  <a:pt x="310" y="319"/>
                </a:lnTo>
                <a:lnTo>
                  <a:pt x="312" y="322"/>
                </a:lnTo>
                <a:lnTo>
                  <a:pt x="315" y="324"/>
                </a:lnTo>
                <a:lnTo>
                  <a:pt x="319" y="325"/>
                </a:lnTo>
                <a:lnTo>
                  <a:pt x="321" y="324"/>
                </a:lnTo>
                <a:lnTo>
                  <a:pt x="320" y="322"/>
                </a:lnTo>
                <a:lnTo>
                  <a:pt x="318" y="321"/>
                </a:lnTo>
                <a:lnTo>
                  <a:pt x="313" y="319"/>
                </a:lnTo>
                <a:lnTo>
                  <a:pt x="311" y="319"/>
                </a:lnTo>
                <a:lnTo>
                  <a:pt x="312" y="319"/>
                </a:lnTo>
                <a:lnTo>
                  <a:pt x="311" y="319"/>
                </a:lnTo>
                <a:close/>
                <a:moveTo>
                  <a:pt x="328" y="308"/>
                </a:moveTo>
                <a:lnTo>
                  <a:pt x="327" y="308"/>
                </a:lnTo>
                <a:lnTo>
                  <a:pt x="327" y="309"/>
                </a:lnTo>
                <a:lnTo>
                  <a:pt x="328" y="309"/>
                </a:lnTo>
                <a:lnTo>
                  <a:pt x="329" y="309"/>
                </a:lnTo>
                <a:lnTo>
                  <a:pt x="329" y="309"/>
                </a:lnTo>
                <a:lnTo>
                  <a:pt x="328" y="308"/>
                </a:lnTo>
                <a:lnTo>
                  <a:pt x="328" y="308"/>
                </a:lnTo>
                <a:lnTo>
                  <a:pt x="328" y="308"/>
                </a:lnTo>
                <a:close/>
                <a:moveTo>
                  <a:pt x="295" y="249"/>
                </a:moveTo>
                <a:lnTo>
                  <a:pt x="295" y="248"/>
                </a:lnTo>
                <a:lnTo>
                  <a:pt x="296" y="248"/>
                </a:lnTo>
                <a:lnTo>
                  <a:pt x="295" y="248"/>
                </a:lnTo>
                <a:lnTo>
                  <a:pt x="294" y="248"/>
                </a:lnTo>
                <a:lnTo>
                  <a:pt x="295" y="248"/>
                </a:lnTo>
                <a:lnTo>
                  <a:pt x="295" y="249"/>
                </a:lnTo>
                <a:lnTo>
                  <a:pt x="295" y="249"/>
                </a:lnTo>
                <a:lnTo>
                  <a:pt x="295" y="249"/>
                </a:lnTo>
                <a:close/>
                <a:moveTo>
                  <a:pt x="418" y="456"/>
                </a:moveTo>
                <a:lnTo>
                  <a:pt x="417" y="454"/>
                </a:lnTo>
                <a:lnTo>
                  <a:pt x="414" y="452"/>
                </a:lnTo>
                <a:lnTo>
                  <a:pt x="411" y="451"/>
                </a:lnTo>
                <a:lnTo>
                  <a:pt x="409" y="454"/>
                </a:lnTo>
                <a:lnTo>
                  <a:pt x="413" y="456"/>
                </a:lnTo>
                <a:lnTo>
                  <a:pt x="418" y="456"/>
                </a:lnTo>
                <a:lnTo>
                  <a:pt x="417" y="456"/>
                </a:lnTo>
                <a:lnTo>
                  <a:pt x="418" y="456"/>
                </a:lnTo>
                <a:close/>
                <a:moveTo>
                  <a:pt x="345" y="173"/>
                </a:moveTo>
                <a:lnTo>
                  <a:pt x="345" y="173"/>
                </a:lnTo>
                <a:lnTo>
                  <a:pt x="345" y="173"/>
                </a:lnTo>
                <a:lnTo>
                  <a:pt x="347" y="172"/>
                </a:lnTo>
                <a:lnTo>
                  <a:pt x="346" y="169"/>
                </a:lnTo>
                <a:lnTo>
                  <a:pt x="347" y="169"/>
                </a:lnTo>
                <a:lnTo>
                  <a:pt x="347" y="168"/>
                </a:lnTo>
                <a:lnTo>
                  <a:pt x="348" y="168"/>
                </a:lnTo>
                <a:lnTo>
                  <a:pt x="348" y="167"/>
                </a:lnTo>
                <a:lnTo>
                  <a:pt x="356" y="168"/>
                </a:lnTo>
                <a:lnTo>
                  <a:pt x="363" y="169"/>
                </a:lnTo>
                <a:lnTo>
                  <a:pt x="357" y="166"/>
                </a:lnTo>
                <a:lnTo>
                  <a:pt x="351" y="164"/>
                </a:lnTo>
                <a:lnTo>
                  <a:pt x="347" y="164"/>
                </a:lnTo>
                <a:lnTo>
                  <a:pt x="345" y="163"/>
                </a:lnTo>
                <a:lnTo>
                  <a:pt x="342" y="164"/>
                </a:lnTo>
                <a:lnTo>
                  <a:pt x="338" y="165"/>
                </a:lnTo>
                <a:lnTo>
                  <a:pt x="339" y="163"/>
                </a:lnTo>
                <a:lnTo>
                  <a:pt x="340" y="161"/>
                </a:lnTo>
                <a:lnTo>
                  <a:pt x="336" y="159"/>
                </a:lnTo>
                <a:lnTo>
                  <a:pt x="330" y="157"/>
                </a:lnTo>
                <a:lnTo>
                  <a:pt x="331" y="158"/>
                </a:lnTo>
                <a:lnTo>
                  <a:pt x="330" y="157"/>
                </a:lnTo>
                <a:lnTo>
                  <a:pt x="329" y="159"/>
                </a:lnTo>
                <a:lnTo>
                  <a:pt x="327" y="161"/>
                </a:lnTo>
                <a:lnTo>
                  <a:pt x="326" y="163"/>
                </a:lnTo>
                <a:lnTo>
                  <a:pt x="324" y="163"/>
                </a:lnTo>
                <a:lnTo>
                  <a:pt x="324" y="164"/>
                </a:lnTo>
                <a:lnTo>
                  <a:pt x="324" y="165"/>
                </a:lnTo>
                <a:lnTo>
                  <a:pt x="322" y="167"/>
                </a:lnTo>
                <a:lnTo>
                  <a:pt x="322" y="168"/>
                </a:lnTo>
                <a:lnTo>
                  <a:pt x="322" y="169"/>
                </a:lnTo>
                <a:lnTo>
                  <a:pt x="324" y="172"/>
                </a:lnTo>
                <a:lnTo>
                  <a:pt x="327" y="172"/>
                </a:lnTo>
                <a:lnTo>
                  <a:pt x="329" y="173"/>
                </a:lnTo>
                <a:lnTo>
                  <a:pt x="330" y="175"/>
                </a:lnTo>
                <a:lnTo>
                  <a:pt x="331" y="177"/>
                </a:lnTo>
                <a:lnTo>
                  <a:pt x="334" y="177"/>
                </a:lnTo>
                <a:lnTo>
                  <a:pt x="336" y="177"/>
                </a:lnTo>
                <a:lnTo>
                  <a:pt x="337" y="176"/>
                </a:lnTo>
                <a:lnTo>
                  <a:pt x="338" y="175"/>
                </a:lnTo>
                <a:lnTo>
                  <a:pt x="339" y="172"/>
                </a:lnTo>
                <a:lnTo>
                  <a:pt x="338" y="172"/>
                </a:lnTo>
                <a:lnTo>
                  <a:pt x="336" y="172"/>
                </a:lnTo>
                <a:lnTo>
                  <a:pt x="335" y="172"/>
                </a:lnTo>
                <a:lnTo>
                  <a:pt x="334" y="171"/>
                </a:lnTo>
                <a:lnTo>
                  <a:pt x="334" y="169"/>
                </a:lnTo>
                <a:lnTo>
                  <a:pt x="336" y="168"/>
                </a:lnTo>
                <a:lnTo>
                  <a:pt x="338" y="168"/>
                </a:lnTo>
                <a:lnTo>
                  <a:pt x="342" y="168"/>
                </a:lnTo>
                <a:lnTo>
                  <a:pt x="345" y="169"/>
                </a:lnTo>
                <a:lnTo>
                  <a:pt x="346" y="169"/>
                </a:lnTo>
                <a:lnTo>
                  <a:pt x="346" y="169"/>
                </a:lnTo>
                <a:lnTo>
                  <a:pt x="346" y="172"/>
                </a:lnTo>
                <a:lnTo>
                  <a:pt x="345" y="173"/>
                </a:lnTo>
                <a:close/>
                <a:moveTo>
                  <a:pt x="184" y="399"/>
                </a:moveTo>
                <a:lnTo>
                  <a:pt x="184" y="400"/>
                </a:lnTo>
                <a:lnTo>
                  <a:pt x="184" y="399"/>
                </a:lnTo>
                <a:lnTo>
                  <a:pt x="184" y="399"/>
                </a:lnTo>
                <a:lnTo>
                  <a:pt x="184" y="399"/>
                </a:lnTo>
                <a:close/>
                <a:moveTo>
                  <a:pt x="350" y="117"/>
                </a:moveTo>
                <a:lnTo>
                  <a:pt x="350" y="119"/>
                </a:lnTo>
                <a:lnTo>
                  <a:pt x="351" y="120"/>
                </a:lnTo>
                <a:lnTo>
                  <a:pt x="354" y="122"/>
                </a:lnTo>
                <a:lnTo>
                  <a:pt x="357" y="123"/>
                </a:lnTo>
                <a:lnTo>
                  <a:pt x="364" y="125"/>
                </a:lnTo>
                <a:lnTo>
                  <a:pt x="369" y="125"/>
                </a:lnTo>
                <a:lnTo>
                  <a:pt x="371" y="125"/>
                </a:lnTo>
                <a:lnTo>
                  <a:pt x="373" y="125"/>
                </a:lnTo>
                <a:lnTo>
                  <a:pt x="375" y="126"/>
                </a:lnTo>
                <a:lnTo>
                  <a:pt x="375" y="128"/>
                </a:lnTo>
                <a:lnTo>
                  <a:pt x="372" y="130"/>
                </a:lnTo>
                <a:lnTo>
                  <a:pt x="370" y="131"/>
                </a:lnTo>
                <a:lnTo>
                  <a:pt x="372" y="133"/>
                </a:lnTo>
                <a:lnTo>
                  <a:pt x="376" y="135"/>
                </a:lnTo>
                <a:lnTo>
                  <a:pt x="378" y="136"/>
                </a:lnTo>
                <a:lnTo>
                  <a:pt x="383" y="136"/>
                </a:lnTo>
                <a:lnTo>
                  <a:pt x="379" y="134"/>
                </a:lnTo>
                <a:lnTo>
                  <a:pt x="377" y="131"/>
                </a:lnTo>
                <a:lnTo>
                  <a:pt x="381" y="131"/>
                </a:lnTo>
                <a:lnTo>
                  <a:pt x="386" y="130"/>
                </a:lnTo>
                <a:lnTo>
                  <a:pt x="381" y="126"/>
                </a:lnTo>
                <a:lnTo>
                  <a:pt x="376" y="124"/>
                </a:lnTo>
                <a:lnTo>
                  <a:pt x="371" y="123"/>
                </a:lnTo>
                <a:lnTo>
                  <a:pt x="364" y="122"/>
                </a:lnTo>
                <a:lnTo>
                  <a:pt x="361" y="120"/>
                </a:lnTo>
                <a:lnTo>
                  <a:pt x="357" y="117"/>
                </a:lnTo>
                <a:lnTo>
                  <a:pt x="352" y="115"/>
                </a:lnTo>
                <a:lnTo>
                  <a:pt x="346" y="115"/>
                </a:lnTo>
                <a:lnTo>
                  <a:pt x="347" y="117"/>
                </a:lnTo>
                <a:lnTo>
                  <a:pt x="350" y="117"/>
                </a:lnTo>
                <a:lnTo>
                  <a:pt x="348" y="118"/>
                </a:lnTo>
                <a:lnTo>
                  <a:pt x="350" y="117"/>
                </a:lnTo>
                <a:close/>
                <a:moveTo>
                  <a:pt x="70" y="258"/>
                </a:moveTo>
                <a:lnTo>
                  <a:pt x="70" y="258"/>
                </a:lnTo>
                <a:lnTo>
                  <a:pt x="72" y="258"/>
                </a:lnTo>
                <a:lnTo>
                  <a:pt x="75" y="258"/>
                </a:lnTo>
                <a:lnTo>
                  <a:pt x="79" y="260"/>
                </a:lnTo>
                <a:lnTo>
                  <a:pt x="80" y="259"/>
                </a:lnTo>
                <a:lnTo>
                  <a:pt x="81" y="258"/>
                </a:lnTo>
                <a:lnTo>
                  <a:pt x="82" y="260"/>
                </a:lnTo>
                <a:lnTo>
                  <a:pt x="85" y="261"/>
                </a:lnTo>
                <a:lnTo>
                  <a:pt x="90" y="261"/>
                </a:lnTo>
                <a:lnTo>
                  <a:pt x="93" y="261"/>
                </a:lnTo>
                <a:lnTo>
                  <a:pt x="100" y="263"/>
                </a:lnTo>
                <a:lnTo>
                  <a:pt x="108" y="265"/>
                </a:lnTo>
                <a:lnTo>
                  <a:pt x="112" y="267"/>
                </a:lnTo>
                <a:lnTo>
                  <a:pt x="115" y="268"/>
                </a:lnTo>
                <a:lnTo>
                  <a:pt x="117" y="268"/>
                </a:lnTo>
                <a:lnTo>
                  <a:pt x="120" y="267"/>
                </a:lnTo>
                <a:lnTo>
                  <a:pt x="122" y="269"/>
                </a:lnTo>
                <a:lnTo>
                  <a:pt x="124" y="272"/>
                </a:lnTo>
                <a:lnTo>
                  <a:pt x="120" y="272"/>
                </a:lnTo>
                <a:lnTo>
                  <a:pt x="115" y="271"/>
                </a:lnTo>
                <a:lnTo>
                  <a:pt x="111" y="269"/>
                </a:lnTo>
                <a:lnTo>
                  <a:pt x="106" y="268"/>
                </a:lnTo>
                <a:lnTo>
                  <a:pt x="106" y="268"/>
                </a:lnTo>
                <a:lnTo>
                  <a:pt x="106" y="268"/>
                </a:lnTo>
                <a:lnTo>
                  <a:pt x="92" y="265"/>
                </a:lnTo>
                <a:lnTo>
                  <a:pt x="79" y="260"/>
                </a:lnTo>
                <a:lnTo>
                  <a:pt x="75" y="260"/>
                </a:lnTo>
                <a:lnTo>
                  <a:pt x="72" y="258"/>
                </a:lnTo>
                <a:lnTo>
                  <a:pt x="71" y="258"/>
                </a:lnTo>
                <a:lnTo>
                  <a:pt x="70" y="258"/>
                </a:lnTo>
                <a:close/>
                <a:moveTo>
                  <a:pt x="163" y="230"/>
                </a:moveTo>
                <a:lnTo>
                  <a:pt x="166" y="230"/>
                </a:lnTo>
                <a:lnTo>
                  <a:pt x="169" y="231"/>
                </a:lnTo>
                <a:lnTo>
                  <a:pt x="166" y="230"/>
                </a:lnTo>
                <a:lnTo>
                  <a:pt x="163" y="230"/>
                </a:lnTo>
                <a:close/>
                <a:moveTo>
                  <a:pt x="231" y="100"/>
                </a:moveTo>
                <a:lnTo>
                  <a:pt x="229" y="100"/>
                </a:lnTo>
                <a:lnTo>
                  <a:pt x="227" y="100"/>
                </a:lnTo>
                <a:lnTo>
                  <a:pt x="228" y="101"/>
                </a:lnTo>
                <a:lnTo>
                  <a:pt x="230" y="103"/>
                </a:lnTo>
                <a:lnTo>
                  <a:pt x="232" y="103"/>
                </a:lnTo>
                <a:lnTo>
                  <a:pt x="233" y="103"/>
                </a:lnTo>
                <a:lnTo>
                  <a:pt x="235" y="101"/>
                </a:lnTo>
                <a:lnTo>
                  <a:pt x="233" y="100"/>
                </a:lnTo>
                <a:lnTo>
                  <a:pt x="232" y="100"/>
                </a:lnTo>
                <a:lnTo>
                  <a:pt x="231" y="100"/>
                </a:lnTo>
                <a:close/>
                <a:moveTo>
                  <a:pt x="940" y="241"/>
                </a:moveTo>
                <a:lnTo>
                  <a:pt x="939" y="240"/>
                </a:lnTo>
                <a:lnTo>
                  <a:pt x="939" y="240"/>
                </a:lnTo>
                <a:lnTo>
                  <a:pt x="938" y="240"/>
                </a:lnTo>
                <a:lnTo>
                  <a:pt x="937" y="241"/>
                </a:lnTo>
                <a:lnTo>
                  <a:pt x="937" y="243"/>
                </a:lnTo>
                <a:lnTo>
                  <a:pt x="937" y="247"/>
                </a:lnTo>
                <a:lnTo>
                  <a:pt x="939" y="246"/>
                </a:lnTo>
                <a:lnTo>
                  <a:pt x="940" y="244"/>
                </a:lnTo>
                <a:lnTo>
                  <a:pt x="940" y="243"/>
                </a:lnTo>
                <a:lnTo>
                  <a:pt x="940" y="241"/>
                </a:lnTo>
                <a:lnTo>
                  <a:pt x="940" y="241"/>
                </a:lnTo>
                <a:lnTo>
                  <a:pt x="940" y="241"/>
                </a:lnTo>
                <a:close/>
                <a:moveTo>
                  <a:pt x="256" y="449"/>
                </a:moveTo>
                <a:lnTo>
                  <a:pt x="260" y="448"/>
                </a:lnTo>
                <a:lnTo>
                  <a:pt x="262" y="448"/>
                </a:lnTo>
                <a:lnTo>
                  <a:pt x="264" y="448"/>
                </a:lnTo>
                <a:lnTo>
                  <a:pt x="265" y="445"/>
                </a:lnTo>
                <a:lnTo>
                  <a:pt x="263" y="445"/>
                </a:lnTo>
                <a:lnTo>
                  <a:pt x="261" y="446"/>
                </a:lnTo>
                <a:lnTo>
                  <a:pt x="258" y="447"/>
                </a:lnTo>
                <a:lnTo>
                  <a:pt x="256" y="449"/>
                </a:lnTo>
                <a:close/>
                <a:moveTo>
                  <a:pt x="293" y="132"/>
                </a:moveTo>
                <a:lnTo>
                  <a:pt x="294" y="134"/>
                </a:lnTo>
                <a:lnTo>
                  <a:pt x="296" y="135"/>
                </a:lnTo>
                <a:lnTo>
                  <a:pt x="298" y="135"/>
                </a:lnTo>
                <a:lnTo>
                  <a:pt x="301" y="134"/>
                </a:lnTo>
                <a:lnTo>
                  <a:pt x="298" y="132"/>
                </a:lnTo>
                <a:lnTo>
                  <a:pt x="296" y="131"/>
                </a:lnTo>
                <a:lnTo>
                  <a:pt x="294" y="131"/>
                </a:lnTo>
                <a:lnTo>
                  <a:pt x="293" y="132"/>
                </a:lnTo>
                <a:lnTo>
                  <a:pt x="294" y="133"/>
                </a:lnTo>
                <a:lnTo>
                  <a:pt x="293" y="132"/>
                </a:lnTo>
                <a:close/>
                <a:moveTo>
                  <a:pt x="369" y="183"/>
                </a:moveTo>
                <a:lnTo>
                  <a:pt x="370" y="183"/>
                </a:lnTo>
                <a:lnTo>
                  <a:pt x="370" y="181"/>
                </a:lnTo>
                <a:lnTo>
                  <a:pt x="369" y="178"/>
                </a:lnTo>
                <a:lnTo>
                  <a:pt x="367" y="178"/>
                </a:lnTo>
                <a:lnTo>
                  <a:pt x="364" y="180"/>
                </a:lnTo>
                <a:lnTo>
                  <a:pt x="364" y="181"/>
                </a:lnTo>
                <a:lnTo>
                  <a:pt x="367" y="182"/>
                </a:lnTo>
                <a:lnTo>
                  <a:pt x="369" y="183"/>
                </a:lnTo>
                <a:lnTo>
                  <a:pt x="369" y="183"/>
                </a:lnTo>
                <a:lnTo>
                  <a:pt x="369" y="183"/>
                </a:lnTo>
                <a:close/>
                <a:moveTo>
                  <a:pt x="649" y="609"/>
                </a:moveTo>
                <a:lnTo>
                  <a:pt x="648" y="608"/>
                </a:lnTo>
                <a:lnTo>
                  <a:pt x="645" y="607"/>
                </a:lnTo>
                <a:lnTo>
                  <a:pt x="642" y="607"/>
                </a:lnTo>
                <a:lnTo>
                  <a:pt x="641" y="609"/>
                </a:lnTo>
                <a:lnTo>
                  <a:pt x="642" y="611"/>
                </a:lnTo>
                <a:lnTo>
                  <a:pt x="644" y="612"/>
                </a:lnTo>
                <a:lnTo>
                  <a:pt x="648" y="612"/>
                </a:lnTo>
                <a:lnTo>
                  <a:pt x="649" y="609"/>
                </a:lnTo>
                <a:close/>
                <a:moveTo>
                  <a:pt x="660" y="175"/>
                </a:moveTo>
                <a:lnTo>
                  <a:pt x="661" y="174"/>
                </a:lnTo>
                <a:lnTo>
                  <a:pt x="661" y="173"/>
                </a:lnTo>
                <a:lnTo>
                  <a:pt x="661" y="172"/>
                </a:lnTo>
                <a:lnTo>
                  <a:pt x="659" y="172"/>
                </a:lnTo>
                <a:lnTo>
                  <a:pt x="657" y="173"/>
                </a:lnTo>
                <a:lnTo>
                  <a:pt x="657" y="174"/>
                </a:lnTo>
                <a:lnTo>
                  <a:pt x="658" y="175"/>
                </a:lnTo>
                <a:lnTo>
                  <a:pt x="660" y="175"/>
                </a:lnTo>
                <a:lnTo>
                  <a:pt x="660" y="175"/>
                </a:lnTo>
                <a:lnTo>
                  <a:pt x="660" y="175"/>
                </a:lnTo>
                <a:close/>
                <a:moveTo>
                  <a:pt x="306" y="140"/>
                </a:moveTo>
                <a:lnTo>
                  <a:pt x="306" y="138"/>
                </a:lnTo>
                <a:lnTo>
                  <a:pt x="306" y="136"/>
                </a:lnTo>
                <a:lnTo>
                  <a:pt x="304" y="135"/>
                </a:lnTo>
                <a:lnTo>
                  <a:pt x="303" y="136"/>
                </a:lnTo>
                <a:lnTo>
                  <a:pt x="302" y="139"/>
                </a:lnTo>
                <a:lnTo>
                  <a:pt x="299" y="140"/>
                </a:lnTo>
                <a:lnTo>
                  <a:pt x="302" y="141"/>
                </a:lnTo>
                <a:lnTo>
                  <a:pt x="304" y="141"/>
                </a:lnTo>
                <a:lnTo>
                  <a:pt x="305" y="141"/>
                </a:lnTo>
                <a:lnTo>
                  <a:pt x="306" y="140"/>
                </a:lnTo>
                <a:lnTo>
                  <a:pt x="306" y="141"/>
                </a:lnTo>
                <a:lnTo>
                  <a:pt x="306" y="140"/>
                </a:lnTo>
                <a:close/>
                <a:moveTo>
                  <a:pt x="1002" y="642"/>
                </a:moveTo>
                <a:lnTo>
                  <a:pt x="1004" y="641"/>
                </a:lnTo>
                <a:lnTo>
                  <a:pt x="1007" y="641"/>
                </a:lnTo>
                <a:lnTo>
                  <a:pt x="1008" y="640"/>
                </a:lnTo>
                <a:lnTo>
                  <a:pt x="1008" y="640"/>
                </a:lnTo>
                <a:lnTo>
                  <a:pt x="1008" y="639"/>
                </a:lnTo>
                <a:lnTo>
                  <a:pt x="1006" y="638"/>
                </a:lnTo>
                <a:lnTo>
                  <a:pt x="1003" y="638"/>
                </a:lnTo>
                <a:lnTo>
                  <a:pt x="1001" y="639"/>
                </a:lnTo>
                <a:lnTo>
                  <a:pt x="1001" y="640"/>
                </a:lnTo>
                <a:lnTo>
                  <a:pt x="1001" y="641"/>
                </a:lnTo>
                <a:lnTo>
                  <a:pt x="1002" y="642"/>
                </a:lnTo>
                <a:lnTo>
                  <a:pt x="1002" y="642"/>
                </a:lnTo>
                <a:lnTo>
                  <a:pt x="1003" y="641"/>
                </a:lnTo>
                <a:lnTo>
                  <a:pt x="1002" y="642"/>
                </a:lnTo>
                <a:close/>
                <a:moveTo>
                  <a:pt x="227" y="95"/>
                </a:moveTo>
                <a:lnTo>
                  <a:pt x="230" y="95"/>
                </a:lnTo>
                <a:lnTo>
                  <a:pt x="233" y="95"/>
                </a:lnTo>
                <a:lnTo>
                  <a:pt x="232" y="94"/>
                </a:lnTo>
                <a:lnTo>
                  <a:pt x="230" y="92"/>
                </a:lnTo>
                <a:lnTo>
                  <a:pt x="228" y="91"/>
                </a:lnTo>
                <a:lnTo>
                  <a:pt x="227" y="91"/>
                </a:lnTo>
                <a:lnTo>
                  <a:pt x="224" y="92"/>
                </a:lnTo>
                <a:lnTo>
                  <a:pt x="224" y="93"/>
                </a:lnTo>
                <a:lnTo>
                  <a:pt x="225" y="94"/>
                </a:lnTo>
                <a:lnTo>
                  <a:pt x="227" y="95"/>
                </a:lnTo>
                <a:lnTo>
                  <a:pt x="227" y="95"/>
                </a:lnTo>
                <a:lnTo>
                  <a:pt x="227" y="95"/>
                </a:lnTo>
                <a:close/>
                <a:moveTo>
                  <a:pt x="614" y="175"/>
                </a:moveTo>
                <a:lnTo>
                  <a:pt x="615" y="174"/>
                </a:lnTo>
                <a:lnTo>
                  <a:pt x="615" y="173"/>
                </a:lnTo>
                <a:lnTo>
                  <a:pt x="615" y="171"/>
                </a:lnTo>
                <a:lnTo>
                  <a:pt x="614" y="169"/>
                </a:lnTo>
                <a:lnTo>
                  <a:pt x="612" y="169"/>
                </a:lnTo>
                <a:lnTo>
                  <a:pt x="611" y="169"/>
                </a:lnTo>
                <a:lnTo>
                  <a:pt x="610" y="169"/>
                </a:lnTo>
                <a:lnTo>
                  <a:pt x="610" y="171"/>
                </a:lnTo>
                <a:lnTo>
                  <a:pt x="611" y="173"/>
                </a:lnTo>
                <a:lnTo>
                  <a:pt x="614" y="175"/>
                </a:lnTo>
                <a:lnTo>
                  <a:pt x="614" y="175"/>
                </a:lnTo>
                <a:lnTo>
                  <a:pt x="614" y="175"/>
                </a:lnTo>
                <a:close/>
                <a:moveTo>
                  <a:pt x="431" y="493"/>
                </a:moveTo>
                <a:lnTo>
                  <a:pt x="428" y="491"/>
                </a:lnTo>
                <a:lnTo>
                  <a:pt x="426" y="490"/>
                </a:lnTo>
                <a:lnTo>
                  <a:pt x="422" y="490"/>
                </a:lnTo>
                <a:lnTo>
                  <a:pt x="420" y="490"/>
                </a:lnTo>
                <a:lnTo>
                  <a:pt x="420" y="490"/>
                </a:lnTo>
                <a:lnTo>
                  <a:pt x="420" y="490"/>
                </a:lnTo>
                <a:lnTo>
                  <a:pt x="422" y="492"/>
                </a:lnTo>
                <a:lnTo>
                  <a:pt x="425" y="493"/>
                </a:lnTo>
                <a:lnTo>
                  <a:pt x="428" y="493"/>
                </a:lnTo>
                <a:lnTo>
                  <a:pt x="431" y="493"/>
                </a:lnTo>
                <a:close/>
                <a:moveTo>
                  <a:pt x="375" y="256"/>
                </a:moveTo>
                <a:lnTo>
                  <a:pt x="376" y="258"/>
                </a:lnTo>
                <a:lnTo>
                  <a:pt x="378" y="260"/>
                </a:lnTo>
                <a:lnTo>
                  <a:pt x="380" y="260"/>
                </a:lnTo>
                <a:lnTo>
                  <a:pt x="384" y="259"/>
                </a:lnTo>
                <a:lnTo>
                  <a:pt x="379" y="257"/>
                </a:lnTo>
                <a:lnTo>
                  <a:pt x="375" y="256"/>
                </a:lnTo>
                <a:close/>
                <a:moveTo>
                  <a:pt x="515" y="560"/>
                </a:moveTo>
                <a:lnTo>
                  <a:pt x="515" y="563"/>
                </a:lnTo>
                <a:lnTo>
                  <a:pt x="517" y="566"/>
                </a:lnTo>
                <a:lnTo>
                  <a:pt x="517" y="567"/>
                </a:lnTo>
                <a:lnTo>
                  <a:pt x="518" y="568"/>
                </a:lnTo>
                <a:lnTo>
                  <a:pt x="519" y="568"/>
                </a:lnTo>
                <a:lnTo>
                  <a:pt x="520" y="567"/>
                </a:lnTo>
                <a:lnTo>
                  <a:pt x="520" y="565"/>
                </a:lnTo>
                <a:lnTo>
                  <a:pt x="519" y="563"/>
                </a:lnTo>
                <a:lnTo>
                  <a:pt x="517" y="562"/>
                </a:lnTo>
                <a:lnTo>
                  <a:pt x="515" y="560"/>
                </a:lnTo>
                <a:lnTo>
                  <a:pt x="516" y="562"/>
                </a:lnTo>
                <a:lnTo>
                  <a:pt x="515" y="560"/>
                </a:lnTo>
                <a:close/>
                <a:moveTo>
                  <a:pt x="0" y="244"/>
                </a:moveTo>
                <a:lnTo>
                  <a:pt x="2" y="247"/>
                </a:lnTo>
                <a:lnTo>
                  <a:pt x="5" y="248"/>
                </a:lnTo>
                <a:lnTo>
                  <a:pt x="7" y="248"/>
                </a:lnTo>
                <a:lnTo>
                  <a:pt x="9" y="248"/>
                </a:lnTo>
                <a:lnTo>
                  <a:pt x="8" y="244"/>
                </a:lnTo>
                <a:lnTo>
                  <a:pt x="6" y="243"/>
                </a:lnTo>
                <a:lnTo>
                  <a:pt x="2" y="243"/>
                </a:lnTo>
                <a:lnTo>
                  <a:pt x="0" y="244"/>
                </a:lnTo>
                <a:close/>
                <a:moveTo>
                  <a:pt x="244" y="100"/>
                </a:moveTo>
                <a:lnTo>
                  <a:pt x="246" y="99"/>
                </a:lnTo>
                <a:lnTo>
                  <a:pt x="246" y="98"/>
                </a:lnTo>
                <a:lnTo>
                  <a:pt x="244" y="97"/>
                </a:lnTo>
                <a:lnTo>
                  <a:pt x="240" y="95"/>
                </a:lnTo>
                <a:lnTo>
                  <a:pt x="238" y="95"/>
                </a:lnTo>
                <a:lnTo>
                  <a:pt x="236" y="95"/>
                </a:lnTo>
                <a:lnTo>
                  <a:pt x="239" y="99"/>
                </a:lnTo>
                <a:lnTo>
                  <a:pt x="244" y="100"/>
                </a:lnTo>
                <a:lnTo>
                  <a:pt x="244" y="100"/>
                </a:lnTo>
                <a:lnTo>
                  <a:pt x="244" y="100"/>
                </a:lnTo>
                <a:close/>
                <a:moveTo>
                  <a:pt x="338" y="473"/>
                </a:moveTo>
                <a:lnTo>
                  <a:pt x="337" y="474"/>
                </a:lnTo>
                <a:lnTo>
                  <a:pt x="335" y="476"/>
                </a:lnTo>
                <a:lnTo>
                  <a:pt x="336" y="477"/>
                </a:lnTo>
                <a:lnTo>
                  <a:pt x="337" y="477"/>
                </a:lnTo>
                <a:lnTo>
                  <a:pt x="339" y="477"/>
                </a:lnTo>
                <a:lnTo>
                  <a:pt x="340" y="475"/>
                </a:lnTo>
                <a:lnTo>
                  <a:pt x="340" y="474"/>
                </a:lnTo>
                <a:lnTo>
                  <a:pt x="338" y="473"/>
                </a:lnTo>
                <a:lnTo>
                  <a:pt x="338" y="474"/>
                </a:lnTo>
                <a:lnTo>
                  <a:pt x="338" y="473"/>
                </a:lnTo>
                <a:close/>
                <a:moveTo>
                  <a:pt x="484" y="141"/>
                </a:moveTo>
                <a:lnTo>
                  <a:pt x="485" y="140"/>
                </a:lnTo>
                <a:lnTo>
                  <a:pt x="484" y="139"/>
                </a:lnTo>
                <a:lnTo>
                  <a:pt x="482" y="138"/>
                </a:lnTo>
                <a:lnTo>
                  <a:pt x="480" y="138"/>
                </a:lnTo>
                <a:lnTo>
                  <a:pt x="478" y="138"/>
                </a:lnTo>
                <a:lnTo>
                  <a:pt x="475" y="139"/>
                </a:lnTo>
                <a:lnTo>
                  <a:pt x="479" y="141"/>
                </a:lnTo>
                <a:lnTo>
                  <a:pt x="484" y="141"/>
                </a:lnTo>
                <a:lnTo>
                  <a:pt x="484" y="141"/>
                </a:lnTo>
                <a:lnTo>
                  <a:pt x="484" y="141"/>
                </a:lnTo>
                <a:close/>
                <a:moveTo>
                  <a:pt x="542" y="215"/>
                </a:moveTo>
                <a:lnTo>
                  <a:pt x="545" y="215"/>
                </a:lnTo>
                <a:lnTo>
                  <a:pt x="548" y="215"/>
                </a:lnTo>
                <a:lnTo>
                  <a:pt x="549" y="214"/>
                </a:lnTo>
                <a:lnTo>
                  <a:pt x="549" y="213"/>
                </a:lnTo>
                <a:lnTo>
                  <a:pt x="550" y="211"/>
                </a:lnTo>
                <a:lnTo>
                  <a:pt x="549" y="209"/>
                </a:lnTo>
                <a:lnTo>
                  <a:pt x="549" y="209"/>
                </a:lnTo>
                <a:lnTo>
                  <a:pt x="549" y="209"/>
                </a:lnTo>
                <a:lnTo>
                  <a:pt x="545" y="211"/>
                </a:lnTo>
                <a:lnTo>
                  <a:pt x="542" y="215"/>
                </a:lnTo>
                <a:close/>
                <a:moveTo>
                  <a:pt x="499" y="557"/>
                </a:moveTo>
                <a:lnTo>
                  <a:pt x="503" y="555"/>
                </a:lnTo>
                <a:lnTo>
                  <a:pt x="508" y="551"/>
                </a:lnTo>
                <a:lnTo>
                  <a:pt x="504" y="550"/>
                </a:lnTo>
                <a:lnTo>
                  <a:pt x="501" y="551"/>
                </a:lnTo>
                <a:lnTo>
                  <a:pt x="500" y="554"/>
                </a:lnTo>
                <a:lnTo>
                  <a:pt x="499" y="557"/>
                </a:lnTo>
                <a:close/>
                <a:moveTo>
                  <a:pt x="438" y="190"/>
                </a:moveTo>
                <a:lnTo>
                  <a:pt x="435" y="186"/>
                </a:lnTo>
                <a:lnTo>
                  <a:pt x="430" y="183"/>
                </a:lnTo>
                <a:lnTo>
                  <a:pt x="431" y="186"/>
                </a:lnTo>
                <a:lnTo>
                  <a:pt x="433" y="189"/>
                </a:lnTo>
                <a:lnTo>
                  <a:pt x="434" y="190"/>
                </a:lnTo>
                <a:lnTo>
                  <a:pt x="438" y="190"/>
                </a:lnTo>
                <a:close/>
                <a:moveTo>
                  <a:pt x="610" y="307"/>
                </a:moveTo>
                <a:lnTo>
                  <a:pt x="609" y="304"/>
                </a:lnTo>
                <a:lnTo>
                  <a:pt x="606" y="300"/>
                </a:lnTo>
                <a:lnTo>
                  <a:pt x="606" y="304"/>
                </a:lnTo>
                <a:lnTo>
                  <a:pt x="607" y="306"/>
                </a:lnTo>
                <a:lnTo>
                  <a:pt x="609" y="307"/>
                </a:lnTo>
                <a:lnTo>
                  <a:pt x="610" y="307"/>
                </a:lnTo>
                <a:lnTo>
                  <a:pt x="610" y="306"/>
                </a:lnTo>
                <a:lnTo>
                  <a:pt x="610" y="307"/>
                </a:lnTo>
                <a:close/>
                <a:moveTo>
                  <a:pt x="577" y="210"/>
                </a:moveTo>
                <a:lnTo>
                  <a:pt x="576" y="206"/>
                </a:lnTo>
                <a:lnTo>
                  <a:pt x="577" y="202"/>
                </a:lnTo>
                <a:lnTo>
                  <a:pt x="574" y="203"/>
                </a:lnTo>
                <a:lnTo>
                  <a:pt x="573" y="205"/>
                </a:lnTo>
                <a:lnTo>
                  <a:pt x="574" y="207"/>
                </a:lnTo>
                <a:lnTo>
                  <a:pt x="577" y="210"/>
                </a:lnTo>
                <a:close/>
                <a:moveTo>
                  <a:pt x="610" y="199"/>
                </a:moveTo>
                <a:lnTo>
                  <a:pt x="610" y="199"/>
                </a:lnTo>
                <a:lnTo>
                  <a:pt x="610" y="199"/>
                </a:lnTo>
                <a:lnTo>
                  <a:pt x="610" y="198"/>
                </a:lnTo>
                <a:lnTo>
                  <a:pt x="612" y="199"/>
                </a:lnTo>
                <a:lnTo>
                  <a:pt x="612" y="200"/>
                </a:lnTo>
                <a:lnTo>
                  <a:pt x="615" y="202"/>
                </a:lnTo>
                <a:lnTo>
                  <a:pt x="618" y="206"/>
                </a:lnTo>
                <a:lnTo>
                  <a:pt x="620" y="207"/>
                </a:lnTo>
                <a:lnTo>
                  <a:pt x="622" y="207"/>
                </a:lnTo>
                <a:lnTo>
                  <a:pt x="624" y="207"/>
                </a:lnTo>
                <a:lnTo>
                  <a:pt x="625" y="207"/>
                </a:lnTo>
                <a:lnTo>
                  <a:pt x="625" y="207"/>
                </a:lnTo>
                <a:lnTo>
                  <a:pt x="625" y="207"/>
                </a:lnTo>
                <a:lnTo>
                  <a:pt x="626" y="205"/>
                </a:lnTo>
                <a:lnTo>
                  <a:pt x="625" y="203"/>
                </a:lnTo>
                <a:lnTo>
                  <a:pt x="623" y="203"/>
                </a:lnTo>
                <a:lnTo>
                  <a:pt x="620" y="202"/>
                </a:lnTo>
                <a:lnTo>
                  <a:pt x="618" y="202"/>
                </a:lnTo>
                <a:lnTo>
                  <a:pt x="616" y="201"/>
                </a:lnTo>
                <a:lnTo>
                  <a:pt x="615" y="198"/>
                </a:lnTo>
                <a:lnTo>
                  <a:pt x="612" y="196"/>
                </a:lnTo>
                <a:lnTo>
                  <a:pt x="612" y="194"/>
                </a:lnTo>
                <a:lnTo>
                  <a:pt x="611" y="194"/>
                </a:lnTo>
                <a:lnTo>
                  <a:pt x="610" y="194"/>
                </a:lnTo>
                <a:lnTo>
                  <a:pt x="609" y="196"/>
                </a:lnTo>
                <a:lnTo>
                  <a:pt x="609" y="197"/>
                </a:lnTo>
                <a:lnTo>
                  <a:pt x="610" y="198"/>
                </a:lnTo>
                <a:lnTo>
                  <a:pt x="610" y="198"/>
                </a:lnTo>
                <a:lnTo>
                  <a:pt x="610" y="199"/>
                </a:lnTo>
                <a:close/>
                <a:moveTo>
                  <a:pt x="602" y="198"/>
                </a:moveTo>
                <a:lnTo>
                  <a:pt x="603" y="200"/>
                </a:lnTo>
                <a:lnTo>
                  <a:pt x="606" y="201"/>
                </a:lnTo>
                <a:lnTo>
                  <a:pt x="607" y="201"/>
                </a:lnTo>
                <a:lnTo>
                  <a:pt x="609" y="201"/>
                </a:lnTo>
                <a:lnTo>
                  <a:pt x="609" y="200"/>
                </a:lnTo>
                <a:lnTo>
                  <a:pt x="610" y="199"/>
                </a:lnTo>
                <a:lnTo>
                  <a:pt x="606" y="197"/>
                </a:lnTo>
                <a:lnTo>
                  <a:pt x="602" y="198"/>
                </a:lnTo>
                <a:lnTo>
                  <a:pt x="602" y="198"/>
                </a:lnTo>
                <a:lnTo>
                  <a:pt x="602" y="198"/>
                </a:lnTo>
                <a:close/>
                <a:moveTo>
                  <a:pt x="1041" y="653"/>
                </a:moveTo>
                <a:lnTo>
                  <a:pt x="1040" y="651"/>
                </a:lnTo>
                <a:lnTo>
                  <a:pt x="1038" y="651"/>
                </a:lnTo>
                <a:lnTo>
                  <a:pt x="1037" y="651"/>
                </a:lnTo>
                <a:lnTo>
                  <a:pt x="1036" y="654"/>
                </a:lnTo>
                <a:lnTo>
                  <a:pt x="1037" y="656"/>
                </a:lnTo>
                <a:lnTo>
                  <a:pt x="1038" y="656"/>
                </a:lnTo>
                <a:lnTo>
                  <a:pt x="1040" y="654"/>
                </a:lnTo>
                <a:lnTo>
                  <a:pt x="1041" y="653"/>
                </a:lnTo>
                <a:lnTo>
                  <a:pt x="1041" y="653"/>
                </a:lnTo>
                <a:lnTo>
                  <a:pt x="1041" y="653"/>
                </a:lnTo>
                <a:close/>
                <a:moveTo>
                  <a:pt x="1039" y="657"/>
                </a:moveTo>
                <a:lnTo>
                  <a:pt x="1039" y="656"/>
                </a:lnTo>
                <a:lnTo>
                  <a:pt x="1039" y="657"/>
                </a:lnTo>
                <a:lnTo>
                  <a:pt x="1036" y="659"/>
                </a:lnTo>
                <a:lnTo>
                  <a:pt x="1031" y="662"/>
                </a:lnTo>
                <a:lnTo>
                  <a:pt x="1037" y="663"/>
                </a:lnTo>
                <a:lnTo>
                  <a:pt x="1044" y="663"/>
                </a:lnTo>
                <a:lnTo>
                  <a:pt x="1047" y="662"/>
                </a:lnTo>
                <a:lnTo>
                  <a:pt x="1049" y="662"/>
                </a:lnTo>
                <a:lnTo>
                  <a:pt x="1053" y="659"/>
                </a:lnTo>
                <a:lnTo>
                  <a:pt x="1054" y="657"/>
                </a:lnTo>
                <a:lnTo>
                  <a:pt x="1046" y="657"/>
                </a:lnTo>
                <a:lnTo>
                  <a:pt x="1039" y="657"/>
                </a:lnTo>
                <a:close/>
                <a:moveTo>
                  <a:pt x="1039" y="657"/>
                </a:moveTo>
                <a:lnTo>
                  <a:pt x="1039" y="657"/>
                </a:lnTo>
                <a:lnTo>
                  <a:pt x="1039" y="657"/>
                </a:lnTo>
                <a:close/>
                <a:moveTo>
                  <a:pt x="722" y="650"/>
                </a:moveTo>
                <a:lnTo>
                  <a:pt x="716" y="649"/>
                </a:lnTo>
                <a:lnTo>
                  <a:pt x="710" y="648"/>
                </a:lnTo>
                <a:lnTo>
                  <a:pt x="714" y="650"/>
                </a:lnTo>
                <a:lnTo>
                  <a:pt x="716" y="651"/>
                </a:lnTo>
                <a:lnTo>
                  <a:pt x="718" y="651"/>
                </a:lnTo>
                <a:lnTo>
                  <a:pt x="722" y="650"/>
                </a:lnTo>
                <a:close/>
                <a:moveTo>
                  <a:pt x="581" y="184"/>
                </a:moveTo>
                <a:lnTo>
                  <a:pt x="583" y="183"/>
                </a:lnTo>
                <a:lnTo>
                  <a:pt x="584" y="181"/>
                </a:lnTo>
                <a:lnTo>
                  <a:pt x="583" y="178"/>
                </a:lnTo>
                <a:lnTo>
                  <a:pt x="582" y="177"/>
                </a:lnTo>
                <a:lnTo>
                  <a:pt x="579" y="178"/>
                </a:lnTo>
                <a:lnTo>
                  <a:pt x="577" y="181"/>
                </a:lnTo>
                <a:lnTo>
                  <a:pt x="577" y="182"/>
                </a:lnTo>
                <a:lnTo>
                  <a:pt x="578" y="183"/>
                </a:lnTo>
                <a:lnTo>
                  <a:pt x="578" y="184"/>
                </a:lnTo>
                <a:lnTo>
                  <a:pt x="581" y="184"/>
                </a:lnTo>
                <a:lnTo>
                  <a:pt x="581" y="184"/>
                </a:lnTo>
                <a:lnTo>
                  <a:pt x="581" y="184"/>
                </a:lnTo>
                <a:close/>
                <a:moveTo>
                  <a:pt x="870" y="658"/>
                </a:moveTo>
                <a:lnTo>
                  <a:pt x="872" y="658"/>
                </a:lnTo>
                <a:lnTo>
                  <a:pt x="875" y="659"/>
                </a:lnTo>
                <a:lnTo>
                  <a:pt x="876" y="659"/>
                </a:lnTo>
                <a:lnTo>
                  <a:pt x="878" y="659"/>
                </a:lnTo>
                <a:lnTo>
                  <a:pt x="879" y="658"/>
                </a:lnTo>
                <a:lnTo>
                  <a:pt x="880" y="657"/>
                </a:lnTo>
                <a:lnTo>
                  <a:pt x="876" y="656"/>
                </a:lnTo>
                <a:lnTo>
                  <a:pt x="872" y="656"/>
                </a:lnTo>
                <a:lnTo>
                  <a:pt x="871" y="656"/>
                </a:lnTo>
                <a:lnTo>
                  <a:pt x="868" y="656"/>
                </a:lnTo>
                <a:lnTo>
                  <a:pt x="868" y="657"/>
                </a:lnTo>
                <a:lnTo>
                  <a:pt x="870" y="658"/>
                </a:lnTo>
                <a:lnTo>
                  <a:pt x="871" y="657"/>
                </a:lnTo>
                <a:lnTo>
                  <a:pt x="870" y="658"/>
                </a:lnTo>
                <a:close/>
                <a:moveTo>
                  <a:pt x="680" y="202"/>
                </a:moveTo>
                <a:lnTo>
                  <a:pt x="681" y="201"/>
                </a:lnTo>
                <a:lnTo>
                  <a:pt x="682" y="200"/>
                </a:lnTo>
                <a:lnTo>
                  <a:pt x="681" y="199"/>
                </a:lnTo>
                <a:lnTo>
                  <a:pt x="680" y="198"/>
                </a:lnTo>
                <a:lnTo>
                  <a:pt x="677" y="198"/>
                </a:lnTo>
                <a:lnTo>
                  <a:pt x="676" y="199"/>
                </a:lnTo>
                <a:lnTo>
                  <a:pt x="677" y="201"/>
                </a:lnTo>
                <a:lnTo>
                  <a:pt x="680" y="202"/>
                </a:lnTo>
                <a:lnTo>
                  <a:pt x="678" y="202"/>
                </a:lnTo>
                <a:lnTo>
                  <a:pt x="680" y="202"/>
                </a:lnTo>
                <a:close/>
                <a:moveTo>
                  <a:pt x="648" y="213"/>
                </a:moveTo>
                <a:lnTo>
                  <a:pt x="650" y="213"/>
                </a:lnTo>
                <a:lnTo>
                  <a:pt x="651" y="210"/>
                </a:lnTo>
                <a:lnTo>
                  <a:pt x="649" y="209"/>
                </a:lnTo>
                <a:lnTo>
                  <a:pt x="647" y="209"/>
                </a:lnTo>
                <a:lnTo>
                  <a:pt x="645" y="209"/>
                </a:lnTo>
                <a:lnTo>
                  <a:pt x="644" y="209"/>
                </a:lnTo>
                <a:lnTo>
                  <a:pt x="643" y="210"/>
                </a:lnTo>
                <a:lnTo>
                  <a:pt x="643" y="211"/>
                </a:lnTo>
                <a:lnTo>
                  <a:pt x="645" y="213"/>
                </a:lnTo>
                <a:lnTo>
                  <a:pt x="648" y="213"/>
                </a:lnTo>
                <a:lnTo>
                  <a:pt x="648" y="213"/>
                </a:lnTo>
                <a:lnTo>
                  <a:pt x="648" y="213"/>
                </a:lnTo>
                <a:close/>
                <a:moveTo>
                  <a:pt x="294" y="117"/>
                </a:moveTo>
                <a:lnTo>
                  <a:pt x="291" y="115"/>
                </a:lnTo>
                <a:lnTo>
                  <a:pt x="289" y="114"/>
                </a:lnTo>
                <a:lnTo>
                  <a:pt x="287" y="114"/>
                </a:lnTo>
                <a:lnTo>
                  <a:pt x="284" y="116"/>
                </a:lnTo>
                <a:lnTo>
                  <a:pt x="286" y="117"/>
                </a:lnTo>
                <a:lnTo>
                  <a:pt x="288" y="118"/>
                </a:lnTo>
                <a:lnTo>
                  <a:pt x="290" y="118"/>
                </a:lnTo>
                <a:lnTo>
                  <a:pt x="294" y="117"/>
                </a:lnTo>
                <a:close/>
                <a:moveTo>
                  <a:pt x="179" y="407"/>
                </a:moveTo>
                <a:lnTo>
                  <a:pt x="181" y="409"/>
                </a:lnTo>
                <a:lnTo>
                  <a:pt x="183" y="409"/>
                </a:lnTo>
                <a:lnTo>
                  <a:pt x="186" y="409"/>
                </a:lnTo>
                <a:lnTo>
                  <a:pt x="189" y="407"/>
                </a:lnTo>
                <a:lnTo>
                  <a:pt x="183" y="406"/>
                </a:lnTo>
                <a:lnTo>
                  <a:pt x="179" y="407"/>
                </a:lnTo>
                <a:close/>
                <a:moveTo>
                  <a:pt x="1538" y="199"/>
                </a:moveTo>
                <a:lnTo>
                  <a:pt x="1542" y="199"/>
                </a:lnTo>
                <a:lnTo>
                  <a:pt x="1547" y="198"/>
                </a:lnTo>
                <a:lnTo>
                  <a:pt x="1547" y="196"/>
                </a:lnTo>
                <a:lnTo>
                  <a:pt x="1543" y="196"/>
                </a:lnTo>
                <a:lnTo>
                  <a:pt x="1540" y="197"/>
                </a:lnTo>
                <a:lnTo>
                  <a:pt x="1538" y="199"/>
                </a:lnTo>
                <a:lnTo>
                  <a:pt x="1538" y="198"/>
                </a:lnTo>
                <a:lnTo>
                  <a:pt x="1538" y="199"/>
                </a:lnTo>
                <a:close/>
                <a:moveTo>
                  <a:pt x="217" y="439"/>
                </a:moveTo>
                <a:lnTo>
                  <a:pt x="220" y="439"/>
                </a:lnTo>
                <a:lnTo>
                  <a:pt x="223" y="439"/>
                </a:lnTo>
                <a:lnTo>
                  <a:pt x="225" y="439"/>
                </a:lnTo>
                <a:lnTo>
                  <a:pt x="227" y="437"/>
                </a:lnTo>
                <a:lnTo>
                  <a:pt x="227" y="435"/>
                </a:lnTo>
                <a:lnTo>
                  <a:pt x="227" y="435"/>
                </a:lnTo>
                <a:lnTo>
                  <a:pt x="224" y="435"/>
                </a:lnTo>
                <a:lnTo>
                  <a:pt x="223" y="435"/>
                </a:lnTo>
                <a:lnTo>
                  <a:pt x="220" y="438"/>
                </a:lnTo>
                <a:lnTo>
                  <a:pt x="217" y="439"/>
                </a:lnTo>
                <a:lnTo>
                  <a:pt x="221" y="438"/>
                </a:lnTo>
                <a:lnTo>
                  <a:pt x="217" y="439"/>
                </a:lnTo>
                <a:close/>
                <a:moveTo>
                  <a:pt x="586" y="600"/>
                </a:moveTo>
                <a:lnTo>
                  <a:pt x="583" y="599"/>
                </a:lnTo>
                <a:lnTo>
                  <a:pt x="582" y="598"/>
                </a:lnTo>
                <a:lnTo>
                  <a:pt x="583" y="600"/>
                </a:lnTo>
                <a:lnTo>
                  <a:pt x="584" y="603"/>
                </a:lnTo>
                <a:lnTo>
                  <a:pt x="586" y="604"/>
                </a:lnTo>
                <a:lnTo>
                  <a:pt x="589" y="604"/>
                </a:lnTo>
                <a:lnTo>
                  <a:pt x="590" y="603"/>
                </a:lnTo>
                <a:lnTo>
                  <a:pt x="589" y="601"/>
                </a:lnTo>
                <a:lnTo>
                  <a:pt x="587" y="600"/>
                </a:lnTo>
                <a:lnTo>
                  <a:pt x="586" y="600"/>
                </a:lnTo>
                <a:lnTo>
                  <a:pt x="585" y="599"/>
                </a:lnTo>
                <a:lnTo>
                  <a:pt x="586" y="600"/>
                </a:lnTo>
                <a:close/>
                <a:moveTo>
                  <a:pt x="430" y="297"/>
                </a:moveTo>
                <a:lnTo>
                  <a:pt x="427" y="294"/>
                </a:lnTo>
                <a:lnTo>
                  <a:pt x="425" y="293"/>
                </a:lnTo>
                <a:lnTo>
                  <a:pt x="421" y="293"/>
                </a:lnTo>
                <a:lnTo>
                  <a:pt x="418" y="293"/>
                </a:lnTo>
                <a:lnTo>
                  <a:pt x="420" y="296"/>
                </a:lnTo>
                <a:lnTo>
                  <a:pt x="423" y="297"/>
                </a:lnTo>
                <a:lnTo>
                  <a:pt x="426" y="297"/>
                </a:lnTo>
                <a:lnTo>
                  <a:pt x="430" y="297"/>
                </a:lnTo>
                <a:close/>
                <a:moveTo>
                  <a:pt x="767" y="622"/>
                </a:moveTo>
                <a:lnTo>
                  <a:pt x="765" y="621"/>
                </a:lnTo>
                <a:lnTo>
                  <a:pt x="763" y="621"/>
                </a:lnTo>
                <a:lnTo>
                  <a:pt x="760" y="621"/>
                </a:lnTo>
                <a:lnTo>
                  <a:pt x="758" y="623"/>
                </a:lnTo>
                <a:lnTo>
                  <a:pt x="760" y="623"/>
                </a:lnTo>
                <a:lnTo>
                  <a:pt x="763" y="624"/>
                </a:lnTo>
                <a:lnTo>
                  <a:pt x="765" y="623"/>
                </a:lnTo>
                <a:lnTo>
                  <a:pt x="767" y="622"/>
                </a:lnTo>
                <a:close/>
                <a:moveTo>
                  <a:pt x="131" y="254"/>
                </a:moveTo>
                <a:lnTo>
                  <a:pt x="132" y="252"/>
                </a:lnTo>
                <a:lnTo>
                  <a:pt x="132" y="250"/>
                </a:lnTo>
                <a:lnTo>
                  <a:pt x="131" y="248"/>
                </a:lnTo>
                <a:lnTo>
                  <a:pt x="129" y="248"/>
                </a:lnTo>
                <a:lnTo>
                  <a:pt x="126" y="249"/>
                </a:lnTo>
                <a:lnTo>
                  <a:pt x="125" y="251"/>
                </a:lnTo>
                <a:lnTo>
                  <a:pt x="128" y="252"/>
                </a:lnTo>
                <a:lnTo>
                  <a:pt x="131" y="254"/>
                </a:lnTo>
                <a:lnTo>
                  <a:pt x="130" y="254"/>
                </a:lnTo>
                <a:lnTo>
                  <a:pt x="131" y="254"/>
                </a:lnTo>
                <a:close/>
                <a:moveTo>
                  <a:pt x="682" y="623"/>
                </a:moveTo>
                <a:lnTo>
                  <a:pt x="680" y="622"/>
                </a:lnTo>
                <a:lnTo>
                  <a:pt x="678" y="622"/>
                </a:lnTo>
                <a:lnTo>
                  <a:pt x="678" y="623"/>
                </a:lnTo>
                <a:lnTo>
                  <a:pt x="678" y="624"/>
                </a:lnTo>
                <a:lnTo>
                  <a:pt x="680" y="625"/>
                </a:lnTo>
                <a:lnTo>
                  <a:pt x="683" y="626"/>
                </a:lnTo>
                <a:lnTo>
                  <a:pt x="685" y="625"/>
                </a:lnTo>
                <a:lnTo>
                  <a:pt x="685" y="624"/>
                </a:lnTo>
                <a:lnTo>
                  <a:pt x="684" y="623"/>
                </a:lnTo>
                <a:lnTo>
                  <a:pt x="682" y="623"/>
                </a:lnTo>
                <a:lnTo>
                  <a:pt x="682" y="623"/>
                </a:lnTo>
                <a:lnTo>
                  <a:pt x="682" y="623"/>
                </a:lnTo>
                <a:close/>
                <a:moveTo>
                  <a:pt x="315" y="152"/>
                </a:moveTo>
                <a:lnTo>
                  <a:pt x="317" y="156"/>
                </a:lnTo>
                <a:lnTo>
                  <a:pt x="319" y="158"/>
                </a:lnTo>
                <a:lnTo>
                  <a:pt x="323" y="159"/>
                </a:lnTo>
                <a:lnTo>
                  <a:pt x="328" y="159"/>
                </a:lnTo>
                <a:lnTo>
                  <a:pt x="327" y="157"/>
                </a:lnTo>
                <a:lnTo>
                  <a:pt x="323" y="155"/>
                </a:lnTo>
                <a:lnTo>
                  <a:pt x="319" y="153"/>
                </a:lnTo>
                <a:lnTo>
                  <a:pt x="315" y="152"/>
                </a:lnTo>
                <a:lnTo>
                  <a:pt x="317" y="153"/>
                </a:lnTo>
                <a:lnTo>
                  <a:pt x="315" y="152"/>
                </a:lnTo>
                <a:close/>
                <a:moveTo>
                  <a:pt x="1156" y="631"/>
                </a:moveTo>
                <a:lnTo>
                  <a:pt x="1154" y="632"/>
                </a:lnTo>
                <a:lnTo>
                  <a:pt x="1153" y="633"/>
                </a:lnTo>
                <a:lnTo>
                  <a:pt x="1154" y="636"/>
                </a:lnTo>
                <a:lnTo>
                  <a:pt x="1158" y="636"/>
                </a:lnTo>
                <a:lnTo>
                  <a:pt x="1159" y="636"/>
                </a:lnTo>
                <a:lnTo>
                  <a:pt x="1160" y="633"/>
                </a:lnTo>
                <a:lnTo>
                  <a:pt x="1159" y="632"/>
                </a:lnTo>
                <a:lnTo>
                  <a:pt x="1156" y="631"/>
                </a:lnTo>
                <a:lnTo>
                  <a:pt x="1156" y="632"/>
                </a:lnTo>
                <a:lnTo>
                  <a:pt x="1156" y="631"/>
                </a:lnTo>
                <a:close/>
                <a:moveTo>
                  <a:pt x="633" y="592"/>
                </a:moveTo>
                <a:lnTo>
                  <a:pt x="631" y="590"/>
                </a:lnTo>
                <a:lnTo>
                  <a:pt x="628" y="589"/>
                </a:lnTo>
                <a:lnTo>
                  <a:pt x="626" y="588"/>
                </a:lnTo>
                <a:lnTo>
                  <a:pt x="624" y="588"/>
                </a:lnTo>
                <a:lnTo>
                  <a:pt x="625" y="590"/>
                </a:lnTo>
                <a:lnTo>
                  <a:pt x="627" y="591"/>
                </a:lnTo>
                <a:lnTo>
                  <a:pt x="629" y="592"/>
                </a:lnTo>
                <a:lnTo>
                  <a:pt x="633" y="592"/>
                </a:lnTo>
                <a:close/>
                <a:moveTo>
                  <a:pt x="93" y="241"/>
                </a:moveTo>
                <a:lnTo>
                  <a:pt x="95" y="243"/>
                </a:lnTo>
                <a:lnTo>
                  <a:pt x="97" y="243"/>
                </a:lnTo>
                <a:lnTo>
                  <a:pt x="100" y="242"/>
                </a:lnTo>
                <a:lnTo>
                  <a:pt x="101" y="241"/>
                </a:lnTo>
                <a:lnTo>
                  <a:pt x="100" y="240"/>
                </a:lnTo>
                <a:lnTo>
                  <a:pt x="97" y="239"/>
                </a:lnTo>
                <a:lnTo>
                  <a:pt x="95" y="240"/>
                </a:lnTo>
                <a:lnTo>
                  <a:pt x="93" y="241"/>
                </a:lnTo>
                <a:lnTo>
                  <a:pt x="93" y="241"/>
                </a:lnTo>
                <a:lnTo>
                  <a:pt x="93" y="241"/>
                </a:lnTo>
                <a:close/>
                <a:moveTo>
                  <a:pt x="669" y="637"/>
                </a:moveTo>
                <a:lnTo>
                  <a:pt x="672" y="638"/>
                </a:lnTo>
                <a:lnTo>
                  <a:pt x="674" y="638"/>
                </a:lnTo>
                <a:lnTo>
                  <a:pt x="676" y="636"/>
                </a:lnTo>
                <a:lnTo>
                  <a:pt x="678" y="634"/>
                </a:lnTo>
                <a:lnTo>
                  <a:pt x="674" y="634"/>
                </a:lnTo>
                <a:lnTo>
                  <a:pt x="669" y="637"/>
                </a:lnTo>
                <a:lnTo>
                  <a:pt x="670" y="637"/>
                </a:lnTo>
                <a:lnTo>
                  <a:pt x="669" y="637"/>
                </a:lnTo>
                <a:close/>
                <a:moveTo>
                  <a:pt x="607" y="579"/>
                </a:moveTo>
                <a:lnTo>
                  <a:pt x="609" y="579"/>
                </a:lnTo>
                <a:lnTo>
                  <a:pt x="612" y="580"/>
                </a:lnTo>
                <a:lnTo>
                  <a:pt x="614" y="580"/>
                </a:lnTo>
                <a:lnTo>
                  <a:pt x="615" y="580"/>
                </a:lnTo>
                <a:lnTo>
                  <a:pt x="615" y="579"/>
                </a:lnTo>
                <a:lnTo>
                  <a:pt x="615" y="578"/>
                </a:lnTo>
                <a:lnTo>
                  <a:pt x="614" y="576"/>
                </a:lnTo>
                <a:lnTo>
                  <a:pt x="610" y="576"/>
                </a:lnTo>
                <a:lnTo>
                  <a:pt x="609" y="578"/>
                </a:lnTo>
                <a:lnTo>
                  <a:pt x="607" y="579"/>
                </a:lnTo>
                <a:lnTo>
                  <a:pt x="609" y="576"/>
                </a:lnTo>
                <a:lnTo>
                  <a:pt x="607" y="579"/>
                </a:lnTo>
                <a:close/>
                <a:moveTo>
                  <a:pt x="785" y="655"/>
                </a:moveTo>
                <a:lnTo>
                  <a:pt x="785" y="657"/>
                </a:lnTo>
                <a:lnTo>
                  <a:pt x="788" y="659"/>
                </a:lnTo>
                <a:lnTo>
                  <a:pt x="791" y="656"/>
                </a:lnTo>
                <a:lnTo>
                  <a:pt x="792" y="653"/>
                </a:lnTo>
                <a:lnTo>
                  <a:pt x="789" y="653"/>
                </a:lnTo>
                <a:lnTo>
                  <a:pt x="785" y="655"/>
                </a:lnTo>
                <a:lnTo>
                  <a:pt x="784" y="655"/>
                </a:lnTo>
                <a:lnTo>
                  <a:pt x="785" y="655"/>
                </a:lnTo>
                <a:close/>
                <a:moveTo>
                  <a:pt x="1061" y="651"/>
                </a:moveTo>
                <a:lnTo>
                  <a:pt x="1065" y="650"/>
                </a:lnTo>
                <a:lnTo>
                  <a:pt x="1070" y="648"/>
                </a:lnTo>
                <a:lnTo>
                  <a:pt x="1067" y="648"/>
                </a:lnTo>
                <a:lnTo>
                  <a:pt x="1064" y="648"/>
                </a:lnTo>
                <a:lnTo>
                  <a:pt x="1062" y="649"/>
                </a:lnTo>
                <a:lnTo>
                  <a:pt x="1061" y="651"/>
                </a:lnTo>
                <a:close/>
                <a:moveTo>
                  <a:pt x="148" y="401"/>
                </a:moveTo>
                <a:lnTo>
                  <a:pt x="150" y="404"/>
                </a:lnTo>
                <a:lnTo>
                  <a:pt x="154" y="404"/>
                </a:lnTo>
                <a:lnTo>
                  <a:pt x="156" y="402"/>
                </a:lnTo>
                <a:lnTo>
                  <a:pt x="158" y="401"/>
                </a:lnTo>
                <a:lnTo>
                  <a:pt x="154" y="400"/>
                </a:lnTo>
                <a:lnTo>
                  <a:pt x="148" y="401"/>
                </a:lnTo>
                <a:close/>
                <a:moveTo>
                  <a:pt x="323" y="143"/>
                </a:moveTo>
                <a:lnTo>
                  <a:pt x="326" y="148"/>
                </a:lnTo>
                <a:lnTo>
                  <a:pt x="328" y="150"/>
                </a:lnTo>
                <a:lnTo>
                  <a:pt x="330" y="150"/>
                </a:lnTo>
                <a:lnTo>
                  <a:pt x="334" y="149"/>
                </a:lnTo>
                <a:lnTo>
                  <a:pt x="334" y="147"/>
                </a:lnTo>
                <a:lnTo>
                  <a:pt x="332" y="145"/>
                </a:lnTo>
                <a:lnTo>
                  <a:pt x="331" y="144"/>
                </a:lnTo>
                <a:lnTo>
                  <a:pt x="330" y="144"/>
                </a:lnTo>
                <a:lnTo>
                  <a:pt x="327" y="143"/>
                </a:lnTo>
                <a:lnTo>
                  <a:pt x="323" y="143"/>
                </a:lnTo>
                <a:close/>
                <a:moveTo>
                  <a:pt x="1439" y="92"/>
                </a:moveTo>
                <a:lnTo>
                  <a:pt x="1446" y="90"/>
                </a:lnTo>
                <a:lnTo>
                  <a:pt x="1452" y="88"/>
                </a:lnTo>
                <a:lnTo>
                  <a:pt x="1448" y="86"/>
                </a:lnTo>
                <a:lnTo>
                  <a:pt x="1444" y="88"/>
                </a:lnTo>
                <a:lnTo>
                  <a:pt x="1442" y="89"/>
                </a:lnTo>
                <a:lnTo>
                  <a:pt x="1439" y="92"/>
                </a:lnTo>
                <a:close/>
                <a:moveTo>
                  <a:pt x="672" y="192"/>
                </a:moveTo>
                <a:lnTo>
                  <a:pt x="670" y="190"/>
                </a:lnTo>
                <a:lnTo>
                  <a:pt x="669" y="186"/>
                </a:lnTo>
                <a:lnTo>
                  <a:pt x="668" y="184"/>
                </a:lnTo>
                <a:lnTo>
                  <a:pt x="667" y="184"/>
                </a:lnTo>
                <a:lnTo>
                  <a:pt x="666" y="183"/>
                </a:lnTo>
                <a:lnTo>
                  <a:pt x="665" y="184"/>
                </a:lnTo>
                <a:lnTo>
                  <a:pt x="665" y="186"/>
                </a:lnTo>
                <a:lnTo>
                  <a:pt x="667" y="189"/>
                </a:lnTo>
                <a:lnTo>
                  <a:pt x="669" y="191"/>
                </a:lnTo>
                <a:lnTo>
                  <a:pt x="672" y="192"/>
                </a:lnTo>
                <a:lnTo>
                  <a:pt x="669" y="190"/>
                </a:lnTo>
                <a:lnTo>
                  <a:pt x="672" y="192"/>
                </a:lnTo>
                <a:close/>
                <a:moveTo>
                  <a:pt x="355" y="482"/>
                </a:moveTo>
                <a:lnTo>
                  <a:pt x="350" y="482"/>
                </a:lnTo>
                <a:lnTo>
                  <a:pt x="344" y="482"/>
                </a:lnTo>
                <a:lnTo>
                  <a:pt x="347" y="483"/>
                </a:lnTo>
                <a:lnTo>
                  <a:pt x="350" y="485"/>
                </a:lnTo>
                <a:lnTo>
                  <a:pt x="352" y="485"/>
                </a:lnTo>
                <a:lnTo>
                  <a:pt x="353" y="484"/>
                </a:lnTo>
                <a:lnTo>
                  <a:pt x="354" y="483"/>
                </a:lnTo>
                <a:lnTo>
                  <a:pt x="355" y="482"/>
                </a:lnTo>
                <a:close/>
                <a:moveTo>
                  <a:pt x="583" y="158"/>
                </a:moveTo>
                <a:lnTo>
                  <a:pt x="587" y="158"/>
                </a:lnTo>
                <a:lnTo>
                  <a:pt x="591" y="156"/>
                </a:lnTo>
                <a:lnTo>
                  <a:pt x="589" y="155"/>
                </a:lnTo>
                <a:lnTo>
                  <a:pt x="585" y="155"/>
                </a:lnTo>
                <a:lnTo>
                  <a:pt x="584" y="155"/>
                </a:lnTo>
                <a:lnTo>
                  <a:pt x="583" y="155"/>
                </a:lnTo>
                <a:lnTo>
                  <a:pt x="583" y="156"/>
                </a:lnTo>
                <a:lnTo>
                  <a:pt x="583" y="158"/>
                </a:lnTo>
                <a:lnTo>
                  <a:pt x="584" y="159"/>
                </a:lnTo>
                <a:lnTo>
                  <a:pt x="583" y="158"/>
                </a:lnTo>
                <a:close/>
                <a:moveTo>
                  <a:pt x="490" y="550"/>
                </a:moveTo>
                <a:lnTo>
                  <a:pt x="492" y="550"/>
                </a:lnTo>
                <a:lnTo>
                  <a:pt x="494" y="553"/>
                </a:lnTo>
                <a:lnTo>
                  <a:pt x="495" y="553"/>
                </a:lnTo>
                <a:lnTo>
                  <a:pt x="496" y="554"/>
                </a:lnTo>
                <a:lnTo>
                  <a:pt x="497" y="553"/>
                </a:lnTo>
                <a:lnTo>
                  <a:pt x="497" y="551"/>
                </a:lnTo>
                <a:lnTo>
                  <a:pt x="497" y="549"/>
                </a:lnTo>
                <a:lnTo>
                  <a:pt x="497" y="549"/>
                </a:lnTo>
                <a:lnTo>
                  <a:pt x="496" y="548"/>
                </a:lnTo>
                <a:lnTo>
                  <a:pt x="495" y="548"/>
                </a:lnTo>
                <a:lnTo>
                  <a:pt x="492" y="549"/>
                </a:lnTo>
                <a:lnTo>
                  <a:pt x="490" y="550"/>
                </a:lnTo>
                <a:lnTo>
                  <a:pt x="492" y="550"/>
                </a:lnTo>
                <a:lnTo>
                  <a:pt x="490" y="550"/>
                </a:lnTo>
                <a:close/>
                <a:moveTo>
                  <a:pt x="323" y="466"/>
                </a:moveTo>
                <a:lnTo>
                  <a:pt x="326" y="468"/>
                </a:lnTo>
                <a:lnTo>
                  <a:pt x="328" y="468"/>
                </a:lnTo>
                <a:lnTo>
                  <a:pt x="330" y="468"/>
                </a:lnTo>
                <a:lnTo>
                  <a:pt x="334" y="467"/>
                </a:lnTo>
                <a:lnTo>
                  <a:pt x="330" y="466"/>
                </a:lnTo>
                <a:lnTo>
                  <a:pt x="328" y="465"/>
                </a:lnTo>
                <a:lnTo>
                  <a:pt x="326" y="465"/>
                </a:lnTo>
                <a:lnTo>
                  <a:pt x="323" y="466"/>
                </a:lnTo>
                <a:close/>
                <a:moveTo>
                  <a:pt x="87" y="183"/>
                </a:moveTo>
                <a:lnTo>
                  <a:pt x="92" y="185"/>
                </a:lnTo>
                <a:lnTo>
                  <a:pt x="99" y="188"/>
                </a:lnTo>
                <a:lnTo>
                  <a:pt x="97" y="184"/>
                </a:lnTo>
                <a:lnTo>
                  <a:pt x="93" y="183"/>
                </a:lnTo>
                <a:lnTo>
                  <a:pt x="90" y="183"/>
                </a:lnTo>
                <a:lnTo>
                  <a:pt x="87" y="183"/>
                </a:lnTo>
                <a:close/>
                <a:moveTo>
                  <a:pt x="600" y="184"/>
                </a:moveTo>
                <a:lnTo>
                  <a:pt x="601" y="184"/>
                </a:lnTo>
                <a:lnTo>
                  <a:pt x="603" y="184"/>
                </a:lnTo>
                <a:lnTo>
                  <a:pt x="603" y="181"/>
                </a:lnTo>
                <a:lnTo>
                  <a:pt x="602" y="177"/>
                </a:lnTo>
                <a:lnTo>
                  <a:pt x="601" y="176"/>
                </a:lnTo>
                <a:lnTo>
                  <a:pt x="600" y="177"/>
                </a:lnTo>
                <a:lnTo>
                  <a:pt x="600" y="177"/>
                </a:lnTo>
                <a:lnTo>
                  <a:pt x="600" y="180"/>
                </a:lnTo>
                <a:lnTo>
                  <a:pt x="600" y="182"/>
                </a:lnTo>
                <a:lnTo>
                  <a:pt x="600" y="184"/>
                </a:lnTo>
                <a:lnTo>
                  <a:pt x="601" y="183"/>
                </a:lnTo>
                <a:lnTo>
                  <a:pt x="600" y="184"/>
                </a:lnTo>
                <a:close/>
                <a:moveTo>
                  <a:pt x="1505" y="97"/>
                </a:moveTo>
                <a:lnTo>
                  <a:pt x="1507" y="98"/>
                </a:lnTo>
                <a:lnTo>
                  <a:pt x="1509" y="98"/>
                </a:lnTo>
                <a:lnTo>
                  <a:pt x="1512" y="98"/>
                </a:lnTo>
                <a:lnTo>
                  <a:pt x="1514" y="97"/>
                </a:lnTo>
                <a:lnTo>
                  <a:pt x="1510" y="94"/>
                </a:lnTo>
                <a:lnTo>
                  <a:pt x="1507" y="94"/>
                </a:lnTo>
                <a:lnTo>
                  <a:pt x="1505" y="95"/>
                </a:lnTo>
                <a:lnTo>
                  <a:pt x="1505" y="97"/>
                </a:lnTo>
                <a:lnTo>
                  <a:pt x="1506" y="98"/>
                </a:lnTo>
                <a:lnTo>
                  <a:pt x="1505" y="97"/>
                </a:lnTo>
                <a:close/>
                <a:moveTo>
                  <a:pt x="1236" y="607"/>
                </a:moveTo>
                <a:lnTo>
                  <a:pt x="1241" y="604"/>
                </a:lnTo>
                <a:lnTo>
                  <a:pt x="1244" y="600"/>
                </a:lnTo>
                <a:lnTo>
                  <a:pt x="1241" y="600"/>
                </a:lnTo>
                <a:lnTo>
                  <a:pt x="1238" y="600"/>
                </a:lnTo>
                <a:lnTo>
                  <a:pt x="1236" y="603"/>
                </a:lnTo>
                <a:lnTo>
                  <a:pt x="1236" y="607"/>
                </a:lnTo>
                <a:close/>
                <a:moveTo>
                  <a:pt x="351" y="148"/>
                </a:moveTo>
                <a:lnTo>
                  <a:pt x="353" y="147"/>
                </a:lnTo>
                <a:lnTo>
                  <a:pt x="355" y="145"/>
                </a:lnTo>
                <a:lnTo>
                  <a:pt x="355" y="144"/>
                </a:lnTo>
                <a:lnTo>
                  <a:pt x="352" y="142"/>
                </a:lnTo>
                <a:lnTo>
                  <a:pt x="350" y="141"/>
                </a:lnTo>
                <a:lnTo>
                  <a:pt x="347" y="142"/>
                </a:lnTo>
                <a:lnTo>
                  <a:pt x="347" y="143"/>
                </a:lnTo>
                <a:lnTo>
                  <a:pt x="346" y="144"/>
                </a:lnTo>
                <a:lnTo>
                  <a:pt x="347" y="147"/>
                </a:lnTo>
                <a:lnTo>
                  <a:pt x="348" y="148"/>
                </a:lnTo>
                <a:lnTo>
                  <a:pt x="350" y="149"/>
                </a:lnTo>
                <a:lnTo>
                  <a:pt x="351" y="148"/>
                </a:lnTo>
                <a:lnTo>
                  <a:pt x="351" y="148"/>
                </a:lnTo>
                <a:lnTo>
                  <a:pt x="351" y="148"/>
                </a:lnTo>
                <a:close/>
                <a:moveTo>
                  <a:pt x="655" y="599"/>
                </a:moveTo>
                <a:lnTo>
                  <a:pt x="651" y="599"/>
                </a:lnTo>
                <a:lnTo>
                  <a:pt x="650" y="601"/>
                </a:lnTo>
                <a:lnTo>
                  <a:pt x="650" y="603"/>
                </a:lnTo>
                <a:lnTo>
                  <a:pt x="653" y="604"/>
                </a:lnTo>
                <a:lnTo>
                  <a:pt x="656" y="604"/>
                </a:lnTo>
                <a:lnTo>
                  <a:pt x="659" y="603"/>
                </a:lnTo>
                <a:lnTo>
                  <a:pt x="659" y="601"/>
                </a:lnTo>
                <a:lnTo>
                  <a:pt x="659" y="600"/>
                </a:lnTo>
                <a:lnTo>
                  <a:pt x="659" y="600"/>
                </a:lnTo>
                <a:lnTo>
                  <a:pt x="657" y="599"/>
                </a:lnTo>
                <a:lnTo>
                  <a:pt x="657" y="600"/>
                </a:lnTo>
                <a:lnTo>
                  <a:pt x="656" y="601"/>
                </a:lnTo>
                <a:lnTo>
                  <a:pt x="655" y="600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6" y="598"/>
                </a:lnTo>
                <a:lnTo>
                  <a:pt x="655" y="598"/>
                </a:lnTo>
                <a:lnTo>
                  <a:pt x="655" y="599"/>
                </a:lnTo>
                <a:lnTo>
                  <a:pt x="653" y="599"/>
                </a:lnTo>
                <a:lnTo>
                  <a:pt x="655" y="599"/>
                </a:lnTo>
                <a:close/>
                <a:moveTo>
                  <a:pt x="886" y="234"/>
                </a:moveTo>
                <a:lnTo>
                  <a:pt x="887" y="234"/>
                </a:lnTo>
                <a:lnTo>
                  <a:pt x="887" y="233"/>
                </a:lnTo>
                <a:lnTo>
                  <a:pt x="887" y="232"/>
                </a:lnTo>
                <a:lnTo>
                  <a:pt x="886" y="231"/>
                </a:lnTo>
                <a:lnTo>
                  <a:pt x="883" y="228"/>
                </a:lnTo>
                <a:lnTo>
                  <a:pt x="880" y="228"/>
                </a:lnTo>
                <a:lnTo>
                  <a:pt x="880" y="231"/>
                </a:lnTo>
                <a:lnTo>
                  <a:pt x="882" y="232"/>
                </a:lnTo>
                <a:lnTo>
                  <a:pt x="883" y="233"/>
                </a:lnTo>
                <a:lnTo>
                  <a:pt x="886" y="234"/>
                </a:lnTo>
                <a:lnTo>
                  <a:pt x="884" y="234"/>
                </a:lnTo>
                <a:lnTo>
                  <a:pt x="886" y="234"/>
                </a:lnTo>
                <a:close/>
                <a:moveTo>
                  <a:pt x="79" y="228"/>
                </a:moveTo>
                <a:lnTo>
                  <a:pt x="80" y="231"/>
                </a:lnTo>
                <a:lnTo>
                  <a:pt x="82" y="232"/>
                </a:lnTo>
                <a:lnTo>
                  <a:pt x="85" y="232"/>
                </a:lnTo>
                <a:lnTo>
                  <a:pt x="89" y="231"/>
                </a:lnTo>
                <a:lnTo>
                  <a:pt x="84" y="228"/>
                </a:lnTo>
                <a:lnTo>
                  <a:pt x="79" y="228"/>
                </a:lnTo>
                <a:lnTo>
                  <a:pt x="80" y="228"/>
                </a:lnTo>
                <a:lnTo>
                  <a:pt x="79" y="228"/>
                </a:lnTo>
                <a:close/>
                <a:moveTo>
                  <a:pt x="387" y="462"/>
                </a:moveTo>
                <a:lnTo>
                  <a:pt x="385" y="462"/>
                </a:lnTo>
                <a:lnTo>
                  <a:pt x="383" y="463"/>
                </a:lnTo>
                <a:lnTo>
                  <a:pt x="386" y="465"/>
                </a:lnTo>
                <a:lnTo>
                  <a:pt x="389" y="466"/>
                </a:lnTo>
                <a:lnTo>
                  <a:pt x="392" y="466"/>
                </a:lnTo>
                <a:lnTo>
                  <a:pt x="394" y="466"/>
                </a:lnTo>
                <a:lnTo>
                  <a:pt x="395" y="465"/>
                </a:lnTo>
                <a:lnTo>
                  <a:pt x="397" y="464"/>
                </a:lnTo>
                <a:lnTo>
                  <a:pt x="392" y="464"/>
                </a:lnTo>
                <a:lnTo>
                  <a:pt x="387" y="462"/>
                </a:lnTo>
                <a:lnTo>
                  <a:pt x="387" y="463"/>
                </a:lnTo>
                <a:lnTo>
                  <a:pt x="387" y="462"/>
                </a:lnTo>
                <a:close/>
                <a:moveTo>
                  <a:pt x="287" y="452"/>
                </a:moveTo>
                <a:lnTo>
                  <a:pt x="288" y="452"/>
                </a:lnTo>
                <a:lnTo>
                  <a:pt x="289" y="450"/>
                </a:lnTo>
                <a:lnTo>
                  <a:pt x="291" y="450"/>
                </a:lnTo>
                <a:lnTo>
                  <a:pt x="295" y="451"/>
                </a:lnTo>
                <a:lnTo>
                  <a:pt x="296" y="451"/>
                </a:lnTo>
                <a:lnTo>
                  <a:pt x="298" y="451"/>
                </a:lnTo>
                <a:lnTo>
                  <a:pt x="299" y="450"/>
                </a:lnTo>
                <a:lnTo>
                  <a:pt x="301" y="449"/>
                </a:lnTo>
                <a:lnTo>
                  <a:pt x="297" y="448"/>
                </a:lnTo>
                <a:lnTo>
                  <a:pt x="294" y="448"/>
                </a:lnTo>
                <a:lnTo>
                  <a:pt x="291" y="449"/>
                </a:lnTo>
                <a:lnTo>
                  <a:pt x="289" y="450"/>
                </a:lnTo>
                <a:lnTo>
                  <a:pt x="288" y="451"/>
                </a:lnTo>
                <a:lnTo>
                  <a:pt x="287" y="452"/>
                </a:lnTo>
                <a:lnTo>
                  <a:pt x="284" y="454"/>
                </a:lnTo>
                <a:lnTo>
                  <a:pt x="281" y="455"/>
                </a:lnTo>
                <a:lnTo>
                  <a:pt x="278" y="452"/>
                </a:lnTo>
                <a:lnTo>
                  <a:pt x="273" y="449"/>
                </a:lnTo>
                <a:lnTo>
                  <a:pt x="280" y="450"/>
                </a:lnTo>
                <a:lnTo>
                  <a:pt x="287" y="452"/>
                </a:lnTo>
                <a:close/>
                <a:moveTo>
                  <a:pt x="287" y="452"/>
                </a:moveTo>
                <a:lnTo>
                  <a:pt x="287" y="452"/>
                </a:lnTo>
                <a:lnTo>
                  <a:pt x="287" y="452"/>
                </a:lnTo>
                <a:close/>
                <a:moveTo>
                  <a:pt x="289" y="450"/>
                </a:moveTo>
                <a:lnTo>
                  <a:pt x="290" y="449"/>
                </a:lnTo>
                <a:lnTo>
                  <a:pt x="289" y="450"/>
                </a:lnTo>
                <a:close/>
                <a:moveTo>
                  <a:pt x="471" y="533"/>
                </a:moveTo>
                <a:lnTo>
                  <a:pt x="470" y="533"/>
                </a:lnTo>
                <a:lnTo>
                  <a:pt x="467" y="533"/>
                </a:lnTo>
                <a:lnTo>
                  <a:pt x="467" y="533"/>
                </a:lnTo>
                <a:lnTo>
                  <a:pt x="466" y="534"/>
                </a:lnTo>
                <a:lnTo>
                  <a:pt x="466" y="534"/>
                </a:lnTo>
                <a:lnTo>
                  <a:pt x="467" y="535"/>
                </a:lnTo>
                <a:lnTo>
                  <a:pt x="471" y="535"/>
                </a:lnTo>
                <a:lnTo>
                  <a:pt x="475" y="538"/>
                </a:lnTo>
                <a:lnTo>
                  <a:pt x="475" y="535"/>
                </a:lnTo>
                <a:lnTo>
                  <a:pt x="475" y="534"/>
                </a:lnTo>
                <a:lnTo>
                  <a:pt x="472" y="533"/>
                </a:lnTo>
                <a:lnTo>
                  <a:pt x="471" y="533"/>
                </a:lnTo>
                <a:lnTo>
                  <a:pt x="471" y="533"/>
                </a:lnTo>
                <a:lnTo>
                  <a:pt x="471" y="533"/>
                </a:lnTo>
                <a:close/>
                <a:moveTo>
                  <a:pt x="623" y="200"/>
                </a:moveTo>
                <a:lnTo>
                  <a:pt x="622" y="196"/>
                </a:lnTo>
                <a:lnTo>
                  <a:pt x="618" y="192"/>
                </a:lnTo>
                <a:lnTo>
                  <a:pt x="616" y="191"/>
                </a:lnTo>
                <a:lnTo>
                  <a:pt x="615" y="191"/>
                </a:lnTo>
                <a:lnTo>
                  <a:pt x="614" y="192"/>
                </a:lnTo>
                <a:lnTo>
                  <a:pt x="612" y="194"/>
                </a:lnTo>
                <a:lnTo>
                  <a:pt x="618" y="197"/>
                </a:lnTo>
                <a:lnTo>
                  <a:pt x="623" y="200"/>
                </a:lnTo>
                <a:lnTo>
                  <a:pt x="620" y="199"/>
                </a:lnTo>
                <a:lnTo>
                  <a:pt x="623" y="200"/>
                </a:lnTo>
                <a:close/>
                <a:moveTo>
                  <a:pt x="540" y="228"/>
                </a:moveTo>
                <a:lnTo>
                  <a:pt x="534" y="227"/>
                </a:lnTo>
                <a:lnTo>
                  <a:pt x="528" y="228"/>
                </a:lnTo>
                <a:lnTo>
                  <a:pt x="530" y="228"/>
                </a:lnTo>
                <a:lnTo>
                  <a:pt x="534" y="230"/>
                </a:lnTo>
                <a:lnTo>
                  <a:pt x="536" y="231"/>
                </a:lnTo>
                <a:lnTo>
                  <a:pt x="537" y="231"/>
                </a:lnTo>
                <a:lnTo>
                  <a:pt x="538" y="230"/>
                </a:lnTo>
                <a:lnTo>
                  <a:pt x="540" y="228"/>
                </a:lnTo>
                <a:lnTo>
                  <a:pt x="540" y="228"/>
                </a:lnTo>
                <a:lnTo>
                  <a:pt x="540" y="228"/>
                </a:lnTo>
                <a:close/>
                <a:moveTo>
                  <a:pt x="711" y="626"/>
                </a:moveTo>
                <a:lnTo>
                  <a:pt x="714" y="629"/>
                </a:lnTo>
                <a:lnTo>
                  <a:pt x="717" y="630"/>
                </a:lnTo>
                <a:lnTo>
                  <a:pt x="721" y="631"/>
                </a:lnTo>
                <a:lnTo>
                  <a:pt x="722" y="630"/>
                </a:lnTo>
                <a:lnTo>
                  <a:pt x="722" y="628"/>
                </a:lnTo>
                <a:lnTo>
                  <a:pt x="722" y="626"/>
                </a:lnTo>
                <a:lnTo>
                  <a:pt x="719" y="626"/>
                </a:lnTo>
                <a:lnTo>
                  <a:pt x="718" y="626"/>
                </a:lnTo>
                <a:lnTo>
                  <a:pt x="714" y="626"/>
                </a:lnTo>
                <a:lnTo>
                  <a:pt x="711" y="626"/>
                </a:lnTo>
                <a:lnTo>
                  <a:pt x="714" y="628"/>
                </a:lnTo>
                <a:lnTo>
                  <a:pt x="711" y="626"/>
                </a:lnTo>
                <a:close/>
                <a:moveTo>
                  <a:pt x="821" y="670"/>
                </a:moveTo>
                <a:lnTo>
                  <a:pt x="828" y="671"/>
                </a:lnTo>
                <a:lnTo>
                  <a:pt x="834" y="669"/>
                </a:lnTo>
                <a:lnTo>
                  <a:pt x="831" y="669"/>
                </a:lnTo>
                <a:lnTo>
                  <a:pt x="828" y="669"/>
                </a:lnTo>
                <a:lnTo>
                  <a:pt x="824" y="669"/>
                </a:lnTo>
                <a:lnTo>
                  <a:pt x="821" y="670"/>
                </a:lnTo>
                <a:close/>
                <a:moveTo>
                  <a:pt x="282" y="414"/>
                </a:moveTo>
                <a:lnTo>
                  <a:pt x="285" y="414"/>
                </a:lnTo>
                <a:lnTo>
                  <a:pt x="285" y="413"/>
                </a:lnTo>
                <a:lnTo>
                  <a:pt x="285" y="412"/>
                </a:lnTo>
                <a:lnTo>
                  <a:pt x="284" y="410"/>
                </a:lnTo>
                <a:lnTo>
                  <a:pt x="280" y="408"/>
                </a:lnTo>
                <a:lnTo>
                  <a:pt x="278" y="407"/>
                </a:lnTo>
                <a:lnTo>
                  <a:pt x="277" y="409"/>
                </a:lnTo>
                <a:lnTo>
                  <a:pt x="278" y="412"/>
                </a:lnTo>
                <a:lnTo>
                  <a:pt x="280" y="414"/>
                </a:lnTo>
                <a:lnTo>
                  <a:pt x="282" y="414"/>
                </a:lnTo>
                <a:close/>
                <a:moveTo>
                  <a:pt x="675" y="596"/>
                </a:moveTo>
                <a:lnTo>
                  <a:pt x="675" y="596"/>
                </a:lnTo>
                <a:lnTo>
                  <a:pt x="675" y="596"/>
                </a:lnTo>
                <a:lnTo>
                  <a:pt x="675" y="595"/>
                </a:lnTo>
                <a:lnTo>
                  <a:pt x="677" y="595"/>
                </a:lnTo>
                <a:lnTo>
                  <a:pt x="677" y="595"/>
                </a:lnTo>
                <a:lnTo>
                  <a:pt x="677" y="595"/>
                </a:lnTo>
                <a:lnTo>
                  <a:pt x="676" y="593"/>
                </a:lnTo>
                <a:lnTo>
                  <a:pt x="675" y="592"/>
                </a:lnTo>
                <a:lnTo>
                  <a:pt x="674" y="592"/>
                </a:lnTo>
                <a:lnTo>
                  <a:pt x="672" y="592"/>
                </a:lnTo>
                <a:lnTo>
                  <a:pt x="668" y="591"/>
                </a:lnTo>
                <a:lnTo>
                  <a:pt x="666" y="590"/>
                </a:lnTo>
                <a:lnTo>
                  <a:pt x="665" y="591"/>
                </a:lnTo>
                <a:lnTo>
                  <a:pt x="665" y="592"/>
                </a:lnTo>
                <a:lnTo>
                  <a:pt x="666" y="593"/>
                </a:lnTo>
                <a:lnTo>
                  <a:pt x="668" y="595"/>
                </a:lnTo>
                <a:lnTo>
                  <a:pt x="673" y="596"/>
                </a:lnTo>
                <a:lnTo>
                  <a:pt x="675" y="596"/>
                </a:lnTo>
                <a:close/>
                <a:moveTo>
                  <a:pt x="719" y="603"/>
                </a:moveTo>
                <a:lnTo>
                  <a:pt x="715" y="601"/>
                </a:lnTo>
                <a:lnTo>
                  <a:pt x="710" y="600"/>
                </a:lnTo>
                <a:lnTo>
                  <a:pt x="707" y="600"/>
                </a:lnTo>
                <a:lnTo>
                  <a:pt x="703" y="600"/>
                </a:lnTo>
                <a:lnTo>
                  <a:pt x="707" y="601"/>
                </a:lnTo>
                <a:lnTo>
                  <a:pt x="710" y="603"/>
                </a:lnTo>
                <a:lnTo>
                  <a:pt x="715" y="604"/>
                </a:lnTo>
                <a:lnTo>
                  <a:pt x="719" y="603"/>
                </a:lnTo>
                <a:close/>
                <a:moveTo>
                  <a:pt x="615" y="572"/>
                </a:moveTo>
                <a:lnTo>
                  <a:pt x="618" y="571"/>
                </a:lnTo>
                <a:lnTo>
                  <a:pt x="620" y="568"/>
                </a:lnTo>
                <a:lnTo>
                  <a:pt x="620" y="568"/>
                </a:lnTo>
                <a:lnTo>
                  <a:pt x="620" y="567"/>
                </a:lnTo>
                <a:lnTo>
                  <a:pt x="619" y="566"/>
                </a:lnTo>
                <a:lnTo>
                  <a:pt x="618" y="566"/>
                </a:lnTo>
                <a:lnTo>
                  <a:pt x="615" y="567"/>
                </a:lnTo>
                <a:lnTo>
                  <a:pt x="612" y="570"/>
                </a:lnTo>
                <a:lnTo>
                  <a:pt x="612" y="571"/>
                </a:lnTo>
                <a:lnTo>
                  <a:pt x="612" y="571"/>
                </a:lnTo>
                <a:lnTo>
                  <a:pt x="614" y="572"/>
                </a:lnTo>
                <a:lnTo>
                  <a:pt x="615" y="572"/>
                </a:lnTo>
                <a:lnTo>
                  <a:pt x="615" y="572"/>
                </a:lnTo>
                <a:lnTo>
                  <a:pt x="615" y="572"/>
                </a:lnTo>
                <a:close/>
                <a:moveTo>
                  <a:pt x="658" y="217"/>
                </a:moveTo>
                <a:lnTo>
                  <a:pt x="659" y="217"/>
                </a:lnTo>
                <a:lnTo>
                  <a:pt x="660" y="216"/>
                </a:lnTo>
                <a:lnTo>
                  <a:pt x="661" y="215"/>
                </a:lnTo>
                <a:lnTo>
                  <a:pt x="661" y="213"/>
                </a:lnTo>
                <a:lnTo>
                  <a:pt x="660" y="211"/>
                </a:lnTo>
                <a:lnTo>
                  <a:pt x="660" y="210"/>
                </a:lnTo>
                <a:lnTo>
                  <a:pt x="659" y="209"/>
                </a:lnTo>
                <a:lnTo>
                  <a:pt x="657" y="209"/>
                </a:lnTo>
                <a:lnTo>
                  <a:pt x="656" y="210"/>
                </a:lnTo>
                <a:lnTo>
                  <a:pt x="655" y="211"/>
                </a:lnTo>
                <a:lnTo>
                  <a:pt x="655" y="213"/>
                </a:lnTo>
                <a:lnTo>
                  <a:pt x="655" y="214"/>
                </a:lnTo>
                <a:lnTo>
                  <a:pt x="656" y="216"/>
                </a:lnTo>
                <a:lnTo>
                  <a:pt x="658" y="217"/>
                </a:lnTo>
                <a:lnTo>
                  <a:pt x="658" y="217"/>
                </a:lnTo>
                <a:lnTo>
                  <a:pt x="658" y="217"/>
                </a:lnTo>
                <a:close/>
                <a:moveTo>
                  <a:pt x="273" y="91"/>
                </a:moveTo>
                <a:lnTo>
                  <a:pt x="274" y="92"/>
                </a:lnTo>
                <a:lnTo>
                  <a:pt x="276" y="91"/>
                </a:lnTo>
                <a:lnTo>
                  <a:pt x="276" y="90"/>
                </a:lnTo>
                <a:lnTo>
                  <a:pt x="276" y="89"/>
                </a:lnTo>
                <a:lnTo>
                  <a:pt x="270" y="86"/>
                </a:lnTo>
                <a:lnTo>
                  <a:pt x="265" y="84"/>
                </a:lnTo>
                <a:lnTo>
                  <a:pt x="265" y="88"/>
                </a:lnTo>
                <a:lnTo>
                  <a:pt x="268" y="90"/>
                </a:lnTo>
                <a:lnTo>
                  <a:pt x="270" y="90"/>
                </a:lnTo>
                <a:lnTo>
                  <a:pt x="273" y="91"/>
                </a:lnTo>
                <a:lnTo>
                  <a:pt x="272" y="91"/>
                </a:lnTo>
                <a:lnTo>
                  <a:pt x="273" y="91"/>
                </a:lnTo>
                <a:close/>
                <a:moveTo>
                  <a:pt x="801" y="664"/>
                </a:moveTo>
                <a:lnTo>
                  <a:pt x="805" y="664"/>
                </a:lnTo>
                <a:lnTo>
                  <a:pt x="808" y="663"/>
                </a:lnTo>
                <a:lnTo>
                  <a:pt x="812" y="662"/>
                </a:lnTo>
                <a:lnTo>
                  <a:pt x="814" y="659"/>
                </a:lnTo>
                <a:lnTo>
                  <a:pt x="810" y="659"/>
                </a:lnTo>
                <a:lnTo>
                  <a:pt x="807" y="659"/>
                </a:lnTo>
                <a:lnTo>
                  <a:pt x="804" y="662"/>
                </a:lnTo>
                <a:lnTo>
                  <a:pt x="801" y="664"/>
                </a:lnTo>
                <a:close/>
                <a:moveTo>
                  <a:pt x="289" y="414"/>
                </a:moveTo>
                <a:lnTo>
                  <a:pt x="291" y="415"/>
                </a:lnTo>
                <a:lnTo>
                  <a:pt x="295" y="416"/>
                </a:lnTo>
                <a:lnTo>
                  <a:pt x="298" y="416"/>
                </a:lnTo>
                <a:lnTo>
                  <a:pt x="302" y="415"/>
                </a:lnTo>
                <a:lnTo>
                  <a:pt x="298" y="414"/>
                </a:lnTo>
                <a:lnTo>
                  <a:pt x="296" y="413"/>
                </a:lnTo>
                <a:lnTo>
                  <a:pt x="293" y="413"/>
                </a:lnTo>
                <a:lnTo>
                  <a:pt x="289" y="414"/>
                </a:lnTo>
                <a:close/>
                <a:moveTo>
                  <a:pt x="1558" y="355"/>
                </a:moveTo>
                <a:lnTo>
                  <a:pt x="1555" y="355"/>
                </a:lnTo>
                <a:lnTo>
                  <a:pt x="1553" y="357"/>
                </a:lnTo>
                <a:lnTo>
                  <a:pt x="1550" y="359"/>
                </a:lnTo>
                <a:lnTo>
                  <a:pt x="1549" y="362"/>
                </a:lnTo>
                <a:lnTo>
                  <a:pt x="1551" y="360"/>
                </a:lnTo>
                <a:lnTo>
                  <a:pt x="1556" y="358"/>
                </a:lnTo>
                <a:lnTo>
                  <a:pt x="1558" y="357"/>
                </a:lnTo>
                <a:lnTo>
                  <a:pt x="1559" y="356"/>
                </a:lnTo>
                <a:lnTo>
                  <a:pt x="1559" y="355"/>
                </a:lnTo>
                <a:lnTo>
                  <a:pt x="1558" y="355"/>
                </a:lnTo>
                <a:lnTo>
                  <a:pt x="1557" y="355"/>
                </a:lnTo>
                <a:lnTo>
                  <a:pt x="1558" y="355"/>
                </a:lnTo>
                <a:close/>
                <a:moveTo>
                  <a:pt x="1097" y="630"/>
                </a:moveTo>
                <a:lnTo>
                  <a:pt x="1100" y="629"/>
                </a:lnTo>
                <a:lnTo>
                  <a:pt x="1101" y="628"/>
                </a:lnTo>
                <a:lnTo>
                  <a:pt x="1102" y="625"/>
                </a:lnTo>
                <a:lnTo>
                  <a:pt x="1101" y="624"/>
                </a:lnTo>
                <a:lnTo>
                  <a:pt x="1097" y="626"/>
                </a:lnTo>
                <a:lnTo>
                  <a:pt x="1093" y="626"/>
                </a:lnTo>
                <a:lnTo>
                  <a:pt x="1092" y="628"/>
                </a:lnTo>
                <a:lnTo>
                  <a:pt x="1092" y="630"/>
                </a:lnTo>
                <a:lnTo>
                  <a:pt x="1093" y="631"/>
                </a:lnTo>
                <a:lnTo>
                  <a:pt x="1095" y="631"/>
                </a:lnTo>
                <a:lnTo>
                  <a:pt x="1096" y="631"/>
                </a:lnTo>
                <a:lnTo>
                  <a:pt x="1097" y="630"/>
                </a:lnTo>
                <a:lnTo>
                  <a:pt x="1097" y="630"/>
                </a:lnTo>
                <a:lnTo>
                  <a:pt x="1097" y="630"/>
                </a:lnTo>
                <a:close/>
                <a:moveTo>
                  <a:pt x="961" y="665"/>
                </a:moveTo>
                <a:lnTo>
                  <a:pt x="960" y="666"/>
                </a:lnTo>
                <a:lnTo>
                  <a:pt x="960" y="667"/>
                </a:lnTo>
                <a:lnTo>
                  <a:pt x="962" y="667"/>
                </a:lnTo>
                <a:lnTo>
                  <a:pt x="963" y="666"/>
                </a:lnTo>
                <a:lnTo>
                  <a:pt x="969" y="666"/>
                </a:lnTo>
                <a:lnTo>
                  <a:pt x="973" y="663"/>
                </a:lnTo>
                <a:lnTo>
                  <a:pt x="968" y="664"/>
                </a:lnTo>
                <a:lnTo>
                  <a:pt x="961" y="665"/>
                </a:lnTo>
                <a:lnTo>
                  <a:pt x="962" y="665"/>
                </a:lnTo>
                <a:lnTo>
                  <a:pt x="961" y="665"/>
                </a:lnTo>
                <a:close/>
                <a:moveTo>
                  <a:pt x="115" y="208"/>
                </a:moveTo>
                <a:lnTo>
                  <a:pt x="112" y="207"/>
                </a:lnTo>
                <a:lnTo>
                  <a:pt x="108" y="206"/>
                </a:lnTo>
                <a:lnTo>
                  <a:pt x="105" y="205"/>
                </a:lnTo>
                <a:lnTo>
                  <a:pt x="101" y="205"/>
                </a:lnTo>
                <a:lnTo>
                  <a:pt x="105" y="206"/>
                </a:lnTo>
                <a:lnTo>
                  <a:pt x="108" y="208"/>
                </a:lnTo>
                <a:lnTo>
                  <a:pt x="112" y="208"/>
                </a:lnTo>
                <a:lnTo>
                  <a:pt x="115" y="208"/>
                </a:lnTo>
                <a:close/>
                <a:moveTo>
                  <a:pt x="140" y="206"/>
                </a:moveTo>
                <a:lnTo>
                  <a:pt x="141" y="205"/>
                </a:lnTo>
                <a:lnTo>
                  <a:pt x="142" y="205"/>
                </a:lnTo>
                <a:lnTo>
                  <a:pt x="142" y="205"/>
                </a:lnTo>
                <a:lnTo>
                  <a:pt x="140" y="203"/>
                </a:lnTo>
                <a:lnTo>
                  <a:pt x="136" y="205"/>
                </a:lnTo>
                <a:lnTo>
                  <a:pt x="131" y="206"/>
                </a:lnTo>
                <a:lnTo>
                  <a:pt x="133" y="207"/>
                </a:lnTo>
                <a:lnTo>
                  <a:pt x="137" y="208"/>
                </a:lnTo>
                <a:lnTo>
                  <a:pt x="139" y="208"/>
                </a:lnTo>
                <a:lnTo>
                  <a:pt x="140" y="206"/>
                </a:lnTo>
                <a:lnTo>
                  <a:pt x="139" y="208"/>
                </a:lnTo>
                <a:lnTo>
                  <a:pt x="140" y="206"/>
                </a:lnTo>
                <a:close/>
                <a:moveTo>
                  <a:pt x="759" y="661"/>
                </a:moveTo>
                <a:lnTo>
                  <a:pt x="763" y="662"/>
                </a:lnTo>
                <a:lnTo>
                  <a:pt x="767" y="663"/>
                </a:lnTo>
                <a:lnTo>
                  <a:pt x="771" y="663"/>
                </a:lnTo>
                <a:lnTo>
                  <a:pt x="775" y="662"/>
                </a:lnTo>
                <a:lnTo>
                  <a:pt x="772" y="661"/>
                </a:lnTo>
                <a:lnTo>
                  <a:pt x="767" y="659"/>
                </a:lnTo>
                <a:lnTo>
                  <a:pt x="764" y="659"/>
                </a:lnTo>
                <a:lnTo>
                  <a:pt x="759" y="661"/>
                </a:lnTo>
                <a:close/>
                <a:moveTo>
                  <a:pt x="466" y="182"/>
                </a:moveTo>
                <a:lnTo>
                  <a:pt x="463" y="181"/>
                </a:lnTo>
                <a:lnTo>
                  <a:pt x="460" y="178"/>
                </a:lnTo>
                <a:lnTo>
                  <a:pt x="459" y="178"/>
                </a:lnTo>
                <a:lnTo>
                  <a:pt x="456" y="180"/>
                </a:lnTo>
                <a:lnTo>
                  <a:pt x="456" y="181"/>
                </a:lnTo>
                <a:lnTo>
                  <a:pt x="455" y="183"/>
                </a:lnTo>
                <a:lnTo>
                  <a:pt x="459" y="185"/>
                </a:lnTo>
                <a:lnTo>
                  <a:pt x="461" y="186"/>
                </a:lnTo>
                <a:lnTo>
                  <a:pt x="461" y="184"/>
                </a:lnTo>
                <a:lnTo>
                  <a:pt x="461" y="183"/>
                </a:lnTo>
                <a:lnTo>
                  <a:pt x="461" y="183"/>
                </a:lnTo>
                <a:lnTo>
                  <a:pt x="462" y="183"/>
                </a:lnTo>
                <a:lnTo>
                  <a:pt x="464" y="183"/>
                </a:lnTo>
                <a:lnTo>
                  <a:pt x="466" y="182"/>
                </a:lnTo>
                <a:lnTo>
                  <a:pt x="463" y="181"/>
                </a:lnTo>
                <a:lnTo>
                  <a:pt x="466" y="182"/>
                </a:lnTo>
                <a:close/>
                <a:moveTo>
                  <a:pt x="485" y="189"/>
                </a:moveTo>
                <a:lnTo>
                  <a:pt x="484" y="188"/>
                </a:lnTo>
                <a:lnTo>
                  <a:pt x="482" y="188"/>
                </a:lnTo>
                <a:lnTo>
                  <a:pt x="480" y="189"/>
                </a:lnTo>
                <a:lnTo>
                  <a:pt x="479" y="190"/>
                </a:lnTo>
                <a:lnTo>
                  <a:pt x="480" y="191"/>
                </a:lnTo>
                <a:lnTo>
                  <a:pt x="482" y="191"/>
                </a:lnTo>
                <a:lnTo>
                  <a:pt x="484" y="193"/>
                </a:lnTo>
                <a:lnTo>
                  <a:pt x="486" y="194"/>
                </a:lnTo>
                <a:lnTo>
                  <a:pt x="490" y="194"/>
                </a:lnTo>
                <a:lnTo>
                  <a:pt x="492" y="194"/>
                </a:lnTo>
                <a:lnTo>
                  <a:pt x="488" y="191"/>
                </a:lnTo>
                <a:lnTo>
                  <a:pt x="485" y="189"/>
                </a:lnTo>
                <a:close/>
                <a:moveTo>
                  <a:pt x="88" y="217"/>
                </a:moveTo>
                <a:lnTo>
                  <a:pt x="82" y="215"/>
                </a:lnTo>
                <a:lnTo>
                  <a:pt x="79" y="214"/>
                </a:lnTo>
                <a:lnTo>
                  <a:pt x="75" y="214"/>
                </a:lnTo>
                <a:lnTo>
                  <a:pt x="72" y="215"/>
                </a:lnTo>
                <a:lnTo>
                  <a:pt x="75" y="216"/>
                </a:lnTo>
                <a:lnTo>
                  <a:pt x="79" y="217"/>
                </a:lnTo>
                <a:lnTo>
                  <a:pt x="83" y="217"/>
                </a:lnTo>
                <a:lnTo>
                  <a:pt x="88" y="217"/>
                </a:lnTo>
                <a:close/>
                <a:moveTo>
                  <a:pt x="867" y="640"/>
                </a:moveTo>
                <a:lnTo>
                  <a:pt x="865" y="640"/>
                </a:lnTo>
                <a:lnTo>
                  <a:pt x="863" y="641"/>
                </a:lnTo>
                <a:lnTo>
                  <a:pt x="862" y="642"/>
                </a:lnTo>
                <a:lnTo>
                  <a:pt x="861" y="642"/>
                </a:lnTo>
                <a:lnTo>
                  <a:pt x="858" y="643"/>
                </a:lnTo>
                <a:lnTo>
                  <a:pt x="857" y="642"/>
                </a:lnTo>
                <a:lnTo>
                  <a:pt x="856" y="643"/>
                </a:lnTo>
                <a:lnTo>
                  <a:pt x="857" y="645"/>
                </a:lnTo>
                <a:lnTo>
                  <a:pt x="859" y="646"/>
                </a:lnTo>
                <a:lnTo>
                  <a:pt x="862" y="646"/>
                </a:lnTo>
                <a:lnTo>
                  <a:pt x="865" y="645"/>
                </a:lnTo>
                <a:lnTo>
                  <a:pt x="867" y="645"/>
                </a:lnTo>
                <a:lnTo>
                  <a:pt x="868" y="642"/>
                </a:lnTo>
                <a:lnTo>
                  <a:pt x="867" y="640"/>
                </a:lnTo>
                <a:lnTo>
                  <a:pt x="867" y="640"/>
                </a:lnTo>
                <a:lnTo>
                  <a:pt x="867" y="640"/>
                </a:lnTo>
                <a:close/>
                <a:moveTo>
                  <a:pt x="468" y="136"/>
                </a:moveTo>
                <a:lnTo>
                  <a:pt x="469" y="138"/>
                </a:lnTo>
                <a:lnTo>
                  <a:pt x="471" y="138"/>
                </a:lnTo>
                <a:lnTo>
                  <a:pt x="471" y="136"/>
                </a:lnTo>
                <a:lnTo>
                  <a:pt x="470" y="134"/>
                </a:lnTo>
                <a:lnTo>
                  <a:pt x="468" y="132"/>
                </a:lnTo>
                <a:lnTo>
                  <a:pt x="466" y="131"/>
                </a:lnTo>
                <a:lnTo>
                  <a:pt x="462" y="130"/>
                </a:lnTo>
                <a:lnTo>
                  <a:pt x="459" y="130"/>
                </a:lnTo>
                <a:lnTo>
                  <a:pt x="463" y="133"/>
                </a:lnTo>
                <a:lnTo>
                  <a:pt x="466" y="136"/>
                </a:lnTo>
                <a:lnTo>
                  <a:pt x="466" y="138"/>
                </a:lnTo>
                <a:lnTo>
                  <a:pt x="466" y="138"/>
                </a:lnTo>
                <a:lnTo>
                  <a:pt x="463" y="138"/>
                </a:lnTo>
                <a:lnTo>
                  <a:pt x="462" y="138"/>
                </a:lnTo>
                <a:lnTo>
                  <a:pt x="461" y="139"/>
                </a:lnTo>
                <a:lnTo>
                  <a:pt x="461" y="140"/>
                </a:lnTo>
                <a:lnTo>
                  <a:pt x="460" y="143"/>
                </a:lnTo>
                <a:lnTo>
                  <a:pt x="459" y="144"/>
                </a:lnTo>
                <a:lnTo>
                  <a:pt x="461" y="144"/>
                </a:lnTo>
                <a:lnTo>
                  <a:pt x="459" y="144"/>
                </a:lnTo>
                <a:lnTo>
                  <a:pt x="463" y="144"/>
                </a:lnTo>
                <a:lnTo>
                  <a:pt x="468" y="144"/>
                </a:lnTo>
                <a:lnTo>
                  <a:pt x="470" y="148"/>
                </a:lnTo>
                <a:lnTo>
                  <a:pt x="475" y="149"/>
                </a:lnTo>
                <a:lnTo>
                  <a:pt x="477" y="148"/>
                </a:lnTo>
                <a:lnTo>
                  <a:pt x="476" y="147"/>
                </a:lnTo>
                <a:lnTo>
                  <a:pt x="475" y="145"/>
                </a:lnTo>
                <a:lnTo>
                  <a:pt x="472" y="144"/>
                </a:lnTo>
                <a:lnTo>
                  <a:pt x="471" y="143"/>
                </a:lnTo>
                <a:lnTo>
                  <a:pt x="468" y="141"/>
                </a:lnTo>
                <a:lnTo>
                  <a:pt x="467" y="140"/>
                </a:lnTo>
                <a:lnTo>
                  <a:pt x="466" y="136"/>
                </a:lnTo>
                <a:lnTo>
                  <a:pt x="467" y="136"/>
                </a:lnTo>
                <a:lnTo>
                  <a:pt x="468" y="136"/>
                </a:lnTo>
                <a:lnTo>
                  <a:pt x="468" y="136"/>
                </a:lnTo>
                <a:lnTo>
                  <a:pt x="468" y="136"/>
                </a:lnTo>
                <a:close/>
                <a:moveTo>
                  <a:pt x="315" y="108"/>
                </a:moveTo>
                <a:lnTo>
                  <a:pt x="317" y="107"/>
                </a:lnTo>
                <a:lnTo>
                  <a:pt x="317" y="106"/>
                </a:lnTo>
                <a:lnTo>
                  <a:pt x="315" y="105"/>
                </a:lnTo>
                <a:lnTo>
                  <a:pt x="313" y="103"/>
                </a:lnTo>
                <a:lnTo>
                  <a:pt x="309" y="101"/>
                </a:lnTo>
                <a:lnTo>
                  <a:pt x="305" y="100"/>
                </a:lnTo>
                <a:lnTo>
                  <a:pt x="307" y="102"/>
                </a:lnTo>
                <a:lnTo>
                  <a:pt x="310" y="106"/>
                </a:lnTo>
                <a:lnTo>
                  <a:pt x="313" y="108"/>
                </a:lnTo>
                <a:lnTo>
                  <a:pt x="315" y="108"/>
                </a:lnTo>
                <a:lnTo>
                  <a:pt x="315" y="108"/>
                </a:lnTo>
                <a:lnTo>
                  <a:pt x="315" y="108"/>
                </a:lnTo>
                <a:close/>
                <a:moveTo>
                  <a:pt x="726" y="640"/>
                </a:moveTo>
                <a:lnTo>
                  <a:pt x="724" y="641"/>
                </a:lnTo>
                <a:lnTo>
                  <a:pt x="724" y="643"/>
                </a:lnTo>
                <a:lnTo>
                  <a:pt x="726" y="643"/>
                </a:lnTo>
                <a:lnTo>
                  <a:pt x="729" y="642"/>
                </a:lnTo>
                <a:lnTo>
                  <a:pt x="732" y="641"/>
                </a:lnTo>
                <a:lnTo>
                  <a:pt x="734" y="641"/>
                </a:lnTo>
                <a:lnTo>
                  <a:pt x="738" y="640"/>
                </a:lnTo>
                <a:lnTo>
                  <a:pt x="740" y="639"/>
                </a:lnTo>
                <a:lnTo>
                  <a:pt x="732" y="638"/>
                </a:lnTo>
                <a:lnTo>
                  <a:pt x="726" y="640"/>
                </a:lnTo>
                <a:lnTo>
                  <a:pt x="727" y="640"/>
                </a:lnTo>
                <a:lnTo>
                  <a:pt x="726" y="640"/>
                </a:lnTo>
                <a:close/>
                <a:moveTo>
                  <a:pt x="282" y="182"/>
                </a:moveTo>
                <a:lnTo>
                  <a:pt x="278" y="184"/>
                </a:lnTo>
                <a:lnTo>
                  <a:pt x="272" y="185"/>
                </a:lnTo>
                <a:lnTo>
                  <a:pt x="274" y="188"/>
                </a:lnTo>
                <a:lnTo>
                  <a:pt x="278" y="189"/>
                </a:lnTo>
                <a:lnTo>
                  <a:pt x="281" y="189"/>
                </a:lnTo>
                <a:lnTo>
                  <a:pt x="284" y="188"/>
                </a:lnTo>
                <a:lnTo>
                  <a:pt x="285" y="185"/>
                </a:lnTo>
                <a:lnTo>
                  <a:pt x="285" y="184"/>
                </a:lnTo>
                <a:lnTo>
                  <a:pt x="284" y="182"/>
                </a:lnTo>
                <a:lnTo>
                  <a:pt x="282" y="182"/>
                </a:lnTo>
                <a:lnTo>
                  <a:pt x="281" y="183"/>
                </a:lnTo>
                <a:lnTo>
                  <a:pt x="282" y="182"/>
                </a:lnTo>
                <a:close/>
                <a:moveTo>
                  <a:pt x="412" y="185"/>
                </a:moveTo>
                <a:lnTo>
                  <a:pt x="414" y="188"/>
                </a:lnTo>
                <a:lnTo>
                  <a:pt x="417" y="190"/>
                </a:lnTo>
                <a:lnTo>
                  <a:pt x="419" y="190"/>
                </a:lnTo>
                <a:lnTo>
                  <a:pt x="420" y="190"/>
                </a:lnTo>
                <a:lnTo>
                  <a:pt x="421" y="190"/>
                </a:lnTo>
                <a:lnTo>
                  <a:pt x="421" y="189"/>
                </a:lnTo>
                <a:lnTo>
                  <a:pt x="421" y="186"/>
                </a:lnTo>
                <a:lnTo>
                  <a:pt x="421" y="185"/>
                </a:lnTo>
                <a:lnTo>
                  <a:pt x="420" y="185"/>
                </a:lnTo>
                <a:lnTo>
                  <a:pt x="418" y="185"/>
                </a:lnTo>
                <a:lnTo>
                  <a:pt x="416" y="185"/>
                </a:lnTo>
                <a:lnTo>
                  <a:pt x="412" y="185"/>
                </a:lnTo>
                <a:lnTo>
                  <a:pt x="413" y="186"/>
                </a:lnTo>
                <a:lnTo>
                  <a:pt x="412" y="185"/>
                </a:lnTo>
                <a:close/>
                <a:moveTo>
                  <a:pt x="398" y="169"/>
                </a:moveTo>
                <a:lnTo>
                  <a:pt x="402" y="173"/>
                </a:lnTo>
                <a:lnTo>
                  <a:pt x="404" y="176"/>
                </a:lnTo>
                <a:lnTo>
                  <a:pt x="405" y="177"/>
                </a:lnTo>
                <a:lnTo>
                  <a:pt x="408" y="178"/>
                </a:lnTo>
                <a:lnTo>
                  <a:pt x="410" y="180"/>
                </a:lnTo>
                <a:lnTo>
                  <a:pt x="413" y="178"/>
                </a:lnTo>
                <a:lnTo>
                  <a:pt x="410" y="176"/>
                </a:lnTo>
                <a:lnTo>
                  <a:pt x="406" y="174"/>
                </a:lnTo>
                <a:lnTo>
                  <a:pt x="403" y="171"/>
                </a:lnTo>
                <a:lnTo>
                  <a:pt x="398" y="169"/>
                </a:lnTo>
                <a:close/>
                <a:moveTo>
                  <a:pt x="46" y="284"/>
                </a:moveTo>
                <a:lnTo>
                  <a:pt x="47" y="282"/>
                </a:lnTo>
                <a:lnTo>
                  <a:pt x="47" y="279"/>
                </a:lnTo>
                <a:lnTo>
                  <a:pt x="42" y="280"/>
                </a:lnTo>
                <a:lnTo>
                  <a:pt x="38" y="281"/>
                </a:lnTo>
                <a:lnTo>
                  <a:pt x="39" y="282"/>
                </a:lnTo>
                <a:lnTo>
                  <a:pt x="41" y="284"/>
                </a:lnTo>
                <a:lnTo>
                  <a:pt x="43" y="284"/>
                </a:lnTo>
                <a:lnTo>
                  <a:pt x="46" y="284"/>
                </a:lnTo>
                <a:lnTo>
                  <a:pt x="46" y="284"/>
                </a:lnTo>
                <a:lnTo>
                  <a:pt x="46" y="284"/>
                </a:lnTo>
                <a:close/>
                <a:moveTo>
                  <a:pt x="775" y="626"/>
                </a:moveTo>
                <a:lnTo>
                  <a:pt x="781" y="626"/>
                </a:lnTo>
                <a:lnTo>
                  <a:pt x="785" y="626"/>
                </a:lnTo>
                <a:lnTo>
                  <a:pt x="790" y="625"/>
                </a:lnTo>
                <a:lnTo>
                  <a:pt x="793" y="623"/>
                </a:lnTo>
                <a:lnTo>
                  <a:pt x="789" y="623"/>
                </a:lnTo>
                <a:lnTo>
                  <a:pt x="784" y="623"/>
                </a:lnTo>
                <a:lnTo>
                  <a:pt x="780" y="623"/>
                </a:lnTo>
                <a:lnTo>
                  <a:pt x="775" y="626"/>
                </a:lnTo>
                <a:close/>
                <a:moveTo>
                  <a:pt x="1459" y="68"/>
                </a:moveTo>
                <a:lnTo>
                  <a:pt x="1463" y="68"/>
                </a:lnTo>
                <a:lnTo>
                  <a:pt x="1466" y="66"/>
                </a:lnTo>
                <a:lnTo>
                  <a:pt x="1467" y="62"/>
                </a:lnTo>
                <a:lnTo>
                  <a:pt x="1468" y="59"/>
                </a:lnTo>
                <a:lnTo>
                  <a:pt x="1464" y="61"/>
                </a:lnTo>
                <a:lnTo>
                  <a:pt x="1459" y="65"/>
                </a:lnTo>
                <a:lnTo>
                  <a:pt x="1458" y="65"/>
                </a:lnTo>
                <a:lnTo>
                  <a:pt x="1457" y="66"/>
                </a:lnTo>
                <a:lnTo>
                  <a:pt x="1457" y="67"/>
                </a:lnTo>
                <a:lnTo>
                  <a:pt x="1459" y="68"/>
                </a:lnTo>
                <a:lnTo>
                  <a:pt x="1460" y="68"/>
                </a:lnTo>
                <a:lnTo>
                  <a:pt x="1459" y="68"/>
                </a:lnTo>
                <a:close/>
                <a:moveTo>
                  <a:pt x="420" y="134"/>
                </a:moveTo>
                <a:lnTo>
                  <a:pt x="423" y="132"/>
                </a:lnTo>
                <a:lnTo>
                  <a:pt x="426" y="128"/>
                </a:lnTo>
                <a:lnTo>
                  <a:pt x="422" y="127"/>
                </a:lnTo>
                <a:lnTo>
                  <a:pt x="420" y="127"/>
                </a:lnTo>
                <a:lnTo>
                  <a:pt x="417" y="127"/>
                </a:lnTo>
                <a:lnTo>
                  <a:pt x="416" y="130"/>
                </a:lnTo>
                <a:lnTo>
                  <a:pt x="414" y="132"/>
                </a:lnTo>
                <a:lnTo>
                  <a:pt x="416" y="133"/>
                </a:lnTo>
                <a:lnTo>
                  <a:pt x="418" y="133"/>
                </a:lnTo>
                <a:lnTo>
                  <a:pt x="420" y="134"/>
                </a:lnTo>
                <a:lnTo>
                  <a:pt x="420" y="133"/>
                </a:lnTo>
                <a:lnTo>
                  <a:pt x="420" y="134"/>
                </a:lnTo>
                <a:close/>
                <a:moveTo>
                  <a:pt x="307" y="467"/>
                </a:moveTo>
                <a:lnTo>
                  <a:pt x="314" y="467"/>
                </a:lnTo>
                <a:lnTo>
                  <a:pt x="320" y="467"/>
                </a:lnTo>
                <a:lnTo>
                  <a:pt x="318" y="464"/>
                </a:lnTo>
                <a:lnTo>
                  <a:pt x="314" y="463"/>
                </a:lnTo>
                <a:lnTo>
                  <a:pt x="312" y="464"/>
                </a:lnTo>
                <a:lnTo>
                  <a:pt x="307" y="467"/>
                </a:lnTo>
                <a:close/>
                <a:moveTo>
                  <a:pt x="1520" y="193"/>
                </a:moveTo>
                <a:lnTo>
                  <a:pt x="1525" y="193"/>
                </a:lnTo>
                <a:lnTo>
                  <a:pt x="1530" y="192"/>
                </a:lnTo>
                <a:lnTo>
                  <a:pt x="1534" y="190"/>
                </a:lnTo>
                <a:lnTo>
                  <a:pt x="1538" y="188"/>
                </a:lnTo>
                <a:lnTo>
                  <a:pt x="1533" y="188"/>
                </a:lnTo>
                <a:lnTo>
                  <a:pt x="1529" y="190"/>
                </a:lnTo>
                <a:lnTo>
                  <a:pt x="1524" y="191"/>
                </a:lnTo>
                <a:lnTo>
                  <a:pt x="1520" y="193"/>
                </a:lnTo>
                <a:close/>
                <a:moveTo>
                  <a:pt x="144" y="388"/>
                </a:moveTo>
                <a:lnTo>
                  <a:pt x="134" y="388"/>
                </a:lnTo>
                <a:lnTo>
                  <a:pt x="125" y="388"/>
                </a:lnTo>
                <a:lnTo>
                  <a:pt x="133" y="390"/>
                </a:lnTo>
                <a:lnTo>
                  <a:pt x="140" y="391"/>
                </a:lnTo>
                <a:lnTo>
                  <a:pt x="144" y="392"/>
                </a:lnTo>
                <a:lnTo>
                  <a:pt x="146" y="390"/>
                </a:lnTo>
                <a:lnTo>
                  <a:pt x="147" y="389"/>
                </a:lnTo>
                <a:lnTo>
                  <a:pt x="146" y="389"/>
                </a:lnTo>
                <a:lnTo>
                  <a:pt x="145" y="388"/>
                </a:lnTo>
                <a:lnTo>
                  <a:pt x="144" y="388"/>
                </a:lnTo>
                <a:lnTo>
                  <a:pt x="142" y="388"/>
                </a:lnTo>
                <a:lnTo>
                  <a:pt x="144" y="388"/>
                </a:lnTo>
                <a:close/>
                <a:moveTo>
                  <a:pt x="89" y="285"/>
                </a:moveTo>
                <a:lnTo>
                  <a:pt x="89" y="284"/>
                </a:lnTo>
                <a:lnTo>
                  <a:pt x="89" y="283"/>
                </a:lnTo>
                <a:lnTo>
                  <a:pt x="87" y="282"/>
                </a:lnTo>
                <a:lnTo>
                  <a:pt x="84" y="281"/>
                </a:lnTo>
                <a:lnTo>
                  <a:pt x="82" y="282"/>
                </a:lnTo>
                <a:lnTo>
                  <a:pt x="80" y="284"/>
                </a:lnTo>
                <a:lnTo>
                  <a:pt x="79" y="288"/>
                </a:lnTo>
                <a:lnTo>
                  <a:pt x="78" y="290"/>
                </a:lnTo>
                <a:lnTo>
                  <a:pt x="79" y="290"/>
                </a:lnTo>
                <a:lnTo>
                  <a:pt x="81" y="290"/>
                </a:lnTo>
                <a:lnTo>
                  <a:pt x="82" y="288"/>
                </a:lnTo>
                <a:lnTo>
                  <a:pt x="82" y="286"/>
                </a:lnTo>
                <a:lnTo>
                  <a:pt x="85" y="285"/>
                </a:lnTo>
                <a:lnTo>
                  <a:pt x="89" y="285"/>
                </a:lnTo>
                <a:lnTo>
                  <a:pt x="88" y="285"/>
                </a:lnTo>
                <a:lnTo>
                  <a:pt x="89" y="285"/>
                </a:lnTo>
                <a:close/>
                <a:moveTo>
                  <a:pt x="288" y="418"/>
                </a:moveTo>
                <a:lnTo>
                  <a:pt x="282" y="417"/>
                </a:lnTo>
                <a:lnTo>
                  <a:pt x="276" y="418"/>
                </a:lnTo>
                <a:lnTo>
                  <a:pt x="279" y="420"/>
                </a:lnTo>
                <a:lnTo>
                  <a:pt x="282" y="421"/>
                </a:lnTo>
                <a:lnTo>
                  <a:pt x="286" y="421"/>
                </a:lnTo>
                <a:lnTo>
                  <a:pt x="288" y="418"/>
                </a:lnTo>
                <a:close/>
                <a:moveTo>
                  <a:pt x="140" y="222"/>
                </a:moveTo>
                <a:lnTo>
                  <a:pt x="149" y="225"/>
                </a:lnTo>
                <a:lnTo>
                  <a:pt x="158" y="228"/>
                </a:lnTo>
                <a:lnTo>
                  <a:pt x="155" y="225"/>
                </a:lnTo>
                <a:lnTo>
                  <a:pt x="150" y="223"/>
                </a:lnTo>
                <a:lnTo>
                  <a:pt x="145" y="222"/>
                </a:lnTo>
                <a:lnTo>
                  <a:pt x="140" y="222"/>
                </a:lnTo>
                <a:close/>
                <a:moveTo>
                  <a:pt x="236" y="113"/>
                </a:moveTo>
                <a:lnTo>
                  <a:pt x="236" y="114"/>
                </a:lnTo>
                <a:lnTo>
                  <a:pt x="237" y="115"/>
                </a:lnTo>
                <a:lnTo>
                  <a:pt x="239" y="117"/>
                </a:lnTo>
                <a:lnTo>
                  <a:pt x="241" y="118"/>
                </a:lnTo>
                <a:lnTo>
                  <a:pt x="246" y="119"/>
                </a:lnTo>
                <a:lnTo>
                  <a:pt x="249" y="118"/>
                </a:lnTo>
                <a:lnTo>
                  <a:pt x="248" y="116"/>
                </a:lnTo>
                <a:lnTo>
                  <a:pt x="244" y="113"/>
                </a:lnTo>
                <a:lnTo>
                  <a:pt x="241" y="111"/>
                </a:lnTo>
                <a:lnTo>
                  <a:pt x="239" y="111"/>
                </a:lnTo>
                <a:lnTo>
                  <a:pt x="237" y="111"/>
                </a:lnTo>
                <a:lnTo>
                  <a:pt x="236" y="113"/>
                </a:lnTo>
                <a:lnTo>
                  <a:pt x="236" y="111"/>
                </a:lnTo>
                <a:lnTo>
                  <a:pt x="236" y="113"/>
                </a:lnTo>
                <a:close/>
                <a:moveTo>
                  <a:pt x="401" y="503"/>
                </a:moveTo>
                <a:lnTo>
                  <a:pt x="409" y="503"/>
                </a:lnTo>
                <a:lnTo>
                  <a:pt x="416" y="500"/>
                </a:lnTo>
                <a:lnTo>
                  <a:pt x="409" y="499"/>
                </a:lnTo>
                <a:lnTo>
                  <a:pt x="405" y="499"/>
                </a:lnTo>
                <a:lnTo>
                  <a:pt x="403" y="500"/>
                </a:lnTo>
                <a:lnTo>
                  <a:pt x="401" y="503"/>
                </a:lnTo>
                <a:close/>
                <a:moveTo>
                  <a:pt x="71" y="285"/>
                </a:moveTo>
                <a:lnTo>
                  <a:pt x="63" y="284"/>
                </a:lnTo>
                <a:lnTo>
                  <a:pt x="56" y="285"/>
                </a:lnTo>
                <a:lnTo>
                  <a:pt x="62" y="288"/>
                </a:lnTo>
                <a:lnTo>
                  <a:pt x="68" y="288"/>
                </a:lnTo>
                <a:lnTo>
                  <a:pt x="70" y="289"/>
                </a:lnTo>
                <a:lnTo>
                  <a:pt x="72" y="288"/>
                </a:lnTo>
                <a:lnTo>
                  <a:pt x="72" y="286"/>
                </a:lnTo>
                <a:lnTo>
                  <a:pt x="71" y="285"/>
                </a:lnTo>
                <a:lnTo>
                  <a:pt x="68" y="285"/>
                </a:lnTo>
                <a:lnTo>
                  <a:pt x="71" y="285"/>
                </a:lnTo>
                <a:close/>
                <a:moveTo>
                  <a:pt x="182" y="396"/>
                </a:moveTo>
                <a:lnTo>
                  <a:pt x="188" y="398"/>
                </a:lnTo>
                <a:lnTo>
                  <a:pt x="192" y="399"/>
                </a:lnTo>
                <a:lnTo>
                  <a:pt x="196" y="398"/>
                </a:lnTo>
                <a:lnTo>
                  <a:pt x="200" y="396"/>
                </a:lnTo>
                <a:lnTo>
                  <a:pt x="191" y="394"/>
                </a:lnTo>
                <a:lnTo>
                  <a:pt x="182" y="396"/>
                </a:lnTo>
                <a:close/>
                <a:moveTo>
                  <a:pt x="567" y="578"/>
                </a:moveTo>
                <a:lnTo>
                  <a:pt x="559" y="578"/>
                </a:lnTo>
                <a:lnTo>
                  <a:pt x="552" y="581"/>
                </a:lnTo>
                <a:lnTo>
                  <a:pt x="557" y="581"/>
                </a:lnTo>
                <a:lnTo>
                  <a:pt x="561" y="581"/>
                </a:lnTo>
                <a:lnTo>
                  <a:pt x="565" y="582"/>
                </a:lnTo>
                <a:lnTo>
                  <a:pt x="568" y="584"/>
                </a:lnTo>
                <a:lnTo>
                  <a:pt x="568" y="583"/>
                </a:lnTo>
                <a:lnTo>
                  <a:pt x="569" y="581"/>
                </a:lnTo>
                <a:lnTo>
                  <a:pt x="568" y="579"/>
                </a:lnTo>
                <a:lnTo>
                  <a:pt x="567" y="578"/>
                </a:lnTo>
                <a:lnTo>
                  <a:pt x="567" y="578"/>
                </a:lnTo>
                <a:lnTo>
                  <a:pt x="567" y="578"/>
                </a:lnTo>
                <a:close/>
                <a:moveTo>
                  <a:pt x="421" y="159"/>
                </a:moveTo>
                <a:lnTo>
                  <a:pt x="420" y="160"/>
                </a:lnTo>
                <a:lnTo>
                  <a:pt x="418" y="163"/>
                </a:lnTo>
                <a:lnTo>
                  <a:pt x="419" y="165"/>
                </a:lnTo>
                <a:lnTo>
                  <a:pt x="420" y="165"/>
                </a:lnTo>
                <a:lnTo>
                  <a:pt x="421" y="165"/>
                </a:lnTo>
                <a:lnTo>
                  <a:pt x="423" y="166"/>
                </a:lnTo>
                <a:lnTo>
                  <a:pt x="426" y="167"/>
                </a:lnTo>
                <a:lnTo>
                  <a:pt x="428" y="167"/>
                </a:lnTo>
                <a:lnTo>
                  <a:pt x="428" y="165"/>
                </a:lnTo>
                <a:lnTo>
                  <a:pt x="427" y="164"/>
                </a:lnTo>
                <a:lnTo>
                  <a:pt x="427" y="161"/>
                </a:lnTo>
                <a:lnTo>
                  <a:pt x="427" y="159"/>
                </a:lnTo>
                <a:lnTo>
                  <a:pt x="425" y="159"/>
                </a:lnTo>
                <a:lnTo>
                  <a:pt x="421" y="159"/>
                </a:lnTo>
                <a:lnTo>
                  <a:pt x="421" y="158"/>
                </a:lnTo>
                <a:lnTo>
                  <a:pt x="421" y="159"/>
                </a:lnTo>
                <a:close/>
                <a:moveTo>
                  <a:pt x="120" y="241"/>
                </a:moveTo>
                <a:lnTo>
                  <a:pt x="113" y="241"/>
                </a:lnTo>
                <a:lnTo>
                  <a:pt x="105" y="241"/>
                </a:lnTo>
                <a:lnTo>
                  <a:pt x="108" y="246"/>
                </a:lnTo>
                <a:lnTo>
                  <a:pt x="112" y="247"/>
                </a:lnTo>
                <a:lnTo>
                  <a:pt x="116" y="246"/>
                </a:lnTo>
                <a:lnTo>
                  <a:pt x="120" y="241"/>
                </a:lnTo>
                <a:close/>
                <a:moveTo>
                  <a:pt x="831" y="646"/>
                </a:moveTo>
                <a:lnTo>
                  <a:pt x="835" y="646"/>
                </a:lnTo>
                <a:lnTo>
                  <a:pt x="839" y="647"/>
                </a:lnTo>
                <a:lnTo>
                  <a:pt x="843" y="646"/>
                </a:lnTo>
                <a:lnTo>
                  <a:pt x="848" y="645"/>
                </a:lnTo>
                <a:lnTo>
                  <a:pt x="843" y="643"/>
                </a:lnTo>
                <a:lnTo>
                  <a:pt x="839" y="643"/>
                </a:lnTo>
                <a:lnTo>
                  <a:pt x="834" y="645"/>
                </a:lnTo>
                <a:lnTo>
                  <a:pt x="831" y="646"/>
                </a:lnTo>
                <a:lnTo>
                  <a:pt x="834" y="645"/>
                </a:lnTo>
                <a:lnTo>
                  <a:pt x="831" y="646"/>
                </a:lnTo>
                <a:close/>
                <a:moveTo>
                  <a:pt x="1541" y="354"/>
                </a:moveTo>
                <a:lnTo>
                  <a:pt x="1538" y="354"/>
                </a:lnTo>
                <a:lnTo>
                  <a:pt x="1535" y="357"/>
                </a:lnTo>
                <a:lnTo>
                  <a:pt x="1534" y="358"/>
                </a:lnTo>
                <a:lnTo>
                  <a:pt x="1534" y="359"/>
                </a:lnTo>
                <a:lnTo>
                  <a:pt x="1535" y="360"/>
                </a:lnTo>
                <a:lnTo>
                  <a:pt x="1538" y="360"/>
                </a:lnTo>
                <a:lnTo>
                  <a:pt x="1541" y="359"/>
                </a:lnTo>
                <a:lnTo>
                  <a:pt x="1545" y="357"/>
                </a:lnTo>
                <a:lnTo>
                  <a:pt x="1545" y="356"/>
                </a:lnTo>
                <a:lnTo>
                  <a:pt x="1545" y="355"/>
                </a:lnTo>
                <a:lnTo>
                  <a:pt x="1543" y="354"/>
                </a:lnTo>
                <a:lnTo>
                  <a:pt x="1541" y="354"/>
                </a:lnTo>
                <a:lnTo>
                  <a:pt x="1541" y="354"/>
                </a:lnTo>
                <a:lnTo>
                  <a:pt x="1541" y="354"/>
                </a:lnTo>
                <a:close/>
                <a:moveTo>
                  <a:pt x="675" y="597"/>
                </a:moveTo>
                <a:lnTo>
                  <a:pt x="680" y="598"/>
                </a:lnTo>
                <a:lnTo>
                  <a:pt x="685" y="599"/>
                </a:lnTo>
                <a:lnTo>
                  <a:pt x="691" y="600"/>
                </a:lnTo>
                <a:lnTo>
                  <a:pt x="698" y="600"/>
                </a:lnTo>
                <a:lnTo>
                  <a:pt x="691" y="597"/>
                </a:lnTo>
                <a:lnTo>
                  <a:pt x="683" y="596"/>
                </a:lnTo>
                <a:lnTo>
                  <a:pt x="678" y="596"/>
                </a:lnTo>
                <a:lnTo>
                  <a:pt x="675" y="597"/>
                </a:lnTo>
                <a:lnTo>
                  <a:pt x="677" y="597"/>
                </a:lnTo>
                <a:lnTo>
                  <a:pt x="675" y="597"/>
                </a:lnTo>
                <a:close/>
                <a:moveTo>
                  <a:pt x="830" y="631"/>
                </a:moveTo>
                <a:lnTo>
                  <a:pt x="829" y="629"/>
                </a:lnTo>
                <a:lnTo>
                  <a:pt x="828" y="629"/>
                </a:lnTo>
                <a:lnTo>
                  <a:pt x="825" y="629"/>
                </a:lnTo>
                <a:lnTo>
                  <a:pt x="823" y="630"/>
                </a:lnTo>
                <a:lnTo>
                  <a:pt x="818" y="631"/>
                </a:lnTo>
                <a:lnTo>
                  <a:pt x="815" y="634"/>
                </a:lnTo>
                <a:lnTo>
                  <a:pt x="818" y="634"/>
                </a:lnTo>
                <a:lnTo>
                  <a:pt x="824" y="633"/>
                </a:lnTo>
                <a:lnTo>
                  <a:pt x="826" y="633"/>
                </a:lnTo>
                <a:lnTo>
                  <a:pt x="829" y="633"/>
                </a:lnTo>
                <a:lnTo>
                  <a:pt x="830" y="632"/>
                </a:lnTo>
                <a:lnTo>
                  <a:pt x="830" y="631"/>
                </a:lnTo>
                <a:lnTo>
                  <a:pt x="830" y="631"/>
                </a:lnTo>
                <a:lnTo>
                  <a:pt x="830" y="631"/>
                </a:lnTo>
                <a:close/>
                <a:moveTo>
                  <a:pt x="1490" y="202"/>
                </a:moveTo>
                <a:lnTo>
                  <a:pt x="1496" y="202"/>
                </a:lnTo>
                <a:lnTo>
                  <a:pt x="1501" y="201"/>
                </a:lnTo>
                <a:lnTo>
                  <a:pt x="1506" y="200"/>
                </a:lnTo>
                <a:lnTo>
                  <a:pt x="1510" y="197"/>
                </a:lnTo>
                <a:lnTo>
                  <a:pt x="1505" y="197"/>
                </a:lnTo>
                <a:lnTo>
                  <a:pt x="1500" y="197"/>
                </a:lnTo>
                <a:lnTo>
                  <a:pt x="1494" y="199"/>
                </a:lnTo>
                <a:lnTo>
                  <a:pt x="1490" y="202"/>
                </a:lnTo>
                <a:close/>
                <a:moveTo>
                  <a:pt x="888" y="206"/>
                </a:moveTo>
                <a:lnTo>
                  <a:pt x="889" y="208"/>
                </a:lnTo>
                <a:lnTo>
                  <a:pt x="892" y="209"/>
                </a:lnTo>
                <a:lnTo>
                  <a:pt x="895" y="209"/>
                </a:lnTo>
                <a:lnTo>
                  <a:pt x="897" y="209"/>
                </a:lnTo>
                <a:lnTo>
                  <a:pt x="898" y="208"/>
                </a:lnTo>
                <a:lnTo>
                  <a:pt x="900" y="207"/>
                </a:lnTo>
                <a:lnTo>
                  <a:pt x="898" y="206"/>
                </a:lnTo>
                <a:lnTo>
                  <a:pt x="896" y="205"/>
                </a:lnTo>
                <a:lnTo>
                  <a:pt x="894" y="202"/>
                </a:lnTo>
                <a:lnTo>
                  <a:pt x="891" y="201"/>
                </a:lnTo>
                <a:lnTo>
                  <a:pt x="888" y="201"/>
                </a:lnTo>
                <a:lnTo>
                  <a:pt x="888" y="202"/>
                </a:lnTo>
                <a:lnTo>
                  <a:pt x="889" y="205"/>
                </a:lnTo>
                <a:lnTo>
                  <a:pt x="888" y="206"/>
                </a:lnTo>
                <a:lnTo>
                  <a:pt x="888" y="206"/>
                </a:lnTo>
                <a:lnTo>
                  <a:pt x="888" y="206"/>
                </a:lnTo>
                <a:close/>
                <a:moveTo>
                  <a:pt x="97" y="407"/>
                </a:moveTo>
                <a:lnTo>
                  <a:pt x="103" y="409"/>
                </a:lnTo>
                <a:lnTo>
                  <a:pt x="108" y="410"/>
                </a:lnTo>
                <a:lnTo>
                  <a:pt x="115" y="410"/>
                </a:lnTo>
                <a:lnTo>
                  <a:pt x="121" y="410"/>
                </a:lnTo>
                <a:lnTo>
                  <a:pt x="115" y="408"/>
                </a:lnTo>
                <a:lnTo>
                  <a:pt x="109" y="407"/>
                </a:lnTo>
                <a:lnTo>
                  <a:pt x="103" y="407"/>
                </a:lnTo>
                <a:lnTo>
                  <a:pt x="97" y="407"/>
                </a:lnTo>
                <a:close/>
                <a:moveTo>
                  <a:pt x="32" y="387"/>
                </a:moveTo>
                <a:lnTo>
                  <a:pt x="23" y="387"/>
                </a:lnTo>
                <a:lnTo>
                  <a:pt x="15" y="389"/>
                </a:lnTo>
                <a:lnTo>
                  <a:pt x="19" y="389"/>
                </a:lnTo>
                <a:lnTo>
                  <a:pt x="23" y="391"/>
                </a:lnTo>
                <a:lnTo>
                  <a:pt x="25" y="391"/>
                </a:lnTo>
                <a:lnTo>
                  <a:pt x="27" y="390"/>
                </a:lnTo>
                <a:lnTo>
                  <a:pt x="30" y="389"/>
                </a:lnTo>
                <a:lnTo>
                  <a:pt x="32" y="387"/>
                </a:lnTo>
                <a:close/>
                <a:moveTo>
                  <a:pt x="49" y="394"/>
                </a:moveTo>
                <a:lnTo>
                  <a:pt x="46" y="396"/>
                </a:lnTo>
                <a:lnTo>
                  <a:pt x="43" y="398"/>
                </a:lnTo>
                <a:lnTo>
                  <a:pt x="41" y="397"/>
                </a:lnTo>
                <a:lnTo>
                  <a:pt x="40" y="396"/>
                </a:lnTo>
                <a:lnTo>
                  <a:pt x="38" y="396"/>
                </a:lnTo>
                <a:lnTo>
                  <a:pt x="33" y="394"/>
                </a:lnTo>
                <a:lnTo>
                  <a:pt x="30" y="394"/>
                </a:lnTo>
                <a:lnTo>
                  <a:pt x="27" y="396"/>
                </a:lnTo>
                <a:lnTo>
                  <a:pt x="29" y="398"/>
                </a:lnTo>
                <a:lnTo>
                  <a:pt x="31" y="399"/>
                </a:lnTo>
                <a:lnTo>
                  <a:pt x="33" y="399"/>
                </a:lnTo>
                <a:lnTo>
                  <a:pt x="37" y="399"/>
                </a:lnTo>
                <a:lnTo>
                  <a:pt x="42" y="399"/>
                </a:lnTo>
                <a:lnTo>
                  <a:pt x="47" y="399"/>
                </a:lnTo>
                <a:lnTo>
                  <a:pt x="48" y="399"/>
                </a:lnTo>
                <a:lnTo>
                  <a:pt x="50" y="399"/>
                </a:lnTo>
                <a:lnTo>
                  <a:pt x="51" y="399"/>
                </a:lnTo>
                <a:lnTo>
                  <a:pt x="52" y="398"/>
                </a:lnTo>
                <a:lnTo>
                  <a:pt x="52" y="396"/>
                </a:lnTo>
                <a:lnTo>
                  <a:pt x="51" y="396"/>
                </a:lnTo>
                <a:lnTo>
                  <a:pt x="50" y="394"/>
                </a:lnTo>
                <a:lnTo>
                  <a:pt x="49" y="394"/>
                </a:lnTo>
                <a:lnTo>
                  <a:pt x="49" y="394"/>
                </a:lnTo>
                <a:lnTo>
                  <a:pt x="49" y="394"/>
                </a:lnTo>
                <a:close/>
                <a:moveTo>
                  <a:pt x="916" y="234"/>
                </a:moveTo>
                <a:lnTo>
                  <a:pt x="920" y="235"/>
                </a:lnTo>
                <a:lnTo>
                  <a:pt x="922" y="235"/>
                </a:lnTo>
                <a:lnTo>
                  <a:pt x="924" y="235"/>
                </a:lnTo>
                <a:lnTo>
                  <a:pt x="927" y="233"/>
                </a:lnTo>
                <a:lnTo>
                  <a:pt x="921" y="232"/>
                </a:lnTo>
                <a:lnTo>
                  <a:pt x="914" y="231"/>
                </a:lnTo>
                <a:lnTo>
                  <a:pt x="909" y="232"/>
                </a:lnTo>
                <a:lnTo>
                  <a:pt x="904" y="234"/>
                </a:lnTo>
                <a:lnTo>
                  <a:pt x="911" y="233"/>
                </a:lnTo>
                <a:lnTo>
                  <a:pt x="916" y="234"/>
                </a:lnTo>
                <a:lnTo>
                  <a:pt x="919" y="234"/>
                </a:lnTo>
                <a:lnTo>
                  <a:pt x="916" y="234"/>
                </a:lnTo>
                <a:close/>
                <a:moveTo>
                  <a:pt x="626" y="156"/>
                </a:moveTo>
                <a:lnTo>
                  <a:pt x="627" y="156"/>
                </a:lnTo>
                <a:lnTo>
                  <a:pt x="628" y="153"/>
                </a:lnTo>
                <a:lnTo>
                  <a:pt x="628" y="152"/>
                </a:lnTo>
                <a:lnTo>
                  <a:pt x="627" y="151"/>
                </a:lnTo>
                <a:lnTo>
                  <a:pt x="626" y="151"/>
                </a:lnTo>
                <a:lnTo>
                  <a:pt x="625" y="151"/>
                </a:lnTo>
                <a:lnTo>
                  <a:pt x="622" y="149"/>
                </a:lnTo>
                <a:lnTo>
                  <a:pt x="619" y="147"/>
                </a:lnTo>
                <a:lnTo>
                  <a:pt x="616" y="145"/>
                </a:lnTo>
                <a:lnTo>
                  <a:pt x="612" y="145"/>
                </a:lnTo>
                <a:lnTo>
                  <a:pt x="618" y="151"/>
                </a:lnTo>
                <a:lnTo>
                  <a:pt x="626" y="156"/>
                </a:lnTo>
                <a:lnTo>
                  <a:pt x="624" y="155"/>
                </a:lnTo>
                <a:lnTo>
                  <a:pt x="626" y="156"/>
                </a:lnTo>
                <a:close/>
                <a:moveTo>
                  <a:pt x="450" y="141"/>
                </a:moveTo>
                <a:lnTo>
                  <a:pt x="452" y="141"/>
                </a:lnTo>
                <a:lnTo>
                  <a:pt x="453" y="140"/>
                </a:lnTo>
                <a:lnTo>
                  <a:pt x="454" y="139"/>
                </a:lnTo>
                <a:lnTo>
                  <a:pt x="454" y="136"/>
                </a:lnTo>
                <a:lnTo>
                  <a:pt x="452" y="134"/>
                </a:lnTo>
                <a:lnTo>
                  <a:pt x="449" y="133"/>
                </a:lnTo>
                <a:lnTo>
                  <a:pt x="446" y="132"/>
                </a:lnTo>
                <a:lnTo>
                  <a:pt x="445" y="132"/>
                </a:lnTo>
                <a:lnTo>
                  <a:pt x="444" y="133"/>
                </a:lnTo>
                <a:lnTo>
                  <a:pt x="443" y="134"/>
                </a:lnTo>
                <a:lnTo>
                  <a:pt x="443" y="138"/>
                </a:lnTo>
                <a:lnTo>
                  <a:pt x="444" y="140"/>
                </a:lnTo>
                <a:lnTo>
                  <a:pt x="447" y="141"/>
                </a:lnTo>
                <a:lnTo>
                  <a:pt x="450" y="141"/>
                </a:lnTo>
                <a:lnTo>
                  <a:pt x="451" y="141"/>
                </a:lnTo>
                <a:lnTo>
                  <a:pt x="450" y="141"/>
                </a:lnTo>
                <a:close/>
                <a:moveTo>
                  <a:pt x="536" y="153"/>
                </a:moveTo>
                <a:lnTo>
                  <a:pt x="527" y="148"/>
                </a:lnTo>
                <a:lnTo>
                  <a:pt x="518" y="142"/>
                </a:lnTo>
                <a:lnTo>
                  <a:pt x="519" y="144"/>
                </a:lnTo>
                <a:lnTo>
                  <a:pt x="520" y="147"/>
                </a:lnTo>
                <a:lnTo>
                  <a:pt x="523" y="149"/>
                </a:lnTo>
                <a:lnTo>
                  <a:pt x="525" y="150"/>
                </a:lnTo>
                <a:lnTo>
                  <a:pt x="530" y="151"/>
                </a:lnTo>
                <a:lnTo>
                  <a:pt x="536" y="153"/>
                </a:lnTo>
                <a:close/>
                <a:moveTo>
                  <a:pt x="384" y="476"/>
                </a:moveTo>
                <a:lnTo>
                  <a:pt x="379" y="475"/>
                </a:lnTo>
                <a:lnTo>
                  <a:pt x="375" y="474"/>
                </a:lnTo>
                <a:lnTo>
                  <a:pt x="378" y="477"/>
                </a:lnTo>
                <a:lnTo>
                  <a:pt x="383" y="481"/>
                </a:lnTo>
                <a:lnTo>
                  <a:pt x="385" y="483"/>
                </a:lnTo>
                <a:lnTo>
                  <a:pt x="388" y="484"/>
                </a:lnTo>
                <a:lnTo>
                  <a:pt x="390" y="483"/>
                </a:lnTo>
                <a:lnTo>
                  <a:pt x="394" y="482"/>
                </a:lnTo>
                <a:lnTo>
                  <a:pt x="388" y="479"/>
                </a:lnTo>
                <a:lnTo>
                  <a:pt x="384" y="476"/>
                </a:lnTo>
                <a:lnTo>
                  <a:pt x="383" y="476"/>
                </a:lnTo>
                <a:lnTo>
                  <a:pt x="384" y="476"/>
                </a:lnTo>
                <a:close/>
                <a:moveTo>
                  <a:pt x="454" y="189"/>
                </a:moveTo>
                <a:lnTo>
                  <a:pt x="453" y="190"/>
                </a:lnTo>
                <a:lnTo>
                  <a:pt x="454" y="192"/>
                </a:lnTo>
                <a:lnTo>
                  <a:pt x="456" y="194"/>
                </a:lnTo>
                <a:lnTo>
                  <a:pt x="459" y="196"/>
                </a:lnTo>
                <a:lnTo>
                  <a:pt x="461" y="196"/>
                </a:lnTo>
                <a:lnTo>
                  <a:pt x="463" y="194"/>
                </a:lnTo>
                <a:lnTo>
                  <a:pt x="464" y="192"/>
                </a:lnTo>
                <a:lnTo>
                  <a:pt x="464" y="191"/>
                </a:lnTo>
                <a:lnTo>
                  <a:pt x="471" y="192"/>
                </a:lnTo>
                <a:lnTo>
                  <a:pt x="479" y="193"/>
                </a:lnTo>
                <a:lnTo>
                  <a:pt x="475" y="191"/>
                </a:lnTo>
                <a:lnTo>
                  <a:pt x="471" y="190"/>
                </a:lnTo>
                <a:lnTo>
                  <a:pt x="468" y="190"/>
                </a:lnTo>
                <a:lnTo>
                  <a:pt x="463" y="190"/>
                </a:lnTo>
                <a:lnTo>
                  <a:pt x="463" y="191"/>
                </a:lnTo>
                <a:lnTo>
                  <a:pt x="462" y="191"/>
                </a:lnTo>
                <a:lnTo>
                  <a:pt x="461" y="190"/>
                </a:lnTo>
                <a:lnTo>
                  <a:pt x="461" y="189"/>
                </a:lnTo>
                <a:lnTo>
                  <a:pt x="458" y="189"/>
                </a:lnTo>
                <a:lnTo>
                  <a:pt x="454" y="189"/>
                </a:lnTo>
                <a:lnTo>
                  <a:pt x="453" y="189"/>
                </a:lnTo>
                <a:lnTo>
                  <a:pt x="454" y="189"/>
                </a:lnTo>
                <a:close/>
                <a:moveTo>
                  <a:pt x="186" y="418"/>
                </a:moveTo>
                <a:lnTo>
                  <a:pt x="175" y="416"/>
                </a:lnTo>
                <a:lnTo>
                  <a:pt x="164" y="414"/>
                </a:lnTo>
                <a:lnTo>
                  <a:pt x="170" y="418"/>
                </a:lnTo>
                <a:lnTo>
                  <a:pt x="174" y="421"/>
                </a:lnTo>
                <a:lnTo>
                  <a:pt x="180" y="421"/>
                </a:lnTo>
                <a:lnTo>
                  <a:pt x="186" y="418"/>
                </a:lnTo>
                <a:close/>
                <a:moveTo>
                  <a:pt x="186" y="337"/>
                </a:moveTo>
                <a:lnTo>
                  <a:pt x="191" y="339"/>
                </a:lnTo>
                <a:lnTo>
                  <a:pt x="197" y="341"/>
                </a:lnTo>
                <a:lnTo>
                  <a:pt x="199" y="342"/>
                </a:lnTo>
                <a:lnTo>
                  <a:pt x="202" y="342"/>
                </a:lnTo>
                <a:lnTo>
                  <a:pt x="205" y="342"/>
                </a:lnTo>
                <a:lnTo>
                  <a:pt x="208" y="341"/>
                </a:lnTo>
                <a:lnTo>
                  <a:pt x="203" y="340"/>
                </a:lnTo>
                <a:lnTo>
                  <a:pt x="197" y="338"/>
                </a:lnTo>
                <a:lnTo>
                  <a:pt x="195" y="337"/>
                </a:lnTo>
                <a:lnTo>
                  <a:pt x="191" y="335"/>
                </a:lnTo>
                <a:lnTo>
                  <a:pt x="189" y="335"/>
                </a:lnTo>
                <a:lnTo>
                  <a:pt x="186" y="337"/>
                </a:lnTo>
                <a:close/>
                <a:moveTo>
                  <a:pt x="207" y="400"/>
                </a:moveTo>
                <a:lnTo>
                  <a:pt x="212" y="404"/>
                </a:lnTo>
                <a:lnTo>
                  <a:pt x="215" y="405"/>
                </a:lnTo>
                <a:lnTo>
                  <a:pt x="219" y="404"/>
                </a:lnTo>
                <a:lnTo>
                  <a:pt x="222" y="398"/>
                </a:lnTo>
                <a:lnTo>
                  <a:pt x="214" y="398"/>
                </a:lnTo>
                <a:lnTo>
                  <a:pt x="207" y="400"/>
                </a:lnTo>
                <a:close/>
                <a:moveTo>
                  <a:pt x="1020" y="657"/>
                </a:moveTo>
                <a:lnTo>
                  <a:pt x="1013" y="658"/>
                </a:lnTo>
                <a:lnTo>
                  <a:pt x="1007" y="662"/>
                </a:lnTo>
                <a:lnTo>
                  <a:pt x="1006" y="663"/>
                </a:lnTo>
                <a:lnTo>
                  <a:pt x="1005" y="665"/>
                </a:lnTo>
                <a:lnTo>
                  <a:pt x="1006" y="667"/>
                </a:lnTo>
                <a:lnTo>
                  <a:pt x="1008" y="669"/>
                </a:lnTo>
                <a:lnTo>
                  <a:pt x="1010" y="669"/>
                </a:lnTo>
                <a:lnTo>
                  <a:pt x="1010" y="667"/>
                </a:lnTo>
                <a:lnTo>
                  <a:pt x="1010" y="666"/>
                </a:lnTo>
                <a:lnTo>
                  <a:pt x="1008" y="665"/>
                </a:lnTo>
                <a:lnTo>
                  <a:pt x="1011" y="663"/>
                </a:lnTo>
                <a:lnTo>
                  <a:pt x="1013" y="662"/>
                </a:lnTo>
                <a:lnTo>
                  <a:pt x="1014" y="664"/>
                </a:lnTo>
                <a:lnTo>
                  <a:pt x="1014" y="666"/>
                </a:lnTo>
                <a:lnTo>
                  <a:pt x="1016" y="667"/>
                </a:lnTo>
                <a:lnTo>
                  <a:pt x="1019" y="667"/>
                </a:lnTo>
                <a:lnTo>
                  <a:pt x="1018" y="666"/>
                </a:lnTo>
                <a:lnTo>
                  <a:pt x="1016" y="665"/>
                </a:lnTo>
                <a:lnTo>
                  <a:pt x="1016" y="664"/>
                </a:lnTo>
                <a:lnTo>
                  <a:pt x="1016" y="663"/>
                </a:lnTo>
                <a:lnTo>
                  <a:pt x="1019" y="659"/>
                </a:lnTo>
                <a:lnTo>
                  <a:pt x="1020" y="657"/>
                </a:lnTo>
                <a:lnTo>
                  <a:pt x="1018" y="659"/>
                </a:lnTo>
                <a:lnTo>
                  <a:pt x="1020" y="657"/>
                </a:lnTo>
                <a:close/>
                <a:moveTo>
                  <a:pt x="149" y="164"/>
                </a:moveTo>
                <a:lnTo>
                  <a:pt x="147" y="161"/>
                </a:lnTo>
                <a:lnTo>
                  <a:pt x="145" y="159"/>
                </a:lnTo>
                <a:lnTo>
                  <a:pt x="144" y="158"/>
                </a:lnTo>
                <a:lnTo>
                  <a:pt x="142" y="157"/>
                </a:lnTo>
                <a:lnTo>
                  <a:pt x="141" y="156"/>
                </a:lnTo>
                <a:lnTo>
                  <a:pt x="138" y="156"/>
                </a:lnTo>
                <a:lnTo>
                  <a:pt x="134" y="158"/>
                </a:lnTo>
                <a:lnTo>
                  <a:pt x="130" y="158"/>
                </a:lnTo>
                <a:lnTo>
                  <a:pt x="128" y="157"/>
                </a:lnTo>
                <a:lnTo>
                  <a:pt x="126" y="157"/>
                </a:lnTo>
                <a:lnTo>
                  <a:pt x="124" y="157"/>
                </a:lnTo>
                <a:lnTo>
                  <a:pt x="123" y="159"/>
                </a:lnTo>
                <a:lnTo>
                  <a:pt x="130" y="161"/>
                </a:lnTo>
                <a:lnTo>
                  <a:pt x="137" y="163"/>
                </a:lnTo>
                <a:lnTo>
                  <a:pt x="144" y="164"/>
                </a:lnTo>
                <a:lnTo>
                  <a:pt x="149" y="164"/>
                </a:lnTo>
                <a:lnTo>
                  <a:pt x="149" y="164"/>
                </a:lnTo>
                <a:lnTo>
                  <a:pt x="149" y="164"/>
                </a:lnTo>
                <a:close/>
                <a:moveTo>
                  <a:pt x="425" y="476"/>
                </a:moveTo>
                <a:lnTo>
                  <a:pt x="428" y="480"/>
                </a:lnTo>
                <a:lnTo>
                  <a:pt x="433" y="482"/>
                </a:lnTo>
                <a:lnTo>
                  <a:pt x="426" y="482"/>
                </a:lnTo>
                <a:lnTo>
                  <a:pt x="418" y="482"/>
                </a:lnTo>
                <a:lnTo>
                  <a:pt x="420" y="484"/>
                </a:lnTo>
                <a:lnTo>
                  <a:pt x="423" y="484"/>
                </a:lnTo>
                <a:lnTo>
                  <a:pt x="426" y="487"/>
                </a:lnTo>
                <a:lnTo>
                  <a:pt x="430" y="487"/>
                </a:lnTo>
                <a:lnTo>
                  <a:pt x="433" y="485"/>
                </a:lnTo>
                <a:lnTo>
                  <a:pt x="434" y="483"/>
                </a:lnTo>
                <a:lnTo>
                  <a:pt x="437" y="482"/>
                </a:lnTo>
                <a:lnTo>
                  <a:pt x="439" y="481"/>
                </a:lnTo>
                <a:lnTo>
                  <a:pt x="436" y="479"/>
                </a:lnTo>
                <a:lnTo>
                  <a:pt x="433" y="476"/>
                </a:lnTo>
                <a:lnTo>
                  <a:pt x="429" y="476"/>
                </a:lnTo>
                <a:lnTo>
                  <a:pt x="425" y="476"/>
                </a:lnTo>
                <a:lnTo>
                  <a:pt x="427" y="477"/>
                </a:lnTo>
                <a:lnTo>
                  <a:pt x="425" y="476"/>
                </a:lnTo>
                <a:close/>
                <a:moveTo>
                  <a:pt x="139" y="310"/>
                </a:moveTo>
                <a:lnTo>
                  <a:pt x="139" y="309"/>
                </a:lnTo>
                <a:lnTo>
                  <a:pt x="137" y="308"/>
                </a:lnTo>
                <a:lnTo>
                  <a:pt x="134" y="308"/>
                </a:lnTo>
                <a:lnTo>
                  <a:pt x="133" y="308"/>
                </a:lnTo>
                <a:lnTo>
                  <a:pt x="130" y="307"/>
                </a:lnTo>
                <a:lnTo>
                  <a:pt x="126" y="305"/>
                </a:lnTo>
                <a:lnTo>
                  <a:pt x="123" y="302"/>
                </a:lnTo>
                <a:lnTo>
                  <a:pt x="121" y="302"/>
                </a:lnTo>
                <a:lnTo>
                  <a:pt x="115" y="302"/>
                </a:lnTo>
                <a:lnTo>
                  <a:pt x="109" y="304"/>
                </a:lnTo>
                <a:lnTo>
                  <a:pt x="115" y="306"/>
                </a:lnTo>
                <a:lnTo>
                  <a:pt x="125" y="309"/>
                </a:lnTo>
                <a:lnTo>
                  <a:pt x="130" y="310"/>
                </a:lnTo>
                <a:lnTo>
                  <a:pt x="134" y="311"/>
                </a:lnTo>
                <a:lnTo>
                  <a:pt x="138" y="311"/>
                </a:lnTo>
                <a:lnTo>
                  <a:pt x="139" y="310"/>
                </a:lnTo>
                <a:lnTo>
                  <a:pt x="139" y="310"/>
                </a:lnTo>
                <a:lnTo>
                  <a:pt x="139" y="310"/>
                </a:lnTo>
                <a:close/>
                <a:moveTo>
                  <a:pt x="557" y="551"/>
                </a:moveTo>
                <a:lnTo>
                  <a:pt x="559" y="550"/>
                </a:lnTo>
                <a:lnTo>
                  <a:pt x="561" y="550"/>
                </a:lnTo>
                <a:lnTo>
                  <a:pt x="563" y="550"/>
                </a:lnTo>
                <a:lnTo>
                  <a:pt x="566" y="551"/>
                </a:lnTo>
                <a:lnTo>
                  <a:pt x="570" y="554"/>
                </a:lnTo>
                <a:lnTo>
                  <a:pt x="575" y="556"/>
                </a:lnTo>
                <a:lnTo>
                  <a:pt x="578" y="556"/>
                </a:lnTo>
                <a:lnTo>
                  <a:pt x="581" y="555"/>
                </a:lnTo>
                <a:lnTo>
                  <a:pt x="581" y="554"/>
                </a:lnTo>
                <a:lnTo>
                  <a:pt x="577" y="553"/>
                </a:lnTo>
                <a:lnTo>
                  <a:pt x="574" y="551"/>
                </a:lnTo>
                <a:lnTo>
                  <a:pt x="570" y="549"/>
                </a:lnTo>
                <a:lnTo>
                  <a:pt x="567" y="548"/>
                </a:lnTo>
                <a:lnTo>
                  <a:pt x="563" y="547"/>
                </a:lnTo>
                <a:lnTo>
                  <a:pt x="559" y="547"/>
                </a:lnTo>
                <a:lnTo>
                  <a:pt x="554" y="549"/>
                </a:lnTo>
                <a:lnTo>
                  <a:pt x="554" y="550"/>
                </a:lnTo>
                <a:lnTo>
                  <a:pt x="554" y="551"/>
                </a:lnTo>
                <a:lnTo>
                  <a:pt x="556" y="553"/>
                </a:lnTo>
                <a:lnTo>
                  <a:pt x="557" y="551"/>
                </a:lnTo>
                <a:lnTo>
                  <a:pt x="559" y="550"/>
                </a:lnTo>
                <a:lnTo>
                  <a:pt x="557" y="551"/>
                </a:lnTo>
                <a:close/>
                <a:moveTo>
                  <a:pt x="479" y="203"/>
                </a:moveTo>
                <a:lnTo>
                  <a:pt x="492" y="211"/>
                </a:lnTo>
                <a:lnTo>
                  <a:pt x="505" y="218"/>
                </a:lnTo>
                <a:lnTo>
                  <a:pt x="504" y="215"/>
                </a:lnTo>
                <a:lnTo>
                  <a:pt x="505" y="211"/>
                </a:lnTo>
                <a:lnTo>
                  <a:pt x="492" y="208"/>
                </a:lnTo>
                <a:lnTo>
                  <a:pt x="479" y="203"/>
                </a:lnTo>
                <a:lnTo>
                  <a:pt x="486" y="203"/>
                </a:lnTo>
                <a:lnTo>
                  <a:pt x="479" y="203"/>
                </a:lnTo>
                <a:close/>
                <a:moveTo>
                  <a:pt x="459" y="281"/>
                </a:moveTo>
                <a:lnTo>
                  <a:pt x="461" y="281"/>
                </a:lnTo>
                <a:lnTo>
                  <a:pt x="462" y="281"/>
                </a:lnTo>
                <a:lnTo>
                  <a:pt x="461" y="281"/>
                </a:lnTo>
                <a:lnTo>
                  <a:pt x="459" y="281"/>
                </a:lnTo>
                <a:lnTo>
                  <a:pt x="454" y="279"/>
                </a:lnTo>
                <a:lnTo>
                  <a:pt x="450" y="275"/>
                </a:lnTo>
                <a:lnTo>
                  <a:pt x="450" y="275"/>
                </a:lnTo>
                <a:lnTo>
                  <a:pt x="450" y="275"/>
                </a:lnTo>
                <a:lnTo>
                  <a:pt x="447" y="274"/>
                </a:lnTo>
                <a:lnTo>
                  <a:pt x="445" y="274"/>
                </a:lnTo>
                <a:lnTo>
                  <a:pt x="443" y="276"/>
                </a:lnTo>
                <a:lnTo>
                  <a:pt x="442" y="277"/>
                </a:lnTo>
                <a:lnTo>
                  <a:pt x="439" y="277"/>
                </a:lnTo>
                <a:lnTo>
                  <a:pt x="437" y="275"/>
                </a:lnTo>
                <a:lnTo>
                  <a:pt x="436" y="275"/>
                </a:lnTo>
                <a:lnTo>
                  <a:pt x="435" y="275"/>
                </a:lnTo>
                <a:lnTo>
                  <a:pt x="434" y="275"/>
                </a:lnTo>
                <a:lnTo>
                  <a:pt x="433" y="277"/>
                </a:lnTo>
                <a:lnTo>
                  <a:pt x="436" y="279"/>
                </a:lnTo>
                <a:lnTo>
                  <a:pt x="438" y="280"/>
                </a:lnTo>
                <a:lnTo>
                  <a:pt x="439" y="281"/>
                </a:lnTo>
                <a:lnTo>
                  <a:pt x="441" y="282"/>
                </a:lnTo>
                <a:lnTo>
                  <a:pt x="442" y="283"/>
                </a:lnTo>
                <a:lnTo>
                  <a:pt x="444" y="283"/>
                </a:lnTo>
                <a:lnTo>
                  <a:pt x="446" y="281"/>
                </a:lnTo>
                <a:lnTo>
                  <a:pt x="449" y="279"/>
                </a:lnTo>
                <a:lnTo>
                  <a:pt x="454" y="280"/>
                </a:lnTo>
                <a:lnTo>
                  <a:pt x="459" y="281"/>
                </a:lnTo>
                <a:close/>
                <a:moveTo>
                  <a:pt x="459" y="281"/>
                </a:moveTo>
                <a:lnTo>
                  <a:pt x="460" y="281"/>
                </a:lnTo>
                <a:lnTo>
                  <a:pt x="459" y="281"/>
                </a:lnTo>
                <a:close/>
                <a:moveTo>
                  <a:pt x="373" y="449"/>
                </a:moveTo>
                <a:lnTo>
                  <a:pt x="357" y="448"/>
                </a:lnTo>
                <a:lnTo>
                  <a:pt x="342" y="447"/>
                </a:lnTo>
                <a:lnTo>
                  <a:pt x="345" y="449"/>
                </a:lnTo>
                <a:lnTo>
                  <a:pt x="350" y="450"/>
                </a:lnTo>
                <a:lnTo>
                  <a:pt x="353" y="451"/>
                </a:lnTo>
                <a:lnTo>
                  <a:pt x="357" y="451"/>
                </a:lnTo>
                <a:lnTo>
                  <a:pt x="365" y="450"/>
                </a:lnTo>
                <a:lnTo>
                  <a:pt x="373" y="449"/>
                </a:lnTo>
                <a:close/>
                <a:moveTo>
                  <a:pt x="288" y="171"/>
                </a:moveTo>
                <a:lnTo>
                  <a:pt x="287" y="167"/>
                </a:lnTo>
                <a:lnTo>
                  <a:pt x="285" y="165"/>
                </a:lnTo>
                <a:lnTo>
                  <a:pt x="281" y="165"/>
                </a:lnTo>
                <a:lnTo>
                  <a:pt x="278" y="165"/>
                </a:lnTo>
                <a:lnTo>
                  <a:pt x="274" y="167"/>
                </a:lnTo>
                <a:lnTo>
                  <a:pt x="271" y="169"/>
                </a:lnTo>
                <a:lnTo>
                  <a:pt x="270" y="172"/>
                </a:lnTo>
                <a:lnTo>
                  <a:pt x="270" y="175"/>
                </a:lnTo>
                <a:lnTo>
                  <a:pt x="271" y="176"/>
                </a:lnTo>
                <a:lnTo>
                  <a:pt x="273" y="177"/>
                </a:lnTo>
                <a:lnTo>
                  <a:pt x="276" y="177"/>
                </a:lnTo>
                <a:lnTo>
                  <a:pt x="279" y="176"/>
                </a:lnTo>
                <a:lnTo>
                  <a:pt x="285" y="174"/>
                </a:lnTo>
                <a:lnTo>
                  <a:pt x="288" y="171"/>
                </a:lnTo>
                <a:lnTo>
                  <a:pt x="287" y="169"/>
                </a:lnTo>
                <a:lnTo>
                  <a:pt x="288" y="171"/>
                </a:lnTo>
                <a:close/>
                <a:moveTo>
                  <a:pt x="1465" y="105"/>
                </a:moveTo>
                <a:lnTo>
                  <a:pt x="1464" y="102"/>
                </a:lnTo>
                <a:lnTo>
                  <a:pt x="1463" y="101"/>
                </a:lnTo>
                <a:lnTo>
                  <a:pt x="1464" y="99"/>
                </a:lnTo>
                <a:lnTo>
                  <a:pt x="1465" y="98"/>
                </a:lnTo>
                <a:lnTo>
                  <a:pt x="1467" y="97"/>
                </a:lnTo>
                <a:lnTo>
                  <a:pt x="1469" y="99"/>
                </a:lnTo>
                <a:lnTo>
                  <a:pt x="1472" y="99"/>
                </a:lnTo>
                <a:lnTo>
                  <a:pt x="1473" y="98"/>
                </a:lnTo>
                <a:lnTo>
                  <a:pt x="1474" y="97"/>
                </a:lnTo>
                <a:lnTo>
                  <a:pt x="1475" y="95"/>
                </a:lnTo>
                <a:lnTo>
                  <a:pt x="1476" y="95"/>
                </a:lnTo>
                <a:lnTo>
                  <a:pt x="1479" y="95"/>
                </a:lnTo>
                <a:lnTo>
                  <a:pt x="1479" y="94"/>
                </a:lnTo>
                <a:lnTo>
                  <a:pt x="1479" y="93"/>
                </a:lnTo>
                <a:lnTo>
                  <a:pt x="1477" y="92"/>
                </a:lnTo>
                <a:lnTo>
                  <a:pt x="1476" y="92"/>
                </a:lnTo>
                <a:lnTo>
                  <a:pt x="1472" y="92"/>
                </a:lnTo>
                <a:lnTo>
                  <a:pt x="1469" y="92"/>
                </a:lnTo>
                <a:lnTo>
                  <a:pt x="1465" y="94"/>
                </a:lnTo>
                <a:lnTo>
                  <a:pt x="1460" y="95"/>
                </a:lnTo>
                <a:lnTo>
                  <a:pt x="1456" y="99"/>
                </a:lnTo>
                <a:lnTo>
                  <a:pt x="1452" y="101"/>
                </a:lnTo>
                <a:lnTo>
                  <a:pt x="1458" y="102"/>
                </a:lnTo>
                <a:lnTo>
                  <a:pt x="1465" y="105"/>
                </a:lnTo>
                <a:lnTo>
                  <a:pt x="1461" y="105"/>
                </a:lnTo>
                <a:lnTo>
                  <a:pt x="1465" y="105"/>
                </a:lnTo>
                <a:close/>
                <a:moveTo>
                  <a:pt x="255" y="122"/>
                </a:moveTo>
                <a:lnTo>
                  <a:pt x="263" y="125"/>
                </a:lnTo>
                <a:lnTo>
                  <a:pt x="271" y="128"/>
                </a:lnTo>
                <a:lnTo>
                  <a:pt x="280" y="133"/>
                </a:lnTo>
                <a:lnTo>
                  <a:pt x="289" y="136"/>
                </a:lnTo>
                <a:lnTo>
                  <a:pt x="287" y="133"/>
                </a:lnTo>
                <a:lnTo>
                  <a:pt x="286" y="130"/>
                </a:lnTo>
                <a:lnTo>
                  <a:pt x="282" y="127"/>
                </a:lnTo>
                <a:lnTo>
                  <a:pt x="279" y="125"/>
                </a:lnTo>
                <a:lnTo>
                  <a:pt x="279" y="126"/>
                </a:lnTo>
                <a:lnTo>
                  <a:pt x="278" y="127"/>
                </a:lnTo>
                <a:lnTo>
                  <a:pt x="277" y="128"/>
                </a:lnTo>
                <a:lnTo>
                  <a:pt x="276" y="128"/>
                </a:lnTo>
                <a:lnTo>
                  <a:pt x="272" y="125"/>
                </a:lnTo>
                <a:lnTo>
                  <a:pt x="270" y="122"/>
                </a:lnTo>
                <a:lnTo>
                  <a:pt x="264" y="120"/>
                </a:lnTo>
                <a:lnTo>
                  <a:pt x="258" y="119"/>
                </a:lnTo>
                <a:lnTo>
                  <a:pt x="256" y="118"/>
                </a:lnTo>
                <a:lnTo>
                  <a:pt x="254" y="117"/>
                </a:lnTo>
                <a:lnTo>
                  <a:pt x="253" y="119"/>
                </a:lnTo>
                <a:lnTo>
                  <a:pt x="255" y="122"/>
                </a:lnTo>
                <a:lnTo>
                  <a:pt x="256" y="123"/>
                </a:lnTo>
                <a:lnTo>
                  <a:pt x="255" y="122"/>
                </a:lnTo>
                <a:close/>
                <a:moveTo>
                  <a:pt x="482" y="152"/>
                </a:moveTo>
                <a:lnTo>
                  <a:pt x="480" y="151"/>
                </a:lnTo>
                <a:lnTo>
                  <a:pt x="479" y="151"/>
                </a:lnTo>
                <a:lnTo>
                  <a:pt x="479" y="151"/>
                </a:lnTo>
                <a:lnTo>
                  <a:pt x="478" y="151"/>
                </a:lnTo>
                <a:lnTo>
                  <a:pt x="476" y="153"/>
                </a:lnTo>
                <a:lnTo>
                  <a:pt x="476" y="156"/>
                </a:lnTo>
                <a:lnTo>
                  <a:pt x="477" y="158"/>
                </a:lnTo>
                <a:lnTo>
                  <a:pt x="477" y="158"/>
                </a:lnTo>
                <a:lnTo>
                  <a:pt x="479" y="158"/>
                </a:lnTo>
                <a:lnTo>
                  <a:pt x="480" y="158"/>
                </a:lnTo>
                <a:lnTo>
                  <a:pt x="484" y="157"/>
                </a:lnTo>
                <a:lnTo>
                  <a:pt x="487" y="157"/>
                </a:lnTo>
                <a:lnTo>
                  <a:pt x="488" y="159"/>
                </a:lnTo>
                <a:lnTo>
                  <a:pt x="490" y="163"/>
                </a:lnTo>
                <a:lnTo>
                  <a:pt x="491" y="165"/>
                </a:lnTo>
                <a:lnTo>
                  <a:pt x="493" y="166"/>
                </a:lnTo>
                <a:lnTo>
                  <a:pt x="499" y="163"/>
                </a:lnTo>
                <a:lnTo>
                  <a:pt x="503" y="157"/>
                </a:lnTo>
                <a:lnTo>
                  <a:pt x="497" y="157"/>
                </a:lnTo>
                <a:lnTo>
                  <a:pt x="492" y="157"/>
                </a:lnTo>
                <a:lnTo>
                  <a:pt x="490" y="155"/>
                </a:lnTo>
                <a:lnTo>
                  <a:pt x="488" y="152"/>
                </a:lnTo>
                <a:lnTo>
                  <a:pt x="485" y="153"/>
                </a:lnTo>
                <a:lnTo>
                  <a:pt x="482" y="152"/>
                </a:lnTo>
                <a:lnTo>
                  <a:pt x="482" y="151"/>
                </a:lnTo>
                <a:lnTo>
                  <a:pt x="482" y="152"/>
                </a:lnTo>
                <a:close/>
                <a:moveTo>
                  <a:pt x="543" y="160"/>
                </a:moveTo>
                <a:lnTo>
                  <a:pt x="552" y="165"/>
                </a:lnTo>
                <a:lnTo>
                  <a:pt x="560" y="171"/>
                </a:lnTo>
                <a:lnTo>
                  <a:pt x="565" y="172"/>
                </a:lnTo>
                <a:lnTo>
                  <a:pt x="567" y="171"/>
                </a:lnTo>
                <a:lnTo>
                  <a:pt x="568" y="168"/>
                </a:lnTo>
                <a:lnTo>
                  <a:pt x="570" y="165"/>
                </a:lnTo>
                <a:lnTo>
                  <a:pt x="565" y="164"/>
                </a:lnTo>
                <a:lnTo>
                  <a:pt x="559" y="163"/>
                </a:lnTo>
                <a:lnTo>
                  <a:pt x="554" y="161"/>
                </a:lnTo>
                <a:lnTo>
                  <a:pt x="549" y="161"/>
                </a:lnTo>
                <a:lnTo>
                  <a:pt x="545" y="159"/>
                </a:lnTo>
                <a:lnTo>
                  <a:pt x="542" y="157"/>
                </a:lnTo>
                <a:lnTo>
                  <a:pt x="541" y="157"/>
                </a:lnTo>
                <a:lnTo>
                  <a:pt x="540" y="158"/>
                </a:lnTo>
                <a:lnTo>
                  <a:pt x="541" y="160"/>
                </a:lnTo>
                <a:lnTo>
                  <a:pt x="543" y="160"/>
                </a:lnTo>
                <a:lnTo>
                  <a:pt x="543" y="160"/>
                </a:lnTo>
                <a:lnTo>
                  <a:pt x="543" y="160"/>
                </a:lnTo>
                <a:close/>
                <a:moveTo>
                  <a:pt x="474" y="284"/>
                </a:moveTo>
                <a:lnTo>
                  <a:pt x="474" y="282"/>
                </a:lnTo>
                <a:lnTo>
                  <a:pt x="472" y="282"/>
                </a:lnTo>
                <a:lnTo>
                  <a:pt x="471" y="282"/>
                </a:lnTo>
                <a:lnTo>
                  <a:pt x="470" y="282"/>
                </a:lnTo>
                <a:lnTo>
                  <a:pt x="468" y="282"/>
                </a:lnTo>
                <a:lnTo>
                  <a:pt x="466" y="282"/>
                </a:lnTo>
                <a:lnTo>
                  <a:pt x="464" y="281"/>
                </a:lnTo>
                <a:lnTo>
                  <a:pt x="463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4"/>
                </a:lnTo>
                <a:lnTo>
                  <a:pt x="455" y="283"/>
                </a:lnTo>
                <a:lnTo>
                  <a:pt x="452" y="282"/>
                </a:lnTo>
                <a:lnTo>
                  <a:pt x="449" y="282"/>
                </a:lnTo>
                <a:lnTo>
                  <a:pt x="450" y="284"/>
                </a:lnTo>
                <a:lnTo>
                  <a:pt x="452" y="285"/>
                </a:lnTo>
                <a:lnTo>
                  <a:pt x="455" y="288"/>
                </a:lnTo>
                <a:lnTo>
                  <a:pt x="460" y="290"/>
                </a:lnTo>
                <a:lnTo>
                  <a:pt x="464" y="291"/>
                </a:lnTo>
                <a:lnTo>
                  <a:pt x="469" y="291"/>
                </a:lnTo>
                <a:lnTo>
                  <a:pt x="470" y="290"/>
                </a:lnTo>
                <a:lnTo>
                  <a:pt x="471" y="289"/>
                </a:lnTo>
                <a:lnTo>
                  <a:pt x="472" y="286"/>
                </a:lnTo>
                <a:lnTo>
                  <a:pt x="474" y="284"/>
                </a:lnTo>
                <a:lnTo>
                  <a:pt x="474" y="284"/>
                </a:lnTo>
                <a:lnTo>
                  <a:pt x="474" y="284"/>
                </a:lnTo>
                <a:close/>
                <a:moveTo>
                  <a:pt x="1015" y="643"/>
                </a:moveTo>
                <a:lnTo>
                  <a:pt x="1007" y="645"/>
                </a:lnTo>
                <a:lnTo>
                  <a:pt x="998" y="647"/>
                </a:lnTo>
                <a:lnTo>
                  <a:pt x="997" y="651"/>
                </a:lnTo>
                <a:lnTo>
                  <a:pt x="998" y="657"/>
                </a:lnTo>
                <a:lnTo>
                  <a:pt x="999" y="654"/>
                </a:lnTo>
                <a:lnTo>
                  <a:pt x="1002" y="650"/>
                </a:lnTo>
                <a:lnTo>
                  <a:pt x="1004" y="649"/>
                </a:lnTo>
                <a:lnTo>
                  <a:pt x="1008" y="650"/>
                </a:lnTo>
                <a:lnTo>
                  <a:pt x="1005" y="653"/>
                </a:lnTo>
                <a:lnTo>
                  <a:pt x="1002" y="654"/>
                </a:lnTo>
                <a:lnTo>
                  <a:pt x="1004" y="655"/>
                </a:lnTo>
                <a:lnTo>
                  <a:pt x="1006" y="655"/>
                </a:lnTo>
                <a:lnTo>
                  <a:pt x="1007" y="655"/>
                </a:lnTo>
                <a:lnTo>
                  <a:pt x="1010" y="654"/>
                </a:lnTo>
                <a:lnTo>
                  <a:pt x="1012" y="651"/>
                </a:lnTo>
                <a:lnTo>
                  <a:pt x="1014" y="649"/>
                </a:lnTo>
                <a:lnTo>
                  <a:pt x="1021" y="648"/>
                </a:lnTo>
                <a:lnTo>
                  <a:pt x="1026" y="646"/>
                </a:lnTo>
                <a:lnTo>
                  <a:pt x="1023" y="645"/>
                </a:lnTo>
                <a:lnTo>
                  <a:pt x="1021" y="643"/>
                </a:lnTo>
                <a:lnTo>
                  <a:pt x="1019" y="642"/>
                </a:lnTo>
                <a:lnTo>
                  <a:pt x="1015" y="643"/>
                </a:lnTo>
                <a:lnTo>
                  <a:pt x="1015" y="643"/>
                </a:lnTo>
                <a:lnTo>
                  <a:pt x="1015" y="643"/>
                </a:lnTo>
                <a:close/>
                <a:moveTo>
                  <a:pt x="433" y="173"/>
                </a:moveTo>
                <a:lnTo>
                  <a:pt x="430" y="172"/>
                </a:lnTo>
                <a:lnTo>
                  <a:pt x="428" y="172"/>
                </a:lnTo>
                <a:lnTo>
                  <a:pt x="427" y="173"/>
                </a:lnTo>
                <a:lnTo>
                  <a:pt x="426" y="173"/>
                </a:lnTo>
                <a:lnTo>
                  <a:pt x="426" y="175"/>
                </a:lnTo>
                <a:lnTo>
                  <a:pt x="426" y="176"/>
                </a:lnTo>
                <a:lnTo>
                  <a:pt x="427" y="177"/>
                </a:lnTo>
                <a:lnTo>
                  <a:pt x="428" y="178"/>
                </a:lnTo>
                <a:lnTo>
                  <a:pt x="431" y="181"/>
                </a:lnTo>
                <a:lnTo>
                  <a:pt x="435" y="180"/>
                </a:lnTo>
                <a:lnTo>
                  <a:pt x="436" y="178"/>
                </a:lnTo>
                <a:lnTo>
                  <a:pt x="436" y="177"/>
                </a:lnTo>
                <a:lnTo>
                  <a:pt x="436" y="177"/>
                </a:lnTo>
                <a:lnTo>
                  <a:pt x="438" y="178"/>
                </a:lnTo>
                <a:lnTo>
                  <a:pt x="439" y="182"/>
                </a:lnTo>
                <a:lnTo>
                  <a:pt x="441" y="183"/>
                </a:lnTo>
                <a:lnTo>
                  <a:pt x="442" y="182"/>
                </a:lnTo>
                <a:lnTo>
                  <a:pt x="443" y="180"/>
                </a:lnTo>
                <a:lnTo>
                  <a:pt x="446" y="178"/>
                </a:lnTo>
                <a:lnTo>
                  <a:pt x="451" y="176"/>
                </a:lnTo>
                <a:lnTo>
                  <a:pt x="450" y="174"/>
                </a:lnTo>
                <a:lnTo>
                  <a:pt x="445" y="172"/>
                </a:lnTo>
                <a:lnTo>
                  <a:pt x="441" y="171"/>
                </a:lnTo>
                <a:lnTo>
                  <a:pt x="438" y="171"/>
                </a:lnTo>
                <a:lnTo>
                  <a:pt x="442" y="174"/>
                </a:lnTo>
                <a:lnTo>
                  <a:pt x="443" y="177"/>
                </a:lnTo>
                <a:lnTo>
                  <a:pt x="437" y="175"/>
                </a:lnTo>
                <a:lnTo>
                  <a:pt x="433" y="173"/>
                </a:lnTo>
                <a:lnTo>
                  <a:pt x="433" y="173"/>
                </a:lnTo>
                <a:lnTo>
                  <a:pt x="433" y="173"/>
                </a:lnTo>
                <a:close/>
                <a:moveTo>
                  <a:pt x="711" y="617"/>
                </a:moveTo>
                <a:lnTo>
                  <a:pt x="710" y="616"/>
                </a:lnTo>
                <a:lnTo>
                  <a:pt x="708" y="615"/>
                </a:lnTo>
                <a:lnTo>
                  <a:pt x="706" y="616"/>
                </a:lnTo>
                <a:lnTo>
                  <a:pt x="703" y="616"/>
                </a:lnTo>
                <a:lnTo>
                  <a:pt x="699" y="618"/>
                </a:lnTo>
                <a:lnTo>
                  <a:pt x="696" y="621"/>
                </a:lnTo>
                <a:lnTo>
                  <a:pt x="697" y="623"/>
                </a:lnTo>
                <a:lnTo>
                  <a:pt x="698" y="624"/>
                </a:lnTo>
                <a:lnTo>
                  <a:pt x="697" y="625"/>
                </a:lnTo>
                <a:lnTo>
                  <a:pt x="697" y="626"/>
                </a:lnTo>
                <a:lnTo>
                  <a:pt x="693" y="628"/>
                </a:lnTo>
                <a:lnTo>
                  <a:pt x="691" y="630"/>
                </a:lnTo>
                <a:lnTo>
                  <a:pt x="694" y="630"/>
                </a:lnTo>
                <a:lnTo>
                  <a:pt x="698" y="630"/>
                </a:lnTo>
                <a:lnTo>
                  <a:pt x="700" y="630"/>
                </a:lnTo>
                <a:lnTo>
                  <a:pt x="701" y="630"/>
                </a:lnTo>
                <a:lnTo>
                  <a:pt x="703" y="629"/>
                </a:lnTo>
                <a:lnTo>
                  <a:pt x="706" y="626"/>
                </a:lnTo>
                <a:lnTo>
                  <a:pt x="707" y="626"/>
                </a:lnTo>
                <a:lnTo>
                  <a:pt x="708" y="626"/>
                </a:lnTo>
                <a:lnTo>
                  <a:pt x="708" y="626"/>
                </a:lnTo>
                <a:lnTo>
                  <a:pt x="708" y="625"/>
                </a:lnTo>
                <a:lnTo>
                  <a:pt x="709" y="624"/>
                </a:lnTo>
                <a:lnTo>
                  <a:pt x="710" y="623"/>
                </a:lnTo>
                <a:lnTo>
                  <a:pt x="711" y="621"/>
                </a:lnTo>
                <a:lnTo>
                  <a:pt x="711" y="617"/>
                </a:lnTo>
                <a:lnTo>
                  <a:pt x="713" y="617"/>
                </a:lnTo>
                <a:lnTo>
                  <a:pt x="711" y="617"/>
                </a:lnTo>
                <a:close/>
                <a:moveTo>
                  <a:pt x="416" y="491"/>
                </a:moveTo>
                <a:lnTo>
                  <a:pt x="418" y="490"/>
                </a:lnTo>
                <a:lnTo>
                  <a:pt x="420" y="490"/>
                </a:lnTo>
                <a:lnTo>
                  <a:pt x="418" y="488"/>
                </a:lnTo>
                <a:lnTo>
                  <a:pt x="416" y="487"/>
                </a:lnTo>
                <a:lnTo>
                  <a:pt x="413" y="487"/>
                </a:lnTo>
                <a:lnTo>
                  <a:pt x="411" y="487"/>
                </a:lnTo>
                <a:lnTo>
                  <a:pt x="406" y="488"/>
                </a:lnTo>
                <a:lnTo>
                  <a:pt x="402" y="488"/>
                </a:lnTo>
                <a:lnTo>
                  <a:pt x="406" y="492"/>
                </a:lnTo>
                <a:lnTo>
                  <a:pt x="413" y="495"/>
                </a:lnTo>
                <a:lnTo>
                  <a:pt x="417" y="495"/>
                </a:lnTo>
                <a:lnTo>
                  <a:pt x="420" y="497"/>
                </a:lnTo>
                <a:lnTo>
                  <a:pt x="421" y="499"/>
                </a:lnTo>
                <a:lnTo>
                  <a:pt x="421" y="500"/>
                </a:lnTo>
                <a:lnTo>
                  <a:pt x="422" y="501"/>
                </a:lnTo>
                <a:lnTo>
                  <a:pt x="426" y="501"/>
                </a:lnTo>
                <a:lnTo>
                  <a:pt x="428" y="503"/>
                </a:lnTo>
                <a:lnTo>
                  <a:pt x="431" y="503"/>
                </a:lnTo>
                <a:lnTo>
                  <a:pt x="434" y="504"/>
                </a:lnTo>
                <a:lnTo>
                  <a:pt x="436" y="504"/>
                </a:lnTo>
                <a:lnTo>
                  <a:pt x="436" y="503"/>
                </a:lnTo>
                <a:lnTo>
                  <a:pt x="437" y="503"/>
                </a:lnTo>
                <a:lnTo>
                  <a:pt x="426" y="497"/>
                </a:lnTo>
                <a:lnTo>
                  <a:pt x="416" y="491"/>
                </a:lnTo>
                <a:lnTo>
                  <a:pt x="418" y="493"/>
                </a:lnTo>
                <a:lnTo>
                  <a:pt x="416" y="491"/>
                </a:lnTo>
                <a:close/>
                <a:moveTo>
                  <a:pt x="357" y="464"/>
                </a:moveTo>
                <a:lnTo>
                  <a:pt x="353" y="463"/>
                </a:lnTo>
                <a:lnTo>
                  <a:pt x="348" y="460"/>
                </a:lnTo>
                <a:lnTo>
                  <a:pt x="345" y="459"/>
                </a:lnTo>
                <a:lnTo>
                  <a:pt x="343" y="459"/>
                </a:lnTo>
                <a:lnTo>
                  <a:pt x="342" y="458"/>
                </a:lnTo>
                <a:lnTo>
                  <a:pt x="339" y="458"/>
                </a:lnTo>
                <a:lnTo>
                  <a:pt x="338" y="456"/>
                </a:lnTo>
                <a:lnTo>
                  <a:pt x="338" y="455"/>
                </a:lnTo>
                <a:lnTo>
                  <a:pt x="332" y="454"/>
                </a:lnTo>
                <a:lnTo>
                  <a:pt x="326" y="454"/>
                </a:lnTo>
                <a:lnTo>
                  <a:pt x="323" y="454"/>
                </a:lnTo>
                <a:lnTo>
                  <a:pt x="321" y="452"/>
                </a:lnTo>
                <a:lnTo>
                  <a:pt x="319" y="452"/>
                </a:lnTo>
                <a:lnTo>
                  <a:pt x="319" y="455"/>
                </a:lnTo>
                <a:lnTo>
                  <a:pt x="321" y="456"/>
                </a:lnTo>
                <a:lnTo>
                  <a:pt x="324" y="457"/>
                </a:lnTo>
                <a:lnTo>
                  <a:pt x="330" y="459"/>
                </a:lnTo>
                <a:lnTo>
                  <a:pt x="336" y="462"/>
                </a:lnTo>
                <a:lnTo>
                  <a:pt x="343" y="462"/>
                </a:lnTo>
                <a:lnTo>
                  <a:pt x="348" y="463"/>
                </a:lnTo>
                <a:lnTo>
                  <a:pt x="346" y="465"/>
                </a:lnTo>
                <a:lnTo>
                  <a:pt x="343" y="467"/>
                </a:lnTo>
                <a:lnTo>
                  <a:pt x="350" y="467"/>
                </a:lnTo>
                <a:lnTo>
                  <a:pt x="356" y="466"/>
                </a:lnTo>
                <a:lnTo>
                  <a:pt x="359" y="467"/>
                </a:lnTo>
                <a:lnTo>
                  <a:pt x="360" y="466"/>
                </a:lnTo>
                <a:lnTo>
                  <a:pt x="360" y="464"/>
                </a:lnTo>
                <a:lnTo>
                  <a:pt x="357" y="464"/>
                </a:lnTo>
                <a:lnTo>
                  <a:pt x="357" y="464"/>
                </a:lnTo>
                <a:lnTo>
                  <a:pt x="357" y="464"/>
                </a:lnTo>
                <a:close/>
                <a:moveTo>
                  <a:pt x="516" y="210"/>
                </a:moveTo>
                <a:lnTo>
                  <a:pt x="519" y="211"/>
                </a:lnTo>
                <a:lnTo>
                  <a:pt x="524" y="214"/>
                </a:lnTo>
                <a:lnTo>
                  <a:pt x="527" y="218"/>
                </a:lnTo>
                <a:lnTo>
                  <a:pt x="532" y="221"/>
                </a:lnTo>
                <a:lnTo>
                  <a:pt x="530" y="217"/>
                </a:lnTo>
                <a:lnTo>
                  <a:pt x="527" y="214"/>
                </a:lnTo>
                <a:lnTo>
                  <a:pt x="530" y="213"/>
                </a:lnTo>
                <a:lnTo>
                  <a:pt x="532" y="209"/>
                </a:lnTo>
                <a:lnTo>
                  <a:pt x="526" y="208"/>
                </a:lnTo>
                <a:lnTo>
                  <a:pt x="520" y="205"/>
                </a:lnTo>
                <a:lnTo>
                  <a:pt x="519" y="205"/>
                </a:lnTo>
                <a:lnTo>
                  <a:pt x="519" y="203"/>
                </a:lnTo>
                <a:lnTo>
                  <a:pt x="517" y="203"/>
                </a:lnTo>
                <a:lnTo>
                  <a:pt x="515" y="203"/>
                </a:lnTo>
                <a:lnTo>
                  <a:pt x="511" y="201"/>
                </a:lnTo>
                <a:lnTo>
                  <a:pt x="508" y="198"/>
                </a:lnTo>
                <a:lnTo>
                  <a:pt x="507" y="202"/>
                </a:lnTo>
                <a:lnTo>
                  <a:pt x="505" y="206"/>
                </a:lnTo>
                <a:lnTo>
                  <a:pt x="504" y="206"/>
                </a:lnTo>
                <a:lnTo>
                  <a:pt x="503" y="206"/>
                </a:lnTo>
                <a:lnTo>
                  <a:pt x="502" y="207"/>
                </a:lnTo>
                <a:lnTo>
                  <a:pt x="503" y="208"/>
                </a:lnTo>
                <a:lnTo>
                  <a:pt x="507" y="208"/>
                </a:lnTo>
                <a:lnTo>
                  <a:pt x="510" y="207"/>
                </a:lnTo>
                <a:lnTo>
                  <a:pt x="511" y="207"/>
                </a:lnTo>
                <a:lnTo>
                  <a:pt x="512" y="207"/>
                </a:lnTo>
                <a:lnTo>
                  <a:pt x="515" y="208"/>
                </a:lnTo>
                <a:lnTo>
                  <a:pt x="516" y="210"/>
                </a:lnTo>
                <a:lnTo>
                  <a:pt x="515" y="209"/>
                </a:lnTo>
                <a:lnTo>
                  <a:pt x="516" y="210"/>
                </a:lnTo>
                <a:close/>
                <a:moveTo>
                  <a:pt x="293" y="156"/>
                </a:moveTo>
                <a:lnTo>
                  <a:pt x="295" y="157"/>
                </a:lnTo>
                <a:lnTo>
                  <a:pt x="295" y="158"/>
                </a:lnTo>
                <a:lnTo>
                  <a:pt x="295" y="159"/>
                </a:lnTo>
                <a:lnTo>
                  <a:pt x="296" y="160"/>
                </a:lnTo>
                <a:lnTo>
                  <a:pt x="303" y="164"/>
                </a:lnTo>
                <a:lnTo>
                  <a:pt x="310" y="166"/>
                </a:lnTo>
                <a:lnTo>
                  <a:pt x="312" y="167"/>
                </a:lnTo>
                <a:lnTo>
                  <a:pt x="315" y="167"/>
                </a:lnTo>
                <a:lnTo>
                  <a:pt x="318" y="168"/>
                </a:lnTo>
                <a:lnTo>
                  <a:pt x="319" y="167"/>
                </a:lnTo>
                <a:lnTo>
                  <a:pt x="319" y="167"/>
                </a:lnTo>
                <a:lnTo>
                  <a:pt x="319" y="165"/>
                </a:lnTo>
                <a:lnTo>
                  <a:pt x="315" y="161"/>
                </a:lnTo>
                <a:lnTo>
                  <a:pt x="312" y="159"/>
                </a:lnTo>
                <a:lnTo>
                  <a:pt x="306" y="159"/>
                </a:lnTo>
                <a:lnTo>
                  <a:pt x="303" y="158"/>
                </a:lnTo>
                <a:lnTo>
                  <a:pt x="304" y="157"/>
                </a:lnTo>
                <a:lnTo>
                  <a:pt x="306" y="156"/>
                </a:lnTo>
                <a:lnTo>
                  <a:pt x="307" y="156"/>
                </a:lnTo>
                <a:lnTo>
                  <a:pt x="307" y="153"/>
                </a:lnTo>
                <a:lnTo>
                  <a:pt x="306" y="150"/>
                </a:lnTo>
                <a:lnTo>
                  <a:pt x="303" y="149"/>
                </a:lnTo>
                <a:lnTo>
                  <a:pt x="301" y="148"/>
                </a:lnTo>
                <a:lnTo>
                  <a:pt x="297" y="148"/>
                </a:lnTo>
                <a:lnTo>
                  <a:pt x="295" y="148"/>
                </a:lnTo>
                <a:lnTo>
                  <a:pt x="293" y="150"/>
                </a:lnTo>
                <a:lnTo>
                  <a:pt x="291" y="152"/>
                </a:lnTo>
                <a:lnTo>
                  <a:pt x="293" y="156"/>
                </a:lnTo>
                <a:lnTo>
                  <a:pt x="293" y="155"/>
                </a:lnTo>
                <a:lnTo>
                  <a:pt x="293" y="156"/>
                </a:lnTo>
                <a:close/>
                <a:moveTo>
                  <a:pt x="468" y="317"/>
                </a:moveTo>
                <a:lnTo>
                  <a:pt x="471" y="319"/>
                </a:lnTo>
                <a:lnTo>
                  <a:pt x="476" y="323"/>
                </a:lnTo>
                <a:lnTo>
                  <a:pt x="480" y="324"/>
                </a:lnTo>
                <a:lnTo>
                  <a:pt x="486" y="324"/>
                </a:lnTo>
                <a:lnTo>
                  <a:pt x="480" y="321"/>
                </a:lnTo>
                <a:lnTo>
                  <a:pt x="475" y="317"/>
                </a:lnTo>
                <a:lnTo>
                  <a:pt x="469" y="316"/>
                </a:lnTo>
                <a:lnTo>
                  <a:pt x="463" y="315"/>
                </a:lnTo>
                <a:lnTo>
                  <a:pt x="461" y="314"/>
                </a:lnTo>
                <a:lnTo>
                  <a:pt x="460" y="311"/>
                </a:lnTo>
                <a:lnTo>
                  <a:pt x="459" y="310"/>
                </a:lnTo>
                <a:lnTo>
                  <a:pt x="456" y="310"/>
                </a:lnTo>
                <a:lnTo>
                  <a:pt x="455" y="310"/>
                </a:lnTo>
                <a:lnTo>
                  <a:pt x="453" y="310"/>
                </a:lnTo>
                <a:lnTo>
                  <a:pt x="453" y="308"/>
                </a:lnTo>
                <a:lnTo>
                  <a:pt x="452" y="306"/>
                </a:lnTo>
                <a:lnTo>
                  <a:pt x="449" y="305"/>
                </a:lnTo>
                <a:lnTo>
                  <a:pt x="444" y="306"/>
                </a:lnTo>
                <a:lnTo>
                  <a:pt x="443" y="307"/>
                </a:lnTo>
                <a:lnTo>
                  <a:pt x="443" y="307"/>
                </a:lnTo>
                <a:lnTo>
                  <a:pt x="444" y="308"/>
                </a:lnTo>
                <a:lnTo>
                  <a:pt x="446" y="309"/>
                </a:lnTo>
                <a:lnTo>
                  <a:pt x="451" y="313"/>
                </a:lnTo>
                <a:lnTo>
                  <a:pt x="456" y="315"/>
                </a:lnTo>
                <a:lnTo>
                  <a:pt x="462" y="317"/>
                </a:lnTo>
                <a:lnTo>
                  <a:pt x="468" y="317"/>
                </a:lnTo>
                <a:lnTo>
                  <a:pt x="464" y="317"/>
                </a:lnTo>
                <a:lnTo>
                  <a:pt x="468" y="317"/>
                </a:lnTo>
                <a:close/>
                <a:moveTo>
                  <a:pt x="1003" y="227"/>
                </a:moveTo>
                <a:lnTo>
                  <a:pt x="997" y="226"/>
                </a:lnTo>
                <a:lnTo>
                  <a:pt x="991" y="224"/>
                </a:lnTo>
                <a:lnTo>
                  <a:pt x="989" y="223"/>
                </a:lnTo>
                <a:lnTo>
                  <a:pt x="987" y="223"/>
                </a:lnTo>
                <a:lnTo>
                  <a:pt x="983" y="222"/>
                </a:lnTo>
                <a:lnTo>
                  <a:pt x="981" y="219"/>
                </a:lnTo>
                <a:lnTo>
                  <a:pt x="970" y="219"/>
                </a:lnTo>
                <a:lnTo>
                  <a:pt x="957" y="217"/>
                </a:lnTo>
                <a:lnTo>
                  <a:pt x="969" y="222"/>
                </a:lnTo>
                <a:lnTo>
                  <a:pt x="979" y="225"/>
                </a:lnTo>
                <a:lnTo>
                  <a:pt x="986" y="227"/>
                </a:lnTo>
                <a:lnTo>
                  <a:pt x="990" y="227"/>
                </a:lnTo>
                <a:lnTo>
                  <a:pt x="996" y="228"/>
                </a:lnTo>
                <a:lnTo>
                  <a:pt x="1003" y="227"/>
                </a:lnTo>
                <a:lnTo>
                  <a:pt x="1005" y="227"/>
                </a:lnTo>
                <a:lnTo>
                  <a:pt x="1007" y="226"/>
                </a:lnTo>
                <a:lnTo>
                  <a:pt x="1005" y="227"/>
                </a:lnTo>
                <a:lnTo>
                  <a:pt x="1003" y="227"/>
                </a:lnTo>
                <a:close/>
                <a:moveTo>
                  <a:pt x="1003" y="227"/>
                </a:moveTo>
                <a:lnTo>
                  <a:pt x="998" y="227"/>
                </a:lnTo>
                <a:lnTo>
                  <a:pt x="1003" y="227"/>
                </a:lnTo>
                <a:close/>
                <a:moveTo>
                  <a:pt x="345" y="267"/>
                </a:moveTo>
                <a:lnTo>
                  <a:pt x="339" y="266"/>
                </a:lnTo>
                <a:lnTo>
                  <a:pt x="335" y="265"/>
                </a:lnTo>
                <a:lnTo>
                  <a:pt x="330" y="261"/>
                </a:lnTo>
                <a:lnTo>
                  <a:pt x="326" y="259"/>
                </a:lnTo>
                <a:lnTo>
                  <a:pt x="322" y="256"/>
                </a:lnTo>
                <a:lnTo>
                  <a:pt x="318" y="255"/>
                </a:lnTo>
                <a:lnTo>
                  <a:pt x="312" y="254"/>
                </a:lnTo>
                <a:lnTo>
                  <a:pt x="307" y="254"/>
                </a:lnTo>
                <a:lnTo>
                  <a:pt x="317" y="258"/>
                </a:lnTo>
                <a:lnTo>
                  <a:pt x="327" y="263"/>
                </a:lnTo>
                <a:lnTo>
                  <a:pt x="337" y="267"/>
                </a:lnTo>
                <a:lnTo>
                  <a:pt x="347" y="273"/>
                </a:lnTo>
                <a:lnTo>
                  <a:pt x="350" y="275"/>
                </a:lnTo>
                <a:lnTo>
                  <a:pt x="353" y="277"/>
                </a:lnTo>
                <a:lnTo>
                  <a:pt x="355" y="279"/>
                </a:lnTo>
                <a:lnTo>
                  <a:pt x="357" y="279"/>
                </a:lnTo>
                <a:lnTo>
                  <a:pt x="359" y="279"/>
                </a:lnTo>
                <a:lnTo>
                  <a:pt x="360" y="277"/>
                </a:lnTo>
                <a:lnTo>
                  <a:pt x="361" y="276"/>
                </a:lnTo>
                <a:lnTo>
                  <a:pt x="360" y="274"/>
                </a:lnTo>
                <a:lnTo>
                  <a:pt x="357" y="273"/>
                </a:lnTo>
                <a:lnTo>
                  <a:pt x="354" y="271"/>
                </a:lnTo>
                <a:lnTo>
                  <a:pt x="348" y="268"/>
                </a:lnTo>
                <a:lnTo>
                  <a:pt x="345" y="267"/>
                </a:lnTo>
                <a:lnTo>
                  <a:pt x="343" y="267"/>
                </a:lnTo>
                <a:lnTo>
                  <a:pt x="345" y="267"/>
                </a:lnTo>
                <a:close/>
                <a:moveTo>
                  <a:pt x="353" y="181"/>
                </a:moveTo>
                <a:lnTo>
                  <a:pt x="352" y="180"/>
                </a:lnTo>
                <a:lnTo>
                  <a:pt x="350" y="181"/>
                </a:lnTo>
                <a:lnTo>
                  <a:pt x="350" y="182"/>
                </a:lnTo>
                <a:lnTo>
                  <a:pt x="350" y="183"/>
                </a:lnTo>
                <a:lnTo>
                  <a:pt x="352" y="185"/>
                </a:lnTo>
                <a:lnTo>
                  <a:pt x="354" y="185"/>
                </a:lnTo>
                <a:lnTo>
                  <a:pt x="357" y="185"/>
                </a:lnTo>
                <a:lnTo>
                  <a:pt x="359" y="188"/>
                </a:lnTo>
                <a:lnTo>
                  <a:pt x="362" y="189"/>
                </a:lnTo>
                <a:lnTo>
                  <a:pt x="365" y="191"/>
                </a:lnTo>
                <a:lnTo>
                  <a:pt x="372" y="193"/>
                </a:lnTo>
                <a:lnTo>
                  <a:pt x="379" y="197"/>
                </a:lnTo>
                <a:lnTo>
                  <a:pt x="383" y="199"/>
                </a:lnTo>
                <a:lnTo>
                  <a:pt x="385" y="200"/>
                </a:lnTo>
                <a:lnTo>
                  <a:pt x="388" y="200"/>
                </a:lnTo>
                <a:lnTo>
                  <a:pt x="393" y="200"/>
                </a:lnTo>
                <a:lnTo>
                  <a:pt x="389" y="197"/>
                </a:lnTo>
                <a:lnTo>
                  <a:pt x="385" y="194"/>
                </a:lnTo>
                <a:lnTo>
                  <a:pt x="379" y="192"/>
                </a:lnTo>
                <a:lnTo>
                  <a:pt x="373" y="191"/>
                </a:lnTo>
                <a:lnTo>
                  <a:pt x="369" y="189"/>
                </a:lnTo>
                <a:lnTo>
                  <a:pt x="365" y="185"/>
                </a:lnTo>
                <a:lnTo>
                  <a:pt x="362" y="182"/>
                </a:lnTo>
                <a:lnTo>
                  <a:pt x="361" y="177"/>
                </a:lnTo>
                <a:lnTo>
                  <a:pt x="357" y="180"/>
                </a:lnTo>
                <a:lnTo>
                  <a:pt x="353" y="181"/>
                </a:lnTo>
                <a:lnTo>
                  <a:pt x="354" y="181"/>
                </a:lnTo>
                <a:lnTo>
                  <a:pt x="353" y="181"/>
                </a:lnTo>
                <a:close/>
                <a:moveTo>
                  <a:pt x="1564" y="327"/>
                </a:moveTo>
                <a:lnTo>
                  <a:pt x="1560" y="325"/>
                </a:lnTo>
                <a:lnTo>
                  <a:pt x="1557" y="324"/>
                </a:lnTo>
                <a:lnTo>
                  <a:pt x="1554" y="323"/>
                </a:lnTo>
                <a:lnTo>
                  <a:pt x="1550" y="323"/>
                </a:lnTo>
                <a:lnTo>
                  <a:pt x="1548" y="325"/>
                </a:lnTo>
                <a:lnTo>
                  <a:pt x="1548" y="327"/>
                </a:lnTo>
                <a:lnTo>
                  <a:pt x="1548" y="330"/>
                </a:lnTo>
                <a:lnTo>
                  <a:pt x="1549" y="332"/>
                </a:lnTo>
                <a:lnTo>
                  <a:pt x="1549" y="335"/>
                </a:lnTo>
                <a:lnTo>
                  <a:pt x="1549" y="338"/>
                </a:lnTo>
                <a:lnTo>
                  <a:pt x="1548" y="340"/>
                </a:lnTo>
                <a:lnTo>
                  <a:pt x="1546" y="341"/>
                </a:lnTo>
                <a:lnTo>
                  <a:pt x="1543" y="342"/>
                </a:lnTo>
                <a:lnTo>
                  <a:pt x="1540" y="342"/>
                </a:lnTo>
                <a:lnTo>
                  <a:pt x="1539" y="343"/>
                </a:lnTo>
                <a:lnTo>
                  <a:pt x="1538" y="344"/>
                </a:lnTo>
                <a:lnTo>
                  <a:pt x="1537" y="346"/>
                </a:lnTo>
                <a:lnTo>
                  <a:pt x="1538" y="347"/>
                </a:lnTo>
                <a:lnTo>
                  <a:pt x="1543" y="344"/>
                </a:lnTo>
                <a:lnTo>
                  <a:pt x="1549" y="341"/>
                </a:lnTo>
                <a:lnTo>
                  <a:pt x="1555" y="339"/>
                </a:lnTo>
                <a:lnTo>
                  <a:pt x="1559" y="335"/>
                </a:lnTo>
                <a:lnTo>
                  <a:pt x="1560" y="333"/>
                </a:lnTo>
                <a:lnTo>
                  <a:pt x="1562" y="331"/>
                </a:lnTo>
                <a:lnTo>
                  <a:pt x="1564" y="329"/>
                </a:lnTo>
                <a:lnTo>
                  <a:pt x="1564" y="327"/>
                </a:lnTo>
                <a:lnTo>
                  <a:pt x="1564" y="327"/>
                </a:lnTo>
                <a:lnTo>
                  <a:pt x="1564" y="327"/>
                </a:lnTo>
                <a:close/>
                <a:moveTo>
                  <a:pt x="633" y="611"/>
                </a:moveTo>
                <a:lnTo>
                  <a:pt x="628" y="608"/>
                </a:lnTo>
                <a:lnTo>
                  <a:pt x="624" y="607"/>
                </a:lnTo>
                <a:lnTo>
                  <a:pt x="619" y="608"/>
                </a:lnTo>
                <a:lnTo>
                  <a:pt x="615" y="607"/>
                </a:lnTo>
                <a:lnTo>
                  <a:pt x="611" y="606"/>
                </a:lnTo>
                <a:lnTo>
                  <a:pt x="607" y="604"/>
                </a:lnTo>
                <a:lnTo>
                  <a:pt x="603" y="604"/>
                </a:lnTo>
                <a:lnTo>
                  <a:pt x="599" y="605"/>
                </a:lnTo>
                <a:lnTo>
                  <a:pt x="604" y="606"/>
                </a:lnTo>
                <a:lnTo>
                  <a:pt x="610" y="607"/>
                </a:lnTo>
                <a:lnTo>
                  <a:pt x="611" y="608"/>
                </a:lnTo>
                <a:lnTo>
                  <a:pt x="612" y="611"/>
                </a:lnTo>
                <a:lnTo>
                  <a:pt x="612" y="613"/>
                </a:lnTo>
                <a:lnTo>
                  <a:pt x="611" y="615"/>
                </a:lnTo>
                <a:lnTo>
                  <a:pt x="616" y="615"/>
                </a:lnTo>
                <a:lnTo>
                  <a:pt x="620" y="616"/>
                </a:lnTo>
                <a:lnTo>
                  <a:pt x="623" y="617"/>
                </a:lnTo>
                <a:lnTo>
                  <a:pt x="625" y="616"/>
                </a:lnTo>
                <a:lnTo>
                  <a:pt x="626" y="615"/>
                </a:lnTo>
                <a:lnTo>
                  <a:pt x="628" y="613"/>
                </a:lnTo>
                <a:lnTo>
                  <a:pt x="629" y="616"/>
                </a:lnTo>
                <a:lnTo>
                  <a:pt x="632" y="618"/>
                </a:lnTo>
                <a:lnTo>
                  <a:pt x="634" y="618"/>
                </a:lnTo>
                <a:lnTo>
                  <a:pt x="636" y="616"/>
                </a:lnTo>
                <a:lnTo>
                  <a:pt x="635" y="613"/>
                </a:lnTo>
                <a:lnTo>
                  <a:pt x="633" y="611"/>
                </a:lnTo>
                <a:lnTo>
                  <a:pt x="632" y="611"/>
                </a:lnTo>
                <a:lnTo>
                  <a:pt x="633" y="611"/>
                </a:lnTo>
                <a:close/>
                <a:moveTo>
                  <a:pt x="780" y="639"/>
                </a:moveTo>
                <a:lnTo>
                  <a:pt x="784" y="636"/>
                </a:lnTo>
                <a:lnTo>
                  <a:pt x="789" y="630"/>
                </a:lnTo>
                <a:lnTo>
                  <a:pt x="784" y="632"/>
                </a:lnTo>
                <a:lnTo>
                  <a:pt x="780" y="633"/>
                </a:lnTo>
                <a:lnTo>
                  <a:pt x="777" y="637"/>
                </a:lnTo>
                <a:lnTo>
                  <a:pt x="773" y="639"/>
                </a:lnTo>
                <a:lnTo>
                  <a:pt x="769" y="639"/>
                </a:lnTo>
                <a:lnTo>
                  <a:pt x="766" y="639"/>
                </a:lnTo>
                <a:lnTo>
                  <a:pt x="765" y="639"/>
                </a:lnTo>
                <a:lnTo>
                  <a:pt x="765" y="640"/>
                </a:lnTo>
                <a:lnTo>
                  <a:pt x="765" y="642"/>
                </a:lnTo>
                <a:lnTo>
                  <a:pt x="765" y="645"/>
                </a:lnTo>
                <a:lnTo>
                  <a:pt x="765" y="642"/>
                </a:lnTo>
                <a:lnTo>
                  <a:pt x="766" y="641"/>
                </a:lnTo>
                <a:lnTo>
                  <a:pt x="768" y="640"/>
                </a:lnTo>
                <a:lnTo>
                  <a:pt x="769" y="640"/>
                </a:lnTo>
                <a:lnTo>
                  <a:pt x="772" y="641"/>
                </a:lnTo>
                <a:lnTo>
                  <a:pt x="773" y="642"/>
                </a:lnTo>
                <a:lnTo>
                  <a:pt x="773" y="643"/>
                </a:lnTo>
                <a:lnTo>
                  <a:pt x="773" y="646"/>
                </a:lnTo>
                <a:lnTo>
                  <a:pt x="775" y="643"/>
                </a:lnTo>
                <a:lnTo>
                  <a:pt x="776" y="642"/>
                </a:lnTo>
                <a:lnTo>
                  <a:pt x="779" y="642"/>
                </a:lnTo>
                <a:lnTo>
                  <a:pt x="782" y="642"/>
                </a:lnTo>
                <a:lnTo>
                  <a:pt x="788" y="643"/>
                </a:lnTo>
                <a:lnTo>
                  <a:pt x="792" y="645"/>
                </a:lnTo>
                <a:lnTo>
                  <a:pt x="799" y="645"/>
                </a:lnTo>
                <a:lnTo>
                  <a:pt x="806" y="646"/>
                </a:lnTo>
                <a:lnTo>
                  <a:pt x="812" y="643"/>
                </a:lnTo>
                <a:lnTo>
                  <a:pt x="817" y="640"/>
                </a:lnTo>
                <a:lnTo>
                  <a:pt x="807" y="641"/>
                </a:lnTo>
                <a:lnTo>
                  <a:pt x="798" y="641"/>
                </a:lnTo>
                <a:lnTo>
                  <a:pt x="789" y="640"/>
                </a:lnTo>
                <a:lnTo>
                  <a:pt x="780" y="639"/>
                </a:lnTo>
                <a:lnTo>
                  <a:pt x="784" y="638"/>
                </a:lnTo>
                <a:lnTo>
                  <a:pt x="780" y="639"/>
                </a:lnTo>
                <a:close/>
                <a:moveTo>
                  <a:pt x="672" y="607"/>
                </a:moveTo>
                <a:lnTo>
                  <a:pt x="676" y="608"/>
                </a:lnTo>
                <a:lnTo>
                  <a:pt x="682" y="608"/>
                </a:lnTo>
                <a:lnTo>
                  <a:pt x="688" y="607"/>
                </a:lnTo>
                <a:lnTo>
                  <a:pt x="692" y="605"/>
                </a:lnTo>
                <a:lnTo>
                  <a:pt x="692" y="604"/>
                </a:lnTo>
                <a:lnTo>
                  <a:pt x="692" y="603"/>
                </a:lnTo>
                <a:lnTo>
                  <a:pt x="691" y="603"/>
                </a:lnTo>
                <a:lnTo>
                  <a:pt x="689" y="603"/>
                </a:lnTo>
                <a:lnTo>
                  <a:pt x="684" y="603"/>
                </a:lnTo>
                <a:lnTo>
                  <a:pt x="681" y="604"/>
                </a:lnTo>
                <a:lnTo>
                  <a:pt x="675" y="603"/>
                </a:lnTo>
                <a:lnTo>
                  <a:pt x="670" y="601"/>
                </a:lnTo>
                <a:lnTo>
                  <a:pt x="668" y="603"/>
                </a:lnTo>
                <a:lnTo>
                  <a:pt x="666" y="605"/>
                </a:lnTo>
                <a:lnTo>
                  <a:pt x="659" y="606"/>
                </a:lnTo>
                <a:lnTo>
                  <a:pt x="652" y="606"/>
                </a:lnTo>
                <a:lnTo>
                  <a:pt x="656" y="609"/>
                </a:lnTo>
                <a:lnTo>
                  <a:pt x="660" y="613"/>
                </a:lnTo>
                <a:lnTo>
                  <a:pt x="655" y="614"/>
                </a:lnTo>
                <a:lnTo>
                  <a:pt x="649" y="614"/>
                </a:lnTo>
                <a:lnTo>
                  <a:pt x="645" y="613"/>
                </a:lnTo>
                <a:lnTo>
                  <a:pt x="642" y="613"/>
                </a:lnTo>
                <a:lnTo>
                  <a:pt x="640" y="615"/>
                </a:lnTo>
                <a:lnTo>
                  <a:pt x="640" y="616"/>
                </a:lnTo>
                <a:lnTo>
                  <a:pt x="641" y="616"/>
                </a:lnTo>
                <a:lnTo>
                  <a:pt x="643" y="617"/>
                </a:lnTo>
                <a:lnTo>
                  <a:pt x="649" y="617"/>
                </a:lnTo>
                <a:lnTo>
                  <a:pt x="652" y="617"/>
                </a:lnTo>
                <a:lnTo>
                  <a:pt x="656" y="617"/>
                </a:lnTo>
                <a:lnTo>
                  <a:pt x="660" y="617"/>
                </a:lnTo>
                <a:lnTo>
                  <a:pt x="665" y="616"/>
                </a:lnTo>
                <a:lnTo>
                  <a:pt x="667" y="613"/>
                </a:lnTo>
                <a:lnTo>
                  <a:pt x="668" y="611"/>
                </a:lnTo>
                <a:lnTo>
                  <a:pt x="667" y="609"/>
                </a:lnTo>
                <a:lnTo>
                  <a:pt x="668" y="608"/>
                </a:lnTo>
                <a:lnTo>
                  <a:pt x="672" y="607"/>
                </a:lnTo>
                <a:lnTo>
                  <a:pt x="672" y="607"/>
                </a:lnTo>
                <a:lnTo>
                  <a:pt x="672" y="607"/>
                </a:lnTo>
                <a:close/>
                <a:moveTo>
                  <a:pt x="293" y="125"/>
                </a:moveTo>
                <a:lnTo>
                  <a:pt x="305" y="128"/>
                </a:lnTo>
                <a:lnTo>
                  <a:pt x="319" y="134"/>
                </a:lnTo>
                <a:lnTo>
                  <a:pt x="323" y="135"/>
                </a:lnTo>
                <a:lnTo>
                  <a:pt x="327" y="139"/>
                </a:lnTo>
                <a:lnTo>
                  <a:pt x="330" y="141"/>
                </a:lnTo>
                <a:lnTo>
                  <a:pt x="332" y="141"/>
                </a:lnTo>
                <a:lnTo>
                  <a:pt x="336" y="142"/>
                </a:lnTo>
                <a:lnTo>
                  <a:pt x="338" y="142"/>
                </a:lnTo>
                <a:lnTo>
                  <a:pt x="336" y="136"/>
                </a:lnTo>
                <a:lnTo>
                  <a:pt x="331" y="132"/>
                </a:lnTo>
                <a:lnTo>
                  <a:pt x="327" y="127"/>
                </a:lnTo>
                <a:lnTo>
                  <a:pt x="322" y="125"/>
                </a:lnTo>
                <a:lnTo>
                  <a:pt x="319" y="126"/>
                </a:lnTo>
                <a:lnTo>
                  <a:pt x="317" y="126"/>
                </a:lnTo>
                <a:lnTo>
                  <a:pt x="314" y="124"/>
                </a:lnTo>
                <a:lnTo>
                  <a:pt x="311" y="122"/>
                </a:lnTo>
                <a:lnTo>
                  <a:pt x="304" y="119"/>
                </a:lnTo>
                <a:lnTo>
                  <a:pt x="298" y="117"/>
                </a:lnTo>
                <a:lnTo>
                  <a:pt x="296" y="119"/>
                </a:lnTo>
                <a:lnTo>
                  <a:pt x="296" y="122"/>
                </a:lnTo>
                <a:lnTo>
                  <a:pt x="294" y="123"/>
                </a:lnTo>
                <a:lnTo>
                  <a:pt x="291" y="122"/>
                </a:lnTo>
                <a:lnTo>
                  <a:pt x="286" y="119"/>
                </a:lnTo>
                <a:lnTo>
                  <a:pt x="280" y="118"/>
                </a:lnTo>
                <a:lnTo>
                  <a:pt x="282" y="122"/>
                </a:lnTo>
                <a:lnTo>
                  <a:pt x="286" y="123"/>
                </a:lnTo>
                <a:lnTo>
                  <a:pt x="288" y="124"/>
                </a:lnTo>
                <a:lnTo>
                  <a:pt x="293" y="125"/>
                </a:lnTo>
                <a:lnTo>
                  <a:pt x="294" y="125"/>
                </a:lnTo>
                <a:lnTo>
                  <a:pt x="293" y="125"/>
                </a:lnTo>
                <a:close/>
                <a:moveTo>
                  <a:pt x="311" y="125"/>
                </a:moveTo>
                <a:lnTo>
                  <a:pt x="307" y="126"/>
                </a:lnTo>
                <a:lnTo>
                  <a:pt x="305" y="125"/>
                </a:lnTo>
                <a:lnTo>
                  <a:pt x="304" y="124"/>
                </a:lnTo>
                <a:lnTo>
                  <a:pt x="302" y="123"/>
                </a:lnTo>
                <a:lnTo>
                  <a:pt x="304" y="123"/>
                </a:lnTo>
                <a:lnTo>
                  <a:pt x="306" y="123"/>
                </a:lnTo>
                <a:lnTo>
                  <a:pt x="309" y="124"/>
                </a:lnTo>
                <a:lnTo>
                  <a:pt x="311" y="125"/>
                </a:lnTo>
                <a:close/>
                <a:moveTo>
                  <a:pt x="411" y="313"/>
                </a:moveTo>
                <a:lnTo>
                  <a:pt x="406" y="313"/>
                </a:lnTo>
                <a:lnTo>
                  <a:pt x="403" y="311"/>
                </a:lnTo>
                <a:lnTo>
                  <a:pt x="400" y="310"/>
                </a:lnTo>
                <a:lnTo>
                  <a:pt x="396" y="309"/>
                </a:lnTo>
                <a:lnTo>
                  <a:pt x="393" y="309"/>
                </a:lnTo>
                <a:lnTo>
                  <a:pt x="390" y="309"/>
                </a:lnTo>
                <a:lnTo>
                  <a:pt x="387" y="310"/>
                </a:lnTo>
                <a:lnTo>
                  <a:pt x="384" y="309"/>
                </a:lnTo>
                <a:lnTo>
                  <a:pt x="392" y="315"/>
                </a:lnTo>
                <a:lnTo>
                  <a:pt x="401" y="319"/>
                </a:lnTo>
                <a:lnTo>
                  <a:pt x="409" y="324"/>
                </a:lnTo>
                <a:lnTo>
                  <a:pt x="419" y="329"/>
                </a:lnTo>
                <a:lnTo>
                  <a:pt x="427" y="333"/>
                </a:lnTo>
                <a:lnTo>
                  <a:pt x="436" y="334"/>
                </a:lnTo>
                <a:lnTo>
                  <a:pt x="437" y="333"/>
                </a:lnTo>
                <a:lnTo>
                  <a:pt x="438" y="331"/>
                </a:lnTo>
                <a:lnTo>
                  <a:pt x="441" y="331"/>
                </a:lnTo>
                <a:lnTo>
                  <a:pt x="443" y="330"/>
                </a:lnTo>
                <a:lnTo>
                  <a:pt x="439" y="327"/>
                </a:lnTo>
                <a:lnTo>
                  <a:pt x="435" y="326"/>
                </a:lnTo>
                <a:lnTo>
                  <a:pt x="428" y="325"/>
                </a:lnTo>
                <a:lnTo>
                  <a:pt x="422" y="324"/>
                </a:lnTo>
                <a:lnTo>
                  <a:pt x="417" y="323"/>
                </a:lnTo>
                <a:lnTo>
                  <a:pt x="413" y="323"/>
                </a:lnTo>
                <a:lnTo>
                  <a:pt x="412" y="322"/>
                </a:lnTo>
                <a:lnTo>
                  <a:pt x="411" y="321"/>
                </a:lnTo>
                <a:lnTo>
                  <a:pt x="410" y="318"/>
                </a:lnTo>
                <a:lnTo>
                  <a:pt x="410" y="316"/>
                </a:lnTo>
                <a:lnTo>
                  <a:pt x="417" y="316"/>
                </a:lnTo>
                <a:lnTo>
                  <a:pt x="422" y="315"/>
                </a:lnTo>
                <a:lnTo>
                  <a:pt x="420" y="314"/>
                </a:lnTo>
                <a:lnTo>
                  <a:pt x="417" y="313"/>
                </a:lnTo>
                <a:lnTo>
                  <a:pt x="414" y="311"/>
                </a:lnTo>
                <a:lnTo>
                  <a:pt x="411" y="313"/>
                </a:lnTo>
                <a:lnTo>
                  <a:pt x="410" y="313"/>
                </a:lnTo>
                <a:lnTo>
                  <a:pt x="411" y="313"/>
                </a:lnTo>
                <a:close/>
                <a:moveTo>
                  <a:pt x="982" y="211"/>
                </a:moveTo>
                <a:lnTo>
                  <a:pt x="985" y="213"/>
                </a:lnTo>
                <a:lnTo>
                  <a:pt x="985" y="211"/>
                </a:lnTo>
                <a:lnTo>
                  <a:pt x="986" y="209"/>
                </a:lnTo>
                <a:lnTo>
                  <a:pt x="986" y="208"/>
                </a:lnTo>
                <a:lnTo>
                  <a:pt x="988" y="208"/>
                </a:lnTo>
                <a:lnTo>
                  <a:pt x="991" y="208"/>
                </a:lnTo>
                <a:lnTo>
                  <a:pt x="996" y="209"/>
                </a:lnTo>
                <a:lnTo>
                  <a:pt x="999" y="208"/>
                </a:lnTo>
                <a:lnTo>
                  <a:pt x="1002" y="206"/>
                </a:lnTo>
                <a:lnTo>
                  <a:pt x="1005" y="206"/>
                </a:lnTo>
                <a:lnTo>
                  <a:pt x="1007" y="206"/>
                </a:lnTo>
                <a:lnTo>
                  <a:pt x="1011" y="207"/>
                </a:lnTo>
                <a:lnTo>
                  <a:pt x="1026" y="209"/>
                </a:lnTo>
                <a:lnTo>
                  <a:pt x="1041" y="210"/>
                </a:lnTo>
                <a:lnTo>
                  <a:pt x="1057" y="210"/>
                </a:lnTo>
                <a:lnTo>
                  <a:pt x="1073" y="210"/>
                </a:lnTo>
                <a:lnTo>
                  <a:pt x="1071" y="208"/>
                </a:lnTo>
                <a:lnTo>
                  <a:pt x="1069" y="206"/>
                </a:lnTo>
                <a:lnTo>
                  <a:pt x="1065" y="206"/>
                </a:lnTo>
                <a:lnTo>
                  <a:pt x="1063" y="205"/>
                </a:lnTo>
                <a:lnTo>
                  <a:pt x="1068" y="203"/>
                </a:lnTo>
                <a:lnTo>
                  <a:pt x="1071" y="199"/>
                </a:lnTo>
                <a:lnTo>
                  <a:pt x="1060" y="201"/>
                </a:lnTo>
                <a:lnTo>
                  <a:pt x="1048" y="202"/>
                </a:lnTo>
                <a:lnTo>
                  <a:pt x="1036" y="203"/>
                </a:lnTo>
                <a:lnTo>
                  <a:pt x="1024" y="203"/>
                </a:lnTo>
                <a:lnTo>
                  <a:pt x="1011" y="203"/>
                </a:lnTo>
                <a:lnTo>
                  <a:pt x="998" y="203"/>
                </a:lnTo>
                <a:lnTo>
                  <a:pt x="985" y="203"/>
                </a:lnTo>
                <a:lnTo>
                  <a:pt x="972" y="206"/>
                </a:lnTo>
                <a:lnTo>
                  <a:pt x="977" y="209"/>
                </a:lnTo>
                <a:lnTo>
                  <a:pt x="982" y="211"/>
                </a:lnTo>
                <a:lnTo>
                  <a:pt x="982" y="211"/>
                </a:lnTo>
                <a:lnTo>
                  <a:pt x="982" y="211"/>
                </a:lnTo>
                <a:close/>
                <a:moveTo>
                  <a:pt x="348" y="152"/>
                </a:moveTo>
                <a:lnTo>
                  <a:pt x="344" y="151"/>
                </a:lnTo>
                <a:lnTo>
                  <a:pt x="338" y="150"/>
                </a:lnTo>
                <a:lnTo>
                  <a:pt x="342" y="153"/>
                </a:lnTo>
                <a:lnTo>
                  <a:pt x="345" y="155"/>
                </a:lnTo>
                <a:lnTo>
                  <a:pt x="343" y="156"/>
                </a:lnTo>
                <a:lnTo>
                  <a:pt x="342" y="158"/>
                </a:lnTo>
                <a:lnTo>
                  <a:pt x="346" y="159"/>
                </a:lnTo>
                <a:lnTo>
                  <a:pt x="351" y="159"/>
                </a:lnTo>
                <a:lnTo>
                  <a:pt x="355" y="160"/>
                </a:lnTo>
                <a:lnTo>
                  <a:pt x="360" y="163"/>
                </a:lnTo>
                <a:lnTo>
                  <a:pt x="367" y="167"/>
                </a:lnTo>
                <a:lnTo>
                  <a:pt x="375" y="169"/>
                </a:lnTo>
                <a:lnTo>
                  <a:pt x="375" y="167"/>
                </a:lnTo>
                <a:lnTo>
                  <a:pt x="373" y="166"/>
                </a:lnTo>
                <a:lnTo>
                  <a:pt x="372" y="165"/>
                </a:lnTo>
                <a:lnTo>
                  <a:pt x="371" y="164"/>
                </a:lnTo>
                <a:lnTo>
                  <a:pt x="370" y="161"/>
                </a:lnTo>
                <a:lnTo>
                  <a:pt x="370" y="158"/>
                </a:lnTo>
                <a:lnTo>
                  <a:pt x="369" y="156"/>
                </a:lnTo>
                <a:lnTo>
                  <a:pt x="370" y="153"/>
                </a:lnTo>
                <a:lnTo>
                  <a:pt x="375" y="155"/>
                </a:lnTo>
                <a:lnTo>
                  <a:pt x="379" y="156"/>
                </a:lnTo>
                <a:lnTo>
                  <a:pt x="381" y="157"/>
                </a:lnTo>
                <a:lnTo>
                  <a:pt x="384" y="157"/>
                </a:lnTo>
                <a:lnTo>
                  <a:pt x="385" y="158"/>
                </a:lnTo>
                <a:lnTo>
                  <a:pt x="386" y="160"/>
                </a:lnTo>
                <a:lnTo>
                  <a:pt x="384" y="161"/>
                </a:lnTo>
                <a:lnTo>
                  <a:pt x="383" y="164"/>
                </a:lnTo>
                <a:lnTo>
                  <a:pt x="385" y="165"/>
                </a:lnTo>
                <a:lnTo>
                  <a:pt x="388" y="166"/>
                </a:lnTo>
                <a:lnTo>
                  <a:pt x="390" y="166"/>
                </a:lnTo>
                <a:lnTo>
                  <a:pt x="390" y="165"/>
                </a:lnTo>
                <a:lnTo>
                  <a:pt x="390" y="164"/>
                </a:lnTo>
                <a:lnTo>
                  <a:pt x="390" y="163"/>
                </a:lnTo>
                <a:lnTo>
                  <a:pt x="392" y="161"/>
                </a:lnTo>
                <a:lnTo>
                  <a:pt x="393" y="160"/>
                </a:lnTo>
                <a:lnTo>
                  <a:pt x="394" y="161"/>
                </a:lnTo>
                <a:lnTo>
                  <a:pt x="396" y="163"/>
                </a:lnTo>
                <a:lnTo>
                  <a:pt x="401" y="165"/>
                </a:lnTo>
                <a:lnTo>
                  <a:pt x="404" y="167"/>
                </a:lnTo>
                <a:lnTo>
                  <a:pt x="405" y="168"/>
                </a:lnTo>
                <a:lnTo>
                  <a:pt x="406" y="168"/>
                </a:lnTo>
                <a:lnTo>
                  <a:pt x="408" y="167"/>
                </a:lnTo>
                <a:lnTo>
                  <a:pt x="409" y="166"/>
                </a:lnTo>
                <a:lnTo>
                  <a:pt x="406" y="164"/>
                </a:lnTo>
                <a:lnTo>
                  <a:pt x="404" y="163"/>
                </a:lnTo>
                <a:lnTo>
                  <a:pt x="404" y="161"/>
                </a:lnTo>
                <a:lnTo>
                  <a:pt x="404" y="160"/>
                </a:lnTo>
                <a:lnTo>
                  <a:pt x="405" y="159"/>
                </a:lnTo>
                <a:lnTo>
                  <a:pt x="402" y="158"/>
                </a:lnTo>
                <a:lnTo>
                  <a:pt x="398" y="158"/>
                </a:lnTo>
                <a:lnTo>
                  <a:pt x="394" y="158"/>
                </a:lnTo>
                <a:lnTo>
                  <a:pt x="388" y="157"/>
                </a:lnTo>
                <a:lnTo>
                  <a:pt x="383" y="155"/>
                </a:lnTo>
                <a:lnTo>
                  <a:pt x="378" y="152"/>
                </a:lnTo>
                <a:lnTo>
                  <a:pt x="375" y="149"/>
                </a:lnTo>
                <a:lnTo>
                  <a:pt x="387" y="153"/>
                </a:lnTo>
                <a:lnTo>
                  <a:pt x="400" y="156"/>
                </a:lnTo>
                <a:lnTo>
                  <a:pt x="396" y="155"/>
                </a:lnTo>
                <a:lnTo>
                  <a:pt x="392" y="152"/>
                </a:lnTo>
                <a:lnTo>
                  <a:pt x="389" y="150"/>
                </a:lnTo>
                <a:lnTo>
                  <a:pt x="387" y="147"/>
                </a:lnTo>
                <a:lnTo>
                  <a:pt x="385" y="147"/>
                </a:lnTo>
                <a:lnTo>
                  <a:pt x="381" y="147"/>
                </a:lnTo>
                <a:lnTo>
                  <a:pt x="378" y="145"/>
                </a:lnTo>
                <a:lnTo>
                  <a:pt x="373" y="143"/>
                </a:lnTo>
                <a:lnTo>
                  <a:pt x="370" y="143"/>
                </a:lnTo>
                <a:lnTo>
                  <a:pt x="370" y="144"/>
                </a:lnTo>
                <a:lnTo>
                  <a:pt x="370" y="147"/>
                </a:lnTo>
                <a:lnTo>
                  <a:pt x="370" y="149"/>
                </a:lnTo>
                <a:lnTo>
                  <a:pt x="369" y="150"/>
                </a:lnTo>
                <a:lnTo>
                  <a:pt x="367" y="150"/>
                </a:lnTo>
                <a:lnTo>
                  <a:pt x="365" y="149"/>
                </a:lnTo>
                <a:lnTo>
                  <a:pt x="364" y="148"/>
                </a:lnTo>
                <a:lnTo>
                  <a:pt x="361" y="144"/>
                </a:lnTo>
                <a:lnTo>
                  <a:pt x="359" y="143"/>
                </a:lnTo>
                <a:lnTo>
                  <a:pt x="360" y="147"/>
                </a:lnTo>
                <a:lnTo>
                  <a:pt x="361" y="150"/>
                </a:lnTo>
                <a:lnTo>
                  <a:pt x="363" y="152"/>
                </a:lnTo>
                <a:lnTo>
                  <a:pt x="365" y="155"/>
                </a:lnTo>
                <a:lnTo>
                  <a:pt x="357" y="156"/>
                </a:lnTo>
                <a:lnTo>
                  <a:pt x="348" y="156"/>
                </a:lnTo>
                <a:lnTo>
                  <a:pt x="346" y="156"/>
                </a:lnTo>
                <a:lnTo>
                  <a:pt x="346" y="155"/>
                </a:lnTo>
                <a:lnTo>
                  <a:pt x="347" y="155"/>
                </a:lnTo>
                <a:lnTo>
                  <a:pt x="348" y="152"/>
                </a:lnTo>
                <a:lnTo>
                  <a:pt x="347" y="152"/>
                </a:lnTo>
                <a:lnTo>
                  <a:pt x="348" y="152"/>
                </a:lnTo>
                <a:close/>
                <a:moveTo>
                  <a:pt x="268" y="149"/>
                </a:moveTo>
                <a:lnTo>
                  <a:pt x="270" y="148"/>
                </a:lnTo>
                <a:lnTo>
                  <a:pt x="273" y="148"/>
                </a:lnTo>
                <a:lnTo>
                  <a:pt x="272" y="144"/>
                </a:lnTo>
                <a:lnTo>
                  <a:pt x="270" y="142"/>
                </a:lnTo>
                <a:lnTo>
                  <a:pt x="271" y="141"/>
                </a:lnTo>
                <a:lnTo>
                  <a:pt x="272" y="140"/>
                </a:lnTo>
                <a:lnTo>
                  <a:pt x="273" y="140"/>
                </a:lnTo>
                <a:lnTo>
                  <a:pt x="276" y="140"/>
                </a:lnTo>
                <a:lnTo>
                  <a:pt x="279" y="141"/>
                </a:lnTo>
                <a:lnTo>
                  <a:pt x="280" y="142"/>
                </a:lnTo>
                <a:lnTo>
                  <a:pt x="282" y="147"/>
                </a:lnTo>
                <a:lnTo>
                  <a:pt x="286" y="149"/>
                </a:lnTo>
                <a:lnTo>
                  <a:pt x="289" y="147"/>
                </a:lnTo>
                <a:lnTo>
                  <a:pt x="291" y="143"/>
                </a:lnTo>
                <a:lnTo>
                  <a:pt x="282" y="140"/>
                </a:lnTo>
                <a:lnTo>
                  <a:pt x="273" y="135"/>
                </a:lnTo>
                <a:lnTo>
                  <a:pt x="263" y="133"/>
                </a:lnTo>
                <a:lnTo>
                  <a:pt x="253" y="133"/>
                </a:lnTo>
                <a:lnTo>
                  <a:pt x="255" y="134"/>
                </a:lnTo>
                <a:lnTo>
                  <a:pt x="256" y="135"/>
                </a:lnTo>
                <a:lnTo>
                  <a:pt x="256" y="138"/>
                </a:lnTo>
                <a:lnTo>
                  <a:pt x="255" y="139"/>
                </a:lnTo>
                <a:lnTo>
                  <a:pt x="252" y="135"/>
                </a:lnTo>
                <a:lnTo>
                  <a:pt x="248" y="130"/>
                </a:lnTo>
                <a:lnTo>
                  <a:pt x="246" y="130"/>
                </a:lnTo>
                <a:lnTo>
                  <a:pt x="244" y="130"/>
                </a:lnTo>
                <a:lnTo>
                  <a:pt x="243" y="127"/>
                </a:lnTo>
                <a:lnTo>
                  <a:pt x="241" y="126"/>
                </a:lnTo>
                <a:lnTo>
                  <a:pt x="237" y="125"/>
                </a:lnTo>
                <a:lnTo>
                  <a:pt x="232" y="124"/>
                </a:lnTo>
                <a:lnTo>
                  <a:pt x="229" y="123"/>
                </a:lnTo>
                <a:lnTo>
                  <a:pt x="227" y="124"/>
                </a:lnTo>
                <a:lnTo>
                  <a:pt x="224" y="125"/>
                </a:lnTo>
                <a:lnTo>
                  <a:pt x="223" y="127"/>
                </a:lnTo>
                <a:lnTo>
                  <a:pt x="221" y="126"/>
                </a:lnTo>
                <a:lnTo>
                  <a:pt x="217" y="126"/>
                </a:lnTo>
                <a:lnTo>
                  <a:pt x="213" y="124"/>
                </a:lnTo>
                <a:lnTo>
                  <a:pt x="207" y="122"/>
                </a:lnTo>
                <a:lnTo>
                  <a:pt x="204" y="120"/>
                </a:lnTo>
                <a:lnTo>
                  <a:pt x="200" y="120"/>
                </a:lnTo>
                <a:lnTo>
                  <a:pt x="198" y="122"/>
                </a:lnTo>
                <a:lnTo>
                  <a:pt x="196" y="123"/>
                </a:lnTo>
                <a:lnTo>
                  <a:pt x="205" y="125"/>
                </a:lnTo>
                <a:lnTo>
                  <a:pt x="214" y="128"/>
                </a:lnTo>
                <a:lnTo>
                  <a:pt x="223" y="131"/>
                </a:lnTo>
                <a:lnTo>
                  <a:pt x="232" y="134"/>
                </a:lnTo>
                <a:lnTo>
                  <a:pt x="241" y="136"/>
                </a:lnTo>
                <a:lnTo>
                  <a:pt x="250" y="140"/>
                </a:lnTo>
                <a:lnTo>
                  <a:pt x="260" y="143"/>
                </a:lnTo>
                <a:lnTo>
                  <a:pt x="268" y="149"/>
                </a:lnTo>
                <a:lnTo>
                  <a:pt x="262" y="144"/>
                </a:lnTo>
                <a:lnTo>
                  <a:pt x="268" y="149"/>
                </a:lnTo>
                <a:close/>
                <a:moveTo>
                  <a:pt x="920" y="651"/>
                </a:moveTo>
                <a:lnTo>
                  <a:pt x="916" y="651"/>
                </a:lnTo>
                <a:lnTo>
                  <a:pt x="913" y="650"/>
                </a:lnTo>
                <a:lnTo>
                  <a:pt x="912" y="647"/>
                </a:lnTo>
                <a:lnTo>
                  <a:pt x="911" y="645"/>
                </a:lnTo>
                <a:lnTo>
                  <a:pt x="909" y="648"/>
                </a:lnTo>
                <a:lnTo>
                  <a:pt x="907" y="650"/>
                </a:lnTo>
                <a:lnTo>
                  <a:pt x="904" y="650"/>
                </a:lnTo>
                <a:lnTo>
                  <a:pt x="900" y="651"/>
                </a:lnTo>
                <a:lnTo>
                  <a:pt x="892" y="650"/>
                </a:lnTo>
                <a:lnTo>
                  <a:pt x="887" y="650"/>
                </a:lnTo>
                <a:lnTo>
                  <a:pt x="876" y="649"/>
                </a:lnTo>
                <a:lnTo>
                  <a:pt x="868" y="649"/>
                </a:lnTo>
                <a:lnTo>
                  <a:pt x="867" y="651"/>
                </a:lnTo>
                <a:lnTo>
                  <a:pt x="867" y="651"/>
                </a:lnTo>
                <a:lnTo>
                  <a:pt x="868" y="653"/>
                </a:lnTo>
                <a:lnTo>
                  <a:pt x="871" y="653"/>
                </a:lnTo>
                <a:lnTo>
                  <a:pt x="874" y="653"/>
                </a:lnTo>
                <a:lnTo>
                  <a:pt x="876" y="653"/>
                </a:lnTo>
                <a:lnTo>
                  <a:pt x="884" y="654"/>
                </a:lnTo>
                <a:lnTo>
                  <a:pt x="894" y="654"/>
                </a:lnTo>
                <a:lnTo>
                  <a:pt x="899" y="653"/>
                </a:lnTo>
                <a:lnTo>
                  <a:pt x="905" y="654"/>
                </a:lnTo>
                <a:lnTo>
                  <a:pt x="906" y="656"/>
                </a:lnTo>
                <a:lnTo>
                  <a:pt x="906" y="658"/>
                </a:lnTo>
                <a:lnTo>
                  <a:pt x="905" y="661"/>
                </a:lnTo>
                <a:lnTo>
                  <a:pt x="903" y="661"/>
                </a:lnTo>
                <a:lnTo>
                  <a:pt x="895" y="662"/>
                </a:lnTo>
                <a:lnTo>
                  <a:pt x="887" y="664"/>
                </a:lnTo>
                <a:lnTo>
                  <a:pt x="895" y="665"/>
                </a:lnTo>
                <a:lnTo>
                  <a:pt x="902" y="664"/>
                </a:lnTo>
                <a:lnTo>
                  <a:pt x="907" y="659"/>
                </a:lnTo>
                <a:lnTo>
                  <a:pt x="912" y="655"/>
                </a:lnTo>
                <a:lnTo>
                  <a:pt x="917" y="654"/>
                </a:lnTo>
                <a:lnTo>
                  <a:pt x="922" y="655"/>
                </a:lnTo>
                <a:lnTo>
                  <a:pt x="928" y="655"/>
                </a:lnTo>
                <a:lnTo>
                  <a:pt x="933" y="654"/>
                </a:lnTo>
                <a:lnTo>
                  <a:pt x="947" y="654"/>
                </a:lnTo>
                <a:lnTo>
                  <a:pt x="960" y="653"/>
                </a:lnTo>
                <a:lnTo>
                  <a:pt x="966" y="651"/>
                </a:lnTo>
                <a:lnTo>
                  <a:pt x="972" y="650"/>
                </a:lnTo>
                <a:lnTo>
                  <a:pt x="978" y="650"/>
                </a:lnTo>
                <a:lnTo>
                  <a:pt x="985" y="649"/>
                </a:lnTo>
                <a:lnTo>
                  <a:pt x="986" y="648"/>
                </a:lnTo>
                <a:lnTo>
                  <a:pt x="986" y="647"/>
                </a:lnTo>
                <a:lnTo>
                  <a:pt x="985" y="647"/>
                </a:lnTo>
                <a:lnTo>
                  <a:pt x="982" y="646"/>
                </a:lnTo>
                <a:lnTo>
                  <a:pt x="977" y="645"/>
                </a:lnTo>
                <a:lnTo>
                  <a:pt x="970" y="646"/>
                </a:lnTo>
                <a:lnTo>
                  <a:pt x="957" y="646"/>
                </a:lnTo>
                <a:lnTo>
                  <a:pt x="945" y="648"/>
                </a:lnTo>
                <a:lnTo>
                  <a:pt x="932" y="649"/>
                </a:lnTo>
                <a:lnTo>
                  <a:pt x="920" y="651"/>
                </a:lnTo>
                <a:lnTo>
                  <a:pt x="921" y="651"/>
                </a:lnTo>
                <a:lnTo>
                  <a:pt x="925" y="650"/>
                </a:lnTo>
                <a:lnTo>
                  <a:pt x="928" y="650"/>
                </a:lnTo>
                <a:lnTo>
                  <a:pt x="920" y="651"/>
                </a:lnTo>
                <a:close/>
                <a:moveTo>
                  <a:pt x="602" y="586"/>
                </a:moveTo>
                <a:lnTo>
                  <a:pt x="602" y="582"/>
                </a:lnTo>
                <a:lnTo>
                  <a:pt x="601" y="581"/>
                </a:lnTo>
                <a:lnTo>
                  <a:pt x="600" y="580"/>
                </a:lnTo>
                <a:lnTo>
                  <a:pt x="598" y="578"/>
                </a:lnTo>
                <a:lnTo>
                  <a:pt x="596" y="576"/>
                </a:lnTo>
                <a:lnTo>
                  <a:pt x="596" y="576"/>
                </a:lnTo>
                <a:lnTo>
                  <a:pt x="596" y="575"/>
                </a:lnTo>
                <a:lnTo>
                  <a:pt x="598" y="574"/>
                </a:lnTo>
                <a:lnTo>
                  <a:pt x="600" y="571"/>
                </a:lnTo>
                <a:lnTo>
                  <a:pt x="602" y="570"/>
                </a:lnTo>
                <a:lnTo>
                  <a:pt x="606" y="570"/>
                </a:lnTo>
                <a:lnTo>
                  <a:pt x="609" y="570"/>
                </a:lnTo>
                <a:lnTo>
                  <a:pt x="608" y="567"/>
                </a:lnTo>
                <a:lnTo>
                  <a:pt x="608" y="566"/>
                </a:lnTo>
                <a:lnTo>
                  <a:pt x="606" y="565"/>
                </a:lnTo>
                <a:lnTo>
                  <a:pt x="603" y="565"/>
                </a:lnTo>
                <a:lnTo>
                  <a:pt x="600" y="565"/>
                </a:lnTo>
                <a:lnTo>
                  <a:pt x="595" y="565"/>
                </a:lnTo>
                <a:lnTo>
                  <a:pt x="591" y="566"/>
                </a:lnTo>
                <a:lnTo>
                  <a:pt x="586" y="567"/>
                </a:lnTo>
                <a:lnTo>
                  <a:pt x="584" y="565"/>
                </a:lnTo>
                <a:lnTo>
                  <a:pt x="581" y="563"/>
                </a:lnTo>
                <a:lnTo>
                  <a:pt x="577" y="563"/>
                </a:lnTo>
                <a:lnTo>
                  <a:pt x="573" y="563"/>
                </a:lnTo>
                <a:lnTo>
                  <a:pt x="569" y="560"/>
                </a:lnTo>
                <a:lnTo>
                  <a:pt x="566" y="558"/>
                </a:lnTo>
                <a:lnTo>
                  <a:pt x="557" y="558"/>
                </a:lnTo>
                <a:lnTo>
                  <a:pt x="549" y="557"/>
                </a:lnTo>
                <a:lnTo>
                  <a:pt x="551" y="562"/>
                </a:lnTo>
                <a:lnTo>
                  <a:pt x="556" y="564"/>
                </a:lnTo>
                <a:lnTo>
                  <a:pt x="557" y="566"/>
                </a:lnTo>
                <a:lnTo>
                  <a:pt x="556" y="568"/>
                </a:lnTo>
                <a:lnTo>
                  <a:pt x="554" y="570"/>
                </a:lnTo>
                <a:lnTo>
                  <a:pt x="553" y="572"/>
                </a:lnTo>
                <a:lnTo>
                  <a:pt x="554" y="573"/>
                </a:lnTo>
                <a:lnTo>
                  <a:pt x="558" y="574"/>
                </a:lnTo>
                <a:lnTo>
                  <a:pt x="561" y="573"/>
                </a:lnTo>
                <a:lnTo>
                  <a:pt x="565" y="573"/>
                </a:lnTo>
                <a:lnTo>
                  <a:pt x="568" y="573"/>
                </a:lnTo>
                <a:lnTo>
                  <a:pt x="573" y="573"/>
                </a:lnTo>
                <a:lnTo>
                  <a:pt x="576" y="574"/>
                </a:lnTo>
                <a:lnTo>
                  <a:pt x="579" y="576"/>
                </a:lnTo>
                <a:lnTo>
                  <a:pt x="578" y="578"/>
                </a:lnTo>
                <a:lnTo>
                  <a:pt x="577" y="579"/>
                </a:lnTo>
                <a:lnTo>
                  <a:pt x="576" y="580"/>
                </a:lnTo>
                <a:lnTo>
                  <a:pt x="577" y="581"/>
                </a:lnTo>
                <a:lnTo>
                  <a:pt x="578" y="582"/>
                </a:lnTo>
                <a:lnTo>
                  <a:pt x="579" y="581"/>
                </a:lnTo>
                <a:lnTo>
                  <a:pt x="581" y="580"/>
                </a:lnTo>
                <a:lnTo>
                  <a:pt x="582" y="579"/>
                </a:lnTo>
                <a:lnTo>
                  <a:pt x="583" y="578"/>
                </a:lnTo>
                <a:lnTo>
                  <a:pt x="585" y="579"/>
                </a:lnTo>
                <a:lnTo>
                  <a:pt x="587" y="580"/>
                </a:lnTo>
                <a:lnTo>
                  <a:pt x="587" y="581"/>
                </a:lnTo>
                <a:lnTo>
                  <a:pt x="584" y="583"/>
                </a:lnTo>
                <a:lnTo>
                  <a:pt x="582" y="584"/>
                </a:lnTo>
                <a:lnTo>
                  <a:pt x="585" y="584"/>
                </a:lnTo>
                <a:lnTo>
                  <a:pt x="589" y="587"/>
                </a:lnTo>
                <a:lnTo>
                  <a:pt x="589" y="588"/>
                </a:lnTo>
                <a:lnTo>
                  <a:pt x="590" y="590"/>
                </a:lnTo>
                <a:lnTo>
                  <a:pt x="591" y="589"/>
                </a:lnTo>
                <a:lnTo>
                  <a:pt x="591" y="587"/>
                </a:lnTo>
                <a:lnTo>
                  <a:pt x="593" y="587"/>
                </a:lnTo>
                <a:lnTo>
                  <a:pt x="594" y="587"/>
                </a:lnTo>
                <a:lnTo>
                  <a:pt x="596" y="588"/>
                </a:lnTo>
                <a:lnTo>
                  <a:pt x="599" y="588"/>
                </a:lnTo>
                <a:lnTo>
                  <a:pt x="601" y="587"/>
                </a:lnTo>
                <a:lnTo>
                  <a:pt x="602" y="586"/>
                </a:lnTo>
                <a:lnTo>
                  <a:pt x="602" y="586"/>
                </a:lnTo>
                <a:lnTo>
                  <a:pt x="602" y="586"/>
                </a:lnTo>
                <a:close/>
                <a:moveTo>
                  <a:pt x="560" y="564"/>
                </a:moveTo>
                <a:lnTo>
                  <a:pt x="558" y="564"/>
                </a:lnTo>
                <a:lnTo>
                  <a:pt x="558" y="563"/>
                </a:lnTo>
                <a:lnTo>
                  <a:pt x="558" y="562"/>
                </a:lnTo>
                <a:lnTo>
                  <a:pt x="560" y="563"/>
                </a:lnTo>
                <a:lnTo>
                  <a:pt x="560" y="563"/>
                </a:lnTo>
                <a:lnTo>
                  <a:pt x="560" y="564"/>
                </a:lnTo>
                <a:lnTo>
                  <a:pt x="559" y="564"/>
                </a:lnTo>
                <a:lnTo>
                  <a:pt x="560" y="564"/>
                </a:lnTo>
                <a:close/>
                <a:moveTo>
                  <a:pt x="396" y="437"/>
                </a:moveTo>
                <a:lnTo>
                  <a:pt x="393" y="437"/>
                </a:lnTo>
                <a:lnTo>
                  <a:pt x="389" y="434"/>
                </a:lnTo>
                <a:lnTo>
                  <a:pt x="389" y="432"/>
                </a:lnTo>
                <a:lnTo>
                  <a:pt x="388" y="430"/>
                </a:lnTo>
                <a:lnTo>
                  <a:pt x="385" y="429"/>
                </a:lnTo>
                <a:lnTo>
                  <a:pt x="380" y="429"/>
                </a:lnTo>
                <a:lnTo>
                  <a:pt x="377" y="429"/>
                </a:lnTo>
                <a:lnTo>
                  <a:pt x="373" y="429"/>
                </a:lnTo>
                <a:lnTo>
                  <a:pt x="373" y="427"/>
                </a:lnTo>
                <a:lnTo>
                  <a:pt x="371" y="426"/>
                </a:lnTo>
                <a:lnTo>
                  <a:pt x="364" y="425"/>
                </a:lnTo>
                <a:lnTo>
                  <a:pt x="359" y="425"/>
                </a:lnTo>
                <a:lnTo>
                  <a:pt x="356" y="424"/>
                </a:lnTo>
                <a:lnTo>
                  <a:pt x="354" y="422"/>
                </a:lnTo>
                <a:lnTo>
                  <a:pt x="352" y="422"/>
                </a:lnTo>
                <a:lnTo>
                  <a:pt x="348" y="423"/>
                </a:lnTo>
                <a:lnTo>
                  <a:pt x="345" y="423"/>
                </a:lnTo>
                <a:lnTo>
                  <a:pt x="342" y="423"/>
                </a:lnTo>
                <a:lnTo>
                  <a:pt x="340" y="421"/>
                </a:lnTo>
                <a:lnTo>
                  <a:pt x="338" y="418"/>
                </a:lnTo>
                <a:lnTo>
                  <a:pt x="332" y="418"/>
                </a:lnTo>
                <a:lnTo>
                  <a:pt x="328" y="417"/>
                </a:lnTo>
                <a:lnTo>
                  <a:pt x="327" y="416"/>
                </a:lnTo>
                <a:lnTo>
                  <a:pt x="327" y="415"/>
                </a:lnTo>
                <a:lnTo>
                  <a:pt x="327" y="415"/>
                </a:lnTo>
                <a:lnTo>
                  <a:pt x="328" y="414"/>
                </a:lnTo>
                <a:lnTo>
                  <a:pt x="329" y="414"/>
                </a:lnTo>
                <a:lnTo>
                  <a:pt x="330" y="412"/>
                </a:lnTo>
                <a:lnTo>
                  <a:pt x="324" y="412"/>
                </a:lnTo>
                <a:lnTo>
                  <a:pt x="320" y="410"/>
                </a:lnTo>
                <a:lnTo>
                  <a:pt x="318" y="410"/>
                </a:lnTo>
                <a:lnTo>
                  <a:pt x="318" y="412"/>
                </a:lnTo>
                <a:lnTo>
                  <a:pt x="318" y="412"/>
                </a:lnTo>
                <a:lnTo>
                  <a:pt x="318" y="414"/>
                </a:lnTo>
                <a:lnTo>
                  <a:pt x="318" y="415"/>
                </a:lnTo>
                <a:lnTo>
                  <a:pt x="318" y="415"/>
                </a:lnTo>
                <a:lnTo>
                  <a:pt x="318" y="415"/>
                </a:lnTo>
                <a:lnTo>
                  <a:pt x="317" y="415"/>
                </a:lnTo>
                <a:lnTo>
                  <a:pt x="314" y="415"/>
                </a:lnTo>
                <a:lnTo>
                  <a:pt x="312" y="414"/>
                </a:lnTo>
                <a:lnTo>
                  <a:pt x="309" y="415"/>
                </a:lnTo>
                <a:lnTo>
                  <a:pt x="305" y="415"/>
                </a:lnTo>
                <a:lnTo>
                  <a:pt x="320" y="420"/>
                </a:lnTo>
                <a:lnTo>
                  <a:pt x="335" y="424"/>
                </a:lnTo>
                <a:lnTo>
                  <a:pt x="330" y="425"/>
                </a:lnTo>
                <a:lnTo>
                  <a:pt x="326" y="424"/>
                </a:lnTo>
                <a:lnTo>
                  <a:pt x="330" y="427"/>
                </a:lnTo>
                <a:lnTo>
                  <a:pt x="335" y="430"/>
                </a:lnTo>
                <a:lnTo>
                  <a:pt x="340" y="431"/>
                </a:lnTo>
                <a:lnTo>
                  <a:pt x="345" y="430"/>
                </a:lnTo>
                <a:lnTo>
                  <a:pt x="345" y="429"/>
                </a:lnTo>
                <a:lnTo>
                  <a:pt x="345" y="427"/>
                </a:lnTo>
                <a:lnTo>
                  <a:pt x="347" y="427"/>
                </a:lnTo>
                <a:lnTo>
                  <a:pt x="351" y="427"/>
                </a:lnTo>
                <a:lnTo>
                  <a:pt x="354" y="430"/>
                </a:lnTo>
                <a:lnTo>
                  <a:pt x="359" y="432"/>
                </a:lnTo>
                <a:lnTo>
                  <a:pt x="362" y="433"/>
                </a:lnTo>
                <a:lnTo>
                  <a:pt x="365" y="433"/>
                </a:lnTo>
                <a:lnTo>
                  <a:pt x="371" y="433"/>
                </a:lnTo>
                <a:lnTo>
                  <a:pt x="376" y="432"/>
                </a:lnTo>
                <a:lnTo>
                  <a:pt x="379" y="433"/>
                </a:lnTo>
                <a:lnTo>
                  <a:pt x="383" y="435"/>
                </a:lnTo>
                <a:lnTo>
                  <a:pt x="385" y="439"/>
                </a:lnTo>
                <a:lnTo>
                  <a:pt x="387" y="443"/>
                </a:lnTo>
                <a:lnTo>
                  <a:pt x="384" y="441"/>
                </a:lnTo>
                <a:lnTo>
                  <a:pt x="378" y="440"/>
                </a:lnTo>
                <a:lnTo>
                  <a:pt x="372" y="440"/>
                </a:lnTo>
                <a:lnTo>
                  <a:pt x="368" y="441"/>
                </a:lnTo>
                <a:lnTo>
                  <a:pt x="368" y="443"/>
                </a:lnTo>
                <a:lnTo>
                  <a:pt x="368" y="443"/>
                </a:lnTo>
                <a:lnTo>
                  <a:pt x="369" y="445"/>
                </a:lnTo>
                <a:lnTo>
                  <a:pt x="371" y="445"/>
                </a:lnTo>
                <a:lnTo>
                  <a:pt x="377" y="446"/>
                </a:lnTo>
                <a:lnTo>
                  <a:pt x="383" y="448"/>
                </a:lnTo>
                <a:lnTo>
                  <a:pt x="387" y="449"/>
                </a:lnTo>
                <a:lnTo>
                  <a:pt x="392" y="449"/>
                </a:lnTo>
                <a:lnTo>
                  <a:pt x="397" y="448"/>
                </a:lnTo>
                <a:lnTo>
                  <a:pt x="401" y="446"/>
                </a:lnTo>
                <a:lnTo>
                  <a:pt x="403" y="442"/>
                </a:lnTo>
                <a:lnTo>
                  <a:pt x="402" y="440"/>
                </a:lnTo>
                <a:lnTo>
                  <a:pt x="400" y="438"/>
                </a:lnTo>
                <a:lnTo>
                  <a:pt x="396" y="437"/>
                </a:lnTo>
                <a:lnTo>
                  <a:pt x="396" y="437"/>
                </a:lnTo>
                <a:lnTo>
                  <a:pt x="396" y="437"/>
                </a:lnTo>
                <a:close/>
                <a:moveTo>
                  <a:pt x="339" y="426"/>
                </a:moveTo>
                <a:lnTo>
                  <a:pt x="342" y="426"/>
                </a:lnTo>
                <a:lnTo>
                  <a:pt x="343" y="426"/>
                </a:lnTo>
                <a:lnTo>
                  <a:pt x="342" y="427"/>
                </a:lnTo>
                <a:lnTo>
                  <a:pt x="339" y="426"/>
                </a:lnTo>
                <a:close/>
                <a:moveTo>
                  <a:pt x="398" y="127"/>
                </a:moveTo>
                <a:lnTo>
                  <a:pt x="395" y="128"/>
                </a:lnTo>
                <a:lnTo>
                  <a:pt x="392" y="130"/>
                </a:lnTo>
                <a:lnTo>
                  <a:pt x="388" y="131"/>
                </a:lnTo>
                <a:lnTo>
                  <a:pt x="387" y="134"/>
                </a:lnTo>
                <a:lnTo>
                  <a:pt x="388" y="136"/>
                </a:lnTo>
                <a:lnTo>
                  <a:pt x="388" y="141"/>
                </a:lnTo>
                <a:lnTo>
                  <a:pt x="390" y="143"/>
                </a:lnTo>
                <a:lnTo>
                  <a:pt x="393" y="144"/>
                </a:lnTo>
                <a:lnTo>
                  <a:pt x="394" y="141"/>
                </a:lnTo>
                <a:lnTo>
                  <a:pt x="397" y="138"/>
                </a:lnTo>
                <a:lnTo>
                  <a:pt x="402" y="139"/>
                </a:lnTo>
                <a:lnTo>
                  <a:pt x="405" y="141"/>
                </a:lnTo>
                <a:lnTo>
                  <a:pt x="410" y="143"/>
                </a:lnTo>
                <a:lnTo>
                  <a:pt x="413" y="147"/>
                </a:lnTo>
                <a:lnTo>
                  <a:pt x="417" y="148"/>
                </a:lnTo>
                <a:lnTo>
                  <a:pt x="420" y="149"/>
                </a:lnTo>
                <a:lnTo>
                  <a:pt x="422" y="150"/>
                </a:lnTo>
                <a:lnTo>
                  <a:pt x="423" y="152"/>
                </a:lnTo>
                <a:lnTo>
                  <a:pt x="430" y="157"/>
                </a:lnTo>
                <a:lnTo>
                  <a:pt x="438" y="159"/>
                </a:lnTo>
                <a:lnTo>
                  <a:pt x="447" y="163"/>
                </a:lnTo>
                <a:lnTo>
                  <a:pt x="458" y="166"/>
                </a:lnTo>
                <a:lnTo>
                  <a:pt x="462" y="168"/>
                </a:lnTo>
                <a:lnTo>
                  <a:pt x="467" y="172"/>
                </a:lnTo>
                <a:lnTo>
                  <a:pt x="471" y="176"/>
                </a:lnTo>
                <a:lnTo>
                  <a:pt x="475" y="180"/>
                </a:lnTo>
                <a:lnTo>
                  <a:pt x="475" y="177"/>
                </a:lnTo>
                <a:lnTo>
                  <a:pt x="476" y="175"/>
                </a:lnTo>
                <a:lnTo>
                  <a:pt x="477" y="174"/>
                </a:lnTo>
                <a:lnTo>
                  <a:pt x="479" y="174"/>
                </a:lnTo>
                <a:lnTo>
                  <a:pt x="482" y="175"/>
                </a:lnTo>
                <a:lnTo>
                  <a:pt x="483" y="176"/>
                </a:lnTo>
                <a:lnTo>
                  <a:pt x="484" y="178"/>
                </a:lnTo>
                <a:lnTo>
                  <a:pt x="483" y="181"/>
                </a:lnTo>
                <a:lnTo>
                  <a:pt x="485" y="178"/>
                </a:lnTo>
                <a:lnTo>
                  <a:pt x="487" y="178"/>
                </a:lnTo>
                <a:lnTo>
                  <a:pt x="490" y="177"/>
                </a:lnTo>
                <a:lnTo>
                  <a:pt x="492" y="178"/>
                </a:lnTo>
                <a:lnTo>
                  <a:pt x="497" y="178"/>
                </a:lnTo>
                <a:lnTo>
                  <a:pt x="502" y="178"/>
                </a:lnTo>
                <a:lnTo>
                  <a:pt x="499" y="175"/>
                </a:lnTo>
                <a:lnTo>
                  <a:pt x="495" y="174"/>
                </a:lnTo>
                <a:lnTo>
                  <a:pt x="491" y="174"/>
                </a:lnTo>
                <a:lnTo>
                  <a:pt x="487" y="175"/>
                </a:lnTo>
                <a:lnTo>
                  <a:pt x="486" y="172"/>
                </a:lnTo>
                <a:lnTo>
                  <a:pt x="486" y="169"/>
                </a:lnTo>
                <a:lnTo>
                  <a:pt x="485" y="166"/>
                </a:lnTo>
                <a:lnTo>
                  <a:pt x="482" y="164"/>
                </a:lnTo>
                <a:lnTo>
                  <a:pt x="480" y="166"/>
                </a:lnTo>
                <a:lnTo>
                  <a:pt x="479" y="165"/>
                </a:lnTo>
                <a:lnTo>
                  <a:pt x="477" y="165"/>
                </a:lnTo>
                <a:lnTo>
                  <a:pt x="476" y="165"/>
                </a:lnTo>
                <a:lnTo>
                  <a:pt x="476" y="166"/>
                </a:lnTo>
                <a:lnTo>
                  <a:pt x="476" y="167"/>
                </a:lnTo>
                <a:lnTo>
                  <a:pt x="476" y="168"/>
                </a:lnTo>
                <a:lnTo>
                  <a:pt x="476" y="169"/>
                </a:lnTo>
                <a:lnTo>
                  <a:pt x="474" y="169"/>
                </a:lnTo>
                <a:lnTo>
                  <a:pt x="470" y="169"/>
                </a:lnTo>
                <a:lnTo>
                  <a:pt x="468" y="169"/>
                </a:lnTo>
                <a:lnTo>
                  <a:pt x="467" y="168"/>
                </a:lnTo>
                <a:lnTo>
                  <a:pt x="467" y="167"/>
                </a:lnTo>
                <a:lnTo>
                  <a:pt x="466" y="165"/>
                </a:lnTo>
                <a:lnTo>
                  <a:pt x="462" y="164"/>
                </a:lnTo>
                <a:lnTo>
                  <a:pt x="460" y="163"/>
                </a:lnTo>
                <a:lnTo>
                  <a:pt x="461" y="160"/>
                </a:lnTo>
                <a:lnTo>
                  <a:pt x="461" y="159"/>
                </a:lnTo>
                <a:lnTo>
                  <a:pt x="460" y="156"/>
                </a:lnTo>
                <a:lnTo>
                  <a:pt x="459" y="153"/>
                </a:lnTo>
                <a:lnTo>
                  <a:pt x="455" y="151"/>
                </a:lnTo>
                <a:lnTo>
                  <a:pt x="452" y="150"/>
                </a:lnTo>
                <a:lnTo>
                  <a:pt x="452" y="150"/>
                </a:lnTo>
                <a:lnTo>
                  <a:pt x="452" y="151"/>
                </a:lnTo>
                <a:lnTo>
                  <a:pt x="453" y="152"/>
                </a:lnTo>
                <a:lnTo>
                  <a:pt x="454" y="153"/>
                </a:lnTo>
                <a:lnTo>
                  <a:pt x="456" y="156"/>
                </a:lnTo>
                <a:lnTo>
                  <a:pt x="459" y="156"/>
                </a:lnTo>
                <a:lnTo>
                  <a:pt x="451" y="158"/>
                </a:lnTo>
                <a:lnTo>
                  <a:pt x="443" y="158"/>
                </a:lnTo>
                <a:lnTo>
                  <a:pt x="447" y="157"/>
                </a:lnTo>
                <a:lnTo>
                  <a:pt x="451" y="156"/>
                </a:lnTo>
                <a:lnTo>
                  <a:pt x="451" y="153"/>
                </a:lnTo>
                <a:lnTo>
                  <a:pt x="450" y="153"/>
                </a:lnTo>
                <a:lnTo>
                  <a:pt x="449" y="152"/>
                </a:lnTo>
                <a:lnTo>
                  <a:pt x="447" y="152"/>
                </a:lnTo>
                <a:lnTo>
                  <a:pt x="444" y="153"/>
                </a:lnTo>
                <a:lnTo>
                  <a:pt x="443" y="153"/>
                </a:lnTo>
                <a:lnTo>
                  <a:pt x="439" y="153"/>
                </a:lnTo>
                <a:lnTo>
                  <a:pt x="438" y="153"/>
                </a:lnTo>
                <a:lnTo>
                  <a:pt x="436" y="152"/>
                </a:lnTo>
                <a:lnTo>
                  <a:pt x="435" y="151"/>
                </a:lnTo>
                <a:lnTo>
                  <a:pt x="431" y="148"/>
                </a:lnTo>
                <a:lnTo>
                  <a:pt x="428" y="145"/>
                </a:lnTo>
                <a:lnTo>
                  <a:pt x="423" y="144"/>
                </a:lnTo>
                <a:lnTo>
                  <a:pt x="420" y="142"/>
                </a:lnTo>
                <a:lnTo>
                  <a:pt x="419" y="140"/>
                </a:lnTo>
                <a:lnTo>
                  <a:pt x="419" y="139"/>
                </a:lnTo>
                <a:lnTo>
                  <a:pt x="417" y="139"/>
                </a:lnTo>
                <a:lnTo>
                  <a:pt x="413" y="140"/>
                </a:lnTo>
                <a:lnTo>
                  <a:pt x="409" y="139"/>
                </a:lnTo>
                <a:lnTo>
                  <a:pt x="402" y="135"/>
                </a:lnTo>
                <a:lnTo>
                  <a:pt x="400" y="133"/>
                </a:lnTo>
                <a:lnTo>
                  <a:pt x="397" y="131"/>
                </a:lnTo>
                <a:lnTo>
                  <a:pt x="397" y="128"/>
                </a:lnTo>
                <a:lnTo>
                  <a:pt x="398" y="127"/>
                </a:lnTo>
                <a:lnTo>
                  <a:pt x="396" y="128"/>
                </a:lnTo>
                <a:lnTo>
                  <a:pt x="398" y="127"/>
                </a:lnTo>
                <a:close/>
                <a:moveTo>
                  <a:pt x="501" y="277"/>
                </a:moveTo>
                <a:lnTo>
                  <a:pt x="502" y="276"/>
                </a:lnTo>
                <a:lnTo>
                  <a:pt x="504" y="275"/>
                </a:lnTo>
                <a:lnTo>
                  <a:pt x="505" y="273"/>
                </a:lnTo>
                <a:lnTo>
                  <a:pt x="507" y="271"/>
                </a:lnTo>
                <a:lnTo>
                  <a:pt x="505" y="268"/>
                </a:lnTo>
                <a:lnTo>
                  <a:pt x="502" y="267"/>
                </a:lnTo>
                <a:lnTo>
                  <a:pt x="499" y="266"/>
                </a:lnTo>
                <a:lnTo>
                  <a:pt x="496" y="264"/>
                </a:lnTo>
                <a:lnTo>
                  <a:pt x="494" y="261"/>
                </a:lnTo>
                <a:lnTo>
                  <a:pt x="491" y="260"/>
                </a:lnTo>
                <a:lnTo>
                  <a:pt x="483" y="257"/>
                </a:lnTo>
                <a:lnTo>
                  <a:pt x="475" y="254"/>
                </a:lnTo>
                <a:lnTo>
                  <a:pt x="471" y="251"/>
                </a:lnTo>
                <a:lnTo>
                  <a:pt x="469" y="249"/>
                </a:lnTo>
                <a:lnTo>
                  <a:pt x="466" y="247"/>
                </a:lnTo>
                <a:lnTo>
                  <a:pt x="461" y="246"/>
                </a:lnTo>
                <a:lnTo>
                  <a:pt x="451" y="242"/>
                </a:lnTo>
                <a:lnTo>
                  <a:pt x="441" y="240"/>
                </a:lnTo>
                <a:lnTo>
                  <a:pt x="437" y="238"/>
                </a:lnTo>
                <a:lnTo>
                  <a:pt x="434" y="238"/>
                </a:lnTo>
                <a:lnTo>
                  <a:pt x="430" y="238"/>
                </a:lnTo>
                <a:lnTo>
                  <a:pt x="427" y="241"/>
                </a:lnTo>
                <a:lnTo>
                  <a:pt x="425" y="242"/>
                </a:lnTo>
                <a:lnTo>
                  <a:pt x="422" y="243"/>
                </a:lnTo>
                <a:lnTo>
                  <a:pt x="421" y="244"/>
                </a:lnTo>
                <a:lnTo>
                  <a:pt x="421" y="246"/>
                </a:lnTo>
                <a:lnTo>
                  <a:pt x="421" y="247"/>
                </a:lnTo>
                <a:lnTo>
                  <a:pt x="422" y="248"/>
                </a:lnTo>
                <a:lnTo>
                  <a:pt x="429" y="247"/>
                </a:lnTo>
                <a:lnTo>
                  <a:pt x="436" y="248"/>
                </a:lnTo>
                <a:lnTo>
                  <a:pt x="434" y="248"/>
                </a:lnTo>
                <a:lnTo>
                  <a:pt x="431" y="250"/>
                </a:lnTo>
                <a:lnTo>
                  <a:pt x="434" y="254"/>
                </a:lnTo>
                <a:lnTo>
                  <a:pt x="438" y="256"/>
                </a:lnTo>
                <a:lnTo>
                  <a:pt x="443" y="255"/>
                </a:lnTo>
                <a:lnTo>
                  <a:pt x="447" y="256"/>
                </a:lnTo>
                <a:lnTo>
                  <a:pt x="453" y="260"/>
                </a:lnTo>
                <a:lnTo>
                  <a:pt x="459" y="264"/>
                </a:lnTo>
                <a:lnTo>
                  <a:pt x="464" y="266"/>
                </a:lnTo>
                <a:lnTo>
                  <a:pt x="470" y="268"/>
                </a:lnTo>
                <a:lnTo>
                  <a:pt x="477" y="267"/>
                </a:lnTo>
                <a:lnTo>
                  <a:pt x="485" y="266"/>
                </a:lnTo>
                <a:lnTo>
                  <a:pt x="488" y="266"/>
                </a:lnTo>
                <a:lnTo>
                  <a:pt x="492" y="266"/>
                </a:lnTo>
                <a:lnTo>
                  <a:pt x="496" y="267"/>
                </a:lnTo>
                <a:lnTo>
                  <a:pt x="499" y="268"/>
                </a:lnTo>
                <a:lnTo>
                  <a:pt x="500" y="273"/>
                </a:lnTo>
                <a:lnTo>
                  <a:pt x="501" y="277"/>
                </a:lnTo>
                <a:lnTo>
                  <a:pt x="501" y="277"/>
                </a:lnTo>
                <a:lnTo>
                  <a:pt x="501" y="277"/>
                </a:lnTo>
                <a:close/>
                <a:moveTo>
                  <a:pt x="476" y="265"/>
                </a:moveTo>
                <a:lnTo>
                  <a:pt x="474" y="266"/>
                </a:lnTo>
                <a:lnTo>
                  <a:pt x="472" y="266"/>
                </a:lnTo>
                <a:lnTo>
                  <a:pt x="472" y="265"/>
                </a:lnTo>
                <a:lnTo>
                  <a:pt x="471" y="264"/>
                </a:lnTo>
                <a:lnTo>
                  <a:pt x="468" y="264"/>
                </a:lnTo>
                <a:lnTo>
                  <a:pt x="466" y="261"/>
                </a:lnTo>
                <a:lnTo>
                  <a:pt x="469" y="258"/>
                </a:lnTo>
                <a:lnTo>
                  <a:pt x="472" y="257"/>
                </a:lnTo>
                <a:lnTo>
                  <a:pt x="475" y="257"/>
                </a:lnTo>
                <a:lnTo>
                  <a:pt x="477" y="258"/>
                </a:lnTo>
                <a:lnTo>
                  <a:pt x="479" y="260"/>
                </a:lnTo>
                <a:lnTo>
                  <a:pt x="482" y="261"/>
                </a:lnTo>
                <a:lnTo>
                  <a:pt x="478" y="264"/>
                </a:lnTo>
                <a:lnTo>
                  <a:pt x="476" y="265"/>
                </a:lnTo>
                <a:lnTo>
                  <a:pt x="476" y="265"/>
                </a:lnTo>
                <a:lnTo>
                  <a:pt x="476" y="265"/>
                </a:lnTo>
                <a:close/>
                <a:moveTo>
                  <a:pt x="500" y="165"/>
                </a:moveTo>
                <a:lnTo>
                  <a:pt x="502" y="169"/>
                </a:lnTo>
                <a:lnTo>
                  <a:pt x="504" y="174"/>
                </a:lnTo>
                <a:lnTo>
                  <a:pt x="508" y="175"/>
                </a:lnTo>
                <a:lnTo>
                  <a:pt x="511" y="174"/>
                </a:lnTo>
                <a:lnTo>
                  <a:pt x="512" y="174"/>
                </a:lnTo>
                <a:lnTo>
                  <a:pt x="515" y="175"/>
                </a:lnTo>
                <a:lnTo>
                  <a:pt x="517" y="175"/>
                </a:lnTo>
                <a:lnTo>
                  <a:pt x="518" y="177"/>
                </a:lnTo>
                <a:lnTo>
                  <a:pt x="519" y="181"/>
                </a:lnTo>
                <a:lnTo>
                  <a:pt x="521" y="183"/>
                </a:lnTo>
                <a:lnTo>
                  <a:pt x="523" y="184"/>
                </a:lnTo>
                <a:lnTo>
                  <a:pt x="524" y="184"/>
                </a:lnTo>
                <a:lnTo>
                  <a:pt x="525" y="185"/>
                </a:lnTo>
                <a:lnTo>
                  <a:pt x="524" y="186"/>
                </a:lnTo>
                <a:lnTo>
                  <a:pt x="516" y="184"/>
                </a:lnTo>
                <a:lnTo>
                  <a:pt x="508" y="181"/>
                </a:lnTo>
                <a:lnTo>
                  <a:pt x="505" y="181"/>
                </a:lnTo>
                <a:lnTo>
                  <a:pt x="503" y="182"/>
                </a:lnTo>
                <a:lnTo>
                  <a:pt x="503" y="184"/>
                </a:lnTo>
                <a:lnTo>
                  <a:pt x="503" y="185"/>
                </a:lnTo>
                <a:lnTo>
                  <a:pt x="504" y="189"/>
                </a:lnTo>
                <a:lnTo>
                  <a:pt x="508" y="192"/>
                </a:lnTo>
                <a:lnTo>
                  <a:pt x="510" y="193"/>
                </a:lnTo>
                <a:lnTo>
                  <a:pt x="510" y="192"/>
                </a:lnTo>
                <a:lnTo>
                  <a:pt x="511" y="191"/>
                </a:lnTo>
                <a:lnTo>
                  <a:pt x="512" y="191"/>
                </a:lnTo>
                <a:lnTo>
                  <a:pt x="515" y="192"/>
                </a:lnTo>
                <a:lnTo>
                  <a:pt x="515" y="193"/>
                </a:lnTo>
                <a:lnTo>
                  <a:pt x="516" y="197"/>
                </a:lnTo>
                <a:lnTo>
                  <a:pt x="518" y="198"/>
                </a:lnTo>
                <a:lnTo>
                  <a:pt x="520" y="197"/>
                </a:lnTo>
                <a:lnTo>
                  <a:pt x="523" y="197"/>
                </a:lnTo>
                <a:lnTo>
                  <a:pt x="523" y="197"/>
                </a:lnTo>
                <a:lnTo>
                  <a:pt x="525" y="199"/>
                </a:lnTo>
                <a:lnTo>
                  <a:pt x="532" y="205"/>
                </a:lnTo>
                <a:lnTo>
                  <a:pt x="540" y="210"/>
                </a:lnTo>
                <a:lnTo>
                  <a:pt x="541" y="208"/>
                </a:lnTo>
                <a:lnTo>
                  <a:pt x="543" y="206"/>
                </a:lnTo>
                <a:lnTo>
                  <a:pt x="545" y="206"/>
                </a:lnTo>
                <a:lnTo>
                  <a:pt x="548" y="207"/>
                </a:lnTo>
                <a:lnTo>
                  <a:pt x="549" y="207"/>
                </a:lnTo>
                <a:lnTo>
                  <a:pt x="549" y="209"/>
                </a:lnTo>
                <a:lnTo>
                  <a:pt x="552" y="208"/>
                </a:lnTo>
                <a:lnTo>
                  <a:pt x="557" y="208"/>
                </a:lnTo>
                <a:lnTo>
                  <a:pt x="558" y="210"/>
                </a:lnTo>
                <a:lnTo>
                  <a:pt x="560" y="211"/>
                </a:lnTo>
                <a:lnTo>
                  <a:pt x="562" y="213"/>
                </a:lnTo>
                <a:lnTo>
                  <a:pt x="563" y="211"/>
                </a:lnTo>
                <a:lnTo>
                  <a:pt x="565" y="209"/>
                </a:lnTo>
                <a:lnTo>
                  <a:pt x="563" y="207"/>
                </a:lnTo>
                <a:lnTo>
                  <a:pt x="558" y="203"/>
                </a:lnTo>
                <a:lnTo>
                  <a:pt x="552" y="201"/>
                </a:lnTo>
                <a:lnTo>
                  <a:pt x="553" y="199"/>
                </a:lnTo>
                <a:lnTo>
                  <a:pt x="556" y="199"/>
                </a:lnTo>
                <a:lnTo>
                  <a:pt x="557" y="200"/>
                </a:lnTo>
                <a:lnTo>
                  <a:pt x="558" y="201"/>
                </a:lnTo>
                <a:lnTo>
                  <a:pt x="559" y="201"/>
                </a:lnTo>
                <a:lnTo>
                  <a:pt x="561" y="201"/>
                </a:lnTo>
                <a:lnTo>
                  <a:pt x="559" y="199"/>
                </a:lnTo>
                <a:lnTo>
                  <a:pt x="557" y="198"/>
                </a:lnTo>
                <a:lnTo>
                  <a:pt x="556" y="194"/>
                </a:lnTo>
                <a:lnTo>
                  <a:pt x="553" y="192"/>
                </a:lnTo>
                <a:lnTo>
                  <a:pt x="550" y="191"/>
                </a:lnTo>
                <a:lnTo>
                  <a:pt x="545" y="190"/>
                </a:lnTo>
                <a:lnTo>
                  <a:pt x="541" y="191"/>
                </a:lnTo>
                <a:lnTo>
                  <a:pt x="538" y="192"/>
                </a:lnTo>
                <a:lnTo>
                  <a:pt x="537" y="193"/>
                </a:lnTo>
                <a:lnTo>
                  <a:pt x="534" y="193"/>
                </a:lnTo>
                <a:lnTo>
                  <a:pt x="530" y="192"/>
                </a:lnTo>
                <a:lnTo>
                  <a:pt x="527" y="190"/>
                </a:lnTo>
                <a:lnTo>
                  <a:pt x="527" y="186"/>
                </a:lnTo>
                <a:lnTo>
                  <a:pt x="528" y="184"/>
                </a:lnTo>
                <a:lnTo>
                  <a:pt x="530" y="183"/>
                </a:lnTo>
                <a:lnTo>
                  <a:pt x="534" y="184"/>
                </a:lnTo>
                <a:lnTo>
                  <a:pt x="535" y="185"/>
                </a:lnTo>
                <a:lnTo>
                  <a:pt x="538" y="186"/>
                </a:lnTo>
                <a:lnTo>
                  <a:pt x="541" y="186"/>
                </a:lnTo>
                <a:lnTo>
                  <a:pt x="542" y="186"/>
                </a:lnTo>
                <a:lnTo>
                  <a:pt x="542" y="186"/>
                </a:lnTo>
                <a:lnTo>
                  <a:pt x="542" y="184"/>
                </a:lnTo>
                <a:lnTo>
                  <a:pt x="538" y="183"/>
                </a:lnTo>
                <a:lnTo>
                  <a:pt x="535" y="182"/>
                </a:lnTo>
                <a:lnTo>
                  <a:pt x="532" y="180"/>
                </a:lnTo>
                <a:lnTo>
                  <a:pt x="528" y="176"/>
                </a:lnTo>
                <a:lnTo>
                  <a:pt x="521" y="172"/>
                </a:lnTo>
                <a:lnTo>
                  <a:pt x="515" y="169"/>
                </a:lnTo>
                <a:lnTo>
                  <a:pt x="511" y="167"/>
                </a:lnTo>
                <a:lnTo>
                  <a:pt x="507" y="165"/>
                </a:lnTo>
                <a:lnTo>
                  <a:pt x="503" y="164"/>
                </a:lnTo>
                <a:lnTo>
                  <a:pt x="500" y="165"/>
                </a:lnTo>
                <a:lnTo>
                  <a:pt x="501" y="165"/>
                </a:lnTo>
                <a:lnTo>
                  <a:pt x="500" y="165"/>
                </a:lnTo>
                <a:close/>
                <a:moveTo>
                  <a:pt x="553" y="196"/>
                </a:moveTo>
                <a:lnTo>
                  <a:pt x="553" y="198"/>
                </a:lnTo>
                <a:lnTo>
                  <a:pt x="552" y="199"/>
                </a:lnTo>
                <a:lnTo>
                  <a:pt x="551" y="200"/>
                </a:lnTo>
                <a:lnTo>
                  <a:pt x="549" y="201"/>
                </a:lnTo>
                <a:lnTo>
                  <a:pt x="545" y="199"/>
                </a:lnTo>
                <a:lnTo>
                  <a:pt x="543" y="194"/>
                </a:lnTo>
                <a:lnTo>
                  <a:pt x="549" y="194"/>
                </a:lnTo>
                <a:lnTo>
                  <a:pt x="553" y="196"/>
                </a:lnTo>
                <a:lnTo>
                  <a:pt x="552" y="194"/>
                </a:lnTo>
                <a:lnTo>
                  <a:pt x="553" y="196"/>
                </a:lnTo>
                <a:close/>
                <a:moveTo>
                  <a:pt x="534" y="197"/>
                </a:moveTo>
                <a:lnTo>
                  <a:pt x="537" y="198"/>
                </a:lnTo>
                <a:lnTo>
                  <a:pt x="541" y="199"/>
                </a:lnTo>
                <a:lnTo>
                  <a:pt x="544" y="199"/>
                </a:lnTo>
                <a:lnTo>
                  <a:pt x="545" y="201"/>
                </a:lnTo>
                <a:lnTo>
                  <a:pt x="545" y="202"/>
                </a:lnTo>
                <a:lnTo>
                  <a:pt x="545" y="203"/>
                </a:lnTo>
                <a:lnTo>
                  <a:pt x="544" y="203"/>
                </a:lnTo>
                <a:lnTo>
                  <a:pt x="543" y="202"/>
                </a:lnTo>
                <a:lnTo>
                  <a:pt x="542" y="202"/>
                </a:lnTo>
                <a:lnTo>
                  <a:pt x="540" y="202"/>
                </a:lnTo>
                <a:lnTo>
                  <a:pt x="538" y="202"/>
                </a:lnTo>
                <a:lnTo>
                  <a:pt x="537" y="203"/>
                </a:lnTo>
                <a:lnTo>
                  <a:pt x="535" y="202"/>
                </a:lnTo>
                <a:lnTo>
                  <a:pt x="534" y="201"/>
                </a:lnTo>
                <a:lnTo>
                  <a:pt x="533" y="199"/>
                </a:lnTo>
                <a:lnTo>
                  <a:pt x="534" y="197"/>
                </a:lnTo>
                <a:lnTo>
                  <a:pt x="534" y="197"/>
                </a:lnTo>
                <a:lnTo>
                  <a:pt x="534" y="197"/>
                </a:lnTo>
                <a:close/>
                <a:moveTo>
                  <a:pt x="549" y="209"/>
                </a:moveTo>
                <a:lnTo>
                  <a:pt x="549" y="209"/>
                </a:lnTo>
                <a:lnTo>
                  <a:pt x="549" y="209"/>
                </a:lnTo>
                <a:close/>
                <a:moveTo>
                  <a:pt x="225" y="156"/>
                </a:moveTo>
                <a:lnTo>
                  <a:pt x="225" y="157"/>
                </a:lnTo>
                <a:lnTo>
                  <a:pt x="225" y="156"/>
                </a:lnTo>
                <a:lnTo>
                  <a:pt x="225" y="156"/>
                </a:lnTo>
                <a:lnTo>
                  <a:pt x="225" y="156"/>
                </a:lnTo>
                <a:close/>
                <a:moveTo>
                  <a:pt x="175" y="141"/>
                </a:moveTo>
                <a:lnTo>
                  <a:pt x="184" y="142"/>
                </a:lnTo>
                <a:lnTo>
                  <a:pt x="192" y="145"/>
                </a:lnTo>
                <a:lnTo>
                  <a:pt x="197" y="145"/>
                </a:lnTo>
                <a:lnTo>
                  <a:pt x="200" y="147"/>
                </a:lnTo>
                <a:lnTo>
                  <a:pt x="204" y="149"/>
                </a:lnTo>
                <a:lnTo>
                  <a:pt x="207" y="150"/>
                </a:lnTo>
                <a:lnTo>
                  <a:pt x="212" y="151"/>
                </a:lnTo>
                <a:lnTo>
                  <a:pt x="215" y="152"/>
                </a:lnTo>
                <a:lnTo>
                  <a:pt x="219" y="152"/>
                </a:lnTo>
                <a:lnTo>
                  <a:pt x="222" y="152"/>
                </a:lnTo>
                <a:lnTo>
                  <a:pt x="224" y="155"/>
                </a:lnTo>
                <a:lnTo>
                  <a:pt x="227" y="156"/>
                </a:lnTo>
                <a:lnTo>
                  <a:pt x="231" y="157"/>
                </a:lnTo>
                <a:lnTo>
                  <a:pt x="236" y="157"/>
                </a:lnTo>
                <a:lnTo>
                  <a:pt x="235" y="158"/>
                </a:lnTo>
                <a:lnTo>
                  <a:pt x="232" y="159"/>
                </a:lnTo>
                <a:lnTo>
                  <a:pt x="231" y="160"/>
                </a:lnTo>
                <a:lnTo>
                  <a:pt x="229" y="160"/>
                </a:lnTo>
                <a:lnTo>
                  <a:pt x="227" y="160"/>
                </a:lnTo>
                <a:lnTo>
                  <a:pt x="225" y="159"/>
                </a:lnTo>
                <a:lnTo>
                  <a:pt x="224" y="158"/>
                </a:lnTo>
                <a:lnTo>
                  <a:pt x="224" y="157"/>
                </a:lnTo>
                <a:lnTo>
                  <a:pt x="214" y="155"/>
                </a:lnTo>
                <a:lnTo>
                  <a:pt x="203" y="152"/>
                </a:lnTo>
                <a:lnTo>
                  <a:pt x="194" y="150"/>
                </a:lnTo>
                <a:lnTo>
                  <a:pt x="184" y="148"/>
                </a:lnTo>
                <a:lnTo>
                  <a:pt x="187" y="150"/>
                </a:lnTo>
                <a:lnTo>
                  <a:pt x="190" y="151"/>
                </a:lnTo>
                <a:lnTo>
                  <a:pt x="192" y="152"/>
                </a:lnTo>
                <a:lnTo>
                  <a:pt x="196" y="152"/>
                </a:lnTo>
                <a:lnTo>
                  <a:pt x="198" y="155"/>
                </a:lnTo>
                <a:lnTo>
                  <a:pt x="200" y="156"/>
                </a:lnTo>
                <a:lnTo>
                  <a:pt x="202" y="156"/>
                </a:lnTo>
                <a:lnTo>
                  <a:pt x="204" y="157"/>
                </a:lnTo>
                <a:lnTo>
                  <a:pt x="207" y="157"/>
                </a:lnTo>
                <a:lnTo>
                  <a:pt x="211" y="158"/>
                </a:lnTo>
                <a:lnTo>
                  <a:pt x="212" y="159"/>
                </a:lnTo>
                <a:lnTo>
                  <a:pt x="211" y="159"/>
                </a:lnTo>
                <a:lnTo>
                  <a:pt x="211" y="160"/>
                </a:lnTo>
                <a:lnTo>
                  <a:pt x="210" y="160"/>
                </a:lnTo>
                <a:lnTo>
                  <a:pt x="206" y="161"/>
                </a:lnTo>
                <a:lnTo>
                  <a:pt x="204" y="161"/>
                </a:lnTo>
                <a:lnTo>
                  <a:pt x="212" y="163"/>
                </a:lnTo>
                <a:lnTo>
                  <a:pt x="219" y="165"/>
                </a:lnTo>
                <a:lnTo>
                  <a:pt x="219" y="164"/>
                </a:lnTo>
                <a:lnTo>
                  <a:pt x="217" y="161"/>
                </a:lnTo>
                <a:lnTo>
                  <a:pt x="217" y="159"/>
                </a:lnTo>
                <a:lnTo>
                  <a:pt x="219" y="159"/>
                </a:lnTo>
                <a:lnTo>
                  <a:pt x="223" y="161"/>
                </a:lnTo>
                <a:lnTo>
                  <a:pt x="228" y="164"/>
                </a:lnTo>
                <a:lnTo>
                  <a:pt x="231" y="164"/>
                </a:lnTo>
                <a:lnTo>
                  <a:pt x="237" y="165"/>
                </a:lnTo>
                <a:lnTo>
                  <a:pt x="239" y="165"/>
                </a:lnTo>
                <a:lnTo>
                  <a:pt x="241" y="166"/>
                </a:lnTo>
                <a:lnTo>
                  <a:pt x="243" y="167"/>
                </a:lnTo>
                <a:lnTo>
                  <a:pt x="244" y="169"/>
                </a:lnTo>
                <a:lnTo>
                  <a:pt x="236" y="168"/>
                </a:lnTo>
                <a:lnTo>
                  <a:pt x="227" y="168"/>
                </a:lnTo>
                <a:lnTo>
                  <a:pt x="232" y="172"/>
                </a:lnTo>
                <a:lnTo>
                  <a:pt x="239" y="174"/>
                </a:lnTo>
                <a:lnTo>
                  <a:pt x="246" y="175"/>
                </a:lnTo>
                <a:lnTo>
                  <a:pt x="253" y="176"/>
                </a:lnTo>
                <a:lnTo>
                  <a:pt x="257" y="180"/>
                </a:lnTo>
                <a:lnTo>
                  <a:pt x="260" y="183"/>
                </a:lnTo>
                <a:lnTo>
                  <a:pt x="264" y="184"/>
                </a:lnTo>
                <a:lnTo>
                  <a:pt x="269" y="184"/>
                </a:lnTo>
                <a:lnTo>
                  <a:pt x="266" y="182"/>
                </a:lnTo>
                <a:lnTo>
                  <a:pt x="265" y="178"/>
                </a:lnTo>
                <a:lnTo>
                  <a:pt x="264" y="176"/>
                </a:lnTo>
                <a:lnTo>
                  <a:pt x="264" y="173"/>
                </a:lnTo>
                <a:lnTo>
                  <a:pt x="265" y="167"/>
                </a:lnTo>
                <a:lnTo>
                  <a:pt x="265" y="163"/>
                </a:lnTo>
                <a:lnTo>
                  <a:pt x="264" y="160"/>
                </a:lnTo>
                <a:lnTo>
                  <a:pt x="261" y="159"/>
                </a:lnTo>
                <a:lnTo>
                  <a:pt x="258" y="158"/>
                </a:lnTo>
                <a:lnTo>
                  <a:pt x="255" y="157"/>
                </a:lnTo>
                <a:lnTo>
                  <a:pt x="248" y="157"/>
                </a:lnTo>
                <a:lnTo>
                  <a:pt x="241" y="158"/>
                </a:lnTo>
                <a:lnTo>
                  <a:pt x="243" y="156"/>
                </a:lnTo>
                <a:lnTo>
                  <a:pt x="244" y="153"/>
                </a:lnTo>
                <a:lnTo>
                  <a:pt x="225" y="150"/>
                </a:lnTo>
                <a:lnTo>
                  <a:pt x="208" y="144"/>
                </a:lnTo>
                <a:lnTo>
                  <a:pt x="191" y="140"/>
                </a:lnTo>
                <a:lnTo>
                  <a:pt x="174" y="136"/>
                </a:lnTo>
                <a:lnTo>
                  <a:pt x="174" y="139"/>
                </a:lnTo>
                <a:lnTo>
                  <a:pt x="175" y="141"/>
                </a:lnTo>
                <a:lnTo>
                  <a:pt x="177" y="141"/>
                </a:lnTo>
                <a:lnTo>
                  <a:pt x="175" y="141"/>
                </a:lnTo>
                <a:close/>
                <a:moveTo>
                  <a:pt x="240" y="160"/>
                </a:moveTo>
                <a:lnTo>
                  <a:pt x="241" y="160"/>
                </a:lnTo>
                <a:lnTo>
                  <a:pt x="244" y="160"/>
                </a:lnTo>
                <a:lnTo>
                  <a:pt x="246" y="161"/>
                </a:lnTo>
                <a:lnTo>
                  <a:pt x="246" y="163"/>
                </a:lnTo>
                <a:lnTo>
                  <a:pt x="243" y="164"/>
                </a:lnTo>
                <a:lnTo>
                  <a:pt x="238" y="164"/>
                </a:lnTo>
                <a:lnTo>
                  <a:pt x="238" y="161"/>
                </a:lnTo>
                <a:lnTo>
                  <a:pt x="240" y="160"/>
                </a:lnTo>
                <a:lnTo>
                  <a:pt x="239" y="160"/>
                </a:lnTo>
                <a:lnTo>
                  <a:pt x="240" y="160"/>
                </a:lnTo>
                <a:close/>
                <a:moveTo>
                  <a:pt x="314" y="196"/>
                </a:moveTo>
                <a:lnTo>
                  <a:pt x="318" y="200"/>
                </a:lnTo>
                <a:lnTo>
                  <a:pt x="321" y="205"/>
                </a:lnTo>
                <a:lnTo>
                  <a:pt x="328" y="208"/>
                </a:lnTo>
                <a:lnTo>
                  <a:pt x="337" y="210"/>
                </a:lnTo>
                <a:lnTo>
                  <a:pt x="345" y="214"/>
                </a:lnTo>
                <a:lnTo>
                  <a:pt x="354" y="217"/>
                </a:lnTo>
                <a:lnTo>
                  <a:pt x="357" y="218"/>
                </a:lnTo>
                <a:lnTo>
                  <a:pt x="361" y="219"/>
                </a:lnTo>
                <a:lnTo>
                  <a:pt x="364" y="223"/>
                </a:lnTo>
                <a:lnTo>
                  <a:pt x="368" y="225"/>
                </a:lnTo>
                <a:lnTo>
                  <a:pt x="372" y="226"/>
                </a:lnTo>
                <a:lnTo>
                  <a:pt x="377" y="228"/>
                </a:lnTo>
                <a:lnTo>
                  <a:pt x="380" y="230"/>
                </a:lnTo>
                <a:lnTo>
                  <a:pt x="384" y="231"/>
                </a:lnTo>
                <a:lnTo>
                  <a:pt x="385" y="230"/>
                </a:lnTo>
                <a:lnTo>
                  <a:pt x="387" y="228"/>
                </a:lnTo>
                <a:lnTo>
                  <a:pt x="388" y="230"/>
                </a:lnTo>
                <a:lnTo>
                  <a:pt x="389" y="233"/>
                </a:lnTo>
                <a:lnTo>
                  <a:pt x="392" y="234"/>
                </a:lnTo>
                <a:lnTo>
                  <a:pt x="393" y="235"/>
                </a:lnTo>
                <a:lnTo>
                  <a:pt x="394" y="235"/>
                </a:lnTo>
                <a:lnTo>
                  <a:pt x="395" y="234"/>
                </a:lnTo>
                <a:lnTo>
                  <a:pt x="397" y="233"/>
                </a:lnTo>
                <a:lnTo>
                  <a:pt x="401" y="232"/>
                </a:lnTo>
                <a:lnTo>
                  <a:pt x="408" y="234"/>
                </a:lnTo>
                <a:lnTo>
                  <a:pt x="413" y="239"/>
                </a:lnTo>
                <a:lnTo>
                  <a:pt x="418" y="240"/>
                </a:lnTo>
                <a:lnTo>
                  <a:pt x="421" y="240"/>
                </a:lnTo>
                <a:lnTo>
                  <a:pt x="422" y="236"/>
                </a:lnTo>
                <a:lnTo>
                  <a:pt x="423" y="232"/>
                </a:lnTo>
                <a:lnTo>
                  <a:pt x="420" y="230"/>
                </a:lnTo>
                <a:lnTo>
                  <a:pt x="414" y="228"/>
                </a:lnTo>
                <a:lnTo>
                  <a:pt x="410" y="230"/>
                </a:lnTo>
                <a:lnTo>
                  <a:pt x="406" y="231"/>
                </a:lnTo>
                <a:lnTo>
                  <a:pt x="403" y="230"/>
                </a:lnTo>
                <a:lnTo>
                  <a:pt x="400" y="228"/>
                </a:lnTo>
                <a:lnTo>
                  <a:pt x="397" y="230"/>
                </a:lnTo>
                <a:lnTo>
                  <a:pt x="395" y="231"/>
                </a:lnTo>
                <a:lnTo>
                  <a:pt x="393" y="230"/>
                </a:lnTo>
                <a:lnTo>
                  <a:pt x="393" y="228"/>
                </a:lnTo>
                <a:lnTo>
                  <a:pt x="394" y="226"/>
                </a:lnTo>
                <a:lnTo>
                  <a:pt x="394" y="225"/>
                </a:lnTo>
                <a:lnTo>
                  <a:pt x="390" y="223"/>
                </a:lnTo>
                <a:lnTo>
                  <a:pt x="387" y="222"/>
                </a:lnTo>
                <a:lnTo>
                  <a:pt x="383" y="219"/>
                </a:lnTo>
                <a:lnTo>
                  <a:pt x="378" y="217"/>
                </a:lnTo>
                <a:lnTo>
                  <a:pt x="377" y="217"/>
                </a:lnTo>
                <a:lnTo>
                  <a:pt x="375" y="216"/>
                </a:lnTo>
                <a:lnTo>
                  <a:pt x="373" y="215"/>
                </a:lnTo>
                <a:lnTo>
                  <a:pt x="376" y="214"/>
                </a:lnTo>
                <a:lnTo>
                  <a:pt x="380" y="215"/>
                </a:lnTo>
                <a:lnTo>
                  <a:pt x="385" y="218"/>
                </a:lnTo>
                <a:lnTo>
                  <a:pt x="389" y="219"/>
                </a:lnTo>
                <a:lnTo>
                  <a:pt x="394" y="222"/>
                </a:lnTo>
                <a:lnTo>
                  <a:pt x="397" y="223"/>
                </a:lnTo>
                <a:lnTo>
                  <a:pt x="400" y="223"/>
                </a:lnTo>
                <a:lnTo>
                  <a:pt x="402" y="223"/>
                </a:lnTo>
                <a:lnTo>
                  <a:pt x="403" y="222"/>
                </a:lnTo>
                <a:lnTo>
                  <a:pt x="394" y="218"/>
                </a:lnTo>
                <a:lnTo>
                  <a:pt x="385" y="214"/>
                </a:lnTo>
                <a:lnTo>
                  <a:pt x="377" y="209"/>
                </a:lnTo>
                <a:lnTo>
                  <a:pt x="368" y="205"/>
                </a:lnTo>
                <a:lnTo>
                  <a:pt x="370" y="205"/>
                </a:lnTo>
                <a:lnTo>
                  <a:pt x="372" y="205"/>
                </a:lnTo>
                <a:lnTo>
                  <a:pt x="373" y="203"/>
                </a:lnTo>
                <a:lnTo>
                  <a:pt x="375" y="203"/>
                </a:lnTo>
                <a:lnTo>
                  <a:pt x="375" y="202"/>
                </a:lnTo>
                <a:lnTo>
                  <a:pt x="375" y="201"/>
                </a:lnTo>
                <a:lnTo>
                  <a:pt x="369" y="199"/>
                </a:lnTo>
                <a:lnTo>
                  <a:pt x="363" y="197"/>
                </a:lnTo>
                <a:lnTo>
                  <a:pt x="359" y="194"/>
                </a:lnTo>
                <a:lnTo>
                  <a:pt x="353" y="192"/>
                </a:lnTo>
                <a:lnTo>
                  <a:pt x="347" y="193"/>
                </a:lnTo>
                <a:lnTo>
                  <a:pt x="340" y="194"/>
                </a:lnTo>
                <a:lnTo>
                  <a:pt x="344" y="192"/>
                </a:lnTo>
                <a:lnTo>
                  <a:pt x="346" y="190"/>
                </a:lnTo>
                <a:lnTo>
                  <a:pt x="340" y="188"/>
                </a:lnTo>
                <a:lnTo>
                  <a:pt x="335" y="185"/>
                </a:lnTo>
                <a:lnTo>
                  <a:pt x="329" y="182"/>
                </a:lnTo>
                <a:lnTo>
                  <a:pt x="322" y="182"/>
                </a:lnTo>
                <a:lnTo>
                  <a:pt x="318" y="183"/>
                </a:lnTo>
                <a:lnTo>
                  <a:pt x="314" y="182"/>
                </a:lnTo>
                <a:lnTo>
                  <a:pt x="315" y="180"/>
                </a:lnTo>
                <a:lnTo>
                  <a:pt x="318" y="178"/>
                </a:lnTo>
                <a:lnTo>
                  <a:pt x="311" y="176"/>
                </a:lnTo>
                <a:lnTo>
                  <a:pt x="305" y="175"/>
                </a:lnTo>
                <a:lnTo>
                  <a:pt x="299" y="172"/>
                </a:lnTo>
                <a:lnTo>
                  <a:pt x="293" y="171"/>
                </a:lnTo>
                <a:lnTo>
                  <a:pt x="289" y="172"/>
                </a:lnTo>
                <a:lnTo>
                  <a:pt x="289" y="172"/>
                </a:lnTo>
                <a:lnTo>
                  <a:pt x="290" y="174"/>
                </a:lnTo>
                <a:lnTo>
                  <a:pt x="293" y="175"/>
                </a:lnTo>
                <a:lnTo>
                  <a:pt x="296" y="178"/>
                </a:lnTo>
                <a:lnTo>
                  <a:pt x="298" y="182"/>
                </a:lnTo>
                <a:lnTo>
                  <a:pt x="297" y="188"/>
                </a:lnTo>
                <a:lnTo>
                  <a:pt x="295" y="192"/>
                </a:lnTo>
                <a:lnTo>
                  <a:pt x="294" y="193"/>
                </a:lnTo>
                <a:lnTo>
                  <a:pt x="294" y="196"/>
                </a:lnTo>
                <a:lnTo>
                  <a:pt x="295" y="197"/>
                </a:lnTo>
                <a:lnTo>
                  <a:pt x="297" y="198"/>
                </a:lnTo>
                <a:lnTo>
                  <a:pt x="305" y="199"/>
                </a:lnTo>
                <a:lnTo>
                  <a:pt x="312" y="200"/>
                </a:lnTo>
                <a:lnTo>
                  <a:pt x="313" y="198"/>
                </a:lnTo>
                <a:lnTo>
                  <a:pt x="314" y="196"/>
                </a:lnTo>
                <a:lnTo>
                  <a:pt x="314" y="198"/>
                </a:lnTo>
                <a:lnTo>
                  <a:pt x="314" y="196"/>
                </a:lnTo>
                <a:close/>
                <a:moveTo>
                  <a:pt x="360" y="209"/>
                </a:moveTo>
                <a:lnTo>
                  <a:pt x="364" y="208"/>
                </a:lnTo>
                <a:lnTo>
                  <a:pt x="370" y="210"/>
                </a:lnTo>
                <a:lnTo>
                  <a:pt x="367" y="213"/>
                </a:lnTo>
                <a:lnTo>
                  <a:pt x="363" y="213"/>
                </a:lnTo>
                <a:lnTo>
                  <a:pt x="362" y="213"/>
                </a:lnTo>
                <a:lnTo>
                  <a:pt x="361" y="211"/>
                </a:lnTo>
                <a:lnTo>
                  <a:pt x="360" y="210"/>
                </a:lnTo>
                <a:lnTo>
                  <a:pt x="360" y="209"/>
                </a:lnTo>
                <a:lnTo>
                  <a:pt x="360" y="209"/>
                </a:lnTo>
                <a:lnTo>
                  <a:pt x="360" y="209"/>
                </a:lnTo>
                <a:close/>
                <a:moveTo>
                  <a:pt x="319" y="188"/>
                </a:moveTo>
                <a:lnTo>
                  <a:pt x="321" y="188"/>
                </a:lnTo>
                <a:lnTo>
                  <a:pt x="323" y="188"/>
                </a:lnTo>
                <a:lnTo>
                  <a:pt x="324" y="190"/>
                </a:lnTo>
                <a:lnTo>
                  <a:pt x="324" y="192"/>
                </a:lnTo>
                <a:lnTo>
                  <a:pt x="321" y="193"/>
                </a:lnTo>
                <a:lnTo>
                  <a:pt x="319" y="193"/>
                </a:lnTo>
                <a:lnTo>
                  <a:pt x="319" y="192"/>
                </a:lnTo>
                <a:lnTo>
                  <a:pt x="318" y="190"/>
                </a:lnTo>
                <a:lnTo>
                  <a:pt x="317" y="189"/>
                </a:lnTo>
                <a:lnTo>
                  <a:pt x="319" y="188"/>
                </a:lnTo>
                <a:lnTo>
                  <a:pt x="319" y="188"/>
                </a:lnTo>
                <a:lnTo>
                  <a:pt x="319" y="188"/>
                </a:lnTo>
                <a:close/>
                <a:moveTo>
                  <a:pt x="311" y="189"/>
                </a:moveTo>
                <a:lnTo>
                  <a:pt x="309" y="189"/>
                </a:lnTo>
                <a:lnTo>
                  <a:pt x="306" y="186"/>
                </a:lnTo>
                <a:lnTo>
                  <a:pt x="306" y="185"/>
                </a:lnTo>
                <a:lnTo>
                  <a:pt x="307" y="183"/>
                </a:lnTo>
                <a:lnTo>
                  <a:pt x="311" y="184"/>
                </a:lnTo>
                <a:lnTo>
                  <a:pt x="313" y="185"/>
                </a:lnTo>
                <a:lnTo>
                  <a:pt x="314" y="186"/>
                </a:lnTo>
                <a:lnTo>
                  <a:pt x="314" y="188"/>
                </a:lnTo>
                <a:lnTo>
                  <a:pt x="313" y="189"/>
                </a:lnTo>
                <a:lnTo>
                  <a:pt x="311" y="189"/>
                </a:lnTo>
                <a:lnTo>
                  <a:pt x="311" y="189"/>
                </a:lnTo>
                <a:lnTo>
                  <a:pt x="311" y="189"/>
                </a:lnTo>
                <a:close/>
                <a:moveTo>
                  <a:pt x="559" y="346"/>
                </a:moveTo>
                <a:lnTo>
                  <a:pt x="559" y="346"/>
                </a:lnTo>
                <a:lnTo>
                  <a:pt x="559" y="346"/>
                </a:lnTo>
                <a:close/>
                <a:moveTo>
                  <a:pt x="1424" y="92"/>
                </a:moveTo>
                <a:lnTo>
                  <a:pt x="1425" y="91"/>
                </a:lnTo>
                <a:lnTo>
                  <a:pt x="1425" y="91"/>
                </a:lnTo>
                <a:lnTo>
                  <a:pt x="1426" y="91"/>
                </a:lnTo>
                <a:lnTo>
                  <a:pt x="1427" y="91"/>
                </a:lnTo>
                <a:lnTo>
                  <a:pt x="1425" y="93"/>
                </a:lnTo>
                <a:lnTo>
                  <a:pt x="1424" y="92"/>
                </a:lnTo>
                <a:lnTo>
                  <a:pt x="1424" y="92"/>
                </a:lnTo>
                <a:lnTo>
                  <a:pt x="1424" y="92"/>
                </a:lnTo>
                <a:close/>
                <a:moveTo>
                  <a:pt x="693" y="246"/>
                </a:moveTo>
                <a:lnTo>
                  <a:pt x="689" y="244"/>
                </a:lnTo>
                <a:lnTo>
                  <a:pt x="684" y="242"/>
                </a:lnTo>
                <a:lnTo>
                  <a:pt x="684" y="240"/>
                </a:lnTo>
                <a:lnTo>
                  <a:pt x="684" y="239"/>
                </a:lnTo>
                <a:lnTo>
                  <a:pt x="686" y="238"/>
                </a:lnTo>
                <a:lnTo>
                  <a:pt x="688" y="238"/>
                </a:lnTo>
                <a:lnTo>
                  <a:pt x="692" y="239"/>
                </a:lnTo>
                <a:lnTo>
                  <a:pt x="697" y="241"/>
                </a:lnTo>
                <a:lnTo>
                  <a:pt x="697" y="242"/>
                </a:lnTo>
                <a:lnTo>
                  <a:pt x="697" y="244"/>
                </a:lnTo>
                <a:lnTo>
                  <a:pt x="696" y="246"/>
                </a:lnTo>
                <a:lnTo>
                  <a:pt x="693" y="246"/>
                </a:lnTo>
                <a:lnTo>
                  <a:pt x="693" y="246"/>
                </a:lnTo>
                <a:lnTo>
                  <a:pt x="693" y="246"/>
                </a:lnTo>
                <a:close/>
                <a:moveTo>
                  <a:pt x="589" y="230"/>
                </a:moveTo>
                <a:lnTo>
                  <a:pt x="587" y="231"/>
                </a:lnTo>
                <a:lnTo>
                  <a:pt x="586" y="231"/>
                </a:lnTo>
                <a:lnTo>
                  <a:pt x="584" y="230"/>
                </a:lnTo>
                <a:lnTo>
                  <a:pt x="581" y="228"/>
                </a:lnTo>
                <a:lnTo>
                  <a:pt x="576" y="224"/>
                </a:lnTo>
                <a:lnTo>
                  <a:pt x="574" y="222"/>
                </a:lnTo>
                <a:lnTo>
                  <a:pt x="576" y="221"/>
                </a:lnTo>
                <a:lnTo>
                  <a:pt x="578" y="222"/>
                </a:lnTo>
                <a:lnTo>
                  <a:pt x="579" y="224"/>
                </a:lnTo>
                <a:lnTo>
                  <a:pt x="582" y="226"/>
                </a:lnTo>
                <a:lnTo>
                  <a:pt x="584" y="226"/>
                </a:lnTo>
                <a:lnTo>
                  <a:pt x="586" y="227"/>
                </a:lnTo>
                <a:lnTo>
                  <a:pt x="589" y="227"/>
                </a:lnTo>
                <a:lnTo>
                  <a:pt x="589" y="230"/>
                </a:lnTo>
                <a:lnTo>
                  <a:pt x="589" y="230"/>
                </a:lnTo>
                <a:lnTo>
                  <a:pt x="589" y="230"/>
                </a:lnTo>
                <a:close/>
                <a:moveTo>
                  <a:pt x="652" y="256"/>
                </a:move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lnTo>
                  <a:pt x="652" y="256"/>
                </a:lnTo>
                <a:close/>
                <a:moveTo>
                  <a:pt x="659" y="250"/>
                </a:moveTo>
                <a:lnTo>
                  <a:pt x="658" y="252"/>
                </a:lnTo>
                <a:lnTo>
                  <a:pt x="657" y="254"/>
                </a:lnTo>
                <a:lnTo>
                  <a:pt x="656" y="254"/>
                </a:lnTo>
                <a:lnTo>
                  <a:pt x="655" y="254"/>
                </a:lnTo>
                <a:lnTo>
                  <a:pt x="652" y="252"/>
                </a:lnTo>
                <a:lnTo>
                  <a:pt x="649" y="251"/>
                </a:lnTo>
                <a:lnTo>
                  <a:pt x="648" y="252"/>
                </a:lnTo>
                <a:lnTo>
                  <a:pt x="647" y="254"/>
                </a:lnTo>
                <a:lnTo>
                  <a:pt x="649" y="256"/>
                </a:lnTo>
                <a:lnTo>
                  <a:pt x="652" y="257"/>
                </a:lnTo>
                <a:lnTo>
                  <a:pt x="651" y="258"/>
                </a:lnTo>
                <a:lnTo>
                  <a:pt x="650" y="258"/>
                </a:lnTo>
                <a:lnTo>
                  <a:pt x="648" y="258"/>
                </a:lnTo>
                <a:lnTo>
                  <a:pt x="647" y="258"/>
                </a:lnTo>
                <a:lnTo>
                  <a:pt x="644" y="255"/>
                </a:lnTo>
                <a:lnTo>
                  <a:pt x="644" y="251"/>
                </a:lnTo>
                <a:lnTo>
                  <a:pt x="643" y="249"/>
                </a:lnTo>
                <a:lnTo>
                  <a:pt x="640" y="248"/>
                </a:lnTo>
                <a:lnTo>
                  <a:pt x="639" y="244"/>
                </a:lnTo>
                <a:lnTo>
                  <a:pt x="637" y="241"/>
                </a:lnTo>
                <a:lnTo>
                  <a:pt x="634" y="242"/>
                </a:lnTo>
                <a:lnTo>
                  <a:pt x="629" y="242"/>
                </a:lnTo>
                <a:lnTo>
                  <a:pt x="625" y="241"/>
                </a:lnTo>
                <a:lnTo>
                  <a:pt x="619" y="239"/>
                </a:lnTo>
                <a:lnTo>
                  <a:pt x="610" y="233"/>
                </a:lnTo>
                <a:lnTo>
                  <a:pt x="603" y="228"/>
                </a:lnTo>
                <a:lnTo>
                  <a:pt x="606" y="227"/>
                </a:lnTo>
                <a:lnTo>
                  <a:pt x="608" y="226"/>
                </a:lnTo>
                <a:lnTo>
                  <a:pt x="610" y="227"/>
                </a:lnTo>
                <a:lnTo>
                  <a:pt x="612" y="228"/>
                </a:lnTo>
                <a:lnTo>
                  <a:pt x="616" y="231"/>
                </a:lnTo>
                <a:lnTo>
                  <a:pt x="619" y="234"/>
                </a:lnTo>
                <a:lnTo>
                  <a:pt x="624" y="235"/>
                </a:lnTo>
                <a:lnTo>
                  <a:pt x="629" y="236"/>
                </a:lnTo>
                <a:lnTo>
                  <a:pt x="631" y="235"/>
                </a:lnTo>
                <a:lnTo>
                  <a:pt x="633" y="235"/>
                </a:lnTo>
                <a:lnTo>
                  <a:pt x="635" y="235"/>
                </a:lnTo>
                <a:lnTo>
                  <a:pt x="636" y="236"/>
                </a:lnTo>
                <a:lnTo>
                  <a:pt x="636" y="239"/>
                </a:lnTo>
                <a:lnTo>
                  <a:pt x="637" y="240"/>
                </a:lnTo>
                <a:lnTo>
                  <a:pt x="639" y="239"/>
                </a:lnTo>
                <a:lnTo>
                  <a:pt x="640" y="239"/>
                </a:lnTo>
                <a:lnTo>
                  <a:pt x="642" y="240"/>
                </a:lnTo>
                <a:lnTo>
                  <a:pt x="645" y="240"/>
                </a:lnTo>
                <a:lnTo>
                  <a:pt x="649" y="240"/>
                </a:lnTo>
                <a:lnTo>
                  <a:pt x="650" y="241"/>
                </a:lnTo>
                <a:lnTo>
                  <a:pt x="652" y="243"/>
                </a:lnTo>
                <a:lnTo>
                  <a:pt x="653" y="246"/>
                </a:lnTo>
                <a:lnTo>
                  <a:pt x="658" y="247"/>
                </a:lnTo>
                <a:lnTo>
                  <a:pt x="659" y="250"/>
                </a:lnTo>
                <a:lnTo>
                  <a:pt x="659" y="250"/>
                </a:lnTo>
                <a:lnTo>
                  <a:pt x="659" y="250"/>
                </a:lnTo>
                <a:close/>
                <a:moveTo>
                  <a:pt x="689" y="316"/>
                </a:moveTo>
                <a:lnTo>
                  <a:pt x="685" y="316"/>
                </a:lnTo>
                <a:lnTo>
                  <a:pt x="684" y="314"/>
                </a:lnTo>
                <a:lnTo>
                  <a:pt x="684" y="313"/>
                </a:lnTo>
                <a:lnTo>
                  <a:pt x="685" y="311"/>
                </a:lnTo>
                <a:lnTo>
                  <a:pt x="688" y="310"/>
                </a:lnTo>
                <a:lnTo>
                  <a:pt x="690" y="310"/>
                </a:lnTo>
                <a:lnTo>
                  <a:pt x="692" y="313"/>
                </a:lnTo>
                <a:lnTo>
                  <a:pt x="693" y="315"/>
                </a:lnTo>
                <a:lnTo>
                  <a:pt x="691" y="316"/>
                </a:lnTo>
                <a:lnTo>
                  <a:pt x="689" y="316"/>
                </a:lnTo>
                <a:lnTo>
                  <a:pt x="689" y="315"/>
                </a:lnTo>
                <a:lnTo>
                  <a:pt x="689" y="316"/>
                </a:lnTo>
                <a:close/>
                <a:moveTo>
                  <a:pt x="527" y="323"/>
                </a:moveTo>
                <a:lnTo>
                  <a:pt x="526" y="322"/>
                </a:lnTo>
                <a:lnTo>
                  <a:pt x="523" y="319"/>
                </a:lnTo>
                <a:lnTo>
                  <a:pt x="521" y="319"/>
                </a:lnTo>
                <a:lnTo>
                  <a:pt x="521" y="319"/>
                </a:lnTo>
                <a:lnTo>
                  <a:pt x="520" y="321"/>
                </a:lnTo>
                <a:lnTo>
                  <a:pt x="520" y="323"/>
                </a:lnTo>
                <a:lnTo>
                  <a:pt x="521" y="324"/>
                </a:lnTo>
                <a:lnTo>
                  <a:pt x="524" y="324"/>
                </a:lnTo>
                <a:lnTo>
                  <a:pt x="526" y="324"/>
                </a:lnTo>
                <a:lnTo>
                  <a:pt x="526" y="325"/>
                </a:lnTo>
                <a:lnTo>
                  <a:pt x="526" y="326"/>
                </a:lnTo>
                <a:lnTo>
                  <a:pt x="527" y="327"/>
                </a:lnTo>
                <a:lnTo>
                  <a:pt x="527" y="330"/>
                </a:lnTo>
                <a:lnTo>
                  <a:pt x="527" y="332"/>
                </a:lnTo>
                <a:lnTo>
                  <a:pt x="527" y="332"/>
                </a:lnTo>
                <a:lnTo>
                  <a:pt x="526" y="331"/>
                </a:lnTo>
                <a:lnTo>
                  <a:pt x="523" y="327"/>
                </a:lnTo>
                <a:lnTo>
                  <a:pt x="519" y="326"/>
                </a:lnTo>
                <a:lnTo>
                  <a:pt x="517" y="323"/>
                </a:lnTo>
                <a:lnTo>
                  <a:pt x="513" y="321"/>
                </a:lnTo>
                <a:lnTo>
                  <a:pt x="516" y="319"/>
                </a:lnTo>
                <a:lnTo>
                  <a:pt x="519" y="319"/>
                </a:lnTo>
                <a:lnTo>
                  <a:pt x="520" y="317"/>
                </a:lnTo>
                <a:lnTo>
                  <a:pt x="521" y="316"/>
                </a:lnTo>
                <a:lnTo>
                  <a:pt x="527" y="317"/>
                </a:lnTo>
                <a:lnTo>
                  <a:pt x="532" y="319"/>
                </a:lnTo>
                <a:lnTo>
                  <a:pt x="533" y="322"/>
                </a:lnTo>
                <a:lnTo>
                  <a:pt x="532" y="323"/>
                </a:lnTo>
                <a:lnTo>
                  <a:pt x="529" y="323"/>
                </a:lnTo>
                <a:lnTo>
                  <a:pt x="527" y="323"/>
                </a:lnTo>
                <a:lnTo>
                  <a:pt x="527" y="323"/>
                </a:lnTo>
                <a:lnTo>
                  <a:pt x="527" y="323"/>
                </a:lnTo>
                <a:close/>
                <a:moveTo>
                  <a:pt x="537" y="338"/>
                </a:moveTo>
                <a:lnTo>
                  <a:pt x="541" y="335"/>
                </a:lnTo>
                <a:lnTo>
                  <a:pt x="543" y="335"/>
                </a:lnTo>
                <a:lnTo>
                  <a:pt x="545" y="337"/>
                </a:lnTo>
                <a:lnTo>
                  <a:pt x="548" y="338"/>
                </a:lnTo>
                <a:lnTo>
                  <a:pt x="543" y="338"/>
                </a:lnTo>
                <a:lnTo>
                  <a:pt x="537" y="338"/>
                </a:lnTo>
                <a:close/>
                <a:moveTo>
                  <a:pt x="553" y="334"/>
                </a:moveTo>
                <a:lnTo>
                  <a:pt x="551" y="333"/>
                </a:lnTo>
                <a:lnTo>
                  <a:pt x="549" y="332"/>
                </a:lnTo>
                <a:lnTo>
                  <a:pt x="549" y="331"/>
                </a:lnTo>
                <a:lnTo>
                  <a:pt x="549" y="330"/>
                </a:lnTo>
                <a:lnTo>
                  <a:pt x="549" y="329"/>
                </a:lnTo>
                <a:lnTo>
                  <a:pt x="551" y="329"/>
                </a:lnTo>
                <a:lnTo>
                  <a:pt x="553" y="329"/>
                </a:lnTo>
                <a:lnTo>
                  <a:pt x="554" y="331"/>
                </a:lnTo>
                <a:lnTo>
                  <a:pt x="554" y="333"/>
                </a:lnTo>
                <a:lnTo>
                  <a:pt x="553" y="334"/>
                </a:lnTo>
                <a:lnTo>
                  <a:pt x="552" y="334"/>
                </a:lnTo>
                <a:lnTo>
                  <a:pt x="553" y="334"/>
                </a:lnTo>
                <a:close/>
                <a:moveTo>
                  <a:pt x="632" y="379"/>
                </a:moveTo>
                <a:lnTo>
                  <a:pt x="629" y="380"/>
                </a:lnTo>
                <a:lnTo>
                  <a:pt x="627" y="380"/>
                </a:lnTo>
                <a:lnTo>
                  <a:pt x="625" y="380"/>
                </a:lnTo>
                <a:lnTo>
                  <a:pt x="623" y="380"/>
                </a:lnTo>
                <a:lnTo>
                  <a:pt x="624" y="379"/>
                </a:lnTo>
                <a:lnTo>
                  <a:pt x="626" y="377"/>
                </a:lnTo>
                <a:lnTo>
                  <a:pt x="626" y="375"/>
                </a:lnTo>
                <a:lnTo>
                  <a:pt x="626" y="373"/>
                </a:lnTo>
                <a:lnTo>
                  <a:pt x="628" y="373"/>
                </a:lnTo>
                <a:lnTo>
                  <a:pt x="631" y="374"/>
                </a:lnTo>
                <a:lnTo>
                  <a:pt x="632" y="375"/>
                </a:lnTo>
                <a:lnTo>
                  <a:pt x="633" y="375"/>
                </a:lnTo>
                <a:lnTo>
                  <a:pt x="632" y="376"/>
                </a:lnTo>
                <a:lnTo>
                  <a:pt x="632" y="379"/>
                </a:lnTo>
                <a:lnTo>
                  <a:pt x="631" y="379"/>
                </a:lnTo>
                <a:lnTo>
                  <a:pt x="632" y="379"/>
                </a:lnTo>
                <a:close/>
                <a:moveTo>
                  <a:pt x="379" y="321"/>
                </a:moveTo>
                <a:lnTo>
                  <a:pt x="379" y="321"/>
                </a:lnTo>
                <a:lnTo>
                  <a:pt x="379" y="319"/>
                </a:lnTo>
                <a:lnTo>
                  <a:pt x="380" y="321"/>
                </a:lnTo>
                <a:lnTo>
                  <a:pt x="379" y="321"/>
                </a:lnTo>
                <a:lnTo>
                  <a:pt x="379" y="321"/>
                </a:lnTo>
                <a:lnTo>
                  <a:pt x="379" y="321"/>
                </a:lnTo>
                <a:close/>
                <a:moveTo>
                  <a:pt x="478" y="359"/>
                </a:moveTo>
                <a:lnTo>
                  <a:pt x="469" y="356"/>
                </a:lnTo>
                <a:lnTo>
                  <a:pt x="461" y="354"/>
                </a:lnTo>
                <a:lnTo>
                  <a:pt x="456" y="350"/>
                </a:lnTo>
                <a:lnTo>
                  <a:pt x="453" y="347"/>
                </a:lnTo>
                <a:lnTo>
                  <a:pt x="455" y="346"/>
                </a:lnTo>
                <a:lnTo>
                  <a:pt x="458" y="347"/>
                </a:lnTo>
                <a:lnTo>
                  <a:pt x="459" y="348"/>
                </a:lnTo>
                <a:lnTo>
                  <a:pt x="461" y="350"/>
                </a:lnTo>
                <a:lnTo>
                  <a:pt x="466" y="352"/>
                </a:lnTo>
                <a:lnTo>
                  <a:pt x="472" y="352"/>
                </a:lnTo>
                <a:lnTo>
                  <a:pt x="478" y="355"/>
                </a:lnTo>
                <a:lnTo>
                  <a:pt x="484" y="358"/>
                </a:lnTo>
                <a:lnTo>
                  <a:pt x="488" y="362"/>
                </a:lnTo>
                <a:lnTo>
                  <a:pt x="492" y="367"/>
                </a:lnTo>
                <a:lnTo>
                  <a:pt x="485" y="363"/>
                </a:lnTo>
                <a:lnTo>
                  <a:pt x="478" y="359"/>
                </a:lnTo>
                <a:lnTo>
                  <a:pt x="477" y="359"/>
                </a:lnTo>
                <a:lnTo>
                  <a:pt x="478" y="359"/>
                </a:lnTo>
                <a:close/>
                <a:moveTo>
                  <a:pt x="279" y="202"/>
                </a:moveTo>
                <a:lnTo>
                  <a:pt x="281" y="202"/>
                </a:lnTo>
                <a:lnTo>
                  <a:pt x="284" y="202"/>
                </a:lnTo>
                <a:lnTo>
                  <a:pt x="286" y="203"/>
                </a:lnTo>
                <a:lnTo>
                  <a:pt x="288" y="206"/>
                </a:lnTo>
                <a:lnTo>
                  <a:pt x="282" y="207"/>
                </a:lnTo>
                <a:lnTo>
                  <a:pt x="278" y="206"/>
                </a:lnTo>
                <a:lnTo>
                  <a:pt x="277" y="205"/>
                </a:lnTo>
                <a:lnTo>
                  <a:pt x="277" y="203"/>
                </a:lnTo>
                <a:lnTo>
                  <a:pt x="277" y="202"/>
                </a:lnTo>
                <a:lnTo>
                  <a:pt x="279" y="202"/>
                </a:lnTo>
                <a:lnTo>
                  <a:pt x="279" y="202"/>
                </a:lnTo>
                <a:lnTo>
                  <a:pt x="279" y="202"/>
                </a:lnTo>
                <a:close/>
                <a:moveTo>
                  <a:pt x="294" y="217"/>
                </a:moveTo>
                <a:lnTo>
                  <a:pt x="301" y="221"/>
                </a:lnTo>
                <a:lnTo>
                  <a:pt x="306" y="222"/>
                </a:lnTo>
                <a:lnTo>
                  <a:pt x="311" y="223"/>
                </a:lnTo>
                <a:lnTo>
                  <a:pt x="314" y="224"/>
                </a:lnTo>
                <a:lnTo>
                  <a:pt x="318" y="223"/>
                </a:lnTo>
                <a:lnTo>
                  <a:pt x="321" y="223"/>
                </a:lnTo>
                <a:lnTo>
                  <a:pt x="322" y="225"/>
                </a:lnTo>
                <a:lnTo>
                  <a:pt x="322" y="227"/>
                </a:lnTo>
                <a:lnTo>
                  <a:pt x="320" y="227"/>
                </a:lnTo>
                <a:lnTo>
                  <a:pt x="319" y="227"/>
                </a:lnTo>
                <a:lnTo>
                  <a:pt x="318" y="228"/>
                </a:lnTo>
                <a:lnTo>
                  <a:pt x="318" y="230"/>
                </a:lnTo>
                <a:lnTo>
                  <a:pt x="320" y="230"/>
                </a:lnTo>
                <a:lnTo>
                  <a:pt x="320" y="230"/>
                </a:lnTo>
                <a:lnTo>
                  <a:pt x="332" y="233"/>
                </a:lnTo>
                <a:lnTo>
                  <a:pt x="345" y="236"/>
                </a:lnTo>
                <a:lnTo>
                  <a:pt x="350" y="239"/>
                </a:lnTo>
                <a:lnTo>
                  <a:pt x="353" y="241"/>
                </a:lnTo>
                <a:lnTo>
                  <a:pt x="353" y="242"/>
                </a:lnTo>
                <a:lnTo>
                  <a:pt x="353" y="243"/>
                </a:lnTo>
                <a:lnTo>
                  <a:pt x="351" y="244"/>
                </a:lnTo>
                <a:lnTo>
                  <a:pt x="348" y="244"/>
                </a:lnTo>
                <a:lnTo>
                  <a:pt x="340" y="243"/>
                </a:lnTo>
                <a:lnTo>
                  <a:pt x="335" y="241"/>
                </a:lnTo>
                <a:lnTo>
                  <a:pt x="328" y="238"/>
                </a:lnTo>
                <a:lnTo>
                  <a:pt x="322" y="234"/>
                </a:lnTo>
                <a:lnTo>
                  <a:pt x="309" y="230"/>
                </a:lnTo>
                <a:lnTo>
                  <a:pt x="296" y="224"/>
                </a:lnTo>
                <a:lnTo>
                  <a:pt x="285" y="219"/>
                </a:lnTo>
                <a:lnTo>
                  <a:pt x="273" y="216"/>
                </a:lnTo>
                <a:lnTo>
                  <a:pt x="269" y="215"/>
                </a:lnTo>
                <a:lnTo>
                  <a:pt x="265" y="214"/>
                </a:lnTo>
                <a:lnTo>
                  <a:pt x="262" y="210"/>
                </a:lnTo>
                <a:lnTo>
                  <a:pt x="261" y="207"/>
                </a:lnTo>
                <a:lnTo>
                  <a:pt x="278" y="211"/>
                </a:lnTo>
                <a:lnTo>
                  <a:pt x="294" y="217"/>
                </a:lnTo>
                <a:lnTo>
                  <a:pt x="296" y="218"/>
                </a:lnTo>
                <a:lnTo>
                  <a:pt x="293" y="217"/>
                </a:lnTo>
                <a:lnTo>
                  <a:pt x="290" y="216"/>
                </a:lnTo>
                <a:lnTo>
                  <a:pt x="294" y="217"/>
                </a:lnTo>
                <a:close/>
                <a:moveTo>
                  <a:pt x="247" y="201"/>
                </a:moveTo>
                <a:lnTo>
                  <a:pt x="253" y="202"/>
                </a:lnTo>
                <a:lnTo>
                  <a:pt x="260" y="205"/>
                </a:lnTo>
                <a:lnTo>
                  <a:pt x="255" y="206"/>
                </a:lnTo>
                <a:lnTo>
                  <a:pt x="252" y="206"/>
                </a:lnTo>
                <a:lnTo>
                  <a:pt x="249" y="205"/>
                </a:lnTo>
                <a:lnTo>
                  <a:pt x="247" y="201"/>
                </a:lnTo>
                <a:close/>
                <a:moveTo>
                  <a:pt x="228" y="186"/>
                </a:moveTo>
                <a:lnTo>
                  <a:pt x="230" y="184"/>
                </a:lnTo>
                <a:lnTo>
                  <a:pt x="231" y="184"/>
                </a:lnTo>
                <a:lnTo>
                  <a:pt x="233" y="186"/>
                </a:lnTo>
                <a:lnTo>
                  <a:pt x="236" y="189"/>
                </a:lnTo>
                <a:lnTo>
                  <a:pt x="241" y="189"/>
                </a:lnTo>
                <a:lnTo>
                  <a:pt x="247" y="192"/>
                </a:lnTo>
                <a:lnTo>
                  <a:pt x="241" y="192"/>
                </a:lnTo>
                <a:lnTo>
                  <a:pt x="236" y="191"/>
                </a:lnTo>
                <a:lnTo>
                  <a:pt x="231" y="190"/>
                </a:lnTo>
                <a:lnTo>
                  <a:pt x="228" y="186"/>
                </a:lnTo>
                <a:lnTo>
                  <a:pt x="230" y="188"/>
                </a:lnTo>
                <a:lnTo>
                  <a:pt x="228" y="186"/>
                </a:lnTo>
                <a:close/>
                <a:moveTo>
                  <a:pt x="159" y="201"/>
                </a:moveTo>
                <a:lnTo>
                  <a:pt x="155" y="201"/>
                </a:lnTo>
                <a:lnTo>
                  <a:pt x="150" y="199"/>
                </a:lnTo>
                <a:lnTo>
                  <a:pt x="151" y="198"/>
                </a:lnTo>
                <a:lnTo>
                  <a:pt x="154" y="198"/>
                </a:lnTo>
                <a:lnTo>
                  <a:pt x="156" y="198"/>
                </a:lnTo>
                <a:lnTo>
                  <a:pt x="158" y="198"/>
                </a:lnTo>
                <a:lnTo>
                  <a:pt x="161" y="199"/>
                </a:lnTo>
                <a:lnTo>
                  <a:pt x="159" y="201"/>
                </a:lnTo>
                <a:lnTo>
                  <a:pt x="159" y="201"/>
                </a:lnTo>
                <a:lnTo>
                  <a:pt x="159" y="201"/>
                </a:lnTo>
                <a:close/>
                <a:moveTo>
                  <a:pt x="187" y="289"/>
                </a:moveTo>
                <a:lnTo>
                  <a:pt x="180" y="289"/>
                </a:lnTo>
                <a:lnTo>
                  <a:pt x="173" y="286"/>
                </a:lnTo>
                <a:lnTo>
                  <a:pt x="166" y="284"/>
                </a:lnTo>
                <a:lnTo>
                  <a:pt x="161" y="281"/>
                </a:lnTo>
                <a:lnTo>
                  <a:pt x="171" y="282"/>
                </a:lnTo>
                <a:lnTo>
                  <a:pt x="181" y="282"/>
                </a:lnTo>
                <a:lnTo>
                  <a:pt x="181" y="284"/>
                </a:lnTo>
                <a:lnTo>
                  <a:pt x="183" y="285"/>
                </a:lnTo>
                <a:lnTo>
                  <a:pt x="186" y="285"/>
                </a:lnTo>
                <a:lnTo>
                  <a:pt x="188" y="285"/>
                </a:lnTo>
                <a:lnTo>
                  <a:pt x="189" y="286"/>
                </a:lnTo>
                <a:lnTo>
                  <a:pt x="190" y="288"/>
                </a:lnTo>
                <a:lnTo>
                  <a:pt x="189" y="289"/>
                </a:lnTo>
                <a:lnTo>
                  <a:pt x="187" y="289"/>
                </a:lnTo>
                <a:lnTo>
                  <a:pt x="184" y="289"/>
                </a:lnTo>
                <a:lnTo>
                  <a:pt x="187" y="289"/>
                </a:lnTo>
                <a:close/>
                <a:moveTo>
                  <a:pt x="121" y="294"/>
                </a:moveTo>
                <a:lnTo>
                  <a:pt x="114" y="294"/>
                </a:lnTo>
                <a:lnTo>
                  <a:pt x="106" y="292"/>
                </a:lnTo>
                <a:lnTo>
                  <a:pt x="111" y="291"/>
                </a:lnTo>
                <a:lnTo>
                  <a:pt x="116" y="291"/>
                </a:lnTo>
                <a:lnTo>
                  <a:pt x="118" y="291"/>
                </a:lnTo>
                <a:lnTo>
                  <a:pt x="120" y="292"/>
                </a:lnTo>
                <a:lnTo>
                  <a:pt x="121" y="293"/>
                </a:lnTo>
                <a:lnTo>
                  <a:pt x="121" y="294"/>
                </a:lnTo>
                <a:lnTo>
                  <a:pt x="120" y="296"/>
                </a:lnTo>
                <a:lnTo>
                  <a:pt x="121" y="294"/>
                </a:lnTo>
                <a:close/>
                <a:moveTo>
                  <a:pt x="148" y="304"/>
                </a:moveTo>
                <a:lnTo>
                  <a:pt x="148" y="304"/>
                </a:lnTo>
                <a:lnTo>
                  <a:pt x="149" y="304"/>
                </a:lnTo>
                <a:lnTo>
                  <a:pt x="149" y="304"/>
                </a:lnTo>
                <a:lnTo>
                  <a:pt x="148" y="304"/>
                </a:lnTo>
                <a:close/>
                <a:moveTo>
                  <a:pt x="188" y="316"/>
                </a:moveTo>
                <a:lnTo>
                  <a:pt x="184" y="315"/>
                </a:lnTo>
                <a:lnTo>
                  <a:pt x="182" y="315"/>
                </a:lnTo>
                <a:lnTo>
                  <a:pt x="181" y="313"/>
                </a:lnTo>
                <a:lnTo>
                  <a:pt x="180" y="310"/>
                </a:lnTo>
                <a:lnTo>
                  <a:pt x="183" y="310"/>
                </a:lnTo>
                <a:lnTo>
                  <a:pt x="187" y="311"/>
                </a:lnTo>
                <a:lnTo>
                  <a:pt x="187" y="311"/>
                </a:lnTo>
                <a:lnTo>
                  <a:pt x="188" y="314"/>
                </a:lnTo>
                <a:lnTo>
                  <a:pt x="189" y="315"/>
                </a:lnTo>
                <a:lnTo>
                  <a:pt x="188" y="316"/>
                </a:lnTo>
                <a:lnTo>
                  <a:pt x="187" y="316"/>
                </a:lnTo>
                <a:lnTo>
                  <a:pt x="188" y="316"/>
                </a:lnTo>
                <a:close/>
                <a:moveTo>
                  <a:pt x="302" y="319"/>
                </a:moveTo>
                <a:lnTo>
                  <a:pt x="296" y="321"/>
                </a:lnTo>
                <a:lnTo>
                  <a:pt x="289" y="321"/>
                </a:lnTo>
                <a:lnTo>
                  <a:pt x="287" y="321"/>
                </a:lnTo>
                <a:lnTo>
                  <a:pt x="284" y="319"/>
                </a:lnTo>
                <a:lnTo>
                  <a:pt x="281" y="318"/>
                </a:lnTo>
                <a:lnTo>
                  <a:pt x="280" y="316"/>
                </a:lnTo>
                <a:lnTo>
                  <a:pt x="285" y="314"/>
                </a:lnTo>
                <a:lnTo>
                  <a:pt x="290" y="313"/>
                </a:lnTo>
                <a:lnTo>
                  <a:pt x="294" y="314"/>
                </a:lnTo>
                <a:lnTo>
                  <a:pt x="298" y="315"/>
                </a:lnTo>
                <a:lnTo>
                  <a:pt x="299" y="315"/>
                </a:lnTo>
                <a:lnTo>
                  <a:pt x="301" y="316"/>
                </a:lnTo>
                <a:lnTo>
                  <a:pt x="302" y="318"/>
                </a:lnTo>
                <a:lnTo>
                  <a:pt x="302" y="319"/>
                </a:lnTo>
                <a:lnTo>
                  <a:pt x="302" y="321"/>
                </a:lnTo>
                <a:lnTo>
                  <a:pt x="302" y="319"/>
                </a:lnTo>
                <a:close/>
                <a:moveTo>
                  <a:pt x="299" y="304"/>
                </a:moveTo>
                <a:lnTo>
                  <a:pt x="297" y="306"/>
                </a:lnTo>
                <a:lnTo>
                  <a:pt x="295" y="308"/>
                </a:lnTo>
                <a:lnTo>
                  <a:pt x="293" y="308"/>
                </a:lnTo>
                <a:lnTo>
                  <a:pt x="289" y="308"/>
                </a:lnTo>
                <a:lnTo>
                  <a:pt x="282" y="305"/>
                </a:lnTo>
                <a:lnTo>
                  <a:pt x="277" y="301"/>
                </a:lnTo>
                <a:lnTo>
                  <a:pt x="277" y="299"/>
                </a:lnTo>
                <a:lnTo>
                  <a:pt x="278" y="299"/>
                </a:lnTo>
                <a:lnTo>
                  <a:pt x="278" y="298"/>
                </a:lnTo>
                <a:lnTo>
                  <a:pt x="279" y="298"/>
                </a:lnTo>
                <a:lnTo>
                  <a:pt x="279" y="298"/>
                </a:lnTo>
                <a:lnTo>
                  <a:pt x="277" y="297"/>
                </a:lnTo>
                <a:lnTo>
                  <a:pt x="270" y="294"/>
                </a:lnTo>
                <a:lnTo>
                  <a:pt x="264" y="293"/>
                </a:lnTo>
                <a:lnTo>
                  <a:pt x="261" y="293"/>
                </a:lnTo>
                <a:lnTo>
                  <a:pt x="256" y="293"/>
                </a:lnTo>
                <a:lnTo>
                  <a:pt x="254" y="291"/>
                </a:lnTo>
                <a:lnTo>
                  <a:pt x="252" y="289"/>
                </a:lnTo>
                <a:lnTo>
                  <a:pt x="247" y="290"/>
                </a:lnTo>
                <a:lnTo>
                  <a:pt x="243" y="288"/>
                </a:lnTo>
                <a:lnTo>
                  <a:pt x="245" y="285"/>
                </a:lnTo>
                <a:lnTo>
                  <a:pt x="247" y="282"/>
                </a:lnTo>
                <a:lnTo>
                  <a:pt x="260" y="286"/>
                </a:lnTo>
                <a:lnTo>
                  <a:pt x="271" y="292"/>
                </a:lnTo>
                <a:lnTo>
                  <a:pt x="276" y="293"/>
                </a:lnTo>
                <a:lnTo>
                  <a:pt x="279" y="293"/>
                </a:lnTo>
                <a:lnTo>
                  <a:pt x="280" y="296"/>
                </a:lnTo>
                <a:lnTo>
                  <a:pt x="279" y="297"/>
                </a:lnTo>
                <a:lnTo>
                  <a:pt x="281" y="298"/>
                </a:lnTo>
                <a:lnTo>
                  <a:pt x="284" y="299"/>
                </a:lnTo>
                <a:lnTo>
                  <a:pt x="291" y="300"/>
                </a:lnTo>
                <a:lnTo>
                  <a:pt x="299" y="304"/>
                </a:lnTo>
                <a:lnTo>
                  <a:pt x="296" y="304"/>
                </a:lnTo>
                <a:lnTo>
                  <a:pt x="299" y="304"/>
                </a:lnTo>
                <a:close/>
                <a:moveTo>
                  <a:pt x="247" y="282"/>
                </a:moveTo>
                <a:lnTo>
                  <a:pt x="244" y="283"/>
                </a:lnTo>
                <a:lnTo>
                  <a:pt x="239" y="284"/>
                </a:lnTo>
                <a:lnTo>
                  <a:pt x="237" y="284"/>
                </a:lnTo>
                <a:lnTo>
                  <a:pt x="235" y="284"/>
                </a:lnTo>
                <a:lnTo>
                  <a:pt x="235" y="283"/>
                </a:lnTo>
                <a:lnTo>
                  <a:pt x="235" y="281"/>
                </a:lnTo>
                <a:lnTo>
                  <a:pt x="237" y="280"/>
                </a:lnTo>
                <a:lnTo>
                  <a:pt x="240" y="279"/>
                </a:lnTo>
                <a:lnTo>
                  <a:pt x="244" y="280"/>
                </a:lnTo>
                <a:lnTo>
                  <a:pt x="247" y="282"/>
                </a:lnTo>
                <a:lnTo>
                  <a:pt x="245" y="282"/>
                </a:lnTo>
                <a:lnTo>
                  <a:pt x="247" y="282"/>
                </a:lnTo>
                <a:close/>
                <a:moveTo>
                  <a:pt x="237" y="273"/>
                </a:moveTo>
                <a:lnTo>
                  <a:pt x="238" y="271"/>
                </a:lnTo>
                <a:lnTo>
                  <a:pt x="241" y="269"/>
                </a:lnTo>
                <a:lnTo>
                  <a:pt x="245" y="271"/>
                </a:lnTo>
                <a:lnTo>
                  <a:pt x="247" y="271"/>
                </a:lnTo>
                <a:lnTo>
                  <a:pt x="245" y="273"/>
                </a:lnTo>
                <a:lnTo>
                  <a:pt x="241" y="274"/>
                </a:lnTo>
                <a:lnTo>
                  <a:pt x="238" y="274"/>
                </a:lnTo>
                <a:lnTo>
                  <a:pt x="237" y="273"/>
                </a:lnTo>
                <a:lnTo>
                  <a:pt x="236" y="272"/>
                </a:lnTo>
                <a:lnTo>
                  <a:pt x="237" y="273"/>
                </a:lnTo>
                <a:close/>
                <a:moveTo>
                  <a:pt x="254" y="274"/>
                </a:moveTo>
                <a:lnTo>
                  <a:pt x="258" y="274"/>
                </a:lnTo>
                <a:lnTo>
                  <a:pt x="263" y="276"/>
                </a:lnTo>
                <a:lnTo>
                  <a:pt x="269" y="279"/>
                </a:lnTo>
                <a:lnTo>
                  <a:pt x="274" y="277"/>
                </a:lnTo>
                <a:lnTo>
                  <a:pt x="273" y="280"/>
                </a:lnTo>
                <a:lnTo>
                  <a:pt x="272" y="281"/>
                </a:lnTo>
                <a:lnTo>
                  <a:pt x="271" y="282"/>
                </a:lnTo>
                <a:lnTo>
                  <a:pt x="269" y="282"/>
                </a:lnTo>
                <a:lnTo>
                  <a:pt x="265" y="280"/>
                </a:lnTo>
                <a:lnTo>
                  <a:pt x="262" y="279"/>
                </a:lnTo>
                <a:lnTo>
                  <a:pt x="258" y="279"/>
                </a:lnTo>
                <a:lnTo>
                  <a:pt x="255" y="277"/>
                </a:lnTo>
                <a:lnTo>
                  <a:pt x="253" y="276"/>
                </a:lnTo>
                <a:lnTo>
                  <a:pt x="253" y="276"/>
                </a:lnTo>
                <a:lnTo>
                  <a:pt x="253" y="275"/>
                </a:lnTo>
                <a:lnTo>
                  <a:pt x="254" y="274"/>
                </a:lnTo>
                <a:lnTo>
                  <a:pt x="254" y="274"/>
                </a:lnTo>
                <a:lnTo>
                  <a:pt x="254" y="274"/>
                </a:lnTo>
                <a:close/>
                <a:moveTo>
                  <a:pt x="312" y="292"/>
                </a:moveTo>
                <a:lnTo>
                  <a:pt x="319" y="293"/>
                </a:lnTo>
                <a:lnTo>
                  <a:pt x="324" y="293"/>
                </a:lnTo>
                <a:lnTo>
                  <a:pt x="321" y="296"/>
                </a:lnTo>
                <a:lnTo>
                  <a:pt x="319" y="297"/>
                </a:lnTo>
                <a:lnTo>
                  <a:pt x="317" y="296"/>
                </a:lnTo>
                <a:lnTo>
                  <a:pt x="312" y="292"/>
                </a:lnTo>
                <a:close/>
                <a:moveTo>
                  <a:pt x="337" y="290"/>
                </a:moveTo>
                <a:lnTo>
                  <a:pt x="342" y="289"/>
                </a:lnTo>
                <a:lnTo>
                  <a:pt x="347" y="289"/>
                </a:lnTo>
                <a:lnTo>
                  <a:pt x="351" y="289"/>
                </a:lnTo>
                <a:lnTo>
                  <a:pt x="353" y="290"/>
                </a:lnTo>
                <a:lnTo>
                  <a:pt x="355" y="292"/>
                </a:lnTo>
                <a:lnTo>
                  <a:pt x="355" y="293"/>
                </a:lnTo>
                <a:lnTo>
                  <a:pt x="355" y="296"/>
                </a:lnTo>
                <a:lnTo>
                  <a:pt x="353" y="297"/>
                </a:lnTo>
                <a:lnTo>
                  <a:pt x="351" y="298"/>
                </a:lnTo>
                <a:lnTo>
                  <a:pt x="350" y="298"/>
                </a:lnTo>
                <a:lnTo>
                  <a:pt x="346" y="298"/>
                </a:lnTo>
                <a:lnTo>
                  <a:pt x="342" y="297"/>
                </a:lnTo>
                <a:lnTo>
                  <a:pt x="338" y="297"/>
                </a:lnTo>
                <a:lnTo>
                  <a:pt x="334" y="297"/>
                </a:lnTo>
                <a:lnTo>
                  <a:pt x="331" y="293"/>
                </a:lnTo>
                <a:lnTo>
                  <a:pt x="332" y="291"/>
                </a:lnTo>
                <a:lnTo>
                  <a:pt x="334" y="290"/>
                </a:lnTo>
                <a:lnTo>
                  <a:pt x="337" y="290"/>
                </a:lnTo>
                <a:lnTo>
                  <a:pt x="338" y="289"/>
                </a:lnTo>
                <a:lnTo>
                  <a:pt x="337" y="290"/>
                </a:lnTo>
                <a:close/>
                <a:moveTo>
                  <a:pt x="331" y="284"/>
                </a:moveTo>
                <a:lnTo>
                  <a:pt x="334" y="284"/>
                </a:lnTo>
                <a:lnTo>
                  <a:pt x="334" y="285"/>
                </a:lnTo>
                <a:lnTo>
                  <a:pt x="334" y="285"/>
                </a:lnTo>
                <a:lnTo>
                  <a:pt x="332" y="286"/>
                </a:lnTo>
                <a:lnTo>
                  <a:pt x="328" y="288"/>
                </a:lnTo>
                <a:lnTo>
                  <a:pt x="326" y="289"/>
                </a:lnTo>
                <a:lnTo>
                  <a:pt x="320" y="289"/>
                </a:lnTo>
                <a:lnTo>
                  <a:pt x="315" y="286"/>
                </a:lnTo>
                <a:lnTo>
                  <a:pt x="312" y="288"/>
                </a:lnTo>
                <a:lnTo>
                  <a:pt x="309" y="289"/>
                </a:lnTo>
                <a:lnTo>
                  <a:pt x="305" y="290"/>
                </a:lnTo>
                <a:lnTo>
                  <a:pt x="302" y="289"/>
                </a:lnTo>
                <a:lnTo>
                  <a:pt x="299" y="288"/>
                </a:lnTo>
                <a:lnTo>
                  <a:pt x="297" y="286"/>
                </a:lnTo>
                <a:lnTo>
                  <a:pt x="295" y="285"/>
                </a:lnTo>
                <a:lnTo>
                  <a:pt x="293" y="284"/>
                </a:lnTo>
                <a:lnTo>
                  <a:pt x="294" y="282"/>
                </a:lnTo>
                <a:lnTo>
                  <a:pt x="294" y="279"/>
                </a:lnTo>
                <a:lnTo>
                  <a:pt x="303" y="281"/>
                </a:lnTo>
                <a:lnTo>
                  <a:pt x="312" y="283"/>
                </a:lnTo>
                <a:lnTo>
                  <a:pt x="322" y="283"/>
                </a:lnTo>
                <a:lnTo>
                  <a:pt x="331" y="284"/>
                </a:lnTo>
                <a:lnTo>
                  <a:pt x="327" y="283"/>
                </a:lnTo>
                <a:lnTo>
                  <a:pt x="331" y="284"/>
                </a:lnTo>
                <a:close/>
                <a:moveTo>
                  <a:pt x="284" y="267"/>
                </a:moveTo>
                <a:lnTo>
                  <a:pt x="282" y="266"/>
                </a:lnTo>
                <a:lnTo>
                  <a:pt x="282" y="266"/>
                </a:lnTo>
                <a:lnTo>
                  <a:pt x="282" y="265"/>
                </a:lnTo>
                <a:lnTo>
                  <a:pt x="284" y="265"/>
                </a:lnTo>
                <a:lnTo>
                  <a:pt x="286" y="266"/>
                </a:lnTo>
                <a:lnTo>
                  <a:pt x="288" y="267"/>
                </a:lnTo>
                <a:lnTo>
                  <a:pt x="290" y="266"/>
                </a:lnTo>
                <a:lnTo>
                  <a:pt x="293" y="266"/>
                </a:lnTo>
                <a:lnTo>
                  <a:pt x="294" y="268"/>
                </a:lnTo>
                <a:lnTo>
                  <a:pt x="294" y="271"/>
                </a:lnTo>
                <a:lnTo>
                  <a:pt x="297" y="271"/>
                </a:lnTo>
                <a:lnTo>
                  <a:pt x="301" y="271"/>
                </a:lnTo>
                <a:lnTo>
                  <a:pt x="303" y="272"/>
                </a:lnTo>
                <a:lnTo>
                  <a:pt x="304" y="273"/>
                </a:lnTo>
                <a:lnTo>
                  <a:pt x="305" y="274"/>
                </a:lnTo>
                <a:lnTo>
                  <a:pt x="305" y="274"/>
                </a:lnTo>
                <a:lnTo>
                  <a:pt x="303" y="276"/>
                </a:lnTo>
                <a:lnTo>
                  <a:pt x="299" y="276"/>
                </a:lnTo>
                <a:lnTo>
                  <a:pt x="295" y="275"/>
                </a:lnTo>
                <a:lnTo>
                  <a:pt x="290" y="274"/>
                </a:lnTo>
                <a:lnTo>
                  <a:pt x="286" y="273"/>
                </a:lnTo>
                <a:lnTo>
                  <a:pt x="284" y="274"/>
                </a:lnTo>
                <a:lnTo>
                  <a:pt x="286" y="274"/>
                </a:lnTo>
                <a:lnTo>
                  <a:pt x="287" y="275"/>
                </a:lnTo>
                <a:lnTo>
                  <a:pt x="288" y="276"/>
                </a:lnTo>
                <a:lnTo>
                  <a:pt x="286" y="277"/>
                </a:lnTo>
                <a:lnTo>
                  <a:pt x="281" y="279"/>
                </a:lnTo>
                <a:lnTo>
                  <a:pt x="274" y="277"/>
                </a:lnTo>
                <a:lnTo>
                  <a:pt x="276" y="274"/>
                </a:lnTo>
                <a:lnTo>
                  <a:pt x="277" y="271"/>
                </a:lnTo>
                <a:lnTo>
                  <a:pt x="274" y="271"/>
                </a:lnTo>
                <a:lnTo>
                  <a:pt x="273" y="271"/>
                </a:lnTo>
                <a:lnTo>
                  <a:pt x="272" y="269"/>
                </a:lnTo>
                <a:lnTo>
                  <a:pt x="272" y="268"/>
                </a:lnTo>
                <a:lnTo>
                  <a:pt x="271" y="265"/>
                </a:lnTo>
                <a:lnTo>
                  <a:pt x="270" y="261"/>
                </a:lnTo>
                <a:lnTo>
                  <a:pt x="273" y="264"/>
                </a:lnTo>
                <a:lnTo>
                  <a:pt x="277" y="267"/>
                </a:lnTo>
                <a:lnTo>
                  <a:pt x="279" y="268"/>
                </a:lnTo>
                <a:lnTo>
                  <a:pt x="280" y="268"/>
                </a:lnTo>
                <a:lnTo>
                  <a:pt x="281" y="268"/>
                </a:lnTo>
                <a:lnTo>
                  <a:pt x="284" y="267"/>
                </a:lnTo>
                <a:lnTo>
                  <a:pt x="282" y="268"/>
                </a:lnTo>
                <a:lnTo>
                  <a:pt x="284" y="267"/>
                </a:lnTo>
                <a:close/>
                <a:moveTo>
                  <a:pt x="276" y="241"/>
                </a:moveTo>
                <a:lnTo>
                  <a:pt x="277" y="242"/>
                </a:lnTo>
                <a:lnTo>
                  <a:pt x="276" y="244"/>
                </a:lnTo>
                <a:lnTo>
                  <a:pt x="273" y="243"/>
                </a:lnTo>
                <a:lnTo>
                  <a:pt x="272" y="242"/>
                </a:lnTo>
                <a:lnTo>
                  <a:pt x="266" y="241"/>
                </a:lnTo>
                <a:lnTo>
                  <a:pt x="262" y="239"/>
                </a:lnTo>
                <a:lnTo>
                  <a:pt x="265" y="238"/>
                </a:lnTo>
                <a:lnTo>
                  <a:pt x="269" y="238"/>
                </a:lnTo>
                <a:lnTo>
                  <a:pt x="272" y="239"/>
                </a:lnTo>
                <a:lnTo>
                  <a:pt x="276" y="241"/>
                </a:lnTo>
                <a:lnTo>
                  <a:pt x="274" y="241"/>
                </a:lnTo>
                <a:lnTo>
                  <a:pt x="276" y="241"/>
                </a:lnTo>
                <a:close/>
                <a:moveTo>
                  <a:pt x="263" y="259"/>
                </a:moveTo>
                <a:lnTo>
                  <a:pt x="263" y="260"/>
                </a:lnTo>
                <a:lnTo>
                  <a:pt x="262" y="261"/>
                </a:lnTo>
                <a:lnTo>
                  <a:pt x="261" y="263"/>
                </a:lnTo>
                <a:lnTo>
                  <a:pt x="260" y="263"/>
                </a:lnTo>
                <a:lnTo>
                  <a:pt x="258" y="261"/>
                </a:lnTo>
                <a:lnTo>
                  <a:pt x="257" y="259"/>
                </a:lnTo>
                <a:lnTo>
                  <a:pt x="254" y="258"/>
                </a:lnTo>
                <a:lnTo>
                  <a:pt x="249" y="257"/>
                </a:lnTo>
                <a:lnTo>
                  <a:pt x="252" y="260"/>
                </a:lnTo>
                <a:lnTo>
                  <a:pt x="253" y="264"/>
                </a:lnTo>
                <a:lnTo>
                  <a:pt x="250" y="263"/>
                </a:lnTo>
                <a:lnTo>
                  <a:pt x="247" y="263"/>
                </a:lnTo>
                <a:lnTo>
                  <a:pt x="245" y="263"/>
                </a:lnTo>
                <a:lnTo>
                  <a:pt x="243" y="260"/>
                </a:lnTo>
                <a:lnTo>
                  <a:pt x="243" y="258"/>
                </a:lnTo>
                <a:lnTo>
                  <a:pt x="244" y="257"/>
                </a:lnTo>
                <a:lnTo>
                  <a:pt x="246" y="256"/>
                </a:lnTo>
                <a:lnTo>
                  <a:pt x="248" y="255"/>
                </a:lnTo>
                <a:lnTo>
                  <a:pt x="249" y="254"/>
                </a:lnTo>
                <a:lnTo>
                  <a:pt x="250" y="254"/>
                </a:lnTo>
                <a:lnTo>
                  <a:pt x="252" y="254"/>
                </a:lnTo>
                <a:lnTo>
                  <a:pt x="254" y="254"/>
                </a:lnTo>
                <a:lnTo>
                  <a:pt x="258" y="256"/>
                </a:lnTo>
                <a:lnTo>
                  <a:pt x="263" y="259"/>
                </a:lnTo>
                <a:close/>
                <a:moveTo>
                  <a:pt x="227" y="216"/>
                </a:moveTo>
                <a:lnTo>
                  <a:pt x="225" y="217"/>
                </a:lnTo>
                <a:lnTo>
                  <a:pt x="223" y="216"/>
                </a:lnTo>
                <a:lnTo>
                  <a:pt x="224" y="216"/>
                </a:lnTo>
                <a:lnTo>
                  <a:pt x="227" y="216"/>
                </a:lnTo>
                <a:lnTo>
                  <a:pt x="227" y="216"/>
                </a:lnTo>
                <a:lnTo>
                  <a:pt x="227" y="216"/>
                </a:lnTo>
                <a:close/>
                <a:moveTo>
                  <a:pt x="220" y="214"/>
                </a:moveTo>
                <a:lnTo>
                  <a:pt x="221" y="214"/>
                </a:lnTo>
                <a:lnTo>
                  <a:pt x="221" y="214"/>
                </a:lnTo>
                <a:lnTo>
                  <a:pt x="220" y="214"/>
                </a:lnTo>
                <a:lnTo>
                  <a:pt x="219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lnTo>
                  <a:pt x="220" y="214"/>
                </a:lnTo>
                <a:close/>
                <a:moveTo>
                  <a:pt x="181" y="194"/>
                </a:moveTo>
                <a:lnTo>
                  <a:pt x="182" y="193"/>
                </a:lnTo>
                <a:lnTo>
                  <a:pt x="183" y="192"/>
                </a:lnTo>
                <a:lnTo>
                  <a:pt x="184" y="192"/>
                </a:lnTo>
                <a:lnTo>
                  <a:pt x="186" y="194"/>
                </a:lnTo>
                <a:lnTo>
                  <a:pt x="186" y="197"/>
                </a:lnTo>
                <a:lnTo>
                  <a:pt x="186" y="198"/>
                </a:lnTo>
                <a:lnTo>
                  <a:pt x="183" y="198"/>
                </a:lnTo>
                <a:lnTo>
                  <a:pt x="181" y="198"/>
                </a:lnTo>
                <a:lnTo>
                  <a:pt x="180" y="197"/>
                </a:lnTo>
                <a:lnTo>
                  <a:pt x="181" y="194"/>
                </a:lnTo>
                <a:lnTo>
                  <a:pt x="180" y="194"/>
                </a:lnTo>
                <a:lnTo>
                  <a:pt x="181" y="194"/>
                </a:lnTo>
                <a:close/>
                <a:moveTo>
                  <a:pt x="191" y="207"/>
                </a:moveTo>
                <a:lnTo>
                  <a:pt x="188" y="206"/>
                </a:lnTo>
                <a:lnTo>
                  <a:pt x="184" y="206"/>
                </a:lnTo>
                <a:lnTo>
                  <a:pt x="182" y="206"/>
                </a:lnTo>
                <a:lnTo>
                  <a:pt x="181" y="202"/>
                </a:lnTo>
                <a:lnTo>
                  <a:pt x="178" y="202"/>
                </a:lnTo>
                <a:lnTo>
                  <a:pt x="175" y="201"/>
                </a:lnTo>
                <a:lnTo>
                  <a:pt x="173" y="199"/>
                </a:lnTo>
                <a:lnTo>
                  <a:pt x="171" y="198"/>
                </a:lnTo>
                <a:lnTo>
                  <a:pt x="167" y="198"/>
                </a:lnTo>
                <a:lnTo>
                  <a:pt x="165" y="197"/>
                </a:lnTo>
                <a:lnTo>
                  <a:pt x="165" y="196"/>
                </a:lnTo>
                <a:lnTo>
                  <a:pt x="166" y="194"/>
                </a:lnTo>
                <a:lnTo>
                  <a:pt x="170" y="194"/>
                </a:lnTo>
                <a:lnTo>
                  <a:pt x="171" y="194"/>
                </a:lnTo>
                <a:lnTo>
                  <a:pt x="169" y="192"/>
                </a:lnTo>
                <a:lnTo>
                  <a:pt x="166" y="191"/>
                </a:lnTo>
                <a:lnTo>
                  <a:pt x="166" y="190"/>
                </a:lnTo>
                <a:lnTo>
                  <a:pt x="167" y="189"/>
                </a:lnTo>
                <a:lnTo>
                  <a:pt x="169" y="188"/>
                </a:lnTo>
                <a:lnTo>
                  <a:pt x="171" y="188"/>
                </a:lnTo>
                <a:lnTo>
                  <a:pt x="174" y="188"/>
                </a:lnTo>
                <a:lnTo>
                  <a:pt x="177" y="188"/>
                </a:lnTo>
                <a:lnTo>
                  <a:pt x="174" y="192"/>
                </a:lnTo>
                <a:lnTo>
                  <a:pt x="172" y="196"/>
                </a:lnTo>
                <a:lnTo>
                  <a:pt x="181" y="198"/>
                </a:lnTo>
                <a:lnTo>
                  <a:pt x="196" y="203"/>
                </a:lnTo>
                <a:lnTo>
                  <a:pt x="210" y="209"/>
                </a:lnTo>
                <a:lnTo>
                  <a:pt x="215" y="213"/>
                </a:lnTo>
                <a:lnTo>
                  <a:pt x="203" y="210"/>
                </a:lnTo>
                <a:lnTo>
                  <a:pt x="191" y="207"/>
                </a:lnTo>
                <a:lnTo>
                  <a:pt x="192" y="207"/>
                </a:lnTo>
                <a:lnTo>
                  <a:pt x="191" y="207"/>
                </a:lnTo>
                <a:close/>
                <a:moveTo>
                  <a:pt x="192" y="216"/>
                </a:moveTo>
                <a:lnTo>
                  <a:pt x="194" y="216"/>
                </a:lnTo>
                <a:lnTo>
                  <a:pt x="196" y="216"/>
                </a:lnTo>
                <a:lnTo>
                  <a:pt x="195" y="217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close/>
                <a:moveTo>
                  <a:pt x="195" y="234"/>
                </a:moveTo>
                <a:lnTo>
                  <a:pt x="195" y="235"/>
                </a:lnTo>
                <a:lnTo>
                  <a:pt x="196" y="235"/>
                </a:lnTo>
                <a:lnTo>
                  <a:pt x="195" y="235"/>
                </a:lnTo>
                <a:lnTo>
                  <a:pt x="194" y="235"/>
                </a:lnTo>
                <a:lnTo>
                  <a:pt x="194" y="234"/>
                </a:lnTo>
                <a:lnTo>
                  <a:pt x="195" y="234"/>
                </a:lnTo>
                <a:lnTo>
                  <a:pt x="194" y="234"/>
                </a:lnTo>
                <a:lnTo>
                  <a:pt x="195" y="234"/>
                </a:lnTo>
                <a:close/>
                <a:moveTo>
                  <a:pt x="204" y="244"/>
                </a:moveTo>
                <a:lnTo>
                  <a:pt x="202" y="246"/>
                </a:lnTo>
                <a:lnTo>
                  <a:pt x="198" y="244"/>
                </a:lnTo>
                <a:lnTo>
                  <a:pt x="196" y="243"/>
                </a:lnTo>
                <a:lnTo>
                  <a:pt x="192" y="243"/>
                </a:lnTo>
                <a:lnTo>
                  <a:pt x="198" y="242"/>
                </a:lnTo>
                <a:lnTo>
                  <a:pt x="204" y="244"/>
                </a:lnTo>
                <a:close/>
                <a:moveTo>
                  <a:pt x="204" y="256"/>
                </a:moveTo>
                <a:lnTo>
                  <a:pt x="200" y="256"/>
                </a:lnTo>
                <a:lnTo>
                  <a:pt x="196" y="256"/>
                </a:lnTo>
                <a:lnTo>
                  <a:pt x="191" y="255"/>
                </a:lnTo>
                <a:lnTo>
                  <a:pt x="188" y="252"/>
                </a:lnTo>
                <a:lnTo>
                  <a:pt x="188" y="250"/>
                </a:lnTo>
                <a:lnTo>
                  <a:pt x="189" y="250"/>
                </a:lnTo>
                <a:lnTo>
                  <a:pt x="191" y="250"/>
                </a:lnTo>
                <a:lnTo>
                  <a:pt x="195" y="251"/>
                </a:lnTo>
                <a:lnTo>
                  <a:pt x="200" y="254"/>
                </a:lnTo>
                <a:lnTo>
                  <a:pt x="204" y="256"/>
                </a:lnTo>
                <a:lnTo>
                  <a:pt x="200" y="255"/>
                </a:lnTo>
                <a:lnTo>
                  <a:pt x="204" y="256"/>
                </a:lnTo>
                <a:close/>
                <a:moveTo>
                  <a:pt x="181" y="243"/>
                </a:moveTo>
                <a:lnTo>
                  <a:pt x="181" y="240"/>
                </a:lnTo>
                <a:lnTo>
                  <a:pt x="182" y="238"/>
                </a:lnTo>
                <a:lnTo>
                  <a:pt x="182" y="236"/>
                </a:lnTo>
                <a:lnTo>
                  <a:pt x="183" y="235"/>
                </a:lnTo>
                <a:lnTo>
                  <a:pt x="184" y="236"/>
                </a:lnTo>
                <a:lnTo>
                  <a:pt x="187" y="238"/>
                </a:lnTo>
                <a:lnTo>
                  <a:pt x="189" y="240"/>
                </a:lnTo>
                <a:lnTo>
                  <a:pt x="189" y="241"/>
                </a:lnTo>
                <a:lnTo>
                  <a:pt x="189" y="242"/>
                </a:lnTo>
                <a:lnTo>
                  <a:pt x="188" y="243"/>
                </a:lnTo>
                <a:lnTo>
                  <a:pt x="184" y="243"/>
                </a:lnTo>
                <a:lnTo>
                  <a:pt x="181" y="243"/>
                </a:lnTo>
                <a:lnTo>
                  <a:pt x="182" y="243"/>
                </a:lnTo>
                <a:lnTo>
                  <a:pt x="181" y="243"/>
                </a:lnTo>
                <a:close/>
                <a:moveTo>
                  <a:pt x="189" y="263"/>
                </a:moveTo>
                <a:lnTo>
                  <a:pt x="186" y="261"/>
                </a:lnTo>
                <a:lnTo>
                  <a:pt x="183" y="260"/>
                </a:lnTo>
                <a:lnTo>
                  <a:pt x="181" y="261"/>
                </a:lnTo>
                <a:lnTo>
                  <a:pt x="180" y="263"/>
                </a:lnTo>
                <a:lnTo>
                  <a:pt x="179" y="264"/>
                </a:lnTo>
                <a:lnTo>
                  <a:pt x="178" y="264"/>
                </a:lnTo>
                <a:lnTo>
                  <a:pt x="175" y="261"/>
                </a:lnTo>
                <a:lnTo>
                  <a:pt x="174" y="260"/>
                </a:lnTo>
                <a:lnTo>
                  <a:pt x="175" y="258"/>
                </a:lnTo>
                <a:lnTo>
                  <a:pt x="178" y="257"/>
                </a:lnTo>
                <a:lnTo>
                  <a:pt x="180" y="257"/>
                </a:lnTo>
                <a:lnTo>
                  <a:pt x="183" y="257"/>
                </a:lnTo>
                <a:lnTo>
                  <a:pt x="186" y="256"/>
                </a:lnTo>
                <a:lnTo>
                  <a:pt x="188" y="257"/>
                </a:lnTo>
                <a:lnTo>
                  <a:pt x="189" y="258"/>
                </a:lnTo>
                <a:lnTo>
                  <a:pt x="190" y="259"/>
                </a:lnTo>
                <a:lnTo>
                  <a:pt x="190" y="261"/>
                </a:lnTo>
                <a:lnTo>
                  <a:pt x="189" y="263"/>
                </a:lnTo>
                <a:lnTo>
                  <a:pt x="189" y="263"/>
                </a:lnTo>
                <a:lnTo>
                  <a:pt x="189" y="263"/>
                </a:lnTo>
                <a:close/>
                <a:moveTo>
                  <a:pt x="191" y="267"/>
                </a:moveTo>
                <a:lnTo>
                  <a:pt x="190" y="266"/>
                </a:lnTo>
                <a:lnTo>
                  <a:pt x="191" y="265"/>
                </a:lnTo>
                <a:lnTo>
                  <a:pt x="191" y="265"/>
                </a:lnTo>
                <a:lnTo>
                  <a:pt x="192" y="264"/>
                </a:lnTo>
                <a:lnTo>
                  <a:pt x="196" y="264"/>
                </a:lnTo>
                <a:lnTo>
                  <a:pt x="198" y="264"/>
                </a:lnTo>
                <a:lnTo>
                  <a:pt x="203" y="265"/>
                </a:lnTo>
                <a:lnTo>
                  <a:pt x="208" y="266"/>
                </a:lnTo>
                <a:lnTo>
                  <a:pt x="205" y="268"/>
                </a:lnTo>
                <a:lnTo>
                  <a:pt x="199" y="269"/>
                </a:lnTo>
                <a:lnTo>
                  <a:pt x="195" y="269"/>
                </a:lnTo>
                <a:lnTo>
                  <a:pt x="191" y="267"/>
                </a:lnTo>
                <a:lnTo>
                  <a:pt x="191" y="267"/>
                </a:lnTo>
                <a:lnTo>
                  <a:pt x="191" y="267"/>
                </a:lnTo>
                <a:close/>
                <a:moveTo>
                  <a:pt x="207" y="226"/>
                </a:moveTo>
                <a:lnTo>
                  <a:pt x="207" y="223"/>
                </a:lnTo>
                <a:lnTo>
                  <a:pt x="208" y="221"/>
                </a:lnTo>
                <a:lnTo>
                  <a:pt x="210" y="219"/>
                </a:lnTo>
                <a:lnTo>
                  <a:pt x="211" y="218"/>
                </a:lnTo>
                <a:lnTo>
                  <a:pt x="216" y="218"/>
                </a:lnTo>
                <a:lnTo>
                  <a:pt x="222" y="221"/>
                </a:lnTo>
                <a:lnTo>
                  <a:pt x="231" y="223"/>
                </a:lnTo>
                <a:lnTo>
                  <a:pt x="241" y="227"/>
                </a:lnTo>
                <a:lnTo>
                  <a:pt x="250" y="231"/>
                </a:lnTo>
                <a:lnTo>
                  <a:pt x="260" y="235"/>
                </a:lnTo>
                <a:lnTo>
                  <a:pt x="253" y="235"/>
                </a:lnTo>
                <a:lnTo>
                  <a:pt x="246" y="234"/>
                </a:lnTo>
                <a:lnTo>
                  <a:pt x="240" y="231"/>
                </a:lnTo>
                <a:lnTo>
                  <a:pt x="235" y="228"/>
                </a:lnTo>
                <a:lnTo>
                  <a:pt x="230" y="231"/>
                </a:lnTo>
                <a:lnTo>
                  <a:pt x="225" y="230"/>
                </a:lnTo>
                <a:lnTo>
                  <a:pt x="223" y="228"/>
                </a:lnTo>
                <a:lnTo>
                  <a:pt x="224" y="227"/>
                </a:lnTo>
                <a:lnTo>
                  <a:pt x="227" y="227"/>
                </a:lnTo>
                <a:lnTo>
                  <a:pt x="228" y="225"/>
                </a:lnTo>
                <a:lnTo>
                  <a:pt x="222" y="224"/>
                </a:lnTo>
                <a:lnTo>
                  <a:pt x="216" y="225"/>
                </a:lnTo>
                <a:lnTo>
                  <a:pt x="214" y="226"/>
                </a:lnTo>
                <a:lnTo>
                  <a:pt x="212" y="227"/>
                </a:lnTo>
                <a:lnTo>
                  <a:pt x="211" y="228"/>
                </a:lnTo>
                <a:lnTo>
                  <a:pt x="210" y="228"/>
                </a:lnTo>
                <a:lnTo>
                  <a:pt x="208" y="227"/>
                </a:lnTo>
                <a:lnTo>
                  <a:pt x="207" y="226"/>
                </a:lnTo>
                <a:lnTo>
                  <a:pt x="207" y="224"/>
                </a:lnTo>
                <a:lnTo>
                  <a:pt x="207" y="226"/>
                </a:lnTo>
                <a:close/>
                <a:moveTo>
                  <a:pt x="208" y="240"/>
                </a:moveTo>
                <a:lnTo>
                  <a:pt x="220" y="242"/>
                </a:lnTo>
                <a:lnTo>
                  <a:pt x="231" y="244"/>
                </a:lnTo>
                <a:lnTo>
                  <a:pt x="235" y="246"/>
                </a:lnTo>
                <a:lnTo>
                  <a:pt x="238" y="248"/>
                </a:lnTo>
                <a:lnTo>
                  <a:pt x="240" y="249"/>
                </a:lnTo>
                <a:lnTo>
                  <a:pt x="241" y="250"/>
                </a:lnTo>
                <a:lnTo>
                  <a:pt x="241" y="251"/>
                </a:lnTo>
                <a:lnTo>
                  <a:pt x="240" y="252"/>
                </a:lnTo>
                <a:lnTo>
                  <a:pt x="237" y="252"/>
                </a:lnTo>
                <a:lnTo>
                  <a:pt x="233" y="250"/>
                </a:lnTo>
                <a:lnTo>
                  <a:pt x="229" y="249"/>
                </a:lnTo>
                <a:lnTo>
                  <a:pt x="224" y="248"/>
                </a:lnTo>
                <a:lnTo>
                  <a:pt x="220" y="247"/>
                </a:lnTo>
                <a:lnTo>
                  <a:pt x="215" y="246"/>
                </a:lnTo>
                <a:lnTo>
                  <a:pt x="213" y="243"/>
                </a:lnTo>
                <a:lnTo>
                  <a:pt x="208" y="240"/>
                </a:lnTo>
                <a:lnTo>
                  <a:pt x="213" y="241"/>
                </a:lnTo>
                <a:lnTo>
                  <a:pt x="208" y="240"/>
                </a:lnTo>
                <a:close/>
                <a:moveTo>
                  <a:pt x="221" y="285"/>
                </a:moveTo>
                <a:lnTo>
                  <a:pt x="220" y="284"/>
                </a:lnTo>
                <a:lnTo>
                  <a:pt x="220" y="283"/>
                </a:lnTo>
                <a:lnTo>
                  <a:pt x="220" y="281"/>
                </a:lnTo>
                <a:lnTo>
                  <a:pt x="222" y="279"/>
                </a:lnTo>
                <a:lnTo>
                  <a:pt x="223" y="276"/>
                </a:lnTo>
                <a:lnTo>
                  <a:pt x="225" y="274"/>
                </a:lnTo>
                <a:lnTo>
                  <a:pt x="228" y="274"/>
                </a:lnTo>
                <a:lnTo>
                  <a:pt x="229" y="274"/>
                </a:lnTo>
                <a:lnTo>
                  <a:pt x="230" y="275"/>
                </a:lnTo>
                <a:lnTo>
                  <a:pt x="231" y="275"/>
                </a:lnTo>
                <a:lnTo>
                  <a:pt x="230" y="276"/>
                </a:lnTo>
                <a:lnTo>
                  <a:pt x="229" y="277"/>
                </a:lnTo>
                <a:lnTo>
                  <a:pt x="227" y="277"/>
                </a:lnTo>
                <a:lnTo>
                  <a:pt x="225" y="279"/>
                </a:lnTo>
                <a:lnTo>
                  <a:pt x="223" y="282"/>
                </a:lnTo>
                <a:lnTo>
                  <a:pt x="221" y="285"/>
                </a:lnTo>
                <a:lnTo>
                  <a:pt x="221" y="285"/>
                </a:lnTo>
                <a:lnTo>
                  <a:pt x="221" y="285"/>
                </a:lnTo>
                <a:close/>
                <a:moveTo>
                  <a:pt x="221" y="301"/>
                </a:moveTo>
                <a:lnTo>
                  <a:pt x="225" y="300"/>
                </a:lnTo>
                <a:lnTo>
                  <a:pt x="230" y="300"/>
                </a:lnTo>
                <a:lnTo>
                  <a:pt x="232" y="302"/>
                </a:lnTo>
                <a:lnTo>
                  <a:pt x="235" y="306"/>
                </a:lnTo>
                <a:lnTo>
                  <a:pt x="231" y="305"/>
                </a:lnTo>
                <a:lnTo>
                  <a:pt x="228" y="305"/>
                </a:lnTo>
                <a:lnTo>
                  <a:pt x="223" y="304"/>
                </a:lnTo>
                <a:lnTo>
                  <a:pt x="221" y="301"/>
                </a:lnTo>
                <a:close/>
                <a:moveTo>
                  <a:pt x="241" y="297"/>
                </a:moveTo>
                <a:lnTo>
                  <a:pt x="232" y="298"/>
                </a:lnTo>
                <a:lnTo>
                  <a:pt x="223" y="297"/>
                </a:lnTo>
                <a:lnTo>
                  <a:pt x="223" y="294"/>
                </a:lnTo>
                <a:lnTo>
                  <a:pt x="223" y="293"/>
                </a:lnTo>
                <a:lnTo>
                  <a:pt x="223" y="292"/>
                </a:lnTo>
                <a:lnTo>
                  <a:pt x="224" y="292"/>
                </a:lnTo>
                <a:lnTo>
                  <a:pt x="228" y="291"/>
                </a:lnTo>
                <a:lnTo>
                  <a:pt x="230" y="291"/>
                </a:lnTo>
                <a:lnTo>
                  <a:pt x="237" y="293"/>
                </a:lnTo>
                <a:lnTo>
                  <a:pt x="244" y="296"/>
                </a:lnTo>
                <a:lnTo>
                  <a:pt x="249" y="299"/>
                </a:lnTo>
                <a:lnTo>
                  <a:pt x="256" y="301"/>
                </a:lnTo>
                <a:lnTo>
                  <a:pt x="263" y="304"/>
                </a:lnTo>
                <a:lnTo>
                  <a:pt x="269" y="306"/>
                </a:lnTo>
                <a:lnTo>
                  <a:pt x="274" y="307"/>
                </a:lnTo>
                <a:lnTo>
                  <a:pt x="278" y="310"/>
                </a:lnTo>
                <a:lnTo>
                  <a:pt x="278" y="313"/>
                </a:lnTo>
                <a:lnTo>
                  <a:pt x="276" y="315"/>
                </a:lnTo>
                <a:lnTo>
                  <a:pt x="272" y="317"/>
                </a:lnTo>
                <a:lnTo>
                  <a:pt x="270" y="317"/>
                </a:lnTo>
                <a:lnTo>
                  <a:pt x="268" y="316"/>
                </a:lnTo>
                <a:lnTo>
                  <a:pt x="266" y="316"/>
                </a:lnTo>
                <a:lnTo>
                  <a:pt x="266" y="315"/>
                </a:lnTo>
                <a:lnTo>
                  <a:pt x="266" y="315"/>
                </a:lnTo>
                <a:lnTo>
                  <a:pt x="268" y="314"/>
                </a:lnTo>
                <a:lnTo>
                  <a:pt x="269" y="311"/>
                </a:lnTo>
                <a:lnTo>
                  <a:pt x="264" y="311"/>
                </a:lnTo>
                <a:lnTo>
                  <a:pt x="260" y="311"/>
                </a:lnTo>
                <a:lnTo>
                  <a:pt x="256" y="308"/>
                </a:lnTo>
                <a:lnTo>
                  <a:pt x="255" y="305"/>
                </a:lnTo>
                <a:lnTo>
                  <a:pt x="250" y="304"/>
                </a:lnTo>
                <a:lnTo>
                  <a:pt x="247" y="304"/>
                </a:lnTo>
                <a:lnTo>
                  <a:pt x="245" y="302"/>
                </a:lnTo>
                <a:lnTo>
                  <a:pt x="244" y="301"/>
                </a:lnTo>
                <a:lnTo>
                  <a:pt x="243" y="300"/>
                </a:lnTo>
                <a:lnTo>
                  <a:pt x="241" y="297"/>
                </a:lnTo>
                <a:lnTo>
                  <a:pt x="240" y="299"/>
                </a:lnTo>
                <a:lnTo>
                  <a:pt x="241" y="297"/>
                </a:lnTo>
                <a:close/>
                <a:moveTo>
                  <a:pt x="261" y="319"/>
                </a:moveTo>
                <a:lnTo>
                  <a:pt x="264" y="318"/>
                </a:lnTo>
                <a:lnTo>
                  <a:pt x="266" y="319"/>
                </a:lnTo>
                <a:lnTo>
                  <a:pt x="269" y="321"/>
                </a:lnTo>
                <a:lnTo>
                  <a:pt x="271" y="323"/>
                </a:lnTo>
                <a:lnTo>
                  <a:pt x="268" y="324"/>
                </a:lnTo>
                <a:lnTo>
                  <a:pt x="263" y="324"/>
                </a:lnTo>
                <a:lnTo>
                  <a:pt x="261" y="322"/>
                </a:lnTo>
                <a:lnTo>
                  <a:pt x="261" y="319"/>
                </a:lnTo>
                <a:lnTo>
                  <a:pt x="262" y="319"/>
                </a:lnTo>
                <a:lnTo>
                  <a:pt x="261" y="319"/>
                </a:lnTo>
                <a:close/>
                <a:moveTo>
                  <a:pt x="253" y="316"/>
                </a:moveTo>
                <a:lnTo>
                  <a:pt x="250" y="315"/>
                </a:lnTo>
                <a:lnTo>
                  <a:pt x="250" y="315"/>
                </a:lnTo>
                <a:lnTo>
                  <a:pt x="250" y="314"/>
                </a:lnTo>
                <a:lnTo>
                  <a:pt x="252" y="313"/>
                </a:lnTo>
                <a:lnTo>
                  <a:pt x="254" y="311"/>
                </a:lnTo>
                <a:lnTo>
                  <a:pt x="256" y="313"/>
                </a:lnTo>
                <a:lnTo>
                  <a:pt x="260" y="314"/>
                </a:lnTo>
                <a:lnTo>
                  <a:pt x="261" y="316"/>
                </a:lnTo>
                <a:lnTo>
                  <a:pt x="256" y="316"/>
                </a:lnTo>
                <a:lnTo>
                  <a:pt x="253" y="316"/>
                </a:lnTo>
                <a:lnTo>
                  <a:pt x="253" y="316"/>
                </a:lnTo>
                <a:lnTo>
                  <a:pt x="253" y="316"/>
                </a:lnTo>
                <a:close/>
                <a:moveTo>
                  <a:pt x="280" y="346"/>
                </a:moveTo>
                <a:lnTo>
                  <a:pt x="279" y="346"/>
                </a:lnTo>
                <a:lnTo>
                  <a:pt x="278" y="344"/>
                </a:lnTo>
                <a:lnTo>
                  <a:pt x="280" y="344"/>
                </a:lnTo>
                <a:lnTo>
                  <a:pt x="281" y="344"/>
                </a:lnTo>
                <a:lnTo>
                  <a:pt x="281" y="346"/>
                </a:lnTo>
                <a:lnTo>
                  <a:pt x="280" y="346"/>
                </a:lnTo>
                <a:lnTo>
                  <a:pt x="280" y="346"/>
                </a:lnTo>
                <a:lnTo>
                  <a:pt x="280" y="346"/>
                </a:lnTo>
                <a:close/>
                <a:moveTo>
                  <a:pt x="243" y="330"/>
                </a:moveTo>
                <a:lnTo>
                  <a:pt x="249" y="329"/>
                </a:lnTo>
                <a:lnTo>
                  <a:pt x="256" y="327"/>
                </a:lnTo>
                <a:lnTo>
                  <a:pt x="262" y="327"/>
                </a:lnTo>
                <a:lnTo>
                  <a:pt x="269" y="331"/>
                </a:lnTo>
                <a:lnTo>
                  <a:pt x="272" y="333"/>
                </a:lnTo>
                <a:lnTo>
                  <a:pt x="278" y="334"/>
                </a:lnTo>
                <a:lnTo>
                  <a:pt x="281" y="335"/>
                </a:lnTo>
                <a:lnTo>
                  <a:pt x="286" y="337"/>
                </a:lnTo>
                <a:lnTo>
                  <a:pt x="288" y="337"/>
                </a:lnTo>
                <a:lnTo>
                  <a:pt x="290" y="338"/>
                </a:lnTo>
                <a:lnTo>
                  <a:pt x="291" y="338"/>
                </a:lnTo>
                <a:lnTo>
                  <a:pt x="291" y="339"/>
                </a:lnTo>
                <a:lnTo>
                  <a:pt x="291" y="340"/>
                </a:lnTo>
                <a:lnTo>
                  <a:pt x="290" y="340"/>
                </a:lnTo>
                <a:lnTo>
                  <a:pt x="284" y="340"/>
                </a:lnTo>
                <a:lnTo>
                  <a:pt x="277" y="339"/>
                </a:lnTo>
                <a:lnTo>
                  <a:pt x="260" y="334"/>
                </a:lnTo>
                <a:lnTo>
                  <a:pt x="243" y="330"/>
                </a:lnTo>
                <a:lnTo>
                  <a:pt x="252" y="331"/>
                </a:lnTo>
                <a:lnTo>
                  <a:pt x="243" y="330"/>
                </a:lnTo>
                <a:close/>
                <a:moveTo>
                  <a:pt x="302" y="351"/>
                </a:moveTo>
                <a:lnTo>
                  <a:pt x="299" y="348"/>
                </a:lnTo>
                <a:lnTo>
                  <a:pt x="297" y="347"/>
                </a:lnTo>
                <a:lnTo>
                  <a:pt x="294" y="347"/>
                </a:lnTo>
                <a:lnTo>
                  <a:pt x="290" y="346"/>
                </a:lnTo>
                <a:lnTo>
                  <a:pt x="288" y="346"/>
                </a:lnTo>
                <a:lnTo>
                  <a:pt x="285" y="344"/>
                </a:lnTo>
                <a:lnTo>
                  <a:pt x="284" y="344"/>
                </a:lnTo>
                <a:lnTo>
                  <a:pt x="284" y="343"/>
                </a:lnTo>
                <a:lnTo>
                  <a:pt x="284" y="342"/>
                </a:lnTo>
                <a:lnTo>
                  <a:pt x="286" y="342"/>
                </a:lnTo>
                <a:lnTo>
                  <a:pt x="288" y="342"/>
                </a:lnTo>
                <a:lnTo>
                  <a:pt x="291" y="342"/>
                </a:lnTo>
                <a:lnTo>
                  <a:pt x="295" y="341"/>
                </a:lnTo>
                <a:lnTo>
                  <a:pt x="299" y="341"/>
                </a:lnTo>
                <a:lnTo>
                  <a:pt x="303" y="342"/>
                </a:lnTo>
                <a:lnTo>
                  <a:pt x="305" y="346"/>
                </a:lnTo>
                <a:lnTo>
                  <a:pt x="304" y="348"/>
                </a:lnTo>
                <a:lnTo>
                  <a:pt x="304" y="351"/>
                </a:lnTo>
                <a:lnTo>
                  <a:pt x="303" y="351"/>
                </a:lnTo>
                <a:lnTo>
                  <a:pt x="302" y="351"/>
                </a:lnTo>
                <a:lnTo>
                  <a:pt x="301" y="349"/>
                </a:lnTo>
                <a:lnTo>
                  <a:pt x="302" y="351"/>
                </a:lnTo>
                <a:close/>
                <a:moveTo>
                  <a:pt x="315" y="384"/>
                </a:moveTo>
                <a:lnTo>
                  <a:pt x="314" y="384"/>
                </a:lnTo>
                <a:lnTo>
                  <a:pt x="315" y="382"/>
                </a:lnTo>
                <a:lnTo>
                  <a:pt x="317" y="381"/>
                </a:lnTo>
                <a:lnTo>
                  <a:pt x="319" y="382"/>
                </a:lnTo>
                <a:lnTo>
                  <a:pt x="324" y="384"/>
                </a:lnTo>
                <a:lnTo>
                  <a:pt x="329" y="388"/>
                </a:lnTo>
                <a:lnTo>
                  <a:pt x="326" y="388"/>
                </a:lnTo>
                <a:lnTo>
                  <a:pt x="322" y="388"/>
                </a:lnTo>
                <a:lnTo>
                  <a:pt x="319" y="387"/>
                </a:lnTo>
                <a:lnTo>
                  <a:pt x="315" y="384"/>
                </a:lnTo>
                <a:lnTo>
                  <a:pt x="317" y="385"/>
                </a:lnTo>
                <a:lnTo>
                  <a:pt x="315" y="384"/>
                </a:lnTo>
                <a:close/>
                <a:moveTo>
                  <a:pt x="342" y="364"/>
                </a:moveTo>
                <a:lnTo>
                  <a:pt x="339" y="365"/>
                </a:lnTo>
                <a:lnTo>
                  <a:pt x="337" y="365"/>
                </a:lnTo>
                <a:lnTo>
                  <a:pt x="335" y="364"/>
                </a:lnTo>
                <a:lnTo>
                  <a:pt x="332" y="363"/>
                </a:lnTo>
                <a:lnTo>
                  <a:pt x="328" y="362"/>
                </a:lnTo>
                <a:lnTo>
                  <a:pt x="323" y="360"/>
                </a:lnTo>
                <a:lnTo>
                  <a:pt x="321" y="358"/>
                </a:lnTo>
                <a:lnTo>
                  <a:pt x="320" y="355"/>
                </a:lnTo>
                <a:lnTo>
                  <a:pt x="313" y="355"/>
                </a:lnTo>
                <a:lnTo>
                  <a:pt x="306" y="356"/>
                </a:lnTo>
                <a:lnTo>
                  <a:pt x="305" y="356"/>
                </a:lnTo>
                <a:lnTo>
                  <a:pt x="303" y="355"/>
                </a:lnTo>
                <a:lnTo>
                  <a:pt x="303" y="354"/>
                </a:lnTo>
                <a:lnTo>
                  <a:pt x="304" y="351"/>
                </a:lnTo>
                <a:lnTo>
                  <a:pt x="306" y="350"/>
                </a:lnTo>
                <a:lnTo>
                  <a:pt x="311" y="350"/>
                </a:lnTo>
                <a:lnTo>
                  <a:pt x="315" y="351"/>
                </a:lnTo>
                <a:lnTo>
                  <a:pt x="319" y="352"/>
                </a:lnTo>
                <a:lnTo>
                  <a:pt x="326" y="355"/>
                </a:lnTo>
                <a:lnTo>
                  <a:pt x="331" y="358"/>
                </a:lnTo>
                <a:lnTo>
                  <a:pt x="338" y="360"/>
                </a:lnTo>
                <a:lnTo>
                  <a:pt x="342" y="364"/>
                </a:lnTo>
                <a:lnTo>
                  <a:pt x="342" y="364"/>
                </a:lnTo>
                <a:lnTo>
                  <a:pt x="342" y="364"/>
                </a:lnTo>
                <a:close/>
                <a:moveTo>
                  <a:pt x="351" y="350"/>
                </a:moveTo>
                <a:lnTo>
                  <a:pt x="354" y="350"/>
                </a:lnTo>
                <a:lnTo>
                  <a:pt x="357" y="351"/>
                </a:lnTo>
                <a:lnTo>
                  <a:pt x="359" y="351"/>
                </a:lnTo>
                <a:lnTo>
                  <a:pt x="359" y="350"/>
                </a:lnTo>
                <a:lnTo>
                  <a:pt x="360" y="348"/>
                </a:lnTo>
                <a:lnTo>
                  <a:pt x="360" y="344"/>
                </a:lnTo>
                <a:lnTo>
                  <a:pt x="363" y="349"/>
                </a:lnTo>
                <a:lnTo>
                  <a:pt x="368" y="352"/>
                </a:lnTo>
                <a:lnTo>
                  <a:pt x="363" y="354"/>
                </a:lnTo>
                <a:lnTo>
                  <a:pt x="359" y="354"/>
                </a:lnTo>
                <a:lnTo>
                  <a:pt x="356" y="354"/>
                </a:lnTo>
                <a:lnTo>
                  <a:pt x="354" y="354"/>
                </a:lnTo>
                <a:lnTo>
                  <a:pt x="352" y="352"/>
                </a:lnTo>
                <a:lnTo>
                  <a:pt x="351" y="350"/>
                </a:lnTo>
                <a:lnTo>
                  <a:pt x="353" y="351"/>
                </a:lnTo>
                <a:lnTo>
                  <a:pt x="351" y="350"/>
                </a:lnTo>
                <a:close/>
                <a:moveTo>
                  <a:pt x="371" y="381"/>
                </a:moveTo>
                <a:lnTo>
                  <a:pt x="371" y="377"/>
                </a:lnTo>
                <a:lnTo>
                  <a:pt x="372" y="375"/>
                </a:lnTo>
                <a:lnTo>
                  <a:pt x="377" y="376"/>
                </a:lnTo>
                <a:lnTo>
                  <a:pt x="380" y="379"/>
                </a:lnTo>
                <a:lnTo>
                  <a:pt x="376" y="380"/>
                </a:lnTo>
                <a:lnTo>
                  <a:pt x="371" y="381"/>
                </a:lnTo>
                <a:lnTo>
                  <a:pt x="372" y="379"/>
                </a:lnTo>
                <a:lnTo>
                  <a:pt x="371" y="381"/>
                </a:lnTo>
                <a:close/>
                <a:moveTo>
                  <a:pt x="389" y="364"/>
                </a:moveTo>
                <a:lnTo>
                  <a:pt x="383" y="364"/>
                </a:lnTo>
                <a:lnTo>
                  <a:pt x="375" y="363"/>
                </a:lnTo>
                <a:lnTo>
                  <a:pt x="378" y="360"/>
                </a:lnTo>
                <a:lnTo>
                  <a:pt x="384" y="359"/>
                </a:lnTo>
                <a:lnTo>
                  <a:pt x="386" y="359"/>
                </a:lnTo>
                <a:lnTo>
                  <a:pt x="388" y="360"/>
                </a:lnTo>
                <a:lnTo>
                  <a:pt x="389" y="362"/>
                </a:lnTo>
                <a:lnTo>
                  <a:pt x="389" y="364"/>
                </a:lnTo>
                <a:lnTo>
                  <a:pt x="389" y="364"/>
                </a:lnTo>
                <a:lnTo>
                  <a:pt x="389" y="364"/>
                </a:lnTo>
                <a:close/>
                <a:moveTo>
                  <a:pt x="401" y="372"/>
                </a:moveTo>
                <a:lnTo>
                  <a:pt x="400" y="369"/>
                </a:lnTo>
                <a:lnTo>
                  <a:pt x="400" y="367"/>
                </a:lnTo>
                <a:lnTo>
                  <a:pt x="401" y="365"/>
                </a:lnTo>
                <a:lnTo>
                  <a:pt x="402" y="363"/>
                </a:lnTo>
                <a:lnTo>
                  <a:pt x="404" y="362"/>
                </a:lnTo>
                <a:lnTo>
                  <a:pt x="405" y="363"/>
                </a:lnTo>
                <a:lnTo>
                  <a:pt x="408" y="365"/>
                </a:lnTo>
                <a:lnTo>
                  <a:pt x="409" y="366"/>
                </a:lnTo>
                <a:lnTo>
                  <a:pt x="405" y="369"/>
                </a:lnTo>
                <a:lnTo>
                  <a:pt x="401" y="372"/>
                </a:lnTo>
                <a:lnTo>
                  <a:pt x="402" y="372"/>
                </a:lnTo>
                <a:lnTo>
                  <a:pt x="401" y="372"/>
                </a:lnTo>
                <a:close/>
                <a:moveTo>
                  <a:pt x="417" y="363"/>
                </a:moveTo>
                <a:lnTo>
                  <a:pt x="413" y="360"/>
                </a:lnTo>
                <a:lnTo>
                  <a:pt x="411" y="358"/>
                </a:lnTo>
                <a:lnTo>
                  <a:pt x="408" y="358"/>
                </a:lnTo>
                <a:lnTo>
                  <a:pt x="404" y="358"/>
                </a:lnTo>
                <a:lnTo>
                  <a:pt x="401" y="358"/>
                </a:lnTo>
                <a:lnTo>
                  <a:pt x="401" y="358"/>
                </a:lnTo>
                <a:lnTo>
                  <a:pt x="401" y="357"/>
                </a:lnTo>
                <a:lnTo>
                  <a:pt x="400" y="355"/>
                </a:lnTo>
                <a:lnTo>
                  <a:pt x="393" y="352"/>
                </a:lnTo>
                <a:lnTo>
                  <a:pt x="386" y="351"/>
                </a:lnTo>
                <a:lnTo>
                  <a:pt x="383" y="349"/>
                </a:lnTo>
                <a:lnTo>
                  <a:pt x="378" y="348"/>
                </a:lnTo>
                <a:lnTo>
                  <a:pt x="375" y="347"/>
                </a:lnTo>
                <a:lnTo>
                  <a:pt x="371" y="346"/>
                </a:lnTo>
                <a:lnTo>
                  <a:pt x="368" y="344"/>
                </a:lnTo>
                <a:lnTo>
                  <a:pt x="365" y="341"/>
                </a:lnTo>
                <a:lnTo>
                  <a:pt x="363" y="340"/>
                </a:lnTo>
                <a:lnTo>
                  <a:pt x="361" y="340"/>
                </a:lnTo>
                <a:lnTo>
                  <a:pt x="357" y="340"/>
                </a:lnTo>
                <a:lnTo>
                  <a:pt x="355" y="341"/>
                </a:lnTo>
                <a:lnTo>
                  <a:pt x="357" y="342"/>
                </a:lnTo>
                <a:lnTo>
                  <a:pt x="360" y="344"/>
                </a:lnTo>
                <a:lnTo>
                  <a:pt x="353" y="344"/>
                </a:lnTo>
                <a:lnTo>
                  <a:pt x="346" y="344"/>
                </a:lnTo>
                <a:lnTo>
                  <a:pt x="344" y="343"/>
                </a:lnTo>
                <a:lnTo>
                  <a:pt x="342" y="343"/>
                </a:lnTo>
                <a:lnTo>
                  <a:pt x="340" y="344"/>
                </a:lnTo>
                <a:lnTo>
                  <a:pt x="340" y="348"/>
                </a:lnTo>
                <a:lnTo>
                  <a:pt x="342" y="350"/>
                </a:lnTo>
                <a:lnTo>
                  <a:pt x="342" y="352"/>
                </a:lnTo>
                <a:lnTo>
                  <a:pt x="335" y="351"/>
                </a:lnTo>
                <a:lnTo>
                  <a:pt x="329" y="349"/>
                </a:lnTo>
                <a:lnTo>
                  <a:pt x="331" y="348"/>
                </a:lnTo>
                <a:lnTo>
                  <a:pt x="335" y="347"/>
                </a:lnTo>
                <a:lnTo>
                  <a:pt x="338" y="346"/>
                </a:lnTo>
                <a:lnTo>
                  <a:pt x="339" y="342"/>
                </a:lnTo>
                <a:lnTo>
                  <a:pt x="330" y="342"/>
                </a:lnTo>
                <a:lnTo>
                  <a:pt x="321" y="342"/>
                </a:lnTo>
                <a:lnTo>
                  <a:pt x="318" y="342"/>
                </a:lnTo>
                <a:lnTo>
                  <a:pt x="313" y="342"/>
                </a:lnTo>
                <a:lnTo>
                  <a:pt x="312" y="340"/>
                </a:lnTo>
                <a:lnTo>
                  <a:pt x="313" y="340"/>
                </a:lnTo>
                <a:lnTo>
                  <a:pt x="314" y="339"/>
                </a:lnTo>
                <a:lnTo>
                  <a:pt x="314" y="339"/>
                </a:lnTo>
                <a:lnTo>
                  <a:pt x="315" y="338"/>
                </a:lnTo>
                <a:lnTo>
                  <a:pt x="314" y="337"/>
                </a:lnTo>
                <a:lnTo>
                  <a:pt x="312" y="335"/>
                </a:lnTo>
                <a:lnTo>
                  <a:pt x="309" y="334"/>
                </a:lnTo>
                <a:lnTo>
                  <a:pt x="306" y="334"/>
                </a:lnTo>
                <a:lnTo>
                  <a:pt x="303" y="335"/>
                </a:lnTo>
                <a:lnTo>
                  <a:pt x="299" y="334"/>
                </a:lnTo>
                <a:lnTo>
                  <a:pt x="299" y="332"/>
                </a:lnTo>
                <a:lnTo>
                  <a:pt x="297" y="333"/>
                </a:lnTo>
                <a:lnTo>
                  <a:pt x="295" y="332"/>
                </a:lnTo>
                <a:lnTo>
                  <a:pt x="295" y="331"/>
                </a:lnTo>
                <a:lnTo>
                  <a:pt x="294" y="331"/>
                </a:lnTo>
                <a:lnTo>
                  <a:pt x="293" y="332"/>
                </a:lnTo>
                <a:lnTo>
                  <a:pt x="293" y="333"/>
                </a:lnTo>
                <a:lnTo>
                  <a:pt x="288" y="332"/>
                </a:lnTo>
                <a:lnTo>
                  <a:pt x="284" y="331"/>
                </a:lnTo>
                <a:lnTo>
                  <a:pt x="287" y="330"/>
                </a:lnTo>
                <a:lnTo>
                  <a:pt x="288" y="326"/>
                </a:lnTo>
                <a:lnTo>
                  <a:pt x="288" y="325"/>
                </a:lnTo>
                <a:lnTo>
                  <a:pt x="287" y="323"/>
                </a:lnTo>
                <a:lnTo>
                  <a:pt x="288" y="321"/>
                </a:lnTo>
                <a:lnTo>
                  <a:pt x="289" y="321"/>
                </a:lnTo>
                <a:lnTo>
                  <a:pt x="295" y="323"/>
                </a:lnTo>
                <a:lnTo>
                  <a:pt x="301" y="324"/>
                </a:lnTo>
                <a:lnTo>
                  <a:pt x="297" y="325"/>
                </a:lnTo>
                <a:lnTo>
                  <a:pt x="293" y="326"/>
                </a:lnTo>
                <a:lnTo>
                  <a:pt x="296" y="329"/>
                </a:lnTo>
                <a:lnTo>
                  <a:pt x="301" y="329"/>
                </a:lnTo>
                <a:lnTo>
                  <a:pt x="306" y="329"/>
                </a:lnTo>
                <a:lnTo>
                  <a:pt x="310" y="329"/>
                </a:lnTo>
                <a:lnTo>
                  <a:pt x="307" y="327"/>
                </a:lnTo>
                <a:lnTo>
                  <a:pt x="306" y="326"/>
                </a:lnTo>
                <a:lnTo>
                  <a:pt x="304" y="324"/>
                </a:lnTo>
                <a:lnTo>
                  <a:pt x="303" y="323"/>
                </a:lnTo>
                <a:lnTo>
                  <a:pt x="304" y="321"/>
                </a:lnTo>
                <a:lnTo>
                  <a:pt x="306" y="319"/>
                </a:lnTo>
                <a:lnTo>
                  <a:pt x="307" y="319"/>
                </a:lnTo>
                <a:lnTo>
                  <a:pt x="310" y="319"/>
                </a:lnTo>
                <a:lnTo>
                  <a:pt x="309" y="317"/>
                </a:lnTo>
                <a:lnTo>
                  <a:pt x="307" y="315"/>
                </a:lnTo>
                <a:lnTo>
                  <a:pt x="318" y="316"/>
                </a:lnTo>
                <a:lnTo>
                  <a:pt x="328" y="318"/>
                </a:lnTo>
                <a:lnTo>
                  <a:pt x="337" y="322"/>
                </a:lnTo>
                <a:lnTo>
                  <a:pt x="346" y="326"/>
                </a:lnTo>
                <a:lnTo>
                  <a:pt x="351" y="330"/>
                </a:lnTo>
                <a:lnTo>
                  <a:pt x="355" y="332"/>
                </a:lnTo>
                <a:lnTo>
                  <a:pt x="357" y="333"/>
                </a:lnTo>
                <a:lnTo>
                  <a:pt x="360" y="334"/>
                </a:lnTo>
                <a:lnTo>
                  <a:pt x="360" y="335"/>
                </a:lnTo>
                <a:lnTo>
                  <a:pt x="360" y="338"/>
                </a:lnTo>
                <a:lnTo>
                  <a:pt x="362" y="339"/>
                </a:lnTo>
                <a:lnTo>
                  <a:pt x="365" y="339"/>
                </a:lnTo>
                <a:lnTo>
                  <a:pt x="368" y="338"/>
                </a:lnTo>
                <a:lnTo>
                  <a:pt x="370" y="338"/>
                </a:lnTo>
                <a:lnTo>
                  <a:pt x="372" y="340"/>
                </a:lnTo>
                <a:lnTo>
                  <a:pt x="376" y="342"/>
                </a:lnTo>
                <a:lnTo>
                  <a:pt x="380" y="343"/>
                </a:lnTo>
                <a:lnTo>
                  <a:pt x="384" y="344"/>
                </a:lnTo>
                <a:lnTo>
                  <a:pt x="394" y="347"/>
                </a:lnTo>
                <a:lnTo>
                  <a:pt x="403" y="351"/>
                </a:lnTo>
                <a:lnTo>
                  <a:pt x="410" y="355"/>
                </a:lnTo>
                <a:lnTo>
                  <a:pt x="418" y="358"/>
                </a:lnTo>
                <a:lnTo>
                  <a:pt x="421" y="359"/>
                </a:lnTo>
                <a:lnTo>
                  <a:pt x="426" y="360"/>
                </a:lnTo>
                <a:lnTo>
                  <a:pt x="428" y="363"/>
                </a:lnTo>
                <a:lnTo>
                  <a:pt x="430" y="366"/>
                </a:lnTo>
                <a:lnTo>
                  <a:pt x="427" y="367"/>
                </a:lnTo>
                <a:lnTo>
                  <a:pt x="423" y="366"/>
                </a:lnTo>
                <a:lnTo>
                  <a:pt x="420" y="365"/>
                </a:lnTo>
                <a:lnTo>
                  <a:pt x="417" y="363"/>
                </a:lnTo>
                <a:lnTo>
                  <a:pt x="417" y="363"/>
                </a:lnTo>
                <a:lnTo>
                  <a:pt x="417" y="363"/>
                </a:lnTo>
                <a:close/>
                <a:moveTo>
                  <a:pt x="802" y="623"/>
                </a:moveTo>
                <a:lnTo>
                  <a:pt x="804" y="623"/>
                </a:lnTo>
                <a:lnTo>
                  <a:pt x="804" y="624"/>
                </a:lnTo>
                <a:lnTo>
                  <a:pt x="802" y="624"/>
                </a:lnTo>
                <a:lnTo>
                  <a:pt x="801" y="624"/>
                </a:lnTo>
                <a:lnTo>
                  <a:pt x="801" y="623"/>
                </a:lnTo>
                <a:lnTo>
                  <a:pt x="802" y="623"/>
                </a:lnTo>
                <a:close/>
                <a:moveTo>
                  <a:pt x="933" y="626"/>
                </a:moveTo>
                <a:lnTo>
                  <a:pt x="933" y="629"/>
                </a:lnTo>
                <a:lnTo>
                  <a:pt x="931" y="631"/>
                </a:lnTo>
                <a:lnTo>
                  <a:pt x="930" y="628"/>
                </a:lnTo>
                <a:lnTo>
                  <a:pt x="930" y="623"/>
                </a:lnTo>
                <a:lnTo>
                  <a:pt x="930" y="622"/>
                </a:lnTo>
                <a:lnTo>
                  <a:pt x="931" y="620"/>
                </a:lnTo>
                <a:lnTo>
                  <a:pt x="931" y="620"/>
                </a:lnTo>
                <a:lnTo>
                  <a:pt x="933" y="620"/>
                </a:lnTo>
                <a:lnTo>
                  <a:pt x="936" y="621"/>
                </a:lnTo>
                <a:lnTo>
                  <a:pt x="936" y="622"/>
                </a:lnTo>
                <a:lnTo>
                  <a:pt x="935" y="624"/>
                </a:lnTo>
                <a:lnTo>
                  <a:pt x="933" y="626"/>
                </a:lnTo>
                <a:lnTo>
                  <a:pt x="935" y="624"/>
                </a:lnTo>
                <a:lnTo>
                  <a:pt x="933" y="626"/>
                </a:lnTo>
                <a:close/>
                <a:moveTo>
                  <a:pt x="1176" y="616"/>
                </a:moveTo>
                <a:lnTo>
                  <a:pt x="1178" y="614"/>
                </a:lnTo>
                <a:lnTo>
                  <a:pt x="1180" y="612"/>
                </a:lnTo>
                <a:lnTo>
                  <a:pt x="1181" y="612"/>
                </a:lnTo>
                <a:lnTo>
                  <a:pt x="1183" y="612"/>
                </a:lnTo>
                <a:lnTo>
                  <a:pt x="1183" y="612"/>
                </a:lnTo>
                <a:lnTo>
                  <a:pt x="1184" y="613"/>
                </a:lnTo>
                <a:lnTo>
                  <a:pt x="1183" y="615"/>
                </a:lnTo>
                <a:lnTo>
                  <a:pt x="1179" y="616"/>
                </a:lnTo>
                <a:lnTo>
                  <a:pt x="1177" y="617"/>
                </a:lnTo>
                <a:lnTo>
                  <a:pt x="1176" y="616"/>
                </a:lnTo>
                <a:lnTo>
                  <a:pt x="1177" y="615"/>
                </a:lnTo>
                <a:lnTo>
                  <a:pt x="1176" y="616"/>
                </a:lnTo>
                <a:close/>
                <a:moveTo>
                  <a:pt x="1184" y="626"/>
                </a:moveTo>
                <a:lnTo>
                  <a:pt x="1180" y="626"/>
                </a:lnTo>
                <a:lnTo>
                  <a:pt x="1178" y="626"/>
                </a:lnTo>
                <a:lnTo>
                  <a:pt x="1179" y="622"/>
                </a:lnTo>
                <a:lnTo>
                  <a:pt x="1181" y="620"/>
                </a:lnTo>
                <a:lnTo>
                  <a:pt x="1185" y="618"/>
                </a:lnTo>
                <a:lnTo>
                  <a:pt x="1189" y="620"/>
                </a:lnTo>
                <a:lnTo>
                  <a:pt x="1186" y="623"/>
                </a:lnTo>
                <a:lnTo>
                  <a:pt x="1184" y="626"/>
                </a:lnTo>
                <a:lnTo>
                  <a:pt x="1183" y="625"/>
                </a:lnTo>
                <a:lnTo>
                  <a:pt x="1184" y="626"/>
                </a:lnTo>
                <a:close/>
                <a:moveTo>
                  <a:pt x="1204" y="192"/>
                </a:moveTo>
                <a:lnTo>
                  <a:pt x="1189" y="197"/>
                </a:lnTo>
                <a:lnTo>
                  <a:pt x="1174" y="200"/>
                </a:lnTo>
                <a:lnTo>
                  <a:pt x="1180" y="196"/>
                </a:lnTo>
                <a:lnTo>
                  <a:pt x="1188" y="193"/>
                </a:lnTo>
                <a:lnTo>
                  <a:pt x="1196" y="192"/>
                </a:lnTo>
                <a:lnTo>
                  <a:pt x="1204" y="192"/>
                </a:lnTo>
                <a:close/>
                <a:moveTo>
                  <a:pt x="1169" y="183"/>
                </a:moveTo>
                <a:lnTo>
                  <a:pt x="1170" y="183"/>
                </a:lnTo>
                <a:lnTo>
                  <a:pt x="1172" y="183"/>
                </a:lnTo>
                <a:lnTo>
                  <a:pt x="1174" y="184"/>
                </a:lnTo>
                <a:lnTo>
                  <a:pt x="1174" y="185"/>
                </a:lnTo>
                <a:lnTo>
                  <a:pt x="1171" y="188"/>
                </a:lnTo>
                <a:lnTo>
                  <a:pt x="1167" y="189"/>
                </a:lnTo>
                <a:lnTo>
                  <a:pt x="1166" y="190"/>
                </a:lnTo>
                <a:lnTo>
                  <a:pt x="1163" y="191"/>
                </a:lnTo>
                <a:lnTo>
                  <a:pt x="1162" y="190"/>
                </a:lnTo>
                <a:lnTo>
                  <a:pt x="1162" y="189"/>
                </a:lnTo>
                <a:lnTo>
                  <a:pt x="1164" y="185"/>
                </a:lnTo>
                <a:lnTo>
                  <a:pt x="1169" y="183"/>
                </a:lnTo>
                <a:lnTo>
                  <a:pt x="1169" y="183"/>
                </a:lnTo>
                <a:lnTo>
                  <a:pt x="1169" y="183"/>
                </a:lnTo>
                <a:close/>
                <a:moveTo>
                  <a:pt x="1145" y="190"/>
                </a:moveTo>
                <a:lnTo>
                  <a:pt x="1146" y="190"/>
                </a:lnTo>
                <a:lnTo>
                  <a:pt x="1148" y="188"/>
                </a:lnTo>
                <a:lnTo>
                  <a:pt x="1151" y="188"/>
                </a:lnTo>
                <a:lnTo>
                  <a:pt x="1152" y="188"/>
                </a:lnTo>
                <a:lnTo>
                  <a:pt x="1152" y="188"/>
                </a:lnTo>
                <a:lnTo>
                  <a:pt x="1152" y="189"/>
                </a:lnTo>
                <a:lnTo>
                  <a:pt x="1151" y="191"/>
                </a:lnTo>
                <a:lnTo>
                  <a:pt x="1148" y="192"/>
                </a:lnTo>
                <a:lnTo>
                  <a:pt x="1145" y="192"/>
                </a:lnTo>
                <a:lnTo>
                  <a:pt x="1143" y="192"/>
                </a:lnTo>
                <a:lnTo>
                  <a:pt x="1144" y="191"/>
                </a:lnTo>
                <a:lnTo>
                  <a:pt x="1145" y="190"/>
                </a:lnTo>
                <a:lnTo>
                  <a:pt x="1145" y="190"/>
                </a:lnTo>
                <a:lnTo>
                  <a:pt x="1145" y="190"/>
                </a:lnTo>
                <a:close/>
                <a:moveTo>
                  <a:pt x="1122" y="199"/>
                </a:moveTo>
                <a:lnTo>
                  <a:pt x="1123" y="199"/>
                </a:lnTo>
                <a:lnTo>
                  <a:pt x="1125" y="201"/>
                </a:lnTo>
                <a:lnTo>
                  <a:pt x="1123" y="202"/>
                </a:lnTo>
                <a:lnTo>
                  <a:pt x="1121" y="203"/>
                </a:lnTo>
                <a:lnTo>
                  <a:pt x="1119" y="203"/>
                </a:lnTo>
                <a:lnTo>
                  <a:pt x="1119" y="202"/>
                </a:lnTo>
                <a:lnTo>
                  <a:pt x="1120" y="200"/>
                </a:lnTo>
                <a:lnTo>
                  <a:pt x="1122" y="199"/>
                </a:lnTo>
                <a:lnTo>
                  <a:pt x="1122" y="199"/>
                </a:lnTo>
                <a:lnTo>
                  <a:pt x="1122" y="199"/>
                </a:lnTo>
                <a:close/>
                <a:moveTo>
                  <a:pt x="1031" y="233"/>
                </a:moveTo>
                <a:lnTo>
                  <a:pt x="1047" y="232"/>
                </a:lnTo>
                <a:lnTo>
                  <a:pt x="1063" y="232"/>
                </a:lnTo>
                <a:lnTo>
                  <a:pt x="1060" y="234"/>
                </a:lnTo>
                <a:lnTo>
                  <a:pt x="1055" y="235"/>
                </a:lnTo>
                <a:lnTo>
                  <a:pt x="1052" y="236"/>
                </a:lnTo>
                <a:lnTo>
                  <a:pt x="1047" y="236"/>
                </a:lnTo>
                <a:lnTo>
                  <a:pt x="1039" y="235"/>
                </a:lnTo>
                <a:lnTo>
                  <a:pt x="1031" y="233"/>
                </a:lnTo>
                <a:close/>
                <a:moveTo>
                  <a:pt x="859" y="255"/>
                </a:moveTo>
                <a:lnTo>
                  <a:pt x="862" y="255"/>
                </a:lnTo>
                <a:lnTo>
                  <a:pt x="865" y="255"/>
                </a:lnTo>
                <a:lnTo>
                  <a:pt x="868" y="256"/>
                </a:lnTo>
                <a:lnTo>
                  <a:pt x="868" y="257"/>
                </a:lnTo>
                <a:lnTo>
                  <a:pt x="864" y="258"/>
                </a:lnTo>
                <a:lnTo>
                  <a:pt x="858" y="256"/>
                </a:lnTo>
                <a:lnTo>
                  <a:pt x="858" y="256"/>
                </a:lnTo>
                <a:lnTo>
                  <a:pt x="859" y="255"/>
                </a:lnTo>
                <a:lnTo>
                  <a:pt x="861" y="255"/>
                </a:lnTo>
                <a:lnTo>
                  <a:pt x="859" y="255"/>
                </a:lnTo>
                <a:close/>
                <a:moveTo>
                  <a:pt x="851" y="256"/>
                </a:moveTo>
                <a:lnTo>
                  <a:pt x="841" y="256"/>
                </a:lnTo>
                <a:lnTo>
                  <a:pt x="832" y="255"/>
                </a:lnTo>
                <a:lnTo>
                  <a:pt x="837" y="252"/>
                </a:lnTo>
                <a:lnTo>
                  <a:pt x="841" y="251"/>
                </a:lnTo>
                <a:lnTo>
                  <a:pt x="846" y="252"/>
                </a:lnTo>
                <a:lnTo>
                  <a:pt x="851" y="256"/>
                </a:lnTo>
                <a:close/>
                <a:moveTo>
                  <a:pt x="792" y="243"/>
                </a:moveTo>
                <a:lnTo>
                  <a:pt x="796" y="243"/>
                </a:lnTo>
                <a:lnTo>
                  <a:pt x="799" y="244"/>
                </a:lnTo>
                <a:lnTo>
                  <a:pt x="801" y="246"/>
                </a:lnTo>
                <a:lnTo>
                  <a:pt x="805" y="248"/>
                </a:lnTo>
                <a:lnTo>
                  <a:pt x="799" y="248"/>
                </a:lnTo>
                <a:lnTo>
                  <a:pt x="793" y="248"/>
                </a:lnTo>
                <a:lnTo>
                  <a:pt x="791" y="247"/>
                </a:lnTo>
                <a:lnTo>
                  <a:pt x="790" y="246"/>
                </a:lnTo>
                <a:lnTo>
                  <a:pt x="790" y="244"/>
                </a:lnTo>
                <a:lnTo>
                  <a:pt x="792" y="243"/>
                </a:lnTo>
                <a:lnTo>
                  <a:pt x="793" y="243"/>
                </a:lnTo>
                <a:lnTo>
                  <a:pt x="792" y="243"/>
                </a:lnTo>
                <a:close/>
                <a:moveTo>
                  <a:pt x="775" y="256"/>
                </a:moveTo>
                <a:lnTo>
                  <a:pt x="773" y="258"/>
                </a:lnTo>
                <a:lnTo>
                  <a:pt x="772" y="258"/>
                </a:lnTo>
                <a:lnTo>
                  <a:pt x="769" y="257"/>
                </a:lnTo>
                <a:lnTo>
                  <a:pt x="767" y="255"/>
                </a:lnTo>
                <a:lnTo>
                  <a:pt x="772" y="255"/>
                </a:lnTo>
                <a:lnTo>
                  <a:pt x="775" y="256"/>
                </a:lnTo>
                <a:close/>
                <a:moveTo>
                  <a:pt x="750" y="247"/>
                </a:moveTo>
                <a:lnTo>
                  <a:pt x="755" y="248"/>
                </a:lnTo>
                <a:lnTo>
                  <a:pt x="758" y="251"/>
                </a:lnTo>
                <a:lnTo>
                  <a:pt x="755" y="251"/>
                </a:lnTo>
                <a:lnTo>
                  <a:pt x="751" y="251"/>
                </a:lnTo>
                <a:lnTo>
                  <a:pt x="750" y="250"/>
                </a:lnTo>
                <a:lnTo>
                  <a:pt x="749" y="249"/>
                </a:lnTo>
                <a:lnTo>
                  <a:pt x="749" y="248"/>
                </a:lnTo>
                <a:lnTo>
                  <a:pt x="750" y="247"/>
                </a:lnTo>
                <a:lnTo>
                  <a:pt x="751" y="247"/>
                </a:lnTo>
                <a:lnTo>
                  <a:pt x="750" y="247"/>
                </a:lnTo>
                <a:close/>
                <a:moveTo>
                  <a:pt x="747" y="315"/>
                </a:moveTo>
                <a:lnTo>
                  <a:pt x="744" y="315"/>
                </a:lnTo>
                <a:lnTo>
                  <a:pt x="743" y="315"/>
                </a:lnTo>
                <a:lnTo>
                  <a:pt x="742" y="313"/>
                </a:lnTo>
                <a:lnTo>
                  <a:pt x="741" y="309"/>
                </a:lnTo>
                <a:lnTo>
                  <a:pt x="744" y="313"/>
                </a:lnTo>
                <a:lnTo>
                  <a:pt x="747" y="315"/>
                </a:lnTo>
                <a:close/>
                <a:moveTo>
                  <a:pt x="724" y="307"/>
                </a:moveTo>
                <a:lnTo>
                  <a:pt x="724" y="306"/>
                </a:lnTo>
                <a:lnTo>
                  <a:pt x="724" y="304"/>
                </a:lnTo>
                <a:lnTo>
                  <a:pt x="726" y="305"/>
                </a:lnTo>
                <a:lnTo>
                  <a:pt x="729" y="305"/>
                </a:lnTo>
                <a:lnTo>
                  <a:pt x="734" y="308"/>
                </a:lnTo>
                <a:lnTo>
                  <a:pt x="740" y="311"/>
                </a:lnTo>
                <a:lnTo>
                  <a:pt x="732" y="310"/>
                </a:lnTo>
                <a:lnTo>
                  <a:pt x="724" y="307"/>
                </a:lnTo>
                <a:lnTo>
                  <a:pt x="726" y="307"/>
                </a:lnTo>
                <a:lnTo>
                  <a:pt x="724" y="307"/>
                </a:lnTo>
                <a:close/>
                <a:moveTo>
                  <a:pt x="701" y="341"/>
                </a:moveTo>
                <a:lnTo>
                  <a:pt x="700" y="343"/>
                </a:lnTo>
                <a:lnTo>
                  <a:pt x="697" y="346"/>
                </a:lnTo>
                <a:lnTo>
                  <a:pt x="696" y="347"/>
                </a:lnTo>
                <a:lnTo>
                  <a:pt x="694" y="348"/>
                </a:lnTo>
                <a:lnTo>
                  <a:pt x="694" y="349"/>
                </a:lnTo>
                <a:lnTo>
                  <a:pt x="696" y="350"/>
                </a:lnTo>
                <a:lnTo>
                  <a:pt x="693" y="351"/>
                </a:lnTo>
                <a:lnTo>
                  <a:pt x="691" y="351"/>
                </a:lnTo>
                <a:lnTo>
                  <a:pt x="689" y="349"/>
                </a:lnTo>
                <a:lnTo>
                  <a:pt x="690" y="347"/>
                </a:lnTo>
                <a:lnTo>
                  <a:pt x="685" y="344"/>
                </a:lnTo>
                <a:lnTo>
                  <a:pt x="682" y="341"/>
                </a:lnTo>
                <a:lnTo>
                  <a:pt x="692" y="341"/>
                </a:lnTo>
                <a:lnTo>
                  <a:pt x="701" y="341"/>
                </a:lnTo>
                <a:lnTo>
                  <a:pt x="699" y="342"/>
                </a:lnTo>
                <a:lnTo>
                  <a:pt x="701" y="341"/>
                </a:lnTo>
                <a:close/>
                <a:moveTo>
                  <a:pt x="677" y="329"/>
                </a:moveTo>
                <a:lnTo>
                  <a:pt x="677" y="331"/>
                </a:lnTo>
                <a:lnTo>
                  <a:pt x="678" y="332"/>
                </a:lnTo>
                <a:lnTo>
                  <a:pt x="681" y="332"/>
                </a:lnTo>
                <a:lnTo>
                  <a:pt x="682" y="333"/>
                </a:lnTo>
                <a:lnTo>
                  <a:pt x="684" y="334"/>
                </a:lnTo>
                <a:lnTo>
                  <a:pt x="685" y="335"/>
                </a:lnTo>
                <a:lnTo>
                  <a:pt x="686" y="337"/>
                </a:lnTo>
                <a:lnTo>
                  <a:pt x="686" y="337"/>
                </a:lnTo>
                <a:lnTo>
                  <a:pt x="686" y="338"/>
                </a:lnTo>
                <a:lnTo>
                  <a:pt x="684" y="339"/>
                </a:lnTo>
                <a:lnTo>
                  <a:pt x="681" y="337"/>
                </a:lnTo>
                <a:lnTo>
                  <a:pt x="677" y="334"/>
                </a:lnTo>
                <a:lnTo>
                  <a:pt x="670" y="331"/>
                </a:lnTo>
                <a:lnTo>
                  <a:pt x="664" y="327"/>
                </a:lnTo>
                <a:lnTo>
                  <a:pt x="670" y="329"/>
                </a:lnTo>
                <a:lnTo>
                  <a:pt x="677" y="329"/>
                </a:lnTo>
                <a:lnTo>
                  <a:pt x="676" y="331"/>
                </a:lnTo>
                <a:lnTo>
                  <a:pt x="677" y="329"/>
                </a:lnTo>
                <a:close/>
                <a:moveTo>
                  <a:pt x="631" y="409"/>
                </a:moveTo>
                <a:lnTo>
                  <a:pt x="634" y="409"/>
                </a:lnTo>
                <a:lnTo>
                  <a:pt x="635" y="410"/>
                </a:lnTo>
                <a:lnTo>
                  <a:pt x="633" y="412"/>
                </a:lnTo>
                <a:lnTo>
                  <a:pt x="631" y="412"/>
                </a:lnTo>
                <a:lnTo>
                  <a:pt x="628" y="410"/>
                </a:lnTo>
                <a:lnTo>
                  <a:pt x="627" y="407"/>
                </a:lnTo>
                <a:lnTo>
                  <a:pt x="629" y="408"/>
                </a:lnTo>
                <a:lnTo>
                  <a:pt x="631" y="409"/>
                </a:lnTo>
                <a:lnTo>
                  <a:pt x="631" y="409"/>
                </a:lnTo>
                <a:lnTo>
                  <a:pt x="631" y="409"/>
                </a:lnTo>
                <a:close/>
                <a:moveTo>
                  <a:pt x="562" y="372"/>
                </a:moveTo>
                <a:lnTo>
                  <a:pt x="561" y="374"/>
                </a:lnTo>
                <a:lnTo>
                  <a:pt x="560" y="377"/>
                </a:lnTo>
                <a:lnTo>
                  <a:pt x="562" y="377"/>
                </a:lnTo>
                <a:lnTo>
                  <a:pt x="563" y="376"/>
                </a:lnTo>
                <a:lnTo>
                  <a:pt x="567" y="377"/>
                </a:lnTo>
                <a:lnTo>
                  <a:pt x="569" y="379"/>
                </a:lnTo>
                <a:lnTo>
                  <a:pt x="574" y="382"/>
                </a:lnTo>
                <a:lnTo>
                  <a:pt x="578" y="384"/>
                </a:lnTo>
                <a:lnTo>
                  <a:pt x="583" y="385"/>
                </a:lnTo>
                <a:lnTo>
                  <a:pt x="587" y="388"/>
                </a:lnTo>
                <a:lnTo>
                  <a:pt x="590" y="390"/>
                </a:lnTo>
                <a:lnTo>
                  <a:pt x="593" y="391"/>
                </a:lnTo>
                <a:lnTo>
                  <a:pt x="596" y="390"/>
                </a:lnTo>
                <a:lnTo>
                  <a:pt x="600" y="391"/>
                </a:lnTo>
                <a:lnTo>
                  <a:pt x="602" y="393"/>
                </a:lnTo>
                <a:lnTo>
                  <a:pt x="606" y="396"/>
                </a:lnTo>
                <a:lnTo>
                  <a:pt x="608" y="398"/>
                </a:lnTo>
                <a:lnTo>
                  <a:pt x="612" y="398"/>
                </a:lnTo>
                <a:lnTo>
                  <a:pt x="608" y="398"/>
                </a:lnTo>
                <a:lnTo>
                  <a:pt x="604" y="399"/>
                </a:lnTo>
                <a:lnTo>
                  <a:pt x="601" y="398"/>
                </a:lnTo>
                <a:lnTo>
                  <a:pt x="598" y="397"/>
                </a:lnTo>
                <a:lnTo>
                  <a:pt x="591" y="392"/>
                </a:lnTo>
                <a:lnTo>
                  <a:pt x="585" y="389"/>
                </a:lnTo>
                <a:lnTo>
                  <a:pt x="579" y="385"/>
                </a:lnTo>
                <a:lnTo>
                  <a:pt x="574" y="383"/>
                </a:lnTo>
                <a:lnTo>
                  <a:pt x="573" y="385"/>
                </a:lnTo>
                <a:lnTo>
                  <a:pt x="570" y="388"/>
                </a:lnTo>
                <a:lnTo>
                  <a:pt x="567" y="388"/>
                </a:lnTo>
                <a:lnTo>
                  <a:pt x="562" y="384"/>
                </a:lnTo>
                <a:lnTo>
                  <a:pt x="558" y="382"/>
                </a:lnTo>
                <a:lnTo>
                  <a:pt x="556" y="379"/>
                </a:lnTo>
                <a:lnTo>
                  <a:pt x="554" y="376"/>
                </a:lnTo>
                <a:lnTo>
                  <a:pt x="554" y="375"/>
                </a:lnTo>
                <a:lnTo>
                  <a:pt x="554" y="374"/>
                </a:lnTo>
                <a:lnTo>
                  <a:pt x="556" y="373"/>
                </a:lnTo>
                <a:lnTo>
                  <a:pt x="559" y="372"/>
                </a:lnTo>
                <a:lnTo>
                  <a:pt x="562" y="372"/>
                </a:lnTo>
                <a:lnTo>
                  <a:pt x="561" y="373"/>
                </a:lnTo>
                <a:lnTo>
                  <a:pt x="562" y="372"/>
                </a:lnTo>
                <a:close/>
                <a:moveTo>
                  <a:pt x="567" y="410"/>
                </a:moveTo>
                <a:lnTo>
                  <a:pt x="562" y="410"/>
                </a:lnTo>
                <a:lnTo>
                  <a:pt x="558" y="407"/>
                </a:lnTo>
                <a:lnTo>
                  <a:pt x="560" y="407"/>
                </a:lnTo>
                <a:lnTo>
                  <a:pt x="563" y="407"/>
                </a:lnTo>
                <a:lnTo>
                  <a:pt x="566" y="408"/>
                </a:lnTo>
                <a:lnTo>
                  <a:pt x="567" y="410"/>
                </a:lnTo>
                <a:close/>
                <a:moveTo>
                  <a:pt x="526" y="358"/>
                </a:moveTo>
                <a:lnTo>
                  <a:pt x="528" y="359"/>
                </a:lnTo>
                <a:lnTo>
                  <a:pt x="530" y="358"/>
                </a:lnTo>
                <a:lnTo>
                  <a:pt x="529" y="357"/>
                </a:lnTo>
                <a:lnTo>
                  <a:pt x="528" y="355"/>
                </a:lnTo>
                <a:lnTo>
                  <a:pt x="528" y="354"/>
                </a:lnTo>
                <a:lnTo>
                  <a:pt x="529" y="354"/>
                </a:lnTo>
                <a:lnTo>
                  <a:pt x="530" y="355"/>
                </a:lnTo>
                <a:lnTo>
                  <a:pt x="532" y="355"/>
                </a:lnTo>
                <a:lnTo>
                  <a:pt x="536" y="357"/>
                </a:lnTo>
                <a:lnTo>
                  <a:pt x="541" y="358"/>
                </a:lnTo>
                <a:lnTo>
                  <a:pt x="535" y="359"/>
                </a:lnTo>
                <a:lnTo>
                  <a:pt x="530" y="359"/>
                </a:lnTo>
                <a:lnTo>
                  <a:pt x="534" y="363"/>
                </a:lnTo>
                <a:lnTo>
                  <a:pt x="537" y="365"/>
                </a:lnTo>
                <a:lnTo>
                  <a:pt x="542" y="367"/>
                </a:lnTo>
                <a:lnTo>
                  <a:pt x="546" y="368"/>
                </a:lnTo>
                <a:lnTo>
                  <a:pt x="548" y="369"/>
                </a:lnTo>
                <a:lnTo>
                  <a:pt x="549" y="371"/>
                </a:lnTo>
                <a:lnTo>
                  <a:pt x="550" y="372"/>
                </a:lnTo>
                <a:lnTo>
                  <a:pt x="549" y="373"/>
                </a:lnTo>
                <a:lnTo>
                  <a:pt x="544" y="373"/>
                </a:lnTo>
                <a:lnTo>
                  <a:pt x="541" y="372"/>
                </a:lnTo>
                <a:lnTo>
                  <a:pt x="530" y="367"/>
                </a:lnTo>
                <a:lnTo>
                  <a:pt x="521" y="364"/>
                </a:lnTo>
                <a:lnTo>
                  <a:pt x="518" y="365"/>
                </a:lnTo>
                <a:lnTo>
                  <a:pt x="515" y="365"/>
                </a:lnTo>
                <a:lnTo>
                  <a:pt x="513" y="363"/>
                </a:lnTo>
                <a:lnTo>
                  <a:pt x="511" y="360"/>
                </a:lnTo>
                <a:lnTo>
                  <a:pt x="510" y="358"/>
                </a:lnTo>
                <a:lnTo>
                  <a:pt x="510" y="356"/>
                </a:lnTo>
                <a:lnTo>
                  <a:pt x="512" y="358"/>
                </a:lnTo>
                <a:lnTo>
                  <a:pt x="516" y="360"/>
                </a:lnTo>
                <a:lnTo>
                  <a:pt x="517" y="362"/>
                </a:lnTo>
                <a:lnTo>
                  <a:pt x="518" y="362"/>
                </a:lnTo>
                <a:lnTo>
                  <a:pt x="519" y="362"/>
                </a:lnTo>
                <a:lnTo>
                  <a:pt x="518" y="359"/>
                </a:lnTo>
                <a:lnTo>
                  <a:pt x="517" y="358"/>
                </a:lnTo>
                <a:lnTo>
                  <a:pt x="516" y="357"/>
                </a:lnTo>
                <a:lnTo>
                  <a:pt x="515" y="356"/>
                </a:lnTo>
                <a:lnTo>
                  <a:pt x="517" y="355"/>
                </a:lnTo>
                <a:lnTo>
                  <a:pt x="521" y="356"/>
                </a:lnTo>
                <a:lnTo>
                  <a:pt x="526" y="358"/>
                </a:lnTo>
                <a:lnTo>
                  <a:pt x="525" y="358"/>
                </a:lnTo>
                <a:lnTo>
                  <a:pt x="526" y="358"/>
                </a:lnTo>
                <a:close/>
                <a:moveTo>
                  <a:pt x="532" y="385"/>
                </a:moveTo>
                <a:lnTo>
                  <a:pt x="529" y="384"/>
                </a:lnTo>
                <a:lnTo>
                  <a:pt x="526" y="383"/>
                </a:lnTo>
                <a:lnTo>
                  <a:pt x="529" y="382"/>
                </a:lnTo>
                <a:lnTo>
                  <a:pt x="533" y="382"/>
                </a:lnTo>
                <a:lnTo>
                  <a:pt x="534" y="384"/>
                </a:lnTo>
                <a:lnTo>
                  <a:pt x="534" y="385"/>
                </a:lnTo>
                <a:lnTo>
                  <a:pt x="533" y="387"/>
                </a:lnTo>
                <a:lnTo>
                  <a:pt x="532" y="385"/>
                </a:lnTo>
                <a:lnTo>
                  <a:pt x="532" y="385"/>
                </a:lnTo>
                <a:lnTo>
                  <a:pt x="532" y="385"/>
                </a:lnTo>
                <a:close/>
                <a:moveTo>
                  <a:pt x="518" y="400"/>
                </a:moveTo>
                <a:lnTo>
                  <a:pt x="517" y="400"/>
                </a:lnTo>
                <a:lnTo>
                  <a:pt x="516" y="398"/>
                </a:lnTo>
                <a:lnTo>
                  <a:pt x="516" y="397"/>
                </a:lnTo>
                <a:lnTo>
                  <a:pt x="516" y="396"/>
                </a:lnTo>
                <a:lnTo>
                  <a:pt x="517" y="394"/>
                </a:lnTo>
                <a:lnTo>
                  <a:pt x="519" y="394"/>
                </a:lnTo>
                <a:lnTo>
                  <a:pt x="521" y="396"/>
                </a:lnTo>
                <a:lnTo>
                  <a:pt x="523" y="398"/>
                </a:lnTo>
                <a:lnTo>
                  <a:pt x="521" y="400"/>
                </a:lnTo>
                <a:lnTo>
                  <a:pt x="518" y="400"/>
                </a:lnTo>
                <a:lnTo>
                  <a:pt x="518" y="400"/>
                </a:lnTo>
                <a:lnTo>
                  <a:pt x="518" y="400"/>
                </a:lnTo>
                <a:close/>
                <a:moveTo>
                  <a:pt x="507" y="343"/>
                </a:moveTo>
                <a:lnTo>
                  <a:pt x="507" y="342"/>
                </a:lnTo>
                <a:lnTo>
                  <a:pt x="508" y="341"/>
                </a:lnTo>
                <a:lnTo>
                  <a:pt x="509" y="341"/>
                </a:lnTo>
                <a:lnTo>
                  <a:pt x="511" y="341"/>
                </a:lnTo>
                <a:lnTo>
                  <a:pt x="513" y="343"/>
                </a:lnTo>
                <a:lnTo>
                  <a:pt x="515" y="346"/>
                </a:lnTo>
                <a:lnTo>
                  <a:pt x="515" y="347"/>
                </a:lnTo>
                <a:lnTo>
                  <a:pt x="517" y="348"/>
                </a:lnTo>
                <a:lnTo>
                  <a:pt x="521" y="348"/>
                </a:lnTo>
                <a:lnTo>
                  <a:pt x="525" y="348"/>
                </a:lnTo>
                <a:lnTo>
                  <a:pt x="524" y="350"/>
                </a:lnTo>
                <a:lnTo>
                  <a:pt x="523" y="352"/>
                </a:lnTo>
                <a:lnTo>
                  <a:pt x="521" y="352"/>
                </a:lnTo>
                <a:lnTo>
                  <a:pt x="518" y="351"/>
                </a:lnTo>
                <a:lnTo>
                  <a:pt x="515" y="350"/>
                </a:lnTo>
                <a:lnTo>
                  <a:pt x="511" y="348"/>
                </a:lnTo>
                <a:lnTo>
                  <a:pt x="508" y="346"/>
                </a:lnTo>
                <a:lnTo>
                  <a:pt x="507" y="343"/>
                </a:lnTo>
                <a:close/>
                <a:moveTo>
                  <a:pt x="508" y="349"/>
                </a:moveTo>
                <a:lnTo>
                  <a:pt x="509" y="350"/>
                </a:lnTo>
                <a:lnTo>
                  <a:pt x="509" y="351"/>
                </a:lnTo>
                <a:lnTo>
                  <a:pt x="508" y="350"/>
                </a:lnTo>
                <a:lnTo>
                  <a:pt x="508" y="349"/>
                </a:lnTo>
                <a:lnTo>
                  <a:pt x="508" y="350"/>
                </a:lnTo>
                <a:lnTo>
                  <a:pt x="508" y="349"/>
                </a:lnTo>
                <a:close/>
                <a:moveTo>
                  <a:pt x="508" y="358"/>
                </a:moveTo>
                <a:lnTo>
                  <a:pt x="504" y="358"/>
                </a:lnTo>
                <a:lnTo>
                  <a:pt x="501" y="358"/>
                </a:lnTo>
                <a:lnTo>
                  <a:pt x="499" y="357"/>
                </a:lnTo>
                <a:lnTo>
                  <a:pt x="497" y="354"/>
                </a:lnTo>
                <a:lnTo>
                  <a:pt x="501" y="354"/>
                </a:lnTo>
                <a:lnTo>
                  <a:pt x="503" y="355"/>
                </a:lnTo>
                <a:lnTo>
                  <a:pt x="505" y="356"/>
                </a:lnTo>
                <a:lnTo>
                  <a:pt x="508" y="358"/>
                </a:lnTo>
                <a:close/>
                <a:moveTo>
                  <a:pt x="494" y="412"/>
                </a:moveTo>
                <a:lnTo>
                  <a:pt x="496" y="410"/>
                </a:lnTo>
                <a:lnTo>
                  <a:pt x="499" y="410"/>
                </a:lnTo>
                <a:lnTo>
                  <a:pt x="501" y="410"/>
                </a:lnTo>
                <a:lnTo>
                  <a:pt x="503" y="410"/>
                </a:lnTo>
                <a:lnTo>
                  <a:pt x="504" y="412"/>
                </a:lnTo>
                <a:lnTo>
                  <a:pt x="505" y="414"/>
                </a:lnTo>
                <a:lnTo>
                  <a:pt x="507" y="415"/>
                </a:lnTo>
                <a:lnTo>
                  <a:pt x="507" y="417"/>
                </a:lnTo>
                <a:lnTo>
                  <a:pt x="507" y="417"/>
                </a:lnTo>
                <a:lnTo>
                  <a:pt x="505" y="418"/>
                </a:lnTo>
                <a:lnTo>
                  <a:pt x="503" y="420"/>
                </a:lnTo>
                <a:lnTo>
                  <a:pt x="500" y="421"/>
                </a:lnTo>
                <a:lnTo>
                  <a:pt x="497" y="416"/>
                </a:lnTo>
                <a:lnTo>
                  <a:pt x="494" y="412"/>
                </a:lnTo>
                <a:lnTo>
                  <a:pt x="494" y="412"/>
                </a:lnTo>
                <a:lnTo>
                  <a:pt x="494" y="412"/>
                </a:lnTo>
                <a:close/>
                <a:moveTo>
                  <a:pt x="492" y="421"/>
                </a:moveTo>
                <a:lnTo>
                  <a:pt x="493" y="420"/>
                </a:lnTo>
                <a:lnTo>
                  <a:pt x="494" y="418"/>
                </a:lnTo>
                <a:lnTo>
                  <a:pt x="495" y="418"/>
                </a:lnTo>
                <a:lnTo>
                  <a:pt x="496" y="420"/>
                </a:lnTo>
                <a:lnTo>
                  <a:pt x="499" y="421"/>
                </a:lnTo>
                <a:lnTo>
                  <a:pt x="500" y="421"/>
                </a:lnTo>
                <a:lnTo>
                  <a:pt x="497" y="424"/>
                </a:lnTo>
                <a:lnTo>
                  <a:pt x="494" y="425"/>
                </a:lnTo>
                <a:lnTo>
                  <a:pt x="493" y="425"/>
                </a:lnTo>
                <a:lnTo>
                  <a:pt x="492" y="424"/>
                </a:lnTo>
                <a:lnTo>
                  <a:pt x="492" y="423"/>
                </a:lnTo>
                <a:lnTo>
                  <a:pt x="492" y="421"/>
                </a:lnTo>
                <a:lnTo>
                  <a:pt x="493" y="421"/>
                </a:lnTo>
                <a:lnTo>
                  <a:pt x="492" y="421"/>
                </a:lnTo>
                <a:close/>
                <a:moveTo>
                  <a:pt x="449" y="388"/>
                </a:moveTo>
                <a:lnTo>
                  <a:pt x="445" y="388"/>
                </a:lnTo>
                <a:lnTo>
                  <a:pt x="442" y="388"/>
                </a:lnTo>
                <a:lnTo>
                  <a:pt x="439" y="387"/>
                </a:lnTo>
                <a:lnTo>
                  <a:pt x="437" y="384"/>
                </a:lnTo>
                <a:lnTo>
                  <a:pt x="439" y="384"/>
                </a:lnTo>
                <a:lnTo>
                  <a:pt x="443" y="383"/>
                </a:lnTo>
                <a:lnTo>
                  <a:pt x="446" y="383"/>
                </a:lnTo>
                <a:lnTo>
                  <a:pt x="449" y="384"/>
                </a:lnTo>
                <a:lnTo>
                  <a:pt x="450" y="385"/>
                </a:lnTo>
                <a:lnTo>
                  <a:pt x="450" y="387"/>
                </a:lnTo>
                <a:lnTo>
                  <a:pt x="450" y="388"/>
                </a:lnTo>
                <a:lnTo>
                  <a:pt x="449" y="388"/>
                </a:lnTo>
                <a:lnTo>
                  <a:pt x="447" y="388"/>
                </a:lnTo>
                <a:lnTo>
                  <a:pt x="449" y="388"/>
                </a:lnTo>
                <a:close/>
                <a:moveTo>
                  <a:pt x="463" y="410"/>
                </a:moveTo>
                <a:lnTo>
                  <a:pt x="459" y="412"/>
                </a:lnTo>
                <a:lnTo>
                  <a:pt x="454" y="412"/>
                </a:lnTo>
                <a:lnTo>
                  <a:pt x="453" y="410"/>
                </a:lnTo>
                <a:lnTo>
                  <a:pt x="453" y="409"/>
                </a:lnTo>
                <a:lnTo>
                  <a:pt x="455" y="409"/>
                </a:lnTo>
                <a:lnTo>
                  <a:pt x="458" y="408"/>
                </a:lnTo>
                <a:lnTo>
                  <a:pt x="461" y="407"/>
                </a:lnTo>
                <a:lnTo>
                  <a:pt x="464" y="407"/>
                </a:lnTo>
                <a:lnTo>
                  <a:pt x="466" y="408"/>
                </a:lnTo>
                <a:lnTo>
                  <a:pt x="466" y="409"/>
                </a:lnTo>
                <a:lnTo>
                  <a:pt x="464" y="410"/>
                </a:lnTo>
                <a:lnTo>
                  <a:pt x="463" y="410"/>
                </a:lnTo>
                <a:lnTo>
                  <a:pt x="463" y="410"/>
                </a:lnTo>
                <a:lnTo>
                  <a:pt x="463" y="410"/>
                </a:lnTo>
                <a:close/>
                <a:moveTo>
                  <a:pt x="454" y="397"/>
                </a:moveTo>
                <a:lnTo>
                  <a:pt x="456" y="396"/>
                </a:lnTo>
                <a:lnTo>
                  <a:pt x="459" y="394"/>
                </a:lnTo>
                <a:lnTo>
                  <a:pt x="462" y="396"/>
                </a:lnTo>
                <a:lnTo>
                  <a:pt x="468" y="396"/>
                </a:lnTo>
                <a:lnTo>
                  <a:pt x="464" y="398"/>
                </a:lnTo>
                <a:lnTo>
                  <a:pt x="461" y="399"/>
                </a:lnTo>
                <a:lnTo>
                  <a:pt x="458" y="399"/>
                </a:lnTo>
                <a:lnTo>
                  <a:pt x="454" y="397"/>
                </a:lnTo>
                <a:close/>
                <a:moveTo>
                  <a:pt x="466" y="391"/>
                </a:moveTo>
                <a:lnTo>
                  <a:pt x="468" y="388"/>
                </a:lnTo>
                <a:lnTo>
                  <a:pt x="468" y="387"/>
                </a:lnTo>
                <a:lnTo>
                  <a:pt x="466" y="385"/>
                </a:lnTo>
                <a:lnTo>
                  <a:pt x="464" y="384"/>
                </a:lnTo>
                <a:lnTo>
                  <a:pt x="462" y="384"/>
                </a:lnTo>
                <a:lnTo>
                  <a:pt x="460" y="383"/>
                </a:lnTo>
                <a:lnTo>
                  <a:pt x="458" y="382"/>
                </a:lnTo>
                <a:lnTo>
                  <a:pt x="456" y="381"/>
                </a:lnTo>
                <a:lnTo>
                  <a:pt x="460" y="380"/>
                </a:lnTo>
                <a:lnTo>
                  <a:pt x="463" y="380"/>
                </a:lnTo>
                <a:lnTo>
                  <a:pt x="466" y="381"/>
                </a:lnTo>
                <a:lnTo>
                  <a:pt x="468" y="382"/>
                </a:lnTo>
                <a:lnTo>
                  <a:pt x="472" y="385"/>
                </a:lnTo>
                <a:lnTo>
                  <a:pt x="476" y="390"/>
                </a:lnTo>
                <a:lnTo>
                  <a:pt x="471" y="390"/>
                </a:lnTo>
                <a:lnTo>
                  <a:pt x="466" y="391"/>
                </a:lnTo>
                <a:lnTo>
                  <a:pt x="469" y="389"/>
                </a:lnTo>
                <a:lnTo>
                  <a:pt x="466" y="391"/>
                </a:lnTo>
                <a:close/>
                <a:moveTo>
                  <a:pt x="468" y="483"/>
                </a:moveTo>
                <a:lnTo>
                  <a:pt x="471" y="483"/>
                </a:lnTo>
                <a:lnTo>
                  <a:pt x="475" y="484"/>
                </a:lnTo>
                <a:lnTo>
                  <a:pt x="477" y="487"/>
                </a:lnTo>
                <a:lnTo>
                  <a:pt x="479" y="489"/>
                </a:lnTo>
                <a:lnTo>
                  <a:pt x="477" y="490"/>
                </a:lnTo>
                <a:lnTo>
                  <a:pt x="475" y="490"/>
                </a:lnTo>
                <a:lnTo>
                  <a:pt x="474" y="489"/>
                </a:lnTo>
                <a:lnTo>
                  <a:pt x="472" y="488"/>
                </a:lnTo>
                <a:lnTo>
                  <a:pt x="470" y="485"/>
                </a:lnTo>
                <a:lnTo>
                  <a:pt x="468" y="483"/>
                </a:lnTo>
                <a:close/>
                <a:moveTo>
                  <a:pt x="512" y="499"/>
                </a:moveTo>
                <a:lnTo>
                  <a:pt x="516" y="498"/>
                </a:lnTo>
                <a:lnTo>
                  <a:pt x="518" y="497"/>
                </a:lnTo>
                <a:lnTo>
                  <a:pt x="518" y="496"/>
                </a:lnTo>
                <a:lnTo>
                  <a:pt x="516" y="495"/>
                </a:lnTo>
                <a:lnTo>
                  <a:pt x="513" y="493"/>
                </a:lnTo>
                <a:lnTo>
                  <a:pt x="511" y="493"/>
                </a:lnTo>
                <a:lnTo>
                  <a:pt x="507" y="495"/>
                </a:lnTo>
                <a:lnTo>
                  <a:pt x="502" y="495"/>
                </a:lnTo>
                <a:lnTo>
                  <a:pt x="501" y="492"/>
                </a:lnTo>
                <a:lnTo>
                  <a:pt x="499" y="490"/>
                </a:lnTo>
                <a:lnTo>
                  <a:pt x="494" y="489"/>
                </a:lnTo>
                <a:lnTo>
                  <a:pt x="488" y="487"/>
                </a:lnTo>
                <a:lnTo>
                  <a:pt x="485" y="484"/>
                </a:lnTo>
                <a:lnTo>
                  <a:pt x="482" y="482"/>
                </a:lnTo>
                <a:lnTo>
                  <a:pt x="477" y="482"/>
                </a:lnTo>
                <a:lnTo>
                  <a:pt x="474" y="481"/>
                </a:lnTo>
                <a:lnTo>
                  <a:pt x="472" y="479"/>
                </a:lnTo>
                <a:lnTo>
                  <a:pt x="474" y="476"/>
                </a:lnTo>
                <a:lnTo>
                  <a:pt x="475" y="474"/>
                </a:lnTo>
                <a:lnTo>
                  <a:pt x="474" y="473"/>
                </a:lnTo>
                <a:lnTo>
                  <a:pt x="471" y="473"/>
                </a:lnTo>
                <a:lnTo>
                  <a:pt x="468" y="473"/>
                </a:lnTo>
                <a:lnTo>
                  <a:pt x="470" y="471"/>
                </a:lnTo>
                <a:lnTo>
                  <a:pt x="472" y="470"/>
                </a:lnTo>
                <a:lnTo>
                  <a:pt x="475" y="471"/>
                </a:lnTo>
                <a:lnTo>
                  <a:pt x="476" y="472"/>
                </a:lnTo>
                <a:lnTo>
                  <a:pt x="478" y="471"/>
                </a:lnTo>
                <a:lnTo>
                  <a:pt x="479" y="471"/>
                </a:lnTo>
                <a:lnTo>
                  <a:pt x="480" y="471"/>
                </a:lnTo>
                <a:lnTo>
                  <a:pt x="482" y="471"/>
                </a:lnTo>
                <a:lnTo>
                  <a:pt x="483" y="473"/>
                </a:lnTo>
                <a:lnTo>
                  <a:pt x="483" y="474"/>
                </a:lnTo>
                <a:lnTo>
                  <a:pt x="480" y="475"/>
                </a:lnTo>
                <a:lnTo>
                  <a:pt x="480" y="476"/>
                </a:lnTo>
                <a:lnTo>
                  <a:pt x="480" y="477"/>
                </a:lnTo>
                <a:lnTo>
                  <a:pt x="483" y="477"/>
                </a:lnTo>
                <a:lnTo>
                  <a:pt x="484" y="479"/>
                </a:lnTo>
                <a:lnTo>
                  <a:pt x="485" y="477"/>
                </a:lnTo>
                <a:lnTo>
                  <a:pt x="485" y="477"/>
                </a:lnTo>
                <a:lnTo>
                  <a:pt x="485" y="475"/>
                </a:lnTo>
                <a:lnTo>
                  <a:pt x="495" y="479"/>
                </a:lnTo>
                <a:lnTo>
                  <a:pt x="507" y="481"/>
                </a:lnTo>
                <a:lnTo>
                  <a:pt x="511" y="484"/>
                </a:lnTo>
                <a:lnTo>
                  <a:pt x="516" y="488"/>
                </a:lnTo>
                <a:lnTo>
                  <a:pt x="521" y="490"/>
                </a:lnTo>
                <a:lnTo>
                  <a:pt x="527" y="492"/>
                </a:lnTo>
                <a:lnTo>
                  <a:pt x="533" y="496"/>
                </a:lnTo>
                <a:lnTo>
                  <a:pt x="536" y="500"/>
                </a:lnTo>
                <a:lnTo>
                  <a:pt x="534" y="501"/>
                </a:lnTo>
                <a:lnTo>
                  <a:pt x="532" y="503"/>
                </a:lnTo>
                <a:lnTo>
                  <a:pt x="528" y="503"/>
                </a:lnTo>
                <a:lnTo>
                  <a:pt x="525" y="501"/>
                </a:lnTo>
                <a:lnTo>
                  <a:pt x="517" y="500"/>
                </a:lnTo>
                <a:lnTo>
                  <a:pt x="512" y="499"/>
                </a:lnTo>
                <a:lnTo>
                  <a:pt x="516" y="499"/>
                </a:lnTo>
                <a:lnTo>
                  <a:pt x="512" y="499"/>
                </a:lnTo>
                <a:close/>
                <a:moveTo>
                  <a:pt x="603" y="538"/>
                </a:moveTo>
                <a:lnTo>
                  <a:pt x="596" y="534"/>
                </a:lnTo>
                <a:lnTo>
                  <a:pt x="590" y="530"/>
                </a:lnTo>
                <a:lnTo>
                  <a:pt x="586" y="529"/>
                </a:lnTo>
                <a:lnTo>
                  <a:pt x="583" y="529"/>
                </a:lnTo>
                <a:lnTo>
                  <a:pt x="581" y="531"/>
                </a:lnTo>
                <a:lnTo>
                  <a:pt x="578" y="533"/>
                </a:lnTo>
                <a:lnTo>
                  <a:pt x="576" y="528"/>
                </a:lnTo>
                <a:lnTo>
                  <a:pt x="571" y="522"/>
                </a:lnTo>
                <a:lnTo>
                  <a:pt x="570" y="520"/>
                </a:lnTo>
                <a:lnTo>
                  <a:pt x="569" y="518"/>
                </a:lnTo>
                <a:lnTo>
                  <a:pt x="566" y="521"/>
                </a:lnTo>
                <a:lnTo>
                  <a:pt x="562" y="522"/>
                </a:lnTo>
                <a:lnTo>
                  <a:pt x="556" y="521"/>
                </a:lnTo>
                <a:lnTo>
                  <a:pt x="551" y="516"/>
                </a:lnTo>
                <a:lnTo>
                  <a:pt x="542" y="512"/>
                </a:lnTo>
                <a:lnTo>
                  <a:pt x="534" y="508"/>
                </a:lnTo>
                <a:lnTo>
                  <a:pt x="549" y="509"/>
                </a:lnTo>
                <a:lnTo>
                  <a:pt x="563" y="510"/>
                </a:lnTo>
                <a:lnTo>
                  <a:pt x="569" y="513"/>
                </a:lnTo>
                <a:lnTo>
                  <a:pt x="575" y="516"/>
                </a:lnTo>
                <a:lnTo>
                  <a:pt x="576" y="518"/>
                </a:lnTo>
                <a:lnTo>
                  <a:pt x="577" y="521"/>
                </a:lnTo>
                <a:lnTo>
                  <a:pt x="579" y="522"/>
                </a:lnTo>
                <a:lnTo>
                  <a:pt x="582" y="522"/>
                </a:lnTo>
                <a:lnTo>
                  <a:pt x="587" y="523"/>
                </a:lnTo>
                <a:lnTo>
                  <a:pt x="592" y="525"/>
                </a:lnTo>
                <a:lnTo>
                  <a:pt x="596" y="529"/>
                </a:lnTo>
                <a:lnTo>
                  <a:pt x="602" y="532"/>
                </a:lnTo>
                <a:lnTo>
                  <a:pt x="608" y="533"/>
                </a:lnTo>
                <a:lnTo>
                  <a:pt x="612" y="534"/>
                </a:lnTo>
                <a:lnTo>
                  <a:pt x="615" y="539"/>
                </a:lnTo>
                <a:lnTo>
                  <a:pt x="617" y="542"/>
                </a:lnTo>
                <a:lnTo>
                  <a:pt x="610" y="540"/>
                </a:lnTo>
                <a:lnTo>
                  <a:pt x="603" y="538"/>
                </a:lnTo>
                <a:lnTo>
                  <a:pt x="602" y="538"/>
                </a:lnTo>
                <a:lnTo>
                  <a:pt x="603" y="538"/>
                </a:lnTo>
                <a:close/>
                <a:moveTo>
                  <a:pt x="628" y="542"/>
                </a:moveTo>
                <a:lnTo>
                  <a:pt x="626" y="543"/>
                </a:lnTo>
                <a:lnTo>
                  <a:pt x="624" y="545"/>
                </a:lnTo>
                <a:lnTo>
                  <a:pt x="623" y="543"/>
                </a:lnTo>
                <a:lnTo>
                  <a:pt x="622" y="541"/>
                </a:lnTo>
                <a:lnTo>
                  <a:pt x="622" y="540"/>
                </a:lnTo>
                <a:lnTo>
                  <a:pt x="623" y="539"/>
                </a:lnTo>
                <a:lnTo>
                  <a:pt x="624" y="539"/>
                </a:lnTo>
                <a:lnTo>
                  <a:pt x="625" y="539"/>
                </a:lnTo>
                <a:lnTo>
                  <a:pt x="628" y="540"/>
                </a:lnTo>
                <a:lnTo>
                  <a:pt x="631" y="541"/>
                </a:lnTo>
                <a:lnTo>
                  <a:pt x="633" y="542"/>
                </a:lnTo>
                <a:lnTo>
                  <a:pt x="636" y="545"/>
                </a:lnTo>
                <a:lnTo>
                  <a:pt x="636" y="546"/>
                </a:lnTo>
                <a:lnTo>
                  <a:pt x="637" y="547"/>
                </a:lnTo>
                <a:lnTo>
                  <a:pt x="636" y="548"/>
                </a:lnTo>
                <a:lnTo>
                  <a:pt x="635" y="548"/>
                </a:lnTo>
                <a:lnTo>
                  <a:pt x="631" y="546"/>
                </a:lnTo>
                <a:lnTo>
                  <a:pt x="628" y="542"/>
                </a:lnTo>
                <a:lnTo>
                  <a:pt x="628" y="543"/>
                </a:lnTo>
                <a:lnTo>
                  <a:pt x="628" y="542"/>
                </a:lnTo>
                <a:close/>
                <a:moveTo>
                  <a:pt x="688" y="566"/>
                </a:moveTo>
                <a:lnTo>
                  <a:pt x="683" y="565"/>
                </a:lnTo>
                <a:lnTo>
                  <a:pt x="680" y="566"/>
                </a:lnTo>
                <a:lnTo>
                  <a:pt x="682" y="568"/>
                </a:lnTo>
                <a:lnTo>
                  <a:pt x="685" y="570"/>
                </a:lnTo>
                <a:lnTo>
                  <a:pt x="686" y="571"/>
                </a:lnTo>
                <a:lnTo>
                  <a:pt x="688" y="572"/>
                </a:lnTo>
                <a:lnTo>
                  <a:pt x="686" y="572"/>
                </a:lnTo>
                <a:lnTo>
                  <a:pt x="684" y="573"/>
                </a:lnTo>
                <a:lnTo>
                  <a:pt x="678" y="572"/>
                </a:lnTo>
                <a:lnTo>
                  <a:pt x="673" y="570"/>
                </a:lnTo>
                <a:lnTo>
                  <a:pt x="667" y="570"/>
                </a:lnTo>
                <a:lnTo>
                  <a:pt x="661" y="568"/>
                </a:lnTo>
                <a:lnTo>
                  <a:pt x="658" y="565"/>
                </a:lnTo>
                <a:lnTo>
                  <a:pt x="655" y="564"/>
                </a:lnTo>
                <a:lnTo>
                  <a:pt x="649" y="564"/>
                </a:lnTo>
                <a:lnTo>
                  <a:pt x="645" y="564"/>
                </a:lnTo>
                <a:lnTo>
                  <a:pt x="644" y="560"/>
                </a:lnTo>
                <a:lnTo>
                  <a:pt x="643" y="558"/>
                </a:lnTo>
                <a:lnTo>
                  <a:pt x="641" y="558"/>
                </a:lnTo>
                <a:lnTo>
                  <a:pt x="639" y="558"/>
                </a:lnTo>
                <a:lnTo>
                  <a:pt x="636" y="558"/>
                </a:lnTo>
                <a:lnTo>
                  <a:pt x="635" y="555"/>
                </a:lnTo>
                <a:lnTo>
                  <a:pt x="637" y="554"/>
                </a:lnTo>
                <a:lnTo>
                  <a:pt x="642" y="553"/>
                </a:lnTo>
                <a:lnTo>
                  <a:pt x="644" y="555"/>
                </a:lnTo>
                <a:lnTo>
                  <a:pt x="648" y="556"/>
                </a:lnTo>
                <a:lnTo>
                  <a:pt x="649" y="555"/>
                </a:lnTo>
                <a:lnTo>
                  <a:pt x="650" y="554"/>
                </a:lnTo>
                <a:lnTo>
                  <a:pt x="649" y="553"/>
                </a:lnTo>
                <a:lnTo>
                  <a:pt x="648" y="551"/>
                </a:lnTo>
                <a:lnTo>
                  <a:pt x="644" y="549"/>
                </a:lnTo>
                <a:lnTo>
                  <a:pt x="641" y="548"/>
                </a:lnTo>
                <a:lnTo>
                  <a:pt x="644" y="548"/>
                </a:lnTo>
                <a:lnTo>
                  <a:pt x="648" y="548"/>
                </a:lnTo>
                <a:lnTo>
                  <a:pt x="650" y="550"/>
                </a:lnTo>
                <a:lnTo>
                  <a:pt x="652" y="553"/>
                </a:lnTo>
                <a:lnTo>
                  <a:pt x="653" y="555"/>
                </a:lnTo>
                <a:lnTo>
                  <a:pt x="655" y="556"/>
                </a:lnTo>
                <a:lnTo>
                  <a:pt x="657" y="556"/>
                </a:lnTo>
                <a:lnTo>
                  <a:pt x="658" y="555"/>
                </a:lnTo>
                <a:lnTo>
                  <a:pt x="661" y="554"/>
                </a:lnTo>
                <a:lnTo>
                  <a:pt x="666" y="555"/>
                </a:lnTo>
                <a:lnTo>
                  <a:pt x="668" y="558"/>
                </a:lnTo>
                <a:lnTo>
                  <a:pt x="672" y="559"/>
                </a:lnTo>
                <a:lnTo>
                  <a:pt x="677" y="559"/>
                </a:lnTo>
                <a:lnTo>
                  <a:pt x="683" y="559"/>
                </a:lnTo>
                <a:lnTo>
                  <a:pt x="694" y="564"/>
                </a:lnTo>
                <a:lnTo>
                  <a:pt x="705" y="570"/>
                </a:lnTo>
                <a:lnTo>
                  <a:pt x="700" y="570"/>
                </a:lnTo>
                <a:lnTo>
                  <a:pt x="696" y="571"/>
                </a:lnTo>
                <a:lnTo>
                  <a:pt x="693" y="571"/>
                </a:lnTo>
                <a:lnTo>
                  <a:pt x="691" y="570"/>
                </a:lnTo>
                <a:lnTo>
                  <a:pt x="689" y="568"/>
                </a:lnTo>
                <a:lnTo>
                  <a:pt x="688" y="566"/>
                </a:lnTo>
                <a:lnTo>
                  <a:pt x="689" y="568"/>
                </a:lnTo>
                <a:lnTo>
                  <a:pt x="688" y="566"/>
                </a:lnTo>
                <a:close/>
                <a:moveTo>
                  <a:pt x="714" y="578"/>
                </a:moveTo>
                <a:lnTo>
                  <a:pt x="711" y="576"/>
                </a:lnTo>
                <a:lnTo>
                  <a:pt x="711" y="574"/>
                </a:lnTo>
                <a:lnTo>
                  <a:pt x="711" y="572"/>
                </a:lnTo>
                <a:lnTo>
                  <a:pt x="713" y="571"/>
                </a:lnTo>
                <a:lnTo>
                  <a:pt x="716" y="572"/>
                </a:lnTo>
                <a:lnTo>
                  <a:pt x="717" y="574"/>
                </a:lnTo>
                <a:lnTo>
                  <a:pt x="718" y="575"/>
                </a:lnTo>
                <a:lnTo>
                  <a:pt x="717" y="576"/>
                </a:lnTo>
                <a:lnTo>
                  <a:pt x="716" y="578"/>
                </a:lnTo>
                <a:lnTo>
                  <a:pt x="714" y="578"/>
                </a:lnTo>
                <a:lnTo>
                  <a:pt x="713" y="578"/>
                </a:lnTo>
                <a:lnTo>
                  <a:pt x="714" y="578"/>
                </a:lnTo>
                <a:close/>
                <a:moveTo>
                  <a:pt x="841" y="604"/>
                </a:moveTo>
                <a:lnTo>
                  <a:pt x="850" y="601"/>
                </a:lnTo>
                <a:lnTo>
                  <a:pt x="858" y="603"/>
                </a:lnTo>
                <a:lnTo>
                  <a:pt x="855" y="604"/>
                </a:lnTo>
                <a:lnTo>
                  <a:pt x="851" y="605"/>
                </a:lnTo>
                <a:lnTo>
                  <a:pt x="848" y="605"/>
                </a:lnTo>
                <a:lnTo>
                  <a:pt x="841" y="604"/>
                </a:lnTo>
                <a:close/>
                <a:moveTo>
                  <a:pt x="994" y="630"/>
                </a:moveTo>
                <a:lnTo>
                  <a:pt x="990" y="631"/>
                </a:lnTo>
                <a:lnTo>
                  <a:pt x="986" y="630"/>
                </a:lnTo>
                <a:lnTo>
                  <a:pt x="988" y="628"/>
                </a:lnTo>
                <a:lnTo>
                  <a:pt x="991" y="628"/>
                </a:lnTo>
                <a:lnTo>
                  <a:pt x="994" y="628"/>
                </a:lnTo>
                <a:lnTo>
                  <a:pt x="994" y="630"/>
                </a:lnTo>
                <a:lnTo>
                  <a:pt x="994" y="630"/>
                </a:lnTo>
                <a:lnTo>
                  <a:pt x="994" y="630"/>
                </a:lnTo>
                <a:close/>
                <a:moveTo>
                  <a:pt x="1012" y="616"/>
                </a:moveTo>
                <a:lnTo>
                  <a:pt x="1006" y="616"/>
                </a:lnTo>
                <a:lnTo>
                  <a:pt x="1001" y="615"/>
                </a:lnTo>
                <a:lnTo>
                  <a:pt x="1002" y="613"/>
                </a:lnTo>
                <a:lnTo>
                  <a:pt x="1004" y="612"/>
                </a:lnTo>
                <a:lnTo>
                  <a:pt x="1006" y="612"/>
                </a:lnTo>
                <a:lnTo>
                  <a:pt x="1008" y="612"/>
                </a:lnTo>
                <a:lnTo>
                  <a:pt x="1010" y="613"/>
                </a:lnTo>
                <a:lnTo>
                  <a:pt x="1012" y="614"/>
                </a:lnTo>
                <a:lnTo>
                  <a:pt x="1012" y="615"/>
                </a:lnTo>
                <a:lnTo>
                  <a:pt x="1012" y="616"/>
                </a:lnTo>
                <a:lnTo>
                  <a:pt x="1012" y="616"/>
                </a:lnTo>
                <a:lnTo>
                  <a:pt x="1012" y="616"/>
                </a:lnTo>
                <a:close/>
                <a:moveTo>
                  <a:pt x="1332" y="143"/>
                </a:moveTo>
                <a:lnTo>
                  <a:pt x="1319" y="151"/>
                </a:lnTo>
                <a:lnTo>
                  <a:pt x="1307" y="157"/>
                </a:lnTo>
                <a:lnTo>
                  <a:pt x="1294" y="163"/>
                </a:lnTo>
                <a:lnTo>
                  <a:pt x="1282" y="168"/>
                </a:lnTo>
                <a:lnTo>
                  <a:pt x="1275" y="169"/>
                </a:lnTo>
                <a:lnTo>
                  <a:pt x="1268" y="171"/>
                </a:lnTo>
                <a:lnTo>
                  <a:pt x="1266" y="171"/>
                </a:lnTo>
                <a:lnTo>
                  <a:pt x="1265" y="171"/>
                </a:lnTo>
                <a:lnTo>
                  <a:pt x="1263" y="169"/>
                </a:lnTo>
                <a:lnTo>
                  <a:pt x="1263" y="168"/>
                </a:lnTo>
                <a:lnTo>
                  <a:pt x="1276" y="166"/>
                </a:lnTo>
                <a:lnTo>
                  <a:pt x="1285" y="164"/>
                </a:lnTo>
                <a:lnTo>
                  <a:pt x="1281" y="164"/>
                </a:lnTo>
                <a:lnTo>
                  <a:pt x="1275" y="163"/>
                </a:lnTo>
                <a:lnTo>
                  <a:pt x="1275" y="161"/>
                </a:lnTo>
                <a:lnTo>
                  <a:pt x="1276" y="160"/>
                </a:lnTo>
                <a:lnTo>
                  <a:pt x="1277" y="160"/>
                </a:lnTo>
                <a:lnTo>
                  <a:pt x="1279" y="160"/>
                </a:lnTo>
                <a:lnTo>
                  <a:pt x="1284" y="160"/>
                </a:lnTo>
                <a:lnTo>
                  <a:pt x="1286" y="160"/>
                </a:lnTo>
                <a:lnTo>
                  <a:pt x="1285" y="158"/>
                </a:lnTo>
                <a:lnTo>
                  <a:pt x="1283" y="156"/>
                </a:lnTo>
                <a:lnTo>
                  <a:pt x="1290" y="157"/>
                </a:lnTo>
                <a:lnTo>
                  <a:pt x="1295" y="157"/>
                </a:lnTo>
                <a:lnTo>
                  <a:pt x="1296" y="156"/>
                </a:lnTo>
                <a:lnTo>
                  <a:pt x="1299" y="153"/>
                </a:lnTo>
                <a:lnTo>
                  <a:pt x="1301" y="153"/>
                </a:lnTo>
                <a:lnTo>
                  <a:pt x="1302" y="153"/>
                </a:lnTo>
                <a:lnTo>
                  <a:pt x="1308" y="151"/>
                </a:lnTo>
                <a:lnTo>
                  <a:pt x="1312" y="148"/>
                </a:lnTo>
                <a:lnTo>
                  <a:pt x="1315" y="147"/>
                </a:lnTo>
                <a:lnTo>
                  <a:pt x="1316" y="144"/>
                </a:lnTo>
                <a:lnTo>
                  <a:pt x="1316" y="142"/>
                </a:lnTo>
                <a:lnTo>
                  <a:pt x="1317" y="141"/>
                </a:lnTo>
                <a:lnTo>
                  <a:pt x="1320" y="139"/>
                </a:lnTo>
                <a:lnTo>
                  <a:pt x="1325" y="139"/>
                </a:lnTo>
                <a:lnTo>
                  <a:pt x="1332" y="136"/>
                </a:lnTo>
                <a:lnTo>
                  <a:pt x="1337" y="133"/>
                </a:lnTo>
                <a:lnTo>
                  <a:pt x="1344" y="130"/>
                </a:lnTo>
                <a:lnTo>
                  <a:pt x="1351" y="125"/>
                </a:lnTo>
                <a:lnTo>
                  <a:pt x="1354" y="124"/>
                </a:lnTo>
                <a:lnTo>
                  <a:pt x="1358" y="123"/>
                </a:lnTo>
                <a:lnTo>
                  <a:pt x="1362" y="123"/>
                </a:lnTo>
                <a:lnTo>
                  <a:pt x="1366" y="123"/>
                </a:lnTo>
                <a:lnTo>
                  <a:pt x="1357" y="128"/>
                </a:lnTo>
                <a:lnTo>
                  <a:pt x="1349" y="133"/>
                </a:lnTo>
                <a:lnTo>
                  <a:pt x="1340" y="139"/>
                </a:lnTo>
                <a:lnTo>
                  <a:pt x="1332" y="143"/>
                </a:lnTo>
                <a:lnTo>
                  <a:pt x="1327" y="147"/>
                </a:lnTo>
                <a:lnTo>
                  <a:pt x="1331" y="144"/>
                </a:lnTo>
                <a:lnTo>
                  <a:pt x="1334" y="142"/>
                </a:lnTo>
                <a:lnTo>
                  <a:pt x="1332" y="143"/>
                </a:lnTo>
                <a:close/>
                <a:moveTo>
                  <a:pt x="1357" y="557"/>
                </a:moveTo>
                <a:lnTo>
                  <a:pt x="1356" y="558"/>
                </a:lnTo>
                <a:lnTo>
                  <a:pt x="1354" y="559"/>
                </a:lnTo>
                <a:lnTo>
                  <a:pt x="1352" y="557"/>
                </a:lnTo>
                <a:lnTo>
                  <a:pt x="1352" y="555"/>
                </a:lnTo>
                <a:lnTo>
                  <a:pt x="1353" y="553"/>
                </a:lnTo>
                <a:lnTo>
                  <a:pt x="1356" y="553"/>
                </a:lnTo>
                <a:lnTo>
                  <a:pt x="1358" y="553"/>
                </a:lnTo>
                <a:lnTo>
                  <a:pt x="1360" y="555"/>
                </a:lnTo>
                <a:lnTo>
                  <a:pt x="1358" y="555"/>
                </a:lnTo>
                <a:lnTo>
                  <a:pt x="1357" y="557"/>
                </a:lnTo>
                <a:lnTo>
                  <a:pt x="1357" y="557"/>
                </a:lnTo>
                <a:lnTo>
                  <a:pt x="1357" y="557"/>
                </a:lnTo>
                <a:close/>
                <a:moveTo>
                  <a:pt x="1368" y="554"/>
                </a:moveTo>
                <a:lnTo>
                  <a:pt x="1366" y="554"/>
                </a:lnTo>
                <a:lnTo>
                  <a:pt x="1365" y="556"/>
                </a:lnTo>
                <a:lnTo>
                  <a:pt x="1362" y="556"/>
                </a:lnTo>
                <a:lnTo>
                  <a:pt x="1360" y="555"/>
                </a:lnTo>
                <a:lnTo>
                  <a:pt x="1362" y="553"/>
                </a:lnTo>
                <a:lnTo>
                  <a:pt x="1366" y="550"/>
                </a:lnTo>
                <a:lnTo>
                  <a:pt x="1367" y="550"/>
                </a:lnTo>
                <a:lnTo>
                  <a:pt x="1368" y="551"/>
                </a:lnTo>
                <a:lnTo>
                  <a:pt x="1369" y="553"/>
                </a:lnTo>
                <a:lnTo>
                  <a:pt x="1368" y="554"/>
                </a:lnTo>
                <a:lnTo>
                  <a:pt x="1368" y="554"/>
                </a:lnTo>
                <a:lnTo>
                  <a:pt x="1368" y="554"/>
                </a:lnTo>
                <a:close/>
                <a:moveTo>
                  <a:pt x="1556" y="285"/>
                </a:moveTo>
                <a:lnTo>
                  <a:pt x="1557" y="286"/>
                </a:lnTo>
                <a:lnTo>
                  <a:pt x="1557" y="289"/>
                </a:lnTo>
                <a:lnTo>
                  <a:pt x="1555" y="289"/>
                </a:lnTo>
                <a:lnTo>
                  <a:pt x="1554" y="288"/>
                </a:lnTo>
                <a:lnTo>
                  <a:pt x="1548" y="289"/>
                </a:lnTo>
                <a:lnTo>
                  <a:pt x="1542" y="289"/>
                </a:lnTo>
                <a:lnTo>
                  <a:pt x="1546" y="286"/>
                </a:lnTo>
                <a:lnTo>
                  <a:pt x="1548" y="285"/>
                </a:lnTo>
                <a:lnTo>
                  <a:pt x="1553" y="285"/>
                </a:lnTo>
                <a:lnTo>
                  <a:pt x="1556" y="285"/>
                </a:lnTo>
                <a:lnTo>
                  <a:pt x="1555" y="285"/>
                </a:lnTo>
                <a:lnTo>
                  <a:pt x="1556" y="28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E90A464-9C85-5D4F-9381-0FF4A1F3F55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8300A4E4-00B3-AF4C-8AE3-511E1A84362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64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AD8D1CD-BF43-744A-9327-BA7A955D09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72307" y="3114378"/>
            <a:ext cx="13317489" cy="8304384"/>
          </a:xfrm>
          <a:custGeom>
            <a:avLst/>
            <a:gdLst>
              <a:gd name="T0" fmla="*/ 1237 w 1543"/>
              <a:gd name="T1" fmla="*/ 5 h 963"/>
              <a:gd name="T2" fmla="*/ 952 w 1543"/>
              <a:gd name="T3" fmla="*/ 305 h 963"/>
              <a:gd name="T4" fmla="*/ 952 w 1543"/>
              <a:gd name="T5" fmla="*/ 312 h 963"/>
              <a:gd name="T6" fmla="*/ 866 w 1543"/>
              <a:gd name="T7" fmla="*/ 408 h 963"/>
              <a:gd name="T8" fmla="*/ 864 w 1543"/>
              <a:gd name="T9" fmla="*/ 408 h 963"/>
              <a:gd name="T10" fmla="*/ 767 w 1543"/>
              <a:gd name="T11" fmla="*/ 337 h 963"/>
              <a:gd name="T12" fmla="*/ 522 w 1543"/>
              <a:gd name="T13" fmla="*/ 115 h 963"/>
              <a:gd name="T14" fmla="*/ 215 w 1543"/>
              <a:gd name="T15" fmla="*/ 347 h 963"/>
              <a:gd name="T16" fmla="*/ 211 w 1543"/>
              <a:gd name="T17" fmla="*/ 407 h 963"/>
              <a:gd name="T18" fmla="*/ 131 w 1543"/>
              <a:gd name="T19" fmla="*/ 538 h 963"/>
              <a:gd name="T20" fmla="*/ 38 w 1543"/>
              <a:gd name="T21" fmla="*/ 630 h 963"/>
              <a:gd name="T22" fmla="*/ 116 w 1543"/>
              <a:gd name="T23" fmla="*/ 864 h 963"/>
              <a:gd name="T24" fmla="*/ 368 w 1543"/>
              <a:gd name="T25" fmla="*/ 787 h 963"/>
              <a:gd name="T26" fmla="*/ 378 w 1543"/>
              <a:gd name="T27" fmla="*/ 766 h 963"/>
              <a:gd name="T28" fmla="*/ 495 w 1543"/>
              <a:gd name="T29" fmla="*/ 679 h 963"/>
              <a:gd name="T30" fmla="*/ 498 w 1543"/>
              <a:gd name="T31" fmla="*/ 679 h 963"/>
              <a:gd name="T32" fmla="*/ 628 w 1543"/>
              <a:gd name="T33" fmla="*/ 775 h 963"/>
              <a:gd name="T34" fmla="*/ 644 w 1543"/>
              <a:gd name="T35" fmla="*/ 818 h 963"/>
              <a:gd name="T36" fmla="*/ 853 w 1543"/>
              <a:gd name="T37" fmla="*/ 960 h 963"/>
              <a:gd name="T38" fmla="*/ 1090 w 1543"/>
              <a:gd name="T39" fmla="*/ 728 h 963"/>
              <a:gd name="T40" fmla="*/ 1089 w 1543"/>
              <a:gd name="T41" fmla="*/ 705 h 963"/>
              <a:gd name="T42" fmla="*/ 1089 w 1543"/>
              <a:gd name="T43" fmla="*/ 705 h 963"/>
              <a:gd name="T44" fmla="*/ 1089 w 1543"/>
              <a:gd name="T45" fmla="*/ 704 h 963"/>
              <a:gd name="T46" fmla="*/ 1088 w 1543"/>
              <a:gd name="T47" fmla="*/ 703 h 963"/>
              <a:gd name="T48" fmla="*/ 1088 w 1543"/>
              <a:gd name="T49" fmla="*/ 701 h 963"/>
              <a:gd name="T50" fmla="*/ 1204 w 1543"/>
              <a:gd name="T51" fmla="*/ 588 h 963"/>
              <a:gd name="T52" fmla="*/ 1250 w 1543"/>
              <a:gd name="T53" fmla="*/ 591 h 963"/>
              <a:gd name="T54" fmla="*/ 1538 w 1543"/>
              <a:gd name="T55" fmla="*/ 307 h 963"/>
              <a:gd name="T56" fmla="*/ 1237 w 1543"/>
              <a:gd name="T57" fmla="*/ 5 h 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43" h="963">
                <a:moveTo>
                  <a:pt x="1237" y="5"/>
                </a:moveTo>
                <a:cubicBezTo>
                  <a:pt x="1074" y="9"/>
                  <a:pt x="948" y="143"/>
                  <a:pt x="952" y="305"/>
                </a:cubicBezTo>
                <a:cubicBezTo>
                  <a:pt x="952" y="307"/>
                  <a:pt x="952" y="310"/>
                  <a:pt x="952" y="312"/>
                </a:cubicBezTo>
                <a:cubicBezTo>
                  <a:pt x="954" y="362"/>
                  <a:pt x="916" y="404"/>
                  <a:pt x="866" y="408"/>
                </a:cubicBezTo>
                <a:cubicBezTo>
                  <a:pt x="864" y="408"/>
                  <a:pt x="864" y="408"/>
                  <a:pt x="864" y="408"/>
                </a:cubicBezTo>
                <a:cubicBezTo>
                  <a:pt x="819" y="412"/>
                  <a:pt x="777" y="381"/>
                  <a:pt x="767" y="337"/>
                </a:cubicBezTo>
                <a:cubicBezTo>
                  <a:pt x="743" y="221"/>
                  <a:pt x="647" y="129"/>
                  <a:pt x="522" y="115"/>
                </a:cubicBezTo>
                <a:cubicBezTo>
                  <a:pt x="375" y="99"/>
                  <a:pt x="240" y="201"/>
                  <a:pt x="215" y="347"/>
                </a:cubicBezTo>
                <a:cubicBezTo>
                  <a:pt x="211" y="367"/>
                  <a:pt x="210" y="387"/>
                  <a:pt x="211" y="407"/>
                </a:cubicBezTo>
                <a:cubicBezTo>
                  <a:pt x="213" y="462"/>
                  <a:pt x="182" y="515"/>
                  <a:pt x="131" y="538"/>
                </a:cubicBezTo>
                <a:cubicBezTo>
                  <a:pt x="91" y="556"/>
                  <a:pt x="58" y="587"/>
                  <a:pt x="38" y="630"/>
                </a:cubicBezTo>
                <a:cubicBezTo>
                  <a:pt x="0" y="716"/>
                  <a:pt x="34" y="818"/>
                  <a:pt x="116" y="864"/>
                </a:cubicBezTo>
                <a:cubicBezTo>
                  <a:pt x="207" y="915"/>
                  <a:pt x="322" y="880"/>
                  <a:pt x="368" y="787"/>
                </a:cubicBezTo>
                <a:cubicBezTo>
                  <a:pt x="372" y="780"/>
                  <a:pt x="375" y="773"/>
                  <a:pt x="378" y="766"/>
                </a:cubicBezTo>
                <a:cubicBezTo>
                  <a:pt x="396" y="716"/>
                  <a:pt x="442" y="681"/>
                  <a:pt x="495" y="679"/>
                </a:cubicBezTo>
                <a:cubicBezTo>
                  <a:pt x="496" y="679"/>
                  <a:pt x="497" y="679"/>
                  <a:pt x="498" y="679"/>
                </a:cubicBezTo>
                <a:cubicBezTo>
                  <a:pt x="559" y="677"/>
                  <a:pt x="614" y="716"/>
                  <a:pt x="628" y="775"/>
                </a:cubicBezTo>
                <a:cubicBezTo>
                  <a:pt x="632" y="790"/>
                  <a:pt x="637" y="804"/>
                  <a:pt x="644" y="818"/>
                </a:cubicBezTo>
                <a:cubicBezTo>
                  <a:pt x="679" y="900"/>
                  <a:pt x="759" y="958"/>
                  <a:pt x="853" y="960"/>
                </a:cubicBezTo>
                <a:cubicBezTo>
                  <a:pt x="983" y="963"/>
                  <a:pt x="1090" y="858"/>
                  <a:pt x="1090" y="728"/>
                </a:cubicBezTo>
                <a:cubicBezTo>
                  <a:pt x="1090" y="720"/>
                  <a:pt x="1089" y="712"/>
                  <a:pt x="1089" y="705"/>
                </a:cubicBezTo>
                <a:cubicBezTo>
                  <a:pt x="1089" y="705"/>
                  <a:pt x="1089" y="705"/>
                  <a:pt x="1089" y="705"/>
                </a:cubicBezTo>
                <a:cubicBezTo>
                  <a:pt x="1089" y="704"/>
                  <a:pt x="1089" y="704"/>
                  <a:pt x="1089" y="704"/>
                </a:cubicBezTo>
                <a:cubicBezTo>
                  <a:pt x="1089" y="704"/>
                  <a:pt x="1088" y="704"/>
                  <a:pt x="1088" y="703"/>
                </a:cubicBezTo>
                <a:cubicBezTo>
                  <a:pt x="1088" y="701"/>
                  <a:pt x="1088" y="701"/>
                  <a:pt x="1088" y="701"/>
                </a:cubicBezTo>
                <a:cubicBezTo>
                  <a:pt x="1081" y="634"/>
                  <a:pt x="1138" y="579"/>
                  <a:pt x="1204" y="588"/>
                </a:cubicBezTo>
                <a:cubicBezTo>
                  <a:pt x="1219" y="590"/>
                  <a:pt x="1234" y="591"/>
                  <a:pt x="1250" y="591"/>
                </a:cubicBezTo>
                <a:cubicBezTo>
                  <a:pt x="1405" y="588"/>
                  <a:pt x="1533" y="463"/>
                  <a:pt x="1538" y="307"/>
                </a:cubicBezTo>
                <a:cubicBezTo>
                  <a:pt x="1543" y="138"/>
                  <a:pt x="1405" y="0"/>
                  <a:pt x="1237" y="5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DD0813D6-3B1D-F94C-9501-40FCE2DC877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637303" y="3153290"/>
            <a:ext cx="12124902" cy="7634784"/>
          </a:xfrm>
          <a:custGeom>
            <a:avLst/>
            <a:gdLst>
              <a:gd name="connsiteX0" fmla="*/ 9715902 w 12124902"/>
              <a:gd name="connsiteY0" fmla="*/ 1052 h 7634784"/>
              <a:gd name="connsiteX1" fmla="*/ 12123849 w 12124902"/>
              <a:gd name="connsiteY1" fmla="*/ 2414911 h 7634784"/>
              <a:gd name="connsiteX2" fmla="*/ 9819900 w 12124902"/>
              <a:gd name="connsiteY2" fmla="*/ 4684899 h 7634784"/>
              <a:gd name="connsiteX3" fmla="*/ 9451908 w 12124902"/>
              <a:gd name="connsiteY3" fmla="*/ 4660920 h 7634784"/>
              <a:gd name="connsiteX4" fmla="*/ 8523929 w 12124902"/>
              <a:gd name="connsiteY4" fmla="*/ 5564119 h 7634784"/>
              <a:gd name="connsiteX5" fmla="*/ 8523929 w 12124902"/>
              <a:gd name="connsiteY5" fmla="*/ 5580105 h 7634784"/>
              <a:gd name="connsiteX6" fmla="*/ 8531928 w 12124902"/>
              <a:gd name="connsiteY6" fmla="*/ 5588097 h 7634784"/>
              <a:gd name="connsiteX7" fmla="*/ 8531928 w 12124902"/>
              <a:gd name="connsiteY7" fmla="*/ 5596091 h 7634784"/>
              <a:gd name="connsiteX8" fmla="*/ 8539928 w 12124902"/>
              <a:gd name="connsiteY8" fmla="*/ 5779927 h 7634784"/>
              <a:gd name="connsiteX9" fmla="*/ 6643970 w 12124902"/>
              <a:gd name="connsiteY9" fmla="*/ 7634283 h 7634784"/>
              <a:gd name="connsiteX10" fmla="*/ 4972007 w 12124902"/>
              <a:gd name="connsiteY10" fmla="*/ 6499289 h 7634784"/>
              <a:gd name="connsiteX11" fmla="*/ 4844010 w 12124902"/>
              <a:gd name="connsiteY11" fmla="*/ 6155595 h 7634784"/>
              <a:gd name="connsiteX12" fmla="*/ 3804033 w 12124902"/>
              <a:gd name="connsiteY12" fmla="*/ 5388275 h 7634784"/>
              <a:gd name="connsiteX13" fmla="*/ 3780034 w 12124902"/>
              <a:gd name="connsiteY13" fmla="*/ 5388275 h 7634784"/>
              <a:gd name="connsiteX14" fmla="*/ 2844054 w 12124902"/>
              <a:gd name="connsiteY14" fmla="*/ 6083658 h 7634784"/>
              <a:gd name="connsiteX15" fmla="*/ 2764056 w 12124902"/>
              <a:gd name="connsiteY15" fmla="*/ 6251509 h 7634784"/>
              <a:gd name="connsiteX16" fmla="*/ 748101 w 12124902"/>
              <a:gd name="connsiteY16" fmla="*/ 6866963 h 7634784"/>
              <a:gd name="connsiteX17" fmla="*/ 124114 w 12124902"/>
              <a:gd name="connsiteY17" fmla="*/ 4996622 h 7634784"/>
              <a:gd name="connsiteX18" fmla="*/ 868098 w 12124902"/>
              <a:gd name="connsiteY18" fmla="*/ 4261274 h 7634784"/>
              <a:gd name="connsiteX19" fmla="*/ 1508084 w 12124902"/>
              <a:gd name="connsiteY19" fmla="*/ 3214203 h 7634784"/>
              <a:gd name="connsiteX20" fmla="*/ 1540083 w 12124902"/>
              <a:gd name="connsiteY20" fmla="*/ 2734628 h 7634784"/>
              <a:gd name="connsiteX21" fmla="*/ 3996029 w 12124902"/>
              <a:gd name="connsiteY21" fmla="*/ 880272 h 7634784"/>
              <a:gd name="connsiteX22" fmla="*/ 5955985 w 12124902"/>
              <a:gd name="connsiteY22" fmla="*/ 2654699 h 7634784"/>
              <a:gd name="connsiteX23" fmla="*/ 6731968 w 12124902"/>
              <a:gd name="connsiteY23" fmla="*/ 3222196 h 7634784"/>
              <a:gd name="connsiteX24" fmla="*/ 6747968 w 12124902"/>
              <a:gd name="connsiteY24" fmla="*/ 3222196 h 7634784"/>
              <a:gd name="connsiteX25" fmla="*/ 7435952 w 12124902"/>
              <a:gd name="connsiteY25" fmla="*/ 2454876 h 7634784"/>
              <a:gd name="connsiteX26" fmla="*/ 7435952 w 12124902"/>
              <a:gd name="connsiteY26" fmla="*/ 2398926 h 7634784"/>
              <a:gd name="connsiteX27" fmla="*/ 9715902 w 12124902"/>
              <a:gd name="connsiteY27" fmla="*/ 1052 h 7634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24902" h="7634784">
                <a:moveTo>
                  <a:pt x="9715902" y="1052"/>
                </a:moveTo>
                <a:cubicBezTo>
                  <a:pt x="11059872" y="-38913"/>
                  <a:pt x="12163848" y="1064109"/>
                  <a:pt x="12123849" y="2414911"/>
                </a:cubicBezTo>
                <a:cubicBezTo>
                  <a:pt x="12083850" y="3661806"/>
                  <a:pt x="11059872" y="4660920"/>
                  <a:pt x="9819900" y="4684899"/>
                </a:cubicBezTo>
                <a:cubicBezTo>
                  <a:pt x="9691903" y="4684899"/>
                  <a:pt x="9571905" y="4676906"/>
                  <a:pt x="9451908" y="4660920"/>
                </a:cubicBezTo>
                <a:cubicBezTo>
                  <a:pt x="8923920" y="4588984"/>
                  <a:pt x="8467930" y="5028594"/>
                  <a:pt x="8523929" y="5564119"/>
                </a:cubicBezTo>
                <a:cubicBezTo>
                  <a:pt x="8523929" y="5564119"/>
                  <a:pt x="8523929" y="5564119"/>
                  <a:pt x="8523929" y="5580105"/>
                </a:cubicBezTo>
                <a:cubicBezTo>
                  <a:pt x="8523929" y="5588097"/>
                  <a:pt x="8531928" y="5588097"/>
                  <a:pt x="8531928" y="5588097"/>
                </a:cubicBezTo>
                <a:cubicBezTo>
                  <a:pt x="8531928" y="5588097"/>
                  <a:pt x="8531928" y="5588097"/>
                  <a:pt x="8531928" y="5596091"/>
                </a:cubicBezTo>
                <a:cubicBezTo>
                  <a:pt x="8531928" y="5652041"/>
                  <a:pt x="8539928" y="5715984"/>
                  <a:pt x="8539928" y="5779927"/>
                </a:cubicBezTo>
                <a:cubicBezTo>
                  <a:pt x="8539928" y="6819006"/>
                  <a:pt x="7683947" y="7658262"/>
                  <a:pt x="6643970" y="7634283"/>
                </a:cubicBezTo>
                <a:cubicBezTo>
                  <a:pt x="5891986" y="7618297"/>
                  <a:pt x="5252001" y="7154709"/>
                  <a:pt x="4972007" y="6499289"/>
                </a:cubicBezTo>
                <a:cubicBezTo>
                  <a:pt x="4916008" y="6387389"/>
                  <a:pt x="4876009" y="6275488"/>
                  <a:pt x="4844010" y="6155595"/>
                </a:cubicBezTo>
                <a:cubicBezTo>
                  <a:pt x="4732012" y="5684013"/>
                  <a:pt x="4292022" y="5372289"/>
                  <a:pt x="3804033" y="5388275"/>
                </a:cubicBezTo>
                <a:cubicBezTo>
                  <a:pt x="3796033" y="5388275"/>
                  <a:pt x="3788033" y="5388275"/>
                  <a:pt x="3780034" y="5388275"/>
                </a:cubicBezTo>
                <a:cubicBezTo>
                  <a:pt x="3356043" y="5404261"/>
                  <a:pt x="2988051" y="5684013"/>
                  <a:pt x="2844054" y="6083658"/>
                </a:cubicBezTo>
                <a:cubicBezTo>
                  <a:pt x="2820055" y="6139609"/>
                  <a:pt x="2796055" y="6195559"/>
                  <a:pt x="2764056" y="6251509"/>
                </a:cubicBezTo>
                <a:cubicBezTo>
                  <a:pt x="2396064" y="6994850"/>
                  <a:pt x="1476085" y="7274602"/>
                  <a:pt x="748101" y="6866963"/>
                </a:cubicBezTo>
                <a:cubicBezTo>
                  <a:pt x="92115" y="6499289"/>
                  <a:pt x="-179879" y="5684013"/>
                  <a:pt x="124114" y="4996622"/>
                </a:cubicBezTo>
                <a:cubicBezTo>
                  <a:pt x="284111" y="4652927"/>
                  <a:pt x="548105" y="4405147"/>
                  <a:pt x="868098" y="4261274"/>
                </a:cubicBezTo>
                <a:cubicBezTo>
                  <a:pt x="1276089" y="4077437"/>
                  <a:pt x="1524084" y="3653813"/>
                  <a:pt x="1508084" y="3214203"/>
                </a:cubicBezTo>
                <a:cubicBezTo>
                  <a:pt x="1500084" y="3054344"/>
                  <a:pt x="1508084" y="2894486"/>
                  <a:pt x="1540083" y="2734628"/>
                </a:cubicBezTo>
                <a:cubicBezTo>
                  <a:pt x="1740079" y="1567663"/>
                  <a:pt x="2820055" y="752386"/>
                  <a:pt x="3996029" y="880272"/>
                </a:cubicBezTo>
                <a:cubicBezTo>
                  <a:pt x="4996006" y="992173"/>
                  <a:pt x="5763989" y="1727521"/>
                  <a:pt x="5955985" y="2654699"/>
                </a:cubicBezTo>
                <a:cubicBezTo>
                  <a:pt x="6035983" y="3006387"/>
                  <a:pt x="6371976" y="3254167"/>
                  <a:pt x="6731968" y="3222196"/>
                </a:cubicBezTo>
                <a:cubicBezTo>
                  <a:pt x="6731968" y="3222196"/>
                  <a:pt x="6731968" y="3222196"/>
                  <a:pt x="6747968" y="3222196"/>
                </a:cubicBezTo>
                <a:cubicBezTo>
                  <a:pt x="7147959" y="3190224"/>
                  <a:pt x="7451952" y="2854522"/>
                  <a:pt x="7435952" y="2454876"/>
                </a:cubicBezTo>
                <a:cubicBezTo>
                  <a:pt x="7435952" y="2438890"/>
                  <a:pt x="7435952" y="2414911"/>
                  <a:pt x="7435952" y="2398926"/>
                </a:cubicBezTo>
                <a:cubicBezTo>
                  <a:pt x="7403954" y="1104074"/>
                  <a:pt x="8411931" y="33023"/>
                  <a:pt x="9715902" y="1052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D27C269-8625-B04F-ABBA-9B4D2F48F3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AE27275-460B-4347-A31C-44332261EA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5844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56">
            <a:extLst>
              <a:ext uri="{FF2B5EF4-FFF2-40B4-BE49-F238E27FC236}">
                <a16:creationId xmlns:a16="http://schemas.microsoft.com/office/drawing/2014/main" id="{395B87A4-90E9-944F-9911-52CF18126896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455490" y="738114"/>
            <a:ext cx="23258584" cy="7416824"/>
          </a:xfrm>
          <a:custGeom>
            <a:avLst/>
            <a:gdLst>
              <a:gd name="T0" fmla="*/ 1316 w 1412"/>
              <a:gd name="T1" fmla="*/ 327 h 501"/>
              <a:gd name="T2" fmla="*/ 1320 w 1412"/>
              <a:gd name="T3" fmla="*/ 303 h 501"/>
              <a:gd name="T4" fmla="*/ 1192 w 1412"/>
              <a:gd name="T5" fmla="*/ 283 h 501"/>
              <a:gd name="T6" fmla="*/ 796 w 1412"/>
              <a:gd name="T7" fmla="*/ 237 h 501"/>
              <a:gd name="T8" fmla="*/ 929 w 1412"/>
              <a:gd name="T9" fmla="*/ 180 h 501"/>
              <a:gd name="T10" fmla="*/ 833 w 1412"/>
              <a:gd name="T11" fmla="*/ 195 h 501"/>
              <a:gd name="T12" fmla="*/ 819 w 1412"/>
              <a:gd name="T13" fmla="*/ 186 h 501"/>
              <a:gd name="T14" fmla="*/ 962 w 1412"/>
              <a:gd name="T15" fmla="*/ 150 h 501"/>
              <a:gd name="T16" fmla="*/ 1065 w 1412"/>
              <a:gd name="T17" fmla="*/ 133 h 501"/>
              <a:gd name="T18" fmla="*/ 1143 w 1412"/>
              <a:gd name="T19" fmla="*/ 126 h 501"/>
              <a:gd name="T20" fmla="*/ 1141 w 1412"/>
              <a:gd name="T21" fmla="*/ 101 h 501"/>
              <a:gd name="T22" fmla="*/ 1157 w 1412"/>
              <a:gd name="T23" fmla="*/ 129 h 501"/>
              <a:gd name="T24" fmla="*/ 1208 w 1412"/>
              <a:gd name="T25" fmla="*/ 132 h 501"/>
              <a:gd name="T26" fmla="*/ 1203 w 1412"/>
              <a:gd name="T27" fmla="*/ 68 h 501"/>
              <a:gd name="T28" fmla="*/ 1164 w 1412"/>
              <a:gd name="T29" fmla="*/ 14 h 501"/>
              <a:gd name="T30" fmla="*/ 939 w 1412"/>
              <a:gd name="T31" fmla="*/ 0 h 501"/>
              <a:gd name="T32" fmla="*/ 10 w 1412"/>
              <a:gd name="T33" fmla="*/ 141 h 501"/>
              <a:gd name="T34" fmla="*/ 264 w 1412"/>
              <a:gd name="T35" fmla="*/ 232 h 501"/>
              <a:gd name="T36" fmla="*/ 399 w 1412"/>
              <a:gd name="T37" fmla="*/ 242 h 501"/>
              <a:gd name="T38" fmla="*/ 103 w 1412"/>
              <a:gd name="T39" fmla="*/ 398 h 501"/>
              <a:gd name="T40" fmla="*/ 233 w 1412"/>
              <a:gd name="T41" fmla="*/ 490 h 501"/>
              <a:gd name="T42" fmla="*/ 393 w 1412"/>
              <a:gd name="T43" fmla="*/ 457 h 501"/>
              <a:gd name="T44" fmla="*/ 612 w 1412"/>
              <a:gd name="T45" fmla="*/ 428 h 501"/>
              <a:gd name="T46" fmla="*/ 738 w 1412"/>
              <a:gd name="T47" fmla="*/ 423 h 501"/>
              <a:gd name="T48" fmla="*/ 844 w 1412"/>
              <a:gd name="T49" fmla="*/ 418 h 501"/>
              <a:gd name="T50" fmla="*/ 900 w 1412"/>
              <a:gd name="T51" fmla="*/ 406 h 501"/>
              <a:gd name="T52" fmla="*/ 979 w 1412"/>
              <a:gd name="T53" fmla="*/ 414 h 501"/>
              <a:gd name="T54" fmla="*/ 1091 w 1412"/>
              <a:gd name="T55" fmla="*/ 403 h 501"/>
              <a:gd name="T56" fmla="*/ 1166 w 1412"/>
              <a:gd name="T57" fmla="*/ 405 h 501"/>
              <a:gd name="T58" fmla="*/ 1192 w 1412"/>
              <a:gd name="T59" fmla="*/ 419 h 501"/>
              <a:gd name="T60" fmla="*/ 1180 w 1412"/>
              <a:gd name="T61" fmla="*/ 396 h 501"/>
              <a:gd name="T62" fmla="*/ 1121 w 1412"/>
              <a:gd name="T63" fmla="*/ 378 h 501"/>
              <a:gd name="T64" fmla="*/ 1213 w 1412"/>
              <a:gd name="T65" fmla="*/ 389 h 501"/>
              <a:gd name="T66" fmla="*/ 1255 w 1412"/>
              <a:gd name="T67" fmla="*/ 402 h 501"/>
              <a:gd name="T68" fmla="*/ 1327 w 1412"/>
              <a:gd name="T69" fmla="*/ 402 h 501"/>
              <a:gd name="T70" fmla="*/ 1366 w 1412"/>
              <a:gd name="T71" fmla="*/ 386 h 501"/>
              <a:gd name="T72" fmla="*/ 1327 w 1412"/>
              <a:gd name="T73" fmla="*/ 377 h 501"/>
              <a:gd name="T74" fmla="*/ 1370 w 1412"/>
              <a:gd name="T75" fmla="*/ 358 h 501"/>
              <a:gd name="T76" fmla="*/ 1061 w 1412"/>
              <a:gd name="T77" fmla="*/ 104 h 501"/>
              <a:gd name="T78" fmla="*/ 1097 w 1412"/>
              <a:gd name="T79" fmla="*/ 37 h 501"/>
              <a:gd name="T80" fmla="*/ 1205 w 1412"/>
              <a:gd name="T81" fmla="*/ 39 h 501"/>
              <a:gd name="T82" fmla="*/ 1068 w 1412"/>
              <a:gd name="T83" fmla="*/ 40 h 501"/>
              <a:gd name="T84" fmla="*/ 997 w 1412"/>
              <a:gd name="T85" fmla="*/ 62 h 501"/>
              <a:gd name="T86" fmla="*/ 808 w 1412"/>
              <a:gd name="T87" fmla="*/ 169 h 501"/>
              <a:gd name="T88" fmla="*/ 270 w 1412"/>
              <a:gd name="T89" fmla="*/ 227 h 501"/>
              <a:gd name="T90" fmla="*/ 587 w 1412"/>
              <a:gd name="T91" fmla="*/ 241 h 501"/>
              <a:gd name="T92" fmla="*/ 590 w 1412"/>
              <a:gd name="T93" fmla="*/ 256 h 501"/>
              <a:gd name="T94" fmla="*/ 418 w 1412"/>
              <a:gd name="T95" fmla="*/ 271 h 501"/>
              <a:gd name="T96" fmla="*/ 257 w 1412"/>
              <a:gd name="T97" fmla="*/ 464 h 501"/>
              <a:gd name="T98" fmla="*/ 294 w 1412"/>
              <a:gd name="T99" fmla="*/ 457 h 501"/>
              <a:gd name="T100" fmla="*/ 654 w 1412"/>
              <a:gd name="T101" fmla="*/ 259 h 501"/>
              <a:gd name="T102" fmla="*/ 315 w 1412"/>
              <a:gd name="T103" fmla="*/ 329 h 501"/>
              <a:gd name="T104" fmla="*/ 241 w 1412"/>
              <a:gd name="T105" fmla="*/ 333 h 501"/>
              <a:gd name="T106" fmla="*/ 399 w 1412"/>
              <a:gd name="T107" fmla="*/ 275 h 501"/>
              <a:gd name="T108" fmla="*/ 487 w 1412"/>
              <a:gd name="T109" fmla="*/ 277 h 501"/>
              <a:gd name="T110" fmla="*/ 562 w 1412"/>
              <a:gd name="T111" fmla="*/ 261 h 501"/>
              <a:gd name="T112" fmla="*/ 711 w 1412"/>
              <a:gd name="T113" fmla="*/ 422 h 501"/>
              <a:gd name="T114" fmla="*/ 690 w 1412"/>
              <a:gd name="T115" fmla="*/ 233 h 501"/>
              <a:gd name="T116" fmla="*/ 981 w 1412"/>
              <a:gd name="T117" fmla="*/ 378 h 501"/>
              <a:gd name="T118" fmla="*/ 1132 w 1412"/>
              <a:gd name="T119" fmla="*/ 356 h 501"/>
              <a:gd name="T120" fmla="*/ 1312 w 1412"/>
              <a:gd name="T121" fmla="*/ 396 h 501"/>
              <a:gd name="T122" fmla="*/ 1285 w 1412"/>
              <a:gd name="T123" fmla="*/ 328 h 501"/>
              <a:gd name="T124" fmla="*/ 1296 w 1412"/>
              <a:gd name="T125" fmla="*/ 317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12" h="501">
                <a:moveTo>
                  <a:pt x="1410" y="347"/>
                </a:moveTo>
                <a:lnTo>
                  <a:pt x="1404" y="347"/>
                </a:lnTo>
                <a:lnTo>
                  <a:pt x="1397" y="348"/>
                </a:lnTo>
                <a:lnTo>
                  <a:pt x="1395" y="349"/>
                </a:lnTo>
                <a:lnTo>
                  <a:pt x="1393" y="350"/>
                </a:lnTo>
                <a:lnTo>
                  <a:pt x="1390" y="350"/>
                </a:lnTo>
                <a:lnTo>
                  <a:pt x="1387" y="348"/>
                </a:lnTo>
                <a:lnTo>
                  <a:pt x="1386" y="346"/>
                </a:lnTo>
                <a:lnTo>
                  <a:pt x="1385" y="345"/>
                </a:lnTo>
                <a:lnTo>
                  <a:pt x="1384" y="344"/>
                </a:lnTo>
                <a:lnTo>
                  <a:pt x="1381" y="344"/>
                </a:lnTo>
                <a:lnTo>
                  <a:pt x="1378" y="345"/>
                </a:lnTo>
                <a:lnTo>
                  <a:pt x="1374" y="345"/>
                </a:lnTo>
                <a:lnTo>
                  <a:pt x="1373" y="345"/>
                </a:lnTo>
                <a:lnTo>
                  <a:pt x="1373" y="344"/>
                </a:lnTo>
                <a:lnTo>
                  <a:pt x="1372" y="341"/>
                </a:lnTo>
                <a:lnTo>
                  <a:pt x="1370" y="341"/>
                </a:lnTo>
                <a:lnTo>
                  <a:pt x="1365" y="341"/>
                </a:lnTo>
                <a:lnTo>
                  <a:pt x="1361" y="341"/>
                </a:lnTo>
                <a:lnTo>
                  <a:pt x="1353" y="341"/>
                </a:lnTo>
                <a:lnTo>
                  <a:pt x="1345" y="342"/>
                </a:lnTo>
                <a:lnTo>
                  <a:pt x="1340" y="342"/>
                </a:lnTo>
                <a:lnTo>
                  <a:pt x="1337" y="341"/>
                </a:lnTo>
                <a:lnTo>
                  <a:pt x="1337" y="339"/>
                </a:lnTo>
                <a:lnTo>
                  <a:pt x="1339" y="337"/>
                </a:lnTo>
                <a:lnTo>
                  <a:pt x="1335" y="336"/>
                </a:lnTo>
                <a:lnTo>
                  <a:pt x="1328" y="335"/>
                </a:lnTo>
                <a:lnTo>
                  <a:pt x="1332" y="332"/>
                </a:lnTo>
                <a:lnTo>
                  <a:pt x="1336" y="330"/>
                </a:lnTo>
                <a:lnTo>
                  <a:pt x="1331" y="330"/>
                </a:lnTo>
                <a:lnTo>
                  <a:pt x="1325" y="330"/>
                </a:lnTo>
                <a:lnTo>
                  <a:pt x="1322" y="330"/>
                </a:lnTo>
                <a:lnTo>
                  <a:pt x="1320" y="329"/>
                </a:lnTo>
                <a:lnTo>
                  <a:pt x="1318" y="328"/>
                </a:lnTo>
                <a:lnTo>
                  <a:pt x="1316" y="327"/>
                </a:lnTo>
                <a:lnTo>
                  <a:pt x="1321" y="323"/>
                </a:lnTo>
                <a:lnTo>
                  <a:pt x="1325" y="319"/>
                </a:lnTo>
                <a:lnTo>
                  <a:pt x="1325" y="317"/>
                </a:lnTo>
                <a:lnTo>
                  <a:pt x="1325" y="315"/>
                </a:lnTo>
                <a:lnTo>
                  <a:pt x="1324" y="315"/>
                </a:lnTo>
                <a:lnTo>
                  <a:pt x="1323" y="315"/>
                </a:lnTo>
                <a:lnTo>
                  <a:pt x="1320" y="315"/>
                </a:lnTo>
                <a:lnTo>
                  <a:pt x="1315" y="315"/>
                </a:lnTo>
                <a:lnTo>
                  <a:pt x="1312" y="315"/>
                </a:lnTo>
                <a:lnTo>
                  <a:pt x="1307" y="314"/>
                </a:lnTo>
                <a:lnTo>
                  <a:pt x="1306" y="313"/>
                </a:lnTo>
                <a:lnTo>
                  <a:pt x="1305" y="313"/>
                </a:lnTo>
                <a:lnTo>
                  <a:pt x="1306" y="312"/>
                </a:lnTo>
                <a:lnTo>
                  <a:pt x="1310" y="311"/>
                </a:lnTo>
                <a:lnTo>
                  <a:pt x="1315" y="311"/>
                </a:lnTo>
                <a:lnTo>
                  <a:pt x="1320" y="310"/>
                </a:lnTo>
                <a:lnTo>
                  <a:pt x="1325" y="311"/>
                </a:lnTo>
                <a:lnTo>
                  <a:pt x="1331" y="311"/>
                </a:lnTo>
                <a:lnTo>
                  <a:pt x="1341" y="312"/>
                </a:lnTo>
                <a:lnTo>
                  <a:pt x="1351" y="312"/>
                </a:lnTo>
                <a:lnTo>
                  <a:pt x="1360" y="314"/>
                </a:lnTo>
                <a:lnTo>
                  <a:pt x="1368" y="315"/>
                </a:lnTo>
                <a:lnTo>
                  <a:pt x="1371" y="315"/>
                </a:lnTo>
                <a:lnTo>
                  <a:pt x="1374" y="313"/>
                </a:lnTo>
                <a:lnTo>
                  <a:pt x="1377" y="312"/>
                </a:lnTo>
                <a:lnTo>
                  <a:pt x="1380" y="308"/>
                </a:lnTo>
                <a:lnTo>
                  <a:pt x="1374" y="306"/>
                </a:lnTo>
                <a:lnTo>
                  <a:pt x="1369" y="305"/>
                </a:lnTo>
                <a:lnTo>
                  <a:pt x="1362" y="304"/>
                </a:lnTo>
                <a:lnTo>
                  <a:pt x="1356" y="304"/>
                </a:lnTo>
                <a:lnTo>
                  <a:pt x="1344" y="302"/>
                </a:lnTo>
                <a:lnTo>
                  <a:pt x="1332" y="302"/>
                </a:lnTo>
                <a:lnTo>
                  <a:pt x="1328" y="304"/>
                </a:lnTo>
                <a:lnTo>
                  <a:pt x="1323" y="305"/>
                </a:lnTo>
                <a:lnTo>
                  <a:pt x="1320" y="303"/>
                </a:lnTo>
                <a:lnTo>
                  <a:pt x="1318" y="300"/>
                </a:lnTo>
                <a:lnTo>
                  <a:pt x="1313" y="298"/>
                </a:lnTo>
                <a:lnTo>
                  <a:pt x="1308" y="298"/>
                </a:lnTo>
                <a:lnTo>
                  <a:pt x="1305" y="299"/>
                </a:lnTo>
                <a:lnTo>
                  <a:pt x="1300" y="302"/>
                </a:lnTo>
                <a:lnTo>
                  <a:pt x="1296" y="303"/>
                </a:lnTo>
                <a:lnTo>
                  <a:pt x="1292" y="303"/>
                </a:lnTo>
                <a:lnTo>
                  <a:pt x="1290" y="303"/>
                </a:lnTo>
                <a:lnTo>
                  <a:pt x="1289" y="302"/>
                </a:lnTo>
                <a:lnTo>
                  <a:pt x="1288" y="300"/>
                </a:lnTo>
                <a:lnTo>
                  <a:pt x="1288" y="298"/>
                </a:lnTo>
                <a:lnTo>
                  <a:pt x="1285" y="296"/>
                </a:lnTo>
                <a:lnTo>
                  <a:pt x="1281" y="295"/>
                </a:lnTo>
                <a:lnTo>
                  <a:pt x="1277" y="296"/>
                </a:lnTo>
                <a:lnTo>
                  <a:pt x="1272" y="297"/>
                </a:lnTo>
                <a:lnTo>
                  <a:pt x="1263" y="296"/>
                </a:lnTo>
                <a:lnTo>
                  <a:pt x="1255" y="295"/>
                </a:lnTo>
                <a:lnTo>
                  <a:pt x="1258" y="291"/>
                </a:lnTo>
                <a:lnTo>
                  <a:pt x="1264" y="289"/>
                </a:lnTo>
                <a:lnTo>
                  <a:pt x="1250" y="287"/>
                </a:lnTo>
                <a:lnTo>
                  <a:pt x="1236" y="286"/>
                </a:lnTo>
                <a:lnTo>
                  <a:pt x="1238" y="288"/>
                </a:lnTo>
                <a:lnTo>
                  <a:pt x="1241" y="290"/>
                </a:lnTo>
                <a:lnTo>
                  <a:pt x="1238" y="291"/>
                </a:lnTo>
                <a:lnTo>
                  <a:pt x="1236" y="292"/>
                </a:lnTo>
                <a:lnTo>
                  <a:pt x="1232" y="292"/>
                </a:lnTo>
                <a:lnTo>
                  <a:pt x="1230" y="290"/>
                </a:lnTo>
                <a:lnTo>
                  <a:pt x="1228" y="287"/>
                </a:lnTo>
                <a:lnTo>
                  <a:pt x="1226" y="284"/>
                </a:lnTo>
                <a:lnTo>
                  <a:pt x="1221" y="283"/>
                </a:lnTo>
                <a:lnTo>
                  <a:pt x="1214" y="283"/>
                </a:lnTo>
                <a:lnTo>
                  <a:pt x="1208" y="282"/>
                </a:lnTo>
                <a:lnTo>
                  <a:pt x="1203" y="281"/>
                </a:lnTo>
                <a:lnTo>
                  <a:pt x="1197" y="282"/>
                </a:lnTo>
                <a:lnTo>
                  <a:pt x="1192" y="283"/>
                </a:lnTo>
                <a:lnTo>
                  <a:pt x="1190" y="281"/>
                </a:lnTo>
                <a:lnTo>
                  <a:pt x="1189" y="279"/>
                </a:lnTo>
                <a:lnTo>
                  <a:pt x="1183" y="278"/>
                </a:lnTo>
                <a:lnTo>
                  <a:pt x="1179" y="279"/>
                </a:lnTo>
                <a:lnTo>
                  <a:pt x="1151" y="275"/>
                </a:lnTo>
                <a:lnTo>
                  <a:pt x="1123" y="273"/>
                </a:lnTo>
                <a:lnTo>
                  <a:pt x="1096" y="270"/>
                </a:lnTo>
                <a:lnTo>
                  <a:pt x="1068" y="269"/>
                </a:lnTo>
                <a:lnTo>
                  <a:pt x="1040" y="266"/>
                </a:lnTo>
                <a:lnTo>
                  <a:pt x="1013" y="265"/>
                </a:lnTo>
                <a:lnTo>
                  <a:pt x="984" y="265"/>
                </a:lnTo>
                <a:lnTo>
                  <a:pt x="956" y="264"/>
                </a:lnTo>
                <a:lnTo>
                  <a:pt x="927" y="264"/>
                </a:lnTo>
                <a:lnTo>
                  <a:pt x="900" y="263"/>
                </a:lnTo>
                <a:lnTo>
                  <a:pt x="871" y="263"/>
                </a:lnTo>
                <a:lnTo>
                  <a:pt x="843" y="263"/>
                </a:lnTo>
                <a:lnTo>
                  <a:pt x="828" y="263"/>
                </a:lnTo>
                <a:lnTo>
                  <a:pt x="812" y="263"/>
                </a:lnTo>
                <a:lnTo>
                  <a:pt x="796" y="263"/>
                </a:lnTo>
                <a:lnTo>
                  <a:pt x="780" y="263"/>
                </a:lnTo>
                <a:lnTo>
                  <a:pt x="764" y="264"/>
                </a:lnTo>
                <a:lnTo>
                  <a:pt x="748" y="264"/>
                </a:lnTo>
                <a:lnTo>
                  <a:pt x="744" y="264"/>
                </a:lnTo>
                <a:lnTo>
                  <a:pt x="736" y="265"/>
                </a:lnTo>
                <a:lnTo>
                  <a:pt x="733" y="264"/>
                </a:lnTo>
                <a:lnTo>
                  <a:pt x="729" y="264"/>
                </a:lnTo>
                <a:lnTo>
                  <a:pt x="727" y="263"/>
                </a:lnTo>
                <a:lnTo>
                  <a:pt x="726" y="262"/>
                </a:lnTo>
                <a:lnTo>
                  <a:pt x="733" y="262"/>
                </a:lnTo>
                <a:lnTo>
                  <a:pt x="739" y="259"/>
                </a:lnTo>
                <a:lnTo>
                  <a:pt x="745" y="257"/>
                </a:lnTo>
                <a:lnTo>
                  <a:pt x="752" y="254"/>
                </a:lnTo>
                <a:lnTo>
                  <a:pt x="766" y="248"/>
                </a:lnTo>
                <a:lnTo>
                  <a:pt x="779" y="244"/>
                </a:lnTo>
                <a:lnTo>
                  <a:pt x="796" y="237"/>
                </a:lnTo>
                <a:lnTo>
                  <a:pt x="813" y="230"/>
                </a:lnTo>
                <a:lnTo>
                  <a:pt x="830" y="223"/>
                </a:lnTo>
                <a:lnTo>
                  <a:pt x="847" y="217"/>
                </a:lnTo>
                <a:lnTo>
                  <a:pt x="865" y="211"/>
                </a:lnTo>
                <a:lnTo>
                  <a:pt x="882" y="205"/>
                </a:lnTo>
                <a:lnTo>
                  <a:pt x="899" y="198"/>
                </a:lnTo>
                <a:lnTo>
                  <a:pt x="917" y="192"/>
                </a:lnTo>
                <a:lnTo>
                  <a:pt x="933" y="187"/>
                </a:lnTo>
                <a:lnTo>
                  <a:pt x="950" y="181"/>
                </a:lnTo>
                <a:lnTo>
                  <a:pt x="958" y="179"/>
                </a:lnTo>
                <a:lnTo>
                  <a:pt x="966" y="176"/>
                </a:lnTo>
                <a:lnTo>
                  <a:pt x="974" y="174"/>
                </a:lnTo>
                <a:lnTo>
                  <a:pt x="982" y="171"/>
                </a:lnTo>
                <a:lnTo>
                  <a:pt x="977" y="170"/>
                </a:lnTo>
                <a:lnTo>
                  <a:pt x="974" y="170"/>
                </a:lnTo>
                <a:lnTo>
                  <a:pt x="975" y="167"/>
                </a:lnTo>
                <a:lnTo>
                  <a:pt x="976" y="166"/>
                </a:lnTo>
                <a:lnTo>
                  <a:pt x="976" y="164"/>
                </a:lnTo>
                <a:lnTo>
                  <a:pt x="974" y="163"/>
                </a:lnTo>
                <a:lnTo>
                  <a:pt x="972" y="163"/>
                </a:lnTo>
                <a:lnTo>
                  <a:pt x="969" y="163"/>
                </a:lnTo>
                <a:lnTo>
                  <a:pt x="968" y="164"/>
                </a:lnTo>
                <a:lnTo>
                  <a:pt x="967" y="165"/>
                </a:lnTo>
                <a:lnTo>
                  <a:pt x="967" y="165"/>
                </a:lnTo>
                <a:lnTo>
                  <a:pt x="968" y="166"/>
                </a:lnTo>
                <a:lnTo>
                  <a:pt x="970" y="169"/>
                </a:lnTo>
                <a:lnTo>
                  <a:pt x="970" y="170"/>
                </a:lnTo>
                <a:lnTo>
                  <a:pt x="961" y="171"/>
                </a:lnTo>
                <a:lnTo>
                  <a:pt x="952" y="172"/>
                </a:lnTo>
                <a:lnTo>
                  <a:pt x="944" y="175"/>
                </a:lnTo>
                <a:lnTo>
                  <a:pt x="936" y="178"/>
                </a:lnTo>
                <a:lnTo>
                  <a:pt x="933" y="176"/>
                </a:lnTo>
                <a:lnTo>
                  <a:pt x="929" y="176"/>
                </a:lnTo>
                <a:lnTo>
                  <a:pt x="929" y="178"/>
                </a:lnTo>
                <a:lnTo>
                  <a:pt x="929" y="180"/>
                </a:lnTo>
                <a:lnTo>
                  <a:pt x="928" y="181"/>
                </a:lnTo>
                <a:lnTo>
                  <a:pt x="926" y="181"/>
                </a:lnTo>
                <a:lnTo>
                  <a:pt x="923" y="183"/>
                </a:lnTo>
                <a:lnTo>
                  <a:pt x="918" y="184"/>
                </a:lnTo>
                <a:lnTo>
                  <a:pt x="913" y="184"/>
                </a:lnTo>
                <a:lnTo>
                  <a:pt x="910" y="184"/>
                </a:lnTo>
                <a:lnTo>
                  <a:pt x="907" y="186"/>
                </a:lnTo>
                <a:lnTo>
                  <a:pt x="903" y="186"/>
                </a:lnTo>
                <a:lnTo>
                  <a:pt x="900" y="184"/>
                </a:lnTo>
                <a:lnTo>
                  <a:pt x="896" y="183"/>
                </a:lnTo>
                <a:lnTo>
                  <a:pt x="895" y="179"/>
                </a:lnTo>
                <a:lnTo>
                  <a:pt x="894" y="176"/>
                </a:lnTo>
                <a:lnTo>
                  <a:pt x="891" y="178"/>
                </a:lnTo>
                <a:lnTo>
                  <a:pt x="888" y="180"/>
                </a:lnTo>
                <a:lnTo>
                  <a:pt x="883" y="180"/>
                </a:lnTo>
                <a:lnTo>
                  <a:pt x="878" y="180"/>
                </a:lnTo>
                <a:lnTo>
                  <a:pt x="878" y="183"/>
                </a:lnTo>
                <a:lnTo>
                  <a:pt x="880" y="187"/>
                </a:lnTo>
                <a:lnTo>
                  <a:pt x="885" y="186"/>
                </a:lnTo>
                <a:lnTo>
                  <a:pt x="888" y="186"/>
                </a:lnTo>
                <a:lnTo>
                  <a:pt x="885" y="189"/>
                </a:lnTo>
                <a:lnTo>
                  <a:pt x="882" y="190"/>
                </a:lnTo>
                <a:lnTo>
                  <a:pt x="877" y="190"/>
                </a:lnTo>
                <a:lnTo>
                  <a:pt x="873" y="189"/>
                </a:lnTo>
                <a:lnTo>
                  <a:pt x="869" y="187"/>
                </a:lnTo>
                <a:lnTo>
                  <a:pt x="866" y="187"/>
                </a:lnTo>
                <a:lnTo>
                  <a:pt x="861" y="189"/>
                </a:lnTo>
                <a:lnTo>
                  <a:pt x="855" y="192"/>
                </a:lnTo>
                <a:lnTo>
                  <a:pt x="852" y="195"/>
                </a:lnTo>
                <a:lnTo>
                  <a:pt x="849" y="197"/>
                </a:lnTo>
                <a:lnTo>
                  <a:pt x="845" y="196"/>
                </a:lnTo>
                <a:lnTo>
                  <a:pt x="843" y="194"/>
                </a:lnTo>
                <a:lnTo>
                  <a:pt x="840" y="194"/>
                </a:lnTo>
                <a:lnTo>
                  <a:pt x="836" y="194"/>
                </a:lnTo>
                <a:lnTo>
                  <a:pt x="833" y="195"/>
                </a:lnTo>
                <a:lnTo>
                  <a:pt x="832" y="197"/>
                </a:lnTo>
                <a:lnTo>
                  <a:pt x="833" y="198"/>
                </a:lnTo>
                <a:lnTo>
                  <a:pt x="833" y="199"/>
                </a:lnTo>
                <a:lnTo>
                  <a:pt x="833" y="200"/>
                </a:lnTo>
                <a:lnTo>
                  <a:pt x="832" y="200"/>
                </a:lnTo>
                <a:lnTo>
                  <a:pt x="829" y="199"/>
                </a:lnTo>
                <a:lnTo>
                  <a:pt x="828" y="197"/>
                </a:lnTo>
                <a:lnTo>
                  <a:pt x="826" y="197"/>
                </a:lnTo>
                <a:lnTo>
                  <a:pt x="824" y="197"/>
                </a:lnTo>
                <a:lnTo>
                  <a:pt x="824" y="195"/>
                </a:lnTo>
                <a:lnTo>
                  <a:pt x="825" y="194"/>
                </a:lnTo>
                <a:lnTo>
                  <a:pt x="827" y="194"/>
                </a:lnTo>
                <a:lnTo>
                  <a:pt x="828" y="192"/>
                </a:lnTo>
                <a:lnTo>
                  <a:pt x="829" y="191"/>
                </a:lnTo>
                <a:lnTo>
                  <a:pt x="828" y="190"/>
                </a:lnTo>
                <a:lnTo>
                  <a:pt x="827" y="190"/>
                </a:lnTo>
                <a:lnTo>
                  <a:pt x="825" y="190"/>
                </a:lnTo>
                <a:lnTo>
                  <a:pt x="821" y="191"/>
                </a:lnTo>
                <a:lnTo>
                  <a:pt x="819" y="194"/>
                </a:lnTo>
                <a:lnTo>
                  <a:pt x="819" y="196"/>
                </a:lnTo>
                <a:lnTo>
                  <a:pt x="819" y="197"/>
                </a:lnTo>
                <a:lnTo>
                  <a:pt x="814" y="198"/>
                </a:lnTo>
                <a:lnTo>
                  <a:pt x="809" y="197"/>
                </a:lnTo>
                <a:lnTo>
                  <a:pt x="803" y="198"/>
                </a:lnTo>
                <a:lnTo>
                  <a:pt x="799" y="199"/>
                </a:lnTo>
                <a:lnTo>
                  <a:pt x="797" y="197"/>
                </a:lnTo>
                <a:lnTo>
                  <a:pt x="797" y="196"/>
                </a:lnTo>
                <a:lnTo>
                  <a:pt x="799" y="194"/>
                </a:lnTo>
                <a:lnTo>
                  <a:pt x="801" y="194"/>
                </a:lnTo>
                <a:lnTo>
                  <a:pt x="803" y="190"/>
                </a:lnTo>
                <a:lnTo>
                  <a:pt x="805" y="189"/>
                </a:lnTo>
                <a:lnTo>
                  <a:pt x="810" y="189"/>
                </a:lnTo>
                <a:lnTo>
                  <a:pt x="813" y="190"/>
                </a:lnTo>
                <a:lnTo>
                  <a:pt x="817" y="188"/>
                </a:lnTo>
                <a:lnTo>
                  <a:pt x="819" y="186"/>
                </a:lnTo>
                <a:lnTo>
                  <a:pt x="824" y="184"/>
                </a:lnTo>
                <a:lnTo>
                  <a:pt x="827" y="183"/>
                </a:lnTo>
                <a:lnTo>
                  <a:pt x="840" y="179"/>
                </a:lnTo>
                <a:lnTo>
                  <a:pt x="851" y="174"/>
                </a:lnTo>
                <a:lnTo>
                  <a:pt x="862" y="171"/>
                </a:lnTo>
                <a:lnTo>
                  <a:pt x="873" y="167"/>
                </a:lnTo>
                <a:lnTo>
                  <a:pt x="877" y="166"/>
                </a:lnTo>
                <a:lnTo>
                  <a:pt x="882" y="164"/>
                </a:lnTo>
                <a:lnTo>
                  <a:pt x="886" y="161"/>
                </a:lnTo>
                <a:lnTo>
                  <a:pt x="891" y="158"/>
                </a:lnTo>
                <a:lnTo>
                  <a:pt x="902" y="158"/>
                </a:lnTo>
                <a:lnTo>
                  <a:pt x="913" y="157"/>
                </a:lnTo>
                <a:lnTo>
                  <a:pt x="919" y="156"/>
                </a:lnTo>
                <a:lnTo>
                  <a:pt x="925" y="156"/>
                </a:lnTo>
                <a:lnTo>
                  <a:pt x="929" y="156"/>
                </a:lnTo>
                <a:lnTo>
                  <a:pt x="935" y="155"/>
                </a:lnTo>
                <a:lnTo>
                  <a:pt x="939" y="153"/>
                </a:lnTo>
                <a:lnTo>
                  <a:pt x="941" y="148"/>
                </a:lnTo>
                <a:lnTo>
                  <a:pt x="942" y="147"/>
                </a:lnTo>
                <a:lnTo>
                  <a:pt x="944" y="145"/>
                </a:lnTo>
                <a:lnTo>
                  <a:pt x="946" y="145"/>
                </a:lnTo>
                <a:lnTo>
                  <a:pt x="949" y="144"/>
                </a:lnTo>
                <a:lnTo>
                  <a:pt x="953" y="142"/>
                </a:lnTo>
                <a:lnTo>
                  <a:pt x="959" y="141"/>
                </a:lnTo>
                <a:lnTo>
                  <a:pt x="965" y="139"/>
                </a:lnTo>
                <a:lnTo>
                  <a:pt x="970" y="139"/>
                </a:lnTo>
                <a:lnTo>
                  <a:pt x="975" y="139"/>
                </a:lnTo>
                <a:lnTo>
                  <a:pt x="978" y="141"/>
                </a:lnTo>
                <a:lnTo>
                  <a:pt x="979" y="142"/>
                </a:lnTo>
                <a:lnTo>
                  <a:pt x="978" y="145"/>
                </a:lnTo>
                <a:lnTo>
                  <a:pt x="977" y="146"/>
                </a:lnTo>
                <a:lnTo>
                  <a:pt x="975" y="147"/>
                </a:lnTo>
                <a:lnTo>
                  <a:pt x="970" y="148"/>
                </a:lnTo>
                <a:lnTo>
                  <a:pt x="965" y="149"/>
                </a:lnTo>
                <a:lnTo>
                  <a:pt x="962" y="150"/>
                </a:lnTo>
                <a:lnTo>
                  <a:pt x="961" y="151"/>
                </a:lnTo>
                <a:lnTo>
                  <a:pt x="960" y="154"/>
                </a:lnTo>
                <a:lnTo>
                  <a:pt x="959" y="156"/>
                </a:lnTo>
                <a:lnTo>
                  <a:pt x="962" y="155"/>
                </a:lnTo>
                <a:lnTo>
                  <a:pt x="966" y="154"/>
                </a:lnTo>
                <a:lnTo>
                  <a:pt x="968" y="154"/>
                </a:lnTo>
                <a:lnTo>
                  <a:pt x="972" y="155"/>
                </a:lnTo>
                <a:lnTo>
                  <a:pt x="973" y="156"/>
                </a:lnTo>
                <a:lnTo>
                  <a:pt x="975" y="156"/>
                </a:lnTo>
                <a:lnTo>
                  <a:pt x="977" y="155"/>
                </a:lnTo>
                <a:lnTo>
                  <a:pt x="979" y="153"/>
                </a:lnTo>
                <a:lnTo>
                  <a:pt x="985" y="153"/>
                </a:lnTo>
                <a:lnTo>
                  <a:pt x="993" y="153"/>
                </a:lnTo>
                <a:lnTo>
                  <a:pt x="998" y="151"/>
                </a:lnTo>
                <a:lnTo>
                  <a:pt x="1001" y="151"/>
                </a:lnTo>
                <a:lnTo>
                  <a:pt x="1003" y="150"/>
                </a:lnTo>
                <a:lnTo>
                  <a:pt x="1005" y="148"/>
                </a:lnTo>
                <a:lnTo>
                  <a:pt x="995" y="147"/>
                </a:lnTo>
                <a:lnTo>
                  <a:pt x="985" y="148"/>
                </a:lnTo>
                <a:lnTo>
                  <a:pt x="990" y="145"/>
                </a:lnTo>
                <a:lnTo>
                  <a:pt x="994" y="142"/>
                </a:lnTo>
                <a:lnTo>
                  <a:pt x="990" y="141"/>
                </a:lnTo>
                <a:lnTo>
                  <a:pt x="986" y="140"/>
                </a:lnTo>
                <a:lnTo>
                  <a:pt x="992" y="138"/>
                </a:lnTo>
                <a:lnTo>
                  <a:pt x="998" y="137"/>
                </a:lnTo>
                <a:lnTo>
                  <a:pt x="1003" y="136"/>
                </a:lnTo>
                <a:lnTo>
                  <a:pt x="1009" y="137"/>
                </a:lnTo>
                <a:lnTo>
                  <a:pt x="1016" y="138"/>
                </a:lnTo>
                <a:lnTo>
                  <a:pt x="1022" y="139"/>
                </a:lnTo>
                <a:lnTo>
                  <a:pt x="1027" y="139"/>
                </a:lnTo>
                <a:lnTo>
                  <a:pt x="1032" y="138"/>
                </a:lnTo>
                <a:lnTo>
                  <a:pt x="1044" y="136"/>
                </a:lnTo>
                <a:lnTo>
                  <a:pt x="1056" y="134"/>
                </a:lnTo>
                <a:lnTo>
                  <a:pt x="1060" y="134"/>
                </a:lnTo>
                <a:lnTo>
                  <a:pt x="1065" y="133"/>
                </a:lnTo>
                <a:lnTo>
                  <a:pt x="1067" y="131"/>
                </a:lnTo>
                <a:lnTo>
                  <a:pt x="1068" y="129"/>
                </a:lnTo>
                <a:lnTo>
                  <a:pt x="1071" y="129"/>
                </a:lnTo>
                <a:lnTo>
                  <a:pt x="1073" y="129"/>
                </a:lnTo>
                <a:lnTo>
                  <a:pt x="1076" y="129"/>
                </a:lnTo>
                <a:lnTo>
                  <a:pt x="1079" y="129"/>
                </a:lnTo>
                <a:lnTo>
                  <a:pt x="1082" y="130"/>
                </a:lnTo>
                <a:lnTo>
                  <a:pt x="1085" y="132"/>
                </a:lnTo>
                <a:lnTo>
                  <a:pt x="1094" y="130"/>
                </a:lnTo>
                <a:lnTo>
                  <a:pt x="1102" y="129"/>
                </a:lnTo>
                <a:lnTo>
                  <a:pt x="1102" y="130"/>
                </a:lnTo>
                <a:lnTo>
                  <a:pt x="1104" y="132"/>
                </a:lnTo>
                <a:lnTo>
                  <a:pt x="1104" y="133"/>
                </a:lnTo>
                <a:lnTo>
                  <a:pt x="1104" y="134"/>
                </a:lnTo>
                <a:lnTo>
                  <a:pt x="1102" y="136"/>
                </a:lnTo>
                <a:lnTo>
                  <a:pt x="1101" y="137"/>
                </a:lnTo>
                <a:lnTo>
                  <a:pt x="1096" y="140"/>
                </a:lnTo>
                <a:lnTo>
                  <a:pt x="1089" y="141"/>
                </a:lnTo>
                <a:lnTo>
                  <a:pt x="1083" y="142"/>
                </a:lnTo>
                <a:lnTo>
                  <a:pt x="1077" y="144"/>
                </a:lnTo>
                <a:lnTo>
                  <a:pt x="1079" y="145"/>
                </a:lnTo>
                <a:lnTo>
                  <a:pt x="1080" y="146"/>
                </a:lnTo>
                <a:lnTo>
                  <a:pt x="1082" y="146"/>
                </a:lnTo>
                <a:lnTo>
                  <a:pt x="1083" y="145"/>
                </a:lnTo>
                <a:lnTo>
                  <a:pt x="1090" y="145"/>
                </a:lnTo>
                <a:lnTo>
                  <a:pt x="1096" y="145"/>
                </a:lnTo>
                <a:lnTo>
                  <a:pt x="1101" y="144"/>
                </a:lnTo>
                <a:lnTo>
                  <a:pt x="1107" y="142"/>
                </a:lnTo>
                <a:lnTo>
                  <a:pt x="1114" y="140"/>
                </a:lnTo>
                <a:lnTo>
                  <a:pt x="1119" y="138"/>
                </a:lnTo>
                <a:lnTo>
                  <a:pt x="1129" y="132"/>
                </a:lnTo>
                <a:lnTo>
                  <a:pt x="1139" y="129"/>
                </a:lnTo>
                <a:lnTo>
                  <a:pt x="1140" y="128"/>
                </a:lnTo>
                <a:lnTo>
                  <a:pt x="1142" y="126"/>
                </a:lnTo>
                <a:lnTo>
                  <a:pt x="1143" y="126"/>
                </a:lnTo>
                <a:lnTo>
                  <a:pt x="1143" y="125"/>
                </a:lnTo>
                <a:lnTo>
                  <a:pt x="1143" y="124"/>
                </a:lnTo>
                <a:lnTo>
                  <a:pt x="1142" y="123"/>
                </a:lnTo>
                <a:lnTo>
                  <a:pt x="1140" y="123"/>
                </a:lnTo>
                <a:lnTo>
                  <a:pt x="1137" y="123"/>
                </a:lnTo>
                <a:lnTo>
                  <a:pt x="1134" y="121"/>
                </a:lnTo>
                <a:lnTo>
                  <a:pt x="1130" y="119"/>
                </a:lnTo>
                <a:lnTo>
                  <a:pt x="1126" y="119"/>
                </a:lnTo>
                <a:lnTo>
                  <a:pt x="1123" y="119"/>
                </a:lnTo>
                <a:lnTo>
                  <a:pt x="1119" y="117"/>
                </a:lnTo>
                <a:lnTo>
                  <a:pt x="1117" y="115"/>
                </a:lnTo>
                <a:lnTo>
                  <a:pt x="1116" y="115"/>
                </a:lnTo>
                <a:lnTo>
                  <a:pt x="1114" y="119"/>
                </a:lnTo>
                <a:lnTo>
                  <a:pt x="1112" y="122"/>
                </a:lnTo>
                <a:lnTo>
                  <a:pt x="1108" y="123"/>
                </a:lnTo>
                <a:lnTo>
                  <a:pt x="1105" y="124"/>
                </a:lnTo>
                <a:lnTo>
                  <a:pt x="1101" y="123"/>
                </a:lnTo>
                <a:lnTo>
                  <a:pt x="1100" y="122"/>
                </a:lnTo>
                <a:lnTo>
                  <a:pt x="1099" y="121"/>
                </a:lnTo>
                <a:lnTo>
                  <a:pt x="1098" y="120"/>
                </a:lnTo>
                <a:lnTo>
                  <a:pt x="1099" y="119"/>
                </a:lnTo>
                <a:lnTo>
                  <a:pt x="1104" y="119"/>
                </a:lnTo>
                <a:lnTo>
                  <a:pt x="1109" y="117"/>
                </a:lnTo>
                <a:lnTo>
                  <a:pt x="1104" y="116"/>
                </a:lnTo>
                <a:lnTo>
                  <a:pt x="1098" y="116"/>
                </a:lnTo>
                <a:lnTo>
                  <a:pt x="1100" y="114"/>
                </a:lnTo>
                <a:lnTo>
                  <a:pt x="1102" y="113"/>
                </a:lnTo>
                <a:lnTo>
                  <a:pt x="1106" y="112"/>
                </a:lnTo>
                <a:lnTo>
                  <a:pt x="1109" y="111"/>
                </a:lnTo>
                <a:lnTo>
                  <a:pt x="1117" y="111"/>
                </a:lnTo>
                <a:lnTo>
                  <a:pt x="1123" y="109"/>
                </a:lnTo>
                <a:lnTo>
                  <a:pt x="1129" y="108"/>
                </a:lnTo>
                <a:lnTo>
                  <a:pt x="1133" y="106"/>
                </a:lnTo>
                <a:lnTo>
                  <a:pt x="1137" y="104"/>
                </a:lnTo>
                <a:lnTo>
                  <a:pt x="1141" y="101"/>
                </a:lnTo>
                <a:lnTo>
                  <a:pt x="1148" y="101"/>
                </a:lnTo>
                <a:lnTo>
                  <a:pt x="1155" y="101"/>
                </a:lnTo>
                <a:lnTo>
                  <a:pt x="1162" y="100"/>
                </a:lnTo>
                <a:lnTo>
                  <a:pt x="1168" y="100"/>
                </a:lnTo>
                <a:lnTo>
                  <a:pt x="1174" y="100"/>
                </a:lnTo>
                <a:lnTo>
                  <a:pt x="1180" y="100"/>
                </a:lnTo>
                <a:lnTo>
                  <a:pt x="1182" y="100"/>
                </a:lnTo>
                <a:lnTo>
                  <a:pt x="1183" y="99"/>
                </a:lnTo>
                <a:lnTo>
                  <a:pt x="1185" y="99"/>
                </a:lnTo>
                <a:lnTo>
                  <a:pt x="1187" y="101"/>
                </a:lnTo>
                <a:lnTo>
                  <a:pt x="1187" y="104"/>
                </a:lnTo>
                <a:lnTo>
                  <a:pt x="1185" y="105"/>
                </a:lnTo>
                <a:lnTo>
                  <a:pt x="1183" y="105"/>
                </a:lnTo>
                <a:lnTo>
                  <a:pt x="1181" y="106"/>
                </a:lnTo>
                <a:lnTo>
                  <a:pt x="1176" y="106"/>
                </a:lnTo>
                <a:lnTo>
                  <a:pt x="1173" y="106"/>
                </a:lnTo>
                <a:lnTo>
                  <a:pt x="1168" y="105"/>
                </a:lnTo>
                <a:lnTo>
                  <a:pt x="1164" y="106"/>
                </a:lnTo>
                <a:lnTo>
                  <a:pt x="1160" y="108"/>
                </a:lnTo>
                <a:lnTo>
                  <a:pt x="1158" y="112"/>
                </a:lnTo>
                <a:lnTo>
                  <a:pt x="1149" y="113"/>
                </a:lnTo>
                <a:lnTo>
                  <a:pt x="1140" y="112"/>
                </a:lnTo>
                <a:lnTo>
                  <a:pt x="1139" y="113"/>
                </a:lnTo>
                <a:lnTo>
                  <a:pt x="1138" y="114"/>
                </a:lnTo>
                <a:lnTo>
                  <a:pt x="1138" y="115"/>
                </a:lnTo>
                <a:lnTo>
                  <a:pt x="1138" y="116"/>
                </a:lnTo>
                <a:lnTo>
                  <a:pt x="1140" y="116"/>
                </a:lnTo>
                <a:lnTo>
                  <a:pt x="1141" y="116"/>
                </a:lnTo>
                <a:lnTo>
                  <a:pt x="1148" y="116"/>
                </a:lnTo>
                <a:lnTo>
                  <a:pt x="1156" y="116"/>
                </a:lnTo>
                <a:lnTo>
                  <a:pt x="1155" y="121"/>
                </a:lnTo>
                <a:lnTo>
                  <a:pt x="1154" y="125"/>
                </a:lnTo>
                <a:lnTo>
                  <a:pt x="1154" y="128"/>
                </a:lnTo>
                <a:lnTo>
                  <a:pt x="1155" y="129"/>
                </a:lnTo>
                <a:lnTo>
                  <a:pt x="1157" y="129"/>
                </a:lnTo>
                <a:lnTo>
                  <a:pt x="1160" y="129"/>
                </a:lnTo>
                <a:lnTo>
                  <a:pt x="1164" y="126"/>
                </a:lnTo>
                <a:lnTo>
                  <a:pt x="1168" y="123"/>
                </a:lnTo>
                <a:lnTo>
                  <a:pt x="1172" y="122"/>
                </a:lnTo>
                <a:lnTo>
                  <a:pt x="1174" y="123"/>
                </a:lnTo>
                <a:lnTo>
                  <a:pt x="1178" y="124"/>
                </a:lnTo>
                <a:lnTo>
                  <a:pt x="1180" y="125"/>
                </a:lnTo>
                <a:lnTo>
                  <a:pt x="1173" y="131"/>
                </a:lnTo>
                <a:lnTo>
                  <a:pt x="1165" y="136"/>
                </a:lnTo>
                <a:lnTo>
                  <a:pt x="1162" y="136"/>
                </a:lnTo>
                <a:lnTo>
                  <a:pt x="1158" y="134"/>
                </a:lnTo>
                <a:lnTo>
                  <a:pt x="1156" y="133"/>
                </a:lnTo>
                <a:lnTo>
                  <a:pt x="1152" y="134"/>
                </a:lnTo>
                <a:lnTo>
                  <a:pt x="1155" y="137"/>
                </a:lnTo>
                <a:lnTo>
                  <a:pt x="1158" y="138"/>
                </a:lnTo>
                <a:lnTo>
                  <a:pt x="1160" y="139"/>
                </a:lnTo>
                <a:lnTo>
                  <a:pt x="1165" y="139"/>
                </a:lnTo>
                <a:lnTo>
                  <a:pt x="1168" y="139"/>
                </a:lnTo>
                <a:lnTo>
                  <a:pt x="1172" y="139"/>
                </a:lnTo>
                <a:lnTo>
                  <a:pt x="1174" y="138"/>
                </a:lnTo>
                <a:lnTo>
                  <a:pt x="1173" y="138"/>
                </a:lnTo>
                <a:lnTo>
                  <a:pt x="1176" y="138"/>
                </a:lnTo>
                <a:lnTo>
                  <a:pt x="1181" y="138"/>
                </a:lnTo>
                <a:lnTo>
                  <a:pt x="1182" y="137"/>
                </a:lnTo>
                <a:lnTo>
                  <a:pt x="1183" y="137"/>
                </a:lnTo>
                <a:lnTo>
                  <a:pt x="1184" y="137"/>
                </a:lnTo>
                <a:lnTo>
                  <a:pt x="1184" y="138"/>
                </a:lnTo>
                <a:lnTo>
                  <a:pt x="1188" y="138"/>
                </a:lnTo>
                <a:lnTo>
                  <a:pt x="1191" y="139"/>
                </a:lnTo>
                <a:lnTo>
                  <a:pt x="1196" y="139"/>
                </a:lnTo>
                <a:lnTo>
                  <a:pt x="1201" y="139"/>
                </a:lnTo>
                <a:lnTo>
                  <a:pt x="1207" y="139"/>
                </a:lnTo>
                <a:lnTo>
                  <a:pt x="1213" y="137"/>
                </a:lnTo>
                <a:lnTo>
                  <a:pt x="1209" y="134"/>
                </a:lnTo>
                <a:lnTo>
                  <a:pt x="1208" y="132"/>
                </a:lnTo>
                <a:lnTo>
                  <a:pt x="1208" y="129"/>
                </a:lnTo>
                <a:lnTo>
                  <a:pt x="1209" y="125"/>
                </a:lnTo>
                <a:lnTo>
                  <a:pt x="1212" y="123"/>
                </a:lnTo>
                <a:lnTo>
                  <a:pt x="1212" y="121"/>
                </a:lnTo>
                <a:lnTo>
                  <a:pt x="1211" y="119"/>
                </a:lnTo>
                <a:lnTo>
                  <a:pt x="1208" y="116"/>
                </a:lnTo>
                <a:lnTo>
                  <a:pt x="1206" y="114"/>
                </a:lnTo>
                <a:lnTo>
                  <a:pt x="1203" y="109"/>
                </a:lnTo>
                <a:lnTo>
                  <a:pt x="1200" y="106"/>
                </a:lnTo>
                <a:lnTo>
                  <a:pt x="1200" y="104"/>
                </a:lnTo>
                <a:lnTo>
                  <a:pt x="1203" y="104"/>
                </a:lnTo>
                <a:lnTo>
                  <a:pt x="1205" y="104"/>
                </a:lnTo>
                <a:lnTo>
                  <a:pt x="1206" y="104"/>
                </a:lnTo>
                <a:lnTo>
                  <a:pt x="1206" y="103"/>
                </a:lnTo>
                <a:lnTo>
                  <a:pt x="1206" y="101"/>
                </a:lnTo>
                <a:lnTo>
                  <a:pt x="1206" y="99"/>
                </a:lnTo>
                <a:lnTo>
                  <a:pt x="1204" y="97"/>
                </a:lnTo>
                <a:lnTo>
                  <a:pt x="1201" y="95"/>
                </a:lnTo>
                <a:lnTo>
                  <a:pt x="1203" y="91"/>
                </a:lnTo>
                <a:lnTo>
                  <a:pt x="1204" y="89"/>
                </a:lnTo>
                <a:lnTo>
                  <a:pt x="1205" y="86"/>
                </a:lnTo>
                <a:lnTo>
                  <a:pt x="1205" y="83"/>
                </a:lnTo>
                <a:lnTo>
                  <a:pt x="1204" y="82"/>
                </a:lnTo>
                <a:lnTo>
                  <a:pt x="1204" y="81"/>
                </a:lnTo>
                <a:lnTo>
                  <a:pt x="1203" y="79"/>
                </a:lnTo>
                <a:lnTo>
                  <a:pt x="1204" y="78"/>
                </a:lnTo>
                <a:lnTo>
                  <a:pt x="1206" y="76"/>
                </a:lnTo>
                <a:lnTo>
                  <a:pt x="1207" y="75"/>
                </a:lnTo>
                <a:lnTo>
                  <a:pt x="1208" y="75"/>
                </a:lnTo>
                <a:lnTo>
                  <a:pt x="1208" y="74"/>
                </a:lnTo>
                <a:lnTo>
                  <a:pt x="1208" y="73"/>
                </a:lnTo>
                <a:lnTo>
                  <a:pt x="1207" y="73"/>
                </a:lnTo>
                <a:lnTo>
                  <a:pt x="1205" y="72"/>
                </a:lnTo>
                <a:lnTo>
                  <a:pt x="1204" y="72"/>
                </a:lnTo>
                <a:lnTo>
                  <a:pt x="1203" y="68"/>
                </a:lnTo>
                <a:lnTo>
                  <a:pt x="1203" y="64"/>
                </a:lnTo>
                <a:lnTo>
                  <a:pt x="1214" y="59"/>
                </a:lnTo>
                <a:lnTo>
                  <a:pt x="1222" y="55"/>
                </a:lnTo>
                <a:lnTo>
                  <a:pt x="1221" y="53"/>
                </a:lnTo>
                <a:lnTo>
                  <a:pt x="1220" y="51"/>
                </a:lnTo>
                <a:lnTo>
                  <a:pt x="1219" y="51"/>
                </a:lnTo>
                <a:lnTo>
                  <a:pt x="1219" y="50"/>
                </a:lnTo>
                <a:lnTo>
                  <a:pt x="1219" y="49"/>
                </a:lnTo>
                <a:lnTo>
                  <a:pt x="1220" y="47"/>
                </a:lnTo>
                <a:lnTo>
                  <a:pt x="1223" y="45"/>
                </a:lnTo>
                <a:lnTo>
                  <a:pt x="1228" y="45"/>
                </a:lnTo>
                <a:lnTo>
                  <a:pt x="1232" y="45"/>
                </a:lnTo>
                <a:lnTo>
                  <a:pt x="1237" y="45"/>
                </a:lnTo>
                <a:lnTo>
                  <a:pt x="1240" y="43"/>
                </a:lnTo>
                <a:lnTo>
                  <a:pt x="1244" y="41"/>
                </a:lnTo>
                <a:lnTo>
                  <a:pt x="1244" y="39"/>
                </a:lnTo>
                <a:lnTo>
                  <a:pt x="1244" y="37"/>
                </a:lnTo>
                <a:lnTo>
                  <a:pt x="1244" y="33"/>
                </a:lnTo>
                <a:lnTo>
                  <a:pt x="1245" y="31"/>
                </a:lnTo>
                <a:lnTo>
                  <a:pt x="1246" y="31"/>
                </a:lnTo>
                <a:lnTo>
                  <a:pt x="1249" y="31"/>
                </a:lnTo>
                <a:lnTo>
                  <a:pt x="1253" y="31"/>
                </a:lnTo>
                <a:lnTo>
                  <a:pt x="1255" y="30"/>
                </a:lnTo>
                <a:lnTo>
                  <a:pt x="1256" y="28"/>
                </a:lnTo>
                <a:lnTo>
                  <a:pt x="1255" y="24"/>
                </a:lnTo>
                <a:lnTo>
                  <a:pt x="1252" y="22"/>
                </a:lnTo>
                <a:lnTo>
                  <a:pt x="1247" y="21"/>
                </a:lnTo>
                <a:lnTo>
                  <a:pt x="1242" y="20"/>
                </a:lnTo>
                <a:lnTo>
                  <a:pt x="1239" y="20"/>
                </a:lnTo>
                <a:lnTo>
                  <a:pt x="1226" y="18"/>
                </a:lnTo>
                <a:lnTo>
                  <a:pt x="1215" y="17"/>
                </a:lnTo>
                <a:lnTo>
                  <a:pt x="1203" y="16"/>
                </a:lnTo>
                <a:lnTo>
                  <a:pt x="1190" y="15"/>
                </a:lnTo>
                <a:lnTo>
                  <a:pt x="1178" y="14"/>
                </a:lnTo>
                <a:lnTo>
                  <a:pt x="1164" y="14"/>
                </a:lnTo>
                <a:lnTo>
                  <a:pt x="1159" y="14"/>
                </a:lnTo>
                <a:lnTo>
                  <a:pt x="1152" y="15"/>
                </a:lnTo>
                <a:lnTo>
                  <a:pt x="1146" y="14"/>
                </a:lnTo>
                <a:lnTo>
                  <a:pt x="1142" y="13"/>
                </a:lnTo>
                <a:lnTo>
                  <a:pt x="1143" y="12"/>
                </a:lnTo>
                <a:lnTo>
                  <a:pt x="1146" y="10"/>
                </a:lnTo>
                <a:lnTo>
                  <a:pt x="1147" y="8"/>
                </a:lnTo>
                <a:lnTo>
                  <a:pt x="1146" y="7"/>
                </a:lnTo>
                <a:lnTo>
                  <a:pt x="1142" y="7"/>
                </a:lnTo>
                <a:lnTo>
                  <a:pt x="1138" y="8"/>
                </a:lnTo>
                <a:lnTo>
                  <a:pt x="1135" y="12"/>
                </a:lnTo>
                <a:lnTo>
                  <a:pt x="1132" y="14"/>
                </a:lnTo>
                <a:lnTo>
                  <a:pt x="1127" y="15"/>
                </a:lnTo>
                <a:lnTo>
                  <a:pt x="1124" y="14"/>
                </a:lnTo>
                <a:lnTo>
                  <a:pt x="1126" y="13"/>
                </a:lnTo>
                <a:lnTo>
                  <a:pt x="1129" y="10"/>
                </a:lnTo>
                <a:lnTo>
                  <a:pt x="1127" y="9"/>
                </a:lnTo>
                <a:lnTo>
                  <a:pt x="1126" y="9"/>
                </a:lnTo>
                <a:lnTo>
                  <a:pt x="1126" y="8"/>
                </a:lnTo>
                <a:lnTo>
                  <a:pt x="1125" y="7"/>
                </a:lnTo>
                <a:lnTo>
                  <a:pt x="1126" y="5"/>
                </a:lnTo>
                <a:lnTo>
                  <a:pt x="1129" y="5"/>
                </a:lnTo>
                <a:lnTo>
                  <a:pt x="1138" y="6"/>
                </a:lnTo>
                <a:lnTo>
                  <a:pt x="1146" y="5"/>
                </a:lnTo>
                <a:lnTo>
                  <a:pt x="1147" y="4"/>
                </a:lnTo>
                <a:lnTo>
                  <a:pt x="1147" y="3"/>
                </a:lnTo>
                <a:lnTo>
                  <a:pt x="1146" y="1"/>
                </a:lnTo>
                <a:lnTo>
                  <a:pt x="1142" y="1"/>
                </a:lnTo>
                <a:lnTo>
                  <a:pt x="1122" y="0"/>
                </a:lnTo>
                <a:lnTo>
                  <a:pt x="1101" y="0"/>
                </a:lnTo>
                <a:lnTo>
                  <a:pt x="1081" y="0"/>
                </a:lnTo>
                <a:lnTo>
                  <a:pt x="1060" y="0"/>
                </a:lnTo>
                <a:lnTo>
                  <a:pt x="1019" y="0"/>
                </a:lnTo>
                <a:lnTo>
                  <a:pt x="979" y="0"/>
                </a:lnTo>
                <a:lnTo>
                  <a:pt x="939" y="0"/>
                </a:lnTo>
                <a:lnTo>
                  <a:pt x="898" y="1"/>
                </a:lnTo>
                <a:lnTo>
                  <a:pt x="858" y="1"/>
                </a:lnTo>
                <a:lnTo>
                  <a:pt x="817" y="1"/>
                </a:lnTo>
                <a:lnTo>
                  <a:pt x="776" y="3"/>
                </a:lnTo>
                <a:lnTo>
                  <a:pt x="735" y="4"/>
                </a:lnTo>
                <a:lnTo>
                  <a:pt x="695" y="5"/>
                </a:lnTo>
                <a:lnTo>
                  <a:pt x="654" y="6"/>
                </a:lnTo>
                <a:lnTo>
                  <a:pt x="613" y="8"/>
                </a:lnTo>
                <a:lnTo>
                  <a:pt x="572" y="10"/>
                </a:lnTo>
                <a:lnTo>
                  <a:pt x="553" y="12"/>
                </a:lnTo>
                <a:lnTo>
                  <a:pt x="532" y="13"/>
                </a:lnTo>
                <a:lnTo>
                  <a:pt x="513" y="15"/>
                </a:lnTo>
                <a:lnTo>
                  <a:pt x="492" y="17"/>
                </a:lnTo>
                <a:lnTo>
                  <a:pt x="473" y="18"/>
                </a:lnTo>
                <a:lnTo>
                  <a:pt x="453" y="21"/>
                </a:lnTo>
                <a:lnTo>
                  <a:pt x="433" y="23"/>
                </a:lnTo>
                <a:lnTo>
                  <a:pt x="413" y="25"/>
                </a:lnTo>
                <a:lnTo>
                  <a:pt x="374" y="31"/>
                </a:lnTo>
                <a:lnTo>
                  <a:pt x="334" y="37"/>
                </a:lnTo>
                <a:lnTo>
                  <a:pt x="295" y="43"/>
                </a:lnTo>
                <a:lnTo>
                  <a:pt x="257" y="51"/>
                </a:lnTo>
                <a:lnTo>
                  <a:pt x="218" y="61"/>
                </a:lnTo>
                <a:lnTo>
                  <a:pt x="178" y="70"/>
                </a:lnTo>
                <a:lnTo>
                  <a:pt x="141" y="80"/>
                </a:lnTo>
                <a:lnTo>
                  <a:pt x="102" y="92"/>
                </a:lnTo>
                <a:lnTo>
                  <a:pt x="93" y="95"/>
                </a:lnTo>
                <a:lnTo>
                  <a:pt x="84" y="98"/>
                </a:lnTo>
                <a:lnTo>
                  <a:pt x="76" y="101"/>
                </a:lnTo>
                <a:lnTo>
                  <a:pt x="67" y="105"/>
                </a:lnTo>
                <a:lnTo>
                  <a:pt x="50" y="112"/>
                </a:lnTo>
                <a:lnTo>
                  <a:pt x="33" y="121"/>
                </a:lnTo>
                <a:lnTo>
                  <a:pt x="26" y="125"/>
                </a:lnTo>
                <a:lnTo>
                  <a:pt x="20" y="130"/>
                </a:lnTo>
                <a:lnTo>
                  <a:pt x="14" y="136"/>
                </a:lnTo>
                <a:lnTo>
                  <a:pt x="10" y="141"/>
                </a:lnTo>
                <a:lnTo>
                  <a:pt x="4" y="147"/>
                </a:lnTo>
                <a:lnTo>
                  <a:pt x="1" y="153"/>
                </a:lnTo>
                <a:lnTo>
                  <a:pt x="0" y="162"/>
                </a:lnTo>
                <a:lnTo>
                  <a:pt x="1" y="171"/>
                </a:lnTo>
                <a:lnTo>
                  <a:pt x="2" y="180"/>
                </a:lnTo>
                <a:lnTo>
                  <a:pt x="4" y="189"/>
                </a:lnTo>
                <a:lnTo>
                  <a:pt x="8" y="197"/>
                </a:lnTo>
                <a:lnTo>
                  <a:pt x="12" y="205"/>
                </a:lnTo>
                <a:lnTo>
                  <a:pt x="20" y="219"/>
                </a:lnTo>
                <a:lnTo>
                  <a:pt x="29" y="232"/>
                </a:lnTo>
                <a:lnTo>
                  <a:pt x="35" y="238"/>
                </a:lnTo>
                <a:lnTo>
                  <a:pt x="41" y="244"/>
                </a:lnTo>
                <a:lnTo>
                  <a:pt x="47" y="248"/>
                </a:lnTo>
                <a:lnTo>
                  <a:pt x="54" y="253"/>
                </a:lnTo>
                <a:lnTo>
                  <a:pt x="61" y="257"/>
                </a:lnTo>
                <a:lnTo>
                  <a:pt x="69" y="258"/>
                </a:lnTo>
                <a:lnTo>
                  <a:pt x="77" y="258"/>
                </a:lnTo>
                <a:lnTo>
                  <a:pt x="85" y="258"/>
                </a:lnTo>
                <a:lnTo>
                  <a:pt x="95" y="258"/>
                </a:lnTo>
                <a:lnTo>
                  <a:pt x="104" y="257"/>
                </a:lnTo>
                <a:lnTo>
                  <a:pt x="115" y="257"/>
                </a:lnTo>
                <a:lnTo>
                  <a:pt x="125" y="256"/>
                </a:lnTo>
                <a:lnTo>
                  <a:pt x="134" y="254"/>
                </a:lnTo>
                <a:lnTo>
                  <a:pt x="143" y="253"/>
                </a:lnTo>
                <a:lnTo>
                  <a:pt x="152" y="252"/>
                </a:lnTo>
                <a:lnTo>
                  <a:pt x="161" y="249"/>
                </a:lnTo>
                <a:lnTo>
                  <a:pt x="181" y="246"/>
                </a:lnTo>
                <a:lnTo>
                  <a:pt x="200" y="242"/>
                </a:lnTo>
                <a:lnTo>
                  <a:pt x="218" y="239"/>
                </a:lnTo>
                <a:lnTo>
                  <a:pt x="237" y="236"/>
                </a:lnTo>
                <a:lnTo>
                  <a:pt x="247" y="236"/>
                </a:lnTo>
                <a:lnTo>
                  <a:pt x="256" y="234"/>
                </a:lnTo>
                <a:lnTo>
                  <a:pt x="258" y="234"/>
                </a:lnTo>
                <a:lnTo>
                  <a:pt x="261" y="233"/>
                </a:lnTo>
                <a:lnTo>
                  <a:pt x="264" y="232"/>
                </a:lnTo>
                <a:lnTo>
                  <a:pt x="265" y="231"/>
                </a:lnTo>
                <a:lnTo>
                  <a:pt x="265" y="232"/>
                </a:lnTo>
                <a:lnTo>
                  <a:pt x="264" y="233"/>
                </a:lnTo>
                <a:lnTo>
                  <a:pt x="274" y="232"/>
                </a:lnTo>
                <a:lnTo>
                  <a:pt x="284" y="230"/>
                </a:lnTo>
                <a:lnTo>
                  <a:pt x="288" y="230"/>
                </a:lnTo>
                <a:lnTo>
                  <a:pt x="291" y="230"/>
                </a:lnTo>
                <a:lnTo>
                  <a:pt x="293" y="229"/>
                </a:lnTo>
                <a:lnTo>
                  <a:pt x="294" y="228"/>
                </a:lnTo>
                <a:lnTo>
                  <a:pt x="294" y="228"/>
                </a:lnTo>
                <a:lnTo>
                  <a:pt x="292" y="228"/>
                </a:lnTo>
                <a:lnTo>
                  <a:pt x="307" y="225"/>
                </a:lnTo>
                <a:lnTo>
                  <a:pt x="323" y="223"/>
                </a:lnTo>
                <a:lnTo>
                  <a:pt x="338" y="221"/>
                </a:lnTo>
                <a:lnTo>
                  <a:pt x="354" y="219"/>
                </a:lnTo>
                <a:lnTo>
                  <a:pt x="368" y="216"/>
                </a:lnTo>
                <a:lnTo>
                  <a:pt x="384" y="213"/>
                </a:lnTo>
                <a:lnTo>
                  <a:pt x="399" y="211"/>
                </a:lnTo>
                <a:lnTo>
                  <a:pt x="414" y="208"/>
                </a:lnTo>
                <a:lnTo>
                  <a:pt x="430" y="206"/>
                </a:lnTo>
                <a:lnTo>
                  <a:pt x="445" y="203"/>
                </a:lnTo>
                <a:lnTo>
                  <a:pt x="461" y="200"/>
                </a:lnTo>
                <a:lnTo>
                  <a:pt x="475" y="199"/>
                </a:lnTo>
                <a:lnTo>
                  <a:pt x="491" y="197"/>
                </a:lnTo>
                <a:lnTo>
                  <a:pt x="506" y="197"/>
                </a:lnTo>
                <a:lnTo>
                  <a:pt x="512" y="197"/>
                </a:lnTo>
                <a:lnTo>
                  <a:pt x="517" y="196"/>
                </a:lnTo>
                <a:lnTo>
                  <a:pt x="520" y="196"/>
                </a:lnTo>
                <a:lnTo>
                  <a:pt x="522" y="195"/>
                </a:lnTo>
                <a:lnTo>
                  <a:pt x="524" y="195"/>
                </a:lnTo>
                <a:lnTo>
                  <a:pt x="525" y="197"/>
                </a:lnTo>
                <a:lnTo>
                  <a:pt x="494" y="207"/>
                </a:lnTo>
                <a:lnTo>
                  <a:pt x="463" y="220"/>
                </a:lnTo>
                <a:lnTo>
                  <a:pt x="431" y="231"/>
                </a:lnTo>
                <a:lnTo>
                  <a:pt x="399" y="242"/>
                </a:lnTo>
                <a:lnTo>
                  <a:pt x="384" y="249"/>
                </a:lnTo>
                <a:lnTo>
                  <a:pt x="371" y="255"/>
                </a:lnTo>
                <a:lnTo>
                  <a:pt x="356" y="262"/>
                </a:lnTo>
                <a:lnTo>
                  <a:pt x="342" y="267"/>
                </a:lnTo>
                <a:lnTo>
                  <a:pt x="326" y="274"/>
                </a:lnTo>
                <a:lnTo>
                  <a:pt x="311" y="281"/>
                </a:lnTo>
                <a:lnTo>
                  <a:pt x="295" y="288"/>
                </a:lnTo>
                <a:lnTo>
                  <a:pt x="281" y="295"/>
                </a:lnTo>
                <a:lnTo>
                  <a:pt x="251" y="308"/>
                </a:lnTo>
                <a:lnTo>
                  <a:pt x="220" y="322"/>
                </a:lnTo>
                <a:lnTo>
                  <a:pt x="190" y="336"/>
                </a:lnTo>
                <a:lnTo>
                  <a:pt x="159" y="349"/>
                </a:lnTo>
                <a:lnTo>
                  <a:pt x="145" y="355"/>
                </a:lnTo>
                <a:lnTo>
                  <a:pt x="130" y="361"/>
                </a:lnTo>
                <a:lnTo>
                  <a:pt x="117" y="366"/>
                </a:lnTo>
                <a:lnTo>
                  <a:pt x="103" y="373"/>
                </a:lnTo>
                <a:lnTo>
                  <a:pt x="89" y="380"/>
                </a:lnTo>
                <a:lnTo>
                  <a:pt x="77" y="389"/>
                </a:lnTo>
                <a:lnTo>
                  <a:pt x="76" y="389"/>
                </a:lnTo>
                <a:lnTo>
                  <a:pt x="75" y="391"/>
                </a:lnTo>
                <a:lnTo>
                  <a:pt x="75" y="393"/>
                </a:lnTo>
                <a:lnTo>
                  <a:pt x="76" y="394"/>
                </a:lnTo>
                <a:lnTo>
                  <a:pt x="77" y="394"/>
                </a:lnTo>
                <a:lnTo>
                  <a:pt x="78" y="393"/>
                </a:lnTo>
                <a:lnTo>
                  <a:pt x="79" y="393"/>
                </a:lnTo>
                <a:lnTo>
                  <a:pt x="80" y="393"/>
                </a:lnTo>
                <a:lnTo>
                  <a:pt x="82" y="394"/>
                </a:lnTo>
                <a:lnTo>
                  <a:pt x="82" y="395"/>
                </a:lnTo>
                <a:lnTo>
                  <a:pt x="85" y="396"/>
                </a:lnTo>
                <a:lnTo>
                  <a:pt x="88" y="395"/>
                </a:lnTo>
                <a:lnTo>
                  <a:pt x="91" y="394"/>
                </a:lnTo>
                <a:lnTo>
                  <a:pt x="93" y="394"/>
                </a:lnTo>
                <a:lnTo>
                  <a:pt x="96" y="394"/>
                </a:lnTo>
                <a:lnTo>
                  <a:pt x="99" y="396"/>
                </a:lnTo>
                <a:lnTo>
                  <a:pt x="103" y="398"/>
                </a:lnTo>
                <a:lnTo>
                  <a:pt x="108" y="403"/>
                </a:lnTo>
                <a:lnTo>
                  <a:pt x="112" y="407"/>
                </a:lnTo>
                <a:lnTo>
                  <a:pt x="116" y="412"/>
                </a:lnTo>
                <a:lnTo>
                  <a:pt x="117" y="418"/>
                </a:lnTo>
                <a:lnTo>
                  <a:pt x="120" y="422"/>
                </a:lnTo>
                <a:lnTo>
                  <a:pt x="125" y="423"/>
                </a:lnTo>
                <a:lnTo>
                  <a:pt x="128" y="424"/>
                </a:lnTo>
                <a:lnTo>
                  <a:pt x="129" y="429"/>
                </a:lnTo>
                <a:lnTo>
                  <a:pt x="129" y="432"/>
                </a:lnTo>
                <a:lnTo>
                  <a:pt x="133" y="436"/>
                </a:lnTo>
                <a:lnTo>
                  <a:pt x="137" y="439"/>
                </a:lnTo>
                <a:lnTo>
                  <a:pt x="145" y="447"/>
                </a:lnTo>
                <a:lnTo>
                  <a:pt x="152" y="455"/>
                </a:lnTo>
                <a:lnTo>
                  <a:pt x="157" y="460"/>
                </a:lnTo>
                <a:lnTo>
                  <a:pt x="159" y="465"/>
                </a:lnTo>
                <a:lnTo>
                  <a:pt x="161" y="471"/>
                </a:lnTo>
                <a:lnTo>
                  <a:pt x="162" y="477"/>
                </a:lnTo>
                <a:lnTo>
                  <a:pt x="162" y="481"/>
                </a:lnTo>
                <a:lnTo>
                  <a:pt x="162" y="487"/>
                </a:lnTo>
                <a:lnTo>
                  <a:pt x="162" y="488"/>
                </a:lnTo>
                <a:lnTo>
                  <a:pt x="163" y="490"/>
                </a:lnTo>
                <a:lnTo>
                  <a:pt x="166" y="493"/>
                </a:lnTo>
                <a:lnTo>
                  <a:pt x="168" y="494"/>
                </a:lnTo>
                <a:lnTo>
                  <a:pt x="173" y="495"/>
                </a:lnTo>
                <a:lnTo>
                  <a:pt x="177" y="496"/>
                </a:lnTo>
                <a:lnTo>
                  <a:pt x="179" y="496"/>
                </a:lnTo>
                <a:lnTo>
                  <a:pt x="182" y="497"/>
                </a:lnTo>
                <a:lnTo>
                  <a:pt x="184" y="499"/>
                </a:lnTo>
                <a:lnTo>
                  <a:pt x="187" y="501"/>
                </a:lnTo>
                <a:lnTo>
                  <a:pt x="196" y="496"/>
                </a:lnTo>
                <a:lnTo>
                  <a:pt x="206" y="490"/>
                </a:lnTo>
                <a:lnTo>
                  <a:pt x="212" y="489"/>
                </a:lnTo>
                <a:lnTo>
                  <a:pt x="219" y="489"/>
                </a:lnTo>
                <a:lnTo>
                  <a:pt x="226" y="490"/>
                </a:lnTo>
                <a:lnTo>
                  <a:pt x="233" y="490"/>
                </a:lnTo>
                <a:lnTo>
                  <a:pt x="236" y="488"/>
                </a:lnTo>
                <a:lnTo>
                  <a:pt x="241" y="487"/>
                </a:lnTo>
                <a:lnTo>
                  <a:pt x="244" y="487"/>
                </a:lnTo>
                <a:lnTo>
                  <a:pt x="249" y="488"/>
                </a:lnTo>
                <a:lnTo>
                  <a:pt x="255" y="486"/>
                </a:lnTo>
                <a:lnTo>
                  <a:pt x="260" y="483"/>
                </a:lnTo>
                <a:lnTo>
                  <a:pt x="268" y="481"/>
                </a:lnTo>
                <a:lnTo>
                  <a:pt x="276" y="481"/>
                </a:lnTo>
                <a:lnTo>
                  <a:pt x="292" y="478"/>
                </a:lnTo>
                <a:lnTo>
                  <a:pt x="308" y="476"/>
                </a:lnTo>
                <a:lnTo>
                  <a:pt x="316" y="476"/>
                </a:lnTo>
                <a:lnTo>
                  <a:pt x="324" y="474"/>
                </a:lnTo>
                <a:lnTo>
                  <a:pt x="331" y="473"/>
                </a:lnTo>
                <a:lnTo>
                  <a:pt x="339" y="471"/>
                </a:lnTo>
                <a:lnTo>
                  <a:pt x="341" y="468"/>
                </a:lnTo>
                <a:lnTo>
                  <a:pt x="344" y="464"/>
                </a:lnTo>
                <a:lnTo>
                  <a:pt x="348" y="463"/>
                </a:lnTo>
                <a:lnTo>
                  <a:pt x="350" y="462"/>
                </a:lnTo>
                <a:lnTo>
                  <a:pt x="351" y="460"/>
                </a:lnTo>
                <a:lnTo>
                  <a:pt x="352" y="456"/>
                </a:lnTo>
                <a:lnTo>
                  <a:pt x="356" y="455"/>
                </a:lnTo>
                <a:lnTo>
                  <a:pt x="359" y="454"/>
                </a:lnTo>
                <a:lnTo>
                  <a:pt x="361" y="455"/>
                </a:lnTo>
                <a:lnTo>
                  <a:pt x="361" y="456"/>
                </a:lnTo>
                <a:lnTo>
                  <a:pt x="360" y="458"/>
                </a:lnTo>
                <a:lnTo>
                  <a:pt x="359" y="461"/>
                </a:lnTo>
                <a:lnTo>
                  <a:pt x="358" y="463"/>
                </a:lnTo>
                <a:lnTo>
                  <a:pt x="358" y="464"/>
                </a:lnTo>
                <a:lnTo>
                  <a:pt x="359" y="465"/>
                </a:lnTo>
                <a:lnTo>
                  <a:pt x="364" y="464"/>
                </a:lnTo>
                <a:lnTo>
                  <a:pt x="371" y="462"/>
                </a:lnTo>
                <a:lnTo>
                  <a:pt x="377" y="461"/>
                </a:lnTo>
                <a:lnTo>
                  <a:pt x="384" y="457"/>
                </a:lnTo>
                <a:lnTo>
                  <a:pt x="391" y="456"/>
                </a:lnTo>
                <a:lnTo>
                  <a:pt x="393" y="457"/>
                </a:lnTo>
                <a:lnTo>
                  <a:pt x="395" y="458"/>
                </a:lnTo>
                <a:lnTo>
                  <a:pt x="398" y="457"/>
                </a:lnTo>
                <a:lnTo>
                  <a:pt x="401" y="455"/>
                </a:lnTo>
                <a:lnTo>
                  <a:pt x="409" y="454"/>
                </a:lnTo>
                <a:lnTo>
                  <a:pt x="417" y="454"/>
                </a:lnTo>
                <a:lnTo>
                  <a:pt x="426" y="453"/>
                </a:lnTo>
                <a:lnTo>
                  <a:pt x="434" y="450"/>
                </a:lnTo>
                <a:lnTo>
                  <a:pt x="443" y="449"/>
                </a:lnTo>
                <a:lnTo>
                  <a:pt x="453" y="448"/>
                </a:lnTo>
                <a:lnTo>
                  <a:pt x="462" y="447"/>
                </a:lnTo>
                <a:lnTo>
                  <a:pt x="470" y="445"/>
                </a:lnTo>
                <a:lnTo>
                  <a:pt x="478" y="444"/>
                </a:lnTo>
                <a:lnTo>
                  <a:pt x="487" y="444"/>
                </a:lnTo>
                <a:lnTo>
                  <a:pt x="495" y="441"/>
                </a:lnTo>
                <a:lnTo>
                  <a:pt x="503" y="439"/>
                </a:lnTo>
                <a:lnTo>
                  <a:pt x="511" y="439"/>
                </a:lnTo>
                <a:lnTo>
                  <a:pt x="520" y="439"/>
                </a:lnTo>
                <a:lnTo>
                  <a:pt x="529" y="439"/>
                </a:lnTo>
                <a:lnTo>
                  <a:pt x="538" y="437"/>
                </a:lnTo>
                <a:lnTo>
                  <a:pt x="546" y="436"/>
                </a:lnTo>
                <a:lnTo>
                  <a:pt x="555" y="435"/>
                </a:lnTo>
                <a:lnTo>
                  <a:pt x="562" y="435"/>
                </a:lnTo>
                <a:lnTo>
                  <a:pt x="570" y="435"/>
                </a:lnTo>
                <a:lnTo>
                  <a:pt x="579" y="435"/>
                </a:lnTo>
                <a:lnTo>
                  <a:pt x="587" y="431"/>
                </a:lnTo>
                <a:lnTo>
                  <a:pt x="583" y="430"/>
                </a:lnTo>
                <a:lnTo>
                  <a:pt x="580" y="430"/>
                </a:lnTo>
                <a:lnTo>
                  <a:pt x="583" y="428"/>
                </a:lnTo>
                <a:lnTo>
                  <a:pt x="589" y="427"/>
                </a:lnTo>
                <a:lnTo>
                  <a:pt x="595" y="425"/>
                </a:lnTo>
                <a:lnTo>
                  <a:pt x="599" y="427"/>
                </a:lnTo>
                <a:lnTo>
                  <a:pt x="602" y="429"/>
                </a:lnTo>
                <a:lnTo>
                  <a:pt x="603" y="431"/>
                </a:lnTo>
                <a:lnTo>
                  <a:pt x="607" y="430"/>
                </a:lnTo>
                <a:lnTo>
                  <a:pt x="612" y="428"/>
                </a:lnTo>
                <a:lnTo>
                  <a:pt x="622" y="428"/>
                </a:lnTo>
                <a:lnTo>
                  <a:pt x="630" y="431"/>
                </a:lnTo>
                <a:lnTo>
                  <a:pt x="634" y="431"/>
                </a:lnTo>
                <a:lnTo>
                  <a:pt x="638" y="430"/>
                </a:lnTo>
                <a:lnTo>
                  <a:pt x="641" y="429"/>
                </a:lnTo>
                <a:lnTo>
                  <a:pt x="645" y="428"/>
                </a:lnTo>
                <a:lnTo>
                  <a:pt x="645" y="423"/>
                </a:lnTo>
                <a:lnTo>
                  <a:pt x="646" y="420"/>
                </a:lnTo>
                <a:lnTo>
                  <a:pt x="648" y="420"/>
                </a:lnTo>
                <a:lnTo>
                  <a:pt x="649" y="421"/>
                </a:lnTo>
                <a:lnTo>
                  <a:pt x="649" y="422"/>
                </a:lnTo>
                <a:lnTo>
                  <a:pt x="651" y="423"/>
                </a:lnTo>
                <a:lnTo>
                  <a:pt x="652" y="424"/>
                </a:lnTo>
                <a:lnTo>
                  <a:pt x="654" y="424"/>
                </a:lnTo>
                <a:lnTo>
                  <a:pt x="656" y="423"/>
                </a:lnTo>
                <a:lnTo>
                  <a:pt x="659" y="423"/>
                </a:lnTo>
                <a:lnTo>
                  <a:pt x="664" y="424"/>
                </a:lnTo>
                <a:lnTo>
                  <a:pt x="669" y="427"/>
                </a:lnTo>
                <a:lnTo>
                  <a:pt x="674" y="428"/>
                </a:lnTo>
                <a:lnTo>
                  <a:pt x="681" y="427"/>
                </a:lnTo>
                <a:lnTo>
                  <a:pt x="688" y="427"/>
                </a:lnTo>
                <a:lnTo>
                  <a:pt x="696" y="427"/>
                </a:lnTo>
                <a:lnTo>
                  <a:pt x="703" y="427"/>
                </a:lnTo>
                <a:lnTo>
                  <a:pt x="710" y="427"/>
                </a:lnTo>
                <a:lnTo>
                  <a:pt x="711" y="424"/>
                </a:lnTo>
                <a:lnTo>
                  <a:pt x="711" y="423"/>
                </a:lnTo>
                <a:lnTo>
                  <a:pt x="713" y="423"/>
                </a:lnTo>
                <a:lnTo>
                  <a:pt x="717" y="422"/>
                </a:lnTo>
                <a:lnTo>
                  <a:pt x="720" y="419"/>
                </a:lnTo>
                <a:lnTo>
                  <a:pt x="722" y="414"/>
                </a:lnTo>
                <a:lnTo>
                  <a:pt x="725" y="418"/>
                </a:lnTo>
                <a:lnTo>
                  <a:pt x="727" y="420"/>
                </a:lnTo>
                <a:lnTo>
                  <a:pt x="729" y="422"/>
                </a:lnTo>
                <a:lnTo>
                  <a:pt x="733" y="423"/>
                </a:lnTo>
                <a:lnTo>
                  <a:pt x="738" y="423"/>
                </a:lnTo>
                <a:lnTo>
                  <a:pt x="746" y="421"/>
                </a:lnTo>
                <a:lnTo>
                  <a:pt x="752" y="418"/>
                </a:lnTo>
                <a:lnTo>
                  <a:pt x="758" y="415"/>
                </a:lnTo>
                <a:lnTo>
                  <a:pt x="760" y="418"/>
                </a:lnTo>
                <a:lnTo>
                  <a:pt x="762" y="419"/>
                </a:lnTo>
                <a:lnTo>
                  <a:pt x="764" y="416"/>
                </a:lnTo>
                <a:lnTo>
                  <a:pt x="767" y="415"/>
                </a:lnTo>
                <a:lnTo>
                  <a:pt x="768" y="419"/>
                </a:lnTo>
                <a:lnTo>
                  <a:pt x="771" y="422"/>
                </a:lnTo>
                <a:lnTo>
                  <a:pt x="776" y="422"/>
                </a:lnTo>
                <a:lnTo>
                  <a:pt x="779" y="421"/>
                </a:lnTo>
                <a:lnTo>
                  <a:pt x="787" y="421"/>
                </a:lnTo>
                <a:lnTo>
                  <a:pt x="796" y="422"/>
                </a:lnTo>
                <a:lnTo>
                  <a:pt x="804" y="421"/>
                </a:lnTo>
                <a:lnTo>
                  <a:pt x="812" y="420"/>
                </a:lnTo>
                <a:lnTo>
                  <a:pt x="814" y="420"/>
                </a:lnTo>
                <a:lnTo>
                  <a:pt x="818" y="419"/>
                </a:lnTo>
                <a:lnTo>
                  <a:pt x="820" y="418"/>
                </a:lnTo>
                <a:lnTo>
                  <a:pt x="820" y="415"/>
                </a:lnTo>
                <a:lnTo>
                  <a:pt x="819" y="415"/>
                </a:lnTo>
                <a:lnTo>
                  <a:pt x="818" y="414"/>
                </a:lnTo>
                <a:lnTo>
                  <a:pt x="818" y="413"/>
                </a:lnTo>
                <a:lnTo>
                  <a:pt x="819" y="412"/>
                </a:lnTo>
                <a:lnTo>
                  <a:pt x="821" y="412"/>
                </a:lnTo>
                <a:lnTo>
                  <a:pt x="822" y="412"/>
                </a:lnTo>
                <a:lnTo>
                  <a:pt x="826" y="412"/>
                </a:lnTo>
                <a:lnTo>
                  <a:pt x="829" y="413"/>
                </a:lnTo>
                <a:lnTo>
                  <a:pt x="832" y="412"/>
                </a:lnTo>
                <a:lnTo>
                  <a:pt x="834" y="413"/>
                </a:lnTo>
                <a:lnTo>
                  <a:pt x="834" y="415"/>
                </a:lnTo>
                <a:lnTo>
                  <a:pt x="835" y="418"/>
                </a:lnTo>
                <a:lnTo>
                  <a:pt x="837" y="418"/>
                </a:lnTo>
                <a:lnTo>
                  <a:pt x="838" y="418"/>
                </a:lnTo>
                <a:lnTo>
                  <a:pt x="842" y="418"/>
                </a:lnTo>
                <a:lnTo>
                  <a:pt x="844" y="418"/>
                </a:lnTo>
                <a:lnTo>
                  <a:pt x="847" y="420"/>
                </a:lnTo>
                <a:lnTo>
                  <a:pt x="851" y="422"/>
                </a:lnTo>
                <a:lnTo>
                  <a:pt x="855" y="419"/>
                </a:lnTo>
                <a:lnTo>
                  <a:pt x="860" y="414"/>
                </a:lnTo>
                <a:lnTo>
                  <a:pt x="862" y="414"/>
                </a:lnTo>
                <a:lnTo>
                  <a:pt x="863" y="415"/>
                </a:lnTo>
                <a:lnTo>
                  <a:pt x="863" y="416"/>
                </a:lnTo>
                <a:lnTo>
                  <a:pt x="865" y="419"/>
                </a:lnTo>
                <a:lnTo>
                  <a:pt x="865" y="420"/>
                </a:lnTo>
                <a:lnTo>
                  <a:pt x="866" y="421"/>
                </a:lnTo>
                <a:lnTo>
                  <a:pt x="866" y="422"/>
                </a:lnTo>
                <a:lnTo>
                  <a:pt x="867" y="422"/>
                </a:lnTo>
                <a:lnTo>
                  <a:pt x="868" y="422"/>
                </a:lnTo>
                <a:lnTo>
                  <a:pt x="868" y="422"/>
                </a:lnTo>
                <a:lnTo>
                  <a:pt x="871" y="421"/>
                </a:lnTo>
                <a:lnTo>
                  <a:pt x="874" y="420"/>
                </a:lnTo>
                <a:lnTo>
                  <a:pt x="876" y="420"/>
                </a:lnTo>
                <a:lnTo>
                  <a:pt x="877" y="419"/>
                </a:lnTo>
                <a:lnTo>
                  <a:pt x="880" y="419"/>
                </a:lnTo>
                <a:lnTo>
                  <a:pt x="883" y="419"/>
                </a:lnTo>
                <a:lnTo>
                  <a:pt x="882" y="422"/>
                </a:lnTo>
                <a:lnTo>
                  <a:pt x="882" y="424"/>
                </a:lnTo>
                <a:lnTo>
                  <a:pt x="883" y="425"/>
                </a:lnTo>
                <a:lnTo>
                  <a:pt x="886" y="425"/>
                </a:lnTo>
                <a:lnTo>
                  <a:pt x="887" y="425"/>
                </a:lnTo>
                <a:lnTo>
                  <a:pt x="890" y="424"/>
                </a:lnTo>
                <a:lnTo>
                  <a:pt x="891" y="423"/>
                </a:lnTo>
                <a:lnTo>
                  <a:pt x="893" y="423"/>
                </a:lnTo>
                <a:lnTo>
                  <a:pt x="893" y="421"/>
                </a:lnTo>
                <a:lnTo>
                  <a:pt x="894" y="419"/>
                </a:lnTo>
                <a:lnTo>
                  <a:pt x="895" y="416"/>
                </a:lnTo>
                <a:lnTo>
                  <a:pt x="898" y="414"/>
                </a:lnTo>
                <a:lnTo>
                  <a:pt x="898" y="411"/>
                </a:lnTo>
                <a:lnTo>
                  <a:pt x="899" y="406"/>
                </a:lnTo>
                <a:lnTo>
                  <a:pt x="900" y="406"/>
                </a:lnTo>
                <a:lnTo>
                  <a:pt x="901" y="406"/>
                </a:lnTo>
                <a:lnTo>
                  <a:pt x="904" y="405"/>
                </a:lnTo>
                <a:lnTo>
                  <a:pt x="908" y="404"/>
                </a:lnTo>
                <a:lnTo>
                  <a:pt x="910" y="404"/>
                </a:lnTo>
                <a:lnTo>
                  <a:pt x="912" y="405"/>
                </a:lnTo>
                <a:lnTo>
                  <a:pt x="916" y="406"/>
                </a:lnTo>
                <a:lnTo>
                  <a:pt x="919" y="406"/>
                </a:lnTo>
                <a:lnTo>
                  <a:pt x="929" y="406"/>
                </a:lnTo>
                <a:lnTo>
                  <a:pt x="941" y="406"/>
                </a:lnTo>
                <a:lnTo>
                  <a:pt x="950" y="407"/>
                </a:lnTo>
                <a:lnTo>
                  <a:pt x="959" y="406"/>
                </a:lnTo>
                <a:lnTo>
                  <a:pt x="961" y="403"/>
                </a:lnTo>
                <a:lnTo>
                  <a:pt x="961" y="400"/>
                </a:lnTo>
                <a:lnTo>
                  <a:pt x="961" y="397"/>
                </a:lnTo>
                <a:lnTo>
                  <a:pt x="959" y="395"/>
                </a:lnTo>
                <a:lnTo>
                  <a:pt x="965" y="394"/>
                </a:lnTo>
                <a:lnTo>
                  <a:pt x="969" y="394"/>
                </a:lnTo>
                <a:lnTo>
                  <a:pt x="975" y="394"/>
                </a:lnTo>
                <a:lnTo>
                  <a:pt x="979" y="395"/>
                </a:lnTo>
                <a:lnTo>
                  <a:pt x="973" y="398"/>
                </a:lnTo>
                <a:lnTo>
                  <a:pt x="968" y="402"/>
                </a:lnTo>
                <a:lnTo>
                  <a:pt x="969" y="405"/>
                </a:lnTo>
                <a:lnTo>
                  <a:pt x="973" y="408"/>
                </a:lnTo>
                <a:lnTo>
                  <a:pt x="973" y="411"/>
                </a:lnTo>
                <a:lnTo>
                  <a:pt x="970" y="411"/>
                </a:lnTo>
                <a:lnTo>
                  <a:pt x="969" y="412"/>
                </a:lnTo>
                <a:lnTo>
                  <a:pt x="967" y="412"/>
                </a:lnTo>
                <a:lnTo>
                  <a:pt x="966" y="414"/>
                </a:lnTo>
                <a:lnTo>
                  <a:pt x="966" y="415"/>
                </a:lnTo>
                <a:lnTo>
                  <a:pt x="967" y="415"/>
                </a:lnTo>
                <a:lnTo>
                  <a:pt x="968" y="415"/>
                </a:lnTo>
                <a:lnTo>
                  <a:pt x="970" y="415"/>
                </a:lnTo>
                <a:lnTo>
                  <a:pt x="973" y="415"/>
                </a:lnTo>
                <a:lnTo>
                  <a:pt x="976" y="414"/>
                </a:lnTo>
                <a:lnTo>
                  <a:pt x="979" y="414"/>
                </a:lnTo>
                <a:lnTo>
                  <a:pt x="983" y="415"/>
                </a:lnTo>
                <a:lnTo>
                  <a:pt x="985" y="415"/>
                </a:lnTo>
                <a:lnTo>
                  <a:pt x="990" y="411"/>
                </a:lnTo>
                <a:lnTo>
                  <a:pt x="994" y="407"/>
                </a:lnTo>
                <a:lnTo>
                  <a:pt x="1001" y="405"/>
                </a:lnTo>
                <a:lnTo>
                  <a:pt x="1007" y="404"/>
                </a:lnTo>
                <a:lnTo>
                  <a:pt x="1011" y="400"/>
                </a:lnTo>
                <a:lnTo>
                  <a:pt x="1016" y="398"/>
                </a:lnTo>
                <a:lnTo>
                  <a:pt x="1030" y="398"/>
                </a:lnTo>
                <a:lnTo>
                  <a:pt x="1043" y="397"/>
                </a:lnTo>
                <a:lnTo>
                  <a:pt x="1047" y="396"/>
                </a:lnTo>
                <a:lnTo>
                  <a:pt x="1049" y="396"/>
                </a:lnTo>
                <a:lnTo>
                  <a:pt x="1050" y="397"/>
                </a:lnTo>
                <a:lnTo>
                  <a:pt x="1052" y="398"/>
                </a:lnTo>
                <a:lnTo>
                  <a:pt x="1056" y="398"/>
                </a:lnTo>
                <a:lnTo>
                  <a:pt x="1060" y="398"/>
                </a:lnTo>
                <a:lnTo>
                  <a:pt x="1065" y="399"/>
                </a:lnTo>
                <a:lnTo>
                  <a:pt x="1069" y="402"/>
                </a:lnTo>
                <a:lnTo>
                  <a:pt x="1069" y="403"/>
                </a:lnTo>
                <a:lnTo>
                  <a:pt x="1069" y="403"/>
                </a:lnTo>
                <a:lnTo>
                  <a:pt x="1069" y="404"/>
                </a:lnTo>
                <a:lnTo>
                  <a:pt x="1068" y="405"/>
                </a:lnTo>
                <a:lnTo>
                  <a:pt x="1067" y="408"/>
                </a:lnTo>
                <a:lnTo>
                  <a:pt x="1065" y="412"/>
                </a:lnTo>
                <a:lnTo>
                  <a:pt x="1060" y="415"/>
                </a:lnTo>
                <a:lnTo>
                  <a:pt x="1056" y="420"/>
                </a:lnTo>
                <a:lnTo>
                  <a:pt x="1066" y="418"/>
                </a:lnTo>
                <a:lnTo>
                  <a:pt x="1076" y="418"/>
                </a:lnTo>
                <a:lnTo>
                  <a:pt x="1086" y="416"/>
                </a:lnTo>
                <a:lnTo>
                  <a:pt x="1097" y="414"/>
                </a:lnTo>
                <a:lnTo>
                  <a:pt x="1084" y="412"/>
                </a:lnTo>
                <a:lnTo>
                  <a:pt x="1073" y="412"/>
                </a:lnTo>
                <a:lnTo>
                  <a:pt x="1084" y="408"/>
                </a:lnTo>
                <a:lnTo>
                  <a:pt x="1093" y="405"/>
                </a:lnTo>
                <a:lnTo>
                  <a:pt x="1091" y="403"/>
                </a:lnTo>
                <a:lnTo>
                  <a:pt x="1085" y="403"/>
                </a:lnTo>
                <a:lnTo>
                  <a:pt x="1077" y="403"/>
                </a:lnTo>
                <a:lnTo>
                  <a:pt x="1074" y="403"/>
                </a:lnTo>
                <a:lnTo>
                  <a:pt x="1082" y="400"/>
                </a:lnTo>
                <a:lnTo>
                  <a:pt x="1090" y="399"/>
                </a:lnTo>
                <a:lnTo>
                  <a:pt x="1093" y="397"/>
                </a:lnTo>
                <a:lnTo>
                  <a:pt x="1097" y="396"/>
                </a:lnTo>
                <a:lnTo>
                  <a:pt x="1100" y="396"/>
                </a:lnTo>
                <a:lnTo>
                  <a:pt x="1105" y="396"/>
                </a:lnTo>
                <a:lnTo>
                  <a:pt x="1102" y="399"/>
                </a:lnTo>
                <a:lnTo>
                  <a:pt x="1101" y="403"/>
                </a:lnTo>
                <a:lnTo>
                  <a:pt x="1100" y="405"/>
                </a:lnTo>
                <a:lnTo>
                  <a:pt x="1100" y="406"/>
                </a:lnTo>
                <a:lnTo>
                  <a:pt x="1101" y="407"/>
                </a:lnTo>
                <a:lnTo>
                  <a:pt x="1102" y="408"/>
                </a:lnTo>
                <a:lnTo>
                  <a:pt x="1113" y="408"/>
                </a:lnTo>
                <a:lnTo>
                  <a:pt x="1122" y="406"/>
                </a:lnTo>
                <a:lnTo>
                  <a:pt x="1119" y="406"/>
                </a:lnTo>
                <a:lnTo>
                  <a:pt x="1117" y="405"/>
                </a:lnTo>
                <a:lnTo>
                  <a:pt x="1122" y="402"/>
                </a:lnTo>
                <a:lnTo>
                  <a:pt x="1126" y="398"/>
                </a:lnTo>
                <a:lnTo>
                  <a:pt x="1131" y="397"/>
                </a:lnTo>
                <a:lnTo>
                  <a:pt x="1137" y="397"/>
                </a:lnTo>
                <a:lnTo>
                  <a:pt x="1135" y="399"/>
                </a:lnTo>
                <a:lnTo>
                  <a:pt x="1135" y="404"/>
                </a:lnTo>
                <a:lnTo>
                  <a:pt x="1135" y="405"/>
                </a:lnTo>
                <a:lnTo>
                  <a:pt x="1137" y="406"/>
                </a:lnTo>
                <a:lnTo>
                  <a:pt x="1138" y="407"/>
                </a:lnTo>
                <a:lnTo>
                  <a:pt x="1139" y="407"/>
                </a:lnTo>
                <a:lnTo>
                  <a:pt x="1143" y="405"/>
                </a:lnTo>
                <a:lnTo>
                  <a:pt x="1148" y="403"/>
                </a:lnTo>
                <a:lnTo>
                  <a:pt x="1154" y="403"/>
                </a:lnTo>
                <a:lnTo>
                  <a:pt x="1158" y="404"/>
                </a:lnTo>
                <a:lnTo>
                  <a:pt x="1163" y="404"/>
                </a:lnTo>
                <a:lnTo>
                  <a:pt x="1166" y="405"/>
                </a:lnTo>
                <a:lnTo>
                  <a:pt x="1167" y="406"/>
                </a:lnTo>
                <a:lnTo>
                  <a:pt x="1168" y="407"/>
                </a:lnTo>
                <a:lnTo>
                  <a:pt x="1168" y="410"/>
                </a:lnTo>
                <a:lnTo>
                  <a:pt x="1168" y="412"/>
                </a:lnTo>
                <a:lnTo>
                  <a:pt x="1168" y="413"/>
                </a:lnTo>
                <a:lnTo>
                  <a:pt x="1167" y="414"/>
                </a:lnTo>
                <a:lnTo>
                  <a:pt x="1166" y="414"/>
                </a:lnTo>
                <a:lnTo>
                  <a:pt x="1165" y="414"/>
                </a:lnTo>
                <a:lnTo>
                  <a:pt x="1163" y="413"/>
                </a:lnTo>
                <a:lnTo>
                  <a:pt x="1162" y="412"/>
                </a:lnTo>
                <a:lnTo>
                  <a:pt x="1160" y="411"/>
                </a:lnTo>
                <a:lnTo>
                  <a:pt x="1160" y="408"/>
                </a:lnTo>
                <a:lnTo>
                  <a:pt x="1156" y="412"/>
                </a:lnTo>
                <a:lnTo>
                  <a:pt x="1152" y="414"/>
                </a:lnTo>
                <a:lnTo>
                  <a:pt x="1152" y="415"/>
                </a:lnTo>
                <a:lnTo>
                  <a:pt x="1152" y="416"/>
                </a:lnTo>
                <a:lnTo>
                  <a:pt x="1154" y="418"/>
                </a:lnTo>
                <a:lnTo>
                  <a:pt x="1155" y="418"/>
                </a:lnTo>
                <a:lnTo>
                  <a:pt x="1158" y="418"/>
                </a:lnTo>
                <a:lnTo>
                  <a:pt x="1160" y="418"/>
                </a:lnTo>
                <a:lnTo>
                  <a:pt x="1165" y="418"/>
                </a:lnTo>
                <a:lnTo>
                  <a:pt x="1171" y="418"/>
                </a:lnTo>
                <a:lnTo>
                  <a:pt x="1173" y="418"/>
                </a:lnTo>
                <a:lnTo>
                  <a:pt x="1174" y="416"/>
                </a:lnTo>
                <a:lnTo>
                  <a:pt x="1174" y="414"/>
                </a:lnTo>
                <a:lnTo>
                  <a:pt x="1173" y="412"/>
                </a:lnTo>
                <a:lnTo>
                  <a:pt x="1178" y="411"/>
                </a:lnTo>
                <a:lnTo>
                  <a:pt x="1184" y="411"/>
                </a:lnTo>
                <a:lnTo>
                  <a:pt x="1187" y="411"/>
                </a:lnTo>
                <a:lnTo>
                  <a:pt x="1189" y="411"/>
                </a:lnTo>
                <a:lnTo>
                  <a:pt x="1191" y="413"/>
                </a:lnTo>
                <a:lnTo>
                  <a:pt x="1192" y="415"/>
                </a:lnTo>
                <a:lnTo>
                  <a:pt x="1192" y="416"/>
                </a:lnTo>
                <a:lnTo>
                  <a:pt x="1192" y="418"/>
                </a:lnTo>
                <a:lnTo>
                  <a:pt x="1192" y="419"/>
                </a:lnTo>
                <a:lnTo>
                  <a:pt x="1195" y="419"/>
                </a:lnTo>
                <a:lnTo>
                  <a:pt x="1204" y="419"/>
                </a:lnTo>
                <a:lnTo>
                  <a:pt x="1211" y="415"/>
                </a:lnTo>
                <a:lnTo>
                  <a:pt x="1208" y="415"/>
                </a:lnTo>
                <a:lnTo>
                  <a:pt x="1203" y="415"/>
                </a:lnTo>
                <a:lnTo>
                  <a:pt x="1200" y="415"/>
                </a:lnTo>
                <a:lnTo>
                  <a:pt x="1199" y="414"/>
                </a:lnTo>
                <a:lnTo>
                  <a:pt x="1199" y="413"/>
                </a:lnTo>
                <a:lnTo>
                  <a:pt x="1200" y="412"/>
                </a:lnTo>
                <a:lnTo>
                  <a:pt x="1204" y="412"/>
                </a:lnTo>
                <a:lnTo>
                  <a:pt x="1208" y="412"/>
                </a:lnTo>
                <a:lnTo>
                  <a:pt x="1214" y="412"/>
                </a:lnTo>
                <a:lnTo>
                  <a:pt x="1220" y="411"/>
                </a:lnTo>
                <a:lnTo>
                  <a:pt x="1224" y="410"/>
                </a:lnTo>
                <a:lnTo>
                  <a:pt x="1230" y="407"/>
                </a:lnTo>
                <a:lnTo>
                  <a:pt x="1231" y="407"/>
                </a:lnTo>
                <a:lnTo>
                  <a:pt x="1232" y="406"/>
                </a:lnTo>
                <a:lnTo>
                  <a:pt x="1232" y="405"/>
                </a:lnTo>
                <a:lnTo>
                  <a:pt x="1232" y="403"/>
                </a:lnTo>
                <a:lnTo>
                  <a:pt x="1234" y="400"/>
                </a:lnTo>
                <a:lnTo>
                  <a:pt x="1239" y="399"/>
                </a:lnTo>
                <a:lnTo>
                  <a:pt x="1244" y="399"/>
                </a:lnTo>
                <a:lnTo>
                  <a:pt x="1247" y="399"/>
                </a:lnTo>
                <a:lnTo>
                  <a:pt x="1247" y="398"/>
                </a:lnTo>
                <a:lnTo>
                  <a:pt x="1245" y="397"/>
                </a:lnTo>
                <a:lnTo>
                  <a:pt x="1242" y="396"/>
                </a:lnTo>
                <a:lnTo>
                  <a:pt x="1240" y="396"/>
                </a:lnTo>
                <a:lnTo>
                  <a:pt x="1236" y="395"/>
                </a:lnTo>
                <a:lnTo>
                  <a:pt x="1231" y="396"/>
                </a:lnTo>
                <a:lnTo>
                  <a:pt x="1217" y="395"/>
                </a:lnTo>
                <a:lnTo>
                  <a:pt x="1204" y="394"/>
                </a:lnTo>
                <a:lnTo>
                  <a:pt x="1197" y="394"/>
                </a:lnTo>
                <a:lnTo>
                  <a:pt x="1190" y="394"/>
                </a:lnTo>
                <a:lnTo>
                  <a:pt x="1184" y="395"/>
                </a:lnTo>
                <a:lnTo>
                  <a:pt x="1180" y="396"/>
                </a:lnTo>
                <a:lnTo>
                  <a:pt x="1174" y="394"/>
                </a:lnTo>
                <a:lnTo>
                  <a:pt x="1168" y="393"/>
                </a:lnTo>
                <a:lnTo>
                  <a:pt x="1162" y="391"/>
                </a:lnTo>
                <a:lnTo>
                  <a:pt x="1155" y="391"/>
                </a:lnTo>
                <a:lnTo>
                  <a:pt x="1143" y="393"/>
                </a:lnTo>
                <a:lnTo>
                  <a:pt x="1132" y="393"/>
                </a:lnTo>
                <a:lnTo>
                  <a:pt x="1119" y="390"/>
                </a:lnTo>
                <a:lnTo>
                  <a:pt x="1107" y="388"/>
                </a:lnTo>
                <a:lnTo>
                  <a:pt x="1104" y="388"/>
                </a:lnTo>
                <a:lnTo>
                  <a:pt x="1097" y="389"/>
                </a:lnTo>
                <a:lnTo>
                  <a:pt x="1092" y="388"/>
                </a:lnTo>
                <a:lnTo>
                  <a:pt x="1089" y="387"/>
                </a:lnTo>
                <a:lnTo>
                  <a:pt x="1090" y="383"/>
                </a:lnTo>
                <a:lnTo>
                  <a:pt x="1088" y="381"/>
                </a:lnTo>
                <a:lnTo>
                  <a:pt x="1081" y="380"/>
                </a:lnTo>
                <a:lnTo>
                  <a:pt x="1074" y="380"/>
                </a:lnTo>
                <a:lnTo>
                  <a:pt x="1079" y="379"/>
                </a:lnTo>
                <a:lnTo>
                  <a:pt x="1083" y="378"/>
                </a:lnTo>
                <a:lnTo>
                  <a:pt x="1088" y="378"/>
                </a:lnTo>
                <a:lnTo>
                  <a:pt x="1093" y="378"/>
                </a:lnTo>
                <a:lnTo>
                  <a:pt x="1097" y="375"/>
                </a:lnTo>
                <a:lnTo>
                  <a:pt x="1100" y="373"/>
                </a:lnTo>
                <a:lnTo>
                  <a:pt x="1099" y="370"/>
                </a:lnTo>
                <a:lnTo>
                  <a:pt x="1098" y="365"/>
                </a:lnTo>
                <a:lnTo>
                  <a:pt x="1101" y="369"/>
                </a:lnTo>
                <a:lnTo>
                  <a:pt x="1104" y="372"/>
                </a:lnTo>
                <a:lnTo>
                  <a:pt x="1105" y="377"/>
                </a:lnTo>
                <a:lnTo>
                  <a:pt x="1106" y="380"/>
                </a:lnTo>
                <a:lnTo>
                  <a:pt x="1109" y="381"/>
                </a:lnTo>
                <a:lnTo>
                  <a:pt x="1113" y="383"/>
                </a:lnTo>
                <a:lnTo>
                  <a:pt x="1114" y="383"/>
                </a:lnTo>
                <a:lnTo>
                  <a:pt x="1116" y="383"/>
                </a:lnTo>
                <a:lnTo>
                  <a:pt x="1117" y="382"/>
                </a:lnTo>
                <a:lnTo>
                  <a:pt x="1118" y="381"/>
                </a:lnTo>
                <a:lnTo>
                  <a:pt x="1121" y="378"/>
                </a:lnTo>
                <a:lnTo>
                  <a:pt x="1123" y="377"/>
                </a:lnTo>
                <a:lnTo>
                  <a:pt x="1127" y="377"/>
                </a:lnTo>
                <a:lnTo>
                  <a:pt x="1132" y="377"/>
                </a:lnTo>
                <a:lnTo>
                  <a:pt x="1135" y="374"/>
                </a:lnTo>
                <a:lnTo>
                  <a:pt x="1141" y="371"/>
                </a:lnTo>
                <a:lnTo>
                  <a:pt x="1143" y="370"/>
                </a:lnTo>
                <a:lnTo>
                  <a:pt x="1145" y="370"/>
                </a:lnTo>
                <a:lnTo>
                  <a:pt x="1147" y="371"/>
                </a:lnTo>
                <a:lnTo>
                  <a:pt x="1147" y="373"/>
                </a:lnTo>
                <a:lnTo>
                  <a:pt x="1146" y="377"/>
                </a:lnTo>
                <a:lnTo>
                  <a:pt x="1143" y="380"/>
                </a:lnTo>
                <a:lnTo>
                  <a:pt x="1147" y="381"/>
                </a:lnTo>
                <a:lnTo>
                  <a:pt x="1150" y="381"/>
                </a:lnTo>
                <a:lnTo>
                  <a:pt x="1151" y="385"/>
                </a:lnTo>
                <a:lnTo>
                  <a:pt x="1152" y="386"/>
                </a:lnTo>
                <a:lnTo>
                  <a:pt x="1154" y="387"/>
                </a:lnTo>
                <a:lnTo>
                  <a:pt x="1156" y="385"/>
                </a:lnTo>
                <a:lnTo>
                  <a:pt x="1157" y="383"/>
                </a:lnTo>
                <a:lnTo>
                  <a:pt x="1158" y="381"/>
                </a:lnTo>
                <a:lnTo>
                  <a:pt x="1162" y="379"/>
                </a:lnTo>
                <a:lnTo>
                  <a:pt x="1165" y="377"/>
                </a:lnTo>
                <a:lnTo>
                  <a:pt x="1168" y="379"/>
                </a:lnTo>
                <a:lnTo>
                  <a:pt x="1168" y="380"/>
                </a:lnTo>
                <a:lnTo>
                  <a:pt x="1173" y="380"/>
                </a:lnTo>
                <a:lnTo>
                  <a:pt x="1178" y="378"/>
                </a:lnTo>
                <a:lnTo>
                  <a:pt x="1183" y="379"/>
                </a:lnTo>
                <a:lnTo>
                  <a:pt x="1190" y="379"/>
                </a:lnTo>
                <a:lnTo>
                  <a:pt x="1188" y="381"/>
                </a:lnTo>
                <a:lnTo>
                  <a:pt x="1185" y="383"/>
                </a:lnTo>
                <a:lnTo>
                  <a:pt x="1188" y="385"/>
                </a:lnTo>
                <a:lnTo>
                  <a:pt x="1191" y="386"/>
                </a:lnTo>
                <a:lnTo>
                  <a:pt x="1196" y="388"/>
                </a:lnTo>
                <a:lnTo>
                  <a:pt x="1200" y="390"/>
                </a:lnTo>
                <a:lnTo>
                  <a:pt x="1207" y="391"/>
                </a:lnTo>
                <a:lnTo>
                  <a:pt x="1213" y="389"/>
                </a:lnTo>
                <a:lnTo>
                  <a:pt x="1208" y="388"/>
                </a:lnTo>
                <a:lnTo>
                  <a:pt x="1205" y="386"/>
                </a:lnTo>
                <a:lnTo>
                  <a:pt x="1220" y="382"/>
                </a:lnTo>
                <a:lnTo>
                  <a:pt x="1236" y="380"/>
                </a:lnTo>
                <a:lnTo>
                  <a:pt x="1241" y="378"/>
                </a:lnTo>
                <a:lnTo>
                  <a:pt x="1248" y="377"/>
                </a:lnTo>
                <a:lnTo>
                  <a:pt x="1254" y="379"/>
                </a:lnTo>
                <a:lnTo>
                  <a:pt x="1259" y="381"/>
                </a:lnTo>
                <a:lnTo>
                  <a:pt x="1267" y="381"/>
                </a:lnTo>
                <a:lnTo>
                  <a:pt x="1274" y="382"/>
                </a:lnTo>
                <a:lnTo>
                  <a:pt x="1281" y="382"/>
                </a:lnTo>
                <a:lnTo>
                  <a:pt x="1288" y="381"/>
                </a:lnTo>
                <a:lnTo>
                  <a:pt x="1292" y="382"/>
                </a:lnTo>
                <a:lnTo>
                  <a:pt x="1296" y="385"/>
                </a:lnTo>
                <a:lnTo>
                  <a:pt x="1303" y="385"/>
                </a:lnTo>
                <a:lnTo>
                  <a:pt x="1310" y="385"/>
                </a:lnTo>
                <a:lnTo>
                  <a:pt x="1307" y="387"/>
                </a:lnTo>
                <a:lnTo>
                  <a:pt x="1305" y="388"/>
                </a:lnTo>
                <a:lnTo>
                  <a:pt x="1299" y="388"/>
                </a:lnTo>
                <a:lnTo>
                  <a:pt x="1294" y="387"/>
                </a:lnTo>
                <a:lnTo>
                  <a:pt x="1292" y="388"/>
                </a:lnTo>
                <a:lnTo>
                  <a:pt x="1290" y="388"/>
                </a:lnTo>
                <a:lnTo>
                  <a:pt x="1290" y="389"/>
                </a:lnTo>
                <a:lnTo>
                  <a:pt x="1291" y="391"/>
                </a:lnTo>
                <a:lnTo>
                  <a:pt x="1294" y="393"/>
                </a:lnTo>
                <a:lnTo>
                  <a:pt x="1296" y="393"/>
                </a:lnTo>
                <a:lnTo>
                  <a:pt x="1299" y="395"/>
                </a:lnTo>
                <a:lnTo>
                  <a:pt x="1303" y="397"/>
                </a:lnTo>
                <a:lnTo>
                  <a:pt x="1289" y="398"/>
                </a:lnTo>
                <a:lnTo>
                  <a:pt x="1274" y="397"/>
                </a:lnTo>
                <a:lnTo>
                  <a:pt x="1261" y="398"/>
                </a:lnTo>
                <a:lnTo>
                  <a:pt x="1247" y="399"/>
                </a:lnTo>
                <a:lnTo>
                  <a:pt x="1249" y="402"/>
                </a:lnTo>
                <a:lnTo>
                  <a:pt x="1253" y="403"/>
                </a:lnTo>
                <a:lnTo>
                  <a:pt x="1255" y="402"/>
                </a:lnTo>
                <a:lnTo>
                  <a:pt x="1258" y="403"/>
                </a:lnTo>
                <a:lnTo>
                  <a:pt x="1259" y="404"/>
                </a:lnTo>
                <a:lnTo>
                  <a:pt x="1259" y="404"/>
                </a:lnTo>
                <a:lnTo>
                  <a:pt x="1259" y="405"/>
                </a:lnTo>
                <a:lnTo>
                  <a:pt x="1257" y="405"/>
                </a:lnTo>
                <a:lnTo>
                  <a:pt x="1254" y="405"/>
                </a:lnTo>
                <a:lnTo>
                  <a:pt x="1252" y="406"/>
                </a:lnTo>
                <a:lnTo>
                  <a:pt x="1246" y="405"/>
                </a:lnTo>
                <a:lnTo>
                  <a:pt x="1240" y="406"/>
                </a:lnTo>
                <a:lnTo>
                  <a:pt x="1240" y="408"/>
                </a:lnTo>
                <a:lnTo>
                  <a:pt x="1241" y="412"/>
                </a:lnTo>
                <a:lnTo>
                  <a:pt x="1244" y="415"/>
                </a:lnTo>
                <a:lnTo>
                  <a:pt x="1246" y="416"/>
                </a:lnTo>
                <a:lnTo>
                  <a:pt x="1249" y="418"/>
                </a:lnTo>
                <a:lnTo>
                  <a:pt x="1252" y="418"/>
                </a:lnTo>
                <a:lnTo>
                  <a:pt x="1254" y="415"/>
                </a:lnTo>
                <a:lnTo>
                  <a:pt x="1256" y="413"/>
                </a:lnTo>
                <a:lnTo>
                  <a:pt x="1259" y="412"/>
                </a:lnTo>
                <a:lnTo>
                  <a:pt x="1263" y="411"/>
                </a:lnTo>
                <a:lnTo>
                  <a:pt x="1267" y="411"/>
                </a:lnTo>
                <a:lnTo>
                  <a:pt x="1270" y="412"/>
                </a:lnTo>
                <a:lnTo>
                  <a:pt x="1278" y="412"/>
                </a:lnTo>
                <a:lnTo>
                  <a:pt x="1285" y="411"/>
                </a:lnTo>
                <a:lnTo>
                  <a:pt x="1291" y="411"/>
                </a:lnTo>
                <a:lnTo>
                  <a:pt x="1298" y="410"/>
                </a:lnTo>
                <a:lnTo>
                  <a:pt x="1300" y="407"/>
                </a:lnTo>
                <a:lnTo>
                  <a:pt x="1304" y="406"/>
                </a:lnTo>
                <a:lnTo>
                  <a:pt x="1307" y="405"/>
                </a:lnTo>
                <a:lnTo>
                  <a:pt x="1312" y="405"/>
                </a:lnTo>
                <a:lnTo>
                  <a:pt x="1316" y="405"/>
                </a:lnTo>
                <a:lnTo>
                  <a:pt x="1321" y="404"/>
                </a:lnTo>
                <a:lnTo>
                  <a:pt x="1322" y="404"/>
                </a:lnTo>
                <a:lnTo>
                  <a:pt x="1324" y="404"/>
                </a:lnTo>
                <a:lnTo>
                  <a:pt x="1325" y="403"/>
                </a:lnTo>
                <a:lnTo>
                  <a:pt x="1327" y="402"/>
                </a:lnTo>
                <a:lnTo>
                  <a:pt x="1329" y="402"/>
                </a:lnTo>
                <a:lnTo>
                  <a:pt x="1331" y="403"/>
                </a:lnTo>
                <a:lnTo>
                  <a:pt x="1332" y="403"/>
                </a:lnTo>
                <a:lnTo>
                  <a:pt x="1331" y="404"/>
                </a:lnTo>
                <a:lnTo>
                  <a:pt x="1333" y="405"/>
                </a:lnTo>
                <a:lnTo>
                  <a:pt x="1336" y="406"/>
                </a:lnTo>
                <a:lnTo>
                  <a:pt x="1340" y="406"/>
                </a:lnTo>
                <a:lnTo>
                  <a:pt x="1344" y="406"/>
                </a:lnTo>
                <a:lnTo>
                  <a:pt x="1347" y="405"/>
                </a:lnTo>
                <a:lnTo>
                  <a:pt x="1351" y="404"/>
                </a:lnTo>
                <a:lnTo>
                  <a:pt x="1352" y="405"/>
                </a:lnTo>
                <a:lnTo>
                  <a:pt x="1353" y="407"/>
                </a:lnTo>
                <a:lnTo>
                  <a:pt x="1353" y="407"/>
                </a:lnTo>
                <a:lnTo>
                  <a:pt x="1356" y="407"/>
                </a:lnTo>
                <a:lnTo>
                  <a:pt x="1361" y="407"/>
                </a:lnTo>
                <a:lnTo>
                  <a:pt x="1365" y="407"/>
                </a:lnTo>
                <a:lnTo>
                  <a:pt x="1368" y="407"/>
                </a:lnTo>
                <a:lnTo>
                  <a:pt x="1371" y="407"/>
                </a:lnTo>
                <a:lnTo>
                  <a:pt x="1373" y="404"/>
                </a:lnTo>
                <a:lnTo>
                  <a:pt x="1374" y="399"/>
                </a:lnTo>
                <a:lnTo>
                  <a:pt x="1376" y="398"/>
                </a:lnTo>
                <a:lnTo>
                  <a:pt x="1377" y="396"/>
                </a:lnTo>
                <a:lnTo>
                  <a:pt x="1377" y="395"/>
                </a:lnTo>
                <a:lnTo>
                  <a:pt x="1374" y="394"/>
                </a:lnTo>
                <a:lnTo>
                  <a:pt x="1377" y="391"/>
                </a:lnTo>
                <a:lnTo>
                  <a:pt x="1379" y="390"/>
                </a:lnTo>
                <a:lnTo>
                  <a:pt x="1381" y="388"/>
                </a:lnTo>
                <a:lnTo>
                  <a:pt x="1384" y="386"/>
                </a:lnTo>
                <a:lnTo>
                  <a:pt x="1387" y="383"/>
                </a:lnTo>
                <a:lnTo>
                  <a:pt x="1388" y="382"/>
                </a:lnTo>
                <a:lnTo>
                  <a:pt x="1389" y="380"/>
                </a:lnTo>
                <a:lnTo>
                  <a:pt x="1390" y="375"/>
                </a:lnTo>
                <a:lnTo>
                  <a:pt x="1380" y="380"/>
                </a:lnTo>
                <a:lnTo>
                  <a:pt x="1371" y="383"/>
                </a:lnTo>
                <a:lnTo>
                  <a:pt x="1366" y="386"/>
                </a:lnTo>
                <a:lnTo>
                  <a:pt x="1364" y="389"/>
                </a:lnTo>
                <a:lnTo>
                  <a:pt x="1363" y="393"/>
                </a:lnTo>
                <a:lnTo>
                  <a:pt x="1364" y="394"/>
                </a:lnTo>
                <a:lnTo>
                  <a:pt x="1365" y="394"/>
                </a:lnTo>
                <a:lnTo>
                  <a:pt x="1368" y="395"/>
                </a:lnTo>
                <a:lnTo>
                  <a:pt x="1369" y="395"/>
                </a:lnTo>
                <a:lnTo>
                  <a:pt x="1371" y="396"/>
                </a:lnTo>
                <a:lnTo>
                  <a:pt x="1369" y="398"/>
                </a:lnTo>
                <a:lnTo>
                  <a:pt x="1368" y="399"/>
                </a:lnTo>
                <a:lnTo>
                  <a:pt x="1364" y="398"/>
                </a:lnTo>
                <a:lnTo>
                  <a:pt x="1361" y="396"/>
                </a:lnTo>
                <a:lnTo>
                  <a:pt x="1357" y="395"/>
                </a:lnTo>
                <a:lnTo>
                  <a:pt x="1355" y="391"/>
                </a:lnTo>
                <a:lnTo>
                  <a:pt x="1357" y="389"/>
                </a:lnTo>
                <a:lnTo>
                  <a:pt x="1361" y="387"/>
                </a:lnTo>
                <a:lnTo>
                  <a:pt x="1357" y="386"/>
                </a:lnTo>
                <a:lnTo>
                  <a:pt x="1355" y="386"/>
                </a:lnTo>
                <a:lnTo>
                  <a:pt x="1352" y="387"/>
                </a:lnTo>
                <a:lnTo>
                  <a:pt x="1348" y="387"/>
                </a:lnTo>
                <a:lnTo>
                  <a:pt x="1345" y="387"/>
                </a:lnTo>
                <a:lnTo>
                  <a:pt x="1341" y="385"/>
                </a:lnTo>
                <a:lnTo>
                  <a:pt x="1339" y="383"/>
                </a:lnTo>
                <a:lnTo>
                  <a:pt x="1338" y="380"/>
                </a:lnTo>
                <a:lnTo>
                  <a:pt x="1341" y="380"/>
                </a:lnTo>
                <a:lnTo>
                  <a:pt x="1346" y="379"/>
                </a:lnTo>
                <a:lnTo>
                  <a:pt x="1347" y="378"/>
                </a:lnTo>
                <a:lnTo>
                  <a:pt x="1348" y="375"/>
                </a:lnTo>
                <a:lnTo>
                  <a:pt x="1348" y="374"/>
                </a:lnTo>
                <a:lnTo>
                  <a:pt x="1347" y="373"/>
                </a:lnTo>
                <a:lnTo>
                  <a:pt x="1341" y="372"/>
                </a:lnTo>
                <a:lnTo>
                  <a:pt x="1337" y="374"/>
                </a:lnTo>
                <a:lnTo>
                  <a:pt x="1335" y="375"/>
                </a:lnTo>
                <a:lnTo>
                  <a:pt x="1331" y="377"/>
                </a:lnTo>
                <a:lnTo>
                  <a:pt x="1329" y="377"/>
                </a:lnTo>
                <a:lnTo>
                  <a:pt x="1327" y="377"/>
                </a:lnTo>
                <a:lnTo>
                  <a:pt x="1324" y="377"/>
                </a:lnTo>
                <a:lnTo>
                  <a:pt x="1322" y="377"/>
                </a:lnTo>
                <a:lnTo>
                  <a:pt x="1319" y="377"/>
                </a:lnTo>
                <a:lnTo>
                  <a:pt x="1315" y="377"/>
                </a:lnTo>
                <a:lnTo>
                  <a:pt x="1313" y="377"/>
                </a:lnTo>
                <a:lnTo>
                  <a:pt x="1311" y="377"/>
                </a:lnTo>
                <a:lnTo>
                  <a:pt x="1308" y="377"/>
                </a:lnTo>
                <a:lnTo>
                  <a:pt x="1306" y="375"/>
                </a:lnTo>
                <a:lnTo>
                  <a:pt x="1307" y="371"/>
                </a:lnTo>
                <a:lnTo>
                  <a:pt x="1308" y="369"/>
                </a:lnTo>
                <a:lnTo>
                  <a:pt x="1307" y="367"/>
                </a:lnTo>
                <a:lnTo>
                  <a:pt x="1305" y="366"/>
                </a:lnTo>
                <a:lnTo>
                  <a:pt x="1311" y="364"/>
                </a:lnTo>
                <a:lnTo>
                  <a:pt x="1318" y="364"/>
                </a:lnTo>
                <a:lnTo>
                  <a:pt x="1322" y="364"/>
                </a:lnTo>
                <a:lnTo>
                  <a:pt x="1325" y="366"/>
                </a:lnTo>
                <a:lnTo>
                  <a:pt x="1328" y="367"/>
                </a:lnTo>
                <a:lnTo>
                  <a:pt x="1331" y="370"/>
                </a:lnTo>
                <a:lnTo>
                  <a:pt x="1335" y="371"/>
                </a:lnTo>
                <a:lnTo>
                  <a:pt x="1336" y="370"/>
                </a:lnTo>
                <a:lnTo>
                  <a:pt x="1338" y="367"/>
                </a:lnTo>
                <a:lnTo>
                  <a:pt x="1340" y="366"/>
                </a:lnTo>
                <a:lnTo>
                  <a:pt x="1346" y="367"/>
                </a:lnTo>
                <a:lnTo>
                  <a:pt x="1351" y="370"/>
                </a:lnTo>
                <a:lnTo>
                  <a:pt x="1355" y="366"/>
                </a:lnTo>
                <a:lnTo>
                  <a:pt x="1360" y="363"/>
                </a:lnTo>
                <a:lnTo>
                  <a:pt x="1362" y="362"/>
                </a:lnTo>
                <a:lnTo>
                  <a:pt x="1363" y="363"/>
                </a:lnTo>
                <a:lnTo>
                  <a:pt x="1363" y="365"/>
                </a:lnTo>
                <a:lnTo>
                  <a:pt x="1365" y="366"/>
                </a:lnTo>
                <a:lnTo>
                  <a:pt x="1368" y="367"/>
                </a:lnTo>
                <a:lnTo>
                  <a:pt x="1371" y="365"/>
                </a:lnTo>
                <a:lnTo>
                  <a:pt x="1373" y="364"/>
                </a:lnTo>
                <a:lnTo>
                  <a:pt x="1373" y="361"/>
                </a:lnTo>
                <a:lnTo>
                  <a:pt x="1370" y="358"/>
                </a:lnTo>
                <a:lnTo>
                  <a:pt x="1368" y="356"/>
                </a:lnTo>
                <a:lnTo>
                  <a:pt x="1373" y="354"/>
                </a:lnTo>
                <a:lnTo>
                  <a:pt x="1380" y="353"/>
                </a:lnTo>
                <a:lnTo>
                  <a:pt x="1387" y="356"/>
                </a:lnTo>
                <a:lnTo>
                  <a:pt x="1395" y="358"/>
                </a:lnTo>
                <a:lnTo>
                  <a:pt x="1402" y="357"/>
                </a:lnTo>
                <a:lnTo>
                  <a:pt x="1407" y="355"/>
                </a:lnTo>
                <a:lnTo>
                  <a:pt x="1410" y="353"/>
                </a:lnTo>
                <a:lnTo>
                  <a:pt x="1412" y="350"/>
                </a:lnTo>
                <a:lnTo>
                  <a:pt x="1412" y="348"/>
                </a:lnTo>
                <a:lnTo>
                  <a:pt x="1412" y="347"/>
                </a:lnTo>
                <a:lnTo>
                  <a:pt x="1412" y="347"/>
                </a:lnTo>
                <a:lnTo>
                  <a:pt x="1410" y="347"/>
                </a:lnTo>
                <a:lnTo>
                  <a:pt x="1410" y="347"/>
                </a:lnTo>
                <a:lnTo>
                  <a:pt x="1410" y="347"/>
                </a:lnTo>
                <a:close/>
                <a:moveTo>
                  <a:pt x="1126" y="105"/>
                </a:moveTo>
                <a:lnTo>
                  <a:pt x="1118" y="107"/>
                </a:lnTo>
                <a:lnTo>
                  <a:pt x="1109" y="108"/>
                </a:lnTo>
                <a:lnTo>
                  <a:pt x="1102" y="108"/>
                </a:lnTo>
                <a:lnTo>
                  <a:pt x="1096" y="109"/>
                </a:lnTo>
                <a:lnTo>
                  <a:pt x="1086" y="116"/>
                </a:lnTo>
                <a:lnTo>
                  <a:pt x="1079" y="123"/>
                </a:lnTo>
                <a:lnTo>
                  <a:pt x="1072" y="124"/>
                </a:lnTo>
                <a:lnTo>
                  <a:pt x="1066" y="125"/>
                </a:lnTo>
                <a:lnTo>
                  <a:pt x="1064" y="125"/>
                </a:lnTo>
                <a:lnTo>
                  <a:pt x="1061" y="126"/>
                </a:lnTo>
                <a:lnTo>
                  <a:pt x="1059" y="126"/>
                </a:lnTo>
                <a:lnTo>
                  <a:pt x="1057" y="125"/>
                </a:lnTo>
                <a:lnTo>
                  <a:pt x="1060" y="123"/>
                </a:lnTo>
                <a:lnTo>
                  <a:pt x="1064" y="121"/>
                </a:lnTo>
                <a:lnTo>
                  <a:pt x="1061" y="117"/>
                </a:lnTo>
                <a:lnTo>
                  <a:pt x="1059" y="112"/>
                </a:lnTo>
                <a:lnTo>
                  <a:pt x="1059" y="108"/>
                </a:lnTo>
                <a:lnTo>
                  <a:pt x="1060" y="106"/>
                </a:lnTo>
                <a:lnTo>
                  <a:pt x="1061" y="104"/>
                </a:lnTo>
                <a:lnTo>
                  <a:pt x="1064" y="104"/>
                </a:lnTo>
                <a:lnTo>
                  <a:pt x="1069" y="103"/>
                </a:lnTo>
                <a:lnTo>
                  <a:pt x="1076" y="103"/>
                </a:lnTo>
                <a:lnTo>
                  <a:pt x="1080" y="101"/>
                </a:lnTo>
                <a:lnTo>
                  <a:pt x="1083" y="100"/>
                </a:lnTo>
                <a:lnTo>
                  <a:pt x="1085" y="103"/>
                </a:lnTo>
                <a:lnTo>
                  <a:pt x="1086" y="105"/>
                </a:lnTo>
                <a:lnTo>
                  <a:pt x="1093" y="105"/>
                </a:lnTo>
                <a:lnTo>
                  <a:pt x="1099" y="103"/>
                </a:lnTo>
                <a:lnTo>
                  <a:pt x="1107" y="104"/>
                </a:lnTo>
                <a:lnTo>
                  <a:pt x="1114" y="105"/>
                </a:lnTo>
                <a:lnTo>
                  <a:pt x="1119" y="103"/>
                </a:lnTo>
                <a:lnTo>
                  <a:pt x="1124" y="99"/>
                </a:lnTo>
                <a:lnTo>
                  <a:pt x="1126" y="100"/>
                </a:lnTo>
                <a:lnTo>
                  <a:pt x="1129" y="101"/>
                </a:lnTo>
                <a:lnTo>
                  <a:pt x="1129" y="103"/>
                </a:lnTo>
                <a:lnTo>
                  <a:pt x="1129" y="104"/>
                </a:lnTo>
                <a:lnTo>
                  <a:pt x="1129" y="104"/>
                </a:lnTo>
                <a:lnTo>
                  <a:pt x="1126" y="105"/>
                </a:lnTo>
                <a:lnTo>
                  <a:pt x="1124" y="105"/>
                </a:lnTo>
                <a:lnTo>
                  <a:pt x="1126" y="105"/>
                </a:lnTo>
                <a:close/>
                <a:moveTo>
                  <a:pt x="1179" y="134"/>
                </a:moveTo>
                <a:lnTo>
                  <a:pt x="1179" y="134"/>
                </a:lnTo>
                <a:lnTo>
                  <a:pt x="1179" y="134"/>
                </a:lnTo>
                <a:close/>
                <a:moveTo>
                  <a:pt x="1072" y="34"/>
                </a:moveTo>
                <a:lnTo>
                  <a:pt x="1074" y="33"/>
                </a:lnTo>
                <a:lnTo>
                  <a:pt x="1077" y="32"/>
                </a:lnTo>
                <a:lnTo>
                  <a:pt x="1082" y="32"/>
                </a:lnTo>
                <a:lnTo>
                  <a:pt x="1085" y="32"/>
                </a:lnTo>
                <a:lnTo>
                  <a:pt x="1088" y="34"/>
                </a:lnTo>
                <a:lnTo>
                  <a:pt x="1090" y="36"/>
                </a:lnTo>
                <a:lnTo>
                  <a:pt x="1096" y="36"/>
                </a:lnTo>
                <a:lnTo>
                  <a:pt x="1100" y="37"/>
                </a:lnTo>
                <a:lnTo>
                  <a:pt x="1099" y="37"/>
                </a:lnTo>
                <a:lnTo>
                  <a:pt x="1097" y="37"/>
                </a:lnTo>
                <a:lnTo>
                  <a:pt x="1094" y="38"/>
                </a:lnTo>
                <a:lnTo>
                  <a:pt x="1094" y="39"/>
                </a:lnTo>
                <a:lnTo>
                  <a:pt x="1096" y="40"/>
                </a:lnTo>
                <a:lnTo>
                  <a:pt x="1099" y="40"/>
                </a:lnTo>
                <a:lnTo>
                  <a:pt x="1102" y="40"/>
                </a:lnTo>
                <a:lnTo>
                  <a:pt x="1105" y="39"/>
                </a:lnTo>
                <a:lnTo>
                  <a:pt x="1113" y="37"/>
                </a:lnTo>
                <a:lnTo>
                  <a:pt x="1119" y="36"/>
                </a:lnTo>
                <a:lnTo>
                  <a:pt x="1127" y="37"/>
                </a:lnTo>
                <a:lnTo>
                  <a:pt x="1135" y="34"/>
                </a:lnTo>
                <a:lnTo>
                  <a:pt x="1138" y="33"/>
                </a:lnTo>
                <a:lnTo>
                  <a:pt x="1139" y="32"/>
                </a:lnTo>
                <a:lnTo>
                  <a:pt x="1141" y="33"/>
                </a:lnTo>
                <a:lnTo>
                  <a:pt x="1142" y="36"/>
                </a:lnTo>
                <a:lnTo>
                  <a:pt x="1141" y="37"/>
                </a:lnTo>
                <a:lnTo>
                  <a:pt x="1140" y="38"/>
                </a:lnTo>
                <a:lnTo>
                  <a:pt x="1143" y="41"/>
                </a:lnTo>
                <a:lnTo>
                  <a:pt x="1148" y="42"/>
                </a:lnTo>
                <a:lnTo>
                  <a:pt x="1150" y="43"/>
                </a:lnTo>
                <a:lnTo>
                  <a:pt x="1152" y="45"/>
                </a:lnTo>
                <a:lnTo>
                  <a:pt x="1154" y="45"/>
                </a:lnTo>
                <a:lnTo>
                  <a:pt x="1155" y="43"/>
                </a:lnTo>
                <a:lnTo>
                  <a:pt x="1155" y="42"/>
                </a:lnTo>
                <a:lnTo>
                  <a:pt x="1155" y="41"/>
                </a:lnTo>
                <a:lnTo>
                  <a:pt x="1151" y="39"/>
                </a:lnTo>
                <a:lnTo>
                  <a:pt x="1148" y="37"/>
                </a:lnTo>
                <a:lnTo>
                  <a:pt x="1157" y="36"/>
                </a:lnTo>
                <a:lnTo>
                  <a:pt x="1166" y="36"/>
                </a:lnTo>
                <a:lnTo>
                  <a:pt x="1175" y="36"/>
                </a:lnTo>
                <a:lnTo>
                  <a:pt x="1184" y="36"/>
                </a:lnTo>
                <a:lnTo>
                  <a:pt x="1192" y="36"/>
                </a:lnTo>
                <a:lnTo>
                  <a:pt x="1201" y="37"/>
                </a:lnTo>
                <a:lnTo>
                  <a:pt x="1204" y="37"/>
                </a:lnTo>
                <a:lnTo>
                  <a:pt x="1205" y="38"/>
                </a:lnTo>
                <a:lnTo>
                  <a:pt x="1205" y="39"/>
                </a:lnTo>
                <a:lnTo>
                  <a:pt x="1203" y="40"/>
                </a:lnTo>
                <a:lnTo>
                  <a:pt x="1195" y="43"/>
                </a:lnTo>
                <a:lnTo>
                  <a:pt x="1187" y="43"/>
                </a:lnTo>
                <a:lnTo>
                  <a:pt x="1179" y="43"/>
                </a:lnTo>
                <a:lnTo>
                  <a:pt x="1172" y="43"/>
                </a:lnTo>
                <a:lnTo>
                  <a:pt x="1168" y="46"/>
                </a:lnTo>
                <a:lnTo>
                  <a:pt x="1165" y="47"/>
                </a:lnTo>
                <a:lnTo>
                  <a:pt x="1163" y="48"/>
                </a:lnTo>
                <a:lnTo>
                  <a:pt x="1158" y="47"/>
                </a:lnTo>
                <a:lnTo>
                  <a:pt x="1150" y="48"/>
                </a:lnTo>
                <a:lnTo>
                  <a:pt x="1142" y="50"/>
                </a:lnTo>
                <a:lnTo>
                  <a:pt x="1143" y="48"/>
                </a:lnTo>
                <a:lnTo>
                  <a:pt x="1143" y="46"/>
                </a:lnTo>
                <a:lnTo>
                  <a:pt x="1141" y="43"/>
                </a:lnTo>
                <a:lnTo>
                  <a:pt x="1139" y="43"/>
                </a:lnTo>
                <a:lnTo>
                  <a:pt x="1132" y="43"/>
                </a:lnTo>
                <a:lnTo>
                  <a:pt x="1126" y="45"/>
                </a:lnTo>
                <a:lnTo>
                  <a:pt x="1121" y="48"/>
                </a:lnTo>
                <a:lnTo>
                  <a:pt x="1114" y="51"/>
                </a:lnTo>
                <a:lnTo>
                  <a:pt x="1108" y="51"/>
                </a:lnTo>
                <a:lnTo>
                  <a:pt x="1101" y="53"/>
                </a:lnTo>
                <a:lnTo>
                  <a:pt x="1097" y="55"/>
                </a:lnTo>
                <a:lnTo>
                  <a:pt x="1091" y="55"/>
                </a:lnTo>
                <a:lnTo>
                  <a:pt x="1086" y="51"/>
                </a:lnTo>
                <a:lnTo>
                  <a:pt x="1081" y="47"/>
                </a:lnTo>
                <a:lnTo>
                  <a:pt x="1079" y="45"/>
                </a:lnTo>
                <a:lnTo>
                  <a:pt x="1076" y="45"/>
                </a:lnTo>
                <a:lnTo>
                  <a:pt x="1075" y="45"/>
                </a:lnTo>
                <a:lnTo>
                  <a:pt x="1072" y="47"/>
                </a:lnTo>
                <a:lnTo>
                  <a:pt x="1068" y="47"/>
                </a:lnTo>
                <a:lnTo>
                  <a:pt x="1067" y="46"/>
                </a:lnTo>
                <a:lnTo>
                  <a:pt x="1066" y="45"/>
                </a:lnTo>
                <a:lnTo>
                  <a:pt x="1064" y="43"/>
                </a:lnTo>
                <a:lnTo>
                  <a:pt x="1066" y="41"/>
                </a:lnTo>
                <a:lnTo>
                  <a:pt x="1068" y="40"/>
                </a:lnTo>
                <a:lnTo>
                  <a:pt x="1071" y="38"/>
                </a:lnTo>
                <a:lnTo>
                  <a:pt x="1072" y="34"/>
                </a:lnTo>
                <a:lnTo>
                  <a:pt x="1072" y="37"/>
                </a:lnTo>
                <a:lnTo>
                  <a:pt x="1072" y="34"/>
                </a:lnTo>
                <a:close/>
                <a:moveTo>
                  <a:pt x="1033" y="116"/>
                </a:moveTo>
                <a:lnTo>
                  <a:pt x="1036" y="115"/>
                </a:lnTo>
                <a:lnTo>
                  <a:pt x="1039" y="116"/>
                </a:lnTo>
                <a:lnTo>
                  <a:pt x="1042" y="119"/>
                </a:lnTo>
                <a:lnTo>
                  <a:pt x="1044" y="121"/>
                </a:lnTo>
                <a:lnTo>
                  <a:pt x="1039" y="122"/>
                </a:lnTo>
                <a:lnTo>
                  <a:pt x="1033" y="123"/>
                </a:lnTo>
                <a:lnTo>
                  <a:pt x="1030" y="126"/>
                </a:lnTo>
                <a:lnTo>
                  <a:pt x="1026" y="130"/>
                </a:lnTo>
                <a:lnTo>
                  <a:pt x="1023" y="130"/>
                </a:lnTo>
                <a:lnTo>
                  <a:pt x="1020" y="130"/>
                </a:lnTo>
                <a:lnTo>
                  <a:pt x="1019" y="128"/>
                </a:lnTo>
                <a:lnTo>
                  <a:pt x="1020" y="125"/>
                </a:lnTo>
                <a:lnTo>
                  <a:pt x="1026" y="120"/>
                </a:lnTo>
                <a:lnTo>
                  <a:pt x="1033" y="116"/>
                </a:lnTo>
                <a:lnTo>
                  <a:pt x="1033" y="116"/>
                </a:lnTo>
                <a:lnTo>
                  <a:pt x="1033" y="116"/>
                </a:lnTo>
                <a:close/>
                <a:moveTo>
                  <a:pt x="983" y="54"/>
                </a:moveTo>
                <a:lnTo>
                  <a:pt x="982" y="55"/>
                </a:lnTo>
                <a:lnTo>
                  <a:pt x="983" y="54"/>
                </a:lnTo>
                <a:lnTo>
                  <a:pt x="983" y="55"/>
                </a:lnTo>
                <a:lnTo>
                  <a:pt x="983" y="54"/>
                </a:lnTo>
                <a:close/>
                <a:moveTo>
                  <a:pt x="982" y="54"/>
                </a:moveTo>
                <a:lnTo>
                  <a:pt x="983" y="57"/>
                </a:lnTo>
                <a:lnTo>
                  <a:pt x="984" y="59"/>
                </a:lnTo>
                <a:lnTo>
                  <a:pt x="986" y="61"/>
                </a:lnTo>
                <a:lnTo>
                  <a:pt x="990" y="61"/>
                </a:lnTo>
                <a:lnTo>
                  <a:pt x="993" y="59"/>
                </a:lnTo>
                <a:lnTo>
                  <a:pt x="998" y="59"/>
                </a:lnTo>
                <a:lnTo>
                  <a:pt x="998" y="61"/>
                </a:lnTo>
                <a:lnTo>
                  <a:pt x="997" y="62"/>
                </a:lnTo>
                <a:lnTo>
                  <a:pt x="995" y="62"/>
                </a:lnTo>
                <a:lnTo>
                  <a:pt x="994" y="63"/>
                </a:lnTo>
                <a:lnTo>
                  <a:pt x="990" y="63"/>
                </a:lnTo>
                <a:lnTo>
                  <a:pt x="985" y="63"/>
                </a:lnTo>
                <a:lnTo>
                  <a:pt x="982" y="65"/>
                </a:lnTo>
                <a:lnTo>
                  <a:pt x="978" y="67"/>
                </a:lnTo>
                <a:lnTo>
                  <a:pt x="975" y="66"/>
                </a:lnTo>
                <a:lnTo>
                  <a:pt x="970" y="64"/>
                </a:lnTo>
                <a:lnTo>
                  <a:pt x="966" y="62"/>
                </a:lnTo>
                <a:lnTo>
                  <a:pt x="961" y="59"/>
                </a:lnTo>
                <a:lnTo>
                  <a:pt x="972" y="56"/>
                </a:lnTo>
                <a:lnTo>
                  <a:pt x="982" y="54"/>
                </a:lnTo>
                <a:lnTo>
                  <a:pt x="979" y="58"/>
                </a:lnTo>
                <a:lnTo>
                  <a:pt x="982" y="54"/>
                </a:lnTo>
                <a:close/>
                <a:moveTo>
                  <a:pt x="946" y="38"/>
                </a:moveTo>
                <a:lnTo>
                  <a:pt x="949" y="38"/>
                </a:lnTo>
                <a:lnTo>
                  <a:pt x="951" y="39"/>
                </a:lnTo>
                <a:lnTo>
                  <a:pt x="953" y="39"/>
                </a:lnTo>
                <a:lnTo>
                  <a:pt x="953" y="41"/>
                </a:lnTo>
                <a:lnTo>
                  <a:pt x="953" y="43"/>
                </a:lnTo>
                <a:lnTo>
                  <a:pt x="951" y="47"/>
                </a:lnTo>
                <a:lnTo>
                  <a:pt x="949" y="49"/>
                </a:lnTo>
                <a:lnTo>
                  <a:pt x="946" y="49"/>
                </a:lnTo>
                <a:lnTo>
                  <a:pt x="944" y="48"/>
                </a:lnTo>
                <a:lnTo>
                  <a:pt x="943" y="47"/>
                </a:lnTo>
                <a:lnTo>
                  <a:pt x="942" y="45"/>
                </a:lnTo>
                <a:lnTo>
                  <a:pt x="942" y="42"/>
                </a:lnTo>
                <a:lnTo>
                  <a:pt x="942" y="40"/>
                </a:lnTo>
                <a:lnTo>
                  <a:pt x="943" y="39"/>
                </a:lnTo>
                <a:lnTo>
                  <a:pt x="944" y="39"/>
                </a:lnTo>
                <a:lnTo>
                  <a:pt x="946" y="38"/>
                </a:lnTo>
                <a:lnTo>
                  <a:pt x="948" y="39"/>
                </a:lnTo>
                <a:lnTo>
                  <a:pt x="946" y="38"/>
                </a:lnTo>
                <a:close/>
                <a:moveTo>
                  <a:pt x="805" y="171"/>
                </a:moveTo>
                <a:lnTo>
                  <a:pt x="808" y="169"/>
                </a:lnTo>
                <a:lnTo>
                  <a:pt x="811" y="167"/>
                </a:lnTo>
                <a:lnTo>
                  <a:pt x="816" y="166"/>
                </a:lnTo>
                <a:lnTo>
                  <a:pt x="819" y="166"/>
                </a:lnTo>
                <a:lnTo>
                  <a:pt x="820" y="166"/>
                </a:lnTo>
                <a:lnTo>
                  <a:pt x="821" y="167"/>
                </a:lnTo>
                <a:lnTo>
                  <a:pt x="821" y="169"/>
                </a:lnTo>
                <a:lnTo>
                  <a:pt x="820" y="170"/>
                </a:lnTo>
                <a:lnTo>
                  <a:pt x="818" y="172"/>
                </a:lnTo>
                <a:lnTo>
                  <a:pt x="814" y="174"/>
                </a:lnTo>
                <a:lnTo>
                  <a:pt x="819" y="174"/>
                </a:lnTo>
                <a:lnTo>
                  <a:pt x="824" y="174"/>
                </a:lnTo>
                <a:lnTo>
                  <a:pt x="820" y="176"/>
                </a:lnTo>
                <a:lnTo>
                  <a:pt x="818" y="178"/>
                </a:lnTo>
                <a:lnTo>
                  <a:pt x="814" y="178"/>
                </a:lnTo>
                <a:lnTo>
                  <a:pt x="811" y="176"/>
                </a:lnTo>
                <a:lnTo>
                  <a:pt x="809" y="175"/>
                </a:lnTo>
                <a:lnTo>
                  <a:pt x="807" y="174"/>
                </a:lnTo>
                <a:lnTo>
                  <a:pt x="805" y="173"/>
                </a:lnTo>
                <a:lnTo>
                  <a:pt x="805" y="171"/>
                </a:lnTo>
                <a:lnTo>
                  <a:pt x="805" y="172"/>
                </a:lnTo>
                <a:lnTo>
                  <a:pt x="805" y="171"/>
                </a:lnTo>
                <a:close/>
                <a:moveTo>
                  <a:pt x="283" y="220"/>
                </a:moveTo>
                <a:lnTo>
                  <a:pt x="284" y="220"/>
                </a:lnTo>
                <a:lnTo>
                  <a:pt x="286" y="220"/>
                </a:lnTo>
                <a:lnTo>
                  <a:pt x="288" y="219"/>
                </a:lnTo>
                <a:lnTo>
                  <a:pt x="288" y="216"/>
                </a:lnTo>
                <a:lnTo>
                  <a:pt x="288" y="219"/>
                </a:lnTo>
                <a:lnTo>
                  <a:pt x="286" y="220"/>
                </a:lnTo>
                <a:lnTo>
                  <a:pt x="284" y="220"/>
                </a:lnTo>
                <a:lnTo>
                  <a:pt x="283" y="220"/>
                </a:lnTo>
                <a:lnTo>
                  <a:pt x="283" y="220"/>
                </a:lnTo>
                <a:lnTo>
                  <a:pt x="283" y="220"/>
                </a:lnTo>
                <a:close/>
                <a:moveTo>
                  <a:pt x="270" y="227"/>
                </a:moveTo>
                <a:lnTo>
                  <a:pt x="272" y="227"/>
                </a:lnTo>
                <a:lnTo>
                  <a:pt x="270" y="227"/>
                </a:lnTo>
                <a:close/>
                <a:moveTo>
                  <a:pt x="759" y="216"/>
                </a:moveTo>
                <a:lnTo>
                  <a:pt x="759" y="217"/>
                </a:lnTo>
                <a:lnTo>
                  <a:pt x="760" y="217"/>
                </a:lnTo>
                <a:lnTo>
                  <a:pt x="759" y="217"/>
                </a:lnTo>
                <a:lnTo>
                  <a:pt x="759" y="216"/>
                </a:lnTo>
                <a:close/>
                <a:moveTo>
                  <a:pt x="758" y="216"/>
                </a:moveTo>
                <a:lnTo>
                  <a:pt x="756" y="215"/>
                </a:lnTo>
                <a:lnTo>
                  <a:pt x="756" y="214"/>
                </a:lnTo>
                <a:lnTo>
                  <a:pt x="756" y="215"/>
                </a:lnTo>
                <a:lnTo>
                  <a:pt x="758" y="216"/>
                </a:lnTo>
                <a:close/>
                <a:moveTo>
                  <a:pt x="802" y="209"/>
                </a:moveTo>
                <a:lnTo>
                  <a:pt x="802" y="208"/>
                </a:lnTo>
                <a:lnTo>
                  <a:pt x="802" y="209"/>
                </a:lnTo>
                <a:lnTo>
                  <a:pt x="802" y="208"/>
                </a:lnTo>
                <a:lnTo>
                  <a:pt x="802" y="209"/>
                </a:lnTo>
                <a:close/>
                <a:moveTo>
                  <a:pt x="693" y="240"/>
                </a:moveTo>
                <a:lnTo>
                  <a:pt x="693" y="240"/>
                </a:lnTo>
                <a:lnTo>
                  <a:pt x="694" y="240"/>
                </a:lnTo>
                <a:lnTo>
                  <a:pt x="693" y="240"/>
                </a:lnTo>
                <a:lnTo>
                  <a:pt x="693" y="240"/>
                </a:lnTo>
                <a:close/>
                <a:moveTo>
                  <a:pt x="687" y="236"/>
                </a:moveTo>
                <a:lnTo>
                  <a:pt x="688" y="234"/>
                </a:lnTo>
                <a:lnTo>
                  <a:pt x="688" y="236"/>
                </a:lnTo>
                <a:lnTo>
                  <a:pt x="687" y="236"/>
                </a:lnTo>
                <a:lnTo>
                  <a:pt x="685" y="236"/>
                </a:lnTo>
                <a:lnTo>
                  <a:pt x="686" y="236"/>
                </a:lnTo>
                <a:lnTo>
                  <a:pt x="687" y="236"/>
                </a:lnTo>
                <a:close/>
                <a:moveTo>
                  <a:pt x="588" y="253"/>
                </a:moveTo>
                <a:lnTo>
                  <a:pt x="590" y="252"/>
                </a:lnTo>
                <a:lnTo>
                  <a:pt x="591" y="250"/>
                </a:lnTo>
                <a:lnTo>
                  <a:pt x="590" y="249"/>
                </a:lnTo>
                <a:lnTo>
                  <a:pt x="589" y="247"/>
                </a:lnTo>
                <a:lnTo>
                  <a:pt x="588" y="245"/>
                </a:lnTo>
                <a:lnTo>
                  <a:pt x="588" y="242"/>
                </a:lnTo>
                <a:lnTo>
                  <a:pt x="587" y="241"/>
                </a:lnTo>
                <a:lnTo>
                  <a:pt x="588" y="239"/>
                </a:lnTo>
                <a:lnTo>
                  <a:pt x="590" y="237"/>
                </a:lnTo>
                <a:lnTo>
                  <a:pt x="593" y="238"/>
                </a:lnTo>
                <a:lnTo>
                  <a:pt x="595" y="238"/>
                </a:lnTo>
                <a:lnTo>
                  <a:pt x="597" y="239"/>
                </a:lnTo>
                <a:lnTo>
                  <a:pt x="601" y="237"/>
                </a:lnTo>
                <a:lnTo>
                  <a:pt x="604" y="236"/>
                </a:lnTo>
                <a:lnTo>
                  <a:pt x="607" y="236"/>
                </a:lnTo>
                <a:lnTo>
                  <a:pt x="610" y="238"/>
                </a:lnTo>
                <a:lnTo>
                  <a:pt x="614" y="239"/>
                </a:lnTo>
                <a:lnTo>
                  <a:pt x="619" y="239"/>
                </a:lnTo>
                <a:lnTo>
                  <a:pt x="631" y="237"/>
                </a:lnTo>
                <a:lnTo>
                  <a:pt x="644" y="236"/>
                </a:lnTo>
                <a:lnTo>
                  <a:pt x="640" y="239"/>
                </a:lnTo>
                <a:lnTo>
                  <a:pt x="636" y="240"/>
                </a:lnTo>
                <a:lnTo>
                  <a:pt x="636" y="242"/>
                </a:lnTo>
                <a:lnTo>
                  <a:pt x="637" y="246"/>
                </a:lnTo>
                <a:lnTo>
                  <a:pt x="636" y="247"/>
                </a:lnTo>
                <a:lnTo>
                  <a:pt x="635" y="247"/>
                </a:lnTo>
                <a:lnTo>
                  <a:pt x="630" y="249"/>
                </a:lnTo>
                <a:lnTo>
                  <a:pt x="626" y="250"/>
                </a:lnTo>
                <a:lnTo>
                  <a:pt x="618" y="253"/>
                </a:lnTo>
                <a:lnTo>
                  <a:pt x="610" y="254"/>
                </a:lnTo>
                <a:lnTo>
                  <a:pt x="612" y="250"/>
                </a:lnTo>
                <a:lnTo>
                  <a:pt x="615" y="249"/>
                </a:lnTo>
                <a:lnTo>
                  <a:pt x="608" y="248"/>
                </a:lnTo>
                <a:lnTo>
                  <a:pt x="602" y="247"/>
                </a:lnTo>
                <a:lnTo>
                  <a:pt x="603" y="250"/>
                </a:lnTo>
                <a:lnTo>
                  <a:pt x="605" y="253"/>
                </a:lnTo>
                <a:lnTo>
                  <a:pt x="606" y="254"/>
                </a:lnTo>
                <a:lnTo>
                  <a:pt x="606" y="255"/>
                </a:lnTo>
                <a:lnTo>
                  <a:pt x="605" y="256"/>
                </a:lnTo>
                <a:lnTo>
                  <a:pt x="603" y="257"/>
                </a:lnTo>
                <a:lnTo>
                  <a:pt x="597" y="257"/>
                </a:lnTo>
                <a:lnTo>
                  <a:pt x="590" y="256"/>
                </a:lnTo>
                <a:lnTo>
                  <a:pt x="589" y="256"/>
                </a:lnTo>
                <a:lnTo>
                  <a:pt x="587" y="255"/>
                </a:lnTo>
                <a:lnTo>
                  <a:pt x="586" y="254"/>
                </a:lnTo>
                <a:lnTo>
                  <a:pt x="588" y="253"/>
                </a:lnTo>
                <a:lnTo>
                  <a:pt x="589" y="253"/>
                </a:lnTo>
                <a:lnTo>
                  <a:pt x="588" y="253"/>
                </a:lnTo>
                <a:close/>
                <a:moveTo>
                  <a:pt x="529" y="244"/>
                </a:moveTo>
                <a:lnTo>
                  <a:pt x="530" y="242"/>
                </a:lnTo>
                <a:lnTo>
                  <a:pt x="531" y="244"/>
                </a:lnTo>
                <a:lnTo>
                  <a:pt x="531" y="245"/>
                </a:lnTo>
                <a:lnTo>
                  <a:pt x="532" y="246"/>
                </a:lnTo>
                <a:lnTo>
                  <a:pt x="533" y="246"/>
                </a:lnTo>
                <a:lnTo>
                  <a:pt x="534" y="247"/>
                </a:lnTo>
                <a:lnTo>
                  <a:pt x="537" y="247"/>
                </a:lnTo>
                <a:lnTo>
                  <a:pt x="539" y="247"/>
                </a:lnTo>
                <a:lnTo>
                  <a:pt x="539" y="248"/>
                </a:lnTo>
                <a:lnTo>
                  <a:pt x="538" y="250"/>
                </a:lnTo>
                <a:lnTo>
                  <a:pt x="536" y="252"/>
                </a:lnTo>
                <a:lnTo>
                  <a:pt x="533" y="252"/>
                </a:lnTo>
                <a:lnTo>
                  <a:pt x="531" y="252"/>
                </a:lnTo>
                <a:lnTo>
                  <a:pt x="529" y="250"/>
                </a:lnTo>
                <a:lnTo>
                  <a:pt x="527" y="249"/>
                </a:lnTo>
                <a:lnTo>
                  <a:pt x="525" y="248"/>
                </a:lnTo>
                <a:lnTo>
                  <a:pt x="527" y="246"/>
                </a:lnTo>
                <a:lnTo>
                  <a:pt x="529" y="244"/>
                </a:lnTo>
                <a:lnTo>
                  <a:pt x="529" y="244"/>
                </a:lnTo>
                <a:lnTo>
                  <a:pt x="529" y="244"/>
                </a:lnTo>
                <a:close/>
                <a:moveTo>
                  <a:pt x="426" y="265"/>
                </a:moveTo>
                <a:lnTo>
                  <a:pt x="425" y="265"/>
                </a:lnTo>
                <a:lnTo>
                  <a:pt x="425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lnTo>
                  <a:pt x="426" y="265"/>
                </a:lnTo>
                <a:close/>
                <a:moveTo>
                  <a:pt x="418" y="271"/>
                </a:moveTo>
                <a:lnTo>
                  <a:pt x="418" y="270"/>
                </a:lnTo>
                <a:lnTo>
                  <a:pt x="418" y="269"/>
                </a:lnTo>
                <a:lnTo>
                  <a:pt x="418" y="270"/>
                </a:lnTo>
                <a:lnTo>
                  <a:pt x="418" y="271"/>
                </a:lnTo>
                <a:close/>
                <a:moveTo>
                  <a:pt x="417" y="269"/>
                </a:moveTo>
                <a:lnTo>
                  <a:pt x="417" y="267"/>
                </a:lnTo>
                <a:lnTo>
                  <a:pt x="417" y="267"/>
                </a:lnTo>
                <a:lnTo>
                  <a:pt x="417" y="267"/>
                </a:lnTo>
                <a:lnTo>
                  <a:pt x="417" y="269"/>
                </a:lnTo>
                <a:close/>
                <a:moveTo>
                  <a:pt x="258" y="478"/>
                </a:moveTo>
                <a:lnTo>
                  <a:pt x="249" y="478"/>
                </a:lnTo>
                <a:lnTo>
                  <a:pt x="240" y="479"/>
                </a:lnTo>
                <a:lnTo>
                  <a:pt x="236" y="480"/>
                </a:lnTo>
                <a:lnTo>
                  <a:pt x="234" y="480"/>
                </a:lnTo>
                <a:lnTo>
                  <a:pt x="231" y="480"/>
                </a:lnTo>
                <a:lnTo>
                  <a:pt x="227" y="479"/>
                </a:lnTo>
                <a:lnTo>
                  <a:pt x="224" y="478"/>
                </a:lnTo>
                <a:lnTo>
                  <a:pt x="223" y="477"/>
                </a:lnTo>
                <a:lnTo>
                  <a:pt x="220" y="478"/>
                </a:lnTo>
                <a:lnTo>
                  <a:pt x="217" y="478"/>
                </a:lnTo>
                <a:lnTo>
                  <a:pt x="214" y="478"/>
                </a:lnTo>
                <a:lnTo>
                  <a:pt x="210" y="477"/>
                </a:lnTo>
                <a:lnTo>
                  <a:pt x="207" y="476"/>
                </a:lnTo>
                <a:lnTo>
                  <a:pt x="203" y="473"/>
                </a:lnTo>
                <a:lnTo>
                  <a:pt x="210" y="471"/>
                </a:lnTo>
                <a:lnTo>
                  <a:pt x="217" y="470"/>
                </a:lnTo>
                <a:lnTo>
                  <a:pt x="224" y="470"/>
                </a:lnTo>
                <a:lnTo>
                  <a:pt x="231" y="471"/>
                </a:lnTo>
                <a:lnTo>
                  <a:pt x="234" y="472"/>
                </a:lnTo>
                <a:lnTo>
                  <a:pt x="239" y="473"/>
                </a:lnTo>
                <a:lnTo>
                  <a:pt x="243" y="471"/>
                </a:lnTo>
                <a:lnTo>
                  <a:pt x="248" y="469"/>
                </a:lnTo>
                <a:lnTo>
                  <a:pt x="251" y="468"/>
                </a:lnTo>
                <a:lnTo>
                  <a:pt x="256" y="465"/>
                </a:lnTo>
                <a:lnTo>
                  <a:pt x="257" y="464"/>
                </a:lnTo>
                <a:lnTo>
                  <a:pt x="258" y="462"/>
                </a:lnTo>
                <a:lnTo>
                  <a:pt x="259" y="461"/>
                </a:lnTo>
                <a:lnTo>
                  <a:pt x="260" y="462"/>
                </a:lnTo>
                <a:lnTo>
                  <a:pt x="264" y="466"/>
                </a:lnTo>
                <a:lnTo>
                  <a:pt x="265" y="472"/>
                </a:lnTo>
                <a:lnTo>
                  <a:pt x="264" y="474"/>
                </a:lnTo>
                <a:lnTo>
                  <a:pt x="262" y="477"/>
                </a:lnTo>
                <a:lnTo>
                  <a:pt x="260" y="478"/>
                </a:lnTo>
                <a:lnTo>
                  <a:pt x="258" y="478"/>
                </a:lnTo>
                <a:lnTo>
                  <a:pt x="258" y="478"/>
                </a:lnTo>
                <a:lnTo>
                  <a:pt x="258" y="478"/>
                </a:lnTo>
                <a:close/>
                <a:moveTo>
                  <a:pt x="277" y="471"/>
                </a:moveTo>
                <a:lnTo>
                  <a:pt x="278" y="469"/>
                </a:lnTo>
                <a:lnTo>
                  <a:pt x="281" y="466"/>
                </a:lnTo>
                <a:lnTo>
                  <a:pt x="281" y="466"/>
                </a:lnTo>
                <a:lnTo>
                  <a:pt x="281" y="465"/>
                </a:lnTo>
                <a:lnTo>
                  <a:pt x="280" y="465"/>
                </a:lnTo>
                <a:lnTo>
                  <a:pt x="277" y="465"/>
                </a:lnTo>
                <a:lnTo>
                  <a:pt x="276" y="466"/>
                </a:lnTo>
                <a:lnTo>
                  <a:pt x="274" y="469"/>
                </a:lnTo>
                <a:lnTo>
                  <a:pt x="273" y="469"/>
                </a:lnTo>
                <a:lnTo>
                  <a:pt x="272" y="470"/>
                </a:lnTo>
                <a:lnTo>
                  <a:pt x="270" y="469"/>
                </a:lnTo>
                <a:lnTo>
                  <a:pt x="269" y="468"/>
                </a:lnTo>
                <a:lnTo>
                  <a:pt x="269" y="466"/>
                </a:lnTo>
                <a:lnTo>
                  <a:pt x="270" y="465"/>
                </a:lnTo>
                <a:lnTo>
                  <a:pt x="273" y="464"/>
                </a:lnTo>
                <a:lnTo>
                  <a:pt x="274" y="464"/>
                </a:lnTo>
                <a:lnTo>
                  <a:pt x="277" y="462"/>
                </a:lnTo>
                <a:lnTo>
                  <a:pt x="281" y="461"/>
                </a:lnTo>
                <a:lnTo>
                  <a:pt x="284" y="461"/>
                </a:lnTo>
                <a:lnTo>
                  <a:pt x="286" y="461"/>
                </a:lnTo>
                <a:lnTo>
                  <a:pt x="289" y="457"/>
                </a:lnTo>
                <a:lnTo>
                  <a:pt x="292" y="455"/>
                </a:lnTo>
                <a:lnTo>
                  <a:pt x="294" y="457"/>
                </a:lnTo>
                <a:lnTo>
                  <a:pt x="295" y="461"/>
                </a:lnTo>
                <a:lnTo>
                  <a:pt x="298" y="461"/>
                </a:lnTo>
                <a:lnTo>
                  <a:pt x="299" y="460"/>
                </a:lnTo>
                <a:lnTo>
                  <a:pt x="315" y="457"/>
                </a:lnTo>
                <a:lnTo>
                  <a:pt x="330" y="453"/>
                </a:lnTo>
                <a:lnTo>
                  <a:pt x="326" y="457"/>
                </a:lnTo>
                <a:lnTo>
                  <a:pt x="321" y="462"/>
                </a:lnTo>
                <a:lnTo>
                  <a:pt x="314" y="464"/>
                </a:lnTo>
                <a:lnTo>
                  <a:pt x="308" y="466"/>
                </a:lnTo>
                <a:lnTo>
                  <a:pt x="301" y="469"/>
                </a:lnTo>
                <a:lnTo>
                  <a:pt x="293" y="470"/>
                </a:lnTo>
                <a:lnTo>
                  <a:pt x="285" y="471"/>
                </a:lnTo>
                <a:lnTo>
                  <a:pt x="277" y="471"/>
                </a:lnTo>
                <a:lnTo>
                  <a:pt x="284" y="471"/>
                </a:lnTo>
                <a:lnTo>
                  <a:pt x="277" y="471"/>
                </a:lnTo>
                <a:close/>
                <a:moveTo>
                  <a:pt x="283" y="340"/>
                </a:moveTo>
                <a:lnTo>
                  <a:pt x="284" y="340"/>
                </a:lnTo>
                <a:lnTo>
                  <a:pt x="284" y="340"/>
                </a:lnTo>
                <a:lnTo>
                  <a:pt x="284" y="340"/>
                </a:lnTo>
                <a:lnTo>
                  <a:pt x="283" y="340"/>
                </a:lnTo>
                <a:close/>
                <a:moveTo>
                  <a:pt x="681" y="242"/>
                </a:moveTo>
                <a:lnTo>
                  <a:pt x="677" y="246"/>
                </a:lnTo>
                <a:lnTo>
                  <a:pt x="672" y="248"/>
                </a:lnTo>
                <a:lnTo>
                  <a:pt x="670" y="247"/>
                </a:lnTo>
                <a:lnTo>
                  <a:pt x="665" y="249"/>
                </a:lnTo>
                <a:lnTo>
                  <a:pt x="662" y="249"/>
                </a:lnTo>
                <a:lnTo>
                  <a:pt x="660" y="250"/>
                </a:lnTo>
                <a:lnTo>
                  <a:pt x="659" y="250"/>
                </a:lnTo>
                <a:lnTo>
                  <a:pt x="657" y="250"/>
                </a:lnTo>
                <a:lnTo>
                  <a:pt x="656" y="252"/>
                </a:lnTo>
                <a:lnTo>
                  <a:pt x="656" y="253"/>
                </a:lnTo>
                <a:lnTo>
                  <a:pt x="660" y="255"/>
                </a:lnTo>
                <a:lnTo>
                  <a:pt x="663" y="255"/>
                </a:lnTo>
                <a:lnTo>
                  <a:pt x="659" y="258"/>
                </a:lnTo>
                <a:lnTo>
                  <a:pt x="654" y="259"/>
                </a:lnTo>
                <a:lnTo>
                  <a:pt x="644" y="263"/>
                </a:lnTo>
                <a:lnTo>
                  <a:pt x="634" y="265"/>
                </a:lnTo>
                <a:lnTo>
                  <a:pt x="624" y="267"/>
                </a:lnTo>
                <a:lnTo>
                  <a:pt x="615" y="269"/>
                </a:lnTo>
                <a:lnTo>
                  <a:pt x="606" y="271"/>
                </a:lnTo>
                <a:lnTo>
                  <a:pt x="597" y="272"/>
                </a:lnTo>
                <a:lnTo>
                  <a:pt x="588" y="273"/>
                </a:lnTo>
                <a:lnTo>
                  <a:pt x="579" y="275"/>
                </a:lnTo>
                <a:lnTo>
                  <a:pt x="574" y="277"/>
                </a:lnTo>
                <a:lnTo>
                  <a:pt x="570" y="278"/>
                </a:lnTo>
                <a:lnTo>
                  <a:pt x="565" y="278"/>
                </a:lnTo>
                <a:lnTo>
                  <a:pt x="561" y="277"/>
                </a:lnTo>
                <a:lnTo>
                  <a:pt x="557" y="274"/>
                </a:lnTo>
                <a:lnTo>
                  <a:pt x="554" y="273"/>
                </a:lnTo>
                <a:lnTo>
                  <a:pt x="550" y="273"/>
                </a:lnTo>
                <a:lnTo>
                  <a:pt x="547" y="274"/>
                </a:lnTo>
                <a:lnTo>
                  <a:pt x="539" y="278"/>
                </a:lnTo>
                <a:lnTo>
                  <a:pt x="531" y="280"/>
                </a:lnTo>
                <a:lnTo>
                  <a:pt x="522" y="282"/>
                </a:lnTo>
                <a:lnTo>
                  <a:pt x="512" y="283"/>
                </a:lnTo>
                <a:lnTo>
                  <a:pt x="501" y="284"/>
                </a:lnTo>
                <a:lnTo>
                  <a:pt x="492" y="287"/>
                </a:lnTo>
                <a:lnTo>
                  <a:pt x="481" y="289"/>
                </a:lnTo>
                <a:lnTo>
                  <a:pt x="471" y="291"/>
                </a:lnTo>
                <a:lnTo>
                  <a:pt x="461" y="292"/>
                </a:lnTo>
                <a:lnTo>
                  <a:pt x="450" y="295"/>
                </a:lnTo>
                <a:lnTo>
                  <a:pt x="430" y="299"/>
                </a:lnTo>
                <a:lnTo>
                  <a:pt x="409" y="304"/>
                </a:lnTo>
                <a:lnTo>
                  <a:pt x="388" y="308"/>
                </a:lnTo>
                <a:lnTo>
                  <a:pt x="368" y="312"/>
                </a:lnTo>
                <a:lnTo>
                  <a:pt x="357" y="315"/>
                </a:lnTo>
                <a:lnTo>
                  <a:pt x="346" y="319"/>
                </a:lnTo>
                <a:lnTo>
                  <a:pt x="335" y="322"/>
                </a:lnTo>
                <a:lnTo>
                  <a:pt x="325" y="325"/>
                </a:lnTo>
                <a:lnTo>
                  <a:pt x="315" y="329"/>
                </a:lnTo>
                <a:lnTo>
                  <a:pt x="305" y="333"/>
                </a:lnTo>
                <a:lnTo>
                  <a:pt x="299" y="336"/>
                </a:lnTo>
                <a:lnTo>
                  <a:pt x="293" y="337"/>
                </a:lnTo>
                <a:lnTo>
                  <a:pt x="289" y="338"/>
                </a:lnTo>
                <a:lnTo>
                  <a:pt x="285" y="339"/>
                </a:lnTo>
                <a:lnTo>
                  <a:pt x="282" y="339"/>
                </a:lnTo>
                <a:lnTo>
                  <a:pt x="280" y="340"/>
                </a:lnTo>
                <a:lnTo>
                  <a:pt x="275" y="340"/>
                </a:lnTo>
                <a:lnTo>
                  <a:pt x="272" y="340"/>
                </a:lnTo>
                <a:lnTo>
                  <a:pt x="262" y="344"/>
                </a:lnTo>
                <a:lnTo>
                  <a:pt x="253" y="347"/>
                </a:lnTo>
                <a:lnTo>
                  <a:pt x="259" y="346"/>
                </a:lnTo>
                <a:lnTo>
                  <a:pt x="264" y="344"/>
                </a:lnTo>
                <a:lnTo>
                  <a:pt x="265" y="342"/>
                </a:lnTo>
                <a:lnTo>
                  <a:pt x="265" y="340"/>
                </a:lnTo>
                <a:lnTo>
                  <a:pt x="265" y="339"/>
                </a:lnTo>
                <a:lnTo>
                  <a:pt x="266" y="339"/>
                </a:lnTo>
                <a:lnTo>
                  <a:pt x="266" y="338"/>
                </a:lnTo>
                <a:lnTo>
                  <a:pt x="268" y="338"/>
                </a:lnTo>
                <a:lnTo>
                  <a:pt x="278" y="333"/>
                </a:lnTo>
                <a:lnTo>
                  <a:pt x="286" y="328"/>
                </a:lnTo>
                <a:lnTo>
                  <a:pt x="283" y="328"/>
                </a:lnTo>
                <a:lnTo>
                  <a:pt x="278" y="328"/>
                </a:lnTo>
                <a:lnTo>
                  <a:pt x="275" y="330"/>
                </a:lnTo>
                <a:lnTo>
                  <a:pt x="270" y="331"/>
                </a:lnTo>
                <a:lnTo>
                  <a:pt x="262" y="336"/>
                </a:lnTo>
                <a:lnTo>
                  <a:pt x="253" y="339"/>
                </a:lnTo>
                <a:lnTo>
                  <a:pt x="250" y="341"/>
                </a:lnTo>
                <a:lnTo>
                  <a:pt x="248" y="341"/>
                </a:lnTo>
                <a:lnTo>
                  <a:pt x="244" y="341"/>
                </a:lnTo>
                <a:lnTo>
                  <a:pt x="242" y="339"/>
                </a:lnTo>
                <a:lnTo>
                  <a:pt x="241" y="337"/>
                </a:lnTo>
                <a:lnTo>
                  <a:pt x="240" y="336"/>
                </a:lnTo>
                <a:lnTo>
                  <a:pt x="241" y="335"/>
                </a:lnTo>
                <a:lnTo>
                  <a:pt x="241" y="333"/>
                </a:lnTo>
                <a:lnTo>
                  <a:pt x="244" y="332"/>
                </a:lnTo>
                <a:lnTo>
                  <a:pt x="248" y="331"/>
                </a:lnTo>
                <a:lnTo>
                  <a:pt x="256" y="329"/>
                </a:lnTo>
                <a:lnTo>
                  <a:pt x="264" y="325"/>
                </a:lnTo>
                <a:lnTo>
                  <a:pt x="267" y="324"/>
                </a:lnTo>
                <a:lnTo>
                  <a:pt x="269" y="322"/>
                </a:lnTo>
                <a:lnTo>
                  <a:pt x="272" y="321"/>
                </a:lnTo>
                <a:lnTo>
                  <a:pt x="274" y="320"/>
                </a:lnTo>
                <a:lnTo>
                  <a:pt x="275" y="320"/>
                </a:lnTo>
                <a:lnTo>
                  <a:pt x="276" y="320"/>
                </a:lnTo>
                <a:lnTo>
                  <a:pt x="276" y="319"/>
                </a:lnTo>
                <a:lnTo>
                  <a:pt x="276" y="317"/>
                </a:lnTo>
                <a:lnTo>
                  <a:pt x="277" y="315"/>
                </a:lnTo>
                <a:lnTo>
                  <a:pt x="278" y="314"/>
                </a:lnTo>
                <a:lnTo>
                  <a:pt x="280" y="314"/>
                </a:lnTo>
                <a:lnTo>
                  <a:pt x="283" y="313"/>
                </a:lnTo>
                <a:lnTo>
                  <a:pt x="289" y="312"/>
                </a:lnTo>
                <a:lnTo>
                  <a:pt x="295" y="311"/>
                </a:lnTo>
                <a:lnTo>
                  <a:pt x="302" y="306"/>
                </a:lnTo>
                <a:lnTo>
                  <a:pt x="309" y="302"/>
                </a:lnTo>
                <a:lnTo>
                  <a:pt x="313" y="299"/>
                </a:lnTo>
                <a:lnTo>
                  <a:pt x="317" y="297"/>
                </a:lnTo>
                <a:lnTo>
                  <a:pt x="322" y="296"/>
                </a:lnTo>
                <a:lnTo>
                  <a:pt x="325" y="296"/>
                </a:lnTo>
                <a:lnTo>
                  <a:pt x="332" y="295"/>
                </a:lnTo>
                <a:lnTo>
                  <a:pt x="338" y="292"/>
                </a:lnTo>
                <a:lnTo>
                  <a:pt x="339" y="290"/>
                </a:lnTo>
                <a:lnTo>
                  <a:pt x="341" y="288"/>
                </a:lnTo>
                <a:lnTo>
                  <a:pt x="346" y="287"/>
                </a:lnTo>
                <a:lnTo>
                  <a:pt x="350" y="284"/>
                </a:lnTo>
                <a:lnTo>
                  <a:pt x="360" y="281"/>
                </a:lnTo>
                <a:lnTo>
                  <a:pt x="369" y="278"/>
                </a:lnTo>
                <a:lnTo>
                  <a:pt x="379" y="275"/>
                </a:lnTo>
                <a:lnTo>
                  <a:pt x="389" y="275"/>
                </a:lnTo>
                <a:lnTo>
                  <a:pt x="399" y="275"/>
                </a:lnTo>
                <a:lnTo>
                  <a:pt x="410" y="274"/>
                </a:lnTo>
                <a:lnTo>
                  <a:pt x="413" y="273"/>
                </a:lnTo>
                <a:lnTo>
                  <a:pt x="417" y="273"/>
                </a:lnTo>
                <a:lnTo>
                  <a:pt x="418" y="272"/>
                </a:lnTo>
                <a:lnTo>
                  <a:pt x="420" y="272"/>
                </a:lnTo>
                <a:lnTo>
                  <a:pt x="421" y="271"/>
                </a:lnTo>
                <a:lnTo>
                  <a:pt x="420" y="269"/>
                </a:lnTo>
                <a:lnTo>
                  <a:pt x="421" y="269"/>
                </a:lnTo>
                <a:lnTo>
                  <a:pt x="420" y="269"/>
                </a:lnTo>
                <a:lnTo>
                  <a:pt x="423" y="269"/>
                </a:lnTo>
                <a:lnTo>
                  <a:pt x="425" y="269"/>
                </a:lnTo>
                <a:lnTo>
                  <a:pt x="426" y="267"/>
                </a:lnTo>
                <a:lnTo>
                  <a:pt x="426" y="266"/>
                </a:lnTo>
                <a:lnTo>
                  <a:pt x="430" y="266"/>
                </a:lnTo>
                <a:lnTo>
                  <a:pt x="434" y="266"/>
                </a:lnTo>
                <a:lnTo>
                  <a:pt x="437" y="265"/>
                </a:lnTo>
                <a:lnTo>
                  <a:pt x="440" y="265"/>
                </a:lnTo>
                <a:lnTo>
                  <a:pt x="451" y="262"/>
                </a:lnTo>
                <a:lnTo>
                  <a:pt x="462" y="261"/>
                </a:lnTo>
                <a:lnTo>
                  <a:pt x="462" y="262"/>
                </a:lnTo>
                <a:lnTo>
                  <a:pt x="464" y="262"/>
                </a:lnTo>
                <a:lnTo>
                  <a:pt x="465" y="262"/>
                </a:lnTo>
                <a:lnTo>
                  <a:pt x="466" y="262"/>
                </a:lnTo>
                <a:lnTo>
                  <a:pt x="466" y="263"/>
                </a:lnTo>
                <a:lnTo>
                  <a:pt x="466" y="264"/>
                </a:lnTo>
                <a:lnTo>
                  <a:pt x="465" y="266"/>
                </a:lnTo>
                <a:lnTo>
                  <a:pt x="466" y="269"/>
                </a:lnTo>
                <a:lnTo>
                  <a:pt x="468" y="269"/>
                </a:lnTo>
                <a:lnTo>
                  <a:pt x="472" y="267"/>
                </a:lnTo>
                <a:lnTo>
                  <a:pt x="475" y="267"/>
                </a:lnTo>
                <a:lnTo>
                  <a:pt x="476" y="269"/>
                </a:lnTo>
                <a:lnTo>
                  <a:pt x="478" y="271"/>
                </a:lnTo>
                <a:lnTo>
                  <a:pt x="480" y="272"/>
                </a:lnTo>
                <a:lnTo>
                  <a:pt x="483" y="275"/>
                </a:lnTo>
                <a:lnTo>
                  <a:pt x="487" y="277"/>
                </a:lnTo>
                <a:lnTo>
                  <a:pt x="489" y="275"/>
                </a:lnTo>
                <a:lnTo>
                  <a:pt x="492" y="273"/>
                </a:lnTo>
                <a:lnTo>
                  <a:pt x="495" y="272"/>
                </a:lnTo>
                <a:lnTo>
                  <a:pt x="498" y="272"/>
                </a:lnTo>
                <a:lnTo>
                  <a:pt x="504" y="271"/>
                </a:lnTo>
                <a:lnTo>
                  <a:pt x="509" y="270"/>
                </a:lnTo>
                <a:lnTo>
                  <a:pt x="513" y="269"/>
                </a:lnTo>
                <a:lnTo>
                  <a:pt x="516" y="265"/>
                </a:lnTo>
                <a:lnTo>
                  <a:pt x="512" y="264"/>
                </a:lnTo>
                <a:lnTo>
                  <a:pt x="506" y="264"/>
                </a:lnTo>
                <a:lnTo>
                  <a:pt x="504" y="262"/>
                </a:lnTo>
                <a:lnTo>
                  <a:pt x="503" y="258"/>
                </a:lnTo>
                <a:lnTo>
                  <a:pt x="500" y="256"/>
                </a:lnTo>
                <a:lnTo>
                  <a:pt x="499" y="255"/>
                </a:lnTo>
                <a:lnTo>
                  <a:pt x="499" y="254"/>
                </a:lnTo>
                <a:lnTo>
                  <a:pt x="501" y="252"/>
                </a:lnTo>
                <a:lnTo>
                  <a:pt x="506" y="249"/>
                </a:lnTo>
                <a:lnTo>
                  <a:pt x="511" y="249"/>
                </a:lnTo>
                <a:lnTo>
                  <a:pt x="515" y="249"/>
                </a:lnTo>
                <a:lnTo>
                  <a:pt x="520" y="250"/>
                </a:lnTo>
                <a:lnTo>
                  <a:pt x="523" y="252"/>
                </a:lnTo>
                <a:lnTo>
                  <a:pt x="523" y="253"/>
                </a:lnTo>
                <a:lnTo>
                  <a:pt x="522" y="255"/>
                </a:lnTo>
                <a:lnTo>
                  <a:pt x="521" y="258"/>
                </a:lnTo>
                <a:lnTo>
                  <a:pt x="523" y="259"/>
                </a:lnTo>
                <a:lnTo>
                  <a:pt x="524" y="262"/>
                </a:lnTo>
                <a:lnTo>
                  <a:pt x="525" y="261"/>
                </a:lnTo>
                <a:lnTo>
                  <a:pt x="527" y="259"/>
                </a:lnTo>
                <a:lnTo>
                  <a:pt x="530" y="258"/>
                </a:lnTo>
                <a:lnTo>
                  <a:pt x="534" y="258"/>
                </a:lnTo>
                <a:lnTo>
                  <a:pt x="549" y="256"/>
                </a:lnTo>
                <a:lnTo>
                  <a:pt x="564" y="255"/>
                </a:lnTo>
                <a:lnTo>
                  <a:pt x="562" y="257"/>
                </a:lnTo>
                <a:lnTo>
                  <a:pt x="560" y="259"/>
                </a:lnTo>
                <a:lnTo>
                  <a:pt x="562" y="261"/>
                </a:lnTo>
                <a:lnTo>
                  <a:pt x="565" y="259"/>
                </a:lnTo>
                <a:lnTo>
                  <a:pt x="569" y="258"/>
                </a:lnTo>
                <a:lnTo>
                  <a:pt x="572" y="258"/>
                </a:lnTo>
                <a:lnTo>
                  <a:pt x="578" y="261"/>
                </a:lnTo>
                <a:lnTo>
                  <a:pt x="583" y="265"/>
                </a:lnTo>
                <a:lnTo>
                  <a:pt x="587" y="265"/>
                </a:lnTo>
                <a:lnTo>
                  <a:pt x="590" y="265"/>
                </a:lnTo>
                <a:lnTo>
                  <a:pt x="595" y="264"/>
                </a:lnTo>
                <a:lnTo>
                  <a:pt x="598" y="263"/>
                </a:lnTo>
                <a:lnTo>
                  <a:pt x="607" y="261"/>
                </a:lnTo>
                <a:lnTo>
                  <a:pt x="616" y="258"/>
                </a:lnTo>
                <a:lnTo>
                  <a:pt x="624" y="257"/>
                </a:lnTo>
                <a:lnTo>
                  <a:pt x="632" y="255"/>
                </a:lnTo>
                <a:lnTo>
                  <a:pt x="636" y="252"/>
                </a:lnTo>
                <a:lnTo>
                  <a:pt x="639" y="248"/>
                </a:lnTo>
                <a:lnTo>
                  <a:pt x="641" y="248"/>
                </a:lnTo>
                <a:lnTo>
                  <a:pt x="645" y="248"/>
                </a:lnTo>
                <a:lnTo>
                  <a:pt x="647" y="247"/>
                </a:lnTo>
                <a:lnTo>
                  <a:pt x="649" y="246"/>
                </a:lnTo>
                <a:lnTo>
                  <a:pt x="656" y="244"/>
                </a:lnTo>
                <a:lnTo>
                  <a:pt x="662" y="241"/>
                </a:lnTo>
                <a:lnTo>
                  <a:pt x="662" y="242"/>
                </a:lnTo>
                <a:lnTo>
                  <a:pt x="663" y="242"/>
                </a:lnTo>
                <a:lnTo>
                  <a:pt x="667" y="241"/>
                </a:lnTo>
                <a:lnTo>
                  <a:pt x="670" y="241"/>
                </a:lnTo>
                <a:lnTo>
                  <a:pt x="676" y="241"/>
                </a:lnTo>
                <a:lnTo>
                  <a:pt x="682" y="242"/>
                </a:lnTo>
                <a:lnTo>
                  <a:pt x="681" y="241"/>
                </a:lnTo>
                <a:lnTo>
                  <a:pt x="681" y="241"/>
                </a:lnTo>
                <a:lnTo>
                  <a:pt x="680" y="242"/>
                </a:lnTo>
                <a:lnTo>
                  <a:pt x="681" y="242"/>
                </a:lnTo>
                <a:lnTo>
                  <a:pt x="680" y="242"/>
                </a:lnTo>
                <a:lnTo>
                  <a:pt x="681" y="242"/>
                </a:lnTo>
                <a:close/>
                <a:moveTo>
                  <a:pt x="711" y="423"/>
                </a:moveTo>
                <a:lnTo>
                  <a:pt x="711" y="422"/>
                </a:lnTo>
                <a:lnTo>
                  <a:pt x="711" y="423"/>
                </a:lnTo>
                <a:lnTo>
                  <a:pt x="711" y="423"/>
                </a:lnTo>
                <a:lnTo>
                  <a:pt x="711" y="423"/>
                </a:lnTo>
                <a:close/>
                <a:moveTo>
                  <a:pt x="711" y="239"/>
                </a:move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lnTo>
                  <a:pt x="711" y="239"/>
                </a:lnTo>
                <a:close/>
                <a:moveTo>
                  <a:pt x="721" y="236"/>
                </a:moveTo>
                <a:lnTo>
                  <a:pt x="720" y="233"/>
                </a:lnTo>
                <a:lnTo>
                  <a:pt x="720" y="231"/>
                </a:lnTo>
                <a:lnTo>
                  <a:pt x="719" y="229"/>
                </a:lnTo>
                <a:lnTo>
                  <a:pt x="717" y="230"/>
                </a:lnTo>
                <a:lnTo>
                  <a:pt x="715" y="232"/>
                </a:lnTo>
                <a:lnTo>
                  <a:pt x="715" y="234"/>
                </a:lnTo>
                <a:lnTo>
                  <a:pt x="713" y="237"/>
                </a:lnTo>
                <a:lnTo>
                  <a:pt x="711" y="238"/>
                </a:lnTo>
                <a:lnTo>
                  <a:pt x="711" y="234"/>
                </a:lnTo>
                <a:lnTo>
                  <a:pt x="707" y="233"/>
                </a:lnTo>
                <a:lnTo>
                  <a:pt x="709" y="236"/>
                </a:lnTo>
                <a:lnTo>
                  <a:pt x="707" y="238"/>
                </a:lnTo>
                <a:lnTo>
                  <a:pt x="706" y="239"/>
                </a:lnTo>
                <a:lnTo>
                  <a:pt x="703" y="239"/>
                </a:lnTo>
                <a:lnTo>
                  <a:pt x="700" y="239"/>
                </a:lnTo>
                <a:lnTo>
                  <a:pt x="697" y="239"/>
                </a:lnTo>
                <a:lnTo>
                  <a:pt x="695" y="240"/>
                </a:lnTo>
                <a:lnTo>
                  <a:pt x="694" y="240"/>
                </a:lnTo>
                <a:lnTo>
                  <a:pt x="695" y="240"/>
                </a:lnTo>
                <a:lnTo>
                  <a:pt x="695" y="239"/>
                </a:lnTo>
                <a:lnTo>
                  <a:pt x="692" y="238"/>
                </a:lnTo>
                <a:lnTo>
                  <a:pt x="692" y="236"/>
                </a:lnTo>
                <a:lnTo>
                  <a:pt x="692" y="233"/>
                </a:lnTo>
                <a:lnTo>
                  <a:pt x="693" y="231"/>
                </a:lnTo>
                <a:lnTo>
                  <a:pt x="692" y="232"/>
                </a:lnTo>
                <a:lnTo>
                  <a:pt x="690" y="233"/>
                </a:lnTo>
                <a:lnTo>
                  <a:pt x="695" y="233"/>
                </a:lnTo>
                <a:lnTo>
                  <a:pt x="698" y="233"/>
                </a:lnTo>
                <a:lnTo>
                  <a:pt x="700" y="232"/>
                </a:lnTo>
                <a:lnTo>
                  <a:pt x="702" y="231"/>
                </a:lnTo>
                <a:lnTo>
                  <a:pt x="704" y="231"/>
                </a:lnTo>
                <a:lnTo>
                  <a:pt x="704" y="230"/>
                </a:lnTo>
                <a:lnTo>
                  <a:pt x="710" y="228"/>
                </a:lnTo>
                <a:lnTo>
                  <a:pt x="714" y="225"/>
                </a:lnTo>
                <a:lnTo>
                  <a:pt x="715" y="225"/>
                </a:lnTo>
                <a:lnTo>
                  <a:pt x="718" y="223"/>
                </a:lnTo>
                <a:lnTo>
                  <a:pt x="722" y="221"/>
                </a:lnTo>
                <a:lnTo>
                  <a:pt x="728" y="220"/>
                </a:lnTo>
                <a:lnTo>
                  <a:pt x="729" y="220"/>
                </a:lnTo>
                <a:lnTo>
                  <a:pt x="731" y="220"/>
                </a:lnTo>
                <a:lnTo>
                  <a:pt x="733" y="221"/>
                </a:lnTo>
                <a:lnTo>
                  <a:pt x="734" y="222"/>
                </a:lnTo>
                <a:lnTo>
                  <a:pt x="729" y="224"/>
                </a:lnTo>
                <a:lnTo>
                  <a:pt x="725" y="227"/>
                </a:lnTo>
                <a:lnTo>
                  <a:pt x="736" y="227"/>
                </a:lnTo>
                <a:lnTo>
                  <a:pt x="746" y="227"/>
                </a:lnTo>
                <a:lnTo>
                  <a:pt x="738" y="230"/>
                </a:lnTo>
                <a:lnTo>
                  <a:pt x="730" y="233"/>
                </a:lnTo>
                <a:lnTo>
                  <a:pt x="728" y="234"/>
                </a:lnTo>
                <a:lnTo>
                  <a:pt x="726" y="236"/>
                </a:lnTo>
                <a:lnTo>
                  <a:pt x="723" y="237"/>
                </a:lnTo>
                <a:lnTo>
                  <a:pt x="721" y="236"/>
                </a:lnTo>
                <a:close/>
                <a:moveTo>
                  <a:pt x="992" y="380"/>
                </a:moveTo>
                <a:lnTo>
                  <a:pt x="990" y="383"/>
                </a:lnTo>
                <a:lnTo>
                  <a:pt x="986" y="386"/>
                </a:lnTo>
                <a:lnTo>
                  <a:pt x="981" y="387"/>
                </a:lnTo>
                <a:lnTo>
                  <a:pt x="976" y="387"/>
                </a:lnTo>
                <a:lnTo>
                  <a:pt x="964" y="386"/>
                </a:lnTo>
                <a:lnTo>
                  <a:pt x="954" y="386"/>
                </a:lnTo>
                <a:lnTo>
                  <a:pt x="968" y="381"/>
                </a:lnTo>
                <a:lnTo>
                  <a:pt x="981" y="378"/>
                </a:lnTo>
                <a:lnTo>
                  <a:pt x="983" y="374"/>
                </a:lnTo>
                <a:lnTo>
                  <a:pt x="986" y="372"/>
                </a:lnTo>
                <a:lnTo>
                  <a:pt x="989" y="372"/>
                </a:lnTo>
                <a:lnTo>
                  <a:pt x="991" y="374"/>
                </a:lnTo>
                <a:lnTo>
                  <a:pt x="992" y="377"/>
                </a:lnTo>
                <a:lnTo>
                  <a:pt x="992" y="380"/>
                </a:lnTo>
                <a:lnTo>
                  <a:pt x="992" y="380"/>
                </a:lnTo>
                <a:lnTo>
                  <a:pt x="992" y="380"/>
                </a:lnTo>
                <a:close/>
                <a:moveTo>
                  <a:pt x="1061" y="347"/>
                </a:moveTo>
                <a:lnTo>
                  <a:pt x="1055" y="347"/>
                </a:lnTo>
                <a:lnTo>
                  <a:pt x="1048" y="347"/>
                </a:lnTo>
                <a:lnTo>
                  <a:pt x="1046" y="346"/>
                </a:lnTo>
                <a:lnTo>
                  <a:pt x="1046" y="345"/>
                </a:lnTo>
                <a:lnTo>
                  <a:pt x="1047" y="344"/>
                </a:lnTo>
                <a:lnTo>
                  <a:pt x="1047" y="342"/>
                </a:lnTo>
                <a:lnTo>
                  <a:pt x="1049" y="341"/>
                </a:lnTo>
                <a:lnTo>
                  <a:pt x="1052" y="340"/>
                </a:lnTo>
                <a:lnTo>
                  <a:pt x="1060" y="339"/>
                </a:lnTo>
                <a:lnTo>
                  <a:pt x="1068" y="339"/>
                </a:lnTo>
                <a:lnTo>
                  <a:pt x="1075" y="340"/>
                </a:lnTo>
                <a:lnTo>
                  <a:pt x="1083" y="341"/>
                </a:lnTo>
                <a:lnTo>
                  <a:pt x="1077" y="344"/>
                </a:lnTo>
                <a:lnTo>
                  <a:pt x="1073" y="346"/>
                </a:lnTo>
                <a:lnTo>
                  <a:pt x="1067" y="347"/>
                </a:lnTo>
                <a:lnTo>
                  <a:pt x="1061" y="347"/>
                </a:lnTo>
                <a:lnTo>
                  <a:pt x="1063" y="347"/>
                </a:lnTo>
                <a:lnTo>
                  <a:pt x="1061" y="347"/>
                </a:lnTo>
                <a:close/>
                <a:moveTo>
                  <a:pt x="1148" y="362"/>
                </a:moveTo>
                <a:lnTo>
                  <a:pt x="1146" y="362"/>
                </a:lnTo>
                <a:lnTo>
                  <a:pt x="1142" y="362"/>
                </a:lnTo>
                <a:lnTo>
                  <a:pt x="1141" y="360"/>
                </a:lnTo>
                <a:lnTo>
                  <a:pt x="1139" y="358"/>
                </a:lnTo>
                <a:lnTo>
                  <a:pt x="1137" y="357"/>
                </a:lnTo>
                <a:lnTo>
                  <a:pt x="1134" y="357"/>
                </a:lnTo>
                <a:lnTo>
                  <a:pt x="1132" y="356"/>
                </a:lnTo>
                <a:lnTo>
                  <a:pt x="1131" y="354"/>
                </a:lnTo>
                <a:lnTo>
                  <a:pt x="1134" y="353"/>
                </a:lnTo>
                <a:lnTo>
                  <a:pt x="1139" y="352"/>
                </a:lnTo>
                <a:lnTo>
                  <a:pt x="1143" y="352"/>
                </a:lnTo>
                <a:lnTo>
                  <a:pt x="1147" y="354"/>
                </a:lnTo>
                <a:lnTo>
                  <a:pt x="1148" y="355"/>
                </a:lnTo>
                <a:lnTo>
                  <a:pt x="1149" y="358"/>
                </a:lnTo>
                <a:lnTo>
                  <a:pt x="1149" y="360"/>
                </a:lnTo>
                <a:lnTo>
                  <a:pt x="1149" y="361"/>
                </a:lnTo>
                <a:lnTo>
                  <a:pt x="1149" y="362"/>
                </a:lnTo>
                <a:lnTo>
                  <a:pt x="1148" y="362"/>
                </a:lnTo>
                <a:lnTo>
                  <a:pt x="1148" y="362"/>
                </a:lnTo>
                <a:lnTo>
                  <a:pt x="1148" y="362"/>
                </a:lnTo>
                <a:close/>
                <a:moveTo>
                  <a:pt x="1283" y="407"/>
                </a:moveTo>
                <a:lnTo>
                  <a:pt x="1280" y="407"/>
                </a:lnTo>
                <a:lnTo>
                  <a:pt x="1279" y="405"/>
                </a:lnTo>
                <a:lnTo>
                  <a:pt x="1279" y="404"/>
                </a:lnTo>
                <a:lnTo>
                  <a:pt x="1279" y="403"/>
                </a:lnTo>
                <a:lnTo>
                  <a:pt x="1280" y="403"/>
                </a:lnTo>
                <a:lnTo>
                  <a:pt x="1281" y="403"/>
                </a:lnTo>
                <a:lnTo>
                  <a:pt x="1283" y="404"/>
                </a:lnTo>
                <a:lnTo>
                  <a:pt x="1286" y="405"/>
                </a:lnTo>
                <a:lnTo>
                  <a:pt x="1286" y="406"/>
                </a:lnTo>
                <a:lnTo>
                  <a:pt x="1286" y="407"/>
                </a:lnTo>
                <a:lnTo>
                  <a:pt x="1285" y="407"/>
                </a:lnTo>
                <a:lnTo>
                  <a:pt x="1283" y="407"/>
                </a:lnTo>
                <a:lnTo>
                  <a:pt x="1283" y="407"/>
                </a:lnTo>
                <a:lnTo>
                  <a:pt x="1283" y="407"/>
                </a:lnTo>
                <a:close/>
                <a:moveTo>
                  <a:pt x="1312" y="396"/>
                </a:moveTo>
                <a:lnTo>
                  <a:pt x="1314" y="396"/>
                </a:lnTo>
                <a:lnTo>
                  <a:pt x="1315" y="396"/>
                </a:lnTo>
                <a:lnTo>
                  <a:pt x="1314" y="396"/>
                </a:lnTo>
                <a:lnTo>
                  <a:pt x="1312" y="396"/>
                </a:lnTo>
                <a:lnTo>
                  <a:pt x="1313" y="396"/>
                </a:lnTo>
                <a:lnTo>
                  <a:pt x="1312" y="396"/>
                </a:lnTo>
                <a:close/>
                <a:moveTo>
                  <a:pt x="1327" y="402"/>
                </a:moveTo>
                <a:lnTo>
                  <a:pt x="1327" y="400"/>
                </a:lnTo>
                <a:lnTo>
                  <a:pt x="1327" y="400"/>
                </a:lnTo>
                <a:lnTo>
                  <a:pt x="1327" y="400"/>
                </a:lnTo>
                <a:lnTo>
                  <a:pt x="1327" y="402"/>
                </a:lnTo>
                <a:close/>
                <a:moveTo>
                  <a:pt x="1328" y="399"/>
                </a:moveTo>
                <a:lnTo>
                  <a:pt x="1327" y="399"/>
                </a:lnTo>
                <a:lnTo>
                  <a:pt x="1328" y="399"/>
                </a:lnTo>
                <a:lnTo>
                  <a:pt x="1328" y="399"/>
                </a:lnTo>
                <a:lnTo>
                  <a:pt x="1328" y="399"/>
                </a:lnTo>
                <a:close/>
                <a:moveTo>
                  <a:pt x="1205" y="372"/>
                </a:moveTo>
                <a:lnTo>
                  <a:pt x="1200" y="373"/>
                </a:lnTo>
                <a:lnTo>
                  <a:pt x="1195" y="373"/>
                </a:lnTo>
                <a:lnTo>
                  <a:pt x="1192" y="373"/>
                </a:lnTo>
                <a:lnTo>
                  <a:pt x="1189" y="372"/>
                </a:lnTo>
                <a:lnTo>
                  <a:pt x="1188" y="371"/>
                </a:lnTo>
                <a:lnTo>
                  <a:pt x="1187" y="371"/>
                </a:lnTo>
                <a:lnTo>
                  <a:pt x="1188" y="370"/>
                </a:lnTo>
                <a:lnTo>
                  <a:pt x="1189" y="367"/>
                </a:lnTo>
                <a:lnTo>
                  <a:pt x="1191" y="367"/>
                </a:lnTo>
                <a:lnTo>
                  <a:pt x="1193" y="367"/>
                </a:lnTo>
                <a:lnTo>
                  <a:pt x="1195" y="365"/>
                </a:lnTo>
                <a:lnTo>
                  <a:pt x="1197" y="364"/>
                </a:lnTo>
                <a:lnTo>
                  <a:pt x="1199" y="364"/>
                </a:lnTo>
                <a:lnTo>
                  <a:pt x="1203" y="366"/>
                </a:lnTo>
                <a:lnTo>
                  <a:pt x="1205" y="370"/>
                </a:lnTo>
                <a:lnTo>
                  <a:pt x="1205" y="372"/>
                </a:lnTo>
                <a:lnTo>
                  <a:pt x="1205" y="372"/>
                </a:lnTo>
                <a:lnTo>
                  <a:pt x="1205" y="372"/>
                </a:lnTo>
                <a:close/>
                <a:moveTo>
                  <a:pt x="1306" y="327"/>
                </a:moveTo>
                <a:lnTo>
                  <a:pt x="1291" y="330"/>
                </a:lnTo>
                <a:lnTo>
                  <a:pt x="1277" y="332"/>
                </a:lnTo>
                <a:lnTo>
                  <a:pt x="1279" y="330"/>
                </a:lnTo>
                <a:lnTo>
                  <a:pt x="1282" y="328"/>
                </a:lnTo>
                <a:lnTo>
                  <a:pt x="1285" y="328"/>
                </a:lnTo>
                <a:lnTo>
                  <a:pt x="1285" y="327"/>
                </a:lnTo>
                <a:lnTo>
                  <a:pt x="1285" y="325"/>
                </a:lnTo>
                <a:lnTo>
                  <a:pt x="1283" y="324"/>
                </a:lnTo>
                <a:lnTo>
                  <a:pt x="1279" y="323"/>
                </a:lnTo>
                <a:lnTo>
                  <a:pt x="1272" y="323"/>
                </a:lnTo>
                <a:lnTo>
                  <a:pt x="1264" y="322"/>
                </a:lnTo>
                <a:lnTo>
                  <a:pt x="1257" y="321"/>
                </a:lnTo>
                <a:lnTo>
                  <a:pt x="1250" y="321"/>
                </a:lnTo>
                <a:lnTo>
                  <a:pt x="1245" y="322"/>
                </a:lnTo>
                <a:lnTo>
                  <a:pt x="1242" y="322"/>
                </a:lnTo>
                <a:lnTo>
                  <a:pt x="1240" y="323"/>
                </a:lnTo>
                <a:lnTo>
                  <a:pt x="1238" y="323"/>
                </a:lnTo>
                <a:lnTo>
                  <a:pt x="1237" y="322"/>
                </a:lnTo>
                <a:lnTo>
                  <a:pt x="1238" y="319"/>
                </a:lnTo>
                <a:lnTo>
                  <a:pt x="1244" y="315"/>
                </a:lnTo>
                <a:lnTo>
                  <a:pt x="1249" y="313"/>
                </a:lnTo>
                <a:lnTo>
                  <a:pt x="1254" y="312"/>
                </a:lnTo>
                <a:lnTo>
                  <a:pt x="1255" y="313"/>
                </a:lnTo>
                <a:lnTo>
                  <a:pt x="1256" y="314"/>
                </a:lnTo>
                <a:lnTo>
                  <a:pt x="1257" y="315"/>
                </a:lnTo>
                <a:lnTo>
                  <a:pt x="1259" y="315"/>
                </a:lnTo>
                <a:lnTo>
                  <a:pt x="1264" y="315"/>
                </a:lnTo>
                <a:lnTo>
                  <a:pt x="1267" y="316"/>
                </a:lnTo>
                <a:lnTo>
                  <a:pt x="1270" y="317"/>
                </a:lnTo>
                <a:lnTo>
                  <a:pt x="1271" y="319"/>
                </a:lnTo>
                <a:lnTo>
                  <a:pt x="1272" y="320"/>
                </a:lnTo>
                <a:lnTo>
                  <a:pt x="1274" y="319"/>
                </a:lnTo>
                <a:lnTo>
                  <a:pt x="1277" y="317"/>
                </a:lnTo>
                <a:lnTo>
                  <a:pt x="1278" y="316"/>
                </a:lnTo>
                <a:lnTo>
                  <a:pt x="1279" y="315"/>
                </a:lnTo>
                <a:lnTo>
                  <a:pt x="1281" y="316"/>
                </a:lnTo>
                <a:lnTo>
                  <a:pt x="1285" y="320"/>
                </a:lnTo>
                <a:lnTo>
                  <a:pt x="1289" y="321"/>
                </a:lnTo>
                <a:lnTo>
                  <a:pt x="1292" y="320"/>
                </a:lnTo>
                <a:lnTo>
                  <a:pt x="1296" y="317"/>
                </a:lnTo>
                <a:lnTo>
                  <a:pt x="1302" y="317"/>
                </a:lnTo>
                <a:lnTo>
                  <a:pt x="1307" y="317"/>
                </a:lnTo>
                <a:lnTo>
                  <a:pt x="1314" y="317"/>
                </a:lnTo>
                <a:lnTo>
                  <a:pt x="1321" y="319"/>
                </a:lnTo>
                <a:lnTo>
                  <a:pt x="1314" y="323"/>
                </a:lnTo>
                <a:lnTo>
                  <a:pt x="1306" y="32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07E993C-A268-7246-A251-C8D661004991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95DD6D20-1313-674D-AC93-0FA3BC418DB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814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5">
            <a:extLst>
              <a:ext uri="{FF2B5EF4-FFF2-40B4-BE49-F238E27FC236}">
                <a16:creationId xmlns:a16="http://schemas.microsoft.com/office/drawing/2014/main" id="{411AD48B-AFD0-D044-B425-23735CF87A4D}"/>
              </a:ext>
            </a:extLst>
          </p:cNvPr>
          <p:cNvSpPr>
            <a:spLocks noGrp="1" noEditPoints="1"/>
          </p:cNvSpPr>
          <p:nvPr>
            <p:ph type="pic" sz="quarter" idx="24"/>
          </p:nvPr>
        </p:nvSpPr>
        <p:spPr bwMode="auto">
          <a:xfrm>
            <a:off x="600299" y="-1134094"/>
            <a:ext cx="23186576" cy="9361040"/>
          </a:xfrm>
          <a:custGeom>
            <a:avLst/>
            <a:gdLst>
              <a:gd name="T0" fmla="*/ 644 w 1165"/>
              <a:gd name="T1" fmla="*/ 724 h 777"/>
              <a:gd name="T2" fmla="*/ 570 w 1165"/>
              <a:gd name="T3" fmla="*/ 753 h 777"/>
              <a:gd name="T4" fmla="*/ 674 w 1165"/>
              <a:gd name="T5" fmla="*/ 759 h 777"/>
              <a:gd name="T6" fmla="*/ 696 w 1165"/>
              <a:gd name="T7" fmla="*/ 734 h 777"/>
              <a:gd name="T8" fmla="*/ 740 w 1165"/>
              <a:gd name="T9" fmla="*/ 728 h 777"/>
              <a:gd name="T10" fmla="*/ 773 w 1165"/>
              <a:gd name="T11" fmla="*/ 714 h 777"/>
              <a:gd name="T12" fmla="*/ 705 w 1165"/>
              <a:gd name="T13" fmla="*/ 710 h 777"/>
              <a:gd name="T14" fmla="*/ 676 w 1165"/>
              <a:gd name="T15" fmla="*/ 726 h 777"/>
              <a:gd name="T16" fmla="*/ 594 w 1165"/>
              <a:gd name="T17" fmla="*/ 723 h 777"/>
              <a:gd name="T18" fmla="*/ 577 w 1165"/>
              <a:gd name="T19" fmla="*/ 715 h 777"/>
              <a:gd name="T20" fmla="*/ 524 w 1165"/>
              <a:gd name="T21" fmla="*/ 716 h 777"/>
              <a:gd name="T22" fmla="*/ 455 w 1165"/>
              <a:gd name="T23" fmla="*/ 724 h 777"/>
              <a:gd name="T24" fmla="*/ 413 w 1165"/>
              <a:gd name="T25" fmla="*/ 701 h 777"/>
              <a:gd name="T26" fmla="*/ 352 w 1165"/>
              <a:gd name="T27" fmla="*/ 690 h 777"/>
              <a:gd name="T28" fmla="*/ 301 w 1165"/>
              <a:gd name="T29" fmla="*/ 687 h 777"/>
              <a:gd name="T30" fmla="*/ 379 w 1165"/>
              <a:gd name="T31" fmla="*/ 686 h 777"/>
              <a:gd name="T32" fmla="*/ 539 w 1165"/>
              <a:gd name="T33" fmla="*/ 699 h 777"/>
              <a:gd name="T34" fmla="*/ 598 w 1165"/>
              <a:gd name="T35" fmla="*/ 693 h 777"/>
              <a:gd name="T36" fmla="*/ 857 w 1165"/>
              <a:gd name="T37" fmla="*/ 665 h 777"/>
              <a:gd name="T38" fmla="*/ 968 w 1165"/>
              <a:gd name="T39" fmla="*/ 643 h 777"/>
              <a:gd name="T40" fmla="*/ 1065 w 1165"/>
              <a:gd name="T41" fmla="*/ 617 h 777"/>
              <a:gd name="T42" fmla="*/ 1124 w 1165"/>
              <a:gd name="T43" fmla="*/ 577 h 777"/>
              <a:gd name="T44" fmla="*/ 1100 w 1165"/>
              <a:gd name="T45" fmla="*/ 541 h 777"/>
              <a:gd name="T46" fmla="*/ 965 w 1165"/>
              <a:gd name="T47" fmla="*/ 518 h 777"/>
              <a:gd name="T48" fmla="*/ 1035 w 1165"/>
              <a:gd name="T49" fmla="*/ 455 h 777"/>
              <a:gd name="T50" fmla="*/ 859 w 1165"/>
              <a:gd name="T51" fmla="*/ 467 h 777"/>
              <a:gd name="T52" fmla="*/ 694 w 1165"/>
              <a:gd name="T53" fmla="*/ 466 h 777"/>
              <a:gd name="T54" fmla="*/ 523 w 1165"/>
              <a:gd name="T55" fmla="*/ 441 h 777"/>
              <a:gd name="T56" fmla="*/ 495 w 1165"/>
              <a:gd name="T57" fmla="*/ 429 h 777"/>
              <a:gd name="T58" fmla="*/ 722 w 1165"/>
              <a:gd name="T59" fmla="*/ 427 h 777"/>
              <a:gd name="T60" fmla="*/ 873 w 1165"/>
              <a:gd name="T61" fmla="*/ 409 h 777"/>
              <a:gd name="T62" fmla="*/ 1074 w 1165"/>
              <a:gd name="T63" fmla="*/ 358 h 777"/>
              <a:gd name="T64" fmla="*/ 1008 w 1165"/>
              <a:gd name="T65" fmla="*/ 343 h 777"/>
              <a:gd name="T66" fmla="*/ 759 w 1165"/>
              <a:gd name="T67" fmla="*/ 336 h 777"/>
              <a:gd name="T68" fmla="*/ 589 w 1165"/>
              <a:gd name="T69" fmla="*/ 282 h 777"/>
              <a:gd name="T70" fmla="*/ 520 w 1165"/>
              <a:gd name="T71" fmla="*/ 224 h 777"/>
              <a:gd name="T72" fmla="*/ 339 w 1165"/>
              <a:gd name="T73" fmla="*/ 180 h 777"/>
              <a:gd name="T74" fmla="*/ 239 w 1165"/>
              <a:gd name="T75" fmla="*/ 219 h 777"/>
              <a:gd name="T76" fmla="*/ 229 w 1165"/>
              <a:gd name="T77" fmla="*/ 312 h 777"/>
              <a:gd name="T78" fmla="*/ 308 w 1165"/>
              <a:gd name="T79" fmla="*/ 387 h 777"/>
              <a:gd name="T80" fmla="*/ 391 w 1165"/>
              <a:gd name="T81" fmla="*/ 411 h 777"/>
              <a:gd name="T82" fmla="*/ 338 w 1165"/>
              <a:gd name="T83" fmla="*/ 404 h 777"/>
              <a:gd name="T84" fmla="*/ 286 w 1165"/>
              <a:gd name="T85" fmla="*/ 385 h 777"/>
              <a:gd name="T86" fmla="*/ 162 w 1165"/>
              <a:gd name="T87" fmla="*/ 304 h 777"/>
              <a:gd name="T88" fmla="*/ 50 w 1165"/>
              <a:gd name="T89" fmla="*/ 328 h 777"/>
              <a:gd name="T90" fmla="*/ 33 w 1165"/>
              <a:gd name="T91" fmla="*/ 430 h 777"/>
              <a:gd name="T92" fmla="*/ 244 w 1165"/>
              <a:gd name="T93" fmla="*/ 491 h 777"/>
              <a:gd name="T94" fmla="*/ 219 w 1165"/>
              <a:gd name="T95" fmla="*/ 542 h 777"/>
              <a:gd name="T96" fmla="*/ 177 w 1165"/>
              <a:gd name="T97" fmla="*/ 553 h 777"/>
              <a:gd name="T98" fmla="*/ 130 w 1165"/>
              <a:gd name="T99" fmla="*/ 625 h 777"/>
              <a:gd name="T100" fmla="*/ 196 w 1165"/>
              <a:gd name="T101" fmla="*/ 681 h 777"/>
              <a:gd name="T102" fmla="*/ 350 w 1165"/>
              <a:gd name="T103" fmla="*/ 742 h 777"/>
              <a:gd name="T104" fmla="*/ 536 w 1165"/>
              <a:gd name="T105" fmla="*/ 772 h 777"/>
              <a:gd name="T106" fmla="*/ 719 w 1165"/>
              <a:gd name="T107" fmla="*/ 460 h 777"/>
              <a:gd name="T108" fmla="*/ 657 w 1165"/>
              <a:gd name="T109" fmla="*/ 710 h 777"/>
              <a:gd name="T110" fmla="*/ 622 w 1165"/>
              <a:gd name="T111" fmla="*/ 707 h 777"/>
              <a:gd name="T112" fmla="*/ 776 w 1165"/>
              <a:gd name="T113" fmla="*/ 731 h 777"/>
              <a:gd name="T114" fmla="*/ 874 w 1165"/>
              <a:gd name="T115" fmla="*/ 696 h 777"/>
              <a:gd name="T116" fmla="*/ 408 w 1165"/>
              <a:gd name="T117" fmla="*/ 770 h 777"/>
              <a:gd name="T118" fmla="*/ 504 w 1165"/>
              <a:gd name="T119" fmla="*/ 775 h 777"/>
              <a:gd name="T120" fmla="*/ 711 w 1165"/>
              <a:gd name="T121" fmla="*/ 700 h 777"/>
              <a:gd name="T122" fmla="*/ 473 w 1165"/>
              <a:gd name="T123" fmla="*/ 272 h 777"/>
              <a:gd name="T124" fmla="*/ 549 w 1165"/>
              <a:gd name="T125" fmla="*/ 752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65" h="777">
                <a:moveTo>
                  <a:pt x="289" y="2"/>
                </a:moveTo>
                <a:lnTo>
                  <a:pt x="289" y="1"/>
                </a:lnTo>
                <a:lnTo>
                  <a:pt x="288" y="0"/>
                </a:lnTo>
                <a:lnTo>
                  <a:pt x="285" y="0"/>
                </a:lnTo>
                <a:lnTo>
                  <a:pt x="283" y="0"/>
                </a:lnTo>
                <a:lnTo>
                  <a:pt x="280" y="0"/>
                </a:lnTo>
                <a:lnTo>
                  <a:pt x="277" y="0"/>
                </a:lnTo>
                <a:lnTo>
                  <a:pt x="275" y="1"/>
                </a:lnTo>
                <a:lnTo>
                  <a:pt x="274" y="3"/>
                </a:lnTo>
                <a:lnTo>
                  <a:pt x="274" y="4"/>
                </a:lnTo>
                <a:lnTo>
                  <a:pt x="276" y="5"/>
                </a:lnTo>
                <a:lnTo>
                  <a:pt x="277" y="5"/>
                </a:lnTo>
                <a:lnTo>
                  <a:pt x="281" y="5"/>
                </a:lnTo>
                <a:lnTo>
                  <a:pt x="285" y="4"/>
                </a:lnTo>
                <a:lnTo>
                  <a:pt x="289" y="2"/>
                </a:lnTo>
                <a:lnTo>
                  <a:pt x="288" y="4"/>
                </a:lnTo>
                <a:lnTo>
                  <a:pt x="289" y="2"/>
                </a:lnTo>
                <a:close/>
                <a:moveTo>
                  <a:pt x="644" y="724"/>
                </a:moveTo>
                <a:lnTo>
                  <a:pt x="643" y="724"/>
                </a:lnTo>
                <a:lnTo>
                  <a:pt x="641" y="724"/>
                </a:lnTo>
                <a:lnTo>
                  <a:pt x="643" y="725"/>
                </a:lnTo>
                <a:lnTo>
                  <a:pt x="644" y="724"/>
                </a:lnTo>
                <a:close/>
                <a:moveTo>
                  <a:pt x="578" y="769"/>
                </a:moveTo>
                <a:lnTo>
                  <a:pt x="579" y="769"/>
                </a:lnTo>
                <a:lnTo>
                  <a:pt x="580" y="768"/>
                </a:lnTo>
                <a:lnTo>
                  <a:pt x="581" y="767"/>
                </a:lnTo>
                <a:lnTo>
                  <a:pt x="581" y="766"/>
                </a:lnTo>
                <a:lnTo>
                  <a:pt x="585" y="766"/>
                </a:lnTo>
                <a:lnTo>
                  <a:pt x="587" y="766"/>
                </a:lnTo>
                <a:lnTo>
                  <a:pt x="591" y="767"/>
                </a:lnTo>
                <a:lnTo>
                  <a:pt x="596" y="768"/>
                </a:lnTo>
                <a:lnTo>
                  <a:pt x="597" y="768"/>
                </a:lnTo>
                <a:lnTo>
                  <a:pt x="599" y="767"/>
                </a:lnTo>
                <a:lnTo>
                  <a:pt x="600" y="766"/>
                </a:lnTo>
                <a:lnTo>
                  <a:pt x="603" y="764"/>
                </a:lnTo>
                <a:lnTo>
                  <a:pt x="604" y="760"/>
                </a:lnTo>
                <a:lnTo>
                  <a:pt x="603" y="758"/>
                </a:lnTo>
                <a:lnTo>
                  <a:pt x="599" y="757"/>
                </a:lnTo>
                <a:lnTo>
                  <a:pt x="596" y="757"/>
                </a:lnTo>
                <a:lnTo>
                  <a:pt x="580" y="757"/>
                </a:lnTo>
                <a:lnTo>
                  <a:pt x="564" y="757"/>
                </a:lnTo>
                <a:lnTo>
                  <a:pt x="565" y="754"/>
                </a:lnTo>
                <a:lnTo>
                  <a:pt x="567" y="753"/>
                </a:lnTo>
                <a:lnTo>
                  <a:pt x="570" y="753"/>
                </a:lnTo>
                <a:lnTo>
                  <a:pt x="573" y="752"/>
                </a:lnTo>
                <a:lnTo>
                  <a:pt x="581" y="752"/>
                </a:lnTo>
                <a:lnTo>
                  <a:pt x="586" y="752"/>
                </a:lnTo>
                <a:lnTo>
                  <a:pt x="599" y="750"/>
                </a:lnTo>
                <a:lnTo>
                  <a:pt x="614" y="749"/>
                </a:lnTo>
                <a:lnTo>
                  <a:pt x="628" y="749"/>
                </a:lnTo>
                <a:lnTo>
                  <a:pt x="641" y="749"/>
                </a:lnTo>
                <a:lnTo>
                  <a:pt x="647" y="748"/>
                </a:lnTo>
                <a:lnTo>
                  <a:pt x="652" y="749"/>
                </a:lnTo>
                <a:lnTo>
                  <a:pt x="657" y="750"/>
                </a:lnTo>
                <a:lnTo>
                  <a:pt x="663" y="753"/>
                </a:lnTo>
                <a:lnTo>
                  <a:pt x="654" y="754"/>
                </a:lnTo>
                <a:lnTo>
                  <a:pt x="644" y="754"/>
                </a:lnTo>
                <a:lnTo>
                  <a:pt x="633" y="756"/>
                </a:lnTo>
                <a:lnTo>
                  <a:pt x="624" y="757"/>
                </a:lnTo>
                <a:lnTo>
                  <a:pt x="629" y="759"/>
                </a:lnTo>
                <a:lnTo>
                  <a:pt x="635" y="760"/>
                </a:lnTo>
                <a:lnTo>
                  <a:pt x="640" y="761"/>
                </a:lnTo>
                <a:lnTo>
                  <a:pt x="647" y="761"/>
                </a:lnTo>
                <a:lnTo>
                  <a:pt x="660" y="760"/>
                </a:lnTo>
                <a:lnTo>
                  <a:pt x="671" y="759"/>
                </a:lnTo>
                <a:lnTo>
                  <a:pt x="674" y="759"/>
                </a:lnTo>
                <a:lnTo>
                  <a:pt x="679" y="758"/>
                </a:lnTo>
                <a:lnTo>
                  <a:pt x="681" y="757"/>
                </a:lnTo>
                <a:lnTo>
                  <a:pt x="684" y="756"/>
                </a:lnTo>
                <a:lnTo>
                  <a:pt x="684" y="754"/>
                </a:lnTo>
                <a:lnTo>
                  <a:pt x="682" y="752"/>
                </a:lnTo>
                <a:lnTo>
                  <a:pt x="680" y="751"/>
                </a:lnTo>
                <a:lnTo>
                  <a:pt x="677" y="752"/>
                </a:lnTo>
                <a:lnTo>
                  <a:pt x="674" y="752"/>
                </a:lnTo>
                <a:lnTo>
                  <a:pt x="673" y="752"/>
                </a:lnTo>
                <a:lnTo>
                  <a:pt x="672" y="751"/>
                </a:lnTo>
                <a:lnTo>
                  <a:pt x="671" y="749"/>
                </a:lnTo>
                <a:lnTo>
                  <a:pt x="678" y="747"/>
                </a:lnTo>
                <a:lnTo>
                  <a:pt x="686" y="745"/>
                </a:lnTo>
                <a:lnTo>
                  <a:pt x="688" y="745"/>
                </a:lnTo>
                <a:lnTo>
                  <a:pt x="692" y="744"/>
                </a:lnTo>
                <a:lnTo>
                  <a:pt x="693" y="744"/>
                </a:lnTo>
                <a:lnTo>
                  <a:pt x="693" y="743"/>
                </a:lnTo>
                <a:lnTo>
                  <a:pt x="693" y="742"/>
                </a:lnTo>
                <a:lnTo>
                  <a:pt x="690" y="742"/>
                </a:lnTo>
                <a:lnTo>
                  <a:pt x="694" y="740"/>
                </a:lnTo>
                <a:lnTo>
                  <a:pt x="695" y="736"/>
                </a:lnTo>
                <a:lnTo>
                  <a:pt x="696" y="734"/>
                </a:lnTo>
                <a:lnTo>
                  <a:pt x="694" y="731"/>
                </a:lnTo>
                <a:lnTo>
                  <a:pt x="704" y="729"/>
                </a:lnTo>
                <a:lnTo>
                  <a:pt x="713" y="731"/>
                </a:lnTo>
                <a:lnTo>
                  <a:pt x="712" y="734"/>
                </a:lnTo>
                <a:lnTo>
                  <a:pt x="712" y="739"/>
                </a:lnTo>
                <a:lnTo>
                  <a:pt x="712" y="742"/>
                </a:lnTo>
                <a:lnTo>
                  <a:pt x="714" y="745"/>
                </a:lnTo>
                <a:lnTo>
                  <a:pt x="719" y="747"/>
                </a:lnTo>
                <a:lnTo>
                  <a:pt x="725" y="745"/>
                </a:lnTo>
                <a:lnTo>
                  <a:pt x="730" y="743"/>
                </a:lnTo>
                <a:lnTo>
                  <a:pt x="734" y="742"/>
                </a:lnTo>
                <a:lnTo>
                  <a:pt x="738" y="742"/>
                </a:lnTo>
                <a:lnTo>
                  <a:pt x="743" y="741"/>
                </a:lnTo>
                <a:lnTo>
                  <a:pt x="746" y="740"/>
                </a:lnTo>
                <a:lnTo>
                  <a:pt x="747" y="739"/>
                </a:lnTo>
                <a:lnTo>
                  <a:pt x="747" y="737"/>
                </a:lnTo>
                <a:lnTo>
                  <a:pt x="746" y="735"/>
                </a:lnTo>
                <a:lnTo>
                  <a:pt x="743" y="735"/>
                </a:lnTo>
                <a:lnTo>
                  <a:pt x="739" y="733"/>
                </a:lnTo>
                <a:lnTo>
                  <a:pt x="738" y="731"/>
                </a:lnTo>
                <a:lnTo>
                  <a:pt x="739" y="729"/>
                </a:lnTo>
                <a:lnTo>
                  <a:pt x="740" y="728"/>
                </a:lnTo>
                <a:lnTo>
                  <a:pt x="743" y="727"/>
                </a:lnTo>
                <a:lnTo>
                  <a:pt x="748" y="727"/>
                </a:lnTo>
                <a:lnTo>
                  <a:pt x="754" y="728"/>
                </a:lnTo>
                <a:lnTo>
                  <a:pt x="759" y="731"/>
                </a:lnTo>
                <a:lnTo>
                  <a:pt x="764" y="733"/>
                </a:lnTo>
                <a:lnTo>
                  <a:pt x="766" y="731"/>
                </a:lnTo>
                <a:lnTo>
                  <a:pt x="766" y="728"/>
                </a:lnTo>
                <a:lnTo>
                  <a:pt x="766" y="726"/>
                </a:lnTo>
                <a:lnTo>
                  <a:pt x="766" y="726"/>
                </a:lnTo>
                <a:lnTo>
                  <a:pt x="766" y="725"/>
                </a:lnTo>
                <a:lnTo>
                  <a:pt x="768" y="725"/>
                </a:lnTo>
                <a:lnTo>
                  <a:pt x="783" y="723"/>
                </a:lnTo>
                <a:lnTo>
                  <a:pt x="797" y="722"/>
                </a:lnTo>
                <a:lnTo>
                  <a:pt x="803" y="722"/>
                </a:lnTo>
                <a:lnTo>
                  <a:pt x="809" y="720"/>
                </a:lnTo>
                <a:lnTo>
                  <a:pt x="814" y="718"/>
                </a:lnTo>
                <a:lnTo>
                  <a:pt x="818" y="714"/>
                </a:lnTo>
                <a:lnTo>
                  <a:pt x="804" y="716"/>
                </a:lnTo>
                <a:lnTo>
                  <a:pt x="791" y="716"/>
                </a:lnTo>
                <a:lnTo>
                  <a:pt x="779" y="716"/>
                </a:lnTo>
                <a:lnTo>
                  <a:pt x="768" y="715"/>
                </a:lnTo>
                <a:lnTo>
                  <a:pt x="773" y="714"/>
                </a:lnTo>
                <a:lnTo>
                  <a:pt x="781" y="714"/>
                </a:lnTo>
                <a:lnTo>
                  <a:pt x="786" y="712"/>
                </a:lnTo>
                <a:lnTo>
                  <a:pt x="788" y="711"/>
                </a:lnTo>
                <a:lnTo>
                  <a:pt x="789" y="709"/>
                </a:lnTo>
                <a:lnTo>
                  <a:pt x="788" y="707"/>
                </a:lnTo>
                <a:lnTo>
                  <a:pt x="785" y="706"/>
                </a:lnTo>
                <a:lnTo>
                  <a:pt x="780" y="706"/>
                </a:lnTo>
                <a:lnTo>
                  <a:pt x="775" y="707"/>
                </a:lnTo>
                <a:lnTo>
                  <a:pt x="771" y="708"/>
                </a:lnTo>
                <a:lnTo>
                  <a:pt x="763" y="710"/>
                </a:lnTo>
                <a:lnTo>
                  <a:pt x="756" y="711"/>
                </a:lnTo>
                <a:lnTo>
                  <a:pt x="752" y="710"/>
                </a:lnTo>
                <a:lnTo>
                  <a:pt x="747" y="710"/>
                </a:lnTo>
                <a:lnTo>
                  <a:pt x="745" y="711"/>
                </a:lnTo>
                <a:lnTo>
                  <a:pt x="742" y="712"/>
                </a:lnTo>
                <a:lnTo>
                  <a:pt x="738" y="714"/>
                </a:lnTo>
                <a:lnTo>
                  <a:pt x="734" y="712"/>
                </a:lnTo>
                <a:lnTo>
                  <a:pt x="730" y="714"/>
                </a:lnTo>
                <a:lnTo>
                  <a:pt x="726" y="714"/>
                </a:lnTo>
                <a:lnTo>
                  <a:pt x="714" y="709"/>
                </a:lnTo>
                <a:lnTo>
                  <a:pt x="703" y="707"/>
                </a:lnTo>
                <a:lnTo>
                  <a:pt x="705" y="710"/>
                </a:lnTo>
                <a:lnTo>
                  <a:pt x="707" y="712"/>
                </a:lnTo>
                <a:lnTo>
                  <a:pt x="709" y="715"/>
                </a:lnTo>
                <a:lnTo>
                  <a:pt x="710" y="716"/>
                </a:lnTo>
                <a:lnTo>
                  <a:pt x="709" y="717"/>
                </a:lnTo>
                <a:lnTo>
                  <a:pt x="707" y="718"/>
                </a:lnTo>
                <a:lnTo>
                  <a:pt x="701" y="719"/>
                </a:lnTo>
                <a:lnTo>
                  <a:pt x="694" y="719"/>
                </a:lnTo>
                <a:lnTo>
                  <a:pt x="686" y="719"/>
                </a:lnTo>
                <a:lnTo>
                  <a:pt x="679" y="719"/>
                </a:lnTo>
                <a:lnTo>
                  <a:pt x="679" y="720"/>
                </a:lnTo>
                <a:lnTo>
                  <a:pt x="680" y="722"/>
                </a:lnTo>
                <a:lnTo>
                  <a:pt x="681" y="722"/>
                </a:lnTo>
                <a:lnTo>
                  <a:pt x="684" y="722"/>
                </a:lnTo>
                <a:lnTo>
                  <a:pt x="690" y="722"/>
                </a:lnTo>
                <a:lnTo>
                  <a:pt x="698" y="722"/>
                </a:lnTo>
                <a:lnTo>
                  <a:pt x="705" y="722"/>
                </a:lnTo>
                <a:lnTo>
                  <a:pt x="711" y="722"/>
                </a:lnTo>
                <a:lnTo>
                  <a:pt x="710" y="724"/>
                </a:lnTo>
                <a:lnTo>
                  <a:pt x="706" y="724"/>
                </a:lnTo>
                <a:lnTo>
                  <a:pt x="696" y="725"/>
                </a:lnTo>
                <a:lnTo>
                  <a:pt x="686" y="726"/>
                </a:lnTo>
                <a:lnTo>
                  <a:pt x="676" y="726"/>
                </a:lnTo>
                <a:lnTo>
                  <a:pt x="665" y="727"/>
                </a:lnTo>
                <a:lnTo>
                  <a:pt x="656" y="727"/>
                </a:lnTo>
                <a:lnTo>
                  <a:pt x="647" y="727"/>
                </a:lnTo>
                <a:lnTo>
                  <a:pt x="638" y="727"/>
                </a:lnTo>
                <a:lnTo>
                  <a:pt x="629" y="727"/>
                </a:lnTo>
                <a:lnTo>
                  <a:pt x="624" y="727"/>
                </a:lnTo>
                <a:lnTo>
                  <a:pt x="619" y="726"/>
                </a:lnTo>
                <a:lnTo>
                  <a:pt x="613" y="726"/>
                </a:lnTo>
                <a:lnTo>
                  <a:pt x="610" y="724"/>
                </a:lnTo>
                <a:lnTo>
                  <a:pt x="624" y="724"/>
                </a:lnTo>
                <a:lnTo>
                  <a:pt x="638" y="724"/>
                </a:lnTo>
                <a:lnTo>
                  <a:pt x="644" y="724"/>
                </a:lnTo>
                <a:lnTo>
                  <a:pt x="649" y="725"/>
                </a:lnTo>
                <a:lnTo>
                  <a:pt x="654" y="724"/>
                </a:lnTo>
                <a:lnTo>
                  <a:pt x="659" y="722"/>
                </a:lnTo>
                <a:lnTo>
                  <a:pt x="653" y="720"/>
                </a:lnTo>
                <a:lnTo>
                  <a:pt x="647" y="719"/>
                </a:lnTo>
                <a:lnTo>
                  <a:pt x="641" y="720"/>
                </a:lnTo>
                <a:lnTo>
                  <a:pt x="636" y="720"/>
                </a:lnTo>
                <a:lnTo>
                  <a:pt x="622" y="722"/>
                </a:lnTo>
                <a:lnTo>
                  <a:pt x="607" y="723"/>
                </a:lnTo>
                <a:lnTo>
                  <a:pt x="594" y="723"/>
                </a:lnTo>
                <a:lnTo>
                  <a:pt x="580" y="723"/>
                </a:lnTo>
                <a:lnTo>
                  <a:pt x="573" y="723"/>
                </a:lnTo>
                <a:lnTo>
                  <a:pt x="566" y="723"/>
                </a:lnTo>
                <a:lnTo>
                  <a:pt x="565" y="722"/>
                </a:lnTo>
                <a:lnTo>
                  <a:pt x="565" y="720"/>
                </a:lnTo>
                <a:lnTo>
                  <a:pt x="566" y="719"/>
                </a:lnTo>
                <a:lnTo>
                  <a:pt x="569" y="719"/>
                </a:lnTo>
                <a:lnTo>
                  <a:pt x="572" y="719"/>
                </a:lnTo>
                <a:lnTo>
                  <a:pt x="575" y="719"/>
                </a:lnTo>
                <a:lnTo>
                  <a:pt x="586" y="718"/>
                </a:lnTo>
                <a:lnTo>
                  <a:pt x="596" y="717"/>
                </a:lnTo>
                <a:lnTo>
                  <a:pt x="597" y="717"/>
                </a:lnTo>
                <a:lnTo>
                  <a:pt x="598" y="716"/>
                </a:lnTo>
                <a:lnTo>
                  <a:pt x="597" y="714"/>
                </a:lnTo>
                <a:lnTo>
                  <a:pt x="596" y="709"/>
                </a:lnTo>
                <a:lnTo>
                  <a:pt x="594" y="708"/>
                </a:lnTo>
                <a:lnTo>
                  <a:pt x="590" y="707"/>
                </a:lnTo>
                <a:lnTo>
                  <a:pt x="586" y="708"/>
                </a:lnTo>
                <a:lnTo>
                  <a:pt x="583" y="709"/>
                </a:lnTo>
                <a:lnTo>
                  <a:pt x="580" y="710"/>
                </a:lnTo>
                <a:lnTo>
                  <a:pt x="578" y="714"/>
                </a:lnTo>
                <a:lnTo>
                  <a:pt x="577" y="715"/>
                </a:lnTo>
                <a:lnTo>
                  <a:pt x="574" y="716"/>
                </a:lnTo>
                <a:lnTo>
                  <a:pt x="570" y="716"/>
                </a:lnTo>
                <a:lnTo>
                  <a:pt x="565" y="716"/>
                </a:lnTo>
                <a:lnTo>
                  <a:pt x="567" y="714"/>
                </a:lnTo>
                <a:lnTo>
                  <a:pt x="571" y="712"/>
                </a:lnTo>
                <a:lnTo>
                  <a:pt x="570" y="710"/>
                </a:lnTo>
                <a:lnTo>
                  <a:pt x="566" y="709"/>
                </a:lnTo>
                <a:lnTo>
                  <a:pt x="563" y="708"/>
                </a:lnTo>
                <a:lnTo>
                  <a:pt x="561" y="708"/>
                </a:lnTo>
                <a:lnTo>
                  <a:pt x="555" y="707"/>
                </a:lnTo>
                <a:lnTo>
                  <a:pt x="552" y="708"/>
                </a:lnTo>
                <a:lnTo>
                  <a:pt x="550" y="709"/>
                </a:lnTo>
                <a:lnTo>
                  <a:pt x="549" y="710"/>
                </a:lnTo>
                <a:lnTo>
                  <a:pt x="549" y="712"/>
                </a:lnTo>
                <a:lnTo>
                  <a:pt x="550" y="716"/>
                </a:lnTo>
                <a:lnTo>
                  <a:pt x="547" y="716"/>
                </a:lnTo>
                <a:lnTo>
                  <a:pt x="544" y="716"/>
                </a:lnTo>
                <a:lnTo>
                  <a:pt x="541" y="712"/>
                </a:lnTo>
                <a:lnTo>
                  <a:pt x="540" y="711"/>
                </a:lnTo>
                <a:lnTo>
                  <a:pt x="536" y="714"/>
                </a:lnTo>
                <a:lnTo>
                  <a:pt x="532" y="716"/>
                </a:lnTo>
                <a:lnTo>
                  <a:pt x="524" y="716"/>
                </a:lnTo>
                <a:lnTo>
                  <a:pt x="515" y="715"/>
                </a:lnTo>
                <a:lnTo>
                  <a:pt x="511" y="715"/>
                </a:lnTo>
                <a:lnTo>
                  <a:pt x="506" y="714"/>
                </a:lnTo>
                <a:lnTo>
                  <a:pt x="504" y="712"/>
                </a:lnTo>
                <a:lnTo>
                  <a:pt x="504" y="712"/>
                </a:lnTo>
                <a:lnTo>
                  <a:pt x="503" y="712"/>
                </a:lnTo>
                <a:lnTo>
                  <a:pt x="503" y="710"/>
                </a:lnTo>
                <a:lnTo>
                  <a:pt x="504" y="709"/>
                </a:lnTo>
                <a:lnTo>
                  <a:pt x="504" y="708"/>
                </a:lnTo>
                <a:lnTo>
                  <a:pt x="504" y="707"/>
                </a:lnTo>
                <a:lnTo>
                  <a:pt x="501" y="706"/>
                </a:lnTo>
                <a:lnTo>
                  <a:pt x="499" y="707"/>
                </a:lnTo>
                <a:lnTo>
                  <a:pt x="496" y="707"/>
                </a:lnTo>
                <a:lnTo>
                  <a:pt x="488" y="708"/>
                </a:lnTo>
                <a:lnTo>
                  <a:pt x="479" y="708"/>
                </a:lnTo>
                <a:lnTo>
                  <a:pt x="470" y="707"/>
                </a:lnTo>
                <a:lnTo>
                  <a:pt x="462" y="703"/>
                </a:lnTo>
                <a:lnTo>
                  <a:pt x="462" y="711"/>
                </a:lnTo>
                <a:lnTo>
                  <a:pt x="459" y="718"/>
                </a:lnTo>
                <a:lnTo>
                  <a:pt x="457" y="720"/>
                </a:lnTo>
                <a:lnTo>
                  <a:pt x="456" y="723"/>
                </a:lnTo>
                <a:lnTo>
                  <a:pt x="455" y="724"/>
                </a:lnTo>
                <a:lnTo>
                  <a:pt x="455" y="725"/>
                </a:lnTo>
                <a:lnTo>
                  <a:pt x="453" y="725"/>
                </a:lnTo>
                <a:lnTo>
                  <a:pt x="450" y="725"/>
                </a:lnTo>
                <a:lnTo>
                  <a:pt x="447" y="725"/>
                </a:lnTo>
                <a:lnTo>
                  <a:pt x="441" y="725"/>
                </a:lnTo>
                <a:lnTo>
                  <a:pt x="439" y="724"/>
                </a:lnTo>
                <a:lnTo>
                  <a:pt x="437" y="724"/>
                </a:lnTo>
                <a:lnTo>
                  <a:pt x="435" y="723"/>
                </a:lnTo>
                <a:lnTo>
                  <a:pt x="435" y="722"/>
                </a:lnTo>
                <a:lnTo>
                  <a:pt x="440" y="719"/>
                </a:lnTo>
                <a:lnTo>
                  <a:pt x="446" y="719"/>
                </a:lnTo>
                <a:lnTo>
                  <a:pt x="449" y="717"/>
                </a:lnTo>
                <a:lnTo>
                  <a:pt x="450" y="712"/>
                </a:lnTo>
                <a:lnTo>
                  <a:pt x="447" y="710"/>
                </a:lnTo>
                <a:lnTo>
                  <a:pt x="442" y="709"/>
                </a:lnTo>
                <a:lnTo>
                  <a:pt x="438" y="704"/>
                </a:lnTo>
                <a:lnTo>
                  <a:pt x="433" y="700"/>
                </a:lnTo>
                <a:lnTo>
                  <a:pt x="430" y="699"/>
                </a:lnTo>
                <a:lnTo>
                  <a:pt x="427" y="699"/>
                </a:lnTo>
                <a:lnTo>
                  <a:pt x="424" y="700"/>
                </a:lnTo>
                <a:lnTo>
                  <a:pt x="420" y="700"/>
                </a:lnTo>
                <a:lnTo>
                  <a:pt x="413" y="701"/>
                </a:lnTo>
                <a:lnTo>
                  <a:pt x="406" y="702"/>
                </a:lnTo>
                <a:lnTo>
                  <a:pt x="401" y="703"/>
                </a:lnTo>
                <a:lnTo>
                  <a:pt x="399" y="704"/>
                </a:lnTo>
                <a:lnTo>
                  <a:pt x="397" y="703"/>
                </a:lnTo>
                <a:lnTo>
                  <a:pt x="394" y="700"/>
                </a:lnTo>
                <a:lnTo>
                  <a:pt x="392" y="698"/>
                </a:lnTo>
                <a:lnTo>
                  <a:pt x="390" y="695"/>
                </a:lnTo>
                <a:lnTo>
                  <a:pt x="389" y="695"/>
                </a:lnTo>
                <a:lnTo>
                  <a:pt x="387" y="695"/>
                </a:lnTo>
                <a:lnTo>
                  <a:pt x="382" y="698"/>
                </a:lnTo>
                <a:lnTo>
                  <a:pt x="377" y="700"/>
                </a:lnTo>
                <a:lnTo>
                  <a:pt x="376" y="701"/>
                </a:lnTo>
                <a:lnTo>
                  <a:pt x="374" y="701"/>
                </a:lnTo>
                <a:lnTo>
                  <a:pt x="374" y="700"/>
                </a:lnTo>
                <a:lnTo>
                  <a:pt x="373" y="698"/>
                </a:lnTo>
                <a:lnTo>
                  <a:pt x="373" y="695"/>
                </a:lnTo>
                <a:lnTo>
                  <a:pt x="373" y="694"/>
                </a:lnTo>
                <a:lnTo>
                  <a:pt x="372" y="693"/>
                </a:lnTo>
                <a:lnTo>
                  <a:pt x="369" y="693"/>
                </a:lnTo>
                <a:lnTo>
                  <a:pt x="363" y="692"/>
                </a:lnTo>
                <a:lnTo>
                  <a:pt x="356" y="690"/>
                </a:lnTo>
                <a:lnTo>
                  <a:pt x="352" y="690"/>
                </a:lnTo>
                <a:lnTo>
                  <a:pt x="350" y="691"/>
                </a:lnTo>
                <a:lnTo>
                  <a:pt x="348" y="692"/>
                </a:lnTo>
                <a:lnTo>
                  <a:pt x="346" y="696"/>
                </a:lnTo>
                <a:lnTo>
                  <a:pt x="344" y="692"/>
                </a:lnTo>
                <a:lnTo>
                  <a:pt x="342" y="689"/>
                </a:lnTo>
                <a:lnTo>
                  <a:pt x="341" y="687"/>
                </a:lnTo>
                <a:lnTo>
                  <a:pt x="340" y="687"/>
                </a:lnTo>
                <a:lnTo>
                  <a:pt x="338" y="687"/>
                </a:lnTo>
                <a:lnTo>
                  <a:pt x="335" y="689"/>
                </a:lnTo>
                <a:lnTo>
                  <a:pt x="331" y="691"/>
                </a:lnTo>
                <a:lnTo>
                  <a:pt x="327" y="692"/>
                </a:lnTo>
                <a:lnTo>
                  <a:pt x="326" y="691"/>
                </a:lnTo>
                <a:lnTo>
                  <a:pt x="325" y="690"/>
                </a:lnTo>
                <a:lnTo>
                  <a:pt x="324" y="687"/>
                </a:lnTo>
                <a:lnTo>
                  <a:pt x="324" y="684"/>
                </a:lnTo>
                <a:lnTo>
                  <a:pt x="322" y="686"/>
                </a:lnTo>
                <a:lnTo>
                  <a:pt x="318" y="689"/>
                </a:lnTo>
                <a:lnTo>
                  <a:pt x="315" y="691"/>
                </a:lnTo>
                <a:lnTo>
                  <a:pt x="311" y="691"/>
                </a:lnTo>
                <a:lnTo>
                  <a:pt x="308" y="691"/>
                </a:lnTo>
                <a:lnTo>
                  <a:pt x="305" y="690"/>
                </a:lnTo>
                <a:lnTo>
                  <a:pt x="301" y="687"/>
                </a:lnTo>
                <a:lnTo>
                  <a:pt x="298" y="686"/>
                </a:lnTo>
                <a:lnTo>
                  <a:pt x="290" y="682"/>
                </a:lnTo>
                <a:lnTo>
                  <a:pt x="281" y="681"/>
                </a:lnTo>
                <a:lnTo>
                  <a:pt x="272" y="679"/>
                </a:lnTo>
                <a:lnTo>
                  <a:pt x="262" y="678"/>
                </a:lnTo>
                <a:lnTo>
                  <a:pt x="260" y="678"/>
                </a:lnTo>
                <a:lnTo>
                  <a:pt x="258" y="677"/>
                </a:lnTo>
                <a:lnTo>
                  <a:pt x="258" y="676"/>
                </a:lnTo>
                <a:lnTo>
                  <a:pt x="257" y="675"/>
                </a:lnTo>
                <a:lnTo>
                  <a:pt x="257" y="674"/>
                </a:lnTo>
                <a:lnTo>
                  <a:pt x="258" y="673"/>
                </a:lnTo>
                <a:lnTo>
                  <a:pt x="261" y="671"/>
                </a:lnTo>
                <a:lnTo>
                  <a:pt x="265" y="671"/>
                </a:lnTo>
                <a:lnTo>
                  <a:pt x="268" y="671"/>
                </a:lnTo>
                <a:lnTo>
                  <a:pt x="272" y="673"/>
                </a:lnTo>
                <a:lnTo>
                  <a:pt x="282" y="674"/>
                </a:lnTo>
                <a:lnTo>
                  <a:pt x="293" y="676"/>
                </a:lnTo>
                <a:lnTo>
                  <a:pt x="303" y="677"/>
                </a:lnTo>
                <a:lnTo>
                  <a:pt x="314" y="678"/>
                </a:lnTo>
                <a:lnTo>
                  <a:pt x="335" y="682"/>
                </a:lnTo>
                <a:lnTo>
                  <a:pt x="357" y="684"/>
                </a:lnTo>
                <a:lnTo>
                  <a:pt x="379" y="686"/>
                </a:lnTo>
                <a:lnTo>
                  <a:pt x="400" y="689"/>
                </a:lnTo>
                <a:lnTo>
                  <a:pt x="410" y="690"/>
                </a:lnTo>
                <a:lnTo>
                  <a:pt x="421" y="691"/>
                </a:lnTo>
                <a:lnTo>
                  <a:pt x="431" y="692"/>
                </a:lnTo>
                <a:lnTo>
                  <a:pt x="442" y="693"/>
                </a:lnTo>
                <a:lnTo>
                  <a:pt x="451" y="693"/>
                </a:lnTo>
                <a:lnTo>
                  <a:pt x="462" y="694"/>
                </a:lnTo>
                <a:lnTo>
                  <a:pt x="472" y="694"/>
                </a:lnTo>
                <a:lnTo>
                  <a:pt x="482" y="695"/>
                </a:lnTo>
                <a:lnTo>
                  <a:pt x="486" y="695"/>
                </a:lnTo>
                <a:lnTo>
                  <a:pt x="489" y="695"/>
                </a:lnTo>
                <a:lnTo>
                  <a:pt x="494" y="696"/>
                </a:lnTo>
                <a:lnTo>
                  <a:pt x="498" y="698"/>
                </a:lnTo>
                <a:lnTo>
                  <a:pt x="507" y="699"/>
                </a:lnTo>
                <a:lnTo>
                  <a:pt x="516" y="698"/>
                </a:lnTo>
                <a:lnTo>
                  <a:pt x="521" y="696"/>
                </a:lnTo>
                <a:lnTo>
                  <a:pt x="523" y="695"/>
                </a:lnTo>
                <a:lnTo>
                  <a:pt x="527" y="694"/>
                </a:lnTo>
                <a:lnTo>
                  <a:pt x="531" y="695"/>
                </a:lnTo>
                <a:lnTo>
                  <a:pt x="533" y="698"/>
                </a:lnTo>
                <a:lnTo>
                  <a:pt x="537" y="699"/>
                </a:lnTo>
                <a:lnTo>
                  <a:pt x="539" y="699"/>
                </a:lnTo>
                <a:lnTo>
                  <a:pt x="542" y="698"/>
                </a:lnTo>
                <a:lnTo>
                  <a:pt x="544" y="699"/>
                </a:lnTo>
                <a:lnTo>
                  <a:pt x="542" y="700"/>
                </a:lnTo>
                <a:lnTo>
                  <a:pt x="544" y="702"/>
                </a:lnTo>
                <a:lnTo>
                  <a:pt x="546" y="702"/>
                </a:lnTo>
                <a:lnTo>
                  <a:pt x="547" y="702"/>
                </a:lnTo>
                <a:lnTo>
                  <a:pt x="547" y="700"/>
                </a:lnTo>
                <a:lnTo>
                  <a:pt x="547" y="699"/>
                </a:lnTo>
                <a:lnTo>
                  <a:pt x="547" y="696"/>
                </a:lnTo>
                <a:lnTo>
                  <a:pt x="548" y="694"/>
                </a:lnTo>
                <a:lnTo>
                  <a:pt x="550" y="693"/>
                </a:lnTo>
                <a:lnTo>
                  <a:pt x="552" y="693"/>
                </a:lnTo>
                <a:lnTo>
                  <a:pt x="554" y="694"/>
                </a:lnTo>
                <a:lnTo>
                  <a:pt x="556" y="695"/>
                </a:lnTo>
                <a:lnTo>
                  <a:pt x="556" y="696"/>
                </a:lnTo>
                <a:lnTo>
                  <a:pt x="556" y="696"/>
                </a:lnTo>
                <a:lnTo>
                  <a:pt x="558" y="694"/>
                </a:lnTo>
                <a:lnTo>
                  <a:pt x="564" y="692"/>
                </a:lnTo>
                <a:lnTo>
                  <a:pt x="571" y="692"/>
                </a:lnTo>
                <a:lnTo>
                  <a:pt x="577" y="692"/>
                </a:lnTo>
                <a:lnTo>
                  <a:pt x="583" y="693"/>
                </a:lnTo>
                <a:lnTo>
                  <a:pt x="598" y="693"/>
                </a:lnTo>
                <a:lnTo>
                  <a:pt x="613" y="692"/>
                </a:lnTo>
                <a:lnTo>
                  <a:pt x="615" y="691"/>
                </a:lnTo>
                <a:lnTo>
                  <a:pt x="619" y="689"/>
                </a:lnTo>
                <a:lnTo>
                  <a:pt x="622" y="690"/>
                </a:lnTo>
                <a:lnTo>
                  <a:pt x="626" y="690"/>
                </a:lnTo>
                <a:lnTo>
                  <a:pt x="633" y="690"/>
                </a:lnTo>
                <a:lnTo>
                  <a:pt x="641" y="690"/>
                </a:lnTo>
                <a:lnTo>
                  <a:pt x="647" y="689"/>
                </a:lnTo>
                <a:lnTo>
                  <a:pt x="653" y="689"/>
                </a:lnTo>
                <a:lnTo>
                  <a:pt x="662" y="689"/>
                </a:lnTo>
                <a:lnTo>
                  <a:pt x="672" y="687"/>
                </a:lnTo>
                <a:lnTo>
                  <a:pt x="689" y="686"/>
                </a:lnTo>
                <a:lnTo>
                  <a:pt x="705" y="685"/>
                </a:lnTo>
                <a:lnTo>
                  <a:pt x="722" y="683"/>
                </a:lnTo>
                <a:lnTo>
                  <a:pt x="739" y="681"/>
                </a:lnTo>
                <a:lnTo>
                  <a:pt x="756" y="679"/>
                </a:lnTo>
                <a:lnTo>
                  <a:pt x="773" y="677"/>
                </a:lnTo>
                <a:lnTo>
                  <a:pt x="791" y="676"/>
                </a:lnTo>
                <a:lnTo>
                  <a:pt x="809" y="674"/>
                </a:lnTo>
                <a:lnTo>
                  <a:pt x="825" y="670"/>
                </a:lnTo>
                <a:lnTo>
                  <a:pt x="841" y="668"/>
                </a:lnTo>
                <a:lnTo>
                  <a:pt x="857" y="665"/>
                </a:lnTo>
                <a:lnTo>
                  <a:pt x="874" y="662"/>
                </a:lnTo>
                <a:lnTo>
                  <a:pt x="907" y="658"/>
                </a:lnTo>
                <a:lnTo>
                  <a:pt x="940" y="652"/>
                </a:lnTo>
                <a:lnTo>
                  <a:pt x="973" y="646"/>
                </a:lnTo>
                <a:lnTo>
                  <a:pt x="1006" y="641"/>
                </a:lnTo>
                <a:lnTo>
                  <a:pt x="1009" y="641"/>
                </a:lnTo>
                <a:lnTo>
                  <a:pt x="1011" y="641"/>
                </a:lnTo>
                <a:lnTo>
                  <a:pt x="1014" y="640"/>
                </a:lnTo>
                <a:lnTo>
                  <a:pt x="1015" y="639"/>
                </a:lnTo>
                <a:lnTo>
                  <a:pt x="1015" y="637"/>
                </a:lnTo>
                <a:lnTo>
                  <a:pt x="1015" y="636"/>
                </a:lnTo>
                <a:lnTo>
                  <a:pt x="1014" y="635"/>
                </a:lnTo>
                <a:lnTo>
                  <a:pt x="1012" y="634"/>
                </a:lnTo>
                <a:lnTo>
                  <a:pt x="1011" y="634"/>
                </a:lnTo>
                <a:lnTo>
                  <a:pt x="1010" y="635"/>
                </a:lnTo>
                <a:lnTo>
                  <a:pt x="1007" y="636"/>
                </a:lnTo>
                <a:lnTo>
                  <a:pt x="1005" y="637"/>
                </a:lnTo>
                <a:lnTo>
                  <a:pt x="991" y="639"/>
                </a:lnTo>
                <a:lnTo>
                  <a:pt x="978" y="642"/>
                </a:lnTo>
                <a:lnTo>
                  <a:pt x="975" y="643"/>
                </a:lnTo>
                <a:lnTo>
                  <a:pt x="970" y="643"/>
                </a:lnTo>
                <a:lnTo>
                  <a:pt x="968" y="643"/>
                </a:lnTo>
                <a:lnTo>
                  <a:pt x="965" y="643"/>
                </a:lnTo>
                <a:lnTo>
                  <a:pt x="965" y="642"/>
                </a:lnTo>
                <a:lnTo>
                  <a:pt x="964" y="641"/>
                </a:lnTo>
                <a:lnTo>
                  <a:pt x="956" y="642"/>
                </a:lnTo>
                <a:lnTo>
                  <a:pt x="949" y="644"/>
                </a:lnTo>
                <a:lnTo>
                  <a:pt x="940" y="645"/>
                </a:lnTo>
                <a:lnTo>
                  <a:pt x="931" y="646"/>
                </a:lnTo>
                <a:lnTo>
                  <a:pt x="921" y="646"/>
                </a:lnTo>
                <a:lnTo>
                  <a:pt x="912" y="648"/>
                </a:lnTo>
                <a:lnTo>
                  <a:pt x="919" y="645"/>
                </a:lnTo>
                <a:lnTo>
                  <a:pt x="926" y="644"/>
                </a:lnTo>
                <a:lnTo>
                  <a:pt x="934" y="642"/>
                </a:lnTo>
                <a:lnTo>
                  <a:pt x="942" y="641"/>
                </a:lnTo>
                <a:lnTo>
                  <a:pt x="951" y="639"/>
                </a:lnTo>
                <a:lnTo>
                  <a:pt x="959" y="637"/>
                </a:lnTo>
                <a:lnTo>
                  <a:pt x="968" y="636"/>
                </a:lnTo>
                <a:lnTo>
                  <a:pt x="977" y="635"/>
                </a:lnTo>
                <a:lnTo>
                  <a:pt x="995" y="633"/>
                </a:lnTo>
                <a:lnTo>
                  <a:pt x="1012" y="629"/>
                </a:lnTo>
                <a:lnTo>
                  <a:pt x="1031" y="626"/>
                </a:lnTo>
                <a:lnTo>
                  <a:pt x="1048" y="621"/>
                </a:lnTo>
                <a:lnTo>
                  <a:pt x="1065" y="617"/>
                </a:lnTo>
                <a:lnTo>
                  <a:pt x="1083" y="612"/>
                </a:lnTo>
                <a:lnTo>
                  <a:pt x="1100" y="608"/>
                </a:lnTo>
                <a:lnTo>
                  <a:pt x="1117" y="603"/>
                </a:lnTo>
                <a:lnTo>
                  <a:pt x="1133" y="598"/>
                </a:lnTo>
                <a:lnTo>
                  <a:pt x="1148" y="592"/>
                </a:lnTo>
                <a:lnTo>
                  <a:pt x="1156" y="588"/>
                </a:lnTo>
                <a:lnTo>
                  <a:pt x="1164" y="584"/>
                </a:lnTo>
                <a:lnTo>
                  <a:pt x="1165" y="581"/>
                </a:lnTo>
                <a:lnTo>
                  <a:pt x="1165" y="578"/>
                </a:lnTo>
                <a:lnTo>
                  <a:pt x="1165" y="576"/>
                </a:lnTo>
                <a:lnTo>
                  <a:pt x="1165" y="573"/>
                </a:lnTo>
                <a:lnTo>
                  <a:pt x="1165" y="573"/>
                </a:lnTo>
                <a:lnTo>
                  <a:pt x="1165" y="573"/>
                </a:lnTo>
                <a:lnTo>
                  <a:pt x="1164" y="571"/>
                </a:lnTo>
                <a:lnTo>
                  <a:pt x="1162" y="570"/>
                </a:lnTo>
                <a:lnTo>
                  <a:pt x="1158" y="569"/>
                </a:lnTo>
                <a:lnTo>
                  <a:pt x="1155" y="570"/>
                </a:lnTo>
                <a:lnTo>
                  <a:pt x="1147" y="571"/>
                </a:lnTo>
                <a:lnTo>
                  <a:pt x="1142" y="573"/>
                </a:lnTo>
                <a:lnTo>
                  <a:pt x="1135" y="575"/>
                </a:lnTo>
                <a:lnTo>
                  <a:pt x="1127" y="577"/>
                </a:lnTo>
                <a:lnTo>
                  <a:pt x="1124" y="577"/>
                </a:lnTo>
                <a:lnTo>
                  <a:pt x="1119" y="576"/>
                </a:lnTo>
                <a:lnTo>
                  <a:pt x="1117" y="574"/>
                </a:lnTo>
                <a:lnTo>
                  <a:pt x="1116" y="571"/>
                </a:lnTo>
                <a:lnTo>
                  <a:pt x="1115" y="568"/>
                </a:lnTo>
                <a:lnTo>
                  <a:pt x="1116" y="565"/>
                </a:lnTo>
                <a:lnTo>
                  <a:pt x="1118" y="562"/>
                </a:lnTo>
                <a:lnTo>
                  <a:pt x="1121" y="559"/>
                </a:lnTo>
                <a:lnTo>
                  <a:pt x="1125" y="554"/>
                </a:lnTo>
                <a:lnTo>
                  <a:pt x="1131" y="550"/>
                </a:lnTo>
                <a:lnTo>
                  <a:pt x="1147" y="544"/>
                </a:lnTo>
                <a:lnTo>
                  <a:pt x="1165" y="541"/>
                </a:lnTo>
                <a:lnTo>
                  <a:pt x="1164" y="538"/>
                </a:lnTo>
                <a:lnTo>
                  <a:pt x="1163" y="537"/>
                </a:lnTo>
                <a:lnTo>
                  <a:pt x="1160" y="536"/>
                </a:lnTo>
                <a:lnTo>
                  <a:pt x="1159" y="536"/>
                </a:lnTo>
                <a:lnTo>
                  <a:pt x="1156" y="535"/>
                </a:lnTo>
                <a:lnTo>
                  <a:pt x="1151" y="536"/>
                </a:lnTo>
                <a:lnTo>
                  <a:pt x="1140" y="536"/>
                </a:lnTo>
                <a:lnTo>
                  <a:pt x="1130" y="537"/>
                </a:lnTo>
                <a:lnTo>
                  <a:pt x="1119" y="540"/>
                </a:lnTo>
                <a:lnTo>
                  <a:pt x="1109" y="541"/>
                </a:lnTo>
                <a:lnTo>
                  <a:pt x="1100" y="541"/>
                </a:lnTo>
                <a:lnTo>
                  <a:pt x="1090" y="540"/>
                </a:lnTo>
                <a:lnTo>
                  <a:pt x="1081" y="538"/>
                </a:lnTo>
                <a:lnTo>
                  <a:pt x="1072" y="536"/>
                </a:lnTo>
                <a:lnTo>
                  <a:pt x="1064" y="536"/>
                </a:lnTo>
                <a:lnTo>
                  <a:pt x="1057" y="535"/>
                </a:lnTo>
                <a:lnTo>
                  <a:pt x="1053" y="533"/>
                </a:lnTo>
                <a:lnTo>
                  <a:pt x="1050" y="530"/>
                </a:lnTo>
                <a:lnTo>
                  <a:pt x="1047" y="530"/>
                </a:lnTo>
                <a:lnTo>
                  <a:pt x="1043" y="529"/>
                </a:lnTo>
                <a:lnTo>
                  <a:pt x="1040" y="530"/>
                </a:lnTo>
                <a:lnTo>
                  <a:pt x="1036" y="529"/>
                </a:lnTo>
                <a:lnTo>
                  <a:pt x="1033" y="528"/>
                </a:lnTo>
                <a:lnTo>
                  <a:pt x="1030" y="526"/>
                </a:lnTo>
                <a:lnTo>
                  <a:pt x="1022" y="524"/>
                </a:lnTo>
                <a:lnTo>
                  <a:pt x="1014" y="524"/>
                </a:lnTo>
                <a:lnTo>
                  <a:pt x="1003" y="524"/>
                </a:lnTo>
                <a:lnTo>
                  <a:pt x="992" y="523"/>
                </a:lnTo>
                <a:lnTo>
                  <a:pt x="983" y="524"/>
                </a:lnTo>
                <a:lnTo>
                  <a:pt x="974" y="523"/>
                </a:lnTo>
                <a:lnTo>
                  <a:pt x="972" y="520"/>
                </a:lnTo>
                <a:lnTo>
                  <a:pt x="968" y="518"/>
                </a:lnTo>
                <a:lnTo>
                  <a:pt x="965" y="518"/>
                </a:lnTo>
                <a:lnTo>
                  <a:pt x="961" y="519"/>
                </a:lnTo>
                <a:lnTo>
                  <a:pt x="953" y="520"/>
                </a:lnTo>
                <a:lnTo>
                  <a:pt x="944" y="521"/>
                </a:lnTo>
                <a:lnTo>
                  <a:pt x="940" y="521"/>
                </a:lnTo>
                <a:lnTo>
                  <a:pt x="936" y="521"/>
                </a:lnTo>
                <a:lnTo>
                  <a:pt x="933" y="519"/>
                </a:lnTo>
                <a:lnTo>
                  <a:pt x="932" y="516"/>
                </a:lnTo>
                <a:lnTo>
                  <a:pt x="932" y="512"/>
                </a:lnTo>
                <a:lnTo>
                  <a:pt x="934" y="509"/>
                </a:lnTo>
                <a:lnTo>
                  <a:pt x="937" y="505"/>
                </a:lnTo>
                <a:lnTo>
                  <a:pt x="942" y="503"/>
                </a:lnTo>
                <a:lnTo>
                  <a:pt x="951" y="499"/>
                </a:lnTo>
                <a:lnTo>
                  <a:pt x="958" y="495"/>
                </a:lnTo>
                <a:lnTo>
                  <a:pt x="969" y="491"/>
                </a:lnTo>
                <a:lnTo>
                  <a:pt x="979" y="487"/>
                </a:lnTo>
                <a:lnTo>
                  <a:pt x="991" y="484"/>
                </a:lnTo>
                <a:lnTo>
                  <a:pt x="1002" y="479"/>
                </a:lnTo>
                <a:lnTo>
                  <a:pt x="1014" y="475"/>
                </a:lnTo>
                <a:lnTo>
                  <a:pt x="1025" y="470"/>
                </a:lnTo>
                <a:lnTo>
                  <a:pt x="1035" y="465"/>
                </a:lnTo>
                <a:lnTo>
                  <a:pt x="1047" y="459"/>
                </a:lnTo>
                <a:lnTo>
                  <a:pt x="1035" y="455"/>
                </a:lnTo>
                <a:lnTo>
                  <a:pt x="1025" y="453"/>
                </a:lnTo>
                <a:lnTo>
                  <a:pt x="1024" y="451"/>
                </a:lnTo>
                <a:lnTo>
                  <a:pt x="1024" y="449"/>
                </a:lnTo>
                <a:lnTo>
                  <a:pt x="1023" y="446"/>
                </a:lnTo>
                <a:lnTo>
                  <a:pt x="1019" y="445"/>
                </a:lnTo>
                <a:lnTo>
                  <a:pt x="1014" y="446"/>
                </a:lnTo>
                <a:lnTo>
                  <a:pt x="1007" y="449"/>
                </a:lnTo>
                <a:lnTo>
                  <a:pt x="999" y="447"/>
                </a:lnTo>
                <a:lnTo>
                  <a:pt x="990" y="446"/>
                </a:lnTo>
                <a:lnTo>
                  <a:pt x="979" y="446"/>
                </a:lnTo>
                <a:lnTo>
                  <a:pt x="968" y="447"/>
                </a:lnTo>
                <a:lnTo>
                  <a:pt x="959" y="450"/>
                </a:lnTo>
                <a:lnTo>
                  <a:pt x="949" y="452"/>
                </a:lnTo>
                <a:lnTo>
                  <a:pt x="940" y="454"/>
                </a:lnTo>
                <a:lnTo>
                  <a:pt x="929" y="457"/>
                </a:lnTo>
                <a:lnTo>
                  <a:pt x="919" y="459"/>
                </a:lnTo>
                <a:lnTo>
                  <a:pt x="909" y="460"/>
                </a:lnTo>
                <a:lnTo>
                  <a:pt x="899" y="461"/>
                </a:lnTo>
                <a:lnTo>
                  <a:pt x="888" y="462"/>
                </a:lnTo>
                <a:lnTo>
                  <a:pt x="878" y="465"/>
                </a:lnTo>
                <a:lnTo>
                  <a:pt x="869" y="466"/>
                </a:lnTo>
                <a:lnTo>
                  <a:pt x="859" y="467"/>
                </a:lnTo>
                <a:lnTo>
                  <a:pt x="849" y="468"/>
                </a:lnTo>
                <a:lnTo>
                  <a:pt x="840" y="468"/>
                </a:lnTo>
                <a:lnTo>
                  <a:pt x="830" y="469"/>
                </a:lnTo>
                <a:lnTo>
                  <a:pt x="819" y="471"/>
                </a:lnTo>
                <a:lnTo>
                  <a:pt x="808" y="471"/>
                </a:lnTo>
                <a:lnTo>
                  <a:pt x="796" y="471"/>
                </a:lnTo>
                <a:lnTo>
                  <a:pt x="786" y="471"/>
                </a:lnTo>
                <a:lnTo>
                  <a:pt x="775" y="473"/>
                </a:lnTo>
                <a:lnTo>
                  <a:pt x="763" y="473"/>
                </a:lnTo>
                <a:lnTo>
                  <a:pt x="751" y="473"/>
                </a:lnTo>
                <a:lnTo>
                  <a:pt x="738" y="471"/>
                </a:lnTo>
                <a:lnTo>
                  <a:pt x="727" y="470"/>
                </a:lnTo>
                <a:lnTo>
                  <a:pt x="714" y="469"/>
                </a:lnTo>
                <a:lnTo>
                  <a:pt x="703" y="469"/>
                </a:lnTo>
                <a:lnTo>
                  <a:pt x="690" y="469"/>
                </a:lnTo>
                <a:lnTo>
                  <a:pt x="686" y="470"/>
                </a:lnTo>
                <a:lnTo>
                  <a:pt x="681" y="470"/>
                </a:lnTo>
                <a:lnTo>
                  <a:pt x="678" y="469"/>
                </a:lnTo>
                <a:lnTo>
                  <a:pt x="674" y="466"/>
                </a:lnTo>
                <a:lnTo>
                  <a:pt x="681" y="466"/>
                </a:lnTo>
                <a:lnTo>
                  <a:pt x="688" y="466"/>
                </a:lnTo>
                <a:lnTo>
                  <a:pt x="694" y="466"/>
                </a:lnTo>
                <a:lnTo>
                  <a:pt x="700" y="466"/>
                </a:lnTo>
                <a:lnTo>
                  <a:pt x="701" y="465"/>
                </a:lnTo>
                <a:lnTo>
                  <a:pt x="702" y="462"/>
                </a:lnTo>
                <a:lnTo>
                  <a:pt x="702" y="461"/>
                </a:lnTo>
                <a:lnTo>
                  <a:pt x="701" y="460"/>
                </a:lnTo>
                <a:lnTo>
                  <a:pt x="696" y="460"/>
                </a:lnTo>
                <a:lnTo>
                  <a:pt x="692" y="461"/>
                </a:lnTo>
                <a:lnTo>
                  <a:pt x="677" y="461"/>
                </a:lnTo>
                <a:lnTo>
                  <a:pt x="662" y="460"/>
                </a:lnTo>
                <a:lnTo>
                  <a:pt x="649" y="461"/>
                </a:lnTo>
                <a:lnTo>
                  <a:pt x="636" y="462"/>
                </a:lnTo>
                <a:lnTo>
                  <a:pt x="622" y="462"/>
                </a:lnTo>
                <a:lnTo>
                  <a:pt x="610" y="460"/>
                </a:lnTo>
                <a:lnTo>
                  <a:pt x="595" y="458"/>
                </a:lnTo>
                <a:lnTo>
                  <a:pt x="580" y="455"/>
                </a:lnTo>
                <a:lnTo>
                  <a:pt x="565" y="454"/>
                </a:lnTo>
                <a:lnTo>
                  <a:pt x="550" y="452"/>
                </a:lnTo>
                <a:lnTo>
                  <a:pt x="536" y="450"/>
                </a:lnTo>
                <a:lnTo>
                  <a:pt x="521" y="447"/>
                </a:lnTo>
                <a:lnTo>
                  <a:pt x="523" y="445"/>
                </a:lnTo>
                <a:lnTo>
                  <a:pt x="524" y="443"/>
                </a:lnTo>
                <a:lnTo>
                  <a:pt x="523" y="441"/>
                </a:lnTo>
                <a:lnTo>
                  <a:pt x="520" y="440"/>
                </a:lnTo>
                <a:lnTo>
                  <a:pt x="516" y="440"/>
                </a:lnTo>
                <a:lnTo>
                  <a:pt x="514" y="440"/>
                </a:lnTo>
                <a:lnTo>
                  <a:pt x="498" y="437"/>
                </a:lnTo>
                <a:lnTo>
                  <a:pt x="481" y="435"/>
                </a:lnTo>
                <a:lnTo>
                  <a:pt x="468" y="432"/>
                </a:lnTo>
                <a:lnTo>
                  <a:pt x="455" y="429"/>
                </a:lnTo>
                <a:lnTo>
                  <a:pt x="448" y="430"/>
                </a:lnTo>
                <a:lnTo>
                  <a:pt x="441" y="430"/>
                </a:lnTo>
                <a:lnTo>
                  <a:pt x="435" y="429"/>
                </a:lnTo>
                <a:lnTo>
                  <a:pt x="429" y="428"/>
                </a:lnTo>
                <a:lnTo>
                  <a:pt x="423" y="425"/>
                </a:lnTo>
                <a:lnTo>
                  <a:pt x="417" y="422"/>
                </a:lnTo>
                <a:lnTo>
                  <a:pt x="418" y="420"/>
                </a:lnTo>
                <a:lnTo>
                  <a:pt x="420" y="419"/>
                </a:lnTo>
                <a:lnTo>
                  <a:pt x="423" y="418"/>
                </a:lnTo>
                <a:lnTo>
                  <a:pt x="426" y="418"/>
                </a:lnTo>
                <a:lnTo>
                  <a:pt x="437" y="419"/>
                </a:lnTo>
                <a:lnTo>
                  <a:pt x="448" y="421"/>
                </a:lnTo>
                <a:lnTo>
                  <a:pt x="472" y="427"/>
                </a:lnTo>
                <a:lnTo>
                  <a:pt x="486" y="429"/>
                </a:lnTo>
                <a:lnTo>
                  <a:pt x="495" y="429"/>
                </a:lnTo>
                <a:lnTo>
                  <a:pt x="505" y="430"/>
                </a:lnTo>
                <a:lnTo>
                  <a:pt x="514" y="430"/>
                </a:lnTo>
                <a:lnTo>
                  <a:pt x="524" y="432"/>
                </a:lnTo>
                <a:lnTo>
                  <a:pt x="534" y="432"/>
                </a:lnTo>
                <a:lnTo>
                  <a:pt x="546" y="432"/>
                </a:lnTo>
                <a:lnTo>
                  <a:pt x="556" y="433"/>
                </a:lnTo>
                <a:lnTo>
                  <a:pt x="566" y="433"/>
                </a:lnTo>
                <a:lnTo>
                  <a:pt x="589" y="434"/>
                </a:lnTo>
                <a:lnTo>
                  <a:pt x="611" y="434"/>
                </a:lnTo>
                <a:lnTo>
                  <a:pt x="632" y="434"/>
                </a:lnTo>
                <a:lnTo>
                  <a:pt x="655" y="434"/>
                </a:lnTo>
                <a:lnTo>
                  <a:pt x="664" y="433"/>
                </a:lnTo>
                <a:lnTo>
                  <a:pt x="674" y="432"/>
                </a:lnTo>
                <a:lnTo>
                  <a:pt x="685" y="432"/>
                </a:lnTo>
                <a:lnTo>
                  <a:pt x="695" y="432"/>
                </a:lnTo>
                <a:lnTo>
                  <a:pt x="702" y="432"/>
                </a:lnTo>
                <a:lnTo>
                  <a:pt x="707" y="432"/>
                </a:lnTo>
                <a:lnTo>
                  <a:pt x="710" y="432"/>
                </a:lnTo>
                <a:lnTo>
                  <a:pt x="713" y="432"/>
                </a:lnTo>
                <a:lnTo>
                  <a:pt x="715" y="429"/>
                </a:lnTo>
                <a:lnTo>
                  <a:pt x="719" y="427"/>
                </a:lnTo>
                <a:lnTo>
                  <a:pt x="722" y="427"/>
                </a:lnTo>
                <a:lnTo>
                  <a:pt x="728" y="428"/>
                </a:lnTo>
                <a:lnTo>
                  <a:pt x="737" y="429"/>
                </a:lnTo>
                <a:lnTo>
                  <a:pt x="746" y="428"/>
                </a:lnTo>
                <a:lnTo>
                  <a:pt x="755" y="427"/>
                </a:lnTo>
                <a:lnTo>
                  <a:pt x="764" y="426"/>
                </a:lnTo>
                <a:lnTo>
                  <a:pt x="767" y="425"/>
                </a:lnTo>
                <a:lnTo>
                  <a:pt x="769" y="424"/>
                </a:lnTo>
                <a:lnTo>
                  <a:pt x="773" y="424"/>
                </a:lnTo>
                <a:lnTo>
                  <a:pt x="778" y="425"/>
                </a:lnTo>
                <a:lnTo>
                  <a:pt x="780" y="425"/>
                </a:lnTo>
                <a:lnTo>
                  <a:pt x="783" y="424"/>
                </a:lnTo>
                <a:lnTo>
                  <a:pt x="784" y="422"/>
                </a:lnTo>
                <a:lnTo>
                  <a:pt x="786" y="420"/>
                </a:lnTo>
                <a:lnTo>
                  <a:pt x="794" y="418"/>
                </a:lnTo>
                <a:lnTo>
                  <a:pt x="804" y="418"/>
                </a:lnTo>
                <a:lnTo>
                  <a:pt x="814" y="417"/>
                </a:lnTo>
                <a:lnTo>
                  <a:pt x="824" y="416"/>
                </a:lnTo>
                <a:lnTo>
                  <a:pt x="834" y="415"/>
                </a:lnTo>
                <a:lnTo>
                  <a:pt x="844" y="413"/>
                </a:lnTo>
                <a:lnTo>
                  <a:pt x="853" y="412"/>
                </a:lnTo>
                <a:lnTo>
                  <a:pt x="863" y="411"/>
                </a:lnTo>
                <a:lnTo>
                  <a:pt x="873" y="409"/>
                </a:lnTo>
                <a:lnTo>
                  <a:pt x="882" y="408"/>
                </a:lnTo>
                <a:lnTo>
                  <a:pt x="898" y="403"/>
                </a:lnTo>
                <a:lnTo>
                  <a:pt x="912" y="400"/>
                </a:lnTo>
                <a:lnTo>
                  <a:pt x="915" y="400"/>
                </a:lnTo>
                <a:lnTo>
                  <a:pt x="916" y="400"/>
                </a:lnTo>
                <a:lnTo>
                  <a:pt x="917" y="401"/>
                </a:lnTo>
                <a:lnTo>
                  <a:pt x="919" y="402"/>
                </a:lnTo>
                <a:lnTo>
                  <a:pt x="921" y="403"/>
                </a:lnTo>
                <a:lnTo>
                  <a:pt x="924" y="403"/>
                </a:lnTo>
                <a:lnTo>
                  <a:pt x="928" y="400"/>
                </a:lnTo>
                <a:lnTo>
                  <a:pt x="934" y="396"/>
                </a:lnTo>
                <a:lnTo>
                  <a:pt x="949" y="392"/>
                </a:lnTo>
                <a:lnTo>
                  <a:pt x="965" y="388"/>
                </a:lnTo>
                <a:lnTo>
                  <a:pt x="975" y="386"/>
                </a:lnTo>
                <a:lnTo>
                  <a:pt x="986" y="383"/>
                </a:lnTo>
                <a:lnTo>
                  <a:pt x="998" y="380"/>
                </a:lnTo>
                <a:lnTo>
                  <a:pt x="1008" y="378"/>
                </a:lnTo>
                <a:lnTo>
                  <a:pt x="1019" y="375"/>
                </a:lnTo>
                <a:lnTo>
                  <a:pt x="1031" y="371"/>
                </a:lnTo>
                <a:lnTo>
                  <a:pt x="1042" y="368"/>
                </a:lnTo>
                <a:lnTo>
                  <a:pt x="1052" y="364"/>
                </a:lnTo>
                <a:lnTo>
                  <a:pt x="1074" y="358"/>
                </a:lnTo>
                <a:lnTo>
                  <a:pt x="1096" y="349"/>
                </a:lnTo>
                <a:lnTo>
                  <a:pt x="1106" y="344"/>
                </a:lnTo>
                <a:lnTo>
                  <a:pt x="1116" y="339"/>
                </a:lnTo>
                <a:lnTo>
                  <a:pt x="1126" y="334"/>
                </a:lnTo>
                <a:lnTo>
                  <a:pt x="1135" y="327"/>
                </a:lnTo>
                <a:lnTo>
                  <a:pt x="1130" y="327"/>
                </a:lnTo>
                <a:lnTo>
                  <a:pt x="1124" y="327"/>
                </a:lnTo>
                <a:lnTo>
                  <a:pt x="1118" y="328"/>
                </a:lnTo>
                <a:lnTo>
                  <a:pt x="1113" y="329"/>
                </a:lnTo>
                <a:lnTo>
                  <a:pt x="1102" y="332"/>
                </a:lnTo>
                <a:lnTo>
                  <a:pt x="1091" y="334"/>
                </a:lnTo>
                <a:lnTo>
                  <a:pt x="1079" y="336"/>
                </a:lnTo>
                <a:lnTo>
                  <a:pt x="1065" y="337"/>
                </a:lnTo>
                <a:lnTo>
                  <a:pt x="1060" y="337"/>
                </a:lnTo>
                <a:lnTo>
                  <a:pt x="1055" y="337"/>
                </a:lnTo>
                <a:lnTo>
                  <a:pt x="1050" y="335"/>
                </a:lnTo>
                <a:lnTo>
                  <a:pt x="1044" y="335"/>
                </a:lnTo>
                <a:lnTo>
                  <a:pt x="1034" y="337"/>
                </a:lnTo>
                <a:lnTo>
                  <a:pt x="1024" y="338"/>
                </a:lnTo>
                <a:lnTo>
                  <a:pt x="1018" y="339"/>
                </a:lnTo>
                <a:lnTo>
                  <a:pt x="1012" y="342"/>
                </a:lnTo>
                <a:lnTo>
                  <a:pt x="1008" y="343"/>
                </a:lnTo>
                <a:lnTo>
                  <a:pt x="1002" y="342"/>
                </a:lnTo>
                <a:lnTo>
                  <a:pt x="991" y="338"/>
                </a:lnTo>
                <a:lnTo>
                  <a:pt x="979" y="336"/>
                </a:lnTo>
                <a:lnTo>
                  <a:pt x="968" y="335"/>
                </a:lnTo>
                <a:lnTo>
                  <a:pt x="957" y="334"/>
                </a:lnTo>
                <a:lnTo>
                  <a:pt x="944" y="333"/>
                </a:lnTo>
                <a:lnTo>
                  <a:pt x="932" y="332"/>
                </a:lnTo>
                <a:lnTo>
                  <a:pt x="918" y="332"/>
                </a:lnTo>
                <a:lnTo>
                  <a:pt x="904" y="333"/>
                </a:lnTo>
                <a:lnTo>
                  <a:pt x="891" y="334"/>
                </a:lnTo>
                <a:lnTo>
                  <a:pt x="877" y="335"/>
                </a:lnTo>
                <a:lnTo>
                  <a:pt x="862" y="336"/>
                </a:lnTo>
                <a:lnTo>
                  <a:pt x="849" y="337"/>
                </a:lnTo>
                <a:lnTo>
                  <a:pt x="835" y="338"/>
                </a:lnTo>
                <a:lnTo>
                  <a:pt x="822" y="338"/>
                </a:lnTo>
                <a:lnTo>
                  <a:pt x="809" y="339"/>
                </a:lnTo>
                <a:lnTo>
                  <a:pt x="795" y="341"/>
                </a:lnTo>
                <a:lnTo>
                  <a:pt x="783" y="339"/>
                </a:lnTo>
                <a:lnTo>
                  <a:pt x="770" y="338"/>
                </a:lnTo>
                <a:lnTo>
                  <a:pt x="767" y="338"/>
                </a:lnTo>
                <a:lnTo>
                  <a:pt x="762" y="337"/>
                </a:lnTo>
                <a:lnTo>
                  <a:pt x="759" y="336"/>
                </a:lnTo>
                <a:lnTo>
                  <a:pt x="755" y="334"/>
                </a:lnTo>
                <a:lnTo>
                  <a:pt x="752" y="328"/>
                </a:lnTo>
                <a:lnTo>
                  <a:pt x="746" y="324"/>
                </a:lnTo>
                <a:lnTo>
                  <a:pt x="735" y="321"/>
                </a:lnTo>
                <a:lnTo>
                  <a:pt x="721" y="321"/>
                </a:lnTo>
                <a:lnTo>
                  <a:pt x="711" y="320"/>
                </a:lnTo>
                <a:lnTo>
                  <a:pt x="702" y="318"/>
                </a:lnTo>
                <a:lnTo>
                  <a:pt x="698" y="316"/>
                </a:lnTo>
                <a:lnTo>
                  <a:pt x="694" y="313"/>
                </a:lnTo>
                <a:lnTo>
                  <a:pt x="690" y="310"/>
                </a:lnTo>
                <a:lnTo>
                  <a:pt x="688" y="305"/>
                </a:lnTo>
                <a:lnTo>
                  <a:pt x="686" y="301"/>
                </a:lnTo>
                <a:lnTo>
                  <a:pt x="684" y="299"/>
                </a:lnTo>
                <a:lnTo>
                  <a:pt x="681" y="296"/>
                </a:lnTo>
                <a:lnTo>
                  <a:pt x="677" y="294"/>
                </a:lnTo>
                <a:lnTo>
                  <a:pt x="663" y="292"/>
                </a:lnTo>
                <a:lnTo>
                  <a:pt x="649" y="289"/>
                </a:lnTo>
                <a:lnTo>
                  <a:pt x="637" y="287"/>
                </a:lnTo>
                <a:lnTo>
                  <a:pt x="624" y="286"/>
                </a:lnTo>
                <a:lnTo>
                  <a:pt x="612" y="284"/>
                </a:lnTo>
                <a:lnTo>
                  <a:pt x="599" y="283"/>
                </a:lnTo>
                <a:lnTo>
                  <a:pt x="589" y="282"/>
                </a:lnTo>
                <a:lnTo>
                  <a:pt x="581" y="279"/>
                </a:lnTo>
                <a:lnTo>
                  <a:pt x="578" y="277"/>
                </a:lnTo>
                <a:lnTo>
                  <a:pt x="574" y="275"/>
                </a:lnTo>
                <a:lnTo>
                  <a:pt x="572" y="271"/>
                </a:lnTo>
                <a:lnTo>
                  <a:pt x="569" y="268"/>
                </a:lnTo>
                <a:lnTo>
                  <a:pt x="566" y="263"/>
                </a:lnTo>
                <a:lnTo>
                  <a:pt x="563" y="261"/>
                </a:lnTo>
                <a:lnTo>
                  <a:pt x="560" y="259"/>
                </a:lnTo>
                <a:lnTo>
                  <a:pt x="555" y="256"/>
                </a:lnTo>
                <a:lnTo>
                  <a:pt x="553" y="255"/>
                </a:lnTo>
                <a:lnTo>
                  <a:pt x="552" y="254"/>
                </a:lnTo>
                <a:lnTo>
                  <a:pt x="553" y="252"/>
                </a:lnTo>
                <a:lnTo>
                  <a:pt x="553" y="251"/>
                </a:lnTo>
                <a:lnTo>
                  <a:pt x="556" y="249"/>
                </a:lnTo>
                <a:lnTo>
                  <a:pt x="557" y="245"/>
                </a:lnTo>
                <a:lnTo>
                  <a:pt x="554" y="239"/>
                </a:lnTo>
                <a:lnTo>
                  <a:pt x="549" y="234"/>
                </a:lnTo>
                <a:lnTo>
                  <a:pt x="546" y="230"/>
                </a:lnTo>
                <a:lnTo>
                  <a:pt x="542" y="228"/>
                </a:lnTo>
                <a:lnTo>
                  <a:pt x="538" y="227"/>
                </a:lnTo>
                <a:lnTo>
                  <a:pt x="532" y="226"/>
                </a:lnTo>
                <a:lnTo>
                  <a:pt x="520" y="224"/>
                </a:lnTo>
                <a:lnTo>
                  <a:pt x="508" y="220"/>
                </a:lnTo>
                <a:lnTo>
                  <a:pt x="496" y="217"/>
                </a:lnTo>
                <a:lnTo>
                  <a:pt x="484" y="212"/>
                </a:lnTo>
                <a:lnTo>
                  <a:pt x="471" y="208"/>
                </a:lnTo>
                <a:lnTo>
                  <a:pt x="457" y="202"/>
                </a:lnTo>
                <a:lnTo>
                  <a:pt x="443" y="196"/>
                </a:lnTo>
                <a:lnTo>
                  <a:pt x="430" y="191"/>
                </a:lnTo>
                <a:lnTo>
                  <a:pt x="417" y="185"/>
                </a:lnTo>
                <a:lnTo>
                  <a:pt x="406" y="179"/>
                </a:lnTo>
                <a:lnTo>
                  <a:pt x="393" y="173"/>
                </a:lnTo>
                <a:lnTo>
                  <a:pt x="381" y="169"/>
                </a:lnTo>
                <a:lnTo>
                  <a:pt x="369" y="166"/>
                </a:lnTo>
                <a:lnTo>
                  <a:pt x="358" y="164"/>
                </a:lnTo>
                <a:lnTo>
                  <a:pt x="350" y="168"/>
                </a:lnTo>
                <a:lnTo>
                  <a:pt x="341" y="171"/>
                </a:lnTo>
                <a:lnTo>
                  <a:pt x="338" y="171"/>
                </a:lnTo>
                <a:lnTo>
                  <a:pt x="333" y="170"/>
                </a:lnTo>
                <a:lnTo>
                  <a:pt x="331" y="171"/>
                </a:lnTo>
                <a:lnTo>
                  <a:pt x="330" y="171"/>
                </a:lnTo>
                <a:lnTo>
                  <a:pt x="330" y="173"/>
                </a:lnTo>
                <a:lnTo>
                  <a:pt x="332" y="176"/>
                </a:lnTo>
                <a:lnTo>
                  <a:pt x="339" y="180"/>
                </a:lnTo>
                <a:lnTo>
                  <a:pt x="344" y="187"/>
                </a:lnTo>
                <a:lnTo>
                  <a:pt x="341" y="187"/>
                </a:lnTo>
                <a:lnTo>
                  <a:pt x="338" y="186"/>
                </a:lnTo>
                <a:lnTo>
                  <a:pt x="333" y="184"/>
                </a:lnTo>
                <a:lnTo>
                  <a:pt x="330" y="181"/>
                </a:lnTo>
                <a:lnTo>
                  <a:pt x="326" y="179"/>
                </a:lnTo>
                <a:lnTo>
                  <a:pt x="324" y="179"/>
                </a:lnTo>
                <a:lnTo>
                  <a:pt x="322" y="180"/>
                </a:lnTo>
                <a:lnTo>
                  <a:pt x="319" y="184"/>
                </a:lnTo>
                <a:lnTo>
                  <a:pt x="319" y="185"/>
                </a:lnTo>
                <a:lnTo>
                  <a:pt x="318" y="187"/>
                </a:lnTo>
                <a:lnTo>
                  <a:pt x="315" y="187"/>
                </a:lnTo>
                <a:lnTo>
                  <a:pt x="310" y="187"/>
                </a:lnTo>
                <a:lnTo>
                  <a:pt x="303" y="187"/>
                </a:lnTo>
                <a:lnTo>
                  <a:pt x="297" y="189"/>
                </a:lnTo>
                <a:lnTo>
                  <a:pt x="283" y="192"/>
                </a:lnTo>
                <a:lnTo>
                  <a:pt x="269" y="194"/>
                </a:lnTo>
                <a:lnTo>
                  <a:pt x="262" y="197"/>
                </a:lnTo>
                <a:lnTo>
                  <a:pt x="257" y="201"/>
                </a:lnTo>
                <a:lnTo>
                  <a:pt x="251" y="204"/>
                </a:lnTo>
                <a:lnTo>
                  <a:pt x="247" y="209"/>
                </a:lnTo>
                <a:lnTo>
                  <a:pt x="239" y="219"/>
                </a:lnTo>
                <a:lnTo>
                  <a:pt x="231" y="229"/>
                </a:lnTo>
                <a:lnTo>
                  <a:pt x="226" y="236"/>
                </a:lnTo>
                <a:lnTo>
                  <a:pt x="223" y="243"/>
                </a:lnTo>
                <a:lnTo>
                  <a:pt x="221" y="250"/>
                </a:lnTo>
                <a:lnTo>
                  <a:pt x="220" y="255"/>
                </a:lnTo>
                <a:lnTo>
                  <a:pt x="220" y="262"/>
                </a:lnTo>
                <a:lnTo>
                  <a:pt x="223" y="269"/>
                </a:lnTo>
                <a:lnTo>
                  <a:pt x="225" y="276"/>
                </a:lnTo>
                <a:lnTo>
                  <a:pt x="227" y="283"/>
                </a:lnTo>
                <a:lnTo>
                  <a:pt x="225" y="282"/>
                </a:lnTo>
                <a:lnTo>
                  <a:pt x="221" y="280"/>
                </a:lnTo>
                <a:lnTo>
                  <a:pt x="219" y="280"/>
                </a:lnTo>
                <a:lnTo>
                  <a:pt x="217" y="282"/>
                </a:lnTo>
                <a:lnTo>
                  <a:pt x="220" y="286"/>
                </a:lnTo>
                <a:lnTo>
                  <a:pt x="225" y="288"/>
                </a:lnTo>
                <a:lnTo>
                  <a:pt x="227" y="289"/>
                </a:lnTo>
                <a:lnTo>
                  <a:pt x="228" y="292"/>
                </a:lnTo>
                <a:lnTo>
                  <a:pt x="229" y="294"/>
                </a:lnTo>
                <a:lnTo>
                  <a:pt x="228" y="297"/>
                </a:lnTo>
                <a:lnTo>
                  <a:pt x="227" y="302"/>
                </a:lnTo>
                <a:lnTo>
                  <a:pt x="227" y="308"/>
                </a:lnTo>
                <a:lnTo>
                  <a:pt x="229" y="312"/>
                </a:lnTo>
                <a:lnTo>
                  <a:pt x="232" y="318"/>
                </a:lnTo>
                <a:lnTo>
                  <a:pt x="242" y="326"/>
                </a:lnTo>
                <a:lnTo>
                  <a:pt x="253" y="334"/>
                </a:lnTo>
                <a:lnTo>
                  <a:pt x="264" y="344"/>
                </a:lnTo>
                <a:lnTo>
                  <a:pt x="273" y="355"/>
                </a:lnTo>
                <a:lnTo>
                  <a:pt x="278" y="360"/>
                </a:lnTo>
                <a:lnTo>
                  <a:pt x="284" y="363"/>
                </a:lnTo>
                <a:lnTo>
                  <a:pt x="290" y="367"/>
                </a:lnTo>
                <a:lnTo>
                  <a:pt x="297" y="369"/>
                </a:lnTo>
                <a:lnTo>
                  <a:pt x="310" y="372"/>
                </a:lnTo>
                <a:lnTo>
                  <a:pt x="324" y="378"/>
                </a:lnTo>
                <a:lnTo>
                  <a:pt x="328" y="380"/>
                </a:lnTo>
                <a:lnTo>
                  <a:pt x="333" y="384"/>
                </a:lnTo>
                <a:lnTo>
                  <a:pt x="334" y="386"/>
                </a:lnTo>
                <a:lnTo>
                  <a:pt x="334" y="388"/>
                </a:lnTo>
                <a:lnTo>
                  <a:pt x="332" y="390"/>
                </a:lnTo>
                <a:lnTo>
                  <a:pt x="330" y="390"/>
                </a:lnTo>
                <a:lnTo>
                  <a:pt x="324" y="388"/>
                </a:lnTo>
                <a:lnTo>
                  <a:pt x="318" y="386"/>
                </a:lnTo>
                <a:lnTo>
                  <a:pt x="313" y="385"/>
                </a:lnTo>
                <a:lnTo>
                  <a:pt x="307" y="385"/>
                </a:lnTo>
                <a:lnTo>
                  <a:pt x="308" y="387"/>
                </a:lnTo>
                <a:lnTo>
                  <a:pt x="310" y="390"/>
                </a:lnTo>
                <a:lnTo>
                  <a:pt x="313" y="391"/>
                </a:lnTo>
                <a:lnTo>
                  <a:pt x="316" y="392"/>
                </a:lnTo>
                <a:lnTo>
                  <a:pt x="324" y="393"/>
                </a:lnTo>
                <a:lnTo>
                  <a:pt x="328" y="394"/>
                </a:lnTo>
                <a:lnTo>
                  <a:pt x="332" y="396"/>
                </a:lnTo>
                <a:lnTo>
                  <a:pt x="334" y="399"/>
                </a:lnTo>
                <a:lnTo>
                  <a:pt x="336" y="400"/>
                </a:lnTo>
                <a:lnTo>
                  <a:pt x="338" y="401"/>
                </a:lnTo>
                <a:lnTo>
                  <a:pt x="339" y="401"/>
                </a:lnTo>
                <a:lnTo>
                  <a:pt x="341" y="400"/>
                </a:lnTo>
                <a:lnTo>
                  <a:pt x="346" y="400"/>
                </a:lnTo>
                <a:lnTo>
                  <a:pt x="351" y="401"/>
                </a:lnTo>
                <a:lnTo>
                  <a:pt x="356" y="402"/>
                </a:lnTo>
                <a:lnTo>
                  <a:pt x="360" y="403"/>
                </a:lnTo>
                <a:lnTo>
                  <a:pt x="366" y="404"/>
                </a:lnTo>
                <a:lnTo>
                  <a:pt x="364" y="404"/>
                </a:lnTo>
                <a:lnTo>
                  <a:pt x="359" y="403"/>
                </a:lnTo>
                <a:lnTo>
                  <a:pt x="360" y="403"/>
                </a:lnTo>
                <a:lnTo>
                  <a:pt x="371" y="405"/>
                </a:lnTo>
                <a:lnTo>
                  <a:pt x="381" y="409"/>
                </a:lnTo>
                <a:lnTo>
                  <a:pt x="391" y="411"/>
                </a:lnTo>
                <a:lnTo>
                  <a:pt x="401" y="412"/>
                </a:lnTo>
                <a:lnTo>
                  <a:pt x="407" y="413"/>
                </a:lnTo>
                <a:lnTo>
                  <a:pt x="412" y="416"/>
                </a:lnTo>
                <a:lnTo>
                  <a:pt x="414" y="417"/>
                </a:lnTo>
                <a:lnTo>
                  <a:pt x="415" y="417"/>
                </a:lnTo>
                <a:lnTo>
                  <a:pt x="416" y="419"/>
                </a:lnTo>
                <a:lnTo>
                  <a:pt x="417" y="422"/>
                </a:lnTo>
                <a:lnTo>
                  <a:pt x="416" y="421"/>
                </a:lnTo>
                <a:lnTo>
                  <a:pt x="413" y="421"/>
                </a:lnTo>
                <a:lnTo>
                  <a:pt x="409" y="421"/>
                </a:lnTo>
                <a:lnTo>
                  <a:pt x="406" y="421"/>
                </a:lnTo>
                <a:lnTo>
                  <a:pt x="392" y="418"/>
                </a:lnTo>
                <a:lnTo>
                  <a:pt x="381" y="413"/>
                </a:lnTo>
                <a:lnTo>
                  <a:pt x="368" y="412"/>
                </a:lnTo>
                <a:lnTo>
                  <a:pt x="357" y="411"/>
                </a:lnTo>
                <a:lnTo>
                  <a:pt x="351" y="412"/>
                </a:lnTo>
                <a:lnTo>
                  <a:pt x="346" y="412"/>
                </a:lnTo>
                <a:lnTo>
                  <a:pt x="343" y="412"/>
                </a:lnTo>
                <a:lnTo>
                  <a:pt x="342" y="411"/>
                </a:lnTo>
                <a:lnTo>
                  <a:pt x="340" y="410"/>
                </a:lnTo>
                <a:lnTo>
                  <a:pt x="338" y="408"/>
                </a:lnTo>
                <a:lnTo>
                  <a:pt x="338" y="404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8" y="402"/>
                </a:lnTo>
                <a:lnTo>
                  <a:pt x="336" y="402"/>
                </a:lnTo>
                <a:lnTo>
                  <a:pt x="336" y="402"/>
                </a:lnTo>
                <a:lnTo>
                  <a:pt x="338" y="402"/>
                </a:lnTo>
                <a:lnTo>
                  <a:pt x="334" y="402"/>
                </a:lnTo>
                <a:lnTo>
                  <a:pt x="332" y="402"/>
                </a:lnTo>
                <a:lnTo>
                  <a:pt x="326" y="400"/>
                </a:lnTo>
                <a:lnTo>
                  <a:pt x="321" y="396"/>
                </a:lnTo>
                <a:lnTo>
                  <a:pt x="315" y="395"/>
                </a:lnTo>
                <a:lnTo>
                  <a:pt x="309" y="394"/>
                </a:lnTo>
                <a:lnTo>
                  <a:pt x="302" y="394"/>
                </a:lnTo>
                <a:lnTo>
                  <a:pt x="295" y="393"/>
                </a:lnTo>
                <a:lnTo>
                  <a:pt x="292" y="391"/>
                </a:lnTo>
                <a:lnTo>
                  <a:pt x="289" y="387"/>
                </a:lnTo>
                <a:lnTo>
                  <a:pt x="286" y="385"/>
                </a:lnTo>
                <a:lnTo>
                  <a:pt x="286" y="384"/>
                </a:lnTo>
                <a:lnTo>
                  <a:pt x="286" y="383"/>
                </a:lnTo>
                <a:lnTo>
                  <a:pt x="288" y="380"/>
                </a:lnTo>
                <a:lnTo>
                  <a:pt x="291" y="380"/>
                </a:lnTo>
                <a:lnTo>
                  <a:pt x="294" y="382"/>
                </a:lnTo>
                <a:lnTo>
                  <a:pt x="295" y="383"/>
                </a:lnTo>
                <a:lnTo>
                  <a:pt x="297" y="384"/>
                </a:lnTo>
                <a:lnTo>
                  <a:pt x="298" y="383"/>
                </a:lnTo>
                <a:lnTo>
                  <a:pt x="298" y="380"/>
                </a:lnTo>
                <a:lnTo>
                  <a:pt x="294" y="378"/>
                </a:lnTo>
                <a:lnTo>
                  <a:pt x="290" y="376"/>
                </a:lnTo>
                <a:lnTo>
                  <a:pt x="278" y="374"/>
                </a:lnTo>
                <a:lnTo>
                  <a:pt x="268" y="371"/>
                </a:lnTo>
                <a:lnTo>
                  <a:pt x="255" y="364"/>
                </a:lnTo>
                <a:lnTo>
                  <a:pt x="242" y="358"/>
                </a:lnTo>
                <a:lnTo>
                  <a:pt x="229" y="351"/>
                </a:lnTo>
                <a:lnTo>
                  <a:pt x="217" y="343"/>
                </a:lnTo>
                <a:lnTo>
                  <a:pt x="206" y="336"/>
                </a:lnTo>
                <a:lnTo>
                  <a:pt x="194" y="329"/>
                </a:lnTo>
                <a:lnTo>
                  <a:pt x="183" y="322"/>
                </a:lnTo>
                <a:lnTo>
                  <a:pt x="171" y="314"/>
                </a:lnTo>
                <a:lnTo>
                  <a:pt x="162" y="304"/>
                </a:lnTo>
                <a:lnTo>
                  <a:pt x="154" y="295"/>
                </a:lnTo>
                <a:lnTo>
                  <a:pt x="149" y="291"/>
                </a:lnTo>
                <a:lnTo>
                  <a:pt x="144" y="287"/>
                </a:lnTo>
                <a:lnTo>
                  <a:pt x="138" y="284"/>
                </a:lnTo>
                <a:lnTo>
                  <a:pt x="132" y="283"/>
                </a:lnTo>
                <a:lnTo>
                  <a:pt x="126" y="284"/>
                </a:lnTo>
                <a:lnTo>
                  <a:pt x="119" y="285"/>
                </a:lnTo>
                <a:lnTo>
                  <a:pt x="113" y="287"/>
                </a:lnTo>
                <a:lnTo>
                  <a:pt x="108" y="291"/>
                </a:lnTo>
                <a:lnTo>
                  <a:pt x="96" y="299"/>
                </a:lnTo>
                <a:lnTo>
                  <a:pt x="88" y="308"/>
                </a:lnTo>
                <a:lnTo>
                  <a:pt x="85" y="311"/>
                </a:lnTo>
                <a:lnTo>
                  <a:pt x="83" y="314"/>
                </a:lnTo>
                <a:lnTo>
                  <a:pt x="79" y="317"/>
                </a:lnTo>
                <a:lnTo>
                  <a:pt x="75" y="318"/>
                </a:lnTo>
                <a:lnTo>
                  <a:pt x="72" y="318"/>
                </a:lnTo>
                <a:lnTo>
                  <a:pt x="70" y="318"/>
                </a:lnTo>
                <a:lnTo>
                  <a:pt x="68" y="319"/>
                </a:lnTo>
                <a:lnTo>
                  <a:pt x="66" y="321"/>
                </a:lnTo>
                <a:lnTo>
                  <a:pt x="61" y="325"/>
                </a:lnTo>
                <a:lnTo>
                  <a:pt x="54" y="327"/>
                </a:lnTo>
                <a:lnTo>
                  <a:pt x="50" y="328"/>
                </a:lnTo>
                <a:lnTo>
                  <a:pt x="45" y="329"/>
                </a:lnTo>
                <a:lnTo>
                  <a:pt x="43" y="332"/>
                </a:lnTo>
                <a:lnTo>
                  <a:pt x="38" y="336"/>
                </a:lnTo>
                <a:lnTo>
                  <a:pt x="28" y="343"/>
                </a:lnTo>
                <a:lnTo>
                  <a:pt x="18" y="349"/>
                </a:lnTo>
                <a:lnTo>
                  <a:pt x="12" y="352"/>
                </a:lnTo>
                <a:lnTo>
                  <a:pt x="8" y="355"/>
                </a:lnTo>
                <a:lnTo>
                  <a:pt x="4" y="359"/>
                </a:lnTo>
                <a:lnTo>
                  <a:pt x="2" y="363"/>
                </a:lnTo>
                <a:lnTo>
                  <a:pt x="0" y="368"/>
                </a:lnTo>
                <a:lnTo>
                  <a:pt x="0" y="372"/>
                </a:lnTo>
                <a:lnTo>
                  <a:pt x="0" y="378"/>
                </a:lnTo>
                <a:lnTo>
                  <a:pt x="1" y="384"/>
                </a:lnTo>
                <a:lnTo>
                  <a:pt x="4" y="388"/>
                </a:lnTo>
                <a:lnTo>
                  <a:pt x="5" y="394"/>
                </a:lnTo>
                <a:lnTo>
                  <a:pt x="2" y="399"/>
                </a:lnTo>
                <a:lnTo>
                  <a:pt x="1" y="403"/>
                </a:lnTo>
                <a:lnTo>
                  <a:pt x="4" y="408"/>
                </a:lnTo>
                <a:lnTo>
                  <a:pt x="9" y="412"/>
                </a:lnTo>
                <a:lnTo>
                  <a:pt x="14" y="417"/>
                </a:lnTo>
                <a:lnTo>
                  <a:pt x="21" y="421"/>
                </a:lnTo>
                <a:lnTo>
                  <a:pt x="33" y="430"/>
                </a:lnTo>
                <a:lnTo>
                  <a:pt x="46" y="437"/>
                </a:lnTo>
                <a:lnTo>
                  <a:pt x="60" y="444"/>
                </a:lnTo>
                <a:lnTo>
                  <a:pt x="74" y="451"/>
                </a:lnTo>
                <a:lnTo>
                  <a:pt x="79" y="455"/>
                </a:lnTo>
                <a:lnTo>
                  <a:pt x="86" y="459"/>
                </a:lnTo>
                <a:lnTo>
                  <a:pt x="89" y="460"/>
                </a:lnTo>
                <a:lnTo>
                  <a:pt x="94" y="461"/>
                </a:lnTo>
                <a:lnTo>
                  <a:pt x="97" y="462"/>
                </a:lnTo>
                <a:lnTo>
                  <a:pt x="101" y="461"/>
                </a:lnTo>
                <a:lnTo>
                  <a:pt x="109" y="460"/>
                </a:lnTo>
                <a:lnTo>
                  <a:pt x="118" y="461"/>
                </a:lnTo>
                <a:lnTo>
                  <a:pt x="126" y="463"/>
                </a:lnTo>
                <a:lnTo>
                  <a:pt x="135" y="466"/>
                </a:lnTo>
                <a:lnTo>
                  <a:pt x="152" y="470"/>
                </a:lnTo>
                <a:lnTo>
                  <a:pt x="169" y="475"/>
                </a:lnTo>
                <a:lnTo>
                  <a:pt x="187" y="478"/>
                </a:lnTo>
                <a:lnTo>
                  <a:pt x="204" y="482"/>
                </a:lnTo>
                <a:lnTo>
                  <a:pt x="214" y="484"/>
                </a:lnTo>
                <a:lnTo>
                  <a:pt x="223" y="486"/>
                </a:lnTo>
                <a:lnTo>
                  <a:pt x="232" y="488"/>
                </a:lnTo>
                <a:lnTo>
                  <a:pt x="241" y="491"/>
                </a:lnTo>
                <a:lnTo>
                  <a:pt x="244" y="491"/>
                </a:lnTo>
                <a:lnTo>
                  <a:pt x="248" y="492"/>
                </a:lnTo>
                <a:lnTo>
                  <a:pt x="250" y="493"/>
                </a:lnTo>
                <a:lnTo>
                  <a:pt x="251" y="495"/>
                </a:lnTo>
                <a:lnTo>
                  <a:pt x="250" y="496"/>
                </a:lnTo>
                <a:lnTo>
                  <a:pt x="247" y="498"/>
                </a:lnTo>
                <a:lnTo>
                  <a:pt x="244" y="498"/>
                </a:lnTo>
                <a:lnTo>
                  <a:pt x="242" y="498"/>
                </a:lnTo>
                <a:lnTo>
                  <a:pt x="239" y="499"/>
                </a:lnTo>
                <a:lnTo>
                  <a:pt x="235" y="499"/>
                </a:lnTo>
                <a:lnTo>
                  <a:pt x="232" y="499"/>
                </a:lnTo>
                <a:lnTo>
                  <a:pt x="229" y="501"/>
                </a:lnTo>
                <a:lnTo>
                  <a:pt x="226" y="505"/>
                </a:lnTo>
                <a:lnTo>
                  <a:pt x="223" y="512"/>
                </a:lnTo>
                <a:lnTo>
                  <a:pt x="220" y="518"/>
                </a:lnTo>
                <a:lnTo>
                  <a:pt x="220" y="525"/>
                </a:lnTo>
                <a:lnTo>
                  <a:pt x="221" y="530"/>
                </a:lnTo>
                <a:lnTo>
                  <a:pt x="226" y="536"/>
                </a:lnTo>
                <a:lnTo>
                  <a:pt x="221" y="536"/>
                </a:lnTo>
                <a:lnTo>
                  <a:pt x="217" y="537"/>
                </a:lnTo>
                <a:lnTo>
                  <a:pt x="217" y="540"/>
                </a:lnTo>
                <a:lnTo>
                  <a:pt x="217" y="541"/>
                </a:lnTo>
                <a:lnTo>
                  <a:pt x="219" y="542"/>
                </a:lnTo>
                <a:lnTo>
                  <a:pt x="220" y="542"/>
                </a:lnTo>
                <a:lnTo>
                  <a:pt x="226" y="544"/>
                </a:lnTo>
                <a:lnTo>
                  <a:pt x="231" y="546"/>
                </a:lnTo>
                <a:lnTo>
                  <a:pt x="235" y="550"/>
                </a:lnTo>
                <a:lnTo>
                  <a:pt x="239" y="554"/>
                </a:lnTo>
                <a:lnTo>
                  <a:pt x="223" y="551"/>
                </a:lnTo>
                <a:lnTo>
                  <a:pt x="208" y="548"/>
                </a:lnTo>
                <a:lnTo>
                  <a:pt x="200" y="546"/>
                </a:lnTo>
                <a:lnTo>
                  <a:pt x="193" y="546"/>
                </a:lnTo>
                <a:lnTo>
                  <a:pt x="191" y="546"/>
                </a:lnTo>
                <a:lnTo>
                  <a:pt x="190" y="546"/>
                </a:lnTo>
                <a:lnTo>
                  <a:pt x="187" y="548"/>
                </a:lnTo>
                <a:lnTo>
                  <a:pt x="187" y="546"/>
                </a:lnTo>
                <a:lnTo>
                  <a:pt x="186" y="545"/>
                </a:lnTo>
                <a:lnTo>
                  <a:pt x="185" y="546"/>
                </a:lnTo>
                <a:lnTo>
                  <a:pt x="186" y="548"/>
                </a:lnTo>
                <a:lnTo>
                  <a:pt x="188" y="550"/>
                </a:lnTo>
                <a:lnTo>
                  <a:pt x="190" y="552"/>
                </a:lnTo>
                <a:lnTo>
                  <a:pt x="191" y="553"/>
                </a:lnTo>
                <a:lnTo>
                  <a:pt x="187" y="554"/>
                </a:lnTo>
                <a:lnTo>
                  <a:pt x="183" y="554"/>
                </a:lnTo>
                <a:lnTo>
                  <a:pt x="177" y="553"/>
                </a:lnTo>
                <a:lnTo>
                  <a:pt x="174" y="552"/>
                </a:lnTo>
                <a:lnTo>
                  <a:pt x="169" y="552"/>
                </a:lnTo>
                <a:lnTo>
                  <a:pt x="165" y="552"/>
                </a:lnTo>
                <a:lnTo>
                  <a:pt x="160" y="553"/>
                </a:lnTo>
                <a:lnTo>
                  <a:pt x="155" y="556"/>
                </a:lnTo>
                <a:lnTo>
                  <a:pt x="152" y="558"/>
                </a:lnTo>
                <a:lnTo>
                  <a:pt x="149" y="561"/>
                </a:lnTo>
                <a:lnTo>
                  <a:pt x="146" y="565"/>
                </a:lnTo>
                <a:lnTo>
                  <a:pt x="143" y="569"/>
                </a:lnTo>
                <a:lnTo>
                  <a:pt x="140" y="577"/>
                </a:lnTo>
                <a:lnTo>
                  <a:pt x="137" y="586"/>
                </a:lnTo>
                <a:lnTo>
                  <a:pt x="135" y="595"/>
                </a:lnTo>
                <a:lnTo>
                  <a:pt x="135" y="604"/>
                </a:lnTo>
                <a:lnTo>
                  <a:pt x="137" y="606"/>
                </a:lnTo>
                <a:lnTo>
                  <a:pt x="137" y="607"/>
                </a:lnTo>
                <a:lnTo>
                  <a:pt x="137" y="608"/>
                </a:lnTo>
                <a:lnTo>
                  <a:pt x="136" y="610"/>
                </a:lnTo>
                <a:lnTo>
                  <a:pt x="135" y="612"/>
                </a:lnTo>
                <a:lnTo>
                  <a:pt x="133" y="616"/>
                </a:lnTo>
                <a:lnTo>
                  <a:pt x="132" y="619"/>
                </a:lnTo>
                <a:lnTo>
                  <a:pt x="130" y="621"/>
                </a:lnTo>
                <a:lnTo>
                  <a:pt x="130" y="625"/>
                </a:lnTo>
                <a:lnTo>
                  <a:pt x="134" y="627"/>
                </a:lnTo>
                <a:lnTo>
                  <a:pt x="132" y="628"/>
                </a:lnTo>
                <a:lnTo>
                  <a:pt x="129" y="629"/>
                </a:lnTo>
                <a:lnTo>
                  <a:pt x="128" y="629"/>
                </a:lnTo>
                <a:lnTo>
                  <a:pt x="128" y="631"/>
                </a:lnTo>
                <a:lnTo>
                  <a:pt x="128" y="632"/>
                </a:lnTo>
                <a:lnTo>
                  <a:pt x="128" y="633"/>
                </a:lnTo>
                <a:lnTo>
                  <a:pt x="130" y="634"/>
                </a:lnTo>
                <a:lnTo>
                  <a:pt x="133" y="635"/>
                </a:lnTo>
                <a:lnTo>
                  <a:pt x="138" y="637"/>
                </a:lnTo>
                <a:lnTo>
                  <a:pt x="143" y="640"/>
                </a:lnTo>
                <a:lnTo>
                  <a:pt x="153" y="644"/>
                </a:lnTo>
                <a:lnTo>
                  <a:pt x="162" y="648"/>
                </a:lnTo>
                <a:lnTo>
                  <a:pt x="173" y="651"/>
                </a:lnTo>
                <a:lnTo>
                  <a:pt x="183" y="656"/>
                </a:lnTo>
                <a:lnTo>
                  <a:pt x="181" y="658"/>
                </a:lnTo>
                <a:lnTo>
                  <a:pt x="178" y="660"/>
                </a:lnTo>
                <a:lnTo>
                  <a:pt x="177" y="662"/>
                </a:lnTo>
                <a:lnTo>
                  <a:pt x="176" y="666"/>
                </a:lnTo>
                <a:lnTo>
                  <a:pt x="183" y="670"/>
                </a:lnTo>
                <a:lnTo>
                  <a:pt x="190" y="674"/>
                </a:lnTo>
                <a:lnTo>
                  <a:pt x="196" y="681"/>
                </a:lnTo>
                <a:lnTo>
                  <a:pt x="204" y="687"/>
                </a:lnTo>
                <a:lnTo>
                  <a:pt x="212" y="693"/>
                </a:lnTo>
                <a:lnTo>
                  <a:pt x="223" y="698"/>
                </a:lnTo>
                <a:lnTo>
                  <a:pt x="211" y="696"/>
                </a:lnTo>
                <a:lnTo>
                  <a:pt x="201" y="696"/>
                </a:lnTo>
                <a:lnTo>
                  <a:pt x="210" y="701"/>
                </a:lnTo>
                <a:lnTo>
                  <a:pt x="220" y="706"/>
                </a:lnTo>
                <a:lnTo>
                  <a:pt x="229" y="709"/>
                </a:lnTo>
                <a:lnTo>
                  <a:pt x="237" y="714"/>
                </a:lnTo>
                <a:lnTo>
                  <a:pt x="249" y="717"/>
                </a:lnTo>
                <a:lnTo>
                  <a:pt x="259" y="720"/>
                </a:lnTo>
                <a:lnTo>
                  <a:pt x="269" y="724"/>
                </a:lnTo>
                <a:lnTo>
                  <a:pt x="281" y="726"/>
                </a:lnTo>
                <a:lnTo>
                  <a:pt x="291" y="728"/>
                </a:lnTo>
                <a:lnTo>
                  <a:pt x="301" y="731"/>
                </a:lnTo>
                <a:lnTo>
                  <a:pt x="313" y="733"/>
                </a:lnTo>
                <a:lnTo>
                  <a:pt x="323" y="734"/>
                </a:lnTo>
                <a:lnTo>
                  <a:pt x="334" y="735"/>
                </a:lnTo>
                <a:lnTo>
                  <a:pt x="344" y="737"/>
                </a:lnTo>
                <a:lnTo>
                  <a:pt x="349" y="739"/>
                </a:lnTo>
                <a:lnTo>
                  <a:pt x="351" y="740"/>
                </a:lnTo>
                <a:lnTo>
                  <a:pt x="350" y="742"/>
                </a:lnTo>
                <a:lnTo>
                  <a:pt x="349" y="745"/>
                </a:lnTo>
                <a:lnTo>
                  <a:pt x="375" y="749"/>
                </a:lnTo>
                <a:lnTo>
                  <a:pt x="400" y="752"/>
                </a:lnTo>
                <a:lnTo>
                  <a:pt x="425" y="754"/>
                </a:lnTo>
                <a:lnTo>
                  <a:pt x="451" y="757"/>
                </a:lnTo>
                <a:lnTo>
                  <a:pt x="463" y="757"/>
                </a:lnTo>
                <a:lnTo>
                  <a:pt x="474" y="758"/>
                </a:lnTo>
                <a:lnTo>
                  <a:pt x="486" y="758"/>
                </a:lnTo>
                <a:lnTo>
                  <a:pt x="497" y="760"/>
                </a:lnTo>
                <a:lnTo>
                  <a:pt x="508" y="762"/>
                </a:lnTo>
                <a:lnTo>
                  <a:pt x="521" y="764"/>
                </a:lnTo>
                <a:lnTo>
                  <a:pt x="533" y="765"/>
                </a:lnTo>
                <a:lnTo>
                  <a:pt x="545" y="766"/>
                </a:lnTo>
                <a:lnTo>
                  <a:pt x="539" y="768"/>
                </a:lnTo>
                <a:lnTo>
                  <a:pt x="532" y="768"/>
                </a:lnTo>
                <a:lnTo>
                  <a:pt x="529" y="768"/>
                </a:lnTo>
                <a:lnTo>
                  <a:pt x="525" y="769"/>
                </a:lnTo>
                <a:lnTo>
                  <a:pt x="524" y="772"/>
                </a:lnTo>
                <a:lnTo>
                  <a:pt x="525" y="773"/>
                </a:lnTo>
                <a:lnTo>
                  <a:pt x="528" y="774"/>
                </a:lnTo>
                <a:lnTo>
                  <a:pt x="530" y="773"/>
                </a:lnTo>
                <a:lnTo>
                  <a:pt x="536" y="772"/>
                </a:lnTo>
                <a:lnTo>
                  <a:pt x="539" y="772"/>
                </a:lnTo>
                <a:lnTo>
                  <a:pt x="544" y="772"/>
                </a:lnTo>
                <a:lnTo>
                  <a:pt x="548" y="772"/>
                </a:lnTo>
                <a:lnTo>
                  <a:pt x="553" y="772"/>
                </a:lnTo>
                <a:lnTo>
                  <a:pt x="557" y="768"/>
                </a:lnTo>
                <a:lnTo>
                  <a:pt x="560" y="766"/>
                </a:lnTo>
                <a:lnTo>
                  <a:pt x="563" y="762"/>
                </a:lnTo>
                <a:lnTo>
                  <a:pt x="566" y="762"/>
                </a:lnTo>
                <a:lnTo>
                  <a:pt x="571" y="761"/>
                </a:lnTo>
                <a:lnTo>
                  <a:pt x="575" y="762"/>
                </a:lnTo>
                <a:lnTo>
                  <a:pt x="579" y="765"/>
                </a:lnTo>
                <a:lnTo>
                  <a:pt x="580" y="766"/>
                </a:lnTo>
                <a:lnTo>
                  <a:pt x="581" y="766"/>
                </a:lnTo>
                <a:lnTo>
                  <a:pt x="580" y="767"/>
                </a:lnTo>
                <a:lnTo>
                  <a:pt x="580" y="768"/>
                </a:lnTo>
                <a:lnTo>
                  <a:pt x="579" y="768"/>
                </a:lnTo>
                <a:lnTo>
                  <a:pt x="578" y="769"/>
                </a:lnTo>
                <a:close/>
                <a:moveTo>
                  <a:pt x="580" y="768"/>
                </a:moveTo>
                <a:lnTo>
                  <a:pt x="580" y="767"/>
                </a:lnTo>
                <a:lnTo>
                  <a:pt x="580" y="768"/>
                </a:lnTo>
                <a:close/>
                <a:moveTo>
                  <a:pt x="728" y="460"/>
                </a:moveTo>
                <a:lnTo>
                  <a:pt x="719" y="460"/>
                </a:lnTo>
                <a:lnTo>
                  <a:pt x="711" y="460"/>
                </a:lnTo>
                <a:lnTo>
                  <a:pt x="714" y="462"/>
                </a:lnTo>
                <a:lnTo>
                  <a:pt x="719" y="462"/>
                </a:lnTo>
                <a:lnTo>
                  <a:pt x="723" y="461"/>
                </a:lnTo>
                <a:lnTo>
                  <a:pt x="728" y="460"/>
                </a:lnTo>
                <a:close/>
                <a:moveTo>
                  <a:pt x="611" y="715"/>
                </a:moveTo>
                <a:lnTo>
                  <a:pt x="608" y="715"/>
                </a:lnTo>
                <a:lnTo>
                  <a:pt x="607" y="716"/>
                </a:lnTo>
                <a:lnTo>
                  <a:pt x="608" y="717"/>
                </a:lnTo>
                <a:lnTo>
                  <a:pt x="612" y="717"/>
                </a:lnTo>
                <a:lnTo>
                  <a:pt x="621" y="716"/>
                </a:lnTo>
                <a:lnTo>
                  <a:pt x="631" y="716"/>
                </a:lnTo>
                <a:lnTo>
                  <a:pt x="640" y="716"/>
                </a:lnTo>
                <a:lnTo>
                  <a:pt x="649" y="715"/>
                </a:lnTo>
                <a:lnTo>
                  <a:pt x="651" y="715"/>
                </a:lnTo>
                <a:lnTo>
                  <a:pt x="652" y="715"/>
                </a:lnTo>
                <a:lnTo>
                  <a:pt x="653" y="714"/>
                </a:lnTo>
                <a:lnTo>
                  <a:pt x="653" y="712"/>
                </a:lnTo>
                <a:lnTo>
                  <a:pt x="653" y="711"/>
                </a:lnTo>
                <a:lnTo>
                  <a:pt x="654" y="711"/>
                </a:lnTo>
                <a:lnTo>
                  <a:pt x="655" y="710"/>
                </a:lnTo>
                <a:lnTo>
                  <a:pt x="657" y="710"/>
                </a:lnTo>
                <a:lnTo>
                  <a:pt x="660" y="710"/>
                </a:lnTo>
                <a:lnTo>
                  <a:pt x="663" y="709"/>
                </a:lnTo>
                <a:lnTo>
                  <a:pt x="665" y="708"/>
                </a:lnTo>
                <a:lnTo>
                  <a:pt x="667" y="706"/>
                </a:lnTo>
                <a:lnTo>
                  <a:pt x="667" y="703"/>
                </a:lnTo>
                <a:lnTo>
                  <a:pt x="664" y="703"/>
                </a:lnTo>
                <a:lnTo>
                  <a:pt x="661" y="703"/>
                </a:lnTo>
                <a:lnTo>
                  <a:pt x="659" y="703"/>
                </a:lnTo>
                <a:lnTo>
                  <a:pt x="651" y="704"/>
                </a:lnTo>
                <a:lnTo>
                  <a:pt x="643" y="706"/>
                </a:lnTo>
                <a:lnTo>
                  <a:pt x="639" y="707"/>
                </a:lnTo>
                <a:lnTo>
                  <a:pt x="636" y="708"/>
                </a:lnTo>
                <a:lnTo>
                  <a:pt x="632" y="709"/>
                </a:lnTo>
                <a:lnTo>
                  <a:pt x="631" y="709"/>
                </a:lnTo>
                <a:lnTo>
                  <a:pt x="630" y="710"/>
                </a:lnTo>
                <a:lnTo>
                  <a:pt x="630" y="712"/>
                </a:lnTo>
                <a:lnTo>
                  <a:pt x="627" y="712"/>
                </a:lnTo>
                <a:lnTo>
                  <a:pt x="623" y="712"/>
                </a:lnTo>
                <a:lnTo>
                  <a:pt x="624" y="710"/>
                </a:lnTo>
                <a:lnTo>
                  <a:pt x="624" y="709"/>
                </a:lnTo>
                <a:lnTo>
                  <a:pt x="623" y="707"/>
                </a:lnTo>
                <a:lnTo>
                  <a:pt x="622" y="707"/>
                </a:lnTo>
                <a:lnTo>
                  <a:pt x="620" y="707"/>
                </a:lnTo>
                <a:lnTo>
                  <a:pt x="619" y="709"/>
                </a:lnTo>
                <a:lnTo>
                  <a:pt x="620" y="710"/>
                </a:lnTo>
                <a:lnTo>
                  <a:pt x="621" y="711"/>
                </a:lnTo>
                <a:lnTo>
                  <a:pt x="616" y="714"/>
                </a:lnTo>
                <a:lnTo>
                  <a:pt x="611" y="715"/>
                </a:lnTo>
                <a:lnTo>
                  <a:pt x="612" y="714"/>
                </a:lnTo>
                <a:lnTo>
                  <a:pt x="611" y="715"/>
                </a:lnTo>
                <a:close/>
                <a:moveTo>
                  <a:pt x="773" y="732"/>
                </a:moveTo>
                <a:lnTo>
                  <a:pt x="773" y="734"/>
                </a:lnTo>
                <a:lnTo>
                  <a:pt x="773" y="734"/>
                </a:lnTo>
                <a:lnTo>
                  <a:pt x="775" y="735"/>
                </a:lnTo>
                <a:lnTo>
                  <a:pt x="776" y="735"/>
                </a:lnTo>
                <a:lnTo>
                  <a:pt x="779" y="735"/>
                </a:lnTo>
                <a:lnTo>
                  <a:pt x="781" y="735"/>
                </a:lnTo>
                <a:lnTo>
                  <a:pt x="789" y="736"/>
                </a:lnTo>
                <a:lnTo>
                  <a:pt x="796" y="735"/>
                </a:lnTo>
                <a:lnTo>
                  <a:pt x="791" y="734"/>
                </a:lnTo>
                <a:lnTo>
                  <a:pt x="784" y="733"/>
                </a:lnTo>
                <a:lnTo>
                  <a:pt x="780" y="732"/>
                </a:lnTo>
                <a:lnTo>
                  <a:pt x="778" y="731"/>
                </a:lnTo>
                <a:lnTo>
                  <a:pt x="776" y="731"/>
                </a:lnTo>
                <a:lnTo>
                  <a:pt x="773" y="732"/>
                </a:lnTo>
                <a:lnTo>
                  <a:pt x="773" y="732"/>
                </a:lnTo>
                <a:lnTo>
                  <a:pt x="773" y="732"/>
                </a:lnTo>
                <a:close/>
                <a:moveTo>
                  <a:pt x="874" y="696"/>
                </a:moveTo>
                <a:lnTo>
                  <a:pt x="865" y="698"/>
                </a:lnTo>
                <a:lnTo>
                  <a:pt x="854" y="699"/>
                </a:lnTo>
                <a:lnTo>
                  <a:pt x="844" y="700"/>
                </a:lnTo>
                <a:lnTo>
                  <a:pt x="834" y="702"/>
                </a:lnTo>
                <a:lnTo>
                  <a:pt x="835" y="704"/>
                </a:lnTo>
                <a:lnTo>
                  <a:pt x="838" y="706"/>
                </a:lnTo>
                <a:lnTo>
                  <a:pt x="842" y="706"/>
                </a:lnTo>
                <a:lnTo>
                  <a:pt x="846" y="706"/>
                </a:lnTo>
                <a:lnTo>
                  <a:pt x="855" y="704"/>
                </a:lnTo>
                <a:lnTo>
                  <a:pt x="861" y="702"/>
                </a:lnTo>
                <a:lnTo>
                  <a:pt x="869" y="702"/>
                </a:lnTo>
                <a:lnTo>
                  <a:pt x="877" y="701"/>
                </a:lnTo>
                <a:lnTo>
                  <a:pt x="878" y="699"/>
                </a:lnTo>
                <a:lnTo>
                  <a:pt x="877" y="698"/>
                </a:lnTo>
                <a:lnTo>
                  <a:pt x="876" y="696"/>
                </a:lnTo>
                <a:lnTo>
                  <a:pt x="874" y="696"/>
                </a:lnTo>
                <a:lnTo>
                  <a:pt x="873" y="696"/>
                </a:lnTo>
                <a:lnTo>
                  <a:pt x="874" y="696"/>
                </a:lnTo>
                <a:close/>
                <a:moveTo>
                  <a:pt x="490" y="768"/>
                </a:moveTo>
                <a:lnTo>
                  <a:pt x="473" y="768"/>
                </a:lnTo>
                <a:lnTo>
                  <a:pt x="457" y="768"/>
                </a:lnTo>
                <a:lnTo>
                  <a:pt x="451" y="766"/>
                </a:lnTo>
                <a:lnTo>
                  <a:pt x="446" y="765"/>
                </a:lnTo>
                <a:lnTo>
                  <a:pt x="443" y="765"/>
                </a:lnTo>
                <a:lnTo>
                  <a:pt x="441" y="765"/>
                </a:lnTo>
                <a:lnTo>
                  <a:pt x="439" y="766"/>
                </a:lnTo>
                <a:lnTo>
                  <a:pt x="435" y="767"/>
                </a:lnTo>
                <a:lnTo>
                  <a:pt x="433" y="769"/>
                </a:lnTo>
                <a:lnTo>
                  <a:pt x="433" y="769"/>
                </a:lnTo>
                <a:lnTo>
                  <a:pt x="432" y="769"/>
                </a:lnTo>
                <a:lnTo>
                  <a:pt x="430" y="767"/>
                </a:lnTo>
                <a:lnTo>
                  <a:pt x="425" y="765"/>
                </a:lnTo>
                <a:lnTo>
                  <a:pt x="420" y="762"/>
                </a:lnTo>
                <a:lnTo>
                  <a:pt x="413" y="762"/>
                </a:lnTo>
                <a:lnTo>
                  <a:pt x="405" y="761"/>
                </a:lnTo>
                <a:lnTo>
                  <a:pt x="398" y="762"/>
                </a:lnTo>
                <a:lnTo>
                  <a:pt x="391" y="765"/>
                </a:lnTo>
                <a:lnTo>
                  <a:pt x="398" y="767"/>
                </a:lnTo>
                <a:lnTo>
                  <a:pt x="405" y="768"/>
                </a:lnTo>
                <a:lnTo>
                  <a:pt x="408" y="770"/>
                </a:lnTo>
                <a:lnTo>
                  <a:pt x="409" y="774"/>
                </a:lnTo>
                <a:lnTo>
                  <a:pt x="414" y="775"/>
                </a:lnTo>
                <a:lnTo>
                  <a:pt x="417" y="774"/>
                </a:lnTo>
                <a:lnTo>
                  <a:pt x="425" y="774"/>
                </a:lnTo>
                <a:lnTo>
                  <a:pt x="432" y="775"/>
                </a:lnTo>
                <a:lnTo>
                  <a:pt x="435" y="776"/>
                </a:lnTo>
                <a:lnTo>
                  <a:pt x="439" y="776"/>
                </a:lnTo>
                <a:lnTo>
                  <a:pt x="441" y="774"/>
                </a:lnTo>
                <a:lnTo>
                  <a:pt x="443" y="772"/>
                </a:lnTo>
                <a:lnTo>
                  <a:pt x="450" y="770"/>
                </a:lnTo>
                <a:lnTo>
                  <a:pt x="457" y="772"/>
                </a:lnTo>
                <a:lnTo>
                  <a:pt x="459" y="772"/>
                </a:lnTo>
                <a:lnTo>
                  <a:pt x="463" y="773"/>
                </a:lnTo>
                <a:lnTo>
                  <a:pt x="467" y="773"/>
                </a:lnTo>
                <a:lnTo>
                  <a:pt x="472" y="773"/>
                </a:lnTo>
                <a:lnTo>
                  <a:pt x="478" y="776"/>
                </a:lnTo>
                <a:lnTo>
                  <a:pt x="483" y="777"/>
                </a:lnTo>
                <a:lnTo>
                  <a:pt x="484" y="777"/>
                </a:lnTo>
                <a:lnTo>
                  <a:pt x="484" y="777"/>
                </a:lnTo>
                <a:lnTo>
                  <a:pt x="494" y="777"/>
                </a:lnTo>
                <a:lnTo>
                  <a:pt x="504" y="777"/>
                </a:lnTo>
                <a:lnTo>
                  <a:pt x="504" y="775"/>
                </a:lnTo>
                <a:lnTo>
                  <a:pt x="503" y="773"/>
                </a:lnTo>
                <a:lnTo>
                  <a:pt x="500" y="772"/>
                </a:lnTo>
                <a:lnTo>
                  <a:pt x="499" y="770"/>
                </a:lnTo>
                <a:lnTo>
                  <a:pt x="495" y="768"/>
                </a:lnTo>
                <a:lnTo>
                  <a:pt x="490" y="768"/>
                </a:lnTo>
                <a:lnTo>
                  <a:pt x="489" y="768"/>
                </a:lnTo>
                <a:lnTo>
                  <a:pt x="490" y="768"/>
                </a:lnTo>
                <a:close/>
                <a:moveTo>
                  <a:pt x="483" y="777"/>
                </a:moveTo>
                <a:lnTo>
                  <a:pt x="482" y="777"/>
                </a:lnTo>
                <a:lnTo>
                  <a:pt x="481" y="776"/>
                </a:lnTo>
                <a:lnTo>
                  <a:pt x="481" y="775"/>
                </a:lnTo>
                <a:lnTo>
                  <a:pt x="483" y="774"/>
                </a:lnTo>
                <a:lnTo>
                  <a:pt x="484" y="774"/>
                </a:lnTo>
                <a:lnTo>
                  <a:pt x="486" y="775"/>
                </a:lnTo>
                <a:lnTo>
                  <a:pt x="486" y="776"/>
                </a:lnTo>
                <a:lnTo>
                  <a:pt x="484" y="777"/>
                </a:lnTo>
                <a:lnTo>
                  <a:pt x="484" y="777"/>
                </a:lnTo>
                <a:lnTo>
                  <a:pt x="483" y="777"/>
                </a:lnTo>
                <a:close/>
                <a:moveTo>
                  <a:pt x="483" y="777"/>
                </a:moveTo>
                <a:lnTo>
                  <a:pt x="484" y="777"/>
                </a:lnTo>
                <a:lnTo>
                  <a:pt x="483" y="777"/>
                </a:lnTo>
                <a:close/>
                <a:moveTo>
                  <a:pt x="711" y="700"/>
                </a:moveTo>
                <a:lnTo>
                  <a:pt x="706" y="701"/>
                </a:lnTo>
                <a:lnTo>
                  <a:pt x="703" y="701"/>
                </a:lnTo>
                <a:lnTo>
                  <a:pt x="702" y="702"/>
                </a:lnTo>
                <a:lnTo>
                  <a:pt x="702" y="703"/>
                </a:lnTo>
                <a:lnTo>
                  <a:pt x="702" y="704"/>
                </a:lnTo>
                <a:lnTo>
                  <a:pt x="703" y="707"/>
                </a:lnTo>
                <a:lnTo>
                  <a:pt x="710" y="703"/>
                </a:lnTo>
                <a:lnTo>
                  <a:pt x="715" y="700"/>
                </a:lnTo>
                <a:lnTo>
                  <a:pt x="713" y="700"/>
                </a:lnTo>
                <a:lnTo>
                  <a:pt x="711" y="700"/>
                </a:lnTo>
                <a:lnTo>
                  <a:pt x="707" y="701"/>
                </a:lnTo>
                <a:lnTo>
                  <a:pt x="711" y="700"/>
                </a:lnTo>
                <a:close/>
                <a:moveTo>
                  <a:pt x="473" y="271"/>
                </a:moveTo>
                <a:lnTo>
                  <a:pt x="472" y="277"/>
                </a:lnTo>
                <a:lnTo>
                  <a:pt x="470" y="283"/>
                </a:lnTo>
                <a:lnTo>
                  <a:pt x="472" y="279"/>
                </a:lnTo>
                <a:lnTo>
                  <a:pt x="473" y="274"/>
                </a:lnTo>
                <a:lnTo>
                  <a:pt x="473" y="268"/>
                </a:lnTo>
                <a:lnTo>
                  <a:pt x="472" y="264"/>
                </a:lnTo>
                <a:lnTo>
                  <a:pt x="473" y="268"/>
                </a:lnTo>
                <a:lnTo>
                  <a:pt x="473" y="271"/>
                </a:lnTo>
                <a:lnTo>
                  <a:pt x="473" y="272"/>
                </a:lnTo>
                <a:lnTo>
                  <a:pt x="473" y="271"/>
                </a:lnTo>
                <a:close/>
                <a:moveTo>
                  <a:pt x="673" y="739"/>
                </a:moveTo>
                <a:lnTo>
                  <a:pt x="676" y="736"/>
                </a:lnTo>
                <a:lnTo>
                  <a:pt x="677" y="734"/>
                </a:lnTo>
                <a:lnTo>
                  <a:pt x="679" y="733"/>
                </a:lnTo>
                <a:lnTo>
                  <a:pt x="681" y="733"/>
                </a:lnTo>
                <a:lnTo>
                  <a:pt x="682" y="735"/>
                </a:lnTo>
                <a:lnTo>
                  <a:pt x="685" y="737"/>
                </a:lnTo>
                <a:lnTo>
                  <a:pt x="687" y="739"/>
                </a:lnTo>
                <a:lnTo>
                  <a:pt x="688" y="741"/>
                </a:lnTo>
                <a:lnTo>
                  <a:pt x="681" y="744"/>
                </a:lnTo>
                <a:lnTo>
                  <a:pt x="673" y="745"/>
                </a:lnTo>
                <a:lnTo>
                  <a:pt x="671" y="743"/>
                </a:lnTo>
                <a:lnTo>
                  <a:pt x="671" y="742"/>
                </a:lnTo>
                <a:lnTo>
                  <a:pt x="671" y="740"/>
                </a:lnTo>
                <a:lnTo>
                  <a:pt x="673" y="739"/>
                </a:lnTo>
                <a:lnTo>
                  <a:pt x="673" y="737"/>
                </a:lnTo>
                <a:lnTo>
                  <a:pt x="673" y="739"/>
                </a:lnTo>
                <a:close/>
                <a:moveTo>
                  <a:pt x="536" y="752"/>
                </a:moveTo>
                <a:lnTo>
                  <a:pt x="540" y="751"/>
                </a:lnTo>
                <a:lnTo>
                  <a:pt x="545" y="751"/>
                </a:lnTo>
                <a:lnTo>
                  <a:pt x="549" y="752"/>
                </a:lnTo>
                <a:lnTo>
                  <a:pt x="554" y="754"/>
                </a:lnTo>
                <a:lnTo>
                  <a:pt x="545" y="754"/>
                </a:lnTo>
                <a:lnTo>
                  <a:pt x="534" y="754"/>
                </a:lnTo>
                <a:lnTo>
                  <a:pt x="536" y="753"/>
                </a:lnTo>
                <a:lnTo>
                  <a:pt x="536" y="752"/>
                </a:lnTo>
                <a:lnTo>
                  <a:pt x="538" y="751"/>
                </a:lnTo>
                <a:lnTo>
                  <a:pt x="536" y="75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47898F4-3263-3945-9DB5-19E1DE40EA54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C4A3D009-1481-A944-BE14-875034460B7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01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63">
            <a:extLst>
              <a:ext uri="{FF2B5EF4-FFF2-40B4-BE49-F238E27FC236}">
                <a16:creationId xmlns:a16="http://schemas.microsoft.com/office/drawing/2014/main" id="{2D414732-FD2B-484F-B2DB-5E2AF07BFDC4}"/>
              </a:ext>
            </a:extLst>
          </p:cNvPr>
          <p:cNvSpPr>
            <a:spLocks noGrp="1" noEditPoints="1"/>
          </p:cNvSpPr>
          <p:nvPr>
            <p:ph type="pic" sz="quarter" idx="20"/>
          </p:nvPr>
        </p:nvSpPr>
        <p:spPr bwMode="auto">
          <a:xfrm>
            <a:off x="383482" y="522090"/>
            <a:ext cx="23474608" cy="7488832"/>
          </a:xfrm>
          <a:custGeom>
            <a:avLst/>
            <a:gdLst>
              <a:gd name="T0" fmla="*/ 124 w 2412"/>
              <a:gd name="T1" fmla="*/ 479 h 1023"/>
              <a:gd name="T2" fmla="*/ 502 w 2412"/>
              <a:gd name="T3" fmla="*/ 746 h 1023"/>
              <a:gd name="T4" fmla="*/ 756 w 2412"/>
              <a:gd name="T5" fmla="*/ 886 h 1023"/>
              <a:gd name="T6" fmla="*/ 607 w 2412"/>
              <a:gd name="T7" fmla="*/ 875 h 1023"/>
              <a:gd name="T8" fmla="*/ 923 w 2412"/>
              <a:gd name="T9" fmla="*/ 958 h 1023"/>
              <a:gd name="T10" fmla="*/ 641 w 2412"/>
              <a:gd name="T11" fmla="*/ 855 h 1023"/>
              <a:gd name="T12" fmla="*/ 1140 w 2412"/>
              <a:gd name="T13" fmla="*/ 932 h 1023"/>
              <a:gd name="T14" fmla="*/ 876 w 2412"/>
              <a:gd name="T15" fmla="*/ 815 h 1023"/>
              <a:gd name="T16" fmla="*/ 1736 w 2412"/>
              <a:gd name="T17" fmla="*/ 828 h 1023"/>
              <a:gd name="T18" fmla="*/ 1269 w 2412"/>
              <a:gd name="T19" fmla="*/ 799 h 1023"/>
              <a:gd name="T20" fmla="*/ 2381 w 2412"/>
              <a:gd name="T21" fmla="*/ 575 h 1023"/>
              <a:gd name="T22" fmla="*/ 1669 w 2412"/>
              <a:gd name="T23" fmla="*/ 729 h 1023"/>
              <a:gd name="T24" fmla="*/ 611 w 2412"/>
              <a:gd name="T25" fmla="*/ 585 h 1023"/>
              <a:gd name="T26" fmla="*/ 989 w 2412"/>
              <a:gd name="T27" fmla="*/ 631 h 1023"/>
              <a:gd name="T28" fmla="*/ 1800 w 2412"/>
              <a:gd name="T29" fmla="*/ 618 h 1023"/>
              <a:gd name="T30" fmla="*/ 1824 w 2412"/>
              <a:gd name="T31" fmla="*/ 638 h 1023"/>
              <a:gd name="T32" fmla="*/ 2008 w 2412"/>
              <a:gd name="T33" fmla="*/ 525 h 1023"/>
              <a:gd name="T34" fmla="*/ 1682 w 2412"/>
              <a:gd name="T35" fmla="*/ 608 h 1023"/>
              <a:gd name="T36" fmla="*/ 1097 w 2412"/>
              <a:gd name="T37" fmla="*/ 610 h 1023"/>
              <a:gd name="T38" fmla="*/ 1365 w 2412"/>
              <a:gd name="T39" fmla="*/ 620 h 1023"/>
              <a:gd name="T40" fmla="*/ 1420 w 2412"/>
              <a:gd name="T41" fmla="*/ 565 h 1023"/>
              <a:gd name="T42" fmla="*/ 1006 w 2412"/>
              <a:gd name="T43" fmla="*/ 514 h 1023"/>
              <a:gd name="T44" fmla="*/ 870 w 2412"/>
              <a:gd name="T45" fmla="*/ 439 h 1023"/>
              <a:gd name="T46" fmla="*/ 1725 w 2412"/>
              <a:gd name="T47" fmla="*/ 459 h 1023"/>
              <a:gd name="T48" fmla="*/ 1763 w 2412"/>
              <a:gd name="T49" fmla="*/ 424 h 1023"/>
              <a:gd name="T50" fmla="*/ 926 w 2412"/>
              <a:gd name="T51" fmla="*/ 376 h 1023"/>
              <a:gd name="T52" fmla="*/ 1146 w 2412"/>
              <a:gd name="T53" fmla="*/ 382 h 1023"/>
              <a:gd name="T54" fmla="*/ 1682 w 2412"/>
              <a:gd name="T55" fmla="*/ 422 h 1023"/>
              <a:gd name="T56" fmla="*/ 2053 w 2412"/>
              <a:gd name="T57" fmla="*/ 259 h 1023"/>
              <a:gd name="T58" fmla="*/ 1843 w 2412"/>
              <a:gd name="T59" fmla="*/ 263 h 1023"/>
              <a:gd name="T60" fmla="*/ 1358 w 2412"/>
              <a:gd name="T61" fmla="*/ 379 h 1023"/>
              <a:gd name="T62" fmla="*/ 858 w 2412"/>
              <a:gd name="T63" fmla="*/ 284 h 1023"/>
              <a:gd name="T64" fmla="*/ 648 w 2412"/>
              <a:gd name="T65" fmla="*/ 161 h 1023"/>
              <a:gd name="T66" fmla="*/ 571 w 2412"/>
              <a:gd name="T67" fmla="*/ 648 h 1023"/>
              <a:gd name="T68" fmla="*/ 1541 w 2412"/>
              <a:gd name="T69" fmla="*/ 317 h 1023"/>
              <a:gd name="T70" fmla="*/ 1275 w 2412"/>
              <a:gd name="T71" fmla="*/ 314 h 1023"/>
              <a:gd name="T72" fmla="*/ 1639 w 2412"/>
              <a:gd name="T73" fmla="*/ 551 h 1023"/>
              <a:gd name="T74" fmla="*/ 1343 w 2412"/>
              <a:gd name="T75" fmla="*/ 311 h 1023"/>
              <a:gd name="T76" fmla="*/ 2026 w 2412"/>
              <a:gd name="T77" fmla="*/ 213 h 1023"/>
              <a:gd name="T78" fmla="*/ 1950 w 2412"/>
              <a:gd name="T79" fmla="*/ 913 h 1023"/>
              <a:gd name="T80" fmla="*/ 631 w 2412"/>
              <a:gd name="T81" fmla="*/ 598 h 1023"/>
              <a:gd name="T82" fmla="*/ 1641 w 2412"/>
              <a:gd name="T83" fmla="*/ 396 h 1023"/>
              <a:gd name="T84" fmla="*/ 1323 w 2412"/>
              <a:gd name="T85" fmla="*/ 292 h 1023"/>
              <a:gd name="T86" fmla="*/ 1075 w 2412"/>
              <a:gd name="T87" fmla="*/ 884 h 1023"/>
              <a:gd name="T88" fmla="*/ 1504 w 2412"/>
              <a:gd name="T89" fmla="*/ 294 h 1023"/>
              <a:gd name="T90" fmla="*/ 1821 w 2412"/>
              <a:gd name="T91" fmla="*/ 516 h 1023"/>
              <a:gd name="T92" fmla="*/ 1163 w 2412"/>
              <a:gd name="T93" fmla="*/ 514 h 1023"/>
              <a:gd name="T94" fmla="*/ 1115 w 2412"/>
              <a:gd name="T95" fmla="*/ 272 h 1023"/>
              <a:gd name="T96" fmla="*/ 1346 w 2412"/>
              <a:gd name="T97" fmla="*/ 975 h 1023"/>
              <a:gd name="T98" fmla="*/ 1423 w 2412"/>
              <a:gd name="T99" fmla="*/ 490 h 1023"/>
              <a:gd name="T100" fmla="*/ 1438 w 2412"/>
              <a:gd name="T101" fmla="*/ 963 h 1023"/>
              <a:gd name="T102" fmla="*/ 336 w 2412"/>
              <a:gd name="T103" fmla="*/ 879 h 1023"/>
              <a:gd name="T104" fmla="*/ 954 w 2412"/>
              <a:gd name="T105" fmla="*/ 271 h 1023"/>
              <a:gd name="T106" fmla="*/ 1999 w 2412"/>
              <a:gd name="T107" fmla="*/ 776 h 1023"/>
              <a:gd name="T108" fmla="*/ 1466 w 2412"/>
              <a:gd name="T109" fmla="*/ 517 h 1023"/>
              <a:gd name="T110" fmla="*/ 1915 w 2412"/>
              <a:gd name="T111" fmla="*/ 452 h 1023"/>
              <a:gd name="T112" fmla="*/ 1174 w 2412"/>
              <a:gd name="T113" fmla="*/ 645 h 1023"/>
              <a:gd name="T114" fmla="*/ 807 w 2412"/>
              <a:gd name="T115" fmla="*/ 418 h 1023"/>
              <a:gd name="T116" fmla="*/ 1628 w 2412"/>
              <a:gd name="T117" fmla="*/ 375 h 1023"/>
              <a:gd name="T118" fmla="*/ 180 w 2412"/>
              <a:gd name="T119" fmla="*/ 59 h 1023"/>
              <a:gd name="T120" fmla="*/ 613 w 2412"/>
              <a:gd name="T121" fmla="*/ 624 h 1023"/>
              <a:gd name="T122" fmla="*/ 588 w 2412"/>
              <a:gd name="T123" fmla="*/ 781 h 1023"/>
              <a:gd name="T124" fmla="*/ 960 w 2412"/>
              <a:gd name="T125" fmla="*/ 871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12" h="1023">
                <a:moveTo>
                  <a:pt x="52" y="82"/>
                </a:moveTo>
                <a:lnTo>
                  <a:pt x="58" y="82"/>
                </a:lnTo>
                <a:lnTo>
                  <a:pt x="65" y="81"/>
                </a:lnTo>
                <a:lnTo>
                  <a:pt x="69" y="81"/>
                </a:lnTo>
                <a:lnTo>
                  <a:pt x="73" y="82"/>
                </a:lnTo>
                <a:lnTo>
                  <a:pt x="77" y="82"/>
                </a:lnTo>
                <a:lnTo>
                  <a:pt x="79" y="84"/>
                </a:lnTo>
                <a:lnTo>
                  <a:pt x="82" y="87"/>
                </a:lnTo>
                <a:lnTo>
                  <a:pt x="85" y="91"/>
                </a:lnTo>
                <a:lnTo>
                  <a:pt x="88" y="93"/>
                </a:lnTo>
                <a:lnTo>
                  <a:pt x="91" y="97"/>
                </a:lnTo>
                <a:lnTo>
                  <a:pt x="94" y="99"/>
                </a:lnTo>
                <a:lnTo>
                  <a:pt x="95" y="102"/>
                </a:lnTo>
                <a:lnTo>
                  <a:pt x="94" y="105"/>
                </a:lnTo>
                <a:lnTo>
                  <a:pt x="93" y="108"/>
                </a:lnTo>
                <a:lnTo>
                  <a:pt x="93" y="111"/>
                </a:lnTo>
                <a:lnTo>
                  <a:pt x="94" y="115"/>
                </a:lnTo>
                <a:lnTo>
                  <a:pt x="97" y="118"/>
                </a:lnTo>
                <a:lnTo>
                  <a:pt x="99" y="122"/>
                </a:lnTo>
                <a:lnTo>
                  <a:pt x="102" y="125"/>
                </a:lnTo>
                <a:lnTo>
                  <a:pt x="103" y="128"/>
                </a:lnTo>
                <a:lnTo>
                  <a:pt x="104" y="132"/>
                </a:lnTo>
                <a:lnTo>
                  <a:pt x="102" y="134"/>
                </a:lnTo>
                <a:lnTo>
                  <a:pt x="99" y="136"/>
                </a:lnTo>
                <a:lnTo>
                  <a:pt x="95" y="136"/>
                </a:lnTo>
                <a:lnTo>
                  <a:pt x="90" y="135"/>
                </a:lnTo>
                <a:lnTo>
                  <a:pt x="87" y="135"/>
                </a:lnTo>
                <a:lnTo>
                  <a:pt x="82" y="133"/>
                </a:lnTo>
                <a:lnTo>
                  <a:pt x="79" y="132"/>
                </a:lnTo>
                <a:lnTo>
                  <a:pt x="75" y="131"/>
                </a:lnTo>
                <a:lnTo>
                  <a:pt x="71" y="132"/>
                </a:lnTo>
                <a:lnTo>
                  <a:pt x="64" y="137"/>
                </a:lnTo>
                <a:lnTo>
                  <a:pt x="58" y="144"/>
                </a:lnTo>
                <a:lnTo>
                  <a:pt x="52" y="151"/>
                </a:lnTo>
                <a:lnTo>
                  <a:pt x="45" y="157"/>
                </a:lnTo>
                <a:lnTo>
                  <a:pt x="38" y="162"/>
                </a:lnTo>
                <a:lnTo>
                  <a:pt x="32" y="168"/>
                </a:lnTo>
                <a:lnTo>
                  <a:pt x="24" y="172"/>
                </a:lnTo>
                <a:lnTo>
                  <a:pt x="16" y="175"/>
                </a:lnTo>
                <a:lnTo>
                  <a:pt x="8" y="178"/>
                </a:lnTo>
                <a:lnTo>
                  <a:pt x="1" y="183"/>
                </a:lnTo>
                <a:lnTo>
                  <a:pt x="0" y="184"/>
                </a:lnTo>
                <a:lnTo>
                  <a:pt x="0" y="185"/>
                </a:lnTo>
                <a:lnTo>
                  <a:pt x="0" y="186"/>
                </a:lnTo>
                <a:lnTo>
                  <a:pt x="1" y="188"/>
                </a:lnTo>
                <a:lnTo>
                  <a:pt x="4" y="190"/>
                </a:lnTo>
                <a:lnTo>
                  <a:pt x="7" y="192"/>
                </a:lnTo>
                <a:lnTo>
                  <a:pt x="13" y="195"/>
                </a:lnTo>
                <a:lnTo>
                  <a:pt x="17" y="200"/>
                </a:lnTo>
                <a:lnTo>
                  <a:pt x="19" y="208"/>
                </a:lnTo>
                <a:lnTo>
                  <a:pt x="19" y="216"/>
                </a:lnTo>
                <a:lnTo>
                  <a:pt x="20" y="219"/>
                </a:lnTo>
                <a:lnTo>
                  <a:pt x="22" y="220"/>
                </a:lnTo>
                <a:lnTo>
                  <a:pt x="24" y="222"/>
                </a:lnTo>
                <a:lnTo>
                  <a:pt x="28" y="223"/>
                </a:lnTo>
                <a:lnTo>
                  <a:pt x="33" y="227"/>
                </a:lnTo>
                <a:lnTo>
                  <a:pt x="40" y="230"/>
                </a:lnTo>
                <a:lnTo>
                  <a:pt x="48" y="228"/>
                </a:lnTo>
                <a:lnTo>
                  <a:pt x="55" y="230"/>
                </a:lnTo>
                <a:lnTo>
                  <a:pt x="65" y="234"/>
                </a:lnTo>
                <a:lnTo>
                  <a:pt x="75" y="239"/>
                </a:lnTo>
                <a:lnTo>
                  <a:pt x="78" y="241"/>
                </a:lnTo>
                <a:lnTo>
                  <a:pt x="81" y="243"/>
                </a:lnTo>
                <a:lnTo>
                  <a:pt x="83" y="244"/>
                </a:lnTo>
                <a:lnTo>
                  <a:pt x="85" y="245"/>
                </a:lnTo>
                <a:lnTo>
                  <a:pt x="85" y="247"/>
                </a:lnTo>
                <a:lnTo>
                  <a:pt x="85" y="249"/>
                </a:lnTo>
                <a:lnTo>
                  <a:pt x="81" y="251"/>
                </a:lnTo>
                <a:lnTo>
                  <a:pt x="78" y="253"/>
                </a:lnTo>
                <a:lnTo>
                  <a:pt x="77" y="256"/>
                </a:lnTo>
                <a:lnTo>
                  <a:pt x="75" y="259"/>
                </a:lnTo>
                <a:lnTo>
                  <a:pt x="78" y="266"/>
                </a:lnTo>
                <a:lnTo>
                  <a:pt x="81" y="274"/>
                </a:lnTo>
                <a:lnTo>
                  <a:pt x="82" y="278"/>
                </a:lnTo>
                <a:lnTo>
                  <a:pt x="83" y="282"/>
                </a:lnTo>
                <a:lnTo>
                  <a:pt x="82" y="285"/>
                </a:lnTo>
                <a:lnTo>
                  <a:pt x="81" y="290"/>
                </a:lnTo>
                <a:lnTo>
                  <a:pt x="79" y="292"/>
                </a:lnTo>
                <a:lnTo>
                  <a:pt x="77" y="293"/>
                </a:lnTo>
                <a:lnTo>
                  <a:pt x="74" y="293"/>
                </a:lnTo>
                <a:lnTo>
                  <a:pt x="72" y="291"/>
                </a:lnTo>
                <a:lnTo>
                  <a:pt x="70" y="289"/>
                </a:lnTo>
                <a:lnTo>
                  <a:pt x="69" y="286"/>
                </a:lnTo>
                <a:lnTo>
                  <a:pt x="64" y="286"/>
                </a:lnTo>
                <a:lnTo>
                  <a:pt x="59" y="288"/>
                </a:lnTo>
                <a:lnTo>
                  <a:pt x="52" y="290"/>
                </a:lnTo>
                <a:lnTo>
                  <a:pt x="45" y="294"/>
                </a:lnTo>
                <a:lnTo>
                  <a:pt x="38" y="300"/>
                </a:lnTo>
                <a:lnTo>
                  <a:pt x="33" y="307"/>
                </a:lnTo>
                <a:lnTo>
                  <a:pt x="30" y="314"/>
                </a:lnTo>
                <a:lnTo>
                  <a:pt x="26" y="321"/>
                </a:lnTo>
                <a:lnTo>
                  <a:pt x="26" y="325"/>
                </a:lnTo>
                <a:lnTo>
                  <a:pt x="26" y="328"/>
                </a:lnTo>
                <a:lnTo>
                  <a:pt x="28" y="332"/>
                </a:lnTo>
                <a:lnTo>
                  <a:pt x="29" y="336"/>
                </a:lnTo>
                <a:lnTo>
                  <a:pt x="36" y="342"/>
                </a:lnTo>
                <a:lnTo>
                  <a:pt x="42" y="348"/>
                </a:lnTo>
                <a:lnTo>
                  <a:pt x="53" y="356"/>
                </a:lnTo>
                <a:lnTo>
                  <a:pt x="63" y="363"/>
                </a:lnTo>
                <a:lnTo>
                  <a:pt x="81" y="375"/>
                </a:lnTo>
                <a:lnTo>
                  <a:pt x="100" y="388"/>
                </a:lnTo>
                <a:lnTo>
                  <a:pt x="120" y="398"/>
                </a:lnTo>
                <a:lnTo>
                  <a:pt x="140" y="410"/>
                </a:lnTo>
                <a:lnTo>
                  <a:pt x="144" y="413"/>
                </a:lnTo>
                <a:lnTo>
                  <a:pt x="147" y="415"/>
                </a:lnTo>
                <a:lnTo>
                  <a:pt x="151" y="418"/>
                </a:lnTo>
                <a:lnTo>
                  <a:pt x="153" y="422"/>
                </a:lnTo>
                <a:lnTo>
                  <a:pt x="153" y="425"/>
                </a:lnTo>
                <a:lnTo>
                  <a:pt x="153" y="430"/>
                </a:lnTo>
                <a:lnTo>
                  <a:pt x="153" y="433"/>
                </a:lnTo>
                <a:lnTo>
                  <a:pt x="151" y="435"/>
                </a:lnTo>
                <a:lnTo>
                  <a:pt x="146" y="437"/>
                </a:lnTo>
                <a:lnTo>
                  <a:pt x="140" y="438"/>
                </a:lnTo>
                <a:lnTo>
                  <a:pt x="137" y="438"/>
                </a:lnTo>
                <a:lnTo>
                  <a:pt x="133" y="439"/>
                </a:lnTo>
                <a:lnTo>
                  <a:pt x="130" y="440"/>
                </a:lnTo>
                <a:lnTo>
                  <a:pt x="128" y="442"/>
                </a:lnTo>
                <a:lnTo>
                  <a:pt x="123" y="449"/>
                </a:lnTo>
                <a:lnTo>
                  <a:pt x="119" y="456"/>
                </a:lnTo>
                <a:lnTo>
                  <a:pt x="115" y="459"/>
                </a:lnTo>
                <a:lnTo>
                  <a:pt x="114" y="462"/>
                </a:lnTo>
                <a:lnTo>
                  <a:pt x="114" y="465"/>
                </a:lnTo>
                <a:lnTo>
                  <a:pt x="115" y="469"/>
                </a:lnTo>
                <a:lnTo>
                  <a:pt x="119" y="473"/>
                </a:lnTo>
                <a:lnTo>
                  <a:pt x="122" y="476"/>
                </a:lnTo>
                <a:lnTo>
                  <a:pt x="123" y="477"/>
                </a:lnTo>
                <a:lnTo>
                  <a:pt x="124" y="479"/>
                </a:lnTo>
                <a:lnTo>
                  <a:pt x="126" y="481"/>
                </a:lnTo>
                <a:lnTo>
                  <a:pt x="126" y="483"/>
                </a:lnTo>
                <a:lnTo>
                  <a:pt x="127" y="485"/>
                </a:lnTo>
                <a:lnTo>
                  <a:pt x="128" y="488"/>
                </a:lnTo>
                <a:lnTo>
                  <a:pt x="130" y="489"/>
                </a:lnTo>
                <a:lnTo>
                  <a:pt x="133" y="490"/>
                </a:lnTo>
                <a:lnTo>
                  <a:pt x="139" y="493"/>
                </a:lnTo>
                <a:lnTo>
                  <a:pt x="146" y="498"/>
                </a:lnTo>
                <a:lnTo>
                  <a:pt x="152" y="502"/>
                </a:lnTo>
                <a:lnTo>
                  <a:pt x="157" y="508"/>
                </a:lnTo>
                <a:lnTo>
                  <a:pt x="160" y="512"/>
                </a:lnTo>
                <a:lnTo>
                  <a:pt x="161" y="516"/>
                </a:lnTo>
                <a:lnTo>
                  <a:pt x="162" y="517"/>
                </a:lnTo>
                <a:lnTo>
                  <a:pt x="162" y="520"/>
                </a:lnTo>
                <a:lnTo>
                  <a:pt x="161" y="521"/>
                </a:lnTo>
                <a:lnTo>
                  <a:pt x="160" y="522"/>
                </a:lnTo>
                <a:lnTo>
                  <a:pt x="157" y="522"/>
                </a:lnTo>
                <a:lnTo>
                  <a:pt x="156" y="522"/>
                </a:lnTo>
                <a:lnTo>
                  <a:pt x="155" y="521"/>
                </a:lnTo>
                <a:lnTo>
                  <a:pt x="154" y="520"/>
                </a:lnTo>
                <a:lnTo>
                  <a:pt x="153" y="517"/>
                </a:lnTo>
                <a:lnTo>
                  <a:pt x="152" y="514"/>
                </a:lnTo>
                <a:lnTo>
                  <a:pt x="149" y="512"/>
                </a:lnTo>
                <a:lnTo>
                  <a:pt x="146" y="509"/>
                </a:lnTo>
                <a:lnTo>
                  <a:pt x="143" y="508"/>
                </a:lnTo>
                <a:lnTo>
                  <a:pt x="138" y="508"/>
                </a:lnTo>
                <a:lnTo>
                  <a:pt x="136" y="509"/>
                </a:lnTo>
                <a:lnTo>
                  <a:pt x="135" y="512"/>
                </a:lnTo>
                <a:lnTo>
                  <a:pt x="135" y="513"/>
                </a:lnTo>
                <a:lnTo>
                  <a:pt x="136" y="515"/>
                </a:lnTo>
                <a:lnTo>
                  <a:pt x="138" y="520"/>
                </a:lnTo>
                <a:lnTo>
                  <a:pt x="140" y="523"/>
                </a:lnTo>
                <a:lnTo>
                  <a:pt x="141" y="526"/>
                </a:lnTo>
                <a:lnTo>
                  <a:pt x="139" y="530"/>
                </a:lnTo>
                <a:lnTo>
                  <a:pt x="138" y="533"/>
                </a:lnTo>
                <a:lnTo>
                  <a:pt x="136" y="537"/>
                </a:lnTo>
                <a:lnTo>
                  <a:pt x="132" y="545"/>
                </a:lnTo>
                <a:lnTo>
                  <a:pt x="130" y="552"/>
                </a:lnTo>
                <a:lnTo>
                  <a:pt x="130" y="557"/>
                </a:lnTo>
                <a:lnTo>
                  <a:pt x="129" y="560"/>
                </a:lnTo>
                <a:lnTo>
                  <a:pt x="129" y="563"/>
                </a:lnTo>
                <a:lnTo>
                  <a:pt x="130" y="567"/>
                </a:lnTo>
                <a:lnTo>
                  <a:pt x="137" y="575"/>
                </a:lnTo>
                <a:lnTo>
                  <a:pt x="146" y="582"/>
                </a:lnTo>
                <a:lnTo>
                  <a:pt x="162" y="593"/>
                </a:lnTo>
                <a:lnTo>
                  <a:pt x="179" y="604"/>
                </a:lnTo>
                <a:lnTo>
                  <a:pt x="188" y="608"/>
                </a:lnTo>
                <a:lnTo>
                  <a:pt x="196" y="613"/>
                </a:lnTo>
                <a:lnTo>
                  <a:pt x="205" y="616"/>
                </a:lnTo>
                <a:lnTo>
                  <a:pt x="214" y="618"/>
                </a:lnTo>
                <a:lnTo>
                  <a:pt x="221" y="620"/>
                </a:lnTo>
                <a:lnTo>
                  <a:pt x="228" y="621"/>
                </a:lnTo>
                <a:lnTo>
                  <a:pt x="231" y="622"/>
                </a:lnTo>
                <a:lnTo>
                  <a:pt x="232" y="624"/>
                </a:lnTo>
                <a:lnTo>
                  <a:pt x="235" y="628"/>
                </a:lnTo>
                <a:lnTo>
                  <a:pt x="236" y="630"/>
                </a:lnTo>
                <a:lnTo>
                  <a:pt x="238" y="633"/>
                </a:lnTo>
                <a:lnTo>
                  <a:pt x="242" y="635"/>
                </a:lnTo>
                <a:lnTo>
                  <a:pt x="245" y="638"/>
                </a:lnTo>
                <a:lnTo>
                  <a:pt x="248" y="639"/>
                </a:lnTo>
                <a:lnTo>
                  <a:pt x="259" y="643"/>
                </a:lnTo>
                <a:lnTo>
                  <a:pt x="268" y="649"/>
                </a:lnTo>
                <a:lnTo>
                  <a:pt x="277" y="653"/>
                </a:lnTo>
                <a:lnTo>
                  <a:pt x="287" y="657"/>
                </a:lnTo>
                <a:lnTo>
                  <a:pt x="295" y="660"/>
                </a:lnTo>
                <a:lnTo>
                  <a:pt x="303" y="666"/>
                </a:lnTo>
                <a:lnTo>
                  <a:pt x="312" y="673"/>
                </a:lnTo>
                <a:lnTo>
                  <a:pt x="321" y="678"/>
                </a:lnTo>
                <a:lnTo>
                  <a:pt x="330" y="682"/>
                </a:lnTo>
                <a:lnTo>
                  <a:pt x="341" y="686"/>
                </a:lnTo>
                <a:lnTo>
                  <a:pt x="351" y="690"/>
                </a:lnTo>
                <a:lnTo>
                  <a:pt x="361" y="693"/>
                </a:lnTo>
                <a:lnTo>
                  <a:pt x="372" y="697"/>
                </a:lnTo>
                <a:lnTo>
                  <a:pt x="383" y="699"/>
                </a:lnTo>
                <a:lnTo>
                  <a:pt x="393" y="704"/>
                </a:lnTo>
                <a:lnTo>
                  <a:pt x="402" y="708"/>
                </a:lnTo>
                <a:lnTo>
                  <a:pt x="411" y="713"/>
                </a:lnTo>
                <a:lnTo>
                  <a:pt x="421" y="715"/>
                </a:lnTo>
                <a:lnTo>
                  <a:pt x="433" y="718"/>
                </a:lnTo>
                <a:lnTo>
                  <a:pt x="444" y="722"/>
                </a:lnTo>
                <a:lnTo>
                  <a:pt x="456" y="725"/>
                </a:lnTo>
                <a:lnTo>
                  <a:pt x="466" y="729"/>
                </a:lnTo>
                <a:lnTo>
                  <a:pt x="489" y="737"/>
                </a:lnTo>
                <a:lnTo>
                  <a:pt x="511" y="743"/>
                </a:lnTo>
                <a:lnTo>
                  <a:pt x="533" y="749"/>
                </a:lnTo>
                <a:lnTo>
                  <a:pt x="556" y="756"/>
                </a:lnTo>
                <a:lnTo>
                  <a:pt x="567" y="758"/>
                </a:lnTo>
                <a:lnTo>
                  <a:pt x="577" y="762"/>
                </a:lnTo>
                <a:lnTo>
                  <a:pt x="589" y="764"/>
                </a:lnTo>
                <a:lnTo>
                  <a:pt x="600" y="766"/>
                </a:lnTo>
                <a:lnTo>
                  <a:pt x="610" y="767"/>
                </a:lnTo>
                <a:lnTo>
                  <a:pt x="622" y="770"/>
                </a:lnTo>
                <a:lnTo>
                  <a:pt x="632" y="771"/>
                </a:lnTo>
                <a:lnTo>
                  <a:pt x="643" y="774"/>
                </a:lnTo>
                <a:lnTo>
                  <a:pt x="654" y="776"/>
                </a:lnTo>
                <a:lnTo>
                  <a:pt x="665" y="779"/>
                </a:lnTo>
                <a:lnTo>
                  <a:pt x="675" y="782"/>
                </a:lnTo>
                <a:lnTo>
                  <a:pt x="685" y="787"/>
                </a:lnTo>
                <a:lnTo>
                  <a:pt x="682" y="788"/>
                </a:lnTo>
                <a:lnTo>
                  <a:pt x="681" y="789"/>
                </a:lnTo>
                <a:lnTo>
                  <a:pt x="679" y="789"/>
                </a:lnTo>
                <a:lnTo>
                  <a:pt x="675" y="788"/>
                </a:lnTo>
                <a:lnTo>
                  <a:pt x="671" y="787"/>
                </a:lnTo>
                <a:lnTo>
                  <a:pt x="666" y="787"/>
                </a:lnTo>
                <a:lnTo>
                  <a:pt x="656" y="786"/>
                </a:lnTo>
                <a:lnTo>
                  <a:pt x="646" y="784"/>
                </a:lnTo>
                <a:lnTo>
                  <a:pt x="637" y="783"/>
                </a:lnTo>
                <a:lnTo>
                  <a:pt x="626" y="781"/>
                </a:lnTo>
                <a:lnTo>
                  <a:pt x="617" y="779"/>
                </a:lnTo>
                <a:lnTo>
                  <a:pt x="607" y="776"/>
                </a:lnTo>
                <a:lnTo>
                  <a:pt x="599" y="774"/>
                </a:lnTo>
                <a:lnTo>
                  <a:pt x="590" y="771"/>
                </a:lnTo>
                <a:lnTo>
                  <a:pt x="581" y="769"/>
                </a:lnTo>
                <a:lnTo>
                  <a:pt x="572" y="765"/>
                </a:lnTo>
                <a:lnTo>
                  <a:pt x="561" y="764"/>
                </a:lnTo>
                <a:lnTo>
                  <a:pt x="552" y="764"/>
                </a:lnTo>
                <a:lnTo>
                  <a:pt x="549" y="765"/>
                </a:lnTo>
                <a:lnTo>
                  <a:pt x="547" y="767"/>
                </a:lnTo>
                <a:lnTo>
                  <a:pt x="548" y="770"/>
                </a:lnTo>
                <a:lnTo>
                  <a:pt x="547" y="773"/>
                </a:lnTo>
                <a:lnTo>
                  <a:pt x="541" y="770"/>
                </a:lnTo>
                <a:lnTo>
                  <a:pt x="535" y="769"/>
                </a:lnTo>
                <a:lnTo>
                  <a:pt x="528" y="764"/>
                </a:lnTo>
                <a:lnTo>
                  <a:pt x="523" y="757"/>
                </a:lnTo>
                <a:lnTo>
                  <a:pt x="517" y="753"/>
                </a:lnTo>
                <a:lnTo>
                  <a:pt x="510" y="749"/>
                </a:lnTo>
                <a:lnTo>
                  <a:pt x="502" y="746"/>
                </a:lnTo>
                <a:lnTo>
                  <a:pt x="494" y="745"/>
                </a:lnTo>
                <a:lnTo>
                  <a:pt x="486" y="742"/>
                </a:lnTo>
                <a:lnTo>
                  <a:pt x="479" y="741"/>
                </a:lnTo>
                <a:lnTo>
                  <a:pt x="476" y="740"/>
                </a:lnTo>
                <a:lnTo>
                  <a:pt x="473" y="741"/>
                </a:lnTo>
                <a:lnTo>
                  <a:pt x="473" y="743"/>
                </a:lnTo>
                <a:lnTo>
                  <a:pt x="473" y="747"/>
                </a:lnTo>
                <a:lnTo>
                  <a:pt x="470" y="748"/>
                </a:lnTo>
                <a:lnTo>
                  <a:pt x="467" y="748"/>
                </a:lnTo>
                <a:lnTo>
                  <a:pt x="462" y="748"/>
                </a:lnTo>
                <a:lnTo>
                  <a:pt x="458" y="747"/>
                </a:lnTo>
                <a:lnTo>
                  <a:pt x="450" y="743"/>
                </a:lnTo>
                <a:lnTo>
                  <a:pt x="444" y="740"/>
                </a:lnTo>
                <a:lnTo>
                  <a:pt x="436" y="736"/>
                </a:lnTo>
                <a:lnTo>
                  <a:pt x="429" y="731"/>
                </a:lnTo>
                <a:lnTo>
                  <a:pt x="421" y="728"/>
                </a:lnTo>
                <a:lnTo>
                  <a:pt x="412" y="725"/>
                </a:lnTo>
                <a:lnTo>
                  <a:pt x="396" y="718"/>
                </a:lnTo>
                <a:lnTo>
                  <a:pt x="378" y="714"/>
                </a:lnTo>
                <a:lnTo>
                  <a:pt x="370" y="713"/>
                </a:lnTo>
                <a:lnTo>
                  <a:pt x="362" y="711"/>
                </a:lnTo>
                <a:lnTo>
                  <a:pt x="355" y="706"/>
                </a:lnTo>
                <a:lnTo>
                  <a:pt x="349" y="700"/>
                </a:lnTo>
                <a:lnTo>
                  <a:pt x="341" y="695"/>
                </a:lnTo>
                <a:lnTo>
                  <a:pt x="333" y="690"/>
                </a:lnTo>
                <a:lnTo>
                  <a:pt x="325" y="688"/>
                </a:lnTo>
                <a:lnTo>
                  <a:pt x="316" y="684"/>
                </a:lnTo>
                <a:lnTo>
                  <a:pt x="305" y="682"/>
                </a:lnTo>
                <a:lnTo>
                  <a:pt x="296" y="678"/>
                </a:lnTo>
                <a:lnTo>
                  <a:pt x="294" y="676"/>
                </a:lnTo>
                <a:lnTo>
                  <a:pt x="293" y="675"/>
                </a:lnTo>
                <a:lnTo>
                  <a:pt x="293" y="673"/>
                </a:lnTo>
                <a:lnTo>
                  <a:pt x="293" y="671"/>
                </a:lnTo>
                <a:lnTo>
                  <a:pt x="291" y="668"/>
                </a:lnTo>
                <a:lnTo>
                  <a:pt x="288" y="666"/>
                </a:lnTo>
                <a:lnTo>
                  <a:pt x="281" y="662"/>
                </a:lnTo>
                <a:lnTo>
                  <a:pt x="273" y="657"/>
                </a:lnTo>
                <a:lnTo>
                  <a:pt x="269" y="655"/>
                </a:lnTo>
                <a:lnTo>
                  <a:pt x="264" y="654"/>
                </a:lnTo>
                <a:lnTo>
                  <a:pt x="260" y="654"/>
                </a:lnTo>
                <a:lnTo>
                  <a:pt x="255" y="654"/>
                </a:lnTo>
                <a:lnTo>
                  <a:pt x="260" y="657"/>
                </a:lnTo>
                <a:lnTo>
                  <a:pt x="264" y="659"/>
                </a:lnTo>
                <a:lnTo>
                  <a:pt x="269" y="662"/>
                </a:lnTo>
                <a:lnTo>
                  <a:pt x="275" y="664"/>
                </a:lnTo>
                <a:lnTo>
                  <a:pt x="277" y="665"/>
                </a:lnTo>
                <a:lnTo>
                  <a:pt x="278" y="667"/>
                </a:lnTo>
                <a:lnTo>
                  <a:pt x="278" y="670"/>
                </a:lnTo>
                <a:lnTo>
                  <a:pt x="277" y="670"/>
                </a:lnTo>
                <a:lnTo>
                  <a:pt x="276" y="671"/>
                </a:lnTo>
                <a:lnTo>
                  <a:pt x="275" y="671"/>
                </a:lnTo>
                <a:lnTo>
                  <a:pt x="271" y="670"/>
                </a:lnTo>
                <a:lnTo>
                  <a:pt x="269" y="668"/>
                </a:lnTo>
                <a:lnTo>
                  <a:pt x="264" y="665"/>
                </a:lnTo>
                <a:lnTo>
                  <a:pt x="260" y="662"/>
                </a:lnTo>
                <a:lnTo>
                  <a:pt x="254" y="660"/>
                </a:lnTo>
                <a:lnTo>
                  <a:pt x="248" y="659"/>
                </a:lnTo>
                <a:lnTo>
                  <a:pt x="243" y="660"/>
                </a:lnTo>
                <a:lnTo>
                  <a:pt x="239" y="664"/>
                </a:lnTo>
                <a:lnTo>
                  <a:pt x="235" y="667"/>
                </a:lnTo>
                <a:lnTo>
                  <a:pt x="231" y="671"/>
                </a:lnTo>
                <a:lnTo>
                  <a:pt x="228" y="673"/>
                </a:lnTo>
                <a:lnTo>
                  <a:pt x="222" y="674"/>
                </a:lnTo>
                <a:lnTo>
                  <a:pt x="218" y="674"/>
                </a:lnTo>
                <a:lnTo>
                  <a:pt x="212" y="674"/>
                </a:lnTo>
                <a:lnTo>
                  <a:pt x="207" y="674"/>
                </a:lnTo>
                <a:lnTo>
                  <a:pt x="203" y="675"/>
                </a:lnTo>
                <a:lnTo>
                  <a:pt x="202" y="676"/>
                </a:lnTo>
                <a:lnTo>
                  <a:pt x="201" y="679"/>
                </a:lnTo>
                <a:lnTo>
                  <a:pt x="199" y="681"/>
                </a:lnTo>
                <a:lnTo>
                  <a:pt x="199" y="684"/>
                </a:lnTo>
                <a:lnTo>
                  <a:pt x="205" y="692"/>
                </a:lnTo>
                <a:lnTo>
                  <a:pt x="211" y="699"/>
                </a:lnTo>
                <a:lnTo>
                  <a:pt x="211" y="706"/>
                </a:lnTo>
                <a:lnTo>
                  <a:pt x="211" y="713"/>
                </a:lnTo>
                <a:lnTo>
                  <a:pt x="210" y="718"/>
                </a:lnTo>
                <a:lnTo>
                  <a:pt x="210" y="724"/>
                </a:lnTo>
                <a:lnTo>
                  <a:pt x="219" y="729"/>
                </a:lnTo>
                <a:lnTo>
                  <a:pt x="229" y="731"/>
                </a:lnTo>
                <a:lnTo>
                  <a:pt x="242" y="738"/>
                </a:lnTo>
                <a:lnTo>
                  <a:pt x="254" y="745"/>
                </a:lnTo>
                <a:lnTo>
                  <a:pt x="268" y="750"/>
                </a:lnTo>
                <a:lnTo>
                  <a:pt x="281" y="755"/>
                </a:lnTo>
                <a:lnTo>
                  <a:pt x="295" y="759"/>
                </a:lnTo>
                <a:lnTo>
                  <a:pt x="308" y="765"/>
                </a:lnTo>
                <a:lnTo>
                  <a:pt x="319" y="770"/>
                </a:lnTo>
                <a:lnTo>
                  <a:pt x="329" y="775"/>
                </a:lnTo>
                <a:lnTo>
                  <a:pt x="335" y="778"/>
                </a:lnTo>
                <a:lnTo>
                  <a:pt x="342" y="779"/>
                </a:lnTo>
                <a:lnTo>
                  <a:pt x="350" y="782"/>
                </a:lnTo>
                <a:lnTo>
                  <a:pt x="358" y="786"/>
                </a:lnTo>
                <a:lnTo>
                  <a:pt x="371" y="791"/>
                </a:lnTo>
                <a:lnTo>
                  <a:pt x="384" y="796"/>
                </a:lnTo>
                <a:lnTo>
                  <a:pt x="398" y="801"/>
                </a:lnTo>
                <a:lnTo>
                  <a:pt x="411" y="806"/>
                </a:lnTo>
                <a:lnTo>
                  <a:pt x="423" y="809"/>
                </a:lnTo>
                <a:lnTo>
                  <a:pt x="433" y="815"/>
                </a:lnTo>
                <a:lnTo>
                  <a:pt x="433" y="815"/>
                </a:lnTo>
                <a:lnTo>
                  <a:pt x="434" y="816"/>
                </a:lnTo>
                <a:lnTo>
                  <a:pt x="433" y="816"/>
                </a:lnTo>
                <a:lnTo>
                  <a:pt x="434" y="816"/>
                </a:lnTo>
                <a:lnTo>
                  <a:pt x="436" y="816"/>
                </a:lnTo>
                <a:lnTo>
                  <a:pt x="437" y="817"/>
                </a:lnTo>
                <a:lnTo>
                  <a:pt x="442" y="817"/>
                </a:lnTo>
                <a:lnTo>
                  <a:pt x="445" y="819"/>
                </a:lnTo>
                <a:lnTo>
                  <a:pt x="452" y="820"/>
                </a:lnTo>
                <a:lnTo>
                  <a:pt x="459" y="822"/>
                </a:lnTo>
                <a:lnTo>
                  <a:pt x="474" y="826"/>
                </a:lnTo>
                <a:lnTo>
                  <a:pt x="487" y="831"/>
                </a:lnTo>
                <a:lnTo>
                  <a:pt x="501" y="836"/>
                </a:lnTo>
                <a:lnTo>
                  <a:pt x="516" y="839"/>
                </a:lnTo>
                <a:lnTo>
                  <a:pt x="530" y="842"/>
                </a:lnTo>
                <a:lnTo>
                  <a:pt x="544" y="845"/>
                </a:lnTo>
                <a:lnTo>
                  <a:pt x="559" y="847"/>
                </a:lnTo>
                <a:lnTo>
                  <a:pt x="574" y="850"/>
                </a:lnTo>
                <a:lnTo>
                  <a:pt x="589" y="854"/>
                </a:lnTo>
                <a:lnTo>
                  <a:pt x="605" y="857"/>
                </a:lnTo>
                <a:lnTo>
                  <a:pt x="619" y="861"/>
                </a:lnTo>
                <a:lnTo>
                  <a:pt x="635" y="863"/>
                </a:lnTo>
                <a:lnTo>
                  <a:pt x="651" y="866"/>
                </a:lnTo>
                <a:lnTo>
                  <a:pt x="666" y="870"/>
                </a:lnTo>
                <a:lnTo>
                  <a:pt x="681" y="872"/>
                </a:lnTo>
                <a:lnTo>
                  <a:pt x="696" y="875"/>
                </a:lnTo>
                <a:lnTo>
                  <a:pt x="711" y="878"/>
                </a:lnTo>
                <a:lnTo>
                  <a:pt x="725" y="880"/>
                </a:lnTo>
                <a:lnTo>
                  <a:pt x="741" y="883"/>
                </a:lnTo>
                <a:lnTo>
                  <a:pt x="756" y="886"/>
                </a:lnTo>
                <a:lnTo>
                  <a:pt x="787" y="891"/>
                </a:lnTo>
                <a:lnTo>
                  <a:pt x="817" y="897"/>
                </a:lnTo>
                <a:lnTo>
                  <a:pt x="849" y="904"/>
                </a:lnTo>
                <a:lnTo>
                  <a:pt x="880" y="909"/>
                </a:lnTo>
                <a:lnTo>
                  <a:pt x="896" y="913"/>
                </a:lnTo>
                <a:lnTo>
                  <a:pt x="913" y="916"/>
                </a:lnTo>
                <a:lnTo>
                  <a:pt x="929" y="917"/>
                </a:lnTo>
                <a:lnTo>
                  <a:pt x="946" y="920"/>
                </a:lnTo>
                <a:lnTo>
                  <a:pt x="963" y="922"/>
                </a:lnTo>
                <a:lnTo>
                  <a:pt x="980" y="925"/>
                </a:lnTo>
                <a:lnTo>
                  <a:pt x="997" y="928"/>
                </a:lnTo>
                <a:lnTo>
                  <a:pt x="1014" y="931"/>
                </a:lnTo>
                <a:lnTo>
                  <a:pt x="1031" y="935"/>
                </a:lnTo>
                <a:lnTo>
                  <a:pt x="1049" y="937"/>
                </a:lnTo>
                <a:lnTo>
                  <a:pt x="1064" y="939"/>
                </a:lnTo>
                <a:lnTo>
                  <a:pt x="1082" y="941"/>
                </a:lnTo>
                <a:lnTo>
                  <a:pt x="1100" y="944"/>
                </a:lnTo>
                <a:lnTo>
                  <a:pt x="1117" y="945"/>
                </a:lnTo>
                <a:lnTo>
                  <a:pt x="1135" y="948"/>
                </a:lnTo>
                <a:lnTo>
                  <a:pt x="1152" y="952"/>
                </a:lnTo>
                <a:lnTo>
                  <a:pt x="1149" y="954"/>
                </a:lnTo>
                <a:lnTo>
                  <a:pt x="1145" y="955"/>
                </a:lnTo>
                <a:lnTo>
                  <a:pt x="1142" y="956"/>
                </a:lnTo>
                <a:lnTo>
                  <a:pt x="1138" y="956"/>
                </a:lnTo>
                <a:lnTo>
                  <a:pt x="1132" y="955"/>
                </a:lnTo>
                <a:lnTo>
                  <a:pt x="1125" y="953"/>
                </a:lnTo>
                <a:lnTo>
                  <a:pt x="1116" y="952"/>
                </a:lnTo>
                <a:lnTo>
                  <a:pt x="1108" y="950"/>
                </a:lnTo>
                <a:lnTo>
                  <a:pt x="1099" y="949"/>
                </a:lnTo>
                <a:lnTo>
                  <a:pt x="1089" y="947"/>
                </a:lnTo>
                <a:lnTo>
                  <a:pt x="1077" y="948"/>
                </a:lnTo>
                <a:lnTo>
                  <a:pt x="1064" y="947"/>
                </a:lnTo>
                <a:lnTo>
                  <a:pt x="1049" y="942"/>
                </a:lnTo>
                <a:lnTo>
                  <a:pt x="1031" y="940"/>
                </a:lnTo>
                <a:lnTo>
                  <a:pt x="1016" y="941"/>
                </a:lnTo>
                <a:lnTo>
                  <a:pt x="1000" y="940"/>
                </a:lnTo>
                <a:lnTo>
                  <a:pt x="993" y="938"/>
                </a:lnTo>
                <a:lnTo>
                  <a:pt x="987" y="936"/>
                </a:lnTo>
                <a:lnTo>
                  <a:pt x="979" y="935"/>
                </a:lnTo>
                <a:lnTo>
                  <a:pt x="971" y="933"/>
                </a:lnTo>
                <a:lnTo>
                  <a:pt x="955" y="932"/>
                </a:lnTo>
                <a:lnTo>
                  <a:pt x="938" y="930"/>
                </a:lnTo>
                <a:lnTo>
                  <a:pt x="922" y="925"/>
                </a:lnTo>
                <a:lnTo>
                  <a:pt x="906" y="922"/>
                </a:lnTo>
                <a:lnTo>
                  <a:pt x="890" y="920"/>
                </a:lnTo>
                <a:lnTo>
                  <a:pt x="876" y="919"/>
                </a:lnTo>
                <a:lnTo>
                  <a:pt x="866" y="916"/>
                </a:lnTo>
                <a:lnTo>
                  <a:pt x="856" y="915"/>
                </a:lnTo>
                <a:lnTo>
                  <a:pt x="847" y="914"/>
                </a:lnTo>
                <a:lnTo>
                  <a:pt x="838" y="912"/>
                </a:lnTo>
                <a:lnTo>
                  <a:pt x="821" y="909"/>
                </a:lnTo>
                <a:lnTo>
                  <a:pt x="804" y="907"/>
                </a:lnTo>
                <a:lnTo>
                  <a:pt x="787" y="904"/>
                </a:lnTo>
                <a:lnTo>
                  <a:pt x="770" y="900"/>
                </a:lnTo>
                <a:lnTo>
                  <a:pt x="754" y="897"/>
                </a:lnTo>
                <a:lnTo>
                  <a:pt x="737" y="895"/>
                </a:lnTo>
                <a:lnTo>
                  <a:pt x="730" y="894"/>
                </a:lnTo>
                <a:lnTo>
                  <a:pt x="722" y="894"/>
                </a:lnTo>
                <a:lnTo>
                  <a:pt x="717" y="892"/>
                </a:lnTo>
                <a:lnTo>
                  <a:pt x="713" y="892"/>
                </a:lnTo>
                <a:lnTo>
                  <a:pt x="709" y="890"/>
                </a:lnTo>
                <a:lnTo>
                  <a:pt x="706" y="888"/>
                </a:lnTo>
                <a:lnTo>
                  <a:pt x="693" y="886"/>
                </a:lnTo>
                <a:lnTo>
                  <a:pt x="680" y="884"/>
                </a:lnTo>
                <a:lnTo>
                  <a:pt x="673" y="882"/>
                </a:lnTo>
                <a:lnTo>
                  <a:pt x="666" y="881"/>
                </a:lnTo>
                <a:lnTo>
                  <a:pt x="655" y="880"/>
                </a:lnTo>
                <a:lnTo>
                  <a:pt x="646" y="878"/>
                </a:lnTo>
                <a:lnTo>
                  <a:pt x="641" y="875"/>
                </a:lnTo>
                <a:lnTo>
                  <a:pt x="635" y="874"/>
                </a:lnTo>
                <a:lnTo>
                  <a:pt x="629" y="873"/>
                </a:lnTo>
                <a:lnTo>
                  <a:pt x="622" y="872"/>
                </a:lnTo>
                <a:lnTo>
                  <a:pt x="613" y="870"/>
                </a:lnTo>
                <a:lnTo>
                  <a:pt x="604" y="867"/>
                </a:lnTo>
                <a:lnTo>
                  <a:pt x="596" y="865"/>
                </a:lnTo>
                <a:lnTo>
                  <a:pt x="586" y="864"/>
                </a:lnTo>
                <a:lnTo>
                  <a:pt x="572" y="859"/>
                </a:lnTo>
                <a:lnTo>
                  <a:pt x="556" y="854"/>
                </a:lnTo>
                <a:lnTo>
                  <a:pt x="540" y="849"/>
                </a:lnTo>
                <a:lnTo>
                  <a:pt x="525" y="846"/>
                </a:lnTo>
                <a:lnTo>
                  <a:pt x="509" y="842"/>
                </a:lnTo>
                <a:lnTo>
                  <a:pt x="493" y="838"/>
                </a:lnTo>
                <a:lnTo>
                  <a:pt x="478" y="832"/>
                </a:lnTo>
                <a:lnTo>
                  <a:pt x="462" y="829"/>
                </a:lnTo>
                <a:lnTo>
                  <a:pt x="456" y="826"/>
                </a:lnTo>
                <a:lnTo>
                  <a:pt x="449" y="825"/>
                </a:lnTo>
                <a:lnTo>
                  <a:pt x="441" y="823"/>
                </a:lnTo>
                <a:lnTo>
                  <a:pt x="435" y="820"/>
                </a:lnTo>
                <a:lnTo>
                  <a:pt x="435" y="820"/>
                </a:lnTo>
                <a:lnTo>
                  <a:pt x="434" y="819"/>
                </a:lnTo>
                <a:lnTo>
                  <a:pt x="434" y="817"/>
                </a:lnTo>
                <a:lnTo>
                  <a:pt x="433" y="817"/>
                </a:lnTo>
                <a:lnTo>
                  <a:pt x="433" y="816"/>
                </a:lnTo>
                <a:lnTo>
                  <a:pt x="432" y="817"/>
                </a:lnTo>
                <a:lnTo>
                  <a:pt x="431" y="817"/>
                </a:lnTo>
                <a:lnTo>
                  <a:pt x="428" y="819"/>
                </a:lnTo>
                <a:lnTo>
                  <a:pt x="417" y="815"/>
                </a:lnTo>
                <a:lnTo>
                  <a:pt x="407" y="812"/>
                </a:lnTo>
                <a:lnTo>
                  <a:pt x="391" y="807"/>
                </a:lnTo>
                <a:lnTo>
                  <a:pt x="374" y="803"/>
                </a:lnTo>
                <a:lnTo>
                  <a:pt x="357" y="797"/>
                </a:lnTo>
                <a:lnTo>
                  <a:pt x="341" y="790"/>
                </a:lnTo>
                <a:lnTo>
                  <a:pt x="337" y="788"/>
                </a:lnTo>
                <a:lnTo>
                  <a:pt x="333" y="788"/>
                </a:lnTo>
                <a:lnTo>
                  <a:pt x="330" y="790"/>
                </a:lnTo>
                <a:lnTo>
                  <a:pt x="332" y="792"/>
                </a:lnTo>
                <a:lnTo>
                  <a:pt x="333" y="795"/>
                </a:lnTo>
                <a:lnTo>
                  <a:pt x="335" y="796"/>
                </a:lnTo>
                <a:lnTo>
                  <a:pt x="349" y="803"/>
                </a:lnTo>
                <a:lnTo>
                  <a:pt x="362" y="807"/>
                </a:lnTo>
                <a:lnTo>
                  <a:pt x="378" y="813"/>
                </a:lnTo>
                <a:lnTo>
                  <a:pt x="394" y="820"/>
                </a:lnTo>
                <a:lnTo>
                  <a:pt x="410" y="825"/>
                </a:lnTo>
                <a:lnTo>
                  <a:pt x="427" y="831"/>
                </a:lnTo>
                <a:lnTo>
                  <a:pt x="443" y="836"/>
                </a:lnTo>
                <a:lnTo>
                  <a:pt x="460" y="840"/>
                </a:lnTo>
                <a:lnTo>
                  <a:pt x="477" y="844"/>
                </a:lnTo>
                <a:lnTo>
                  <a:pt x="495" y="847"/>
                </a:lnTo>
                <a:lnTo>
                  <a:pt x="505" y="849"/>
                </a:lnTo>
                <a:lnTo>
                  <a:pt x="514" y="850"/>
                </a:lnTo>
                <a:lnTo>
                  <a:pt x="523" y="853"/>
                </a:lnTo>
                <a:lnTo>
                  <a:pt x="532" y="855"/>
                </a:lnTo>
                <a:lnTo>
                  <a:pt x="549" y="859"/>
                </a:lnTo>
                <a:lnTo>
                  <a:pt x="565" y="865"/>
                </a:lnTo>
                <a:lnTo>
                  <a:pt x="582" y="869"/>
                </a:lnTo>
                <a:lnTo>
                  <a:pt x="598" y="873"/>
                </a:lnTo>
                <a:lnTo>
                  <a:pt x="607" y="875"/>
                </a:lnTo>
                <a:lnTo>
                  <a:pt x="615" y="879"/>
                </a:lnTo>
                <a:lnTo>
                  <a:pt x="618" y="880"/>
                </a:lnTo>
                <a:lnTo>
                  <a:pt x="622" y="880"/>
                </a:lnTo>
                <a:lnTo>
                  <a:pt x="624" y="879"/>
                </a:lnTo>
                <a:lnTo>
                  <a:pt x="626" y="879"/>
                </a:lnTo>
                <a:lnTo>
                  <a:pt x="627" y="879"/>
                </a:lnTo>
                <a:lnTo>
                  <a:pt x="629" y="879"/>
                </a:lnTo>
                <a:lnTo>
                  <a:pt x="630" y="879"/>
                </a:lnTo>
                <a:lnTo>
                  <a:pt x="631" y="880"/>
                </a:lnTo>
                <a:lnTo>
                  <a:pt x="635" y="882"/>
                </a:lnTo>
                <a:lnTo>
                  <a:pt x="640" y="886"/>
                </a:lnTo>
                <a:lnTo>
                  <a:pt x="648" y="889"/>
                </a:lnTo>
                <a:lnTo>
                  <a:pt x="655" y="890"/>
                </a:lnTo>
                <a:lnTo>
                  <a:pt x="664" y="890"/>
                </a:lnTo>
                <a:lnTo>
                  <a:pt x="673" y="891"/>
                </a:lnTo>
                <a:lnTo>
                  <a:pt x="682" y="894"/>
                </a:lnTo>
                <a:lnTo>
                  <a:pt x="692" y="896"/>
                </a:lnTo>
                <a:lnTo>
                  <a:pt x="700" y="898"/>
                </a:lnTo>
                <a:lnTo>
                  <a:pt x="709" y="898"/>
                </a:lnTo>
                <a:lnTo>
                  <a:pt x="718" y="899"/>
                </a:lnTo>
                <a:lnTo>
                  <a:pt x="728" y="900"/>
                </a:lnTo>
                <a:lnTo>
                  <a:pt x="737" y="903"/>
                </a:lnTo>
                <a:lnTo>
                  <a:pt x="746" y="905"/>
                </a:lnTo>
                <a:lnTo>
                  <a:pt x="750" y="906"/>
                </a:lnTo>
                <a:lnTo>
                  <a:pt x="755" y="906"/>
                </a:lnTo>
                <a:lnTo>
                  <a:pt x="759" y="906"/>
                </a:lnTo>
                <a:lnTo>
                  <a:pt x="765" y="906"/>
                </a:lnTo>
                <a:lnTo>
                  <a:pt x="759" y="906"/>
                </a:lnTo>
                <a:lnTo>
                  <a:pt x="755" y="906"/>
                </a:lnTo>
                <a:lnTo>
                  <a:pt x="756" y="913"/>
                </a:lnTo>
                <a:lnTo>
                  <a:pt x="756" y="919"/>
                </a:lnTo>
                <a:lnTo>
                  <a:pt x="756" y="920"/>
                </a:lnTo>
                <a:lnTo>
                  <a:pt x="755" y="921"/>
                </a:lnTo>
                <a:lnTo>
                  <a:pt x="755" y="922"/>
                </a:lnTo>
                <a:lnTo>
                  <a:pt x="753" y="921"/>
                </a:lnTo>
                <a:lnTo>
                  <a:pt x="751" y="921"/>
                </a:lnTo>
                <a:lnTo>
                  <a:pt x="750" y="921"/>
                </a:lnTo>
                <a:lnTo>
                  <a:pt x="745" y="921"/>
                </a:lnTo>
                <a:lnTo>
                  <a:pt x="740" y="919"/>
                </a:lnTo>
                <a:lnTo>
                  <a:pt x="738" y="916"/>
                </a:lnTo>
                <a:lnTo>
                  <a:pt x="737" y="914"/>
                </a:lnTo>
                <a:lnTo>
                  <a:pt x="731" y="912"/>
                </a:lnTo>
                <a:lnTo>
                  <a:pt x="725" y="911"/>
                </a:lnTo>
                <a:lnTo>
                  <a:pt x="715" y="907"/>
                </a:lnTo>
                <a:lnTo>
                  <a:pt x="706" y="905"/>
                </a:lnTo>
                <a:lnTo>
                  <a:pt x="696" y="903"/>
                </a:lnTo>
                <a:lnTo>
                  <a:pt x="685" y="902"/>
                </a:lnTo>
                <a:lnTo>
                  <a:pt x="675" y="902"/>
                </a:lnTo>
                <a:lnTo>
                  <a:pt x="665" y="903"/>
                </a:lnTo>
                <a:lnTo>
                  <a:pt x="659" y="904"/>
                </a:lnTo>
                <a:lnTo>
                  <a:pt x="655" y="903"/>
                </a:lnTo>
                <a:lnTo>
                  <a:pt x="649" y="902"/>
                </a:lnTo>
                <a:lnTo>
                  <a:pt x="644" y="900"/>
                </a:lnTo>
                <a:lnTo>
                  <a:pt x="641" y="899"/>
                </a:lnTo>
                <a:lnTo>
                  <a:pt x="638" y="898"/>
                </a:lnTo>
                <a:lnTo>
                  <a:pt x="637" y="899"/>
                </a:lnTo>
                <a:lnTo>
                  <a:pt x="637" y="900"/>
                </a:lnTo>
                <a:lnTo>
                  <a:pt x="637" y="903"/>
                </a:lnTo>
                <a:lnTo>
                  <a:pt x="637" y="905"/>
                </a:lnTo>
                <a:lnTo>
                  <a:pt x="631" y="905"/>
                </a:lnTo>
                <a:lnTo>
                  <a:pt x="626" y="905"/>
                </a:lnTo>
                <a:lnTo>
                  <a:pt x="622" y="904"/>
                </a:lnTo>
                <a:lnTo>
                  <a:pt x="617" y="902"/>
                </a:lnTo>
                <a:lnTo>
                  <a:pt x="609" y="896"/>
                </a:lnTo>
                <a:lnTo>
                  <a:pt x="602" y="889"/>
                </a:lnTo>
                <a:lnTo>
                  <a:pt x="599" y="886"/>
                </a:lnTo>
                <a:lnTo>
                  <a:pt x="596" y="883"/>
                </a:lnTo>
                <a:lnTo>
                  <a:pt x="591" y="881"/>
                </a:lnTo>
                <a:lnTo>
                  <a:pt x="586" y="880"/>
                </a:lnTo>
                <a:lnTo>
                  <a:pt x="581" y="880"/>
                </a:lnTo>
                <a:lnTo>
                  <a:pt x="575" y="878"/>
                </a:lnTo>
                <a:lnTo>
                  <a:pt x="568" y="875"/>
                </a:lnTo>
                <a:lnTo>
                  <a:pt x="563" y="872"/>
                </a:lnTo>
                <a:lnTo>
                  <a:pt x="555" y="869"/>
                </a:lnTo>
                <a:lnTo>
                  <a:pt x="543" y="865"/>
                </a:lnTo>
                <a:lnTo>
                  <a:pt x="538" y="864"/>
                </a:lnTo>
                <a:lnTo>
                  <a:pt x="533" y="864"/>
                </a:lnTo>
                <a:lnTo>
                  <a:pt x="528" y="865"/>
                </a:lnTo>
                <a:lnTo>
                  <a:pt x="526" y="869"/>
                </a:lnTo>
                <a:lnTo>
                  <a:pt x="525" y="872"/>
                </a:lnTo>
                <a:lnTo>
                  <a:pt x="523" y="877"/>
                </a:lnTo>
                <a:lnTo>
                  <a:pt x="519" y="879"/>
                </a:lnTo>
                <a:lnTo>
                  <a:pt x="515" y="879"/>
                </a:lnTo>
                <a:lnTo>
                  <a:pt x="509" y="879"/>
                </a:lnTo>
                <a:lnTo>
                  <a:pt x="505" y="879"/>
                </a:lnTo>
                <a:lnTo>
                  <a:pt x="500" y="877"/>
                </a:lnTo>
                <a:lnTo>
                  <a:pt x="495" y="874"/>
                </a:lnTo>
                <a:lnTo>
                  <a:pt x="498" y="878"/>
                </a:lnTo>
                <a:lnTo>
                  <a:pt x="499" y="880"/>
                </a:lnTo>
                <a:lnTo>
                  <a:pt x="502" y="881"/>
                </a:lnTo>
                <a:lnTo>
                  <a:pt x="506" y="882"/>
                </a:lnTo>
                <a:lnTo>
                  <a:pt x="517" y="887"/>
                </a:lnTo>
                <a:lnTo>
                  <a:pt x="528" y="890"/>
                </a:lnTo>
                <a:lnTo>
                  <a:pt x="540" y="894"/>
                </a:lnTo>
                <a:lnTo>
                  <a:pt x="552" y="896"/>
                </a:lnTo>
                <a:lnTo>
                  <a:pt x="564" y="898"/>
                </a:lnTo>
                <a:lnTo>
                  <a:pt x="575" y="900"/>
                </a:lnTo>
                <a:lnTo>
                  <a:pt x="598" y="907"/>
                </a:lnTo>
                <a:lnTo>
                  <a:pt x="622" y="913"/>
                </a:lnTo>
                <a:lnTo>
                  <a:pt x="633" y="916"/>
                </a:lnTo>
                <a:lnTo>
                  <a:pt x="644" y="919"/>
                </a:lnTo>
                <a:lnTo>
                  <a:pt x="656" y="921"/>
                </a:lnTo>
                <a:lnTo>
                  <a:pt x="667" y="922"/>
                </a:lnTo>
                <a:lnTo>
                  <a:pt x="677" y="922"/>
                </a:lnTo>
                <a:lnTo>
                  <a:pt x="687" y="923"/>
                </a:lnTo>
                <a:lnTo>
                  <a:pt x="696" y="925"/>
                </a:lnTo>
                <a:lnTo>
                  <a:pt x="705" y="930"/>
                </a:lnTo>
                <a:lnTo>
                  <a:pt x="716" y="932"/>
                </a:lnTo>
                <a:lnTo>
                  <a:pt x="728" y="935"/>
                </a:lnTo>
                <a:lnTo>
                  <a:pt x="739" y="937"/>
                </a:lnTo>
                <a:lnTo>
                  <a:pt x="750" y="938"/>
                </a:lnTo>
                <a:lnTo>
                  <a:pt x="774" y="941"/>
                </a:lnTo>
                <a:lnTo>
                  <a:pt x="797" y="946"/>
                </a:lnTo>
                <a:lnTo>
                  <a:pt x="821" y="950"/>
                </a:lnTo>
                <a:lnTo>
                  <a:pt x="845" y="956"/>
                </a:lnTo>
                <a:lnTo>
                  <a:pt x="857" y="958"/>
                </a:lnTo>
                <a:lnTo>
                  <a:pt x="869" y="961"/>
                </a:lnTo>
                <a:lnTo>
                  <a:pt x="882" y="962"/>
                </a:lnTo>
                <a:lnTo>
                  <a:pt x="895" y="964"/>
                </a:lnTo>
                <a:lnTo>
                  <a:pt x="901" y="966"/>
                </a:lnTo>
                <a:lnTo>
                  <a:pt x="907" y="967"/>
                </a:lnTo>
                <a:lnTo>
                  <a:pt x="914" y="969"/>
                </a:lnTo>
                <a:lnTo>
                  <a:pt x="921" y="969"/>
                </a:lnTo>
                <a:lnTo>
                  <a:pt x="934" y="966"/>
                </a:lnTo>
                <a:lnTo>
                  <a:pt x="947" y="963"/>
                </a:lnTo>
                <a:lnTo>
                  <a:pt x="935" y="961"/>
                </a:lnTo>
                <a:lnTo>
                  <a:pt x="923" y="958"/>
                </a:lnTo>
                <a:lnTo>
                  <a:pt x="912" y="956"/>
                </a:lnTo>
                <a:lnTo>
                  <a:pt x="901" y="955"/>
                </a:lnTo>
                <a:lnTo>
                  <a:pt x="889" y="953"/>
                </a:lnTo>
                <a:lnTo>
                  <a:pt x="878" y="950"/>
                </a:lnTo>
                <a:lnTo>
                  <a:pt x="866" y="949"/>
                </a:lnTo>
                <a:lnTo>
                  <a:pt x="855" y="947"/>
                </a:lnTo>
                <a:lnTo>
                  <a:pt x="844" y="945"/>
                </a:lnTo>
                <a:lnTo>
                  <a:pt x="832" y="942"/>
                </a:lnTo>
                <a:lnTo>
                  <a:pt x="821" y="940"/>
                </a:lnTo>
                <a:lnTo>
                  <a:pt x="810" y="939"/>
                </a:lnTo>
                <a:lnTo>
                  <a:pt x="804" y="939"/>
                </a:lnTo>
                <a:lnTo>
                  <a:pt x="798" y="938"/>
                </a:lnTo>
                <a:lnTo>
                  <a:pt x="797" y="937"/>
                </a:lnTo>
                <a:lnTo>
                  <a:pt x="796" y="936"/>
                </a:lnTo>
                <a:lnTo>
                  <a:pt x="795" y="936"/>
                </a:lnTo>
                <a:lnTo>
                  <a:pt x="794" y="936"/>
                </a:lnTo>
                <a:lnTo>
                  <a:pt x="789" y="935"/>
                </a:lnTo>
                <a:lnTo>
                  <a:pt x="784" y="933"/>
                </a:lnTo>
                <a:lnTo>
                  <a:pt x="781" y="931"/>
                </a:lnTo>
                <a:lnTo>
                  <a:pt x="778" y="928"/>
                </a:lnTo>
                <a:lnTo>
                  <a:pt x="781" y="932"/>
                </a:lnTo>
                <a:lnTo>
                  <a:pt x="787" y="935"/>
                </a:lnTo>
                <a:lnTo>
                  <a:pt x="789" y="935"/>
                </a:lnTo>
                <a:lnTo>
                  <a:pt x="791" y="932"/>
                </a:lnTo>
                <a:lnTo>
                  <a:pt x="795" y="930"/>
                </a:lnTo>
                <a:lnTo>
                  <a:pt x="796" y="927"/>
                </a:lnTo>
                <a:lnTo>
                  <a:pt x="797" y="923"/>
                </a:lnTo>
                <a:lnTo>
                  <a:pt x="799" y="920"/>
                </a:lnTo>
                <a:lnTo>
                  <a:pt x="803" y="919"/>
                </a:lnTo>
                <a:lnTo>
                  <a:pt x="806" y="919"/>
                </a:lnTo>
                <a:lnTo>
                  <a:pt x="808" y="919"/>
                </a:lnTo>
                <a:lnTo>
                  <a:pt x="810" y="919"/>
                </a:lnTo>
                <a:lnTo>
                  <a:pt x="812" y="917"/>
                </a:lnTo>
                <a:lnTo>
                  <a:pt x="813" y="916"/>
                </a:lnTo>
                <a:lnTo>
                  <a:pt x="820" y="917"/>
                </a:lnTo>
                <a:lnTo>
                  <a:pt x="825" y="920"/>
                </a:lnTo>
                <a:lnTo>
                  <a:pt x="833" y="921"/>
                </a:lnTo>
                <a:lnTo>
                  <a:pt x="840" y="921"/>
                </a:lnTo>
                <a:lnTo>
                  <a:pt x="854" y="923"/>
                </a:lnTo>
                <a:lnTo>
                  <a:pt x="868" y="927"/>
                </a:lnTo>
                <a:lnTo>
                  <a:pt x="880" y="929"/>
                </a:lnTo>
                <a:lnTo>
                  <a:pt x="894" y="931"/>
                </a:lnTo>
                <a:lnTo>
                  <a:pt x="906" y="932"/>
                </a:lnTo>
                <a:lnTo>
                  <a:pt x="920" y="932"/>
                </a:lnTo>
                <a:lnTo>
                  <a:pt x="931" y="935"/>
                </a:lnTo>
                <a:lnTo>
                  <a:pt x="943" y="937"/>
                </a:lnTo>
                <a:lnTo>
                  <a:pt x="947" y="939"/>
                </a:lnTo>
                <a:lnTo>
                  <a:pt x="952" y="940"/>
                </a:lnTo>
                <a:lnTo>
                  <a:pt x="955" y="942"/>
                </a:lnTo>
                <a:lnTo>
                  <a:pt x="959" y="944"/>
                </a:lnTo>
                <a:lnTo>
                  <a:pt x="964" y="944"/>
                </a:lnTo>
                <a:lnTo>
                  <a:pt x="970" y="942"/>
                </a:lnTo>
                <a:lnTo>
                  <a:pt x="976" y="942"/>
                </a:lnTo>
                <a:lnTo>
                  <a:pt x="983" y="942"/>
                </a:lnTo>
                <a:lnTo>
                  <a:pt x="996" y="944"/>
                </a:lnTo>
                <a:lnTo>
                  <a:pt x="1009" y="946"/>
                </a:lnTo>
                <a:lnTo>
                  <a:pt x="1021" y="949"/>
                </a:lnTo>
                <a:lnTo>
                  <a:pt x="1034" y="953"/>
                </a:lnTo>
                <a:lnTo>
                  <a:pt x="1046" y="954"/>
                </a:lnTo>
                <a:lnTo>
                  <a:pt x="1059" y="955"/>
                </a:lnTo>
                <a:lnTo>
                  <a:pt x="1071" y="956"/>
                </a:lnTo>
                <a:lnTo>
                  <a:pt x="1084" y="957"/>
                </a:lnTo>
                <a:lnTo>
                  <a:pt x="1095" y="958"/>
                </a:lnTo>
                <a:lnTo>
                  <a:pt x="1107" y="961"/>
                </a:lnTo>
                <a:lnTo>
                  <a:pt x="1118" y="965"/>
                </a:lnTo>
                <a:lnTo>
                  <a:pt x="1130" y="969"/>
                </a:lnTo>
                <a:lnTo>
                  <a:pt x="1136" y="966"/>
                </a:lnTo>
                <a:lnTo>
                  <a:pt x="1142" y="964"/>
                </a:lnTo>
                <a:lnTo>
                  <a:pt x="1149" y="964"/>
                </a:lnTo>
                <a:lnTo>
                  <a:pt x="1154" y="965"/>
                </a:lnTo>
                <a:lnTo>
                  <a:pt x="1169" y="969"/>
                </a:lnTo>
                <a:lnTo>
                  <a:pt x="1184" y="970"/>
                </a:lnTo>
                <a:lnTo>
                  <a:pt x="1189" y="970"/>
                </a:lnTo>
                <a:lnTo>
                  <a:pt x="1195" y="970"/>
                </a:lnTo>
                <a:lnTo>
                  <a:pt x="1198" y="969"/>
                </a:lnTo>
                <a:lnTo>
                  <a:pt x="1200" y="966"/>
                </a:lnTo>
                <a:lnTo>
                  <a:pt x="1200" y="965"/>
                </a:lnTo>
                <a:lnTo>
                  <a:pt x="1199" y="962"/>
                </a:lnTo>
                <a:lnTo>
                  <a:pt x="1189" y="958"/>
                </a:lnTo>
                <a:lnTo>
                  <a:pt x="1178" y="957"/>
                </a:lnTo>
                <a:lnTo>
                  <a:pt x="1185" y="955"/>
                </a:lnTo>
                <a:lnTo>
                  <a:pt x="1192" y="954"/>
                </a:lnTo>
                <a:lnTo>
                  <a:pt x="1198" y="955"/>
                </a:lnTo>
                <a:lnTo>
                  <a:pt x="1204" y="958"/>
                </a:lnTo>
                <a:lnTo>
                  <a:pt x="1210" y="960"/>
                </a:lnTo>
                <a:lnTo>
                  <a:pt x="1217" y="961"/>
                </a:lnTo>
                <a:lnTo>
                  <a:pt x="1220" y="961"/>
                </a:lnTo>
                <a:lnTo>
                  <a:pt x="1224" y="960"/>
                </a:lnTo>
                <a:lnTo>
                  <a:pt x="1226" y="958"/>
                </a:lnTo>
                <a:lnTo>
                  <a:pt x="1228" y="956"/>
                </a:lnTo>
                <a:lnTo>
                  <a:pt x="1228" y="955"/>
                </a:lnTo>
                <a:lnTo>
                  <a:pt x="1227" y="953"/>
                </a:lnTo>
                <a:lnTo>
                  <a:pt x="1226" y="953"/>
                </a:lnTo>
                <a:lnTo>
                  <a:pt x="1225" y="952"/>
                </a:lnTo>
                <a:lnTo>
                  <a:pt x="1222" y="952"/>
                </a:lnTo>
                <a:lnTo>
                  <a:pt x="1219" y="950"/>
                </a:lnTo>
                <a:lnTo>
                  <a:pt x="1212" y="950"/>
                </a:lnTo>
                <a:lnTo>
                  <a:pt x="1204" y="949"/>
                </a:lnTo>
                <a:lnTo>
                  <a:pt x="1195" y="947"/>
                </a:lnTo>
                <a:lnTo>
                  <a:pt x="1185" y="946"/>
                </a:lnTo>
                <a:lnTo>
                  <a:pt x="1176" y="945"/>
                </a:lnTo>
                <a:lnTo>
                  <a:pt x="1166" y="944"/>
                </a:lnTo>
                <a:lnTo>
                  <a:pt x="1149" y="941"/>
                </a:lnTo>
                <a:lnTo>
                  <a:pt x="1132" y="937"/>
                </a:lnTo>
                <a:lnTo>
                  <a:pt x="1115" y="933"/>
                </a:lnTo>
                <a:lnTo>
                  <a:pt x="1097" y="931"/>
                </a:lnTo>
                <a:lnTo>
                  <a:pt x="1078" y="929"/>
                </a:lnTo>
                <a:lnTo>
                  <a:pt x="1060" y="927"/>
                </a:lnTo>
                <a:lnTo>
                  <a:pt x="1041" y="924"/>
                </a:lnTo>
                <a:lnTo>
                  <a:pt x="1022" y="921"/>
                </a:lnTo>
                <a:lnTo>
                  <a:pt x="1003" y="919"/>
                </a:lnTo>
                <a:lnTo>
                  <a:pt x="985" y="915"/>
                </a:lnTo>
                <a:lnTo>
                  <a:pt x="967" y="912"/>
                </a:lnTo>
                <a:lnTo>
                  <a:pt x="948" y="909"/>
                </a:lnTo>
                <a:lnTo>
                  <a:pt x="931" y="908"/>
                </a:lnTo>
                <a:lnTo>
                  <a:pt x="913" y="906"/>
                </a:lnTo>
                <a:lnTo>
                  <a:pt x="895" y="904"/>
                </a:lnTo>
                <a:lnTo>
                  <a:pt x="878" y="900"/>
                </a:lnTo>
                <a:lnTo>
                  <a:pt x="840" y="894"/>
                </a:lnTo>
                <a:lnTo>
                  <a:pt x="804" y="887"/>
                </a:lnTo>
                <a:lnTo>
                  <a:pt x="767" y="880"/>
                </a:lnTo>
                <a:lnTo>
                  <a:pt x="730" y="873"/>
                </a:lnTo>
                <a:lnTo>
                  <a:pt x="711" y="869"/>
                </a:lnTo>
                <a:lnTo>
                  <a:pt x="690" y="865"/>
                </a:lnTo>
                <a:lnTo>
                  <a:pt x="671" y="861"/>
                </a:lnTo>
                <a:lnTo>
                  <a:pt x="650" y="857"/>
                </a:lnTo>
                <a:lnTo>
                  <a:pt x="641" y="855"/>
                </a:lnTo>
                <a:lnTo>
                  <a:pt x="631" y="853"/>
                </a:lnTo>
                <a:lnTo>
                  <a:pt x="622" y="850"/>
                </a:lnTo>
                <a:lnTo>
                  <a:pt x="611" y="849"/>
                </a:lnTo>
                <a:lnTo>
                  <a:pt x="601" y="847"/>
                </a:lnTo>
                <a:lnTo>
                  <a:pt x="591" y="845"/>
                </a:lnTo>
                <a:lnTo>
                  <a:pt x="582" y="841"/>
                </a:lnTo>
                <a:lnTo>
                  <a:pt x="572" y="837"/>
                </a:lnTo>
                <a:lnTo>
                  <a:pt x="575" y="836"/>
                </a:lnTo>
                <a:lnTo>
                  <a:pt x="577" y="836"/>
                </a:lnTo>
                <a:lnTo>
                  <a:pt x="581" y="836"/>
                </a:lnTo>
                <a:lnTo>
                  <a:pt x="585" y="837"/>
                </a:lnTo>
                <a:lnTo>
                  <a:pt x="592" y="839"/>
                </a:lnTo>
                <a:lnTo>
                  <a:pt x="598" y="840"/>
                </a:lnTo>
                <a:lnTo>
                  <a:pt x="606" y="842"/>
                </a:lnTo>
                <a:lnTo>
                  <a:pt x="614" y="844"/>
                </a:lnTo>
                <a:lnTo>
                  <a:pt x="622" y="846"/>
                </a:lnTo>
                <a:lnTo>
                  <a:pt x="630" y="848"/>
                </a:lnTo>
                <a:lnTo>
                  <a:pt x="646" y="852"/>
                </a:lnTo>
                <a:lnTo>
                  <a:pt x="662" y="855"/>
                </a:lnTo>
                <a:lnTo>
                  <a:pt x="679" y="858"/>
                </a:lnTo>
                <a:lnTo>
                  <a:pt x="695" y="862"/>
                </a:lnTo>
                <a:lnTo>
                  <a:pt x="711" y="865"/>
                </a:lnTo>
                <a:lnTo>
                  <a:pt x="726" y="869"/>
                </a:lnTo>
                <a:lnTo>
                  <a:pt x="742" y="870"/>
                </a:lnTo>
                <a:lnTo>
                  <a:pt x="759" y="872"/>
                </a:lnTo>
                <a:lnTo>
                  <a:pt x="763" y="873"/>
                </a:lnTo>
                <a:lnTo>
                  <a:pt x="770" y="874"/>
                </a:lnTo>
                <a:lnTo>
                  <a:pt x="773" y="875"/>
                </a:lnTo>
                <a:lnTo>
                  <a:pt x="775" y="874"/>
                </a:lnTo>
                <a:lnTo>
                  <a:pt x="777" y="874"/>
                </a:lnTo>
                <a:lnTo>
                  <a:pt x="778" y="872"/>
                </a:lnTo>
                <a:lnTo>
                  <a:pt x="777" y="870"/>
                </a:lnTo>
                <a:lnTo>
                  <a:pt x="773" y="869"/>
                </a:lnTo>
                <a:lnTo>
                  <a:pt x="770" y="867"/>
                </a:lnTo>
                <a:lnTo>
                  <a:pt x="765" y="866"/>
                </a:lnTo>
                <a:lnTo>
                  <a:pt x="756" y="865"/>
                </a:lnTo>
                <a:lnTo>
                  <a:pt x="749" y="865"/>
                </a:lnTo>
                <a:lnTo>
                  <a:pt x="751" y="863"/>
                </a:lnTo>
                <a:lnTo>
                  <a:pt x="754" y="862"/>
                </a:lnTo>
                <a:lnTo>
                  <a:pt x="757" y="862"/>
                </a:lnTo>
                <a:lnTo>
                  <a:pt x="761" y="862"/>
                </a:lnTo>
                <a:lnTo>
                  <a:pt x="766" y="863"/>
                </a:lnTo>
                <a:lnTo>
                  <a:pt x="772" y="864"/>
                </a:lnTo>
                <a:lnTo>
                  <a:pt x="787" y="866"/>
                </a:lnTo>
                <a:lnTo>
                  <a:pt x="803" y="869"/>
                </a:lnTo>
                <a:lnTo>
                  <a:pt x="816" y="871"/>
                </a:lnTo>
                <a:lnTo>
                  <a:pt x="830" y="873"/>
                </a:lnTo>
                <a:lnTo>
                  <a:pt x="837" y="873"/>
                </a:lnTo>
                <a:lnTo>
                  <a:pt x="843" y="874"/>
                </a:lnTo>
                <a:lnTo>
                  <a:pt x="848" y="877"/>
                </a:lnTo>
                <a:lnTo>
                  <a:pt x="854" y="879"/>
                </a:lnTo>
                <a:lnTo>
                  <a:pt x="850" y="881"/>
                </a:lnTo>
                <a:lnTo>
                  <a:pt x="847" y="881"/>
                </a:lnTo>
                <a:lnTo>
                  <a:pt x="844" y="882"/>
                </a:lnTo>
                <a:lnTo>
                  <a:pt x="841" y="886"/>
                </a:lnTo>
                <a:lnTo>
                  <a:pt x="850" y="887"/>
                </a:lnTo>
                <a:lnTo>
                  <a:pt x="858" y="888"/>
                </a:lnTo>
                <a:lnTo>
                  <a:pt x="868" y="890"/>
                </a:lnTo>
                <a:lnTo>
                  <a:pt x="876" y="892"/>
                </a:lnTo>
                <a:lnTo>
                  <a:pt x="882" y="894"/>
                </a:lnTo>
                <a:lnTo>
                  <a:pt x="888" y="894"/>
                </a:lnTo>
                <a:lnTo>
                  <a:pt x="890" y="890"/>
                </a:lnTo>
                <a:lnTo>
                  <a:pt x="894" y="887"/>
                </a:lnTo>
                <a:lnTo>
                  <a:pt x="901" y="886"/>
                </a:lnTo>
                <a:lnTo>
                  <a:pt x="909" y="887"/>
                </a:lnTo>
                <a:lnTo>
                  <a:pt x="915" y="889"/>
                </a:lnTo>
                <a:lnTo>
                  <a:pt x="922" y="891"/>
                </a:lnTo>
                <a:lnTo>
                  <a:pt x="931" y="894"/>
                </a:lnTo>
                <a:lnTo>
                  <a:pt x="939" y="896"/>
                </a:lnTo>
                <a:lnTo>
                  <a:pt x="948" y="898"/>
                </a:lnTo>
                <a:lnTo>
                  <a:pt x="957" y="899"/>
                </a:lnTo>
                <a:lnTo>
                  <a:pt x="967" y="902"/>
                </a:lnTo>
                <a:lnTo>
                  <a:pt x="976" y="903"/>
                </a:lnTo>
                <a:lnTo>
                  <a:pt x="979" y="904"/>
                </a:lnTo>
                <a:lnTo>
                  <a:pt x="983" y="904"/>
                </a:lnTo>
                <a:lnTo>
                  <a:pt x="984" y="906"/>
                </a:lnTo>
                <a:lnTo>
                  <a:pt x="985" y="908"/>
                </a:lnTo>
                <a:lnTo>
                  <a:pt x="990" y="909"/>
                </a:lnTo>
                <a:lnTo>
                  <a:pt x="997" y="911"/>
                </a:lnTo>
                <a:lnTo>
                  <a:pt x="1005" y="913"/>
                </a:lnTo>
                <a:lnTo>
                  <a:pt x="1012" y="915"/>
                </a:lnTo>
                <a:lnTo>
                  <a:pt x="1021" y="916"/>
                </a:lnTo>
                <a:lnTo>
                  <a:pt x="1030" y="917"/>
                </a:lnTo>
                <a:lnTo>
                  <a:pt x="1038" y="919"/>
                </a:lnTo>
                <a:lnTo>
                  <a:pt x="1047" y="920"/>
                </a:lnTo>
                <a:lnTo>
                  <a:pt x="1055" y="922"/>
                </a:lnTo>
                <a:lnTo>
                  <a:pt x="1064" y="923"/>
                </a:lnTo>
                <a:lnTo>
                  <a:pt x="1072" y="924"/>
                </a:lnTo>
                <a:lnTo>
                  <a:pt x="1082" y="923"/>
                </a:lnTo>
                <a:lnTo>
                  <a:pt x="1078" y="919"/>
                </a:lnTo>
                <a:lnTo>
                  <a:pt x="1072" y="915"/>
                </a:lnTo>
                <a:lnTo>
                  <a:pt x="1067" y="914"/>
                </a:lnTo>
                <a:lnTo>
                  <a:pt x="1060" y="914"/>
                </a:lnTo>
                <a:lnTo>
                  <a:pt x="1046" y="915"/>
                </a:lnTo>
                <a:lnTo>
                  <a:pt x="1034" y="915"/>
                </a:lnTo>
                <a:lnTo>
                  <a:pt x="1021" y="912"/>
                </a:lnTo>
                <a:lnTo>
                  <a:pt x="1008" y="908"/>
                </a:lnTo>
                <a:lnTo>
                  <a:pt x="1003" y="908"/>
                </a:lnTo>
                <a:lnTo>
                  <a:pt x="997" y="908"/>
                </a:lnTo>
                <a:lnTo>
                  <a:pt x="995" y="908"/>
                </a:lnTo>
                <a:lnTo>
                  <a:pt x="993" y="907"/>
                </a:lnTo>
                <a:lnTo>
                  <a:pt x="990" y="906"/>
                </a:lnTo>
                <a:lnTo>
                  <a:pt x="989" y="904"/>
                </a:lnTo>
                <a:lnTo>
                  <a:pt x="996" y="903"/>
                </a:lnTo>
                <a:lnTo>
                  <a:pt x="1004" y="903"/>
                </a:lnTo>
                <a:lnTo>
                  <a:pt x="1011" y="904"/>
                </a:lnTo>
                <a:lnTo>
                  <a:pt x="1019" y="904"/>
                </a:lnTo>
                <a:lnTo>
                  <a:pt x="1025" y="905"/>
                </a:lnTo>
                <a:lnTo>
                  <a:pt x="1031" y="907"/>
                </a:lnTo>
                <a:lnTo>
                  <a:pt x="1034" y="908"/>
                </a:lnTo>
                <a:lnTo>
                  <a:pt x="1036" y="909"/>
                </a:lnTo>
                <a:lnTo>
                  <a:pt x="1038" y="911"/>
                </a:lnTo>
                <a:lnTo>
                  <a:pt x="1042" y="911"/>
                </a:lnTo>
                <a:lnTo>
                  <a:pt x="1047" y="909"/>
                </a:lnTo>
                <a:lnTo>
                  <a:pt x="1053" y="908"/>
                </a:lnTo>
                <a:lnTo>
                  <a:pt x="1061" y="909"/>
                </a:lnTo>
                <a:lnTo>
                  <a:pt x="1069" y="911"/>
                </a:lnTo>
                <a:lnTo>
                  <a:pt x="1077" y="912"/>
                </a:lnTo>
                <a:lnTo>
                  <a:pt x="1085" y="913"/>
                </a:lnTo>
                <a:lnTo>
                  <a:pt x="1094" y="914"/>
                </a:lnTo>
                <a:lnTo>
                  <a:pt x="1102" y="915"/>
                </a:lnTo>
                <a:lnTo>
                  <a:pt x="1107" y="921"/>
                </a:lnTo>
                <a:lnTo>
                  <a:pt x="1111" y="928"/>
                </a:lnTo>
                <a:lnTo>
                  <a:pt x="1121" y="928"/>
                </a:lnTo>
                <a:lnTo>
                  <a:pt x="1130" y="927"/>
                </a:lnTo>
                <a:lnTo>
                  <a:pt x="1135" y="929"/>
                </a:lnTo>
                <a:lnTo>
                  <a:pt x="1140" y="932"/>
                </a:lnTo>
                <a:lnTo>
                  <a:pt x="1142" y="933"/>
                </a:lnTo>
                <a:lnTo>
                  <a:pt x="1144" y="933"/>
                </a:lnTo>
                <a:lnTo>
                  <a:pt x="1146" y="933"/>
                </a:lnTo>
                <a:lnTo>
                  <a:pt x="1149" y="932"/>
                </a:lnTo>
                <a:lnTo>
                  <a:pt x="1153" y="929"/>
                </a:lnTo>
                <a:lnTo>
                  <a:pt x="1158" y="925"/>
                </a:lnTo>
                <a:lnTo>
                  <a:pt x="1163" y="923"/>
                </a:lnTo>
                <a:lnTo>
                  <a:pt x="1169" y="921"/>
                </a:lnTo>
                <a:lnTo>
                  <a:pt x="1156" y="919"/>
                </a:lnTo>
                <a:lnTo>
                  <a:pt x="1141" y="915"/>
                </a:lnTo>
                <a:lnTo>
                  <a:pt x="1143" y="913"/>
                </a:lnTo>
                <a:lnTo>
                  <a:pt x="1145" y="912"/>
                </a:lnTo>
                <a:lnTo>
                  <a:pt x="1149" y="912"/>
                </a:lnTo>
                <a:lnTo>
                  <a:pt x="1152" y="912"/>
                </a:lnTo>
                <a:lnTo>
                  <a:pt x="1159" y="912"/>
                </a:lnTo>
                <a:lnTo>
                  <a:pt x="1165" y="913"/>
                </a:lnTo>
                <a:lnTo>
                  <a:pt x="1178" y="916"/>
                </a:lnTo>
                <a:lnTo>
                  <a:pt x="1193" y="920"/>
                </a:lnTo>
                <a:lnTo>
                  <a:pt x="1209" y="920"/>
                </a:lnTo>
                <a:lnTo>
                  <a:pt x="1225" y="920"/>
                </a:lnTo>
                <a:lnTo>
                  <a:pt x="1234" y="920"/>
                </a:lnTo>
                <a:lnTo>
                  <a:pt x="1243" y="920"/>
                </a:lnTo>
                <a:lnTo>
                  <a:pt x="1252" y="920"/>
                </a:lnTo>
                <a:lnTo>
                  <a:pt x="1261" y="920"/>
                </a:lnTo>
                <a:lnTo>
                  <a:pt x="1253" y="919"/>
                </a:lnTo>
                <a:lnTo>
                  <a:pt x="1245" y="916"/>
                </a:lnTo>
                <a:lnTo>
                  <a:pt x="1239" y="915"/>
                </a:lnTo>
                <a:lnTo>
                  <a:pt x="1231" y="915"/>
                </a:lnTo>
                <a:lnTo>
                  <a:pt x="1223" y="915"/>
                </a:lnTo>
                <a:lnTo>
                  <a:pt x="1214" y="914"/>
                </a:lnTo>
                <a:lnTo>
                  <a:pt x="1206" y="913"/>
                </a:lnTo>
                <a:lnTo>
                  <a:pt x="1198" y="911"/>
                </a:lnTo>
                <a:lnTo>
                  <a:pt x="1178" y="907"/>
                </a:lnTo>
                <a:lnTo>
                  <a:pt x="1158" y="905"/>
                </a:lnTo>
                <a:lnTo>
                  <a:pt x="1138" y="902"/>
                </a:lnTo>
                <a:lnTo>
                  <a:pt x="1119" y="900"/>
                </a:lnTo>
                <a:lnTo>
                  <a:pt x="1100" y="898"/>
                </a:lnTo>
                <a:lnTo>
                  <a:pt x="1080" y="896"/>
                </a:lnTo>
                <a:lnTo>
                  <a:pt x="1062" y="892"/>
                </a:lnTo>
                <a:lnTo>
                  <a:pt x="1043" y="889"/>
                </a:lnTo>
                <a:lnTo>
                  <a:pt x="1034" y="888"/>
                </a:lnTo>
                <a:lnTo>
                  <a:pt x="1023" y="886"/>
                </a:lnTo>
                <a:lnTo>
                  <a:pt x="1013" y="884"/>
                </a:lnTo>
                <a:lnTo>
                  <a:pt x="1003" y="882"/>
                </a:lnTo>
                <a:lnTo>
                  <a:pt x="994" y="881"/>
                </a:lnTo>
                <a:lnTo>
                  <a:pt x="985" y="880"/>
                </a:lnTo>
                <a:lnTo>
                  <a:pt x="975" y="878"/>
                </a:lnTo>
                <a:lnTo>
                  <a:pt x="967" y="874"/>
                </a:lnTo>
                <a:lnTo>
                  <a:pt x="968" y="873"/>
                </a:lnTo>
                <a:lnTo>
                  <a:pt x="970" y="872"/>
                </a:lnTo>
                <a:lnTo>
                  <a:pt x="972" y="872"/>
                </a:lnTo>
                <a:lnTo>
                  <a:pt x="975" y="872"/>
                </a:lnTo>
                <a:lnTo>
                  <a:pt x="980" y="873"/>
                </a:lnTo>
                <a:lnTo>
                  <a:pt x="985" y="874"/>
                </a:lnTo>
                <a:lnTo>
                  <a:pt x="998" y="875"/>
                </a:lnTo>
                <a:lnTo>
                  <a:pt x="1013" y="878"/>
                </a:lnTo>
                <a:lnTo>
                  <a:pt x="1027" y="880"/>
                </a:lnTo>
                <a:lnTo>
                  <a:pt x="1041" y="881"/>
                </a:lnTo>
                <a:lnTo>
                  <a:pt x="1055" y="882"/>
                </a:lnTo>
                <a:lnTo>
                  <a:pt x="1069" y="882"/>
                </a:lnTo>
                <a:lnTo>
                  <a:pt x="1055" y="879"/>
                </a:lnTo>
                <a:lnTo>
                  <a:pt x="1042" y="875"/>
                </a:lnTo>
                <a:lnTo>
                  <a:pt x="1028" y="873"/>
                </a:lnTo>
                <a:lnTo>
                  <a:pt x="1014" y="871"/>
                </a:lnTo>
                <a:lnTo>
                  <a:pt x="986" y="867"/>
                </a:lnTo>
                <a:lnTo>
                  <a:pt x="959" y="863"/>
                </a:lnTo>
                <a:lnTo>
                  <a:pt x="964" y="861"/>
                </a:lnTo>
                <a:lnTo>
                  <a:pt x="969" y="861"/>
                </a:lnTo>
                <a:lnTo>
                  <a:pt x="975" y="861"/>
                </a:lnTo>
                <a:lnTo>
                  <a:pt x="979" y="862"/>
                </a:lnTo>
                <a:lnTo>
                  <a:pt x="985" y="863"/>
                </a:lnTo>
                <a:lnTo>
                  <a:pt x="990" y="864"/>
                </a:lnTo>
                <a:lnTo>
                  <a:pt x="995" y="863"/>
                </a:lnTo>
                <a:lnTo>
                  <a:pt x="1001" y="862"/>
                </a:lnTo>
                <a:lnTo>
                  <a:pt x="994" y="861"/>
                </a:lnTo>
                <a:lnTo>
                  <a:pt x="987" y="859"/>
                </a:lnTo>
                <a:lnTo>
                  <a:pt x="981" y="858"/>
                </a:lnTo>
                <a:lnTo>
                  <a:pt x="977" y="856"/>
                </a:lnTo>
                <a:lnTo>
                  <a:pt x="976" y="855"/>
                </a:lnTo>
                <a:lnTo>
                  <a:pt x="977" y="853"/>
                </a:lnTo>
                <a:lnTo>
                  <a:pt x="980" y="852"/>
                </a:lnTo>
                <a:lnTo>
                  <a:pt x="983" y="852"/>
                </a:lnTo>
                <a:lnTo>
                  <a:pt x="989" y="850"/>
                </a:lnTo>
                <a:lnTo>
                  <a:pt x="993" y="850"/>
                </a:lnTo>
                <a:lnTo>
                  <a:pt x="990" y="848"/>
                </a:lnTo>
                <a:lnTo>
                  <a:pt x="987" y="847"/>
                </a:lnTo>
                <a:lnTo>
                  <a:pt x="984" y="846"/>
                </a:lnTo>
                <a:lnTo>
                  <a:pt x="980" y="846"/>
                </a:lnTo>
                <a:lnTo>
                  <a:pt x="977" y="845"/>
                </a:lnTo>
                <a:lnTo>
                  <a:pt x="973" y="845"/>
                </a:lnTo>
                <a:lnTo>
                  <a:pt x="971" y="842"/>
                </a:lnTo>
                <a:lnTo>
                  <a:pt x="969" y="841"/>
                </a:lnTo>
                <a:lnTo>
                  <a:pt x="962" y="840"/>
                </a:lnTo>
                <a:lnTo>
                  <a:pt x="954" y="840"/>
                </a:lnTo>
                <a:lnTo>
                  <a:pt x="946" y="839"/>
                </a:lnTo>
                <a:lnTo>
                  <a:pt x="937" y="837"/>
                </a:lnTo>
                <a:lnTo>
                  <a:pt x="921" y="834"/>
                </a:lnTo>
                <a:lnTo>
                  <a:pt x="905" y="831"/>
                </a:lnTo>
                <a:lnTo>
                  <a:pt x="888" y="826"/>
                </a:lnTo>
                <a:lnTo>
                  <a:pt x="872" y="823"/>
                </a:lnTo>
                <a:lnTo>
                  <a:pt x="863" y="822"/>
                </a:lnTo>
                <a:lnTo>
                  <a:pt x="854" y="821"/>
                </a:lnTo>
                <a:lnTo>
                  <a:pt x="845" y="820"/>
                </a:lnTo>
                <a:lnTo>
                  <a:pt x="836" y="820"/>
                </a:lnTo>
                <a:lnTo>
                  <a:pt x="827" y="819"/>
                </a:lnTo>
                <a:lnTo>
                  <a:pt x="817" y="816"/>
                </a:lnTo>
                <a:lnTo>
                  <a:pt x="810" y="813"/>
                </a:lnTo>
                <a:lnTo>
                  <a:pt x="802" y="811"/>
                </a:lnTo>
                <a:lnTo>
                  <a:pt x="794" y="812"/>
                </a:lnTo>
                <a:lnTo>
                  <a:pt x="784" y="812"/>
                </a:lnTo>
                <a:lnTo>
                  <a:pt x="777" y="811"/>
                </a:lnTo>
                <a:lnTo>
                  <a:pt x="767" y="808"/>
                </a:lnTo>
                <a:lnTo>
                  <a:pt x="759" y="807"/>
                </a:lnTo>
                <a:lnTo>
                  <a:pt x="751" y="805"/>
                </a:lnTo>
                <a:lnTo>
                  <a:pt x="747" y="805"/>
                </a:lnTo>
                <a:lnTo>
                  <a:pt x="744" y="804"/>
                </a:lnTo>
                <a:lnTo>
                  <a:pt x="740" y="803"/>
                </a:lnTo>
                <a:lnTo>
                  <a:pt x="738" y="799"/>
                </a:lnTo>
                <a:lnTo>
                  <a:pt x="751" y="798"/>
                </a:lnTo>
                <a:lnTo>
                  <a:pt x="765" y="799"/>
                </a:lnTo>
                <a:lnTo>
                  <a:pt x="779" y="803"/>
                </a:lnTo>
                <a:lnTo>
                  <a:pt x="791" y="805"/>
                </a:lnTo>
                <a:lnTo>
                  <a:pt x="806" y="807"/>
                </a:lnTo>
                <a:lnTo>
                  <a:pt x="820" y="809"/>
                </a:lnTo>
                <a:lnTo>
                  <a:pt x="835" y="812"/>
                </a:lnTo>
                <a:lnTo>
                  <a:pt x="849" y="813"/>
                </a:lnTo>
                <a:lnTo>
                  <a:pt x="876" y="815"/>
                </a:lnTo>
                <a:lnTo>
                  <a:pt x="903" y="819"/>
                </a:lnTo>
                <a:lnTo>
                  <a:pt x="930" y="823"/>
                </a:lnTo>
                <a:lnTo>
                  <a:pt x="957" y="828"/>
                </a:lnTo>
                <a:lnTo>
                  <a:pt x="972" y="830"/>
                </a:lnTo>
                <a:lnTo>
                  <a:pt x="987" y="832"/>
                </a:lnTo>
                <a:lnTo>
                  <a:pt x="1001" y="833"/>
                </a:lnTo>
                <a:lnTo>
                  <a:pt x="1016" y="836"/>
                </a:lnTo>
                <a:lnTo>
                  <a:pt x="1030" y="838"/>
                </a:lnTo>
                <a:lnTo>
                  <a:pt x="1044" y="840"/>
                </a:lnTo>
                <a:lnTo>
                  <a:pt x="1058" y="841"/>
                </a:lnTo>
                <a:lnTo>
                  <a:pt x="1072" y="844"/>
                </a:lnTo>
                <a:lnTo>
                  <a:pt x="1077" y="842"/>
                </a:lnTo>
                <a:lnTo>
                  <a:pt x="1083" y="842"/>
                </a:lnTo>
                <a:lnTo>
                  <a:pt x="1088" y="845"/>
                </a:lnTo>
                <a:lnTo>
                  <a:pt x="1094" y="846"/>
                </a:lnTo>
                <a:lnTo>
                  <a:pt x="1108" y="847"/>
                </a:lnTo>
                <a:lnTo>
                  <a:pt x="1123" y="849"/>
                </a:lnTo>
                <a:lnTo>
                  <a:pt x="1135" y="849"/>
                </a:lnTo>
                <a:lnTo>
                  <a:pt x="1149" y="850"/>
                </a:lnTo>
                <a:lnTo>
                  <a:pt x="1161" y="853"/>
                </a:lnTo>
                <a:lnTo>
                  <a:pt x="1175" y="854"/>
                </a:lnTo>
                <a:lnTo>
                  <a:pt x="1178" y="854"/>
                </a:lnTo>
                <a:lnTo>
                  <a:pt x="1182" y="853"/>
                </a:lnTo>
                <a:lnTo>
                  <a:pt x="1183" y="853"/>
                </a:lnTo>
                <a:lnTo>
                  <a:pt x="1184" y="852"/>
                </a:lnTo>
                <a:lnTo>
                  <a:pt x="1184" y="849"/>
                </a:lnTo>
                <a:lnTo>
                  <a:pt x="1182" y="848"/>
                </a:lnTo>
                <a:lnTo>
                  <a:pt x="1178" y="846"/>
                </a:lnTo>
                <a:lnTo>
                  <a:pt x="1173" y="845"/>
                </a:lnTo>
                <a:lnTo>
                  <a:pt x="1167" y="845"/>
                </a:lnTo>
                <a:lnTo>
                  <a:pt x="1162" y="846"/>
                </a:lnTo>
                <a:lnTo>
                  <a:pt x="1146" y="844"/>
                </a:lnTo>
                <a:lnTo>
                  <a:pt x="1130" y="841"/>
                </a:lnTo>
                <a:lnTo>
                  <a:pt x="1125" y="841"/>
                </a:lnTo>
                <a:lnTo>
                  <a:pt x="1119" y="841"/>
                </a:lnTo>
                <a:lnTo>
                  <a:pt x="1116" y="841"/>
                </a:lnTo>
                <a:lnTo>
                  <a:pt x="1113" y="840"/>
                </a:lnTo>
                <a:lnTo>
                  <a:pt x="1112" y="838"/>
                </a:lnTo>
                <a:lnTo>
                  <a:pt x="1112" y="836"/>
                </a:lnTo>
                <a:lnTo>
                  <a:pt x="1119" y="837"/>
                </a:lnTo>
                <a:lnTo>
                  <a:pt x="1126" y="838"/>
                </a:lnTo>
                <a:lnTo>
                  <a:pt x="1133" y="838"/>
                </a:lnTo>
                <a:lnTo>
                  <a:pt x="1138" y="838"/>
                </a:lnTo>
                <a:lnTo>
                  <a:pt x="1143" y="839"/>
                </a:lnTo>
                <a:lnTo>
                  <a:pt x="1149" y="839"/>
                </a:lnTo>
                <a:lnTo>
                  <a:pt x="1152" y="840"/>
                </a:lnTo>
                <a:lnTo>
                  <a:pt x="1156" y="842"/>
                </a:lnTo>
                <a:lnTo>
                  <a:pt x="1158" y="844"/>
                </a:lnTo>
                <a:lnTo>
                  <a:pt x="1160" y="845"/>
                </a:lnTo>
                <a:lnTo>
                  <a:pt x="1165" y="844"/>
                </a:lnTo>
                <a:lnTo>
                  <a:pt x="1169" y="842"/>
                </a:lnTo>
                <a:lnTo>
                  <a:pt x="1176" y="844"/>
                </a:lnTo>
                <a:lnTo>
                  <a:pt x="1183" y="845"/>
                </a:lnTo>
                <a:lnTo>
                  <a:pt x="1195" y="846"/>
                </a:lnTo>
                <a:lnTo>
                  <a:pt x="1209" y="846"/>
                </a:lnTo>
                <a:lnTo>
                  <a:pt x="1203" y="849"/>
                </a:lnTo>
                <a:lnTo>
                  <a:pt x="1200" y="853"/>
                </a:lnTo>
                <a:lnTo>
                  <a:pt x="1200" y="854"/>
                </a:lnTo>
                <a:lnTo>
                  <a:pt x="1201" y="855"/>
                </a:lnTo>
                <a:lnTo>
                  <a:pt x="1203" y="856"/>
                </a:lnTo>
                <a:lnTo>
                  <a:pt x="1206" y="857"/>
                </a:lnTo>
                <a:lnTo>
                  <a:pt x="1210" y="857"/>
                </a:lnTo>
                <a:lnTo>
                  <a:pt x="1214" y="858"/>
                </a:lnTo>
                <a:lnTo>
                  <a:pt x="1217" y="857"/>
                </a:lnTo>
                <a:lnTo>
                  <a:pt x="1220" y="856"/>
                </a:lnTo>
                <a:lnTo>
                  <a:pt x="1224" y="854"/>
                </a:lnTo>
                <a:lnTo>
                  <a:pt x="1227" y="852"/>
                </a:lnTo>
                <a:lnTo>
                  <a:pt x="1232" y="849"/>
                </a:lnTo>
                <a:lnTo>
                  <a:pt x="1237" y="848"/>
                </a:lnTo>
                <a:lnTo>
                  <a:pt x="1244" y="848"/>
                </a:lnTo>
                <a:lnTo>
                  <a:pt x="1250" y="849"/>
                </a:lnTo>
                <a:lnTo>
                  <a:pt x="1252" y="849"/>
                </a:lnTo>
                <a:lnTo>
                  <a:pt x="1256" y="849"/>
                </a:lnTo>
                <a:lnTo>
                  <a:pt x="1257" y="850"/>
                </a:lnTo>
                <a:lnTo>
                  <a:pt x="1258" y="852"/>
                </a:lnTo>
                <a:lnTo>
                  <a:pt x="1264" y="852"/>
                </a:lnTo>
                <a:lnTo>
                  <a:pt x="1269" y="852"/>
                </a:lnTo>
                <a:lnTo>
                  <a:pt x="1283" y="853"/>
                </a:lnTo>
                <a:lnTo>
                  <a:pt x="1297" y="854"/>
                </a:lnTo>
                <a:lnTo>
                  <a:pt x="1307" y="854"/>
                </a:lnTo>
                <a:lnTo>
                  <a:pt x="1316" y="852"/>
                </a:lnTo>
                <a:lnTo>
                  <a:pt x="1321" y="849"/>
                </a:lnTo>
                <a:lnTo>
                  <a:pt x="1325" y="848"/>
                </a:lnTo>
                <a:lnTo>
                  <a:pt x="1327" y="848"/>
                </a:lnTo>
                <a:lnTo>
                  <a:pt x="1330" y="849"/>
                </a:lnTo>
                <a:lnTo>
                  <a:pt x="1334" y="848"/>
                </a:lnTo>
                <a:lnTo>
                  <a:pt x="1339" y="848"/>
                </a:lnTo>
                <a:lnTo>
                  <a:pt x="1343" y="848"/>
                </a:lnTo>
                <a:lnTo>
                  <a:pt x="1347" y="850"/>
                </a:lnTo>
                <a:lnTo>
                  <a:pt x="1352" y="852"/>
                </a:lnTo>
                <a:lnTo>
                  <a:pt x="1357" y="853"/>
                </a:lnTo>
                <a:lnTo>
                  <a:pt x="1371" y="854"/>
                </a:lnTo>
                <a:lnTo>
                  <a:pt x="1384" y="854"/>
                </a:lnTo>
                <a:lnTo>
                  <a:pt x="1397" y="854"/>
                </a:lnTo>
                <a:lnTo>
                  <a:pt x="1409" y="854"/>
                </a:lnTo>
                <a:lnTo>
                  <a:pt x="1422" y="854"/>
                </a:lnTo>
                <a:lnTo>
                  <a:pt x="1435" y="854"/>
                </a:lnTo>
                <a:lnTo>
                  <a:pt x="1448" y="854"/>
                </a:lnTo>
                <a:lnTo>
                  <a:pt x="1461" y="854"/>
                </a:lnTo>
                <a:lnTo>
                  <a:pt x="1473" y="854"/>
                </a:lnTo>
                <a:lnTo>
                  <a:pt x="1486" y="853"/>
                </a:lnTo>
                <a:lnTo>
                  <a:pt x="1499" y="852"/>
                </a:lnTo>
                <a:lnTo>
                  <a:pt x="1512" y="852"/>
                </a:lnTo>
                <a:lnTo>
                  <a:pt x="1525" y="852"/>
                </a:lnTo>
                <a:lnTo>
                  <a:pt x="1539" y="852"/>
                </a:lnTo>
                <a:lnTo>
                  <a:pt x="1569" y="853"/>
                </a:lnTo>
                <a:lnTo>
                  <a:pt x="1598" y="853"/>
                </a:lnTo>
                <a:lnTo>
                  <a:pt x="1613" y="852"/>
                </a:lnTo>
                <a:lnTo>
                  <a:pt x="1628" y="850"/>
                </a:lnTo>
                <a:lnTo>
                  <a:pt x="1643" y="848"/>
                </a:lnTo>
                <a:lnTo>
                  <a:pt x="1657" y="846"/>
                </a:lnTo>
                <a:lnTo>
                  <a:pt x="1634" y="845"/>
                </a:lnTo>
                <a:lnTo>
                  <a:pt x="1608" y="845"/>
                </a:lnTo>
                <a:lnTo>
                  <a:pt x="1585" y="844"/>
                </a:lnTo>
                <a:lnTo>
                  <a:pt x="1561" y="841"/>
                </a:lnTo>
                <a:lnTo>
                  <a:pt x="1574" y="840"/>
                </a:lnTo>
                <a:lnTo>
                  <a:pt x="1588" y="839"/>
                </a:lnTo>
                <a:lnTo>
                  <a:pt x="1603" y="837"/>
                </a:lnTo>
                <a:lnTo>
                  <a:pt x="1619" y="836"/>
                </a:lnTo>
                <a:lnTo>
                  <a:pt x="1634" y="834"/>
                </a:lnTo>
                <a:lnTo>
                  <a:pt x="1649" y="834"/>
                </a:lnTo>
                <a:lnTo>
                  <a:pt x="1664" y="834"/>
                </a:lnTo>
                <a:lnTo>
                  <a:pt x="1680" y="834"/>
                </a:lnTo>
                <a:lnTo>
                  <a:pt x="1694" y="833"/>
                </a:lnTo>
                <a:lnTo>
                  <a:pt x="1708" y="831"/>
                </a:lnTo>
                <a:lnTo>
                  <a:pt x="1721" y="829"/>
                </a:lnTo>
                <a:lnTo>
                  <a:pt x="1736" y="828"/>
                </a:lnTo>
                <a:lnTo>
                  <a:pt x="1751" y="826"/>
                </a:lnTo>
                <a:lnTo>
                  <a:pt x="1766" y="824"/>
                </a:lnTo>
                <a:lnTo>
                  <a:pt x="1780" y="822"/>
                </a:lnTo>
                <a:lnTo>
                  <a:pt x="1794" y="817"/>
                </a:lnTo>
                <a:lnTo>
                  <a:pt x="1791" y="816"/>
                </a:lnTo>
                <a:lnTo>
                  <a:pt x="1786" y="816"/>
                </a:lnTo>
                <a:lnTo>
                  <a:pt x="1784" y="815"/>
                </a:lnTo>
                <a:lnTo>
                  <a:pt x="1783" y="814"/>
                </a:lnTo>
                <a:lnTo>
                  <a:pt x="1783" y="813"/>
                </a:lnTo>
                <a:lnTo>
                  <a:pt x="1785" y="812"/>
                </a:lnTo>
                <a:lnTo>
                  <a:pt x="1795" y="808"/>
                </a:lnTo>
                <a:lnTo>
                  <a:pt x="1803" y="804"/>
                </a:lnTo>
                <a:lnTo>
                  <a:pt x="1805" y="799"/>
                </a:lnTo>
                <a:lnTo>
                  <a:pt x="1809" y="796"/>
                </a:lnTo>
                <a:lnTo>
                  <a:pt x="1813" y="795"/>
                </a:lnTo>
                <a:lnTo>
                  <a:pt x="1818" y="794"/>
                </a:lnTo>
                <a:lnTo>
                  <a:pt x="1822" y="794"/>
                </a:lnTo>
                <a:lnTo>
                  <a:pt x="1826" y="792"/>
                </a:lnTo>
                <a:lnTo>
                  <a:pt x="1829" y="790"/>
                </a:lnTo>
                <a:lnTo>
                  <a:pt x="1832" y="787"/>
                </a:lnTo>
                <a:lnTo>
                  <a:pt x="1802" y="792"/>
                </a:lnTo>
                <a:lnTo>
                  <a:pt x="1771" y="797"/>
                </a:lnTo>
                <a:lnTo>
                  <a:pt x="1742" y="801"/>
                </a:lnTo>
                <a:lnTo>
                  <a:pt x="1711" y="806"/>
                </a:lnTo>
                <a:lnTo>
                  <a:pt x="1714" y="807"/>
                </a:lnTo>
                <a:lnTo>
                  <a:pt x="1718" y="808"/>
                </a:lnTo>
                <a:lnTo>
                  <a:pt x="1721" y="808"/>
                </a:lnTo>
                <a:lnTo>
                  <a:pt x="1726" y="808"/>
                </a:lnTo>
                <a:lnTo>
                  <a:pt x="1733" y="807"/>
                </a:lnTo>
                <a:lnTo>
                  <a:pt x="1741" y="805"/>
                </a:lnTo>
                <a:lnTo>
                  <a:pt x="1748" y="805"/>
                </a:lnTo>
                <a:lnTo>
                  <a:pt x="1758" y="805"/>
                </a:lnTo>
                <a:lnTo>
                  <a:pt x="1766" y="808"/>
                </a:lnTo>
                <a:lnTo>
                  <a:pt x="1774" y="813"/>
                </a:lnTo>
                <a:lnTo>
                  <a:pt x="1768" y="815"/>
                </a:lnTo>
                <a:lnTo>
                  <a:pt x="1763" y="816"/>
                </a:lnTo>
                <a:lnTo>
                  <a:pt x="1758" y="817"/>
                </a:lnTo>
                <a:lnTo>
                  <a:pt x="1753" y="817"/>
                </a:lnTo>
                <a:lnTo>
                  <a:pt x="1743" y="819"/>
                </a:lnTo>
                <a:lnTo>
                  <a:pt x="1731" y="819"/>
                </a:lnTo>
                <a:lnTo>
                  <a:pt x="1720" y="820"/>
                </a:lnTo>
                <a:lnTo>
                  <a:pt x="1708" y="821"/>
                </a:lnTo>
                <a:lnTo>
                  <a:pt x="1695" y="822"/>
                </a:lnTo>
                <a:lnTo>
                  <a:pt x="1682" y="823"/>
                </a:lnTo>
                <a:lnTo>
                  <a:pt x="1657" y="824"/>
                </a:lnTo>
                <a:lnTo>
                  <a:pt x="1634" y="822"/>
                </a:lnTo>
                <a:lnTo>
                  <a:pt x="1608" y="821"/>
                </a:lnTo>
                <a:lnTo>
                  <a:pt x="1583" y="822"/>
                </a:lnTo>
                <a:lnTo>
                  <a:pt x="1572" y="822"/>
                </a:lnTo>
                <a:lnTo>
                  <a:pt x="1561" y="823"/>
                </a:lnTo>
                <a:lnTo>
                  <a:pt x="1549" y="824"/>
                </a:lnTo>
                <a:lnTo>
                  <a:pt x="1539" y="826"/>
                </a:lnTo>
                <a:lnTo>
                  <a:pt x="1535" y="828"/>
                </a:lnTo>
                <a:lnTo>
                  <a:pt x="1532" y="830"/>
                </a:lnTo>
                <a:lnTo>
                  <a:pt x="1530" y="832"/>
                </a:lnTo>
                <a:lnTo>
                  <a:pt x="1528" y="833"/>
                </a:lnTo>
                <a:lnTo>
                  <a:pt x="1527" y="833"/>
                </a:lnTo>
                <a:lnTo>
                  <a:pt x="1523" y="833"/>
                </a:lnTo>
                <a:lnTo>
                  <a:pt x="1520" y="833"/>
                </a:lnTo>
                <a:lnTo>
                  <a:pt x="1517" y="833"/>
                </a:lnTo>
                <a:lnTo>
                  <a:pt x="1514" y="832"/>
                </a:lnTo>
                <a:lnTo>
                  <a:pt x="1513" y="829"/>
                </a:lnTo>
                <a:lnTo>
                  <a:pt x="1513" y="828"/>
                </a:lnTo>
                <a:lnTo>
                  <a:pt x="1514" y="825"/>
                </a:lnTo>
                <a:lnTo>
                  <a:pt x="1515" y="824"/>
                </a:lnTo>
                <a:lnTo>
                  <a:pt x="1516" y="824"/>
                </a:lnTo>
                <a:lnTo>
                  <a:pt x="1521" y="823"/>
                </a:lnTo>
                <a:lnTo>
                  <a:pt x="1524" y="823"/>
                </a:lnTo>
                <a:lnTo>
                  <a:pt x="1535" y="821"/>
                </a:lnTo>
                <a:lnTo>
                  <a:pt x="1545" y="820"/>
                </a:lnTo>
                <a:lnTo>
                  <a:pt x="1556" y="817"/>
                </a:lnTo>
                <a:lnTo>
                  <a:pt x="1568" y="817"/>
                </a:lnTo>
                <a:lnTo>
                  <a:pt x="1580" y="816"/>
                </a:lnTo>
                <a:lnTo>
                  <a:pt x="1591" y="816"/>
                </a:lnTo>
                <a:lnTo>
                  <a:pt x="1604" y="816"/>
                </a:lnTo>
                <a:lnTo>
                  <a:pt x="1616" y="816"/>
                </a:lnTo>
                <a:lnTo>
                  <a:pt x="1629" y="816"/>
                </a:lnTo>
                <a:lnTo>
                  <a:pt x="1640" y="815"/>
                </a:lnTo>
                <a:lnTo>
                  <a:pt x="1653" y="814"/>
                </a:lnTo>
                <a:lnTo>
                  <a:pt x="1665" y="813"/>
                </a:lnTo>
                <a:lnTo>
                  <a:pt x="1678" y="812"/>
                </a:lnTo>
                <a:lnTo>
                  <a:pt x="1689" y="811"/>
                </a:lnTo>
                <a:lnTo>
                  <a:pt x="1693" y="812"/>
                </a:lnTo>
                <a:lnTo>
                  <a:pt x="1695" y="812"/>
                </a:lnTo>
                <a:lnTo>
                  <a:pt x="1698" y="811"/>
                </a:lnTo>
                <a:lnTo>
                  <a:pt x="1700" y="809"/>
                </a:lnTo>
                <a:lnTo>
                  <a:pt x="1701" y="807"/>
                </a:lnTo>
                <a:lnTo>
                  <a:pt x="1700" y="806"/>
                </a:lnTo>
                <a:lnTo>
                  <a:pt x="1698" y="805"/>
                </a:lnTo>
                <a:lnTo>
                  <a:pt x="1696" y="805"/>
                </a:lnTo>
                <a:lnTo>
                  <a:pt x="1693" y="805"/>
                </a:lnTo>
                <a:lnTo>
                  <a:pt x="1689" y="805"/>
                </a:lnTo>
                <a:lnTo>
                  <a:pt x="1677" y="806"/>
                </a:lnTo>
                <a:lnTo>
                  <a:pt x="1665" y="807"/>
                </a:lnTo>
                <a:lnTo>
                  <a:pt x="1653" y="808"/>
                </a:lnTo>
                <a:lnTo>
                  <a:pt x="1640" y="809"/>
                </a:lnTo>
                <a:lnTo>
                  <a:pt x="1614" y="811"/>
                </a:lnTo>
                <a:lnTo>
                  <a:pt x="1589" y="812"/>
                </a:lnTo>
                <a:lnTo>
                  <a:pt x="1563" y="812"/>
                </a:lnTo>
                <a:lnTo>
                  <a:pt x="1538" y="812"/>
                </a:lnTo>
                <a:lnTo>
                  <a:pt x="1525" y="812"/>
                </a:lnTo>
                <a:lnTo>
                  <a:pt x="1513" y="811"/>
                </a:lnTo>
                <a:lnTo>
                  <a:pt x="1502" y="811"/>
                </a:lnTo>
                <a:lnTo>
                  <a:pt x="1490" y="811"/>
                </a:lnTo>
                <a:lnTo>
                  <a:pt x="1486" y="812"/>
                </a:lnTo>
                <a:lnTo>
                  <a:pt x="1482" y="814"/>
                </a:lnTo>
                <a:lnTo>
                  <a:pt x="1476" y="815"/>
                </a:lnTo>
                <a:lnTo>
                  <a:pt x="1472" y="815"/>
                </a:lnTo>
                <a:lnTo>
                  <a:pt x="1459" y="813"/>
                </a:lnTo>
                <a:lnTo>
                  <a:pt x="1447" y="809"/>
                </a:lnTo>
                <a:lnTo>
                  <a:pt x="1433" y="809"/>
                </a:lnTo>
                <a:lnTo>
                  <a:pt x="1420" y="811"/>
                </a:lnTo>
                <a:lnTo>
                  <a:pt x="1406" y="811"/>
                </a:lnTo>
                <a:lnTo>
                  <a:pt x="1392" y="809"/>
                </a:lnTo>
                <a:lnTo>
                  <a:pt x="1387" y="809"/>
                </a:lnTo>
                <a:lnTo>
                  <a:pt x="1381" y="808"/>
                </a:lnTo>
                <a:lnTo>
                  <a:pt x="1375" y="806"/>
                </a:lnTo>
                <a:lnTo>
                  <a:pt x="1369" y="806"/>
                </a:lnTo>
                <a:lnTo>
                  <a:pt x="1359" y="804"/>
                </a:lnTo>
                <a:lnTo>
                  <a:pt x="1349" y="800"/>
                </a:lnTo>
                <a:lnTo>
                  <a:pt x="1336" y="798"/>
                </a:lnTo>
                <a:lnTo>
                  <a:pt x="1324" y="798"/>
                </a:lnTo>
                <a:lnTo>
                  <a:pt x="1310" y="798"/>
                </a:lnTo>
                <a:lnTo>
                  <a:pt x="1298" y="798"/>
                </a:lnTo>
                <a:lnTo>
                  <a:pt x="1286" y="799"/>
                </a:lnTo>
                <a:lnTo>
                  <a:pt x="1275" y="799"/>
                </a:lnTo>
                <a:lnTo>
                  <a:pt x="1269" y="799"/>
                </a:lnTo>
                <a:lnTo>
                  <a:pt x="1265" y="798"/>
                </a:lnTo>
                <a:lnTo>
                  <a:pt x="1259" y="796"/>
                </a:lnTo>
                <a:lnTo>
                  <a:pt x="1255" y="791"/>
                </a:lnTo>
                <a:lnTo>
                  <a:pt x="1268" y="789"/>
                </a:lnTo>
                <a:lnTo>
                  <a:pt x="1282" y="789"/>
                </a:lnTo>
                <a:lnTo>
                  <a:pt x="1295" y="790"/>
                </a:lnTo>
                <a:lnTo>
                  <a:pt x="1309" y="789"/>
                </a:lnTo>
                <a:lnTo>
                  <a:pt x="1298" y="786"/>
                </a:lnTo>
                <a:lnTo>
                  <a:pt x="1286" y="784"/>
                </a:lnTo>
                <a:lnTo>
                  <a:pt x="1274" y="783"/>
                </a:lnTo>
                <a:lnTo>
                  <a:pt x="1262" y="782"/>
                </a:lnTo>
                <a:lnTo>
                  <a:pt x="1257" y="782"/>
                </a:lnTo>
                <a:lnTo>
                  <a:pt x="1252" y="781"/>
                </a:lnTo>
                <a:lnTo>
                  <a:pt x="1251" y="778"/>
                </a:lnTo>
                <a:lnTo>
                  <a:pt x="1250" y="775"/>
                </a:lnTo>
                <a:lnTo>
                  <a:pt x="1248" y="772"/>
                </a:lnTo>
                <a:lnTo>
                  <a:pt x="1245" y="770"/>
                </a:lnTo>
                <a:lnTo>
                  <a:pt x="1245" y="766"/>
                </a:lnTo>
                <a:lnTo>
                  <a:pt x="1247" y="765"/>
                </a:lnTo>
                <a:lnTo>
                  <a:pt x="1250" y="765"/>
                </a:lnTo>
                <a:lnTo>
                  <a:pt x="1252" y="765"/>
                </a:lnTo>
                <a:lnTo>
                  <a:pt x="1261" y="766"/>
                </a:lnTo>
                <a:lnTo>
                  <a:pt x="1270" y="770"/>
                </a:lnTo>
                <a:lnTo>
                  <a:pt x="1275" y="771"/>
                </a:lnTo>
                <a:lnTo>
                  <a:pt x="1281" y="772"/>
                </a:lnTo>
                <a:lnTo>
                  <a:pt x="1286" y="772"/>
                </a:lnTo>
                <a:lnTo>
                  <a:pt x="1293" y="772"/>
                </a:lnTo>
                <a:lnTo>
                  <a:pt x="1306" y="771"/>
                </a:lnTo>
                <a:lnTo>
                  <a:pt x="1318" y="770"/>
                </a:lnTo>
                <a:lnTo>
                  <a:pt x="1331" y="767"/>
                </a:lnTo>
                <a:lnTo>
                  <a:pt x="1343" y="765"/>
                </a:lnTo>
                <a:lnTo>
                  <a:pt x="1357" y="764"/>
                </a:lnTo>
                <a:lnTo>
                  <a:pt x="1371" y="764"/>
                </a:lnTo>
                <a:lnTo>
                  <a:pt x="1376" y="765"/>
                </a:lnTo>
                <a:lnTo>
                  <a:pt x="1382" y="766"/>
                </a:lnTo>
                <a:lnTo>
                  <a:pt x="1387" y="769"/>
                </a:lnTo>
                <a:lnTo>
                  <a:pt x="1391" y="772"/>
                </a:lnTo>
                <a:lnTo>
                  <a:pt x="1397" y="774"/>
                </a:lnTo>
                <a:lnTo>
                  <a:pt x="1401" y="775"/>
                </a:lnTo>
                <a:lnTo>
                  <a:pt x="1407" y="775"/>
                </a:lnTo>
                <a:lnTo>
                  <a:pt x="1413" y="775"/>
                </a:lnTo>
                <a:lnTo>
                  <a:pt x="1426" y="776"/>
                </a:lnTo>
                <a:lnTo>
                  <a:pt x="1440" y="776"/>
                </a:lnTo>
                <a:lnTo>
                  <a:pt x="1466" y="775"/>
                </a:lnTo>
                <a:lnTo>
                  <a:pt x="1494" y="775"/>
                </a:lnTo>
                <a:lnTo>
                  <a:pt x="1520" y="773"/>
                </a:lnTo>
                <a:lnTo>
                  <a:pt x="1547" y="773"/>
                </a:lnTo>
                <a:lnTo>
                  <a:pt x="1560" y="772"/>
                </a:lnTo>
                <a:lnTo>
                  <a:pt x="1573" y="772"/>
                </a:lnTo>
                <a:lnTo>
                  <a:pt x="1586" y="772"/>
                </a:lnTo>
                <a:lnTo>
                  <a:pt x="1598" y="772"/>
                </a:lnTo>
                <a:lnTo>
                  <a:pt x="1611" y="774"/>
                </a:lnTo>
                <a:lnTo>
                  <a:pt x="1623" y="776"/>
                </a:lnTo>
                <a:lnTo>
                  <a:pt x="1635" y="774"/>
                </a:lnTo>
                <a:lnTo>
                  <a:pt x="1646" y="773"/>
                </a:lnTo>
                <a:lnTo>
                  <a:pt x="1673" y="771"/>
                </a:lnTo>
                <a:lnTo>
                  <a:pt x="1700" y="769"/>
                </a:lnTo>
                <a:lnTo>
                  <a:pt x="1727" y="765"/>
                </a:lnTo>
                <a:lnTo>
                  <a:pt x="1753" y="761"/>
                </a:lnTo>
                <a:lnTo>
                  <a:pt x="1766" y="758"/>
                </a:lnTo>
                <a:lnTo>
                  <a:pt x="1777" y="755"/>
                </a:lnTo>
                <a:lnTo>
                  <a:pt x="1788" y="754"/>
                </a:lnTo>
                <a:lnTo>
                  <a:pt x="1799" y="755"/>
                </a:lnTo>
                <a:lnTo>
                  <a:pt x="1810" y="754"/>
                </a:lnTo>
                <a:lnTo>
                  <a:pt x="1822" y="750"/>
                </a:lnTo>
                <a:lnTo>
                  <a:pt x="1837" y="749"/>
                </a:lnTo>
                <a:lnTo>
                  <a:pt x="1851" y="747"/>
                </a:lnTo>
                <a:lnTo>
                  <a:pt x="1878" y="743"/>
                </a:lnTo>
                <a:lnTo>
                  <a:pt x="1904" y="739"/>
                </a:lnTo>
                <a:lnTo>
                  <a:pt x="1931" y="733"/>
                </a:lnTo>
                <a:lnTo>
                  <a:pt x="1957" y="728"/>
                </a:lnTo>
                <a:lnTo>
                  <a:pt x="1970" y="724"/>
                </a:lnTo>
                <a:lnTo>
                  <a:pt x="1985" y="720"/>
                </a:lnTo>
                <a:lnTo>
                  <a:pt x="1999" y="716"/>
                </a:lnTo>
                <a:lnTo>
                  <a:pt x="2014" y="713"/>
                </a:lnTo>
                <a:lnTo>
                  <a:pt x="2027" y="709"/>
                </a:lnTo>
                <a:lnTo>
                  <a:pt x="2042" y="706"/>
                </a:lnTo>
                <a:lnTo>
                  <a:pt x="2049" y="705"/>
                </a:lnTo>
                <a:lnTo>
                  <a:pt x="2055" y="703"/>
                </a:lnTo>
                <a:lnTo>
                  <a:pt x="2060" y="700"/>
                </a:lnTo>
                <a:lnTo>
                  <a:pt x="2065" y="697"/>
                </a:lnTo>
                <a:lnTo>
                  <a:pt x="2077" y="693"/>
                </a:lnTo>
                <a:lnTo>
                  <a:pt x="2091" y="692"/>
                </a:lnTo>
                <a:lnTo>
                  <a:pt x="2098" y="690"/>
                </a:lnTo>
                <a:lnTo>
                  <a:pt x="2105" y="688"/>
                </a:lnTo>
                <a:lnTo>
                  <a:pt x="2110" y="686"/>
                </a:lnTo>
                <a:lnTo>
                  <a:pt x="2117" y="682"/>
                </a:lnTo>
                <a:lnTo>
                  <a:pt x="2130" y="676"/>
                </a:lnTo>
                <a:lnTo>
                  <a:pt x="2143" y="672"/>
                </a:lnTo>
                <a:lnTo>
                  <a:pt x="2157" y="667"/>
                </a:lnTo>
                <a:lnTo>
                  <a:pt x="2171" y="663"/>
                </a:lnTo>
                <a:lnTo>
                  <a:pt x="2171" y="666"/>
                </a:lnTo>
                <a:lnTo>
                  <a:pt x="2171" y="670"/>
                </a:lnTo>
                <a:lnTo>
                  <a:pt x="2171" y="671"/>
                </a:lnTo>
                <a:lnTo>
                  <a:pt x="2172" y="672"/>
                </a:lnTo>
                <a:lnTo>
                  <a:pt x="2173" y="672"/>
                </a:lnTo>
                <a:lnTo>
                  <a:pt x="2175" y="673"/>
                </a:lnTo>
                <a:lnTo>
                  <a:pt x="2179" y="673"/>
                </a:lnTo>
                <a:lnTo>
                  <a:pt x="2182" y="673"/>
                </a:lnTo>
                <a:lnTo>
                  <a:pt x="2184" y="672"/>
                </a:lnTo>
                <a:lnTo>
                  <a:pt x="2188" y="670"/>
                </a:lnTo>
                <a:lnTo>
                  <a:pt x="2191" y="664"/>
                </a:lnTo>
                <a:lnTo>
                  <a:pt x="2193" y="658"/>
                </a:lnTo>
                <a:lnTo>
                  <a:pt x="2193" y="657"/>
                </a:lnTo>
                <a:lnTo>
                  <a:pt x="2193" y="656"/>
                </a:lnTo>
                <a:lnTo>
                  <a:pt x="2195" y="655"/>
                </a:lnTo>
                <a:lnTo>
                  <a:pt x="2196" y="655"/>
                </a:lnTo>
                <a:lnTo>
                  <a:pt x="2198" y="654"/>
                </a:lnTo>
                <a:lnTo>
                  <a:pt x="2201" y="653"/>
                </a:lnTo>
                <a:lnTo>
                  <a:pt x="2206" y="651"/>
                </a:lnTo>
                <a:lnTo>
                  <a:pt x="2211" y="649"/>
                </a:lnTo>
                <a:lnTo>
                  <a:pt x="2226" y="640"/>
                </a:lnTo>
                <a:lnTo>
                  <a:pt x="2244" y="631"/>
                </a:lnTo>
                <a:lnTo>
                  <a:pt x="2249" y="629"/>
                </a:lnTo>
                <a:lnTo>
                  <a:pt x="2254" y="626"/>
                </a:lnTo>
                <a:lnTo>
                  <a:pt x="2258" y="625"/>
                </a:lnTo>
                <a:lnTo>
                  <a:pt x="2262" y="624"/>
                </a:lnTo>
                <a:lnTo>
                  <a:pt x="2264" y="623"/>
                </a:lnTo>
                <a:lnTo>
                  <a:pt x="2266" y="621"/>
                </a:lnTo>
                <a:lnTo>
                  <a:pt x="2271" y="618"/>
                </a:lnTo>
                <a:lnTo>
                  <a:pt x="2277" y="617"/>
                </a:lnTo>
                <a:lnTo>
                  <a:pt x="2298" y="609"/>
                </a:lnTo>
                <a:lnTo>
                  <a:pt x="2319" y="601"/>
                </a:lnTo>
                <a:lnTo>
                  <a:pt x="2339" y="593"/>
                </a:lnTo>
                <a:lnTo>
                  <a:pt x="2360" y="584"/>
                </a:lnTo>
                <a:lnTo>
                  <a:pt x="2370" y="580"/>
                </a:lnTo>
                <a:lnTo>
                  <a:pt x="2381" y="575"/>
                </a:lnTo>
                <a:lnTo>
                  <a:pt x="2392" y="572"/>
                </a:lnTo>
                <a:lnTo>
                  <a:pt x="2402" y="566"/>
                </a:lnTo>
                <a:lnTo>
                  <a:pt x="2404" y="565"/>
                </a:lnTo>
                <a:lnTo>
                  <a:pt x="2405" y="563"/>
                </a:lnTo>
                <a:lnTo>
                  <a:pt x="2405" y="559"/>
                </a:lnTo>
                <a:lnTo>
                  <a:pt x="2404" y="556"/>
                </a:lnTo>
                <a:lnTo>
                  <a:pt x="2406" y="554"/>
                </a:lnTo>
                <a:lnTo>
                  <a:pt x="2410" y="552"/>
                </a:lnTo>
                <a:lnTo>
                  <a:pt x="2411" y="551"/>
                </a:lnTo>
                <a:lnTo>
                  <a:pt x="2412" y="550"/>
                </a:lnTo>
                <a:lnTo>
                  <a:pt x="2412" y="549"/>
                </a:lnTo>
                <a:lnTo>
                  <a:pt x="2411" y="547"/>
                </a:lnTo>
                <a:lnTo>
                  <a:pt x="2412" y="547"/>
                </a:lnTo>
                <a:lnTo>
                  <a:pt x="2411" y="547"/>
                </a:lnTo>
                <a:lnTo>
                  <a:pt x="2410" y="546"/>
                </a:lnTo>
                <a:lnTo>
                  <a:pt x="2409" y="545"/>
                </a:lnTo>
                <a:lnTo>
                  <a:pt x="2407" y="545"/>
                </a:lnTo>
                <a:lnTo>
                  <a:pt x="2405" y="543"/>
                </a:lnTo>
                <a:lnTo>
                  <a:pt x="2401" y="545"/>
                </a:lnTo>
                <a:lnTo>
                  <a:pt x="2395" y="547"/>
                </a:lnTo>
                <a:lnTo>
                  <a:pt x="2386" y="552"/>
                </a:lnTo>
                <a:lnTo>
                  <a:pt x="2379" y="557"/>
                </a:lnTo>
                <a:lnTo>
                  <a:pt x="2369" y="559"/>
                </a:lnTo>
                <a:lnTo>
                  <a:pt x="2359" y="559"/>
                </a:lnTo>
                <a:lnTo>
                  <a:pt x="2349" y="560"/>
                </a:lnTo>
                <a:lnTo>
                  <a:pt x="2339" y="564"/>
                </a:lnTo>
                <a:lnTo>
                  <a:pt x="2332" y="567"/>
                </a:lnTo>
                <a:lnTo>
                  <a:pt x="2323" y="572"/>
                </a:lnTo>
                <a:lnTo>
                  <a:pt x="2315" y="574"/>
                </a:lnTo>
                <a:lnTo>
                  <a:pt x="2306" y="579"/>
                </a:lnTo>
                <a:lnTo>
                  <a:pt x="2299" y="583"/>
                </a:lnTo>
                <a:lnTo>
                  <a:pt x="2294" y="588"/>
                </a:lnTo>
                <a:lnTo>
                  <a:pt x="2289" y="590"/>
                </a:lnTo>
                <a:lnTo>
                  <a:pt x="2285" y="591"/>
                </a:lnTo>
                <a:lnTo>
                  <a:pt x="2282" y="592"/>
                </a:lnTo>
                <a:lnTo>
                  <a:pt x="2279" y="595"/>
                </a:lnTo>
                <a:lnTo>
                  <a:pt x="2275" y="595"/>
                </a:lnTo>
                <a:lnTo>
                  <a:pt x="2272" y="596"/>
                </a:lnTo>
                <a:lnTo>
                  <a:pt x="2270" y="598"/>
                </a:lnTo>
                <a:lnTo>
                  <a:pt x="2267" y="600"/>
                </a:lnTo>
                <a:lnTo>
                  <a:pt x="2262" y="600"/>
                </a:lnTo>
                <a:lnTo>
                  <a:pt x="2257" y="601"/>
                </a:lnTo>
                <a:lnTo>
                  <a:pt x="2253" y="603"/>
                </a:lnTo>
                <a:lnTo>
                  <a:pt x="2248" y="605"/>
                </a:lnTo>
                <a:lnTo>
                  <a:pt x="2241" y="609"/>
                </a:lnTo>
                <a:lnTo>
                  <a:pt x="2234" y="613"/>
                </a:lnTo>
                <a:lnTo>
                  <a:pt x="2231" y="614"/>
                </a:lnTo>
                <a:lnTo>
                  <a:pt x="2229" y="615"/>
                </a:lnTo>
                <a:lnTo>
                  <a:pt x="2224" y="617"/>
                </a:lnTo>
                <a:lnTo>
                  <a:pt x="2220" y="620"/>
                </a:lnTo>
                <a:lnTo>
                  <a:pt x="2212" y="621"/>
                </a:lnTo>
                <a:lnTo>
                  <a:pt x="2205" y="624"/>
                </a:lnTo>
                <a:lnTo>
                  <a:pt x="2199" y="625"/>
                </a:lnTo>
                <a:lnTo>
                  <a:pt x="2195" y="625"/>
                </a:lnTo>
                <a:lnTo>
                  <a:pt x="2189" y="626"/>
                </a:lnTo>
                <a:lnTo>
                  <a:pt x="2186" y="628"/>
                </a:lnTo>
                <a:lnTo>
                  <a:pt x="2182" y="628"/>
                </a:lnTo>
                <a:lnTo>
                  <a:pt x="2180" y="626"/>
                </a:lnTo>
                <a:lnTo>
                  <a:pt x="2178" y="625"/>
                </a:lnTo>
                <a:lnTo>
                  <a:pt x="2176" y="622"/>
                </a:lnTo>
                <a:lnTo>
                  <a:pt x="2179" y="620"/>
                </a:lnTo>
                <a:lnTo>
                  <a:pt x="2182" y="618"/>
                </a:lnTo>
                <a:lnTo>
                  <a:pt x="2186" y="618"/>
                </a:lnTo>
                <a:lnTo>
                  <a:pt x="2189" y="618"/>
                </a:lnTo>
                <a:lnTo>
                  <a:pt x="2199" y="614"/>
                </a:lnTo>
                <a:lnTo>
                  <a:pt x="2209" y="609"/>
                </a:lnTo>
                <a:lnTo>
                  <a:pt x="2221" y="606"/>
                </a:lnTo>
                <a:lnTo>
                  <a:pt x="2232" y="603"/>
                </a:lnTo>
                <a:lnTo>
                  <a:pt x="2244" y="598"/>
                </a:lnTo>
                <a:lnTo>
                  <a:pt x="2255" y="595"/>
                </a:lnTo>
                <a:lnTo>
                  <a:pt x="2265" y="589"/>
                </a:lnTo>
                <a:lnTo>
                  <a:pt x="2274" y="582"/>
                </a:lnTo>
                <a:lnTo>
                  <a:pt x="2272" y="581"/>
                </a:lnTo>
                <a:lnTo>
                  <a:pt x="2269" y="580"/>
                </a:lnTo>
                <a:lnTo>
                  <a:pt x="2265" y="581"/>
                </a:lnTo>
                <a:lnTo>
                  <a:pt x="2261" y="581"/>
                </a:lnTo>
                <a:lnTo>
                  <a:pt x="2253" y="584"/>
                </a:lnTo>
                <a:lnTo>
                  <a:pt x="2246" y="587"/>
                </a:lnTo>
                <a:lnTo>
                  <a:pt x="2229" y="591"/>
                </a:lnTo>
                <a:lnTo>
                  <a:pt x="2212" y="597"/>
                </a:lnTo>
                <a:lnTo>
                  <a:pt x="2197" y="603"/>
                </a:lnTo>
                <a:lnTo>
                  <a:pt x="2182" y="608"/>
                </a:lnTo>
                <a:lnTo>
                  <a:pt x="2167" y="615"/>
                </a:lnTo>
                <a:lnTo>
                  <a:pt x="2153" y="621"/>
                </a:lnTo>
                <a:lnTo>
                  <a:pt x="2137" y="626"/>
                </a:lnTo>
                <a:lnTo>
                  <a:pt x="2121" y="631"/>
                </a:lnTo>
                <a:lnTo>
                  <a:pt x="2105" y="637"/>
                </a:lnTo>
                <a:lnTo>
                  <a:pt x="2090" y="642"/>
                </a:lnTo>
                <a:lnTo>
                  <a:pt x="2077" y="648"/>
                </a:lnTo>
                <a:lnTo>
                  <a:pt x="2065" y="653"/>
                </a:lnTo>
                <a:lnTo>
                  <a:pt x="2056" y="654"/>
                </a:lnTo>
                <a:lnTo>
                  <a:pt x="2048" y="656"/>
                </a:lnTo>
                <a:lnTo>
                  <a:pt x="2039" y="658"/>
                </a:lnTo>
                <a:lnTo>
                  <a:pt x="2031" y="660"/>
                </a:lnTo>
                <a:lnTo>
                  <a:pt x="2017" y="665"/>
                </a:lnTo>
                <a:lnTo>
                  <a:pt x="2003" y="670"/>
                </a:lnTo>
                <a:lnTo>
                  <a:pt x="1995" y="672"/>
                </a:lnTo>
                <a:lnTo>
                  <a:pt x="1987" y="674"/>
                </a:lnTo>
                <a:lnTo>
                  <a:pt x="1980" y="678"/>
                </a:lnTo>
                <a:lnTo>
                  <a:pt x="1973" y="681"/>
                </a:lnTo>
                <a:lnTo>
                  <a:pt x="1959" y="683"/>
                </a:lnTo>
                <a:lnTo>
                  <a:pt x="1945" y="686"/>
                </a:lnTo>
                <a:lnTo>
                  <a:pt x="1937" y="687"/>
                </a:lnTo>
                <a:lnTo>
                  <a:pt x="1929" y="689"/>
                </a:lnTo>
                <a:lnTo>
                  <a:pt x="1927" y="690"/>
                </a:lnTo>
                <a:lnTo>
                  <a:pt x="1924" y="691"/>
                </a:lnTo>
                <a:lnTo>
                  <a:pt x="1920" y="692"/>
                </a:lnTo>
                <a:lnTo>
                  <a:pt x="1917" y="692"/>
                </a:lnTo>
                <a:lnTo>
                  <a:pt x="1911" y="693"/>
                </a:lnTo>
                <a:lnTo>
                  <a:pt x="1906" y="696"/>
                </a:lnTo>
                <a:lnTo>
                  <a:pt x="1899" y="696"/>
                </a:lnTo>
                <a:lnTo>
                  <a:pt x="1891" y="696"/>
                </a:lnTo>
                <a:lnTo>
                  <a:pt x="1882" y="697"/>
                </a:lnTo>
                <a:lnTo>
                  <a:pt x="1873" y="698"/>
                </a:lnTo>
                <a:lnTo>
                  <a:pt x="1863" y="700"/>
                </a:lnTo>
                <a:lnTo>
                  <a:pt x="1854" y="701"/>
                </a:lnTo>
                <a:lnTo>
                  <a:pt x="1837" y="705"/>
                </a:lnTo>
                <a:lnTo>
                  <a:pt x="1821" y="708"/>
                </a:lnTo>
                <a:lnTo>
                  <a:pt x="1804" y="713"/>
                </a:lnTo>
                <a:lnTo>
                  <a:pt x="1787" y="716"/>
                </a:lnTo>
                <a:lnTo>
                  <a:pt x="1771" y="720"/>
                </a:lnTo>
                <a:lnTo>
                  <a:pt x="1754" y="722"/>
                </a:lnTo>
                <a:lnTo>
                  <a:pt x="1738" y="723"/>
                </a:lnTo>
                <a:lnTo>
                  <a:pt x="1721" y="724"/>
                </a:lnTo>
                <a:lnTo>
                  <a:pt x="1704" y="725"/>
                </a:lnTo>
                <a:lnTo>
                  <a:pt x="1686" y="726"/>
                </a:lnTo>
                <a:lnTo>
                  <a:pt x="1669" y="729"/>
                </a:lnTo>
                <a:lnTo>
                  <a:pt x="1652" y="730"/>
                </a:lnTo>
                <a:lnTo>
                  <a:pt x="1616" y="732"/>
                </a:lnTo>
                <a:lnTo>
                  <a:pt x="1581" y="732"/>
                </a:lnTo>
                <a:lnTo>
                  <a:pt x="1546" y="732"/>
                </a:lnTo>
                <a:lnTo>
                  <a:pt x="1511" y="731"/>
                </a:lnTo>
                <a:lnTo>
                  <a:pt x="1492" y="730"/>
                </a:lnTo>
                <a:lnTo>
                  <a:pt x="1475" y="729"/>
                </a:lnTo>
                <a:lnTo>
                  <a:pt x="1457" y="728"/>
                </a:lnTo>
                <a:lnTo>
                  <a:pt x="1440" y="726"/>
                </a:lnTo>
                <a:lnTo>
                  <a:pt x="1423" y="725"/>
                </a:lnTo>
                <a:lnTo>
                  <a:pt x="1407" y="724"/>
                </a:lnTo>
                <a:lnTo>
                  <a:pt x="1399" y="724"/>
                </a:lnTo>
                <a:lnTo>
                  <a:pt x="1391" y="722"/>
                </a:lnTo>
                <a:lnTo>
                  <a:pt x="1388" y="721"/>
                </a:lnTo>
                <a:lnTo>
                  <a:pt x="1384" y="720"/>
                </a:lnTo>
                <a:lnTo>
                  <a:pt x="1381" y="720"/>
                </a:lnTo>
                <a:lnTo>
                  <a:pt x="1379" y="721"/>
                </a:lnTo>
                <a:lnTo>
                  <a:pt x="1372" y="721"/>
                </a:lnTo>
                <a:lnTo>
                  <a:pt x="1366" y="718"/>
                </a:lnTo>
                <a:lnTo>
                  <a:pt x="1360" y="717"/>
                </a:lnTo>
                <a:lnTo>
                  <a:pt x="1355" y="716"/>
                </a:lnTo>
                <a:lnTo>
                  <a:pt x="1347" y="715"/>
                </a:lnTo>
                <a:lnTo>
                  <a:pt x="1338" y="713"/>
                </a:lnTo>
                <a:lnTo>
                  <a:pt x="1330" y="712"/>
                </a:lnTo>
                <a:lnTo>
                  <a:pt x="1321" y="709"/>
                </a:lnTo>
                <a:lnTo>
                  <a:pt x="1305" y="708"/>
                </a:lnTo>
                <a:lnTo>
                  <a:pt x="1288" y="707"/>
                </a:lnTo>
                <a:lnTo>
                  <a:pt x="1278" y="708"/>
                </a:lnTo>
                <a:lnTo>
                  <a:pt x="1269" y="709"/>
                </a:lnTo>
                <a:lnTo>
                  <a:pt x="1260" y="711"/>
                </a:lnTo>
                <a:lnTo>
                  <a:pt x="1251" y="712"/>
                </a:lnTo>
                <a:lnTo>
                  <a:pt x="1235" y="711"/>
                </a:lnTo>
                <a:lnTo>
                  <a:pt x="1219" y="707"/>
                </a:lnTo>
                <a:lnTo>
                  <a:pt x="1202" y="706"/>
                </a:lnTo>
                <a:lnTo>
                  <a:pt x="1185" y="703"/>
                </a:lnTo>
                <a:lnTo>
                  <a:pt x="1176" y="701"/>
                </a:lnTo>
                <a:lnTo>
                  <a:pt x="1168" y="700"/>
                </a:lnTo>
                <a:lnTo>
                  <a:pt x="1159" y="699"/>
                </a:lnTo>
                <a:lnTo>
                  <a:pt x="1150" y="697"/>
                </a:lnTo>
                <a:lnTo>
                  <a:pt x="1134" y="691"/>
                </a:lnTo>
                <a:lnTo>
                  <a:pt x="1117" y="688"/>
                </a:lnTo>
                <a:lnTo>
                  <a:pt x="1108" y="687"/>
                </a:lnTo>
                <a:lnTo>
                  <a:pt x="1097" y="686"/>
                </a:lnTo>
                <a:lnTo>
                  <a:pt x="1088" y="684"/>
                </a:lnTo>
                <a:lnTo>
                  <a:pt x="1079" y="682"/>
                </a:lnTo>
                <a:lnTo>
                  <a:pt x="1069" y="681"/>
                </a:lnTo>
                <a:lnTo>
                  <a:pt x="1060" y="678"/>
                </a:lnTo>
                <a:lnTo>
                  <a:pt x="1055" y="674"/>
                </a:lnTo>
                <a:lnTo>
                  <a:pt x="1052" y="670"/>
                </a:lnTo>
                <a:lnTo>
                  <a:pt x="1050" y="667"/>
                </a:lnTo>
                <a:lnTo>
                  <a:pt x="1047" y="666"/>
                </a:lnTo>
                <a:lnTo>
                  <a:pt x="1046" y="666"/>
                </a:lnTo>
                <a:lnTo>
                  <a:pt x="1044" y="666"/>
                </a:lnTo>
                <a:lnTo>
                  <a:pt x="1039" y="667"/>
                </a:lnTo>
                <a:lnTo>
                  <a:pt x="1036" y="670"/>
                </a:lnTo>
                <a:lnTo>
                  <a:pt x="1029" y="671"/>
                </a:lnTo>
                <a:lnTo>
                  <a:pt x="1021" y="672"/>
                </a:lnTo>
                <a:lnTo>
                  <a:pt x="1014" y="671"/>
                </a:lnTo>
                <a:lnTo>
                  <a:pt x="1009" y="668"/>
                </a:lnTo>
                <a:lnTo>
                  <a:pt x="1012" y="668"/>
                </a:lnTo>
                <a:lnTo>
                  <a:pt x="1018" y="668"/>
                </a:lnTo>
                <a:lnTo>
                  <a:pt x="1021" y="667"/>
                </a:lnTo>
                <a:lnTo>
                  <a:pt x="1026" y="665"/>
                </a:lnTo>
                <a:lnTo>
                  <a:pt x="1019" y="659"/>
                </a:lnTo>
                <a:lnTo>
                  <a:pt x="1011" y="656"/>
                </a:lnTo>
                <a:lnTo>
                  <a:pt x="1001" y="655"/>
                </a:lnTo>
                <a:lnTo>
                  <a:pt x="990" y="654"/>
                </a:lnTo>
                <a:lnTo>
                  <a:pt x="980" y="651"/>
                </a:lnTo>
                <a:lnTo>
                  <a:pt x="969" y="649"/>
                </a:lnTo>
                <a:lnTo>
                  <a:pt x="959" y="648"/>
                </a:lnTo>
                <a:lnTo>
                  <a:pt x="947" y="647"/>
                </a:lnTo>
                <a:lnTo>
                  <a:pt x="937" y="648"/>
                </a:lnTo>
                <a:lnTo>
                  <a:pt x="928" y="648"/>
                </a:lnTo>
                <a:lnTo>
                  <a:pt x="917" y="646"/>
                </a:lnTo>
                <a:lnTo>
                  <a:pt x="905" y="643"/>
                </a:lnTo>
                <a:lnTo>
                  <a:pt x="896" y="642"/>
                </a:lnTo>
                <a:lnTo>
                  <a:pt x="887" y="641"/>
                </a:lnTo>
                <a:lnTo>
                  <a:pt x="877" y="641"/>
                </a:lnTo>
                <a:lnTo>
                  <a:pt x="869" y="643"/>
                </a:lnTo>
                <a:lnTo>
                  <a:pt x="864" y="645"/>
                </a:lnTo>
                <a:lnTo>
                  <a:pt x="861" y="647"/>
                </a:lnTo>
                <a:lnTo>
                  <a:pt x="857" y="648"/>
                </a:lnTo>
                <a:lnTo>
                  <a:pt x="853" y="647"/>
                </a:lnTo>
                <a:lnTo>
                  <a:pt x="844" y="642"/>
                </a:lnTo>
                <a:lnTo>
                  <a:pt x="836" y="638"/>
                </a:lnTo>
                <a:lnTo>
                  <a:pt x="827" y="634"/>
                </a:lnTo>
                <a:lnTo>
                  <a:pt x="817" y="630"/>
                </a:lnTo>
                <a:lnTo>
                  <a:pt x="813" y="629"/>
                </a:lnTo>
                <a:lnTo>
                  <a:pt x="808" y="626"/>
                </a:lnTo>
                <a:lnTo>
                  <a:pt x="806" y="626"/>
                </a:lnTo>
                <a:lnTo>
                  <a:pt x="805" y="625"/>
                </a:lnTo>
                <a:lnTo>
                  <a:pt x="804" y="626"/>
                </a:lnTo>
                <a:lnTo>
                  <a:pt x="802" y="626"/>
                </a:lnTo>
                <a:lnTo>
                  <a:pt x="798" y="628"/>
                </a:lnTo>
                <a:lnTo>
                  <a:pt x="795" y="628"/>
                </a:lnTo>
                <a:lnTo>
                  <a:pt x="790" y="626"/>
                </a:lnTo>
                <a:lnTo>
                  <a:pt x="787" y="625"/>
                </a:lnTo>
                <a:lnTo>
                  <a:pt x="775" y="622"/>
                </a:lnTo>
                <a:lnTo>
                  <a:pt x="764" y="618"/>
                </a:lnTo>
                <a:lnTo>
                  <a:pt x="753" y="616"/>
                </a:lnTo>
                <a:lnTo>
                  <a:pt x="742" y="613"/>
                </a:lnTo>
                <a:lnTo>
                  <a:pt x="731" y="610"/>
                </a:lnTo>
                <a:lnTo>
                  <a:pt x="721" y="608"/>
                </a:lnTo>
                <a:lnTo>
                  <a:pt x="709" y="607"/>
                </a:lnTo>
                <a:lnTo>
                  <a:pt x="697" y="605"/>
                </a:lnTo>
                <a:lnTo>
                  <a:pt x="685" y="604"/>
                </a:lnTo>
                <a:lnTo>
                  <a:pt x="674" y="603"/>
                </a:lnTo>
                <a:lnTo>
                  <a:pt x="664" y="601"/>
                </a:lnTo>
                <a:lnTo>
                  <a:pt x="654" y="598"/>
                </a:lnTo>
                <a:lnTo>
                  <a:pt x="643" y="593"/>
                </a:lnTo>
                <a:lnTo>
                  <a:pt x="634" y="591"/>
                </a:lnTo>
                <a:lnTo>
                  <a:pt x="637" y="597"/>
                </a:lnTo>
                <a:lnTo>
                  <a:pt x="638" y="604"/>
                </a:lnTo>
                <a:lnTo>
                  <a:pt x="638" y="606"/>
                </a:lnTo>
                <a:lnTo>
                  <a:pt x="637" y="609"/>
                </a:lnTo>
                <a:lnTo>
                  <a:pt x="634" y="612"/>
                </a:lnTo>
                <a:lnTo>
                  <a:pt x="631" y="613"/>
                </a:lnTo>
                <a:lnTo>
                  <a:pt x="629" y="614"/>
                </a:lnTo>
                <a:lnTo>
                  <a:pt x="625" y="613"/>
                </a:lnTo>
                <a:lnTo>
                  <a:pt x="622" y="612"/>
                </a:lnTo>
                <a:lnTo>
                  <a:pt x="619" y="610"/>
                </a:lnTo>
                <a:lnTo>
                  <a:pt x="615" y="606"/>
                </a:lnTo>
                <a:lnTo>
                  <a:pt x="611" y="600"/>
                </a:lnTo>
                <a:lnTo>
                  <a:pt x="611" y="595"/>
                </a:lnTo>
                <a:lnTo>
                  <a:pt x="613" y="589"/>
                </a:lnTo>
                <a:lnTo>
                  <a:pt x="613" y="587"/>
                </a:lnTo>
                <a:lnTo>
                  <a:pt x="611" y="585"/>
                </a:lnTo>
                <a:lnTo>
                  <a:pt x="610" y="584"/>
                </a:lnTo>
                <a:lnTo>
                  <a:pt x="608" y="584"/>
                </a:lnTo>
                <a:lnTo>
                  <a:pt x="605" y="584"/>
                </a:lnTo>
                <a:lnTo>
                  <a:pt x="601" y="584"/>
                </a:lnTo>
                <a:lnTo>
                  <a:pt x="591" y="582"/>
                </a:lnTo>
                <a:lnTo>
                  <a:pt x="581" y="580"/>
                </a:lnTo>
                <a:lnTo>
                  <a:pt x="572" y="579"/>
                </a:lnTo>
                <a:lnTo>
                  <a:pt x="561" y="576"/>
                </a:lnTo>
                <a:lnTo>
                  <a:pt x="551" y="574"/>
                </a:lnTo>
                <a:lnTo>
                  <a:pt x="542" y="572"/>
                </a:lnTo>
                <a:lnTo>
                  <a:pt x="532" y="568"/>
                </a:lnTo>
                <a:lnTo>
                  <a:pt x="523" y="565"/>
                </a:lnTo>
                <a:lnTo>
                  <a:pt x="512" y="562"/>
                </a:lnTo>
                <a:lnTo>
                  <a:pt x="503" y="559"/>
                </a:lnTo>
                <a:lnTo>
                  <a:pt x="494" y="558"/>
                </a:lnTo>
                <a:lnTo>
                  <a:pt x="485" y="557"/>
                </a:lnTo>
                <a:lnTo>
                  <a:pt x="477" y="554"/>
                </a:lnTo>
                <a:lnTo>
                  <a:pt x="469" y="550"/>
                </a:lnTo>
                <a:lnTo>
                  <a:pt x="462" y="546"/>
                </a:lnTo>
                <a:lnTo>
                  <a:pt x="456" y="541"/>
                </a:lnTo>
                <a:lnTo>
                  <a:pt x="453" y="538"/>
                </a:lnTo>
                <a:lnTo>
                  <a:pt x="450" y="535"/>
                </a:lnTo>
                <a:lnTo>
                  <a:pt x="446" y="534"/>
                </a:lnTo>
                <a:lnTo>
                  <a:pt x="443" y="533"/>
                </a:lnTo>
                <a:lnTo>
                  <a:pt x="433" y="530"/>
                </a:lnTo>
                <a:lnTo>
                  <a:pt x="424" y="526"/>
                </a:lnTo>
                <a:lnTo>
                  <a:pt x="415" y="524"/>
                </a:lnTo>
                <a:lnTo>
                  <a:pt x="407" y="521"/>
                </a:lnTo>
                <a:lnTo>
                  <a:pt x="404" y="520"/>
                </a:lnTo>
                <a:lnTo>
                  <a:pt x="402" y="518"/>
                </a:lnTo>
                <a:lnTo>
                  <a:pt x="401" y="517"/>
                </a:lnTo>
                <a:lnTo>
                  <a:pt x="403" y="515"/>
                </a:lnTo>
                <a:lnTo>
                  <a:pt x="411" y="515"/>
                </a:lnTo>
                <a:lnTo>
                  <a:pt x="418" y="517"/>
                </a:lnTo>
                <a:lnTo>
                  <a:pt x="429" y="520"/>
                </a:lnTo>
                <a:lnTo>
                  <a:pt x="440" y="523"/>
                </a:lnTo>
                <a:lnTo>
                  <a:pt x="459" y="527"/>
                </a:lnTo>
                <a:lnTo>
                  <a:pt x="479" y="532"/>
                </a:lnTo>
                <a:lnTo>
                  <a:pt x="499" y="538"/>
                </a:lnTo>
                <a:lnTo>
                  <a:pt x="517" y="545"/>
                </a:lnTo>
                <a:lnTo>
                  <a:pt x="526" y="548"/>
                </a:lnTo>
                <a:lnTo>
                  <a:pt x="536" y="550"/>
                </a:lnTo>
                <a:lnTo>
                  <a:pt x="545" y="551"/>
                </a:lnTo>
                <a:lnTo>
                  <a:pt x="555" y="552"/>
                </a:lnTo>
                <a:lnTo>
                  <a:pt x="565" y="555"/>
                </a:lnTo>
                <a:lnTo>
                  <a:pt x="575" y="556"/>
                </a:lnTo>
                <a:lnTo>
                  <a:pt x="585" y="558"/>
                </a:lnTo>
                <a:lnTo>
                  <a:pt x="596" y="560"/>
                </a:lnTo>
                <a:lnTo>
                  <a:pt x="605" y="563"/>
                </a:lnTo>
                <a:lnTo>
                  <a:pt x="615" y="566"/>
                </a:lnTo>
                <a:lnTo>
                  <a:pt x="625" y="567"/>
                </a:lnTo>
                <a:lnTo>
                  <a:pt x="634" y="568"/>
                </a:lnTo>
                <a:lnTo>
                  <a:pt x="643" y="570"/>
                </a:lnTo>
                <a:lnTo>
                  <a:pt x="652" y="573"/>
                </a:lnTo>
                <a:lnTo>
                  <a:pt x="662" y="575"/>
                </a:lnTo>
                <a:lnTo>
                  <a:pt x="672" y="577"/>
                </a:lnTo>
                <a:lnTo>
                  <a:pt x="677" y="579"/>
                </a:lnTo>
                <a:lnTo>
                  <a:pt x="683" y="580"/>
                </a:lnTo>
                <a:lnTo>
                  <a:pt x="687" y="581"/>
                </a:lnTo>
                <a:lnTo>
                  <a:pt x="690" y="583"/>
                </a:lnTo>
                <a:lnTo>
                  <a:pt x="700" y="584"/>
                </a:lnTo>
                <a:lnTo>
                  <a:pt x="709" y="584"/>
                </a:lnTo>
                <a:lnTo>
                  <a:pt x="721" y="588"/>
                </a:lnTo>
                <a:lnTo>
                  <a:pt x="732" y="590"/>
                </a:lnTo>
                <a:lnTo>
                  <a:pt x="744" y="593"/>
                </a:lnTo>
                <a:lnTo>
                  <a:pt x="755" y="596"/>
                </a:lnTo>
                <a:lnTo>
                  <a:pt x="779" y="601"/>
                </a:lnTo>
                <a:lnTo>
                  <a:pt x="802" y="606"/>
                </a:lnTo>
                <a:lnTo>
                  <a:pt x="814" y="608"/>
                </a:lnTo>
                <a:lnTo>
                  <a:pt x="825" y="609"/>
                </a:lnTo>
                <a:lnTo>
                  <a:pt x="837" y="610"/>
                </a:lnTo>
                <a:lnTo>
                  <a:pt x="849" y="610"/>
                </a:lnTo>
                <a:lnTo>
                  <a:pt x="841" y="606"/>
                </a:lnTo>
                <a:lnTo>
                  <a:pt x="833" y="605"/>
                </a:lnTo>
                <a:lnTo>
                  <a:pt x="830" y="604"/>
                </a:lnTo>
                <a:lnTo>
                  <a:pt x="828" y="601"/>
                </a:lnTo>
                <a:lnTo>
                  <a:pt x="827" y="600"/>
                </a:lnTo>
                <a:lnTo>
                  <a:pt x="828" y="599"/>
                </a:lnTo>
                <a:lnTo>
                  <a:pt x="829" y="599"/>
                </a:lnTo>
                <a:lnTo>
                  <a:pt x="831" y="598"/>
                </a:lnTo>
                <a:lnTo>
                  <a:pt x="843" y="598"/>
                </a:lnTo>
                <a:lnTo>
                  <a:pt x="854" y="599"/>
                </a:lnTo>
                <a:lnTo>
                  <a:pt x="865" y="601"/>
                </a:lnTo>
                <a:lnTo>
                  <a:pt x="876" y="604"/>
                </a:lnTo>
                <a:lnTo>
                  <a:pt x="888" y="607"/>
                </a:lnTo>
                <a:lnTo>
                  <a:pt x="899" y="609"/>
                </a:lnTo>
                <a:lnTo>
                  <a:pt x="912" y="612"/>
                </a:lnTo>
                <a:lnTo>
                  <a:pt x="923" y="613"/>
                </a:lnTo>
                <a:lnTo>
                  <a:pt x="932" y="614"/>
                </a:lnTo>
                <a:lnTo>
                  <a:pt x="942" y="615"/>
                </a:lnTo>
                <a:lnTo>
                  <a:pt x="950" y="618"/>
                </a:lnTo>
                <a:lnTo>
                  <a:pt x="957" y="622"/>
                </a:lnTo>
                <a:lnTo>
                  <a:pt x="967" y="621"/>
                </a:lnTo>
                <a:lnTo>
                  <a:pt x="975" y="620"/>
                </a:lnTo>
                <a:lnTo>
                  <a:pt x="979" y="620"/>
                </a:lnTo>
                <a:lnTo>
                  <a:pt x="984" y="621"/>
                </a:lnTo>
                <a:lnTo>
                  <a:pt x="987" y="623"/>
                </a:lnTo>
                <a:lnTo>
                  <a:pt x="990" y="625"/>
                </a:lnTo>
                <a:lnTo>
                  <a:pt x="1000" y="626"/>
                </a:lnTo>
                <a:lnTo>
                  <a:pt x="1010" y="626"/>
                </a:lnTo>
                <a:lnTo>
                  <a:pt x="1022" y="628"/>
                </a:lnTo>
                <a:lnTo>
                  <a:pt x="1035" y="629"/>
                </a:lnTo>
                <a:lnTo>
                  <a:pt x="1046" y="630"/>
                </a:lnTo>
                <a:lnTo>
                  <a:pt x="1058" y="632"/>
                </a:lnTo>
                <a:lnTo>
                  <a:pt x="1060" y="632"/>
                </a:lnTo>
                <a:lnTo>
                  <a:pt x="1063" y="633"/>
                </a:lnTo>
                <a:lnTo>
                  <a:pt x="1064" y="634"/>
                </a:lnTo>
                <a:lnTo>
                  <a:pt x="1066" y="635"/>
                </a:lnTo>
                <a:lnTo>
                  <a:pt x="1069" y="637"/>
                </a:lnTo>
                <a:lnTo>
                  <a:pt x="1072" y="637"/>
                </a:lnTo>
                <a:lnTo>
                  <a:pt x="1076" y="637"/>
                </a:lnTo>
                <a:lnTo>
                  <a:pt x="1078" y="637"/>
                </a:lnTo>
                <a:lnTo>
                  <a:pt x="1080" y="637"/>
                </a:lnTo>
                <a:lnTo>
                  <a:pt x="1082" y="639"/>
                </a:lnTo>
                <a:lnTo>
                  <a:pt x="1082" y="641"/>
                </a:lnTo>
                <a:lnTo>
                  <a:pt x="1080" y="641"/>
                </a:lnTo>
                <a:lnTo>
                  <a:pt x="1079" y="642"/>
                </a:lnTo>
                <a:lnTo>
                  <a:pt x="1078" y="642"/>
                </a:lnTo>
                <a:lnTo>
                  <a:pt x="1075" y="642"/>
                </a:lnTo>
                <a:lnTo>
                  <a:pt x="1071" y="642"/>
                </a:lnTo>
                <a:lnTo>
                  <a:pt x="1059" y="641"/>
                </a:lnTo>
                <a:lnTo>
                  <a:pt x="1046" y="639"/>
                </a:lnTo>
                <a:lnTo>
                  <a:pt x="1033" y="637"/>
                </a:lnTo>
                <a:lnTo>
                  <a:pt x="1020" y="635"/>
                </a:lnTo>
                <a:lnTo>
                  <a:pt x="1008" y="633"/>
                </a:lnTo>
                <a:lnTo>
                  <a:pt x="996" y="631"/>
                </a:lnTo>
                <a:lnTo>
                  <a:pt x="989" y="631"/>
                </a:lnTo>
                <a:lnTo>
                  <a:pt x="984" y="630"/>
                </a:lnTo>
                <a:lnTo>
                  <a:pt x="978" y="631"/>
                </a:lnTo>
                <a:lnTo>
                  <a:pt x="971" y="632"/>
                </a:lnTo>
                <a:lnTo>
                  <a:pt x="981" y="637"/>
                </a:lnTo>
                <a:lnTo>
                  <a:pt x="992" y="639"/>
                </a:lnTo>
                <a:lnTo>
                  <a:pt x="1004" y="641"/>
                </a:lnTo>
                <a:lnTo>
                  <a:pt x="1016" y="643"/>
                </a:lnTo>
                <a:lnTo>
                  <a:pt x="1028" y="645"/>
                </a:lnTo>
                <a:lnTo>
                  <a:pt x="1041" y="646"/>
                </a:lnTo>
                <a:lnTo>
                  <a:pt x="1052" y="646"/>
                </a:lnTo>
                <a:lnTo>
                  <a:pt x="1062" y="647"/>
                </a:lnTo>
                <a:lnTo>
                  <a:pt x="1074" y="649"/>
                </a:lnTo>
                <a:lnTo>
                  <a:pt x="1085" y="651"/>
                </a:lnTo>
                <a:lnTo>
                  <a:pt x="1095" y="653"/>
                </a:lnTo>
                <a:lnTo>
                  <a:pt x="1107" y="654"/>
                </a:lnTo>
                <a:lnTo>
                  <a:pt x="1119" y="655"/>
                </a:lnTo>
                <a:lnTo>
                  <a:pt x="1130" y="656"/>
                </a:lnTo>
                <a:lnTo>
                  <a:pt x="1143" y="656"/>
                </a:lnTo>
                <a:lnTo>
                  <a:pt x="1156" y="657"/>
                </a:lnTo>
                <a:lnTo>
                  <a:pt x="1168" y="658"/>
                </a:lnTo>
                <a:lnTo>
                  <a:pt x="1181" y="659"/>
                </a:lnTo>
                <a:lnTo>
                  <a:pt x="1193" y="660"/>
                </a:lnTo>
                <a:lnTo>
                  <a:pt x="1206" y="660"/>
                </a:lnTo>
                <a:lnTo>
                  <a:pt x="1217" y="662"/>
                </a:lnTo>
                <a:lnTo>
                  <a:pt x="1228" y="664"/>
                </a:lnTo>
                <a:lnTo>
                  <a:pt x="1241" y="665"/>
                </a:lnTo>
                <a:lnTo>
                  <a:pt x="1252" y="666"/>
                </a:lnTo>
                <a:lnTo>
                  <a:pt x="1276" y="667"/>
                </a:lnTo>
                <a:lnTo>
                  <a:pt x="1301" y="668"/>
                </a:lnTo>
                <a:lnTo>
                  <a:pt x="1325" y="670"/>
                </a:lnTo>
                <a:lnTo>
                  <a:pt x="1349" y="671"/>
                </a:lnTo>
                <a:lnTo>
                  <a:pt x="1347" y="668"/>
                </a:lnTo>
                <a:lnTo>
                  <a:pt x="1343" y="666"/>
                </a:lnTo>
                <a:lnTo>
                  <a:pt x="1340" y="666"/>
                </a:lnTo>
                <a:lnTo>
                  <a:pt x="1335" y="665"/>
                </a:lnTo>
                <a:lnTo>
                  <a:pt x="1327" y="665"/>
                </a:lnTo>
                <a:lnTo>
                  <a:pt x="1321" y="666"/>
                </a:lnTo>
                <a:lnTo>
                  <a:pt x="1310" y="665"/>
                </a:lnTo>
                <a:lnTo>
                  <a:pt x="1300" y="664"/>
                </a:lnTo>
                <a:lnTo>
                  <a:pt x="1290" y="664"/>
                </a:lnTo>
                <a:lnTo>
                  <a:pt x="1280" y="663"/>
                </a:lnTo>
                <a:lnTo>
                  <a:pt x="1269" y="662"/>
                </a:lnTo>
                <a:lnTo>
                  <a:pt x="1260" y="662"/>
                </a:lnTo>
                <a:lnTo>
                  <a:pt x="1255" y="660"/>
                </a:lnTo>
                <a:lnTo>
                  <a:pt x="1249" y="659"/>
                </a:lnTo>
                <a:lnTo>
                  <a:pt x="1248" y="659"/>
                </a:lnTo>
                <a:lnTo>
                  <a:pt x="1247" y="658"/>
                </a:lnTo>
                <a:lnTo>
                  <a:pt x="1245" y="656"/>
                </a:lnTo>
                <a:lnTo>
                  <a:pt x="1245" y="654"/>
                </a:lnTo>
                <a:lnTo>
                  <a:pt x="1257" y="654"/>
                </a:lnTo>
                <a:lnTo>
                  <a:pt x="1267" y="655"/>
                </a:lnTo>
                <a:lnTo>
                  <a:pt x="1276" y="656"/>
                </a:lnTo>
                <a:lnTo>
                  <a:pt x="1285" y="657"/>
                </a:lnTo>
                <a:lnTo>
                  <a:pt x="1294" y="658"/>
                </a:lnTo>
                <a:lnTo>
                  <a:pt x="1303" y="658"/>
                </a:lnTo>
                <a:lnTo>
                  <a:pt x="1314" y="657"/>
                </a:lnTo>
                <a:lnTo>
                  <a:pt x="1324" y="656"/>
                </a:lnTo>
                <a:lnTo>
                  <a:pt x="1334" y="655"/>
                </a:lnTo>
                <a:lnTo>
                  <a:pt x="1344" y="655"/>
                </a:lnTo>
                <a:lnTo>
                  <a:pt x="1364" y="655"/>
                </a:lnTo>
                <a:lnTo>
                  <a:pt x="1383" y="655"/>
                </a:lnTo>
                <a:lnTo>
                  <a:pt x="1402" y="656"/>
                </a:lnTo>
                <a:lnTo>
                  <a:pt x="1421" y="656"/>
                </a:lnTo>
                <a:lnTo>
                  <a:pt x="1431" y="657"/>
                </a:lnTo>
                <a:lnTo>
                  <a:pt x="1440" y="657"/>
                </a:lnTo>
                <a:lnTo>
                  <a:pt x="1449" y="657"/>
                </a:lnTo>
                <a:lnTo>
                  <a:pt x="1458" y="658"/>
                </a:lnTo>
                <a:lnTo>
                  <a:pt x="1467" y="658"/>
                </a:lnTo>
                <a:lnTo>
                  <a:pt x="1475" y="659"/>
                </a:lnTo>
                <a:lnTo>
                  <a:pt x="1480" y="659"/>
                </a:lnTo>
                <a:lnTo>
                  <a:pt x="1484" y="659"/>
                </a:lnTo>
                <a:lnTo>
                  <a:pt x="1488" y="658"/>
                </a:lnTo>
                <a:lnTo>
                  <a:pt x="1492" y="656"/>
                </a:lnTo>
                <a:lnTo>
                  <a:pt x="1498" y="655"/>
                </a:lnTo>
                <a:lnTo>
                  <a:pt x="1505" y="655"/>
                </a:lnTo>
                <a:lnTo>
                  <a:pt x="1512" y="656"/>
                </a:lnTo>
                <a:lnTo>
                  <a:pt x="1519" y="657"/>
                </a:lnTo>
                <a:lnTo>
                  <a:pt x="1529" y="658"/>
                </a:lnTo>
                <a:lnTo>
                  <a:pt x="1539" y="658"/>
                </a:lnTo>
                <a:lnTo>
                  <a:pt x="1549" y="658"/>
                </a:lnTo>
                <a:lnTo>
                  <a:pt x="1560" y="657"/>
                </a:lnTo>
                <a:lnTo>
                  <a:pt x="1566" y="657"/>
                </a:lnTo>
                <a:lnTo>
                  <a:pt x="1574" y="658"/>
                </a:lnTo>
                <a:lnTo>
                  <a:pt x="1581" y="657"/>
                </a:lnTo>
                <a:lnTo>
                  <a:pt x="1588" y="655"/>
                </a:lnTo>
                <a:lnTo>
                  <a:pt x="1593" y="651"/>
                </a:lnTo>
                <a:lnTo>
                  <a:pt x="1597" y="649"/>
                </a:lnTo>
                <a:lnTo>
                  <a:pt x="1602" y="651"/>
                </a:lnTo>
                <a:lnTo>
                  <a:pt x="1606" y="655"/>
                </a:lnTo>
                <a:lnTo>
                  <a:pt x="1613" y="657"/>
                </a:lnTo>
                <a:lnTo>
                  <a:pt x="1620" y="657"/>
                </a:lnTo>
                <a:lnTo>
                  <a:pt x="1628" y="657"/>
                </a:lnTo>
                <a:lnTo>
                  <a:pt x="1634" y="656"/>
                </a:lnTo>
                <a:lnTo>
                  <a:pt x="1645" y="656"/>
                </a:lnTo>
                <a:lnTo>
                  <a:pt x="1655" y="655"/>
                </a:lnTo>
                <a:lnTo>
                  <a:pt x="1665" y="655"/>
                </a:lnTo>
                <a:lnTo>
                  <a:pt x="1676" y="654"/>
                </a:lnTo>
                <a:lnTo>
                  <a:pt x="1685" y="653"/>
                </a:lnTo>
                <a:lnTo>
                  <a:pt x="1695" y="651"/>
                </a:lnTo>
                <a:lnTo>
                  <a:pt x="1705" y="650"/>
                </a:lnTo>
                <a:lnTo>
                  <a:pt x="1715" y="648"/>
                </a:lnTo>
                <a:lnTo>
                  <a:pt x="1722" y="647"/>
                </a:lnTo>
                <a:lnTo>
                  <a:pt x="1728" y="645"/>
                </a:lnTo>
                <a:lnTo>
                  <a:pt x="1730" y="643"/>
                </a:lnTo>
                <a:lnTo>
                  <a:pt x="1733" y="642"/>
                </a:lnTo>
                <a:lnTo>
                  <a:pt x="1735" y="638"/>
                </a:lnTo>
                <a:lnTo>
                  <a:pt x="1738" y="635"/>
                </a:lnTo>
                <a:lnTo>
                  <a:pt x="1745" y="637"/>
                </a:lnTo>
                <a:lnTo>
                  <a:pt x="1752" y="638"/>
                </a:lnTo>
                <a:lnTo>
                  <a:pt x="1759" y="637"/>
                </a:lnTo>
                <a:lnTo>
                  <a:pt x="1766" y="633"/>
                </a:lnTo>
                <a:lnTo>
                  <a:pt x="1769" y="632"/>
                </a:lnTo>
                <a:lnTo>
                  <a:pt x="1771" y="631"/>
                </a:lnTo>
                <a:lnTo>
                  <a:pt x="1776" y="631"/>
                </a:lnTo>
                <a:lnTo>
                  <a:pt x="1780" y="630"/>
                </a:lnTo>
                <a:lnTo>
                  <a:pt x="1781" y="629"/>
                </a:lnTo>
                <a:lnTo>
                  <a:pt x="1783" y="628"/>
                </a:lnTo>
                <a:lnTo>
                  <a:pt x="1781" y="626"/>
                </a:lnTo>
                <a:lnTo>
                  <a:pt x="1780" y="626"/>
                </a:lnTo>
                <a:lnTo>
                  <a:pt x="1776" y="625"/>
                </a:lnTo>
                <a:lnTo>
                  <a:pt x="1774" y="624"/>
                </a:lnTo>
                <a:lnTo>
                  <a:pt x="1777" y="621"/>
                </a:lnTo>
                <a:lnTo>
                  <a:pt x="1780" y="620"/>
                </a:lnTo>
                <a:lnTo>
                  <a:pt x="1785" y="620"/>
                </a:lnTo>
                <a:lnTo>
                  <a:pt x="1789" y="620"/>
                </a:lnTo>
                <a:lnTo>
                  <a:pt x="1795" y="618"/>
                </a:lnTo>
                <a:lnTo>
                  <a:pt x="1800" y="618"/>
                </a:lnTo>
                <a:lnTo>
                  <a:pt x="1805" y="616"/>
                </a:lnTo>
                <a:lnTo>
                  <a:pt x="1810" y="614"/>
                </a:lnTo>
                <a:lnTo>
                  <a:pt x="1818" y="612"/>
                </a:lnTo>
                <a:lnTo>
                  <a:pt x="1827" y="609"/>
                </a:lnTo>
                <a:lnTo>
                  <a:pt x="1830" y="608"/>
                </a:lnTo>
                <a:lnTo>
                  <a:pt x="1834" y="609"/>
                </a:lnTo>
                <a:lnTo>
                  <a:pt x="1835" y="610"/>
                </a:lnTo>
                <a:lnTo>
                  <a:pt x="1835" y="613"/>
                </a:lnTo>
                <a:lnTo>
                  <a:pt x="1834" y="614"/>
                </a:lnTo>
                <a:lnTo>
                  <a:pt x="1833" y="615"/>
                </a:lnTo>
                <a:lnTo>
                  <a:pt x="1829" y="615"/>
                </a:lnTo>
                <a:lnTo>
                  <a:pt x="1826" y="616"/>
                </a:lnTo>
                <a:lnTo>
                  <a:pt x="1826" y="618"/>
                </a:lnTo>
                <a:lnTo>
                  <a:pt x="1826" y="621"/>
                </a:lnTo>
                <a:lnTo>
                  <a:pt x="1830" y="622"/>
                </a:lnTo>
                <a:lnTo>
                  <a:pt x="1835" y="621"/>
                </a:lnTo>
                <a:lnTo>
                  <a:pt x="1841" y="620"/>
                </a:lnTo>
                <a:lnTo>
                  <a:pt x="1844" y="617"/>
                </a:lnTo>
                <a:lnTo>
                  <a:pt x="1847" y="617"/>
                </a:lnTo>
                <a:lnTo>
                  <a:pt x="1850" y="618"/>
                </a:lnTo>
                <a:lnTo>
                  <a:pt x="1850" y="621"/>
                </a:lnTo>
                <a:lnTo>
                  <a:pt x="1847" y="623"/>
                </a:lnTo>
                <a:lnTo>
                  <a:pt x="1837" y="628"/>
                </a:lnTo>
                <a:lnTo>
                  <a:pt x="1826" y="630"/>
                </a:lnTo>
                <a:lnTo>
                  <a:pt x="1814" y="633"/>
                </a:lnTo>
                <a:lnTo>
                  <a:pt x="1804" y="634"/>
                </a:lnTo>
                <a:lnTo>
                  <a:pt x="1793" y="635"/>
                </a:lnTo>
                <a:lnTo>
                  <a:pt x="1781" y="638"/>
                </a:lnTo>
                <a:lnTo>
                  <a:pt x="1770" y="640"/>
                </a:lnTo>
                <a:lnTo>
                  <a:pt x="1759" y="643"/>
                </a:lnTo>
                <a:lnTo>
                  <a:pt x="1747" y="646"/>
                </a:lnTo>
                <a:lnTo>
                  <a:pt x="1736" y="648"/>
                </a:lnTo>
                <a:lnTo>
                  <a:pt x="1725" y="650"/>
                </a:lnTo>
                <a:lnTo>
                  <a:pt x="1713" y="653"/>
                </a:lnTo>
                <a:lnTo>
                  <a:pt x="1702" y="654"/>
                </a:lnTo>
                <a:lnTo>
                  <a:pt x="1689" y="655"/>
                </a:lnTo>
                <a:lnTo>
                  <a:pt x="1679" y="656"/>
                </a:lnTo>
                <a:lnTo>
                  <a:pt x="1668" y="659"/>
                </a:lnTo>
                <a:lnTo>
                  <a:pt x="1657" y="662"/>
                </a:lnTo>
                <a:lnTo>
                  <a:pt x="1646" y="664"/>
                </a:lnTo>
                <a:lnTo>
                  <a:pt x="1636" y="665"/>
                </a:lnTo>
                <a:lnTo>
                  <a:pt x="1626" y="664"/>
                </a:lnTo>
                <a:lnTo>
                  <a:pt x="1615" y="665"/>
                </a:lnTo>
                <a:lnTo>
                  <a:pt x="1604" y="666"/>
                </a:lnTo>
                <a:lnTo>
                  <a:pt x="1598" y="667"/>
                </a:lnTo>
                <a:lnTo>
                  <a:pt x="1593" y="666"/>
                </a:lnTo>
                <a:lnTo>
                  <a:pt x="1588" y="665"/>
                </a:lnTo>
                <a:lnTo>
                  <a:pt x="1582" y="663"/>
                </a:lnTo>
                <a:lnTo>
                  <a:pt x="1573" y="664"/>
                </a:lnTo>
                <a:lnTo>
                  <a:pt x="1563" y="666"/>
                </a:lnTo>
                <a:lnTo>
                  <a:pt x="1552" y="666"/>
                </a:lnTo>
                <a:lnTo>
                  <a:pt x="1539" y="666"/>
                </a:lnTo>
                <a:lnTo>
                  <a:pt x="1527" y="666"/>
                </a:lnTo>
                <a:lnTo>
                  <a:pt x="1514" y="666"/>
                </a:lnTo>
                <a:lnTo>
                  <a:pt x="1502" y="665"/>
                </a:lnTo>
                <a:lnTo>
                  <a:pt x="1489" y="665"/>
                </a:lnTo>
                <a:lnTo>
                  <a:pt x="1476" y="665"/>
                </a:lnTo>
                <a:lnTo>
                  <a:pt x="1464" y="665"/>
                </a:lnTo>
                <a:lnTo>
                  <a:pt x="1457" y="665"/>
                </a:lnTo>
                <a:lnTo>
                  <a:pt x="1445" y="665"/>
                </a:lnTo>
                <a:lnTo>
                  <a:pt x="1439" y="666"/>
                </a:lnTo>
                <a:lnTo>
                  <a:pt x="1435" y="667"/>
                </a:lnTo>
                <a:lnTo>
                  <a:pt x="1434" y="668"/>
                </a:lnTo>
                <a:lnTo>
                  <a:pt x="1434" y="670"/>
                </a:lnTo>
                <a:lnTo>
                  <a:pt x="1434" y="671"/>
                </a:lnTo>
                <a:lnTo>
                  <a:pt x="1437" y="673"/>
                </a:lnTo>
                <a:lnTo>
                  <a:pt x="1446" y="675"/>
                </a:lnTo>
                <a:lnTo>
                  <a:pt x="1455" y="675"/>
                </a:lnTo>
                <a:lnTo>
                  <a:pt x="1468" y="676"/>
                </a:lnTo>
                <a:lnTo>
                  <a:pt x="1480" y="678"/>
                </a:lnTo>
                <a:lnTo>
                  <a:pt x="1492" y="676"/>
                </a:lnTo>
                <a:lnTo>
                  <a:pt x="1505" y="675"/>
                </a:lnTo>
                <a:lnTo>
                  <a:pt x="1516" y="674"/>
                </a:lnTo>
                <a:lnTo>
                  <a:pt x="1529" y="675"/>
                </a:lnTo>
                <a:lnTo>
                  <a:pt x="1540" y="676"/>
                </a:lnTo>
                <a:lnTo>
                  <a:pt x="1553" y="676"/>
                </a:lnTo>
                <a:lnTo>
                  <a:pt x="1565" y="675"/>
                </a:lnTo>
                <a:lnTo>
                  <a:pt x="1578" y="675"/>
                </a:lnTo>
                <a:lnTo>
                  <a:pt x="1591" y="674"/>
                </a:lnTo>
                <a:lnTo>
                  <a:pt x="1604" y="673"/>
                </a:lnTo>
                <a:lnTo>
                  <a:pt x="1618" y="672"/>
                </a:lnTo>
                <a:lnTo>
                  <a:pt x="1631" y="673"/>
                </a:lnTo>
                <a:lnTo>
                  <a:pt x="1643" y="675"/>
                </a:lnTo>
                <a:lnTo>
                  <a:pt x="1655" y="676"/>
                </a:lnTo>
                <a:lnTo>
                  <a:pt x="1668" y="675"/>
                </a:lnTo>
                <a:lnTo>
                  <a:pt x="1679" y="673"/>
                </a:lnTo>
                <a:lnTo>
                  <a:pt x="1686" y="672"/>
                </a:lnTo>
                <a:lnTo>
                  <a:pt x="1693" y="672"/>
                </a:lnTo>
                <a:lnTo>
                  <a:pt x="1697" y="672"/>
                </a:lnTo>
                <a:lnTo>
                  <a:pt x="1702" y="672"/>
                </a:lnTo>
                <a:lnTo>
                  <a:pt x="1704" y="671"/>
                </a:lnTo>
                <a:lnTo>
                  <a:pt x="1705" y="670"/>
                </a:lnTo>
                <a:lnTo>
                  <a:pt x="1705" y="668"/>
                </a:lnTo>
                <a:lnTo>
                  <a:pt x="1704" y="667"/>
                </a:lnTo>
                <a:lnTo>
                  <a:pt x="1702" y="666"/>
                </a:lnTo>
                <a:lnTo>
                  <a:pt x="1700" y="665"/>
                </a:lnTo>
                <a:lnTo>
                  <a:pt x="1700" y="663"/>
                </a:lnTo>
                <a:lnTo>
                  <a:pt x="1701" y="662"/>
                </a:lnTo>
                <a:lnTo>
                  <a:pt x="1702" y="662"/>
                </a:lnTo>
                <a:lnTo>
                  <a:pt x="1704" y="662"/>
                </a:lnTo>
                <a:lnTo>
                  <a:pt x="1710" y="660"/>
                </a:lnTo>
                <a:lnTo>
                  <a:pt x="1717" y="659"/>
                </a:lnTo>
                <a:lnTo>
                  <a:pt x="1730" y="658"/>
                </a:lnTo>
                <a:lnTo>
                  <a:pt x="1743" y="657"/>
                </a:lnTo>
                <a:lnTo>
                  <a:pt x="1728" y="663"/>
                </a:lnTo>
                <a:lnTo>
                  <a:pt x="1712" y="667"/>
                </a:lnTo>
                <a:lnTo>
                  <a:pt x="1722" y="666"/>
                </a:lnTo>
                <a:lnTo>
                  <a:pt x="1733" y="665"/>
                </a:lnTo>
                <a:lnTo>
                  <a:pt x="1744" y="665"/>
                </a:lnTo>
                <a:lnTo>
                  <a:pt x="1754" y="663"/>
                </a:lnTo>
                <a:lnTo>
                  <a:pt x="1759" y="662"/>
                </a:lnTo>
                <a:lnTo>
                  <a:pt x="1762" y="659"/>
                </a:lnTo>
                <a:lnTo>
                  <a:pt x="1764" y="659"/>
                </a:lnTo>
                <a:lnTo>
                  <a:pt x="1767" y="659"/>
                </a:lnTo>
                <a:lnTo>
                  <a:pt x="1769" y="657"/>
                </a:lnTo>
                <a:lnTo>
                  <a:pt x="1768" y="656"/>
                </a:lnTo>
                <a:lnTo>
                  <a:pt x="1767" y="654"/>
                </a:lnTo>
                <a:lnTo>
                  <a:pt x="1766" y="651"/>
                </a:lnTo>
                <a:lnTo>
                  <a:pt x="1767" y="649"/>
                </a:lnTo>
                <a:lnTo>
                  <a:pt x="1770" y="648"/>
                </a:lnTo>
                <a:lnTo>
                  <a:pt x="1774" y="646"/>
                </a:lnTo>
                <a:lnTo>
                  <a:pt x="1776" y="645"/>
                </a:lnTo>
                <a:lnTo>
                  <a:pt x="1786" y="642"/>
                </a:lnTo>
                <a:lnTo>
                  <a:pt x="1795" y="640"/>
                </a:lnTo>
                <a:lnTo>
                  <a:pt x="1807" y="639"/>
                </a:lnTo>
                <a:lnTo>
                  <a:pt x="1818" y="638"/>
                </a:lnTo>
                <a:lnTo>
                  <a:pt x="1824" y="638"/>
                </a:lnTo>
                <a:lnTo>
                  <a:pt x="1828" y="637"/>
                </a:lnTo>
                <a:lnTo>
                  <a:pt x="1834" y="637"/>
                </a:lnTo>
                <a:lnTo>
                  <a:pt x="1838" y="638"/>
                </a:lnTo>
                <a:lnTo>
                  <a:pt x="1828" y="641"/>
                </a:lnTo>
                <a:lnTo>
                  <a:pt x="1818" y="643"/>
                </a:lnTo>
                <a:lnTo>
                  <a:pt x="1809" y="647"/>
                </a:lnTo>
                <a:lnTo>
                  <a:pt x="1799" y="649"/>
                </a:lnTo>
                <a:lnTo>
                  <a:pt x="1805" y="650"/>
                </a:lnTo>
                <a:lnTo>
                  <a:pt x="1812" y="649"/>
                </a:lnTo>
                <a:lnTo>
                  <a:pt x="1819" y="648"/>
                </a:lnTo>
                <a:lnTo>
                  <a:pt x="1826" y="647"/>
                </a:lnTo>
                <a:lnTo>
                  <a:pt x="1841" y="646"/>
                </a:lnTo>
                <a:lnTo>
                  <a:pt x="1854" y="642"/>
                </a:lnTo>
                <a:lnTo>
                  <a:pt x="1867" y="639"/>
                </a:lnTo>
                <a:lnTo>
                  <a:pt x="1878" y="635"/>
                </a:lnTo>
                <a:lnTo>
                  <a:pt x="1883" y="635"/>
                </a:lnTo>
                <a:lnTo>
                  <a:pt x="1887" y="634"/>
                </a:lnTo>
                <a:lnTo>
                  <a:pt x="1892" y="633"/>
                </a:lnTo>
                <a:lnTo>
                  <a:pt x="1895" y="631"/>
                </a:lnTo>
                <a:lnTo>
                  <a:pt x="1898" y="628"/>
                </a:lnTo>
                <a:lnTo>
                  <a:pt x="1900" y="624"/>
                </a:lnTo>
                <a:lnTo>
                  <a:pt x="1901" y="623"/>
                </a:lnTo>
                <a:lnTo>
                  <a:pt x="1902" y="622"/>
                </a:lnTo>
                <a:lnTo>
                  <a:pt x="1903" y="621"/>
                </a:lnTo>
                <a:lnTo>
                  <a:pt x="1906" y="621"/>
                </a:lnTo>
                <a:lnTo>
                  <a:pt x="1911" y="624"/>
                </a:lnTo>
                <a:lnTo>
                  <a:pt x="1917" y="624"/>
                </a:lnTo>
                <a:lnTo>
                  <a:pt x="1923" y="623"/>
                </a:lnTo>
                <a:lnTo>
                  <a:pt x="1927" y="621"/>
                </a:lnTo>
                <a:lnTo>
                  <a:pt x="1941" y="616"/>
                </a:lnTo>
                <a:lnTo>
                  <a:pt x="1953" y="612"/>
                </a:lnTo>
                <a:lnTo>
                  <a:pt x="1960" y="610"/>
                </a:lnTo>
                <a:lnTo>
                  <a:pt x="1966" y="608"/>
                </a:lnTo>
                <a:lnTo>
                  <a:pt x="1969" y="607"/>
                </a:lnTo>
                <a:lnTo>
                  <a:pt x="1972" y="606"/>
                </a:lnTo>
                <a:lnTo>
                  <a:pt x="1973" y="604"/>
                </a:lnTo>
                <a:lnTo>
                  <a:pt x="1973" y="603"/>
                </a:lnTo>
                <a:lnTo>
                  <a:pt x="1972" y="601"/>
                </a:lnTo>
                <a:lnTo>
                  <a:pt x="1970" y="600"/>
                </a:lnTo>
                <a:lnTo>
                  <a:pt x="1973" y="603"/>
                </a:lnTo>
                <a:lnTo>
                  <a:pt x="1974" y="604"/>
                </a:lnTo>
                <a:lnTo>
                  <a:pt x="1976" y="603"/>
                </a:lnTo>
                <a:lnTo>
                  <a:pt x="1980" y="601"/>
                </a:lnTo>
                <a:lnTo>
                  <a:pt x="1987" y="600"/>
                </a:lnTo>
                <a:lnTo>
                  <a:pt x="1994" y="599"/>
                </a:lnTo>
                <a:lnTo>
                  <a:pt x="2009" y="593"/>
                </a:lnTo>
                <a:lnTo>
                  <a:pt x="2023" y="588"/>
                </a:lnTo>
                <a:lnTo>
                  <a:pt x="2030" y="584"/>
                </a:lnTo>
                <a:lnTo>
                  <a:pt x="2036" y="584"/>
                </a:lnTo>
                <a:lnTo>
                  <a:pt x="2043" y="582"/>
                </a:lnTo>
                <a:lnTo>
                  <a:pt x="2050" y="580"/>
                </a:lnTo>
                <a:lnTo>
                  <a:pt x="2064" y="573"/>
                </a:lnTo>
                <a:lnTo>
                  <a:pt x="2077" y="566"/>
                </a:lnTo>
                <a:lnTo>
                  <a:pt x="2081" y="565"/>
                </a:lnTo>
                <a:lnTo>
                  <a:pt x="2084" y="563"/>
                </a:lnTo>
                <a:lnTo>
                  <a:pt x="2084" y="558"/>
                </a:lnTo>
                <a:lnTo>
                  <a:pt x="2083" y="555"/>
                </a:lnTo>
                <a:lnTo>
                  <a:pt x="2086" y="551"/>
                </a:lnTo>
                <a:lnTo>
                  <a:pt x="2090" y="549"/>
                </a:lnTo>
                <a:lnTo>
                  <a:pt x="2090" y="547"/>
                </a:lnTo>
                <a:lnTo>
                  <a:pt x="2089" y="546"/>
                </a:lnTo>
                <a:lnTo>
                  <a:pt x="2086" y="545"/>
                </a:lnTo>
                <a:lnTo>
                  <a:pt x="2084" y="545"/>
                </a:lnTo>
                <a:lnTo>
                  <a:pt x="2077" y="543"/>
                </a:lnTo>
                <a:lnTo>
                  <a:pt x="2071" y="545"/>
                </a:lnTo>
                <a:lnTo>
                  <a:pt x="2064" y="546"/>
                </a:lnTo>
                <a:lnTo>
                  <a:pt x="2057" y="548"/>
                </a:lnTo>
                <a:lnTo>
                  <a:pt x="2051" y="550"/>
                </a:lnTo>
                <a:lnTo>
                  <a:pt x="2046" y="552"/>
                </a:lnTo>
                <a:lnTo>
                  <a:pt x="2043" y="554"/>
                </a:lnTo>
                <a:lnTo>
                  <a:pt x="2041" y="556"/>
                </a:lnTo>
                <a:lnTo>
                  <a:pt x="2041" y="558"/>
                </a:lnTo>
                <a:lnTo>
                  <a:pt x="2041" y="562"/>
                </a:lnTo>
                <a:lnTo>
                  <a:pt x="2034" y="563"/>
                </a:lnTo>
                <a:lnTo>
                  <a:pt x="2027" y="564"/>
                </a:lnTo>
                <a:lnTo>
                  <a:pt x="2020" y="566"/>
                </a:lnTo>
                <a:lnTo>
                  <a:pt x="2014" y="568"/>
                </a:lnTo>
                <a:lnTo>
                  <a:pt x="2009" y="571"/>
                </a:lnTo>
                <a:lnTo>
                  <a:pt x="2003" y="573"/>
                </a:lnTo>
                <a:lnTo>
                  <a:pt x="2002" y="573"/>
                </a:lnTo>
                <a:lnTo>
                  <a:pt x="2000" y="573"/>
                </a:lnTo>
                <a:lnTo>
                  <a:pt x="1998" y="572"/>
                </a:lnTo>
                <a:lnTo>
                  <a:pt x="1997" y="571"/>
                </a:lnTo>
                <a:lnTo>
                  <a:pt x="2002" y="566"/>
                </a:lnTo>
                <a:lnTo>
                  <a:pt x="2007" y="560"/>
                </a:lnTo>
                <a:lnTo>
                  <a:pt x="2005" y="558"/>
                </a:lnTo>
                <a:lnTo>
                  <a:pt x="2002" y="558"/>
                </a:lnTo>
                <a:lnTo>
                  <a:pt x="1999" y="558"/>
                </a:lnTo>
                <a:lnTo>
                  <a:pt x="1994" y="558"/>
                </a:lnTo>
                <a:lnTo>
                  <a:pt x="1986" y="560"/>
                </a:lnTo>
                <a:lnTo>
                  <a:pt x="1982" y="563"/>
                </a:lnTo>
                <a:lnTo>
                  <a:pt x="1969" y="567"/>
                </a:lnTo>
                <a:lnTo>
                  <a:pt x="1957" y="572"/>
                </a:lnTo>
                <a:lnTo>
                  <a:pt x="1950" y="572"/>
                </a:lnTo>
                <a:lnTo>
                  <a:pt x="1944" y="573"/>
                </a:lnTo>
                <a:lnTo>
                  <a:pt x="1940" y="575"/>
                </a:lnTo>
                <a:lnTo>
                  <a:pt x="1935" y="577"/>
                </a:lnTo>
                <a:lnTo>
                  <a:pt x="1931" y="579"/>
                </a:lnTo>
                <a:lnTo>
                  <a:pt x="1925" y="576"/>
                </a:lnTo>
                <a:lnTo>
                  <a:pt x="1920" y="576"/>
                </a:lnTo>
                <a:lnTo>
                  <a:pt x="1915" y="576"/>
                </a:lnTo>
                <a:lnTo>
                  <a:pt x="1900" y="581"/>
                </a:lnTo>
                <a:lnTo>
                  <a:pt x="1885" y="583"/>
                </a:lnTo>
                <a:lnTo>
                  <a:pt x="1886" y="579"/>
                </a:lnTo>
                <a:lnTo>
                  <a:pt x="1888" y="576"/>
                </a:lnTo>
                <a:lnTo>
                  <a:pt x="1891" y="574"/>
                </a:lnTo>
                <a:lnTo>
                  <a:pt x="1894" y="572"/>
                </a:lnTo>
                <a:lnTo>
                  <a:pt x="1901" y="570"/>
                </a:lnTo>
                <a:lnTo>
                  <a:pt x="1907" y="566"/>
                </a:lnTo>
                <a:lnTo>
                  <a:pt x="1912" y="560"/>
                </a:lnTo>
                <a:lnTo>
                  <a:pt x="1918" y="556"/>
                </a:lnTo>
                <a:lnTo>
                  <a:pt x="1927" y="557"/>
                </a:lnTo>
                <a:lnTo>
                  <a:pt x="1935" y="558"/>
                </a:lnTo>
                <a:lnTo>
                  <a:pt x="1941" y="556"/>
                </a:lnTo>
                <a:lnTo>
                  <a:pt x="1947" y="554"/>
                </a:lnTo>
                <a:lnTo>
                  <a:pt x="1952" y="552"/>
                </a:lnTo>
                <a:lnTo>
                  <a:pt x="1958" y="550"/>
                </a:lnTo>
                <a:lnTo>
                  <a:pt x="1964" y="547"/>
                </a:lnTo>
                <a:lnTo>
                  <a:pt x="1968" y="541"/>
                </a:lnTo>
                <a:lnTo>
                  <a:pt x="1973" y="538"/>
                </a:lnTo>
                <a:lnTo>
                  <a:pt x="1980" y="537"/>
                </a:lnTo>
                <a:lnTo>
                  <a:pt x="1986" y="533"/>
                </a:lnTo>
                <a:lnTo>
                  <a:pt x="1994" y="531"/>
                </a:lnTo>
                <a:lnTo>
                  <a:pt x="1998" y="531"/>
                </a:lnTo>
                <a:lnTo>
                  <a:pt x="2002" y="530"/>
                </a:lnTo>
                <a:lnTo>
                  <a:pt x="2005" y="527"/>
                </a:lnTo>
                <a:lnTo>
                  <a:pt x="2008" y="525"/>
                </a:lnTo>
                <a:lnTo>
                  <a:pt x="2010" y="525"/>
                </a:lnTo>
                <a:lnTo>
                  <a:pt x="2014" y="526"/>
                </a:lnTo>
                <a:lnTo>
                  <a:pt x="2016" y="527"/>
                </a:lnTo>
                <a:lnTo>
                  <a:pt x="2018" y="530"/>
                </a:lnTo>
                <a:lnTo>
                  <a:pt x="2018" y="532"/>
                </a:lnTo>
                <a:lnTo>
                  <a:pt x="2018" y="535"/>
                </a:lnTo>
                <a:lnTo>
                  <a:pt x="2018" y="537"/>
                </a:lnTo>
                <a:lnTo>
                  <a:pt x="2020" y="539"/>
                </a:lnTo>
                <a:lnTo>
                  <a:pt x="2027" y="537"/>
                </a:lnTo>
                <a:lnTo>
                  <a:pt x="2033" y="533"/>
                </a:lnTo>
                <a:lnTo>
                  <a:pt x="2040" y="529"/>
                </a:lnTo>
                <a:lnTo>
                  <a:pt x="2046" y="525"/>
                </a:lnTo>
                <a:lnTo>
                  <a:pt x="2047" y="522"/>
                </a:lnTo>
                <a:lnTo>
                  <a:pt x="2047" y="518"/>
                </a:lnTo>
                <a:lnTo>
                  <a:pt x="2047" y="516"/>
                </a:lnTo>
                <a:lnTo>
                  <a:pt x="2046" y="513"/>
                </a:lnTo>
                <a:lnTo>
                  <a:pt x="2046" y="509"/>
                </a:lnTo>
                <a:lnTo>
                  <a:pt x="2048" y="506"/>
                </a:lnTo>
                <a:lnTo>
                  <a:pt x="2050" y="504"/>
                </a:lnTo>
                <a:lnTo>
                  <a:pt x="2052" y="501"/>
                </a:lnTo>
                <a:lnTo>
                  <a:pt x="2048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499"/>
                </a:lnTo>
                <a:lnTo>
                  <a:pt x="2042" y="501"/>
                </a:lnTo>
                <a:lnTo>
                  <a:pt x="2040" y="504"/>
                </a:lnTo>
                <a:lnTo>
                  <a:pt x="2036" y="506"/>
                </a:lnTo>
                <a:lnTo>
                  <a:pt x="2032" y="507"/>
                </a:lnTo>
                <a:lnTo>
                  <a:pt x="2023" y="509"/>
                </a:lnTo>
                <a:lnTo>
                  <a:pt x="2017" y="512"/>
                </a:lnTo>
                <a:lnTo>
                  <a:pt x="2000" y="516"/>
                </a:lnTo>
                <a:lnTo>
                  <a:pt x="1983" y="520"/>
                </a:lnTo>
                <a:lnTo>
                  <a:pt x="1975" y="522"/>
                </a:lnTo>
                <a:lnTo>
                  <a:pt x="1968" y="524"/>
                </a:lnTo>
                <a:lnTo>
                  <a:pt x="1960" y="527"/>
                </a:lnTo>
                <a:lnTo>
                  <a:pt x="1953" y="531"/>
                </a:lnTo>
                <a:lnTo>
                  <a:pt x="1940" y="538"/>
                </a:lnTo>
                <a:lnTo>
                  <a:pt x="1925" y="542"/>
                </a:lnTo>
                <a:lnTo>
                  <a:pt x="1887" y="552"/>
                </a:lnTo>
                <a:lnTo>
                  <a:pt x="1850" y="562"/>
                </a:lnTo>
                <a:lnTo>
                  <a:pt x="1812" y="571"/>
                </a:lnTo>
                <a:lnTo>
                  <a:pt x="1774" y="580"/>
                </a:lnTo>
                <a:lnTo>
                  <a:pt x="1780" y="582"/>
                </a:lnTo>
                <a:lnTo>
                  <a:pt x="1787" y="584"/>
                </a:lnTo>
                <a:lnTo>
                  <a:pt x="1779" y="585"/>
                </a:lnTo>
                <a:lnTo>
                  <a:pt x="1770" y="588"/>
                </a:lnTo>
                <a:lnTo>
                  <a:pt x="1766" y="589"/>
                </a:lnTo>
                <a:lnTo>
                  <a:pt x="1762" y="589"/>
                </a:lnTo>
                <a:lnTo>
                  <a:pt x="1759" y="587"/>
                </a:lnTo>
                <a:lnTo>
                  <a:pt x="1754" y="584"/>
                </a:lnTo>
                <a:lnTo>
                  <a:pt x="1751" y="583"/>
                </a:lnTo>
                <a:lnTo>
                  <a:pt x="1745" y="583"/>
                </a:lnTo>
                <a:lnTo>
                  <a:pt x="1739" y="583"/>
                </a:lnTo>
                <a:lnTo>
                  <a:pt x="1735" y="584"/>
                </a:lnTo>
                <a:lnTo>
                  <a:pt x="1721" y="584"/>
                </a:lnTo>
                <a:lnTo>
                  <a:pt x="1709" y="587"/>
                </a:lnTo>
                <a:lnTo>
                  <a:pt x="1684" y="590"/>
                </a:lnTo>
                <a:lnTo>
                  <a:pt x="1657" y="593"/>
                </a:lnTo>
                <a:lnTo>
                  <a:pt x="1632" y="596"/>
                </a:lnTo>
                <a:lnTo>
                  <a:pt x="1607" y="598"/>
                </a:lnTo>
                <a:lnTo>
                  <a:pt x="1621" y="598"/>
                </a:lnTo>
                <a:lnTo>
                  <a:pt x="1636" y="598"/>
                </a:lnTo>
                <a:lnTo>
                  <a:pt x="1647" y="598"/>
                </a:lnTo>
                <a:lnTo>
                  <a:pt x="1660" y="598"/>
                </a:lnTo>
                <a:lnTo>
                  <a:pt x="1661" y="599"/>
                </a:lnTo>
                <a:lnTo>
                  <a:pt x="1663" y="599"/>
                </a:lnTo>
                <a:lnTo>
                  <a:pt x="1664" y="601"/>
                </a:lnTo>
                <a:lnTo>
                  <a:pt x="1664" y="603"/>
                </a:lnTo>
                <a:lnTo>
                  <a:pt x="1663" y="605"/>
                </a:lnTo>
                <a:lnTo>
                  <a:pt x="1661" y="605"/>
                </a:lnTo>
                <a:lnTo>
                  <a:pt x="1657" y="606"/>
                </a:lnTo>
                <a:lnTo>
                  <a:pt x="1655" y="606"/>
                </a:lnTo>
                <a:lnTo>
                  <a:pt x="1641" y="607"/>
                </a:lnTo>
                <a:lnTo>
                  <a:pt x="1627" y="608"/>
                </a:lnTo>
                <a:lnTo>
                  <a:pt x="1614" y="608"/>
                </a:lnTo>
                <a:lnTo>
                  <a:pt x="1601" y="609"/>
                </a:lnTo>
                <a:lnTo>
                  <a:pt x="1587" y="610"/>
                </a:lnTo>
                <a:lnTo>
                  <a:pt x="1574" y="612"/>
                </a:lnTo>
                <a:lnTo>
                  <a:pt x="1570" y="612"/>
                </a:lnTo>
                <a:lnTo>
                  <a:pt x="1565" y="610"/>
                </a:lnTo>
                <a:lnTo>
                  <a:pt x="1563" y="609"/>
                </a:lnTo>
                <a:lnTo>
                  <a:pt x="1561" y="609"/>
                </a:lnTo>
                <a:lnTo>
                  <a:pt x="1560" y="607"/>
                </a:lnTo>
                <a:lnTo>
                  <a:pt x="1560" y="606"/>
                </a:lnTo>
                <a:lnTo>
                  <a:pt x="1561" y="604"/>
                </a:lnTo>
                <a:lnTo>
                  <a:pt x="1563" y="603"/>
                </a:lnTo>
                <a:lnTo>
                  <a:pt x="1565" y="601"/>
                </a:lnTo>
                <a:lnTo>
                  <a:pt x="1569" y="601"/>
                </a:lnTo>
                <a:lnTo>
                  <a:pt x="1575" y="601"/>
                </a:lnTo>
                <a:lnTo>
                  <a:pt x="1580" y="601"/>
                </a:lnTo>
                <a:lnTo>
                  <a:pt x="1562" y="601"/>
                </a:lnTo>
                <a:lnTo>
                  <a:pt x="1544" y="600"/>
                </a:lnTo>
                <a:lnTo>
                  <a:pt x="1524" y="600"/>
                </a:lnTo>
                <a:lnTo>
                  <a:pt x="1506" y="603"/>
                </a:lnTo>
                <a:lnTo>
                  <a:pt x="1511" y="605"/>
                </a:lnTo>
                <a:lnTo>
                  <a:pt x="1514" y="606"/>
                </a:lnTo>
                <a:lnTo>
                  <a:pt x="1517" y="606"/>
                </a:lnTo>
                <a:lnTo>
                  <a:pt x="1522" y="606"/>
                </a:lnTo>
                <a:lnTo>
                  <a:pt x="1529" y="605"/>
                </a:lnTo>
                <a:lnTo>
                  <a:pt x="1537" y="604"/>
                </a:lnTo>
                <a:lnTo>
                  <a:pt x="1539" y="604"/>
                </a:lnTo>
                <a:lnTo>
                  <a:pt x="1541" y="604"/>
                </a:lnTo>
                <a:lnTo>
                  <a:pt x="1544" y="605"/>
                </a:lnTo>
                <a:lnTo>
                  <a:pt x="1545" y="607"/>
                </a:lnTo>
                <a:lnTo>
                  <a:pt x="1544" y="609"/>
                </a:lnTo>
                <a:lnTo>
                  <a:pt x="1540" y="609"/>
                </a:lnTo>
                <a:lnTo>
                  <a:pt x="1538" y="609"/>
                </a:lnTo>
                <a:lnTo>
                  <a:pt x="1536" y="609"/>
                </a:lnTo>
                <a:lnTo>
                  <a:pt x="1520" y="612"/>
                </a:lnTo>
                <a:lnTo>
                  <a:pt x="1504" y="614"/>
                </a:lnTo>
                <a:lnTo>
                  <a:pt x="1497" y="614"/>
                </a:lnTo>
                <a:lnTo>
                  <a:pt x="1490" y="614"/>
                </a:lnTo>
                <a:lnTo>
                  <a:pt x="1488" y="614"/>
                </a:lnTo>
                <a:lnTo>
                  <a:pt x="1484" y="615"/>
                </a:lnTo>
                <a:lnTo>
                  <a:pt x="1483" y="617"/>
                </a:lnTo>
                <a:lnTo>
                  <a:pt x="1482" y="621"/>
                </a:lnTo>
                <a:lnTo>
                  <a:pt x="1500" y="618"/>
                </a:lnTo>
                <a:lnTo>
                  <a:pt x="1520" y="618"/>
                </a:lnTo>
                <a:lnTo>
                  <a:pt x="1538" y="620"/>
                </a:lnTo>
                <a:lnTo>
                  <a:pt x="1557" y="620"/>
                </a:lnTo>
                <a:lnTo>
                  <a:pt x="1575" y="618"/>
                </a:lnTo>
                <a:lnTo>
                  <a:pt x="1594" y="617"/>
                </a:lnTo>
                <a:lnTo>
                  <a:pt x="1612" y="615"/>
                </a:lnTo>
                <a:lnTo>
                  <a:pt x="1630" y="614"/>
                </a:lnTo>
                <a:lnTo>
                  <a:pt x="1647" y="612"/>
                </a:lnTo>
                <a:lnTo>
                  <a:pt x="1665" y="609"/>
                </a:lnTo>
                <a:lnTo>
                  <a:pt x="1682" y="608"/>
                </a:lnTo>
                <a:lnTo>
                  <a:pt x="1700" y="608"/>
                </a:lnTo>
                <a:lnTo>
                  <a:pt x="1715" y="608"/>
                </a:lnTo>
                <a:lnTo>
                  <a:pt x="1730" y="607"/>
                </a:lnTo>
                <a:lnTo>
                  <a:pt x="1746" y="601"/>
                </a:lnTo>
                <a:lnTo>
                  <a:pt x="1761" y="595"/>
                </a:lnTo>
                <a:lnTo>
                  <a:pt x="1776" y="592"/>
                </a:lnTo>
                <a:lnTo>
                  <a:pt x="1792" y="591"/>
                </a:lnTo>
                <a:lnTo>
                  <a:pt x="1807" y="588"/>
                </a:lnTo>
                <a:lnTo>
                  <a:pt x="1822" y="583"/>
                </a:lnTo>
                <a:lnTo>
                  <a:pt x="1838" y="580"/>
                </a:lnTo>
                <a:lnTo>
                  <a:pt x="1853" y="577"/>
                </a:lnTo>
                <a:lnTo>
                  <a:pt x="1857" y="577"/>
                </a:lnTo>
                <a:lnTo>
                  <a:pt x="1859" y="577"/>
                </a:lnTo>
                <a:lnTo>
                  <a:pt x="1860" y="579"/>
                </a:lnTo>
                <a:lnTo>
                  <a:pt x="1861" y="580"/>
                </a:lnTo>
                <a:lnTo>
                  <a:pt x="1861" y="582"/>
                </a:lnTo>
                <a:lnTo>
                  <a:pt x="1860" y="583"/>
                </a:lnTo>
                <a:lnTo>
                  <a:pt x="1859" y="584"/>
                </a:lnTo>
                <a:lnTo>
                  <a:pt x="1855" y="585"/>
                </a:lnTo>
                <a:lnTo>
                  <a:pt x="1852" y="584"/>
                </a:lnTo>
                <a:lnTo>
                  <a:pt x="1849" y="585"/>
                </a:lnTo>
                <a:lnTo>
                  <a:pt x="1849" y="587"/>
                </a:lnTo>
                <a:lnTo>
                  <a:pt x="1849" y="588"/>
                </a:lnTo>
                <a:lnTo>
                  <a:pt x="1849" y="590"/>
                </a:lnTo>
                <a:lnTo>
                  <a:pt x="1847" y="592"/>
                </a:lnTo>
                <a:lnTo>
                  <a:pt x="1844" y="596"/>
                </a:lnTo>
                <a:lnTo>
                  <a:pt x="1840" y="598"/>
                </a:lnTo>
                <a:lnTo>
                  <a:pt x="1833" y="601"/>
                </a:lnTo>
                <a:lnTo>
                  <a:pt x="1826" y="603"/>
                </a:lnTo>
                <a:lnTo>
                  <a:pt x="1810" y="606"/>
                </a:lnTo>
                <a:lnTo>
                  <a:pt x="1794" y="608"/>
                </a:lnTo>
                <a:lnTo>
                  <a:pt x="1786" y="609"/>
                </a:lnTo>
                <a:lnTo>
                  <a:pt x="1777" y="609"/>
                </a:lnTo>
                <a:lnTo>
                  <a:pt x="1769" y="609"/>
                </a:lnTo>
                <a:lnTo>
                  <a:pt x="1760" y="610"/>
                </a:lnTo>
                <a:lnTo>
                  <a:pt x="1743" y="613"/>
                </a:lnTo>
                <a:lnTo>
                  <a:pt x="1726" y="616"/>
                </a:lnTo>
                <a:lnTo>
                  <a:pt x="1708" y="620"/>
                </a:lnTo>
                <a:lnTo>
                  <a:pt x="1690" y="623"/>
                </a:lnTo>
                <a:lnTo>
                  <a:pt x="1681" y="624"/>
                </a:lnTo>
                <a:lnTo>
                  <a:pt x="1673" y="624"/>
                </a:lnTo>
                <a:lnTo>
                  <a:pt x="1664" y="625"/>
                </a:lnTo>
                <a:lnTo>
                  <a:pt x="1656" y="625"/>
                </a:lnTo>
                <a:lnTo>
                  <a:pt x="1646" y="625"/>
                </a:lnTo>
                <a:lnTo>
                  <a:pt x="1637" y="625"/>
                </a:lnTo>
                <a:lnTo>
                  <a:pt x="1629" y="626"/>
                </a:lnTo>
                <a:lnTo>
                  <a:pt x="1621" y="626"/>
                </a:lnTo>
                <a:lnTo>
                  <a:pt x="1607" y="629"/>
                </a:lnTo>
                <a:lnTo>
                  <a:pt x="1593" y="629"/>
                </a:lnTo>
                <a:lnTo>
                  <a:pt x="1582" y="630"/>
                </a:lnTo>
                <a:lnTo>
                  <a:pt x="1573" y="630"/>
                </a:lnTo>
                <a:lnTo>
                  <a:pt x="1563" y="631"/>
                </a:lnTo>
                <a:lnTo>
                  <a:pt x="1553" y="631"/>
                </a:lnTo>
                <a:lnTo>
                  <a:pt x="1545" y="631"/>
                </a:lnTo>
                <a:lnTo>
                  <a:pt x="1536" y="631"/>
                </a:lnTo>
                <a:lnTo>
                  <a:pt x="1527" y="632"/>
                </a:lnTo>
                <a:lnTo>
                  <a:pt x="1519" y="632"/>
                </a:lnTo>
                <a:lnTo>
                  <a:pt x="1511" y="632"/>
                </a:lnTo>
                <a:lnTo>
                  <a:pt x="1503" y="632"/>
                </a:lnTo>
                <a:lnTo>
                  <a:pt x="1499" y="631"/>
                </a:lnTo>
                <a:lnTo>
                  <a:pt x="1496" y="631"/>
                </a:lnTo>
                <a:lnTo>
                  <a:pt x="1492" y="631"/>
                </a:lnTo>
                <a:lnTo>
                  <a:pt x="1490" y="633"/>
                </a:lnTo>
                <a:lnTo>
                  <a:pt x="1490" y="635"/>
                </a:lnTo>
                <a:lnTo>
                  <a:pt x="1491" y="635"/>
                </a:lnTo>
                <a:lnTo>
                  <a:pt x="1492" y="635"/>
                </a:lnTo>
                <a:lnTo>
                  <a:pt x="1494" y="637"/>
                </a:lnTo>
                <a:lnTo>
                  <a:pt x="1495" y="638"/>
                </a:lnTo>
                <a:lnTo>
                  <a:pt x="1496" y="639"/>
                </a:lnTo>
                <a:lnTo>
                  <a:pt x="1496" y="641"/>
                </a:lnTo>
                <a:lnTo>
                  <a:pt x="1496" y="642"/>
                </a:lnTo>
                <a:lnTo>
                  <a:pt x="1495" y="642"/>
                </a:lnTo>
                <a:lnTo>
                  <a:pt x="1492" y="643"/>
                </a:lnTo>
                <a:lnTo>
                  <a:pt x="1484" y="645"/>
                </a:lnTo>
                <a:lnTo>
                  <a:pt x="1476" y="646"/>
                </a:lnTo>
                <a:lnTo>
                  <a:pt x="1466" y="647"/>
                </a:lnTo>
                <a:lnTo>
                  <a:pt x="1456" y="648"/>
                </a:lnTo>
                <a:lnTo>
                  <a:pt x="1440" y="648"/>
                </a:lnTo>
                <a:lnTo>
                  <a:pt x="1424" y="646"/>
                </a:lnTo>
                <a:lnTo>
                  <a:pt x="1416" y="646"/>
                </a:lnTo>
                <a:lnTo>
                  <a:pt x="1407" y="647"/>
                </a:lnTo>
                <a:lnTo>
                  <a:pt x="1398" y="647"/>
                </a:lnTo>
                <a:lnTo>
                  <a:pt x="1389" y="646"/>
                </a:lnTo>
                <a:lnTo>
                  <a:pt x="1372" y="646"/>
                </a:lnTo>
                <a:lnTo>
                  <a:pt x="1356" y="643"/>
                </a:lnTo>
                <a:lnTo>
                  <a:pt x="1342" y="638"/>
                </a:lnTo>
                <a:lnTo>
                  <a:pt x="1330" y="631"/>
                </a:lnTo>
                <a:lnTo>
                  <a:pt x="1314" y="632"/>
                </a:lnTo>
                <a:lnTo>
                  <a:pt x="1299" y="635"/>
                </a:lnTo>
                <a:lnTo>
                  <a:pt x="1290" y="637"/>
                </a:lnTo>
                <a:lnTo>
                  <a:pt x="1282" y="637"/>
                </a:lnTo>
                <a:lnTo>
                  <a:pt x="1274" y="637"/>
                </a:lnTo>
                <a:lnTo>
                  <a:pt x="1265" y="637"/>
                </a:lnTo>
                <a:lnTo>
                  <a:pt x="1260" y="640"/>
                </a:lnTo>
                <a:lnTo>
                  <a:pt x="1256" y="645"/>
                </a:lnTo>
                <a:lnTo>
                  <a:pt x="1252" y="646"/>
                </a:lnTo>
                <a:lnTo>
                  <a:pt x="1249" y="646"/>
                </a:lnTo>
                <a:lnTo>
                  <a:pt x="1244" y="646"/>
                </a:lnTo>
                <a:lnTo>
                  <a:pt x="1242" y="643"/>
                </a:lnTo>
                <a:lnTo>
                  <a:pt x="1241" y="642"/>
                </a:lnTo>
                <a:lnTo>
                  <a:pt x="1241" y="639"/>
                </a:lnTo>
                <a:lnTo>
                  <a:pt x="1242" y="637"/>
                </a:lnTo>
                <a:lnTo>
                  <a:pt x="1243" y="635"/>
                </a:lnTo>
                <a:lnTo>
                  <a:pt x="1245" y="634"/>
                </a:lnTo>
                <a:lnTo>
                  <a:pt x="1248" y="634"/>
                </a:lnTo>
                <a:lnTo>
                  <a:pt x="1249" y="633"/>
                </a:lnTo>
                <a:lnTo>
                  <a:pt x="1249" y="631"/>
                </a:lnTo>
                <a:lnTo>
                  <a:pt x="1248" y="629"/>
                </a:lnTo>
                <a:lnTo>
                  <a:pt x="1247" y="626"/>
                </a:lnTo>
                <a:lnTo>
                  <a:pt x="1243" y="626"/>
                </a:lnTo>
                <a:lnTo>
                  <a:pt x="1241" y="625"/>
                </a:lnTo>
                <a:lnTo>
                  <a:pt x="1231" y="624"/>
                </a:lnTo>
                <a:lnTo>
                  <a:pt x="1220" y="624"/>
                </a:lnTo>
                <a:lnTo>
                  <a:pt x="1210" y="622"/>
                </a:lnTo>
                <a:lnTo>
                  <a:pt x="1201" y="621"/>
                </a:lnTo>
                <a:lnTo>
                  <a:pt x="1191" y="620"/>
                </a:lnTo>
                <a:lnTo>
                  <a:pt x="1182" y="618"/>
                </a:lnTo>
                <a:lnTo>
                  <a:pt x="1171" y="618"/>
                </a:lnTo>
                <a:lnTo>
                  <a:pt x="1162" y="618"/>
                </a:lnTo>
                <a:lnTo>
                  <a:pt x="1153" y="618"/>
                </a:lnTo>
                <a:lnTo>
                  <a:pt x="1143" y="617"/>
                </a:lnTo>
                <a:lnTo>
                  <a:pt x="1134" y="617"/>
                </a:lnTo>
                <a:lnTo>
                  <a:pt x="1124" y="615"/>
                </a:lnTo>
                <a:lnTo>
                  <a:pt x="1115" y="614"/>
                </a:lnTo>
                <a:lnTo>
                  <a:pt x="1104" y="612"/>
                </a:lnTo>
                <a:lnTo>
                  <a:pt x="1101" y="612"/>
                </a:lnTo>
                <a:lnTo>
                  <a:pt x="1097" y="610"/>
                </a:lnTo>
                <a:lnTo>
                  <a:pt x="1095" y="609"/>
                </a:lnTo>
                <a:lnTo>
                  <a:pt x="1092" y="606"/>
                </a:lnTo>
                <a:lnTo>
                  <a:pt x="1091" y="605"/>
                </a:lnTo>
                <a:lnTo>
                  <a:pt x="1089" y="604"/>
                </a:lnTo>
                <a:lnTo>
                  <a:pt x="1088" y="603"/>
                </a:lnTo>
                <a:lnTo>
                  <a:pt x="1086" y="603"/>
                </a:lnTo>
                <a:lnTo>
                  <a:pt x="1080" y="605"/>
                </a:lnTo>
                <a:lnTo>
                  <a:pt x="1074" y="607"/>
                </a:lnTo>
                <a:lnTo>
                  <a:pt x="1070" y="607"/>
                </a:lnTo>
                <a:lnTo>
                  <a:pt x="1067" y="607"/>
                </a:lnTo>
                <a:lnTo>
                  <a:pt x="1063" y="605"/>
                </a:lnTo>
                <a:lnTo>
                  <a:pt x="1061" y="603"/>
                </a:lnTo>
                <a:lnTo>
                  <a:pt x="1063" y="603"/>
                </a:lnTo>
                <a:lnTo>
                  <a:pt x="1068" y="601"/>
                </a:lnTo>
                <a:lnTo>
                  <a:pt x="1069" y="601"/>
                </a:lnTo>
                <a:lnTo>
                  <a:pt x="1070" y="600"/>
                </a:lnTo>
                <a:lnTo>
                  <a:pt x="1071" y="599"/>
                </a:lnTo>
                <a:lnTo>
                  <a:pt x="1071" y="598"/>
                </a:lnTo>
                <a:lnTo>
                  <a:pt x="1063" y="595"/>
                </a:lnTo>
                <a:lnTo>
                  <a:pt x="1054" y="593"/>
                </a:lnTo>
                <a:lnTo>
                  <a:pt x="1045" y="591"/>
                </a:lnTo>
                <a:lnTo>
                  <a:pt x="1035" y="590"/>
                </a:lnTo>
                <a:lnTo>
                  <a:pt x="1026" y="589"/>
                </a:lnTo>
                <a:lnTo>
                  <a:pt x="1016" y="588"/>
                </a:lnTo>
                <a:lnTo>
                  <a:pt x="1006" y="588"/>
                </a:lnTo>
                <a:lnTo>
                  <a:pt x="997" y="588"/>
                </a:lnTo>
                <a:lnTo>
                  <a:pt x="995" y="588"/>
                </a:lnTo>
                <a:lnTo>
                  <a:pt x="993" y="588"/>
                </a:lnTo>
                <a:lnTo>
                  <a:pt x="992" y="589"/>
                </a:lnTo>
                <a:lnTo>
                  <a:pt x="990" y="589"/>
                </a:lnTo>
                <a:lnTo>
                  <a:pt x="989" y="589"/>
                </a:lnTo>
                <a:lnTo>
                  <a:pt x="986" y="589"/>
                </a:lnTo>
                <a:lnTo>
                  <a:pt x="971" y="583"/>
                </a:lnTo>
                <a:lnTo>
                  <a:pt x="956" y="579"/>
                </a:lnTo>
                <a:lnTo>
                  <a:pt x="952" y="579"/>
                </a:lnTo>
                <a:lnTo>
                  <a:pt x="947" y="577"/>
                </a:lnTo>
                <a:lnTo>
                  <a:pt x="946" y="576"/>
                </a:lnTo>
                <a:lnTo>
                  <a:pt x="944" y="574"/>
                </a:lnTo>
                <a:lnTo>
                  <a:pt x="938" y="571"/>
                </a:lnTo>
                <a:lnTo>
                  <a:pt x="931" y="568"/>
                </a:lnTo>
                <a:lnTo>
                  <a:pt x="927" y="567"/>
                </a:lnTo>
                <a:lnTo>
                  <a:pt x="922" y="567"/>
                </a:lnTo>
                <a:lnTo>
                  <a:pt x="920" y="567"/>
                </a:lnTo>
                <a:lnTo>
                  <a:pt x="919" y="568"/>
                </a:lnTo>
                <a:lnTo>
                  <a:pt x="917" y="570"/>
                </a:lnTo>
                <a:lnTo>
                  <a:pt x="914" y="572"/>
                </a:lnTo>
                <a:lnTo>
                  <a:pt x="913" y="575"/>
                </a:lnTo>
                <a:lnTo>
                  <a:pt x="911" y="576"/>
                </a:lnTo>
                <a:lnTo>
                  <a:pt x="907" y="574"/>
                </a:lnTo>
                <a:lnTo>
                  <a:pt x="904" y="572"/>
                </a:lnTo>
                <a:lnTo>
                  <a:pt x="895" y="570"/>
                </a:lnTo>
                <a:lnTo>
                  <a:pt x="885" y="567"/>
                </a:lnTo>
                <a:lnTo>
                  <a:pt x="876" y="565"/>
                </a:lnTo>
                <a:lnTo>
                  <a:pt x="865" y="564"/>
                </a:lnTo>
                <a:lnTo>
                  <a:pt x="856" y="563"/>
                </a:lnTo>
                <a:lnTo>
                  <a:pt x="847" y="562"/>
                </a:lnTo>
                <a:lnTo>
                  <a:pt x="825" y="559"/>
                </a:lnTo>
                <a:lnTo>
                  <a:pt x="805" y="555"/>
                </a:lnTo>
                <a:lnTo>
                  <a:pt x="786" y="549"/>
                </a:lnTo>
                <a:lnTo>
                  <a:pt x="765" y="543"/>
                </a:lnTo>
                <a:lnTo>
                  <a:pt x="772" y="541"/>
                </a:lnTo>
                <a:lnTo>
                  <a:pt x="780" y="541"/>
                </a:lnTo>
                <a:lnTo>
                  <a:pt x="787" y="541"/>
                </a:lnTo>
                <a:lnTo>
                  <a:pt x="795" y="543"/>
                </a:lnTo>
                <a:lnTo>
                  <a:pt x="810" y="548"/>
                </a:lnTo>
                <a:lnTo>
                  <a:pt x="824" y="550"/>
                </a:lnTo>
                <a:lnTo>
                  <a:pt x="839" y="548"/>
                </a:lnTo>
                <a:lnTo>
                  <a:pt x="853" y="548"/>
                </a:lnTo>
                <a:lnTo>
                  <a:pt x="862" y="549"/>
                </a:lnTo>
                <a:lnTo>
                  <a:pt x="871" y="550"/>
                </a:lnTo>
                <a:lnTo>
                  <a:pt x="880" y="552"/>
                </a:lnTo>
                <a:lnTo>
                  <a:pt x="888" y="554"/>
                </a:lnTo>
                <a:lnTo>
                  <a:pt x="923" y="559"/>
                </a:lnTo>
                <a:lnTo>
                  <a:pt x="957" y="565"/>
                </a:lnTo>
                <a:lnTo>
                  <a:pt x="992" y="570"/>
                </a:lnTo>
                <a:lnTo>
                  <a:pt x="1026" y="574"/>
                </a:lnTo>
                <a:lnTo>
                  <a:pt x="1060" y="579"/>
                </a:lnTo>
                <a:lnTo>
                  <a:pt x="1094" y="583"/>
                </a:lnTo>
                <a:lnTo>
                  <a:pt x="1128" y="585"/>
                </a:lnTo>
                <a:lnTo>
                  <a:pt x="1162" y="589"/>
                </a:lnTo>
                <a:lnTo>
                  <a:pt x="1176" y="590"/>
                </a:lnTo>
                <a:lnTo>
                  <a:pt x="1191" y="593"/>
                </a:lnTo>
                <a:lnTo>
                  <a:pt x="1206" y="598"/>
                </a:lnTo>
                <a:lnTo>
                  <a:pt x="1222" y="600"/>
                </a:lnTo>
                <a:lnTo>
                  <a:pt x="1229" y="599"/>
                </a:lnTo>
                <a:lnTo>
                  <a:pt x="1236" y="598"/>
                </a:lnTo>
                <a:lnTo>
                  <a:pt x="1242" y="598"/>
                </a:lnTo>
                <a:lnTo>
                  <a:pt x="1247" y="601"/>
                </a:lnTo>
                <a:lnTo>
                  <a:pt x="1252" y="603"/>
                </a:lnTo>
                <a:lnTo>
                  <a:pt x="1258" y="601"/>
                </a:lnTo>
                <a:lnTo>
                  <a:pt x="1267" y="601"/>
                </a:lnTo>
                <a:lnTo>
                  <a:pt x="1276" y="601"/>
                </a:lnTo>
                <a:lnTo>
                  <a:pt x="1285" y="601"/>
                </a:lnTo>
                <a:lnTo>
                  <a:pt x="1295" y="600"/>
                </a:lnTo>
                <a:lnTo>
                  <a:pt x="1305" y="600"/>
                </a:lnTo>
                <a:lnTo>
                  <a:pt x="1314" y="600"/>
                </a:lnTo>
                <a:lnTo>
                  <a:pt x="1318" y="600"/>
                </a:lnTo>
                <a:lnTo>
                  <a:pt x="1323" y="600"/>
                </a:lnTo>
                <a:lnTo>
                  <a:pt x="1324" y="600"/>
                </a:lnTo>
                <a:lnTo>
                  <a:pt x="1326" y="601"/>
                </a:lnTo>
                <a:lnTo>
                  <a:pt x="1327" y="601"/>
                </a:lnTo>
                <a:lnTo>
                  <a:pt x="1327" y="604"/>
                </a:lnTo>
                <a:lnTo>
                  <a:pt x="1329" y="606"/>
                </a:lnTo>
                <a:lnTo>
                  <a:pt x="1329" y="608"/>
                </a:lnTo>
                <a:lnTo>
                  <a:pt x="1329" y="610"/>
                </a:lnTo>
                <a:lnTo>
                  <a:pt x="1332" y="610"/>
                </a:lnTo>
                <a:lnTo>
                  <a:pt x="1333" y="610"/>
                </a:lnTo>
                <a:lnTo>
                  <a:pt x="1334" y="609"/>
                </a:lnTo>
                <a:lnTo>
                  <a:pt x="1334" y="608"/>
                </a:lnTo>
                <a:lnTo>
                  <a:pt x="1334" y="607"/>
                </a:lnTo>
                <a:lnTo>
                  <a:pt x="1334" y="604"/>
                </a:lnTo>
                <a:lnTo>
                  <a:pt x="1335" y="601"/>
                </a:lnTo>
                <a:lnTo>
                  <a:pt x="1343" y="600"/>
                </a:lnTo>
                <a:lnTo>
                  <a:pt x="1352" y="601"/>
                </a:lnTo>
                <a:lnTo>
                  <a:pt x="1360" y="603"/>
                </a:lnTo>
                <a:lnTo>
                  <a:pt x="1369" y="604"/>
                </a:lnTo>
                <a:lnTo>
                  <a:pt x="1380" y="605"/>
                </a:lnTo>
                <a:lnTo>
                  <a:pt x="1389" y="606"/>
                </a:lnTo>
                <a:lnTo>
                  <a:pt x="1382" y="607"/>
                </a:lnTo>
                <a:lnTo>
                  <a:pt x="1374" y="607"/>
                </a:lnTo>
                <a:lnTo>
                  <a:pt x="1371" y="608"/>
                </a:lnTo>
                <a:lnTo>
                  <a:pt x="1367" y="609"/>
                </a:lnTo>
                <a:lnTo>
                  <a:pt x="1365" y="610"/>
                </a:lnTo>
                <a:lnTo>
                  <a:pt x="1363" y="614"/>
                </a:lnTo>
                <a:lnTo>
                  <a:pt x="1363" y="616"/>
                </a:lnTo>
                <a:lnTo>
                  <a:pt x="1363" y="618"/>
                </a:lnTo>
                <a:lnTo>
                  <a:pt x="1365" y="620"/>
                </a:lnTo>
                <a:lnTo>
                  <a:pt x="1367" y="621"/>
                </a:lnTo>
                <a:lnTo>
                  <a:pt x="1372" y="622"/>
                </a:lnTo>
                <a:lnTo>
                  <a:pt x="1376" y="622"/>
                </a:lnTo>
                <a:lnTo>
                  <a:pt x="1387" y="622"/>
                </a:lnTo>
                <a:lnTo>
                  <a:pt x="1397" y="620"/>
                </a:lnTo>
                <a:lnTo>
                  <a:pt x="1399" y="617"/>
                </a:lnTo>
                <a:lnTo>
                  <a:pt x="1400" y="616"/>
                </a:lnTo>
                <a:lnTo>
                  <a:pt x="1399" y="615"/>
                </a:lnTo>
                <a:lnTo>
                  <a:pt x="1398" y="614"/>
                </a:lnTo>
                <a:lnTo>
                  <a:pt x="1393" y="612"/>
                </a:lnTo>
                <a:lnTo>
                  <a:pt x="1391" y="607"/>
                </a:lnTo>
                <a:lnTo>
                  <a:pt x="1401" y="607"/>
                </a:lnTo>
                <a:lnTo>
                  <a:pt x="1412" y="607"/>
                </a:lnTo>
                <a:lnTo>
                  <a:pt x="1417" y="606"/>
                </a:lnTo>
                <a:lnTo>
                  <a:pt x="1422" y="606"/>
                </a:lnTo>
                <a:lnTo>
                  <a:pt x="1426" y="604"/>
                </a:lnTo>
                <a:lnTo>
                  <a:pt x="1431" y="600"/>
                </a:lnTo>
                <a:lnTo>
                  <a:pt x="1423" y="598"/>
                </a:lnTo>
                <a:lnTo>
                  <a:pt x="1414" y="598"/>
                </a:lnTo>
                <a:lnTo>
                  <a:pt x="1405" y="597"/>
                </a:lnTo>
                <a:lnTo>
                  <a:pt x="1396" y="596"/>
                </a:lnTo>
                <a:lnTo>
                  <a:pt x="1388" y="593"/>
                </a:lnTo>
                <a:lnTo>
                  <a:pt x="1380" y="591"/>
                </a:lnTo>
                <a:lnTo>
                  <a:pt x="1371" y="591"/>
                </a:lnTo>
                <a:lnTo>
                  <a:pt x="1363" y="590"/>
                </a:lnTo>
                <a:lnTo>
                  <a:pt x="1358" y="590"/>
                </a:lnTo>
                <a:lnTo>
                  <a:pt x="1355" y="590"/>
                </a:lnTo>
                <a:lnTo>
                  <a:pt x="1352" y="590"/>
                </a:lnTo>
                <a:lnTo>
                  <a:pt x="1349" y="592"/>
                </a:lnTo>
                <a:lnTo>
                  <a:pt x="1348" y="595"/>
                </a:lnTo>
                <a:lnTo>
                  <a:pt x="1346" y="597"/>
                </a:lnTo>
                <a:lnTo>
                  <a:pt x="1340" y="597"/>
                </a:lnTo>
                <a:lnTo>
                  <a:pt x="1334" y="597"/>
                </a:lnTo>
                <a:lnTo>
                  <a:pt x="1324" y="597"/>
                </a:lnTo>
                <a:lnTo>
                  <a:pt x="1314" y="596"/>
                </a:lnTo>
                <a:lnTo>
                  <a:pt x="1305" y="596"/>
                </a:lnTo>
                <a:lnTo>
                  <a:pt x="1295" y="593"/>
                </a:lnTo>
                <a:lnTo>
                  <a:pt x="1289" y="590"/>
                </a:lnTo>
                <a:lnTo>
                  <a:pt x="1282" y="588"/>
                </a:lnTo>
                <a:lnTo>
                  <a:pt x="1273" y="588"/>
                </a:lnTo>
                <a:lnTo>
                  <a:pt x="1265" y="591"/>
                </a:lnTo>
                <a:lnTo>
                  <a:pt x="1256" y="591"/>
                </a:lnTo>
                <a:lnTo>
                  <a:pt x="1247" y="589"/>
                </a:lnTo>
                <a:lnTo>
                  <a:pt x="1236" y="588"/>
                </a:lnTo>
                <a:lnTo>
                  <a:pt x="1226" y="587"/>
                </a:lnTo>
                <a:lnTo>
                  <a:pt x="1217" y="585"/>
                </a:lnTo>
                <a:lnTo>
                  <a:pt x="1207" y="584"/>
                </a:lnTo>
                <a:lnTo>
                  <a:pt x="1198" y="584"/>
                </a:lnTo>
                <a:lnTo>
                  <a:pt x="1189" y="584"/>
                </a:lnTo>
                <a:lnTo>
                  <a:pt x="1179" y="584"/>
                </a:lnTo>
                <a:lnTo>
                  <a:pt x="1170" y="584"/>
                </a:lnTo>
                <a:lnTo>
                  <a:pt x="1161" y="583"/>
                </a:lnTo>
                <a:lnTo>
                  <a:pt x="1153" y="581"/>
                </a:lnTo>
                <a:lnTo>
                  <a:pt x="1144" y="576"/>
                </a:lnTo>
                <a:lnTo>
                  <a:pt x="1135" y="573"/>
                </a:lnTo>
                <a:lnTo>
                  <a:pt x="1126" y="571"/>
                </a:lnTo>
                <a:lnTo>
                  <a:pt x="1117" y="571"/>
                </a:lnTo>
                <a:lnTo>
                  <a:pt x="1107" y="572"/>
                </a:lnTo>
                <a:lnTo>
                  <a:pt x="1096" y="572"/>
                </a:lnTo>
                <a:lnTo>
                  <a:pt x="1085" y="571"/>
                </a:lnTo>
                <a:lnTo>
                  <a:pt x="1075" y="567"/>
                </a:lnTo>
                <a:lnTo>
                  <a:pt x="1077" y="564"/>
                </a:lnTo>
                <a:lnTo>
                  <a:pt x="1080" y="563"/>
                </a:lnTo>
                <a:lnTo>
                  <a:pt x="1085" y="563"/>
                </a:lnTo>
                <a:lnTo>
                  <a:pt x="1088" y="563"/>
                </a:lnTo>
                <a:lnTo>
                  <a:pt x="1099" y="559"/>
                </a:lnTo>
                <a:lnTo>
                  <a:pt x="1109" y="558"/>
                </a:lnTo>
                <a:lnTo>
                  <a:pt x="1120" y="562"/>
                </a:lnTo>
                <a:lnTo>
                  <a:pt x="1132" y="564"/>
                </a:lnTo>
                <a:lnTo>
                  <a:pt x="1145" y="565"/>
                </a:lnTo>
                <a:lnTo>
                  <a:pt x="1158" y="565"/>
                </a:lnTo>
                <a:lnTo>
                  <a:pt x="1168" y="568"/>
                </a:lnTo>
                <a:lnTo>
                  <a:pt x="1178" y="571"/>
                </a:lnTo>
                <a:lnTo>
                  <a:pt x="1191" y="570"/>
                </a:lnTo>
                <a:lnTo>
                  <a:pt x="1203" y="568"/>
                </a:lnTo>
                <a:lnTo>
                  <a:pt x="1216" y="570"/>
                </a:lnTo>
                <a:lnTo>
                  <a:pt x="1228" y="571"/>
                </a:lnTo>
                <a:lnTo>
                  <a:pt x="1241" y="573"/>
                </a:lnTo>
                <a:lnTo>
                  <a:pt x="1255" y="574"/>
                </a:lnTo>
                <a:lnTo>
                  <a:pt x="1266" y="576"/>
                </a:lnTo>
                <a:lnTo>
                  <a:pt x="1277" y="580"/>
                </a:lnTo>
                <a:lnTo>
                  <a:pt x="1290" y="582"/>
                </a:lnTo>
                <a:lnTo>
                  <a:pt x="1301" y="584"/>
                </a:lnTo>
                <a:lnTo>
                  <a:pt x="1315" y="584"/>
                </a:lnTo>
                <a:lnTo>
                  <a:pt x="1329" y="584"/>
                </a:lnTo>
                <a:lnTo>
                  <a:pt x="1342" y="584"/>
                </a:lnTo>
                <a:lnTo>
                  <a:pt x="1356" y="584"/>
                </a:lnTo>
                <a:lnTo>
                  <a:pt x="1383" y="585"/>
                </a:lnTo>
                <a:lnTo>
                  <a:pt x="1409" y="587"/>
                </a:lnTo>
                <a:lnTo>
                  <a:pt x="1437" y="587"/>
                </a:lnTo>
                <a:lnTo>
                  <a:pt x="1464" y="587"/>
                </a:lnTo>
                <a:lnTo>
                  <a:pt x="1478" y="587"/>
                </a:lnTo>
                <a:lnTo>
                  <a:pt x="1491" y="584"/>
                </a:lnTo>
                <a:lnTo>
                  <a:pt x="1494" y="584"/>
                </a:lnTo>
                <a:lnTo>
                  <a:pt x="1497" y="584"/>
                </a:lnTo>
                <a:lnTo>
                  <a:pt x="1500" y="582"/>
                </a:lnTo>
                <a:lnTo>
                  <a:pt x="1502" y="580"/>
                </a:lnTo>
                <a:lnTo>
                  <a:pt x="1500" y="577"/>
                </a:lnTo>
                <a:lnTo>
                  <a:pt x="1498" y="575"/>
                </a:lnTo>
                <a:lnTo>
                  <a:pt x="1488" y="574"/>
                </a:lnTo>
                <a:lnTo>
                  <a:pt x="1478" y="575"/>
                </a:lnTo>
                <a:lnTo>
                  <a:pt x="1463" y="575"/>
                </a:lnTo>
                <a:lnTo>
                  <a:pt x="1448" y="575"/>
                </a:lnTo>
                <a:lnTo>
                  <a:pt x="1449" y="573"/>
                </a:lnTo>
                <a:lnTo>
                  <a:pt x="1451" y="571"/>
                </a:lnTo>
                <a:lnTo>
                  <a:pt x="1455" y="570"/>
                </a:lnTo>
                <a:lnTo>
                  <a:pt x="1457" y="568"/>
                </a:lnTo>
                <a:lnTo>
                  <a:pt x="1463" y="567"/>
                </a:lnTo>
                <a:lnTo>
                  <a:pt x="1470" y="567"/>
                </a:lnTo>
                <a:lnTo>
                  <a:pt x="1476" y="567"/>
                </a:lnTo>
                <a:lnTo>
                  <a:pt x="1482" y="568"/>
                </a:lnTo>
                <a:lnTo>
                  <a:pt x="1484" y="568"/>
                </a:lnTo>
                <a:lnTo>
                  <a:pt x="1487" y="568"/>
                </a:lnTo>
                <a:lnTo>
                  <a:pt x="1489" y="567"/>
                </a:lnTo>
                <a:lnTo>
                  <a:pt x="1490" y="565"/>
                </a:lnTo>
                <a:lnTo>
                  <a:pt x="1489" y="564"/>
                </a:lnTo>
                <a:lnTo>
                  <a:pt x="1488" y="563"/>
                </a:lnTo>
                <a:lnTo>
                  <a:pt x="1486" y="562"/>
                </a:lnTo>
                <a:lnTo>
                  <a:pt x="1482" y="562"/>
                </a:lnTo>
                <a:lnTo>
                  <a:pt x="1475" y="562"/>
                </a:lnTo>
                <a:lnTo>
                  <a:pt x="1466" y="562"/>
                </a:lnTo>
                <a:lnTo>
                  <a:pt x="1449" y="563"/>
                </a:lnTo>
                <a:lnTo>
                  <a:pt x="1439" y="565"/>
                </a:lnTo>
                <a:lnTo>
                  <a:pt x="1431" y="564"/>
                </a:lnTo>
                <a:lnTo>
                  <a:pt x="1423" y="564"/>
                </a:lnTo>
                <a:lnTo>
                  <a:pt x="1421" y="564"/>
                </a:lnTo>
                <a:lnTo>
                  <a:pt x="1420" y="565"/>
                </a:lnTo>
                <a:lnTo>
                  <a:pt x="1420" y="566"/>
                </a:lnTo>
                <a:lnTo>
                  <a:pt x="1420" y="567"/>
                </a:lnTo>
                <a:lnTo>
                  <a:pt x="1420" y="571"/>
                </a:lnTo>
                <a:lnTo>
                  <a:pt x="1418" y="573"/>
                </a:lnTo>
                <a:lnTo>
                  <a:pt x="1413" y="574"/>
                </a:lnTo>
                <a:lnTo>
                  <a:pt x="1407" y="574"/>
                </a:lnTo>
                <a:lnTo>
                  <a:pt x="1399" y="574"/>
                </a:lnTo>
                <a:lnTo>
                  <a:pt x="1391" y="574"/>
                </a:lnTo>
                <a:lnTo>
                  <a:pt x="1375" y="573"/>
                </a:lnTo>
                <a:lnTo>
                  <a:pt x="1358" y="572"/>
                </a:lnTo>
                <a:lnTo>
                  <a:pt x="1342" y="572"/>
                </a:lnTo>
                <a:lnTo>
                  <a:pt x="1327" y="572"/>
                </a:lnTo>
                <a:lnTo>
                  <a:pt x="1310" y="571"/>
                </a:lnTo>
                <a:lnTo>
                  <a:pt x="1293" y="570"/>
                </a:lnTo>
                <a:lnTo>
                  <a:pt x="1283" y="571"/>
                </a:lnTo>
                <a:lnTo>
                  <a:pt x="1272" y="572"/>
                </a:lnTo>
                <a:lnTo>
                  <a:pt x="1266" y="571"/>
                </a:lnTo>
                <a:lnTo>
                  <a:pt x="1264" y="568"/>
                </a:lnTo>
                <a:lnTo>
                  <a:pt x="1260" y="565"/>
                </a:lnTo>
                <a:lnTo>
                  <a:pt x="1258" y="562"/>
                </a:lnTo>
                <a:lnTo>
                  <a:pt x="1255" y="559"/>
                </a:lnTo>
                <a:lnTo>
                  <a:pt x="1250" y="558"/>
                </a:lnTo>
                <a:lnTo>
                  <a:pt x="1247" y="558"/>
                </a:lnTo>
                <a:lnTo>
                  <a:pt x="1243" y="558"/>
                </a:lnTo>
                <a:lnTo>
                  <a:pt x="1235" y="559"/>
                </a:lnTo>
                <a:lnTo>
                  <a:pt x="1227" y="558"/>
                </a:lnTo>
                <a:lnTo>
                  <a:pt x="1219" y="557"/>
                </a:lnTo>
                <a:lnTo>
                  <a:pt x="1212" y="556"/>
                </a:lnTo>
                <a:lnTo>
                  <a:pt x="1199" y="551"/>
                </a:lnTo>
                <a:lnTo>
                  <a:pt x="1185" y="549"/>
                </a:lnTo>
                <a:lnTo>
                  <a:pt x="1168" y="547"/>
                </a:lnTo>
                <a:lnTo>
                  <a:pt x="1152" y="546"/>
                </a:lnTo>
                <a:lnTo>
                  <a:pt x="1136" y="542"/>
                </a:lnTo>
                <a:lnTo>
                  <a:pt x="1121" y="540"/>
                </a:lnTo>
                <a:lnTo>
                  <a:pt x="1107" y="537"/>
                </a:lnTo>
                <a:lnTo>
                  <a:pt x="1092" y="534"/>
                </a:lnTo>
                <a:lnTo>
                  <a:pt x="1076" y="532"/>
                </a:lnTo>
                <a:lnTo>
                  <a:pt x="1061" y="531"/>
                </a:lnTo>
                <a:lnTo>
                  <a:pt x="1045" y="529"/>
                </a:lnTo>
                <a:lnTo>
                  <a:pt x="1029" y="526"/>
                </a:lnTo>
                <a:lnTo>
                  <a:pt x="997" y="523"/>
                </a:lnTo>
                <a:lnTo>
                  <a:pt x="965" y="518"/>
                </a:lnTo>
                <a:lnTo>
                  <a:pt x="935" y="513"/>
                </a:lnTo>
                <a:lnTo>
                  <a:pt x="904" y="507"/>
                </a:lnTo>
                <a:lnTo>
                  <a:pt x="888" y="504"/>
                </a:lnTo>
                <a:lnTo>
                  <a:pt x="872" y="500"/>
                </a:lnTo>
                <a:lnTo>
                  <a:pt x="857" y="497"/>
                </a:lnTo>
                <a:lnTo>
                  <a:pt x="841" y="494"/>
                </a:lnTo>
                <a:lnTo>
                  <a:pt x="828" y="491"/>
                </a:lnTo>
                <a:lnTo>
                  <a:pt x="813" y="485"/>
                </a:lnTo>
                <a:lnTo>
                  <a:pt x="799" y="482"/>
                </a:lnTo>
                <a:lnTo>
                  <a:pt x="784" y="479"/>
                </a:lnTo>
                <a:lnTo>
                  <a:pt x="771" y="477"/>
                </a:lnTo>
                <a:lnTo>
                  <a:pt x="757" y="476"/>
                </a:lnTo>
                <a:lnTo>
                  <a:pt x="742" y="472"/>
                </a:lnTo>
                <a:lnTo>
                  <a:pt x="729" y="467"/>
                </a:lnTo>
                <a:lnTo>
                  <a:pt x="714" y="466"/>
                </a:lnTo>
                <a:lnTo>
                  <a:pt x="700" y="465"/>
                </a:lnTo>
                <a:lnTo>
                  <a:pt x="688" y="458"/>
                </a:lnTo>
                <a:lnTo>
                  <a:pt x="673" y="454"/>
                </a:lnTo>
                <a:lnTo>
                  <a:pt x="659" y="451"/>
                </a:lnTo>
                <a:lnTo>
                  <a:pt x="644" y="449"/>
                </a:lnTo>
                <a:lnTo>
                  <a:pt x="632" y="449"/>
                </a:lnTo>
                <a:lnTo>
                  <a:pt x="621" y="448"/>
                </a:lnTo>
                <a:lnTo>
                  <a:pt x="615" y="443"/>
                </a:lnTo>
                <a:lnTo>
                  <a:pt x="610" y="440"/>
                </a:lnTo>
                <a:lnTo>
                  <a:pt x="604" y="439"/>
                </a:lnTo>
                <a:lnTo>
                  <a:pt x="597" y="439"/>
                </a:lnTo>
                <a:lnTo>
                  <a:pt x="580" y="435"/>
                </a:lnTo>
                <a:lnTo>
                  <a:pt x="565" y="431"/>
                </a:lnTo>
                <a:lnTo>
                  <a:pt x="548" y="425"/>
                </a:lnTo>
                <a:lnTo>
                  <a:pt x="531" y="422"/>
                </a:lnTo>
                <a:lnTo>
                  <a:pt x="514" y="417"/>
                </a:lnTo>
                <a:lnTo>
                  <a:pt x="497" y="413"/>
                </a:lnTo>
                <a:lnTo>
                  <a:pt x="487" y="410"/>
                </a:lnTo>
                <a:lnTo>
                  <a:pt x="479" y="407"/>
                </a:lnTo>
                <a:lnTo>
                  <a:pt x="470" y="405"/>
                </a:lnTo>
                <a:lnTo>
                  <a:pt x="461" y="401"/>
                </a:lnTo>
                <a:lnTo>
                  <a:pt x="452" y="399"/>
                </a:lnTo>
                <a:lnTo>
                  <a:pt x="444" y="396"/>
                </a:lnTo>
                <a:lnTo>
                  <a:pt x="441" y="396"/>
                </a:lnTo>
                <a:lnTo>
                  <a:pt x="437" y="394"/>
                </a:lnTo>
                <a:lnTo>
                  <a:pt x="434" y="393"/>
                </a:lnTo>
                <a:lnTo>
                  <a:pt x="433" y="391"/>
                </a:lnTo>
                <a:lnTo>
                  <a:pt x="432" y="390"/>
                </a:lnTo>
                <a:lnTo>
                  <a:pt x="432" y="385"/>
                </a:lnTo>
                <a:lnTo>
                  <a:pt x="438" y="386"/>
                </a:lnTo>
                <a:lnTo>
                  <a:pt x="445" y="389"/>
                </a:lnTo>
                <a:lnTo>
                  <a:pt x="452" y="392"/>
                </a:lnTo>
                <a:lnTo>
                  <a:pt x="459" y="396"/>
                </a:lnTo>
                <a:lnTo>
                  <a:pt x="474" y="400"/>
                </a:lnTo>
                <a:lnTo>
                  <a:pt x="490" y="404"/>
                </a:lnTo>
                <a:lnTo>
                  <a:pt x="506" y="409"/>
                </a:lnTo>
                <a:lnTo>
                  <a:pt x="522" y="414"/>
                </a:lnTo>
                <a:lnTo>
                  <a:pt x="539" y="417"/>
                </a:lnTo>
                <a:lnTo>
                  <a:pt x="555" y="422"/>
                </a:lnTo>
                <a:lnTo>
                  <a:pt x="590" y="429"/>
                </a:lnTo>
                <a:lnTo>
                  <a:pt x="624" y="437"/>
                </a:lnTo>
                <a:lnTo>
                  <a:pt x="658" y="444"/>
                </a:lnTo>
                <a:lnTo>
                  <a:pt x="692" y="451"/>
                </a:lnTo>
                <a:lnTo>
                  <a:pt x="709" y="455"/>
                </a:lnTo>
                <a:lnTo>
                  <a:pt x="726" y="459"/>
                </a:lnTo>
                <a:lnTo>
                  <a:pt x="744" y="463"/>
                </a:lnTo>
                <a:lnTo>
                  <a:pt x="761" y="466"/>
                </a:lnTo>
                <a:lnTo>
                  <a:pt x="778" y="469"/>
                </a:lnTo>
                <a:lnTo>
                  <a:pt x="795" y="473"/>
                </a:lnTo>
                <a:lnTo>
                  <a:pt x="812" y="475"/>
                </a:lnTo>
                <a:lnTo>
                  <a:pt x="829" y="479"/>
                </a:lnTo>
                <a:lnTo>
                  <a:pt x="836" y="481"/>
                </a:lnTo>
                <a:lnTo>
                  <a:pt x="843" y="483"/>
                </a:lnTo>
                <a:lnTo>
                  <a:pt x="848" y="482"/>
                </a:lnTo>
                <a:lnTo>
                  <a:pt x="854" y="482"/>
                </a:lnTo>
                <a:lnTo>
                  <a:pt x="862" y="485"/>
                </a:lnTo>
                <a:lnTo>
                  <a:pt x="869" y="489"/>
                </a:lnTo>
                <a:lnTo>
                  <a:pt x="877" y="490"/>
                </a:lnTo>
                <a:lnTo>
                  <a:pt x="885" y="491"/>
                </a:lnTo>
                <a:lnTo>
                  <a:pt x="901" y="493"/>
                </a:lnTo>
                <a:lnTo>
                  <a:pt x="915" y="497"/>
                </a:lnTo>
                <a:lnTo>
                  <a:pt x="929" y="501"/>
                </a:lnTo>
                <a:lnTo>
                  <a:pt x="942" y="507"/>
                </a:lnTo>
                <a:lnTo>
                  <a:pt x="952" y="508"/>
                </a:lnTo>
                <a:lnTo>
                  <a:pt x="961" y="509"/>
                </a:lnTo>
                <a:lnTo>
                  <a:pt x="970" y="509"/>
                </a:lnTo>
                <a:lnTo>
                  <a:pt x="980" y="509"/>
                </a:lnTo>
                <a:lnTo>
                  <a:pt x="988" y="512"/>
                </a:lnTo>
                <a:lnTo>
                  <a:pt x="997" y="513"/>
                </a:lnTo>
                <a:lnTo>
                  <a:pt x="1006" y="514"/>
                </a:lnTo>
                <a:lnTo>
                  <a:pt x="1016" y="516"/>
                </a:lnTo>
                <a:lnTo>
                  <a:pt x="1026" y="517"/>
                </a:lnTo>
                <a:lnTo>
                  <a:pt x="1035" y="518"/>
                </a:lnTo>
                <a:lnTo>
                  <a:pt x="1045" y="518"/>
                </a:lnTo>
                <a:lnTo>
                  <a:pt x="1055" y="520"/>
                </a:lnTo>
                <a:lnTo>
                  <a:pt x="1063" y="522"/>
                </a:lnTo>
                <a:lnTo>
                  <a:pt x="1072" y="523"/>
                </a:lnTo>
                <a:lnTo>
                  <a:pt x="1080" y="522"/>
                </a:lnTo>
                <a:lnTo>
                  <a:pt x="1089" y="520"/>
                </a:lnTo>
                <a:lnTo>
                  <a:pt x="1084" y="518"/>
                </a:lnTo>
                <a:lnTo>
                  <a:pt x="1078" y="516"/>
                </a:lnTo>
                <a:lnTo>
                  <a:pt x="1077" y="514"/>
                </a:lnTo>
                <a:lnTo>
                  <a:pt x="1077" y="513"/>
                </a:lnTo>
                <a:lnTo>
                  <a:pt x="1078" y="513"/>
                </a:lnTo>
                <a:lnTo>
                  <a:pt x="1080" y="512"/>
                </a:lnTo>
                <a:lnTo>
                  <a:pt x="1084" y="512"/>
                </a:lnTo>
                <a:lnTo>
                  <a:pt x="1086" y="513"/>
                </a:lnTo>
                <a:lnTo>
                  <a:pt x="1096" y="514"/>
                </a:lnTo>
                <a:lnTo>
                  <a:pt x="1108" y="515"/>
                </a:lnTo>
                <a:lnTo>
                  <a:pt x="1111" y="514"/>
                </a:lnTo>
                <a:lnTo>
                  <a:pt x="1113" y="510"/>
                </a:lnTo>
                <a:lnTo>
                  <a:pt x="1115" y="509"/>
                </a:lnTo>
                <a:lnTo>
                  <a:pt x="1115" y="508"/>
                </a:lnTo>
                <a:lnTo>
                  <a:pt x="1113" y="507"/>
                </a:lnTo>
                <a:lnTo>
                  <a:pt x="1111" y="506"/>
                </a:lnTo>
                <a:lnTo>
                  <a:pt x="1102" y="507"/>
                </a:lnTo>
                <a:lnTo>
                  <a:pt x="1094" y="508"/>
                </a:lnTo>
                <a:lnTo>
                  <a:pt x="1087" y="508"/>
                </a:lnTo>
                <a:lnTo>
                  <a:pt x="1082" y="508"/>
                </a:lnTo>
                <a:lnTo>
                  <a:pt x="1076" y="506"/>
                </a:lnTo>
                <a:lnTo>
                  <a:pt x="1070" y="505"/>
                </a:lnTo>
                <a:lnTo>
                  <a:pt x="1062" y="502"/>
                </a:lnTo>
                <a:lnTo>
                  <a:pt x="1050" y="500"/>
                </a:lnTo>
                <a:lnTo>
                  <a:pt x="1043" y="499"/>
                </a:lnTo>
                <a:lnTo>
                  <a:pt x="1037" y="499"/>
                </a:lnTo>
                <a:lnTo>
                  <a:pt x="1034" y="499"/>
                </a:lnTo>
                <a:lnTo>
                  <a:pt x="1033" y="501"/>
                </a:lnTo>
                <a:lnTo>
                  <a:pt x="1034" y="504"/>
                </a:lnTo>
                <a:lnTo>
                  <a:pt x="1036" y="506"/>
                </a:lnTo>
                <a:lnTo>
                  <a:pt x="1036" y="508"/>
                </a:lnTo>
                <a:lnTo>
                  <a:pt x="1035" y="509"/>
                </a:lnTo>
                <a:lnTo>
                  <a:pt x="1034" y="509"/>
                </a:lnTo>
                <a:lnTo>
                  <a:pt x="1033" y="509"/>
                </a:lnTo>
                <a:lnTo>
                  <a:pt x="1022" y="508"/>
                </a:lnTo>
                <a:lnTo>
                  <a:pt x="1012" y="506"/>
                </a:lnTo>
                <a:lnTo>
                  <a:pt x="1002" y="505"/>
                </a:lnTo>
                <a:lnTo>
                  <a:pt x="989" y="502"/>
                </a:lnTo>
                <a:lnTo>
                  <a:pt x="978" y="500"/>
                </a:lnTo>
                <a:lnTo>
                  <a:pt x="967" y="498"/>
                </a:lnTo>
                <a:lnTo>
                  <a:pt x="956" y="494"/>
                </a:lnTo>
                <a:lnTo>
                  <a:pt x="946" y="492"/>
                </a:lnTo>
                <a:lnTo>
                  <a:pt x="936" y="490"/>
                </a:lnTo>
                <a:lnTo>
                  <a:pt x="924" y="490"/>
                </a:lnTo>
                <a:lnTo>
                  <a:pt x="913" y="489"/>
                </a:lnTo>
                <a:lnTo>
                  <a:pt x="901" y="488"/>
                </a:lnTo>
                <a:lnTo>
                  <a:pt x="889" y="484"/>
                </a:lnTo>
                <a:lnTo>
                  <a:pt x="878" y="482"/>
                </a:lnTo>
                <a:lnTo>
                  <a:pt x="865" y="481"/>
                </a:lnTo>
                <a:lnTo>
                  <a:pt x="853" y="480"/>
                </a:lnTo>
                <a:lnTo>
                  <a:pt x="848" y="479"/>
                </a:lnTo>
                <a:lnTo>
                  <a:pt x="843" y="476"/>
                </a:lnTo>
                <a:lnTo>
                  <a:pt x="838" y="474"/>
                </a:lnTo>
                <a:lnTo>
                  <a:pt x="833" y="471"/>
                </a:lnTo>
                <a:lnTo>
                  <a:pt x="830" y="467"/>
                </a:lnTo>
                <a:lnTo>
                  <a:pt x="827" y="465"/>
                </a:lnTo>
                <a:lnTo>
                  <a:pt x="821" y="465"/>
                </a:lnTo>
                <a:lnTo>
                  <a:pt x="815" y="465"/>
                </a:lnTo>
                <a:lnTo>
                  <a:pt x="811" y="463"/>
                </a:lnTo>
                <a:lnTo>
                  <a:pt x="806" y="460"/>
                </a:lnTo>
                <a:lnTo>
                  <a:pt x="802" y="458"/>
                </a:lnTo>
                <a:lnTo>
                  <a:pt x="796" y="457"/>
                </a:lnTo>
                <a:lnTo>
                  <a:pt x="798" y="454"/>
                </a:lnTo>
                <a:lnTo>
                  <a:pt x="799" y="454"/>
                </a:lnTo>
                <a:lnTo>
                  <a:pt x="802" y="454"/>
                </a:lnTo>
                <a:lnTo>
                  <a:pt x="805" y="454"/>
                </a:lnTo>
                <a:lnTo>
                  <a:pt x="811" y="456"/>
                </a:lnTo>
                <a:lnTo>
                  <a:pt x="816" y="457"/>
                </a:lnTo>
                <a:lnTo>
                  <a:pt x="833" y="459"/>
                </a:lnTo>
                <a:lnTo>
                  <a:pt x="850" y="462"/>
                </a:lnTo>
                <a:lnTo>
                  <a:pt x="866" y="463"/>
                </a:lnTo>
                <a:lnTo>
                  <a:pt x="882" y="464"/>
                </a:lnTo>
                <a:lnTo>
                  <a:pt x="890" y="464"/>
                </a:lnTo>
                <a:lnTo>
                  <a:pt x="898" y="465"/>
                </a:lnTo>
                <a:lnTo>
                  <a:pt x="906" y="467"/>
                </a:lnTo>
                <a:lnTo>
                  <a:pt x="913" y="469"/>
                </a:lnTo>
                <a:lnTo>
                  <a:pt x="928" y="474"/>
                </a:lnTo>
                <a:lnTo>
                  <a:pt x="944" y="477"/>
                </a:lnTo>
                <a:lnTo>
                  <a:pt x="959" y="480"/>
                </a:lnTo>
                <a:lnTo>
                  <a:pt x="975" y="480"/>
                </a:lnTo>
                <a:lnTo>
                  <a:pt x="979" y="479"/>
                </a:lnTo>
                <a:lnTo>
                  <a:pt x="984" y="479"/>
                </a:lnTo>
                <a:lnTo>
                  <a:pt x="986" y="480"/>
                </a:lnTo>
                <a:lnTo>
                  <a:pt x="988" y="481"/>
                </a:lnTo>
                <a:lnTo>
                  <a:pt x="994" y="481"/>
                </a:lnTo>
                <a:lnTo>
                  <a:pt x="1000" y="480"/>
                </a:lnTo>
                <a:lnTo>
                  <a:pt x="1002" y="480"/>
                </a:lnTo>
                <a:lnTo>
                  <a:pt x="1004" y="480"/>
                </a:lnTo>
                <a:lnTo>
                  <a:pt x="1006" y="479"/>
                </a:lnTo>
                <a:lnTo>
                  <a:pt x="1006" y="476"/>
                </a:lnTo>
                <a:lnTo>
                  <a:pt x="1004" y="475"/>
                </a:lnTo>
                <a:lnTo>
                  <a:pt x="1001" y="474"/>
                </a:lnTo>
                <a:lnTo>
                  <a:pt x="996" y="474"/>
                </a:lnTo>
                <a:lnTo>
                  <a:pt x="993" y="474"/>
                </a:lnTo>
                <a:lnTo>
                  <a:pt x="980" y="472"/>
                </a:lnTo>
                <a:lnTo>
                  <a:pt x="968" y="467"/>
                </a:lnTo>
                <a:lnTo>
                  <a:pt x="963" y="467"/>
                </a:lnTo>
                <a:lnTo>
                  <a:pt x="957" y="465"/>
                </a:lnTo>
                <a:lnTo>
                  <a:pt x="955" y="460"/>
                </a:lnTo>
                <a:lnTo>
                  <a:pt x="954" y="455"/>
                </a:lnTo>
                <a:lnTo>
                  <a:pt x="951" y="451"/>
                </a:lnTo>
                <a:lnTo>
                  <a:pt x="946" y="450"/>
                </a:lnTo>
                <a:lnTo>
                  <a:pt x="942" y="450"/>
                </a:lnTo>
                <a:lnTo>
                  <a:pt x="937" y="450"/>
                </a:lnTo>
                <a:lnTo>
                  <a:pt x="929" y="450"/>
                </a:lnTo>
                <a:lnTo>
                  <a:pt x="922" y="449"/>
                </a:lnTo>
                <a:lnTo>
                  <a:pt x="914" y="448"/>
                </a:lnTo>
                <a:lnTo>
                  <a:pt x="907" y="447"/>
                </a:lnTo>
                <a:lnTo>
                  <a:pt x="903" y="449"/>
                </a:lnTo>
                <a:lnTo>
                  <a:pt x="899" y="450"/>
                </a:lnTo>
                <a:lnTo>
                  <a:pt x="896" y="452"/>
                </a:lnTo>
                <a:lnTo>
                  <a:pt x="891" y="451"/>
                </a:lnTo>
                <a:lnTo>
                  <a:pt x="887" y="446"/>
                </a:lnTo>
                <a:lnTo>
                  <a:pt x="882" y="440"/>
                </a:lnTo>
                <a:lnTo>
                  <a:pt x="880" y="440"/>
                </a:lnTo>
                <a:lnTo>
                  <a:pt x="877" y="440"/>
                </a:lnTo>
                <a:lnTo>
                  <a:pt x="873" y="440"/>
                </a:lnTo>
                <a:lnTo>
                  <a:pt x="870" y="439"/>
                </a:lnTo>
                <a:lnTo>
                  <a:pt x="869" y="440"/>
                </a:lnTo>
                <a:lnTo>
                  <a:pt x="868" y="441"/>
                </a:lnTo>
                <a:lnTo>
                  <a:pt x="868" y="442"/>
                </a:lnTo>
                <a:lnTo>
                  <a:pt x="866" y="443"/>
                </a:lnTo>
                <a:lnTo>
                  <a:pt x="868" y="444"/>
                </a:lnTo>
                <a:lnTo>
                  <a:pt x="868" y="447"/>
                </a:lnTo>
                <a:lnTo>
                  <a:pt x="864" y="448"/>
                </a:lnTo>
                <a:lnTo>
                  <a:pt x="860" y="447"/>
                </a:lnTo>
                <a:lnTo>
                  <a:pt x="845" y="444"/>
                </a:lnTo>
                <a:lnTo>
                  <a:pt x="830" y="441"/>
                </a:lnTo>
                <a:lnTo>
                  <a:pt x="823" y="440"/>
                </a:lnTo>
                <a:lnTo>
                  <a:pt x="817" y="438"/>
                </a:lnTo>
                <a:lnTo>
                  <a:pt x="815" y="435"/>
                </a:lnTo>
                <a:lnTo>
                  <a:pt x="814" y="434"/>
                </a:lnTo>
                <a:lnTo>
                  <a:pt x="814" y="432"/>
                </a:lnTo>
                <a:lnTo>
                  <a:pt x="816" y="431"/>
                </a:lnTo>
                <a:lnTo>
                  <a:pt x="821" y="431"/>
                </a:lnTo>
                <a:lnTo>
                  <a:pt x="825" y="432"/>
                </a:lnTo>
                <a:lnTo>
                  <a:pt x="827" y="432"/>
                </a:lnTo>
                <a:lnTo>
                  <a:pt x="829" y="431"/>
                </a:lnTo>
                <a:lnTo>
                  <a:pt x="831" y="430"/>
                </a:lnTo>
                <a:lnTo>
                  <a:pt x="832" y="427"/>
                </a:lnTo>
                <a:lnTo>
                  <a:pt x="833" y="425"/>
                </a:lnTo>
                <a:lnTo>
                  <a:pt x="835" y="423"/>
                </a:lnTo>
                <a:lnTo>
                  <a:pt x="836" y="422"/>
                </a:lnTo>
                <a:lnTo>
                  <a:pt x="839" y="422"/>
                </a:lnTo>
                <a:lnTo>
                  <a:pt x="843" y="422"/>
                </a:lnTo>
                <a:lnTo>
                  <a:pt x="845" y="422"/>
                </a:lnTo>
                <a:lnTo>
                  <a:pt x="846" y="422"/>
                </a:lnTo>
                <a:lnTo>
                  <a:pt x="848" y="419"/>
                </a:lnTo>
                <a:lnTo>
                  <a:pt x="837" y="417"/>
                </a:lnTo>
                <a:lnTo>
                  <a:pt x="827" y="415"/>
                </a:lnTo>
                <a:lnTo>
                  <a:pt x="815" y="413"/>
                </a:lnTo>
                <a:lnTo>
                  <a:pt x="804" y="408"/>
                </a:lnTo>
                <a:lnTo>
                  <a:pt x="812" y="407"/>
                </a:lnTo>
                <a:lnTo>
                  <a:pt x="820" y="406"/>
                </a:lnTo>
                <a:lnTo>
                  <a:pt x="821" y="405"/>
                </a:lnTo>
                <a:lnTo>
                  <a:pt x="823" y="404"/>
                </a:lnTo>
                <a:lnTo>
                  <a:pt x="825" y="404"/>
                </a:lnTo>
                <a:lnTo>
                  <a:pt x="828" y="404"/>
                </a:lnTo>
                <a:lnTo>
                  <a:pt x="835" y="404"/>
                </a:lnTo>
                <a:lnTo>
                  <a:pt x="840" y="405"/>
                </a:lnTo>
                <a:lnTo>
                  <a:pt x="852" y="407"/>
                </a:lnTo>
                <a:lnTo>
                  <a:pt x="862" y="410"/>
                </a:lnTo>
                <a:lnTo>
                  <a:pt x="873" y="413"/>
                </a:lnTo>
                <a:lnTo>
                  <a:pt x="883" y="415"/>
                </a:lnTo>
                <a:lnTo>
                  <a:pt x="895" y="417"/>
                </a:lnTo>
                <a:lnTo>
                  <a:pt x="906" y="418"/>
                </a:lnTo>
                <a:lnTo>
                  <a:pt x="918" y="419"/>
                </a:lnTo>
                <a:lnTo>
                  <a:pt x="929" y="422"/>
                </a:lnTo>
                <a:lnTo>
                  <a:pt x="942" y="424"/>
                </a:lnTo>
                <a:lnTo>
                  <a:pt x="954" y="425"/>
                </a:lnTo>
                <a:lnTo>
                  <a:pt x="967" y="427"/>
                </a:lnTo>
                <a:lnTo>
                  <a:pt x="979" y="427"/>
                </a:lnTo>
                <a:lnTo>
                  <a:pt x="1003" y="429"/>
                </a:lnTo>
                <a:lnTo>
                  <a:pt x="1028" y="432"/>
                </a:lnTo>
                <a:lnTo>
                  <a:pt x="1052" y="437"/>
                </a:lnTo>
                <a:lnTo>
                  <a:pt x="1077" y="440"/>
                </a:lnTo>
                <a:lnTo>
                  <a:pt x="1101" y="443"/>
                </a:lnTo>
                <a:lnTo>
                  <a:pt x="1125" y="446"/>
                </a:lnTo>
                <a:lnTo>
                  <a:pt x="1149" y="448"/>
                </a:lnTo>
                <a:lnTo>
                  <a:pt x="1174" y="450"/>
                </a:lnTo>
                <a:lnTo>
                  <a:pt x="1185" y="451"/>
                </a:lnTo>
                <a:lnTo>
                  <a:pt x="1198" y="454"/>
                </a:lnTo>
                <a:lnTo>
                  <a:pt x="1209" y="456"/>
                </a:lnTo>
                <a:lnTo>
                  <a:pt x="1222" y="458"/>
                </a:lnTo>
                <a:lnTo>
                  <a:pt x="1233" y="462"/>
                </a:lnTo>
                <a:lnTo>
                  <a:pt x="1244" y="463"/>
                </a:lnTo>
                <a:lnTo>
                  <a:pt x="1256" y="464"/>
                </a:lnTo>
                <a:lnTo>
                  <a:pt x="1267" y="465"/>
                </a:lnTo>
                <a:lnTo>
                  <a:pt x="1293" y="466"/>
                </a:lnTo>
                <a:lnTo>
                  <a:pt x="1318" y="467"/>
                </a:lnTo>
                <a:lnTo>
                  <a:pt x="1343" y="468"/>
                </a:lnTo>
                <a:lnTo>
                  <a:pt x="1368" y="468"/>
                </a:lnTo>
                <a:lnTo>
                  <a:pt x="1393" y="471"/>
                </a:lnTo>
                <a:lnTo>
                  <a:pt x="1418" y="474"/>
                </a:lnTo>
                <a:lnTo>
                  <a:pt x="1431" y="475"/>
                </a:lnTo>
                <a:lnTo>
                  <a:pt x="1443" y="475"/>
                </a:lnTo>
                <a:lnTo>
                  <a:pt x="1456" y="475"/>
                </a:lnTo>
                <a:lnTo>
                  <a:pt x="1467" y="474"/>
                </a:lnTo>
                <a:lnTo>
                  <a:pt x="1476" y="472"/>
                </a:lnTo>
                <a:lnTo>
                  <a:pt x="1487" y="471"/>
                </a:lnTo>
                <a:lnTo>
                  <a:pt x="1498" y="471"/>
                </a:lnTo>
                <a:lnTo>
                  <a:pt x="1509" y="469"/>
                </a:lnTo>
                <a:lnTo>
                  <a:pt x="1521" y="468"/>
                </a:lnTo>
                <a:lnTo>
                  <a:pt x="1532" y="467"/>
                </a:lnTo>
                <a:lnTo>
                  <a:pt x="1544" y="467"/>
                </a:lnTo>
                <a:lnTo>
                  <a:pt x="1555" y="466"/>
                </a:lnTo>
                <a:lnTo>
                  <a:pt x="1568" y="466"/>
                </a:lnTo>
                <a:lnTo>
                  <a:pt x="1580" y="467"/>
                </a:lnTo>
                <a:lnTo>
                  <a:pt x="1583" y="468"/>
                </a:lnTo>
                <a:lnTo>
                  <a:pt x="1588" y="468"/>
                </a:lnTo>
                <a:lnTo>
                  <a:pt x="1591" y="466"/>
                </a:lnTo>
                <a:lnTo>
                  <a:pt x="1594" y="463"/>
                </a:lnTo>
                <a:lnTo>
                  <a:pt x="1598" y="462"/>
                </a:lnTo>
                <a:lnTo>
                  <a:pt x="1602" y="462"/>
                </a:lnTo>
                <a:lnTo>
                  <a:pt x="1610" y="462"/>
                </a:lnTo>
                <a:lnTo>
                  <a:pt x="1616" y="462"/>
                </a:lnTo>
                <a:lnTo>
                  <a:pt x="1630" y="462"/>
                </a:lnTo>
                <a:lnTo>
                  <a:pt x="1645" y="462"/>
                </a:lnTo>
                <a:lnTo>
                  <a:pt x="1657" y="458"/>
                </a:lnTo>
                <a:lnTo>
                  <a:pt x="1669" y="456"/>
                </a:lnTo>
                <a:lnTo>
                  <a:pt x="1679" y="458"/>
                </a:lnTo>
                <a:lnTo>
                  <a:pt x="1689" y="459"/>
                </a:lnTo>
                <a:lnTo>
                  <a:pt x="1701" y="455"/>
                </a:lnTo>
                <a:lnTo>
                  <a:pt x="1712" y="451"/>
                </a:lnTo>
                <a:lnTo>
                  <a:pt x="1717" y="451"/>
                </a:lnTo>
                <a:lnTo>
                  <a:pt x="1723" y="451"/>
                </a:lnTo>
                <a:lnTo>
                  <a:pt x="1729" y="451"/>
                </a:lnTo>
                <a:lnTo>
                  <a:pt x="1731" y="449"/>
                </a:lnTo>
                <a:lnTo>
                  <a:pt x="1738" y="447"/>
                </a:lnTo>
                <a:lnTo>
                  <a:pt x="1744" y="442"/>
                </a:lnTo>
                <a:lnTo>
                  <a:pt x="1745" y="440"/>
                </a:lnTo>
                <a:lnTo>
                  <a:pt x="1747" y="439"/>
                </a:lnTo>
                <a:lnTo>
                  <a:pt x="1750" y="439"/>
                </a:lnTo>
                <a:lnTo>
                  <a:pt x="1752" y="439"/>
                </a:lnTo>
                <a:lnTo>
                  <a:pt x="1754" y="442"/>
                </a:lnTo>
                <a:lnTo>
                  <a:pt x="1754" y="444"/>
                </a:lnTo>
                <a:lnTo>
                  <a:pt x="1753" y="448"/>
                </a:lnTo>
                <a:lnTo>
                  <a:pt x="1751" y="450"/>
                </a:lnTo>
                <a:lnTo>
                  <a:pt x="1747" y="452"/>
                </a:lnTo>
                <a:lnTo>
                  <a:pt x="1745" y="454"/>
                </a:lnTo>
                <a:lnTo>
                  <a:pt x="1742" y="455"/>
                </a:lnTo>
                <a:lnTo>
                  <a:pt x="1737" y="455"/>
                </a:lnTo>
                <a:lnTo>
                  <a:pt x="1733" y="456"/>
                </a:lnTo>
                <a:lnTo>
                  <a:pt x="1728" y="458"/>
                </a:lnTo>
                <a:lnTo>
                  <a:pt x="1725" y="459"/>
                </a:lnTo>
                <a:lnTo>
                  <a:pt x="1721" y="459"/>
                </a:lnTo>
                <a:lnTo>
                  <a:pt x="1718" y="462"/>
                </a:lnTo>
                <a:lnTo>
                  <a:pt x="1714" y="463"/>
                </a:lnTo>
                <a:lnTo>
                  <a:pt x="1708" y="463"/>
                </a:lnTo>
                <a:lnTo>
                  <a:pt x="1700" y="464"/>
                </a:lnTo>
                <a:lnTo>
                  <a:pt x="1697" y="465"/>
                </a:lnTo>
                <a:lnTo>
                  <a:pt x="1694" y="466"/>
                </a:lnTo>
                <a:lnTo>
                  <a:pt x="1689" y="466"/>
                </a:lnTo>
                <a:lnTo>
                  <a:pt x="1686" y="468"/>
                </a:lnTo>
                <a:lnTo>
                  <a:pt x="1690" y="471"/>
                </a:lnTo>
                <a:lnTo>
                  <a:pt x="1695" y="474"/>
                </a:lnTo>
                <a:lnTo>
                  <a:pt x="1700" y="476"/>
                </a:lnTo>
                <a:lnTo>
                  <a:pt x="1705" y="476"/>
                </a:lnTo>
                <a:lnTo>
                  <a:pt x="1717" y="475"/>
                </a:lnTo>
                <a:lnTo>
                  <a:pt x="1728" y="473"/>
                </a:lnTo>
                <a:lnTo>
                  <a:pt x="1733" y="475"/>
                </a:lnTo>
                <a:lnTo>
                  <a:pt x="1738" y="476"/>
                </a:lnTo>
                <a:lnTo>
                  <a:pt x="1743" y="474"/>
                </a:lnTo>
                <a:lnTo>
                  <a:pt x="1746" y="471"/>
                </a:lnTo>
                <a:lnTo>
                  <a:pt x="1759" y="468"/>
                </a:lnTo>
                <a:lnTo>
                  <a:pt x="1771" y="467"/>
                </a:lnTo>
                <a:lnTo>
                  <a:pt x="1784" y="463"/>
                </a:lnTo>
                <a:lnTo>
                  <a:pt x="1796" y="458"/>
                </a:lnTo>
                <a:lnTo>
                  <a:pt x="1802" y="456"/>
                </a:lnTo>
                <a:lnTo>
                  <a:pt x="1808" y="454"/>
                </a:lnTo>
                <a:lnTo>
                  <a:pt x="1813" y="452"/>
                </a:lnTo>
                <a:lnTo>
                  <a:pt x="1819" y="454"/>
                </a:lnTo>
                <a:lnTo>
                  <a:pt x="1826" y="452"/>
                </a:lnTo>
                <a:lnTo>
                  <a:pt x="1832" y="451"/>
                </a:lnTo>
                <a:lnTo>
                  <a:pt x="1837" y="450"/>
                </a:lnTo>
                <a:lnTo>
                  <a:pt x="1843" y="448"/>
                </a:lnTo>
                <a:lnTo>
                  <a:pt x="1855" y="443"/>
                </a:lnTo>
                <a:lnTo>
                  <a:pt x="1867" y="440"/>
                </a:lnTo>
                <a:lnTo>
                  <a:pt x="1862" y="437"/>
                </a:lnTo>
                <a:lnTo>
                  <a:pt x="1857" y="433"/>
                </a:lnTo>
                <a:lnTo>
                  <a:pt x="1859" y="432"/>
                </a:lnTo>
                <a:lnTo>
                  <a:pt x="1861" y="430"/>
                </a:lnTo>
                <a:lnTo>
                  <a:pt x="1862" y="426"/>
                </a:lnTo>
                <a:lnTo>
                  <a:pt x="1866" y="424"/>
                </a:lnTo>
                <a:lnTo>
                  <a:pt x="1869" y="424"/>
                </a:lnTo>
                <a:lnTo>
                  <a:pt x="1873" y="425"/>
                </a:lnTo>
                <a:lnTo>
                  <a:pt x="1877" y="427"/>
                </a:lnTo>
                <a:lnTo>
                  <a:pt x="1879" y="430"/>
                </a:lnTo>
                <a:lnTo>
                  <a:pt x="1884" y="432"/>
                </a:lnTo>
                <a:lnTo>
                  <a:pt x="1887" y="434"/>
                </a:lnTo>
                <a:lnTo>
                  <a:pt x="1888" y="434"/>
                </a:lnTo>
                <a:lnTo>
                  <a:pt x="1891" y="434"/>
                </a:lnTo>
                <a:lnTo>
                  <a:pt x="1891" y="432"/>
                </a:lnTo>
                <a:lnTo>
                  <a:pt x="1892" y="430"/>
                </a:lnTo>
                <a:lnTo>
                  <a:pt x="1892" y="425"/>
                </a:lnTo>
                <a:lnTo>
                  <a:pt x="1893" y="422"/>
                </a:lnTo>
                <a:lnTo>
                  <a:pt x="1895" y="418"/>
                </a:lnTo>
                <a:lnTo>
                  <a:pt x="1899" y="415"/>
                </a:lnTo>
                <a:lnTo>
                  <a:pt x="1909" y="410"/>
                </a:lnTo>
                <a:lnTo>
                  <a:pt x="1919" y="408"/>
                </a:lnTo>
                <a:lnTo>
                  <a:pt x="1931" y="405"/>
                </a:lnTo>
                <a:lnTo>
                  <a:pt x="1941" y="401"/>
                </a:lnTo>
                <a:lnTo>
                  <a:pt x="1957" y="391"/>
                </a:lnTo>
                <a:lnTo>
                  <a:pt x="1973" y="381"/>
                </a:lnTo>
                <a:lnTo>
                  <a:pt x="1969" y="380"/>
                </a:lnTo>
                <a:lnTo>
                  <a:pt x="1966" y="380"/>
                </a:lnTo>
                <a:lnTo>
                  <a:pt x="1962" y="380"/>
                </a:lnTo>
                <a:lnTo>
                  <a:pt x="1959" y="381"/>
                </a:lnTo>
                <a:lnTo>
                  <a:pt x="1950" y="381"/>
                </a:lnTo>
                <a:lnTo>
                  <a:pt x="1941" y="381"/>
                </a:lnTo>
                <a:lnTo>
                  <a:pt x="1932" y="381"/>
                </a:lnTo>
                <a:lnTo>
                  <a:pt x="1923" y="382"/>
                </a:lnTo>
                <a:lnTo>
                  <a:pt x="1924" y="388"/>
                </a:lnTo>
                <a:lnTo>
                  <a:pt x="1927" y="392"/>
                </a:lnTo>
                <a:lnTo>
                  <a:pt x="1926" y="394"/>
                </a:lnTo>
                <a:lnTo>
                  <a:pt x="1926" y="396"/>
                </a:lnTo>
                <a:lnTo>
                  <a:pt x="1925" y="397"/>
                </a:lnTo>
                <a:lnTo>
                  <a:pt x="1924" y="397"/>
                </a:lnTo>
                <a:lnTo>
                  <a:pt x="1920" y="397"/>
                </a:lnTo>
                <a:lnTo>
                  <a:pt x="1918" y="396"/>
                </a:lnTo>
                <a:lnTo>
                  <a:pt x="1915" y="394"/>
                </a:lnTo>
                <a:lnTo>
                  <a:pt x="1911" y="393"/>
                </a:lnTo>
                <a:lnTo>
                  <a:pt x="1910" y="393"/>
                </a:lnTo>
                <a:lnTo>
                  <a:pt x="1909" y="393"/>
                </a:lnTo>
                <a:lnTo>
                  <a:pt x="1909" y="394"/>
                </a:lnTo>
                <a:lnTo>
                  <a:pt x="1909" y="397"/>
                </a:lnTo>
                <a:lnTo>
                  <a:pt x="1911" y="398"/>
                </a:lnTo>
                <a:lnTo>
                  <a:pt x="1914" y="400"/>
                </a:lnTo>
                <a:lnTo>
                  <a:pt x="1914" y="401"/>
                </a:lnTo>
                <a:lnTo>
                  <a:pt x="1915" y="402"/>
                </a:lnTo>
                <a:lnTo>
                  <a:pt x="1914" y="404"/>
                </a:lnTo>
                <a:lnTo>
                  <a:pt x="1912" y="405"/>
                </a:lnTo>
                <a:lnTo>
                  <a:pt x="1910" y="405"/>
                </a:lnTo>
                <a:lnTo>
                  <a:pt x="1908" y="404"/>
                </a:lnTo>
                <a:lnTo>
                  <a:pt x="1903" y="401"/>
                </a:lnTo>
                <a:lnTo>
                  <a:pt x="1899" y="401"/>
                </a:lnTo>
                <a:lnTo>
                  <a:pt x="1894" y="402"/>
                </a:lnTo>
                <a:lnTo>
                  <a:pt x="1891" y="402"/>
                </a:lnTo>
                <a:lnTo>
                  <a:pt x="1887" y="402"/>
                </a:lnTo>
                <a:lnTo>
                  <a:pt x="1884" y="401"/>
                </a:lnTo>
                <a:lnTo>
                  <a:pt x="1880" y="399"/>
                </a:lnTo>
                <a:lnTo>
                  <a:pt x="1877" y="399"/>
                </a:lnTo>
                <a:lnTo>
                  <a:pt x="1873" y="399"/>
                </a:lnTo>
                <a:lnTo>
                  <a:pt x="1869" y="400"/>
                </a:lnTo>
                <a:lnTo>
                  <a:pt x="1863" y="405"/>
                </a:lnTo>
                <a:lnTo>
                  <a:pt x="1859" y="409"/>
                </a:lnTo>
                <a:lnTo>
                  <a:pt x="1853" y="414"/>
                </a:lnTo>
                <a:lnTo>
                  <a:pt x="1846" y="416"/>
                </a:lnTo>
                <a:lnTo>
                  <a:pt x="1840" y="416"/>
                </a:lnTo>
                <a:lnTo>
                  <a:pt x="1833" y="415"/>
                </a:lnTo>
                <a:lnTo>
                  <a:pt x="1830" y="415"/>
                </a:lnTo>
                <a:lnTo>
                  <a:pt x="1829" y="416"/>
                </a:lnTo>
                <a:lnTo>
                  <a:pt x="1828" y="418"/>
                </a:lnTo>
                <a:lnTo>
                  <a:pt x="1826" y="421"/>
                </a:lnTo>
                <a:lnTo>
                  <a:pt x="1825" y="422"/>
                </a:lnTo>
                <a:lnTo>
                  <a:pt x="1822" y="423"/>
                </a:lnTo>
                <a:lnTo>
                  <a:pt x="1820" y="424"/>
                </a:lnTo>
                <a:lnTo>
                  <a:pt x="1817" y="424"/>
                </a:lnTo>
                <a:lnTo>
                  <a:pt x="1814" y="424"/>
                </a:lnTo>
                <a:lnTo>
                  <a:pt x="1813" y="424"/>
                </a:lnTo>
                <a:lnTo>
                  <a:pt x="1813" y="422"/>
                </a:lnTo>
                <a:lnTo>
                  <a:pt x="1812" y="419"/>
                </a:lnTo>
                <a:lnTo>
                  <a:pt x="1811" y="417"/>
                </a:lnTo>
                <a:lnTo>
                  <a:pt x="1810" y="416"/>
                </a:lnTo>
                <a:lnTo>
                  <a:pt x="1809" y="415"/>
                </a:lnTo>
                <a:lnTo>
                  <a:pt x="1808" y="415"/>
                </a:lnTo>
                <a:lnTo>
                  <a:pt x="1804" y="416"/>
                </a:lnTo>
                <a:lnTo>
                  <a:pt x="1800" y="417"/>
                </a:lnTo>
                <a:lnTo>
                  <a:pt x="1791" y="419"/>
                </a:lnTo>
                <a:lnTo>
                  <a:pt x="1781" y="422"/>
                </a:lnTo>
                <a:lnTo>
                  <a:pt x="1772" y="423"/>
                </a:lnTo>
                <a:lnTo>
                  <a:pt x="1763" y="424"/>
                </a:lnTo>
                <a:lnTo>
                  <a:pt x="1754" y="426"/>
                </a:lnTo>
                <a:lnTo>
                  <a:pt x="1744" y="427"/>
                </a:lnTo>
                <a:lnTo>
                  <a:pt x="1737" y="429"/>
                </a:lnTo>
                <a:lnTo>
                  <a:pt x="1731" y="430"/>
                </a:lnTo>
                <a:lnTo>
                  <a:pt x="1728" y="431"/>
                </a:lnTo>
                <a:lnTo>
                  <a:pt x="1725" y="433"/>
                </a:lnTo>
                <a:lnTo>
                  <a:pt x="1721" y="433"/>
                </a:lnTo>
                <a:lnTo>
                  <a:pt x="1717" y="433"/>
                </a:lnTo>
                <a:lnTo>
                  <a:pt x="1709" y="435"/>
                </a:lnTo>
                <a:lnTo>
                  <a:pt x="1701" y="438"/>
                </a:lnTo>
                <a:lnTo>
                  <a:pt x="1693" y="439"/>
                </a:lnTo>
                <a:lnTo>
                  <a:pt x="1685" y="440"/>
                </a:lnTo>
                <a:lnTo>
                  <a:pt x="1676" y="440"/>
                </a:lnTo>
                <a:lnTo>
                  <a:pt x="1667" y="442"/>
                </a:lnTo>
                <a:lnTo>
                  <a:pt x="1657" y="444"/>
                </a:lnTo>
                <a:lnTo>
                  <a:pt x="1648" y="446"/>
                </a:lnTo>
                <a:lnTo>
                  <a:pt x="1638" y="446"/>
                </a:lnTo>
                <a:lnTo>
                  <a:pt x="1629" y="447"/>
                </a:lnTo>
                <a:lnTo>
                  <a:pt x="1611" y="449"/>
                </a:lnTo>
                <a:lnTo>
                  <a:pt x="1593" y="452"/>
                </a:lnTo>
                <a:lnTo>
                  <a:pt x="1583" y="454"/>
                </a:lnTo>
                <a:lnTo>
                  <a:pt x="1574" y="455"/>
                </a:lnTo>
                <a:lnTo>
                  <a:pt x="1565" y="455"/>
                </a:lnTo>
                <a:lnTo>
                  <a:pt x="1556" y="454"/>
                </a:lnTo>
                <a:lnTo>
                  <a:pt x="1547" y="450"/>
                </a:lnTo>
                <a:lnTo>
                  <a:pt x="1537" y="448"/>
                </a:lnTo>
                <a:lnTo>
                  <a:pt x="1529" y="451"/>
                </a:lnTo>
                <a:lnTo>
                  <a:pt x="1522" y="456"/>
                </a:lnTo>
                <a:lnTo>
                  <a:pt x="1512" y="459"/>
                </a:lnTo>
                <a:lnTo>
                  <a:pt x="1502" y="460"/>
                </a:lnTo>
                <a:lnTo>
                  <a:pt x="1491" y="460"/>
                </a:lnTo>
                <a:lnTo>
                  <a:pt x="1481" y="460"/>
                </a:lnTo>
                <a:lnTo>
                  <a:pt x="1457" y="459"/>
                </a:lnTo>
                <a:lnTo>
                  <a:pt x="1434" y="459"/>
                </a:lnTo>
                <a:lnTo>
                  <a:pt x="1410" y="458"/>
                </a:lnTo>
                <a:lnTo>
                  <a:pt x="1388" y="457"/>
                </a:lnTo>
                <a:lnTo>
                  <a:pt x="1388" y="455"/>
                </a:lnTo>
                <a:lnTo>
                  <a:pt x="1389" y="452"/>
                </a:lnTo>
                <a:lnTo>
                  <a:pt x="1388" y="451"/>
                </a:lnTo>
                <a:lnTo>
                  <a:pt x="1387" y="451"/>
                </a:lnTo>
                <a:lnTo>
                  <a:pt x="1383" y="450"/>
                </a:lnTo>
                <a:lnTo>
                  <a:pt x="1380" y="450"/>
                </a:lnTo>
                <a:lnTo>
                  <a:pt x="1365" y="451"/>
                </a:lnTo>
                <a:lnTo>
                  <a:pt x="1351" y="451"/>
                </a:lnTo>
                <a:lnTo>
                  <a:pt x="1338" y="451"/>
                </a:lnTo>
                <a:lnTo>
                  <a:pt x="1324" y="450"/>
                </a:lnTo>
                <a:lnTo>
                  <a:pt x="1310" y="447"/>
                </a:lnTo>
                <a:lnTo>
                  <a:pt x="1297" y="444"/>
                </a:lnTo>
                <a:lnTo>
                  <a:pt x="1285" y="444"/>
                </a:lnTo>
                <a:lnTo>
                  <a:pt x="1274" y="444"/>
                </a:lnTo>
                <a:lnTo>
                  <a:pt x="1267" y="444"/>
                </a:lnTo>
                <a:lnTo>
                  <a:pt x="1260" y="444"/>
                </a:lnTo>
                <a:lnTo>
                  <a:pt x="1257" y="446"/>
                </a:lnTo>
                <a:lnTo>
                  <a:pt x="1252" y="448"/>
                </a:lnTo>
                <a:lnTo>
                  <a:pt x="1249" y="450"/>
                </a:lnTo>
                <a:lnTo>
                  <a:pt x="1244" y="451"/>
                </a:lnTo>
                <a:lnTo>
                  <a:pt x="1240" y="451"/>
                </a:lnTo>
                <a:lnTo>
                  <a:pt x="1235" y="450"/>
                </a:lnTo>
                <a:lnTo>
                  <a:pt x="1233" y="451"/>
                </a:lnTo>
                <a:lnTo>
                  <a:pt x="1229" y="450"/>
                </a:lnTo>
                <a:lnTo>
                  <a:pt x="1228" y="449"/>
                </a:lnTo>
                <a:lnTo>
                  <a:pt x="1228" y="448"/>
                </a:lnTo>
                <a:lnTo>
                  <a:pt x="1229" y="446"/>
                </a:lnTo>
                <a:lnTo>
                  <a:pt x="1231" y="444"/>
                </a:lnTo>
                <a:lnTo>
                  <a:pt x="1236" y="444"/>
                </a:lnTo>
                <a:lnTo>
                  <a:pt x="1241" y="443"/>
                </a:lnTo>
                <a:lnTo>
                  <a:pt x="1241" y="441"/>
                </a:lnTo>
                <a:lnTo>
                  <a:pt x="1240" y="440"/>
                </a:lnTo>
                <a:lnTo>
                  <a:pt x="1237" y="440"/>
                </a:lnTo>
                <a:lnTo>
                  <a:pt x="1235" y="439"/>
                </a:lnTo>
                <a:lnTo>
                  <a:pt x="1228" y="439"/>
                </a:lnTo>
                <a:lnTo>
                  <a:pt x="1225" y="439"/>
                </a:lnTo>
                <a:lnTo>
                  <a:pt x="1212" y="438"/>
                </a:lnTo>
                <a:lnTo>
                  <a:pt x="1199" y="437"/>
                </a:lnTo>
                <a:lnTo>
                  <a:pt x="1192" y="435"/>
                </a:lnTo>
                <a:lnTo>
                  <a:pt x="1185" y="434"/>
                </a:lnTo>
                <a:lnTo>
                  <a:pt x="1182" y="434"/>
                </a:lnTo>
                <a:lnTo>
                  <a:pt x="1179" y="434"/>
                </a:lnTo>
                <a:lnTo>
                  <a:pt x="1176" y="433"/>
                </a:lnTo>
                <a:lnTo>
                  <a:pt x="1175" y="431"/>
                </a:lnTo>
                <a:lnTo>
                  <a:pt x="1173" y="427"/>
                </a:lnTo>
                <a:lnTo>
                  <a:pt x="1173" y="424"/>
                </a:lnTo>
                <a:lnTo>
                  <a:pt x="1174" y="421"/>
                </a:lnTo>
                <a:lnTo>
                  <a:pt x="1174" y="417"/>
                </a:lnTo>
                <a:lnTo>
                  <a:pt x="1169" y="415"/>
                </a:lnTo>
                <a:lnTo>
                  <a:pt x="1165" y="414"/>
                </a:lnTo>
                <a:lnTo>
                  <a:pt x="1162" y="414"/>
                </a:lnTo>
                <a:lnTo>
                  <a:pt x="1161" y="414"/>
                </a:lnTo>
                <a:lnTo>
                  <a:pt x="1161" y="415"/>
                </a:lnTo>
                <a:lnTo>
                  <a:pt x="1161" y="417"/>
                </a:lnTo>
                <a:lnTo>
                  <a:pt x="1160" y="419"/>
                </a:lnTo>
                <a:lnTo>
                  <a:pt x="1159" y="421"/>
                </a:lnTo>
                <a:lnTo>
                  <a:pt x="1158" y="421"/>
                </a:lnTo>
                <a:lnTo>
                  <a:pt x="1156" y="422"/>
                </a:lnTo>
                <a:lnTo>
                  <a:pt x="1151" y="421"/>
                </a:lnTo>
                <a:lnTo>
                  <a:pt x="1146" y="421"/>
                </a:lnTo>
                <a:lnTo>
                  <a:pt x="1142" y="421"/>
                </a:lnTo>
                <a:lnTo>
                  <a:pt x="1137" y="421"/>
                </a:lnTo>
                <a:lnTo>
                  <a:pt x="1133" y="419"/>
                </a:lnTo>
                <a:lnTo>
                  <a:pt x="1128" y="417"/>
                </a:lnTo>
                <a:lnTo>
                  <a:pt x="1125" y="414"/>
                </a:lnTo>
                <a:lnTo>
                  <a:pt x="1120" y="411"/>
                </a:lnTo>
                <a:lnTo>
                  <a:pt x="1115" y="410"/>
                </a:lnTo>
                <a:lnTo>
                  <a:pt x="1109" y="411"/>
                </a:lnTo>
                <a:lnTo>
                  <a:pt x="1096" y="410"/>
                </a:lnTo>
                <a:lnTo>
                  <a:pt x="1084" y="408"/>
                </a:lnTo>
                <a:lnTo>
                  <a:pt x="1070" y="406"/>
                </a:lnTo>
                <a:lnTo>
                  <a:pt x="1058" y="405"/>
                </a:lnTo>
                <a:lnTo>
                  <a:pt x="1045" y="405"/>
                </a:lnTo>
                <a:lnTo>
                  <a:pt x="1033" y="406"/>
                </a:lnTo>
                <a:lnTo>
                  <a:pt x="1019" y="406"/>
                </a:lnTo>
                <a:lnTo>
                  <a:pt x="1006" y="405"/>
                </a:lnTo>
                <a:lnTo>
                  <a:pt x="993" y="402"/>
                </a:lnTo>
                <a:lnTo>
                  <a:pt x="980" y="399"/>
                </a:lnTo>
                <a:lnTo>
                  <a:pt x="975" y="399"/>
                </a:lnTo>
                <a:lnTo>
                  <a:pt x="970" y="398"/>
                </a:lnTo>
                <a:lnTo>
                  <a:pt x="968" y="394"/>
                </a:lnTo>
                <a:lnTo>
                  <a:pt x="964" y="391"/>
                </a:lnTo>
                <a:lnTo>
                  <a:pt x="959" y="391"/>
                </a:lnTo>
                <a:lnTo>
                  <a:pt x="952" y="392"/>
                </a:lnTo>
                <a:lnTo>
                  <a:pt x="947" y="392"/>
                </a:lnTo>
                <a:lnTo>
                  <a:pt x="943" y="391"/>
                </a:lnTo>
                <a:lnTo>
                  <a:pt x="939" y="389"/>
                </a:lnTo>
                <a:lnTo>
                  <a:pt x="937" y="385"/>
                </a:lnTo>
                <a:lnTo>
                  <a:pt x="934" y="382"/>
                </a:lnTo>
                <a:lnTo>
                  <a:pt x="930" y="379"/>
                </a:lnTo>
                <a:lnTo>
                  <a:pt x="926" y="376"/>
                </a:lnTo>
                <a:lnTo>
                  <a:pt x="922" y="375"/>
                </a:lnTo>
                <a:lnTo>
                  <a:pt x="912" y="373"/>
                </a:lnTo>
                <a:lnTo>
                  <a:pt x="903" y="372"/>
                </a:lnTo>
                <a:lnTo>
                  <a:pt x="893" y="368"/>
                </a:lnTo>
                <a:lnTo>
                  <a:pt x="882" y="364"/>
                </a:lnTo>
                <a:lnTo>
                  <a:pt x="874" y="358"/>
                </a:lnTo>
                <a:lnTo>
                  <a:pt x="865" y="355"/>
                </a:lnTo>
                <a:lnTo>
                  <a:pt x="860" y="356"/>
                </a:lnTo>
                <a:lnTo>
                  <a:pt x="856" y="358"/>
                </a:lnTo>
                <a:lnTo>
                  <a:pt x="849" y="358"/>
                </a:lnTo>
                <a:lnTo>
                  <a:pt x="844" y="358"/>
                </a:lnTo>
                <a:lnTo>
                  <a:pt x="830" y="357"/>
                </a:lnTo>
                <a:lnTo>
                  <a:pt x="815" y="357"/>
                </a:lnTo>
                <a:lnTo>
                  <a:pt x="802" y="357"/>
                </a:lnTo>
                <a:lnTo>
                  <a:pt x="787" y="357"/>
                </a:lnTo>
                <a:lnTo>
                  <a:pt x="773" y="357"/>
                </a:lnTo>
                <a:lnTo>
                  <a:pt x="758" y="357"/>
                </a:lnTo>
                <a:lnTo>
                  <a:pt x="754" y="357"/>
                </a:lnTo>
                <a:lnTo>
                  <a:pt x="750" y="356"/>
                </a:lnTo>
                <a:lnTo>
                  <a:pt x="747" y="352"/>
                </a:lnTo>
                <a:lnTo>
                  <a:pt x="744" y="349"/>
                </a:lnTo>
                <a:lnTo>
                  <a:pt x="741" y="346"/>
                </a:lnTo>
                <a:lnTo>
                  <a:pt x="738" y="342"/>
                </a:lnTo>
                <a:lnTo>
                  <a:pt x="737" y="341"/>
                </a:lnTo>
                <a:lnTo>
                  <a:pt x="734" y="340"/>
                </a:lnTo>
                <a:lnTo>
                  <a:pt x="732" y="341"/>
                </a:lnTo>
                <a:lnTo>
                  <a:pt x="730" y="341"/>
                </a:lnTo>
                <a:lnTo>
                  <a:pt x="726" y="344"/>
                </a:lnTo>
                <a:lnTo>
                  <a:pt x="722" y="348"/>
                </a:lnTo>
                <a:lnTo>
                  <a:pt x="717" y="347"/>
                </a:lnTo>
                <a:lnTo>
                  <a:pt x="713" y="344"/>
                </a:lnTo>
                <a:lnTo>
                  <a:pt x="713" y="340"/>
                </a:lnTo>
                <a:lnTo>
                  <a:pt x="713" y="335"/>
                </a:lnTo>
                <a:lnTo>
                  <a:pt x="708" y="332"/>
                </a:lnTo>
                <a:lnTo>
                  <a:pt x="703" y="330"/>
                </a:lnTo>
                <a:lnTo>
                  <a:pt x="689" y="327"/>
                </a:lnTo>
                <a:lnTo>
                  <a:pt x="676" y="325"/>
                </a:lnTo>
                <a:lnTo>
                  <a:pt x="664" y="322"/>
                </a:lnTo>
                <a:lnTo>
                  <a:pt x="650" y="319"/>
                </a:lnTo>
                <a:lnTo>
                  <a:pt x="655" y="317"/>
                </a:lnTo>
                <a:lnTo>
                  <a:pt x="659" y="316"/>
                </a:lnTo>
                <a:lnTo>
                  <a:pt x="664" y="317"/>
                </a:lnTo>
                <a:lnTo>
                  <a:pt x="668" y="317"/>
                </a:lnTo>
                <a:lnTo>
                  <a:pt x="673" y="318"/>
                </a:lnTo>
                <a:lnTo>
                  <a:pt x="677" y="319"/>
                </a:lnTo>
                <a:lnTo>
                  <a:pt x="681" y="318"/>
                </a:lnTo>
                <a:lnTo>
                  <a:pt x="685" y="316"/>
                </a:lnTo>
                <a:lnTo>
                  <a:pt x="680" y="315"/>
                </a:lnTo>
                <a:lnTo>
                  <a:pt x="671" y="313"/>
                </a:lnTo>
                <a:lnTo>
                  <a:pt x="667" y="310"/>
                </a:lnTo>
                <a:lnTo>
                  <a:pt x="665" y="309"/>
                </a:lnTo>
                <a:lnTo>
                  <a:pt x="664" y="307"/>
                </a:lnTo>
                <a:lnTo>
                  <a:pt x="665" y="306"/>
                </a:lnTo>
                <a:lnTo>
                  <a:pt x="667" y="305"/>
                </a:lnTo>
                <a:lnTo>
                  <a:pt x="671" y="303"/>
                </a:lnTo>
                <a:lnTo>
                  <a:pt x="674" y="303"/>
                </a:lnTo>
                <a:lnTo>
                  <a:pt x="676" y="305"/>
                </a:lnTo>
                <a:lnTo>
                  <a:pt x="683" y="306"/>
                </a:lnTo>
                <a:lnTo>
                  <a:pt x="688" y="308"/>
                </a:lnTo>
                <a:lnTo>
                  <a:pt x="693" y="310"/>
                </a:lnTo>
                <a:lnTo>
                  <a:pt x="698" y="313"/>
                </a:lnTo>
                <a:lnTo>
                  <a:pt x="704" y="313"/>
                </a:lnTo>
                <a:lnTo>
                  <a:pt x="708" y="313"/>
                </a:lnTo>
                <a:lnTo>
                  <a:pt x="711" y="315"/>
                </a:lnTo>
                <a:lnTo>
                  <a:pt x="714" y="317"/>
                </a:lnTo>
                <a:lnTo>
                  <a:pt x="721" y="318"/>
                </a:lnTo>
                <a:lnTo>
                  <a:pt x="729" y="319"/>
                </a:lnTo>
                <a:lnTo>
                  <a:pt x="745" y="322"/>
                </a:lnTo>
                <a:lnTo>
                  <a:pt x="762" y="324"/>
                </a:lnTo>
                <a:lnTo>
                  <a:pt x="771" y="327"/>
                </a:lnTo>
                <a:lnTo>
                  <a:pt x="779" y="330"/>
                </a:lnTo>
                <a:lnTo>
                  <a:pt x="788" y="332"/>
                </a:lnTo>
                <a:lnTo>
                  <a:pt x="797" y="333"/>
                </a:lnTo>
                <a:lnTo>
                  <a:pt x="813" y="335"/>
                </a:lnTo>
                <a:lnTo>
                  <a:pt x="830" y="334"/>
                </a:lnTo>
                <a:lnTo>
                  <a:pt x="837" y="333"/>
                </a:lnTo>
                <a:lnTo>
                  <a:pt x="843" y="333"/>
                </a:lnTo>
                <a:lnTo>
                  <a:pt x="847" y="338"/>
                </a:lnTo>
                <a:lnTo>
                  <a:pt x="853" y="341"/>
                </a:lnTo>
                <a:lnTo>
                  <a:pt x="861" y="343"/>
                </a:lnTo>
                <a:lnTo>
                  <a:pt x="868" y="346"/>
                </a:lnTo>
                <a:lnTo>
                  <a:pt x="876" y="346"/>
                </a:lnTo>
                <a:lnTo>
                  <a:pt x="882" y="347"/>
                </a:lnTo>
                <a:lnTo>
                  <a:pt x="899" y="349"/>
                </a:lnTo>
                <a:lnTo>
                  <a:pt x="917" y="351"/>
                </a:lnTo>
                <a:lnTo>
                  <a:pt x="923" y="352"/>
                </a:lnTo>
                <a:lnTo>
                  <a:pt x="930" y="352"/>
                </a:lnTo>
                <a:lnTo>
                  <a:pt x="937" y="355"/>
                </a:lnTo>
                <a:lnTo>
                  <a:pt x="944" y="356"/>
                </a:lnTo>
                <a:lnTo>
                  <a:pt x="961" y="358"/>
                </a:lnTo>
                <a:lnTo>
                  <a:pt x="978" y="358"/>
                </a:lnTo>
                <a:lnTo>
                  <a:pt x="985" y="356"/>
                </a:lnTo>
                <a:lnTo>
                  <a:pt x="992" y="354"/>
                </a:lnTo>
                <a:lnTo>
                  <a:pt x="995" y="352"/>
                </a:lnTo>
                <a:lnTo>
                  <a:pt x="998" y="351"/>
                </a:lnTo>
                <a:lnTo>
                  <a:pt x="1002" y="352"/>
                </a:lnTo>
                <a:lnTo>
                  <a:pt x="1006" y="352"/>
                </a:lnTo>
                <a:lnTo>
                  <a:pt x="1012" y="357"/>
                </a:lnTo>
                <a:lnTo>
                  <a:pt x="1019" y="360"/>
                </a:lnTo>
                <a:lnTo>
                  <a:pt x="1026" y="364"/>
                </a:lnTo>
                <a:lnTo>
                  <a:pt x="1033" y="366"/>
                </a:lnTo>
                <a:lnTo>
                  <a:pt x="1039" y="366"/>
                </a:lnTo>
                <a:lnTo>
                  <a:pt x="1045" y="365"/>
                </a:lnTo>
                <a:lnTo>
                  <a:pt x="1050" y="364"/>
                </a:lnTo>
                <a:lnTo>
                  <a:pt x="1053" y="363"/>
                </a:lnTo>
                <a:lnTo>
                  <a:pt x="1056" y="364"/>
                </a:lnTo>
                <a:lnTo>
                  <a:pt x="1060" y="364"/>
                </a:lnTo>
                <a:lnTo>
                  <a:pt x="1066" y="361"/>
                </a:lnTo>
                <a:lnTo>
                  <a:pt x="1070" y="359"/>
                </a:lnTo>
                <a:lnTo>
                  <a:pt x="1072" y="358"/>
                </a:lnTo>
                <a:lnTo>
                  <a:pt x="1075" y="357"/>
                </a:lnTo>
                <a:lnTo>
                  <a:pt x="1078" y="358"/>
                </a:lnTo>
                <a:lnTo>
                  <a:pt x="1082" y="360"/>
                </a:lnTo>
                <a:lnTo>
                  <a:pt x="1084" y="364"/>
                </a:lnTo>
                <a:lnTo>
                  <a:pt x="1087" y="367"/>
                </a:lnTo>
                <a:lnTo>
                  <a:pt x="1093" y="368"/>
                </a:lnTo>
                <a:lnTo>
                  <a:pt x="1099" y="368"/>
                </a:lnTo>
                <a:lnTo>
                  <a:pt x="1104" y="368"/>
                </a:lnTo>
                <a:lnTo>
                  <a:pt x="1110" y="371"/>
                </a:lnTo>
                <a:lnTo>
                  <a:pt x="1113" y="373"/>
                </a:lnTo>
                <a:lnTo>
                  <a:pt x="1118" y="377"/>
                </a:lnTo>
                <a:lnTo>
                  <a:pt x="1120" y="379"/>
                </a:lnTo>
                <a:lnTo>
                  <a:pt x="1123" y="380"/>
                </a:lnTo>
                <a:lnTo>
                  <a:pt x="1125" y="381"/>
                </a:lnTo>
                <a:lnTo>
                  <a:pt x="1127" y="381"/>
                </a:lnTo>
                <a:lnTo>
                  <a:pt x="1137" y="382"/>
                </a:lnTo>
                <a:lnTo>
                  <a:pt x="1146" y="382"/>
                </a:lnTo>
                <a:lnTo>
                  <a:pt x="1156" y="383"/>
                </a:lnTo>
                <a:lnTo>
                  <a:pt x="1166" y="384"/>
                </a:lnTo>
                <a:lnTo>
                  <a:pt x="1175" y="385"/>
                </a:lnTo>
                <a:lnTo>
                  <a:pt x="1184" y="386"/>
                </a:lnTo>
                <a:lnTo>
                  <a:pt x="1220" y="390"/>
                </a:lnTo>
                <a:lnTo>
                  <a:pt x="1257" y="393"/>
                </a:lnTo>
                <a:lnTo>
                  <a:pt x="1294" y="397"/>
                </a:lnTo>
                <a:lnTo>
                  <a:pt x="1331" y="398"/>
                </a:lnTo>
                <a:lnTo>
                  <a:pt x="1339" y="399"/>
                </a:lnTo>
                <a:lnTo>
                  <a:pt x="1348" y="399"/>
                </a:lnTo>
                <a:lnTo>
                  <a:pt x="1357" y="399"/>
                </a:lnTo>
                <a:lnTo>
                  <a:pt x="1366" y="399"/>
                </a:lnTo>
                <a:lnTo>
                  <a:pt x="1374" y="399"/>
                </a:lnTo>
                <a:lnTo>
                  <a:pt x="1383" y="398"/>
                </a:lnTo>
                <a:lnTo>
                  <a:pt x="1392" y="398"/>
                </a:lnTo>
                <a:lnTo>
                  <a:pt x="1401" y="399"/>
                </a:lnTo>
                <a:lnTo>
                  <a:pt x="1417" y="402"/>
                </a:lnTo>
                <a:lnTo>
                  <a:pt x="1434" y="404"/>
                </a:lnTo>
                <a:lnTo>
                  <a:pt x="1443" y="404"/>
                </a:lnTo>
                <a:lnTo>
                  <a:pt x="1453" y="405"/>
                </a:lnTo>
                <a:lnTo>
                  <a:pt x="1463" y="405"/>
                </a:lnTo>
                <a:lnTo>
                  <a:pt x="1472" y="405"/>
                </a:lnTo>
                <a:lnTo>
                  <a:pt x="1489" y="404"/>
                </a:lnTo>
                <a:lnTo>
                  <a:pt x="1507" y="404"/>
                </a:lnTo>
                <a:lnTo>
                  <a:pt x="1524" y="404"/>
                </a:lnTo>
                <a:lnTo>
                  <a:pt x="1541" y="401"/>
                </a:lnTo>
                <a:lnTo>
                  <a:pt x="1547" y="400"/>
                </a:lnTo>
                <a:lnTo>
                  <a:pt x="1553" y="396"/>
                </a:lnTo>
                <a:lnTo>
                  <a:pt x="1560" y="394"/>
                </a:lnTo>
                <a:lnTo>
                  <a:pt x="1566" y="393"/>
                </a:lnTo>
                <a:lnTo>
                  <a:pt x="1575" y="392"/>
                </a:lnTo>
                <a:lnTo>
                  <a:pt x="1585" y="391"/>
                </a:lnTo>
                <a:lnTo>
                  <a:pt x="1594" y="390"/>
                </a:lnTo>
                <a:lnTo>
                  <a:pt x="1602" y="390"/>
                </a:lnTo>
                <a:lnTo>
                  <a:pt x="1612" y="389"/>
                </a:lnTo>
                <a:lnTo>
                  <a:pt x="1622" y="389"/>
                </a:lnTo>
                <a:lnTo>
                  <a:pt x="1632" y="388"/>
                </a:lnTo>
                <a:lnTo>
                  <a:pt x="1641" y="386"/>
                </a:lnTo>
                <a:lnTo>
                  <a:pt x="1652" y="384"/>
                </a:lnTo>
                <a:lnTo>
                  <a:pt x="1661" y="382"/>
                </a:lnTo>
                <a:lnTo>
                  <a:pt x="1671" y="381"/>
                </a:lnTo>
                <a:lnTo>
                  <a:pt x="1681" y="379"/>
                </a:lnTo>
                <a:lnTo>
                  <a:pt x="1701" y="375"/>
                </a:lnTo>
                <a:lnTo>
                  <a:pt x="1721" y="373"/>
                </a:lnTo>
                <a:lnTo>
                  <a:pt x="1741" y="371"/>
                </a:lnTo>
                <a:lnTo>
                  <a:pt x="1761" y="366"/>
                </a:lnTo>
                <a:lnTo>
                  <a:pt x="1780" y="361"/>
                </a:lnTo>
                <a:lnTo>
                  <a:pt x="1801" y="357"/>
                </a:lnTo>
                <a:lnTo>
                  <a:pt x="1820" y="354"/>
                </a:lnTo>
                <a:lnTo>
                  <a:pt x="1841" y="349"/>
                </a:lnTo>
                <a:lnTo>
                  <a:pt x="1850" y="347"/>
                </a:lnTo>
                <a:lnTo>
                  <a:pt x="1860" y="344"/>
                </a:lnTo>
                <a:lnTo>
                  <a:pt x="1870" y="341"/>
                </a:lnTo>
                <a:lnTo>
                  <a:pt x="1879" y="339"/>
                </a:lnTo>
                <a:lnTo>
                  <a:pt x="1882" y="338"/>
                </a:lnTo>
                <a:lnTo>
                  <a:pt x="1885" y="336"/>
                </a:lnTo>
                <a:lnTo>
                  <a:pt x="1890" y="335"/>
                </a:lnTo>
                <a:lnTo>
                  <a:pt x="1894" y="334"/>
                </a:lnTo>
                <a:lnTo>
                  <a:pt x="1896" y="333"/>
                </a:lnTo>
                <a:lnTo>
                  <a:pt x="1900" y="332"/>
                </a:lnTo>
                <a:lnTo>
                  <a:pt x="1902" y="332"/>
                </a:lnTo>
                <a:lnTo>
                  <a:pt x="1906" y="333"/>
                </a:lnTo>
                <a:lnTo>
                  <a:pt x="1901" y="338"/>
                </a:lnTo>
                <a:lnTo>
                  <a:pt x="1895" y="341"/>
                </a:lnTo>
                <a:lnTo>
                  <a:pt x="1890" y="341"/>
                </a:lnTo>
                <a:lnTo>
                  <a:pt x="1884" y="343"/>
                </a:lnTo>
                <a:lnTo>
                  <a:pt x="1880" y="347"/>
                </a:lnTo>
                <a:lnTo>
                  <a:pt x="1878" y="352"/>
                </a:lnTo>
                <a:lnTo>
                  <a:pt x="1876" y="355"/>
                </a:lnTo>
                <a:lnTo>
                  <a:pt x="1871" y="356"/>
                </a:lnTo>
                <a:lnTo>
                  <a:pt x="1867" y="357"/>
                </a:lnTo>
                <a:lnTo>
                  <a:pt x="1863" y="357"/>
                </a:lnTo>
                <a:lnTo>
                  <a:pt x="1854" y="358"/>
                </a:lnTo>
                <a:lnTo>
                  <a:pt x="1844" y="358"/>
                </a:lnTo>
                <a:lnTo>
                  <a:pt x="1835" y="359"/>
                </a:lnTo>
                <a:lnTo>
                  <a:pt x="1826" y="361"/>
                </a:lnTo>
                <a:lnTo>
                  <a:pt x="1817" y="365"/>
                </a:lnTo>
                <a:lnTo>
                  <a:pt x="1808" y="368"/>
                </a:lnTo>
                <a:lnTo>
                  <a:pt x="1800" y="372"/>
                </a:lnTo>
                <a:lnTo>
                  <a:pt x="1791" y="376"/>
                </a:lnTo>
                <a:lnTo>
                  <a:pt x="1783" y="377"/>
                </a:lnTo>
                <a:lnTo>
                  <a:pt x="1774" y="377"/>
                </a:lnTo>
                <a:lnTo>
                  <a:pt x="1764" y="379"/>
                </a:lnTo>
                <a:lnTo>
                  <a:pt x="1756" y="382"/>
                </a:lnTo>
                <a:lnTo>
                  <a:pt x="1741" y="389"/>
                </a:lnTo>
                <a:lnTo>
                  <a:pt x="1723" y="396"/>
                </a:lnTo>
                <a:lnTo>
                  <a:pt x="1713" y="397"/>
                </a:lnTo>
                <a:lnTo>
                  <a:pt x="1704" y="399"/>
                </a:lnTo>
                <a:lnTo>
                  <a:pt x="1698" y="401"/>
                </a:lnTo>
                <a:lnTo>
                  <a:pt x="1694" y="402"/>
                </a:lnTo>
                <a:lnTo>
                  <a:pt x="1692" y="401"/>
                </a:lnTo>
                <a:lnTo>
                  <a:pt x="1690" y="399"/>
                </a:lnTo>
                <a:lnTo>
                  <a:pt x="1687" y="398"/>
                </a:lnTo>
                <a:lnTo>
                  <a:pt x="1686" y="398"/>
                </a:lnTo>
                <a:lnTo>
                  <a:pt x="1684" y="400"/>
                </a:lnTo>
                <a:lnTo>
                  <a:pt x="1682" y="401"/>
                </a:lnTo>
                <a:lnTo>
                  <a:pt x="1677" y="406"/>
                </a:lnTo>
                <a:lnTo>
                  <a:pt x="1671" y="409"/>
                </a:lnTo>
                <a:lnTo>
                  <a:pt x="1672" y="411"/>
                </a:lnTo>
                <a:lnTo>
                  <a:pt x="1674" y="413"/>
                </a:lnTo>
                <a:lnTo>
                  <a:pt x="1677" y="413"/>
                </a:lnTo>
                <a:lnTo>
                  <a:pt x="1679" y="413"/>
                </a:lnTo>
                <a:lnTo>
                  <a:pt x="1684" y="413"/>
                </a:lnTo>
                <a:lnTo>
                  <a:pt x="1688" y="414"/>
                </a:lnTo>
                <a:lnTo>
                  <a:pt x="1682" y="416"/>
                </a:lnTo>
                <a:lnTo>
                  <a:pt x="1677" y="417"/>
                </a:lnTo>
                <a:lnTo>
                  <a:pt x="1671" y="417"/>
                </a:lnTo>
                <a:lnTo>
                  <a:pt x="1667" y="416"/>
                </a:lnTo>
                <a:lnTo>
                  <a:pt x="1660" y="414"/>
                </a:lnTo>
                <a:lnTo>
                  <a:pt x="1654" y="411"/>
                </a:lnTo>
                <a:lnTo>
                  <a:pt x="1648" y="411"/>
                </a:lnTo>
                <a:lnTo>
                  <a:pt x="1641" y="413"/>
                </a:lnTo>
                <a:lnTo>
                  <a:pt x="1637" y="413"/>
                </a:lnTo>
                <a:lnTo>
                  <a:pt x="1632" y="413"/>
                </a:lnTo>
                <a:lnTo>
                  <a:pt x="1630" y="413"/>
                </a:lnTo>
                <a:lnTo>
                  <a:pt x="1628" y="414"/>
                </a:lnTo>
                <a:lnTo>
                  <a:pt x="1626" y="415"/>
                </a:lnTo>
                <a:lnTo>
                  <a:pt x="1624" y="417"/>
                </a:lnTo>
                <a:lnTo>
                  <a:pt x="1624" y="419"/>
                </a:lnTo>
                <a:lnTo>
                  <a:pt x="1626" y="421"/>
                </a:lnTo>
                <a:lnTo>
                  <a:pt x="1628" y="422"/>
                </a:lnTo>
                <a:lnTo>
                  <a:pt x="1630" y="422"/>
                </a:lnTo>
                <a:lnTo>
                  <a:pt x="1636" y="422"/>
                </a:lnTo>
                <a:lnTo>
                  <a:pt x="1640" y="422"/>
                </a:lnTo>
                <a:lnTo>
                  <a:pt x="1655" y="422"/>
                </a:lnTo>
                <a:lnTo>
                  <a:pt x="1669" y="422"/>
                </a:lnTo>
                <a:lnTo>
                  <a:pt x="1682" y="422"/>
                </a:lnTo>
                <a:lnTo>
                  <a:pt x="1696" y="419"/>
                </a:lnTo>
                <a:lnTo>
                  <a:pt x="1709" y="416"/>
                </a:lnTo>
                <a:lnTo>
                  <a:pt x="1721" y="414"/>
                </a:lnTo>
                <a:lnTo>
                  <a:pt x="1726" y="414"/>
                </a:lnTo>
                <a:lnTo>
                  <a:pt x="1731" y="413"/>
                </a:lnTo>
                <a:lnTo>
                  <a:pt x="1736" y="410"/>
                </a:lnTo>
                <a:lnTo>
                  <a:pt x="1742" y="409"/>
                </a:lnTo>
                <a:lnTo>
                  <a:pt x="1754" y="408"/>
                </a:lnTo>
                <a:lnTo>
                  <a:pt x="1767" y="406"/>
                </a:lnTo>
                <a:lnTo>
                  <a:pt x="1777" y="402"/>
                </a:lnTo>
                <a:lnTo>
                  <a:pt x="1786" y="399"/>
                </a:lnTo>
                <a:lnTo>
                  <a:pt x="1789" y="399"/>
                </a:lnTo>
                <a:lnTo>
                  <a:pt x="1791" y="398"/>
                </a:lnTo>
                <a:lnTo>
                  <a:pt x="1792" y="396"/>
                </a:lnTo>
                <a:lnTo>
                  <a:pt x="1791" y="393"/>
                </a:lnTo>
                <a:lnTo>
                  <a:pt x="1791" y="391"/>
                </a:lnTo>
                <a:lnTo>
                  <a:pt x="1791" y="389"/>
                </a:lnTo>
                <a:lnTo>
                  <a:pt x="1792" y="388"/>
                </a:lnTo>
                <a:lnTo>
                  <a:pt x="1795" y="388"/>
                </a:lnTo>
                <a:lnTo>
                  <a:pt x="1802" y="386"/>
                </a:lnTo>
                <a:lnTo>
                  <a:pt x="1809" y="385"/>
                </a:lnTo>
                <a:lnTo>
                  <a:pt x="1821" y="382"/>
                </a:lnTo>
                <a:lnTo>
                  <a:pt x="1834" y="377"/>
                </a:lnTo>
                <a:lnTo>
                  <a:pt x="1846" y="374"/>
                </a:lnTo>
                <a:lnTo>
                  <a:pt x="1859" y="369"/>
                </a:lnTo>
                <a:lnTo>
                  <a:pt x="1873" y="365"/>
                </a:lnTo>
                <a:lnTo>
                  <a:pt x="1886" y="360"/>
                </a:lnTo>
                <a:lnTo>
                  <a:pt x="1900" y="357"/>
                </a:lnTo>
                <a:lnTo>
                  <a:pt x="1914" y="354"/>
                </a:lnTo>
                <a:lnTo>
                  <a:pt x="1929" y="349"/>
                </a:lnTo>
                <a:lnTo>
                  <a:pt x="1944" y="343"/>
                </a:lnTo>
                <a:lnTo>
                  <a:pt x="1959" y="338"/>
                </a:lnTo>
                <a:lnTo>
                  <a:pt x="1975" y="332"/>
                </a:lnTo>
                <a:lnTo>
                  <a:pt x="1980" y="331"/>
                </a:lnTo>
                <a:lnTo>
                  <a:pt x="1983" y="328"/>
                </a:lnTo>
                <a:lnTo>
                  <a:pt x="1983" y="326"/>
                </a:lnTo>
                <a:lnTo>
                  <a:pt x="1982" y="324"/>
                </a:lnTo>
                <a:lnTo>
                  <a:pt x="1980" y="324"/>
                </a:lnTo>
                <a:lnTo>
                  <a:pt x="1977" y="323"/>
                </a:lnTo>
                <a:lnTo>
                  <a:pt x="1974" y="326"/>
                </a:lnTo>
                <a:lnTo>
                  <a:pt x="1969" y="328"/>
                </a:lnTo>
                <a:lnTo>
                  <a:pt x="1962" y="328"/>
                </a:lnTo>
                <a:lnTo>
                  <a:pt x="1956" y="328"/>
                </a:lnTo>
                <a:lnTo>
                  <a:pt x="1959" y="324"/>
                </a:lnTo>
                <a:lnTo>
                  <a:pt x="1962" y="319"/>
                </a:lnTo>
                <a:lnTo>
                  <a:pt x="1964" y="316"/>
                </a:lnTo>
                <a:lnTo>
                  <a:pt x="1966" y="313"/>
                </a:lnTo>
                <a:lnTo>
                  <a:pt x="1969" y="309"/>
                </a:lnTo>
                <a:lnTo>
                  <a:pt x="1974" y="308"/>
                </a:lnTo>
                <a:lnTo>
                  <a:pt x="1975" y="309"/>
                </a:lnTo>
                <a:lnTo>
                  <a:pt x="1976" y="309"/>
                </a:lnTo>
                <a:lnTo>
                  <a:pt x="1977" y="309"/>
                </a:lnTo>
                <a:lnTo>
                  <a:pt x="1978" y="309"/>
                </a:lnTo>
                <a:lnTo>
                  <a:pt x="1978" y="310"/>
                </a:lnTo>
                <a:lnTo>
                  <a:pt x="1978" y="311"/>
                </a:lnTo>
                <a:lnTo>
                  <a:pt x="1977" y="313"/>
                </a:lnTo>
                <a:lnTo>
                  <a:pt x="1977" y="315"/>
                </a:lnTo>
                <a:lnTo>
                  <a:pt x="1977" y="316"/>
                </a:lnTo>
                <a:lnTo>
                  <a:pt x="1978" y="317"/>
                </a:lnTo>
                <a:lnTo>
                  <a:pt x="1982" y="317"/>
                </a:lnTo>
                <a:lnTo>
                  <a:pt x="1984" y="316"/>
                </a:lnTo>
                <a:lnTo>
                  <a:pt x="1991" y="314"/>
                </a:lnTo>
                <a:lnTo>
                  <a:pt x="1995" y="309"/>
                </a:lnTo>
                <a:lnTo>
                  <a:pt x="2001" y="303"/>
                </a:lnTo>
                <a:lnTo>
                  <a:pt x="2007" y="300"/>
                </a:lnTo>
                <a:lnTo>
                  <a:pt x="2013" y="297"/>
                </a:lnTo>
                <a:lnTo>
                  <a:pt x="2019" y="294"/>
                </a:lnTo>
                <a:lnTo>
                  <a:pt x="2026" y="293"/>
                </a:lnTo>
                <a:lnTo>
                  <a:pt x="2033" y="294"/>
                </a:lnTo>
                <a:lnTo>
                  <a:pt x="2041" y="298"/>
                </a:lnTo>
                <a:lnTo>
                  <a:pt x="2047" y="302"/>
                </a:lnTo>
                <a:lnTo>
                  <a:pt x="2050" y="303"/>
                </a:lnTo>
                <a:lnTo>
                  <a:pt x="2053" y="305"/>
                </a:lnTo>
                <a:lnTo>
                  <a:pt x="2057" y="305"/>
                </a:lnTo>
                <a:lnTo>
                  <a:pt x="2061" y="303"/>
                </a:lnTo>
                <a:lnTo>
                  <a:pt x="2064" y="301"/>
                </a:lnTo>
                <a:lnTo>
                  <a:pt x="2068" y="300"/>
                </a:lnTo>
                <a:lnTo>
                  <a:pt x="2071" y="298"/>
                </a:lnTo>
                <a:lnTo>
                  <a:pt x="2073" y="296"/>
                </a:lnTo>
                <a:lnTo>
                  <a:pt x="2072" y="290"/>
                </a:lnTo>
                <a:lnTo>
                  <a:pt x="2072" y="284"/>
                </a:lnTo>
                <a:lnTo>
                  <a:pt x="2077" y="282"/>
                </a:lnTo>
                <a:lnTo>
                  <a:pt x="2083" y="280"/>
                </a:lnTo>
                <a:lnTo>
                  <a:pt x="2090" y="277"/>
                </a:lnTo>
                <a:lnTo>
                  <a:pt x="2096" y="274"/>
                </a:lnTo>
                <a:lnTo>
                  <a:pt x="2100" y="269"/>
                </a:lnTo>
                <a:lnTo>
                  <a:pt x="2105" y="265"/>
                </a:lnTo>
                <a:lnTo>
                  <a:pt x="2108" y="265"/>
                </a:lnTo>
                <a:lnTo>
                  <a:pt x="2113" y="265"/>
                </a:lnTo>
                <a:lnTo>
                  <a:pt x="2114" y="265"/>
                </a:lnTo>
                <a:lnTo>
                  <a:pt x="2116" y="264"/>
                </a:lnTo>
                <a:lnTo>
                  <a:pt x="2116" y="263"/>
                </a:lnTo>
                <a:lnTo>
                  <a:pt x="2116" y="261"/>
                </a:lnTo>
                <a:lnTo>
                  <a:pt x="2109" y="258"/>
                </a:lnTo>
                <a:lnTo>
                  <a:pt x="2104" y="258"/>
                </a:lnTo>
                <a:lnTo>
                  <a:pt x="2113" y="251"/>
                </a:lnTo>
                <a:lnTo>
                  <a:pt x="2122" y="248"/>
                </a:lnTo>
                <a:lnTo>
                  <a:pt x="2133" y="244"/>
                </a:lnTo>
                <a:lnTo>
                  <a:pt x="2143" y="242"/>
                </a:lnTo>
                <a:lnTo>
                  <a:pt x="2154" y="236"/>
                </a:lnTo>
                <a:lnTo>
                  <a:pt x="2164" y="232"/>
                </a:lnTo>
                <a:lnTo>
                  <a:pt x="2175" y="228"/>
                </a:lnTo>
                <a:lnTo>
                  <a:pt x="2186" y="224"/>
                </a:lnTo>
                <a:lnTo>
                  <a:pt x="2197" y="219"/>
                </a:lnTo>
                <a:lnTo>
                  <a:pt x="2208" y="215"/>
                </a:lnTo>
                <a:lnTo>
                  <a:pt x="2211" y="213"/>
                </a:lnTo>
                <a:lnTo>
                  <a:pt x="2212" y="210"/>
                </a:lnTo>
                <a:lnTo>
                  <a:pt x="2212" y="209"/>
                </a:lnTo>
                <a:lnTo>
                  <a:pt x="2212" y="208"/>
                </a:lnTo>
                <a:lnTo>
                  <a:pt x="2211" y="208"/>
                </a:lnTo>
                <a:lnTo>
                  <a:pt x="2208" y="207"/>
                </a:lnTo>
                <a:lnTo>
                  <a:pt x="2198" y="210"/>
                </a:lnTo>
                <a:lnTo>
                  <a:pt x="2189" y="215"/>
                </a:lnTo>
                <a:lnTo>
                  <a:pt x="2178" y="219"/>
                </a:lnTo>
                <a:lnTo>
                  <a:pt x="2166" y="223"/>
                </a:lnTo>
                <a:lnTo>
                  <a:pt x="2156" y="226"/>
                </a:lnTo>
                <a:lnTo>
                  <a:pt x="2145" y="228"/>
                </a:lnTo>
                <a:lnTo>
                  <a:pt x="2134" y="233"/>
                </a:lnTo>
                <a:lnTo>
                  <a:pt x="2124" y="238"/>
                </a:lnTo>
                <a:lnTo>
                  <a:pt x="2114" y="240"/>
                </a:lnTo>
                <a:lnTo>
                  <a:pt x="2104" y="242"/>
                </a:lnTo>
                <a:lnTo>
                  <a:pt x="2093" y="243"/>
                </a:lnTo>
                <a:lnTo>
                  <a:pt x="2084" y="247"/>
                </a:lnTo>
                <a:lnTo>
                  <a:pt x="2074" y="251"/>
                </a:lnTo>
                <a:lnTo>
                  <a:pt x="2064" y="256"/>
                </a:lnTo>
                <a:lnTo>
                  <a:pt x="2059" y="258"/>
                </a:lnTo>
                <a:lnTo>
                  <a:pt x="2053" y="259"/>
                </a:lnTo>
                <a:lnTo>
                  <a:pt x="2049" y="260"/>
                </a:lnTo>
                <a:lnTo>
                  <a:pt x="2043" y="260"/>
                </a:lnTo>
                <a:lnTo>
                  <a:pt x="2033" y="259"/>
                </a:lnTo>
                <a:lnTo>
                  <a:pt x="2023" y="260"/>
                </a:lnTo>
                <a:lnTo>
                  <a:pt x="2013" y="264"/>
                </a:lnTo>
                <a:lnTo>
                  <a:pt x="2003" y="268"/>
                </a:lnTo>
                <a:lnTo>
                  <a:pt x="2006" y="268"/>
                </a:lnTo>
                <a:lnTo>
                  <a:pt x="2009" y="269"/>
                </a:lnTo>
                <a:lnTo>
                  <a:pt x="2005" y="268"/>
                </a:lnTo>
                <a:lnTo>
                  <a:pt x="2001" y="268"/>
                </a:lnTo>
                <a:lnTo>
                  <a:pt x="1995" y="269"/>
                </a:lnTo>
                <a:lnTo>
                  <a:pt x="1990" y="271"/>
                </a:lnTo>
                <a:lnTo>
                  <a:pt x="1981" y="275"/>
                </a:lnTo>
                <a:lnTo>
                  <a:pt x="1970" y="280"/>
                </a:lnTo>
                <a:lnTo>
                  <a:pt x="1962" y="281"/>
                </a:lnTo>
                <a:lnTo>
                  <a:pt x="1954" y="283"/>
                </a:lnTo>
                <a:lnTo>
                  <a:pt x="1950" y="285"/>
                </a:lnTo>
                <a:lnTo>
                  <a:pt x="1945" y="286"/>
                </a:lnTo>
                <a:lnTo>
                  <a:pt x="1941" y="285"/>
                </a:lnTo>
                <a:lnTo>
                  <a:pt x="1936" y="285"/>
                </a:lnTo>
                <a:lnTo>
                  <a:pt x="1925" y="286"/>
                </a:lnTo>
                <a:lnTo>
                  <a:pt x="1914" y="289"/>
                </a:lnTo>
                <a:lnTo>
                  <a:pt x="1902" y="292"/>
                </a:lnTo>
                <a:lnTo>
                  <a:pt x="1891" y="296"/>
                </a:lnTo>
                <a:lnTo>
                  <a:pt x="1879" y="299"/>
                </a:lnTo>
                <a:lnTo>
                  <a:pt x="1868" y="300"/>
                </a:lnTo>
                <a:lnTo>
                  <a:pt x="1863" y="301"/>
                </a:lnTo>
                <a:lnTo>
                  <a:pt x="1859" y="303"/>
                </a:lnTo>
                <a:lnTo>
                  <a:pt x="1858" y="306"/>
                </a:lnTo>
                <a:lnTo>
                  <a:pt x="1855" y="306"/>
                </a:lnTo>
                <a:lnTo>
                  <a:pt x="1854" y="306"/>
                </a:lnTo>
                <a:lnTo>
                  <a:pt x="1852" y="306"/>
                </a:lnTo>
                <a:lnTo>
                  <a:pt x="1844" y="309"/>
                </a:lnTo>
                <a:lnTo>
                  <a:pt x="1836" y="313"/>
                </a:lnTo>
                <a:lnTo>
                  <a:pt x="1825" y="316"/>
                </a:lnTo>
                <a:lnTo>
                  <a:pt x="1813" y="319"/>
                </a:lnTo>
                <a:lnTo>
                  <a:pt x="1801" y="323"/>
                </a:lnTo>
                <a:lnTo>
                  <a:pt x="1789" y="325"/>
                </a:lnTo>
                <a:lnTo>
                  <a:pt x="1777" y="328"/>
                </a:lnTo>
                <a:lnTo>
                  <a:pt x="1766" y="332"/>
                </a:lnTo>
                <a:lnTo>
                  <a:pt x="1754" y="335"/>
                </a:lnTo>
                <a:lnTo>
                  <a:pt x="1742" y="338"/>
                </a:lnTo>
                <a:lnTo>
                  <a:pt x="1730" y="341"/>
                </a:lnTo>
                <a:lnTo>
                  <a:pt x="1719" y="343"/>
                </a:lnTo>
                <a:lnTo>
                  <a:pt x="1706" y="348"/>
                </a:lnTo>
                <a:lnTo>
                  <a:pt x="1694" y="349"/>
                </a:lnTo>
                <a:lnTo>
                  <a:pt x="1688" y="349"/>
                </a:lnTo>
                <a:lnTo>
                  <a:pt x="1682" y="348"/>
                </a:lnTo>
                <a:lnTo>
                  <a:pt x="1677" y="348"/>
                </a:lnTo>
                <a:lnTo>
                  <a:pt x="1671" y="347"/>
                </a:lnTo>
                <a:lnTo>
                  <a:pt x="1684" y="346"/>
                </a:lnTo>
                <a:lnTo>
                  <a:pt x="1695" y="342"/>
                </a:lnTo>
                <a:lnTo>
                  <a:pt x="1704" y="341"/>
                </a:lnTo>
                <a:lnTo>
                  <a:pt x="1712" y="338"/>
                </a:lnTo>
                <a:lnTo>
                  <a:pt x="1712" y="334"/>
                </a:lnTo>
                <a:lnTo>
                  <a:pt x="1712" y="332"/>
                </a:lnTo>
                <a:lnTo>
                  <a:pt x="1712" y="330"/>
                </a:lnTo>
                <a:lnTo>
                  <a:pt x="1714" y="328"/>
                </a:lnTo>
                <a:lnTo>
                  <a:pt x="1715" y="328"/>
                </a:lnTo>
                <a:lnTo>
                  <a:pt x="1719" y="330"/>
                </a:lnTo>
                <a:lnTo>
                  <a:pt x="1730" y="326"/>
                </a:lnTo>
                <a:lnTo>
                  <a:pt x="1742" y="323"/>
                </a:lnTo>
                <a:lnTo>
                  <a:pt x="1755" y="321"/>
                </a:lnTo>
                <a:lnTo>
                  <a:pt x="1769" y="317"/>
                </a:lnTo>
                <a:lnTo>
                  <a:pt x="1783" y="314"/>
                </a:lnTo>
                <a:lnTo>
                  <a:pt x="1796" y="309"/>
                </a:lnTo>
                <a:lnTo>
                  <a:pt x="1808" y="306"/>
                </a:lnTo>
                <a:lnTo>
                  <a:pt x="1820" y="301"/>
                </a:lnTo>
                <a:lnTo>
                  <a:pt x="1833" y="299"/>
                </a:lnTo>
                <a:lnTo>
                  <a:pt x="1845" y="298"/>
                </a:lnTo>
                <a:lnTo>
                  <a:pt x="1855" y="293"/>
                </a:lnTo>
                <a:lnTo>
                  <a:pt x="1866" y="288"/>
                </a:lnTo>
                <a:lnTo>
                  <a:pt x="1877" y="284"/>
                </a:lnTo>
                <a:lnTo>
                  <a:pt x="1888" y="281"/>
                </a:lnTo>
                <a:lnTo>
                  <a:pt x="1899" y="278"/>
                </a:lnTo>
                <a:lnTo>
                  <a:pt x="1908" y="276"/>
                </a:lnTo>
                <a:lnTo>
                  <a:pt x="1917" y="271"/>
                </a:lnTo>
                <a:lnTo>
                  <a:pt x="1926" y="264"/>
                </a:lnTo>
                <a:lnTo>
                  <a:pt x="1931" y="261"/>
                </a:lnTo>
                <a:lnTo>
                  <a:pt x="1935" y="261"/>
                </a:lnTo>
                <a:lnTo>
                  <a:pt x="1941" y="263"/>
                </a:lnTo>
                <a:lnTo>
                  <a:pt x="1945" y="263"/>
                </a:lnTo>
                <a:lnTo>
                  <a:pt x="1952" y="263"/>
                </a:lnTo>
                <a:lnTo>
                  <a:pt x="1959" y="261"/>
                </a:lnTo>
                <a:lnTo>
                  <a:pt x="1966" y="259"/>
                </a:lnTo>
                <a:lnTo>
                  <a:pt x="1972" y="256"/>
                </a:lnTo>
                <a:lnTo>
                  <a:pt x="1976" y="255"/>
                </a:lnTo>
                <a:lnTo>
                  <a:pt x="1982" y="253"/>
                </a:lnTo>
                <a:lnTo>
                  <a:pt x="1984" y="252"/>
                </a:lnTo>
                <a:lnTo>
                  <a:pt x="1985" y="250"/>
                </a:lnTo>
                <a:lnTo>
                  <a:pt x="1986" y="249"/>
                </a:lnTo>
                <a:lnTo>
                  <a:pt x="1986" y="245"/>
                </a:lnTo>
                <a:lnTo>
                  <a:pt x="1983" y="242"/>
                </a:lnTo>
                <a:lnTo>
                  <a:pt x="1980" y="240"/>
                </a:lnTo>
                <a:lnTo>
                  <a:pt x="1975" y="235"/>
                </a:lnTo>
                <a:lnTo>
                  <a:pt x="1970" y="231"/>
                </a:lnTo>
                <a:lnTo>
                  <a:pt x="1965" y="228"/>
                </a:lnTo>
                <a:lnTo>
                  <a:pt x="1959" y="228"/>
                </a:lnTo>
                <a:lnTo>
                  <a:pt x="1953" y="230"/>
                </a:lnTo>
                <a:lnTo>
                  <a:pt x="1948" y="232"/>
                </a:lnTo>
                <a:lnTo>
                  <a:pt x="1934" y="236"/>
                </a:lnTo>
                <a:lnTo>
                  <a:pt x="1920" y="240"/>
                </a:lnTo>
                <a:lnTo>
                  <a:pt x="1907" y="243"/>
                </a:lnTo>
                <a:lnTo>
                  <a:pt x="1894" y="248"/>
                </a:lnTo>
                <a:lnTo>
                  <a:pt x="1880" y="252"/>
                </a:lnTo>
                <a:lnTo>
                  <a:pt x="1869" y="258"/>
                </a:lnTo>
                <a:lnTo>
                  <a:pt x="1871" y="259"/>
                </a:lnTo>
                <a:lnTo>
                  <a:pt x="1875" y="259"/>
                </a:lnTo>
                <a:lnTo>
                  <a:pt x="1878" y="261"/>
                </a:lnTo>
                <a:lnTo>
                  <a:pt x="1880" y="264"/>
                </a:lnTo>
                <a:lnTo>
                  <a:pt x="1880" y="266"/>
                </a:lnTo>
                <a:lnTo>
                  <a:pt x="1880" y="267"/>
                </a:lnTo>
                <a:lnTo>
                  <a:pt x="1880" y="268"/>
                </a:lnTo>
                <a:lnTo>
                  <a:pt x="1879" y="269"/>
                </a:lnTo>
                <a:lnTo>
                  <a:pt x="1876" y="271"/>
                </a:lnTo>
                <a:lnTo>
                  <a:pt x="1873" y="271"/>
                </a:lnTo>
                <a:lnTo>
                  <a:pt x="1866" y="274"/>
                </a:lnTo>
                <a:lnTo>
                  <a:pt x="1858" y="275"/>
                </a:lnTo>
                <a:lnTo>
                  <a:pt x="1857" y="274"/>
                </a:lnTo>
                <a:lnTo>
                  <a:pt x="1855" y="271"/>
                </a:lnTo>
                <a:lnTo>
                  <a:pt x="1855" y="267"/>
                </a:lnTo>
                <a:lnTo>
                  <a:pt x="1855" y="265"/>
                </a:lnTo>
                <a:lnTo>
                  <a:pt x="1855" y="261"/>
                </a:lnTo>
                <a:lnTo>
                  <a:pt x="1853" y="260"/>
                </a:lnTo>
                <a:lnTo>
                  <a:pt x="1850" y="259"/>
                </a:lnTo>
                <a:lnTo>
                  <a:pt x="1846" y="260"/>
                </a:lnTo>
                <a:lnTo>
                  <a:pt x="1843" y="263"/>
                </a:lnTo>
                <a:lnTo>
                  <a:pt x="1841" y="265"/>
                </a:lnTo>
                <a:lnTo>
                  <a:pt x="1840" y="267"/>
                </a:lnTo>
                <a:lnTo>
                  <a:pt x="1838" y="272"/>
                </a:lnTo>
                <a:lnTo>
                  <a:pt x="1836" y="274"/>
                </a:lnTo>
                <a:lnTo>
                  <a:pt x="1834" y="275"/>
                </a:lnTo>
                <a:lnTo>
                  <a:pt x="1832" y="276"/>
                </a:lnTo>
                <a:lnTo>
                  <a:pt x="1829" y="277"/>
                </a:lnTo>
                <a:lnTo>
                  <a:pt x="1826" y="280"/>
                </a:lnTo>
                <a:lnTo>
                  <a:pt x="1825" y="281"/>
                </a:lnTo>
                <a:lnTo>
                  <a:pt x="1825" y="281"/>
                </a:lnTo>
                <a:lnTo>
                  <a:pt x="1826" y="282"/>
                </a:lnTo>
                <a:lnTo>
                  <a:pt x="1827" y="284"/>
                </a:lnTo>
                <a:lnTo>
                  <a:pt x="1827" y="288"/>
                </a:lnTo>
                <a:lnTo>
                  <a:pt x="1825" y="289"/>
                </a:lnTo>
                <a:lnTo>
                  <a:pt x="1820" y="289"/>
                </a:lnTo>
                <a:lnTo>
                  <a:pt x="1809" y="292"/>
                </a:lnTo>
                <a:lnTo>
                  <a:pt x="1797" y="297"/>
                </a:lnTo>
                <a:lnTo>
                  <a:pt x="1786" y="299"/>
                </a:lnTo>
                <a:lnTo>
                  <a:pt x="1775" y="302"/>
                </a:lnTo>
                <a:lnTo>
                  <a:pt x="1763" y="305"/>
                </a:lnTo>
                <a:lnTo>
                  <a:pt x="1752" y="307"/>
                </a:lnTo>
                <a:lnTo>
                  <a:pt x="1741" y="309"/>
                </a:lnTo>
                <a:lnTo>
                  <a:pt x="1729" y="311"/>
                </a:lnTo>
                <a:lnTo>
                  <a:pt x="1717" y="314"/>
                </a:lnTo>
                <a:lnTo>
                  <a:pt x="1705" y="317"/>
                </a:lnTo>
                <a:lnTo>
                  <a:pt x="1696" y="319"/>
                </a:lnTo>
                <a:lnTo>
                  <a:pt x="1687" y="323"/>
                </a:lnTo>
                <a:lnTo>
                  <a:pt x="1676" y="325"/>
                </a:lnTo>
                <a:lnTo>
                  <a:pt x="1664" y="326"/>
                </a:lnTo>
                <a:lnTo>
                  <a:pt x="1654" y="328"/>
                </a:lnTo>
                <a:lnTo>
                  <a:pt x="1644" y="331"/>
                </a:lnTo>
                <a:lnTo>
                  <a:pt x="1641" y="334"/>
                </a:lnTo>
                <a:lnTo>
                  <a:pt x="1641" y="336"/>
                </a:lnTo>
                <a:lnTo>
                  <a:pt x="1644" y="339"/>
                </a:lnTo>
                <a:lnTo>
                  <a:pt x="1647" y="340"/>
                </a:lnTo>
                <a:lnTo>
                  <a:pt x="1660" y="339"/>
                </a:lnTo>
                <a:lnTo>
                  <a:pt x="1670" y="336"/>
                </a:lnTo>
                <a:lnTo>
                  <a:pt x="1684" y="334"/>
                </a:lnTo>
                <a:lnTo>
                  <a:pt x="1698" y="331"/>
                </a:lnTo>
                <a:lnTo>
                  <a:pt x="1695" y="334"/>
                </a:lnTo>
                <a:lnTo>
                  <a:pt x="1693" y="336"/>
                </a:lnTo>
                <a:lnTo>
                  <a:pt x="1689" y="338"/>
                </a:lnTo>
                <a:lnTo>
                  <a:pt x="1687" y="339"/>
                </a:lnTo>
                <a:lnTo>
                  <a:pt x="1680" y="340"/>
                </a:lnTo>
                <a:lnTo>
                  <a:pt x="1672" y="341"/>
                </a:lnTo>
                <a:lnTo>
                  <a:pt x="1665" y="343"/>
                </a:lnTo>
                <a:lnTo>
                  <a:pt x="1659" y="348"/>
                </a:lnTo>
                <a:lnTo>
                  <a:pt x="1651" y="350"/>
                </a:lnTo>
                <a:lnTo>
                  <a:pt x="1643" y="351"/>
                </a:lnTo>
                <a:lnTo>
                  <a:pt x="1627" y="357"/>
                </a:lnTo>
                <a:lnTo>
                  <a:pt x="1611" y="363"/>
                </a:lnTo>
                <a:lnTo>
                  <a:pt x="1602" y="364"/>
                </a:lnTo>
                <a:lnTo>
                  <a:pt x="1594" y="367"/>
                </a:lnTo>
                <a:lnTo>
                  <a:pt x="1586" y="371"/>
                </a:lnTo>
                <a:lnTo>
                  <a:pt x="1578" y="374"/>
                </a:lnTo>
                <a:lnTo>
                  <a:pt x="1575" y="375"/>
                </a:lnTo>
                <a:lnTo>
                  <a:pt x="1572" y="375"/>
                </a:lnTo>
                <a:lnTo>
                  <a:pt x="1570" y="374"/>
                </a:lnTo>
                <a:lnTo>
                  <a:pt x="1568" y="372"/>
                </a:lnTo>
                <a:lnTo>
                  <a:pt x="1561" y="369"/>
                </a:lnTo>
                <a:lnTo>
                  <a:pt x="1553" y="369"/>
                </a:lnTo>
                <a:lnTo>
                  <a:pt x="1536" y="372"/>
                </a:lnTo>
                <a:lnTo>
                  <a:pt x="1520" y="374"/>
                </a:lnTo>
                <a:lnTo>
                  <a:pt x="1514" y="374"/>
                </a:lnTo>
                <a:lnTo>
                  <a:pt x="1508" y="374"/>
                </a:lnTo>
                <a:lnTo>
                  <a:pt x="1507" y="372"/>
                </a:lnTo>
                <a:lnTo>
                  <a:pt x="1507" y="371"/>
                </a:lnTo>
                <a:lnTo>
                  <a:pt x="1509" y="369"/>
                </a:lnTo>
                <a:lnTo>
                  <a:pt x="1512" y="369"/>
                </a:lnTo>
                <a:lnTo>
                  <a:pt x="1519" y="368"/>
                </a:lnTo>
                <a:lnTo>
                  <a:pt x="1525" y="368"/>
                </a:lnTo>
                <a:lnTo>
                  <a:pt x="1532" y="367"/>
                </a:lnTo>
                <a:lnTo>
                  <a:pt x="1539" y="364"/>
                </a:lnTo>
                <a:lnTo>
                  <a:pt x="1525" y="364"/>
                </a:lnTo>
                <a:lnTo>
                  <a:pt x="1512" y="364"/>
                </a:lnTo>
                <a:lnTo>
                  <a:pt x="1499" y="364"/>
                </a:lnTo>
                <a:lnTo>
                  <a:pt x="1486" y="364"/>
                </a:lnTo>
                <a:lnTo>
                  <a:pt x="1494" y="368"/>
                </a:lnTo>
                <a:lnTo>
                  <a:pt x="1503" y="372"/>
                </a:lnTo>
                <a:lnTo>
                  <a:pt x="1492" y="375"/>
                </a:lnTo>
                <a:lnTo>
                  <a:pt x="1480" y="375"/>
                </a:lnTo>
                <a:lnTo>
                  <a:pt x="1475" y="375"/>
                </a:lnTo>
                <a:lnTo>
                  <a:pt x="1470" y="375"/>
                </a:lnTo>
                <a:lnTo>
                  <a:pt x="1466" y="374"/>
                </a:lnTo>
                <a:lnTo>
                  <a:pt x="1464" y="372"/>
                </a:lnTo>
                <a:lnTo>
                  <a:pt x="1458" y="368"/>
                </a:lnTo>
                <a:lnTo>
                  <a:pt x="1453" y="365"/>
                </a:lnTo>
                <a:lnTo>
                  <a:pt x="1451" y="361"/>
                </a:lnTo>
                <a:lnTo>
                  <a:pt x="1450" y="359"/>
                </a:lnTo>
                <a:lnTo>
                  <a:pt x="1445" y="358"/>
                </a:lnTo>
                <a:lnTo>
                  <a:pt x="1440" y="358"/>
                </a:lnTo>
                <a:lnTo>
                  <a:pt x="1426" y="358"/>
                </a:lnTo>
                <a:lnTo>
                  <a:pt x="1413" y="360"/>
                </a:lnTo>
                <a:lnTo>
                  <a:pt x="1400" y="361"/>
                </a:lnTo>
                <a:lnTo>
                  <a:pt x="1387" y="363"/>
                </a:lnTo>
                <a:lnTo>
                  <a:pt x="1380" y="364"/>
                </a:lnTo>
                <a:lnTo>
                  <a:pt x="1373" y="364"/>
                </a:lnTo>
                <a:lnTo>
                  <a:pt x="1366" y="363"/>
                </a:lnTo>
                <a:lnTo>
                  <a:pt x="1359" y="361"/>
                </a:lnTo>
                <a:lnTo>
                  <a:pt x="1355" y="360"/>
                </a:lnTo>
                <a:lnTo>
                  <a:pt x="1352" y="360"/>
                </a:lnTo>
                <a:lnTo>
                  <a:pt x="1349" y="363"/>
                </a:lnTo>
                <a:lnTo>
                  <a:pt x="1346" y="365"/>
                </a:lnTo>
                <a:lnTo>
                  <a:pt x="1357" y="365"/>
                </a:lnTo>
                <a:lnTo>
                  <a:pt x="1368" y="366"/>
                </a:lnTo>
                <a:lnTo>
                  <a:pt x="1373" y="369"/>
                </a:lnTo>
                <a:lnTo>
                  <a:pt x="1379" y="372"/>
                </a:lnTo>
                <a:lnTo>
                  <a:pt x="1385" y="373"/>
                </a:lnTo>
                <a:lnTo>
                  <a:pt x="1391" y="372"/>
                </a:lnTo>
                <a:lnTo>
                  <a:pt x="1405" y="372"/>
                </a:lnTo>
                <a:lnTo>
                  <a:pt x="1420" y="372"/>
                </a:lnTo>
                <a:lnTo>
                  <a:pt x="1424" y="372"/>
                </a:lnTo>
                <a:lnTo>
                  <a:pt x="1432" y="371"/>
                </a:lnTo>
                <a:lnTo>
                  <a:pt x="1435" y="371"/>
                </a:lnTo>
                <a:lnTo>
                  <a:pt x="1438" y="372"/>
                </a:lnTo>
                <a:lnTo>
                  <a:pt x="1440" y="373"/>
                </a:lnTo>
                <a:lnTo>
                  <a:pt x="1442" y="374"/>
                </a:lnTo>
                <a:lnTo>
                  <a:pt x="1438" y="376"/>
                </a:lnTo>
                <a:lnTo>
                  <a:pt x="1433" y="377"/>
                </a:lnTo>
                <a:lnTo>
                  <a:pt x="1429" y="379"/>
                </a:lnTo>
                <a:lnTo>
                  <a:pt x="1423" y="379"/>
                </a:lnTo>
                <a:lnTo>
                  <a:pt x="1413" y="379"/>
                </a:lnTo>
                <a:lnTo>
                  <a:pt x="1402" y="379"/>
                </a:lnTo>
                <a:lnTo>
                  <a:pt x="1391" y="379"/>
                </a:lnTo>
                <a:lnTo>
                  <a:pt x="1380" y="379"/>
                </a:lnTo>
                <a:lnTo>
                  <a:pt x="1369" y="379"/>
                </a:lnTo>
                <a:lnTo>
                  <a:pt x="1358" y="379"/>
                </a:lnTo>
                <a:lnTo>
                  <a:pt x="1354" y="379"/>
                </a:lnTo>
                <a:lnTo>
                  <a:pt x="1350" y="379"/>
                </a:lnTo>
                <a:lnTo>
                  <a:pt x="1348" y="381"/>
                </a:lnTo>
                <a:lnTo>
                  <a:pt x="1346" y="384"/>
                </a:lnTo>
                <a:lnTo>
                  <a:pt x="1341" y="386"/>
                </a:lnTo>
                <a:lnTo>
                  <a:pt x="1335" y="386"/>
                </a:lnTo>
                <a:lnTo>
                  <a:pt x="1325" y="386"/>
                </a:lnTo>
                <a:lnTo>
                  <a:pt x="1315" y="386"/>
                </a:lnTo>
                <a:lnTo>
                  <a:pt x="1310" y="386"/>
                </a:lnTo>
                <a:lnTo>
                  <a:pt x="1307" y="385"/>
                </a:lnTo>
                <a:lnTo>
                  <a:pt x="1303" y="384"/>
                </a:lnTo>
                <a:lnTo>
                  <a:pt x="1301" y="382"/>
                </a:lnTo>
                <a:lnTo>
                  <a:pt x="1316" y="381"/>
                </a:lnTo>
                <a:lnTo>
                  <a:pt x="1330" y="379"/>
                </a:lnTo>
                <a:lnTo>
                  <a:pt x="1323" y="376"/>
                </a:lnTo>
                <a:lnTo>
                  <a:pt x="1315" y="374"/>
                </a:lnTo>
                <a:lnTo>
                  <a:pt x="1307" y="373"/>
                </a:lnTo>
                <a:lnTo>
                  <a:pt x="1299" y="373"/>
                </a:lnTo>
                <a:lnTo>
                  <a:pt x="1290" y="373"/>
                </a:lnTo>
                <a:lnTo>
                  <a:pt x="1281" y="374"/>
                </a:lnTo>
                <a:lnTo>
                  <a:pt x="1272" y="374"/>
                </a:lnTo>
                <a:lnTo>
                  <a:pt x="1262" y="374"/>
                </a:lnTo>
                <a:lnTo>
                  <a:pt x="1255" y="374"/>
                </a:lnTo>
                <a:lnTo>
                  <a:pt x="1247" y="374"/>
                </a:lnTo>
                <a:lnTo>
                  <a:pt x="1243" y="375"/>
                </a:lnTo>
                <a:lnTo>
                  <a:pt x="1240" y="379"/>
                </a:lnTo>
                <a:lnTo>
                  <a:pt x="1235" y="380"/>
                </a:lnTo>
                <a:lnTo>
                  <a:pt x="1229" y="381"/>
                </a:lnTo>
                <a:lnTo>
                  <a:pt x="1225" y="381"/>
                </a:lnTo>
                <a:lnTo>
                  <a:pt x="1219" y="380"/>
                </a:lnTo>
                <a:lnTo>
                  <a:pt x="1212" y="375"/>
                </a:lnTo>
                <a:lnTo>
                  <a:pt x="1204" y="369"/>
                </a:lnTo>
                <a:lnTo>
                  <a:pt x="1189" y="367"/>
                </a:lnTo>
                <a:lnTo>
                  <a:pt x="1171" y="365"/>
                </a:lnTo>
                <a:lnTo>
                  <a:pt x="1156" y="363"/>
                </a:lnTo>
                <a:lnTo>
                  <a:pt x="1140" y="363"/>
                </a:lnTo>
                <a:lnTo>
                  <a:pt x="1132" y="363"/>
                </a:lnTo>
                <a:lnTo>
                  <a:pt x="1124" y="361"/>
                </a:lnTo>
                <a:lnTo>
                  <a:pt x="1117" y="358"/>
                </a:lnTo>
                <a:lnTo>
                  <a:pt x="1111" y="355"/>
                </a:lnTo>
                <a:lnTo>
                  <a:pt x="1118" y="355"/>
                </a:lnTo>
                <a:lnTo>
                  <a:pt x="1126" y="355"/>
                </a:lnTo>
                <a:lnTo>
                  <a:pt x="1130" y="356"/>
                </a:lnTo>
                <a:lnTo>
                  <a:pt x="1137" y="357"/>
                </a:lnTo>
                <a:lnTo>
                  <a:pt x="1152" y="357"/>
                </a:lnTo>
                <a:lnTo>
                  <a:pt x="1167" y="358"/>
                </a:lnTo>
                <a:lnTo>
                  <a:pt x="1184" y="359"/>
                </a:lnTo>
                <a:lnTo>
                  <a:pt x="1200" y="361"/>
                </a:lnTo>
                <a:lnTo>
                  <a:pt x="1217" y="363"/>
                </a:lnTo>
                <a:lnTo>
                  <a:pt x="1233" y="364"/>
                </a:lnTo>
                <a:lnTo>
                  <a:pt x="1249" y="366"/>
                </a:lnTo>
                <a:lnTo>
                  <a:pt x="1265" y="366"/>
                </a:lnTo>
                <a:lnTo>
                  <a:pt x="1277" y="364"/>
                </a:lnTo>
                <a:lnTo>
                  <a:pt x="1291" y="363"/>
                </a:lnTo>
                <a:lnTo>
                  <a:pt x="1305" y="364"/>
                </a:lnTo>
                <a:lnTo>
                  <a:pt x="1318" y="365"/>
                </a:lnTo>
                <a:lnTo>
                  <a:pt x="1323" y="363"/>
                </a:lnTo>
                <a:lnTo>
                  <a:pt x="1327" y="359"/>
                </a:lnTo>
                <a:lnTo>
                  <a:pt x="1331" y="355"/>
                </a:lnTo>
                <a:lnTo>
                  <a:pt x="1334" y="350"/>
                </a:lnTo>
                <a:lnTo>
                  <a:pt x="1330" y="349"/>
                </a:lnTo>
                <a:lnTo>
                  <a:pt x="1324" y="349"/>
                </a:lnTo>
                <a:lnTo>
                  <a:pt x="1321" y="352"/>
                </a:lnTo>
                <a:lnTo>
                  <a:pt x="1318" y="356"/>
                </a:lnTo>
                <a:lnTo>
                  <a:pt x="1315" y="358"/>
                </a:lnTo>
                <a:lnTo>
                  <a:pt x="1310" y="358"/>
                </a:lnTo>
                <a:lnTo>
                  <a:pt x="1306" y="358"/>
                </a:lnTo>
                <a:lnTo>
                  <a:pt x="1301" y="357"/>
                </a:lnTo>
                <a:lnTo>
                  <a:pt x="1290" y="355"/>
                </a:lnTo>
                <a:lnTo>
                  <a:pt x="1277" y="354"/>
                </a:lnTo>
                <a:lnTo>
                  <a:pt x="1265" y="351"/>
                </a:lnTo>
                <a:lnTo>
                  <a:pt x="1251" y="350"/>
                </a:lnTo>
                <a:lnTo>
                  <a:pt x="1245" y="351"/>
                </a:lnTo>
                <a:lnTo>
                  <a:pt x="1240" y="352"/>
                </a:lnTo>
                <a:lnTo>
                  <a:pt x="1235" y="355"/>
                </a:lnTo>
                <a:lnTo>
                  <a:pt x="1231" y="356"/>
                </a:lnTo>
                <a:lnTo>
                  <a:pt x="1225" y="352"/>
                </a:lnTo>
                <a:lnTo>
                  <a:pt x="1220" y="349"/>
                </a:lnTo>
                <a:lnTo>
                  <a:pt x="1215" y="347"/>
                </a:lnTo>
                <a:lnTo>
                  <a:pt x="1209" y="346"/>
                </a:lnTo>
                <a:lnTo>
                  <a:pt x="1200" y="346"/>
                </a:lnTo>
                <a:lnTo>
                  <a:pt x="1190" y="344"/>
                </a:lnTo>
                <a:lnTo>
                  <a:pt x="1178" y="342"/>
                </a:lnTo>
                <a:lnTo>
                  <a:pt x="1167" y="340"/>
                </a:lnTo>
                <a:lnTo>
                  <a:pt x="1163" y="338"/>
                </a:lnTo>
                <a:lnTo>
                  <a:pt x="1160" y="336"/>
                </a:lnTo>
                <a:lnTo>
                  <a:pt x="1154" y="334"/>
                </a:lnTo>
                <a:lnTo>
                  <a:pt x="1149" y="334"/>
                </a:lnTo>
                <a:lnTo>
                  <a:pt x="1144" y="334"/>
                </a:lnTo>
                <a:lnTo>
                  <a:pt x="1140" y="334"/>
                </a:lnTo>
                <a:lnTo>
                  <a:pt x="1134" y="332"/>
                </a:lnTo>
                <a:lnTo>
                  <a:pt x="1129" y="330"/>
                </a:lnTo>
                <a:lnTo>
                  <a:pt x="1125" y="328"/>
                </a:lnTo>
                <a:lnTo>
                  <a:pt x="1120" y="328"/>
                </a:lnTo>
                <a:lnTo>
                  <a:pt x="1116" y="331"/>
                </a:lnTo>
                <a:lnTo>
                  <a:pt x="1111" y="332"/>
                </a:lnTo>
                <a:lnTo>
                  <a:pt x="1099" y="332"/>
                </a:lnTo>
                <a:lnTo>
                  <a:pt x="1085" y="330"/>
                </a:lnTo>
                <a:lnTo>
                  <a:pt x="1071" y="327"/>
                </a:lnTo>
                <a:lnTo>
                  <a:pt x="1058" y="324"/>
                </a:lnTo>
                <a:lnTo>
                  <a:pt x="1045" y="321"/>
                </a:lnTo>
                <a:lnTo>
                  <a:pt x="1031" y="316"/>
                </a:lnTo>
                <a:lnTo>
                  <a:pt x="1027" y="314"/>
                </a:lnTo>
                <a:lnTo>
                  <a:pt x="1022" y="313"/>
                </a:lnTo>
                <a:lnTo>
                  <a:pt x="1018" y="310"/>
                </a:lnTo>
                <a:lnTo>
                  <a:pt x="1012" y="310"/>
                </a:lnTo>
                <a:lnTo>
                  <a:pt x="1004" y="313"/>
                </a:lnTo>
                <a:lnTo>
                  <a:pt x="996" y="313"/>
                </a:lnTo>
                <a:lnTo>
                  <a:pt x="994" y="311"/>
                </a:lnTo>
                <a:lnTo>
                  <a:pt x="990" y="308"/>
                </a:lnTo>
                <a:lnTo>
                  <a:pt x="989" y="307"/>
                </a:lnTo>
                <a:lnTo>
                  <a:pt x="988" y="306"/>
                </a:lnTo>
                <a:lnTo>
                  <a:pt x="987" y="306"/>
                </a:lnTo>
                <a:lnTo>
                  <a:pt x="985" y="306"/>
                </a:lnTo>
                <a:lnTo>
                  <a:pt x="975" y="306"/>
                </a:lnTo>
                <a:lnTo>
                  <a:pt x="964" y="306"/>
                </a:lnTo>
                <a:lnTo>
                  <a:pt x="960" y="307"/>
                </a:lnTo>
                <a:lnTo>
                  <a:pt x="955" y="307"/>
                </a:lnTo>
                <a:lnTo>
                  <a:pt x="951" y="307"/>
                </a:lnTo>
                <a:lnTo>
                  <a:pt x="946" y="306"/>
                </a:lnTo>
                <a:lnTo>
                  <a:pt x="932" y="303"/>
                </a:lnTo>
                <a:lnTo>
                  <a:pt x="920" y="300"/>
                </a:lnTo>
                <a:lnTo>
                  <a:pt x="907" y="296"/>
                </a:lnTo>
                <a:lnTo>
                  <a:pt x="895" y="293"/>
                </a:lnTo>
                <a:lnTo>
                  <a:pt x="882" y="291"/>
                </a:lnTo>
                <a:lnTo>
                  <a:pt x="870" y="288"/>
                </a:lnTo>
                <a:lnTo>
                  <a:pt x="858" y="284"/>
                </a:lnTo>
                <a:lnTo>
                  <a:pt x="848" y="281"/>
                </a:lnTo>
                <a:lnTo>
                  <a:pt x="839" y="275"/>
                </a:lnTo>
                <a:lnTo>
                  <a:pt x="829" y="271"/>
                </a:lnTo>
                <a:lnTo>
                  <a:pt x="817" y="268"/>
                </a:lnTo>
                <a:lnTo>
                  <a:pt x="807" y="265"/>
                </a:lnTo>
                <a:lnTo>
                  <a:pt x="803" y="261"/>
                </a:lnTo>
                <a:lnTo>
                  <a:pt x="798" y="258"/>
                </a:lnTo>
                <a:lnTo>
                  <a:pt x="794" y="256"/>
                </a:lnTo>
                <a:lnTo>
                  <a:pt x="788" y="255"/>
                </a:lnTo>
                <a:lnTo>
                  <a:pt x="775" y="255"/>
                </a:lnTo>
                <a:lnTo>
                  <a:pt x="764" y="255"/>
                </a:lnTo>
                <a:lnTo>
                  <a:pt x="749" y="250"/>
                </a:lnTo>
                <a:lnTo>
                  <a:pt x="736" y="245"/>
                </a:lnTo>
                <a:lnTo>
                  <a:pt x="732" y="244"/>
                </a:lnTo>
                <a:lnTo>
                  <a:pt x="729" y="243"/>
                </a:lnTo>
                <a:lnTo>
                  <a:pt x="726" y="242"/>
                </a:lnTo>
                <a:lnTo>
                  <a:pt x="724" y="239"/>
                </a:lnTo>
                <a:lnTo>
                  <a:pt x="721" y="232"/>
                </a:lnTo>
                <a:lnTo>
                  <a:pt x="720" y="225"/>
                </a:lnTo>
                <a:lnTo>
                  <a:pt x="722" y="222"/>
                </a:lnTo>
                <a:lnTo>
                  <a:pt x="725" y="218"/>
                </a:lnTo>
                <a:lnTo>
                  <a:pt x="726" y="217"/>
                </a:lnTo>
                <a:lnTo>
                  <a:pt x="729" y="216"/>
                </a:lnTo>
                <a:lnTo>
                  <a:pt x="731" y="216"/>
                </a:lnTo>
                <a:lnTo>
                  <a:pt x="732" y="217"/>
                </a:lnTo>
                <a:lnTo>
                  <a:pt x="733" y="220"/>
                </a:lnTo>
                <a:lnTo>
                  <a:pt x="733" y="224"/>
                </a:lnTo>
                <a:lnTo>
                  <a:pt x="738" y="225"/>
                </a:lnTo>
                <a:lnTo>
                  <a:pt x="742" y="225"/>
                </a:lnTo>
                <a:lnTo>
                  <a:pt x="748" y="227"/>
                </a:lnTo>
                <a:lnTo>
                  <a:pt x="754" y="228"/>
                </a:lnTo>
                <a:lnTo>
                  <a:pt x="759" y="230"/>
                </a:lnTo>
                <a:lnTo>
                  <a:pt x="765" y="230"/>
                </a:lnTo>
                <a:lnTo>
                  <a:pt x="771" y="227"/>
                </a:lnTo>
                <a:lnTo>
                  <a:pt x="777" y="227"/>
                </a:lnTo>
                <a:lnTo>
                  <a:pt x="781" y="231"/>
                </a:lnTo>
                <a:lnTo>
                  <a:pt x="783" y="235"/>
                </a:lnTo>
                <a:lnTo>
                  <a:pt x="787" y="238"/>
                </a:lnTo>
                <a:lnTo>
                  <a:pt x="791" y="236"/>
                </a:lnTo>
                <a:lnTo>
                  <a:pt x="796" y="236"/>
                </a:lnTo>
                <a:lnTo>
                  <a:pt x="800" y="239"/>
                </a:lnTo>
                <a:lnTo>
                  <a:pt x="804" y="240"/>
                </a:lnTo>
                <a:lnTo>
                  <a:pt x="808" y="241"/>
                </a:lnTo>
                <a:lnTo>
                  <a:pt x="811" y="241"/>
                </a:lnTo>
                <a:lnTo>
                  <a:pt x="812" y="240"/>
                </a:lnTo>
                <a:lnTo>
                  <a:pt x="813" y="238"/>
                </a:lnTo>
                <a:lnTo>
                  <a:pt x="812" y="235"/>
                </a:lnTo>
                <a:lnTo>
                  <a:pt x="810" y="232"/>
                </a:lnTo>
                <a:lnTo>
                  <a:pt x="807" y="228"/>
                </a:lnTo>
                <a:lnTo>
                  <a:pt x="803" y="226"/>
                </a:lnTo>
                <a:lnTo>
                  <a:pt x="798" y="225"/>
                </a:lnTo>
                <a:lnTo>
                  <a:pt x="795" y="225"/>
                </a:lnTo>
                <a:lnTo>
                  <a:pt x="791" y="225"/>
                </a:lnTo>
                <a:lnTo>
                  <a:pt x="789" y="225"/>
                </a:lnTo>
                <a:lnTo>
                  <a:pt x="788" y="224"/>
                </a:lnTo>
                <a:lnTo>
                  <a:pt x="787" y="223"/>
                </a:lnTo>
                <a:lnTo>
                  <a:pt x="786" y="220"/>
                </a:lnTo>
                <a:lnTo>
                  <a:pt x="786" y="216"/>
                </a:lnTo>
                <a:lnTo>
                  <a:pt x="786" y="213"/>
                </a:lnTo>
                <a:lnTo>
                  <a:pt x="786" y="210"/>
                </a:lnTo>
                <a:lnTo>
                  <a:pt x="784" y="208"/>
                </a:lnTo>
                <a:lnTo>
                  <a:pt x="784" y="207"/>
                </a:lnTo>
                <a:lnTo>
                  <a:pt x="786" y="206"/>
                </a:lnTo>
                <a:lnTo>
                  <a:pt x="791" y="206"/>
                </a:lnTo>
                <a:lnTo>
                  <a:pt x="796" y="207"/>
                </a:lnTo>
                <a:lnTo>
                  <a:pt x="804" y="207"/>
                </a:lnTo>
                <a:lnTo>
                  <a:pt x="811" y="206"/>
                </a:lnTo>
                <a:lnTo>
                  <a:pt x="804" y="200"/>
                </a:lnTo>
                <a:lnTo>
                  <a:pt x="796" y="193"/>
                </a:lnTo>
                <a:lnTo>
                  <a:pt x="791" y="191"/>
                </a:lnTo>
                <a:lnTo>
                  <a:pt x="787" y="189"/>
                </a:lnTo>
                <a:lnTo>
                  <a:pt x="782" y="188"/>
                </a:lnTo>
                <a:lnTo>
                  <a:pt x="778" y="186"/>
                </a:lnTo>
                <a:lnTo>
                  <a:pt x="769" y="186"/>
                </a:lnTo>
                <a:lnTo>
                  <a:pt x="759" y="190"/>
                </a:lnTo>
                <a:lnTo>
                  <a:pt x="758" y="191"/>
                </a:lnTo>
                <a:lnTo>
                  <a:pt x="757" y="192"/>
                </a:lnTo>
                <a:lnTo>
                  <a:pt x="757" y="193"/>
                </a:lnTo>
                <a:lnTo>
                  <a:pt x="758" y="194"/>
                </a:lnTo>
                <a:lnTo>
                  <a:pt x="761" y="195"/>
                </a:lnTo>
                <a:lnTo>
                  <a:pt x="764" y="197"/>
                </a:lnTo>
                <a:lnTo>
                  <a:pt x="766" y="199"/>
                </a:lnTo>
                <a:lnTo>
                  <a:pt x="767" y="200"/>
                </a:lnTo>
                <a:lnTo>
                  <a:pt x="766" y="202"/>
                </a:lnTo>
                <a:lnTo>
                  <a:pt x="765" y="205"/>
                </a:lnTo>
                <a:lnTo>
                  <a:pt x="764" y="208"/>
                </a:lnTo>
                <a:lnTo>
                  <a:pt x="765" y="210"/>
                </a:lnTo>
                <a:lnTo>
                  <a:pt x="765" y="211"/>
                </a:lnTo>
                <a:lnTo>
                  <a:pt x="765" y="213"/>
                </a:lnTo>
                <a:lnTo>
                  <a:pt x="764" y="214"/>
                </a:lnTo>
                <a:lnTo>
                  <a:pt x="762" y="215"/>
                </a:lnTo>
                <a:lnTo>
                  <a:pt x="757" y="216"/>
                </a:lnTo>
                <a:lnTo>
                  <a:pt x="753" y="217"/>
                </a:lnTo>
                <a:lnTo>
                  <a:pt x="748" y="216"/>
                </a:lnTo>
                <a:lnTo>
                  <a:pt x="742" y="215"/>
                </a:lnTo>
                <a:lnTo>
                  <a:pt x="733" y="213"/>
                </a:lnTo>
                <a:lnTo>
                  <a:pt x="725" y="208"/>
                </a:lnTo>
                <a:lnTo>
                  <a:pt x="715" y="203"/>
                </a:lnTo>
                <a:lnTo>
                  <a:pt x="706" y="201"/>
                </a:lnTo>
                <a:lnTo>
                  <a:pt x="701" y="200"/>
                </a:lnTo>
                <a:lnTo>
                  <a:pt x="696" y="200"/>
                </a:lnTo>
                <a:lnTo>
                  <a:pt x="691" y="198"/>
                </a:lnTo>
                <a:lnTo>
                  <a:pt x="687" y="197"/>
                </a:lnTo>
                <a:lnTo>
                  <a:pt x="685" y="193"/>
                </a:lnTo>
                <a:lnTo>
                  <a:pt x="685" y="190"/>
                </a:lnTo>
                <a:lnTo>
                  <a:pt x="688" y="186"/>
                </a:lnTo>
                <a:lnTo>
                  <a:pt x="690" y="184"/>
                </a:lnTo>
                <a:lnTo>
                  <a:pt x="695" y="184"/>
                </a:lnTo>
                <a:lnTo>
                  <a:pt x="700" y="185"/>
                </a:lnTo>
                <a:lnTo>
                  <a:pt x="705" y="186"/>
                </a:lnTo>
                <a:lnTo>
                  <a:pt x="709" y="188"/>
                </a:lnTo>
                <a:lnTo>
                  <a:pt x="713" y="189"/>
                </a:lnTo>
                <a:lnTo>
                  <a:pt x="717" y="189"/>
                </a:lnTo>
                <a:lnTo>
                  <a:pt x="722" y="189"/>
                </a:lnTo>
                <a:lnTo>
                  <a:pt x="725" y="185"/>
                </a:lnTo>
                <a:lnTo>
                  <a:pt x="726" y="182"/>
                </a:lnTo>
                <a:lnTo>
                  <a:pt x="726" y="180"/>
                </a:lnTo>
                <a:lnTo>
                  <a:pt x="725" y="177"/>
                </a:lnTo>
                <a:lnTo>
                  <a:pt x="722" y="175"/>
                </a:lnTo>
                <a:lnTo>
                  <a:pt x="711" y="173"/>
                </a:lnTo>
                <a:lnTo>
                  <a:pt x="698" y="172"/>
                </a:lnTo>
                <a:lnTo>
                  <a:pt x="685" y="169"/>
                </a:lnTo>
                <a:lnTo>
                  <a:pt x="673" y="168"/>
                </a:lnTo>
                <a:lnTo>
                  <a:pt x="663" y="167"/>
                </a:lnTo>
                <a:lnTo>
                  <a:pt x="654" y="165"/>
                </a:lnTo>
                <a:lnTo>
                  <a:pt x="649" y="164"/>
                </a:lnTo>
                <a:lnTo>
                  <a:pt x="648" y="161"/>
                </a:lnTo>
                <a:lnTo>
                  <a:pt x="647" y="158"/>
                </a:lnTo>
                <a:lnTo>
                  <a:pt x="644" y="155"/>
                </a:lnTo>
                <a:lnTo>
                  <a:pt x="641" y="153"/>
                </a:lnTo>
                <a:lnTo>
                  <a:pt x="639" y="150"/>
                </a:lnTo>
                <a:lnTo>
                  <a:pt x="639" y="149"/>
                </a:lnTo>
                <a:lnTo>
                  <a:pt x="641" y="149"/>
                </a:lnTo>
                <a:lnTo>
                  <a:pt x="643" y="149"/>
                </a:lnTo>
                <a:lnTo>
                  <a:pt x="644" y="149"/>
                </a:lnTo>
                <a:lnTo>
                  <a:pt x="651" y="150"/>
                </a:lnTo>
                <a:lnTo>
                  <a:pt x="657" y="152"/>
                </a:lnTo>
                <a:lnTo>
                  <a:pt x="664" y="153"/>
                </a:lnTo>
                <a:lnTo>
                  <a:pt x="671" y="152"/>
                </a:lnTo>
                <a:lnTo>
                  <a:pt x="652" y="148"/>
                </a:lnTo>
                <a:lnTo>
                  <a:pt x="635" y="142"/>
                </a:lnTo>
                <a:lnTo>
                  <a:pt x="626" y="140"/>
                </a:lnTo>
                <a:lnTo>
                  <a:pt x="617" y="137"/>
                </a:lnTo>
                <a:lnTo>
                  <a:pt x="608" y="136"/>
                </a:lnTo>
                <a:lnTo>
                  <a:pt x="599" y="137"/>
                </a:lnTo>
                <a:lnTo>
                  <a:pt x="604" y="140"/>
                </a:lnTo>
                <a:lnTo>
                  <a:pt x="609" y="143"/>
                </a:lnTo>
                <a:lnTo>
                  <a:pt x="611" y="144"/>
                </a:lnTo>
                <a:lnTo>
                  <a:pt x="613" y="147"/>
                </a:lnTo>
                <a:lnTo>
                  <a:pt x="613" y="149"/>
                </a:lnTo>
                <a:lnTo>
                  <a:pt x="610" y="150"/>
                </a:lnTo>
                <a:lnTo>
                  <a:pt x="607" y="150"/>
                </a:lnTo>
                <a:lnTo>
                  <a:pt x="604" y="148"/>
                </a:lnTo>
                <a:lnTo>
                  <a:pt x="601" y="147"/>
                </a:lnTo>
                <a:lnTo>
                  <a:pt x="599" y="144"/>
                </a:lnTo>
                <a:lnTo>
                  <a:pt x="591" y="141"/>
                </a:lnTo>
                <a:lnTo>
                  <a:pt x="584" y="139"/>
                </a:lnTo>
                <a:lnTo>
                  <a:pt x="571" y="139"/>
                </a:lnTo>
                <a:lnTo>
                  <a:pt x="558" y="137"/>
                </a:lnTo>
                <a:lnTo>
                  <a:pt x="547" y="132"/>
                </a:lnTo>
                <a:lnTo>
                  <a:pt x="535" y="125"/>
                </a:lnTo>
                <a:lnTo>
                  <a:pt x="523" y="122"/>
                </a:lnTo>
                <a:lnTo>
                  <a:pt x="509" y="119"/>
                </a:lnTo>
                <a:lnTo>
                  <a:pt x="505" y="118"/>
                </a:lnTo>
                <a:lnTo>
                  <a:pt x="501" y="115"/>
                </a:lnTo>
                <a:lnTo>
                  <a:pt x="500" y="110"/>
                </a:lnTo>
                <a:lnTo>
                  <a:pt x="500" y="106"/>
                </a:lnTo>
                <a:lnTo>
                  <a:pt x="497" y="105"/>
                </a:lnTo>
                <a:lnTo>
                  <a:pt x="493" y="103"/>
                </a:lnTo>
                <a:lnTo>
                  <a:pt x="486" y="101"/>
                </a:lnTo>
                <a:lnTo>
                  <a:pt x="478" y="99"/>
                </a:lnTo>
                <a:lnTo>
                  <a:pt x="471" y="98"/>
                </a:lnTo>
                <a:lnTo>
                  <a:pt x="465" y="97"/>
                </a:lnTo>
                <a:lnTo>
                  <a:pt x="461" y="97"/>
                </a:lnTo>
                <a:lnTo>
                  <a:pt x="459" y="97"/>
                </a:lnTo>
                <a:lnTo>
                  <a:pt x="457" y="97"/>
                </a:lnTo>
                <a:lnTo>
                  <a:pt x="453" y="94"/>
                </a:lnTo>
                <a:lnTo>
                  <a:pt x="450" y="92"/>
                </a:lnTo>
                <a:lnTo>
                  <a:pt x="444" y="91"/>
                </a:lnTo>
                <a:lnTo>
                  <a:pt x="440" y="91"/>
                </a:lnTo>
                <a:lnTo>
                  <a:pt x="434" y="91"/>
                </a:lnTo>
                <a:lnTo>
                  <a:pt x="423" y="87"/>
                </a:lnTo>
                <a:lnTo>
                  <a:pt x="411" y="81"/>
                </a:lnTo>
                <a:lnTo>
                  <a:pt x="399" y="76"/>
                </a:lnTo>
                <a:lnTo>
                  <a:pt x="387" y="72"/>
                </a:lnTo>
                <a:lnTo>
                  <a:pt x="375" y="67"/>
                </a:lnTo>
                <a:lnTo>
                  <a:pt x="363" y="59"/>
                </a:lnTo>
                <a:lnTo>
                  <a:pt x="358" y="56"/>
                </a:lnTo>
                <a:lnTo>
                  <a:pt x="351" y="52"/>
                </a:lnTo>
                <a:lnTo>
                  <a:pt x="344" y="49"/>
                </a:lnTo>
                <a:lnTo>
                  <a:pt x="336" y="47"/>
                </a:lnTo>
                <a:lnTo>
                  <a:pt x="322" y="42"/>
                </a:lnTo>
                <a:lnTo>
                  <a:pt x="308" y="36"/>
                </a:lnTo>
                <a:lnTo>
                  <a:pt x="295" y="32"/>
                </a:lnTo>
                <a:lnTo>
                  <a:pt x="283" y="27"/>
                </a:lnTo>
                <a:lnTo>
                  <a:pt x="268" y="23"/>
                </a:lnTo>
                <a:lnTo>
                  <a:pt x="254" y="19"/>
                </a:lnTo>
                <a:lnTo>
                  <a:pt x="239" y="12"/>
                </a:lnTo>
                <a:lnTo>
                  <a:pt x="225" y="6"/>
                </a:lnTo>
                <a:lnTo>
                  <a:pt x="217" y="2"/>
                </a:lnTo>
                <a:lnTo>
                  <a:pt x="209" y="0"/>
                </a:lnTo>
                <a:lnTo>
                  <a:pt x="203" y="1"/>
                </a:lnTo>
                <a:lnTo>
                  <a:pt x="197" y="3"/>
                </a:lnTo>
                <a:lnTo>
                  <a:pt x="180" y="4"/>
                </a:lnTo>
                <a:lnTo>
                  <a:pt x="163" y="4"/>
                </a:lnTo>
                <a:lnTo>
                  <a:pt x="161" y="4"/>
                </a:lnTo>
                <a:lnTo>
                  <a:pt x="160" y="6"/>
                </a:lnTo>
                <a:lnTo>
                  <a:pt x="157" y="7"/>
                </a:lnTo>
                <a:lnTo>
                  <a:pt x="156" y="9"/>
                </a:lnTo>
                <a:lnTo>
                  <a:pt x="155" y="16"/>
                </a:lnTo>
                <a:lnTo>
                  <a:pt x="154" y="20"/>
                </a:lnTo>
                <a:lnTo>
                  <a:pt x="145" y="25"/>
                </a:lnTo>
                <a:lnTo>
                  <a:pt x="138" y="29"/>
                </a:lnTo>
                <a:lnTo>
                  <a:pt x="136" y="34"/>
                </a:lnTo>
                <a:lnTo>
                  <a:pt x="133" y="39"/>
                </a:lnTo>
                <a:lnTo>
                  <a:pt x="132" y="41"/>
                </a:lnTo>
                <a:lnTo>
                  <a:pt x="131" y="43"/>
                </a:lnTo>
                <a:lnTo>
                  <a:pt x="129" y="44"/>
                </a:lnTo>
                <a:lnTo>
                  <a:pt x="127" y="45"/>
                </a:lnTo>
                <a:lnTo>
                  <a:pt x="122" y="44"/>
                </a:lnTo>
                <a:lnTo>
                  <a:pt x="118" y="42"/>
                </a:lnTo>
                <a:lnTo>
                  <a:pt x="115" y="41"/>
                </a:lnTo>
                <a:lnTo>
                  <a:pt x="113" y="41"/>
                </a:lnTo>
                <a:lnTo>
                  <a:pt x="111" y="42"/>
                </a:lnTo>
                <a:lnTo>
                  <a:pt x="108" y="43"/>
                </a:lnTo>
                <a:lnTo>
                  <a:pt x="105" y="44"/>
                </a:lnTo>
                <a:lnTo>
                  <a:pt x="102" y="44"/>
                </a:lnTo>
                <a:lnTo>
                  <a:pt x="98" y="42"/>
                </a:lnTo>
                <a:lnTo>
                  <a:pt x="94" y="39"/>
                </a:lnTo>
                <a:lnTo>
                  <a:pt x="85" y="39"/>
                </a:lnTo>
                <a:lnTo>
                  <a:pt x="75" y="41"/>
                </a:lnTo>
                <a:lnTo>
                  <a:pt x="71" y="43"/>
                </a:lnTo>
                <a:lnTo>
                  <a:pt x="69" y="45"/>
                </a:lnTo>
                <a:lnTo>
                  <a:pt x="66" y="48"/>
                </a:lnTo>
                <a:lnTo>
                  <a:pt x="65" y="52"/>
                </a:lnTo>
                <a:lnTo>
                  <a:pt x="64" y="54"/>
                </a:lnTo>
                <a:lnTo>
                  <a:pt x="63" y="56"/>
                </a:lnTo>
                <a:lnTo>
                  <a:pt x="62" y="58"/>
                </a:lnTo>
                <a:lnTo>
                  <a:pt x="61" y="59"/>
                </a:lnTo>
                <a:lnTo>
                  <a:pt x="58" y="62"/>
                </a:lnTo>
                <a:lnTo>
                  <a:pt x="57" y="66"/>
                </a:lnTo>
                <a:lnTo>
                  <a:pt x="56" y="70"/>
                </a:lnTo>
                <a:lnTo>
                  <a:pt x="56" y="75"/>
                </a:lnTo>
                <a:lnTo>
                  <a:pt x="54" y="78"/>
                </a:lnTo>
                <a:lnTo>
                  <a:pt x="52" y="82"/>
                </a:lnTo>
                <a:close/>
                <a:moveTo>
                  <a:pt x="564" y="639"/>
                </a:moveTo>
                <a:lnTo>
                  <a:pt x="563" y="640"/>
                </a:lnTo>
                <a:lnTo>
                  <a:pt x="561" y="641"/>
                </a:lnTo>
                <a:lnTo>
                  <a:pt x="561" y="643"/>
                </a:lnTo>
                <a:lnTo>
                  <a:pt x="563" y="645"/>
                </a:lnTo>
                <a:lnTo>
                  <a:pt x="565" y="648"/>
                </a:lnTo>
                <a:lnTo>
                  <a:pt x="568" y="649"/>
                </a:lnTo>
                <a:lnTo>
                  <a:pt x="569" y="649"/>
                </a:lnTo>
                <a:lnTo>
                  <a:pt x="571" y="648"/>
                </a:lnTo>
                <a:lnTo>
                  <a:pt x="572" y="647"/>
                </a:lnTo>
                <a:lnTo>
                  <a:pt x="572" y="646"/>
                </a:lnTo>
                <a:lnTo>
                  <a:pt x="571" y="642"/>
                </a:lnTo>
                <a:lnTo>
                  <a:pt x="568" y="641"/>
                </a:lnTo>
                <a:lnTo>
                  <a:pt x="566" y="640"/>
                </a:lnTo>
                <a:lnTo>
                  <a:pt x="564" y="639"/>
                </a:lnTo>
                <a:lnTo>
                  <a:pt x="564" y="640"/>
                </a:lnTo>
                <a:lnTo>
                  <a:pt x="564" y="639"/>
                </a:lnTo>
                <a:close/>
                <a:moveTo>
                  <a:pt x="1863" y="826"/>
                </a:moveTo>
                <a:lnTo>
                  <a:pt x="1863" y="826"/>
                </a:lnTo>
                <a:lnTo>
                  <a:pt x="1863" y="826"/>
                </a:lnTo>
                <a:lnTo>
                  <a:pt x="1863" y="828"/>
                </a:lnTo>
                <a:lnTo>
                  <a:pt x="1863" y="826"/>
                </a:lnTo>
                <a:close/>
                <a:moveTo>
                  <a:pt x="1758" y="809"/>
                </a:moveTo>
                <a:lnTo>
                  <a:pt x="1756" y="809"/>
                </a:lnTo>
                <a:lnTo>
                  <a:pt x="1758" y="811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lnTo>
                  <a:pt x="1758" y="809"/>
                </a:lnTo>
                <a:close/>
                <a:moveTo>
                  <a:pt x="1215" y="513"/>
                </a:moveTo>
                <a:lnTo>
                  <a:pt x="1218" y="513"/>
                </a:lnTo>
                <a:lnTo>
                  <a:pt x="1220" y="513"/>
                </a:lnTo>
                <a:lnTo>
                  <a:pt x="1218" y="512"/>
                </a:lnTo>
                <a:lnTo>
                  <a:pt x="1215" y="513"/>
                </a:lnTo>
                <a:close/>
                <a:moveTo>
                  <a:pt x="45" y="91"/>
                </a:moveTo>
                <a:lnTo>
                  <a:pt x="46" y="90"/>
                </a:lnTo>
                <a:lnTo>
                  <a:pt x="45" y="87"/>
                </a:lnTo>
                <a:lnTo>
                  <a:pt x="44" y="86"/>
                </a:lnTo>
                <a:lnTo>
                  <a:pt x="42" y="85"/>
                </a:lnTo>
                <a:lnTo>
                  <a:pt x="42" y="86"/>
                </a:lnTo>
                <a:lnTo>
                  <a:pt x="42" y="89"/>
                </a:lnTo>
                <a:lnTo>
                  <a:pt x="42" y="90"/>
                </a:lnTo>
                <a:lnTo>
                  <a:pt x="45" y="91"/>
                </a:lnTo>
                <a:lnTo>
                  <a:pt x="45" y="91"/>
                </a:lnTo>
                <a:lnTo>
                  <a:pt x="45" y="91"/>
                </a:lnTo>
                <a:close/>
                <a:moveTo>
                  <a:pt x="1688" y="302"/>
                </a:moveTo>
                <a:lnTo>
                  <a:pt x="1684" y="301"/>
                </a:lnTo>
                <a:lnTo>
                  <a:pt x="1679" y="302"/>
                </a:lnTo>
                <a:lnTo>
                  <a:pt x="1674" y="305"/>
                </a:lnTo>
                <a:lnTo>
                  <a:pt x="1670" y="307"/>
                </a:lnTo>
                <a:lnTo>
                  <a:pt x="1661" y="309"/>
                </a:lnTo>
                <a:lnTo>
                  <a:pt x="1653" y="313"/>
                </a:lnTo>
                <a:lnTo>
                  <a:pt x="1644" y="314"/>
                </a:lnTo>
                <a:lnTo>
                  <a:pt x="1635" y="313"/>
                </a:lnTo>
                <a:lnTo>
                  <a:pt x="1630" y="310"/>
                </a:lnTo>
                <a:lnTo>
                  <a:pt x="1627" y="309"/>
                </a:lnTo>
                <a:lnTo>
                  <a:pt x="1622" y="309"/>
                </a:lnTo>
                <a:lnTo>
                  <a:pt x="1618" y="310"/>
                </a:lnTo>
                <a:lnTo>
                  <a:pt x="1616" y="313"/>
                </a:lnTo>
                <a:lnTo>
                  <a:pt x="1616" y="315"/>
                </a:lnTo>
                <a:lnTo>
                  <a:pt x="1618" y="317"/>
                </a:lnTo>
                <a:lnTo>
                  <a:pt x="1619" y="319"/>
                </a:lnTo>
                <a:lnTo>
                  <a:pt x="1621" y="322"/>
                </a:lnTo>
                <a:lnTo>
                  <a:pt x="1623" y="324"/>
                </a:lnTo>
                <a:lnTo>
                  <a:pt x="1626" y="324"/>
                </a:lnTo>
                <a:lnTo>
                  <a:pt x="1630" y="324"/>
                </a:lnTo>
                <a:lnTo>
                  <a:pt x="1640" y="324"/>
                </a:lnTo>
                <a:lnTo>
                  <a:pt x="1649" y="323"/>
                </a:lnTo>
                <a:lnTo>
                  <a:pt x="1660" y="322"/>
                </a:lnTo>
                <a:lnTo>
                  <a:pt x="1670" y="319"/>
                </a:lnTo>
                <a:lnTo>
                  <a:pt x="1679" y="317"/>
                </a:lnTo>
                <a:lnTo>
                  <a:pt x="1689" y="314"/>
                </a:lnTo>
                <a:lnTo>
                  <a:pt x="1697" y="313"/>
                </a:lnTo>
                <a:lnTo>
                  <a:pt x="1704" y="310"/>
                </a:lnTo>
                <a:lnTo>
                  <a:pt x="1706" y="308"/>
                </a:lnTo>
                <a:lnTo>
                  <a:pt x="1709" y="308"/>
                </a:lnTo>
                <a:lnTo>
                  <a:pt x="1711" y="308"/>
                </a:lnTo>
                <a:lnTo>
                  <a:pt x="1713" y="308"/>
                </a:lnTo>
                <a:lnTo>
                  <a:pt x="1717" y="307"/>
                </a:lnTo>
                <a:lnTo>
                  <a:pt x="1719" y="307"/>
                </a:lnTo>
                <a:lnTo>
                  <a:pt x="1728" y="303"/>
                </a:lnTo>
                <a:lnTo>
                  <a:pt x="1737" y="300"/>
                </a:lnTo>
                <a:lnTo>
                  <a:pt x="1746" y="300"/>
                </a:lnTo>
                <a:lnTo>
                  <a:pt x="1756" y="300"/>
                </a:lnTo>
                <a:lnTo>
                  <a:pt x="1767" y="298"/>
                </a:lnTo>
                <a:lnTo>
                  <a:pt x="1776" y="296"/>
                </a:lnTo>
                <a:lnTo>
                  <a:pt x="1784" y="293"/>
                </a:lnTo>
                <a:lnTo>
                  <a:pt x="1793" y="290"/>
                </a:lnTo>
                <a:lnTo>
                  <a:pt x="1797" y="289"/>
                </a:lnTo>
                <a:lnTo>
                  <a:pt x="1801" y="286"/>
                </a:lnTo>
                <a:lnTo>
                  <a:pt x="1804" y="283"/>
                </a:lnTo>
                <a:lnTo>
                  <a:pt x="1808" y="281"/>
                </a:lnTo>
                <a:lnTo>
                  <a:pt x="1801" y="278"/>
                </a:lnTo>
                <a:lnTo>
                  <a:pt x="1794" y="277"/>
                </a:lnTo>
                <a:lnTo>
                  <a:pt x="1786" y="280"/>
                </a:lnTo>
                <a:lnTo>
                  <a:pt x="1778" y="282"/>
                </a:lnTo>
                <a:lnTo>
                  <a:pt x="1763" y="285"/>
                </a:lnTo>
                <a:lnTo>
                  <a:pt x="1747" y="290"/>
                </a:lnTo>
                <a:lnTo>
                  <a:pt x="1734" y="294"/>
                </a:lnTo>
                <a:lnTo>
                  <a:pt x="1719" y="298"/>
                </a:lnTo>
                <a:lnTo>
                  <a:pt x="1711" y="299"/>
                </a:lnTo>
                <a:lnTo>
                  <a:pt x="1704" y="302"/>
                </a:lnTo>
                <a:lnTo>
                  <a:pt x="1700" y="303"/>
                </a:lnTo>
                <a:lnTo>
                  <a:pt x="1696" y="303"/>
                </a:lnTo>
                <a:lnTo>
                  <a:pt x="1693" y="303"/>
                </a:lnTo>
                <a:lnTo>
                  <a:pt x="1688" y="302"/>
                </a:lnTo>
                <a:lnTo>
                  <a:pt x="1689" y="302"/>
                </a:lnTo>
                <a:lnTo>
                  <a:pt x="1688" y="302"/>
                </a:lnTo>
                <a:close/>
                <a:moveTo>
                  <a:pt x="737" y="234"/>
                </a:moveTo>
                <a:lnTo>
                  <a:pt x="738" y="236"/>
                </a:lnTo>
                <a:lnTo>
                  <a:pt x="741" y="238"/>
                </a:lnTo>
                <a:lnTo>
                  <a:pt x="742" y="238"/>
                </a:lnTo>
                <a:lnTo>
                  <a:pt x="745" y="236"/>
                </a:lnTo>
                <a:lnTo>
                  <a:pt x="745" y="235"/>
                </a:lnTo>
                <a:lnTo>
                  <a:pt x="745" y="234"/>
                </a:lnTo>
                <a:lnTo>
                  <a:pt x="744" y="232"/>
                </a:lnTo>
                <a:lnTo>
                  <a:pt x="740" y="232"/>
                </a:lnTo>
                <a:lnTo>
                  <a:pt x="738" y="232"/>
                </a:lnTo>
                <a:lnTo>
                  <a:pt x="737" y="234"/>
                </a:lnTo>
                <a:lnTo>
                  <a:pt x="737" y="234"/>
                </a:lnTo>
                <a:lnTo>
                  <a:pt x="737" y="234"/>
                </a:lnTo>
                <a:close/>
                <a:moveTo>
                  <a:pt x="1585" y="538"/>
                </a:moveTo>
                <a:lnTo>
                  <a:pt x="1580" y="535"/>
                </a:lnTo>
                <a:lnTo>
                  <a:pt x="1577" y="535"/>
                </a:lnTo>
                <a:lnTo>
                  <a:pt x="1572" y="538"/>
                </a:lnTo>
                <a:lnTo>
                  <a:pt x="1568" y="539"/>
                </a:lnTo>
                <a:lnTo>
                  <a:pt x="1572" y="540"/>
                </a:lnTo>
                <a:lnTo>
                  <a:pt x="1577" y="540"/>
                </a:lnTo>
                <a:lnTo>
                  <a:pt x="1581" y="540"/>
                </a:lnTo>
                <a:lnTo>
                  <a:pt x="1585" y="538"/>
                </a:lnTo>
                <a:close/>
                <a:moveTo>
                  <a:pt x="1546" y="322"/>
                </a:moveTo>
                <a:lnTo>
                  <a:pt x="1547" y="321"/>
                </a:lnTo>
                <a:lnTo>
                  <a:pt x="1547" y="319"/>
                </a:lnTo>
                <a:lnTo>
                  <a:pt x="1546" y="318"/>
                </a:lnTo>
                <a:lnTo>
                  <a:pt x="1545" y="317"/>
                </a:lnTo>
                <a:lnTo>
                  <a:pt x="1541" y="317"/>
                </a:lnTo>
                <a:lnTo>
                  <a:pt x="1538" y="317"/>
                </a:lnTo>
                <a:lnTo>
                  <a:pt x="1539" y="321"/>
                </a:lnTo>
                <a:lnTo>
                  <a:pt x="1540" y="322"/>
                </a:lnTo>
                <a:lnTo>
                  <a:pt x="1544" y="323"/>
                </a:lnTo>
                <a:lnTo>
                  <a:pt x="1546" y="322"/>
                </a:lnTo>
                <a:lnTo>
                  <a:pt x="1545" y="323"/>
                </a:lnTo>
                <a:lnTo>
                  <a:pt x="1546" y="322"/>
                </a:lnTo>
                <a:close/>
                <a:moveTo>
                  <a:pt x="1722" y="549"/>
                </a:moveTo>
                <a:lnTo>
                  <a:pt x="1720" y="551"/>
                </a:lnTo>
                <a:lnTo>
                  <a:pt x="1719" y="552"/>
                </a:lnTo>
                <a:lnTo>
                  <a:pt x="1720" y="555"/>
                </a:lnTo>
                <a:lnTo>
                  <a:pt x="1722" y="555"/>
                </a:lnTo>
                <a:lnTo>
                  <a:pt x="1726" y="554"/>
                </a:lnTo>
                <a:lnTo>
                  <a:pt x="1727" y="551"/>
                </a:lnTo>
                <a:lnTo>
                  <a:pt x="1726" y="550"/>
                </a:lnTo>
                <a:lnTo>
                  <a:pt x="1722" y="549"/>
                </a:lnTo>
                <a:lnTo>
                  <a:pt x="1722" y="550"/>
                </a:lnTo>
                <a:lnTo>
                  <a:pt x="1722" y="549"/>
                </a:lnTo>
                <a:close/>
                <a:moveTo>
                  <a:pt x="1903" y="757"/>
                </a:moveTo>
                <a:lnTo>
                  <a:pt x="1899" y="756"/>
                </a:lnTo>
                <a:lnTo>
                  <a:pt x="1894" y="757"/>
                </a:lnTo>
                <a:lnTo>
                  <a:pt x="1890" y="758"/>
                </a:lnTo>
                <a:lnTo>
                  <a:pt x="1886" y="761"/>
                </a:lnTo>
                <a:lnTo>
                  <a:pt x="1892" y="762"/>
                </a:lnTo>
                <a:lnTo>
                  <a:pt x="1899" y="762"/>
                </a:lnTo>
                <a:lnTo>
                  <a:pt x="1900" y="761"/>
                </a:lnTo>
                <a:lnTo>
                  <a:pt x="1902" y="759"/>
                </a:lnTo>
                <a:lnTo>
                  <a:pt x="1903" y="759"/>
                </a:lnTo>
                <a:lnTo>
                  <a:pt x="1904" y="758"/>
                </a:lnTo>
                <a:lnTo>
                  <a:pt x="1904" y="758"/>
                </a:lnTo>
                <a:lnTo>
                  <a:pt x="1903" y="757"/>
                </a:lnTo>
                <a:lnTo>
                  <a:pt x="1901" y="757"/>
                </a:lnTo>
                <a:lnTo>
                  <a:pt x="1903" y="757"/>
                </a:lnTo>
                <a:close/>
                <a:moveTo>
                  <a:pt x="788" y="966"/>
                </a:moveTo>
                <a:lnTo>
                  <a:pt x="792" y="967"/>
                </a:lnTo>
                <a:lnTo>
                  <a:pt x="798" y="970"/>
                </a:lnTo>
                <a:lnTo>
                  <a:pt x="800" y="970"/>
                </a:lnTo>
                <a:lnTo>
                  <a:pt x="803" y="970"/>
                </a:lnTo>
                <a:lnTo>
                  <a:pt x="806" y="969"/>
                </a:lnTo>
                <a:lnTo>
                  <a:pt x="810" y="967"/>
                </a:lnTo>
                <a:lnTo>
                  <a:pt x="803" y="965"/>
                </a:lnTo>
                <a:lnTo>
                  <a:pt x="798" y="965"/>
                </a:lnTo>
                <a:lnTo>
                  <a:pt x="794" y="965"/>
                </a:lnTo>
                <a:lnTo>
                  <a:pt x="788" y="966"/>
                </a:lnTo>
                <a:close/>
                <a:moveTo>
                  <a:pt x="723" y="198"/>
                </a:moveTo>
                <a:lnTo>
                  <a:pt x="723" y="199"/>
                </a:lnTo>
                <a:lnTo>
                  <a:pt x="724" y="200"/>
                </a:lnTo>
                <a:lnTo>
                  <a:pt x="726" y="201"/>
                </a:lnTo>
                <a:lnTo>
                  <a:pt x="728" y="201"/>
                </a:lnTo>
                <a:lnTo>
                  <a:pt x="730" y="201"/>
                </a:lnTo>
                <a:lnTo>
                  <a:pt x="732" y="200"/>
                </a:lnTo>
                <a:lnTo>
                  <a:pt x="733" y="199"/>
                </a:lnTo>
                <a:lnTo>
                  <a:pt x="733" y="198"/>
                </a:lnTo>
                <a:lnTo>
                  <a:pt x="733" y="197"/>
                </a:lnTo>
                <a:lnTo>
                  <a:pt x="732" y="195"/>
                </a:lnTo>
                <a:lnTo>
                  <a:pt x="730" y="194"/>
                </a:lnTo>
                <a:lnTo>
                  <a:pt x="729" y="194"/>
                </a:lnTo>
                <a:lnTo>
                  <a:pt x="726" y="194"/>
                </a:lnTo>
                <a:lnTo>
                  <a:pt x="724" y="195"/>
                </a:lnTo>
                <a:lnTo>
                  <a:pt x="723" y="197"/>
                </a:lnTo>
                <a:lnTo>
                  <a:pt x="723" y="198"/>
                </a:lnTo>
                <a:lnTo>
                  <a:pt x="723" y="198"/>
                </a:lnTo>
                <a:lnTo>
                  <a:pt x="723" y="198"/>
                </a:lnTo>
                <a:close/>
                <a:moveTo>
                  <a:pt x="1828" y="513"/>
                </a:moveTo>
                <a:lnTo>
                  <a:pt x="1832" y="514"/>
                </a:lnTo>
                <a:lnTo>
                  <a:pt x="1835" y="515"/>
                </a:lnTo>
                <a:lnTo>
                  <a:pt x="1837" y="515"/>
                </a:lnTo>
                <a:lnTo>
                  <a:pt x="1838" y="514"/>
                </a:lnTo>
                <a:lnTo>
                  <a:pt x="1840" y="513"/>
                </a:lnTo>
                <a:lnTo>
                  <a:pt x="1840" y="512"/>
                </a:lnTo>
                <a:lnTo>
                  <a:pt x="1838" y="509"/>
                </a:lnTo>
                <a:lnTo>
                  <a:pt x="1837" y="509"/>
                </a:lnTo>
                <a:lnTo>
                  <a:pt x="1836" y="509"/>
                </a:lnTo>
                <a:lnTo>
                  <a:pt x="1834" y="509"/>
                </a:lnTo>
                <a:lnTo>
                  <a:pt x="1830" y="512"/>
                </a:lnTo>
                <a:lnTo>
                  <a:pt x="1828" y="513"/>
                </a:lnTo>
                <a:lnTo>
                  <a:pt x="1832" y="513"/>
                </a:lnTo>
                <a:lnTo>
                  <a:pt x="1828" y="513"/>
                </a:lnTo>
                <a:close/>
                <a:moveTo>
                  <a:pt x="1183" y="605"/>
                </a:moveTo>
                <a:lnTo>
                  <a:pt x="1183" y="607"/>
                </a:lnTo>
                <a:lnTo>
                  <a:pt x="1184" y="608"/>
                </a:lnTo>
                <a:lnTo>
                  <a:pt x="1186" y="608"/>
                </a:lnTo>
                <a:lnTo>
                  <a:pt x="1190" y="608"/>
                </a:lnTo>
                <a:lnTo>
                  <a:pt x="1195" y="608"/>
                </a:lnTo>
                <a:lnTo>
                  <a:pt x="1200" y="607"/>
                </a:lnTo>
                <a:lnTo>
                  <a:pt x="1196" y="606"/>
                </a:lnTo>
                <a:lnTo>
                  <a:pt x="1191" y="604"/>
                </a:lnTo>
                <a:lnTo>
                  <a:pt x="1187" y="603"/>
                </a:lnTo>
                <a:lnTo>
                  <a:pt x="1185" y="603"/>
                </a:lnTo>
                <a:lnTo>
                  <a:pt x="1183" y="604"/>
                </a:lnTo>
                <a:lnTo>
                  <a:pt x="1183" y="605"/>
                </a:lnTo>
                <a:lnTo>
                  <a:pt x="1183" y="605"/>
                </a:lnTo>
                <a:lnTo>
                  <a:pt x="1183" y="605"/>
                </a:lnTo>
                <a:close/>
                <a:moveTo>
                  <a:pt x="1456" y="949"/>
                </a:moveTo>
                <a:lnTo>
                  <a:pt x="1453" y="948"/>
                </a:lnTo>
                <a:lnTo>
                  <a:pt x="1449" y="947"/>
                </a:lnTo>
                <a:lnTo>
                  <a:pt x="1447" y="947"/>
                </a:lnTo>
                <a:lnTo>
                  <a:pt x="1446" y="947"/>
                </a:lnTo>
                <a:lnTo>
                  <a:pt x="1445" y="948"/>
                </a:lnTo>
                <a:lnTo>
                  <a:pt x="1443" y="949"/>
                </a:lnTo>
                <a:lnTo>
                  <a:pt x="1445" y="952"/>
                </a:lnTo>
                <a:lnTo>
                  <a:pt x="1446" y="953"/>
                </a:lnTo>
                <a:lnTo>
                  <a:pt x="1447" y="953"/>
                </a:lnTo>
                <a:lnTo>
                  <a:pt x="1449" y="953"/>
                </a:lnTo>
                <a:lnTo>
                  <a:pt x="1454" y="950"/>
                </a:lnTo>
                <a:lnTo>
                  <a:pt x="1456" y="949"/>
                </a:lnTo>
                <a:lnTo>
                  <a:pt x="1453" y="949"/>
                </a:lnTo>
                <a:lnTo>
                  <a:pt x="1456" y="949"/>
                </a:lnTo>
                <a:close/>
                <a:moveTo>
                  <a:pt x="1482" y="328"/>
                </a:moveTo>
                <a:lnTo>
                  <a:pt x="1483" y="327"/>
                </a:lnTo>
                <a:lnTo>
                  <a:pt x="1484" y="327"/>
                </a:lnTo>
                <a:lnTo>
                  <a:pt x="1484" y="326"/>
                </a:lnTo>
                <a:lnTo>
                  <a:pt x="1484" y="325"/>
                </a:lnTo>
                <a:lnTo>
                  <a:pt x="1482" y="324"/>
                </a:lnTo>
                <a:lnTo>
                  <a:pt x="1480" y="323"/>
                </a:lnTo>
                <a:lnTo>
                  <a:pt x="1475" y="322"/>
                </a:lnTo>
                <a:lnTo>
                  <a:pt x="1470" y="323"/>
                </a:lnTo>
                <a:lnTo>
                  <a:pt x="1472" y="326"/>
                </a:lnTo>
                <a:lnTo>
                  <a:pt x="1474" y="328"/>
                </a:lnTo>
                <a:lnTo>
                  <a:pt x="1479" y="328"/>
                </a:lnTo>
                <a:lnTo>
                  <a:pt x="1482" y="328"/>
                </a:lnTo>
                <a:lnTo>
                  <a:pt x="1481" y="328"/>
                </a:lnTo>
                <a:lnTo>
                  <a:pt x="1482" y="328"/>
                </a:lnTo>
                <a:close/>
                <a:moveTo>
                  <a:pt x="1269" y="317"/>
                </a:moveTo>
                <a:lnTo>
                  <a:pt x="1273" y="317"/>
                </a:lnTo>
                <a:lnTo>
                  <a:pt x="1275" y="316"/>
                </a:lnTo>
                <a:lnTo>
                  <a:pt x="1275" y="314"/>
                </a:lnTo>
                <a:lnTo>
                  <a:pt x="1274" y="313"/>
                </a:lnTo>
                <a:lnTo>
                  <a:pt x="1272" y="311"/>
                </a:lnTo>
                <a:lnTo>
                  <a:pt x="1270" y="310"/>
                </a:lnTo>
                <a:lnTo>
                  <a:pt x="1267" y="310"/>
                </a:lnTo>
                <a:lnTo>
                  <a:pt x="1266" y="310"/>
                </a:lnTo>
                <a:lnTo>
                  <a:pt x="1265" y="311"/>
                </a:lnTo>
                <a:lnTo>
                  <a:pt x="1264" y="313"/>
                </a:lnTo>
                <a:lnTo>
                  <a:pt x="1265" y="314"/>
                </a:lnTo>
                <a:lnTo>
                  <a:pt x="1266" y="316"/>
                </a:lnTo>
                <a:lnTo>
                  <a:pt x="1267" y="316"/>
                </a:lnTo>
                <a:lnTo>
                  <a:pt x="1269" y="317"/>
                </a:lnTo>
                <a:lnTo>
                  <a:pt x="1269" y="317"/>
                </a:lnTo>
                <a:lnTo>
                  <a:pt x="1269" y="317"/>
                </a:lnTo>
                <a:close/>
                <a:moveTo>
                  <a:pt x="1645" y="558"/>
                </a:moveTo>
                <a:lnTo>
                  <a:pt x="1643" y="559"/>
                </a:lnTo>
                <a:lnTo>
                  <a:pt x="1641" y="562"/>
                </a:lnTo>
                <a:lnTo>
                  <a:pt x="1641" y="563"/>
                </a:lnTo>
                <a:lnTo>
                  <a:pt x="1644" y="565"/>
                </a:lnTo>
                <a:lnTo>
                  <a:pt x="1652" y="563"/>
                </a:lnTo>
                <a:lnTo>
                  <a:pt x="1659" y="560"/>
                </a:lnTo>
                <a:lnTo>
                  <a:pt x="1655" y="558"/>
                </a:lnTo>
                <a:lnTo>
                  <a:pt x="1652" y="558"/>
                </a:lnTo>
                <a:lnTo>
                  <a:pt x="1648" y="558"/>
                </a:lnTo>
                <a:lnTo>
                  <a:pt x="1645" y="558"/>
                </a:lnTo>
                <a:lnTo>
                  <a:pt x="1646" y="558"/>
                </a:lnTo>
                <a:lnTo>
                  <a:pt x="1645" y="558"/>
                </a:lnTo>
                <a:close/>
                <a:moveTo>
                  <a:pt x="1478" y="433"/>
                </a:moveTo>
                <a:lnTo>
                  <a:pt x="1480" y="435"/>
                </a:lnTo>
                <a:lnTo>
                  <a:pt x="1484" y="438"/>
                </a:lnTo>
                <a:lnTo>
                  <a:pt x="1488" y="439"/>
                </a:lnTo>
                <a:lnTo>
                  <a:pt x="1490" y="439"/>
                </a:lnTo>
                <a:lnTo>
                  <a:pt x="1492" y="439"/>
                </a:lnTo>
                <a:lnTo>
                  <a:pt x="1494" y="438"/>
                </a:lnTo>
                <a:lnTo>
                  <a:pt x="1495" y="435"/>
                </a:lnTo>
                <a:lnTo>
                  <a:pt x="1494" y="434"/>
                </a:lnTo>
                <a:lnTo>
                  <a:pt x="1491" y="433"/>
                </a:lnTo>
                <a:lnTo>
                  <a:pt x="1488" y="433"/>
                </a:lnTo>
                <a:lnTo>
                  <a:pt x="1482" y="433"/>
                </a:lnTo>
                <a:lnTo>
                  <a:pt x="1478" y="433"/>
                </a:lnTo>
                <a:lnTo>
                  <a:pt x="1479" y="433"/>
                </a:lnTo>
                <a:lnTo>
                  <a:pt x="1478" y="433"/>
                </a:lnTo>
                <a:close/>
                <a:moveTo>
                  <a:pt x="1182" y="577"/>
                </a:moveTo>
                <a:lnTo>
                  <a:pt x="1192" y="579"/>
                </a:lnTo>
                <a:lnTo>
                  <a:pt x="1202" y="577"/>
                </a:lnTo>
                <a:lnTo>
                  <a:pt x="1194" y="575"/>
                </a:lnTo>
                <a:lnTo>
                  <a:pt x="1190" y="574"/>
                </a:lnTo>
                <a:lnTo>
                  <a:pt x="1186" y="575"/>
                </a:lnTo>
                <a:lnTo>
                  <a:pt x="1182" y="577"/>
                </a:lnTo>
                <a:close/>
                <a:moveTo>
                  <a:pt x="754" y="235"/>
                </a:moveTo>
                <a:lnTo>
                  <a:pt x="759" y="239"/>
                </a:lnTo>
                <a:lnTo>
                  <a:pt x="764" y="240"/>
                </a:lnTo>
                <a:lnTo>
                  <a:pt x="770" y="241"/>
                </a:lnTo>
                <a:lnTo>
                  <a:pt x="775" y="240"/>
                </a:lnTo>
                <a:lnTo>
                  <a:pt x="771" y="238"/>
                </a:lnTo>
                <a:lnTo>
                  <a:pt x="765" y="235"/>
                </a:lnTo>
                <a:lnTo>
                  <a:pt x="759" y="235"/>
                </a:lnTo>
                <a:lnTo>
                  <a:pt x="754" y="235"/>
                </a:lnTo>
                <a:close/>
                <a:moveTo>
                  <a:pt x="734" y="326"/>
                </a:moveTo>
                <a:lnTo>
                  <a:pt x="738" y="330"/>
                </a:lnTo>
                <a:lnTo>
                  <a:pt x="744" y="333"/>
                </a:lnTo>
                <a:lnTo>
                  <a:pt x="746" y="335"/>
                </a:lnTo>
                <a:lnTo>
                  <a:pt x="748" y="335"/>
                </a:lnTo>
                <a:lnTo>
                  <a:pt x="750" y="334"/>
                </a:lnTo>
                <a:lnTo>
                  <a:pt x="751" y="331"/>
                </a:lnTo>
                <a:lnTo>
                  <a:pt x="751" y="328"/>
                </a:lnTo>
                <a:lnTo>
                  <a:pt x="750" y="327"/>
                </a:lnTo>
                <a:lnTo>
                  <a:pt x="748" y="326"/>
                </a:lnTo>
                <a:lnTo>
                  <a:pt x="745" y="326"/>
                </a:lnTo>
                <a:lnTo>
                  <a:pt x="739" y="326"/>
                </a:lnTo>
                <a:lnTo>
                  <a:pt x="734" y="326"/>
                </a:lnTo>
                <a:lnTo>
                  <a:pt x="739" y="328"/>
                </a:lnTo>
                <a:lnTo>
                  <a:pt x="734" y="326"/>
                </a:lnTo>
                <a:close/>
                <a:moveTo>
                  <a:pt x="1547" y="540"/>
                </a:moveTo>
                <a:lnTo>
                  <a:pt x="1545" y="538"/>
                </a:lnTo>
                <a:lnTo>
                  <a:pt x="1539" y="538"/>
                </a:lnTo>
                <a:lnTo>
                  <a:pt x="1536" y="538"/>
                </a:lnTo>
                <a:lnTo>
                  <a:pt x="1533" y="539"/>
                </a:lnTo>
                <a:lnTo>
                  <a:pt x="1532" y="540"/>
                </a:lnTo>
                <a:lnTo>
                  <a:pt x="1532" y="541"/>
                </a:lnTo>
                <a:lnTo>
                  <a:pt x="1532" y="542"/>
                </a:lnTo>
                <a:lnTo>
                  <a:pt x="1535" y="543"/>
                </a:lnTo>
                <a:lnTo>
                  <a:pt x="1537" y="545"/>
                </a:lnTo>
                <a:lnTo>
                  <a:pt x="1539" y="545"/>
                </a:lnTo>
                <a:lnTo>
                  <a:pt x="1542" y="543"/>
                </a:lnTo>
                <a:lnTo>
                  <a:pt x="1545" y="543"/>
                </a:lnTo>
                <a:lnTo>
                  <a:pt x="1546" y="542"/>
                </a:lnTo>
                <a:lnTo>
                  <a:pt x="1547" y="540"/>
                </a:lnTo>
                <a:lnTo>
                  <a:pt x="1547" y="541"/>
                </a:lnTo>
                <a:lnTo>
                  <a:pt x="1547" y="540"/>
                </a:lnTo>
                <a:close/>
                <a:moveTo>
                  <a:pt x="972" y="383"/>
                </a:moveTo>
                <a:lnTo>
                  <a:pt x="976" y="385"/>
                </a:lnTo>
                <a:lnTo>
                  <a:pt x="980" y="388"/>
                </a:lnTo>
                <a:lnTo>
                  <a:pt x="985" y="388"/>
                </a:lnTo>
                <a:lnTo>
                  <a:pt x="989" y="385"/>
                </a:lnTo>
                <a:lnTo>
                  <a:pt x="985" y="382"/>
                </a:lnTo>
                <a:lnTo>
                  <a:pt x="979" y="380"/>
                </a:lnTo>
                <a:lnTo>
                  <a:pt x="977" y="380"/>
                </a:lnTo>
                <a:lnTo>
                  <a:pt x="975" y="380"/>
                </a:lnTo>
                <a:lnTo>
                  <a:pt x="972" y="381"/>
                </a:lnTo>
                <a:lnTo>
                  <a:pt x="972" y="383"/>
                </a:lnTo>
                <a:lnTo>
                  <a:pt x="973" y="384"/>
                </a:lnTo>
                <a:lnTo>
                  <a:pt x="972" y="383"/>
                </a:lnTo>
                <a:close/>
                <a:moveTo>
                  <a:pt x="1618" y="334"/>
                </a:moveTo>
                <a:lnTo>
                  <a:pt x="1618" y="336"/>
                </a:lnTo>
                <a:lnTo>
                  <a:pt x="1620" y="338"/>
                </a:lnTo>
                <a:lnTo>
                  <a:pt x="1622" y="338"/>
                </a:lnTo>
                <a:lnTo>
                  <a:pt x="1626" y="336"/>
                </a:lnTo>
                <a:lnTo>
                  <a:pt x="1628" y="335"/>
                </a:lnTo>
                <a:lnTo>
                  <a:pt x="1630" y="334"/>
                </a:lnTo>
                <a:lnTo>
                  <a:pt x="1631" y="332"/>
                </a:lnTo>
                <a:lnTo>
                  <a:pt x="1630" y="330"/>
                </a:lnTo>
                <a:lnTo>
                  <a:pt x="1627" y="328"/>
                </a:lnTo>
                <a:lnTo>
                  <a:pt x="1623" y="328"/>
                </a:lnTo>
                <a:lnTo>
                  <a:pt x="1620" y="331"/>
                </a:lnTo>
                <a:lnTo>
                  <a:pt x="1618" y="334"/>
                </a:lnTo>
                <a:lnTo>
                  <a:pt x="1618" y="333"/>
                </a:lnTo>
                <a:lnTo>
                  <a:pt x="1618" y="334"/>
                </a:lnTo>
                <a:close/>
                <a:moveTo>
                  <a:pt x="1634" y="550"/>
                </a:moveTo>
                <a:lnTo>
                  <a:pt x="1624" y="551"/>
                </a:lnTo>
                <a:lnTo>
                  <a:pt x="1616" y="554"/>
                </a:lnTo>
                <a:lnTo>
                  <a:pt x="1622" y="556"/>
                </a:lnTo>
                <a:lnTo>
                  <a:pt x="1630" y="555"/>
                </a:lnTo>
                <a:lnTo>
                  <a:pt x="1632" y="556"/>
                </a:lnTo>
                <a:lnTo>
                  <a:pt x="1635" y="556"/>
                </a:lnTo>
                <a:lnTo>
                  <a:pt x="1638" y="555"/>
                </a:lnTo>
                <a:lnTo>
                  <a:pt x="1639" y="554"/>
                </a:lnTo>
                <a:lnTo>
                  <a:pt x="1639" y="551"/>
                </a:lnTo>
                <a:lnTo>
                  <a:pt x="1638" y="550"/>
                </a:lnTo>
                <a:lnTo>
                  <a:pt x="1636" y="550"/>
                </a:lnTo>
                <a:lnTo>
                  <a:pt x="1634" y="550"/>
                </a:lnTo>
                <a:lnTo>
                  <a:pt x="1632" y="550"/>
                </a:lnTo>
                <a:lnTo>
                  <a:pt x="1634" y="550"/>
                </a:lnTo>
                <a:close/>
                <a:moveTo>
                  <a:pt x="1983" y="549"/>
                </a:moveTo>
                <a:lnTo>
                  <a:pt x="1977" y="550"/>
                </a:lnTo>
                <a:lnTo>
                  <a:pt x="1974" y="555"/>
                </a:lnTo>
                <a:lnTo>
                  <a:pt x="1977" y="556"/>
                </a:lnTo>
                <a:lnTo>
                  <a:pt x="1982" y="557"/>
                </a:lnTo>
                <a:lnTo>
                  <a:pt x="1986" y="557"/>
                </a:lnTo>
                <a:lnTo>
                  <a:pt x="1990" y="555"/>
                </a:lnTo>
                <a:lnTo>
                  <a:pt x="1992" y="552"/>
                </a:lnTo>
                <a:lnTo>
                  <a:pt x="1992" y="551"/>
                </a:lnTo>
                <a:lnTo>
                  <a:pt x="1991" y="550"/>
                </a:lnTo>
                <a:lnTo>
                  <a:pt x="1990" y="550"/>
                </a:lnTo>
                <a:lnTo>
                  <a:pt x="1986" y="549"/>
                </a:lnTo>
                <a:lnTo>
                  <a:pt x="1983" y="549"/>
                </a:lnTo>
                <a:lnTo>
                  <a:pt x="1983" y="549"/>
                </a:lnTo>
                <a:lnTo>
                  <a:pt x="1983" y="549"/>
                </a:lnTo>
                <a:close/>
                <a:moveTo>
                  <a:pt x="822" y="1000"/>
                </a:moveTo>
                <a:lnTo>
                  <a:pt x="819" y="1000"/>
                </a:lnTo>
                <a:lnTo>
                  <a:pt x="816" y="1002"/>
                </a:lnTo>
                <a:lnTo>
                  <a:pt x="816" y="1003"/>
                </a:lnTo>
                <a:lnTo>
                  <a:pt x="817" y="1004"/>
                </a:lnTo>
                <a:lnTo>
                  <a:pt x="819" y="1005"/>
                </a:lnTo>
                <a:lnTo>
                  <a:pt x="820" y="1006"/>
                </a:lnTo>
                <a:lnTo>
                  <a:pt x="830" y="1006"/>
                </a:lnTo>
                <a:lnTo>
                  <a:pt x="839" y="1004"/>
                </a:lnTo>
                <a:lnTo>
                  <a:pt x="830" y="1002"/>
                </a:lnTo>
                <a:lnTo>
                  <a:pt x="822" y="1000"/>
                </a:lnTo>
                <a:lnTo>
                  <a:pt x="822" y="1000"/>
                </a:lnTo>
                <a:lnTo>
                  <a:pt x="822" y="1000"/>
                </a:lnTo>
                <a:close/>
                <a:moveTo>
                  <a:pt x="1195" y="313"/>
                </a:moveTo>
                <a:lnTo>
                  <a:pt x="1196" y="315"/>
                </a:lnTo>
                <a:lnTo>
                  <a:pt x="1198" y="316"/>
                </a:lnTo>
                <a:lnTo>
                  <a:pt x="1199" y="316"/>
                </a:lnTo>
                <a:lnTo>
                  <a:pt x="1201" y="317"/>
                </a:lnTo>
                <a:lnTo>
                  <a:pt x="1206" y="316"/>
                </a:lnTo>
                <a:lnTo>
                  <a:pt x="1208" y="314"/>
                </a:lnTo>
                <a:lnTo>
                  <a:pt x="1208" y="313"/>
                </a:lnTo>
                <a:lnTo>
                  <a:pt x="1207" y="310"/>
                </a:lnTo>
                <a:lnTo>
                  <a:pt x="1204" y="309"/>
                </a:lnTo>
                <a:lnTo>
                  <a:pt x="1202" y="309"/>
                </a:lnTo>
                <a:lnTo>
                  <a:pt x="1200" y="309"/>
                </a:lnTo>
                <a:lnTo>
                  <a:pt x="1198" y="309"/>
                </a:lnTo>
                <a:lnTo>
                  <a:pt x="1196" y="310"/>
                </a:lnTo>
                <a:lnTo>
                  <a:pt x="1195" y="313"/>
                </a:lnTo>
                <a:lnTo>
                  <a:pt x="1195" y="313"/>
                </a:lnTo>
                <a:lnTo>
                  <a:pt x="1195" y="313"/>
                </a:lnTo>
                <a:close/>
                <a:moveTo>
                  <a:pt x="2074" y="493"/>
                </a:moveTo>
                <a:lnTo>
                  <a:pt x="2077" y="493"/>
                </a:lnTo>
                <a:lnTo>
                  <a:pt x="2082" y="493"/>
                </a:lnTo>
                <a:lnTo>
                  <a:pt x="2085" y="491"/>
                </a:lnTo>
                <a:lnTo>
                  <a:pt x="2089" y="490"/>
                </a:lnTo>
                <a:lnTo>
                  <a:pt x="2091" y="489"/>
                </a:lnTo>
                <a:lnTo>
                  <a:pt x="2092" y="488"/>
                </a:lnTo>
                <a:lnTo>
                  <a:pt x="2091" y="487"/>
                </a:lnTo>
                <a:lnTo>
                  <a:pt x="2091" y="485"/>
                </a:lnTo>
                <a:lnTo>
                  <a:pt x="2088" y="484"/>
                </a:lnTo>
                <a:lnTo>
                  <a:pt x="2083" y="483"/>
                </a:lnTo>
                <a:lnTo>
                  <a:pt x="2084" y="481"/>
                </a:lnTo>
                <a:lnTo>
                  <a:pt x="2084" y="477"/>
                </a:lnTo>
                <a:lnTo>
                  <a:pt x="2085" y="476"/>
                </a:lnTo>
                <a:lnTo>
                  <a:pt x="2088" y="474"/>
                </a:lnTo>
                <a:lnTo>
                  <a:pt x="2096" y="471"/>
                </a:lnTo>
                <a:lnTo>
                  <a:pt x="2104" y="468"/>
                </a:lnTo>
                <a:lnTo>
                  <a:pt x="2112" y="466"/>
                </a:lnTo>
                <a:lnTo>
                  <a:pt x="2120" y="465"/>
                </a:lnTo>
                <a:lnTo>
                  <a:pt x="2127" y="462"/>
                </a:lnTo>
                <a:lnTo>
                  <a:pt x="2137" y="458"/>
                </a:lnTo>
                <a:lnTo>
                  <a:pt x="2143" y="456"/>
                </a:lnTo>
                <a:lnTo>
                  <a:pt x="2149" y="454"/>
                </a:lnTo>
                <a:lnTo>
                  <a:pt x="2149" y="451"/>
                </a:lnTo>
                <a:lnTo>
                  <a:pt x="2149" y="450"/>
                </a:lnTo>
                <a:lnTo>
                  <a:pt x="2148" y="449"/>
                </a:lnTo>
                <a:lnTo>
                  <a:pt x="2147" y="449"/>
                </a:lnTo>
                <a:lnTo>
                  <a:pt x="2143" y="449"/>
                </a:lnTo>
                <a:lnTo>
                  <a:pt x="2141" y="450"/>
                </a:lnTo>
                <a:lnTo>
                  <a:pt x="2131" y="454"/>
                </a:lnTo>
                <a:lnTo>
                  <a:pt x="2121" y="457"/>
                </a:lnTo>
                <a:lnTo>
                  <a:pt x="2110" y="460"/>
                </a:lnTo>
                <a:lnTo>
                  <a:pt x="2100" y="465"/>
                </a:lnTo>
                <a:lnTo>
                  <a:pt x="2091" y="468"/>
                </a:lnTo>
                <a:lnTo>
                  <a:pt x="2082" y="472"/>
                </a:lnTo>
                <a:lnTo>
                  <a:pt x="2073" y="475"/>
                </a:lnTo>
                <a:lnTo>
                  <a:pt x="2063" y="479"/>
                </a:lnTo>
                <a:lnTo>
                  <a:pt x="2047" y="487"/>
                </a:lnTo>
                <a:lnTo>
                  <a:pt x="2030" y="491"/>
                </a:lnTo>
                <a:lnTo>
                  <a:pt x="2020" y="493"/>
                </a:lnTo>
                <a:lnTo>
                  <a:pt x="2013" y="497"/>
                </a:lnTo>
                <a:lnTo>
                  <a:pt x="2006" y="499"/>
                </a:lnTo>
                <a:lnTo>
                  <a:pt x="1999" y="501"/>
                </a:lnTo>
                <a:lnTo>
                  <a:pt x="1998" y="504"/>
                </a:lnTo>
                <a:lnTo>
                  <a:pt x="1997" y="506"/>
                </a:lnTo>
                <a:lnTo>
                  <a:pt x="1997" y="507"/>
                </a:lnTo>
                <a:lnTo>
                  <a:pt x="1999" y="509"/>
                </a:lnTo>
                <a:lnTo>
                  <a:pt x="2003" y="509"/>
                </a:lnTo>
                <a:lnTo>
                  <a:pt x="2008" y="508"/>
                </a:lnTo>
                <a:lnTo>
                  <a:pt x="2013" y="506"/>
                </a:lnTo>
                <a:lnTo>
                  <a:pt x="2016" y="502"/>
                </a:lnTo>
                <a:lnTo>
                  <a:pt x="2018" y="500"/>
                </a:lnTo>
                <a:lnTo>
                  <a:pt x="2022" y="499"/>
                </a:lnTo>
                <a:lnTo>
                  <a:pt x="2025" y="498"/>
                </a:lnTo>
                <a:lnTo>
                  <a:pt x="2030" y="499"/>
                </a:lnTo>
                <a:lnTo>
                  <a:pt x="2035" y="499"/>
                </a:lnTo>
                <a:lnTo>
                  <a:pt x="2041" y="499"/>
                </a:lnTo>
                <a:lnTo>
                  <a:pt x="2044" y="497"/>
                </a:lnTo>
                <a:lnTo>
                  <a:pt x="2048" y="493"/>
                </a:lnTo>
                <a:lnTo>
                  <a:pt x="2056" y="489"/>
                </a:lnTo>
                <a:lnTo>
                  <a:pt x="2065" y="485"/>
                </a:lnTo>
                <a:lnTo>
                  <a:pt x="2074" y="484"/>
                </a:lnTo>
                <a:lnTo>
                  <a:pt x="2083" y="483"/>
                </a:lnTo>
                <a:lnTo>
                  <a:pt x="2083" y="485"/>
                </a:lnTo>
                <a:lnTo>
                  <a:pt x="2083" y="488"/>
                </a:lnTo>
                <a:lnTo>
                  <a:pt x="2082" y="489"/>
                </a:lnTo>
                <a:lnTo>
                  <a:pt x="2080" y="489"/>
                </a:lnTo>
                <a:lnTo>
                  <a:pt x="2076" y="491"/>
                </a:lnTo>
                <a:lnTo>
                  <a:pt x="2074" y="493"/>
                </a:lnTo>
                <a:lnTo>
                  <a:pt x="2077" y="492"/>
                </a:lnTo>
                <a:lnTo>
                  <a:pt x="2074" y="493"/>
                </a:lnTo>
                <a:close/>
                <a:moveTo>
                  <a:pt x="1326" y="314"/>
                </a:moveTo>
                <a:lnTo>
                  <a:pt x="1331" y="315"/>
                </a:lnTo>
                <a:lnTo>
                  <a:pt x="1338" y="315"/>
                </a:lnTo>
                <a:lnTo>
                  <a:pt x="1340" y="315"/>
                </a:lnTo>
                <a:lnTo>
                  <a:pt x="1342" y="314"/>
                </a:lnTo>
                <a:lnTo>
                  <a:pt x="1343" y="311"/>
                </a:lnTo>
                <a:lnTo>
                  <a:pt x="1342" y="310"/>
                </a:lnTo>
                <a:lnTo>
                  <a:pt x="1341" y="308"/>
                </a:lnTo>
                <a:lnTo>
                  <a:pt x="1339" y="308"/>
                </a:lnTo>
                <a:lnTo>
                  <a:pt x="1336" y="308"/>
                </a:lnTo>
                <a:lnTo>
                  <a:pt x="1334" y="308"/>
                </a:lnTo>
                <a:lnTo>
                  <a:pt x="1330" y="311"/>
                </a:lnTo>
                <a:lnTo>
                  <a:pt x="1326" y="314"/>
                </a:lnTo>
                <a:lnTo>
                  <a:pt x="1331" y="313"/>
                </a:lnTo>
                <a:lnTo>
                  <a:pt x="1326" y="314"/>
                </a:lnTo>
                <a:close/>
                <a:moveTo>
                  <a:pt x="2115" y="720"/>
                </a:moveTo>
                <a:lnTo>
                  <a:pt x="2123" y="720"/>
                </a:lnTo>
                <a:lnTo>
                  <a:pt x="2130" y="718"/>
                </a:lnTo>
                <a:lnTo>
                  <a:pt x="2135" y="716"/>
                </a:lnTo>
                <a:lnTo>
                  <a:pt x="2141" y="714"/>
                </a:lnTo>
                <a:lnTo>
                  <a:pt x="2138" y="713"/>
                </a:lnTo>
                <a:lnTo>
                  <a:pt x="2134" y="713"/>
                </a:lnTo>
                <a:lnTo>
                  <a:pt x="2132" y="713"/>
                </a:lnTo>
                <a:lnTo>
                  <a:pt x="2129" y="714"/>
                </a:lnTo>
                <a:lnTo>
                  <a:pt x="2122" y="716"/>
                </a:lnTo>
                <a:lnTo>
                  <a:pt x="2115" y="720"/>
                </a:lnTo>
                <a:close/>
                <a:moveTo>
                  <a:pt x="2096" y="285"/>
                </a:moveTo>
                <a:lnTo>
                  <a:pt x="2106" y="283"/>
                </a:lnTo>
                <a:lnTo>
                  <a:pt x="2116" y="281"/>
                </a:lnTo>
                <a:lnTo>
                  <a:pt x="2113" y="280"/>
                </a:lnTo>
                <a:lnTo>
                  <a:pt x="2110" y="278"/>
                </a:lnTo>
                <a:lnTo>
                  <a:pt x="2107" y="277"/>
                </a:lnTo>
                <a:lnTo>
                  <a:pt x="2105" y="277"/>
                </a:lnTo>
                <a:lnTo>
                  <a:pt x="2102" y="278"/>
                </a:lnTo>
                <a:lnTo>
                  <a:pt x="2100" y="280"/>
                </a:lnTo>
                <a:lnTo>
                  <a:pt x="2098" y="283"/>
                </a:lnTo>
                <a:lnTo>
                  <a:pt x="2096" y="285"/>
                </a:lnTo>
                <a:close/>
                <a:moveTo>
                  <a:pt x="1717" y="541"/>
                </a:moveTo>
                <a:lnTo>
                  <a:pt x="1715" y="539"/>
                </a:lnTo>
                <a:lnTo>
                  <a:pt x="1713" y="538"/>
                </a:lnTo>
                <a:lnTo>
                  <a:pt x="1710" y="538"/>
                </a:lnTo>
                <a:lnTo>
                  <a:pt x="1706" y="538"/>
                </a:lnTo>
                <a:lnTo>
                  <a:pt x="1703" y="539"/>
                </a:lnTo>
                <a:lnTo>
                  <a:pt x="1700" y="540"/>
                </a:lnTo>
                <a:lnTo>
                  <a:pt x="1698" y="542"/>
                </a:lnTo>
                <a:lnTo>
                  <a:pt x="1698" y="545"/>
                </a:lnTo>
                <a:lnTo>
                  <a:pt x="1700" y="546"/>
                </a:lnTo>
                <a:lnTo>
                  <a:pt x="1702" y="546"/>
                </a:lnTo>
                <a:lnTo>
                  <a:pt x="1704" y="547"/>
                </a:lnTo>
                <a:lnTo>
                  <a:pt x="1708" y="546"/>
                </a:lnTo>
                <a:lnTo>
                  <a:pt x="1711" y="546"/>
                </a:lnTo>
                <a:lnTo>
                  <a:pt x="1713" y="545"/>
                </a:lnTo>
                <a:lnTo>
                  <a:pt x="1715" y="542"/>
                </a:lnTo>
                <a:lnTo>
                  <a:pt x="1717" y="541"/>
                </a:lnTo>
                <a:lnTo>
                  <a:pt x="1717" y="541"/>
                </a:lnTo>
                <a:lnTo>
                  <a:pt x="1717" y="541"/>
                </a:lnTo>
                <a:close/>
                <a:moveTo>
                  <a:pt x="2025" y="392"/>
                </a:moveTo>
                <a:lnTo>
                  <a:pt x="2034" y="392"/>
                </a:lnTo>
                <a:lnTo>
                  <a:pt x="2043" y="393"/>
                </a:lnTo>
                <a:lnTo>
                  <a:pt x="2046" y="394"/>
                </a:lnTo>
                <a:lnTo>
                  <a:pt x="2047" y="397"/>
                </a:lnTo>
                <a:lnTo>
                  <a:pt x="2050" y="398"/>
                </a:lnTo>
                <a:lnTo>
                  <a:pt x="2053" y="398"/>
                </a:lnTo>
                <a:lnTo>
                  <a:pt x="2056" y="397"/>
                </a:lnTo>
                <a:lnTo>
                  <a:pt x="2058" y="396"/>
                </a:lnTo>
                <a:lnTo>
                  <a:pt x="2059" y="393"/>
                </a:lnTo>
                <a:lnTo>
                  <a:pt x="2059" y="390"/>
                </a:lnTo>
                <a:lnTo>
                  <a:pt x="2061" y="384"/>
                </a:lnTo>
                <a:lnTo>
                  <a:pt x="2065" y="380"/>
                </a:lnTo>
                <a:lnTo>
                  <a:pt x="2059" y="381"/>
                </a:lnTo>
                <a:lnTo>
                  <a:pt x="2053" y="382"/>
                </a:lnTo>
                <a:lnTo>
                  <a:pt x="2049" y="384"/>
                </a:lnTo>
                <a:lnTo>
                  <a:pt x="2044" y="386"/>
                </a:lnTo>
                <a:lnTo>
                  <a:pt x="2039" y="388"/>
                </a:lnTo>
                <a:lnTo>
                  <a:pt x="2034" y="388"/>
                </a:lnTo>
                <a:lnTo>
                  <a:pt x="2030" y="389"/>
                </a:lnTo>
                <a:lnTo>
                  <a:pt x="2025" y="392"/>
                </a:lnTo>
                <a:lnTo>
                  <a:pt x="2031" y="390"/>
                </a:lnTo>
                <a:lnTo>
                  <a:pt x="2025" y="392"/>
                </a:lnTo>
                <a:close/>
                <a:moveTo>
                  <a:pt x="2124" y="891"/>
                </a:moveTo>
                <a:lnTo>
                  <a:pt x="2132" y="888"/>
                </a:lnTo>
                <a:lnTo>
                  <a:pt x="2141" y="883"/>
                </a:lnTo>
                <a:lnTo>
                  <a:pt x="2135" y="883"/>
                </a:lnTo>
                <a:lnTo>
                  <a:pt x="2130" y="884"/>
                </a:lnTo>
                <a:lnTo>
                  <a:pt x="2126" y="887"/>
                </a:lnTo>
                <a:lnTo>
                  <a:pt x="2124" y="891"/>
                </a:lnTo>
                <a:close/>
                <a:moveTo>
                  <a:pt x="1473" y="350"/>
                </a:moveTo>
                <a:lnTo>
                  <a:pt x="1474" y="352"/>
                </a:lnTo>
                <a:lnTo>
                  <a:pt x="1476" y="352"/>
                </a:lnTo>
                <a:lnTo>
                  <a:pt x="1480" y="352"/>
                </a:lnTo>
                <a:lnTo>
                  <a:pt x="1484" y="352"/>
                </a:lnTo>
                <a:lnTo>
                  <a:pt x="1492" y="350"/>
                </a:lnTo>
                <a:lnTo>
                  <a:pt x="1497" y="348"/>
                </a:lnTo>
                <a:lnTo>
                  <a:pt x="1491" y="347"/>
                </a:lnTo>
                <a:lnTo>
                  <a:pt x="1483" y="346"/>
                </a:lnTo>
                <a:lnTo>
                  <a:pt x="1480" y="346"/>
                </a:lnTo>
                <a:lnTo>
                  <a:pt x="1476" y="347"/>
                </a:lnTo>
                <a:lnTo>
                  <a:pt x="1474" y="348"/>
                </a:lnTo>
                <a:lnTo>
                  <a:pt x="1473" y="350"/>
                </a:lnTo>
                <a:lnTo>
                  <a:pt x="1473" y="350"/>
                </a:lnTo>
                <a:lnTo>
                  <a:pt x="1473" y="350"/>
                </a:lnTo>
                <a:close/>
                <a:moveTo>
                  <a:pt x="887" y="1004"/>
                </a:moveTo>
                <a:lnTo>
                  <a:pt x="898" y="1007"/>
                </a:lnTo>
                <a:lnTo>
                  <a:pt x="904" y="1008"/>
                </a:lnTo>
                <a:lnTo>
                  <a:pt x="909" y="1008"/>
                </a:lnTo>
                <a:lnTo>
                  <a:pt x="911" y="1006"/>
                </a:lnTo>
                <a:lnTo>
                  <a:pt x="905" y="1004"/>
                </a:lnTo>
                <a:lnTo>
                  <a:pt x="899" y="1003"/>
                </a:lnTo>
                <a:lnTo>
                  <a:pt x="893" y="1003"/>
                </a:lnTo>
                <a:lnTo>
                  <a:pt x="887" y="1004"/>
                </a:lnTo>
                <a:close/>
                <a:moveTo>
                  <a:pt x="2116" y="372"/>
                </a:moveTo>
                <a:lnTo>
                  <a:pt x="2123" y="371"/>
                </a:lnTo>
                <a:lnTo>
                  <a:pt x="2129" y="368"/>
                </a:lnTo>
                <a:lnTo>
                  <a:pt x="2134" y="367"/>
                </a:lnTo>
                <a:lnTo>
                  <a:pt x="2140" y="364"/>
                </a:lnTo>
                <a:lnTo>
                  <a:pt x="2134" y="364"/>
                </a:lnTo>
                <a:lnTo>
                  <a:pt x="2127" y="365"/>
                </a:lnTo>
                <a:lnTo>
                  <a:pt x="2125" y="366"/>
                </a:lnTo>
                <a:lnTo>
                  <a:pt x="2122" y="367"/>
                </a:lnTo>
                <a:lnTo>
                  <a:pt x="2118" y="369"/>
                </a:lnTo>
                <a:lnTo>
                  <a:pt x="2116" y="372"/>
                </a:lnTo>
                <a:close/>
                <a:moveTo>
                  <a:pt x="2039" y="210"/>
                </a:moveTo>
                <a:lnTo>
                  <a:pt x="2041" y="209"/>
                </a:lnTo>
                <a:lnTo>
                  <a:pt x="2042" y="208"/>
                </a:lnTo>
                <a:lnTo>
                  <a:pt x="2042" y="207"/>
                </a:lnTo>
                <a:lnTo>
                  <a:pt x="2042" y="205"/>
                </a:lnTo>
                <a:lnTo>
                  <a:pt x="2040" y="203"/>
                </a:lnTo>
                <a:lnTo>
                  <a:pt x="2036" y="205"/>
                </a:lnTo>
                <a:lnTo>
                  <a:pt x="2032" y="206"/>
                </a:lnTo>
                <a:lnTo>
                  <a:pt x="2028" y="207"/>
                </a:lnTo>
                <a:lnTo>
                  <a:pt x="2025" y="209"/>
                </a:lnTo>
                <a:lnTo>
                  <a:pt x="2022" y="211"/>
                </a:lnTo>
                <a:lnTo>
                  <a:pt x="2026" y="213"/>
                </a:lnTo>
                <a:lnTo>
                  <a:pt x="2031" y="213"/>
                </a:lnTo>
                <a:lnTo>
                  <a:pt x="2035" y="213"/>
                </a:lnTo>
                <a:lnTo>
                  <a:pt x="2039" y="210"/>
                </a:lnTo>
                <a:lnTo>
                  <a:pt x="2038" y="211"/>
                </a:lnTo>
                <a:lnTo>
                  <a:pt x="2039" y="210"/>
                </a:lnTo>
                <a:close/>
                <a:moveTo>
                  <a:pt x="1550" y="582"/>
                </a:moveTo>
                <a:lnTo>
                  <a:pt x="1539" y="582"/>
                </a:lnTo>
                <a:lnTo>
                  <a:pt x="1527" y="582"/>
                </a:lnTo>
                <a:lnTo>
                  <a:pt x="1514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2" y="582"/>
                </a:lnTo>
                <a:lnTo>
                  <a:pt x="1508" y="584"/>
                </a:lnTo>
                <a:lnTo>
                  <a:pt x="1514" y="584"/>
                </a:lnTo>
                <a:lnTo>
                  <a:pt x="1520" y="585"/>
                </a:lnTo>
                <a:lnTo>
                  <a:pt x="1527" y="584"/>
                </a:lnTo>
                <a:lnTo>
                  <a:pt x="1539" y="583"/>
                </a:lnTo>
                <a:lnTo>
                  <a:pt x="1550" y="582"/>
                </a:lnTo>
                <a:close/>
                <a:moveTo>
                  <a:pt x="1158" y="290"/>
                </a:moveTo>
                <a:lnTo>
                  <a:pt x="1154" y="290"/>
                </a:lnTo>
                <a:lnTo>
                  <a:pt x="1152" y="292"/>
                </a:lnTo>
                <a:lnTo>
                  <a:pt x="1151" y="294"/>
                </a:lnTo>
                <a:lnTo>
                  <a:pt x="1152" y="298"/>
                </a:lnTo>
                <a:lnTo>
                  <a:pt x="1156" y="299"/>
                </a:lnTo>
                <a:lnTo>
                  <a:pt x="1159" y="299"/>
                </a:lnTo>
                <a:lnTo>
                  <a:pt x="1162" y="299"/>
                </a:lnTo>
                <a:lnTo>
                  <a:pt x="1163" y="297"/>
                </a:lnTo>
                <a:lnTo>
                  <a:pt x="1165" y="296"/>
                </a:lnTo>
                <a:lnTo>
                  <a:pt x="1165" y="294"/>
                </a:lnTo>
                <a:lnTo>
                  <a:pt x="1163" y="292"/>
                </a:lnTo>
                <a:lnTo>
                  <a:pt x="1162" y="291"/>
                </a:lnTo>
                <a:lnTo>
                  <a:pt x="1160" y="290"/>
                </a:lnTo>
                <a:lnTo>
                  <a:pt x="1158" y="290"/>
                </a:lnTo>
                <a:lnTo>
                  <a:pt x="1157" y="290"/>
                </a:lnTo>
                <a:lnTo>
                  <a:pt x="1158" y="290"/>
                </a:lnTo>
                <a:close/>
                <a:moveTo>
                  <a:pt x="1953" y="520"/>
                </a:moveTo>
                <a:lnTo>
                  <a:pt x="1948" y="521"/>
                </a:lnTo>
                <a:lnTo>
                  <a:pt x="1943" y="521"/>
                </a:lnTo>
                <a:lnTo>
                  <a:pt x="1937" y="523"/>
                </a:lnTo>
                <a:lnTo>
                  <a:pt x="1934" y="525"/>
                </a:lnTo>
                <a:lnTo>
                  <a:pt x="1943" y="526"/>
                </a:lnTo>
                <a:lnTo>
                  <a:pt x="1953" y="525"/>
                </a:lnTo>
                <a:lnTo>
                  <a:pt x="1956" y="524"/>
                </a:lnTo>
                <a:lnTo>
                  <a:pt x="1956" y="522"/>
                </a:lnTo>
                <a:lnTo>
                  <a:pt x="1956" y="521"/>
                </a:lnTo>
                <a:lnTo>
                  <a:pt x="1956" y="520"/>
                </a:lnTo>
                <a:lnTo>
                  <a:pt x="1954" y="518"/>
                </a:lnTo>
                <a:lnTo>
                  <a:pt x="1953" y="520"/>
                </a:lnTo>
                <a:lnTo>
                  <a:pt x="1951" y="520"/>
                </a:lnTo>
                <a:lnTo>
                  <a:pt x="1953" y="520"/>
                </a:lnTo>
                <a:close/>
                <a:moveTo>
                  <a:pt x="1686" y="549"/>
                </a:moveTo>
                <a:lnTo>
                  <a:pt x="1688" y="548"/>
                </a:lnTo>
                <a:lnTo>
                  <a:pt x="1687" y="547"/>
                </a:lnTo>
                <a:lnTo>
                  <a:pt x="1687" y="545"/>
                </a:lnTo>
                <a:lnTo>
                  <a:pt x="1686" y="543"/>
                </a:lnTo>
                <a:lnTo>
                  <a:pt x="1681" y="543"/>
                </a:lnTo>
                <a:lnTo>
                  <a:pt x="1676" y="546"/>
                </a:lnTo>
                <a:lnTo>
                  <a:pt x="1664" y="548"/>
                </a:lnTo>
                <a:lnTo>
                  <a:pt x="1653" y="551"/>
                </a:lnTo>
                <a:lnTo>
                  <a:pt x="1657" y="552"/>
                </a:lnTo>
                <a:lnTo>
                  <a:pt x="1661" y="552"/>
                </a:lnTo>
                <a:lnTo>
                  <a:pt x="1665" y="552"/>
                </a:lnTo>
                <a:lnTo>
                  <a:pt x="1670" y="552"/>
                </a:lnTo>
                <a:lnTo>
                  <a:pt x="1678" y="550"/>
                </a:lnTo>
                <a:lnTo>
                  <a:pt x="1686" y="549"/>
                </a:lnTo>
                <a:lnTo>
                  <a:pt x="1682" y="549"/>
                </a:lnTo>
                <a:lnTo>
                  <a:pt x="1686" y="549"/>
                </a:lnTo>
                <a:close/>
                <a:moveTo>
                  <a:pt x="1407" y="497"/>
                </a:moveTo>
                <a:lnTo>
                  <a:pt x="1409" y="496"/>
                </a:lnTo>
                <a:lnTo>
                  <a:pt x="1412" y="496"/>
                </a:lnTo>
                <a:lnTo>
                  <a:pt x="1414" y="496"/>
                </a:lnTo>
                <a:lnTo>
                  <a:pt x="1415" y="496"/>
                </a:lnTo>
                <a:lnTo>
                  <a:pt x="1415" y="494"/>
                </a:lnTo>
                <a:lnTo>
                  <a:pt x="1415" y="493"/>
                </a:lnTo>
                <a:lnTo>
                  <a:pt x="1414" y="491"/>
                </a:lnTo>
                <a:lnTo>
                  <a:pt x="1412" y="490"/>
                </a:lnTo>
                <a:lnTo>
                  <a:pt x="1408" y="490"/>
                </a:lnTo>
                <a:lnTo>
                  <a:pt x="1406" y="490"/>
                </a:lnTo>
                <a:lnTo>
                  <a:pt x="1404" y="490"/>
                </a:lnTo>
                <a:lnTo>
                  <a:pt x="1400" y="490"/>
                </a:lnTo>
                <a:lnTo>
                  <a:pt x="1398" y="491"/>
                </a:lnTo>
                <a:lnTo>
                  <a:pt x="1397" y="493"/>
                </a:lnTo>
                <a:lnTo>
                  <a:pt x="1397" y="494"/>
                </a:lnTo>
                <a:lnTo>
                  <a:pt x="1398" y="496"/>
                </a:lnTo>
                <a:lnTo>
                  <a:pt x="1399" y="496"/>
                </a:lnTo>
                <a:lnTo>
                  <a:pt x="1400" y="496"/>
                </a:lnTo>
                <a:lnTo>
                  <a:pt x="1404" y="496"/>
                </a:lnTo>
                <a:lnTo>
                  <a:pt x="1407" y="497"/>
                </a:lnTo>
                <a:lnTo>
                  <a:pt x="1407" y="494"/>
                </a:lnTo>
                <a:lnTo>
                  <a:pt x="1407" y="497"/>
                </a:lnTo>
                <a:close/>
                <a:moveTo>
                  <a:pt x="1918" y="849"/>
                </a:moveTo>
                <a:lnTo>
                  <a:pt x="1910" y="850"/>
                </a:lnTo>
                <a:lnTo>
                  <a:pt x="1903" y="852"/>
                </a:lnTo>
                <a:lnTo>
                  <a:pt x="1896" y="853"/>
                </a:lnTo>
                <a:lnTo>
                  <a:pt x="1890" y="857"/>
                </a:lnTo>
                <a:lnTo>
                  <a:pt x="1898" y="857"/>
                </a:lnTo>
                <a:lnTo>
                  <a:pt x="1904" y="856"/>
                </a:lnTo>
                <a:lnTo>
                  <a:pt x="1911" y="854"/>
                </a:lnTo>
                <a:lnTo>
                  <a:pt x="1918" y="849"/>
                </a:lnTo>
                <a:close/>
                <a:moveTo>
                  <a:pt x="2063" y="897"/>
                </a:moveTo>
                <a:lnTo>
                  <a:pt x="2073" y="891"/>
                </a:lnTo>
                <a:lnTo>
                  <a:pt x="2083" y="886"/>
                </a:lnTo>
                <a:lnTo>
                  <a:pt x="2067" y="888"/>
                </a:lnTo>
                <a:lnTo>
                  <a:pt x="2052" y="891"/>
                </a:lnTo>
                <a:lnTo>
                  <a:pt x="2039" y="895"/>
                </a:lnTo>
                <a:lnTo>
                  <a:pt x="2024" y="900"/>
                </a:lnTo>
                <a:lnTo>
                  <a:pt x="2031" y="900"/>
                </a:lnTo>
                <a:lnTo>
                  <a:pt x="2038" y="899"/>
                </a:lnTo>
                <a:lnTo>
                  <a:pt x="2041" y="899"/>
                </a:lnTo>
                <a:lnTo>
                  <a:pt x="2043" y="900"/>
                </a:lnTo>
                <a:lnTo>
                  <a:pt x="2047" y="903"/>
                </a:lnTo>
                <a:lnTo>
                  <a:pt x="2049" y="905"/>
                </a:lnTo>
                <a:lnTo>
                  <a:pt x="2040" y="909"/>
                </a:lnTo>
                <a:lnTo>
                  <a:pt x="2030" y="914"/>
                </a:lnTo>
                <a:lnTo>
                  <a:pt x="2020" y="913"/>
                </a:lnTo>
                <a:lnTo>
                  <a:pt x="2011" y="911"/>
                </a:lnTo>
                <a:lnTo>
                  <a:pt x="2000" y="908"/>
                </a:lnTo>
                <a:lnTo>
                  <a:pt x="1987" y="908"/>
                </a:lnTo>
                <a:lnTo>
                  <a:pt x="1976" y="909"/>
                </a:lnTo>
                <a:lnTo>
                  <a:pt x="1964" y="911"/>
                </a:lnTo>
                <a:lnTo>
                  <a:pt x="1960" y="911"/>
                </a:lnTo>
                <a:lnTo>
                  <a:pt x="1954" y="911"/>
                </a:lnTo>
                <a:lnTo>
                  <a:pt x="1952" y="912"/>
                </a:lnTo>
                <a:lnTo>
                  <a:pt x="1950" y="913"/>
                </a:lnTo>
                <a:lnTo>
                  <a:pt x="1949" y="915"/>
                </a:lnTo>
                <a:lnTo>
                  <a:pt x="1950" y="917"/>
                </a:lnTo>
                <a:lnTo>
                  <a:pt x="1954" y="919"/>
                </a:lnTo>
                <a:lnTo>
                  <a:pt x="1959" y="917"/>
                </a:lnTo>
                <a:lnTo>
                  <a:pt x="1964" y="916"/>
                </a:lnTo>
                <a:lnTo>
                  <a:pt x="1968" y="915"/>
                </a:lnTo>
                <a:lnTo>
                  <a:pt x="1972" y="915"/>
                </a:lnTo>
                <a:lnTo>
                  <a:pt x="1974" y="917"/>
                </a:lnTo>
                <a:lnTo>
                  <a:pt x="1976" y="919"/>
                </a:lnTo>
                <a:lnTo>
                  <a:pt x="1978" y="921"/>
                </a:lnTo>
                <a:lnTo>
                  <a:pt x="1981" y="923"/>
                </a:lnTo>
                <a:lnTo>
                  <a:pt x="1982" y="925"/>
                </a:lnTo>
                <a:lnTo>
                  <a:pt x="1984" y="925"/>
                </a:lnTo>
                <a:lnTo>
                  <a:pt x="1989" y="925"/>
                </a:lnTo>
                <a:lnTo>
                  <a:pt x="2013" y="921"/>
                </a:lnTo>
                <a:lnTo>
                  <a:pt x="2035" y="915"/>
                </a:lnTo>
                <a:lnTo>
                  <a:pt x="2059" y="909"/>
                </a:lnTo>
                <a:lnTo>
                  <a:pt x="2083" y="904"/>
                </a:lnTo>
                <a:lnTo>
                  <a:pt x="2094" y="899"/>
                </a:lnTo>
                <a:lnTo>
                  <a:pt x="2106" y="896"/>
                </a:lnTo>
                <a:lnTo>
                  <a:pt x="2109" y="896"/>
                </a:lnTo>
                <a:lnTo>
                  <a:pt x="2112" y="895"/>
                </a:lnTo>
                <a:lnTo>
                  <a:pt x="2112" y="892"/>
                </a:lnTo>
                <a:lnTo>
                  <a:pt x="2109" y="891"/>
                </a:lnTo>
                <a:lnTo>
                  <a:pt x="2105" y="891"/>
                </a:lnTo>
                <a:lnTo>
                  <a:pt x="2100" y="891"/>
                </a:lnTo>
                <a:lnTo>
                  <a:pt x="2090" y="894"/>
                </a:lnTo>
                <a:lnTo>
                  <a:pt x="2081" y="897"/>
                </a:lnTo>
                <a:lnTo>
                  <a:pt x="2076" y="898"/>
                </a:lnTo>
                <a:lnTo>
                  <a:pt x="2072" y="898"/>
                </a:lnTo>
                <a:lnTo>
                  <a:pt x="2067" y="898"/>
                </a:lnTo>
                <a:lnTo>
                  <a:pt x="2063" y="897"/>
                </a:lnTo>
                <a:lnTo>
                  <a:pt x="2071" y="896"/>
                </a:lnTo>
                <a:lnTo>
                  <a:pt x="2063" y="897"/>
                </a:lnTo>
                <a:close/>
                <a:moveTo>
                  <a:pt x="1363" y="513"/>
                </a:moveTo>
                <a:lnTo>
                  <a:pt x="1362" y="510"/>
                </a:lnTo>
                <a:lnTo>
                  <a:pt x="1359" y="509"/>
                </a:lnTo>
                <a:lnTo>
                  <a:pt x="1356" y="509"/>
                </a:lnTo>
                <a:lnTo>
                  <a:pt x="1352" y="509"/>
                </a:lnTo>
                <a:lnTo>
                  <a:pt x="1349" y="509"/>
                </a:lnTo>
                <a:lnTo>
                  <a:pt x="1346" y="509"/>
                </a:lnTo>
                <a:lnTo>
                  <a:pt x="1343" y="510"/>
                </a:lnTo>
                <a:lnTo>
                  <a:pt x="1343" y="513"/>
                </a:lnTo>
                <a:lnTo>
                  <a:pt x="1344" y="515"/>
                </a:lnTo>
                <a:lnTo>
                  <a:pt x="1347" y="516"/>
                </a:lnTo>
                <a:lnTo>
                  <a:pt x="1349" y="516"/>
                </a:lnTo>
                <a:lnTo>
                  <a:pt x="1352" y="517"/>
                </a:lnTo>
                <a:lnTo>
                  <a:pt x="1356" y="517"/>
                </a:lnTo>
                <a:lnTo>
                  <a:pt x="1359" y="516"/>
                </a:lnTo>
                <a:lnTo>
                  <a:pt x="1362" y="514"/>
                </a:lnTo>
                <a:lnTo>
                  <a:pt x="1363" y="513"/>
                </a:lnTo>
                <a:lnTo>
                  <a:pt x="1363" y="513"/>
                </a:lnTo>
                <a:lnTo>
                  <a:pt x="1363" y="513"/>
                </a:lnTo>
                <a:close/>
                <a:moveTo>
                  <a:pt x="1730" y="541"/>
                </a:moveTo>
                <a:lnTo>
                  <a:pt x="1741" y="540"/>
                </a:lnTo>
                <a:lnTo>
                  <a:pt x="1752" y="538"/>
                </a:lnTo>
                <a:lnTo>
                  <a:pt x="1755" y="537"/>
                </a:lnTo>
                <a:lnTo>
                  <a:pt x="1755" y="535"/>
                </a:lnTo>
                <a:lnTo>
                  <a:pt x="1755" y="533"/>
                </a:lnTo>
                <a:lnTo>
                  <a:pt x="1752" y="532"/>
                </a:lnTo>
                <a:lnTo>
                  <a:pt x="1743" y="532"/>
                </a:lnTo>
                <a:lnTo>
                  <a:pt x="1734" y="535"/>
                </a:lnTo>
                <a:lnTo>
                  <a:pt x="1729" y="535"/>
                </a:lnTo>
                <a:lnTo>
                  <a:pt x="1726" y="537"/>
                </a:lnTo>
                <a:lnTo>
                  <a:pt x="1726" y="539"/>
                </a:lnTo>
                <a:lnTo>
                  <a:pt x="1727" y="540"/>
                </a:lnTo>
                <a:lnTo>
                  <a:pt x="1728" y="541"/>
                </a:lnTo>
                <a:lnTo>
                  <a:pt x="1730" y="541"/>
                </a:lnTo>
                <a:lnTo>
                  <a:pt x="1731" y="541"/>
                </a:lnTo>
                <a:lnTo>
                  <a:pt x="1730" y="541"/>
                </a:lnTo>
                <a:close/>
                <a:moveTo>
                  <a:pt x="2019" y="427"/>
                </a:moveTo>
                <a:lnTo>
                  <a:pt x="2011" y="432"/>
                </a:lnTo>
                <a:lnTo>
                  <a:pt x="2003" y="435"/>
                </a:lnTo>
                <a:lnTo>
                  <a:pt x="2002" y="437"/>
                </a:lnTo>
                <a:lnTo>
                  <a:pt x="2001" y="438"/>
                </a:lnTo>
                <a:lnTo>
                  <a:pt x="2001" y="440"/>
                </a:lnTo>
                <a:lnTo>
                  <a:pt x="2002" y="441"/>
                </a:lnTo>
                <a:lnTo>
                  <a:pt x="2005" y="442"/>
                </a:lnTo>
                <a:lnTo>
                  <a:pt x="2008" y="443"/>
                </a:lnTo>
                <a:lnTo>
                  <a:pt x="2011" y="442"/>
                </a:lnTo>
                <a:lnTo>
                  <a:pt x="2015" y="441"/>
                </a:lnTo>
                <a:lnTo>
                  <a:pt x="2018" y="438"/>
                </a:lnTo>
                <a:lnTo>
                  <a:pt x="2020" y="435"/>
                </a:lnTo>
                <a:lnTo>
                  <a:pt x="2023" y="432"/>
                </a:lnTo>
                <a:lnTo>
                  <a:pt x="2024" y="430"/>
                </a:lnTo>
                <a:lnTo>
                  <a:pt x="2024" y="429"/>
                </a:lnTo>
                <a:lnTo>
                  <a:pt x="2023" y="427"/>
                </a:lnTo>
                <a:lnTo>
                  <a:pt x="2020" y="427"/>
                </a:lnTo>
                <a:lnTo>
                  <a:pt x="2019" y="427"/>
                </a:lnTo>
                <a:lnTo>
                  <a:pt x="2018" y="429"/>
                </a:lnTo>
                <a:lnTo>
                  <a:pt x="2019" y="427"/>
                </a:lnTo>
                <a:close/>
                <a:moveTo>
                  <a:pt x="88" y="23"/>
                </a:moveTo>
                <a:lnTo>
                  <a:pt x="90" y="23"/>
                </a:lnTo>
                <a:lnTo>
                  <a:pt x="94" y="23"/>
                </a:lnTo>
                <a:lnTo>
                  <a:pt x="96" y="23"/>
                </a:lnTo>
                <a:lnTo>
                  <a:pt x="97" y="20"/>
                </a:lnTo>
                <a:lnTo>
                  <a:pt x="98" y="18"/>
                </a:lnTo>
                <a:lnTo>
                  <a:pt x="97" y="17"/>
                </a:lnTo>
                <a:lnTo>
                  <a:pt x="97" y="16"/>
                </a:lnTo>
                <a:lnTo>
                  <a:pt x="95" y="15"/>
                </a:lnTo>
                <a:lnTo>
                  <a:pt x="91" y="14"/>
                </a:lnTo>
                <a:lnTo>
                  <a:pt x="88" y="14"/>
                </a:lnTo>
                <a:lnTo>
                  <a:pt x="85" y="14"/>
                </a:lnTo>
                <a:lnTo>
                  <a:pt x="81" y="15"/>
                </a:lnTo>
                <a:lnTo>
                  <a:pt x="79" y="16"/>
                </a:lnTo>
                <a:lnTo>
                  <a:pt x="78" y="19"/>
                </a:lnTo>
                <a:lnTo>
                  <a:pt x="78" y="20"/>
                </a:lnTo>
                <a:lnTo>
                  <a:pt x="79" y="22"/>
                </a:lnTo>
                <a:lnTo>
                  <a:pt x="80" y="23"/>
                </a:lnTo>
                <a:lnTo>
                  <a:pt x="81" y="23"/>
                </a:lnTo>
                <a:lnTo>
                  <a:pt x="85" y="23"/>
                </a:lnTo>
                <a:lnTo>
                  <a:pt x="88" y="23"/>
                </a:lnTo>
                <a:lnTo>
                  <a:pt x="88" y="23"/>
                </a:lnTo>
                <a:lnTo>
                  <a:pt x="88" y="23"/>
                </a:lnTo>
                <a:close/>
                <a:moveTo>
                  <a:pt x="622" y="591"/>
                </a:moveTo>
                <a:lnTo>
                  <a:pt x="619" y="591"/>
                </a:lnTo>
                <a:lnTo>
                  <a:pt x="618" y="593"/>
                </a:lnTo>
                <a:lnTo>
                  <a:pt x="618" y="596"/>
                </a:lnTo>
                <a:lnTo>
                  <a:pt x="618" y="599"/>
                </a:lnTo>
                <a:lnTo>
                  <a:pt x="621" y="603"/>
                </a:lnTo>
                <a:lnTo>
                  <a:pt x="623" y="605"/>
                </a:lnTo>
                <a:lnTo>
                  <a:pt x="626" y="607"/>
                </a:lnTo>
                <a:lnTo>
                  <a:pt x="629" y="607"/>
                </a:lnTo>
                <a:lnTo>
                  <a:pt x="631" y="605"/>
                </a:lnTo>
                <a:lnTo>
                  <a:pt x="632" y="604"/>
                </a:lnTo>
                <a:lnTo>
                  <a:pt x="632" y="600"/>
                </a:lnTo>
                <a:lnTo>
                  <a:pt x="631" y="598"/>
                </a:lnTo>
                <a:lnTo>
                  <a:pt x="629" y="596"/>
                </a:lnTo>
                <a:lnTo>
                  <a:pt x="626" y="593"/>
                </a:lnTo>
                <a:lnTo>
                  <a:pt x="624" y="591"/>
                </a:lnTo>
                <a:lnTo>
                  <a:pt x="622" y="591"/>
                </a:lnTo>
                <a:lnTo>
                  <a:pt x="623" y="591"/>
                </a:lnTo>
                <a:lnTo>
                  <a:pt x="622" y="591"/>
                </a:lnTo>
                <a:close/>
                <a:moveTo>
                  <a:pt x="1705" y="555"/>
                </a:moveTo>
                <a:lnTo>
                  <a:pt x="1697" y="554"/>
                </a:lnTo>
                <a:lnTo>
                  <a:pt x="1688" y="554"/>
                </a:lnTo>
                <a:lnTo>
                  <a:pt x="1679" y="556"/>
                </a:lnTo>
                <a:lnTo>
                  <a:pt x="1671" y="559"/>
                </a:lnTo>
                <a:lnTo>
                  <a:pt x="1676" y="560"/>
                </a:lnTo>
                <a:lnTo>
                  <a:pt x="1680" y="560"/>
                </a:lnTo>
                <a:lnTo>
                  <a:pt x="1684" y="559"/>
                </a:lnTo>
                <a:lnTo>
                  <a:pt x="1688" y="559"/>
                </a:lnTo>
                <a:lnTo>
                  <a:pt x="1697" y="557"/>
                </a:lnTo>
                <a:lnTo>
                  <a:pt x="1705" y="555"/>
                </a:lnTo>
                <a:close/>
                <a:moveTo>
                  <a:pt x="1983" y="205"/>
                </a:moveTo>
                <a:lnTo>
                  <a:pt x="1990" y="201"/>
                </a:lnTo>
                <a:lnTo>
                  <a:pt x="1997" y="198"/>
                </a:lnTo>
                <a:lnTo>
                  <a:pt x="1999" y="197"/>
                </a:lnTo>
                <a:lnTo>
                  <a:pt x="2000" y="197"/>
                </a:lnTo>
                <a:lnTo>
                  <a:pt x="2001" y="197"/>
                </a:lnTo>
                <a:lnTo>
                  <a:pt x="2001" y="194"/>
                </a:lnTo>
                <a:lnTo>
                  <a:pt x="1999" y="192"/>
                </a:lnTo>
                <a:lnTo>
                  <a:pt x="1995" y="192"/>
                </a:lnTo>
                <a:lnTo>
                  <a:pt x="1993" y="193"/>
                </a:lnTo>
                <a:lnTo>
                  <a:pt x="1991" y="195"/>
                </a:lnTo>
                <a:lnTo>
                  <a:pt x="1987" y="197"/>
                </a:lnTo>
                <a:lnTo>
                  <a:pt x="1983" y="199"/>
                </a:lnTo>
                <a:lnTo>
                  <a:pt x="1981" y="199"/>
                </a:lnTo>
                <a:lnTo>
                  <a:pt x="1978" y="200"/>
                </a:lnTo>
                <a:lnTo>
                  <a:pt x="1978" y="202"/>
                </a:lnTo>
                <a:lnTo>
                  <a:pt x="1980" y="203"/>
                </a:lnTo>
                <a:lnTo>
                  <a:pt x="1981" y="205"/>
                </a:lnTo>
                <a:lnTo>
                  <a:pt x="1983" y="205"/>
                </a:lnTo>
                <a:lnTo>
                  <a:pt x="1984" y="203"/>
                </a:lnTo>
                <a:lnTo>
                  <a:pt x="1983" y="205"/>
                </a:lnTo>
                <a:close/>
                <a:moveTo>
                  <a:pt x="399" y="51"/>
                </a:moveTo>
                <a:lnTo>
                  <a:pt x="402" y="51"/>
                </a:lnTo>
                <a:lnTo>
                  <a:pt x="404" y="49"/>
                </a:lnTo>
                <a:lnTo>
                  <a:pt x="405" y="47"/>
                </a:lnTo>
                <a:lnTo>
                  <a:pt x="405" y="43"/>
                </a:lnTo>
                <a:lnTo>
                  <a:pt x="405" y="40"/>
                </a:lnTo>
                <a:lnTo>
                  <a:pt x="404" y="37"/>
                </a:lnTo>
                <a:lnTo>
                  <a:pt x="402" y="35"/>
                </a:lnTo>
                <a:lnTo>
                  <a:pt x="401" y="33"/>
                </a:lnTo>
                <a:lnTo>
                  <a:pt x="399" y="34"/>
                </a:lnTo>
                <a:lnTo>
                  <a:pt x="396" y="35"/>
                </a:lnTo>
                <a:lnTo>
                  <a:pt x="394" y="37"/>
                </a:lnTo>
                <a:lnTo>
                  <a:pt x="394" y="41"/>
                </a:lnTo>
                <a:lnTo>
                  <a:pt x="393" y="44"/>
                </a:lnTo>
                <a:lnTo>
                  <a:pt x="394" y="48"/>
                </a:lnTo>
                <a:lnTo>
                  <a:pt x="396" y="50"/>
                </a:lnTo>
                <a:lnTo>
                  <a:pt x="399" y="51"/>
                </a:lnTo>
                <a:lnTo>
                  <a:pt x="400" y="51"/>
                </a:lnTo>
                <a:lnTo>
                  <a:pt x="399" y="51"/>
                </a:lnTo>
                <a:close/>
                <a:moveTo>
                  <a:pt x="1926" y="423"/>
                </a:moveTo>
                <a:lnTo>
                  <a:pt x="1935" y="418"/>
                </a:lnTo>
                <a:lnTo>
                  <a:pt x="1944" y="415"/>
                </a:lnTo>
                <a:lnTo>
                  <a:pt x="1942" y="413"/>
                </a:lnTo>
                <a:lnTo>
                  <a:pt x="1940" y="411"/>
                </a:lnTo>
                <a:lnTo>
                  <a:pt x="1936" y="410"/>
                </a:lnTo>
                <a:lnTo>
                  <a:pt x="1934" y="410"/>
                </a:lnTo>
                <a:lnTo>
                  <a:pt x="1928" y="411"/>
                </a:lnTo>
                <a:lnTo>
                  <a:pt x="1923" y="414"/>
                </a:lnTo>
                <a:lnTo>
                  <a:pt x="1920" y="414"/>
                </a:lnTo>
                <a:lnTo>
                  <a:pt x="1918" y="415"/>
                </a:lnTo>
                <a:lnTo>
                  <a:pt x="1917" y="416"/>
                </a:lnTo>
                <a:lnTo>
                  <a:pt x="1917" y="418"/>
                </a:lnTo>
                <a:lnTo>
                  <a:pt x="1918" y="422"/>
                </a:lnTo>
                <a:lnTo>
                  <a:pt x="1920" y="424"/>
                </a:lnTo>
                <a:lnTo>
                  <a:pt x="1923" y="424"/>
                </a:lnTo>
                <a:lnTo>
                  <a:pt x="1926" y="423"/>
                </a:lnTo>
                <a:lnTo>
                  <a:pt x="1926" y="423"/>
                </a:lnTo>
                <a:lnTo>
                  <a:pt x="1926" y="423"/>
                </a:lnTo>
                <a:close/>
                <a:moveTo>
                  <a:pt x="1871" y="942"/>
                </a:moveTo>
                <a:lnTo>
                  <a:pt x="1861" y="945"/>
                </a:lnTo>
                <a:lnTo>
                  <a:pt x="1851" y="945"/>
                </a:lnTo>
                <a:lnTo>
                  <a:pt x="1840" y="946"/>
                </a:lnTo>
                <a:lnTo>
                  <a:pt x="1829" y="949"/>
                </a:lnTo>
                <a:lnTo>
                  <a:pt x="1841" y="950"/>
                </a:lnTo>
                <a:lnTo>
                  <a:pt x="1851" y="949"/>
                </a:lnTo>
                <a:lnTo>
                  <a:pt x="1861" y="947"/>
                </a:lnTo>
                <a:lnTo>
                  <a:pt x="1871" y="942"/>
                </a:lnTo>
                <a:close/>
                <a:moveTo>
                  <a:pt x="825" y="991"/>
                </a:moveTo>
                <a:lnTo>
                  <a:pt x="814" y="987"/>
                </a:lnTo>
                <a:lnTo>
                  <a:pt x="803" y="985"/>
                </a:lnTo>
                <a:lnTo>
                  <a:pt x="791" y="983"/>
                </a:lnTo>
                <a:lnTo>
                  <a:pt x="781" y="983"/>
                </a:lnTo>
                <a:lnTo>
                  <a:pt x="786" y="987"/>
                </a:lnTo>
                <a:lnTo>
                  <a:pt x="791" y="989"/>
                </a:lnTo>
                <a:lnTo>
                  <a:pt x="797" y="990"/>
                </a:lnTo>
                <a:lnTo>
                  <a:pt x="803" y="990"/>
                </a:lnTo>
                <a:lnTo>
                  <a:pt x="814" y="991"/>
                </a:lnTo>
                <a:lnTo>
                  <a:pt x="825" y="991"/>
                </a:lnTo>
                <a:close/>
                <a:moveTo>
                  <a:pt x="1533" y="438"/>
                </a:moveTo>
                <a:lnTo>
                  <a:pt x="1544" y="439"/>
                </a:lnTo>
                <a:lnTo>
                  <a:pt x="1554" y="438"/>
                </a:lnTo>
                <a:lnTo>
                  <a:pt x="1556" y="437"/>
                </a:lnTo>
                <a:lnTo>
                  <a:pt x="1558" y="434"/>
                </a:lnTo>
                <a:lnTo>
                  <a:pt x="1558" y="433"/>
                </a:lnTo>
                <a:lnTo>
                  <a:pt x="1556" y="431"/>
                </a:lnTo>
                <a:lnTo>
                  <a:pt x="1553" y="429"/>
                </a:lnTo>
                <a:lnTo>
                  <a:pt x="1549" y="427"/>
                </a:lnTo>
                <a:lnTo>
                  <a:pt x="1547" y="429"/>
                </a:lnTo>
                <a:lnTo>
                  <a:pt x="1544" y="429"/>
                </a:lnTo>
                <a:lnTo>
                  <a:pt x="1540" y="431"/>
                </a:lnTo>
                <a:lnTo>
                  <a:pt x="1538" y="433"/>
                </a:lnTo>
                <a:lnTo>
                  <a:pt x="1536" y="435"/>
                </a:lnTo>
                <a:lnTo>
                  <a:pt x="1533" y="438"/>
                </a:lnTo>
                <a:lnTo>
                  <a:pt x="1538" y="435"/>
                </a:lnTo>
                <a:lnTo>
                  <a:pt x="1533" y="438"/>
                </a:lnTo>
                <a:close/>
                <a:moveTo>
                  <a:pt x="2233" y="417"/>
                </a:moveTo>
                <a:lnTo>
                  <a:pt x="2224" y="419"/>
                </a:lnTo>
                <a:lnTo>
                  <a:pt x="2215" y="423"/>
                </a:lnTo>
                <a:lnTo>
                  <a:pt x="2206" y="426"/>
                </a:lnTo>
                <a:lnTo>
                  <a:pt x="2198" y="431"/>
                </a:lnTo>
                <a:lnTo>
                  <a:pt x="2207" y="429"/>
                </a:lnTo>
                <a:lnTo>
                  <a:pt x="2217" y="427"/>
                </a:lnTo>
                <a:lnTo>
                  <a:pt x="2222" y="425"/>
                </a:lnTo>
                <a:lnTo>
                  <a:pt x="2225" y="424"/>
                </a:lnTo>
                <a:lnTo>
                  <a:pt x="2230" y="421"/>
                </a:lnTo>
                <a:lnTo>
                  <a:pt x="2233" y="417"/>
                </a:lnTo>
                <a:close/>
                <a:moveTo>
                  <a:pt x="1643" y="398"/>
                </a:moveTo>
                <a:lnTo>
                  <a:pt x="1643" y="397"/>
                </a:lnTo>
                <a:lnTo>
                  <a:pt x="1641" y="396"/>
                </a:lnTo>
                <a:lnTo>
                  <a:pt x="1639" y="394"/>
                </a:lnTo>
                <a:lnTo>
                  <a:pt x="1638" y="394"/>
                </a:lnTo>
                <a:lnTo>
                  <a:pt x="1632" y="394"/>
                </a:lnTo>
                <a:lnTo>
                  <a:pt x="1627" y="396"/>
                </a:lnTo>
                <a:lnTo>
                  <a:pt x="1614" y="398"/>
                </a:lnTo>
                <a:lnTo>
                  <a:pt x="1606" y="400"/>
                </a:lnTo>
                <a:lnTo>
                  <a:pt x="1618" y="401"/>
                </a:lnTo>
                <a:lnTo>
                  <a:pt x="1629" y="401"/>
                </a:lnTo>
                <a:lnTo>
                  <a:pt x="1632" y="402"/>
                </a:lnTo>
                <a:lnTo>
                  <a:pt x="1637" y="402"/>
                </a:lnTo>
                <a:lnTo>
                  <a:pt x="1639" y="402"/>
                </a:lnTo>
                <a:lnTo>
                  <a:pt x="1640" y="402"/>
                </a:lnTo>
                <a:lnTo>
                  <a:pt x="1643" y="400"/>
                </a:lnTo>
                <a:lnTo>
                  <a:pt x="1643" y="398"/>
                </a:lnTo>
                <a:lnTo>
                  <a:pt x="1643" y="398"/>
                </a:lnTo>
                <a:lnTo>
                  <a:pt x="1643" y="398"/>
                </a:lnTo>
                <a:close/>
                <a:moveTo>
                  <a:pt x="1084" y="284"/>
                </a:moveTo>
                <a:lnTo>
                  <a:pt x="1080" y="284"/>
                </a:lnTo>
                <a:lnTo>
                  <a:pt x="1078" y="285"/>
                </a:lnTo>
                <a:lnTo>
                  <a:pt x="1077" y="289"/>
                </a:lnTo>
                <a:lnTo>
                  <a:pt x="1078" y="291"/>
                </a:lnTo>
                <a:lnTo>
                  <a:pt x="1080" y="293"/>
                </a:lnTo>
                <a:lnTo>
                  <a:pt x="1083" y="294"/>
                </a:lnTo>
                <a:lnTo>
                  <a:pt x="1086" y="296"/>
                </a:lnTo>
                <a:lnTo>
                  <a:pt x="1088" y="296"/>
                </a:lnTo>
                <a:lnTo>
                  <a:pt x="1092" y="296"/>
                </a:lnTo>
                <a:lnTo>
                  <a:pt x="1093" y="294"/>
                </a:lnTo>
                <a:lnTo>
                  <a:pt x="1094" y="293"/>
                </a:lnTo>
                <a:lnTo>
                  <a:pt x="1094" y="290"/>
                </a:lnTo>
                <a:lnTo>
                  <a:pt x="1092" y="288"/>
                </a:lnTo>
                <a:lnTo>
                  <a:pt x="1089" y="286"/>
                </a:lnTo>
                <a:lnTo>
                  <a:pt x="1087" y="285"/>
                </a:lnTo>
                <a:lnTo>
                  <a:pt x="1084" y="284"/>
                </a:lnTo>
                <a:lnTo>
                  <a:pt x="1084" y="284"/>
                </a:lnTo>
                <a:lnTo>
                  <a:pt x="1084" y="284"/>
                </a:lnTo>
                <a:close/>
                <a:moveTo>
                  <a:pt x="2164" y="443"/>
                </a:moveTo>
                <a:lnTo>
                  <a:pt x="2166" y="444"/>
                </a:lnTo>
                <a:lnTo>
                  <a:pt x="2170" y="446"/>
                </a:lnTo>
                <a:lnTo>
                  <a:pt x="2173" y="446"/>
                </a:lnTo>
                <a:lnTo>
                  <a:pt x="2176" y="444"/>
                </a:lnTo>
                <a:lnTo>
                  <a:pt x="2183" y="440"/>
                </a:lnTo>
                <a:lnTo>
                  <a:pt x="2189" y="434"/>
                </a:lnTo>
                <a:lnTo>
                  <a:pt x="2182" y="434"/>
                </a:lnTo>
                <a:lnTo>
                  <a:pt x="2173" y="435"/>
                </a:lnTo>
                <a:lnTo>
                  <a:pt x="2170" y="437"/>
                </a:lnTo>
                <a:lnTo>
                  <a:pt x="2166" y="438"/>
                </a:lnTo>
                <a:lnTo>
                  <a:pt x="2164" y="440"/>
                </a:lnTo>
                <a:lnTo>
                  <a:pt x="2164" y="443"/>
                </a:lnTo>
                <a:lnTo>
                  <a:pt x="2164" y="443"/>
                </a:lnTo>
                <a:lnTo>
                  <a:pt x="2164" y="443"/>
                </a:lnTo>
                <a:close/>
                <a:moveTo>
                  <a:pt x="357" y="821"/>
                </a:moveTo>
                <a:lnTo>
                  <a:pt x="351" y="819"/>
                </a:lnTo>
                <a:lnTo>
                  <a:pt x="342" y="813"/>
                </a:lnTo>
                <a:lnTo>
                  <a:pt x="337" y="812"/>
                </a:lnTo>
                <a:lnTo>
                  <a:pt x="334" y="811"/>
                </a:lnTo>
                <a:lnTo>
                  <a:pt x="330" y="811"/>
                </a:lnTo>
                <a:lnTo>
                  <a:pt x="328" y="812"/>
                </a:lnTo>
                <a:lnTo>
                  <a:pt x="327" y="813"/>
                </a:lnTo>
                <a:lnTo>
                  <a:pt x="328" y="814"/>
                </a:lnTo>
                <a:lnTo>
                  <a:pt x="328" y="815"/>
                </a:lnTo>
                <a:lnTo>
                  <a:pt x="330" y="816"/>
                </a:lnTo>
                <a:lnTo>
                  <a:pt x="334" y="819"/>
                </a:lnTo>
                <a:lnTo>
                  <a:pt x="339" y="820"/>
                </a:lnTo>
                <a:lnTo>
                  <a:pt x="350" y="821"/>
                </a:lnTo>
                <a:lnTo>
                  <a:pt x="357" y="821"/>
                </a:lnTo>
                <a:lnTo>
                  <a:pt x="350" y="822"/>
                </a:lnTo>
                <a:lnTo>
                  <a:pt x="357" y="821"/>
                </a:lnTo>
                <a:close/>
                <a:moveTo>
                  <a:pt x="1348" y="927"/>
                </a:moveTo>
                <a:lnTo>
                  <a:pt x="1343" y="924"/>
                </a:lnTo>
                <a:lnTo>
                  <a:pt x="1339" y="923"/>
                </a:lnTo>
                <a:lnTo>
                  <a:pt x="1334" y="922"/>
                </a:lnTo>
                <a:lnTo>
                  <a:pt x="1330" y="922"/>
                </a:lnTo>
                <a:lnTo>
                  <a:pt x="1321" y="923"/>
                </a:lnTo>
                <a:lnTo>
                  <a:pt x="1311" y="923"/>
                </a:lnTo>
                <a:lnTo>
                  <a:pt x="1321" y="925"/>
                </a:lnTo>
                <a:lnTo>
                  <a:pt x="1330" y="927"/>
                </a:lnTo>
                <a:lnTo>
                  <a:pt x="1339" y="927"/>
                </a:lnTo>
                <a:lnTo>
                  <a:pt x="1348" y="927"/>
                </a:lnTo>
                <a:close/>
                <a:moveTo>
                  <a:pt x="1670" y="463"/>
                </a:moveTo>
                <a:lnTo>
                  <a:pt x="1660" y="464"/>
                </a:lnTo>
                <a:lnTo>
                  <a:pt x="1648" y="467"/>
                </a:lnTo>
                <a:lnTo>
                  <a:pt x="1653" y="471"/>
                </a:lnTo>
                <a:lnTo>
                  <a:pt x="1660" y="473"/>
                </a:lnTo>
                <a:lnTo>
                  <a:pt x="1663" y="474"/>
                </a:lnTo>
                <a:lnTo>
                  <a:pt x="1667" y="474"/>
                </a:lnTo>
                <a:lnTo>
                  <a:pt x="1669" y="474"/>
                </a:lnTo>
                <a:lnTo>
                  <a:pt x="1672" y="473"/>
                </a:lnTo>
                <a:lnTo>
                  <a:pt x="1673" y="471"/>
                </a:lnTo>
                <a:lnTo>
                  <a:pt x="1674" y="469"/>
                </a:lnTo>
                <a:lnTo>
                  <a:pt x="1674" y="468"/>
                </a:lnTo>
                <a:lnTo>
                  <a:pt x="1674" y="466"/>
                </a:lnTo>
                <a:lnTo>
                  <a:pt x="1674" y="464"/>
                </a:lnTo>
                <a:lnTo>
                  <a:pt x="1674" y="463"/>
                </a:lnTo>
                <a:lnTo>
                  <a:pt x="1673" y="463"/>
                </a:lnTo>
                <a:lnTo>
                  <a:pt x="1670" y="463"/>
                </a:lnTo>
                <a:lnTo>
                  <a:pt x="1669" y="462"/>
                </a:lnTo>
                <a:lnTo>
                  <a:pt x="1670" y="463"/>
                </a:lnTo>
                <a:close/>
                <a:moveTo>
                  <a:pt x="1438" y="328"/>
                </a:moveTo>
                <a:lnTo>
                  <a:pt x="1440" y="327"/>
                </a:lnTo>
                <a:lnTo>
                  <a:pt x="1441" y="327"/>
                </a:lnTo>
                <a:lnTo>
                  <a:pt x="1442" y="325"/>
                </a:lnTo>
                <a:lnTo>
                  <a:pt x="1441" y="324"/>
                </a:lnTo>
                <a:lnTo>
                  <a:pt x="1439" y="322"/>
                </a:lnTo>
                <a:lnTo>
                  <a:pt x="1435" y="321"/>
                </a:lnTo>
                <a:lnTo>
                  <a:pt x="1430" y="319"/>
                </a:lnTo>
                <a:lnTo>
                  <a:pt x="1424" y="319"/>
                </a:lnTo>
                <a:lnTo>
                  <a:pt x="1418" y="322"/>
                </a:lnTo>
                <a:lnTo>
                  <a:pt x="1414" y="323"/>
                </a:lnTo>
                <a:lnTo>
                  <a:pt x="1420" y="327"/>
                </a:lnTo>
                <a:lnTo>
                  <a:pt x="1425" y="328"/>
                </a:lnTo>
                <a:lnTo>
                  <a:pt x="1431" y="328"/>
                </a:lnTo>
                <a:lnTo>
                  <a:pt x="1438" y="328"/>
                </a:lnTo>
                <a:lnTo>
                  <a:pt x="1435" y="328"/>
                </a:lnTo>
                <a:lnTo>
                  <a:pt x="1438" y="328"/>
                </a:lnTo>
                <a:close/>
                <a:moveTo>
                  <a:pt x="1336" y="290"/>
                </a:moveTo>
                <a:lnTo>
                  <a:pt x="1336" y="289"/>
                </a:lnTo>
                <a:lnTo>
                  <a:pt x="1335" y="288"/>
                </a:lnTo>
                <a:lnTo>
                  <a:pt x="1333" y="286"/>
                </a:lnTo>
                <a:lnTo>
                  <a:pt x="1331" y="285"/>
                </a:lnTo>
                <a:lnTo>
                  <a:pt x="1327" y="284"/>
                </a:lnTo>
                <a:lnTo>
                  <a:pt x="1324" y="283"/>
                </a:lnTo>
                <a:lnTo>
                  <a:pt x="1319" y="283"/>
                </a:lnTo>
                <a:lnTo>
                  <a:pt x="1316" y="283"/>
                </a:lnTo>
                <a:lnTo>
                  <a:pt x="1311" y="284"/>
                </a:lnTo>
                <a:lnTo>
                  <a:pt x="1308" y="288"/>
                </a:lnTo>
                <a:lnTo>
                  <a:pt x="1314" y="290"/>
                </a:lnTo>
                <a:lnTo>
                  <a:pt x="1323" y="292"/>
                </a:lnTo>
                <a:lnTo>
                  <a:pt x="1327" y="293"/>
                </a:lnTo>
                <a:lnTo>
                  <a:pt x="1331" y="293"/>
                </a:lnTo>
                <a:lnTo>
                  <a:pt x="1334" y="292"/>
                </a:lnTo>
                <a:lnTo>
                  <a:pt x="1336" y="290"/>
                </a:lnTo>
                <a:lnTo>
                  <a:pt x="1335" y="290"/>
                </a:lnTo>
                <a:lnTo>
                  <a:pt x="1336" y="290"/>
                </a:lnTo>
                <a:close/>
                <a:moveTo>
                  <a:pt x="1978" y="447"/>
                </a:moveTo>
                <a:lnTo>
                  <a:pt x="1976" y="443"/>
                </a:lnTo>
                <a:lnTo>
                  <a:pt x="1974" y="442"/>
                </a:lnTo>
                <a:lnTo>
                  <a:pt x="1970" y="442"/>
                </a:lnTo>
                <a:lnTo>
                  <a:pt x="1968" y="443"/>
                </a:lnTo>
                <a:lnTo>
                  <a:pt x="1961" y="447"/>
                </a:lnTo>
                <a:lnTo>
                  <a:pt x="1957" y="450"/>
                </a:lnTo>
                <a:lnTo>
                  <a:pt x="1950" y="454"/>
                </a:lnTo>
                <a:lnTo>
                  <a:pt x="1944" y="457"/>
                </a:lnTo>
                <a:lnTo>
                  <a:pt x="1941" y="457"/>
                </a:lnTo>
                <a:lnTo>
                  <a:pt x="1939" y="458"/>
                </a:lnTo>
                <a:lnTo>
                  <a:pt x="1937" y="460"/>
                </a:lnTo>
                <a:lnTo>
                  <a:pt x="1936" y="463"/>
                </a:lnTo>
                <a:lnTo>
                  <a:pt x="1950" y="459"/>
                </a:lnTo>
                <a:lnTo>
                  <a:pt x="1962" y="456"/>
                </a:lnTo>
                <a:lnTo>
                  <a:pt x="1967" y="455"/>
                </a:lnTo>
                <a:lnTo>
                  <a:pt x="1973" y="452"/>
                </a:lnTo>
                <a:lnTo>
                  <a:pt x="1975" y="451"/>
                </a:lnTo>
                <a:lnTo>
                  <a:pt x="1977" y="450"/>
                </a:lnTo>
                <a:lnTo>
                  <a:pt x="1978" y="448"/>
                </a:lnTo>
                <a:lnTo>
                  <a:pt x="1978" y="447"/>
                </a:lnTo>
                <a:lnTo>
                  <a:pt x="1978" y="446"/>
                </a:lnTo>
                <a:lnTo>
                  <a:pt x="1978" y="447"/>
                </a:lnTo>
                <a:close/>
                <a:moveTo>
                  <a:pt x="1842" y="252"/>
                </a:moveTo>
                <a:lnTo>
                  <a:pt x="1845" y="251"/>
                </a:lnTo>
                <a:lnTo>
                  <a:pt x="1849" y="249"/>
                </a:lnTo>
                <a:lnTo>
                  <a:pt x="1851" y="245"/>
                </a:lnTo>
                <a:lnTo>
                  <a:pt x="1851" y="241"/>
                </a:lnTo>
                <a:lnTo>
                  <a:pt x="1850" y="239"/>
                </a:lnTo>
                <a:lnTo>
                  <a:pt x="1847" y="239"/>
                </a:lnTo>
                <a:lnTo>
                  <a:pt x="1844" y="238"/>
                </a:lnTo>
                <a:lnTo>
                  <a:pt x="1842" y="239"/>
                </a:lnTo>
                <a:lnTo>
                  <a:pt x="1840" y="239"/>
                </a:lnTo>
                <a:lnTo>
                  <a:pt x="1837" y="239"/>
                </a:lnTo>
                <a:lnTo>
                  <a:pt x="1834" y="239"/>
                </a:lnTo>
                <a:lnTo>
                  <a:pt x="1833" y="241"/>
                </a:lnTo>
                <a:lnTo>
                  <a:pt x="1833" y="242"/>
                </a:lnTo>
                <a:lnTo>
                  <a:pt x="1833" y="244"/>
                </a:lnTo>
                <a:lnTo>
                  <a:pt x="1833" y="247"/>
                </a:lnTo>
                <a:lnTo>
                  <a:pt x="1834" y="249"/>
                </a:lnTo>
                <a:lnTo>
                  <a:pt x="1837" y="251"/>
                </a:lnTo>
                <a:lnTo>
                  <a:pt x="1842" y="252"/>
                </a:lnTo>
                <a:lnTo>
                  <a:pt x="1842" y="252"/>
                </a:lnTo>
                <a:lnTo>
                  <a:pt x="1842" y="252"/>
                </a:lnTo>
                <a:close/>
                <a:moveTo>
                  <a:pt x="2110" y="722"/>
                </a:moveTo>
                <a:lnTo>
                  <a:pt x="2099" y="724"/>
                </a:lnTo>
                <a:lnTo>
                  <a:pt x="2088" y="728"/>
                </a:lnTo>
                <a:lnTo>
                  <a:pt x="2077" y="731"/>
                </a:lnTo>
                <a:lnTo>
                  <a:pt x="2068" y="736"/>
                </a:lnTo>
                <a:lnTo>
                  <a:pt x="2074" y="736"/>
                </a:lnTo>
                <a:lnTo>
                  <a:pt x="2080" y="736"/>
                </a:lnTo>
                <a:lnTo>
                  <a:pt x="2086" y="734"/>
                </a:lnTo>
                <a:lnTo>
                  <a:pt x="2093" y="732"/>
                </a:lnTo>
                <a:lnTo>
                  <a:pt x="2099" y="730"/>
                </a:lnTo>
                <a:lnTo>
                  <a:pt x="2104" y="728"/>
                </a:lnTo>
                <a:lnTo>
                  <a:pt x="2107" y="725"/>
                </a:lnTo>
                <a:lnTo>
                  <a:pt x="2110" y="722"/>
                </a:lnTo>
                <a:close/>
                <a:moveTo>
                  <a:pt x="1299" y="688"/>
                </a:moveTo>
                <a:lnTo>
                  <a:pt x="1311" y="690"/>
                </a:lnTo>
                <a:lnTo>
                  <a:pt x="1323" y="692"/>
                </a:lnTo>
                <a:lnTo>
                  <a:pt x="1330" y="692"/>
                </a:lnTo>
                <a:lnTo>
                  <a:pt x="1335" y="692"/>
                </a:lnTo>
                <a:lnTo>
                  <a:pt x="1342" y="691"/>
                </a:lnTo>
                <a:lnTo>
                  <a:pt x="1349" y="689"/>
                </a:lnTo>
                <a:lnTo>
                  <a:pt x="1335" y="689"/>
                </a:lnTo>
                <a:lnTo>
                  <a:pt x="1323" y="688"/>
                </a:lnTo>
                <a:lnTo>
                  <a:pt x="1311" y="688"/>
                </a:lnTo>
                <a:lnTo>
                  <a:pt x="1299" y="688"/>
                </a:lnTo>
                <a:lnTo>
                  <a:pt x="1290" y="688"/>
                </a:lnTo>
                <a:lnTo>
                  <a:pt x="1282" y="688"/>
                </a:lnTo>
                <a:lnTo>
                  <a:pt x="1290" y="688"/>
                </a:lnTo>
                <a:lnTo>
                  <a:pt x="1299" y="688"/>
                </a:lnTo>
                <a:close/>
                <a:moveTo>
                  <a:pt x="844" y="249"/>
                </a:moveTo>
                <a:lnTo>
                  <a:pt x="850" y="249"/>
                </a:lnTo>
                <a:lnTo>
                  <a:pt x="857" y="249"/>
                </a:lnTo>
                <a:lnTo>
                  <a:pt x="856" y="242"/>
                </a:lnTo>
                <a:lnTo>
                  <a:pt x="855" y="236"/>
                </a:lnTo>
                <a:lnTo>
                  <a:pt x="854" y="234"/>
                </a:lnTo>
                <a:lnTo>
                  <a:pt x="852" y="233"/>
                </a:lnTo>
                <a:lnTo>
                  <a:pt x="848" y="233"/>
                </a:lnTo>
                <a:lnTo>
                  <a:pt x="844" y="234"/>
                </a:lnTo>
                <a:lnTo>
                  <a:pt x="841" y="235"/>
                </a:lnTo>
                <a:lnTo>
                  <a:pt x="839" y="238"/>
                </a:lnTo>
                <a:lnTo>
                  <a:pt x="838" y="241"/>
                </a:lnTo>
                <a:lnTo>
                  <a:pt x="837" y="243"/>
                </a:lnTo>
                <a:lnTo>
                  <a:pt x="838" y="247"/>
                </a:lnTo>
                <a:lnTo>
                  <a:pt x="839" y="248"/>
                </a:lnTo>
                <a:lnTo>
                  <a:pt x="841" y="249"/>
                </a:lnTo>
                <a:lnTo>
                  <a:pt x="844" y="249"/>
                </a:lnTo>
                <a:lnTo>
                  <a:pt x="845" y="249"/>
                </a:lnTo>
                <a:lnTo>
                  <a:pt x="844" y="249"/>
                </a:lnTo>
                <a:close/>
                <a:moveTo>
                  <a:pt x="1756" y="274"/>
                </a:moveTo>
                <a:lnTo>
                  <a:pt x="1762" y="273"/>
                </a:lnTo>
                <a:lnTo>
                  <a:pt x="1768" y="272"/>
                </a:lnTo>
                <a:lnTo>
                  <a:pt x="1770" y="269"/>
                </a:lnTo>
                <a:lnTo>
                  <a:pt x="1771" y="267"/>
                </a:lnTo>
                <a:lnTo>
                  <a:pt x="1770" y="265"/>
                </a:lnTo>
                <a:lnTo>
                  <a:pt x="1769" y="261"/>
                </a:lnTo>
                <a:lnTo>
                  <a:pt x="1767" y="259"/>
                </a:lnTo>
                <a:lnTo>
                  <a:pt x="1764" y="258"/>
                </a:lnTo>
                <a:lnTo>
                  <a:pt x="1761" y="257"/>
                </a:lnTo>
                <a:lnTo>
                  <a:pt x="1758" y="257"/>
                </a:lnTo>
                <a:lnTo>
                  <a:pt x="1754" y="258"/>
                </a:lnTo>
                <a:lnTo>
                  <a:pt x="1751" y="258"/>
                </a:lnTo>
                <a:lnTo>
                  <a:pt x="1748" y="260"/>
                </a:lnTo>
                <a:lnTo>
                  <a:pt x="1746" y="261"/>
                </a:lnTo>
                <a:lnTo>
                  <a:pt x="1751" y="268"/>
                </a:lnTo>
                <a:lnTo>
                  <a:pt x="1756" y="274"/>
                </a:lnTo>
                <a:lnTo>
                  <a:pt x="1755" y="274"/>
                </a:lnTo>
                <a:lnTo>
                  <a:pt x="1756" y="274"/>
                </a:lnTo>
                <a:close/>
                <a:moveTo>
                  <a:pt x="1075" y="884"/>
                </a:moveTo>
                <a:lnTo>
                  <a:pt x="1089" y="887"/>
                </a:lnTo>
                <a:lnTo>
                  <a:pt x="1105" y="890"/>
                </a:lnTo>
                <a:lnTo>
                  <a:pt x="1113" y="891"/>
                </a:lnTo>
                <a:lnTo>
                  <a:pt x="1121" y="891"/>
                </a:lnTo>
                <a:lnTo>
                  <a:pt x="1129" y="891"/>
                </a:lnTo>
                <a:lnTo>
                  <a:pt x="1137" y="891"/>
                </a:lnTo>
                <a:lnTo>
                  <a:pt x="1121" y="888"/>
                </a:lnTo>
                <a:lnTo>
                  <a:pt x="1105" y="886"/>
                </a:lnTo>
                <a:lnTo>
                  <a:pt x="1089" y="884"/>
                </a:lnTo>
                <a:lnTo>
                  <a:pt x="1075" y="884"/>
                </a:lnTo>
                <a:close/>
                <a:moveTo>
                  <a:pt x="1347" y="949"/>
                </a:moveTo>
                <a:lnTo>
                  <a:pt x="1350" y="949"/>
                </a:lnTo>
                <a:lnTo>
                  <a:pt x="1352" y="948"/>
                </a:lnTo>
                <a:lnTo>
                  <a:pt x="1354" y="948"/>
                </a:lnTo>
                <a:lnTo>
                  <a:pt x="1354" y="947"/>
                </a:lnTo>
                <a:lnTo>
                  <a:pt x="1354" y="946"/>
                </a:lnTo>
                <a:lnTo>
                  <a:pt x="1352" y="944"/>
                </a:lnTo>
                <a:lnTo>
                  <a:pt x="1344" y="941"/>
                </a:lnTo>
                <a:lnTo>
                  <a:pt x="1336" y="941"/>
                </a:lnTo>
                <a:lnTo>
                  <a:pt x="1330" y="939"/>
                </a:lnTo>
                <a:lnTo>
                  <a:pt x="1322" y="939"/>
                </a:lnTo>
                <a:lnTo>
                  <a:pt x="1318" y="939"/>
                </a:lnTo>
                <a:lnTo>
                  <a:pt x="1315" y="940"/>
                </a:lnTo>
                <a:lnTo>
                  <a:pt x="1313" y="941"/>
                </a:lnTo>
                <a:lnTo>
                  <a:pt x="1310" y="945"/>
                </a:lnTo>
                <a:lnTo>
                  <a:pt x="1321" y="945"/>
                </a:lnTo>
                <a:lnTo>
                  <a:pt x="1329" y="946"/>
                </a:lnTo>
                <a:lnTo>
                  <a:pt x="1338" y="948"/>
                </a:lnTo>
                <a:lnTo>
                  <a:pt x="1347" y="949"/>
                </a:lnTo>
                <a:lnTo>
                  <a:pt x="1342" y="949"/>
                </a:lnTo>
                <a:lnTo>
                  <a:pt x="1347" y="949"/>
                </a:lnTo>
                <a:close/>
                <a:moveTo>
                  <a:pt x="1898" y="502"/>
                </a:moveTo>
                <a:lnTo>
                  <a:pt x="1883" y="507"/>
                </a:lnTo>
                <a:lnTo>
                  <a:pt x="1868" y="510"/>
                </a:lnTo>
                <a:lnTo>
                  <a:pt x="1862" y="512"/>
                </a:lnTo>
                <a:lnTo>
                  <a:pt x="1858" y="513"/>
                </a:lnTo>
                <a:lnTo>
                  <a:pt x="1858" y="515"/>
                </a:lnTo>
                <a:lnTo>
                  <a:pt x="1859" y="516"/>
                </a:lnTo>
                <a:lnTo>
                  <a:pt x="1862" y="517"/>
                </a:lnTo>
                <a:lnTo>
                  <a:pt x="1865" y="517"/>
                </a:lnTo>
                <a:lnTo>
                  <a:pt x="1871" y="517"/>
                </a:lnTo>
                <a:lnTo>
                  <a:pt x="1878" y="516"/>
                </a:lnTo>
                <a:lnTo>
                  <a:pt x="1885" y="515"/>
                </a:lnTo>
                <a:lnTo>
                  <a:pt x="1892" y="513"/>
                </a:lnTo>
                <a:lnTo>
                  <a:pt x="1896" y="510"/>
                </a:lnTo>
                <a:lnTo>
                  <a:pt x="1901" y="507"/>
                </a:lnTo>
                <a:lnTo>
                  <a:pt x="1902" y="506"/>
                </a:lnTo>
                <a:lnTo>
                  <a:pt x="1902" y="505"/>
                </a:lnTo>
                <a:lnTo>
                  <a:pt x="1901" y="504"/>
                </a:lnTo>
                <a:lnTo>
                  <a:pt x="1898" y="502"/>
                </a:lnTo>
                <a:lnTo>
                  <a:pt x="1893" y="504"/>
                </a:lnTo>
                <a:lnTo>
                  <a:pt x="1898" y="502"/>
                </a:lnTo>
                <a:close/>
                <a:moveTo>
                  <a:pt x="980" y="1008"/>
                </a:moveTo>
                <a:lnTo>
                  <a:pt x="978" y="1010"/>
                </a:lnTo>
                <a:lnTo>
                  <a:pt x="975" y="1011"/>
                </a:lnTo>
                <a:lnTo>
                  <a:pt x="972" y="1013"/>
                </a:lnTo>
                <a:lnTo>
                  <a:pt x="972" y="1016"/>
                </a:lnTo>
                <a:lnTo>
                  <a:pt x="972" y="1019"/>
                </a:lnTo>
                <a:lnTo>
                  <a:pt x="973" y="1020"/>
                </a:lnTo>
                <a:lnTo>
                  <a:pt x="976" y="1020"/>
                </a:lnTo>
                <a:lnTo>
                  <a:pt x="978" y="1020"/>
                </a:lnTo>
                <a:lnTo>
                  <a:pt x="987" y="1021"/>
                </a:lnTo>
                <a:lnTo>
                  <a:pt x="995" y="1022"/>
                </a:lnTo>
                <a:lnTo>
                  <a:pt x="1000" y="1023"/>
                </a:lnTo>
                <a:lnTo>
                  <a:pt x="1004" y="1023"/>
                </a:lnTo>
                <a:lnTo>
                  <a:pt x="1009" y="1023"/>
                </a:lnTo>
                <a:lnTo>
                  <a:pt x="1012" y="1022"/>
                </a:lnTo>
                <a:lnTo>
                  <a:pt x="996" y="1015"/>
                </a:lnTo>
                <a:lnTo>
                  <a:pt x="980" y="1008"/>
                </a:lnTo>
                <a:close/>
                <a:moveTo>
                  <a:pt x="1374" y="323"/>
                </a:moveTo>
                <a:lnTo>
                  <a:pt x="1379" y="325"/>
                </a:lnTo>
                <a:lnTo>
                  <a:pt x="1383" y="327"/>
                </a:lnTo>
                <a:lnTo>
                  <a:pt x="1388" y="327"/>
                </a:lnTo>
                <a:lnTo>
                  <a:pt x="1392" y="327"/>
                </a:lnTo>
                <a:lnTo>
                  <a:pt x="1397" y="326"/>
                </a:lnTo>
                <a:lnTo>
                  <a:pt x="1401" y="324"/>
                </a:lnTo>
                <a:lnTo>
                  <a:pt x="1405" y="321"/>
                </a:lnTo>
                <a:lnTo>
                  <a:pt x="1408" y="317"/>
                </a:lnTo>
                <a:lnTo>
                  <a:pt x="1396" y="316"/>
                </a:lnTo>
                <a:lnTo>
                  <a:pt x="1383" y="317"/>
                </a:lnTo>
                <a:lnTo>
                  <a:pt x="1380" y="317"/>
                </a:lnTo>
                <a:lnTo>
                  <a:pt x="1375" y="318"/>
                </a:lnTo>
                <a:lnTo>
                  <a:pt x="1373" y="318"/>
                </a:lnTo>
                <a:lnTo>
                  <a:pt x="1372" y="319"/>
                </a:lnTo>
                <a:lnTo>
                  <a:pt x="1372" y="321"/>
                </a:lnTo>
                <a:lnTo>
                  <a:pt x="1374" y="323"/>
                </a:lnTo>
                <a:lnTo>
                  <a:pt x="1377" y="325"/>
                </a:lnTo>
                <a:lnTo>
                  <a:pt x="1374" y="323"/>
                </a:lnTo>
                <a:close/>
                <a:moveTo>
                  <a:pt x="1481" y="684"/>
                </a:moveTo>
                <a:lnTo>
                  <a:pt x="1487" y="687"/>
                </a:lnTo>
                <a:lnTo>
                  <a:pt x="1492" y="687"/>
                </a:lnTo>
                <a:lnTo>
                  <a:pt x="1499" y="688"/>
                </a:lnTo>
                <a:lnTo>
                  <a:pt x="1505" y="687"/>
                </a:lnTo>
                <a:lnTo>
                  <a:pt x="1517" y="684"/>
                </a:lnTo>
                <a:lnTo>
                  <a:pt x="1530" y="681"/>
                </a:lnTo>
                <a:lnTo>
                  <a:pt x="1516" y="681"/>
                </a:lnTo>
                <a:lnTo>
                  <a:pt x="1505" y="681"/>
                </a:lnTo>
                <a:lnTo>
                  <a:pt x="1492" y="681"/>
                </a:lnTo>
                <a:lnTo>
                  <a:pt x="1481" y="684"/>
                </a:lnTo>
                <a:close/>
                <a:moveTo>
                  <a:pt x="880" y="614"/>
                </a:moveTo>
                <a:lnTo>
                  <a:pt x="876" y="613"/>
                </a:lnTo>
                <a:lnTo>
                  <a:pt x="871" y="612"/>
                </a:lnTo>
                <a:lnTo>
                  <a:pt x="866" y="613"/>
                </a:lnTo>
                <a:lnTo>
                  <a:pt x="862" y="615"/>
                </a:lnTo>
                <a:lnTo>
                  <a:pt x="877" y="618"/>
                </a:lnTo>
                <a:lnTo>
                  <a:pt x="891" y="621"/>
                </a:lnTo>
                <a:lnTo>
                  <a:pt x="903" y="624"/>
                </a:lnTo>
                <a:lnTo>
                  <a:pt x="915" y="625"/>
                </a:lnTo>
                <a:lnTo>
                  <a:pt x="918" y="624"/>
                </a:lnTo>
                <a:lnTo>
                  <a:pt x="919" y="624"/>
                </a:lnTo>
                <a:lnTo>
                  <a:pt x="920" y="623"/>
                </a:lnTo>
                <a:lnTo>
                  <a:pt x="919" y="621"/>
                </a:lnTo>
                <a:lnTo>
                  <a:pt x="915" y="618"/>
                </a:lnTo>
                <a:lnTo>
                  <a:pt x="911" y="618"/>
                </a:lnTo>
                <a:lnTo>
                  <a:pt x="895" y="616"/>
                </a:lnTo>
                <a:lnTo>
                  <a:pt x="880" y="614"/>
                </a:lnTo>
                <a:lnTo>
                  <a:pt x="882" y="614"/>
                </a:lnTo>
                <a:lnTo>
                  <a:pt x="880" y="614"/>
                </a:lnTo>
                <a:close/>
                <a:moveTo>
                  <a:pt x="1915" y="225"/>
                </a:moveTo>
                <a:lnTo>
                  <a:pt x="1917" y="220"/>
                </a:lnTo>
                <a:lnTo>
                  <a:pt x="1916" y="217"/>
                </a:lnTo>
                <a:lnTo>
                  <a:pt x="1914" y="216"/>
                </a:lnTo>
                <a:lnTo>
                  <a:pt x="1909" y="216"/>
                </a:lnTo>
                <a:lnTo>
                  <a:pt x="1899" y="218"/>
                </a:lnTo>
                <a:lnTo>
                  <a:pt x="1888" y="223"/>
                </a:lnTo>
                <a:lnTo>
                  <a:pt x="1894" y="226"/>
                </a:lnTo>
                <a:lnTo>
                  <a:pt x="1900" y="230"/>
                </a:lnTo>
                <a:lnTo>
                  <a:pt x="1902" y="233"/>
                </a:lnTo>
                <a:lnTo>
                  <a:pt x="1906" y="235"/>
                </a:lnTo>
                <a:lnTo>
                  <a:pt x="1909" y="234"/>
                </a:lnTo>
                <a:lnTo>
                  <a:pt x="1912" y="232"/>
                </a:lnTo>
                <a:lnTo>
                  <a:pt x="1914" y="227"/>
                </a:lnTo>
                <a:lnTo>
                  <a:pt x="1915" y="225"/>
                </a:lnTo>
                <a:lnTo>
                  <a:pt x="1914" y="228"/>
                </a:lnTo>
                <a:lnTo>
                  <a:pt x="1915" y="225"/>
                </a:lnTo>
                <a:close/>
                <a:moveTo>
                  <a:pt x="1490" y="297"/>
                </a:moveTo>
                <a:lnTo>
                  <a:pt x="1504" y="294"/>
                </a:lnTo>
                <a:lnTo>
                  <a:pt x="1519" y="294"/>
                </a:lnTo>
                <a:lnTo>
                  <a:pt x="1522" y="298"/>
                </a:lnTo>
                <a:lnTo>
                  <a:pt x="1525" y="301"/>
                </a:lnTo>
                <a:lnTo>
                  <a:pt x="1528" y="302"/>
                </a:lnTo>
                <a:lnTo>
                  <a:pt x="1530" y="301"/>
                </a:lnTo>
                <a:lnTo>
                  <a:pt x="1532" y="300"/>
                </a:lnTo>
                <a:lnTo>
                  <a:pt x="1535" y="298"/>
                </a:lnTo>
                <a:lnTo>
                  <a:pt x="1536" y="296"/>
                </a:lnTo>
                <a:lnTo>
                  <a:pt x="1536" y="294"/>
                </a:lnTo>
                <a:lnTo>
                  <a:pt x="1535" y="293"/>
                </a:lnTo>
                <a:lnTo>
                  <a:pt x="1533" y="292"/>
                </a:lnTo>
                <a:lnTo>
                  <a:pt x="1530" y="291"/>
                </a:lnTo>
                <a:lnTo>
                  <a:pt x="1525" y="291"/>
                </a:lnTo>
                <a:lnTo>
                  <a:pt x="1516" y="291"/>
                </a:lnTo>
                <a:lnTo>
                  <a:pt x="1509" y="291"/>
                </a:lnTo>
                <a:lnTo>
                  <a:pt x="1500" y="291"/>
                </a:lnTo>
                <a:lnTo>
                  <a:pt x="1491" y="291"/>
                </a:lnTo>
                <a:lnTo>
                  <a:pt x="1489" y="291"/>
                </a:lnTo>
                <a:lnTo>
                  <a:pt x="1487" y="292"/>
                </a:lnTo>
                <a:lnTo>
                  <a:pt x="1487" y="294"/>
                </a:lnTo>
                <a:lnTo>
                  <a:pt x="1487" y="296"/>
                </a:lnTo>
                <a:lnTo>
                  <a:pt x="1488" y="296"/>
                </a:lnTo>
                <a:lnTo>
                  <a:pt x="1490" y="297"/>
                </a:lnTo>
                <a:lnTo>
                  <a:pt x="1490" y="297"/>
                </a:lnTo>
                <a:lnTo>
                  <a:pt x="1490" y="297"/>
                </a:lnTo>
                <a:close/>
                <a:moveTo>
                  <a:pt x="1133" y="288"/>
                </a:moveTo>
                <a:lnTo>
                  <a:pt x="1127" y="289"/>
                </a:lnTo>
                <a:lnTo>
                  <a:pt x="1121" y="291"/>
                </a:lnTo>
                <a:lnTo>
                  <a:pt x="1117" y="293"/>
                </a:lnTo>
                <a:lnTo>
                  <a:pt x="1112" y="294"/>
                </a:lnTo>
                <a:lnTo>
                  <a:pt x="1111" y="297"/>
                </a:lnTo>
                <a:lnTo>
                  <a:pt x="1112" y="298"/>
                </a:lnTo>
                <a:lnTo>
                  <a:pt x="1113" y="299"/>
                </a:lnTo>
                <a:lnTo>
                  <a:pt x="1115" y="299"/>
                </a:lnTo>
                <a:lnTo>
                  <a:pt x="1120" y="301"/>
                </a:lnTo>
                <a:lnTo>
                  <a:pt x="1125" y="303"/>
                </a:lnTo>
                <a:lnTo>
                  <a:pt x="1129" y="305"/>
                </a:lnTo>
                <a:lnTo>
                  <a:pt x="1134" y="307"/>
                </a:lnTo>
                <a:lnTo>
                  <a:pt x="1136" y="307"/>
                </a:lnTo>
                <a:lnTo>
                  <a:pt x="1138" y="306"/>
                </a:lnTo>
                <a:lnTo>
                  <a:pt x="1141" y="305"/>
                </a:lnTo>
                <a:lnTo>
                  <a:pt x="1142" y="302"/>
                </a:lnTo>
                <a:lnTo>
                  <a:pt x="1143" y="299"/>
                </a:lnTo>
                <a:lnTo>
                  <a:pt x="1143" y="297"/>
                </a:lnTo>
                <a:lnTo>
                  <a:pt x="1143" y="294"/>
                </a:lnTo>
                <a:lnTo>
                  <a:pt x="1142" y="292"/>
                </a:lnTo>
                <a:lnTo>
                  <a:pt x="1141" y="291"/>
                </a:lnTo>
                <a:lnTo>
                  <a:pt x="1138" y="289"/>
                </a:lnTo>
                <a:lnTo>
                  <a:pt x="1136" y="289"/>
                </a:lnTo>
                <a:lnTo>
                  <a:pt x="1133" y="288"/>
                </a:lnTo>
                <a:lnTo>
                  <a:pt x="1132" y="288"/>
                </a:lnTo>
                <a:lnTo>
                  <a:pt x="1133" y="288"/>
                </a:lnTo>
                <a:close/>
                <a:moveTo>
                  <a:pt x="828" y="1013"/>
                </a:moveTo>
                <a:lnTo>
                  <a:pt x="839" y="1018"/>
                </a:lnTo>
                <a:lnTo>
                  <a:pt x="849" y="1020"/>
                </a:lnTo>
                <a:lnTo>
                  <a:pt x="855" y="1021"/>
                </a:lnTo>
                <a:lnTo>
                  <a:pt x="860" y="1021"/>
                </a:lnTo>
                <a:lnTo>
                  <a:pt x="865" y="1021"/>
                </a:lnTo>
                <a:lnTo>
                  <a:pt x="871" y="1020"/>
                </a:lnTo>
                <a:lnTo>
                  <a:pt x="866" y="1018"/>
                </a:lnTo>
                <a:lnTo>
                  <a:pt x="862" y="1014"/>
                </a:lnTo>
                <a:lnTo>
                  <a:pt x="876" y="1014"/>
                </a:lnTo>
                <a:lnTo>
                  <a:pt x="889" y="1014"/>
                </a:lnTo>
                <a:lnTo>
                  <a:pt x="881" y="1012"/>
                </a:lnTo>
                <a:lnTo>
                  <a:pt x="874" y="1010"/>
                </a:lnTo>
                <a:lnTo>
                  <a:pt x="866" y="1008"/>
                </a:lnTo>
                <a:lnTo>
                  <a:pt x="858" y="1008"/>
                </a:lnTo>
                <a:lnTo>
                  <a:pt x="844" y="1010"/>
                </a:lnTo>
                <a:lnTo>
                  <a:pt x="828" y="1013"/>
                </a:lnTo>
                <a:lnTo>
                  <a:pt x="833" y="1015"/>
                </a:lnTo>
                <a:lnTo>
                  <a:pt x="837" y="1015"/>
                </a:lnTo>
                <a:lnTo>
                  <a:pt x="840" y="1014"/>
                </a:lnTo>
                <a:lnTo>
                  <a:pt x="841" y="1013"/>
                </a:lnTo>
                <a:lnTo>
                  <a:pt x="841" y="1012"/>
                </a:lnTo>
                <a:lnTo>
                  <a:pt x="839" y="1011"/>
                </a:lnTo>
                <a:lnTo>
                  <a:pt x="835" y="1012"/>
                </a:lnTo>
                <a:lnTo>
                  <a:pt x="828" y="1013"/>
                </a:lnTo>
                <a:close/>
                <a:moveTo>
                  <a:pt x="1934" y="812"/>
                </a:moveTo>
                <a:lnTo>
                  <a:pt x="1918" y="817"/>
                </a:lnTo>
                <a:lnTo>
                  <a:pt x="1903" y="821"/>
                </a:lnTo>
                <a:lnTo>
                  <a:pt x="1887" y="824"/>
                </a:lnTo>
                <a:lnTo>
                  <a:pt x="1873" y="829"/>
                </a:lnTo>
                <a:lnTo>
                  <a:pt x="1877" y="831"/>
                </a:lnTo>
                <a:lnTo>
                  <a:pt x="1883" y="831"/>
                </a:lnTo>
                <a:lnTo>
                  <a:pt x="1890" y="831"/>
                </a:lnTo>
                <a:lnTo>
                  <a:pt x="1895" y="831"/>
                </a:lnTo>
                <a:lnTo>
                  <a:pt x="1908" y="829"/>
                </a:lnTo>
                <a:lnTo>
                  <a:pt x="1920" y="826"/>
                </a:lnTo>
                <a:lnTo>
                  <a:pt x="1925" y="825"/>
                </a:lnTo>
                <a:lnTo>
                  <a:pt x="1932" y="824"/>
                </a:lnTo>
                <a:lnTo>
                  <a:pt x="1937" y="823"/>
                </a:lnTo>
                <a:lnTo>
                  <a:pt x="1941" y="821"/>
                </a:lnTo>
                <a:lnTo>
                  <a:pt x="1941" y="817"/>
                </a:lnTo>
                <a:lnTo>
                  <a:pt x="1940" y="814"/>
                </a:lnTo>
                <a:lnTo>
                  <a:pt x="1939" y="812"/>
                </a:lnTo>
                <a:lnTo>
                  <a:pt x="1937" y="812"/>
                </a:lnTo>
                <a:lnTo>
                  <a:pt x="1935" y="811"/>
                </a:lnTo>
                <a:lnTo>
                  <a:pt x="1934" y="812"/>
                </a:lnTo>
                <a:lnTo>
                  <a:pt x="1933" y="812"/>
                </a:lnTo>
                <a:lnTo>
                  <a:pt x="1934" y="812"/>
                </a:lnTo>
                <a:close/>
                <a:moveTo>
                  <a:pt x="1808" y="521"/>
                </a:moveTo>
                <a:lnTo>
                  <a:pt x="1804" y="524"/>
                </a:lnTo>
                <a:lnTo>
                  <a:pt x="1800" y="526"/>
                </a:lnTo>
                <a:lnTo>
                  <a:pt x="1796" y="526"/>
                </a:lnTo>
                <a:lnTo>
                  <a:pt x="1792" y="526"/>
                </a:lnTo>
                <a:lnTo>
                  <a:pt x="1784" y="525"/>
                </a:lnTo>
                <a:lnTo>
                  <a:pt x="1775" y="526"/>
                </a:lnTo>
                <a:lnTo>
                  <a:pt x="1771" y="529"/>
                </a:lnTo>
                <a:lnTo>
                  <a:pt x="1769" y="531"/>
                </a:lnTo>
                <a:lnTo>
                  <a:pt x="1769" y="532"/>
                </a:lnTo>
                <a:lnTo>
                  <a:pt x="1769" y="534"/>
                </a:lnTo>
                <a:lnTo>
                  <a:pt x="1770" y="535"/>
                </a:lnTo>
                <a:lnTo>
                  <a:pt x="1771" y="537"/>
                </a:lnTo>
                <a:lnTo>
                  <a:pt x="1776" y="538"/>
                </a:lnTo>
                <a:lnTo>
                  <a:pt x="1780" y="537"/>
                </a:lnTo>
                <a:lnTo>
                  <a:pt x="1785" y="535"/>
                </a:lnTo>
                <a:lnTo>
                  <a:pt x="1789" y="533"/>
                </a:lnTo>
                <a:lnTo>
                  <a:pt x="1800" y="532"/>
                </a:lnTo>
                <a:lnTo>
                  <a:pt x="1810" y="530"/>
                </a:lnTo>
                <a:lnTo>
                  <a:pt x="1813" y="529"/>
                </a:lnTo>
                <a:lnTo>
                  <a:pt x="1819" y="527"/>
                </a:lnTo>
                <a:lnTo>
                  <a:pt x="1824" y="526"/>
                </a:lnTo>
                <a:lnTo>
                  <a:pt x="1826" y="524"/>
                </a:lnTo>
                <a:lnTo>
                  <a:pt x="1827" y="522"/>
                </a:lnTo>
                <a:lnTo>
                  <a:pt x="1826" y="520"/>
                </a:lnTo>
                <a:lnTo>
                  <a:pt x="1824" y="517"/>
                </a:lnTo>
                <a:lnTo>
                  <a:pt x="1821" y="516"/>
                </a:lnTo>
                <a:lnTo>
                  <a:pt x="1818" y="515"/>
                </a:lnTo>
                <a:lnTo>
                  <a:pt x="1814" y="516"/>
                </a:lnTo>
                <a:lnTo>
                  <a:pt x="1810" y="517"/>
                </a:lnTo>
                <a:lnTo>
                  <a:pt x="1808" y="521"/>
                </a:lnTo>
                <a:lnTo>
                  <a:pt x="1808" y="521"/>
                </a:lnTo>
                <a:lnTo>
                  <a:pt x="1808" y="521"/>
                </a:lnTo>
                <a:close/>
                <a:moveTo>
                  <a:pt x="1467" y="614"/>
                </a:moveTo>
                <a:lnTo>
                  <a:pt x="1453" y="612"/>
                </a:lnTo>
                <a:lnTo>
                  <a:pt x="1438" y="609"/>
                </a:lnTo>
                <a:lnTo>
                  <a:pt x="1430" y="610"/>
                </a:lnTo>
                <a:lnTo>
                  <a:pt x="1423" y="612"/>
                </a:lnTo>
                <a:lnTo>
                  <a:pt x="1416" y="614"/>
                </a:lnTo>
                <a:lnTo>
                  <a:pt x="1409" y="617"/>
                </a:lnTo>
                <a:lnTo>
                  <a:pt x="1414" y="620"/>
                </a:lnTo>
                <a:lnTo>
                  <a:pt x="1418" y="622"/>
                </a:lnTo>
                <a:lnTo>
                  <a:pt x="1423" y="623"/>
                </a:lnTo>
                <a:lnTo>
                  <a:pt x="1428" y="623"/>
                </a:lnTo>
                <a:lnTo>
                  <a:pt x="1437" y="623"/>
                </a:lnTo>
                <a:lnTo>
                  <a:pt x="1447" y="623"/>
                </a:lnTo>
                <a:lnTo>
                  <a:pt x="1456" y="622"/>
                </a:lnTo>
                <a:lnTo>
                  <a:pt x="1465" y="621"/>
                </a:lnTo>
                <a:lnTo>
                  <a:pt x="1468" y="620"/>
                </a:lnTo>
                <a:lnTo>
                  <a:pt x="1471" y="617"/>
                </a:lnTo>
                <a:lnTo>
                  <a:pt x="1471" y="616"/>
                </a:lnTo>
                <a:lnTo>
                  <a:pt x="1471" y="615"/>
                </a:lnTo>
                <a:lnTo>
                  <a:pt x="1470" y="614"/>
                </a:lnTo>
                <a:lnTo>
                  <a:pt x="1467" y="614"/>
                </a:lnTo>
                <a:lnTo>
                  <a:pt x="1459" y="613"/>
                </a:lnTo>
                <a:lnTo>
                  <a:pt x="1461" y="613"/>
                </a:lnTo>
                <a:lnTo>
                  <a:pt x="1465" y="614"/>
                </a:lnTo>
                <a:lnTo>
                  <a:pt x="1467" y="614"/>
                </a:lnTo>
                <a:close/>
                <a:moveTo>
                  <a:pt x="1519" y="339"/>
                </a:moveTo>
                <a:lnTo>
                  <a:pt x="1517" y="341"/>
                </a:lnTo>
                <a:lnTo>
                  <a:pt x="1515" y="343"/>
                </a:lnTo>
                <a:lnTo>
                  <a:pt x="1512" y="346"/>
                </a:lnTo>
                <a:lnTo>
                  <a:pt x="1509" y="347"/>
                </a:lnTo>
                <a:lnTo>
                  <a:pt x="1505" y="347"/>
                </a:lnTo>
                <a:lnTo>
                  <a:pt x="1502" y="349"/>
                </a:lnTo>
                <a:lnTo>
                  <a:pt x="1502" y="351"/>
                </a:lnTo>
                <a:lnTo>
                  <a:pt x="1503" y="354"/>
                </a:lnTo>
                <a:lnTo>
                  <a:pt x="1505" y="356"/>
                </a:lnTo>
                <a:lnTo>
                  <a:pt x="1506" y="357"/>
                </a:lnTo>
                <a:lnTo>
                  <a:pt x="1514" y="357"/>
                </a:lnTo>
                <a:lnTo>
                  <a:pt x="1521" y="355"/>
                </a:lnTo>
                <a:lnTo>
                  <a:pt x="1525" y="354"/>
                </a:lnTo>
                <a:lnTo>
                  <a:pt x="1530" y="354"/>
                </a:lnTo>
                <a:lnTo>
                  <a:pt x="1531" y="354"/>
                </a:lnTo>
                <a:lnTo>
                  <a:pt x="1532" y="355"/>
                </a:lnTo>
                <a:lnTo>
                  <a:pt x="1535" y="352"/>
                </a:lnTo>
                <a:lnTo>
                  <a:pt x="1536" y="351"/>
                </a:lnTo>
                <a:lnTo>
                  <a:pt x="1542" y="349"/>
                </a:lnTo>
                <a:lnTo>
                  <a:pt x="1549" y="348"/>
                </a:lnTo>
                <a:lnTo>
                  <a:pt x="1555" y="349"/>
                </a:lnTo>
                <a:lnTo>
                  <a:pt x="1562" y="349"/>
                </a:lnTo>
                <a:lnTo>
                  <a:pt x="1565" y="348"/>
                </a:lnTo>
                <a:lnTo>
                  <a:pt x="1568" y="347"/>
                </a:lnTo>
                <a:lnTo>
                  <a:pt x="1570" y="344"/>
                </a:lnTo>
                <a:lnTo>
                  <a:pt x="1571" y="341"/>
                </a:lnTo>
                <a:lnTo>
                  <a:pt x="1565" y="341"/>
                </a:lnTo>
                <a:lnTo>
                  <a:pt x="1560" y="341"/>
                </a:lnTo>
                <a:lnTo>
                  <a:pt x="1555" y="341"/>
                </a:lnTo>
                <a:lnTo>
                  <a:pt x="1550" y="342"/>
                </a:lnTo>
                <a:lnTo>
                  <a:pt x="1548" y="342"/>
                </a:lnTo>
                <a:lnTo>
                  <a:pt x="1547" y="341"/>
                </a:lnTo>
                <a:lnTo>
                  <a:pt x="1547" y="340"/>
                </a:lnTo>
                <a:lnTo>
                  <a:pt x="1547" y="339"/>
                </a:lnTo>
                <a:lnTo>
                  <a:pt x="1548" y="336"/>
                </a:lnTo>
                <a:lnTo>
                  <a:pt x="1548" y="333"/>
                </a:lnTo>
                <a:lnTo>
                  <a:pt x="1547" y="332"/>
                </a:lnTo>
                <a:lnTo>
                  <a:pt x="1544" y="331"/>
                </a:lnTo>
                <a:lnTo>
                  <a:pt x="1540" y="331"/>
                </a:lnTo>
                <a:lnTo>
                  <a:pt x="1538" y="331"/>
                </a:lnTo>
                <a:lnTo>
                  <a:pt x="1532" y="331"/>
                </a:lnTo>
                <a:lnTo>
                  <a:pt x="1528" y="333"/>
                </a:lnTo>
                <a:lnTo>
                  <a:pt x="1523" y="335"/>
                </a:lnTo>
                <a:lnTo>
                  <a:pt x="1519" y="339"/>
                </a:lnTo>
                <a:lnTo>
                  <a:pt x="1521" y="336"/>
                </a:lnTo>
                <a:lnTo>
                  <a:pt x="1519" y="339"/>
                </a:lnTo>
                <a:close/>
                <a:moveTo>
                  <a:pt x="687" y="944"/>
                </a:moveTo>
                <a:lnTo>
                  <a:pt x="662" y="938"/>
                </a:lnTo>
                <a:lnTo>
                  <a:pt x="637" y="933"/>
                </a:lnTo>
                <a:lnTo>
                  <a:pt x="611" y="928"/>
                </a:lnTo>
                <a:lnTo>
                  <a:pt x="586" y="921"/>
                </a:lnTo>
                <a:lnTo>
                  <a:pt x="561" y="914"/>
                </a:lnTo>
                <a:lnTo>
                  <a:pt x="536" y="908"/>
                </a:lnTo>
                <a:lnTo>
                  <a:pt x="511" y="902"/>
                </a:lnTo>
                <a:lnTo>
                  <a:pt x="486" y="895"/>
                </a:lnTo>
                <a:lnTo>
                  <a:pt x="499" y="902"/>
                </a:lnTo>
                <a:lnTo>
                  <a:pt x="523" y="908"/>
                </a:lnTo>
                <a:lnTo>
                  <a:pt x="552" y="917"/>
                </a:lnTo>
                <a:lnTo>
                  <a:pt x="585" y="925"/>
                </a:lnTo>
                <a:lnTo>
                  <a:pt x="619" y="933"/>
                </a:lnTo>
                <a:lnTo>
                  <a:pt x="649" y="939"/>
                </a:lnTo>
                <a:lnTo>
                  <a:pt x="673" y="942"/>
                </a:lnTo>
                <a:lnTo>
                  <a:pt x="687" y="944"/>
                </a:lnTo>
                <a:close/>
                <a:moveTo>
                  <a:pt x="1134" y="524"/>
                </a:moveTo>
                <a:lnTo>
                  <a:pt x="1128" y="523"/>
                </a:lnTo>
                <a:lnTo>
                  <a:pt x="1124" y="522"/>
                </a:lnTo>
                <a:lnTo>
                  <a:pt x="1118" y="522"/>
                </a:lnTo>
                <a:lnTo>
                  <a:pt x="1113" y="524"/>
                </a:lnTo>
                <a:lnTo>
                  <a:pt x="1140" y="527"/>
                </a:lnTo>
                <a:lnTo>
                  <a:pt x="1166" y="533"/>
                </a:lnTo>
                <a:lnTo>
                  <a:pt x="1178" y="535"/>
                </a:lnTo>
                <a:lnTo>
                  <a:pt x="1192" y="537"/>
                </a:lnTo>
                <a:lnTo>
                  <a:pt x="1204" y="538"/>
                </a:lnTo>
                <a:lnTo>
                  <a:pt x="1218" y="535"/>
                </a:lnTo>
                <a:lnTo>
                  <a:pt x="1203" y="532"/>
                </a:lnTo>
                <a:lnTo>
                  <a:pt x="1190" y="527"/>
                </a:lnTo>
                <a:lnTo>
                  <a:pt x="1192" y="525"/>
                </a:lnTo>
                <a:lnTo>
                  <a:pt x="1195" y="524"/>
                </a:lnTo>
                <a:lnTo>
                  <a:pt x="1198" y="524"/>
                </a:lnTo>
                <a:lnTo>
                  <a:pt x="1201" y="524"/>
                </a:lnTo>
                <a:lnTo>
                  <a:pt x="1206" y="525"/>
                </a:lnTo>
                <a:lnTo>
                  <a:pt x="1210" y="525"/>
                </a:lnTo>
                <a:lnTo>
                  <a:pt x="1211" y="524"/>
                </a:lnTo>
                <a:lnTo>
                  <a:pt x="1211" y="523"/>
                </a:lnTo>
                <a:lnTo>
                  <a:pt x="1209" y="522"/>
                </a:lnTo>
                <a:lnTo>
                  <a:pt x="1206" y="521"/>
                </a:lnTo>
                <a:lnTo>
                  <a:pt x="1200" y="520"/>
                </a:lnTo>
                <a:lnTo>
                  <a:pt x="1195" y="520"/>
                </a:lnTo>
                <a:lnTo>
                  <a:pt x="1189" y="518"/>
                </a:lnTo>
                <a:lnTo>
                  <a:pt x="1182" y="517"/>
                </a:lnTo>
                <a:lnTo>
                  <a:pt x="1175" y="517"/>
                </a:lnTo>
                <a:lnTo>
                  <a:pt x="1168" y="517"/>
                </a:lnTo>
                <a:lnTo>
                  <a:pt x="1167" y="516"/>
                </a:lnTo>
                <a:lnTo>
                  <a:pt x="1165" y="516"/>
                </a:lnTo>
                <a:lnTo>
                  <a:pt x="1163" y="514"/>
                </a:lnTo>
                <a:lnTo>
                  <a:pt x="1165" y="513"/>
                </a:lnTo>
                <a:lnTo>
                  <a:pt x="1166" y="510"/>
                </a:lnTo>
                <a:lnTo>
                  <a:pt x="1169" y="512"/>
                </a:lnTo>
                <a:lnTo>
                  <a:pt x="1173" y="513"/>
                </a:lnTo>
                <a:lnTo>
                  <a:pt x="1175" y="514"/>
                </a:lnTo>
                <a:lnTo>
                  <a:pt x="1183" y="514"/>
                </a:lnTo>
                <a:lnTo>
                  <a:pt x="1191" y="514"/>
                </a:lnTo>
                <a:lnTo>
                  <a:pt x="1199" y="515"/>
                </a:lnTo>
                <a:lnTo>
                  <a:pt x="1207" y="515"/>
                </a:lnTo>
                <a:lnTo>
                  <a:pt x="1209" y="514"/>
                </a:lnTo>
                <a:lnTo>
                  <a:pt x="1210" y="512"/>
                </a:lnTo>
                <a:lnTo>
                  <a:pt x="1209" y="510"/>
                </a:lnTo>
                <a:lnTo>
                  <a:pt x="1206" y="509"/>
                </a:lnTo>
                <a:lnTo>
                  <a:pt x="1199" y="508"/>
                </a:lnTo>
                <a:lnTo>
                  <a:pt x="1191" y="508"/>
                </a:lnTo>
                <a:lnTo>
                  <a:pt x="1174" y="507"/>
                </a:lnTo>
                <a:lnTo>
                  <a:pt x="1157" y="507"/>
                </a:lnTo>
                <a:lnTo>
                  <a:pt x="1152" y="507"/>
                </a:lnTo>
                <a:lnTo>
                  <a:pt x="1149" y="505"/>
                </a:lnTo>
                <a:lnTo>
                  <a:pt x="1146" y="502"/>
                </a:lnTo>
                <a:lnTo>
                  <a:pt x="1146" y="497"/>
                </a:lnTo>
                <a:lnTo>
                  <a:pt x="1142" y="500"/>
                </a:lnTo>
                <a:lnTo>
                  <a:pt x="1137" y="502"/>
                </a:lnTo>
                <a:lnTo>
                  <a:pt x="1133" y="504"/>
                </a:lnTo>
                <a:lnTo>
                  <a:pt x="1128" y="505"/>
                </a:lnTo>
                <a:lnTo>
                  <a:pt x="1126" y="505"/>
                </a:lnTo>
                <a:lnTo>
                  <a:pt x="1124" y="506"/>
                </a:lnTo>
                <a:lnTo>
                  <a:pt x="1123" y="508"/>
                </a:lnTo>
                <a:lnTo>
                  <a:pt x="1123" y="509"/>
                </a:lnTo>
                <a:lnTo>
                  <a:pt x="1124" y="513"/>
                </a:lnTo>
                <a:lnTo>
                  <a:pt x="1127" y="516"/>
                </a:lnTo>
                <a:lnTo>
                  <a:pt x="1134" y="518"/>
                </a:lnTo>
                <a:lnTo>
                  <a:pt x="1141" y="520"/>
                </a:lnTo>
                <a:lnTo>
                  <a:pt x="1146" y="520"/>
                </a:lnTo>
                <a:lnTo>
                  <a:pt x="1151" y="521"/>
                </a:lnTo>
                <a:lnTo>
                  <a:pt x="1154" y="523"/>
                </a:lnTo>
                <a:lnTo>
                  <a:pt x="1156" y="526"/>
                </a:lnTo>
                <a:lnTo>
                  <a:pt x="1150" y="526"/>
                </a:lnTo>
                <a:lnTo>
                  <a:pt x="1145" y="526"/>
                </a:lnTo>
                <a:lnTo>
                  <a:pt x="1140" y="525"/>
                </a:lnTo>
                <a:lnTo>
                  <a:pt x="1134" y="524"/>
                </a:lnTo>
                <a:lnTo>
                  <a:pt x="1134" y="524"/>
                </a:lnTo>
                <a:lnTo>
                  <a:pt x="1134" y="524"/>
                </a:lnTo>
                <a:close/>
                <a:moveTo>
                  <a:pt x="2083" y="483"/>
                </a:moveTo>
                <a:lnTo>
                  <a:pt x="2077" y="482"/>
                </a:lnTo>
                <a:lnTo>
                  <a:pt x="2083" y="483"/>
                </a:lnTo>
                <a:close/>
                <a:moveTo>
                  <a:pt x="1201" y="879"/>
                </a:moveTo>
                <a:lnTo>
                  <a:pt x="1200" y="877"/>
                </a:lnTo>
                <a:lnTo>
                  <a:pt x="1196" y="874"/>
                </a:lnTo>
                <a:lnTo>
                  <a:pt x="1191" y="873"/>
                </a:lnTo>
                <a:lnTo>
                  <a:pt x="1184" y="872"/>
                </a:lnTo>
                <a:lnTo>
                  <a:pt x="1170" y="871"/>
                </a:lnTo>
                <a:lnTo>
                  <a:pt x="1161" y="870"/>
                </a:lnTo>
                <a:lnTo>
                  <a:pt x="1148" y="869"/>
                </a:lnTo>
                <a:lnTo>
                  <a:pt x="1135" y="867"/>
                </a:lnTo>
                <a:lnTo>
                  <a:pt x="1121" y="865"/>
                </a:lnTo>
                <a:lnTo>
                  <a:pt x="1109" y="863"/>
                </a:lnTo>
                <a:lnTo>
                  <a:pt x="1084" y="858"/>
                </a:lnTo>
                <a:lnTo>
                  <a:pt x="1058" y="855"/>
                </a:lnTo>
                <a:lnTo>
                  <a:pt x="1045" y="853"/>
                </a:lnTo>
                <a:lnTo>
                  <a:pt x="1033" y="852"/>
                </a:lnTo>
                <a:lnTo>
                  <a:pt x="1019" y="852"/>
                </a:lnTo>
                <a:lnTo>
                  <a:pt x="1006" y="852"/>
                </a:lnTo>
                <a:lnTo>
                  <a:pt x="1014" y="856"/>
                </a:lnTo>
                <a:lnTo>
                  <a:pt x="1022" y="859"/>
                </a:lnTo>
                <a:lnTo>
                  <a:pt x="1027" y="861"/>
                </a:lnTo>
                <a:lnTo>
                  <a:pt x="1033" y="861"/>
                </a:lnTo>
                <a:lnTo>
                  <a:pt x="1039" y="862"/>
                </a:lnTo>
                <a:lnTo>
                  <a:pt x="1045" y="862"/>
                </a:lnTo>
                <a:lnTo>
                  <a:pt x="1059" y="863"/>
                </a:lnTo>
                <a:lnTo>
                  <a:pt x="1072" y="863"/>
                </a:lnTo>
                <a:lnTo>
                  <a:pt x="1086" y="864"/>
                </a:lnTo>
                <a:lnTo>
                  <a:pt x="1100" y="866"/>
                </a:lnTo>
                <a:lnTo>
                  <a:pt x="1113" y="869"/>
                </a:lnTo>
                <a:lnTo>
                  <a:pt x="1127" y="871"/>
                </a:lnTo>
                <a:lnTo>
                  <a:pt x="1141" y="873"/>
                </a:lnTo>
                <a:lnTo>
                  <a:pt x="1153" y="874"/>
                </a:lnTo>
                <a:lnTo>
                  <a:pt x="1168" y="875"/>
                </a:lnTo>
                <a:lnTo>
                  <a:pt x="1182" y="878"/>
                </a:lnTo>
                <a:lnTo>
                  <a:pt x="1185" y="879"/>
                </a:lnTo>
                <a:lnTo>
                  <a:pt x="1192" y="880"/>
                </a:lnTo>
                <a:lnTo>
                  <a:pt x="1195" y="881"/>
                </a:lnTo>
                <a:lnTo>
                  <a:pt x="1198" y="881"/>
                </a:lnTo>
                <a:lnTo>
                  <a:pt x="1200" y="880"/>
                </a:lnTo>
                <a:lnTo>
                  <a:pt x="1201" y="879"/>
                </a:lnTo>
                <a:close/>
                <a:moveTo>
                  <a:pt x="1083" y="466"/>
                </a:moveTo>
                <a:lnTo>
                  <a:pt x="1069" y="465"/>
                </a:lnTo>
                <a:lnTo>
                  <a:pt x="1054" y="463"/>
                </a:lnTo>
                <a:lnTo>
                  <a:pt x="1049" y="463"/>
                </a:lnTo>
                <a:lnTo>
                  <a:pt x="1044" y="463"/>
                </a:lnTo>
                <a:lnTo>
                  <a:pt x="1039" y="464"/>
                </a:lnTo>
                <a:lnTo>
                  <a:pt x="1035" y="467"/>
                </a:lnTo>
                <a:lnTo>
                  <a:pt x="1031" y="469"/>
                </a:lnTo>
                <a:lnTo>
                  <a:pt x="1027" y="473"/>
                </a:lnTo>
                <a:lnTo>
                  <a:pt x="1026" y="474"/>
                </a:lnTo>
                <a:lnTo>
                  <a:pt x="1025" y="476"/>
                </a:lnTo>
                <a:lnTo>
                  <a:pt x="1023" y="479"/>
                </a:lnTo>
                <a:lnTo>
                  <a:pt x="1025" y="480"/>
                </a:lnTo>
                <a:lnTo>
                  <a:pt x="1028" y="481"/>
                </a:lnTo>
                <a:lnTo>
                  <a:pt x="1031" y="482"/>
                </a:lnTo>
                <a:lnTo>
                  <a:pt x="1036" y="485"/>
                </a:lnTo>
                <a:lnTo>
                  <a:pt x="1042" y="489"/>
                </a:lnTo>
                <a:lnTo>
                  <a:pt x="1052" y="491"/>
                </a:lnTo>
                <a:lnTo>
                  <a:pt x="1062" y="492"/>
                </a:lnTo>
                <a:lnTo>
                  <a:pt x="1072" y="493"/>
                </a:lnTo>
                <a:lnTo>
                  <a:pt x="1083" y="493"/>
                </a:lnTo>
                <a:lnTo>
                  <a:pt x="1086" y="492"/>
                </a:lnTo>
                <a:lnTo>
                  <a:pt x="1087" y="490"/>
                </a:lnTo>
                <a:lnTo>
                  <a:pt x="1087" y="489"/>
                </a:lnTo>
                <a:lnTo>
                  <a:pt x="1087" y="488"/>
                </a:lnTo>
                <a:lnTo>
                  <a:pt x="1084" y="484"/>
                </a:lnTo>
                <a:lnTo>
                  <a:pt x="1082" y="482"/>
                </a:lnTo>
                <a:lnTo>
                  <a:pt x="1079" y="480"/>
                </a:lnTo>
                <a:lnTo>
                  <a:pt x="1078" y="477"/>
                </a:lnTo>
                <a:lnTo>
                  <a:pt x="1077" y="475"/>
                </a:lnTo>
                <a:lnTo>
                  <a:pt x="1077" y="474"/>
                </a:lnTo>
                <a:lnTo>
                  <a:pt x="1079" y="469"/>
                </a:lnTo>
                <a:lnTo>
                  <a:pt x="1083" y="466"/>
                </a:lnTo>
                <a:lnTo>
                  <a:pt x="1076" y="468"/>
                </a:lnTo>
                <a:lnTo>
                  <a:pt x="1083" y="466"/>
                </a:lnTo>
                <a:close/>
                <a:moveTo>
                  <a:pt x="1068" y="258"/>
                </a:moveTo>
                <a:lnTo>
                  <a:pt x="1076" y="261"/>
                </a:lnTo>
                <a:lnTo>
                  <a:pt x="1084" y="265"/>
                </a:lnTo>
                <a:lnTo>
                  <a:pt x="1091" y="269"/>
                </a:lnTo>
                <a:lnTo>
                  <a:pt x="1099" y="273"/>
                </a:lnTo>
                <a:lnTo>
                  <a:pt x="1107" y="273"/>
                </a:lnTo>
                <a:lnTo>
                  <a:pt x="1115" y="272"/>
                </a:lnTo>
                <a:lnTo>
                  <a:pt x="1125" y="274"/>
                </a:lnTo>
                <a:lnTo>
                  <a:pt x="1135" y="277"/>
                </a:lnTo>
                <a:lnTo>
                  <a:pt x="1145" y="278"/>
                </a:lnTo>
                <a:lnTo>
                  <a:pt x="1154" y="280"/>
                </a:lnTo>
                <a:lnTo>
                  <a:pt x="1163" y="281"/>
                </a:lnTo>
                <a:lnTo>
                  <a:pt x="1174" y="281"/>
                </a:lnTo>
                <a:lnTo>
                  <a:pt x="1179" y="282"/>
                </a:lnTo>
                <a:lnTo>
                  <a:pt x="1190" y="282"/>
                </a:lnTo>
                <a:lnTo>
                  <a:pt x="1194" y="282"/>
                </a:lnTo>
                <a:lnTo>
                  <a:pt x="1198" y="281"/>
                </a:lnTo>
                <a:lnTo>
                  <a:pt x="1199" y="280"/>
                </a:lnTo>
                <a:lnTo>
                  <a:pt x="1199" y="278"/>
                </a:lnTo>
                <a:lnTo>
                  <a:pt x="1199" y="277"/>
                </a:lnTo>
                <a:lnTo>
                  <a:pt x="1199" y="276"/>
                </a:lnTo>
                <a:lnTo>
                  <a:pt x="1196" y="274"/>
                </a:lnTo>
                <a:lnTo>
                  <a:pt x="1193" y="274"/>
                </a:lnTo>
                <a:lnTo>
                  <a:pt x="1189" y="275"/>
                </a:lnTo>
                <a:lnTo>
                  <a:pt x="1185" y="275"/>
                </a:lnTo>
                <a:lnTo>
                  <a:pt x="1177" y="273"/>
                </a:lnTo>
                <a:lnTo>
                  <a:pt x="1170" y="268"/>
                </a:lnTo>
                <a:lnTo>
                  <a:pt x="1167" y="266"/>
                </a:lnTo>
                <a:lnTo>
                  <a:pt x="1162" y="266"/>
                </a:lnTo>
                <a:lnTo>
                  <a:pt x="1159" y="269"/>
                </a:lnTo>
                <a:lnTo>
                  <a:pt x="1157" y="274"/>
                </a:lnTo>
                <a:lnTo>
                  <a:pt x="1154" y="273"/>
                </a:lnTo>
                <a:lnTo>
                  <a:pt x="1152" y="271"/>
                </a:lnTo>
                <a:lnTo>
                  <a:pt x="1151" y="268"/>
                </a:lnTo>
                <a:lnTo>
                  <a:pt x="1150" y="266"/>
                </a:lnTo>
                <a:lnTo>
                  <a:pt x="1149" y="264"/>
                </a:lnTo>
                <a:lnTo>
                  <a:pt x="1146" y="264"/>
                </a:lnTo>
                <a:lnTo>
                  <a:pt x="1144" y="263"/>
                </a:lnTo>
                <a:lnTo>
                  <a:pt x="1142" y="264"/>
                </a:lnTo>
                <a:lnTo>
                  <a:pt x="1135" y="265"/>
                </a:lnTo>
                <a:lnTo>
                  <a:pt x="1129" y="267"/>
                </a:lnTo>
                <a:lnTo>
                  <a:pt x="1127" y="267"/>
                </a:lnTo>
                <a:lnTo>
                  <a:pt x="1124" y="267"/>
                </a:lnTo>
                <a:lnTo>
                  <a:pt x="1121" y="266"/>
                </a:lnTo>
                <a:lnTo>
                  <a:pt x="1118" y="265"/>
                </a:lnTo>
                <a:lnTo>
                  <a:pt x="1112" y="259"/>
                </a:lnTo>
                <a:lnTo>
                  <a:pt x="1104" y="255"/>
                </a:lnTo>
                <a:lnTo>
                  <a:pt x="1097" y="253"/>
                </a:lnTo>
                <a:lnTo>
                  <a:pt x="1091" y="253"/>
                </a:lnTo>
                <a:lnTo>
                  <a:pt x="1083" y="255"/>
                </a:lnTo>
                <a:lnTo>
                  <a:pt x="1075" y="255"/>
                </a:lnTo>
                <a:lnTo>
                  <a:pt x="1070" y="253"/>
                </a:lnTo>
                <a:lnTo>
                  <a:pt x="1067" y="253"/>
                </a:lnTo>
                <a:lnTo>
                  <a:pt x="1066" y="255"/>
                </a:lnTo>
                <a:lnTo>
                  <a:pt x="1066" y="256"/>
                </a:lnTo>
                <a:lnTo>
                  <a:pt x="1067" y="257"/>
                </a:lnTo>
                <a:lnTo>
                  <a:pt x="1068" y="258"/>
                </a:lnTo>
                <a:lnTo>
                  <a:pt x="1071" y="259"/>
                </a:lnTo>
                <a:lnTo>
                  <a:pt x="1068" y="258"/>
                </a:lnTo>
                <a:close/>
                <a:moveTo>
                  <a:pt x="1809" y="773"/>
                </a:moveTo>
                <a:lnTo>
                  <a:pt x="1796" y="774"/>
                </a:lnTo>
                <a:lnTo>
                  <a:pt x="1784" y="774"/>
                </a:lnTo>
                <a:lnTo>
                  <a:pt x="1771" y="775"/>
                </a:lnTo>
                <a:lnTo>
                  <a:pt x="1760" y="779"/>
                </a:lnTo>
                <a:lnTo>
                  <a:pt x="1746" y="782"/>
                </a:lnTo>
                <a:lnTo>
                  <a:pt x="1734" y="782"/>
                </a:lnTo>
                <a:lnTo>
                  <a:pt x="1720" y="782"/>
                </a:lnTo>
                <a:lnTo>
                  <a:pt x="1708" y="782"/>
                </a:lnTo>
                <a:lnTo>
                  <a:pt x="1694" y="782"/>
                </a:lnTo>
                <a:lnTo>
                  <a:pt x="1681" y="783"/>
                </a:lnTo>
                <a:lnTo>
                  <a:pt x="1668" y="787"/>
                </a:lnTo>
                <a:lnTo>
                  <a:pt x="1654" y="790"/>
                </a:lnTo>
                <a:lnTo>
                  <a:pt x="1641" y="791"/>
                </a:lnTo>
                <a:lnTo>
                  <a:pt x="1628" y="791"/>
                </a:lnTo>
                <a:lnTo>
                  <a:pt x="1622" y="791"/>
                </a:lnTo>
                <a:lnTo>
                  <a:pt x="1618" y="791"/>
                </a:lnTo>
                <a:lnTo>
                  <a:pt x="1615" y="791"/>
                </a:lnTo>
                <a:lnTo>
                  <a:pt x="1613" y="792"/>
                </a:lnTo>
                <a:lnTo>
                  <a:pt x="1611" y="795"/>
                </a:lnTo>
                <a:lnTo>
                  <a:pt x="1608" y="797"/>
                </a:lnTo>
                <a:lnTo>
                  <a:pt x="1623" y="797"/>
                </a:lnTo>
                <a:lnTo>
                  <a:pt x="1638" y="796"/>
                </a:lnTo>
                <a:lnTo>
                  <a:pt x="1653" y="795"/>
                </a:lnTo>
                <a:lnTo>
                  <a:pt x="1667" y="794"/>
                </a:lnTo>
                <a:lnTo>
                  <a:pt x="1681" y="794"/>
                </a:lnTo>
                <a:lnTo>
                  <a:pt x="1696" y="792"/>
                </a:lnTo>
                <a:lnTo>
                  <a:pt x="1711" y="790"/>
                </a:lnTo>
                <a:lnTo>
                  <a:pt x="1725" y="789"/>
                </a:lnTo>
                <a:lnTo>
                  <a:pt x="1739" y="787"/>
                </a:lnTo>
                <a:lnTo>
                  <a:pt x="1754" y="786"/>
                </a:lnTo>
                <a:lnTo>
                  <a:pt x="1769" y="784"/>
                </a:lnTo>
                <a:lnTo>
                  <a:pt x="1784" y="782"/>
                </a:lnTo>
                <a:lnTo>
                  <a:pt x="1796" y="780"/>
                </a:lnTo>
                <a:lnTo>
                  <a:pt x="1810" y="778"/>
                </a:lnTo>
                <a:lnTo>
                  <a:pt x="1812" y="778"/>
                </a:lnTo>
                <a:lnTo>
                  <a:pt x="1814" y="778"/>
                </a:lnTo>
                <a:lnTo>
                  <a:pt x="1816" y="776"/>
                </a:lnTo>
                <a:lnTo>
                  <a:pt x="1817" y="774"/>
                </a:lnTo>
                <a:lnTo>
                  <a:pt x="1816" y="773"/>
                </a:lnTo>
                <a:lnTo>
                  <a:pt x="1813" y="772"/>
                </a:lnTo>
                <a:lnTo>
                  <a:pt x="1811" y="772"/>
                </a:lnTo>
                <a:lnTo>
                  <a:pt x="1809" y="773"/>
                </a:lnTo>
                <a:lnTo>
                  <a:pt x="1808" y="773"/>
                </a:lnTo>
                <a:lnTo>
                  <a:pt x="1809" y="773"/>
                </a:lnTo>
                <a:close/>
                <a:moveTo>
                  <a:pt x="1390" y="963"/>
                </a:moveTo>
                <a:lnTo>
                  <a:pt x="1373" y="961"/>
                </a:lnTo>
                <a:lnTo>
                  <a:pt x="1355" y="960"/>
                </a:lnTo>
                <a:lnTo>
                  <a:pt x="1338" y="958"/>
                </a:lnTo>
                <a:lnTo>
                  <a:pt x="1321" y="957"/>
                </a:lnTo>
                <a:lnTo>
                  <a:pt x="1311" y="956"/>
                </a:lnTo>
                <a:lnTo>
                  <a:pt x="1303" y="956"/>
                </a:lnTo>
                <a:lnTo>
                  <a:pt x="1294" y="956"/>
                </a:lnTo>
                <a:lnTo>
                  <a:pt x="1286" y="956"/>
                </a:lnTo>
                <a:lnTo>
                  <a:pt x="1282" y="956"/>
                </a:lnTo>
                <a:lnTo>
                  <a:pt x="1276" y="956"/>
                </a:lnTo>
                <a:lnTo>
                  <a:pt x="1273" y="956"/>
                </a:lnTo>
                <a:lnTo>
                  <a:pt x="1270" y="956"/>
                </a:lnTo>
                <a:lnTo>
                  <a:pt x="1268" y="957"/>
                </a:lnTo>
                <a:lnTo>
                  <a:pt x="1267" y="960"/>
                </a:lnTo>
                <a:lnTo>
                  <a:pt x="1267" y="962"/>
                </a:lnTo>
                <a:lnTo>
                  <a:pt x="1269" y="964"/>
                </a:lnTo>
                <a:lnTo>
                  <a:pt x="1270" y="965"/>
                </a:lnTo>
                <a:lnTo>
                  <a:pt x="1274" y="966"/>
                </a:lnTo>
                <a:lnTo>
                  <a:pt x="1280" y="967"/>
                </a:lnTo>
                <a:lnTo>
                  <a:pt x="1284" y="967"/>
                </a:lnTo>
                <a:lnTo>
                  <a:pt x="1291" y="967"/>
                </a:lnTo>
                <a:lnTo>
                  <a:pt x="1298" y="967"/>
                </a:lnTo>
                <a:lnTo>
                  <a:pt x="1303" y="970"/>
                </a:lnTo>
                <a:lnTo>
                  <a:pt x="1309" y="973"/>
                </a:lnTo>
                <a:lnTo>
                  <a:pt x="1315" y="975"/>
                </a:lnTo>
                <a:lnTo>
                  <a:pt x="1323" y="977"/>
                </a:lnTo>
                <a:lnTo>
                  <a:pt x="1330" y="977"/>
                </a:lnTo>
                <a:lnTo>
                  <a:pt x="1338" y="975"/>
                </a:lnTo>
                <a:lnTo>
                  <a:pt x="1346" y="975"/>
                </a:lnTo>
                <a:lnTo>
                  <a:pt x="1355" y="975"/>
                </a:lnTo>
                <a:lnTo>
                  <a:pt x="1363" y="977"/>
                </a:lnTo>
                <a:lnTo>
                  <a:pt x="1372" y="979"/>
                </a:lnTo>
                <a:lnTo>
                  <a:pt x="1363" y="977"/>
                </a:lnTo>
                <a:lnTo>
                  <a:pt x="1354" y="974"/>
                </a:lnTo>
                <a:lnTo>
                  <a:pt x="1350" y="974"/>
                </a:lnTo>
                <a:lnTo>
                  <a:pt x="1346" y="974"/>
                </a:lnTo>
                <a:lnTo>
                  <a:pt x="1343" y="974"/>
                </a:lnTo>
                <a:lnTo>
                  <a:pt x="1342" y="974"/>
                </a:lnTo>
                <a:lnTo>
                  <a:pt x="1341" y="973"/>
                </a:lnTo>
                <a:lnTo>
                  <a:pt x="1340" y="971"/>
                </a:lnTo>
                <a:lnTo>
                  <a:pt x="1350" y="971"/>
                </a:lnTo>
                <a:lnTo>
                  <a:pt x="1360" y="972"/>
                </a:lnTo>
                <a:lnTo>
                  <a:pt x="1369" y="972"/>
                </a:lnTo>
                <a:lnTo>
                  <a:pt x="1380" y="973"/>
                </a:lnTo>
                <a:lnTo>
                  <a:pt x="1383" y="973"/>
                </a:lnTo>
                <a:lnTo>
                  <a:pt x="1388" y="972"/>
                </a:lnTo>
                <a:lnTo>
                  <a:pt x="1391" y="971"/>
                </a:lnTo>
                <a:lnTo>
                  <a:pt x="1395" y="969"/>
                </a:lnTo>
                <a:lnTo>
                  <a:pt x="1396" y="965"/>
                </a:lnTo>
                <a:lnTo>
                  <a:pt x="1395" y="964"/>
                </a:lnTo>
                <a:lnTo>
                  <a:pt x="1392" y="963"/>
                </a:lnTo>
                <a:lnTo>
                  <a:pt x="1390" y="963"/>
                </a:lnTo>
                <a:lnTo>
                  <a:pt x="1374" y="962"/>
                </a:lnTo>
                <a:lnTo>
                  <a:pt x="1376" y="962"/>
                </a:lnTo>
                <a:lnTo>
                  <a:pt x="1385" y="962"/>
                </a:lnTo>
                <a:lnTo>
                  <a:pt x="1390" y="963"/>
                </a:lnTo>
                <a:close/>
                <a:moveTo>
                  <a:pt x="1593" y="302"/>
                </a:moveTo>
                <a:lnTo>
                  <a:pt x="1595" y="300"/>
                </a:lnTo>
                <a:lnTo>
                  <a:pt x="1597" y="299"/>
                </a:lnTo>
                <a:lnTo>
                  <a:pt x="1601" y="298"/>
                </a:lnTo>
                <a:lnTo>
                  <a:pt x="1603" y="298"/>
                </a:lnTo>
                <a:lnTo>
                  <a:pt x="1608" y="299"/>
                </a:lnTo>
                <a:lnTo>
                  <a:pt x="1615" y="300"/>
                </a:lnTo>
                <a:lnTo>
                  <a:pt x="1620" y="299"/>
                </a:lnTo>
                <a:lnTo>
                  <a:pt x="1624" y="298"/>
                </a:lnTo>
                <a:lnTo>
                  <a:pt x="1629" y="296"/>
                </a:lnTo>
                <a:lnTo>
                  <a:pt x="1634" y="294"/>
                </a:lnTo>
                <a:lnTo>
                  <a:pt x="1636" y="292"/>
                </a:lnTo>
                <a:lnTo>
                  <a:pt x="1638" y="290"/>
                </a:lnTo>
                <a:lnTo>
                  <a:pt x="1639" y="286"/>
                </a:lnTo>
                <a:lnTo>
                  <a:pt x="1640" y="283"/>
                </a:lnTo>
                <a:lnTo>
                  <a:pt x="1643" y="281"/>
                </a:lnTo>
                <a:lnTo>
                  <a:pt x="1644" y="281"/>
                </a:lnTo>
                <a:lnTo>
                  <a:pt x="1646" y="282"/>
                </a:lnTo>
                <a:lnTo>
                  <a:pt x="1648" y="284"/>
                </a:lnTo>
                <a:lnTo>
                  <a:pt x="1652" y="290"/>
                </a:lnTo>
                <a:lnTo>
                  <a:pt x="1654" y="293"/>
                </a:lnTo>
                <a:lnTo>
                  <a:pt x="1657" y="294"/>
                </a:lnTo>
                <a:lnTo>
                  <a:pt x="1660" y="294"/>
                </a:lnTo>
                <a:lnTo>
                  <a:pt x="1662" y="293"/>
                </a:lnTo>
                <a:lnTo>
                  <a:pt x="1664" y="292"/>
                </a:lnTo>
                <a:lnTo>
                  <a:pt x="1670" y="290"/>
                </a:lnTo>
                <a:lnTo>
                  <a:pt x="1674" y="288"/>
                </a:lnTo>
                <a:lnTo>
                  <a:pt x="1679" y="286"/>
                </a:lnTo>
                <a:lnTo>
                  <a:pt x="1684" y="285"/>
                </a:lnTo>
                <a:lnTo>
                  <a:pt x="1687" y="281"/>
                </a:lnTo>
                <a:lnTo>
                  <a:pt x="1692" y="277"/>
                </a:lnTo>
                <a:lnTo>
                  <a:pt x="1700" y="282"/>
                </a:lnTo>
                <a:lnTo>
                  <a:pt x="1706" y="288"/>
                </a:lnTo>
                <a:lnTo>
                  <a:pt x="1712" y="285"/>
                </a:lnTo>
                <a:lnTo>
                  <a:pt x="1717" y="282"/>
                </a:lnTo>
                <a:lnTo>
                  <a:pt x="1723" y="278"/>
                </a:lnTo>
                <a:lnTo>
                  <a:pt x="1730" y="277"/>
                </a:lnTo>
                <a:lnTo>
                  <a:pt x="1726" y="275"/>
                </a:lnTo>
                <a:lnTo>
                  <a:pt x="1721" y="274"/>
                </a:lnTo>
                <a:lnTo>
                  <a:pt x="1719" y="272"/>
                </a:lnTo>
                <a:lnTo>
                  <a:pt x="1718" y="268"/>
                </a:lnTo>
                <a:lnTo>
                  <a:pt x="1714" y="267"/>
                </a:lnTo>
                <a:lnTo>
                  <a:pt x="1710" y="266"/>
                </a:lnTo>
                <a:lnTo>
                  <a:pt x="1706" y="267"/>
                </a:lnTo>
                <a:lnTo>
                  <a:pt x="1702" y="268"/>
                </a:lnTo>
                <a:lnTo>
                  <a:pt x="1688" y="271"/>
                </a:lnTo>
                <a:lnTo>
                  <a:pt x="1676" y="273"/>
                </a:lnTo>
                <a:lnTo>
                  <a:pt x="1662" y="275"/>
                </a:lnTo>
                <a:lnTo>
                  <a:pt x="1648" y="277"/>
                </a:lnTo>
                <a:lnTo>
                  <a:pt x="1635" y="278"/>
                </a:lnTo>
                <a:lnTo>
                  <a:pt x="1621" y="281"/>
                </a:lnTo>
                <a:lnTo>
                  <a:pt x="1615" y="282"/>
                </a:lnTo>
                <a:lnTo>
                  <a:pt x="1610" y="284"/>
                </a:lnTo>
                <a:lnTo>
                  <a:pt x="1607" y="285"/>
                </a:lnTo>
                <a:lnTo>
                  <a:pt x="1607" y="286"/>
                </a:lnTo>
                <a:lnTo>
                  <a:pt x="1607" y="288"/>
                </a:lnTo>
                <a:lnTo>
                  <a:pt x="1607" y="290"/>
                </a:lnTo>
                <a:lnTo>
                  <a:pt x="1606" y="292"/>
                </a:lnTo>
                <a:lnTo>
                  <a:pt x="1604" y="293"/>
                </a:lnTo>
                <a:lnTo>
                  <a:pt x="1601" y="293"/>
                </a:lnTo>
                <a:lnTo>
                  <a:pt x="1597" y="294"/>
                </a:lnTo>
                <a:lnTo>
                  <a:pt x="1594" y="294"/>
                </a:lnTo>
                <a:lnTo>
                  <a:pt x="1590" y="297"/>
                </a:lnTo>
                <a:lnTo>
                  <a:pt x="1589" y="299"/>
                </a:lnTo>
                <a:lnTo>
                  <a:pt x="1589" y="301"/>
                </a:lnTo>
                <a:lnTo>
                  <a:pt x="1589" y="302"/>
                </a:lnTo>
                <a:lnTo>
                  <a:pt x="1590" y="302"/>
                </a:lnTo>
                <a:lnTo>
                  <a:pt x="1591" y="302"/>
                </a:lnTo>
                <a:lnTo>
                  <a:pt x="1593" y="302"/>
                </a:lnTo>
                <a:lnTo>
                  <a:pt x="1594" y="300"/>
                </a:lnTo>
                <a:lnTo>
                  <a:pt x="1593" y="302"/>
                </a:lnTo>
                <a:close/>
                <a:moveTo>
                  <a:pt x="1503" y="494"/>
                </a:moveTo>
                <a:lnTo>
                  <a:pt x="1513" y="494"/>
                </a:lnTo>
                <a:lnTo>
                  <a:pt x="1524" y="494"/>
                </a:lnTo>
                <a:lnTo>
                  <a:pt x="1536" y="494"/>
                </a:lnTo>
                <a:lnTo>
                  <a:pt x="1547" y="494"/>
                </a:lnTo>
                <a:lnTo>
                  <a:pt x="1556" y="496"/>
                </a:lnTo>
                <a:lnTo>
                  <a:pt x="1565" y="496"/>
                </a:lnTo>
                <a:lnTo>
                  <a:pt x="1574" y="496"/>
                </a:lnTo>
                <a:lnTo>
                  <a:pt x="1585" y="494"/>
                </a:lnTo>
                <a:lnTo>
                  <a:pt x="1593" y="492"/>
                </a:lnTo>
                <a:lnTo>
                  <a:pt x="1602" y="490"/>
                </a:lnTo>
                <a:lnTo>
                  <a:pt x="1610" y="488"/>
                </a:lnTo>
                <a:lnTo>
                  <a:pt x="1619" y="488"/>
                </a:lnTo>
                <a:lnTo>
                  <a:pt x="1626" y="488"/>
                </a:lnTo>
                <a:lnTo>
                  <a:pt x="1631" y="487"/>
                </a:lnTo>
                <a:lnTo>
                  <a:pt x="1635" y="485"/>
                </a:lnTo>
                <a:lnTo>
                  <a:pt x="1637" y="483"/>
                </a:lnTo>
                <a:lnTo>
                  <a:pt x="1638" y="481"/>
                </a:lnTo>
                <a:lnTo>
                  <a:pt x="1640" y="477"/>
                </a:lnTo>
                <a:lnTo>
                  <a:pt x="1612" y="480"/>
                </a:lnTo>
                <a:lnTo>
                  <a:pt x="1583" y="482"/>
                </a:lnTo>
                <a:lnTo>
                  <a:pt x="1556" y="484"/>
                </a:lnTo>
                <a:lnTo>
                  <a:pt x="1528" y="485"/>
                </a:lnTo>
                <a:lnTo>
                  <a:pt x="1502" y="487"/>
                </a:lnTo>
                <a:lnTo>
                  <a:pt x="1475" y="490"/>
                </a:lnTo>
                <a:lnTo>
                  <a:pt x="1462" y="492"/>
                </a:lnTo>
                <a:lnTo>
                  <a:pt x="1449" y="492"/>
                </a:lnTo>
                <a:lnTo>
                  <a:pt x="1435" y="492"/>
                </a:lnTo>
                <a:lnTo>
                  <a:pt x="1423" y="490"/>
                </a:lnTo>
                <a:lnTo>
                  <a:pt x="1425" y="493"/>
                </a:lnTo>
                <a:lnTo>
                  <a:pt x="1429" y="496"/>
                </a:lnTo>
                <a:lnTo>
                  <a:pt x="1433" y="497"/>
                </a:lnTo>
                <a:lnTo>
                  <a:pt x="1438" y="498"/>
                </a:lnTo>
                <a:lnTo>
                  <a:pt x="1447" y="498"/>
                </a:lnTo>
                <a:lnTo>
                  <a:pt x="1456" y="497"/>
                </a:lnTo>
                <a:lnTo>
                  <a:pt x="1467" y="497"/>
                </a:lnTo>
                <a:lnTo>
                  <a:pt x="1479" y="497"/>
                </a:lnTo>
                <a:lnTo>
                  <a:pt x="1490" y="496"/>
                </a:lnTo>
                <a:lnTo>
                  <a:pt x="1503" y="494"/>
                </a:lnTo>
                <a:lnTo>
                  <a:pt x="1506" y="494"/>
                </a:lnTo>
                <a:lnTo>
                  <a:pt x="1499" y="496"/>
                </a:lnTo>
                <a:lnTo>
                  <a:pt x="1495" y="496"/>
                </a:lnTo>
                <a:lnTo>
                  <a:pt x="1503" y="494"/>
                </a:lnTo>
                <a:close/>
                <a:moveTo>
                  <a:pt x="1840" y="789"/>
                </a:moveTo>
                <a:lnTo>
                  <a:pt x="1852" y="790"/>
                </a:lnTo>
                <a:lnTo>
                  <a:pt x="1865" y="792"/>
                </a:lnTo>
                <a:lnTo>
                  <a:pt x="1876" y="794"/>
                </a:lnTo>
                <a:lnTo>
                  <a:pt x="1888" y="792"/>
                </a:lnTo>
                <a:lnTo>
                  <a:pt x="1900" y="790"/>
                </a:lnTo>
                <a:lnTo>
                  <a:pt x="1912" y="787"/>
                </a:lnTo>
                <a:lnTo>
                  <a:pt x="1924" y="783"/>
                </a:lnTo>
                <a:lnTo>
                  <a:pt x="1936" y="780"/>
                </a:lnTo>
                <a:lnTo>
                  <a:pt x="1948" y="776"/>
                </a:lnTo>
                <a:lnTo>
                  <a:pt x="1959" y="773"/>
                </a:lnTo>
                <a:lnTo>
                  <a:pt x="1970" y="770"/>
                </a:lnTo>
                <a:lnTo>
                  <a:pt x="1983" y="766"/>
                </a:lnTo>
                <a:lnTo>
                  <a:pt x="1994" y="763"/>
                </a:lnTo>
                <a:lnTo>
                  <a:pt x="2006" y="761"/>
                </a:lnTo>
                <a:lnTo>
                  <a:pt x="2009" y="759"/>
                </a:lnTo>
                <a:lnTo>
                  <a:pt x="2014" y="758"/>
                </a:lnTo>
                <a:lnTo>
                  <a:pt x="2016" y="757"/>
                </a:lnTo>
                <a:lnTo>
                  <a:pt x="2018" y="756"/>
                </a:lnTo>
                <a:lnTo>
                  <a:pt x="2018" y="755"/>
                </a:lnTo>
                <a:lnTo>
                  <a:pt x="2016" y="754"/>
                </a:lnTo>
                <a:lnTo>
                  <a:pt x="2007" y="754"/>
                </a:lnTo>
                <a:lnTo>
                  <a:pt x="1995" y="755"/>
                </a:lnTo>
                <a:lnTo>
                  <a:pt x="1984" y="757"/>
                </a:lnTo>
                <a:lnTo>
                  <a:pt x="1973" y="759"/>
                </a:lnTo>
                <a:lnTo>
                  <a:pt x="1961" y="763"/>
                </a:lnTo>
                <a:lnTo>
                  <a:pt x="1950" y="765"/>
                </a:lnTo>
                <a:lnTo>
                  <a:pt x="1939" y="767"/>
                </a:lnTo>
                <a:lnTo>
                  <a:pt x="1926" y="770"/>
                </a:lnTo>
                <a:lnTo>
                  <a:pt x="1915" y="771"/>
                </a:lnTo>
                <a:lnTo>
                  <a:pt x="1903" y="773"/>
                </a:lnTo>
                <a:lnTo>
                  <a:pt x="1892" y="774"/>
                </a:lnTo>
                <a:lnTo>
                  <a:pt x="1879" y="776"/>
                </a:lnTo>
                <a:lnTo>
                  <a:pt x="1869" y="779"/>
                </a:lnTo>
                <a:lnTo>
                  <a:pt x="1859" y="781"/>
                </a:lnTo>
                <a:lnTo>
                  <a:pt x="1849" y="783"/>
                </a:lnTo>
                <a:lnTo>
                  <a:pt x="1840" y="789"/>
                </a:lnTo>
                <a:lnTo>
                  <a:pt x="1849" y="786"/>
                </a:lnTo>
                <a:lnTo>
                  <a:pt x="1840" y="789"/>
                </a:lnTo>
                <a:close/>
                <a:moveTo>
                  <a:pt x="1588" y="789"/>
                </a:moveTo>
                <a:lnTo>
                  <a:pt x="1581" y="791"/>
                </a:lnTo>
                <a:lnTo>
                  <a:pt x="1574" y="791"/>
                </a:lnTo>
                <a:lnTo>
                  <a:pt x="1566" y="791"/>
                </a:lnTo>
                <a:lnTo>
                  <a:pt x="1560" y="791"/>
                </a:lnTo>
                <a:lnTo>
                  <a:pt x="1542" y="791"/>
                </a:lnTo>
                <a:lnTo>
                  <a:pt x="1525" y="791"/>
                </a:lnTo>
                <a:lnTo>
                  <a:pt x="1509" y="791"/>
                </a:lnTo>
                <a:lnTo>
                  <a:pt x="1494" y="792"/>
                </a:lnTo>
                <a:lnTo>
                  <a:pt x="1476" y="792"/>
                </a:lnTo>
                <a:lnTo>
                  <a:pt x="1461" y="792"/>
                </a:lnTo>
                <a:lnTo>
                  <a:pt x="1445" y="792"/>
                </a:lnTo>
                <a:lnTo>
                  <a:pt x="1429" y="791"/>
                </a:lnTo>
                <a:lnTo>
                  <a:pt x="1413" y="790"/>
                </a:lnTo>
                <a:lnTo>
                  <a:pt x="1397" y="789"/>
                </a:lnTo>
                <a:lnTo>
                  <a:pt x="1381" y="788"/>
                </a:lnTo>
                <a:lnTo>
                  <a:pt x="1364" y="788"/>
                </a:lnTo>
                <a:lnTo>
                  <a:pt x="1357" y="787"/>
                </a:lnTo>
                <a:lnTo>
                  <a:pt x="1350" y="787"/>
                </a:lnTo>
                <a:lnTo>
                  <a:pt x="1343" y="787"/>
                </a:lnTo>
                <a:lnTo>
                  <a:pt x="1336" y="789"/>
                </a:lnTo>
                <a:lnTo>
                  <a:pt x="1339" y="791"/>
                </a:lnTo>
                <a:lnTo>
                  <a:pt x="1341" y="794"/>
                </a:lnTo>
                <a:lnTo>
                  <a:pt x="1344" y="794"/>
                </a:lnTo>
                <a:lnTo>
                  <a:pt x="1349" y="795"/>
                </a:lnTo>
                <a:lnTo>
                  <a:pt x="1357" y="794"/>
                </a:lnTo>
                <a:lnTo>
                  <a:pt x="1364" y="794"/>
                </a:lnTo>
                <a:lnTo>
                  <a:pt x="1373" y="794"/>
                </a:lnTo>
                <a:lnTo>
                  <a:pt x="1382" y="795"/>
                </a:lnTo>
                <a:lnTo>
                  <a:pt x="1390" y="796"/>
                </a:lnTo>
                <a:lnTo>
                  <a:pt x="1399" y="797"/>
                </a:lnTo>
                <a:lnTo>
                  <a:pt x="1418" y="798"/>
                </a:lnTo>
                <a:lnTo>
                  <a:pt x="1437" y="798"/>
                </a:lnTo>
                <a:lnTo>
                  <a:pt x="1456" y="798"/>
                </a:lnTo>
                <a:lnTo>
                  <a:pt x="1474" y="798"/>
                </a:lnTo>
                <a:lnTo>
                  <a:pt x="1494" y="798"/>
                </a:lnTo>
                <a:lnTo>
                  <a:pt x="1513" y="798"/>
                </a:lnTo>
                <a:lnTo>
                  <a:pt x="1532" y="799"/>
                </a:lnTo>
                <a:lnTo>
                  <a:pt x="1552" y="799"/>
                </a:lnTo>
                <a:lnTo>
                  <a:pt x="1561" y="799"/>
                </a:lnTo>
                <a:lnTo>
                  <a:pt x="1570" y="799"/>
                </a:lnTo>
                <a:lnTo>
                  <a:pt x="1579" y="799"/>
                </a:lnTo>
                <a:lnTo>
                  <a:pt x="1588" y="799"/>
                </a:lnTo>
                <a:lnTo>
                  <a:pt x="1591" y="799"/>
                </a:lnTo>
                <a:lnTo>
                  <a:pt x="1595" y="798"/>
                </a:lnTo>
                <a:lnTo>
                  <a:pt x="1598" y="797"/>
                </a:lnTo>
                <a:lnTo>
                  <a:pt x="1599" y="794"/>
                </a:lnTo>
                <a:lnTo>
                  <a:pt x="1599" y="792"/>
                </a:lnTo>
                <a:lnTo>
                  <a:pt x="1599" y="790"/>
                </a:lnTo>
                <a:lnTo>
                  <a:pt x="1597" y="789"/>
                </a:lnTo>
                <a:lnTo>
                  <a:pt x="1596" y="789"/>
                </a:lnTo>
                <a:lnTo>
                  <a:pt x="1591" y="788"/>
                </a:lnTo>
                <a:lnTo>
                  <a:pt x="1588" y="789"/>
                </a:lnTo>
                <a:lnTo>
                  <a:pt x="1587" y="790"/>
                </a:lnTo>
                <a:lnTo>
                  <a:pt x="1588" y="789"/>
                </a:lnTo>
                <a:close/>
                <a:moveTo>
                  <a:pt x="1763" y="954"/>
                </a:moveTo>
                <a:lnTo>
                  <a:pt x="1744" y="955"/>
                </a:lnTo>
                <a:lnTo>
                  <a:pt x="1725" y="957"/>
                </a:lnTo>
                <a:lnTo>
                  <a:pt x="1705" y="960"/>
                </a:lnTo>
                <a:lnTo>
                  <a:pt x="1686" y="961"/>
                </a:lnTo>
                <a:lnTo>
                  <a:pt x="1667" y="962"/>
                </a:lnTo>
                <a:lnTo>
                  <a:pt x="1647" y="962"/>
                </a:lnTo>
                <a:lnTo>
                  <a:pt x="1628" y="963"/>
                </a:lnTo>
                <a:lnTo>
                  <a:pt x="1610" y="963"/>
                </a:lnTo>
                <a:lnTo>
                  <a:pt x="1590" y="964"/>
                </a:lnTo>
                <a:lnTo>
                  <a:pt x="1571" y="964"/>
                </a:lnTo>
                <a:lnTo>
                  <a:pt x="1552" y="964"/>
                </a:lnTo>
                <a:lnTo>
                  <a:pt x="1532" y="965"/>
                </a:lnTo>
                <a:lnTo>
                  <a:pt x="1514" y="965"/>
                </a:lnTo>
                <a:lnTo>
                  <a:pt x="1495" y="964"/>
                </a:lnTo>
                <a:lnTo>
                  <a:pt x="1476" y="963"/>
                </a:lnTo>
                <a:lnTo>
                  <a:pt x="1457" y="963"/>
                </a:lnTo>
                <a:lnTo>
                  <a:pt x="1448" y="963"/>
                </a:lnTo>
                <a:lnTo>
                  <a:pt x="1438" y="963"/>
                </a:lnTo>
                <a:lnTo>
                  <a:pt x="1429" y="963"/>
                </a:lnTo>
                <a:lnTo>
                  <a:pt x="1418" y="963"/>
                </a:lnTo>
                <a:lnTo>
                  <a:pt x="1414" y="963"/>
                </a:lnTo>
                <a:lnTo>
                  <a:pt x="1408" y="963"/>
                </a:lnTo>
                <a:lnTo>
                  <a:pt x="1405" y="964"/>
                </a:lnTo>
                <a:lnTo>
                  <a:pt x="1404" y="965"/>
                </a:lnTo>
                <a:lnTo>
                  <a:pt x="1404" y="967"/>
                </a:lnTo>
                <a:lnTo>
                  <a:pt x="1405" y="970"/>
                </a:lnTo>
                <a:lnTo>
                  <a:pt x="1408" y="971"/>
                </a:lnTo>
                <a:lnTo>
                  <a:pt x="1412" y="971"/>
                </a:lnTo>
                <a:lnTo>
                  <a:pt x="1416" y="971"/>
                </a:lnTo>
                <a:lnTo>
                  <a:pt x="1418" y="970"/>
                </a:lnTo>
                <a:lnTo>
                  <a:pt x="1428" y="969"/>
                </a:lnTo>
                <a:lnTo>
                  <a:pt x="1438" y="969"/>
                </a:lnTo>
                <a:lnTo>
                  <a:pt x="1445" y="967"/>
                </a:lnTo>
                <a:lnTo>
                  <a:pt x="1453" y="969"/>
                </a:lnTo>
                <a:lnTo>
                  <a:pt x="1462" y="971"/>
                </a:lnTo>
                <a:lnTo>
                  <a:pt x="1470" y="971"/>
                </a:lnTo>
                <a:lnTo>
                  <a:pt x="1479" y="970"/>
                </a:lnTo>
                <a:lnTo>
                  <a:pt x="1487" y="970"/>
                </a:lnTo>
                <a:lnTo>
                  <a:pt x="1495" y="971"/>
                </a:lnTo>
                <a:lnTo>
                  <a:pt x="1503" y="972"/>
                </a:lnTo>
                <a:lnTo>
                  <a:pt x="1511" y="974"/>
                </a:lnTo>
                <a:lnTo>
                  <a:pt x="1520" y="974"/>
                </a:lnTo>
                <a:lnTo>
                  <a:pt x="1528" y="974"/>
                </a:lnTo>
                <a:lnTo>
                  <a:pt x="1536" y="972"/>
                </a:lnTo>
                <a:lnTo>
                  <a:pt x="1544" y="969"/>
                </a:lnTo>
                <a:lnTo>
                  <a:pt x="1552" y="969"/>
                </a:lnTo>
                <a:lnTo>
                  <a:pt x="1560" y="969"/>
                </a:lnTo>
                <a:lnTo>
                  <a:pt x="1569" y="969"/>
                </a:lnTo>
                <a:lnTo>
                  <a:pt x="1578" y="969"/>
                </a:lnTo>
                <a:lnTo>
                  <a:pt x="1587" y="969"/>
                </a:lnTo>
                <a:lnTo>
                  <a:pt x="1597" y="969"/>
                </a:lnTo>
                <a:lnTo>
                  <a:pt x="1606" y="969"/>
                </a:lnTo>
                <a:lnTo>
                  <a:pt x="1628" y="967"/>
                </a:lnTo>
                <a:lnTo>
                  <a:pt x="1649" y="966"/>
                </a:lnTo>
                <a:lnTo>
                  <a:pt x="1671" y="965"/>
                </a:lnTo>
                <a:lnTo>
                  <a:pt x="1693" y="964"/>
                </a:lnTo>
                <a:lnTo>
                  <a:pt x="1704" y="963"/>
                </a:lnTo>
                <a:lnTo>
                  <a:pt x="1715" y="963"/>
                </a:lnTo>
                <a:lnTo>
                  <a:pt x="1727" y="962"/>
                </a:lnTo>
                <a:lnTo>
                  <a:pt x="1738" y="961"/>
                </a:lnTo>
                <a:lnTo>
                  <a:pt x="1747" y="961"/>
                </a:lnTo>
                <a:lnTo>
                  <a:pt x="1758" y="960"/>
                </a:lnTo>
                <a:lnTo>
                  <a:pt x="1767" y="958"/>
                </a:lnTo>
                <a:lnTo>
                  <a:pt x="1777" y="955"/>
                </a:lnTo>
                <a:lnTo>
                  <a:pt x="1770" y="954"/>
                </a:lnTo>
                <a:lnTo>
                  <a:pt x="1763" y="954"/>
                </a:lnTo>
                <a:lnTo>
                  <a:pt x="1752" y="955"/>
                </a:lnTo>
                <a:lnTo>
                  <a:pt x="1754" y="955"/>
                </a:lnTo>
                <a:lnTo>
                  <a:pt x="1761" y="954"/>
                </a:lnTo>
                <a:lnTo>
                  <a:pt x="1763" y="954"/>
                </a:lnTo>
                <a:close/>
                <a:moveTo>
                  <a:pt x="419" y="881"/>
                </a:moveTo>
                <a:lnTo>
                  <a:pt x="410" y="877"/>
                </a:lnTo>
                <a:lnTo>
                  <a:pt x="400" y="873"/>
                </a:lnTo>
                <a:lnTo>
                  <a:pt x="395" y="872"/>
                </a:lnTo>
                <a:lnTo>
                  <a:pt x="391" y="870"/>
                </a:lnTo>
                <a:lnTo>
                  <a:pt x="387" y="867"/>
                </a:lnTo>
                <a:lnTo>
                  <a:pt x="385" y="864"/>
                </a:lnTo>
                <a:lnTo>
                  <a:pt x="385" y="862"/>
                </a:lnTo>
                <a:lnTo>
                  <a:pt x="385" y="861"/>
                </a:lnTo>
                <a:lnTo>
                  <a:pt x="386" y="862"/>
                </a:lnTo>
                <a:lnTo>
                  <a:pt x="388" y="862"/>
                </a:lnTo>
                <a:lnTo>
                  <a:pt x="392" y="864"/>
                </a:lnTo>
                <a:lnTo>
                  <a:pt x="396" y="865"/>
                </a:lnTo>
                <a:lnTo>
                  <a:pt x="399" y="865"/>
                </a:lnTo>
                <a:lnTo>
                  <a:pt x="402" y="866"/>
                </a:lnTo>
                <a:lnTo>
                  <a:pt x="403" y="866"/>
                </a:lnTo>
                <a:lnTo>
                  <a:pt x="404" y="865"/>
                </a:lnTo>
                <a:lnTo>
                  <a:pt x="405" y="864"/>
                </a:lnTo>
                <a:lnTo>
                  <a:pt x="405" y="863"/>
                </a:lnTo>
                <a:lnTo>
                  <a:pt x="405" y="861"/>
                </a:lnTo>
                <a:lnTo>
                  <a:pt x="404" y="859"/>
                </a:lnTo>
                <a:lnTo>
                  <a:pt x="403" y="858"/>
                </a:lnTo>
                <a:lnTo>
                  <a:pt x="402" y="857"/>
                </a:lnTo>
                <a:lnTo>
                  <a:pt x="398" y="857"/>
                </a:lnTo>
                <a:lnTo>
                  <a:pt x="395" y="856"/>
                </a:lnTo>
                <a:lnTo>
                  <a:pt x="384" y="850"/>
                </a:lnTo>
                <a:lnTo>
                  <a:pt x="374" y="846"/>
                </a:lnTo>
                <a:lnTo>
                  <a:pt x="365" y="841"/>
                </a:lnTo>
                <a:lnTo>
                  <a:pt x="355" y="838"/>
                </a:lnTo>
                <a:lnTo>
                  <a:pt x="350" y="836"/>
                </a:lnTo>
                <a:lnTo>
                  <a:pt x="344" y="834"/>
                </a:lnTo>
                <a:lnTo>
                  <a:pt x="339" y="831"/>
                </a:lnTo>
                <a:lnTo>
                  <a:pt x="335" y="828"/>
                </a:lnTo>
                <a:lnTo>
                  <a:pt x="327" y="823"/>
                </a:lnTo>
                <a:lnTo>
                  <a:pt x="317" y="817"/>
                </a:lnTo>
                <a:lnTo>
                  <a:pt x="311" y="815"/>
                </a:lnTo>
                <a:lnTo>
                  <a:pt x="305" y="814"/>
                </a:lnTo>
                <a:lnTo>
                  <a:pt x="303" y="814"/>
                </a:lnTo>
                <a:lnTo>
                  <a:pt x="301" y="815"/>
                </a:lnTo>
                <a:lnTo>
                  <a:pt x="300" y="816"/>
                </a:lnTo>
                <a:lnTo>
                  <a:pt x="299" y="819"/>
                </a:lnTo>
                <a:lnTo>
                  <a:pt x="299" y="820"/>
                </a:lnTo>
                <a:lnTo>
                  <a:pt x="300" y="822"/>
                </a:lnTo>
                <a:lnTo>
                  <a:pt x="301" y="824"/>
                </a:lnTo>
                <a:lnTo>
                  <a:pt x="302" y="825"/>
                </a:lnTo>
                <a:lnTo>
                  <a:pt x="306" y="829"/>
                </a:lnTo>
                <a:lnTo>
                  <a:pt x="310" y="831"/>
                </a:lnTo>
                <a:lnTo>
                  <a:pt x="319" y="837"/>
                </a:lnTo>
                <a:lnTo>
                  <a:pt x="325" y="844"/>
                </a:lnTo>
                <a:lnTo>
                  <a:pt x="325" y="846"/>
                </a:lnTo>
                <a:lnTo>
                  <a:pt x="325" y="847"/>
                </a:lnTo>
                <a:lnTo>
                  <a:pt x="324" y="848"/>
                </a:lnTo>
                <a:lnTo>
                  <a:pt x="322" y="848"/>
                </a:lnTo>
                <a:lnTo>
                  <a:pt x="319" y="848"/>
                </a:lnTo>
                <a:lnTo>
                  <a:pt x="317" y="848"/>
                </a:lnTo>
                <a:lnTo>
                  <a:pt x="314" y="847"/>
                </a:lnTo>
                <a:lnTo>
                  <a:pt x="313" y="847"/>
                </a:lnTo>
                <a:lnTo>
                  <a:pt x="312" y="847"/>
                </a:lnTo>
                <a:lnTo>
                  <a:pt x="311" y="848"/>
                </a:lnTo>
                <a:lnTo>
                  <a:pt x="310" y="849"/>
                </a:lnTo>
                <a:lnTo>
                  <a:pt x="311" y="852"/>
                </a:lnTo>
                <a:lnTo>
                  <a:pt x="312" y="853"/>
                </a:lnTo>
                <a:lnTo>
                  <a:pt x="313" y="854"/>
                </a:lnTo>
                <a:lnTo>
                  <a:pt x="317" y="862"/>
                </a:lnTo>
                <a:lnTo>
                  <a:pt x="318" y="871"/>
                </a:lnTo>
                <a:lnTo>
                  <a:pt x="320" y="874"/>
                </a:lnTo>
                <a:lnTo>
                  <a:pt x="322" y="879"/>
                </a:lnTo>
                <a:lnTo>
                  <a:pt x="325" y="883"/>
                </a:lnTo>
                <a:lnTo>
                  <a:pt x="328" y="886"/>
                </a:lnTo>
                <a:lnTo>
                  <a:pt x="330" y="887"/>
                </a:lnTo>
                <a:lnTo>
                  <a:pt x="333" y="887"/>
                </a:lnTo>
                <a:lnTo>
                  <a:pt x="335" y="887"/>
                </a:lnTo>
                <a:lnTo>
                  <a:pt x="336" y="884"/>
                </a:lnTo>
                <a:lnTo>
                  <a:pt x="336" y="882"/>
                </a:lnTo>
                <a:lnTo>
                  <a:pt x="336" y="879"/>
                </a:lnTo>
                <a:lnTo>
                  <a:pt x="336" y="875"/>
                </a:lnTo>
                <a:lnTo>
                  <a:pt x="338" y="873"/>
                </a:lnTo>
                <a:lnTo>
                  <a:pt x="341" y="872"/>
                </a:lnTo>
                <a:lnTo>
                  <a:pt x="344" y="873"/>
                </a:lnTo>
                <a:lnTo>
                  <a:pt x="354" y="877"/>
                </a:lnTo>
                <a:lnTo>
                  <a:pt x="365" y="882"/>
                </a:lnTo>
                <a:lnTo>
                  <a:pt x="369" y="884"/>
                </a:lnTo>
                <a:lnTo>
                  <a:pt x="374" y="887"/>
                </a:lnTo>
                <a:lnTo>
                  <a:pt x="379" y="888"/>
                </a:lnTo>
                <a:lnTo>
                  <a:pt x="385" y="888"/>
                </a:lnTo>
                <a:lnTo>
                  <a:pt x="379" y="881"/>
                </a:lnTo>
                <a:lnTo>
                  <a:pt x="375" y="874"/>
                </a:lnTo>
                <a:lnTo>
                  <a:pt x="385" y="877"/>
                </a:lnTo>
                <a:lnTo>
                  <a:pt x="394" y="879"/>
                </a:lnTo>
                <a:lnTo>
                  <a:pt x="403" y="883"/>
                </a:lnTo>
                <a:lnTo>
                  <a:pt x="412" y="887"/>
                </a:lnTo>
                <a:lnTo>
                  <a:pt x="425" y="892"/>
                </a:lnTo>
                <a:lnTo>
                  <a:pt x="436" y="897"/>
                </a:lnTo>
                <a:lnTo>
                  <a:pt x="449" y="903"/>
                </a:lnTo>
                <a:lnTo>
                  <a:pt x="460" y="907"/>
                </a:lnTo>
                <a:lnTo>
                  <a:pt x="473" y="912"/>
                </a:lnTo>
                <a:lnTo>
                  <a:pt x="485" y="915"/>
                </a:lnTo>
                <a:lnTo>
                  <a:pt x="497" y="919"/>
                </a:lnTo>
                <a:lnTo>
                  <a:pt x="509" y="923"/>
                </a:lnTo>
                <a:lnTo>
                  <a:pt x="522" y="927"/>
                </a:lnTo>
                <a:lnTo>
                  <a:pt x="533" y="930"/>
                </a:lnTo>
                <a:lnTo>
                  <a:pt x="545" y="932"/>
                </a:lnTo>
                <a:lnTo>
                  <a:pt x="558" y="933"/>
                </a:lnTo>
                <a:lnTo>
                  <a:pt x="540" y="927"/>
                </a:lnTo>
                <a:lnTo>
                  <a:pt x="523" y="921"/>
                </a:lnTo>
                <a:lnTo>
                  <a:pt x="505" y="915"/>
                </a:lnTo>
                <a:lnTo>
                  <a:pt x="487" y="908"/>
                </a:lnTo>
                <a:lnTo>
                  <a:pt x="470" y="902"/>
                </a:lnTo>
                <a:lnTo>
                  <a:pt x="453" y="896"/>
                </a:lnTo>
                <a:lnTo>
                  <a:pt x="435" y="889"/>
                </a:lnTo>
                <a:lnTo>
                  <a:pt x="419" y="881"/>
                </a:lnTo>
                <a:lnTo>
                  <a:pt x="418" y="881"/>
                </a:lnTo>
                <a:lnTo>
                  <a:pt x="424" y="884"/>
                </a:lnTo>
                <a:lnTo>
                  <a:pt x="427" y="886"/>
                </a:lnTo>
                <a:lnTo>
                  <a:pt x="419" y="881"/>
                </a:lnTo>
                <a:close/>
                <a:moveTo>
                  <a:pt x="1863" y="823"/>
                </a:moveTo>
                <a:lnTo>
                  <a:pt x="1866" y="822"/>
                </a:lnTo>
                <a:lnTo>
                  <a:pt x="1867" y="820"/>
                </a:lnTo>
                <a:lnTo>
                  <a:pt x="1868" y="817"/>
                </a:lnTo>
                <a:lnTo>
                  <a:pt x="1867" y="815"/>
                </a:lnTo>
                <a:lnTo>
                  <a:pt x="1862" y="814"/>
                </a:lnTo>
                <a:lnTo>
                  <a:pt x="1858" y="813"/>
                </a:lnTo>
                <a:lnTo>
                  <a:pt x="1863" y="809"/>
                </a:lnTo>
                <a:lnTo>
                  <a:pt x="1870" y="808"/>
                </a:lnTo>
                <a:lnTo>
                  <a:pt x="1876" y="807"/>
                </a:lnTo>
                <a:lnTo>
                  <a:pt x="1883" y="809"/>
                </a:lnTo>
                <a:lnTo>
                  <a:pt x="1891" y="811"/>
                </a:lnTo>
                <a:lnTo>
                  <a:pt x="1898" y="812"/>
                </a:lnTo>
                <a:lnTo>
                  <a:pt x="1904" y="812"/>
                </a:lnTo>
                <a:lnTo>
                  <a:pt x="1912" y="809"/>
                </a:lnTo>
                <a:lnTo>
                  <a:pt x="1919" y="807"/>
                </a:lnTo>
                <a:lnTo>
                  <a:pt x="1926" y="806"/>
                </a:lnTo>
                <a:lnTo>
                  <a:pt x="1928" y="805"/>
                </a:lnTo>
                <a:lnTo>
                  <a:pt x="1929" y="805"/>
                </a:lnTo>
                <a:lnTo>
                  <a:pt x="1932" y="804"/>
                </a:lnTo>
                <a:lnTo>
                  <a:pt x="1932" y="801"/>
                </a:lnTo>
                <a:lnTo>
                  <a:pt x="1931" y="800"/>
                </a:lnTo>
                <a:lnTo>
                  <a:pt x="1928" y="798"/>
                </a:lnTo>
                <a:lnTo>
                  <a:pt x="1925" y="797"/>
                </a:lnTo>
                <a:lnTo>
                  <a:pt x="1921" y="797"/>
                </a:lnTo>
                <a:lnTo>
                  <a:pt x="1915" y="796"/>
                </a:lnTo>
                <a:lnTo>
                  <a:pt x="1909" y="795"/>
                </a:lnTo>
                <a:lnTo>
                  <a:pt x="1895" y="797"/>
                </a:lnTo>
                <a:lnTo>
                  <a:pt x="1882" y="799"/>
                </a:lnTo>
                <a:lnTo>
                  <a:pt x="1866" y="801"/>
                </a:lnTo>
                <a:lnTo>
                  <a:pt x="1851" y="805"/>
                </a:lnTo>
                <a:lnTo>
                  <a:pt x="1849" y="805"/>
                </a:lnTo>
                <a:lnTo>
                  <a:pt x="1845" y="806"/>
                </a:lnTo>
                <a:lnTo>
                  <a:pt x="1845" y="809"/>
                </a:lnTo>
                <a:lnTo>
                  <a:pt x="1845" y="813"/>
                </a:lnTo>
                <a:lnTo>
                  <a:pt x="1841" y="814"/>
                </a:lnTo>
                <a:lnTo>
                  <a:pt x="1835" y="815"/>
                </a:lnTo>
                <a:lnTo>
                  <a:pt x="1826" y="817"/>
                </a:lnTo>
                <a:lnTo>
                  <a:pt x="1818" y="820"/>
                </a:lnTo>
                <a:lnTo>
                  <a:pt x="1805" y="822"/>
                </a:lnTo>
                <a:lnTo>
                  <a:pt x="1793" y="826"/>
                </a:lnTo>
                <a:lnTo>
                  <a:pt x="1778" y="830"/>
                </a:lnTo>
                <a:lnTo>
                  <a:pt x="1763" y="832"/>
                </a:lnTo>
                <a:lnTo>
                  <a:pt x="1747" y="832"/>
                </a:lnTo>
                <a:lnTo>
                  <a:pt x="1733" y="833"/>
                </a:lnTo>
                <a:lnTo>
                  <a:pt x="1717" y="833"/>
                </a:lnTo>
                <a:lnTo>
                  <a:pt x="1702" y="836"/>
                </a:lnTo>
                <a:lnTo>
                  <a:pt x="1695" y="837"/>
                </a:lnTo>
                <a:lnTo>
                  <a:pt x="1687" y="839"/>
                </a:lnTo>
                <a:lnTo>
                  <a:pt x="1680" y="840"/>
                </a:lnTo>
                <a:lnTo>
                  <a:pt x="1674" y="842"/>
                </a:lnTo>
                <a:lnTo>
                  <a:pt x="1672" y="844"/>
                </a:lnTo>
                <a:lnTo>
                  <a:pt x="1673" y="846"/>
                </a:lnTo>
                <a:lnTo>
                  <a:pt x="1674" y="847"/>
                </a:lnTo>
                <a:lnTo>
                  <a:pt x="1676" y="848"/>
                </a:lnTo>
                <a:lnTo>
                  <a:pt x="1681" y="849"/>
                </a:lnTo>
                <a:lnTo>
                  <a:pt x="1686" y="849"/>
                </a:lnTo>
                <a:lnTo>
                  <a:pt x="1693" y="848"/>
                </a:lnTo>
                <a:lnTo>
                  <a:pt x="1700" y="846"/>
                </a:lnTo>
                <a:lnTo>
                  <a:pt x="1708" y="846"/>
                </a:lnTo>
                <a:lnTo>
                  <a:pt x="1715" y="846"/>
                </a:lnTo>
                <a:lnTo>
                  <a:pt x="1731" y="845"/>
                </a:lnTo>
                <a:lnTo>
                  <a:pt x="1748" y="842"/>
                </a:lnTo>
                <a:lnTo>
                  <a:pt x="1752" y="841"/>
                </a:lnTo>
                <a:lnTo>
                  <a:pt x="1754" y="841"/>
                </a:lnTo>
                <a:lnTo>
                  <a:pt x="1756" y="842"/>
                </a:lnTo>
                <a:lnTo>
                  <a:pt x="1760" y="845"/>
                </a:lnTo>
                <a:lnTo>
                  <a:pt x="1767" y="846"/>
                </a:lnTo>
                <a:lnTo>
                  <a:pt x="1772" y="846"/>
                </a:lnTo>
                <a:lnTo>
                  <a:pt x="1789" y="841"/>
                </a:lnTo>
                <a:lnTo>
                  <a:pt x="1807" y="838"/>
                </a:lnTo>
                <a:lnTo>
                  <a:pt x="1822" y="836"/>
                </a:lnTo>
                <a:lnTo>
                  <a:pt x="1840" y="833"/>
                </a:lnTo>
                <a:lnTo>
                  <a:pt x="1852" y="829"/>
                </a:lnTo>
                <a:lnTo>
                  <a:pt x="1863" y="823"/>
                </a:lnTo>
                <a:lnTo>
                  <a:pt x="1861" y="823"/>
                </a:lnTo>
                <a:lnTo>
                  <a:pt x="1863" y="823"/>
                </a:lnTo>
                <a:close/>
                <a:moveTo>
                  <a:pt x="886" y="251"/>
                </a:moveTo>
                <a:lnTo>
                  <a:pt x="894" y="255"/>
                </a:lnTo>
                <a:lnTo>
                  <a:pt x="902" y="260"/>
                </a:lnTo>
                <a:lnTo>
                  <a:pt x="907" y="261"/>
                </a:lnTo>
                <a:lnTo>
                  <a:pt x="912" y="263"/>
                </a:lnTo>
                <a:lnTo>
                  <a:pt x="918" y="263"/>
                </a:lnTo>
                <a:lnTo>
                  <a:pt x="923" y="261"/>
                </a:lnTo>
                <a:lnTo>
                  <a:pt x="932" y="263"/>
                </a:lnTo>
                <a:lnTo>
                  <a:pt x="943" y="267"/>
                </a:lnTo>
                <a:lnTo>
                  <a:pt x="954" y="271"/>
                </a:lnTo>
                <a:lnTo>
                  <a:pt x="965" y="274"/>
                </a:lnTo>
                <a:lnTo>
                  <a:pt x="976" y="276"/>
                </a:lnTo>
                <a:lnTo>
                  <a:pt x="986" y="277"/>
                </a:lnTo>
                <a:lnTo>
                  <a:pt x="989" y="277"/>
                </a:lnTo>
                <a:lnTo>
                  <a:pt x="993" y="277"/>
                </a:lnTo>
                <a:lnTo>
                  <a:pt x="995" y="277"/>
                </a:lnTo>
                <a:lnTo>
                  <a:pt x="995" y="276"/>
                </a:lnTo>
                <a:lnTo>
                  <a:pt x="995" y="274"/>
                </a:lnTo>
                <a:lnTo>
                  <a:pt x="995" y="272"/>
                </a:lnTo>
                <a:lnTo>
                  <a:pt x="989" y="267"/>
                </a:lnTo>
                <a:lnTo>
                  <a:pt x="985" y="264"/>
                </a:lnTo>
                <a:lnTo>
                  <a:pt x="984" y="261"/>
                </a:lnTo>
                <a:lnTo>
                  <a:pt x="983" y="259"/>
                </a:lnTo>
                <a:lnTo>
                  <a:pt x="983" y="258"/>
                </a:lnTo>
                <a:lnTo>
                  <a:pt x="984" y="256"/>
                </a:lnTo>
                <a:lnTo>
                  <a:pt x="986" y="253"/>
                </a:lnTo>
                <a:lnTo>
                  <a:pt x="989" y="251"/>
                </a:lnTo>
                <a:lnTo>
                  <a:pt x="995" y="249"/>
                </a:lnTo>
                <a:lnTo>
                  <a:pt x="1000" y="249"/>
                </a:lnTo>
                <a:lnTo>
                  <a:pt x="1005" y="250"/>
                </a:lnTo>
                <a:lnTo>
                  <a:pt x="1010" y="251"/>
                </a:lnTo>
                <a:lnTo>
                  <a:pt x="1014" y="255"/>
                </a:lnTo>
                <a:lnTo>
                  <a:pt x="1020" y="257"/>
                </a:lnTo>
                <a:lnTo>
                  <a:pt x="1025" y="258"/>
                </a:lnTo>
                <a:lnTo>
                  <a:pt x="1030" y="258"/>
                </a:lnTo>
                <a:lnTo>
                  <a:pt x="1039" y="259"/>
                </a:lnTo>
                <a:lnTo>
                  <a:pt x="1047" y="258"/>
                </a:lnTo>
                <a:lnTo>
                  <a:pt x="1050" y="257"/>
                </a:lnTo>
                <a:lnTo>
                  <a:pt x="1051" y="256"/>
                </a:lnTo>
                <a:lnTo>
                  <a:pt x="1052" y="255"/>
                </a:lnTo>
                <a:lnTo>
                  <a:pt x="1051" y="252"/>
                </a:lnTo>
                <a:lnTo>
                  <a:pt x="1047" y="250"/>
                </a:lnTo>
                <a:lnTo>
                  <a:pt x="1043" y="248"/>
                </a:lnTo>
                <a:lnTo>
                  <a:pt x="1031" y="248"/>
                </a:lnTo>
                <a:lnTo>
                  <a:pt x="1019" y="248"/>
                </a:lnTo>
                <a:lnTo>
                  <a:pt x="1013" y="248"/>
                </a:lnTo>
                <a:lnTo>
                  <a:pt x="1008" y="247"/>
                </a:lnTo>
                <a:lnTo>
                  <a:pt x="1004" y="244"/>
                </a:lnTo>
                <a:lnTo>
                  <a:pt x="1000" y="241"/>
                </a:lnTo>
                <a:lnTo>
                  <a:pt x="992" y="239"/>
                </a:lnTo>
                <a:lnTo>
                  <a:pt x="984" y="239"/>
                </a:lnTo>
                <a:lnTo>
                  <a:pt x="980" y="238"/>
                </a:lnTo>
                <a:lnTo>
                  <a:pt x="977" y="235"/>
                </a:lnTo>
                <a:lnTo>
                  <a:pt x="973" y="233"/>
                </a:lnTo>
                <a:lnTo>
                  <a:pt x="971" y="230"/>
                </a:lnTo>
                <a:lnTo>
                  <a:pt x="968" y="227"/>
                </a:lnTo>
                <a:lnTo>
                  <a:pt x="964" y="226"/>
                </a:lnTo>
                <a:lnTo>
                  <a:pt x="960" y="226"/>
                </a:lnTo>
                <a:lnTo>
                  <a:pt x="955" y="227"/>
                </a:lnTo>
                <a:lnTo>
                  <a:pt x="951" y="230"/>
                </a:lnTo>
                <a:lnTo>
                  <a:pt x="946" y="230"/>
                </a:lnTo>
                <a:lnTo>
                  <a:pt x="940" y="227"/>
                </a:lnTo>
                <a:lnTo>
                  <a:pt x="935" y="225"/>
                </a:lnTo>
                <a:lnTo>
                  <a:pt x="926" y="223"/>
                </a:lnTo>
                <a:lnTo>
                  <a:pt x="917" y="224"/>
                </a:lnTo>
                <a:lnTo>
                  <a:pt x="915" y="226"/>
                </a:lnTo>
                <a:lnTo>
                  <a:pt x="915" y="227"/>
                </a:lnTo>
                <a:lnTo>
                  <a:pt x="918" y="228"/>
                </a:lnTo>
                <a:lnTo>
                  <a:pt x="919" y="230"/>
                </a:lnTo>
                <a:lnTo>
                  <a:pt x="927" y="231"/>
                </a:lnTo>
                <a:lnTo>
                  <a:pt x="935" y="230"/>
                </a:lnTo>
                <a:lnTo>
                  <a:pt x="931" y="234"/>
                </a:lnTo>
                <a:lnTo>
                  <a:pt x="929" y="239"/>
                </a:lnTo>
                <a:lnTo>
                  <a:pt x="927" y="240"/>
                </a:lnTo>
                <a:lnTo>
                  <a:pt x="927" y="242"/>
                </a:lnTo>
                <a:lnTo>
                  <a:pt x="928" y="244"/>
                </a:lnTo>
                <a:lnTo>
                  <a:pt x="931" y="247"/>
                </a:lnTo>
                <a:lnTo>
                  <a:pt x="926" y="248"/>
                </a:lnTo>
                <a:lnTo>
                  <a:pt x="920" y="247"/>
                </a:lnTo>
                <a:lnTo>
                  <a:pt x="914" y="244"/>
                </a:lnTo>
                <a:lnTo>
                  <a:pt x="910" y="242"/>
                </a:lnTo>
                <a:lnTo>
                  <a:pt x="904" y="240"/>
                </a:lnTo>
                <a:lnTo>
                  <a:pt x="899" y="240"/>
                </a:lnTo>
                <a:lnTo>
                  <a:pt x="894" y="242"/>
                </a:lnTo>
                <a:lnTo>
                  <a:pt x="888" y="243"/>
                </a:lnTo>
                <a:lnTo>
                  <a:pt x="882" y="243"/>
                </a:lnTo>
                <a:lnTo>
                  <a:pt x="876" y="242"/>
                </a:lnTo>
                <a:lnTo>
                  <a:pt x="874" y="241"/>
                </a:lnTo>
                <a:lnTo>
                  <a:pt x="872" y="240"/>
                </a:lnTo>
                <a:lnTo>
                  <a:pt x="871" y="240"/>
                </a:lnTo>
                <a:lnTo>
                  <a:pt x="870" y="241"/>
                </a:lnTo>
                <a:lnTo>
                  <a:pt x="871" y="243"/>
                </a:lnTo>
                <a:lnTo>
                  <a:pt x="872" y="245"/>
                </a:lnTo>
                <a:lnTo>
                  <a:pt x="874" y="247"/>
                </a:lnTo>
                <a:lnTo>
                  <a:pt x="877" y="249"/>
                </a:lnTo>
                <a:lnTo>
                  <a:pt x="881" y="250"/>
                </a:lnTo>
                <a:lnTo>
                  <a:pt x="886" y="251"/>
                </a:lnTo>
                <a:lnTo>
                  <a:pt x="883" y="251"/>
                </a:lnTo>
                <a:lnTo>
                  <a:pt x="886" y="251"/>
                </a:lnTo>
                <a:close/>
                <a:moveTo>
                  <a:pt x="946" y="248"/>
                </a:moveTo>
                <a:lnTo>
                  <a:pt x="948" y="248"/>
                </a:lnTo>
                <a:lnTo>
                  <a:pt x="950" y="249"/>
                </a:lnTo>
                <a:lnTo>
                  <a:pt x="950" y="250"/>
                </a:lnTo>
                <a:lnTo>
                  <a:pt x="950" y="252"/>
                </a:lnTo>
                <a:lnTo>
                  <a:pt x="946" y="255"/>
                </a:lnTo>
                <a:lnTo>
                  <a:pt x="944" y="255"/>
                </a:lnTo>
                <a:lnTo>
                  <a:pt x="939" y="255"/>
                </a:lnTo>
                <a:lnTo>
                  <a:pt x="936" y="253"/>
                </a:lnTo>
                <a:lnTo>
                  <a:pt x="932" y="251"/>
                </a:lnTo>
                <a:lnTo>
                  <a:pt x="930" y="248"/>
                </a:lnTo>
                <a:lnTo>
                  <a:pt x="938" y="248"/>
                </a:lnTo>
                <a:lnTo>
                  <a:pt x="946" y="248"/>
                </a:lnTo>
                <a:lnTo>
                  <a:pt x="945" y="248"/>
                </a:lnTo>
                <a:lnTo>
                  <a:pt x="946" y="248"/>
                </a:lnTo>
                <a:close/>
                <a:moveTo>
                  <a:pt x="2166" y="730"/>
                </a:moveTo>
                <a:lnTo>
                  <a:pt x="2162" y="731"/>
                </a:lnTo>
                <a:lnTo>
                  <a:pt x="2156" y="732"/>
                </a:lnTo>
                <a:lnTo>
                  <a:pt x="2150" y="731"/>
                </a:lnTo>
                <a:lnTo>
                  <a:pt x="2145" y="731"/>
                </a:lnTo>
                <a:lnTo>
                  <a:pt x="2140" y="732"/>
                </a:lnTo>
                <a:lnTo>
                  <a:pt x="2137" y="733"/>
                </a:lnTo>
                <a:lnTo>
                  <a:pt x="2134" y="734"/>
                </a:lnTo>
                <a:lnTo>
                  <a:pt x="2133" y="736"/>
                </a:lnTo>
                <a:lnTo>
                  <a:pt x="2133" y="738"/>
                </a:lnTo>
                <a:lnTo>
                  <a:pt x="2134" y="740"/>
                </a:lnTo>
                <a:lnTo>
                  <a:pt x="2125" y="740"/>
                </a:lnTo>
                <a:lnTo>
                  <a:pt x="2115" y="739"/>
                </a:lnTo>
                <a:lnTo>
                  <a:pt x="2106" y="739"/>
                </a:lnTo>
                <a:lnTo>
                  <a:pt x="2096" y="741"/>
                </a:lnTo>
                <a:lnTo>
                  <a:pt x="2080" y="747"/>
                </a:lnTo>
                <a:lnTo>
                  <a:pt x="2063" y="753"/>
                </a:lnTo>
                <a:lnTo>
                  <a:pt x="2044" y="758"/>
                </a:lnTo>
                <a:lnTo>
                  <a:pt x="2026" y="764"/>
                </a:lnTo>
                <a:lnTo>
                  <a:pt x="2008" y="769"/>
                </a:lnTo>
                <a:lnTo>
                  <a:pt x="1990" y="774"/>
                </a:lnTo>
                <a:lnTo>
                  <a:pt x="1994" y="775"/>
                </a:lnTo>
                <a:lnTo>
                  <a:pt x="1999" y="776"/>
                </a:lnTo>
                <a:lnTo>
                  <a:pt x="2001" y="779"/>
                </a:lnTo>
                <a:lnTo>
                  <a:pt x="2001" y="780"/>
                </a:lnTo>
                <a:lnTo>
                  <a:pt x="2001" y="782"/>
                </a:lnTo>
                <a:lnTo>
                  <a:pt x="2001" y="784"/>
                </a:lnTo>
                <a:lnTo>
                  <a:pt x="2002" y="789"/>
                </a:lnTo>
                <a:lnTo>
                  <a:pt x="2005" y="791"/>
                </a:lnTo>
                <a:lnTo>
                  <a:pt x="2008" y="792"/>
                </a:lnTo>
                <a:lnTo>
                  <a:pt x="2013" y="791"/>
                </a:lnTo>
                <a:lnTo>
                  <a:pt x="2028" y="787"/>
                </a:lnTo>
                <a:lnTo>
                  <a:pt x="2044" y="782"/>
                </a:lnTo>
                <a:lnTo>
                  <a:pt x="2060" y="779"/>
                </a:lnTo>
                <a:lnTo>
                  <a:pt x="2076" y="774"/>
                </a:lnTo>
                <a:lnTo>
                  <a:pt x="2091" y="771"/>
                </a:lnTo>
                <a:lnTo>
                  <a:pt x="2105" y="766"/>
                </a:lnTo>
                <a:lnTo>
                  <a:pt x="2118" y="761"/>
                </a:lnTo>
                <a:lnTo>
                  <a:pt x="2132" y="754"/>
                </a:lnTo>
                <a:lnTo>
                  <a:pt x="2146" y="748"/>
                </a:lnTo>
                <a:lnTo>
                  <a:pt x="2159" y="741"/>
                </a:lnTo>
                <a:lnTo>
                  <a:pt x="2166" y="738"/>
                </a:lnTo>
                <a:lnTo>
                  <a:pt x="2172" y="734"/>
                </a:lnTo>
                <a:lnTo>
                  <a:pt x="2173" y="732"/>
                </a:lnTo>
                <a:lnTo>
                  <a:pt x="2172" y="730"/>
                </a:lnTo>
                <a:lnTo>
                  <a:pt x="2170" y="730"/>
                </a:lnTo>
                <a:lnTo>
                  <a:pt x="2166" y="730"/>
                </a:lnTo>
                <a:lnTo>
                  <a:pt x="2166" y="730"/>
                </a:lnTo>
                <a:lnTo>
                  <a:pt x="2166" y="730"/>
                </a:lnTo>
                <a:close/>
                <a:moveTo>
                  <a:pt x="1502" y="582"/>
                </a:moveTo>
                <a:lnTo>
                  <a:pt x="1502" y="582"/>
                </a:lnTo>
                <a:lnTo>
                  <a:pt x="1502" y="582"/>
                </a:lnTo>
                <a:close/>
                <a:moveTo>
                  <a:pt x="1995" y="415"/>
                </a:moveTo>
                <a:lnTo>
                  <a:pt x="1986" y="415"/>
                </a:lnTo>
                <a:lnTo>
                  <a:pt x="1977" y="415"/>
                </a:lnTo>
                <a:lnTo>
                  <a:pt x="1975" y="415"/>
                </a:lnTo>
                <a:lnTo>
                  <a:pt x="1974" y="415"/>
                </a:lnTo>
                <a:lnTo>
                  <a:pt x="1974" y="414"/>
                </a:lnTo>
                <a:lnTo>
                  <a:pt x="1974" y="413"/>
                </a:lnTo>
                <a:lnTo>
                  <a:pt x="1975" y="410"/>
                </a:lnTo>
                <a:lnTo>
                  <a:pt x="1974" y="408"/>
                </a:lnTo>
                <a:lnTo>
                  <a:pt x="1973" y="407"/>
                </a:lnTo>
                <a:lnTo>
                  <a:pt x="1970" y="407"/>
                </a:lnTo>
                <a:lnTo>
                  <a:pt x="1968" y="407"/>
                </a:lnTo>
                <a:lnTo>
                  <a:pt x="1965" y="408"/>
                </a:lnTo>
                <a:lnTo>
                  <a:pt x="1958" y="409"/>
                </a:lnTo>
                <a:lnTo>
                  <a:pt x="1954" y="411"/>
                </a:lnTo>
                <a:lnTo>
                  <a:pt x="1959" y="414"/>
                </a:lnTo>
                <a:lnTo>
                  <a:pt x="1960" y="416"/>
                </a:lnTo>
                <a:lnTo>
                  <a:pt x="1960" y="419"/>
                </a:lnTo>
                <a:lnTo>
                  <a:pt x="1957" y="423"/>
                </a:lnTo>
                <a:lnTo>
                  <a:pt x="1951" y="425"/>
                </a:lnTo>
                <a:lnTo>
                  <a:pt x="1945" y="427"/>
                </a:lnTo>
                <a:lnTo>
                  <a:pt x="1940" y="427"/>
                </a:lnTo>
                <a:lnTo>
                  <a:pt x="1934" y="427"/>
                </a:lnTo>
                <a:lnTo>
                  <a:pt x="1928" y="427"/>
                </a:lnTo>
                <a:lnTo>
                  <a:pt x="1924" y="429"/>
                </a:lnTo>
                <a:lnTo>
                  <a:pt x="1920" y="432"/>
                </a:lnTo>
                <a:lnTo>
                  <a:pt x="1917" y="435"/>
                </a:lnTo>
                <a:lnTo>
                  <a:pt x="1912" y="438"/>
                </a:lnTo>
                <a:lnTo>
                  <a:pt x="1908" y="440"/>
                </a:lnTo>
                <a:lnTo>
                  <a:pt x="1902" y="441"/>
                </a:lnTo>
                <a:lnTo>
                  <a:pt x="1898" y="442"/>
                </a:lnTo>
                <a:lnTo>
                  <a:pt x="1885" y="444"/>
                </a:lnTo>
                <a:lnTo>
                  <a:pt x="1873" y="449"/>
                </a:lnTo>
                <a:lnTo>
                  <a:pt x="1860" y="454"/>
                </a:lnTo>
                <a:lnTo>
                  <a:pt x="1847" y="457"/>
                </a:lnTo>
                <a:lnTo>
                  <a:pt x="1834" y="462"/>
                </a:lnTo>
                <a:lnTo>
                  <a:pt x="1820" y="465"/>
                </a:lnTo>
                <a:lnTo>
                  <a:pt x="1807" y="467"/>
                </a:lnTo>
                <a:lnTo>
                  <a:pt x="1793" y="471"/>
                </a:lnTo>
                <a:lnTo>
                  <a:pt x="1780" y="475"/>
                </a:lnTo>
                <a:lnTo>
                  <a:pt x="1769" y="479"/>
                </a:lnTo>
                <a:lnTo>
                  <a:pt x="1758" y="480"/>
                </a:lnTo>
                <a:lnTo>
                  <a:pt x="1745" y="480"/>
                </a:lnTo>
                <a:lnTo>
                  <a:pt x="1742" y="480"/>
                </a:lnTo>
                <a:lnTo>
                  <a:pt x="1739" y="481"/>
                </a:lnTo>
                <a:lnTo>
                  <a:pt x="1737" y="483"/>
                </a:lnTo>
                <a:lnTo>
                  <a:pt x="1736" y="487"/>
                </a:lnTo>
                <a:lnTo>
                  <a:pt x="1736" y="490"/>
                </a:lnTo>
                <a:lnTo>
                  <a:pt x="1735" y="496"/>
                </a:lnTo>
                <a:lnTo>
                  <a:pt x="1734" y="497"/>
                </a:lnTo>
                <a:lnTo>
                  <a:pt x="1733" y="498"/>
                </a:lnTo>
                <a:lnTo>
                  <a:pt x="1730" y="498"/>
                </a:lnTo>
                <a:lnTo>
                  <a:pt x="1728" y="497"/>
                </a:lnTo>
                <a:lnTo>
                  <a:pt x="1727" y="493"/>
                </a:lnTo>
                <a:lnTo>
                  <a:pt x="1725" y="490"/>
                </a:lnTo>
                <a:lnTo>
                  <a:pt x="1721" y="489"/>
                </a:lnTo>
                <a:lnTo>
                  <a:pt x="1718" y="489"/>
                </a:lnTo>
                <a:lnTo>
                  <a:pt x="1704" y="489"/>
                </a:lnTo>
                <a:lnTo>
                  <a:pt x="1692" y="491"/>
                </a:lnTo>
                <a:lnTo>
                  <a:pt x="1679" y="496"/>
                </a:lnTo>
                <a:lnTo>
                  <a:pt x="1668" y="499"/>
                </a:lnTo>
                <a:lnTo>
                  <a:pt x="1653" y="501"/>
                </a:lnTo>
                <a:lnTo>
                  <a:pt x="1639" y="502"/>
                </a:lnTo>
                <a:lnTo>
                  <a:pt x="1624" y="505"/>
                </a:lnTo>
                <a:lnTo>
                  <a:pt x="1610" y="509"/>
                </a:lnTo>
                <a:lnTo>
                  <a:pt x="1603" y="510"/>
                </a:lnTo>
                <a:lnTo>
                  <a:pt x="1596" y="513"/>
                </a:lnTo>
                <a:lnTo>
                  <a:pt x="1590" y="513"/>
                </a:lnTo>
                <a:lnTo>
                  <a:pt x="1582" y="513"/>
                </a:lnTo>
                <a:lnTo>
                  <a:pt x="1579" y="514"/>
                </a:lnTo>
                <a:lnTo>
                  <a:pt x="1573" y="514"/>
                </a:lnTo>
                <a:lnTo>
                  <a:pt x="1571" y="514"/>
                </a:lnTo>
                <a:lnTo>
                  <a:pt x="1569" y="513"/>
                </a:lnTo>
                <a:lnTo>
                  <a:pt x="1568" y="512"/>
                </a:lnTo>
                <a:lnTo>
                  <a:pt x="1566" y="509"/>
                </a:lnTo>
                <a:lnTo>
                  <a:pt x="1566" y="508"/>
                </a:lnTo>
                <a:lnTo>
                  <a:pt x="1568" y="506"/>
                </a:lnTo>
                <a:lnTo>
                  <a:pt x="1570" y="505"/>
                </a:lnTo>
                <a:lnTo>
                  <a:pt x="1572" y="505"/>
                </a:lnTo>
                <a:lnTo>
                  <a:pt x="1577" y="504"/>
                </a:lnTo>
                <a:lnTo>
                  <a:pt x="1581" y="504"/>
                </a:lnTo>
                <a:lnTo>
                  <a:pt x="1570" y="504"/>
                </a:lnTo>
                <a:lnTo>
                  <a:pt x="1558" y="501"/>
                </a:lnTo>
                <a:lnTo>
                  <a:pt x="1547" y="502"/>
                </a:lnTo>
                <a:lnTo>
                  <a:pt x="1536" y="505"/>
                </a:lnTo>
                <a:lnTo>
                  <a:pt x="1525" y="507"/>
                </a:lnTo>
                <a:lnTo>
                  <a:pt x="1514" y="508"/>
                </a:lnTo>
                <a:lnTo>
                  <a:pt x="1506" y="507"/>
                </a:lnTo>
                <a:lnTo>
                  <a:pt x="1497" y="506"/>
                </a:lnTo>
                <a:lnTo>
                  <a:pt x="1494" y="507"/>
                </a:lnTo>
                <a:lnTo>
                  <a:pt x="1492" y="508"/>
                </a:lnTo>
                <a:lnTo>
                  <a:pt x="1491" y="512"/>
                </a:lnTo>
                <a:lnTo>
                  <a:pt x="1490" y="514"/>
                </a:lnTo>
                <a:lnTo>
                  <a:pt x="1488" y="517"/>
                </a:lnTo>
                <a:lnTo>
                  <a:pt x="1483" y="520"/>
                </a:lnTo>
                <a:lnTo>
                  <a:pt x="1478" y="521"/>
                </a:lnTo>
                <a:lnTo>
                  <a:pt x="1473" y="521"/>
                </a:lnTo>
                <a:lnTo>
                  <a:pt x="1466" y="517"/>
                </a:lnTo>
                <a:lnTo>
                  <a:pt x="1458" y="514"/>
                </a:lnTo>
                <a:lnTo>
                  <a:pt x="1447" y="512"/>
                </a:lnTo>
                <a:lnTo>
                  <a:pt x="1435" y="512"/>
                </a:lnTo>
                <a:lnTo>
                  <a:pt x="1425" y="515"/>
                </a:lnTo>
                <a:lnTo>
                  <a:pt x="1415" y="520"/>
                </a:lnTo>
                <a:lnTo>
                  <a:pt x="1402" y="521"/>
                </a:lnTo>
                <a:lnTo>
                  <a:pt x="1389" y="521"/>
                </a:lnTo>
                <a:lnTo>
                  <a:pt x="1376" y="521"/>
                </a:lnTo>
                <a:lnTo>
                  <a:pt x="1363" y="521"/>
                </a:lnTo>
                <a:lnTo>
                  <a:pt x="1349" y="521"/>
                </a:lnTo>
                <a:lnTo>
                  <a:pt x="1336" y="520"/>
                </a:lnTo>
                <a:lnTo>
                  <a:pt x="1325" y="520"/>
                </a:lnTo>
                <a:lnTo>
                  <a:pt x="1314" y="517"/>
                </a:lnTo>
                <a:lnTo>
                  <a:pt x="1309" y="513"/>
                </a:lnTo>
                <a:lnTo>
                  <a:pt x="1303" y="509"/>
                </a:lnTo>
                <a:lnTo>
                  <a:pt x="1300" y="509"/>
                </a:lnTo>
                <a:lnTo>
                  <a:pt x="1295" y="509"/>
                </a:lnTo>
                <a:lnTo>
                  <a:pt x="1291" y="507"/>
                </a:lnTo>
                <a:lnTo>
                  <a:pt x="1288" y="505"/>
                </a:lnTo>
                <a:lnTo>
                  <a:pt x="1285" y="504"/>
                </a:lnTo>
                <a:lnTo>
                  <a:pt x="1283" y="505"/>
                </a:lnTo>
                <a:lnTo>
                  <a:pt x="1281" y="505"/>
                </a:lnTo>
                <a:lnTo>
                  <a:pt x="1278" y="507"/>
                </a:lnTo>
                <a:lnTo>
                  <a:pt x="1275" y="510"/>
                </a:lnTo>
                <a:lnTo>
                  <a:pt x="1272" y="514"/>
                </a:lnTo>
                <a:lnTo>
                  <a:pt x="1269" y="517"/>
                </a:lnTo>
                <a:lnTo>
                  <a:pt x="1268" y="522"/>
                </a:lnTo>
                <a:lnTo>
                  <a:pt x="1267" y="525"/>
                </a:lnTo>
                <a:lnTo>
                  <a:pt x="1268" y="530"/>
                </a:lnTo>
                <a:lnTo>
                  <a:pt x="1272" y="532"/>
                </a:lnTo>
                <a:lnTo>
                  <a:pt x="1277" y="534"/>
                </a:lnTo>
                <a:lnTo>
                  <a:pt x="1283" y="534"/>
                </a:lnTo>
                <a:lnTo>
                  <a:pt x="1288" y="533"/>
                </a:lnTo>
                <a:lnTo>
                  <a:pt x="1292" y="530"/>
                </a:lnTo>
                <a:lnTo>
                  <a:pt x="1295" y="525"/>
                </a:lnTo>
                <a:lnTo>
                  <a:pt x="1300" y="524"/>
                </a:lnTo>
                <a:lnTo>
                  <a:pt x="1306" y="523"/>
                </a:lnTo>
                <a:lnTo>
                  <a:pt x="1316" y="524"/>
                </a:lnTo>
                <a:lnTo>
                  <a:pt x="1326" y="525"/>
                </a:lnTo>
                <a:lnTo>
                  <a:pt x="1319" y="526"/>
                </a:lnTo>
                <a:lnTo>
                  <a:pt x="1313" y="526"/>
                </a:lnTo>
                <a:lnTo>
                  <a:pt x="1308" y="526"/>
                </a:lnTo>
                <a:lnTo>
                  <a:pt x="1303" y="526"/>
                </a:lnTo>
                <a:lnTo>
                  <a:pt x="1301" y="529"/>
                </a:lnTo>
                <a:lnTo>
                  <a:pt x="1301" y="531"/>
                </a:lnTo>
                <a:lnTo>
                  <a:pt x="1302" y="532"/>
                </a:lnTo>
                <a:lnTo>
                  <a:pt x="1305" y="533"/>
                </a:lnTo>
                <a:lnTo>
                  <a:pt x="1311" y="534"/>
                </a:lnTo>
                <a:lnTo>
                  <a:pt x="1316" y="534"/>
                </a:lnTo>
                <a:lnTo>
                  <a:pt x="1331" y="535"/>
                </a:lnTo>
                <a:lnTo>
                  <a:pt x="1347" y="535"/>
                </a:lnTo>
                <a:lnTo>
                  <a:pt x="1363" y="537"/>
                </a:lnTo>
                <a:lnTo>
                  <a:pt x="1377" y="537"/>
                </a:lnTo>
                <a:lnTo>
                  <a:pt x="1392" y="534"/>
                </a:lnTo>
                <a:lnTo>
                  <a:pt x="1408" y="534"/>
                </a:lnTo>
                <a:lnTo>
                  <a:pt x="1415" y="534"/>
                </a:lnTo>
                <a:lnTo>
                  <a:pt x="1423" y="534"/>
                </a:lnTo>
                <a:lnTo>
                  <a:pt x="1430" y="537"/>
                </a:lnTo>
                <a:lnTo>
                  <a:pt x="1437" y="539"/>
                </a:lnTo>
                <a:lnTo>
                  <a:pt x="1438" y="540"/>
                </a:lnTo>
                <a:lnTo>
                  <a:pt x="1440" y="542"/>
                </a:lnTo>
                <a:lnTo>
                  <a:pt x="1441" y="542"/>
                </a:lnTo>
                <a:lnTo>
                  <a:pt x="1443" y="542"/>
                </a:lnTo>
                <a:lnTo>
                  <a:pt x="1446" y="539"/>
                </a:lnTo>
                <a:lnTo>
                  <a:pt x="1449" y="535"/>
                </a:lnTo>
                <a:lnTo>
                  <a:pt x="1456" y="534"/>
                </a:lnTo>
                <a:lnTo>
                  <a:pt x="1463" y="534"/>
                </a:lnTo>
                <a:lnTo>
                  <a:pt x="1472" y="534"/>
                </a:lnTo>
                <a:lnTo>
                  <a:pt x="1482" y="535"/>
                </a:lnTo>
                <a:lnTo>
                  <a:pt x="1496" y="537"/>
                </a:lnTo>
                <a:lnTo>
                  <a:pt x="1509" y="538"/>
                </a:lnTo>
                <a:lnTo>
                  <a:pt x="1516" y="538"/>
                </a:lnTo>
                <a:lnTo>
                  <a:pt x="1522" y="535"/>
                </a:lnTo>
                <a:lnTo>
                  <a:pt x="1529" y="533"/>
                </a:lnTo>
                <a:lnTo>
                  <a:pt x="1536" y="530"/>
                </a:lnTo>
                <a:lnTo>
                  <a:pt x="1548" y="531"/>
                </a:lnTo>
                <a:lnTo>
                  <a:pt x="1562" y="533"/>
                </a:lnTo>
                <a:lnTo>
                  <a:pt x="1578" y="531"/>
                </a:lnTo>
                <a:lnTo>
                  <a:pt x="1594" y="527"/>
                </a:lnTo>
                <a:lnTo>
                  <a:pt x="1610" y="525"/>
                </a:lnTo>
                <a:lnTo>
                  <a:pt x="1626" y="524"/>
                </a:lnTo>
                <a:lnTo>
                  <a:pt x="1643" y="522"/>
                </a:lnTo>
                <a:lnTo>
                  <a:pt x="1659" y="521"/>
                </a:lnTo>
                <a:lnTo>
                  <a:pt x="1673" y="518"/>
                </a:lnTo>
                <a:lnTo>
                  <a:pt x="1688" y="516"/>
                </a:lnTo>
                <a:lnTo>
                  <a:pt x="1703" y="514"/>
                </a:lnTo>
                <a:lnTo>
                  <a:pt x="1718" y="512"/>
                </a:lnTo>
                <a:lnTo>
                  <a:pt x="1735" y="509"/>
                </a:lnTo>
                <a:lnTo>
                  <a:pt x="1751" y="506"/>
                </a:lnTo>
                <a:lnTo>
                  <a:pt x="1768" y="502"/>
                </a:lnTo>
                <a:lnTo>
                  <a:pt x="1784" y="498"/>
                </a:lnTo>
                <a:lnTo>
                  <a:pt x="1793" y="496"/>
                </a:lnTo>
                <a:lnTo>
                  <a:pt x="1802" y="493"/>
                </a:lnTo>
                <a:lnTo>
                  <a:pt x="1811" y="491"/>
                </a:lnTo>
                <a:lnTo>
                  <a:pt x="1820" y="489"/>
                </a:lnTo>
                <a:lnTo>
                  <a:pt x="1824" y="488"/>
                </a:lnTo>
                <a:lnTo>
                  <a:pt x="1828" y="487"/>
                </a:lnTo>
                <a:lnTo>
                  <a:pt x="1830" y="487"/>
                </a:lnTo>
                <a:lnTo>
                  <a:pt x="1833" y="485"/>
                </a:lnTo>
                <a:lnTo>
                  <a:pt x="1834" y="485"/>
                </a:lnTo>
                <a:lnTo>
                  <a:pt x="1836" y="487"/>
                </a:lnTo>
                <a:lnTo>
                  <a:pt x="1834" y="492"/>
                </a:lnTo>
                <a:lnTo>
                  <a:pt x="1833" y="497"/>
                </a:lnTo>
                <a:lnTo>
                  <a:pt x="1858" y="490"/>
                </a:lnTo>
                <a:lnTo>
                  <a:pt x="1884" y="482"/>
                </a:lnTo>
                <a:lnTo>
                  <a:pt x="1909" y="473"/>
                </a:lnTo>
                <a:lnTo>
                  <a:pt x="1934" y="464"/>
                </a:lnTo>
                <a:lnTo>
                  <a:pt x="1929" y="463"/>
                </a:lnTo>
                <a:lnTo>
                  <a:pt x="1926" y="463"/>
                </a:lnTo>
                <a:lnTo>
                  <a:pt x="1923" y="463"/>
                </a:lnTo>
                <a:lnTo>
                  <a:pt x="1918" y="465"/>
                </a:lnTo>
                <a:lnTo>
                  <a:pt x="1911" y="468"/>
                </a:lnTo>
                <a:lnTo>
                  <a:pt x="1903" y="471"/>
                </a:lnTo>
                <a:lnTo>
                  <a:pt x="1896" y="473"/>
                </a:lnTo>
                <a:lnTo>
                  <a:pt x="1888" y="476"/>
                </a:lnTo>
                <a:lnTo>
                  <a:pt x="1884" y="476"/>
                </a:lnTo>
                <a:lnTo>
                  <a:pt x="1880" y="476"/>
                </a:lnTo>
                <a:lnTo>
                  <a:pt x="1877" y="475"/>
                </a:lnTo>
                <a:lnTo>
                  <a:pt x="1874" y="474"/>
                </a:lnTo>
                <a:lnTo>
                  <a:pt x="1884" y="472"/>
                </a:lnTo>
                <a:lnTo>
                  <a:pt x="1894" y="467"/>
                </a:lnTo>
                <a:lnTo>
                  <a:pt x="1899" y="467"/>
                </a:lnTo>
                <a:lnTo>
                  <a:pt x="1903" y="465"/>
                </a:lnTo>
                <a:lnTo>
                  <a:pt x="1907" y="464"/>
                </a:lnTo>
                <a:lnTo>
                  <a:pt x="1910" y="460"/>
                </a:lnTo>
                <a:lnTo>
                  <a:pt x="1911" y="456"/>
                </a:lnTo>
                <a:lnTo>
                  <a:pt x="1915" y="452"/>
                </a:lnTo>
                <a:lnTo>
                  <a:pt x="1919" y="450"/>
                </a:lnTo>
                <a:lnTo>
                  <a:pt x="1925" y="448"/>
                </a:lnTo>
                <a:lnTo>
                  <a:pt x="1937" y="447"/>
                </a:lnTo>
                <a:lnTo>
                  <a:pt x="1950" y="444"/>
                </a:lnTo>
                <a:lnTo>
                  <a:pt x="1948" y="440"/>
                </a:lnTo>
                <a:lnTo>
                  <a:pt x="1947" y="437"/>
                </a:lnTo>
                <a:lnTo>
                  <a:pt x="1948" y="435"/>
                </a:lnTo>
                <a:lnTo>
                  <a:pt x="1948" y="434"/>
                </a:lnTo>
                <a:lnTo>
                  <a:pt x="1950" y="434"/>
                </a:lnTo>
                <a:lnTo>
                  <a:pt x="1952" y="433"/>
                </a:lnTo>
                <a:lnTo>
                  <a:pt x="1957" y="433"/>
                </a:lnTo>
                <a:lnTo>
                  <a:pt x="1962" y="432"/>
                </a:lnTo>
                <a:lnTo>
                  <a:pt x="1967" y="430"/>
                </a:lnTo>
                <a:lnTo>
                  <a:pt x="1973" y="430"/>
                </a:lnTo>
                <a:lnTo>
                  <a:pt x="1977" y="431"/>
                </a:lnTo>
                <a:lnTo>
                  <a:pt x="1981" y="431"/>
                </a:lnTo>
                <a:lnTo>
                  <a:pt x="1982" y="427"/>
                </a:lnTo>
                <a:lnTo>
                  <a:pt x="1982" y="424"/>
                </a:lnTo>
                <a:lnTo>
                  <a:pt x="1984" y="421"/>
                </a:lnTo>
                <a:lnTo>
                  <a:pt x="1987" y="417"/>
                </a:lnTo>
                <a:lnTo>
                  <a:pt x="1991" y="416"/>
                </a:lnTo>
                <a:lnTo>
                  <a:pt x="1995" y="415"/>
                </a:lnTo>
                <a:lnTo>
                  <a:pt x="1990" y="415"/>
                </a:lnTo>
                <a:lnTo>
                  <a:pt x="1995" y="415"/>
                </a:lnTo>
                <a:close/>
                <a:moveTo>
                  <a:pt x="1860" y="485"/>
                </a:moveTo>
                <a:lnTo>
                  <a:pt x="1858" y="485"/>
                </a:lnTo>
                <a:lnTo>
                  <a:pt x="1854" y="485"/>
                </a:lnTo>
                <a:lnTo>
                  <a:pt x="1853" y="483"/>
                </a:lnTo>
                <a:lnTo>
                  <a:pt x="1852" y="481"/>
                </a:lnTo>
                <a:lnTo>
                  <a:pt x="1858" y="479"/>
                </a:lnTo>
                <a:lnTo>
                  <a:pt x="1866" y="476"/>
                </a:lnTo>
                <a:lnTo>
                  <a:pt x="1868" y="476"/>
                </a:lnTo>
                <a:lnTo>
                  <a:pt x="1870" y="477"/>
                </a:lnTo>
                <a:lnTo>
                  <a:pt x="1871" y="479"/>
                </a:lnTo>
                <a:lnTo>
                  <a:pt x="1870" y="481"/>
                </a:lnTo>
                <a:lnTo>
                  <a:pt x="1866" y="484"/>
                </a:lnTo>
                <a:lnTo>
                  <a:pt x="1860" y="485"/>
                </a:lnTo>
                <a:lnTo>
                  <a:pt x="1860" y="485"/>
                </a:lnTo>
                <a:lnTo>
                  <a:pt x="1860" y="485"/>
                </a:lnTo>
                <a:close/>
                <a:moveTo>
                  <a:pt x="1967" y="580"/>
                </a:moveTo>
                <a:lnTo>
                  <a:pt x="1970" y="577"/>
                </a:lnTo>
                <a:lnTo>
                  <a:pt x="1974" y="576"/>
                </a:lnTo>
                <a:lnTo>
                  <a:pt x="1977" y="575"/>
                </a:lnTo>
                <a:lnTo>
                  <a:pt x="1981" y="575"/>
                </a:lnTo>
                <a:lnTo>
                  <a:pt x="1984" y="576"/>
                </a:lnTo>
                <a:lnTo>
                  <a:pt x="1986" y="579"/>
                </a:lnTo>
                <a:lnTo>
                  <a:pt x="1991" y="579"/>
                </a:lnTo>
                <a:lnTo>
                  <a:pt x="1997" y="577"/>
                </a:lnTo>
                <a:lnTo>
                  <a:pt x="1990" y="579"/>
                </a:lnTo>
                <a:lnTo>
                  <a:pt x="1984" y="581"/>
                </a:lnTo>
                <a:lnTo>
                  <a:pt x="1978" y="583"/>
                </a:lnTo>
                <a:lnTo>
                  <a:pt x="1973" y="584"/>
                </a:lnTo>
                <a:lnTo>
                  <a:pt x="1960" y="590"/>
                </a:lnTo>
                <a:lnTo>
                  <a:pt x="1948" y="595"/>
                </a:lnTo>
                <a:lnTo>
                  <a:pt x="1949" y="591"/>
                </a:lnTo>
                <a:lnTo>
                  <a:pt x="1950" y="588"/>
                </a:lnTo>
                <a:lnTo>
                  <a:pt x="1952" y="585"/>
                </a:lnTo>
                <a:lnTo>
                  <a:pt x="1954" y="584"/>
                </a:lnTo>
                <a:lnTo>
                  <a:pt x="1961" y="582"/>
                </a:lnTo>
                <a:lnTo>
                  <a:pt x="1967" y="580"/>
                </a:lnTo>
                <a:lnTo>
                  <a:pt x="1967" y="580"/>
                </a:lnTo>
                <a:lnTo>
                  <a:pt x="1967" y="580"/>
                </a:lnTo>
                <a:close/>
                <a:moveTo>
                  <a:pt x="2031" y="514"/>
                </a:moveTo>
                <a:lnTo>
                  <a:pt x="2033" y="514"/>
                </a:lnTo>
                <a:lnTo>
                  <a:pt x="2035" y="515"/>
                </a:lnTo>
                <a:lnTo>
                  <a:pt x="2035" y="516"/>
                </a:lnTo>
                <a:lnTo>
                  <a:pt x="2036" y="518"/>
                </a:lnTo>
                <a:lnTo>
                  <a:pt x="2035" y="520"/>
                </a:lnTo>
                <a:lnTo>
                  <a:pt x="2034" y="521"/>
                </a:lnTo>
                <a:lnTo>
                  <a:pt x="2033" y="522"/>
                </a:lnTo>
                <a:lnTo>
                  <a:pt x="2031" y="522"/>
                </a:lnTo>
                <a:lnTo>
                  <a:pt x="2028" y="522"/>
                </a:lnTo>
                <a:lnTo>
                  <a:pt x="2027" y="521"/>
                </a:lnTo>
                <a:lnTo>
                  <a:pt x="2026" y="520"/>
                </a:lnTo>
                <a:lnTo>
                  <a:pt x="2026" y="517"/>
                </a:lnTo>
                <a:lnTo>
                  <a:pt x="2027" y="515"/>
                </a:lnTo>
                <a:lnTo>
                  <a:pt x="2031" y="514"/>
                </a:lnTo>
                <a:lnTo>
                  <a:pt x="2031" y="514"/>
                </a:lnTo>
                <a:lnTo>
                  <a:pt x="2031" y="514"/>
                </a:lnTo>
                <a:close/>
                <a:moveTo>
                  <a:pt x="1686" y="597"/>
                </a:moveTo>
                <a:lnTo>
                  <a:pt x="1694" y="596"/>
                </a:lnTo>
                <a:lnTo>
                  <a:pt x="1702" y="597"/>
                </a:lnTo>
                <a:lnTo>
                  <a:pt x="1697" y="598"/>
                </a:lnTo>
                <a:lnTo>
                  <a:pt x="1694" y="599"/>
                </a:lnTo>
                <a:lnTo>
                  <a:pt x="1690" y="598"/>
                </a:lnTo>
                <a:lnTo>
                  <a:pt x="1686" y="597"/>
                </a:lnTo>
                <a:close/>
                <a:moveTo>
                  <a:pt x="1705" y="595"/>
                </a:moveTo>
                <a:lnTo>
                  <a:pt x="1711" y="593"/>
                </a:lnTo>
                <a:lnTo>
                  <a:pt x="1714" y="592"/>
                </a:lnTo>
                <a:lnTo>
                  <a:pt x="1718" y="593"/>
                </a:lnTo>
                <a:lnTo>
                  <a:pt x="1721" y="595"/>
                </a:lnTo>
                <a:lnTo>
                  <a:pt x="1714" y="595"/>
                </a:lnTo>
                <a:lnTo>
                  <a:pt x="1705" y="595"/>
                </a:lnTo>
                <a:close/>
                <a:moveTo>
                  <a:pt x="1882" y="599"/>
                </a:moveTo>
                <a:lnTo>
                  <a:pt x="1887" y="599"/>
                </a:lnTo>
                <a:lnTo>
                  <a:pt x="1892" y="600"/>
                </a:lnTo>
                <a:lnTo>
                  <a:pt x="1893" y="603"/>
                </a:lnTo>
                <a:lnTo>
                  <a:pt x="1895" y="604"/>
                </a:lnTo>
                <a:lnTo>
                  <a:pt x="1898" y="605"/>
                </a:lnTo>
                <a:lnTo>
                  <a:pt x="1899" y="607"/>
                </a:lnTo>
                <a:lnTo>
                  <a:pt x="1898" y="609"/>
                </a:lnTo>
                <a:lnTo>
                  <a:pt x="1894" y="612"/>
                </a:lnTo>
                <a:lnTo>
                  <a:pt x="1890" y="613"/>
                </a:lnTo>
                <a:lnTo>
                  <a:pt x="1885" y="614"/>
                </a:lnTo>
                <a:lnTo>
                  <a:pt x="1883" y="615"/>
                </a:lnTo>
                <a:lnTo>
                  <a:pt x="1882" y="616"/>
                </a:lnTo>
                <a:lnTo>
                  <a:pt x="1879" y="620"/>
                </a:lnTo>
                <a:lnTo>
                  <a:pt x="1879" y="623"/>
                </a:lnTo>
                <a:lnTo>
                  <a:pt x="1877" y="625"/>
                </a:lnTo>
                <a:lnTo>
                  <a:pt x="1875" y="625"/>
                </a:lnTo>
                <a:lnTo>
                  <a:pt x="1873" y="625"/>
                </a:lnTo>
                <a:lnTo>
                  <a:pt x="1871" y="624"/>
                </a:lnTo>
                <a:lnTo>
                  <a:pt x="1869" y="620"/>
                </a:lnTo>
                <a:lnTo>
                  <a:pt x="1868" y="614"/>
                </a:lnTo>
                <a:lnTo>
                  <a:pt x="1869" y="609"/>
                </a:lnTo>
                <a:lnTo>
                  <a:pt x="1873" y="605"/>
                </a:lnTo>
                <a:lnTo>
                  <a:pt x="1877" y="600"/>
                </a:lnTo>
                <a:lnTo>
                  <a:pt x="1882" y="599"/>
                </a:lnTo>
                <a:lnTo>
                  <a:pt x="1880" y="599"/>
                </a:lnTo>
                <a:lnTo>
                  <a:pt x="1882" y="599"/>
                </a:lnTo>
                <a:close/>
                <a:moveTo>
                  <a:pt x="1121" y="642"/>
                </a:moveTo>
                <a:lnTo>
                  <a:pt x="1138" y="643"/>
                </a:lnTo>
                <a:lnTo>
                  <a:pt x="1154" y="643"/>
                </a:lnTo>
                <a:lnTo>
                  <a:pt x="1160" y="643"/>
                </a:lnTo>
                <a:lnTo>
                  <a:pt x="1167" y="643"/>
                </a:lnTo>
                <a:lnTo>
                  <a:pt x="1170" y="643"/>
                </a:lnTo>
                <a:lnTo>
                  <a:pt x="1174" y="645"/>
                </a:lnTo>
                <a:lnTo>
                  <a:pt x="1176" y="646"/>
                </a:lnTo>
                <a:lnTo>
                  <a:pt x="1177" y="648"/>
                </a:lnTo>
                <a:lnTo>
                  <a:pt x="1167" y="649"/>
                </a:lnTo>
                <a:lnTo>
                  <a:pt x="1157" y="649"/>
                </a:lnTo>
                <a:lnTo>
                  <a:pt x="1146" y="649"/>
                </a:lnTo>
                <a:lnTo>
                  <a:pt x="1136" y="649"/>
                </a:lnTo>
                <a:lnTo>
                  <a:pt x="1128" y="648"/>
                </a:lnTo>
                <a:lnTo>
                  <a:pt x="1119" y="648"/>
                </a:lnTo>
                <a:lnTo>
                  <a:pt x="1110" y="646"/>
                </a:lnTo>
                <a:lnTo>
                  <a:pt x="1103" y="643"/>
                </a:lnTo>
                <a:lnTo>
                  <a:pt x="1112" y="642"/>
                </a:lnTo>
                <a:lnTo>
                  <a:pt x="1121" y="642"/>
                </a:lnTo>
                <a:lnTo>
                  <a:pt x="1127" y="642"/>
                </a:lnTo>
                <a:lnTo>
                  <a:pt x="1125" y="642"/>
                </a:lnTo>
                <a:lnTo>
                  <a:pt x="1121" y="642"/>
                </a:lnTo>
                <a:lnTo>
                  <a:pt x="1121" y="642"/>
                </a:lnTo>
                <a:close/>
                <a:moveTo>
                  <a:pt x="1068" y="555"/>
                </a:moveTo>
                <a:lnTo>
                  <a:pt x="1067" y="552"/>
                </a:lnTo>
                <a:lnTo>
                  <a:pt x="1066" y="551"/>
                </a:lnTo>
                <a:lnTo>
                  <a:pt x="1068" y="554"/>
                </a:lnTo>
                <a:lnTo>
                  <a:pt x="1070" y="555"/>
                </a:lnTo>
                <a:lnTo>
                  <a:pt x="1075" y="555"/>
                </a:lnTo>
                <a:lnTo>
                  <a:pt x="1079" y="555"/>
                </a:lnTo>
                <a:lnTo>
                  <a:pt x="1077" y="557"/>
                </a:lnTo>
                <a:lnTo>
                  <a:pt x="1075" y="559"/>
                </a:lnTo>
                <a:lnTo>
                  <a:pt x="1072" y="559"/>
                </a:lnTo>
                <a:lnTo>
                  <a:pt x="1070" y="559"/>
                </a:lnTo>
                <a:lnTo>
                  <a:pt x="1066" y="559"/>
                </a:lnTo>
                <a:lnTo>
                  <a:pt x="1060" y="558"/>
                </a:lnTo>
                <a:lnTo>
                  <a:pt x="1063" y="556"/>
                </a:lnTo>
                <a:lnTo>
                  <a:pt x="1068" y="555"/>
                </a:lnTo>
                <a:lnTo>
                  <a:pt x="1067" y="555"/>
                </a:lnTo>
                <a:lnTo>
                  <a:pt x="1068" y="555"/>
                </a:lnTo>
                <a:close/>
                <a:moveTo>
                  <a:pt x="718" y="577"/>
                </a:moveTo>
                <a:lnTo>
                  <a:pt x="731" y="579"/>
                </a:lnTo>
                <a:lnTo>
                  <a:pt x="744" y="581"/>
                </a:lnTo>
                <a:lnTo>
                  <a:pt x="756" y="584"/>
                </a:lnTo>
                <a:lnTo>
                  <a:pt x="769" y="587"/>
                </a:lnTo>
                <a:lnTo>
                  <a:pt x="766" y="589"/>
                </a:lnTo>
                <a:lnTo>
                  <a:pt x="763" y="590"/>
                </a:lnTo>
                <a:lnTo>
                  <a:pt x="759" y="590"/>
                </a:lnTo>
                <a:lnTo>
                  <a:pt x="755" y="590"/>
                </a:lnTo>
                <a:lnTo>
                  <a:pt x="747" y="588"/>
                </a:lnTo>
                <a:lnTo>
                  <a:pt x="740" y="585"/>
                </a:lnTo>
                <a:lnTo>
                  <a:pt x="731" y="584"/>
                </a:lnTo>
                <a:lnTo>
                  <a:pt x="723" y="583"/>
                </a:lnTo>
                <a:lnTo>
                  <a:pt x="718" y="579"/>
                </a:lnTo>
                <a:lnTo>
                  <a:pt x="713" y="574"/>
                </a:lnTo>
                <a:lnTo>
                  <a:pt x="716" y="575"/>
                </a:lnTo>
                <a:lnTo>
                  <a:pt x="718" y="577"/>
                </a:lnTo>
                <a:lnTo>
                  <a:pt x="725" y="577"/>
                </a:lnTo>
                <a:lnTo>
                  <a:pt x="724" y="577"/>
                </a:lnTo>
                <a:lnTo>
                  <a:pt x="721" y="577"/>
                </a:lnTo>
                <a:lnTo>
                  <a:pt x="718" y="577"/>
                </a:lnTo>
                <a:close/>
                <a:moveTo>
                  <a:pt x="1061" y="508"/>
                </a:moveTo>
                <a:lnTo>
                  <a:pt x="1063" y="509"/>
                </a:lnTo>
                <a:lnTo>
                  <a:pt x="1064" y="509"/>
                </a:lnTo>
                <a:lnTo>
                  <a:pt x="1066" y="510"/>
                </a:lnTo>
                <a:lnTo>
                  <a:pt x="1066" y="513"/>
                </a:lnTo>
                <a:lnTo>
                  <a:pt x="1064" y="514"/>
                </a:lnTo>
                <a:lnTo>
                  <a:pt x="1063" y="514"/>
                </a:lnTo>
                <a:lnTo>
                  <a:pt x="1062" y="515"/>
                </a:lnTo>
                <a:lnTo>
                  <a:pt x="1059" y="515"/>
                </a:lnTo>
                <a:lnTo>
                  <a:pt x="1058" y="514"/>
                </a:lnTo>
                <a:lnTo>
                  <a:pt x="1055" y="514"/>
                </a:lnTo>
                <a:lnTo>
                  <a:pt x="1054" y="512"/>
                </a:lnTo>
                <a:lnTo>
                  <a:pt x="1054" y="510"/>
                </a:lnTo>
                <a:lnTo>
                  <a:pt x="1055" y="508"/>
                </a:lnTo>
                <a:lnTo>
                  <a:pt x="1056" y="508"/>
                </a:lnTo>
                <a:lnTo>
                  <a:pt x="1059" y="508"/>
                </a:lnTo>
                <a:lnTo>
                  <a:pt x="1061" y="508"/>
                </a:lnTo>
                <a:lnTo>
                  <a:pt x="1061" y="508"/>
                </a:lnTo>
                <a:lnTo>
                  <a:pt x="1061" y="508"/>
                </a:lnTo>
                <a:close/>
                <a:moveTo>
                  <a:pt x="1044" y="506"/>
                </a:moveTo>
                <a:lnTo>
                  <a:pt x="1047" y="507"/>
                </a:lnTo>
                <a:lnTo>
                  <a:pt x="1049" y="509"/>
                </a:lnTo>
                <a:lnTo>
                  <a:pt x="1049" y="510"/>
                </a:lnTo>
                <a:lnTo>
                  <a:pt x="1047" y="510"/>
                </a:lnTo>
                <a:lnTo>
                  <a:pt x="1046" y="512"/>
                </a:lnTo>
                <a:lnTo>
                  <a:pt x="1044" y="512"/>
                </a:lnTo>
                <a:lnTo>
                  <a:pt x="1041" y="510"/>
                </a:lnTo>
                <a:lnTo>
                  <a:pt x="1039" y="508"/>
                </a:lnTo>
                <a:lnTo>
                  <a:pt x="1039" y="507"/>
                </a:lnTo>
                <a:lnTo>
                  <a:pt x="1041" y="506"/>
                </a:lnTo>
                <a:lnTo>
                  <a:pt x="1042" y="506"/>
                </a:lnTo>
                <a:lnTo>
                  <a:pt x="1044" y="506"/>
                </a:lnTo>
                <a:lnTo>
                  <a:pt x="1044" y="506"/>
                </a:lnTo>
                <a:lnTo>
                  <a:pt x="1044" y="506"/>
                </a:lnTo>
                <a:close/>
                <a:moveTo>
                  <a:pt x="1791" y="450"/>
                </a:moveTo>
                <a:lnTo>
                  <a:pt x="1791" y="448"/>
                </a:lnTo>
                <a:lnTo>
                  <a:pt x="1793" y="446"/>
                </a:lnTo>
                <a:lnTo>
                  <a:pt x="1795" y="444"/>
                </a:lnTo>
                <a:lnTo>
                  <a:pt x="1799" y="443"/>
                </a:lnTo>
                <a:lnTo>
                  <a:pt x="1805" y="442"/>
                </a:lnTo>
                <a:lnTo>
                  <a:pt x="1811" y="441"/>
                </a:lnTo>
                <a:lnTo>
                  <a:pt x="1825" y="437"/>
                </a:lnTo>
                <a:lnTo>
                  <a:pt x="1840" y="433"/>
                </a:lnTo>
                <a:lnTo>
                  <a:pt x="1838" y="438"/>
                </a:lnTo>
                <a:lnTo>
                  <a:pt x="1837" y="441"/>
                </a:lnTo>
                <a:lnTo>
                  <a:pt x="1835" y="444"/>
                </a:lnTo>
                <a:lnTo>
                  <a:pt x="1832" y="448"/>
                </a:lnTo>
                <a:lnTo>
                  <a:pt x="1827" y="448"/>
                </a:lnTo>
                <a:lnTo>
                  <a:pt x="1824" y="448"/>
                </a:lnTo>
                <a:lnTo>
                  <a:pt x="1820" y="447"/>
                </a:lnTo>
                <a:lnTo>
                  <a:pt x="1817" y="446"/>
                </a:lnTo>
                <a:lnTo>
                  <a:pt x="1809" y="446"/>
                </a:lnTo>
                <a:lnTo>
                  <a:pt x="1801" y="448"/>
                </a:lnTo>
                <a:lnTo>
                  <a:pt x="1795" y="449"/>
                </a:lnTo>
                <a:lnTo>
                  <a:pt x="1791" y="450"/>
                </a:lnTo>
                <a:lnTo>
                  <a:pt x="1785" y="454"/>
                </a:lnTo>
                <a:lnTo>
                  <a:pt x="1780" y="456"/>
                </a:lnTo>
                <a:lnTo>
                  <a:pt x="1785" y="454"/>
                </a:lnTo>
                <a:lnTo>
                  <a:pt x="1791" y="450"/>
                </a:lnTo>
                <a:lnTo>
                  <a:pt x="1789" y="450"/>
                </a:lnTo>
                <a:lnTo>
                  <a:pt x="1791" y="450"/>
                </a:lnTo>
                <a:close/>
                <a:moveTo>
                  <a:pt x="1767" y="455"/>
                </a:moveTo>
                <a:lnTo>
                  <a:pt x="1763" y="458"/>
                </a:lnTo>
                <a:lnTo>
                  <a:pt x="1760" y="459"/>
                </a:lnTo>
                <a:lnTo>
                  <a:pt x="1758" y="460"/>
                </a:lnTo>
                <a:lnTo>
                  <a:pt x="1756" y="459"/>
                </a:lnTo>
                <a:lnTo>
                  <a:pt x="1754" y="458"/>
                </a:lnTo>
                <a:lnTo>
                  <a:pt x="1752" y="457"/>
                </a:lnTo>
                <a:lnTo>
                  <a:pt x="1759" y="455"/>
                </a:lnTo>
                <a:lnTo>
                  <a:pt x="1767" y="455"/>
                </a:lnTo>
                <a:close/>
                <a:moveTo>
                  <a:pt x="802" y="419"/>
                </a:moveTo>
                <a:lnTo>
                  <a:pt x="805" y="418"/>
                </a:lnTo>
                <a:lnTo>
                  <a:pt x="807" y="418"/>
                </a:lnTo>
                <a:lnTo>
                  <a:pt x="811" y="419"/>
                </a:lnTo>
                <a:lnTo>
                  <a:pt x="814" y="419"/>
                </a:lnTo>
                <a:lnTo>
                  <a:pt x="811" y="423"/>
                </a:lnTo>
                <a:lnTo>
                  <a:pt x="806" y="425"/>
                </a:lnTo>
                <a:lnTo>
                  <a:pt x="804" y="424"/>
                </a:lnTo>
                <a:lnTo>
                  <a:pt x="802" y="423"/>
                </a:lnTo>
                <a:lnTo>
                  <a:pt x="800" y="422"/>
                </a:lnTo>
                <a:lnTo>
                  <a:pt x="802" y="419"/>
                </a:lnTo>
                <a:lnTo>
                  <a:pt x="803" y="418"/>
                </a:lnTo>
                <a:lnTo>
                  <a:pt x="802" y="419"/>
                </a:lnTo>
                <a:close/>
                <a:moveTo>
                  <a:pt x="755" y="407"/>
                </a:moveTo>
                <a:lnTo>
                  <a:pt x="756" y="405"/>
                </a:lnTo>
                <a:lnTo>
                  <a:pt x="757" y="404"/>
                </a:lnTo>
                <a:lnTo>
                  <a:pt x="761" y="405"/>
                </a:lnTo>
                <a:lnTo>
                  <a:pt x="763" y="405"/>
                </a:lnTo>
                <a:lnTo>
                  <a:pt x="769" y="408"/>
                </a:lnTo>
                <a:lnTo>
                  <a:pt x="772" y="409"/>
                </a:lnTo>
                <a:lnTo>
                  <a:pt x="777" y="410"/>
                </a:lnTo>
                <a:lnTo>
                  <a:pt x="781" y="410"/>
                </a:lnTo>
                <a:lnTo>
                  <a:pt x="786" y="410"/>
                </a:lnTo>
                <a:lnTo>
                  <a:pt x="790" y="413"/>
                </a:lnTo>
                <a:lnTo>
                  <a:pt x="791" y="415"/>
                </a:lnTo>
                <a:lnTo>
                  <a:pt x="791" y="417"/>
                </a:lnTo>
                <a:lnTo>
                  <a:pt x="789" y="417"/>
                </a:lnTo>
                <a:lnTo>
                  <a:pt x="786" y="417"/>
                </a:lnTo>
                <a:lnTo>
                  <a:pt x="779" y="417"/>
                </a:lnTo>
                <a:lnTo>
                  <a:pt x="774" y="416"/>
                </a:lnTo>
                <a:lnTo>
                  <a:pt x="769" y="415"/>
                </a:lnTo>
                <a:lnTo>
                  <a:pt x="762" y="414"/>
                </a:lnTo>
                <a:lnTo>
                  <a:pt x="759" y="413"/>
                </a:lnTo>
                <a:lnTo>
                  <a:pt x="756" y="410"/>
                </a:lnTo>
                <a:lnTo>
                  <a:pt x="755" y="409"/>
                </a:lnTo>
                <a:lnTo>
                  <a:pt x="755" y="407"/>
                </a:lnTo>
                <a:lnTo>
                  <a:pt x="755" y="407"/>
                </a:lnTo>
                <a:lnTo>
                  <a:pt x="755" y="407"/>
                </a:lnTo>
                <a:close/>
                <a:moveTo>
                  <a:pt x="720" y="447"/>
                </a:moveTo>
                <a:lnTo>
                  <a:pt x="716" y="447"/>
                </a:lnTo>
                <a:lnTo>
                  <a:pt x="712" y="447"/>
                </a:lnTo>
                <a:lnTo>
                  <a:pt x="716" y="447"/>
                </a:lnTo>
                <a:lnTo>
                  <a:pt x="720" y="447"/>
                </a:lnTo>
                <a:lnTo>
                  <a:pt x="718" y="447"/>
                </a:lnTo>
                <a:lnTo>
                  <a:pt x="720" y="447"/>
                </a:lnTo>
                <a:close/>
                <a:moveTo>
                  <a:pt x="697" y="393"/>
                </a:moveTo>
                <a:lnTo>
                  <a:pt x="708" y="397"/>
                </a:lnTo>
                <a:lnTo>
                  <a:pt x="720" y="398"/>
                </a:lnTo>
                <a:lnTo>
                  <a:pt x="723" y="399"/>
                </a:lnTo>
                <a:lnTo>
                  <a:pt x="728" y="399"/>
                </a:lnTo>
                <a:lnTo>
                  <a:pt x="732" y="400"/>
                </a:lnTo>
                <a:lnTo>
                  <a:pt x="736" y="402"/>
                </a:lnTo>
                <a:lnTo>
                  <a:pt x="737" y="404"/>
                </a:lnTo>
                <a:lnTo>
                  <a:pt x="737" y="406"/>
                </a:lnTo>
                <a:lnTo>
                  <a:pt x="737" y="406"/>
                </a:lnTo>
                <a:lnTo>
                  <a:pt x="736" y="407"/>
                </a:lnTo>
                <a:lnTo>
                  <a:pt x="733" y="408"/>
                </a:lnTo>
                <a:lnTo>
                  <a:pt x="730" y="408"/>
                </a:lnTo>
                <a:lnTo>
                  <a:pt x="721" y="405"/>
                </a:lnTo>
                <a:lnTo>
                  <a:pt x="711" y="402"/>
                </a:lnTo>
                <a:lnTo>
                  <a:pt x="700" y="400"/>
                </a:lnTo>
                <a:lnTo>
                  <a:pt x="689" y="398"/>
                </a:lnTo>
                <a:lnTo>
                  <a:pt x="677" y="397"/>
                </a:lnTo>
                <a:lnTo>
                  <a:pt x="667" y="393"/>
                </a:lnTo>
                <a:lnTo>
                  <a:pt x="665" y="391"/>
                </a:lnTo>
                <a:lnTo>
                  <a:pt x="664" y="390"/>
                </a:lnTo>
                <a:lnTo>
                  <a:pt x="665" y="388"/>
                </a:lnTo>
                <a:lnTo>
                  <a:pt x="666" y="386"/>
                </a:lnTo>
                <a:lnTo>
                  <a:pt x="672" y="386"/>
                </a:lnTo>
                <a:lnTo>
                  <a:pt x="677" y="388"/>
                </a:lnTo>
                <a:lnTo>
                  <a:pt x="687" y="390"/>
                </a:lnTo>
                <a:lnTo>
                  <a:pt x="697" y="393"/>
                </a:lnTo>
                <a:lnTo>
                  <a:pt x="699" y="394"/>
                </a:lnTo>
                <a:lnTo>
                  <a:pt x="699" y="394"/>
                </a:lnTo>
                <a:lnTo>
                  <a:pt x="698" y="393"/>
                </a:lnTo>
                <a:lnTo>
                  <a:pt x="697" y="393"/>
                </a:lnTo>
                <a:lnTo>
                  <a:pt x="695" y="393"/>
                </a:lnTo>
                <a:lnTo>
                  <a:pt x="693" y="392"/>
                </a:lnTo>
                <a:lnTo>
                  <a:pt x="693" y="392"/>
                </a:lnTo>
                <a:lnTo>
                  <a:pt x="697" y="393"/>
                </a:lnTo>
                <a:close/>
                <a:moveTo>
                  <a:pt x="1796" y="335"/>
                </a:moveTo>
                <a:lnTo>
                  <a:pt x="1802" y="333"/>
                </a:lnTo>
                <a:lnTo>
                  <a:pt x="1809" y="330"/>
                </a:lnTo>
                <a:lnTo>
                  <a:pt x="1812" y="328"/>
                </a:lnTo>
                <a:lnTo>
                  <a:pt x="1816" y="328"/>
                </a:lnTo>
                <a:lnTo>
                  <a:pt x="1819" y="328"/>
                </a:lnTo>
                <a:lnTo>
                  <a:pt x="1821" y="328"/>
                </a:lnTo>
                <a:lnTo>
                  <a:pt x="1825" y="331"/>
                </a:lnTo>
                <a:lnTo>
                  <a:pt x="1825" y="332"/>
                </a:lnTo>
                <a:lnTo>
                  <a:pt x="1824" y="333"/>
                </a:lnTo>
                <a:lnTo>
                  <a:pt x="1820" y="335"/>
                </a:lnTo>
                <a:lnTo>
                  <a:pt x="1813" y="336"/>
                </a:lnTo>
                <a:lnTo>
                  <a:pt x="1810" y="338"/>
                </a:lnTo>
                <a:lnTo>
                  <a:pt x="1794" y="343"/>
                </a:lnTo>
                <a:lnTo>
                  <a:pt x="1778" y="347"/>
                </a:lnTo>
                <a:lnTo>
                  <a:pt x="1770" y="349"/>
                </a:lnTo>
                <a:lnTo>
                  <a:pt x="1762" y="350"/>
                </a:lnTo>
                <a:lnTo>
                  <a:pt x="1758" y="351"/>
                </a:lnTo>
                <a:lnTo>
                  <a:pt x="1753" y="351"/>
                </a:lnTo>
                <a:lnTo>
                  <a:pt x="1750" y="354"/>
                </a:lnTo>
                <a:lnTo>
                  <a:pt x="1747" y="355"/>
                </a:lnTo>
                <a:lnTo>
                  <a:pt x="1748" y="354"/>
                </a:lnTo>
                <a:lnTo>
                  <a:pt x="1750" y="351"/>
                </a:lnTo>
                <a:lnTo>
                  <a:pt x="1748" y="349"/>
                </a:lnTo>
                <a:lnTo>
                  <a:pt x="1745" y="348"/>
                </a:lnTo>
                <a:lnTo>
                  <a:pt x="1758" y="344"/>
                </a:lnTo>
                <a:lnTo>
                  <a:pt x="1771" y="341"/>
                </a:lnTo>
                <a:lnTo>
                  <a:pt x="1784" y="338"/>
                </a:lnTo>
                <a:lnTo>
                  <a:pt x="1796" y="335"/>
                </a:lnTo>
                <a:lnTo>
                  <a:pt x="1797" y="335"/>
                </a:lnTo>
                <a:lnTo>
                  <a:pt x="1793" y="336"/>
                </a:lnTo>
                <a:lnTo>
                  <a:pt x="1791" y="336"/>
                </a:lnTo>
                <a:lnTo>
                  <a:pt x="1796" y="335"/>
                </a:lnTo>
                <a:close/>
                <a:moveTo>
                  <a:pt x="1619" y="366"/>
                </a:moveTo>
                <a:lnTo>
                  <a:pt x="1623" y="365"/>
                </a:lnTo>
                <a:lnTo>
                  <a:pt x="1629" y="363"/>
                </a:lnTo>
                <a:lnTo>
                  <a:pt x="1630" y="361"/>
                </a:lnTo>
                <a:lnTo>
                  <a:pt x="1630" y="360"/>
                </a:lnTo>
                <a:lnTo>
                  <a:pt x="1634" y="360"/>
                </a:lnTo>
                <a:lnTo>
                  <a:pt x="1638" y="360"/>
                </a:lnTo>
                <a:lnTo>
                  <a:pt x="1643" y="361"/>
                </a:lnTo>
                <a:lnTo>
                  <a:pt x="1648" y="363"/>
                </a:lnTo>
                <a:lnTo>
                  <a:pt x="1651" y="364"/>
                </a:lnTo>
                <a:lnTo>
                  <a:pt x="1653" y="365"/>
                </a:lnTo>
                <a:lnTo>
                  <a:pt x="1653" y="367"/>
                </a:lnTo>
                <a:lnTo>
                  <a:pt x="1651" y="371"/>
                </a:lnTo>
                <a:lnTo>
                  <a:pt x="1646" y="373"/>
                </a:lnTo>
                <a:lnTo>
                  <a:pt x="1640" y="374"/>
                </a:lnTo>
                <a:lnTo>
                  <a:pt x="1634" y="374"/>
                </a:lnTo>
                <a:lnTo>
                  <a:pt x="1628" y="375"/>
                </a:lnTo>
                <a:lnTo>
                  <a:pt x="1623" y="375"/>
                </a:lnTo>
                <a:lnTo>
                  <a:pt x="1620" y="375"/>
                </a:lnTo>
                <a:lnTo>
                  <a:pt x="1618" y="375"/>
                </a:lnTo>
                <a:lnTo>
                  <a:pt x="1614" y="375"/>
                </a:lnTo>
                <a:lnTo>
                  <a:pt x="1612" y="376"/>
                </a:lnTo>
                <a:lnTo>
                  <a:pt x="1610" y="377"/>
                </a:lnTo>
                <a:lnTo>
                  <a:pt x="1607" y="379"/>
                </a:lnTo>
                <a:lnTo>
                  <a:pt x="1604" y="377"/>
                </a:lnTo>
                <a:lnTo>
                  <a:pt x="1611" y="372"/>
                </a:lnTo>
                <a:lnTo>
                  <a:pt x="1619" y="366"/>
                </a:lnTo>
                <a:lnTo>
                  <a:pt x="1618" y="368"/>
                </a:lnTo>
                <a:lnTo>
                  <a:pt x="1619" y="366"/>
                </a:lnTo>
                <a:close/>
                <a:moveTo>
                  <a:pt x="1372" y="385"/>
                </a:moveTo>
                <a:lnTo>
                  <a:pt x="1366" y="386"/>
                </a:lnTo>
                <a:lnTo>
                  <a:pt x="1359" y="385"/>
                </a:lnTo>
                <a:lnTo>
                  <a:pt x="1366" y="384"/>
                </a:lnTo>
                <a:lnTo>
                  <a:pt x="1372" y="385"/>
                </a:lnTo>
                <a:close/>
                <a:moveTo>
                  <a:pt x="1267" y="381"/>
                </a:moveTo>
                <a:lnTo>
                  <a:pt x="1259" y="381"/>
                </a:lnTo>
                <a:lnTo>
                  <a:pt x="1253" y="380"/>
                </a:lnTo>
                <a:lnTo>
                  <a:pt x="1257" y="379"/>
                </a:lnTo>
                <a:lnTo>
                  <a:pt x="1260" y="377"/>
                </a:lnTo>
                <a:lnTo>
                  <a:pt x="1264" y="379"/>
                </a:lnTo>
                <a:lnTo>
                  <a:pt x="1267" y="381"/>
                </a:lnTo>
                <a:close/>
                <a:moveTo>
                  <a:pt x="970" y="322"/>
                </a:moveTo>
                <a:lnTo>
                  <a:pt x="973" y="325"/>
                </a:lnTo>
                <a:lnTo>
                  <a:pt x="978" y="327"/>
                </a:lnTo>
                <a:lnTo>
                  <a:pt x="981" y="328"/>
                </a:lnTo>
                <a:lnTo>
                  <a:pt x="986" y="330"/>
                </a:lnTo>
                <a:lnTo>
                  <a:pt x="996" y="330"/>
                </a:lnTo>
                <a:lnTo>
                  <a:pt x="1004" y="331"/>
                </a:lnTo>
                <a:lnTo>
                  <a:pt x="1013" y="333"/>
                </a:lnTo>
                <a:lnTo>
                  <a:pt x="1022" y="335"/>
                </a:lnTo>
                <a:lnTo>
                  <a:pt x="1033" y="338"/>
                </a:lnTo>
                <a:lnTo>
                  <a:pt x="1042" y="340"/>
                </a:lnTo>
                <a:lnTo>
                  <a:pt x="1051" y="342"/>
                </a:lnTo>
                <a:lnTo>
                  <a:pt x="1060" y="343"/>
                </a:lnTo>
                <a:lnTo>
                  <a:pt x="1069" y="344"/>
                </a:lnTo>
                <a:lnTo>
                  <a:pt x="1078" y="346"/>
                </a:lnTo>
                <a:lnTo>
                  <a:pt x="1085" y="347"/>
                </a:lnTo>
                <a:lnTo>
                  <a:pt x="1094" y="347"/>
                </a:lnTo>
                <a:lnTo>
                  <a:pt x="1097" y="348"/>
                </a:lnTo>
                <a:lnTo>
                  <a:pt x="1102" y="349"/>
                </a:lnTo>
                <a:lnTo>
                  <a:pt x="1104" y="351"/>
                </a:lnTo>
                <a:lnTo>
                  <a:pt x="1105" y="354"/>
                </a:lnTo>
                <a:lnTo>
                  <a:pt x="1101" y="355"/>
                </a:lnTo>
                <a:lnTo>
                  <a:pt x="1097" y="355"/>
                </a:lnTo>
                <a:lnTo>
                  <a:pt x="1093" y="354"/>
                </a:lnTo>
                <a:lnTo>
                  <a:pt x="1088" y="352"/>
                </a:lnTo>
                <a:lnTo>
                  <a:pt x="1078" y="351"/>
                </a:lnTo>
                <a:lnTo>
                  <a:pt x="1069" y="351"/>
                </a:lnTo>
                <a:lnTo>
                  <a:pt x="1059" y="351"/>
                </a:lnTo>
                <a:lnTo>
                  <a:pt x="1050" y="349"/>
                </a:lnTo>
                <a:lnTo>
                  <a:pt x="1039" y="347"/>
                </a:lnTo>
                <a:lnTo>
                  <a:pt x="1030" y="346"/>
                </a:lnTo>
                <a:lnTo>
                  <a:pt x="1020" y="343"/>
                </a:lnTo>
                <a:lnTo>
                  <a:pt x="1011" y="342"/>
                </a:lnTo>
                <a:lnTo>
                  <a:pt x="1002" y="340"/>
                </a:lnTo>
                <a:lnTo>
                  <a:pt x="993" y="338"/>
                </a:lnTo>
                <a:lnTo>
                  <a:pt x="986" y="335"/>
                </a:lnTo>
                <a:lnTo>
                  <a:pt x="977" y="332"/>
                </a:lnTo>
                <a:lnTo>
                  <a:pt x="972" y="330"/>
                </a:lnTo>
                <a:lnTo>
                  <a:pt x="969" y="327"/>
                </a:lnTo>
                <a:lnTo>
                  <a:pt x="969" y="326"/>
                </a:lnTo>
                <a:lnTo>
                  <a:pt x="969" y="325"/>
                </a:lnTo>
                <a:lnTo>
                  <a:pt x="969" y="324"/>
                </a:lnTo>
                <a:lnTo>
                  <a:pt x="970" y="322"/>
                </a:lnTo>
                <a:lnTo>
                  <a:pt x="970" y="325"/>
                </a:lnTo>
                <a:lnTo>
                  <a:pt x="970" y="322"/>
                </a:lnTo>
                <a:close/>
                <a:moveTo>
                  <a:pt x="624" y="297"/>
                </a:moveTo>
                <a:lnTo>
                  <a:pt x="626" y="297"/>
                </a:lnTo>
                <a:lnTo>
                  <a:pt x="629" y="298"/>
                </a:lnTo>
                <a:lnTo>
                  <a:pt x="626" y="297"/>
                </a:lnTo>
                <a:lnTo>
                  <a:pt x="623" y="297"/>
                </a:lnTo>
                <a:lnTo>
                  <a:pt x="619" y="298"/>
                </a:lnTo>
                <a:lnTo>
                  <a:pt x="618" y="300"/>
                </a:lnTo>
                <a:lnTo>
                  <a:pt x="621" y="298"/>
                </a:lnTo>
                <a:lnTo>
                  <a:pt x="624" y="297"/>
                </a:lnTo>
                <a:lnTo>
                  <a:pt x="624" y="297"/>
                </a:lnTo>
                <a:lnTo>
                  <a:pt x="624" y="297"/>
                </a:lnTo>
                <a:close/>
                <a:moveTo>
                  <a:pt x="584" y="288"/>
                </a:moveTo>
                <a:lnTo>
                  <a:pt x="590" y="286"/>
                </a:lnTo>
                <a:lnTo>
                  <a:pt x="597" y="289"/>
                </a:lnTo>
                <a:lnTo>
                  <a:pt x="594" y="290"/>
                </a:lnTo>
                <a:lnTo>
                  <a:pt x="592" y="291"/>
                </a:lnTo>
                <a:lnTo>
                  <a:pt x="590" y="292"/>
                </a:lnTo>
                <a:lnTo>
                  <a:pt x="588" y="292"/>
                </a:lnTo>
                <a:lnTo>
                  <a:pt x="586" y="291"/>
                </a:lnTo>
                <a:lnTo>
                  <a:pt x="585" y="290"/>
                </a:lnTo>
                <a:lnTo>
                  <a:pt x="584" y="289"/>
                </a:lnTo>
                <a:lnTo>
                  <a:pt x="584" y="288"/>
                </a:lnTo>
                <a:lnTo>
                  <a:pt x="585" y="286"/>
                </a:lnTo>
                <a:lnTo>
                  <a:pt x="584" y="288"/>
                </a:lnTo>
                <a:close/>
                <a:moveTo>
                  <a:pt x="173" y="27"/>
                </a:moveTo>
                <a:lnTo>
                  <a:pt x="177" y="28"/>
                </a:lnTo>
                <a:lnTo>
                  <a:pt x="178" y="31"/>
                </a:lnTo>
                <a:lnTo>
                  <a:pt x="179" y="32"/>
                </a:lnTo>
                <a:lnTo>
                  <a:pt x="179" y="34"/>
                </a:lnTo>
                <a:lnTo>
                  <a:pt x="178" y="35"/>
                </a:lnTo>
                <a:lnTo>
                  <a:pt x="177" y="36"/>
                </a:lnTo>
                <a:lnTo>
                  <a:pt x="174" y="37"/>
                </a:lnTo>
                <a:lnTo>
                  <a:pt x="171" y="36"/>
                </a:lnTo>
                <a:lnTo>
                  <a:pt x="168" y="34"/>
                </a:lnTo>
                <a:lnTo>
                  <a:pt x="165" y="31"/>
                </a:lnTo>
                <a:lnTo>
                  <a:pt x="164" y="29"/>
                </a:lnTo>
                <a:lnTo>
                  <a:pt x="164" y="28"/>
                </a:lnTo>
                <a:lnTo>
                  <a:pt x="165" y="27"/>
                </a:lnTo>
                <a:lnTo>
                  <a:pt x="166" y="26"/>
                </a:lnTo>
                <a:lnTo>
                  <a:pt x="170" y="26"/>
                </a:lnTo>
                <a:lnTo>
                  <a:pt x="173" y="27"/>
                </a:lnTo>
                <a:lnTo>
                  <a:pt x="174" y="27"/>
                </a:lnTo>
                <a:lnTo>
                  <a:pt x="173" y="27"/>
                </a:lnTo>
                <a:close/>
                <a:moveTo>
                  <a:pt x="174" y="58"/>
                </a:moveTo>
                <a:lnTo>
                  <a:pt x="170" y="56"/>
                </a:lnTo>
                <a:lnTo>
                  <a:pt x="165" y="52"/>
                </a:lnTo>
                <a:lnTo>
                  <a:pt x="165" y="50"/>
                </a:lnTo>
                <a:lnTo>
                  <a:pt x="165" y="49"/>
                </a:lnTo>
                <a:lnTo>
                  <a:pt x="168" y="48"/>
                </a:lnTo>
                <a:lnTo>
                  <a:pt x="170" y="48"/>
                </a:lnTo>
                <a:lnTo>
                  <a:pt x="173" y="47"/>
                </a:lnTo>
                <a:lnTo>
                  <a:pt x="176" y="48"/>
                </a:lnTo>
                <a:lnTo>
                  <a:pt x="180" y="50"/>
                </a:lnTo>
                <a:lnTo>
                  <a:pt x="184" y="53"/>
                </a:lnTo>
                <a:lnTo>
                  <a:pt x="184" y="56"/>
                </a:lnTo>
                <a:lnTo>
                  <a:pt x="184" y="57"/>
                </a:lnTo>
                <a:lnTo>
                  <a:pt x="182" y="58"/>
                </a:lnTo>
                <a:lnTo>
                  <a:pt x="180" y="59"/>
                </a:lnTo>
                <a:lnTo>
                  <a:pt x="177" y="59"/>
                </a:lnTo>
                <a:lnTo>
                  <a:pt x="174" y="58"/>
                </a:lnTo>
                <a:lnTo>
                  <a:pt x="174" y="58"/>
                </a:lnTo>
                <a:lnTo>
                  <a:pt x="174" y="58"/>
                </a:lnTo>
                <a:close/>
                <a:moveTo>
                  <a:pt x="225" y="180"/>
                </a:moveTo>
                <a:lnTo>
                  <a:pt x="219" y="177"/>
                </a:lnTo>
                <a:lnTo>
                  <a:pt x="212" y="176"/>
                </a:lnTo>
                <a:lnTo>
                  <a:pt x="205" y="175"/>
                </a:lnTo>
                <a:lnTo>
                  <a:pt x="199" y="173"/>
                </a:lnTo>
                <a:lnTo>
                  <a:pt x="193" y="169"/>
                </a:lnTo>
                <a:lnTo>
                  <a:pt x="187" y="166"/>
                </a:lnTo>
                <a:lnTo>
                  <a:pt x="181" y="161"/>
                </a:lnTo>
                <a:lnTo>
                  <a:pt x="176" y="157"/>
                </a:lnTo>
                <a:lnTo>
                  <a:pt x="185" y="159"/>
                </a:lnTo>
                <a:lnTo>
                  <a:pt x="194" y="162"/>
                </a:lnTo>
                <a:lnTo>
                  <a:pt x="203" y="165"/>
                </a:lnTo>
                <a:lnTo>
                  <a:pt x="212" y="168"/>
                </a:lnTo>
                <a:lnTo>
                  <a:pt x="221" y="172"/>
                </a:lnTo>
                <a:lnTo>
                  <a:pt x="229" y="176"/>
                </a:lnTo>
                <a:lnTo>
                  <a:pt x="230" y="177"/>
                </a:lnTo>
                <a:lnTo>
                  <a:pt x="231" y="178"/>
                </a:lnTo>
                <a:lnTo>
                  <a:pt x="231" y="180"/>
                </a:lnTo>
                <a:lnTo>
                  <a:pt x="230" y="181"/>
                </a:lnTo>
                <a:lnTo>
                  <a:pt x="227" y="182"/>
                </a:lnTo>
                <a:lnTo>
                  <a:pt x="225" y="180"/>
                </a:lnTo>
                <a:lnTo>
                  <a:pt x="225" y="181"/>
                </a:lnTo>
                <a:lnTo>
                  <a:pt x="225" y="180"/>
                </a:lnTo>
                <a:close/>
                <a:moveTo>
                  <a:pt x="280" y="205"/>
                </a:moveTo>
                <a:lnTo>
                  <a:pt x="276" y="199"/>
                </a:lnTo>
                <a:lnTo>
                  <a:pt x="273" y="193"/>
                </a:lnTo>
                <a:lnTo>
                  <a:pt x="271" y="192"/>
                </a:lnTo>
                <a:lnTo>
                  <a:pt x="271" y="190"/>
                </a:lnTo>
                <a:lnTo>
                  <a:pt x="272" y="188"/>
                </a:lnTo>
                <a:lnTo>
                  <a:pt x="275" y="188"/>
                </a:lnTo>
                <a:lnTo>
                  <a:pt x="277" y="188"/>
                </a:lnTo>
                <a:lnTo>
                  <a:pt x="279" y="189"/>
                </a:lnTo>
                <a:lnTo>
                  <a:pt x="289" y="192"/>
                </a:lnTo>
                <a:lnTo>
                  <a:pt x="297" y="197"/>
                </a:lnTo>
                <a:lnTo>
                  <a:pt x="297" y="200"/>
                </a:lnTo>
                <a:lnTo>
                  <a:pt x="297" y="203"/>
                </a:lnTo>
                <a:lnTo>
                  <a:pt x="299" y="207"/>
                </a:lnTo>
                <a:lnTo>
                  <a:pt x="302" y="209"/>
                </a:lnTo>
                <a:lnTo>
                  <a:pt x="296" y="209"/>
                </a:lnTo>
                <a:lnTo>
                  <a:pt x="291" y="208"/>
                </a:lnTo>
                <a:lnTo>
                  <a:pt x="285" y="207"/>
                </a:lnTo>
                <a:lnTo>
                  <a:pt x="280" y="205"/>
                </a:lnTo>
                <a:lnTo>
                  <a:pt x="280" y="205"/>
                </a:lnTo>
                <a:lnTo>
                  <a:pt x="280" y="205"/>
                </a:lnTo>
                <a:close/>
                <a:moveTo>
                  <a:pt x="590" y="651"/>
                </a:moveTo>
                <a:lnTo>
                  <a:pt x="588" y="653"/>
                </a:lnTo>
                <a:lnTo>
                  <a:pt x="585" y="653"/>
                </a:lnTo>
                <a:lnTo>
                  <a:pt x="583" y="651"/>
                </a:lnTo>
                <a:lnTo>
                  <a:pt x="581" y="650"/>
                </a:lnTo>
                <a:lnTo>
                  <a:pt x="577" y="650"/>
                </a:lnTo>
                <a:lnTo>
                  <a:pt x="575" y="650"/>
                </a:lnTo>
                <a:lnTo>
                  <a:pt x="574" y="651"/>
                </a:lnTo>
                <a:lnTo>
                  <a:pt x="572" y="654"/>
                </a:lnTo>
                <a:lnTo>
                  <a:pt x="573" y="660"/>
                </a:lnTo>
                <a:lnTo>
                  <a:pt x="574" y="666"/>
                </a:lnTo>
                <a:lnTo>
                  <a:pt x="573" y="667"/>
                </a:lnTo>
                <a:lnTo>
                  <a:pt x="572" y="667"/>
                </a:lnTo>
                <a:lnTo>
                  <a:pt x="569" y="667"/>
                </a:lnTo>
                <a:lnTo>
                  <a:pt x="568" y="665"/>
                </a:lnTo>
                <a:lnTo>
                  <a:pt x="566" y="660"/>
                </a:lnTo>
                <a:lnTo>
                  <a:pt x="564" y="657"/>
                </a:lnTo>
                <a:lnTo>
                  <a:pt x="560" y="651"/>
                </a:lnTo>
                <a:lnTo>
                  <a:pt x="555" y="641"/>
                </a:lnTo>
                <a:lnTo>
                  <a:pt x="553" y="637"/>
                </a:lnTo>
                <a:lnTo>
                  <a:pt x="552" y="632"/>
                </a:lnTo>
                <a:lnTo>
                  <a:pt x="552" y="631"/>
                </a:lnTo>
                <a:lnTo>
                  <a:pt x="553" y="630"/>
                </a:lnTo>
                <a:lnTo>
                  <a:pt x="555" y="630"/>
                </a:lnTo>
                <a:lnTo>
                  <a:pt x="557" y="630"/>
                </a:lnTo>
                <a:lnTo>
                  <a:pt x="567" y="634"/>
                </a:lnTo>
                <a:lnTo>
                  <a:pt x="576" y="640"/>
                </a:lnTo>
                <a:lnTo>
                  <a:pt x="580" y="642"/>
                </a:lnTo>
                <a:lnTo>
                  <a:pt x="585" y="645"/>
                </a:lnTo>
                <a:lnTo>
                  <a:pt x="588" y="647"/>
                </a:lnTo>
                <a:lnTo>
                  <a:pt x="589" y="648"/>
                </a:lnTo>
                <a:lnTo>
                  <a:pt x="590" y="649"/>
                </a:lnTo>
                <a:lnTo>
                  <a:pt x="590" y="651"/>
                </a:lnTo>
                <a:lnTo>
                  <a:pt x="590" y="650"/>
                </a:lnTo>
                <a:lnTo>
                  <a:pt x="590" y="651"/>
                </a:lnTo>
                <a:close/>
                <a:moveTo>
                  <a:pt x="605" y="637"/>
                </a:moveTo>
                <a:lnTo>
                  <a:pt x="602" y="640"/>
                </a:lnTo>
                <a:lnTo>
                  <a:pt x="599" y="642"/>
                </a:lnTo>
                <a:lnTo>
                  <a:pt x="596" y="642"/>
                </a:lnTo>
                <a:lnTo>
                  <a:pt x="592" y="642"/>
                </a:lnTo>
                <a:lnTo>
                  <a:pt x="589" y="640"/>
                </a:lnTo>
                <a:lnTo>
                  <a:pt x="585" y="639"/>
                </a:lnTo>
                <a:lnTo>
                  <a:pt x="582" y="635"/>
                </a:lnTo>
                <a:lnTo>
                  <a:pt x="580" y="633"/>
                </a:lnTo>
                <a:lnTo>
                  <a:pt x="577" y="630"/>
                </a:lnTo>
                <a:lnTo>
                  <a:pt x="577" y="626"/>
                </a:lnTo>
                <a:lnTo>
                  <a:pt x="577" y="623"/>
                </a:lnTo>
                <a:lnTo>
                  <a:pt x="578" y="621"/>
                </a:lnTo>
                <a:lnTo>
                  <a:pt x="581" y="617"/>
                </a:lnTo>
                <a:lnTo>
                  <a:pt x="584" y="616"/>
                </a:lnTo>
                <a:lnTo>
                  <a:pt x="589" y="615"/>
                </a:lnTo>
                <a:lnTo>
                  <a:pt x="591" y="616"/>
                </a:lnTo>
                <a:lnTo>
                  <a:pt x="593" y="617"/>
                </a:lnTo>
                <a:lnTo>
                  <a:pt x="593" y="618"/>
                </a:lnTo>
                <a:lnTo>
                  <a:pt x="593" y="620"/>
                </a:lnTo>
                <a:lnTo>
                  <a:pt x="593" y="620"/>
                </a:lnTo>
                <a:lnTo>
                  <a:pt x="591" y="621"/>
                </a:lnTo>
                <a:lnTo>
                  <a:pt x="588" y="622"/>
                </a:lnTo>
                <a:lnTo>
                  <a:pt x="585" y="622"/>
                </a:lnTo>
                <a:lnTo>
                  <a:pt x="584" y="623"/>
                </a:lnTo>
                <a:lnTo>
                  <a:pt x="584" y="624"/>
                </a:lnTo>
                <a:lnTo>
                  <a:pt x="584" y="626"/>
                </a:lnTo>
                <a:lnTo>
                  <a:pt x="585" y="630"/>
                </a:lnTo>
                <a:lnTo>
                  <a:pt x="588" y="633"/>
                </a:lnTo>
                <a:lnTo>
                  <a:pt x="591" y="635"/>
                </a:lnTo>
                <a:lnTo>
                  <a:pt x="594" y="637"/>
                </a:lnTo>
                <a:lnTo>
                  <a:pt x="597" y="637"/>
                </a:lnTo>
                <a:lnTo>
                  <a:pt x="598" y="634"/>
                </a:lnTo>
                <a:lnTo>
                  <a:pt x="598" y="633"/>
                </a:lnTo>
                <a:lnTo>
                  <a:pt x="599" y="631"/>
                </a:lnTo>
                <a:lnTo>
                  <a:pt x="600" y="629"/>
                </a:lnTo>
                <a:lnTo>
                  <a:pt x="601" y="629"/>
                </a:lnTo>
                <a:lnTo>
                  <a:pt x="602" y="629"/>
                </a:lnTo>
                <a:lnTo>
                  <a:pt x="604" y="630"/>
                </a:lnTo>
                <a:lnTo>
                  <a:pt x="605" y="632"/>
                </a:lnTo>
                <a:lnTo>
                  <a:pt x="605" y="637"/>
                </a:lnTo>
                <a:lnTo>
                  <a:pt x="605" y="637"/>
                </a:lnTo>
                <a:lnTo>
                  <a:pt x="605" y="637"/>
                </a:lnTo>
                <a:close/>
                <a:moveTo>
                  <a:pt x="613" y="624"/>
                </a:moveTo>
                <a:lnTo>
                  <a:pt x="608" y="621"/>
                </a:lnTo>
                <a:lnTo>
                  <a:pt x="602" y="617"/>
                </a:lnTo>
                <a:lnTo>
                  <a:pt x="597" y="614"/>
                </a:lnTo>
                <a:lnTo>
                  <a:pt x="593" y="608"/>
                </a:lnTo>
                <a:lnTo>
                  <a:pt x="592" y="606"/>
                </a:lnTo>
                <a:lnTo>
                  <a:pt x="591" y="604"/>
                </a:lnTo>
                <a:lnTo>
                  <a:pt x="591" y="601"/>
                </a:lnTo>
                <a:lnTo>
                  <a:pt x="593" y="599"/>
                </a:lnTo>
                <a:lnTo>
                  <a:pt x="597" y="600"/>
                </a:lnTo>
                <a:lnTo>
                  <a:pt x="601" y="601"/>
                </a:lnTo>
                <a:lnTo>
                  <a:pt x="606" y="608"/>
                </a:lnTo>
                <a:lnTo>
                  <a:pt x="610" y="616"/>
                </a:lnTo>
                <a:lnTo>
                  <a:pt x="616" y="617"/>
                </a:lnTo>
                <a:lnTo>
                  <a:pt x="621" y="620"/>
                </a:lnTo>
                <a:lnTo>
                  <a:pt x="621" y="622"/>
                </a:lnTo>
                <a:lnTo>
                  <a:pt x="619" y="624"/>
                </a:lnTo>
                <a:lnTo>
                  <a:pt x="616" y="625"/>
                </a:lnTo>
                <a:lnTo>
                  <a:pt x="613" y="624"/>
                </a:lnTo>
                <a:lnTo>
                  <a:pt x="611" y="623"/>
                </a:lnTo>
                <a:lnTo>
                  <a:pt x="613" y="624"/>
                </a:lnTo>
                <a:close/>
                <a:moveTo>
                  <a:pt x="287" y="736"/>
                </a:moveTo>
                <a:lnTo>
                  <a:pt x="275" y="732"/>
                </a:lnTo>
                <a:lnTo>
                  <a:pt x="263" y="728"/>
                </a:lnTo>
                <a:lnTo>
                  <a:pt x="258" y="724"/>
                </a:lnTo>
                <a:lnTo>
                  <a:pt x="253" y="721"/>
                </a:lnTo>
                <a:lnTo>
                  <a:pt x="250" y="716"/>
                </a:lnTo>
                <a:lnTo>
                  <a:pt x="246" y="712"/>
                </a:lnTo>
                <a:lnTo>
                  <a:pt x="250" y="709"/>
                </a:lnTo>
                <a:lnTo>
                  <a:pt x="254" y="708"/>
                </a:lnTo>
                <a:lnTo>
                  <a:pt x="258" y="708"/>
                </a:lnTo>
                <a:lnTo>
                  <a:pt x="262" y="709"/>
                </a:lnTo>
                <a:lnTo>
                  <a:pt x="270" y="712"/>
                </a:lnTo>
                <a:lnTo>
                  <a:pt x="277" y="716"/>
                </a:lnTo>
                <a:lnTo>
                  <a:pt x="281" y="720"/>
                </a:lnTo>
                <a:lnTo>
                  <a:pt x="285" y="724"/>
                </a:lnTo>
                <a:lnTo>
                  <a:pt x="286" y="730"/>
                </a:lnTo>
                <a:lnTo>
                  <a:pt x="287" y="736"/>
                </a:lnTo>
                <a:lnTo>
                  <a:pt x="281" y="734"/>
                </a:lnTo>
                <a:lnTo>
                  <a:pt x="279" y="732"/>
                </a:lnTo>
                <a:lnTo>
                  <a:pt x="279" y="731"/>
                </a:lnTo>
                <a:lnTo>
                  <a:pt x="280" y="730"/>
                </a:lnTo>
                <a:lnTo>
                  <a:pt x="283" y="729"/>
                </a:lnTo>
                <a:lnTo>
                  <a:pt x="285" y="730"/>
                </a:lnTo>
                <a:lnTo>
                  <a:pt x="286" y="732"/>
                </a:lnTo>
                <a:lnTo>
                  <a:pt x="287" y="736"/>
                </a:lnTo>
                <a:close/>
                <a:moveTo>
                  <a:pt x="591" y="897"/>
                </a:moveTo>
                <a:lnTo>
                  <a:pt x="578" y="895"/>
                </a:lnTo>
                <a:lnTo>
                  <a:pt x="565" y="891"/>
                </a:lnTo>
                <a:lnTo>
                  <a:pt x="560" y="890"/>
                </a:lnTo>
                <a:lnTo>
                  <a:pt x="555" y="888"/>
                </a:lnTo>
                <a:lnTo>
                  <a:pt x="551" y="887"/>
                </a:lnTo>
                <a:lnTo>
                  <a:pt x="549" y="886"/>
                </a:lnTo>
                <a:lnTo>
                  <a:pt x="549" y="883"/>
                </a:lnTo>
                <a:lnTo>
                  <a:pt x="550" y="881"/>
                </a:lnTo>
                <a:lnTo>
                  <a:pt x="552" y="880"/>
                </a:lnTo>
                <a:lnTo>
                  <a:pt x="555" y="879"/>
                </a:lnTo>
                <a:lnTo>
                  <a:pt x="558" y="879"/>
                </a:lnTo>
                <a:lnTo>
                  <a:pt x="561" y="880"/>
                </a:lnTo>
                <a:lnTo>
                  <a:pt x="568" y="882"/>
                </a:lnTo>
                <a:lnTo>
                  <a:pt x="573" y="884"/>
                </a:lnTo>
                <a:lnTo>
                  <a:pt x="585" y="889"/>
                </a:lnTo>
                <a:lnTo>
                  <a:pt x="599" y="894"/>
                </a:lnTo>
                <a:lnTo>
                  <a:pt x="598" y="896"/>
                </a:lnTo>
                <a:lnTo>
                  <a:pt x="596" y="897"/>
                </a:lnTo>
                <a:lnTo>
                  <a:pt x="593" y="897"/>
                </a:lnTo>
                <a:lnTo>
                  <a:pt x="591" y="897"/>
                </a:lnTo>
                <a:lnTo>
                  <a:pt x="585" y="896"/>
                </a:lnTo>
                <a:lnTo>
                  <a:pt x="586" y="897"/>
                </a:lnTo>
                <a:lnTo>
                  <a:pt x="591" y="897"/>
                </a:lnTo>
                <a:lnTo>
                  <a:pt x="591" y="897"/>
                </a:lnTo>
                <a:close/>
                <a:moveTo>
                  <a:pt x="720" y="927"/>
                </a:moveTo>
                <a:lnTo>
                  <a:pt x="711" y="924"/>
                </a:lnTo>
                <a:lnTo>
                  <a:pt x="700" y="922"/>
                </a:lnTo>
                <a:lnTo>
                  <a:pt x="690" y="920"/>
                </a:lnTo>
                <a:lnTo>
                  <a:pt x="681" y="917"/>
                </a:lnTo>
                <a:lnTo>
                  <a:pt x="672" y="916"/>
                </a:lnTo>
                <a:lnTo>
                  <a:pt x="664" y="913"/>
                </a:lnTo>
                <a:lnTo>
                  <a:pt x="664" y="911"/>
                </a:lnTo>
                <a:lnTo>
                  <a:pt x="666" y="909"/>
                </a:lnTo>
                <a:lnTo>
                  <a:pt x="670" y="909"/>
                </a:lnTo>
                <a:lnTo>
                  <a:pt x="672" y="909"/>
                </a:lnTo>
                <a:lnTo>
                  <a:pt x="681" y="911"/>
                </a:lnTo>
                <a:lnTo>
                  <a:pt x="691" y="912"/>
                </a:lnTo>
                <a:lnTo>
                  <a:pt x="701" y="914"/>
                </a:lnTo>
                <a:lnTo>
                  <a:pt x="711" y="915"/>
                </a:lnTo>
                <a:lnTo>
                  <a:pt x="714" y="916"/>
                </a:lnTo>
                <a:lnTo>
                  <a:pt x="718" y="916"/>
                </a:lnTo>
                <a:lnTo>
                  <a:pt x="723" y="917"/>
                </a:lnTo>
                <a:lnTo>
                  <a:pt x="725" y="920"/>
                </a:lnTo>
                <a:lnTo>
                  <a:pt x="726" y="921"/>
                </a:lnTo>
                <a:lnTo>
                  <a:pt x="728" y="923"/>
                </a:lnTo>
                <a:lnTo>
                  <a:pt x="728" y="924"/>
                </a:lnTo>
                <a:lnTo>
                  <a:pt x="726" y="925"/>
                </a:lnTo>
                <a:lnTo>
                  <a:pt x="724" y="927"/>
                </a:lnTo>
                <a:lnTo>
                  <a:pt x="720" y="927"/>
                </a:lnTo>
                <a:lnTo>
                  <a:pt x="713" y="924"/>
                </a:lnTo>
                <a:lnTo>
                  <a:pt x="714" y="924"/>
                </a:lnTo>
                <a:lnTo>
                  <a:pt x="718" y="927"/>
                </a:lnTo>
                <a:lnTo>
                  <a:pt x="720" y="927"/>
                </a:lnTo>
                <a:close/>
                <a:moveTo>
                  <a:pt x="762" y="921"/>
                </a:moveTo>
                <a:lnTo>
                  <a:pt x="764" y="920"/>
                </a:lnTo>
                <a:lnTo>
                  <a:pt x="766" y="921"/>
                </a:lnTo>
                <a:lnTo>
                  <a:pt x="764" y="921"/>
                </a:lnTo>
                <a:lnTo>
                  <a:pt x="762" y="921"/>
                </a:lnTo>
                <a:close/>
                <a:moveTo>
                  <a:pt x="767" y="921"/>
                </a:moveTo>
                <a:lnTo>
                  <a:pt x="769" y="921"/>
                </a:lnTo>
                <a:lnTo>
                  <a:pt x="769" y="921"/>
                </a:lnTo>
                <a:lnTo>
                  <a:pt x="770" y="921"/>
                </a:lnTo>
                <a:lnTo>
                  <a:pt x="770" y="922"/>
                </a:lnTo>
                <a:lnTo>
                  <a:pt x="769" y="922"/>
                </a:lnTo>
                <a:lnTo>
                  <a:pt x="767" y="921"/>
                </a:lnTo>
                <a:close/>
                <a:moveTo>
                  <a:pt x="1165" y="954"/>
                </a:moveTo>
                <a:lnTo>
                  <a:pt x="1166" y="954"/>
                </a:lnTo>
                <a:lnTo>
                  <a:pt x="1167" y="955"/>
                </a:lnTo>
                <a:lnTo>
                  <a:pt x="1165" y="956"/>
                </a:lnTo>
                <a:lnTo>
                  <a:pt x="1162" y="955"/>
                </a:lnTo>
                <a:lnTo>
                  <a:pt x="1163" y="955"/>
                </a:lnTo>
                <a:lnTo>
                  <a:pt x="1165" y="954"/>
                </a:lnTo>
                <a:lnTo>
                  <a:pt x="1165" y="954"/>
                </a:lnTo>
                <a:lnTo>
                  <a:pt x="1165" y="954"/>
                </a:lnTo>
                <a:close/>
                <a:moveTo>
                  <a:pt x="577" y="778"/>
                </a:moveTo>
                <a:lnTo>
                  <a:pt x="580" y="776"/>
                </a:lnTo>
                <a:lnTo>
                  <a:pt x="581" y="776"/>
                </a:lnTo>
                <a:lnTo>
                  <a:pt x="583" y="776"/>
                </a:lnTo>
                <a:lnTo>
                  <a:pt x="585" y="778"/>
                </a:lnTo>
                <a:lnTo>
                  <a:pt x="586" y="780"/>
                </a:lnTo>
                <a:lnTo>
                  <a:pt x="588" y="781"/>
                </a:lnTo>
                <a:lnTo>
                  <a:pt x="586" y="783"/>
                </a:lnTo>
                <a:lnTo>
                  <a:pt x="585" y="784"/>
                </a:lnTo>
                <a:lnTo>
                  <a:pt x="581" y="786"/>
                </a:lnTo>
                <a:lnTo>
                  <a:pt x="577" y="784"/>
                </a:lnTo>
                <a:lnTo>
                  <a:pt x="576" y="783"/>
                </a:lnTo>
                <a:lnTo>
                  <a:pt x="576" y="781"/>
                </a:lnTo>
                <a:lnTo>
                  <a:pt x="576" y="780"/>
                </a:lnTo>
                <a:lnTo>
                  <a:pt x="577" y="778"/>
                </a:lnTo>
                <a:lnTo>
                  <a:pt x="577" y="776"/>
                </a:lnTo>
                <a:lnTo>
                  <a:pt x="577" y="778"/>
                </a:lnTo>
                <a:close/>
                <a:moveTo>
                  <a:pt x="527" y="824"/>
                </a:moveTo>
                <a:lnTo>
                  <a:pt x="514" y="821"/>
                </a:lnTo>
                <a:lnTo>
                  <a:pt x="500" y="817"/>
                </a:lnTo>
                <a:lnTo>
                  <a:pt x="486" y="814"/>
                </a:lnTo>
                <a:lnTo>
                  <a:pt x="473" y="811"/>
                </a:lnTo>
                <a:lnTo>
                  <a:pt x="460" y="807"/>
                </a:lnTo>
                <a:lnTo>
                  <a:pt x="448" y="804"/>
                </a:lnTo>
                <a:lnTo>
                  <a:pt x="434" y="801"/>
                </a:lnTo>
                <a:lnTo>
                  <a:pt x="421" y="797"/>
                </a:lnTo>
                <a:lnTo>
                  <a:pt x="410" y="792"/>
                </a:lnTo>
                <a:lnTo>
                  <a:pt x="400" y="788"/>
                </a:lnTo>
                <a:lnTo>
                  <a:pt x="388" y="782"/>
                </a:lnTo>
                <a:lnTo>
                  <a:pt x="377" y="778"/>
                </a:lnTo>
                <a:lnTo>
                  <a:pt x="367" y="774"/>
                </a:lnTo>
                <a:lnTo>
                  <a:pt x="358" y="771"/>
                </a:lnTo>
                <a:lnTo>
                  <a:pt x="346" y="766"/>
                </a:lnTo>
                <a:lnTo>
                  <a:pt x="335" y="763"/>
                </a:lnTo>
                <a:lnTo>
                  <a:pt x="342" y="766"/>
                </a:lnTo>
                <a:lnTo>
                  <a:pt x="349" y="771"/>
                </a:lnTo>
                <a:lnTo>
                  <a:pt x="357" y="774"/>
                </a:lnTo>
                <a:lnTo>
                  <a:pt x="365" y="776"/>
                </a:lnTo>
                <a:lnTo>
                  <a:pt x="366" y="776"/>
                </a:lnTo>
                <a:lnTo>
                  <a:pt x="368" y="778"/>
                </a:lnTo>
                <a:lnTo>
                  <a:pt x="369" y="779"/>
                </a:lnTo>
                <a:lnTo>
                  <a:pt x="368" y="781"/>
                </a:lnTo>
                <a:lnTo>
                  <a:pt x="367" y="781"/>
                </a:lnTo>
                <a:lnTo>
                  <a:pt x="365" y="781"/>
                </a:lnTo>
                <a:lnTo>
                  <a:pt x="354" y="779"/>
                </a:lnTo>
                <a:lnTo>
                  <a:pt x="345" y="774"/>
                </a:lnTo>
                <a:lnTo>
                  <a:pt x="337" y="772"/>
                </a:lnTo>
                <a:lnTo>
                  <a:pt x="330" y="770"/>
                </a:lnTo>
                <a:lnTo>
                  <a:pt x="327" y="767"/>
                </a:lnTo>
                <a:lnTo>
                  <a:pt x="325" y="765"/>
                </a:lnTo>
                <a:lnTo>
                  <a:pt x="321" y="763"/>
                </a:lnTo>
                <a:lnTo>
                  <a:pt x="320" y="759"/>
                </a:lnTo>
                <a:lnTo>
                  <a:pt x="319" y="756"/>
                </a:lnTo>
                <a:lnTo>
                  <a:pt x="318" y="754"/>
                </a:lnTo>
                <a:lnTo>
                  <a:pt x="316" y="753"/>
                </a:lnTo>
                <a:lnTo>
                  <a:pt x="313" y="751"/>
                </a:lnTo>
                <a:lnTo>
                  <a:pt x="310" y="748"/>
                </a:lnTo>
                <a:lnTo>
                  <a:pt x="310" y="746"/>
                </a:lnTo>
                <a:lnTo>
                  <a:pt x="311" y="745"/>
                </a:lnTo>
                <a:lnTo>
                  <a:pt x="316" y="745"/>
                </a:lnTo>
                <a:lnTo>
                  <a:pt x="326" y="748"/>
                </a:lnTo>
                <a:lnTo>
                  <a:pt x="336" y="754"/>
                </a:lnTo>
                <a:lnTo>
                  <a:pt x="346" y="758"/>
                </a:lnTo>
                <a:lnTo>
                  <a:pt x="355" y="764"/>
                </a:lnTo>
                <a:lnTo>
                  <a:pt x="367" y="767"/>
                </a:lnTo>
                <a:lnTo>
                  <a:pt x="377" y="772"/>
                </a:lnTo>
                <a:lnTo>
                  <a:pt x="387" y="776"/>
                </a:lnTo>
                <a:lnTo>
                  <a:pt x="399" y="780"/>
                </a:lnTo>
                <a:lnTo>
                  <a:pt x="409" y="783"/>
                </a:lnTo>
                <a:lnTo>
                  <a:pt x="419" y="787"/>
                </a:lnTo>
                <a:lnTo>
                  <a:pt x="431" y="790"/>
                </a:lnTo>
                <a:lnTo>
                  <a:pt x="441" y="792"/>
                </a:lnTo>
                <a:lnTo>
                  <a:pt x="451" y="796"/>
                </a:lnTo>
                <a:lnTo>
                  <a:pt x="461" y="798"/>
                </a:lnTo>
                <a:lnTo>
                  <a:pt x="471" y="801"/>
                </a:lnTo>
                <a:lnTo>
                  <a:pt x="481" y="804"/>
                </a:lnTo>
                <a:lnTo>
                  <a:pt x="494" y="807"/>
                </a:lnTo>
                <a:lnTo>
                  <a:pt x="506" y="809"/>
                </a:lnTo>
                <a:lnTo>
                  <a:pt x="514" y="811"/>
                </a:lnTo>
                <a:lnTo>
                  <a:pt x="520" y="813"/>
                </a:lnTo>
                <a:lnTo>
                  <a:pt x="525" y="814"/>
                </a:lnTo>
                <a:lnTo>
                  <a:pt x="530" y="816"/>
                </a:lnTo>
                <a:lnTo>
                  <a:pt x="538" y="821"/>
                </a:lnTo>
                <a:lnTo>
                  <a:pt x="545" y="824"/>
                </a:lnTo>
                <a:lnTo>
                  <a:pt x="550" y="826"/>
                </a:lnTo>
                <a:lnTo>
                  <a:pt x="555" y="829"/>
                </a:lnTo>
                <a:lnTo>
                  <a:pt x="559" y="831"/>
                </a:lnTo>
                <a:lnTo>
                  <a:pt x="561" y="834"/>
                </a:lnTo>
                <a:lnTo>
                  <a:pt x="557" y="836"/>
                </a:lnTo>
                <a:lnTo>
                  <a:pt x="552" y="834"/>
                </a:lnTo>
                <a:lnTo>
                  <a:pt x="548" y="833"/>
                </a:lnTo>
                <a:lnTo>
                  <a:pt x="544" y="832"/>
                </a:lnTo>
                <a:lnTo>
                  <a:pt x="535" y="828"/>
                </a:lnTo>
                <a:lnTo>
                  <a:pt x="527" y="824"/>
                </a:lnTo>
                <a:lnTo>
                  <a:pt x="518" y="822"/>
                </a:lnTo>
                <a:lnTo>
                  <a:pt x="522" y="823"/>
                </a:lnTo>
                <a:lnTo>
                  <a:pt x="528" y="825"/>
                </a:lnTo>
                <a:lnTo>
                  <a:pt x="527" y="824"/>
                </a:lnTo>
                <a:close/>
                <a:moveTo>
                  <a:pt x="622" y="814"/>
                </a:moveTo>
                <a:lnTo>
                  <a:pt x="611" y="813"/>
                </a:lnTo>
                <a:lnTo>
                  <a:pt x="601" y="811"/>
                </a:lnTo>
                <a:lnTo>
                  <a:pt x="592" y="808"/>
                </a:lnTo>
                <a:lnTo>
                  <a:pt x="582" y="806"/>
                </a:lnTo>
                <a:lnTo>
                  <a:pt x="571" y="803"/>
                </a:lnTo>
                <a:lnTo>
                  <a:pt x="560" y="799"/>
                </a:lnTo>
                <a:lnTo>
                  <a:pt x="556" y="799"/>
                </a:lnTo>
                <a:lnTo>
                  <a:pt x="551" y="797"/>
                </a:lnTo>
                <a:lnTo>
                  <a:pt x="549" y="796"/>
                </a:lnTo>
                <a:lnTo>
                  <a:pt x="548" y="796"/>
                </a:lnTo>
                <a:lnTo>
                  <a:pt x="548" y="795"/>
                </a:lnTo>
                <a:lnTo>
                  <a:pt x="548" y="792"/>
                </a:lnTo>
                <a:lnTo>
                  <a:pt x="559" y="794"/>
                </a:lnTo>
                <a:lnTo>
                  <a:pt x="571" y="796"/>
                </a:lnTo>
                <a:lnTo>
                  <a:pt x="582" y="799"/>
                </a:lnTo>
                <a:lnTo>
                  <a:pt x="592" y="801"/>
                </a:lnTo>
                <a:lnTo>
                  <a:pt x="602" y="805"/>
                </a:lnTo>
                <a:lnTo>
                  <a:pt x="614" y="807"/>
                </a:lnTo>
                <a:lnTo>
                  <a:pt x="624" y="809"/>
                </a:lnTo>
                <a:lnTo>
                  <a:pt x="634" y="811"/>
                </a:lnTo>
                <a:lnTo>
                  <a:pt x="627" y="813"/>
                </a:lnTo>
                <a:lnTo>
                  <a:pt x="622" y="814"/>
                </a:lnTo>
                <a:close/>
                <a:moveTo>
                  <a:pt x="970" y="852"/>
                </a:moveTo>
                <a:lnTo>
                  <a:pt x="969" y="854"/>
                </a:lnTo>
                <a:lnTo>
                  <a:pt x="968" y="855"/>
                </a:lnTo>
                <a:lnTo>
                  <a:pt x="967" y="856"/>
                </a:lnTo>
                <a:lnTo>
                  <a:pt x="964" y="855"/>
                </a:lnTo>
                <a:lnTo>
                  <a:pt x="960" y="854"/>
                </a:lnTo>
                <a:lnTo>
                  <a:pt x="955" y="852"/>
                </a:lnTo>
                <a:lnTo>
                  <a:pt x="960" y="849"/>
                </a:lnTo>
                <a:lnTo>
                  <a:pt x="963" y="849"/>
                </a:lnTo>
                <a:lnTo>
                  <a:pt x="967" y="850"/>
                </a:lnTo>
                <a:lnTo>
                  <a:pt x="970" y="852"/>
                </a:lnTo>
                <a:close/>
                <a:moveTo>
                  <a:pt x="962" y="869"/>
                </a:moveTo>
                <a:lnTo>
                  <a:pt x="960" y="871"/>
                </a:lnTo>
                <a:lnTo>
                  <a:pt x="956" y="873"/>
                </a:lnTo>
                <a:lnTo>
                  <a:pt x="954" y="874"/>
                </a:lnTo>
                <a:lnTo>
                  <a:pt x="951" y="874"/>
                </a:lnTo>
                <a:lnTo>
                  <a:pt x="950" y="874"/>
                </a:lnTo>
                <a:lnTo>
                  <a:pt x="947" y="874"/>
                </a:lnTo>
                <a:lnTo>
                  <a:pt x="947" y="873"/>
                </a:lnTo>
                <a:lnTo>
                  <a:pt x="945" y="872"/>
                </a:lnTo>
                <a:lnTo>
                  <a:pt x="934" y="870"/>
                </a:lnTo>
                <a:lnTo>
                  <a:pt x="920" y="869"/>
                </a:lnTo>
                <a:lnTo>
                  <a:pt x="930" y="867"/>
                </a:lnTo>
                <a:lnTo>
                  <a:pt x="942" y="867"/>
                </a:lnTo>
                <a:lnTo>
                  <a:pt x="952" y="869"/>
                </a:lnTo>
                <a:lnTo>
                  <a:pt x="962" y="869"/>
                </a:lnTo>
                <a:lnTo>
                  <a:pt x="956" y="871"/>
                </a:lnTo>
                <a:lnTo>
                  <a:pt x="962" y="869"/>
                </a:lnTo>
                <a:close/>
                <a:moveTo>
                  <a:pt x="860" y="834"/>
                </a:moveTo>
                <a:lnTo>
                  <a:pt x="846" y="834"/>
                </a:lnTo>
                <a:lnTo>
                  <a:pt x="833" y="832"/>
                </a:lnTo>
                <a:lnTo>
                  <a:pt x="820" y="830"/>
                </a:lnTo>
                <a:lnTo>
                  <a:pt x="807" y="828"/>
                </a:lnTo>
                <a:lnTo>
                  <a:pt x="811" y="825"/>
                </a:lnTo>
                <a:lnTo>
                  <a:pt x="816" y="824"/>
                </a:lnTo>
                <a:lnTo>
                  <a:pt x="823" y="824"/>
                </a:lnTo>
                <a:lnTo>
                  <a:pt x="831" y="825"/>
                </a:lnTo>
                <a:lnTo>
                  <a:pt x="839" y="826"/>
                </a:lnTo>
                <a:lnTo>
                  <a:pt x="847" y="829"/>
                </a:lnTo>
                <a:lnTo>
                  <a:pt x="854" y="831"/>
                </a:lnTo>
                <a:lnTo>
                  <a:pt x="860" y="834"/>
                </a:lnTo>
                <a:close/>
                <a:moveTo>
                  <a:pt x="891" y="654"/>
                </a:moveTo>
                <a:lnTo>
                  <a:pt x="894" y="651"/>
                </a:lnTo>
                <a:lnTo>
                  <a:pt x="897" y="649"/>
                </a:lnTo>
                <a:lnTo>
                  <a:pt x="901" y="649"/>
                </a:lnTo>
                <a:lnTo>
                  <a:pt x="904" y="648"/>
                </a:lnTo>
                <a:lnTo>
                  <a:pt x="913" y="649"/>
                </a:lnTo>
                <a:lnTo>
                  <a:pt x="920" y="650"/>
                </a:lnTo>
                <a:lnTo>
                  <a:pt x="926" y="651"/>
                </a:lnTo>
                <a:lnTo>
                  <a:pt x="931" y="654"/>
                </a:lnTo>
                <a:lnTo>
                  <a:pt x="939" y="658"/>
                </a:lnTo>
                <a:lnTo>
                  <a:pt x="950" y="660"/>
                </a:lnTo>
                <a:lnTo>
                  <a:pt x="935" y="660"/>
                </a:lnTo>
                <a:lnTo>
                  <a:pt x="920" y="660"/>
                </a:lnTo>
                <a:lnTo>
                  <a:pt x="905" y="658"/>
                </a:lnTo>
                <a:lnTo>
                  <a:pt x="891" y="654"/>
                </a:lnTo>
                <a:lnTo>
                  <a:pt x="894" y="651"/>
                </a:lnTo>
                <a:lnTo>
                  <a:pt x="896" y="651"/>
                </a:lnTo>
                <a:lnTo>
                  <a:pt x="898" y="653"/>
                </a:lnTo>
                <a:lnTo>
                  <a:pt x="901" y="654"/>
                </a:lnTo>
                <a:lnTo>
                  <a:pt x="901" y="655"/>
                </a:lnTo>
                <a:lnTo>
                  <a:pt x="899" y="656"/>
                </a:lnTo>
                <a:lnTo>
                  <a:pt x="897" y="656"/>
                </a:lnTo>
                <a:lnTo>
                  <a:pt x="891" y="654"/>
                </a:lnTo>
                <a:close/>
                <a:moveTo>
                  <a:pt x="1163" y="775"/>
                </a:moveTo>
                <a:lnTo>
                  <a:pt x="1161" y="775"/>
                </a:lnTo>
                <a:lnTo>
                  <a:pt x="1160" y="774"/>
                </a:lnTo>
                <a:lnTo>
                  <a:pt x="1160" y="773"/>
                </a:lnTo>
                <a:lnTo>
                  <a:pt x="1160" y="772"/>
                </a:lnTo>
                <a:lnTo>
                  <a:pt x="1162" y="770"/>
                </a:lnTo>
                <a:lnTo>
                  <a:pt x="1166" y="769"/>
                </a:lnTo>
                <a:lnTo>
                  <a:pt x="1168" y="769"/>
                </a:lnTo>
                <a:lnTo>
                  <a:pt x="1169" y="770"/>
                </a:lnTo>
                <a:lnTo>
                  <a:pt x="1170" y="771"/>
                </a:lnTo>
                <a:lnTo>
                  <a:pt x="1170" y="772"/>
                </a:lnTo>
                <a:lnTo>
                  <a:pt x="1168" y="774"/>
                </a:lnTo>
                <a:lnTo>
                  <a:pt x="1163" y="775"/>
                </a:lnTo>
                <a:lnTo>
                  <a:pt x="1165" y="775"/>
                </a:lnTo>
                <a:lnTo>
                  <a:pt x="1163" y="77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4F7CA11-63D5-3C41-A9A6-FF9AB1544EC3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ACCC2D53-4C71-5146-A87C-ADF75A51047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69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1">
            <a:extLst>
              <a:ext uri="{FF2B5EF4-FFF2-40B4-BE49-F238E27FC236}">
                <a16:creationId xmlns:a16="http://schemas.microsoft.com/office/drawing/2014/main" id="{20DD44D1-0D2A-704E-8657-8C9EF393CB4F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492287" y="1134099"/>
            <a:ext cx="23402600" cy="6912768"/>
          </a:xfrm>
          <a:custGeom>
            <a:avLst/>
            <a:gdLst>
              <a:gd name="T0" fmla="*/ 982 w 1098"/>
              <a:gd name="T1" fmla="*/ 360 h 615"/>
              <a:gd name="T2" fmla="*/ 958 w 1098"/>
              <a:gd name="T3" fmla="*/ 355 h 615"/>
              <a:gd name="T4" fmla="*/ 1009 w 1098"/>
              <a:gd name="T5" fmla="*/ 319 h 615"/>
              <a:gd name="T6" fmla="*/ 1001 w 1098"/>
              <a:gd name="T7" fmla="*/ 300 h 615"/>
              <a:gd name="T8" fmla="*/ 621 w 1098"/>
              <a:gd name="T9" fmla="*/ 485 h 615"/>
              <a:gd name="T10" fmla="*/ 596 w 1098"/>
              <a:gd name="T11" fmla="*/ 479 h 615"/>
              <a:gd name="T12" fmla="*/ 826 w 1098"/>
              <a:gd name="T13" fmla="*/ 338 h 615"/>
              <a:gd name="T14" fmla="*/ 977 w 1098"/>
              <a:gd name="T15" fmla="*/ 261 h 615"/>
              <a:gd name="T16" fmla="*/ 1039 w 1098"/>
              <a:gd name="T17" fmla="*/ 205 h 615"/>
              <a:gd name="T18" fmla="*/ 831 w 1098"/>
              <a:gd name="T19" fmla="*/ 285 h 615"/>
              <a:gd name="T20" fmla="*/ 926 w 1098"/>
              <a:gd name="T21" fmla="*/ 214 h 615"/>
              <a:gd name="T22" fmla="*/ 1093 w 1098"/>
              <a:gd name="T23" fmla="*/ 160 h 615"/>
              <a:gd name="T24" fmla="*/ 1039 w 1098"/>
              <a:gd name="T25" fmla="*/ 129 h 615"/>
              <a:gd name="T26" fmla="*/ 928 w 1098"/>
              <a:gd name="T27" fmla="*/ 114 h 615"/>
              <a:gd name="T28" fmla="*/ 907 w 1098"/>
              <a:gd name="T29" fmla="*/ 62 h 615"/>
              <a:gd name="T30" fmla="*/ 871 w 1098"/>
              <a:gd name="T31" fmla="*/ 37 h 615"/>
              <a:gd name="T32" fmla="*/ 769 w 1098"/>
              <a:gd name="T33" fmla="*/ 23 h 615"/>
              <a:gd name="T34" fmla="*/ 578 w 1098"/>
              <a:gd name="T35" fmla="*/ 1 h 615"/>
              <a:gd name="T36" fmla="*/ 421 w 1098"/>
              <a:gd name="T37" fmla="*/ 28 h 615"/>
              <a:gd name="T38" fmla="*/ 212 w 1098"/>
              <a:gd name="T39" fmla="*/ 57 h 615"/>
              <a:gd name="T40" fmla="*/ 42 w 1098"/>
              <a:gd name="T41" fmla="*/ 196 h 615"/>
              <a:gd name="T42" fmla="*/ 228 w 1098"/>
              <a:gd name="T43" fmla="*/ 88 h 615"/>
              <a:gd name="T44" fmla="*/ 277 w 1098"/>
              <a:gd name="T45" fmla="*/ 76 h 615"/>
              <a:gd name="T46" fmla="*/ 11 w 1098"/>
              <a:gd name="T47" fmla="*/ 327 h 615"/>
              <a:gd name="T48" fmla="*/ 51 w 1098"/>
              <a:gd name="T49" fmla="*/ 434 h 615"/>
              <a:gd name="T50" fmla="*/ 171 w 1098"/>
              <a:gd name="T51" fmla="*/ 379 h 615"/>
              <a:gd name="T52" fmla="*/ 116 w 1098"/>
              <a:gd name="T53" fmla="*/ 532 h 615"/>
              <a:gd name="T54" fmla="*/ 146 w 1098"/>
              <a:gd name="T55" fmla="*/ 593 h 615"/>
              <a:gd name="T56" fmla="*/ 262 w 1098"/>
              <a:gd name="T57" fmla="*/ 579 h 615"/>
              <a:gd name="T58" fmla="*/ 409 w 1098"/>
              <a:gd name="T59" fmla="*/ 451 h 615"/>
              <a:gd name="T60" fmla="*/ 407 w 1098"/>
              <a:gd name="T61" fmla="*/ 490 h 615"/>
              <a:gd name="T62" fmla="*/ 506 w 1098"/>
              <a:gd name="T63" fmla="*/ 490 h 615"/>
              <a:gd name="T64" fmla="*/ 541 w 1098"/>
              <a:gd name="T65" fmla="*/ 442 h 615"/>
              <a:gd name="T66" fmla="*/ 509 w 1098"/>
              <a:gd name="T67" fmla="*/ 485 h 615"/>
              <a:gd name="T68" fmla="*/ 721 w 1098"/>
              <a:gd name="T69" fmla="*/ 344 h 615"/>
              <a:gd name="T70" fmla="*/ 764 w 1098"/>
              <a:gd name="T71" fmla="*/ 325 h 615"/>
              <a:gd name="T72" fmla="*/ 495 w 1098"/>
              <a:gd name="T73" fmla="*/ 555 h 615"/>
              <a:gd name="T74" fmla="*/ 530 w 1098"/>
              <a:gd name="T75" fmla="*/ 573 h 615"/>
              <a:gd name="T76" fmla="*/ 588 w 1098"/>
              <a:gd name="T77" fmla="*/ 535 h 615"/>
              <a:gd name="T78" fmla="*/ 718 w 1098"/>
              <a:gd name="T79" fmla="*/ 463 h 615"/>
              <a:gd name="T80" fmla="*/ 752 w 1098"/>
              <a:gd name="T81" fmla="*/ 502 h 615"/>
              <a:gd name="T82" fmla="*/ 759 w 1098"/>
              <a:gd name="T83" fmla="*/ 520 h 615"/>
              <a:gd name="T84" fmla="*/ 768 w 1098"/>
              <a:gd name="T85" fmla="*/ 542 h 615"/>
              <a:gd name="T86" fmla="*/ 855 w 1098"/>
              <a:gd name="T87" fmla="*/ 493 h 615"/>
              <a:gd name="T88" fmla="*/ 966 w 1098"/>
              <a:gd name="T89" fmla="*/ 454 h 615"/>
              <a:gd name="T90" fmla="*/ 1070 w 1098"/>
              <a:gd name="T91" fmla="*/ 369 h 615"/>
              <a:gd name="T92" fmla="*/ 846 w 1098"/>
              <a:gd name="T93" fmla="*/ 69 h 615"/>
              <a:gd name="T94" fmla="*/ 938 w 1098"/>
              <a:gd name="T95" fmla="*/ 134 h 615"/>
              <a:gd name="T96" fmla="*/ 935 w 1098"/>
              <a:gd name="T97" fmla="*/ 152 h 615"/>
              <a:gd name="T98" fmla="*/ 281 w 1098"/>
              <a:gd name="T99" fmla="*/ 408 h 615"/>
              <a:gd name="T100" fmla="*/ 257 w 1098"/>
              <a:gd name="T101" fmla="*/ 412 h 615"/>
              <a:gd name="T102" fmla="*/ 331 w 1098"/>
              <a:gd name="T103" fmla="*/ 354 h 615"/>
              <a:gd name="T104" fmla="*/ 658 w 1098"/>
              <a:gd name="T105" fmla="*/ 131 h 615"/>
              <a:gd name="T106" fmla="*/ 603 w 1098"/>
              <a:gd name="T107" fmla="*/ 98 h 615"/>
              <a:gd name="T108" fmla="*/ 604 w 1098"/>
              <a:gd name="T109" fmla="*/ 352 h 615"/>
              <a:gd name="T110" fmla="*/ 631 w 1098"/>
              <a:gd name="T111" fmla="*/ 214 h 615"/>
              <a:gd name="T112" fmla="*/ 660 w 1098"/>
              <a:gd name="T113" fmla="*/ 222 h 615"/>
              <a:gd name="T114" fmla="*/ 690 w 1098"/>
              <a:gd name="T115" fmla="*/ 347 h 615"/>
              <a:gd name="T116" fmla="*/ 740 w 1098"/>
              <a:gd name="T117" fmla="*/ 320 h 615"/>
              <a:gd name="T118" fmla="*/ 744 w 1098"/>
              <a:gd name="T119" fmla="*/ 150 h 615"/>
              <a:gd name="T120" fmla="*/ 769 w 1098"/>
              <a:gd name="T121" fmla="*/ 430 h 615"/>
              <a:gd name="T122" fmla="*/ 795 w 1098"/>
              <a:gd name="T123" fmla="*/ 410 h 615"/>
              <a:gd name="T124" fmla="*/ 847 w 1098"/>
              <a:gd name="T125" fmla="*/ 424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98" h="615">
                <a:moveTo>
                  <a:pt x="1082" y="332"/>
                </a:moveTo>
                <a:lnTo>
                  <a:pt x="1066" y="336"/>
                </a:lnTo>
                <a:lnTo>
                  <a:pt x="1050" y="343"/>
                </a:lnTo>
                <a:lnTo>
                  <a:pt x="1034" y="349"/>
                </a:lnTo>
                <a:lnTo>
                  <a:pt x="1019" y="357"/>
                </a:lnTo>
                <a:lnTo>
                  <a:pt x="1003" y="362"/>
                </a:lnTo>
                <a:lnTo>
                  <a:pt x="987" y="368"/>
                </a:lnTo>
                <a:lnTo>
                  <a:pt x="982" y="369"/>
                </a:lnTo>
                <a:lnTo>
                  <a:pt x="975" y="371"/>
                </a:lnTo>
                <a:lnTo>
                  <a:pt x="974" y="372"/>
                </a:lnTo>
                <a:lnTo>
                  <a:pt x="971" y="375"/>
                </a:lnTo>
                <a:lnTo>
                  <a:pt x="967" y="375"/>
                </a:lnTo>
                <a:lnTo>
                  <a:pt x="962" y="376"/>
                </a:lnTo>
                <a:lnTo>
                  <a:pt x="962" y="372"/>
                </a:lnTo>
                <a:lnTo>
                  <a:pt x="962" y="371"/>
                </a:lnTo>
                <a:lnTo>
                  <a:pt x="963" y="370"/>
                </a:lnTo>
                <a:lnTo>
                  <a:pt x="965" y="368"/>
                </a:lnTo>
                <a:lnTo>
                  <a:pt x="969" y="366"/>
                </a:lnTo>
                <a:lnTo>
                  <a:pt x="974" y="364"/>
                </a:lnTo>
                <a:lnTo>
                  <a:pt x="982" y="360"/>
                </a:lnTo>
                <a:lnTo>
                  <a:pt x="989" y="355"/>
                </a:lnTo>
                <a:lnTo>
                  <a:pt x="977" y="359"/>
                </a:lnTo>
                <a:lnTo>
                  <a:pt x="967" y="362"/>
                </a:lnTo>
                <a:lnTo>
                  <a:pt x="956" y="367"/>
                </a:lnTo>
                <a:lnTo>
                  <a:pt x="945" y="372"/>
                </a:lnTo>
                <a:lnTo>
                  <a:pt x="935" y="376"/>
                </a:lnTo>
                <a:lnTo>
                  <a:pt x="926" y="380"/>
                </a:lnTo>
                <a:lnTo>
                  <a:pt x="923" y="383"/>
                </a:lnTo>
                <a:lnTo>
                  <a:pt x="919" y="384"/>
                </a:lnTo>
                <a:lnTo>
                  <a:pt x="917" y="383"/>
                </a:lnTo>
                <a:lnTo>
                  <a:pt x="916" y="383"/>
                </a:lnTo>
                <a:lnTo>
                  <a:pt x="916" y="382"/>
                </a:lnTo>
                <a:lnTo>
                  <a:pt x="916" y="379"/>
                </a:lnTo>
                <a:lnTo>
                  <a:pt x="921" y="377"/>
                </a:lnTo>
                <a:lnTo>
                  <a:pt x="927" y="376"/>
                </a:lnTo>
                <a:lnTo>
                  <a:pt x="932" y="369"/>
                </a:lnTo>
                <a:lnTo>
                  <a:pt x="938" y="363"/>
                </a:lnTo>
                <a:lnTo>
                  <a:pt x="944" y="362"/>
                </a:lnTo>
                <a:lnTo>
                  <a:pt x="951" y="360"/>
                </a:lnTo>
                <a:lnTo>
                  <a:pt x="958" y="355"/>
                </a:lnTo>
                <a:lnTo>
                  <a:pt x="965" y="352"/>
                </a:lnTo>
                <a:lnTo>
                  <a:pt x="968" y="352"/>
                </a:lnTo>
                <a:lnTo>
                  <a:pt x="970" y="351"/>
                </a:lnTo>
                <a:lnTo>
                  <a:pt x="970" y="350"/>
                </a:lnTo>
                <a:lnTo>
                  <a:pt x="969" y="346"/>
                </a:lnTo>
                <a:lnTo>
                  <a:pt x="968" y="343"/>
                </a:lnTo>
                <a:lnTo>
                  <a:pt x="969" y="341"/>
                </a:lnTo>
                <a:lnTo>
                  <a:pt x="970" y="338"/>
                </a:lnTo>
                <a:lnTo>
                  <a:pt x="973" y="337"/>
                </a:lnTo>
                <a:lnTo>
                  <a:pt x="978" y="335"/>
                </a:lnTo>
                <a:lnTo>
                  <a:pt x="984" y="333"/>
                </a:lnTo>
                <a:lnTo>
                  <a:pt x="987" y="330"/>
                </a:lnTo>
                <a:lnTo>
                  <a:pt x="990" y="327"/>
                </a:lnTo>
                <a:lnTo>
                  <a:pt x="992" y="324"/>
                </a:lnTo>
                <a:lnTo>
                  <a:pt x="994" y="320"/>
                </a:lnTo>
                <a:lnTo>
                  <a:pt x="995" y="317"/>
                </a:lnTo>
                <a:lnTo>
                  <a:pt x="998" y="314"/>
                </a:lnTo>
                <a:lnTo>
                  <a:pt x="1001" y="314"/>
                </a:lnTo>
                <a:lnTo>
                  <a:pt x="1004" y="317"/>
                </a:lnTo>
                <a:lnTo>
                  <a:pt x="1009" y="319"/>
                </a:lnTo>
                <a:lnTo>
                  <a:pt x="1011" y="318"/>
                </a:lnTo>
                <a:lnTo>
                  <a:pt x="1012" y="316"/>
                </a:lnTo>
                <a:lnTo>
                  <a:pt x="1015" y="312"/>
                </a:lnTo>
                <a:lnTo>
                  <a:pt x="1019" y="308"/>
                </a:lnTo>
                <a:lnTo>
                  <a:pt x="1026" y="305"/>
                </a:lnTo>
                <a:lnTo>
                  <a:pt x="1028" y="304"/>
                </a:lnTo>
                <a:lnTo>
                  <a:pt x="1032" y="304"/>
                </a:lnTo>
                <a:lnTo>
                  <a:pt x="1035" y="304"/>
                </a:lnTo>
                <a:lnTo>
                  <a:pt x="1037" y="303"/>
                </a:lnTo>
                <a:lnTo>
                  <a:pt x="1039" y="302"/>
                </a:lnTo>
                <a:lnTo>
                  <a:pt x="1040" y="301"/>
                </a:lnTo>
                <a:lnTo>
                  <a:pt x="1040" y="299"/>
                </a:lnTo>
                <a:lnTo>
                  <a:pt x="1039" y="297"/>
                </a:lnTo>
                <a:lnTo>
                  <a:pt x="1036" y="295"/>
                </a:lnTo>
                <a:lnTo>
                  <a:pt x="1033" y="293"/>
                </a:lnTo>
                <a:lnTo>
                  <a:pt x="1027" y="291"/>
                </a:lnTo>
                <a:lnTo>
                  <a:pt x="1023" y="291"/>
                </a:lnTo>
                <a:lnTo>
                  <a:pt x="1017" y="292"/>
                </a:lnTo>
                <a:lnTo>
                  <a:pt x="1011" y="294"/>
                </a:lnTo>
                <a:lnTo>
                  <a:pt x="1001" y="300"/>
                </a:lnTo>
                <a:lnTo>
                  <a:pt x="990" y="304"/>
                </a:lnTo>
                <a:lnTo>
                  <a:pt x="978" y="309"/>
                </a:lnTo>
                <a:lnTo>
                  <a:pt x="968" y="312"/>
                </a:lnTo>
                <a:lnTo>
                  <a:pt x="944" y="321"/>
                </a:lnTo>
                <a:lnTo>
                  <a:pt x="921" y="330"/>
                </a:lnTo>
                <a:lnTo>
                  <a:pt x="899" y="339"/>
                </a:lnTo>
                <a:lnTo>
                  <a:pt x="876" y="349"/>
                </a:lnTo>
                <a:lnTo>
                  <a:pt x="852" y="359"/>
                </a:lnTo>
                <a:lnTo>
                  <a:pt x="829" y="369"/>
                </a:lnTo>
                <a:lnTo>
                  <a:pt x="805" y="380"/>
                </a:lnTo>
                <a:lnTo>
                  <a:pt x="783" y="392"/>
                </a:lnTo>
                <a:lnTo>
                  <a:pt x="761" y="403"/>
                </a:lnTo>
                <a:lnTo>
                  <a:pt x="738" y="416"/>
                </a:lnTo>
                <a:lnTo>
                  <a:pt x="715" y="428"/>
                </a:lnTo>
                <a:lnTo>
                  <a:pt x="694" y="441"/>
                </a:lnTo>
                <a:lnTo>
                  <a:pt x="673" y="453"/>
                </a:lnTo>
                <a:lnTo>
                  <a:pt x="653" y="467"/>
                </a:lnTo>
                <a:lnTo>
                  <a:pt x="643" y="474"/>
                </a:lnTo>
                <a:lnTo>
                  <a:pt x="632" y="479"/>
                </a:lnTo>
                <a:lnTo>
                  <a:pt x="621" y="485"/>
                </a:lnTo>
                <a:lnTo>
                  <a:pt x="610" y="490"/>
                </a:lnTo>
                <a:lnTo>
                  <a:pt x="604" y="491"/>
                </a:lnTo>
                <a:lnTo>
                  <a:pt x="599" y="493"/>
                </a:lnTo>
                <a:lnTo>
                  <a:pt x="596" y="496"/>
                </a:lnTo>
                <a:lnTo>
                  <a:pt x="591" y="500"/>
                </a:lnTo>
                <a:lnTo>
                  <a:pt x="583" y="510"/>
                </a:lnTo>
                <a:lnTo>
                  <a:pt x="573" y="519"/>
                </a:lnTo>
                <a:lnTo>
                  <a:pt x="563" y="526"/>
                </a:lnTo>
                <a:lnTo>
                  <a:pt x="554" y="534"/>
                </a:lnTo>
                <a:lnTo>
                  <a:pt x="549" y="537"/>
                </a:lnTo>
                <a:lnTo>
                  <a:pt x="545" y="541"/>
                </a:lnTo>
                <a:lnTo>
                  <a:pt x="542" y="543"/>
                </a:lnTo>
                <a:lnTo>
                  <a:pt x="540" y="543"/>
                </a:lnTo>
                <a:lnTo>
                  <a:pt x="537" y="543"/>
                </a:lnTo>
                <a:lnTo>
                  <a:pt x="534" y="542"/>
                </a:lnTo>
                <a:lnTo>
                  <a:pt x="546" y="528"/>
                </a:lnTo>
                <a:lnTo>
                  <a:pt x="558" y="516"/>
                </a:lnTo>
                <a:lnTo>
                  <a:pt x="571" y="503"/>
                </a:lnTo>
                <a:lnTo>
                  <a:pt x="583" y="492"/>
                </a:lnTo>
                <a:lnTo>
                  <a:pt x="596" y="479"/>
                </a:lnTo>
                <a:lnTo>
                  <a:pt x="608" y="468"/>
                </a:lnTo>
                <a:lnTo>
                  <a:pt x="622" y="457"/>
                </a:lnTo>
                <a:lnTo>
                  <a:pt x="636" y="445"/>
                </a:lnTo>
                <a:lnTo>
                  <a:pt x="663" y="425"/>
                </a:lnTo>
                <a:lnTo>
                  <a:pt x="690" y="407"/>
                </a:lnTo>
                <a:lnTo>
                  <a:pt x="719" y="388"/>
                </a:lnTo>
                <a:lnTo>
                  <a:pt x="747" y="370"/>
                </a:lnTo>
                <a:lnTo>
                  <a:pt x="759" y="362"/>
                </a:lnTo>
                <a:lnTo>
                  <a:pt x="771" y="358"/>
                </a:lnTo>
                <a:lnTo>
                  <a:pt x="776" y="357"/>
                </a:lnTo>
                <a:lnTo>
                  <a:pt x="780" y="353"/>
                </a:lnTo>
                <a:lnTo>
                  <a:pt x="783" y="351"/>
                </a:lnTo>
                <a:lnTo>
                  <a:pt x="785" y="350"/>
                </a:lnTo>
                <a:lnTo>
                  <a:pt x="788" y="354"/>
                </a:lnTo>
                <a:lnTo>
                  <a:pt x="789" y="358"/>
                </a:lnTo>
                <a:lnTo>
                  <a:pt x="794" y="357"/>
                </a:lnTo>
                <a:lnTo>
                  <a:pt x="798" y="353"/>
                </a:lnTo>
                <a:lnTo>
                  <a:pt x="808" y="349"/>
                </a:lnTo>
                <a:lnTo>
                  <a:pt x="817" y="344"/>
                </a:lnTo>
                <a:lnTo>
                  <a:pt x="826" y="338"/>
                </a:lnTo>
                <a:lnTo>
                  <a:pt x="835" y="334"/>
                </a:lnTo>
                <a:lnTo>
                  <a:pt x="850" y="325"/>
                </a:lnTo>
                <a:lnTo>
                  <a:pt x="864" y="317"/>
                </a:lnTo>
                <a:lnTo>
                  <a:pt x="871" y="313"/>
                </a:lnTo>
                <a:lnTo>
                  <a:pt x="878" y="309"/>
                </a:lnTo>
                <a:lnTo>
                  <a:pt x="884" y="304"/>
                </a:lnTo>
                <a:lnTo>
                  <a:pt x="890" y="300"/>
                </a:lnTo>
                <a:lnTo>
                  <a:pt x="893" y="295"/>
                </a:lnTo>
                <a:lnTo>
                  <a:pt x="897" y="292"/>
                </a:lnTo>
                <a:lnTo>
                  <a:pt x="902" y="289"/>
                </a:lnTo>
                <a:lnTo>
                  <a:pt x="908" y="287"/>
                </a:lnTo>
                <a:lnTo>
                  <a:pt x="912" y="286"/>
                </a:lnTo>
                <a:lnTo>
                  <a:pt x="916" y="281"/>
                </a:lnTo>
                <a:lnTo>
                  <a:pt x="921" y="277"/>
                </a:lnTo>
                <a:lnTo>
                  <a:pt x="928" y="275"/>
                </a:lnTo>
                <a:lnTo>
                  <a:pt x="941" y="271"/>
                </a:lnTo>
                <a:lnTo>
                  <a:pt x="953" y="268"/>
                </a:lnTo>
                <a:lnTo>
                  <a:pt x="961" y="264"/>
                </a:lnTo>
                <a:lnTo>
                  <a:pt x="969" y="262"/>
                </a:lnTo>
                <a:lnTo>
                  <a:pt x="977" y="261"/>
                </a:lnTo>
                <a:lnTo>
                  <a:pt x="985" y="260"/>
                </a:lnTo>
                <a:lnTo>
                  <a:pt x="994" y="258"/>
                </a:lnTo>
                <a:lnTo>
                  <a:pt x="1002" y="255"/>
                </a:lnTo>
                <a:lnTo>
                  <a:pt x="1010" y="252"/>
                </a:lnTo>
                <a:lnTo>
                  <a:pt x="1018" y="247"/>
                </a:lnTo>
                <a:lnTo>
                  <a:pt x="1028" y="243"/>
                </a:lnTo>
                <a:lnTo>
                  <a:pt x="1037" y="239"/>
                </a:lnTo>
                <a:lnTo>
                  <a:pt x="1048" y="235"/>
                </a:lnTo>
                <a:lnTo>
                  <a:pt x="1057" y="231"/>
                </a:lnTo>
                <a:lnTo>
                  <a:pt x="1050" y="226"/>
                </a:lnTo>
                <a:lnTo>
                  <a:pt x="1042" y="220"/>
                </a:lnTo>
                <a:lnTo>
                  <a:pt x="1040" y="219"/>
                </a:lnTo>
                <a:lnTo>
                  <a:pt x="1039" y="219"/>
                </a:lnTo>
                <a:lnTo>
                  <a:pt x="1036" y="217"/>
                </a:lnTo>
                <a:lnTo>
                  <a:pt x="1036" y="214"/>
                </a:lnTo>
                <a:lnTo>
                  <a:pt x="1037" y="212"/>
                </a:lnTo>
                <a:lnTo>
                  <a:pt x="1040" y="209"/>
                </a:lnTo>
                <a:lnTo>
                  <a:pt x="1040" y="208"/>
                </a:lnTo>
                <a:lnTo>
                  <a:pt x="1040" y="206"/>
                </a:lnTo>
                <a:lnTo>
                  <a:pt x="1039" y="205"/>
                </a:lnTo>
                <a:lnTo>
                  <a:pt x="1036" y="204"/>
                </a:lnTo>
                <a:lnTo>
                  <a:pt x="1027" y="204"/>
                </a:lnTo>
                <a:lnTo>
                  <a:pt x="1018" y="206"/>
                </a:lnTo>
                <a:lnTo>
                  <a:pt x="1004" y="214"/>
                </a:lnTo>
                <a:lnTo>
                  <a:pt x="991" y="221"/>
                </a:lnTo>
                <a:lnTo>
                  <a:pt x="983" y="221"/>
                </a:lnTo>
                <a:lnTo>
                  <a:pt x="974" y="222"/>
                </a:lnTo>
                <a:lnTo>
                  <a:pt x="963" y="227"/>
                </a:lnTo>
                <a:lnTo>
                  <a:pt x="954" y="231"/>
                </a:lnTo>
                <a:lnTo>
                  <a:pt x="934" y="242"/>
                </a:lnTo>
                <a:lnTo>
                  <a:pt x="915" y="252"/>
                </a:lnTo>
                <a:lnTo>
                  <a:pt x="894" y="262"/>
                </a:lnTo>
                <a:lnTo>
                  <a:pt x="874" y="271"/>
                </a:lnTo>
                <a:lnTo>
                  <a:pt x="866" y="275"/>
                </a:lnTo>
                <a:lnTo>
                  <a:pt x="858" y="278"/>
                </a:lnTo>
                <a:lnTo>
                  <a:pt x="851" y="283"/>
                </a:lnTo>
                <a:lnTo>
                  <a:pt x="843" y="286"/>
                </a:lnTo>
                <a:lnTo>
                  <a:pt x="839" y="287"/>
                </a:lnTo>
                <a:lnTo>
                  <a:pt x="835" y="286"/>
                </a:lnTo>
                <a:lnTo>
                  <a:pt x="831" y="285"/>
                </a:lnTo>
                <a:lnTo>
                  <a:pt x="828" y="284"/>
                </a:lnTo>
                <a:lnTo>
                  <a:pt x="819" y="280"/>
                </a:lnTo>
                <a:lnTo>
                  <a:pt x="809" y="278"/>
                </a:lnTo>
                <a:lnTo>
                  <a:pt x="809" y="276"/>
                </a:lnTo>
                <a:lnTo>
                  <a:pt x="810" y="274"/>
                </a:lnTo>
                <a:lnTo>
                  <a:pt x="812" y="272"/>
                </a:lnTo>
                <a:lnTo>
                  <a:pt x="813" y="271"/>
                </a:lnTo>
                <a:lnTo>
                  <a:pt x="818" y="269"/>
                </a:lnTo>
                <a:lnTo>
                  <a:pt x="822" y="267"/>
                </a:lnTo>
                <a:lnTo>
                  <a:pt x="828" y="262"/>
                </a:lnTo>
                <a:lnTo>
                  <a:pt x="834" y="258"/>
                </a:lnTo>
                <a:lnTo>
                  <a:pt x="841" y="253"/>
                </a:lnTo>
                <a:lnTo>
                  <a:pt x="847" y="250"/>
                </a:lnTo>
                <a:lnTo>
                  <a:pt x="862" y="243"/>
                </a:lnTo>
                <a:lnTo>
                  <a:pt x="875" y="235"/>
                </a:lnTo>
                <a:lnTo>
                  <a:pt x="883" y="230"/>
                </a:lnTo>
                <a:lnTo>
                  <a:pt x="891" y="227"/>
                </a:lnTo>
                <a:lnTo>
                  <a:pt x="899" y="223"/>
                </a:lnTo>
                <a:lnTo>
                  <a:pt x="908" y="220"/>
                </a:lnTo>
                <a:lnTo>
                  <a:pt x="926" y="214"/>
                </a:lnTo>
                <a:lnTo>
                  <a:pt x="944" y="208"/>
                </a:lnTo>
                <a:lnTo>
                  <a:pt x="962" y="202"/>
                </a:lnTo>
                <a:lnTo>
                  <a:pt x="981" y="195"/>
                </a:lnTo>
                <a:lnTo>
                  <a:pt x="995" y="192"/>
                </a:lnTo>
                <a:lnTo>
                  <a:pt x="1010" y="187"/>
                </a:lnTo>
                <a:lnTo>
                  <a:pt x="1018" y="185"/>
                </a:lnTo>
                <a:lnTo>
                  <a:pt x="1025" y="181"/>
                </a:lnTo>
                <a:lnTo>
                  <a:pt x="1031" y="177"/>
                </a:lnTo>
                <a:lnTo>
                  <a:pt x="1036" y="172"/>
                </a:lnTo>
                <a:lnTo>
                  <a:pt x="1040" y="169"/>
                </a:lnTo>
                <a:lnTo>
                  <a:pt x="1043" y="167"/>
                </a:lnTo>
                <a:lnTo>
                  <a:pt x="1047" y="167"/>
                </a:lnTo>
                <a:lnTo>
                  <a:pt x="1052" y="168"/>
                </a:lnTo>
                <a:lnTo>
                  <a:pt x="1055" y="169"/>
                </a:lnTo>
                <a:lnTo>
                  <a:pt x="1057" y="170"/>
                </a:lnTo>
                <a:lnTo>
                  <a:pt x="1060" y="169"/>
                </a:lnTo>
                <a:lnTo>
                  <a:pt x="1064" y="166"/>
                </a:lnTo>
                <a:lnTo>
                  <a:pt x="1081" y="163"/>
                </a:lnTo>
                <a:lnTo>
                  <a:pt x="1098" y="162"/>
                </a:lnTo>
                <a:lnTo>
                  <a:pt x="1093" y="160"/>
                </a:lnTo>
                <a:lnTo>
                  <a:pt x="1089" y="159"/>
                </a:lnTo>
                <a:lnTo>
                  <a:pt x="1085" y="159"/>
                </a:lnTo>
                <a:lnTo>
                  <a:pt x="1081" y="159"/>
                </a:lnTo>
                <a:lnTo>
                  <a:pt x="1072" y="159"/>
                </a:lnTo>
                <a:lnTo>
                  <a:pt x="1063" y="160"/>
                </a:lnTo>
                <a:lnTo>
                  <a:pt x="1055" y="162"/>
                </a:lnTo>
                <a:lnTo>
                  <a:pt x="1045" y="162"/>
                </a:lnTo>
                <a:lnTo>
                  <a:pt x="1040" y="162"/>
                </a:lnTo>
                <a:lnTo>
                  <a:pt x="1035" y="162"/>
                </a:lnTo>
                <a:lnTo>
                  <a:pt x="1033" y="160"/>
                </a:lnTo>
                <a:lnTo>
                  <a:pt x="1032" y="155"/>
                </a:lnTo>
                <a:lnTo>
                  <a:pt x="1032" y="152"/>
                </a:lnTo>
                <a:lnTo>
                  <a:pt x="1032" y="148"/>
                </a:lnTo>
                <a:lnTo>
                  <a:pt x="1039" y="143"/>
                </a:lnTo>
                <a:lnTo>
                  <a:pt x="1047" y="137"/>
                </a:lnTo>
                <a:lnTo>
                  <a:pt x="1048" y="135"/>
                </a:lnTo>
                <a:lnTo>
                  <a:pt x="1048" y="133"/>
                </a:lnTo>
                <a:lnTo>
                  <a:pt x="1047" y="130"/>
                </a:lnTo>
                <a:lnTo>
                  <a:pt x="1044" y="130"/>
                </a:lnTo>
                <a:lnTo>
                  <a:pt x="1039" y="129"/>
                </a:lnTo>
                <a:lnTo>
                  <a:pt x="1033" y="128"/>
                </a:lnTo>
                <a:lnTo>
                  <a:pt x="1031" y="127"/>
                </a:lnTo>
                <a:lnTo>
                  <a:pt x="1030" y="126"/>
                </a:lnTo>
                <a:lnTo>
                  <a:pt x="1030" y="123"/>
                </a:lnTo>
                <a:lnTo>
                  <a:pt x="1031" y="122"/>
                </a:lnTo>
                <a:lnTo>
                  <a:pt x="1035" y="120"/>
                </a:lnTo>
                <a:lnTo>
                  <a:pt x="1040" y="118"/>
                </a:lnTo>
                <a:lnTo>
                  <a:pt x="1041" y="114"/>
                </a:lnTo>
                <a:lnTo>
                  <a:pt x="1041" y="112"/>
                </a:lnTo>
                <a:lnTo>
                  <a:pt x="1040" y="110"/>
                </a:lnTo>
                <a:lnTo>
                  <a:pt x="1039" y="108"/>
                </a:lnTo>
                <a:lnTo>
                  <a:pt x="1034" y="105"/>
                </a:lnTo>
                <a:lnTo>
                  <a:pt x="1028" y="103"/>
                </a:lnTo>
                <a:lnTo>
                  <a:pt x="1020" y="102"/>
                </a:lnTo>
                <a:lnTo>
                  <a:pt x="1011" y="102"/>
                </a:lnTo>
                <a:lnTo>
                  <a:pt x="1003" y="102"/>
                </a:lnTo>
                <a:lnTo>
                  <a:pt x="994" y="103"/>
                </a:lnTo>
                <a:lnTo>
                  <a:pt x="971" y="105"/>
                </a:lnTo>
                <a:lnTo>
                  <a:pt x="950" y="110"/>
                </a:lnTo>
                <a:lnTo>
                  <a:pt x="928" y="114"/>
                </a:lnTo>
                <a:lnTo>
                  <a:pt x="905" y="119"/>
                </a:lnTo>
                <a:lnTo>
                  <a:pt x="911" y="112"/>
                </a:lnTo>
                <a:lnTo>
                  <a:pt x="915" y="104"/>
                </a:lnTo>
                <a:lnTo>
                  <a:pt x="917" y="95"/>
                </a:lnTo>
                <a:lnTo>
                  <a:pt x="917" y="87"/>
                </a:lnTo>
                <a:lnTo>
                  <a:pt x="916" y="84"/>
                </a:lnTo>
                <a:lnTo>
                  <a:pt x="915" y="81"/>
                </a:lnTo>
                <a:lnTo>
                  <a:pt x="911" y="81"/>
                </a:lnTo>
                <a:lnTo>
                  <a:pt x="909" y="83"/>
                </a:lnTo>
                <a:lnTo>
                  <a:pt x="907" y="84"/>
                </a:lnTo>
                <a:lnTo>
                  <a:pt x="905" y="83"/>
                </a:lnTo>
                <a:lnTo>
                  <a:pt x="905" y="83"/>
                </a:lnTo>
                <a:lnTo>
                  <a:pt x="905" y="81"/>
                </a:lnTo>
                <a:lnTo>
                  <a:pt x="908" y="78"/>
                </a:lnTo>
                <a:lnTo>
                  <a:pt x="909" y="76"/>
                </a:lnTo>
                <a:lnTo>
                  <a:pt x="911" y="72"/>
                </a:lnTo>
                <a:lnTo>
                  <a:pt x="912" y="70"/>
                </a:lnTo>
                <a:lnTo>
                  <a:pt x="912" y="68"/>
                </a:lnTo>
                <a:lnTo>
                  <a:pt x="911" y="64"/>
                </a:lnTo>
                <a:lnTo>
                  <a:pt x="907" y="62"/>
                </a:lnTo>
                <a:lnTo>
                  <a:pt x="902" y="62"/>
                </a:lnTo>
                <a:lnTo>
                  <a:pt x="897" y="62"/>
                </a:lnTo>
                <a:lnTo>
                  <a:pt x="894" y="62"/>
                </a:lnTo>
                <a:lnTo>
                  <a:pt x="880" y="63"/>
                </a:lnTo>
                <a:lnTo>
                  <a:pt x="868" y="65"/>
                </a:lnTo>
                <a:lnTo>
                  <a:pt x="861" y="67"/>
                </a:lnTo>
                <a:lnTo>
                  <a:pt x="855" y="68"/>
                </a:lnTo>
                <a:lnTo>
                  <a:pt x="852" y="69"/>
                </a:lnTo>
                <a:lnTo>
                  <a:pt x="850" y="69"/>
                </a:lnTo>
                <a:lnTo>
                  <a:pt x="847" y="69"/>
                </a:lnTo>
                <a:lnTo>
                  <a:pt x="846" y="69"/>
                </a:lnTo>
                <a:lnTo>
                  <a:pt x="846" y="68"/>
                </a:lnTo>
                <a:lnTo>
                  <a:pt x="845" y="65"/>
                </a:lnTo>
                <a:lnTo>
                  <a:pt x="852" y="63"/>
                </a:lnTo>
                <a:lnTo>
                  <a:pt x="857" y="60"/>
                </a:lnTo>
                <a:lnTo>
                  <a:pt x="860" y="55"/>
                </a:lnTo>
                <a:lnTo>
                  <a:pt x="863" y="50"/>
                </a:lnTo>
                <a:lnTo>
                  <a:pt x="866" y="44"/>
                </a:lnTo>
                <a:lnTo>
                  <a:pt x="869" y="39"/>
                </a:lnTo>
                <a:lnTo>
                  <a:pt x="871" y="37"/>
                </a:lnTo>
                <a:lnTo>
                  <a:pt x="874" y="35"/>
                </a:lnTo>
                <a:lnTo>
                  <a:pt x="874" y="31"/>
                </a:lnTo>
                <a:lnTo>
                  <a:pt x="874" y="28"/>
                </a:lnTo>
                <a:lnTo>
                  <a:pt x="872" y="22"/>
                </a:lnTo>
                <a:lnTo>
                  <a:pt x="870" y="17"/>
                </a:lnTo>
                <a:lnTo>
                  <a:pt x="867" y="11"/>
                </a:lnTo>
                <a:lnTo>
                  <a:pt x="862" y="7"/>
                </a:lnTo>
                <a:lnTo>
                  <a:pt x="858" y="6"/>
                </a:lnTo>
                <a:lnTo>
                  <a:pt x="854" y="6"/>
                </a:lnTo>
                <a:lnTo>
                  <a:pt x="851" y="6"/>
                </a:lnTo>
                <a:lnTo>
                  <a:pt x="846" y="6"/>
                </a:lnTo>
                <a:lnTo>
                  <a:pt x="838" y="7"/>
                </a:lnTo>
                <a:lnTo>
                  <a:pt x="830" y="10"/>
                </a:lnTo>
                <a:lnTo>
                  <a:pt x="820" y="12"/>
                </a:lnTo>
                <a:lnTo>
                  <a:pt x="810" y="14"/>
                </a:lnTo>
                <a:lnTo>
                  <a:pt x="800" y="17"/>
                </a:lnTo>
                <a:lnTo>
                  <a:pt x="789" y="19"/>
                </a:lnTo>
                <a:lnTo>
                  <a:pt x="783" y="21"/>
                </a:lnTo>
                <a:lnTo>
                  <a:pt x="776" y="23"/>
                </a:lnTo>
                <a:lnTo>
                  <a:pt x="769" y="23"/>
                </a:lnTo>
                <a:lnTo>
                  <a:pt x="762" y="22"/>
                </a:lnTo>
                <a:lnTo>
                  <a:pt x="751" y="12"/>
                </a:lnTo>
                <a:lnTo>
                  <a:pt x="739" y="3"/>
                </a:lnTo>
                <a:lnTo>
                  <a:pt x="730" y="2"/>
                </a:lnTo>
                <a:lnTo>
                  <a:pt x="720" y="3"/>
                </a:lnTo>
                <a:lnTo>
                  <a:pt x="710" y="4"/>
                </a:lnTo>
                <a:lnTo>
                  <a:pt x="701" y="5"/>
                </a:lnTo>
                <a:lnTo>
                  <a:pt x="676" y="9"/>
                </a:lnTo>
                <a:lnTo>
                  <a:pt x="651" y="14"/>
                </a:lnTo>
                <a:lnTo>
                  <a:pt x="625" y="19"/>
                </a:lnTo>
                <a:lnTo>
                  <a:pt x="602" y="25"/>
                </a:lnTo>
                <a:lnTo>
                  <a:pt x="602" y="18"/>
                </a:lnTo>
                <a:lnTo>
                  <a:pt x="600" y="10"/>
                </a:lnTo>
                <a:lnTo>
                  <a:pt x="599" y="6"/>
                </a:lnTo>
                <a:lnTo>
                  <a:pt x="597" y="4"/>
                </a:lnTo>
                <a:lnTo>
                  <a:pt x="595" y="1"/>
                </a:lnTo>
                <a:lnTo>
                  <a:pt x="591" y="0"/>
                </a:lnTo>
                <a:lnTo>
                  <a:pt x="587" y="0"/>
                </a:lnTo>
                <a:lnTo>
                  <a:pt x="582" y="0"/>
                </a:lnTo>
                <a:lnTo>
                  <a:pt x="578" y="1"/>
                </a:lnTo>
                <a:lnTo>
                  <a:pt x="573" y="2"/>
                </a:lnTo>
                <a:lnTo>
                  <a:pt x="570" y="4"/>
                </a:lnTo>
                <a:lnTo>
                  <a:pt x="565" y="5"/>
                </a:lnTo>
                <a:lnTo>
                  <a:pt x="561" y="5"/>
                </a:lnTo>
                <a:lnTo>
                  <a:pt x="556" y="5"/>
                </a:lnTo>
                <a:lnTo>
                  <a:pt x="546" y="3"/>
                </a:lnTo>
                <a:lnTo>
                  <a:pt x="534" y="3"/>
                </a:lnTo>
                <a:lnTo>
                  <a:pt x="524" y="4"/>
                </a:lnTo>
                <a:lnTo>
                  <a:pt x="513" y="7"/>
                </a:lnTo>
                <a:lnTo>
                  <a:pt x="501" y="11"/>
                </a:lnTo>
                <a:lnTo>
                  <a:pt x="489" y="14"/>
                </a:lnTo>
                <a:lnTo>
                  <a:pt x="478" y="18"/>
                </a:lnTo>
                <a:lnTo>
                  <a:pt x="465" y="21"/>
                </a:lnTo>
                <a:lnTo>
                  <a:pt x="455" y="25"/>
                </a:lnTo>
                <a:lnTo>
                  <a:pt x="443" y="27"/>
                </a:lnTo>
                <a:lnTo>
                  <a:pt x="435" y="30"/>
                </a:lnTo>
                <a:lnTo>
                  <a:pt x="426" y="31"/>
                </a:lnTo>
                <a:lnTo>
                  <a:pt x="424" y="30"/>
                </a:lnTo>
                <a:lnTo>
                  <a:pt x="422" y="29"/>
                </a:lnTo>
                <a:lnTo>
                  <a:pt x="421" y="28"/>
                </a:lnTo>
                <a:lnTo>
                  <a:pt x="419" y="25"/>
                </a:lnTo>
                <a:lnTo>
                  <a:pt x="419" y="20"/>
                </a:lnTo>
                <a:lnTo>
                  <a:pt x="419" y="17"/>
                </a:lnTo>
                <a:lnTo>
                  <a:pt x="417" y="13"/>
                </a:lnTo>
                <a:lnTo>
                  <a:pt x="414" y="10"/>
                </a:lnTo>
                <a:lnTo>
                  <a:pt x="405" y="4"/>
                </a:lnTo>
                <a:lnTo>
                  <a:pt x="394" y="1"/>
                </a:lnTo>
                <a:lnTo>
                  <a:pt x="383" y="0"/>
                </a:lnTo>
                <a:lnTo>
                  <a:pt x="373" y="0"/>
                </a:lnTo>
                <a:lnTo>
                  <a:pt x="361" y="2"/>
                </a:lnTo>
                <a:lnTo>
                  <a:pt x="350" y="4"/>
                </a:lnTo>
                <a:lnTo>
                  <a:pt x="339" y="7"/>
                </a:lnTo>
                <a:lnTo>
                  <a:pt x="327" y="11"/>
                </a:lnTo>
                <a:lnTo>
                  <a:pt x="305" y="18"/>
                </a:lnTo>
                <a:lnTo>
                  <a:pt x="283" y="25"/>
                </a:lnTo>
                <a:lnTo>
                  <a:pt x="262" y="34"/>
                </a:lnTo>
                <a:lnTo>
                  <a:pt x="241" y="43"/>
                </a:lnTo>
                <a:lnTo>
                  <a:pt x="232" y="47"/>
                </a:lnTo>
                <a:lnTo>
                  <a:pt x="221" y="53"/>
                </a:lnTo>
                <a:lnTo>
                  <a:pt x="212" y="57"/>
                </a:lnTo>
                <a:lnTo>
                  <a:pt x="202" y="62"/>
                </a:lnTo>
                <a:lnTo>
                  <a:pt x="193" y="68"/>
                </a:lnTo>
                <a:lnTo>
                  <a:pt x="184" y="71"/>
                </a:lnTo>
                <a:lnTo>
                  <a:pt x="175" y="77"/>
                </a:lnTo>
                <a:lnTo>
                  <a:pt x="167" y="81"/>
                </a:lnTo>
                <a:lnTo>
                  <a:pt x="151" y="94"/>
                </a:lnTo>
                <a:lnTo>
                  <a:pt x="135" y="106"/>
                </a:lnTo>
                <a:lnTo>
                  <a:pt x="127" y="109"/>
                </a:lnTo>
                <a:lnTo>
                  <a:pt x="118" y="111"/>
                </a:lnTo>
                <a:lnTo>
                  <a:pt x="108" y="115"/>
                </a:lnTo>
                <a:lnTo>
                  <a:pt x="99" y="121"/>
                </a:lnTo>
                <a:lnTo>
                  <a:pt x="87" y="133"/>
                </a:lnTo>
                <a:lnTo>
                  <a:pt x="76" y="144"/>
                </a:lnTo>
                <a:lnTo>
                  <a:pt x="69" y="151"/>
                </a:lnTo>
                <a:lnTo>
                  <a:pt x="61" y="158"/>
                </a:lnTo>
                <a:lnTo>
                  <a:pt x="54" y="164"/>
                </a:lnTo>
                <a:lnTo>
                  <a:pt x="48" y="173"/>
                </a:lnTo>
                <a:lnTo>
                  <a:pt x="44" y="181"/>
                </a:lnTo>
                <a:lnTo>
                  <a:pt x="42" y="191"/>
                </a:lnTo>
                <a:lnTo>
                  <a:pt x="42" y="196"/>
                </a:lnTo>
                <a:lnTo>
                  <a:pt x="43" y="201"/>
                </a:lnTo>
                <a:lnTo>
                  <a:pt x="44" y="204"/>
                </a:lnTo>
                <a:lnTo>
                  <a:pt x="47" y="209"/>
                </a:lnTo>
                <a:lnTo>
                  <a:pt x="51" y="211"/>
                </a:lnTo>
                <a:lnTo>
                  <a:pt x="54" y="212"/>
                </a:lnTo>
                <a:lnTo>
                  <a:pt x="59" y="211"/>
                </a:lnTo>
                <a:lnTo>
                  <a:pt x="62" y="210"/>
                </a:lnTo>
                <a:lnTo>
                  <a:pt x="70" y="204"/>
                </a:lnTo>
                <a:lnTo>
                  <a:pt x="76" y="200"/>
                </a:lnTo>
                <a:lnTo>
                  <a:pt x="93" y="185"/>
                </a:lnTo>
                <a:lnTo>
                  <a:pt x="110" y="170"/>
                </a:lnTo>
                <a:lnTo>
                  <a:pt x="118" y="162"/>
                </a:lnTo>
                <a:lnTo>
                  <a:pt x="127" y="154"/>
                </a:lnTo>
                <a:lnTo>
                  <a:pt x="135" y="147"/>
                </a:lnTo>
                <a:lnTo>
                  <a:pt x="144" y="140"/>
                </a:lnTo>
                <a:lnTo>
                  <a:pt x="162" y="128"/>
                </a:lnTo>
                <a:lnTo>
                  <a:pt x="180" y="115"/>
                </a:lnTo>
                <a:lnTo>
                  <a:pt x="199" y="104"/>
                </a:lnTo>
                <a:lnTo>
                  <a:pt x="218" y="93"/>
                </a:lnTo>
                <a:lnTo>
                  <a:pt x="228" y="88"/>
                </a:lnTo>
                <a:lnTo>
                  <a:pt x="237" y="84"/>
                </a:lnTo>
                <a:lnTo>
                  <a:pt x="248" y="78"/>
                </a:lnTo>
                <a:lnTo>
                  <a:pt x="258" y="73"/>
                </a:lnTo>
                <a:lnTo>
                  <a:pt x="267" y="69"/>
                </a:lnTo>
                <a:lnTo>
                  <a:pt x="278" y="65"/>
                </a:lnTo>
                <a:lnTo>
                  <a:pt x="283" y="64"/>
                </a:lnTo>
                <a:lnTo>
                  <a:pt x="286" y="62"/>
                </a:lnTo>
                <a:lnTo>
                  <a:pt x="287" y="62"/>
                </a:lnTo>
                <a:lnTo>
                  <a:pt x="289" y="61"/>
                </a:lnTo>
                <a:lnTo>
                  <a:pt x="290" y="60"/>
                </a:lnTo>
                <a:lnTo>
                  <a:pt x="291" y="61"/>
                </a:lnTo>
                <a:lnTo>
                  <a:pt x="292" y="62"/>
                </a:lnTo>
                <a:lnTo>
                  <a:pt x="292" y="63"/>
                </a:lnTo>
                <a:lnTo>
                  <a:pt x="291" y="63"/>
                </a:lnTo>
                <a:lnTo>
                  <a:pt x="290" y="64"/>
                </a:lnTo>
                <a:lnTo>
                  <a:pt x="289" y="64"/>
                </a:lnTo>
                <a:lnTo>
                  <a:pt x="287" y="65"/>
                </a:lnTo>
                <a:lnTo>
                  <a:pt x="286" y="67"/>
                </a:lnTo>
                <a:lnTo>
                  <a:pt x="285" y="68"/>
                </a:lnTo>
                <a:lnTo>
                  <a:pt x="277" y="76"/>
                </a:lnTo>
                <a:lnTo>
                  <a:pt x="268" y="81"/>
                </a:lnTo>
                <a:lnTo>
                  <a:pt x="258" y="88"/>
                </a:lnTo>
                <a:lnTo>
                  <a:pt x="248" y="95"/>
                </a:lnTo>
                <a:lnTo>
                  <a:pt x="237" y="102"/>
                </a:lnTo>
                <a:lnTo>
                  <a:pt x="228" y="110"/>
                </a:lnTo>
                <a:lnTo>
                  <a:pt x="209" y="123"/>
                </a:lnTo>
                <a:lnTo>
                  <a:pt x="190" y="138"/>
                </a:lnTo>
                <a:lnTo>
                  <a:pt x="171" y="154"/>
                </a:lnTo>
                <a:lnTo>
                  <a:pt x="153" y="169"/>
                </a:lnTo>
                <a:lnTo>
                  <a:pt x="135" y="184"/>
                </a:lnTo>
                <a:lnTo>
                  <a:pt x="118" y="198"/>
                </a:lnTo>
                <a:lnTo>
                  <a:pt x="101" y="214"/>
                </a:lnTo>
                <a:lnTo>
                  <a:pt x="85" y="230"/>
                </a:lnTo>
                <a:lnTo>
                  <a:pt x="70" y="246"/>
                </a:lnTo>
                <a:lnTo>
                  <a:pt x="56" y="263"/>
                </a:lnTo>
                <a:lnTo>
                  <a:pt x="43" y="281"/>
                </a:lnTo>
                <a:lnTo>
                  <a:pt x="30" y="300"/>
                </a:lnTo>
                <a:lnTo>
                  <a:pt x="23" y="309"/>
                </a:lnTo>
                <a:lnTo>
                  <a:pt x="18" y="318"/>
                </a:lnTo>
                <a:lnTo>
                  <a:pt x="11" y="327"/>
                </a:lnTo>
                <a:lnTo>
                  <a:pt x="5" y="336"/>
                </a:lnTo>
                <a:lnTo>
                  <a:pt x="2" y="344"/>
                </a:lnTo>
                <a:lnTo>
                  <a:pt x="0" y="352"/>
                </a:lnTo>
                <a:lnTo>
                  <a:pt x="0" y="355"/>
                </a:lnTo>
                <a:lnTo>
                  <a:pt x="0" y="360"/>
                </a:lnTo>
                <a:lnTo>
                  <a:pt x="1" y="363"/>
                </a:lnTo>
                <a:lnTo>
                  <a:pt x="3" y="368"/>
                </a:lnTo>
                <a:lnTo>
                  <a:pt x="7" y="376"/>
                </a:lnTo>
                <a:lnTo>
                  <a:pt x="14" y="383"/>
                </a:lnTo>
                <a:lnTo>
                  <a:pt x="21" y="388"/>
                </a:lnTo>
                <a:lnTo>
                  <a:pt x="27" y="395"/>
                </a:lnTo>
                <a:lnTo>
                  <a:pt x="27" y="402"/>
                </a:lnTo>
                <a:lnTo>
                  <a:pt x="25" y="409"/>
                </a:lnTo>
                <a:lnTo>
                  <a:pt x="26" y="412"/>
                </a:lnTo>
                <a:lnTo>
                  <a:pt x="27" y="415"/>
                </a:lnTo>
                <a:lnTo>
                  <a:pt x="28" y="417"/>
                </a:lnTo>
                <a:lnTo>
                  <a:pt x="30" y="419"/>
                </a:lnTo>
                <a:lnTo>
                  <a:pt x="37" y="422"/>
                </a:lnTo>
                <a:lnTo>
                  <a:pt x="44" y="426"/>
                </a:lnTo>
                <a:lnTo>
                  <a:pt x="51" y="434"/>
                </a:lnTo>
                <a:lnTo>
                  <a:pt x="60" y="440"/>
                </a:lnTo>
                <a:lnTo>
                  <a:pt x="68" y="443"/>
                </a:lnTo>
                <a:lnTo>
                  <a:pt x="76" y="444"/>
                </a:lnTo>
                <a:lnTo>
                  <a:pt x="85" y="443"/>
                </a:lnTo>
                <a:lnTo>
                  <a:pt x="92" y="440"/>
                </a:lnTo>
                <a:lnTo>
                  <a:pt x="101" y="434"/>
                </a:lnTo>
                <a:lnTo>
                  <a:pt x="109" y="426"/>
                </a:lnTo>
                <a:lnTo>
                  <a:pt x="117" y="418"/>
                </a:lnTo>
                <a:lnTo>
                  <a:pt x="125" y="410"/>
                </a:lnTo>
                <a:lnTo>
                  <a:pt x="139" y="394"/>
                </a:lnTo>
                <a:lnTo>
                  <a:pt x="155" y="379"/>
                </a:lnTo>
                <a:lnTo>
                  <a:pt x="165" y="371"/>
                </a:lnTo>
                <a:lnTo>
                  <a:pt x="172" y="363"/>
                </a:lnTo>
                <a:lnTo>
                  <a:pt x="182" y="357"/>
                </a:lnTo>
                <a:lnTo>
                  <a:pt x="190" y="350"/>
                </a:lnTo>
                <a:lnTo>
                  <a:pt x="188" y="354"/>
                </a:lnTo>
                <a:lnTo>
                  <a:pt x="186" y="359"/>
                </a:lnTo>
                <a:lnTo>
                  <a:pt x="184" y="363"/>
                </a:lnTo>
                <a:lnTo>
                  <a:pt x="180" y="368"/>
                </a:lnTo>
                <a:lnTo>
                  <a:pt x="171" y="379"/>
                </a:lnTo>
                <a:lnTo>
                  <a:pt x="163" y="391"/>
                </a:lnTo>
                <a:lnTo>
                  <a:pt x="155" y="402"/>
                </a:lnTo>
                <a:lnTo>
                  <a:pt x="147" y="413"/>
                </a:lnTo>
                <a:lnTo>
                  <a:pt x="141" y="425"/>
                </a:lnTo>
                <a:lnTo>
                  <a:pt x="134" y="437"/>
                </a:lnTo>
                <a:lnTo>
                  <a:pt x="129" y="446"/>
                </a:lnTo>
                <a:lnTo>
                  <a:pt x="125" y="458"/>
                </a:lnTo>
                <a:lnTo>
                  <a:pt x="121" y="468"/>
                </a:lnTo>
                <a:lnTo>
                  <a:pt x="120" y="479"/>
                </a:lnTo>
                <a:lnTo>
                  <a:pt x="120" y="486"/>
                </a:lnTo>
                <a:lnTo>
                  <a:pt x="121" y="492"/>
                </a:lnTo>
                <a:lnTo>
                  <a:pt x="122" y="498"/>
                </a:lnTo>
                <a:lnTo>
                  <a:pt x="125" y="503"/>
                </a:lnTo>
                <a:lnTo>
                  <a:pt x="128" y="509"/>
                </a:lnTo>
                <a:lnTo>
                  <a:pt x="132" y="516"/>
                </a:lnTo>
                <a:lnTo>
                  <a:pt x="130" y="519"/>
                </a:lnTo>
                <a:lnTo>
                  <a:pt x="130" y="524"/>
                </a:lnTo>
                <a:lnTo>
                  <a:pt x="126" y="527"/>
                </a:lnTo>
                <a:lnTo>
                  <a:pt x="121" y="529"/>
                </a:lnTo>
                <a:lnTo>
                  <a:pt x="116" y="532"/>
                </a:lnTo>
                <a:lnTo>
                  <a:pt x="111" y="533"/>
                </a:lnTo>
                <a:lnTo>
                  <a:pt x="108" y="535"/>
                </a:lnTo>
                <a:lnTo>
                  <a:pt x="104" y="538"/>
                </a:lnTo>
                <a:lnTo>
                  <a:pt x="101" y="542"/>
                </a:lnTo>
                <a:lnTo>
                  <a:pt x="99" y="545"/>
                </a:lnTo>
                <a:lnTo>
                  <a:pt x="95" y="553"/>
                </a:lnTo>
                <a:lnTo>
                  <a:pt x="93" y="561"/>
                </a:lnTo>
                <a:lnTo>
                  <a:pt x="93" y="566"/>
                </a:lnTo>
                <a:lnTo>
                  <a:pt x="93" y="569"/>
                </a:lnTo>
                <a:lnTo>
                  <a:pt x="94" y="574"/>
                </a:lnTo>
                <a:lnTo>
                  <a:pt x="96" y="577"/>
                </a:lnTo>
                <a:lnTo>
                  <a:pt x="100" y="581"/>
                </a:lnTo>
                <a:lnTo>
                  <a:pt x="103" y="583"/>
                </a:lnTo>
                <a:lnTo>
                  <a:pt x="108" y="583"/>
                </a:lnTo>
                <a:lnTo>
                  <a:pt x="112" y="584"/>
                </a:lnTo>
                <a:lnTo>
                  <a:pt x="122" y="587"/>
                </a:lnTo>
                <a:lnTo>
                  <a:pt x="132" y="592"/>
                </a:lnTo>
                <a:lnTo>
                  <a:pt x="136" y="593"/>
                </a:lnTo>
                <a:lnTo>
                  <a:pt x="142" y="594"/>
                </a:lnTo>
                <a:lnTo>
                  <a:pt x="146" y="593"/>
                </a:lnTo>
                <a:lnTo>
                  <a:pt x="150" y="592"/>
                </a:lnTo>
                <a:lnTo>
                  <a:pt x="159" y="588"/>
                </a:lnTo>
                <a:lnTo>
                  <a:pt x="167" y="584"/>
                </a:lnTo>
                <a:lnTo>
                  <a:pt x="170" y="582"/>
                </a:lnTo>
                <a:lnTo>
                  <a:pt x="174" y="581"/>
                </a:lnTo>
                <a:lnTo>
                  <a:pt x="176" y="582"/>
                </a:lnTo>
                <a:lnTo>
                  <a:pt x="179" y="585"/>
                </a:lnTo>
                <a:lnTo>
                  <a:pt x="187" y="594"/>
                </a:lnTo>
                <a:lnTo>
                  <a:pt x="195" y="603"/>
                </a:lnTo>
                <a:lnTo>
                  <a:pt x="199" y="607"/>
                </a:lnTo>
                <a:lnTo>
                  <a:pt x="202" y="610"/>
                </a:lnTo>
                <a:lnTo>
                  <a:pt x="206" y="613"/>
                </a:lnTo>
                <a:lnTo>
                  <a:pt x="210" y="615"/>
                </a:lnTo>
                <a:lnTo>
                  <a:pt x="215" y="613"/>
                </a:lnTo>
                <a:lnTo>
                  <a:pt x="221" y="611"/>
                </a:lnTo>
                <a:lnTo>
                  <a:pt x="227" y="608"/>
                </a:lnTo>
                <a:lnTo>
                  <a:pt x="232" y="606"/>
                </a:lnTo>
                <a:lnTo>
                  <a:pt x="242" y="598"/>
                </a:lnTo>
                <a:lnTo>
                  <a:pt x="252" y="588"/>
                </a:lnTo>
                <a:lnTo>
                  <a:pt x="262" y="579"/>
                </a:lnTo>
                <a:lnTo>
                  <a:pt x="273" y="569"/>
                </a:lnTo>
                <a:lnTo>
                  <a:pt x="283" y="560"/>
                </a:lnTo>
                <a:lnTo>
                  <a:pt x="293" y="551"/>
                </a:lnTo>
                <a:lnTo>
                  <a:pt x="305" y="541"/>
                </a:lnTo>
                <a:lnTo>
                  <a:pt x="315" y="532"/>
                </a:lnTo>
                <a:lnTo>
                  <a:pt x="326" y="520"/>
                </a:lnTo>
                <a:lnTo>
                  <a:pt x="338" y="510"/>
                </a:lnTo>
                <a:lnTo>
                  <a:pt x="350" y="500"/>
                </a:lnTo>
                <a:lnTo>
                  <a:pt x="361" y="490"/>
                </a:lnTo>
                <a:lnTo>
                  <a:pt x="373" y="479"/>
                </a:lnTo>
                <a:lnTo>
                  <a:pt x="384" y="470"/>
                </a:lnTo>
                <a:lnTo>
                  <a:pt x="391" y="465"/>
                </a:lnTo>
                <a:lnTo>
                  <a:pt x="397" y="460"/>
                </a:lnTo>
                <a:lnTo>
                  <a:pt x="400" y="457"/>
                </a:lnTo>
                <a:lnTo>
                  <a:pt x="402" y="454"/>
                </a:lnTo>
                <a:lnTo>
                  <a:pt x="405" y="451"/>
                </a:lnTo>
                <a:lnTo>
                  <a:pt x="405" y="447"/>
                </a:lnTo>
                <a:lnTo>
                  <a:pt x="405" y="450"/>
                </a:lnTo>
                <a:lnTo>
                  <a:pt x="406" y="452"/>
                </a:lnTo>
                <a:lnTo>
                  <a:pt x="409" y="451"/>
                </a:lnTo>
                <a:lnTo>
                  <a:pt x="414" y="449"/>
                </a:lnTo>
                <a:lnTo>
                  <a:pt x="417" y="445"/>
                </a:lnTo>
                <a:lnTo>
                  <a:pt x="421" y="442"/>
                </a:lnTo>
                <a:lnTo>
                  <a:pt x="423" y="437"/>
                </a:lnTo>
                <a:lnTo>
                  <a:pt x="426" y="434"/>
                </a:lnTo>
                <a:lnTo>
                  <a:pt x="431" y="430"/>
                </a:lnTo>
                <a:lnTo>
                  <a:pt x="435" y="427"/>
                </a:lnTo>
                <a:lnTo>
                  <a:pt x="437" y="427"/>
                </a:lnTo>
                <a:lnTo>
                  <a:pt x="438" y="428"/>
                </a:lnTo>
                <a:lnTo>
                  <a:pt x="438" y="429"/>
                </a:lnTo>
                <a:lnTo>
                  <a:pt x="438" y="430"/>
                </a:lnTo>
                <a:lnTo>
                  <a:pt x="437" y="433"/>
                </a:lnTo>
                <a:lnTo>
                  <a:pt x="435" y="435"/>
                </a:lnTo>
                <a:lnTo>
                  <a:pt x="432" y="442"/>
                </a:lnTo>
                <a:lnTo>
                  <a:pt x="429" y="447"/>
                </a:lnTo>
                <a:lnTo>
                  <a:pt x="425" y="457"/>
                </a:lnTo>
                <a:lnTo>
                  <a:pt x="421" y="465"/>
                </a:lnTo>
                <a:lnTo>
                  <a:pt x="415" y="472"/>
                </a:lnTo>
                <a:lnTo>
                  <a:pt x="409" y="480"/>
                </a:lnTo>
                <a:lnTo>
                  <a:pt x="407" y="490"/>
                </a:lnTo>
                <a:lnTo>
                  <a:pt x="405" y="499"/>
                </a:lnTo>
                <a:lnTo>
                  <a:pt x="405" y="508"/>
                </a:lnTo>
                <a:lnTo>
                  <a:pt x="406" y="517"/>
                </a:lnTo>
                <a:lnTo>
                  <a:pt x="407" y="525"/>
                </a:lnTo>
                <a:lnTo>
                  <a:pt x="410" y="532"/>
                </a:lnTo>
                <a:lnTo>
                  <a:pt x="415" y="537"/>
                </a:lnTo>
                <a:lnTo>
                  <a:pt x="422" y="542"/>
                </a:lnTo>
                <a:lnTo>
                  <a:pt x="425" y="543"/>
                </a:lnTo>
                <a:lnTo>
                  <a:pt x="429" y="544"/>
                </a:lnTo>
                <a:lnTo>
                  <a:pt x="433" y="544"/>
                </a:lnTo>
                <a:lnTo>
                  <a:pt x="437" y="543"/>
                </a:lnTo>
                <a:lnTo>
                  <a:pt x="445" y="541"/>
                </a:lnTo>
                <a:lnTo>
                  <a:pt x="451" y="536"/>
                </a:lnTo>
                <a:lnTo>
                  <a:pt x="468" y="524"/>
                </a:lnTo>
                <a:lnTo>
                  <a:pt x="484" y="510"/>
                </a:lnTo>
                <a:lnTo>
                  <a:pt x="491" y="505"/>
                </a:lnTo>
                <a:lnTo>
                  <a:pt x="498" y="500"/>
                </a:lnTo>
                <a:lnTo>
                  <a:pt x="501" y="496"/>
                </a:lnTo>
                <a:lnTo>
                  <a:pt x="504" y="493"/>
                </a:lnTo>
                <a:lnTo>
                  <a:pt x="506" y="490"/>
                </a:lnTo>
                <a:lnTo>
                  <a:pt x="507" y="486"/>
                </a:lnTo>
                <a:lnTo>
                  <a:pt x="503" y="486"/>
                </a:lnTo>
                <a:lnTo>
                  <a:pt x="499" y="487"/>
                </a:lnTo>
                <a:lnTo>
                  <a:pt x="496" y="488"/>
                </a:lnTo>
                <a:lnTo>
                  <a:pt x="492" y="492"/>
                </a:lnTo>
                <a:lnTo>
                  <a:pt x="484" y="498"/>
                </a:lnTo>
                <a:lnTo>
                  <a:pt x="478" y="503"/>
                </a:lnTo>
                <a:lnTo>
                  <a:pt x="476" y="503"/>
                </a:lnTo>
                <a:lnTo>
                  <a:pt x="474" y="503"/>
                </a:lnTo>
                <a:lnTo>
                  <a:pt x="472" y="502"/>
                </a:lnTo>
                <a:lnTo>
                  <a:pt x="471" y="500"/>
                </a:lnTo>
                <a:lnTo>
                  <a:pt x="474" y="496"/>
                </a:lnTo>
                <a:lnTo>
                  <a:pt x="478" y="494"/>
                </a:lnTo>
                <a:lnTo>
                  <a:pt x="487" y="486"/>
                </a:lnTo>
                <a:lnTo>
                  <a:pt x="495" y="477"/>
                </a:lnTo>
                <a:lnTo>
                  <a:pt x="504" y="469"/>
                </a:lnTo>
                <a:lnTo>
                  <a:pt x="512" y="461"/>
                </a:lnTo>
                <a:lnTo>
                  <a:pt x="521" y="454"/>
                </a:lnTo>
                <a:lnTo>
                  <a:pt x="531" y="447"/>
                </a:lnTo>
                <a:lnTo>
                  <a:pt x="541" y="442"/>
                </a:lnTo>
                <a:lnTo>
                  <a:pt x="550" y="436"/>
                </a:lnTo>
                <a:lnTo>
                  <a:pt x="555" y="433"/>
                </a:lnTo>
                <a:lnTo>
                  <a:pt x="561" y="429"/>
                </a:lnTo>
                <a:lnTo>
                  <a:pt x="565" y="427"/>
                </a:lnTo>
                <a:lnTo>
                  <a:pt x="571" y="425"/>
                </a:lnTo>
                <a:lnTo>
                  <a:pt x="557" y="437"/>
                </a:lnTo>
                <a:lnTo>
                  <a:pt x="544" y="450"/>
                </a:lnTo>
                <a:lnTo>
                  <a:pt x="538" y="455"/>
                </a:lnTo>
                <a:lnTo>
                  <a:pt x="531" y="461"/>
                </a:lnTo>
                <a:lnTo>
                  <a:pt x="524" y="469"/>
                </a:lnTo>
                <a:lnTo>
                  <a:pt x="516" y="476"/>
                </a:lnTo>
                <a:lnTo>
                  <a:pt x="513" y="477"/>
                </a:lnTo>
                <a:lnTo>
                  <a:pt x="509" y="480"/>
                </a:lnTo>
                <a:lnTo>
                  <a:pt x="508" y="482"/>
                </a:lnTo>
                <a:lnTo>
                  <a:pt x="508" y="482"/>
                </a:lnTo>
                <a:lnTo>
                  <a:pt x="507" y="483"/>
                </a:lnTo>
                <a:lnTo>
                  <a:pt x="507" y="483"/>
                </a:lnTo>
                <a:lnTo>
                  <a:pt x="507" y="485"/>
                </a:lnTo>
                <a:lnTo>
                  <a:pt x="508" y="485"/>
                </a:lnTo>
                <a:lnTo>
                  <a:pt x="509" y="485"/>
                </a:lnTo>
                <a:lnTo>
                  <a:pt x="512" y="485"/>
                </a:lnTo>
                <a:lnTo>
                  <a:pt x="515" y="483"/>
                </a:lnTo>
                <a:lnTo>
                  <a:pt x="518" y="479"/>
                </a:lnTo>
                <a:lnTo>
                  <a:pt x="520" y="478"/>
                </a:lnTo>
                <a:lnTo>
                  <a:pt x="520" y="477"/>
                </a:lnTo>
                <a:lnTo>
                  <a:pt x="522" y="477"/>
                </a:lnTo>
                <a:lnTo>
                  <a:pt x="523" y="477"/>
                </a:lnTo>
                <a:lnTo>
                  <a:pt x="529" y="475"/>
                </a:lnTo>
                <a:lnTo>
                  <a:pt x="532" y="472"/>
                </a:lnTo>
                <a:lnTo>
                  <a:pt x="565" y="450"/>
                </a:lnTo>
                <a:lnTo>
                  <a:pt x="597" y="426"/>
                </a:lnTo>
                <a:lnTo>
                  <a:pt x="629" y="403"/>
                </a:lnTo>
                <a:lnTo>
                  <a:pt x="662" y="380"/>
                </a:lnTo>
                <a:lnTo>
                  <a:pt x="672" y="375"/>
                </a:lnTo>
                <a:lnTo>
                  <a:pt x="681" y="369"/>
                </a:lnTo>
                <a:lnTo>
                  <a:pt x="690" y="362"/>
                </a:lnTo>
                <a:lnTo>
                  <a:pt x="699" y="357"/>
                </a:lnTo>
                <a:lnTo>
                  <a:pt x="710" y="351"/>
                </a:lnTo>
                <a:lnTo>
                  <a:pt x="719" y="345"/>
                </a:lnTo>
                <a:lnTo>
                  <a:pt x="721" y="344"/>
                </a:lnTo>
                <a:lnTo>
                  <a:pt x="724" y="342"/>
                </a:lnTo>
                <a:lnTo>
                  <a:pt x="726" y="342"/>
                </a:lnTo>
                <a:lnTo>
                  <a:pt x="726" y="341"/>
                </a:lnTo>
                <a:lnTo>
                  <a:pt x="727" y="338"/>
                </a:lnTo>
                <a:lnTo>
                  <a:pt x="726" y="337"/>
                </a:lnTo>
                <a:lnTo>
                  <a:pt x="729" y="337"/>
                </a:lnTo>
                <a:lnTo>
                  <a:pt x="732" y="337"/>
                </a:lnTo>
                <a:lnTo>
                  <a:pt x="737" y="335"/>
                </a:lnTo>
                <a:lnTo>
                  <a:pt x="740" y="334"/>
                </a:lnTo>
                <a:lnTo>
                  <a:pt x="747" y="328"/>
                </a:lnTo>
                <a:lnTo>
                  <a:pt x="754" y="325"/>
                </a:lnTo>
                <a:lnTo>
                  <a:pt x="761" y="321"/>
                </a:lnTo>
                <a:lnTo>
                  <a:pt x="768" y="318"/>
                </a:lnTo>
                <a:lnTo>
                  <a:pt x="771" y="317"/>
                </a:lnTo>
                <a:lnTo>
                  <a:pt x="773" y="316"/>
                </a:lnTo>
                <a:lnTo>
                  <a:pt x="777" y="316"/>
                </a:lnTo>
                <a:lnTo>
                  <a:pt x="781" y="316"/>
                </a:lnTo>
                <a:lnTo>
                  <a:pt x="775" y="318"/>
                </a:lnTo>
                <a:lnTo>
                  <a:pt x="769" y="321"/>
                </a:lnTo>
                <a:lnTo>
                  <a:pt x="764" y="325"/>
                </a:lnTo>
                <a:lnTo>
                  <a:pt x="761" y="327"/>
                </a:lnTo>
                <a:lnTo>
                  <a:pt x="746" y="335"/>
                </a:lnTo>
                <a:lnTo>
                  <a:pt x="732" y="343"/>
                </a:lnTo>
                <a:lnTo>
                  <a:pt x="720" y="350"/>
                </a:lnTo>
                <a:lnTo>
                  <a:pt x="707" y="359"/>
                </a:lnTo>
                <a:lnTo>
                  <a:pt x="695" y="367"/>
                </a:lnTo>
                <a:lnTo>
                  <a:pt x="682" y="376"/>
                </a:lnTo>
                <a:lnTo>
                  <a:pt x="657" y="395"/>
                </a:lnTo>
                <a:lnTo>
                  <a:pt x="633" y="415"/>
                </a:lnTo>
                <a:lnTo>
                  <a:pt x="610" y="435"/>
                </a:lnTo>
                <a:lnTo>
                  <a:pt x="586" y="457"/>
                </a:lnTo>
                <a:lnTo>
                  <a:pt x="574" y="468"/>
                </a:lnTo>
                <a:lnTo>
                  <a:pt x="563" y="478"/>
                </a:lnTo>
                <a:lnTo>
                  <a:pt x="551" y="490"/>
                </a:lnTo>
                <a:lnTo>
                  <a:pt x="541" y="501"/>
                </a:lnTo>
                <a:lnTo>
                  <a:pt x="530" y="513"/>
                </a:lnTo>
                <a:lnTo>
                  <a:pt x="518" y="525"/>
                </a:lnTo>
                <a:lnTo>
                  <a:pt x="507" y="537"/>
                </a:lnTo>
                <a:lnTo>
                  <a:pt x="497" y="550"/>
                </a:lnTo>
                <a:lnTo>
                  <a:pt x="495" y="555"/>
                </a:lnTo>
                <a:lnTo>
                  <a:pt x="491" y="561"/>
                </a:lnTo>
                <a:lnTo>
                  <a:pt x="489" y="567"/>
                </a:lnTo>
                <a:lnTo>
                  <a:pt x="488" y="573"/>
                </a:lnTo>
                <a:lnTo>
                  <a:pt x="487" y="579"/>
                </a:lnTo>
                <a:lnTo>
                  <a:pt x="487" y="587"/>
                </a:lnTo>
                <a:lnTo>
                  <a:pt x="487" y="591"/>
                </a:lnTo>
                <a:lnTo>
                  <a:pt x="488" y="595"/>
                </a:lnTo>
                <a:lnTo>
                  <a:pt x="489" y="598"/>
                </a:lnTo>
                <a:lnTo>
                  <a:pt x="491" y="599"/>
                </a:lnTo>
                <a:lnTo>
                  <a:pt x="495" y="599"/>
                </a:lnTo>
                <a:lnTo>
                  <a:pt x="496" y="596"/>
                </a:lnTo>
                <a:lnTo>
                  <a:pt x="497" y="594"/>
                </a:lnTo>
                <a:lnTo>
                  <a:pt x="498" y="591"/>
                </a:lnTo>
                <a:lnTo>
                  <a:pt x="501" y="587"/>
                </a:lnTo>
                <a:lnTo>
                  <a:pt x="505" y="584"/>
                </a:lnTo>
                <a:lnTo>
                  <a:pt x="514" y="582"/>
                </a:lnTo>
                <a:lnTo>
                  <a:pt x="523" y="578"/>
                </a:lnTo>
                <a:lnTo>
                  <a:pt x="526" y="576"/>
                </a:lnTo>
                <a:lnTo>
                  <a:pt x="528" y="575"/>
                </a:lnTo>
                <a:lnTo>
                  <a:pt x="530" y="573"/>
                </a:lnTo>
                <a:lnTo>
                  <a:pt x="530" y="569"/>
                </a:lnTo>
                <a:lnTo>
                  <a:pt x="532" y="563"/>
                </a:lnTo>
                <a:lnTo>
                  <a:pt x="534" y="558"/>
                </a:lnTo>
                <a:lnTo>
                  <a:pt x="539" y="553"/>
                </a:lnTo>
                <a:lnTo>
                  <a:pt x="544" y="549"/>
                </a:lnTo>
                <a:lnTo>
                  <a:pt x="549" y="544"/>
                </a:lnTo>
                <a:lnTo>
                  <a:pt x="555" y="541"/>
                </a:lnTo>
                <a:lnTo>
                  <a:pt x="561" y="538"/>
                </a:lnTo>
                <a:lnTo>
                  <a:pt x="566" y="536"/>
                </a:lnTo>
                <a:lnTo>
                  <a:pt x="567" y="533"/>
                </a:lnTo>
                <a:lnTo>
                  <a:pt x="569" y="528"/>
                </a:lnTo>
                <a:lnTo>
                  <a:pt x="571" y="527"/>
                </a:lnTo>
                <a:lnTo>
                  <a:pt x="573" y="527"/>
                </a:lnTo>
                <a:lnTo>
                  <a:pt x="574" y="528"/>
                </a:lnTo>
                <a:lnTo>
                  <a:pt x="575" y="529"/>
                </a:lnTo>
                <a:lnTo>
                  <a:pt x="577" y="535"/>
                </a:lnTo>
                <a:lnTo>
                  <a:pt x="578" y="541"/>
                </a:lnTo>
                <a:lnTo>
                  <a:pt x="580" y="537"/>
                </a:lnTo>
                <a:lnTo>
                  <a:pt x="583" y="536"/>
                </a:lnTo>
                <a:lnTo>
                  <a:pt x="588" y="535"/>
                </a:lnTo>
                <a:lnTo>
                  <a:pt x="592" y="535"/>
                </a:lnTo>
                <a:lnTo>
                  <a:pt x="596" y="535"/>
                </a:lnTo>
                <a:lnTo>
                  <a:pt x="598" y="534"/>
                </a:lnTo>
                <a:lnTo>
                  <a:pt x="600" y="532"/>
                </a:lnTo>
                <a:lnTo>
                  <a:pt x="604" y="528"/>
                </a:lnTo>
                <a:lnTo>
                  <a:pt x="612" y="521"/>
                </a:lnTo>
                <a:lnTo>
                  <a:pt x="622" y="515"/>
                </a:lnTo>
                <a:lnTo>
                  <a:pt x="631" y="508"/>
                </a:lnTo>
                <a:lnTo>
                  <a:pt x="640" y="500"/>
                </a:lnTo>
                <a:lnTo>
                  <a:pt x="651" y="492"/>
                </a:lnTo>
                <a:lnTo>
                  <a:pt x="661" y="484"/>
                </a:lnTo>
                <a:lnTo>
                  <a:pt x="672" y="477"/>
                </a:lnTo>
                <a:lnTo>
                  <a:pt x="684" y="470"/>
                </a:lnTo>
                <a:lnTo>
                  <a:pt x="691" y="463"/>
                </a:lnTo>
                <a:lnTo>
                  <a:pt x="702" y="457"/>
                </a:lnTo>
                <a:lnTo>
                  <a:pt x="706" y="454"/>
                </a:lnTo>
                <a:lnTo>
                  <a:pt x="712" y="452"/>
                </a:lnTo>
                <a:lnTo>
                  <a:pt x="717" y="452"/>
                </a:lnTo>
                <a:lnTo>
                  <a:pt x="722" y="453"/>
                </a:lnTo>
                <a:lnTo>
                  <a:pt x="718" y="463"/>
                </a:lnTo>
                <a:lnTo>
                  <a:pt x="715" y="474"/>
                </a:lnTo>
                <a:lnTo>
                  <a:pt x="719" y="474"/>
                </a:lnTo>
                <a:lnTo>
                  <a:pt x="723" y="475"/>
                </a:lnTo>
                <a:lnTo>
                  <a:pt x="726" y="476"/>
                </a:lnTo>
                <a:lnTo>
                  <a:pt x="728" y="479"/>
                </a:lnTo>
                <a:lnTo>
                  <a:pt x="728" y="490"/>
                </a:lnTo>
                <a:lnTo>
                  <a:pt x="728" y="500"/>
                </a:lnTo>
                <a:lnTo>
                  <a:pt x="728" y="501"/>
                </a:lnTo>
                <a:lnTo>
                  <a:pt x="729" y="502"/>
                </a:lnTo>
                <a:lnTo>
                  <a:pt x="730" y="502"/>
                </a:lnTo>
                <a:lnTo>
                  <a:pt x="731" y="502"/>
                </a:lnTo>
                <a:lnTo>
                  <a:pt x="735" y="501"/>
                </a:lnTo>
                <a:lnTo>
                  <a:pt x="738" y="500"/>
                </a:lnTo>
                <a:lnTo>
                  <a:pt x="742" y="499"/>
                </a:lnTo>
                <a:lnTo>
                  <a:pt x="744" y="498"/>
                </a:lnTo>
                <a:lnTo>
                  <a:pt x="747" y="498"/>
                </a:lnTo>
                <a:lnTo>
                  <a:pt x="751" y="499"/>
                </a:lnTo>
                <a:lnTo>
                  <a:pt x="752" y="500"/>
                </a:lnTo>
                <a:lnTo>
                  <a:pt x="752" y="501"/>
                </a:lnTo>
                <a:lnTo>
                  <a:pt x="752" y="502"/>
                </a:lnTo>
                <a:lnTo>
                  <a:pt x="751" y="503"/>
                </a:lnTo>
                <a:lnTo>
                  <a:pt x="748" y="508"/>
                </a:lnTo>
                <a:lnTo>
                  <a:pt x="745" y="511"/>
                </a:lnTo>
                <a:lnTo>
                  <a:pt x="752" y="509"/>
                </a:lnTo>
                <a:lnTo>
                  <a:pt x="757" y="505"/>
                </a:lnTo>
                <a:lnTo>
                  <a:pt x="762" y="501"/>
                </a:lnTo>
                <a:lnTo>
                  <a:pt x="768" y="496"/>
                </a:lnTo>
                <a:lnTo>
                  <a:pt x="770" y="492"/>
                </a:lnTo>
                <a:lnTo>
                  <a:pt x="773" y="488"/>
                </a:lnTo>
                <a:lnTo>
                  <a:pt x="776" y="488"/>
                </a:lnTo>
                <a:lnTo>
                  <a:pt x="779" y="490"/>
                </a:lnTo>
                <a:lnTo>
                  <a:pt x="780" y="493"/>
                </a:lnTo>
                <a:lnTo>
                  <a:pt x="781" y="495"/>
                </a:lnTo>
                <a:lnTo>
                  <a:pt x="777" y="500"/>
                </a:lnTo>
                <a:lnTo>
                  <a:pt x="771" y="504"/>
                </a:lnTo>
                <a:lnTo>
                  <a:pt x="769" y="510"/>
                </a:lnTo>
                <a:lnTo>
                  <a:pt x="765" y="516"/>
                </a:lnTo>
                <a:lnTo>
                  <a:pt x="763" y="518"/>
                </a:lnTo>
                <a:lnTo>
                  <a:pt x="761" y="519"/>
                </a:lnTo>
                <a:lnTo>
                  <a:pt x="759" y="520"/>
                </a:lnTo>
                <a:lnTo>
                  <a:pt x="756" y="520"/>
                </a:lnTo>
                <a:lnTo>
                  <a:pt x="751" y="520"/>
                </a:lnTo>
                <a:lnTo>
                  <a:pt x="745" y="519"/>
                </a:lnTo>
                <a:lnTo>
                  <a:pt x="748" y="524"/>
                </a:lnTo>
                <a:lnTo>
                  <a:pt x="750" y="528"/>
                </a:lnTo>
                <a:lnTo>
                  <a:pt x="748" y="530"/>
                </a:lnTo>
                <a:lnTo>
                  <a:pt x="747" y="533"/>
                </a:lnTo>
                <a:lnTo>
                  <a:pt x="746" y="535"/>
                </a:lnTo>
                <a:lnTo>
                  <a:pt x="743" y="537"/>
                </a:lnTo>
                <a:lnTo>
                  <a:pt x="746" y="538"/>
                </a:lnTo>
                <a:lnTo>
                  <a:pt x="748" y="540"/>
                </a:lnTo>
                <a:lnTo>
                  <a:pt x="751" y="538"/>
                </a:lnTo>
                <a:lnTo>
                  <a:pt x="754" y="537"/>
                </a:lnTo>
                <a:lnTo>
                  <a:pt x="759" y="535"/>
                </a:lnTo>
                <a:lnTo>
                  <a:pt x="764" y="533"/>
                </a:lnTo>
                <a:lnTo>
                  <a:pt x="767" y="534"/>
                </a:lnTo>
                <a:lnTo>
                  <a:pt x="768" y="535"/>
                </a:lnTo>
                <a:lnTo>
                  <a:pt x="768" y="536"/>
                </a:lnTo>
                <a:lnTo>
                  <a:pt x="769" y="538"/>
                </a:lnTo>
                <a:lnTo>
                  <a:pt x="768" y="542"/>
                </a:lnTo>
                <a:lnTo>
                  <a:pt x="768" y="546"/>
                </a:lnTo>
                <a:lnTo>
                  <a:pt x="777" y="541"/>
                </a:lnTo>
                <a:lnTo>
                  <a:pt x="787" y="534"/>
                </a:lnTo>
                <a:lnTo>
                  <a:pt x="792" y="530"/>
                </a:lnTo>
                <a:lnTo>
                  <a:pt x="797" y="528"/>
                </a:lnTo>
                <a:lnTo>
                  <a:pt x="803" y="527"/>
                </a:lnTo>
                <a:lnTo>
                  <a:pt x="808" y="528"/>
                </a:lnTo>
                <a:lnTo>
                  <a:pt x="813" y="529"/>
                </a:lnTo>
                <a:lnTo>
                  <a:pt x="819" y="532"/>
                </a:lnTo>
                <a:lnTo>
                  <a:pt x="825" y="527"/>
                </a:lnTo>
                <a:lnTo>
                  <a:pt x="830" y="521"/>
                </a:lnTo>
                <a:lnTo>
                  <a:pt x="837" y="517"/>
                </a:lnTo>
                <a:lnTo>
                  <a:pt x="844" y="512"/>
                </a:lnTo>
                <a:lnTo>
                  <a:pt x="846" y="511"/>
                </a:lnTo>
                <a:lnTo>
                  <a:pt x="847" y="509"/>
                </a:lnTo>
                <a:lnTo>
                  <a:pt x="849" y="508"/>
                </a:lnTo>
                <a:lnTo>
                  <a:pt x="849" y="504"/>
                </a:lnTo>
                <a:lnTo>
                  <a:pt x="850" y="500"/>
                </a:lnTo>
                <a:lnTo>
                  <a:pt x="852" y="496"/>
                </a:lnTo>
                <a:lnTo>
                  <a:pt x="855" y="493"/>
                </a:lnTo>
                <a:lnTo>
                  <a:pt x="859" y="491"/>
                </a:lnTo>
                <a:lnTo>
                  <a:pt x="868" y="485"/>
                </a:lnTo>
                <a:lnTo>
                  <a:pt x="877" y="482"/>
                </a:lnTo>
                <a:lnTo>
                  <a:pt x="882" y="483"/>
                </a:lnTo>
                <a:lnTo>
                  <a:pt x="886" y="486"/>
                </a:lnTo>
                <a:lnTo>
                  <a:pt x="890" y="491"/>
                </a:lnTo>
                <a:lnTo>
                  <a:pt x="893" y="495"/>
                </a:lnTo>
                <a:lnTo>
                  <a:pt x="890" y="507"/>
                </a:lnTo>
                <a:lnTo>
                  <a:pt x="888" y="518"/>
                </a:lnTo>
                <a:lnTo>
                  <a:pt x="909" y="504"/>
                </a:lnTo>
                <a:lnTo>
                  <a:pt x="930" y="493"/>
                </a:lnTo>
                <a:lnTo>
                  <a:pt x="951" y="480"/>
                </a:lnTo>
                <a:lnTo>
                  <a:pt x="971" y="466"/>
                </a:lnTo>
                <a:lnTo>
                  <a:pt x="966" y="465"/>
                </a:lnTo>
                <a:lnTo>
                  <a:pt x="961" y="463"/>
                </a:lnTo>
                <a:lnTo>
                  <a:pt x="960" y="461"/>
                </a:lnTo>
                <a:lnTo>
                  <a:pt x="961" y="459"/>
                </a:lnTo>
                <a:lnTo>
                  <a:pt x="961" y="458"/>
                </a:lnTo>
                <a:lnTo>
                  <a:pt x="962" y="457"/>
                </a:lnTo>
                <a:lnTo>
                  <a:pt x="966" y="454"/>
                </a:lnTo>
                <a:lnTo>
                  <a:pt x="969" y="453"/>
                </a:lnTo>
                <a:lnTo>
                  <a:pt x="983" y="441"/>
                </a:lnTo>
                <a:lnTo>
                  <a:pt x="997" y="429"/>
                </a:lnTo>
                <a:lnTo>
                  <a:pt x="1012" y="421"/>
                </a:lnTo>
                <a:lnTo>
                  <a:pt x="1031" y="415"/>
                </a:lnTo>
                <a:lnTo>
                  <a:pt x="1039" y="411"/>
                </a:lnTo>
                <a:lnTo>
                  <a:pt x="1048" y="408"/>
                </a:lnTo>
                <a:lnTo>
                  <a:pt x="1055" y="402"/>
                </a:lnTo>
                <a:lnTo>
                  <a:pt x="1061" y="396"/>
                </a:lnTo>
                <a:lnTo>
                  <a:pt x="1067" y="389"/>
                </a:lnTo>
                <a:lnTo>
                  <a:pt x="1073" y="383"/>
                </a:lnTo>
                <a:lnTo>
                  <a:pt x="1075" y="382"/>
                </a:lnTo>
                <a:lnTo>
                  <a:pt x="1078" y="379"/>
                </a:lnTo>
                <a:lnTo>
                  <a:pt x="1082" y="376"/>
                </a:lnTo>
                <a:lnTo>
                  <a:pt x="1083" y="372"/>
                </a:lnTo>
                <a:lnTo>
                  <a:pt x="1082" y="370"/>
                </a:lnTo>
                <a:lnTo>
                  <a:pt x="1080" y="370"/>
                </a:lnTo>
                <a:lnTo>
                  <a:pt x="1077" y="370"/>
                </a:lnTo>
                <a:lnTo>
                  <a:pt x="1075" y="369"/>
                </a:lnTo>
                <a:lnTo>
                  <a:pt x="1070" y="369"/>
                </a:lnTo>
                <a:lnTo>
                  <a:pt x="1065" y="368"/>
                </a:lnTo>
                <a:lnTo>
                  <a:pt x="1059" y="367"/>
                </a:lnTo>
                <a:lnTo>
                  <a:pt x="1057" y="364"/>
                </a:lnTo>
                <a:lnTo>
                  <a:pt x="1060" y="357"/>
                </a:lnTo>
                <a:lnTo>
                  <a:pt x="1066" y="350"/>
                </a:lnTo>
                <a:lnTo>
                  <a:pt x="1072" y="345"/>
                </a:lnTo>
                <a:lnTo>
                  <a:pt x="1077" y="342"/>
                </a:lnTo>
                <a:lnTo>
                  <a:pt x="1085" y="341"/>
                </a:lnTo>
                <a:lnTo>
                  <a:pt x="1092" y="338"/>
                </a:lnTo>
                <a:lnTo>
                  <a:pt x="1092" y="337"/>
                </a:lnTo>
                <a:lnTo>
                  <a:pt x="1092" y="335"/>
                </a:lnTo>
                <a:lnTo>
                  <a:pt x="1091" y="334"/>
                </a:lnTo>
                <a:lnTo>
                  <a:pt x="1090" y="333"/>
                </a:lnTo>
                <a:lnTo>
                  <a:pt x="1086" y="332"/>
                </a:lnTo>
                <a:lnTo>
                  <a:pt x="1082" y="332"/>
                </a:lnTo>
                <a:lnTo>
                  <a:pt x="1081" y="332"/>
                </a:lnTo>
                <a:lnTo>
                  <a:pt x="1082" y="332"/>
                </a:lnTo>
                <a:close/>
                <a:moveTo>
                  <a:pt x="843" y="69"/>
                </a:moveTo>
                <a:lnTo>
                  <a:pt x="844" y="68"/>
                </a:lnTo>
                <a:lnTo>
                  <a:pt x="846" y="69"/>
                </a:lnTo>
                <a:lnTo>
                  <a:pt x="846" y="70"/>
                </a:lnTo>
                <a:lnTo>
                  <a:pt x="845" y="71"/>
                </a:lnTo>
                <a:lnTo>
                  <a:pt x="844" y="71"/>
                </a:lnTo>
                <a:lnTo>
                  <a:pt x="843" y="71"/>
                </a:lnTo>
                <a:lnTo>
                  <a:pt x="842" y="70"/>
                </a:lnTo>
                <a:lnTo>
                  <a:pt x="843" y="69"/>
                </a:lnTo>
                <a:lnTo>
                  <a:pt x="843" y="69"/>
                </a:lnTo>
                <a:lnTo>
                  <a:pt x="843" y="69"/>
                </a:lnTo>
                <a:close/>
                <a:moveTo>
                  <a:pt x="837" y="178"/>
                </a:moveTo>
                <a:lnTo>
                  <a:pt x="841" y="173"/>
                </a:lnTo>
                <a:lnTo>
                  <a:pt x="844" y="170"/>
                </a:lnTo>
                <a:lnTo>
                  <a:pt x="849" y="167"/>
                </a:lnTo>
                <a:lnTo>
                  <a:pt x="854" y="164"/>
                </a:lnTo>
                <a:lnTo>
                  <a:pt x="863" y="159"/>
                </a:lnTo>
                <a:lnTo>
                  <a:pt x="875" y="155"/>
                </a:lnTo>
                <a:lnTo>
                  <a:pt x="887" y="151"/>
                </a:lnTo>
                <a:lnTo>
                  <a:pt x="900" y="146"/>
                </a:lnTo>
                <a:lnTo>
                  <a:pt x="912" y="142"/>
                </a:lnTo>
                <a:lnTo>
                  <a:pt x="926" y="137"/>
                </a:lnTo>
                <a:lnTo>
                  <a:pt x="938" y="134"/>
                </a:lnTo>
                <a:lnTo>
                  <a:pt x="951" y="129"/>
                </a:lnTo>
                <a:lnTo>
                  <a:pt x="963" y="123"/>
                </a:lnTo>
                <a:lnTo>
                  <a:pt x="976" y="119"/>
                </a:lnTo>
                <a:lnTo>
                  <a:pt x="982" y="117"/>
                </a:lnTo>
                <a:lnTo>
                  <a:pt x="987" y="114"/>
                </a:lnTo>
                <a:lnTo>
                  <a:pt x="993" y="113"/>
                </a:lnTo>
                <a:lnTo>
                  <a:pt x="1000" y="113"/>
                </a:lnTo>
                <a:lnTo>
                  <a:pt x="1006" y="113"/>
                </a:lnTo>
                <a:lnTo>
                  <a:pt x="1011" y="114"/>
                </a:lnTo>
                <a:lnTo>
                  <a:pt x="1018" y="115"/>
                </a:lnTo>
                <a:lnTo>
                  <a:pt x="1024" y="119"/>
                </a:lnTo>
                <a:lnTo>
                  <a:pt x="1019" y="123"/>
                </a:lnTo>
                <a:lnTo>
                  <a:pt x="1014" y="127"/>
                </a:lnTo>
                <a:lnTo>
                  <a:pt x="1008" y="130"/>
                </a:lnTo>
                <a:lnTo>
                  <a:pt x="1002" y="133"/>
                </a:lnTo>
                <a:lnTo>
                  <a:pt x="991" y="137"/>
                </a:lnTo>
                <a:lnTo>
                  <a:pt x="978" y="140"/>
                </a:lnTo>
                <a:lnTo>
                  <a:pt x="963" y="144"/>
                </a:lnTo>
                <a:lnTo>
                  <a:pt x="950" y="148"/>
                </a:lnTo>
                <a:lnTo>
                  <a:pt x="935" y="152"/>
                </a:lnTo>
                <a:lnTo>
                  <a:pt x="921" y="156"/>
                </a:lnTo>
                <a:lnTo>
                  <a:pt x="907" y="160"/>
                </a:lnTo>
                <a:lnTo>
                  <a:pt x="893" y="164"/>
                </a:lnTo>
                <a:lnTo>
                  <a:pt x="879" y="169"/>
                </a:lnTo>
                <a:lnTo>
                  <a:pt x="866" y="172"/>
                </a:lnTo>
                <a:lnTo>
                  <a:pt x="859" y="173"/>
                </a:lnTo>
                <a:lnTo>
                  <a:pt x="853" y="176"/>
                </a:lnTo>
                <a:lnTo>
                  <a:pt x="847" y="178"/>
                </a:lnTo>
                <a:lnTo>
                  <a:pt x="843" y="181"/>
                </a:lnTo>
                <a:lnTo>
                  <a:pt x="841" y="183"/>
                </a:lnTo>
                <a:lnTo>
                  <a:pt x="839" y="184"/>
                </a:lnTo>
                <a:lnTo>
                  <a:pt x="837" y="184"/>
                </a:lnTo>
                <a:lnTo>
                  <a:pt x="835" y="183"/>
                </a:lnTo>
                <a:lnTo>
                  <a:pt x="834" y="181"/>
                </a:lnTo>
                <a:lnTo>
                  <a:pt x="834" y="180"/>
                </a:lnTo>
                <a:lnTo>
                  <a:pt x="835" y="179"/>
                </a:lnTo>
                <a:lnTo>
                  <a:pt x="837" y="178"/>
                </a:lnTo>
                <a:lnTo>
                  <a:pt x="839" y="173"/>
                </a:lnTo>
                <a:lnTo>
                  <a:pt x="837" y="178"/>
                </a:lnTo>
                <a:close/>
                <a:moveTo>
                  <a:pt x="281" y="408"/>
                </a:moveTo>
                <a:lnTo>
                  <a:pt x="274" y="416"/>
                </a:lnTo>
                <a:lnTo>
                  <a:pt x="266" y="422"/>
                </a:lnTo>
                <a:lnTo>
                  <a:pt x="260" y="427"/>
                </a:lnTo>
                <a:lnTo>
                  <a:pt x="254" y="433"/>
                </a:lnTo>
                <a:lnTo>
                  <a:pt x="251" y="435"/>
                </a:lnTo>
                <a:lnTo>
                  <a:pt x="248" y="437"/>
                </a:lnTo>
                <a:lnTo>
                  <a:pt x="246" y="440"/>
                </a:lnTo>
                <a:lnTo>
                  <a:pt x="245" y="443"/>
                </a:lnTo>
                <a:lnTo>
                  <a:pt x="242" y="446"/>
                </a:lnTo>
                <a:lnTo>
                  <a:pt x="237" y="449"/>
                </a:lnTo>
                <a:lnTo>
                  <a:pt x="235" y="449"/>
                </a:lnTo>
                <a:lnTo>
                  <a:pt x="234" y="447"/>
                </a:lnTo>
                <a:lnTo>
                  <a:pt x="233" y="446"/>
                </a:lnTo>
                <a:lnTo>
                  <a:pt x="233" y="445"/>
                </a:lnTo>
                <a:lnTo>
                  <a:pt x="234" y="442"/>
                </a:lnTo>
                <a:lnTo>
                  <a:pt x="235" y="440"/>
                </a:lnTo>
                <a:lnTo>
                  <a:pt x="242" y="433"/>
                </a:lnTo>
                <a:lnTo>
                  <a:pt x="249" y="427"/>
                </a:lnTo>
                <a:lnTo>
                  <a:pt x="253" y="420"/>
                </a:lnTo>
                <a:lnTo>
                  <a:pt x="257" y="412"/>
                </a:lnTo>
                <a:lnTo>
                  <a:pt x="259" y="411"/>
                </a:lnTo>
                <a:lnTo>
                  <a:pt x="261" y="409"/>
                </a:lnTo>
                <a:lnTo>
                  <a:pt x="261" y="404"/>
                </a:lnTo>
                <a:lnTo>
                  <a:pt x="260" y="400"/>
                </a:lnTo>
                <a:lnTo>
                  <a:pt x="260" y="402"/>
                </a:lnTo>
                <a:lnTo>
                  <a:pt x="261" y="405"/>
                </a:lnTo>
                <a:lnTo>
                  <a:pt x="267" y="402"/>
                </a:lnTo>
                <a:lnTo>
                  <a:pt x="272" y="399"/>
                </a:lnTo>
                <a:lnTo>
                  <a:pt x="276" y="394"/>
                </a:lnTo>
                <a:lnTo>
                  <a:pt x="281" y="388"/>
                </a:lnTo>
                <a:lnTo>
                  <a:pt x="291" y="383"/>
                </a:lnTo>
                <a:lnTo>
                  <a:pt x="302" y="377"/>
                </a:lnTo>
                <a:lnTo>
                  <a:pt x="307" y="372"/>
                </a:lnTo>
                <a:lnTo>
                  <a:pt x="311" y="369"/>
                </a:lnTo>
                <a:lnTo>
                  <a:pt x="315" y="366"/>
                </a:lnTo>
                <a:lnTo>
                  <a:pt x="319" y="362"/>
                </a:lnTo>
                <a:lnTo>
                  <a:pt x="323" y="360"/>
                </a:lnTo>
                <a:lnTo>
                  <a:pt x="326" y="357"/>
                </a:lnTo>
                <a:lnTo>
                  <a:pt x="328" y="355"/>
                </a:lnTo>
                <a:lnTo>
                  <a:pt x="331" y="354"/>
                </a:lnTo>
                <a:lnTo>
                  <a:pt x="333" y="353"/>
                </a:lnTo>
                <a:lnTo>
                  <a:pt x="335" y="353"/>
                </a:lnTo>
                <a:lnTo>
                  <a:pt x="335" y="357"/>
                </a:lnTo>
                <a:lnTo>
                  <a:pt x="334" y="359"/>
                </a:lnTo>
                <a:lnTo>
                  <a:pt x="333" y="360"/>
                </a:lnTo>
                <a:lnTo>
                  <a:pt x="331" y="361"/>
                </a:lnTo>
                <a:lnTo>
                  <a:pt x="328" y="363"/>
                </a:lnTo>
                <a:lnTo>
                  <a:pt x="326" y="364"/>
                </a:lnTo>
                <a:lnTo>
                  <a:pt x="319" y="371"/>
                </a:lnTo>
                <a:lnTo>
                  <a:pt x="311" y="376"/>
                </a:lnTo>
                <a:lnTo>
                  <a:pt x="303" y="384"/>
                </a:lnTo>
                <a:lnTo>
                  <a:pt x="295" y="391"/>
                </a:lnTo>
                <a:lnTo>
                  <a:pt x="287" y="400"/>
                </a:lnTo>
                <a:lnTo>
                  <a:pt x="281" y="408"/>
                </a:lnTo>
                <a:lnTo>
                  <a:pt x="281" y="408"/>
                </a:lnTo>
                <a:lnTo>
                  <a:pt x="284" y="404"/>
                </a:lnTo>
                <a:lnTo>
                  <a:pt x="285" y="402"/>
                </a:lnTo>
                <a:lnTo>
                  <a:pt x="281" y="408"/>
                </a:lnTo>
                <a:close/>
                <a:moveTo>
                  <a:pt x="660" y="134"/>
                </a:moveTo>
                <a:lnTo>
                  <a:pt x="658" y="131"/>
                </a:lnTo>
                <a:lnTo>
                  <a:pt x="658" y="129"/>
                </a:lnTo>
                <a:lnTo>
                  <a:pt x="658" y="137"/>
                </a:lnTo>
                <a:lnTo>
                  <a:pt x="657" y="145"/>
                </a:lnTo>
                <a:lnTo>
                  <a:pt x="655" y="148"/>
                </a:lnTo>
                <a:lnTo>
                  <a:pt x="653" y="151"/>
                </a:lnTo>
                <a:lnTo>
                  <a:pt x="648" y="153"/>
                </a:lnTo>
                <a:lnTo>
                  <a:pt x="644" y="154"/>
                </a:lnTo>
                <a:lnTo>
                  <a:pt x="648" y="153"/>
                </a:lnTo>
                <a:lnTo>
                  <a:pt x="651" y="152"/>
                </a:lnTo>
                <a:lnTo>
                  <a:pt x="654" y="150"/>
                </a:lnTo>
                <a:lnTo>
                  <a:pt x="655" y="147"/>
                </a:lnTo>
                <a:lnTo>
                  <a:pt x="658" y="142"/>
                </a:lnTo>
                <a:lnTo>
                  <a:pt x="660" y="134"/>
                </a:lnTo>
                <a:lnTo>
                  <a:pt x="660" y="138"/>
                </a:lnTo>
                <a:lnTo>
                  <a:pt x="660" y="134"/>
                </a:lnTo>
                <a:close/>
                <a:moveTo>
                  <a:pt x="611" y="88"/>
                </a:moveTo>
                <a:lnTo>
                  <a:pt x="607" y="90"/>
                </a:lnTo>
                <a:lnTo>
                  <a:pt x="605" y="93"/>
                </a:lnTo>
                <a:lnTo>
                  <a:pt x="604" y="96"/>
                </a:lnTo>
                <a:lnTo>
                  <a:pt x="603" y="98"/>
                </a:lnTo>
                <a:lnTo>
                  <a:pt x="602" y="105"/>
                </a:lnTo>
                <a:lnTo>
                  <a:pt x="602" y="112"/>
                </a:lnTo>
                <a:lnTo>
                  <a:pt x="602" y="105"/>
                </a:lnTo>
                <a:lnTo>
                  <a:pt x="603" y="98"/>
                </a:lnTo>
                <a:lnTo>
                  <a:pt x="604" y="96"/>
                </a:lnTo>
                <a:lnTo>
                  <a:pt x="605" y="93"/>
                </a:lnTo>
                <a:lnTo>
                  <a:pt x="607" y="90"/>
                </a:lnTo>
                <a:lnTo>
                  <a:pt x="611" y="88"/>
                </a:lnTo>
                <a:lnTo>
                  <a:pt x="606" y="90"/>
                </a:lnTo>
                <a:lnTo>
                  <a:pt x="611" y="88"/>
                </a:lnTo>
                <a:close/>
                <a:moveTo>
                  <a:pt x="495" y="435"/>
                </a:moveTo>
                <a:lnTo>
                  <a:pt x="508" y="422"/>
                </a:lnTo>
                <a:lnTo>
                  <a:pt x="523" y="409"/>
                </a:lnTo>
                <a:lnTo>
                  <a:pt x="538" y="397"/>
                </a:lnTo>
                <a:lnTo>
                  <a:pt x="554" y="385"/>
                </a:lnTo>
                <a:lnTo>
                  <a:pt x="569" y="375"/>
                </a:lnTo>
                <a:lnTo>
                  <a:pt x="584" y="364"/>
                </a:lnTo>
                <a:lnTo>
                  <a:pt x="590" y="360"/>
                </a:lnTo>
                <a:lnTo>
                  <a:pt x="599" y="354"/>
                </a:lnTo>
                <a:lnTo>
                  <a:pt x="604" y="352"/>
                </a:lnTo>
                <a:lnTo>
                  <a:pt x="608" y="351"/>
                </a:lnTo>
                <a:lnTo>
                  <a:pt x="612" y="351"/>
                </a:lnTo>
                <a:lnTo>
                  <a:pt x="614" y="353"/>
                </a:lnTo>
                <a:lnTo>
                  <a:pt x="584" y="374"/>
                </a:lnTo>
                <a:lnTo>
                  <a:pt x="555" y="395"/>
                </a:lnTo>
                <a:lnTo>
                  <a:pt x="525" y="416"/>
                </a:lnTo>
                <a:lnTo>
                  <a:pt x="495" y="435"/>
                </a:lnTo>
                <a:lnTo>
                  <a:pt x="506" y="425"/>
                </a:lnTo>
                <a:lnTo>
                  <a:pt x="515" y="418"/>
                </a:lnTo>
                <a:lnTo>
                  <a:pt x="521" y="415"/>
                </a:lnTo>
                <a:lnTo>
                  <a:pt x="523" y="413"/>
                </a:lnTo>
                <a:lnTo>
                  <a:pt x="522" y="416"/>
                </a:lnTo>
                <a:lnTo>
                  <a:pt x="517" y="420"/>
                </a:lnTo>
                <a:lnTo>
                  <a:pt x="508" y="427"/>
                </a:lnTo>
                <a:lnTo>
                  <a:pt x="495" y="435"/>
                </a:lnTo>
                <a:close/>
                <a:moveTo>
                  <a:pt x="668" y="194"/>
                </a:moveTo>
                <a:lnTo>
                  <a:pt x="660" y="200"/>
                </a:lnTo>
                <a:lnTo>
                  <a:pt x="651" y="204"/>
                </a:lnTo>
                <a:lnTo>
                  <a:pt x="641" y="209"/>
                </a:lnTo>
                <a:lnTo>
                  <a:pt x="631" y="214"/>
                </a:lnTo>
                <a:lnTo>
                  <a:pt x="635" y="209"/>
                </a:lnTo>
                <a:lnTo>
                  <a:pt x="638" y="205"/>
                </a:lnTo>
                <a:lnTo>
                  <a:pt x="643" y="201"/>
                </a:lnTo>
                <a:lnTo>
                  <a:pt x="647" y="198"/>
                </a:lnTo>
                <a:lnTo>
                  <a:pt x="652" y="196"/>
                </a:lnTo>
                <a:lnTo>
                  <a:pt x="656" y="194"/>
                </a:lnTo>
                <a:lnTo>
                  <a:pt x="662" y="194"/>
                </a:lnTo>
                <a:lnTo>
                  <a:pt x="668" y="194"/>
                </a:lnTo>
                <a:close/>
                <a:moveTo>
                  <a:pt x="651" y="225"/>
                </a:moveTo>
                <a:lnTo>
                  <a:pt x="648" y="223"/>
                </a:lnTo>
                <a:lnTo>
                  <a:pt x="646" y="221"/>
                </a:lnTo>
                <a:lnTo>
                  <a:pt x="655" y="218"/>
                </a:lnTo>
                <a:lnTo>
                  <a:pt x="663" y="214"/>
                </a:lnTo>
                <a:lnTo>
                  <a:pt x="668" y="212"/>
                </a:lnTo>
                <a:lnTo>
                  <a:pt x="672" y="210"/>
                </a:lnTo>
                <a:lnTo>
                  <a:pt x="677" y="210"/>
                </a:lnTo>
                <a:lnTo>
                  <a:pt x="681" y="209"/>
                </a:lnTo>
                <a:lnTo>
                  <a:pt x="674" y="213"/>
                </a:lnTo>
                <a:lnTo>
                  <a:pt x="666" y="218"/>
                </a:lnTo>
                <a:lnTo>
                  <a:pt x="660" y="222"/>
                </a:lnTo>
                <a:lnTo>
                  <a:pt x="651" y="225"/>
                </a:lnTo>
                <a:lnTo>
                  <a:pt x="655" y="223"/>
                </a:lnTo>
                <a:lnTo>
                  <a:pt x="651" y="225"/>
                </a:lnTo>
                <a:close/>
                <a:moveTo>
                  <a:pt x="740" y="320"/>
                </a:moveTo>
                <a:lnTo>
                  <a:pt x="736" y="324"/>
                </a:lnTo>
                <a:lnTo>
                  <a:pt x="730" y="326"/>
                </a:lnTo>
                <a:lnTo>
                  <a:pt x="728" y="328"/>
                </a:lnTo>
                <a:lnTo>
                  <a:pt x="727" y="330"/>
                </a:lnTo>
                <a:lnTo>
                  <a:pt x="726" y="333"/>
                </a:lnTo>
                <a:lnTo>
                  <a:pt x="726" y="336"/>
                </a:lnTo>
                <a:lnTo>
                  <a:pt x="720" y="335"/>
                </a:lnTo>
                <a:lnTo>
                  <a:pt x="715" y="335"/>
                </a:lnTo>
                <a:lnTo>
                  <a:pt x="711" y="335"/>
                </a:lnTo>
                <a:lnTo>
                  <a:pt x="706" y="337"/>
                </a:lnTo>
                <a:lnTo>
                  <a:pt x="703" y="339"/>
                </a:lnTo>
                <a:lnTo>
                  <a:pt x="698" y="342"/>
                </a:lnTo>
                <a:lnTo>
                  <a:pt x="696" y="345"/>
                </a:lnTo>
                <a:lnTo>
                  <a:pt x="694" y="347"/>
                </a:lnTo>
                <a:lnTo>
                  <a:pt x="691" y="347"/>
                </a:lnTo>
                <a:lnTo>
                  <a:pt x="690" y="347"/>
                </a:lnTo>
                <a:lnTo>
                  <a:pt x="689" y="347"/>
                </a:lnTo>
                <a:lnTo>
                  <a:pt x="689" y="346"/>
                </a:lnTo>
                <a:lnTo>
                  <a:pt x="689" y="343"/>
                </a:lnTo>
                <a:lnTo>
                  <a:pt x="691" y="341"/>
                </a:lnTo>
                <a:lnTo>
                  <a:pt x="697" y="334"/>
                </a:lnTo>
                <a:lnTo>
                  <a:pt x="704" y="329"/>
                </a:lnTo>
                <a:lnTo>
                  <a:pt x="719" y="321"/>
                </a:lnTo>
                <a:lnTo>
                  <a:pt x="735" y="313"/>
                </a:lnTo>
                <a:lnTo>
                  <a:pt x="737" y="312"/>
                </a:lnTo>
                <a:lnTo>
                  <a:pt x="740" y="310"/>
                </a:lnTo>
                <a:lnTo>
                  <a:pt x="743" y="309"/>
                </a:lnTo>
                <a:lnTo>
                  <a:pt x="746" y="310"/>
                </a:lnTo>
                <a:lnTo>
                  <a:pt x="747" y="312"/>
                </a:lnTo>
                <a:lnTo>
                  <a:pt x="747" y="313"/>
                </a:lnTo>
                <a:lnTo>
                  <a:pt x="747" y="314"/>
                </a:lnTo>
                <a:lnTo>
                  <a:pt x="746" y="317"/>
                </a:lnTo>
                <a:lnTo>
                  <a:pt x="744" y="318"/>
                </a:lnTo>
                <a:lnTo>
                  <a:pt x="740" y="320"/>
                </a:lnTo>
                <a:lnTo>
                  <a:pt x="739" y="321"/>
                </a:lnTo>
                <a:lnTo>
                  <a:pt x="740" y="320"/>
                </a:lnTo>
                <a:close/>
                <a:moveTo>
                  <a:pt x="781" y="145"/>
                </a:moveTo>
                <a:lnTo>
                  <a:pt x="767" y="152"/>
                </a:lnTo>
                <a:lnTo>
                  <a:pt x="752" y="158"/>
                </a:lnTo>
                <a:lnTo>
                  <a:pt x="738" y="163"/>
                </a:lnTo>
                <a:lnTo>
                  <a:pt x="723" y="170"/>
                </a:lnTo>
                <a:lnTo>
                  <a:pt x="711" y="175"/>
                </a:lnTo>
                <a:lnTo>
                  <a:pt x="698" y="180"/>
                </a:lnTo>
                <a:lnTo>
                  <a:pt x="693" y="183"/>
                </a:lnTo>
                <a:lnTo>
                  <a:pt x="687" y="185"/>
                </a:lnTo>
                <a:lnTo>
                  <a:pt x="681" y="187"/>
                </a:lnTo>
                <a:lnTo>
                  <a:pt x="674" y="188"/>
                </a:lnTo>
                <a:lnTo>
                  <a:pt x="679" y="181"/>
                </a:lnTo>
                <a:lnTo>
                  <a:pt x="686" y="177"/>
                </a:lnTo>
                <a:lnTo>
                  <a:pt x="693" y="172"/>
                </a:lnTo>
                <a:lnTo>
                  <a:pt x="699" y="169"/>
                </a:lnTo>
                <a:lnTo>
                  <a:pt x="709" y="166"/>
                </a:lnTo>
                <a:lnTo>
                  <a:pt x="717" y="161"/>
                </a:lnTo>
                <a:lnTo>
                  <a:pt x="726" y="158"/>
                </a:lnTo>
                <a:lnTo>
                  <a:pt x="735" y="154"/>
                </a:lnTo>
                <a:lnTo>
                  <a:pt x="744" y="150"/>
                </a:lnTo>
                <a:lnTo>
                  <a:pt x="754" y="145"/>
                </a:lnTo>
                <a:lnTo>
                  <a:pt x="763" y="142"/>
                </a:lnTo>
                <a:lnTo>
                  <a:pt x="773" y="138"/>
                </a:lnTo>
                <a:lnTo>
                  <a:pt x="777" y="137"/>
                </a:lnTo>
                <a:lnTo>
                  <a:pt x="780" y="136"/>
                </a:lnTo>
                <a:lnTo>
                  <a:pt x="784" y="136"/>
                </a:lnTo>
                <a:lnTo>
                  <a:pt x="786" y="137"/>
                </a:lnTo>
                <a:lnTo>
                  <a:pt x="787" y="138"/>
                </a:lnTo>
                <a:lnTo>
                  <a:pt x="787" y="139"/>
                </a:lnTo>
                <a:lnTo>
                  <a:pt x="787" y="140"/>
                </a:lnTo>
                <a:lnTo>
                  <a:pt x="786" y="142"/>
                </a:lnTo>
                <a:lnTo>
                  <a:pt x="784" y="144"/>
                </a:lnTo>
                <a:lnTo>
                  <a:pt x="781" y="145"/>
                </a:lnTo>
                <a:lnTo>
                  <a:pt x="770" y="150"/>
                </a:lnTo>
                <a:lnTo>
                  <a:pt x="772" y="148"/>
                </a:lnTo>
                <a:lnTo>
                  <a:pt x="778" y="146"/>
                </a:lnTo>
                <a:lnTo>
                  <a:pt x="781" y="145"/>
                </a:lnTo>
                <a:close/>
                <a:moveTo>
                  <a:pt x="802" y="405"/>
                </a:moveTo>
                <a:lnTo>
                  <a:pt x="785" y="418"/>
                </a:lnTo>
                <a:lnTo>
                  <a:pt x="769" y="430"/>
                </a:lnTo>
                <a:lnTo>
                  <a:pt x="760" y="435"/>
                </a:lnTo>
                <a:lnTo>
                  <a:pt x="752" y="441"/>
                </a:lnTo>
                <a:lnTo>
                  <a:pt x="748" y="442"/>
                </a:lnTo>
                <a:lnTo>
                  <a:pt x="745" y="442"/>
                </a:lnTo>
                <a:lnTo>
                  <a:pt x="747" y="438"/>
                </a:lnTo>
                <a:lnTo>
                  <a:pt x="751" y="434"/>
                </a:lnTo>
                <a:lnTo>
                  <a:pt x="757" y="428"/>
                </a:lnTo>
                <a:lnTo>
                  <a:pt x="764" y="422"/>
                </a:lnTo>
                <a:lnTo>
                  <a:pt x="772" y="417"/>
                </a:lnTo>
                <a:lnTo>
                  <a:pt x="779" y="412"/>
                </a:lnTo>
                <a:lnTo>
                  <a:pt x="787" y="408"/>
                </a:lnTo>
                <a:lnTo>
                  <a:pt x="794" y="403"/>
                </a:lnTo>
                <a:lnTo>
                  <a:pt x="797" y="401"/>
                </a:lnTo>
                <a:lnTo>
                  <a:pt x="802" y="401"/>
                </a:lnTo>
                <a:lnTo>
                  <a:pt x="803" y="402"/>
                </a:lnTo>
                <a:lnTo>
                  <a:pt x="803" y="403"/>
                </a:lnTo>
                <a:lnTo>
                  <a:pt x="803" y="404"/>
                </a:lnTo>
                <a:lnTo>
                  <a:pt x="802" y="405"/>
                </a:lnTo>
                <a:lnTo>
                  <a:pt x="794" y="410"/>
                </a:lnTo>
                <a:lnTo>
                  <a:pt x="795" y="410"/>
                </a:lnTo>
                <a:lnTo>
                  <a:pt x="800" y="407"/>
                </a:lnTo>
                <a:lnTo>
                  <a:pt x="802" y="405"/>
                </a:lnTo>
                <a:close/>
                <a:moveTo>
                  <a:pt x="849" y="422"/>
                </a:moveTo>
                <a:lnTo>
                  <a:pt x="843" y="426"/>
                </a:lnTo>
                <a:lnTo>
                  <a:pt x="838" y="429"/>
                </a:lnTo>
                <a:lnTo>
                  <a:pt x="831" y="432"/>
                </a:lnTo>
                <a:lnTo>
                  <a:pt x="826" y="432"/>
                </a:lnTo>
                <a:lnTo>
                  <a:pt x="828" y="426"/>
                </a:lnTo>
                <a:lnTo>
                  <a:pt x="831" y="421"/>
                </a:lnTo>
                <a:lnTo>
                  <a:pt x="836" y="418"/>
                </a:lnTo>
                <a:lnTo>
                  <a:pt x="841" y="415"/>
                </a:lnTo>
                <a:lnTo>
                  <a:pt x="843" y="412"/>
                </a:lnTo>
                <a:lnTo>
                  <a:pt x="844" y="411"/>
                </a:lnTo>
                <a:lnTo>
                  <a:pt x="846" y="411"/>
                </a:lnTo>
                <a:lnTo>
                  <a:pt x="849" y="412"/>
                </a:lnTo>
                <a:lnTo>
                  <a:pt x="850" y="415"/>
                </a:lnTo>
                <a:lnTo>
                  <a:pt x="851" y="417"/>
                </a:lnTo>
                <a:lnTo>
                  <a:pt x="850" y="420"/>
                </a:lnTo>
                <a:lnTo>
                  <a:pt x="849" y="422"/>
                </a:lnTo>
                <a:lnTo>
                  <a:pt x="847" y="424"/>
                </a:lnTo>
                <a:lnTo>
                  <a:pt x="849" y="42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41ECC02-400B-8343-981E-8D5D53689C7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24229E98-807C-394D-9316-92C90BCBB46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584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6">
            <a:extLst>
              <a:ext uri="{FF2B5EF4-FFF2-40B4-BE49-F238E27FC236}">
                <a16:creationId xmlns:a16="http://schemas.microsoft.com/office/drawing/2014/main" id="{DF5EDBE4-F096-3D4E-8F53-A2A1E88C6378}"/>
              </a:ext>
            </a:extLst>
          </p:cNvPr>
          <p:cNvSpPr>
            <a:spLocks noGrp="1" noEditPoints="1"/>
          </p:cNvSpPr>
          <p:nvPr>
            <p:ph type="pic" sz="quarter" idx="21"/>
          </p:nvPr>
        </p:nvSpPr>
        <p:spPr bwMode="auto">
          <a:xfrm>
            <a:off x="380278" y="1062150"/>
            <a:ext cx="23626618" cy="7128792"/>
          </a:xfrm>
          <a:custGeom>
            <a:avLst/>
            <a:gdLst>
              <a:gd name="T0" fmla="*/ 1346 w 1463"/>
              <a:gd name="T1" fmla="*/ 193 h 481"/>
              <a:gd name="T2" fmla="*/ 1304 w 1463"/>
              <a:gd name="T3" fmla="*/ 148 h 481"/>
              <a:gd name="T4" fmla="*/ 1284 w 1463"/>
              <a:gd name="T5" fmla="*/ 82 h 481"/>
              <a:gd name="T6" fmla="*/ 1045 w 1463"/>
              <a:gd name="T7" fmla="*/ 21 h 481"/>
              <a:gd name="T8" fmla="*/ 914 w 1463"/>
              <a:gd name="T9" fmla="*/ 7 h 481"/>
              <a:gd name="T10" fmla="*/ 901 w 1463"/>
              <a:gd name="T11" fmla="*/ 7 h 481"/>
              <a:gd name="T12" fmla="*/ 859 w 1463"/>
              <a:gd name="T13" fmla="*/ 12 h 481"/>
              <a:gd name="T14" fmla="*/ 753 w 1463"/>
              <a:gd name="T15" fmla="*/ 0 h 481"/>
              <a:gd name="T16" fmla="*/ 462 w 1463"/>
              <a:gd name="T17" fmla="*/ 20 h 481"/>
              <a:gd name="T18" fmla="*/ 295 w 1463"/>
              <a:gd name="T19" fmla="*/ 62 h 481"/>
              <a:gd name="T20" fmla="*/ 283 w 1463"/>
              <a:gd name="T21" fmla="*/ 131 h 481"/>
              <a:gd name="T22" fmla="*/ 221 w 1463"/>
              <a:gd name="T23" fmla="*/ 156 h 481"/>
              <a:gd name="T24" fmla="*/ 65 w 1463"/>
              <a:gd name="T25" fmla="*/ 219 h 481"/>
              <a:gd name="T26" fmla="*/ 3 w 1463"/>
              <a:gd name="T27" fmla="*/ 305 h 481"/>
              <a:gd name="T28" fmla="*/ 60 w 1463"/>
              <a:gd name="T29" fmla="*/ 333 h 481"/>
              <a:gd name="T30" fmla="*/ 87 w 1463"/>
              <a:gd name="T31" fmla="*/ 364 h 481"/>
              <a:gd name="T32" fmla="*/ 193 w 1463"/>
              <a:gd name="T33" fmla="*/ 352 h 481"/>
              <a:gd name="T34" fmla="*/ 72 w 1463"/>
              <a:gd name="T35" fmla="*/ 441 h 481"/>
              <a:gd name="T36" fmla="*/ 103 w 1463"/>
              <a:gd name="T37" fmla="*/ 468 h 481"/>
              <a:gd name="T38" fmla="*/ 241 w 1463"/>
              <a:gd name="T39" fmla="*/ 475 h 481"/>
              <a:gd name="T40" fmla="*/ 240 w 1463"/>
              <a:gd name="T41" fmla="*/ 469 h 481"/>
              <a:gd name="T42" fmla="*/ 300 w 1463"/>
              <a:gd name="T43" fmla="*/ 448 h 481"/>
              <a:gd name="T44" fmla="*/ 394 w 1463"/>
              <a:gd name="T45" fmla="*/ 434 h 481"/>
              <a:gd name="T46" fmla="*/ 441 w 1463"/>
              <a:gd name="T47" fmla="*/ 424 h 481"/>
              <a:gd name="T48" fmla="*/ 476 w 1463"/>
              <a:gd name="T49" fmla="*/ 419 h 481"/>
              <a:gd name="T50" fmla="*/ 535 w 1463"/>
              <a:gd name="T51" fmla="*/ 414 h 481"/>
              <a:gd name="T52" fmla="*/ 639 w 1463"/>
              <a:gd name="T53" fmla="*/ 392 h 481"/>
              <a:gd name="T54" fmla="*/ 736 w 1463"/>
              <a:gd name="T55" fmla="*/ 398 h 481"/>
              <a:gd name="T56" fmla="*/ 647 w 1463"/>
              <a:gd name="T57" fmla="*/ 411 h 481"/>
              <a:gd name="T58" fmla="*/ 1004 w 1463"/>
              <a:gd name="T59" fmla="*/ 407 h 481"/>
              <a:gd name="T60" fmla="*/ 1081 w 1463"/>
              <a:gd name="T61" fmla="*/ 406 h 481"/>
              <a:gd name="T62" fmla="*/ 1255 w 1463"/>
              <a:gd name="T63" fmla="*/ 422 h 481"/>
              <a:gd name="T64" fmla="*/ 1345 w 1463"/>
              <a:gd name="T65" fmla="*/ 418 h 481"/>
              <a:gd name="T66" fmla="*/ 1257 w 1463"/>
              <a:gd name="T67" fmla="*/ 360 h 481"/>
              <a:gd name="T68" fmla="*/ 1047 w 1463"/>
              <a:gd name="T69" fmla="*/ 325 h 481"/>
              <a:gd name="T70" fmla="*/ 815 w 1463"/>
              <a:gd name="T71" fmla="*/ 314 h 481"/>
              <a:gd name="T72" fmla="*/ 601 w 1463"/>
              <a:gd name="T73" fmla="*/ 332 h 481"/>
              <a:gd name="T74" fmla="*/ 455 w 1463"/>
              <a:gd name="T75" fmla="*/ 351 h 481"/>
              <a:gd name="T76" fmla="*/ 264 w 1463"/>
              <a:gd name="T77" fmla="*/ 384 h 481"/>
              <a:gd name="T78" fmla="*/ 272 w 1463"/>
              <a:gd name="T79" fmla="*/ 352 h 481"/>
              <a:gd name="T80" fmla="*/ 365 w 1463"/>
              <a:gd name="T81" fmla="*/ 327 h 481"/>
              <a:gd name="T82" fmla="*/ 456 w 1463"/>
              <a:gd name="T83" fmla="*/ 306 h 481"/>
              <a:gd name="T84" fmla="*/ 522 w 1463"/>
              <a:gd name="T85" fmla="*/ 305 h 481"/>
              <a:gd name="T86" fmla="*/ 593 w 1463"/>
              <a:gd name="T87" fmla="*/ 289 h 481"/>
              <a:gd name="T88" fmla="*/ 659 w 1463"/>
              <a:gd name="T89" fmla="*/ 290 h 481"/>
              <a:gd name="T90" fmla="*/ 732 w 1463"/>
              <a:gd name="T91" fmla="*/ 284 h 481"/>
              <a:gd name="T92" fmla="*/ 748 w 1463"/>
              <a:gd name="T93" fmla="*/ 289 h 481"/>
              <a:gd name="T94" fmla="*/ 785 w 1463"/>
              <a:gd name="T95" fmla="*/ 291 h 481"/>
              <a:gd name="T96" fmla="*/ 828 w 1463"/>
              <a:gd name="T97" fmla="*/ 285 h 481"/>
              <a:gd name="T98" fmla="*/ 864 w 1463"/>
              <a:gd name="T99" fmla="*/ 293 h 481"/>
              <a:gd name="T100" fmla="*/ 954 w 1463"/>
              <a:gd name="T101" fmla="*/ 301 h 481"/>
              <a:gd name="T102" fmla="*/ 1069 w 1463"/>
              <a:gd name="T103" fmla="*/ 291 h 481"/>
              <a:gd name="T104" fmla="*/ 1196 w 1463"/>
              <a:gd name="T105" fmla="*/ 299 h 481"/>
              <a:gd name="T106" fmla="*/ 1303 w 1463"/>
              <a:gd name="T107" fmla="*/ 305 h 481"/>
              <a:gd name="T108" fmla="*/ 1448 w 1463"/>
              <a:gd name="T109" fmla="*/ 300 h 481"/>
              <a:gd name="T110" fmla="*/ 1458 w 1463"/>
              <a:gd name="T111" fmla="*/ 259 h 481"/>
              <a:gd name="T112" fmla="*/ 404 w 1463"/>
              <a:gd name="T113" fmla="*/ 279 h 481"/>
              <a:gd name="T114" fmla="*/ 372 w 1463"/>
              <a:gd name="T115" fmla="*/ 276 h 481"/>
              <a:gd name="T116" fmla="*/ 433 w 1463"/>
              <a:gd name="T117" fmla="*/ 273 h 481"/>
              <a:gd name="T118" fmla="*/ 798 w 1463"/>
              <a:gd name="T119" fmla="*/ 283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63" h="481">
                <a:moveTo>
                  <a:pt x="1458" y="259"/>
                </a:moveTo>
                <a:lnTo>
                  <a:pt x="1449" y="251"/>
                </a:lnTo>
                <a:lnTo>
                  <a:pt x="1440" y="243"/>
                </a:lnTo>
                <a:lnTo>
                  <a:pt x="1430" y="234"/>
                </a:lnTo>
                <a:lnTo>
                  <a:pt x="1421" y="227"/>
                </a:lnTo>
                <a:lnTo>
                  <a:pt x="1410" y="219"/>
                </a:lnTo>
                <a:lnTo>
                  <a:pt x="1397" y="214"/>
                </a:lnTo>
                <a:lnTo>
                  <a:pt x="1385" y="208"/>
                </a:lnTo>
                <a:lnTo>
                  <a:pt x="1372" y="202"/>
                </a:lnTo>
                <a:lnTo>
                  <a:pt x="1360" y="198"/>
                </a:lnTo>
                <a:lnTo>
                  <a:pt x="1346" y="193"/>
                </a:lnTo>
                <a:lnTo>
                  <a:pt x="1334" y="189"/>
                </a:lnTo>
                <a:lnTo>
                  <a:pt x="1321" y="184"/>
                </a:lnTo>
                <a:lnTo>
                  <a:pt x="1309" y="181"/>
                </a:lnTo>
                <a:lnTo>
                  <a:pt x="1295" y="177"/>
                </a:lnTo>
                <a:lnTo>
                  <a:pt x="1283" y="173"/>
                </a:lnTo>
                <a:lnTo>
                  <a:pt x="1271" y="167"/>
                </a:lnTo>
                <a:lnTo>
                  <a:pt x="1281" y="160"/>
                </a:lnTo>
                <a:lnTo>
                  <a:pt x="1292" y="154"/>
                </a:lnTo>
                <a:lnTo>
                  <a:pt x="1296" y="152"/>
                </a:lnTo>
                <a:lnTo>
                  <a:pt x="1300" y="151"/>
                </a:lnTo>
                <a:lnTo>
                  <a:pt x="1304" y="148"/>
                </a:lnTo>
                <a:lnTo>
                  <a:pt x="1306" y="144"/>
                </a:lnTo>
                <a:lnTo>
                  <a:pt x="1309" y="141"/>
                </a:lnTo>
                <a:lnTo>
                  <a:pt x="1311" y="136"/>
                </a:lnTo>
                <a:lnTo>
                  <a:pt x="1312" y="132"/>
                </a:lnTo>
                <a:lnTo>
                  <a:pt x="1312" y="127"/>
                </a:lnTo>
                <a:lnTo>
                  <a:pt x="1312" y="118"/>
                </a:lnTo>
                <a:lnTo>
                  <a:pt x="1310" y="109"/>
                </a:lnTo>
                <a:lnTo>
                  <a:pt x="1305" y="100"/>
                </a:lnTo>
                <a:lnTo>
                  <a:pt x="1300" y="93"/>
                </a:lnTo>
                <a:lnTo>
                  <a:pt x="1293" y="86"/>
                </a:lnTo>
                <a:lnTo>
                  <a:pt x="1284" y="82"/>
                </a:lnTo>
                <a:lnTo>
                  <a:pt x="1272" y="76"/>
                </a:lnTo>
                <a:lnTo>
                  <a:pt x="1260" y="71"/>
                </a:lnTo>
                <a:lnTo>
                  <a:pt x="1246" y="67"/>
                </a:lnTo>
                <a:lnTo>
                  <a:pt x="1234" y="62"/>
                </a:lnTo>
                <a:lnTo>
                  <a:pt x="1207" y="54"/>
                </a:lnTo>
                <a:lnTo>
                  <a:pt x="1181" y="48"/>
                </a:lnTo>
                <a:lnTo>
                  <a:pt x="1155" y="42"/>
                </a:lnTo>
                <a:lnTo>
                  <a:pt x="1129" y="36"/>
                </a:lnTo>
                <a:lnTo>
                  <a:pt x="1100" y="30"/>
                </a:lnTo>
                <a:lnTo>
                  <a:pt x="1073" y="26"/>
                </a:lnTo>
                <a:lnTo>
                  <a:pt x="1045" y="21"/>
                </a:lnTo>
                <a:lnTo>
                  <a:pt x="1016" y="17"/>
                </a:lnTo>
                <a:lnTo>
                  <a:pt x="1001" y="16"/>
                </a:lnTo>
                <a:lnTo>
                  <a:pt x="987" y="13"/>
                </a:lnTo>
                <a:lnTo>
                  <a:pt x="973" y="12"/>
                </a:lnTo>
                <a:lnTo>
                  <a:pt x="958" y="11"/>
                </a:lnTo>
                <a:lnTo>
                  <a:pt x="944" y="10"/>
                </a:lnTo>
                <a:lnTo>
                  <a:pt x="932" y="9"/>
                </a:lnTo>
                <a:lnTo>
                  <a:pt x="919" y="5"/>
                </a:lnTo>
                <a:lnTo>
                  <a:pt x="907" y="1"/>
                </a:lnTo>
                <a:lnTo>
                  <a:pt x="910" y="3"/>
                </a:lnTo>
                <a:lnTo>
                  <a:pt x="914" y="7"/>
                </a:lnTo>
                <a:lnTo>
                  <a:pt x="915" y="8"/>
                </a:lnTo>
                <a:lnTo>
                  <a:pt x="915" y="10"/>
                </a:lnTo>
                <a:lnTo>
                  <a:pt x="915" y="11"/>
                </a:lnTo>
                <a:lnTo>
                  <a:pt x="914" y="12"/>
                </a:lnTo>
                <a:lnTo>
                  <a:pt x="910" y="13"/>
                </a:lnTo>
                <a:lnTo>
                  <a:pt x="907" y="13"/>
                </a:lnTo>
                <a:lnTo>
                  <a:pt x="905" y="13"/>
                </a:lnTo>
                <a:lnTo>
                  <a:pt x="904" y="12"/>
                </a:lnTo>
                <a:lnTo>
                  <a:pt x="902" y="10"/>
                </a:lnTo>
                <a:lnTo>
                  <a:pt x="902" y="9"/>
                </a:lnTo>
                <a:lnTo>
                  <a:pt x="901" y="7"/>
                </a:lnTo>
                <a:lnTo>
                  <a:pt x="899" y="5"/>
                </a:lnTo>
                <a:lnTo>
                  <a:pt x="892" y="4"/>
                </a:lnTo>
                <a:lnTo>
                  <a:pt x="885" y="4"/>
                </a:lnTo>
                <a:lnTo>
                  <a:pt x="882" y="4"/>
                </a:lnTo>
                <a:lnTo>
                  <a:pt x="878" y="4"/>
                </a:lnTo>
                <a:lnTo>
                  <a:pt x="875" y="5"/>
                </a:lnTo>
                <a:lnTo>
                  <a:pt x="872" y="7"/>
                </a:lnTo>
                <a:lnTo>
                  <a:pt x="869" y="9"/>
                </a:lnTo>
                <a:lnTo>
                  <a:pt x="866" y="11"/>
                </a:lnTo>
                <a:lnTo>
                  <a:pt x="864" y="12"/>
                </a:lnTo>
                <a:lnTo>
                  <a:pt x="859" y="12"/>
                </a:lnTo>
                <a:lnTo>
                  <a:pt x="855" y="11"/>
                </a:lnTo>
                <a:lnTo>
                  <a:pt x="850" y="9"/>
                </a:lnTo>
                <a:lnTo>
                  <a:pt x="847" y="5"/>
                </a:lnTo>
                <a:lnTo>
                  <a:pt x="842" y="2"/>
                </a:lnTo>
                <a:lnTo>
                  <a:pt x="835" y="1"/>
                </a:lnTo>
                <a:lnTo>
                  <a:pt x="828" y="0"/>
                </a:lnTo>
                <a:lnTo>
                  <a:pt x="820" y="1"/>
                </a:lnTo>
                <a:lnTo>
                  <a:pt x="814" y="1"/>
                </a:lnTo>
                <a:lnTo>
                  <a:pt x="793" y="0"/>
                </a:lnTo>
                <a:lnTo>
                  <a:pt x="774" y="0"/>
                </a:lnTo>
                <a:lnTo>
                  <a:pt x="753" y="0"/>
                </a:lnTo>
                <a:lnTo>
                  <a:pt x="734" y="0"/>
                </a:lnTo>
                <a:lnTo>
                  <a:pt x="694" y="0"/>
                </a:lnTo>
                <a:lnTo>
                  <a:pt x="655" y="1"/>
                </a:lnTo>
                <a:lnTo>
                  <a:pt x="616" y="2"/>
                </a:lnTo>
                <a:lnTo>
                  <a:pt x="577" y="5"/>
                </a:lnTo>
                <a:lnTo>
                  <a:pt x="558" y="8"/>
                </a:lnTo>
                <a:lnTo>
                  <a:pt x="539" y="10"/>
                </a:lnTo>
                <a:lnTo>
                  <a:pt x="520" y="12"/>
                </a:lnTo>
                <a:lnTo>
                  <a:pt x="501" y="15"/>
                </a:lnTo>
                <a:lnTo>
                  <a:pt x="481" y="17"/>
                </a:lnTo>
                <a:lnTo>
                  <a:pt x="462" y="20"/>
                </a:lnTo>
                <a:lnTo>
                  <a:pt x="443" y="23"/>
                </a:lnTo>
                <a:lnTo>
                  <a:pt x="423" y="26"/>
                </a:lnTo>
                <a:lnTo>
                  <a:pt x="404" y="30"/>
                </a:lnTo>
                <a:lnTo>
                  <a:pt x="385" y="35"/>
                </a:lnTo>
                <a:lnTo>
                  <a:pt x="365" y="38"/>
                </a:lnTo>
                <a:lnTo>
                  <a:pt x="346" y="43"/>
                </a:lnTo>
                <a:lnTo>
                  <a:pt x="331" y="48"/>
                </a:lnTo>
                <a:lnTo>
                  <a:pt x="315" y="52"/>
                </a:lnTo>
                <a:lnTo>
                  <a:pt x="308" y="54"/>
                </a:lnTo>
                <a:lnTo>
                  <a:pt x="301" y="58"/>
                </a:lnTo>
                <a:lnTo>
                  <a:pt x="295" y="62"/>
                </a:lnTo>
                <a:lnTo>
                  <a:pt x="288" y="67"/>
                </a:lnTo>
                <a:lnTo>
                  <a:pt x="278" y="78"/>
                </a:lnTo>
                <a:lnTo>
                  <a:pt x="268" y="91"/>
                </a:lnTo>
                <a:lnTo>
                  <a:pt x="265" y="98"/>
                </a:lnTo>
                <a:lnTo>
                  <a:pt x="263" y="103"/>
                </a:lnTo>
                <a:lnTo>
                  <a:pt x="262" y="107"/>
                </a:lnTo>
                <a:lnTo>
                  <a:pt x="263" y="110"/>
                </a:lnTo>
                <a:lnTo>
                  <a:pt x="265" y="113"/>
                </a:lnTo>
                <a:lnTo>
                  <a:pt x="267" y="117"/>
                </a:lnTo>
                <a:lnTo>
                  <a:pt x="276" y="123"/>
                </a:lnTo>
                <a:lnTo>
                  <a:pt x="283" y="131"/>
                </a:lnTo>
                <a:lnTo>
                  <a:pt x="283" y="132"/>
                </a:lnTo>
                <a:lnTo>
                  <a:pt x="282" y="133"/>
                </a:lnTo>
                <a:lnTo>
                  <a:pt x="281" y="134"/>
                </a:lnTo>
                <a:lnTo>
                  <a:pt x="280" y="135"/>
                </a:lnTo>
                <a:lnTo>
                  <a:pt x="272" y="139"/>
                </a:lnTo>
                <a:lnTo>
                  <a:pt x="265" y="141"/>
                </a:lnTo>
                <a:lnTo>
                  <a:pt x="256" y="144"/>
                </a:lnTo>
                <a:lnTo>
                  <a:pt x="247" y="146"/>
                </a:lnTo>
                <a:lnTo>
                  <a:pt x="239" y="150"/>
                </a:lnTo>
                <a:lnTo>
                  <a:pt x="230" y="152"/>
                </a:lnTo>
                <a:lnTo>
                  <a:pt x="221" y="156"/>
                </a:lnTo>
                <a:lnTo>
                  <a:pt x="210" y="159"/>
                </a:lnTo>
                <a:lnTo>
                  <a:pt x="201" y="161"/>
                </a:lnTo>
                <a:lnTo>
                  <a:pt x="192" y="165"/>
                </a:lnTo>
                <a:lnTo>
                  <a:pt x="175" y="171"/>
                </a:lnTo>
                <a:lnTo>
                  <a:pt x="157" y="177"/>
                </a:lnTo>
                <a:lnTo>
                  <a:pt x="140" y="184"/>
                </a:lnTo>
                <a:lnTo>
                  <a:pt x="123" y="192"/>
                </a:lnTo>
                <a:lnTo>
                  <a:pt x="108" y="198"/>
                </a:lnTo>
                <a:lnTo>
                  <a:pt x="93" y="204"/>
                </a:lnTo>
                <a:lnTo>
                  <a:pt x="78" y="212"/>
                </a:lnTo>
                <a:lnTo>
                  <a:pt x="65" y="219"/>
                </a:lnTo>
                <a:lnTo>
                  <a:pt x="51" y="228"/>
                </a:lnTo>
                <a:lnTo>
                  <a:pt x="39" y="239"/>
                </a:lnTo>
                <a:lnTo>
                  <a:pt x="27" y="249"/>
                </a:lnTo>
                <a:lnTo>
                  <a:pt x="16" y="261"/>
                </a:lnTo>
                <a:lnTo>
                  <a:pt x="11" y="268"/>
                </a:lnTo>
                <a:lnTo>
                  <a:pt x="6" y="276"/>
                </a:lnTo>
                <a:lnTo>
                  <a:pt x="1" y="284"/>
                </a:lnTo>
                <a:lnTo>
                  <a:pt x="0" y="292"/>
                </a:lnTo>
                <a:lnTo>
                  <a:pt x="0" y="297"/>
                </a:lnTo>
                <a:lnTo>
                  <a:pt x="1" y="300"/>
                </a:lnTo>
                <a:lnTo>
                  <a:pt x="3" y="305"/>
                </a:lnTo>
                <a:lnTo>
                  <a:pt x="6" y="308"/>
                </a:lnTo>
                <a:lnTo>
                  <a:pt x="12" y="315"/>
                </a:lnTo>
                <a:lnTo>
                  <a:pt x="18" y="320"/>
                </a:lnTo>
                <a:lnTo>
                  <a:pt x="25" y="324"/>
                </a:lnTo>
                <a:lnTo>
                  <a:pt x="33" y="327"/>
                </a:lnTo>
                <a:lnTo>
                  <a:pt x="41" y="330"/>
                </a:lnTo>
                <a:lnTo>
                  <a:pt x="49" y="331"/>
                </a:lnTo>
                <a:lnTo>
                  <a:pt x="51" y="331"/>
                </a:lnTo>
                <a:lnTo>
                  <a:pt x="54" y="331"/>
                </a:lnTo>
                <a:lnTo>
                  <a:pt x="58" y="332"/>
                </a:lnTo>
                <a:lnTo>
                  <a:pt x="60" y="333"/>
                </a:lnTo>
                <a:lnTo>
                  <a:pt x="61" y="335"/>
                </a:lnTo>
                <a:lnTo>
                  <a:pt x="60" y="337"/>
                </a:lnTo>
                <a:lnTo>
                  <a:pt x="59" y="340"/>
                </a:lnTo>
                <a:lnTo>
                  <a:pt x="58" y="342"/>
                </a:lnTo>
                <a:lnTo>
                  <a:pt x="56" y="345"/>
                </a:lnTo>
                <a:lnTo>
                  <a:pt x="56" y="348"/>
                </a:lnTo>
                <a:lnTo>
                  <a:pt x="57" y="350"/>
                </a:lnTo>
                <a:lnTo>
                  <a:pt x="60" y="352"/>
                </a:lnTo>
                <a:lnTo>
                  <a:pt x="69" y="357"/>
                </a:lnTo>
                <a:lnTo>
                  <a:pt x="78" y="361"/>
                </a:lnTo>
                <a:lnTo>
                  <a:pt x="87" y="364"/>
                </a:lnTo>
                <a:lnTo>
                  <a:pt x="97" y="365"/>
                </a:lnTo>
                <a:lnTo>
                  <a:pt x="106" y="365"/>
                </a:lnTo>
                <a:lnTo>
                  <a:pt x="115" y="364"/>
                </a:lnTo>
                <a:lnTo>
                  <a:pt x="124" y="362"/>
                </a:lnTo>
                <a:lnTo>
                  <a:pt x="134" y="360"/>
                </a:lnTo>
                <a:lnTo>
                  <a:pt x="143" y="358"/>
                </a:lnTo>
                <a:lnTo>
                  <a:pt x="152" y="356"/>
                </a:lnTo>
                <a:lnTo>
                  <a:pt x="163" y="353"/>
                </a:lnTo>
                <a:lnTo>
                  <a:pt x="173" y="353"/>
                </a:lnTo>
                <a:lnTo>
                  <a:pt x="183" y="353"/>
                </a:lnTo>
                <a:lnTo>
                  <a:pt x="193" y="352"/>
                </a:lnTo>
                <a:lnTo>
                  <a:pt x="174" y="364"/>
                </a:lnTo>
                <a:lnTo>
                  <a:pt x="153" y="373"/>
                </a:lnTo>
                <a:lnTo>
                  <a:pt x="133" y="382"/>
                </a:lnTo>
                <a:lnTo>
                  <a:pt x="114" y="392"/>
                </a:lnTo>
                <a:lnTo>
                  <a:pt x="105" y="399"/>
                </a:lnTo>
                <a:lnTo>
                  <a:pt x="97" y="406"/>
                </a:lnTo>
                <a:lnTo>
                  <a:pt x="89" y="413"/>
                </a:lnTo>
                <a:lnTo>
                  <a:pt x="81" y="420"/>
                </a:lnTo>
                <a:lnTo>
                  <a:pt x="75" y="428"/>
                </a:lnTo>
                <a:lnTo>
                  <a:pt x="72" y="436"/>
                </a:lnTo>
                <a:lnTo>
                  <a:pt x="72" y="441"/>
                </a:lnTo>
                <a:lnTo>
                  <a:pt x="72" y="444"/>
                </a:lnTo>
                <a:lnTo>
                  <a:pt x="74" y="449"/>
                </a:lnTo>
                <a:lnTo>
                  <a:pt x="77" y="453"/>
                </a:lnTo>
                <a:lnTo>
                  <a:pt x="80" y="457"/>
                </a:lnTo>
                <a:lnTo>
                  <a:pt x="83" y="459"/>
                </a:lnTo>
                <a:lnTo>
                  <a:pt x="86" y="461"/>
                </a:lnTo>
                <a:lnTo>
                  <a:pt x="91" y="464"/>
                </a:lnTo>
                <a:lnTo>
                  <a:pt x="94" y="464"/>
                </a:lnTo>
                <a:lnTo>
                  <a:pt x="99" y="465"/>
                </a:lnTo>
                <a:lnTo>
                  <a:pt x="102" y="466"/>
                </a:lnTo>
                <a:lnTo>
                  <a:pt x="103" y="468"/>
                </a:lnTo>
                <a:lnTo>
                  <a:pt x="105" y="471"/>
                </a:lnTo>
                <a:lnTo>
                  <a:pt x="103" y="474"/>
                </a:lnTo>
                <a:lnTo>
                  <a:pt x="105" y="476"/>
                </a:lnTo>
                <a:lnTo>
                  <a:pt x="107" y="478"/>
                </a:lnTo>
                <a:lnTo>
                  <a:pt x="117" y="481"/>
                </a:lnTo>
                <a:lnTo>
                  <a:pt x="127" y="480"/>
                </a:lnTo>
                <a:lnTo>
                  <a:pt x="152" y="481"/>
                </a:lnTo>
                <a:lnTo>
                  <a:pt x="177" y="481"/>
                </a:lnTo>
                <a:lnTo>
                  <a:pt x="202" y="478"/>
                </a:lnTo>
                <a:lnTo>
                  <a:pt x="227" y="476"/>
                </a:lnTo>
                <a:lnTo>
                  <a:pt x="241" y="475"/>
                </a:lnTo>
                <a:lnTo>
                  <a:pt x="255" y="473"/>
                </a:lnTo>
                <a:lnTo>
                  <a:pt x="258" y="472"/>
                </a:lnTo>
                <a:lnTo>
                  <a:pt x="262" y="471"/>
                </a:lnTo>
                <a:lnTo>
                  <a:pt x="264" y="469"/>
                </a:lnTo>
                <a:lnTo>
                  <a:pt x="264" y="467"/>
                </a:lnTo>
                <a:lnTo>
                  <a:pt x="264" y="466"/>
                </a:lnTo>
                <a:lnTo>
                  <a:pt x="262" y="465"/>
                </a:lnTo>
                <a:lnTo>
                  <a:pt x="256" y="464"/>
                </a:lnTo>
                <a:lnTo>
                  <a:pt x="250" y="466"/>
                </a:lnTo>
                <a:lnTo>
                  <a:pt x="245" y="468"/>
                </a:lnTo>
                <a:lnTo>
                  <a:pt x="240" y="469"/>
                </a:lnTo>
                <a:lnTo>
                  <a:pt x="235" y="471"/>
                </a:lnTo>
                <a:lnTo>
                  <a:pt x="231" y="469"/>
                </a:lnTo>
                <a:lnTo>
                  <a:pt x="227" y="467"/>
                </a:lnTo>
                <a:lnTo>
                  <a:pt x="224" y="463"/>
                </a:lnTo>
                <a:lnTo>
                  <a:pt x="233" y="463"/>
                </a:lnTo>
                <a:lnTo>
                  <a:pt x="241" y="461"/>
                </a:lnTo>
                <a:lnTo>
                  <a:pt x="249" y="459"/>
                </a:lnTo>
                <a:lnTo>
                  <a:pt x="257" y="457"/>
                </a:lnTo>
                <a:lnTo>
                  <a:pt x="273" y="452"/>
                </a:lnTo>
                <a:lnTo>
                  <a:pt x="290" y="450"/>
                </a:lnTo>
                <a:lnTo>
                  <a:pt x="300" y="448"/>
                </a:lnTo>
                <a:lnTo>
                  <a:pt x="311" y="445"/>
                </a:lnTo>
                <a:lnTo>
                  <a:pt x="320" y="443"/>
                </a:lnTo>
                <a:lnTo>
                  <a:pt x="330" y="441"/>
                </a:lnTo>
                <a:lnTo>
                  <a:pt x="339" y="439"/>
                </a:lnTo>
                <a:lnTo>
                  <a:pt x="349" y="438"/>
                </a:lnTo>
                <a:lnTo>
                  <a:pt x="358" y="436"/>
                </a:lnTo>
                <a:lnTo>
                  <a:pt x="367" y="435"/>
                </a:lnTo>
                <a:lnTo>
                  <a:pt x="377" y="433"/>
                </a:lnTo>
                <a:lnTo>
                  <a:pt x="387" y="432"/>
                </a:lnTo>
                <a:lnTo>
                  <a:pt x="390" y="433"/>
                </a:lnTo>
                <a:lnTo>
                  <a:pt x="394" y="434"/>
                </a:lnTo>
                <a:lnTo>
                  <a:pt x="397" y="436"/>
                </a:lnTo>
                <a:lnTo>
                  <a:pt x="400" y="439"/>
                </a:lnTo>
                <a:lnTo>
                  <a:pt x="404" y="441"/>
                </a:lnTo>
                <a:lnTo>
                  <a:pt x="407" y="442"/>
                </a:lnTo>
                <a:lnTo>
                  <a:pt x="411" y="441"/>
                </a:lnTo>
                <a:lnTo>
                  <a:pt x="413" y="440"/>
                </a:lnTo>
                <a:lnTo>
                  <a:pt x="419" y="435"/>
                </a:lnTo>
                <a:lnTo>
                  <a:pt x="423" y="431"/>
                </a:lnTo>
                <a:lnTo>
                  <a:pt x="430" y="426"/>
                </a:lnTo>
                <a:lnTo>
                  <a:pt x="437" y="423"/>
                </a:lnTo>
                <a:lnTo>
                  <a:pt x="441" y="424"/>
                </a:lnTo>
                <a:lnTo>
                  <a:pt x="445" y="425"/>
                </a:lnTo>
                <a:lnTo>
                  <a:pt x="448" y="427"/>
                </a:lnTo>
                <a:lnTo>
                  <a:pt x="453" y="431"/>
                </a:lnTo>
                <a:lnTo>
                  <a:pt x="455" y="432"/>
                </a:lnTo>
                <a:lnTo>
                  <a:pt x="457" y="432"/>
                </a:lnTo>
                <a:lnTo>
                  <a:pt x="460" y="432"/>
                </a:lnTo>
                <a:lnTo>
                  <a:pt x="461" y="431"/>
                </a:lnTo>
                <a:lnTo>
                  <a:pt x="465" y="428"/>
                </a:lnTo>
                <a:lnTo>
                  <a:pt x="469" y="425"/>
                </a:lnTo>
                <a:lnTo>
                  <a:pt x="473" y="423"/>
                </a:lnTo>
                <a:lnTo>
                  <a:pt x="476" y="419"/>
                </a:lnTo>
                <a:lnTo>
                  <a:pt x="478" y="417"/>
                </a:lnTo>
                <a:lnTo>
                  <a:pt x="480" y="417"/>
                </a:lnTo>
                <a:lnTo>
                  <a:pt x="482" y="417"/>
                </a:lnTo>
                <a:lnTo>
                  <a:pt x="486" y="417"/>
                </a:lnTo>
                <a:lnTo>
                  <a:pt x="498" y="414"/>
                </a:lnTo>
                <a:lnTo>
                  <a:pt x="512" y="409"/>
                </a:lnTo>
                <a:lnTo>
                  <a:pt x="519" y="409"/>
                </a:lnTo>
                <a:lnTo>
                  <a:pt x="525" y="410"/>
                </a:lnTo>
                <a:lnTo>
                  <a:pt x="528" y="411"/>
                </a:lnTo>
                <a:lnTo>
                  <a:pt x="531" y="413"/>
                </a:lnTo>
                <a:lnTo>
                  <a:pt x="535" y="414"/>
                </a:lnTo>
                <a:lnTo>
                  <a:pt x="538" y="414"/>
                </a:lnTo>
                <a:lnTo>
                  <a:pt x="544" y="409"/>
                </a:lnTo>
                <a:lnTo>
                  <a:pt x="551" y="406"/>
                </a:lnTo>
                <a:lnTo>
                  <a:pt x="559" y="406"/>
                </a:lnTo>
                <a:lnTo>
                  <a:pt x="568" y="406"/>
                </a:lnTo>
                <a:lnTo>
                  <a:pt x="585" y="402"/>
                </a:lnTo>
                <a:lnTo>
                  <a:pt x="601" y="398"/>
                </a:lnTo>
                <a:lnTo>
                  <a:pt x="611" y="395"/>
                </a:lnTo>
                <a:lnTo>
                  <a:pt x="620" y="394"/>
                </a:lnTo>
                <a:lnTo>
                  <a:pt x="630" y="393"/>
                </a:lnTo>
                <a:lnTo>
                  <a:pt x="639" y="392"/>
                </a:lnTo>
                <a:lnTo>
                  <a:pt x="661" y="390"/>
                </a:lnTo>
                <a:lnTo>
                  <a:pt x="682" y="389"/>
                </a:lnTo>
                <a:lnTo>
                  <a:pt x="703" y="388"/>
                </a:lnTo>
                <a:lnTo>
                  <a:pt x="724" y="386"/>
                </a:lnTo>
                <a:lnTo>
                  <a:pt x="729" y="386"/>
                </a:lnTo>
                <a:lnTo>
                  <a:pt x="737" y="388"/>
                </a:lnTo>
                <a:lnTo>
                  <a:pt x="741" y="389"/>
                </a:lnTo>
                <a:lnTo>
                  <a:pt x="743" y="390"/>
                </a:lnTo>
                <a:lnTo>
                  <a:pt x="743" y="392"/>
                </a:lnTo>
                <a:lnTo>
                  <a:pt x="741" y="395"/>
                </a:lnTo>
                <a:lnTo>
                  <a:pt x="736" y="398"/>
                </a:lnTo>
                <a:lnTo>
                  <a:pt x="731" y="398"/>
                </a:lnTo>
                <a:lnTo>
                  <a:pt x="720" y="400"/>
                </a:lnTo>
                <a:lnTo>
                  <a:pt x="710" y="402"/>
                </a:lnTo>
                <a:lnTo>
                  <a:pt x="699" y="405"/>
                </a:lnTo>
                <a:lnTo>
                  <a:pt x="687" y="406"/>
                </a:lnTo>
                <a:lnTo>
                  <a:pt x="676" y="407"/>
                </a:lnTo>
                <a:lnTo>
                  <a:pt x="665" y="408"/>
                </a:lnTo>
                <a:lnTo>
                  <a:pt x="658" y="408"/>
                </a:lnTo>
                <a:lnTo>
                  <a:pt x="652" y="409"/>
                </a:lnTo>
                <a:lnTo>
                  <a:pt x="650" y="410"/>
                </a:lnTo>
                <a:lnTo>
                  <a:pt x="647" y="411"/>
                </a:lnTo>
                <a:lnTo>
                  <a:pt x="646" y="415"/>
                </a:lnTo>
                <a:lnTo>
                  <a:pt x="645" y="418"/>
                </a:lnTo>
                <a:lnTo>
                  <a:pt x="691" y="415"/>
                </a:lnTo>
                <a:lnTo>
                  <a:pt x="735" y="411"/>
                </a:lnTo>
                <a:lnTo>
                  <a:pt x="781" y="409"/>
                </a:lnTo>
                <a:lnTo>
                  <a:pt x="826" y="407"/>
                </a:lnTo>
                <a:lnTo>
                  <a:pt x="871" y="407"/>
                </a:lnTo>
                <a:lnTo>
                  <a:pt x="916" y="407"/>
                </a:lnTo>
                <a:lnTo>
                  <a:pt x="960" y="409"/>
                </a:lnTo>
                <a:lnTo>
                  <a:pt x="1006" y="411"/>
                </a:lnTo>
                <a:lnTo>
                  <a:pt x="1004" y="407"/>
                </a:lnTo>
                <a:lnTo>
                  <a:pt x="1005" y="402"/>
                </a:lnTo>
                <a:lnTo>
                  <a:pt x="1006" y="401"/>
                </a:lnTo>
                <a:lnTo>
                  <a:pt x="1007" y="400"/>
                </a:lnTo>
                <a:lnTo>
                  <a:pt x="1009" y="400"/>
                </a:lnTo>
                <a:lnTo>
                  <a:pt x="1013" y="399"/>
                </a:lnTo>
                <a:lnTo>
                  <a:pt x="1028" y="400"/>
                </a:lnTo>
                <a:lnTo>
                  <a:pt x="1044" y="403"/>
                </a:lnTo>
                <a:lnTo>
                  <a:pt x="1053" y="405"/>
                </a:lnTo>
                <a:lnTo>
                  <a:pt x="1063" y="405"/>
                </a:lnTo>
                <a:lnTo>
                  <a:pt x="1072" y="405"/>
                </a:lnTo>
                <a:lnTo>
                  <a:pt x="1081" y="406"/>
                </a:lnTo>
                <a:lnTo>
                  <a:pt x="1091" y="407"/>
                </a:lnTo>
                <a:lnTo>
                  <a:pt x="1100" y="407"/>
                </a:lnTo>
                <a:lnTo>
                  <a:pt x="1111" y="408"/>
                </a:lnTo>
                <a:lnTo>
                  <a:pt x="1120" y="409"/>
                </a:lnTo>
                <a:lnTo>
                  <a:pt x="1139" y="411"/>
                </a:lnTo>
                <a:lnTo>
                  <a:pt x="1158" y="414"/>
                </a:lnTo>
                <a:lnTo>
                  <a:pt x="1178" y="416"/>
                </a:lnTo>
                <a:lnTo>
                  <a:pt x="1197" y="416"/>
                </a:lnTo>
                <a:lnTo>
                  <a:pt x="1216" y="417"/>
                </a:lnTo>
                <a:lnTo>
                  <a:pt x="1236" y="419"/>
                </a:lnTo>
                <a:lnTo>
                  <a:pt x="1255" y="422"/>
                </a:lnTo>
                <a:lnTo>
                  <a:pt x="1275" y="423"/>
                </a:lnTo>
                <a:lnTo>
                  <a:pt x="1284" y="423"/>
                </a:lnTo>
                <a:lnTo>
                  <a:pt x="1294" y="423"/>
                </a:lnTo>
                <a:lnTo>
                  <a:pt x="1304" y="423"/>
                </a:lnTo>
                <a:lnTo>
                  <a:pt x="1313" y="423"/>
                </a:lnTo>
                <a:lnTo>
                  <a:pt x="1321" y="423"/>
                </a:lnTo>
                <a:lnTo>
                  <a:pt x="1330" y="423"/>
                </a:lnTo>
                <a:lnTo>
                  <a:pt x="1334" y="423"/>
                </a:lnTo>
                <a:lnTo>
                  <a:pt x="1338" y="422"/>
                </a:lnTo>
                <a:lnTo>
                  <a:pt x="1342" y="420"/>
                </a:lnTo>
                <a:lnTo>
                  <a:pt x="1345" y="418"/>
                </a:lnTo>
                <a:lnTo>
                  <a:pt x="1347" y="415"/>
                </a:lnTo>
                <a:lnTo>
                  <a:pt x="1349" y="413"/>
                </a:lnTo>
                <a:lnTo>
                  <a:pt x="1349" y="410"/>
                </a:lnTo>
                <a:lnTo>
                  <a:pt x="1347" y="407"/>
                </a:lnTo>
                <a:lnTo>
                  <a:pt x="1343" y="402"/>
                </a:lnTo>
                <a:lnTo>
                  <a:pt x="1338" y="398"/>
                </a:lnTo>
                <a:lnTo>
                  <a:pt x="1325" y="388"/>
                </a:lnTo>
                <a:lnTo>
                  <a:pt x="1311" y="378"/>
                </a:lnTo>
                <a:lnTo>
                  <a:pt x="1294" y="372"/>
                </a:lnTo>
                <a:lnTo>
                  <a:pt x="1276" y="366"/>
                </a:lnTo>
                <a:lnTo>
                  <a:pt x="1257" y="360"/>
                </a:lnTo>
                <a:lnTo>
                  <a:pt x="1239" y="357"/>
                </a:lnTo>
                <a:lnTo>
                  <a:pt x="1220" y="352"/>
                </a:lnTo>
                <a:lnTo>
                  <a:pt x="1201" y="349"/>
                </a:lnTo>
                <a:lnTo>
                  <a:pt x="1181" y="347"/>
                </a:lnTo>
                <a:lnTo>
                  <a:pt x="1162" y="343"/>
                </a:lnTo>
                <a:lnTo>
                  <a:pt x="1143" y="340"/>
                </a:lnTo>
                <a:lnTo>
                  <a:pt x="1123" y="337"/>
                </a:lnTo>
                <a:lnTo>
                  <a:pt x="1104" y="335"/>
                </a:lnTo>
                <a:lnTo>
                  <a:pt x="1086" y="333"/>
                </a:lnTo>
                <a:lnTo>
                  <a:pt x="1066" y="330"/>
                </a:lnTo>
                <a:lnTo>
                  <a:pt x="1047" y="325"/>
                </a:lnTo>
                <a:lnTo>
                  <a:pt x="1029" y="322"/>
                </a:lnTo>
                <a:lnTo>
                  <a:pt x="1009" y="318"/>
                </a:lnTo>
                <a:lnTo>
                  <a:pt x="991" y="316"/>
                </a:lnTo>
                <a:lnTo>
                  <a:pt x="972" y="315"/>
                </a:lnTo>
                <a:lnTo>
                  <a:pt x="952" y="314"/>
                </a:lnTo>
                <a:lnTo>
                  <a:pt x="933" y="312"/>
                </a:lnTo>
                <a:lnTo>
                  <a:pt x="914" y="311"/>
                </a:lnTo>
                <a:lnTo>
                  <a:pt x="893" y="312"/>
                </a:lnTo>
                <a:lnTo>
                  <a:pt x="874" y="312"/>
                </a:lnTo>
                <a:lnTo>
                  <a:pt x="855" y="314"/>
                </a:lnTo>
                <a:lnTo>
                  <a:pt x="815" y="314"/>
                </a:lnTo>
                <a:lnTo>
                  <a:pt x="776" y="314"/>
                </a:lnTo>
                <a:lnTo>
                  <a:pt x="756" y="314"/>
                </a:lnTo>
                <a:lnTo>
                  <a:pt x="736" y="315"/>
                </a:lnTo>
                <a:lnTo>
                  <a:pt x="717" y="317"/>
                </a:lnTo>
                <a:lnTo>
                  <a:pt x="698" y="319"/>
                </a:lnTo>
                <a:lnTo>
                  <a:pt x="678" y="323"/>
                </a:lnTo>
                <a:lnTo>
                  <a:pt x="659" y="326"/>
                </a:lnTo>
                <a:lnTo>
                  <a:pt x="639" y="330"/>
                </a:lnTo>
                <a:lnTo>
                  <a:pt x="619" y="331"/>
                </a:lnTo>
                <a:lnTo>
                  <a:pt x="610" y="331"/>
                </a:lnTo>
                <a:lnTo>
                  <a:pt x="601" y="332"/>
                </a:lnTo>
                <a:lnTo>
                  <a:pt x="592" y="332"/>
                </a:lnTo>
                <a:lnTo>
                  <a:pt x="583" y="333"/>
                </a:lnTo>
                <a:lnTo>
                  <a:pt x="576" y="336"/>
                </a:lnTo>
                <a:lnTo>
                  <a:pt x="570" y="339"/>
                </a:lnTo>
                <a:lnTo>
                  <a:pt x="561" y="340"/>
                </a:lnTo>
                <a:lnTo>
                  <a:pt x="552" y="340"/>
                </a:lnTo>
                <a:lnTo>
                  <a:pt x="532" y="341"/>
                </a:lnTo>
                <a:lnTo>
                  <a:pt x="513" y="343"/>
                </a:lnTo>
                <a:lnTo>
                  <a:pt x="494" y="347"/>
                </a:lnTo>
                <a:lnTo>
                  <a:pt x="476" y="349"/>
                </a:lnTo>
                <a:lnTo>
                  <a:pt x="455" y="351"/>
                </a:lnTo>
                <a:lnTo>
                  <a:pt x="435" y="352"/>
                </a:lnTo>
                <a:lnTo>
                  <a:pt x="415" y="353"/>
                </a:lnTo>
                <a:lnTo>
                  <a:pt x="396" y="356"/>
                </a:lnTo>
                <a:lnTo>
                  <a:pt x="377" y="359"/>
                </a:lnTo>
                <a:lnTo>
                  <a:pt x="357" y="362"/>
                </a:lnTo>
                <a:lnTo>
                  <a:pt x="338" y="367"/>
                </a:lnTo>
                <a:lnTo>
                  <a:pt x="319" y="372"/>
                </a:lnTo>
                <a:lnTo>
                  <a:pt x="300" y="376"/>
                </a:lnTo>
                <a:lnTo>
                  <a:pt x="282" y="382"/>
                </a:lnTo>
                <a:lnTo>
                  <a:pt x="273" y="383"/>
                </a:lnTo>
                <a:lnTo>
                  <a:pt x="264" y="384"/>
                </a:lnTo>
                <a:lnTo>
                  <a:pt x="255" y="384"/>
                </a:lnTo>
                <a:lnTo>
                  <a:pt x="246" y="383"/>
                </a:lnTo>
                <a:lnTo>
                  <a:pt x="238" y="382"/>
                </a:lnTo>
                <a:lnTo>
                  <a:pt x="230" y="380"/>
                </a:lnTo>
                <a:lnTo>
                  <a:pt x="222" y="378"/>
                </a:lnTo>
                <a:lnTo>
                  <a:pt x="214" y="380"/>
                </a:lnTo>
                <a:lnTo>
                  <a:pt x="230" y="372"/>
                </a:lnTo>
                <a:lnTo>
                  <a:pt x="247" y="362"/>
                </a:lnTo>
                <a:lnTo>
                  <a:pt x="255" y="359"/>
                </a:lnTo>
                <a:lnTo>
                  <a:pt x="263" y="355"/>
                </a:lnTo>
                <a:lnTo>
                  <a:pt x="272" y="352"/>
                </a:lnTo>
                <a:lnTo>
                  <a:pt x="281" y="350"/>
                </a:lnTo>
                <a:lnTo>
                  <a:pt x="297" y="347"/>
                </a:lnTo>
                <a:lnTo>
                  <a:pt x="313" y="341"/>
                </a:lnTo>
                <a:lnTo>
                  <a:pt x="321" y="340"/>
                </a:lnTo>
                <a:lnTo>
                  <a:pt x="329" y="340"/>
                </a:lnTo>
                <a:lnTo>
                  <a:pt x="334" y="339"/>
                </a:lnTo>
                <a:lnTo>
                  <a:pt x="338" y="337"/>
                </a:lnTo>
                <a:lnTo>
                  <a:pt x="342" y="335"/>
                </a:lnTo>
                <a:lnTo>
                  <a:pt x="347" y="333"/>
                </a:lnTo>
                <a:lnTo>
                  <a:pt x="356" y="330"/>
                </a:lnTo>
                <a:lnTo>
                  <a:pt x="365" y="327"/>
                </a:lnTo>
                <a:lnTo>
                  <a:pt x="375" y="326"/>
                </a:lnTo>
                <a:lnTo>
                  <a:pt x="385" y="325"/>
                </a:lnTo>
                <a:lnTo>
                  <a:pt x="394" y="323"/>
                </a:lnTo>
                <a:lnTo>
                  <a:pt x="404" y="319"/>
                </a:lnTo>
                <a:lnTo>
                  <a:pt x="413" y="317"/>
                </a:lnTo>
                <a:lnTo>
                  <a:pt x="422" y="315"/>
                </a:lnTo>
                <a:lnTo>
                  <a:pt x="430" y="315"/>
                </a:lnTo>
                <a:lnTo>
                  <a:pt x="438" y="314"/>
                </a:lnTo>
                <a:lnTo>
                  <a:pt x="446" y="311"/>
                </a:lnTo>
                <a:lnTo>
                  <a:pt x="454" y="308"/>
                </a:lnTo>
                <a:lnTo>
                  <a:pt x="456" y="306"/>
                </a:lnTo>
                <a:lnTo>
                  <a:pt x="459" y="306"/>
                </a:lnTo>
                <a:lnTo>
                  <a:pt x="461" y="306"/>
                </a:lnTo>
                <a:lnTo>
                  <a:pt x="464" y="307"/>
                </a:lnTo>
                <a:lnTo>
                  <a:pt x="471" y="309"/>
                </a:lnTo>
                <a:lnTo>
                  <a:pt x="479" y="310"/>
                </a:lnTo>
                <a:lnTo>
                  <a:pt x="486" y="311"/>
                </a:lnTo>
                <a:lnTo>
                  <a:pt x="493" y="312"/>
                </a:lnTo>
                <a:lnTo>
                  <a:pt x="499" y="310"/>
                </a:lnTo>
                <a:lnTo>
                  <a:pt x="506" y="308"/>
                </a:lnTo>
                <a:lnTo>
                  <a:pt x="514" y="306"/>
                </a:lnTo>
                <a:lnTo>
                  <a:pt x="522" y="305"/>
                </a:lnTo>
                <a:lnTo>
                  <a:pt x="531" y="303"/>
                </a:lnTo>
                <a:lnTo>
                  <a:pt x="539" y="303"/>
                </a:lnTo>
                <a:lnTo>
                  <a:pt x="550" y="302"/>
                </a:lnTo>
                <a:lnTo>
                  <a:pt x="560" y="301"/>
                </a:lnTo>
                <a:lnTo>
                  <a:pt x="570" y="300"/>
                </a:lnTo>
                <a:lnTo>
                  <a:pt x="580" y="298"/>
                </a:lnTo>
                <a:lnTo>
                  <a:pt x="584" y="298"/>
                </a:lnTo>
                <a:lnTo>
                  <a:pt x="587" y="297"/>
                </a:lnTo>
                <a:lnTo>
                  <a:pt x="589" y="295"/>
                </a:lnTo>
                <a:lnTo>
                  <a:pt x="591" y="292"/>
                </a:lnTo>
                <a:lnTo>
                  <a:pt x="593" y="289"/>
                </a:lnTo>
                <a:lnTo>
                  <a:pt x="595" y="285"/>
                </a:lnTo>
                <a:lnTo>
                  <a:pt x="602" y="285"/>
                </a:lnTo>
                <a:lnTo>
                  <a:pt x="609" y="286"/>
                </a:lnTo>
                <a:lnTo>
                  <a:pt x="617" y="285"/>
                </a:lnTo>
                <a:lnTo>
                  <a:pt x="625" y="284"/>
                </a:lnTo>
                <a:lnTo>
                  <a:pt x="632" y="282"/>
                </a:lnTo>
                <a:lnTo>
                  <a:pt x="639" y="282"/>
                </a:lnTo>
                <a:lnTo>
                  <a:pt x="646" y="282"/>
                </a:lnTo>
                <a:lnTo>
                  <a:pt x="654" y="285"/>
                </a:lnTo>
                <a:lnTo>
                  <a:pt x="657" y="287"/>
                </a:lnTo>
                <a:lnTo>
                  <a:pt x="659" y="290"/>
                </a:lnTo>
                <a:lnTo>
                  <a:pt x="662" y="291"/>
                </a:lnTo>
                <a:lnTo>
                  <a:pt x="666" y="291"/>
                </a:lnTo>
                <a:lnTo>
                  <a:pt x="670" y="289"/>
                </a:lnTo>
                <a:lnTo>
                  <a:pt x="674" y="286"/>
                </a:lnTo>
                <a:lnTo>
                  <a:pt x="678" y="285"/>
                </a:lnTo>
                <a:lnTo>
                  <a:pt x="684" y="285"/>
                </a:lnTo>
                <a:lnTo>
                  <a:pt x="699" y="285"/>
                </a:lnTo>
                <a:lnTo>
                  <a:pt x="715" y="285"/>
                </a:lnTo>
                <a:lnTo>
                  <a:pt x="720" y="284"/>
                </a:lnTo>
                <a:lnTo>
                  <a:pt x="726" y="284"/>
                </a:lnTo>
                <a:lnTo>
                  <a:pt x="732" y="284"/>
                </a:lnTo>
                <a:lnTo>
                  <a:pt x="737" y="287"/>
                </a:lnTo>
                <a:lnTo>
                  <a:pt x="741" y="293"/>
                </a:lnTo>
                <a:lnTo>
                  <a:pt x="745" y="297"/>
                </a:lnTo>
                <a:lnTo>
                  <a:pt x="749" y="297"/>
                </a:lnTo>
                <a:lnTo>
                  <a:pt x="752" y="295"/>
                </a:lnTo>
                <a:lnTo>
                  <a:pt x="753" y="294"/>
                </a:lnTo>
                <a:lnTo>
                  <a:pt x="752" y="293"/>
                </a:lnTo>
                <a:lnTo>
                  <a:pt x="751" y="292"/>
                </a:lnTo>
                <a:lnTo>
                  <a:pt x="750" y="291"/>
                </a:lnTo>
                <a:lnTo>
                  <a:pt x="749" y="290"/>
                </a:lnTo>
                <a:lnTo>
                  <a:pt x="748" y="289"/>
                </a:lnTo>
                <a:lnTo>
                  <a:pt x="748" y="287"/>
                </a:lnTo>
                <a:lnTo>
                  <a:pt x="750" y="285"/>
                </a:lnTo>
                <a:lnTo>
                  <a:pt x="753" y="285"/>
                </a:lnTo>
                <a:lnTo>
                  <a:pt x="757" y="286"/>
                </a:lnTo>
                <a:lnTo>
                  <a:pt x="762" y="285"/>
                </a:lnTo>
                <a:lnTo>
                  <a:pt x="768" y="285"/>
                </a:lnTo>
                <a:lnTo>
                  <a:pt x="773" y="284"/>
                </a:lnTo>
                <a:lnTo>
                  <a:pt x="777" y="284"/>
                </a:lnTo>
                <a:lnTo>
                  <a:pt x="781" y="285"/>
                </a:lnTo>
                <a:lnTo>
                  <a:pt x="783" y="289"/>
                </a:lnTo>
                <a:lnTo>
                  <a:pt x="785" y="291"/>
                </a:lnTo>
                <a:lnTo>
                  <a:pt x="789" y="293"/>
                </a:lnTo>
                <a:lnTo>
                  <a:pt x="792" y="294"/>
                </a:lnTo>
                <a:lnTo>
                  <a:pt x="795" y="294"/>
                </a:lnTo>
                <a:lnTo>
                  <a:pt x="806" y="294"/>
                </a:lnTo>
                <a:lnTo>
                  <a:pt x="816" y="294"/>
                </a:lnTo>
                <a:lnTo>
                  <a:pt x="818" y="294"/>
                </a:lnTo>
                <a:lnTo>
                  <a:pt x="822" y="294"/>
                </a:lnTo>
                <a:lnTo>
                  <a:pt x="824" y="293"/>
                </a:lnTo>
                <a:lnTo>
                  <a:pt x="826" y="292"/>
                </a:lnTo>
                <a:lnTo>
                  <a:pt x="827" y="289"/>
                </a:lnTo>
                <a:lnTo>
                  <a:pt x="828" y="285"/>
                </a:lnTo>
                <a:lnTo>
                  <a:pt x="828" y="284"/>
                </a:lnTo>
                <a:lnTo>
                  <a:pt x="830" y="283"/>
                </a:lnTo>
                <a:lnTo>
                  <a:pt x="832" y="283"/>
                </a:lnTo>
                <a:lnTo>
                  <a:pt x="834" y="284"/>
                </a:lnTo>
                <a:lnTo>
                  <a:pt x="839" y="289"/>
                </a:lnTo>
                <a:lnTo>
                  <a:pt x="842" y="294"/>
                </a:lnTo>
                <a:lnTo>
                  <a:pt x="845" y="295"/>
                </a:lnTo>
                <a:lnTo>
                  <a:pt x="849" y="295"/>
                </a:lnTo>
                <a:lnTo>
                  <a:pt x="852" y="295"/>
                </a:lnTo>
                <a:lnTo>
                  <a:pt x="856" y="295"/>
                </a:lnTo>
                <a:lnTo>
                  <a:pt x="864" y="293"/>
                </a:lnTo>
                <a:lnTo>
                  <a:pt x="871" y="292"/>
                </a:lnTo>
                <a:lnTo>
                  <a:pt x="878" y="293"/>
                </a:lnTo>
                <a:lnTo>
                  <a:pt x="888" y="293"/>
                </a:lnTo>
                <a:lnTo>
                  <a:pt x="894" y="291"/>
                </a:lnTo>
                <a:lnTo>
                  <a:pt x="902" y="289"/>
                </a:lnTo>
                <a:lnTo>
                  <a:pt x="910" y="286"/>
                </a:lnTo>
                <a:lnTo>
                  <a:pt x="918" y="284"/>
                </a:lnTo>
                <a:lnTo>
                  <a:pt x="926" y="285"/>
                </a:lnTo>
                <a:lnTo>
                  <a:pt x="934" y="287"/>
                </a:lnTo>
                <a:lnTo>
                  <a:pt x="943" y="295"/>
                </a:lnTo>
                <a:lnTo>
                  <a:pt x="954" y="301"/>
                </a:lnTo>
                <a:lnTo>
                  <a:pt x="967" y="299"/>
                </a:lnTo>
                <a:lnTo>
                  <a:pt x="982" y="295"/>
                </a:lnTo>
                <a:lnTo>
                  <a:pt x="995" y="298"/>
                </a:lnTo>
                <a:lnTo>
                  <a:pt x="1007" y="301"/>
                </a:lnTo>
                <a:lnTo>
                  <a:pt x="1015" y="299"/>
                </a:lnTo>
                <a:lnTo>
                  <a:pt x="1023" y="295"/>
                </a:lnTo>
                <a:lnTo>
                  <a:pt x="1031" y="293"/>
                </a:lnTo>
                <a:lnTo>
                  <a:pt x="1040" y="292"/>
                </a:lnTo>
                <a:lnTo>
                  <a:pt x="1050" y="292"/>
                </a:lnTo>
                <a:lnTo>
                  <a:pt x="1059" y="291"/>
                </a:lnTo>
                <a:lnTo>
                  <a:pt x="1069" y="291"/>
                </a:lnTo>
                <a:lnTo>
                  <a:pt x="1079" y="291"/>
                </a:lnTo>
                <a:lnTo>
                  <a:pt x="1099" y="292"/>
                </a:lnTo>
                <a:lnTo>
                  <a:pt x="1121" y="294"/>
                </a:lnTo>
                <a:lnTo>
                  <a:pt x="1141" y="297"/>
                </a:lnTo>
                <a:lnTo>
                  <a:pt x="1162" y="297"/>
                </a:lnTo>
                <a:lnTo>
                  <a:pt x="1172" y="295"/>
                </a:lnTo>
                <a:lnTo>
                  <a:pt x="1181" y="294"/>
                </a:lnTo>
                <a:lnTo>
                  <a:pt x="1186" y="294"/>
                </a:lnTo>
                <a:lnTo>
                  <a:pt x="1189" y="295"/>
                </a:lnTo>
                <a:lnTo>
                  <a:pt x="1193" y="297"/>
                </a:lnTo>
                <a:lnTo>
                  <a:pt x="1196" y="299"/>
                </a:lnTo>
                <a:lnTo>
                  <a:pt x="1203" y="298"/>
                </a:lnTo>
                <a:lnTo>
                  <a:pt x="1210" y="295"/>
                </a:lnTo>
                <a:lnTo>
                  <a:pt x="1220" y="297"/>
                </a:lnTo>
                <a:lnTo>
                  <a:pt x="1229" y="299"/>
                </a:lnTo>
                <a:lnTo>
                  <a:pt x="1239" y="301"/>
                </a:lnTo>
                <a:lnTo>
                  <a:pt x="1251" y="303"/>
                </a:lnTo>
                <a:lnTo>
                  <a:pt x="1261" y="305"/>
                </a:lnTo>
                <a:lnTo>
                  <a:pt x="1272" y="305"/>
                </a:lnTo>
                <a:lnTo>
                  <a:pt x="1283" y="305"/>
                </a:lnTo>
                <a:lnTo>
                  <a:pt x="1293" y="305"/>
                </a:lnTo>
                <a:lnTo>
                  <a:pt x="1303" y="305"/>
                </a:lnTo>
                <a:lnTo>
                  <a:pt x="1312" y="307"/>
                </a:lnTo>
                <a:lnTo>
                  <a:pt x="1334" y="310"/>
                </a:lnTo>
                <a:lnTo>
                  <a:pt x="1354" y="312"/>
                </a:lnTo>
                <a:lnTo>
                  <a:pt x="1375" y="315"/>
                </a:lnTo>
                <a:lnTo>
                  <a:pt x="1396" y="315"/>
                </a:lnTo>
                <a:lnTo>
                  <a:pt x="1405" y="315"/>
                </a:lnTo>
                <a:lnTo>
                  <a:pt x="1416" y="315"/>
                </a:lnTo>
                <a:lnTo>
                  <a:pt x="1426" y="312"/>
                </a:lnTo>
                <a:lnTo>
                  <a:pt x="1435" y="310"/>
                </a:lnTo>
                <a:lnTo>
                  <a:pt x="1442" y="306"/>
                </a:lnTo>
                <a:lnTo>
                  <a:pt x="1448" y="300"/>
                </a:lnTo>
                <a:lnTo>
                  <a:pt x="1452" y="294"/>
                </a:lnTo>
                <a:lnTo>
                  <a:pt x="1457" y="287"/>
                </a:lnTo>
                <a:lnTo>
                  <a:pt x="1460" y="281"/>
                </a:lnTo>
                <a:lnTo>
                  <a:pt x="1462" y="274"/>
                </a:lnTo>
                <a:lnTo>
                  <a:pt x="1463" y="269"/>
                </a:lnTo>
                <a:lnTo>
                  <a:pt x="1462" y="266"/>
                </a:lnTo>
                <a:lnTo>
                  <a:pt x="1461" y="262"/>
                </a:lnTo>
                <a:lnTo>
                  <a:pt x="1458" y="259"/>
                </a:lnTo>
                <a:lnTo>
                  <a:pt x="1452" y="253"/>
                </a:lnTo>
                <a:lnTo>
                  <a:pt x="1453" y="256"/>
                </a:lnTo>
                <a:lnTo>
                  <a:pt x="1458" y="259"/>
                </a:lnTo>
                <a:lnTo>
                  <a:pt x="1458" y="259"/>
                </a:lnTo>
                <a:close/>
                <a:moveTo>
                  <a:pt x="197" y="352"/>
                </a:moveTo>
                <a:lnTo>
                  <a:pt x="196" y="350"/>
                </a:lnTo>
                <a:lnTo>
                  <a:pt x="197" y="349"/>
                </a:lnTo>
                <a:lnTo>
                  <a:pt x="198" y="350"/>
                </a:lnTo>
                <a:lnTo>
                  <a:pt x="197" y="352"/>
                </a:lnTo>
                <a:lnTo>
                  <a:pt x="197" y="351"/>
                </a:lnTo>
                <a:lnTo>
                  <a:pt x="197" y="352"/>
                </a:lnTo>
                <a:close/>
                <a:moveTo>
                  <a:pt x="433" y="273"/>
                </a:moveTo>
                <a:lnTo>
                  <a:pt x="419" y="276"/>
                </a:lnTo>
                <a:lnTo>
                  <a:pt x="404" y="279"/>
                </a:lnTo>
                <a:lnTo>
                  <a:pt x="389" y="282"/>
                </a:lnTo>
                <a:lnTo>
                  <a:pt x="374" y="285"/>
                </a:lnTo>
                <a:lnTo>
                  <a:pt x="359" y="289"/>
                </a:lnTo>
                <a:lnTo>
                  <a:pt x="345" y="293"/>
                </a:lnTo>
                <a:lnTo>
                  <a:pt x="339" y="293"/>
                </a:lnTo>
                <a:lnTo>
                  <a:pt x="334" y="293"/>
                </a:lnTo>
                <a:lnTo>
                  <a:pt x="330" y="291"/>
                </a:lnTo>
                <a:lnTo>
                  <a:pt x="326" y="286"/>
                </a:lnTo>
                <a:lnTo>
                  <a:pt x="341" y="284"/>
                </a:lnTo>
                <a:lnTo>
                  <a:pt x="357" y="281"/>
                </a:lnTo>
                <a:lnTo>
                  <a:pt x="372" y="276"/>
                </a:lnTo>
                <a:lnTo>
                  <a:pt x="387" y="273"/>
                </a:lnTo>
                <a:lnTo>
                  <a:pt x="402" y="269"/>
                </a:lnTo>
                <a:lnTo>
                  <a:pt x="416" y="267"/>
                </a:lnTo>
                <a:lnTo>
                  <a:pt x="423" y="267"/>
                </a:lnTo>
                <a:lnTo>
                  <a:pt x="430" y="267"/>
                </a:lnTo>
                <a:lnTo>
                  <a:pt x="432" y="267"/>
                </a:lnTo>
                <a:lnTo>
                  <a:pt x="435" y="267"/>
                </a:lnTo>
                <a:lnTo>
                  <a:pt x="436" y="267"/>
                </a:lnTo>
                <a:lnTo>
                  <a:pt x="437" y="269"/>
                </a:lnTo>
                <a:lnTo>
                  <a:pt x="436" y="272"/>
                </a:lnTo>
                <a:lnTo>
                  <a:pt x="433" y="273"/>
                </a:lnTo>
                <a:lnTo>
                  <a:pt x="421" y="275"/>
                </a:lnTo>
                <a:lnTo>
                  <a:pt x="423" y="275"/>
                </a:lnTo>
                <a:lnTo>
                  <a:pt x="431" y="273"/>
                </a:lnTo>
                <a:lnTo>
                  <a:pt x="433" y="273"/>
                </a:lnTo>
                <a:close/>
                <a:moveTo>
                  <a:pt x="791" y="286"/>
                </a:moveTo>
                <a:lnTo>
                  <a:pt x="794" y="284"/>
                </a:lnTo>
                <a:lnTo>
                  <a:pt x="798" y="283"/>
                </a:lnTo>
                <a:lnTo>
                  <a:pt x="802" y="282"/>
                </a:lnTo>
                <a:lnTo>
                  <a:pt x="806" y="281"/>
                </a:lnTo>
                <a:lnTo>
                  <a:pt x="802" y="282"/>
                </a:lnTo>
                <a:lnTo>
                  <a:pt x="798" y="283"/>
                </a:lnTo>
                <a:lnTo>
                  <a:pt x="794" y="284"/>
                </a:lnTo>
                <a:lnTo>
                  <a:pt x="791" y="28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96198A2-5D80-F94D-851A-E520AECEB48E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6F6B81CB-941D-314D-9ACC-F5CFB488B9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519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72">
            <a:extLst>
              <a:ext uri="{FF2B5EF4-FFF2-40B4-BE49-F238E27FC236}">
                <a16:creationId xmlns:a16="http://schemas.microsoft.com/office/drawing/2014/main" id="{B9F44DF7-04B3-C048-BF66-A87601447F19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492287" y="738114"/>
            <a:ext cx="23402600" cy="7488833"/>
          </a:xfrm>
          <a:custGeom>
            <a:avLst/>
            <a:gdLst>
              <a:gd name="T0" fmla="*/ 1423 w 1484"/>
              <a:gd name="T1" fmla="*/ 238 h 711"/>
              <a:gd name="T2" fmla="*/ 1304 w 1484"/>
              <a:gd name="T3" fmla="*/ 138 h 711"/>
              <a:gd name="T4" fmla="*/ 1199 w 1484"/>
              <a:gd name="T5" fmla="*/ 103 h 711"/>
              <a:gd name="T6" fmla="*/ 1152 w 1484"/>
              <a:gd name="T7" fmla="*/ 157 h 711"/>
              <a:gd name="T8" fmla="*/ 626 w 1484"/>
              <a:gd name="T9" fmla="*/ 54 h 711"/>
              <a:gd name="T10" fmla="*/ 506 w 1484"/>
              <a:gd name="T11" fmla="*/ 47 h 711"/>
              <a:gd name="T12" fmla="*/ 162 w 1484"/>
              <a:gd name="T13" fmla="*/ 147 h 711"/>
              <a:gd name="T14" fmla="*/ 169 w 1484"/>
              <a:gd name="T15" fmla="*/ 155 h 711"/>
              <a:gd name="T16" fmla="*/ 85 w 1484"/>
              <a:gd name="T17" fmla="*/ 298 h 711"/>
              <a:gd name="T18" fmla="*/ 47 w 1484"/>
              <a:gd name="T19" fmla="*/ 584 h 711"/>
              <a:gd name="T20" fmla="*/ 401 w 1484"/>
              <a:gd name="T21" fmla="*/ 416 h 711"/>
              <a:gd name="T22" fmla="*/ 616 w 1484"/>
              <a:gd name="T23" fmla="*/ 497 h 711"/>
              <a:gd name="T24" fmla="*/ 742 w 1484"/>
              <a:gd name="T25" fmla="*/ 581 h 711"/>
              <a:gd name="T26" fmla="*/ 1026 w 1484"/>
              <a:gd name="T27" fmla="*/ 654 h 711"/>
              <a:gd name="T28" fmla="*/ 1398 w 1484"/>
              <a:gd name="T29" fmla="*/ 676 h 711"/>
              <a:gd name="T30" fmla="*/ 1173 w 1484"/>
              <a:gd name="T31" fmla="*/ 681 h 711"/>
              <a:gd name="T32" fmla="*/ 1357 w 1484"/>
              <a:gd name="T33" fmla="*/ 700 h 711"/>
              <a:gd name="T34" fmla="*/ 1205 w 1484"/>
              <a:gd name="T35" fmla="*/ 614 h 711"/>
              <a:gd name="T36" fmla="*/ 690 w 1484"/>
              <a:gd name="T37" fmla="*/ 378 h 711"/>
              <a:gd name="T38" fmla="*/ 751 w 1484"/>
              <a:gd name="T39" fmla="*/ 79 h 711"/>
              <a:gd name="T40" fmla="*/ 953 w 1484"/>
              <a:gd name="T41" fmla="*/ 665 h 711"/>
              <a:gd name="T42" fmla="*/ 360 w 1484"/>
              <a:gd name="T43" fmla="*/ 516 h 711"/>
              <a:gd name="T44" fmla="*/ 297 w 1484"/>
              <a:gd name="T45" fmla="*/ 424 h 711"/>
              <a:gd name="T46" fmla="*/ 63 w 1484"/>
              <a:gd name="T47" fmla="*/ 321 h 711"/>
              <a:gd name="T48" fmla="*/ 331 w 1484"/>
              <a:gd name="T49" fmla="*/ 454 h 711"/>
              <a:gd name="T50" fmla="*/ 982 w 1484"/>
              <a:gd name="T51" fmla="*/ 664 h 711"/>
              <a:gd name="T52" fmla="*/ 162 w 1484"/>
              <a:gd name="T53" fmla="*/ 491 h 711"/>
              <a:gd name="T54" fmla="*/ 261 w 1484"/>
              <a:gd name="T55" fmla="*/ 486 h 711"/>
              <a:gd name="T56" fmla="*/ 453 w 1484"/>
              <a:gd name="T57" fmla="*/ 464 h 711"/>
              <a:gd name="T58" fmla="*/ 567 w 1484"/>
              <a:gd name="T59" fmla="*/ 464 h 711"/>
              <a:gd name="T60" fmla="*/ 832 w 1484"/>
              <a:gd name="T61" fmla="*/ 615 h 711"/>
              <a:gd name="T62" fmla="*/ 194 w 1484"/>
              <a:gd name="T63" fmla="*/ 498 h 711"/>
              <a:gd name="T64" fmla="*/ 42 w 1484"/>
              <a:gd name="T65" fmla="*/ 618 h 711"/>
              <a:gd name="T66" fmla="*/ 48 w 1484"/>
              <a:gd name="T67" fmla="*/ 621 h 711"/>
              <a:gd name="T68" fmla="*/ 70 w 1484"/>
              <a:gd name="T69" fmla="*/ 586 h 711"/>
              <a:gd name="T70" fmla="*/ 1096 w 1484"/>
              <a:gd name="T71" fmla="*/ 115 h 711"/>
              <a:gd name="T72" fmla="*/ 69 w 1484"/>
              <a:gd name="T73" fmla="*/ 463 h 711"/>
              <a:gd name="T74" fmla="*/ 1321 w 1484"/>
              <a:gd name="T75" fmla="*/ 661 h 711"/>
              <a:gd name="T76" fmla="*/ 920 w 1484"/>
              <a:gd name="T77" fmla="*/ 460 h 711"/>
              <a:gd name="T78" fmla="*/ 1192 w 1484"/>
              <a:gd name="T79" fmla="*/ 115 h 711"/>
              <a:gd name="T80" fmla="*/ 599 w 1484"/>
              <a:gd name="T81" fmla="*/ 104 h 711"/>
              <a:gd name="T82" fmla="*/ 491 w 1484"/>
              <a:gd name="T83" fmla="*/ 257 h 711"/>
              <a:gd name="T84" fmla="*/ 389 w 1484"/>
              <a:gd name="T85" fmla="*/ 277 h 711"/>
              <a:gd name="T86" fmla="*/ 451 w 1484"/>
              <a:gd name="T87" fmla="*/ 274 h 711"/>
              <a:gd name="T88" fmla="*/ 422 w 1484"/>
              <a:gd name="T89" fmla="*/ 154 h 711"/>
              <a:gd name="T90" fmla="*/ 604 w 1484"/>
              <a:gd name="T91" fmla="*/ 275 h 711"/>
              <a:gd name="T92" fmla="*/ 424 w 1484"/>
              <a:gd name="T93" fmla="*/ 88 h 711"/>
              <a:gd name="T94" fmla="*/ 313 w 1484"/>
              <a:gd name="T95" fmla="*/ 147 h 711"/>
              <a:gd name="T96" fmla="*/ 276 w 1484"/>
              <a:gd name="T97" fmla="*/ 306 h 711"/>
              <a:gd name="T98" fmla="*/ 177 w 1484"/>
              <a:gd name="T99" fmla="*/ 171 h 711"/>
              <a:gd name="T100" fmla="*/ 127 w 1484"/>
              <a:gd name="T101" fmla="*/ 236 h 711"/>
              <a:gd name="T102" fmla="*/ 170 w 1484"/>
              <a:gd name="T103" fmla="*/ 321 h 711"/>
              <a:gd name="T104" fmla="*/ 291 w 1484"/>
              <a:gd name="T105" fmla="*/ 375 h 711"/>
              <a:gd name="T106" fmla="*/ 415 w 1484"/>
              <a:gd name="T107" fmla="*/ 397 h 711"/>
              <a:gd name="T108" fmla="*/ 558 w 1484"/>
              <a:gd name="T109" fmla="*/ 419 h 711"/>
              <a:gd name="T110" fmla="*/ 335 w 1484"/>
              <a:gd name="T111" fmla="*/ 329 h 711"/>
              <a:gd name="T112" fmla="*/ 433 w 1484"/>
              <a:gd name="T113" fmla="*/ 298 h 711"/>
              <a:gd name="T114" fmla="*/ 801 w 1484"/>
              <a:gd name="T115" fmla="*/ 410 h 711"/>
              <a:gd name="T116" fmla="*/ 697 w 1484"/>
              <a:gd name="T117" fmla="*/ 502 h 711"/>
              <a:gd name="T118" fmla="*/ 721 w 1484"/>
              <a:gd name="T119" fmla="*/ 506 h 711"/>
              <a:gd name="T120" fmla="*/ 872 w 1484"/>
              <a:gd name="T121" fmla="*/ 579 h 711"/>
              <a:gd name="T122" fmla="*/ 944 w 1484"/>
              <a:gd name="T123" fmla="*/ 479 h 711"/>
              <a:gd name="T124" fmla="*/ 1104 w 1484"/>
              <a:gd name="T125" fmla="*/ 639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4" h="711">
                <a:moveTo>
                  <a:pt x="1477" y="481"/>
                </a:moveTo>
                <a:lnTo>
                  <a:pt x="1473" y="479"/>
                </a:lnTo>
                <a:lnTo>
                  <a:pt x="1469" y="476"/>
                </a:lnTo>
                <a:lnTo>
                  <a:pt x="1471" y="472"/>
                </a:lnTo>
                <a:lnTo>
                  <a:pt x="1473" y="469"/>
                </a:lnTo>
                <a:lnTo>
                  <a:pt x="1473" y="464"/>
                </a:lnTo>
                <a:lnTo>
                  <a:pt x="1471" y="460"/>
                </a:lnTo>
                <a:lnTo>
                  <a:pt x="1468" y="457"/>
                </a:lnTo>
                <a:lnTo>
                  <a:pt x="1463" y="454"/>
                </a:lnTo>
                <a:lnTo>
                  <a:pt x="1461" y="453"/>
                </a:lnTo>
                <a:lnTo>
                  <a:pt x="1460" y="451"/>
                </a:lnTo>
                <a:lnTo>
                  <a:pt x="1459" y="449"/>
                </a:lnTo>
                <a:lnTo>
                  <a:pt x="1459" y="447"/>
                </a:lnTo>
                <a:lnTo>
                  <a:pt x="1460" y="444"/>
                </a:lnTo>
                <a:lnTo>
                  <a:pt x="1463" y="439"/>
                </a:lnTo>
                <a:lnTo>
                  <a:pt x="1467" y="435"/>
                </a:lnTo>
                <a:lnTo>
                  <a:pt x="1470" y="432"/>
                </a:lnTo>
                <a:lnTo>
                  <a:pt x="1473" y="429"/>
                </a:lnTo>
                <a:lnTo>
                  <a:pt x="1477" y="427"/>
                </a:lnTo>
                <a:lnTo>
                  <a:pt x="1479" y="424"/>
                </a:lnTo>
                <a:lnTo>
                  <a:pt x="1480" y="420"/>
                </a:lnTo>
                <a:lnTo>
                  <a:pt x="1479" y="416"/>
                </a:lnTo>
                <a:lnTo>
                  <a:pt x="1479" y="414"/>
                </a:lnTo>
                <a:lnTo>
                  <a:pt x="1478" y="413"/>
                </a:lnTo>
                <a:lnTo>
                  <a:pt x="1475" y="413"/>
                </a:lnTo>
                <a:lnTo>
                  <a:pt x="1471" y="412"/>
                </a:lnTo>
                <a:lnTo>
                  <a:pt x="1469" y="412"/>
                </a:lnTo>
                <a:lnTo>
                  <a:pt x="1468" y="410"/>
                </a:lnTo>
                <a:lnTo>
                  <a:pt x="1468" y="407"/>
                </a:lnTo>
                <a:lnTo>
                  <a:pt x="1469" y="404"/>
                </a:lnTo>
                <a:lnTo>
                  <a:pt x="1469" y="399"/>
                </a:lnTo>
                <a:lnTo>
                  <a:pt x="1468" y="397"/>
                </a:lnTo>
                <a:lnTo>
                  <a:pt x="1468" y="396"/>
                </a:lnTo>
                <a:lnTo>
                  <a:pt x="1468" y="395"/>
                </a:lnTo>
                <a:lnTo>
                  <a:pt x="1469" y="393"/>
                </a:lnTo>
                <a:lnTo>
                  <a:pt x="1476" y="383"/>
                </a:lnTo>
                <a:lnTo>
                  <a:pt x="1484" y="375"/>
                </a:lnTo>
                <a:lnTo>
                  <a:pt x="1479" y="375"/>
                </a:lnTo>
                <a:lnTo>
                  <a:pt x="1473" y="374"/>
                </a:lnTo>
                <a:lnTo>
                  <a:pt x="1471" y="374"/>
                </a:lnTo>
                <a:lnTo>
                  <a:pt x="1469" y="373"/>
                </a:lnTo>
                <a:lnTo>
                  <a:pt x="1468" y="371"/>
                </a:lnTo>
                <a:lnTo>
                  <a:pt x="1467" y="369"/>
                </a:lnTo>
                <a:lnTo>
                  <a:pt x="1471" y="363"/>
                </a:lnTo>
                <a:lnTo>
                  <a:pt x="1477" y="355"/>
                </a:lnTo>
                <a:lnTo>
                  <a:pt x="1475" y="352"/>
                </a:lnTo>
                <a:lnTo>
                  <a:pt x="1470" y="348"/>
                </a:lnTo>
                <a:lnTo>
                  <a:pt x="1468" y="347"/>
                </a:lnTo>
                <a:lnTo>
                  <a:pt x="1465" y="347"/>
                </a:lnTo>
                <a:lnTo>
                  <a:pt x="1464" y="348"/>
                </a:lnTo>
                <a:lnTo>
                  <a:pt x="1463" y="348"/>
                </a:lnTo>
                <a:lnTo>
                  <a:pt x="1461" y="347"/>
                </a:lnTo>
                <a:lnTo>
                  <a:pt x="1460" y="346"/>
                </a:lnTo>
                <a:lnTo>
                  <a:pt x="1455" y="344"/>
                </a:lnTo>
                <a:lnTo>
                  <a:pt x="1450" y="343"/>
                </a:lnTo>
                <a:lnTo>
                  <a:pt x="1447" y="343"/>
                </a:lnTo>
                <a:lnTo>
                  <a:pt x="1445" y="341"/>
                </a:lnTo>
                <a:lnTo>
                  <a:pt x="1444" y="339"/>
                </a:lnTo>
                <a:lnTo>
                  <a:pt x="1443" y="338"/>
                </a:lnTo>
                <a:lnTo>
                  <a:pt x="1446" y="332"/>
                </a:lnTo>
                <a:lnTo>
                  <a:pt x="1450" y="328"/>
                </a:lnTo>
                <a:lnTo>
                  <a:pt x="1454" y="322"/>
                </a:lnTo>
                <a:lnTo>
                  <a:pt x="1457" y="316"/>
                </a:lnTo>
                <a:lnTo>
                  <a:pt x="1461" y="312"/>
                </a:lnTo>
                <a:lnTo>
                  <a:pt x="1463" y="307"/>
                </a:lnTo>
                <a:lnTo>
                  <a:pt x="1464" y="305"/>
                </a:lnTo>
                <a:lnTo>
                  <a:pt x="1464" y="303"/>
                </a:lnTo>
                <a:lnTo>
                  <a:pt x="1464" y="299"/>
                </a:lnTo>
                <a:lnTo>
                  <a:pt x="1463" y="297"/>
                </a:lnTo>
                <a:lnTo>
                  <a:pt x="1460" y="295"/>
                </a:lnTo>
                <a:lnTo>
                  <a:pt x="1457" y="291"/>
                </a:lnTo>
                <a:lnTo>
                  <a:pt x="1455" y="288"/>
                </a:lnTo>
                <a:lnTo>
                  <a:pt x="1452" y="285"/>
                </a:lnTo>
                <a:lnTo>
                  <a:pt x="1455" y="281"/>
                </a:lnTo>
                <a:lnTo>
                  <a:pt x="1455" y="280"/>
                </a:lnTo>
                <a:lnTo>
                  <a:pt x="1453" y="280"/>
                </a:lnTo>
                <a:lnTo>
                  <a:pt x="1448" y="279"/>
                </a:lnTo>
                <a:lnTo>
                  <a:pt x="1439" y="279"/>
                </a:lnTo>
                <a:lnTo>
                  <a:pt x="1431" y="280"/>
                </a:lnTo>
                <a:lnTo>
                  <a:pt x="1429" y="281"/>
                </a:lnTo>
                <a:lnTo>
                  <a:pt x="1427" y="282"/>
                </a:lnTo>
                <a:lnTo>
                  <a:pt x="1427" y="285"/>
                </a:lnTo>
                <a:lnTo>
                  <a:pt x="1428" y="288"/>
                </a:lnTo>
                <a:lnTo>
                  <a:pt x="1430" y="289"/>
                </a:lnTo>
                <a:lnTo>
                  <a:pt x="1434" y="291"/>
                </a:lnTo>
                <a:lnTo>
                  <a:pt x="1430" y="291"/>
                </a:lnTo>
                <a:lnTo>
                  <a:pt x="1428" y="291"/>
                </a:lnTo>
                <a:lnTo>
                  <a:pt x="1426" y="294"/>
                </a:lnTo>
                <a:lnTo>
                  <a:pt x="1424" y="296"/>
                </a:lnTo>
                <a:lnTo>
                  <a:pt x="1420" y="300"/>
                </a:lnTo>
                <a:lnTo>
                  <a:pt x="1415" y="304"/>
                </a:lnTo>
                <a:lnTo>
                  <a:pt x="1419" y="294"/>
                </a:lnTo>
                <a:lnTo>
                  <a:pt x="1423" y="286"/>
                </a:lnTo>
                <a:lnTo>
                  <a:pt x="1428" y="275"/>
                </a:lnTo>
                <a:lnTo>
                  <a:pt x="1432" y="266"/>
                </a:lnTo>
                <a:lnTo>
                  <a:pt x="1438" y="258"/>
                </a:lnTo>
                <a:lnTo>
                  <a:pt x="1443" y="249"/>
                </a:lnTo>
                <a:lnTo>
                  <a:pt x="1444" y="247"/>
                </a:lnTo>
                <a:lnTo>
                  <a:pt x="1444" y="246"/>
                </a:lnTo>
                <a:lnTo>
                  <a:pt x="1444" y="246"/>
                </a:lnTo>
                <a:lnTo>
                  <a:pt x="1443" y="246"/>
                </a:lnTo>
                <a:lnTo>
                  <a:pt x="1440" y="246"/>
                </a:lnTo>
                <a:lnTo>
                  <a:pt x="1437" y="245"/>
                </a:lnTo>
                <a:lnTo>
                  <a:pt x="1440" y="244"/>
                </a:lnTo>
                <a:lnTo>
                  <a:pt x="1443" y="241"/>
                </a:lnTo>
                <a:lnTo>
                  <a:pt x="1443" y="239"/>
                </a:lnTo>
                <a:lnTo>
                  <a:pt x="1442" y="239"/>
                </a:lnTo>
                <a:lnTo>
                  <a:pt x="1440" y="239"/>
                </a:lnTo>
                <a:lnTo>
                  <a:pt x="1438" y="239"/>
                </a:lnTo>
                <a:lnTo>
                  <a:pt x="1434" y="240"/>
                </a:lnTo>
                <a:lnTo>
                  <a:pt x="1429" y="241"/>
                </a:lnTo>
                <a:lnTo>
                  <a:pt x="1424" y="241"/>
                </a:lnTo>
                <a:lnTo>
                  <a:pt x="1421" y="240"/>
                </a:lnTo>
                <a:lnTo>
                  <a:pt x="1423" y="238"/>
                </a:lnTo>
                <a:lnTo>
                  <a:pt x="1427" y="236"/>
                </a:lnTo>
                <a:lnTo>
                  <a:pt x="1429" y="233"/>
                </a:lnTo>
                <a:lnTo>
                  <a:pt x="1431" y="230"/>
                </a:lnTo>
                <a:lnTo>
                  <a:pt x="1434" y="225"/>
                </a:lnTo>
                <a:lnTo>
                  <a:pt x="1437" y="220"/>
                </a:lnTo>
                <a:lnTo>
                  <a:pt x="1439" y="215"/>
                </a:lnTo>
                <a:lnTo>
                  <a:pt x="1438" y="211"/>
                </a:lnTo>
                <a:lnTo>
                  <a:pt x="1437" y="209"/>
                </a:lnTo>
                <a:lnTo>
                  <a:pt x="1436" y="211"/>
                </a:lnTo>
                <a:lnTo>
                  <a:pt x="1435" y="213"/>
                </a:lnTo>
                <a:lnTo>
                  <a:pt x="1434" y="214"/>
                </a:lnTo>
                <a:lnTo>
                  <a:pt x="1432" y="216"/>
                </a:lnTo>
                <a:lnTo>
                  <a:pt x="1430" y="217"/>
                </a:lnTo>
                <a:lnTo>
                  <a:pt x="1424" y="217"/>
                </a:lnTo>
                <a:lnTo>
                  <a:pt x="1423" y="216"/>
                </a:lnTo>
                <a:lnTo>
                  <a:pt x="1423" y="215"/>
                </a:lnTo>
                <a:lnTo>
                  <a:pt x="1424" y="212"/>
                </a:lnTo>
                <a:lnTo>
                  <a:pt x="1427" y="209"/>
                </a:lnTo>
                <a:lnTo>
                  <a:pt x="1428" y="207"/>
                </a:lnTo>
                <a:lnTo>
                  <a:pt x="1428" y="206"/>
                </a:lnTo>
                <a:lnTo>
                  <a:pt x="1427" y="205"/>
                </a:lnTo>
                <a:lnTo>
                  <a:pt x="1426" y="205"/>
                </a:lnTo>
                <a:lnTo>
                  <a:pt x="1424" y="204"/>
                </a:lnTo>
                <a:lnTo>
                  <a:pt x="1421" y="205"/>
                </a:lnTo>
                <a:lnTo>
                  <a:pt x="1418" y="206"/>
                </a:lnTo>
                <a:lnTo>
                  <a:pt x="1414" y="208"/>
                </a:lnTo>
                <a:lnTo>
                  <a:pt x="1411" y="211"/>
                </a:lnTo>
                <a:lnTo>
                  <a:pt x="1404" y="215"/>
                </a:lnTo>
                <a:lnTo>
                  <a:pt x="1397" y="219"/>
                </a:lnTo>
                <a:lnTo>
                  <a:pt x="1402" y="211"/>
                </a:lnTo>
                <a:lnTo>
                  <a:pt x="1406" y="200"/>
                </a:lnTo>
                <a:lnTo>
                  <a:pt x="1410" y="191"/>
                </a:lnTo>
                <a:lnTo>
                  <a:pt x="1411" y="181"/>
                </a:lnTo>
                <a:lnTo>
                  <a:pt x="1411" y="179"/>
                </a:lnTo>
                <a:lnTo>
                  <a:pt x="1410" y="175"/>
                </a:lnTo>
                <a:lnTo>
                  <a:pt x="1409" y="173"/>
                </a:lnTo>
                <a:lnTo>
                  <a:pt x="1406" y="172"/>
                </a:lnTo>
                <a:lnTo>
                  <a:pt x="1404" y="174"/>
                </a:lnTo>
                <a:lnTo>
                  <a:pt x="1402" y="177"/>
                </a:lnTo>
                <a:lnTo>
                  <a:pt x="1398" y="178"/>
                </a:lnTo>
                <a:lnTo>
                  <a:pt x="1395" y="179"/>
                </a:lnTo>
                <a:lnTo>
                  <a:pt x="1395" y="174"/>
                </a:lnTo>
                <a:lnTo>
                  <a:pt x="1395" y="169"/>
                </a:lnTo>
                <a:lnTo>
                  <a:pt x="1394" y="165"/>
                </a:lnTo>
                <a:lnTo>
                  <a:pt x="1394" y="162"/>
                </a:lnTo>
                <a:lnTo>
                  <a:pt x="1395" y="159"/>
                </a:lnTo>
                <a:lnTo>
                  <a:pt x="1396" y="157"/>
                </a:lnTo>
                <a:lnTo>
                  <a:pt x="1396" y="156"/>
                </a:lnTo>
                <a:lnTo>
                  <a:pt x="1395" y="155"/>
                </a:lnTo>
                <a:lnTo>
                  <a:pt x="1393" y="154"/>
                </a:lnTo>
                <a:lnTo>
                  <a:pt x="1390" y="154"/>
                </a:lnTo>
                <a:lnTo>
                  <a:pt x="1387" y="154"/>
                </a:lnTo>
                <a:lnTo>
                  <a:pt x="1384" y="156"/>
                </a:lnTo>
                <a:lnTo>
                  <a:pt x="1380" y="159"/>
                </a:lnTo>
                <a:lnTo>
                  <a:pt x="1377" y="162"/>
                </a:lnTo>
                <a:lnTo>
                  <a:pt x="1373" y="165"/>
                </a:lnTo>
                <a:lnTo>
                  <a:pt x="1372" y="169"/>
                </a:lnTo>
                <a:lnTo>
                  <a:pt x="1369" y="174"/>
                </a:lnTo>
                <a:lnTo>
                  <a:pt x="1365" y="178"/>
                </a:lnTo>
                <a:lnTo>
                  <a:pt x="1368" y="167"/>
                </a:lnTo>
                <a:lnTo>
                  <a:pt x="1373" y="158"/>
                </a:lnTo>
                <a:lnTo>
                  <a:pt x="1378" y="149"/>
                </a:lnTo>
                <a:lnTo>
                  <a:pt x="1381" y="139"/>
                </a:lnTo>
                <a:lnTo>
                  <a:pt x="1381" y="136"/>
                </a:lnTo>
                <a:lnTo>
                  <a:pt x="1381" y="132"/>
                </a:lnTo>
                <a:lnTo>
                  <a:pt x="1380" y="131"/>
                </a:lnTo>
                <a:lnTo>
                  <a:pt x="1379" y="130"/>
                </a:lnTo>
                <a:lnTo>
                  <a:pt x="1378" y="130"/>
                </a:lnTo>
                <a:lnTo>
                  <a:pt x="1376" y="131"/>
                </a:lnTo>
                <a:lnTo>
                  <a:pt x="1370" y="138"/>
                </a:lnTo>
                <a:lnTo>
                  <a:pt x="1364" y="146"/>
                </a:lnTo>
                <a:lnTo>
                  <a:pt x="1366" y="138"/>
                </a:lnTo>
                <a:lnTo>
                  <a:pt x="1370" y="130"/>
                </a:lnTo>
                <a:lnTo>
                  <a:pt x="1372" y="126"/>
                </a:lnTo>
                <a:lnTo>
                  <a:pt x="1373" y="123"/>
                </a:lnTo>
                <a:lnTo>
                  <a:pt x="1372" y="120"/>
                </a:lnTo>
                <a:lnTo>
                  <a:pt x="1371" y="116"/>
                </a:lnTo>
                <a:lnTo>
                  <a:pt x="1369" y="112"/>
                </a:lnTo>
                <a:lnTo>
                  <a:pt x="1366" y="109"/>
                </a:lnTo>
                <a:lnTo>
                  <a:pt x="1361" y="114"/>
                </a:lnTo>
                <a:lnTo>
                  <a:pt x="1355" y="120"/>
                </a:lnTo>
                <a:lnTo>
                  <a:pt x="1349" y="125"/>
                </a:lnTo>
                <a:lnTo>
                  <a:pt x="1345" y="132"/>
                </a:lnTo>
                <a:lnTo>
                  <a:pt x="1340" y="141"/>
                </a:lnTo>
                <a:lnTo>
                  <a:pt x="1337" y="150"/>
                </a:lnTo>
                <a:lnTo>
                  <a:pt x="1335" y="153"/>
                </a:lnTo>
                <a:lnTo>
                  <a:pt x="1331" y="157"/>
                </a:lnTo>
                <a:lnTo>
                  <a:pt x="1328" y="159"/>
                </a:lnTo>
                <a:lnTo>
                  <a:pt x="1324" y="161"/>
                </a:lnTo>
                <a:lnTo>
                  <a:pt x="1323" y="159"/>
                </a:lnTo>
                <a:lnTo>
                  <a:pt x="1323" y="157"/>
                </a:lnTo>
                <a:lnTo>
                  <a:pt x="1323" y="155"/>
                </a:lnTo>
                <a:lnTo>
                  <a:pt x="1323" y="153"/>
                </a:lnTo>
                <a:lnTo>
                  <a:pt x="1325" y="147"/>
                </a:lnTo>
                <a:lnTo>
                  <a:pt x="1328" y="144"/>
                </a:lnTo>
                <a:lnTo>
                  <a:pt x="1331" y="133"/>
                </a:lnTo>
                <a:lnTo>
                  <a:pt x="1335" y="123"/>
                </a:lnTo>
                <a:lnTo>
                  <a:pt x="1338" y="113"/>
                </a:lnTo>
                <a:lnTo>
                  <a:pt x="1341" y="103"/>
                </a:lnTo>
                <a:lnTo>
                  <a:pt x="1343" y="92"/>
                </a:lnTo>
                <a:lnTo>
                  <a:pt x="1345" y="83"/>
                </a:lnTo>
                <a:lnTo>
                  <a:pt x="1346" y="80"/>
                </a:lnTo>
                <a:lnTo>
                  <a:pt x="1346" y="78"/>
                </a:lnTo>
                <a:lnTo>
                  <a:pt x="1345" y="76"/>
                </a:lnTo>
                <a:lnTo>
                  <a:pt x="1345" y="75"/>
                </a:lnTo>
                <a:lnTo>
                  <a:pt x="1344" y="75"/>
                </a:lnTo>
                <a:lnTo>
                  <a:pt x="1341" y="76"/>
                </a:lnTo>
                <a:lnTo>
                  <a:pt x="1336" y="83"/>
                </a:lnTo>
                <a:lnTo>
                  <a:pt x="1333" y="90"/>
                </a:lnTo>
                <a:lnTo>
                  <a:pt x="1328" y="100"/>
                </a:lnTo>
                <a:lnTo>
                  <a:pt x="1322" y="109"/>
                </a:lnTo>
                <a:lnTo>
                  <a:pt x="1316" y="120"/>
                </a:lnTo>
                <a:lnTo>
                  <a:pt x="1310" y="129"/>
                </a:lnTo>
                <a:lnTo>
                  <a:pt x="1304" y="138"/>
                </a:lnTo>
                <a:lnTo>
                  <a:pt x="1298" y="148"/>
                </a:lnTo>
                <a:lnTo>
                  <a:pt x="1292" y="157"/>
                </a:lnTo>
                <a:lnTo>
                  <a:pt x="1287" y="166"/>
                </a:lnTo>
                <a:lnTo>
                  <a:pt x="1281" y="175"/>
                </a:lnTo>
                <a:lnTo>
                  <a:pt x="1274" y="184"/>
                </a:lnTo>
                <a:lnTo>
                  <a:pt x="1271" y="188"/>
                </a:lnTo>
                <a:lnTo>
                  <a:pt x="1267" y="191"/>
                </a:lnTo>
                <a:lnTo>
                  <a:pt x="1266" y="195"/>
                </a:lnTo>
                <a:lnTo>
                  <a:pt x="1264" y="198"/>
                </a:lnTo>
                <a:lnTo>
                  <a:pt x="1262" y="203"/>
                </a:lnTo>
                <a:lnTo>
                  <a:pt x="1258" y="207"/>
                </a:lnTo>
                <a:lnTo>
                  <a:pt x="1255" y="212"/>
                </a:lnTo>
                <a:lnTo>
                  <a:pt x="1251" y="215"/>
                </a:lnTo>
                <a:lnTo>
                  <a:pt x="1262" y="197"/>
                </a:lnTo>
                <a:lnTo>
                  <a:pt x="1271" y="178"/>
                </a:lnTo>
                <a:lnTo>
                  <a:pt x="1274" y="167"/>
                </a:lnTo>
                <a:lnTo>
                  <a:pt x="1278" y="158"/>
                </a:lnTo>
                <a:lnTo>
                  <a:pt x="1281" y="148"/>
                </a:lnTo>
                <a:lnTo>
                  <a:pt x="1283" y="137"/>
                </a:lnTo>
                <a:lnTo>
                  <a:pt x="1288" y="116"/>
                </a:lnTo>
                <a:lnTo>
                  <a:pt x="1292" y="96"/>
                </a:lnTo>
                <a:lnTo>
                  <a:pt x="1299" y="75"/>
                </a:lnTo>
                <a:lnTo>
                  <a:pt x="1304" y="54"/>
                </a:lnTo>
                <a:lnTo>
                  <a:pt x="1305" y="50"/>
                </a:lnTo>
                <a:lnTo>
                  <a:pt x="1306" y="47"/>
                </a:lnTo>
                <a:lnTo>
                  <a:pt x="1306" y="45"/>
                </a:lnTo>
                <a:lnTo>
                  <a:pt x="1306" y="43"/>
                </a:lnTo>
                <a:lnTo>
                  <a:pt x="1305" y="42"/>
                </a:lnTo>
                <a:lnTo>
                  <a:pt x="1303" y="42"/>
                </a:lnTo>
                <a:lnTo>
                  <a:pt x="1299" y="43"/>
                </a:lnTo>
                <a:lnTo>
                  <a:pt x="1298" y="47"/>
                </a:lnTo>
                <a:lnTo>
                  <a:pt x="1297" y="50"/>
                </a:lnTo>
                <a:lnTo>
                  <a:pt x="1296" y="54"/>
                </a:lnTo>
                <a:lnTo>
                  <a:pt x="1291" y="62"/>
                </a:lnTo>
                <a:lnTo>
                  <a:pt x="1288" y="70"/>
                </a:lnTo>
                <a:lnTo>
                  <a:pt x="1284" y="79"/>
                </a:lnTo>
                <a:lnTo>
                  <a:pt x="1280" y="87"/>
                </a:lnTo>
                <a:lnTo>
                  <a:pt x="1278" y="88"/>
                </a:lnTo>
                <a:lnTo>
                  <a:pt x="1275" y="88"/>
                </a:lnTo>
                <a:lnTo>
                  <a:pt x="1274" y="86"/>
                </a:lnTo>
                <a:lnTo>
                  <a:pt x="1274" y="82"/>
                </a:lnTo>
                <a:lnTo>
                  <a:pt x="1277" y="73"/>
                </a:lnTo>
                <a:lnTo>
                  <a:pt x="1280" y="64"/>
                </a:lnTo>
                <a:lnTo>
                  <a:pt x="1282" y="54"/>
                </a:lnTo>
                <a:lnTo>
                  <a:pt x="1284" y="43"/>
                </a:lnTo>
                <a:lnTo>
                  <a:pt x="1287" y="39"/>
                </a:lnTo>
                <a:lnTo>
                  <a:pt x="1288" y="34"/>
                </a:lnTo>
                <a:lnTo>
                  <a:pt x="1290" y="29"/>
                </a:lnTo>
                <a:lnTo>
                  <a:pt x="1289" y="24"/>
                </a:lnTo>
                <a:lnTo>
                  <a:pt x="1284" y="31"/>
                </a:lnTo>
                <a:lnTo>
                  <a:pt x="1282" y="39"/>
                </a:lnTo>
                <a:lnTo>
                  <a:pt x="1279" y="48"/>
                </a:lnTo>
                <a:lnTo>
                  <a:pt x="1274" y="57"/>
                </a:lnTo>
                <a:lnTo>
                  <a:pt x="1271" y="66"/>
                </a:lnTo>
                <a:lnTo>
                  <a:pt x="1266" y="75"/>
                </a:lnTo>
                <a:lnTo>
                  <a:pt x="1265" y="78"/>
                </a:lnTo>
                <a:lnTo>
                  <a:pt x="1263" y="81"/>
                </a:lnTo>
                <a:lnTo>
                  <a:pt x="1262" y="82"/>
                </a:lnTo>
                <a:lnTo>
                  <a:pt x="1261" y="82"/>
                </a:lnTo>
                <a:lnTo>
                  <a:pt x="1261" y="82"/>
                </a:lnTo>
                <a:lnTo>
                  <a:pt x="1259" y="80"/>
                </a:lnTo>
                <a:lnTo>
                  <a:pt x="1258" y="76"/>
                </a:lnTo>
                <a:lnTo>
                  <a:pt x="1259" y="72"/>
                </a:lnTo>
                <a:lnTo>
                  <a:pt x="1261" y="67"/>
                </a:lnTo>
                <a:lnTo>
                  <a:pt x="1263" y="64"/>
                </a:lnTo>
                <a:lnTo>
                  <a:pt x="1265" y="54"/>
                </a:lnTo>
                <a:lnTo>
                  <a:pt x="1267" y="43"/>
                </a:lnTo>
                <a:lnTo>
                  <a:pt x="1271" y="34"/>
                </a:lnTo>
                <a:lnTo>
                  <a:pt x="1272" y="25"/>
                </a:lnTo>
                <a:lnTo>
                  <a:pt x="1271" y="24"/>
                </a:lnTo>
                <a:lnTo>
                  <a:pt x="1270" y="24"/>
                </a:lnTo>
                <a:lnTo>
                  <a:pt x="1269" y="25"/>
                </a:lnTo>
                <a:lnTo>
                  <a:pt x="1267" y="26"/>
                </a:lnTo>
                <a:lnTo>
                  <a:pt x="1266" y="30"/>
                </a:lnTo>
                <a:lnTo>
                  <a:pt x="1265" y="33"/>
                </a:lnTo>
                <a:lnTo>
                  <a:pt x="1262" y="42"/>
                </a:lnTo>
                <a:lnTo>
                  <a:pt x="1257" y="53"/>
                </a:lnTo>
                <a:lnTo>
                  <a:pt x="1253" y="62"/>
                </a:lnTo>
                <a:lnTo>
                  <a:pt x="1248" y="72"/>
                </a:lnTo>
                <a:lnTo>
                  <a:pt x="1244" y="81"/>
                </a:lnTo>
                <a:lnTo>
                  <a:pt x="1239" y="90"/>
                </a:lnTo>
                <a:lnTo>
                  <a:pt x="1234" y="100"/>
                </a:lnTo>
                <a:lnTo>
                  <a:pt x="1229" y="109"/>
                </a:lnTo>
                <a:lnTo>
                  <a:pt x="1224" y="119"/>
                </a:lnTo>
                <a:lnTo>
                  <a:pt x="1220" y="128"/>
                </a:lnTo>
                <a:lnTo>
                  <a:pt x="1215" y="137"/>
                </a:lnTo>
                <a:lnTo>
                  <a:pt x="1211" y="145"/>
                </a:lnTo>
                <a:lnTo>
                  <a:pt x="1208" y="147"/>
                </a:lnTo>
                <a:lnTo>
                  <a:pt x="1205" y="150"/>
                </a:lnTo>
                <a:lnTo>
                  <a:pt x="1201" y="153"/>
                </a:lnTo>
                <a:lnTo>
                  <a:pt x="1198" y="154"/>
                </a:lnTo>
                <a:lnTo>
                  <a:pt x="1197" y="153"/>
                </a:lnTo>
                <a:lnTo>
                  <a:pt x="1196" y="151"/>
                </a:lnTo>
                <a:lnTo>
                  <a:pt x="1196" y="150"/>
                </a:lnTo>
                <a:lnTo>
                  <a:pt x="1196" y="148"/>
                </a:lnTo>
                <a:lnTo>
                  <a:pt x="1198" y="145"/>
                </a:lnTo>
                <a:lnTo>
                  <a:pt x="1199" y="141"/>
                </a:lnTo>
                <a:lnTo>
                  <a:pt x="1203" y="130"/>
                </a:lnTo>
                <a:lnTo>
                  <a:pt x="1206" y="117"/>
                </a:lnTo>
                <a:lnTo>
                  <a:pt x="1209" y="105"/>
                </a:lnTo>
                <a:lnTo>
                  <a:pt x="1213" y="94"/>
                </a:lnTo>
                <a:lnTo>
                  <a:pt x="1215" y="82"/>
                </a:lnTo>
                <a:lnTo>
                  <a:pt x="1217" y="71"/>
                </a:lnTo>
                <a:lnTo>
                  <a:pt x="1218" y="65"/>
                </a:lnTo>
                <a:lnTo>
                  <a:pt x="1220" y="59"/>
                </a:lnTo>
                <a:lnTo>
                  <a:pt x="1220" y="54"/>
                </a:lnTo>
                <a:lnTo>
                  <a:pt x="1218" y="48"/>
                </a:lnTo>
                <a:lnTo>
                  <a:pt x="1215" y="55"/>
                </a:lnTo>
                <a:lnTo>
                  <a:pt x="1213" y="63"/>
                </a:lnTo>
                <a:lnTo>
                  <a:pt x="1209" y="72"/>
                </a:lnTo>
                <a:lnTo>
                  <a:pt x="1207" y="81"/>
                </a:lnTo>
                <a:lnTo>
                  <a:pt x="1205" y="90"/>
                </a:lnTo>
                <a:lnTo>
                  <a:pt x="1201" y="99"/>
                </a:lnTo>
                <a:lnTo>
                  <a:pt x="1199" y="103"/>
                </a:lnTo>
                <a:lnTo>
                  <a:pt x="1198" y="107"/>
                </a:lnTo>
                <a:lnTo>
                  <a:pt x="1196" y="112"/>
                </a:lnTo>
                <a:lnTo>
                  <a:pt x="1192" y="115"/>
                </a:lnTo>
                <a:lnTo>
                  <a:pt x="1196" y="101"/>
                </a:lnTo>
                <a:lnTo>
                  <a:pt x="1199" y="87"/>
                </a:lnTo>
                <a:lnTo>
                  <a:pt x="1204" y="75"/>
                </a:lnTo>
                <a:lnTo>
                  <a:pt x="1208" y="63"/>
                </a:lnTo>
                <a:lnTo>
                  <a:pt x="1212" y="49"/>
                </a:lnTo>
                <a:lnTo>
                  <a:pt x="1213" y="34"/>
                </a:lnTo>
                <a:lnTo>
                  <a:pt x="1214" y="17"/>
                </a:lnTo>
                <a:lnTo>
                  <a:pt x="1216" y="1"/>
                </a:lnTo>
                <a:lnTo>
                  <a:pt x="1213" y="3"/>
                </a:lnTo>
                <a:lnTo>
                  <a:pt x="1211" y="6"/>
                </a:lnTo>
                <a:lnTo>
                  <a:pt x="1208" y="11"/>
                </a:lnTo>
                <a:lnTo>
                  <a:pt x="1207" y="14"/>
                </a:lnTo>
                <a:lnTo>
                  <a:pt x="1203" y="25"/>
                </a:lnTo>
                <a:lnTo>
                  <a:pt x="1198" y="36"/>
                </a:lnTo>
                <a:lnTo>
                  <a:pt x="1195" y="48"/>
                </a:lnTo>
                <a:lnTo>
                  <a:pt x="1190" y="59"/>
                </a:lnTo>
                <a:lnTo>
                  <a:pt x="1188" y="64"/>
                </a:lnTo>
                <a:lnTo>
                  <a:pt x="1185" y="70"/>
                </a:lnTo>
                <a:lnTo>
                  <a:pt x="1184" y="72"/>
                </a:lnTo>
                <a:lnTo>
                  <a:pt x="1184" y="74"/>
                </a:lnTo>
                <a:lnTo>
                  <a:pt x="1185" y="74"/>
                </a:lnTo>
                <a:lnTo>
                  <a:pt x="1189" y="74"/>
                </a:lnTo>
                <a:lnTo>
                  <a:pt x="1191" y="72"/>
                </a:lnTo>
                <a:lnTo>
                  <a:pt x="1191" y="71"/>
                </a:lnTo>
                <a:lnTo>
                  <a:pt x="1191" y="68"/>
                </a:lnTo>
                <a:lnTo>
                  <a:pt x="1192" y="65"/>
                </a:lnTo>
                <a:lnTo>
                  <a:pt x="1193" y="64"/>
                </a:lnTo>
                <a:lnTo>
                  <a:pt x="1195" y="63"/>
                </a:lnTo>
                <a:lnTo>
                  <a:pt x="1195" y="64"/>
                </a:lnTo>
                <a:lnTo>
                  <a:pt x="1196" y="64"/>
                </a:lnTo>
                <a:lnTo>
                  <a:pt x="1197" y="67"/>
                </a:lnTo>
                <a:lnTo>
                  <a:pt x="1197" y="70"/>
                </a:lnTo>
                <a:lnTo>
                  <a:pt x="1196" y="74"/>
                </a:lnTo>
                <a:lnTo>
                  <a:pt x="1193" y="76"/>
                </a:lnTo>
                <a:lnTo>
                  <a:pt x="1191" y="79"/>
                </a:lnTo>
                <a:lnTo>
                  <a:pt x="1187" y="80"/>
                </a:lnTo>
                <a:lnTo>
                  <a:pt x="1184" y="79"/>
                </a:lnTo>
                <a:lnTo>
                  <a:pt x="1181" y="79"/>
                </a:lnTo>
                <a:lnTo>
                  <a:pt x="1179" y="82"/>
                </a:lnTo>
                <a:lnTo>
                  <a:pt x="1178" y="86"/>
                </a:lnTo>
                <a:lnTo>
                  <a:pt x="1175" y="90"/>
                </a:lnTo>
                <a:lnTo>
                  <a:pt x="1172" y="94"/>
                </a:lnTo>
                <a:lnTo>
                  <a:pt x="1167" y="97"/>
                </a:lnTo>
                <a:lnTo>
                  <a:pt x="1163" y="99"/>
                </a:lnTo>
                <a:lnTo>
                  <a:pt x="1151" y="101"/>
                </a:lnTo>
                <a:lnTo>
                  <a:pt x="1141" y="104"/>
                </a:lnTo>
                <a:lnTo>
                  <a:pt x="1127" y="105"/>
                </a:lnTo>
                <a:lnTo>
                  <a:pt x="1115" y="105"/>
                </a:lnTo>
                <a:lnTo>
                  <a:pt x="1101" y="104"/>
                </a:lnTo>
                <a:lnTo>
                  <a:pt x="1089" y="100"/>
                </a:lnTo>
                <a:lnTo>
                  <a:pt x="1081" y="97"/>
                </a:lnTo>
                <a:lnTo>
                  <a:pt x="1067" y="92"/>
                </a:lnTo>
                <a:lnTo>
                  <a:pt x="1060" y="89"/>
                </a:lnTo>
                <a:lnTo>
                  <a:pt x="1053" y="88"/>
                </a:lnTo>
                <a:lnTo>
                  <a:pt x="1049" y="87"/>
                </a:lnTo>
                <a:lnTo>
                  <a:pt x="1048" y="88"/>
                </a:lnTo>
                <a:lnTo>
                  <a:pt x="1048" y="89"/>
                </a:lnTo>
                <a:lnTo>
                  <a:pt x="1049" y="90"/>
                </a:lnTo>
                <a:lnTo>
                  <a:pt x="1050" y="91"/>
                </a:lnTo>
                <a:lnTo>
                  <a:pt x="1052" y="92"/>
                </a:lnTo>
                <a:lnTo>
                  <a:pt x="1056" y="94"/>
                </a:lnTo>
                <a:lnTo>
                  <a:pt x="1059" y="94"/>
                </a:lnTo>
                <a:lnTo>
                  <a:pt x="1069" y="98"/>
                </a:lnTo>
                <a:lnTo>
                  <a:pt x="1078" y="105"/>
                </a:lnTo>
                <a:lnTo>
                  <a:pt x="1083" y="107"/>
                </a:lnTo>
                <a:lnTo>
                  <a:pt x="1085" y="112"/>
                </a:lnTo>
                <a:lnTo>
                  <a:pt x="1085" y="114"/>
                </a:lnTo>
                <a:lnTo>
                  <a:pt x="1085" y="116"/>
                </a:lnTo>
                <a:lnTo>
                  <a:pt x="1086" y="117"/>
                </a:lnTo>
                <a:lnTo>
                  <a:pt x="1088" y="119"/>
                </a:lnTo>
                <a:lnTo>
                  <a:pt x="1094" y="121"/>
                </a:lnTo>
                <a:lnTo>
                  <a:pt x="1101" y="122"/>
                </a:lnTo>
                <a:lnTo>
                  <a:pt x="1109" y="122"/>
                </a:lnTo>
                <a:lnTo>
                  <a:pt x="1116" y="122"/>
                </a:lnTo>
                <a:lnTo>
                  <a:pt x="1129" y="121"/>
                </a:lnTo>
                <a:lnTo>
                  <a:pt x="1141" y="121"/>
                </a:lnTo>
                <a:lnTo>
                  <a:pt x="1147" y="121"/>
                </a:lnTo>
                <a:lnTo>
                  <a:pt x="1154" y="122"/>
                </a:lnTo>
                <a:lnTo>
                  <a:pt x="1159" y="124"/>
                </a:lnTo>
                <a:lnTo>
                  <a:pt x="1164" y="128"/>
                </a:lnTo>
                <a:lnTo>
                  <a:pt x="1159" y="131"/>
                </a:lnTo>
                <a:lnTo>
                  <a:pt x="1154" y="134"/>
                </a:lnTo>
                <a:lnTo>
                  <a:pt x="1148" y="136"/>
                </a:lnTo>
                <a:lnTo>
                  <a:pt x="1142" y="137"/>
                </a:lnTo>
                <a:lnTo>
                  <a:pt x="1130" y="138"/>
                </a:lnTo>
                <a:lnTo>
                  <a:pt x="1117" y="138"/>
                </a:lnTo>
                <a:lnTo>
                  <a:pt x="1106" y="139"/>
                </a:lnTo>
                <a:lnTo>
                  <a:pt x="1094" y="139"/>
                </a:lnTo>
                <a:lnTo>
                  <a:pt x="1089" y="137"/>
                </a:lnTo>
                <a:lnTo>
                  <a:pt x="1084" y="136"/>
                </a:lnTo>
                <a:lnTo>
                  <a:pt x="1080" y="136"/>
                </a:lnTo>
                <a:lnTo>
                  <a:pt x="1074" y="138"/>
                </a:lnTo>
                <a:lnTo>
                  <a:pt x="1078" y="139"/>
                </a:lnTo>
                <a:lnTo>
                  <a:pt x="1082" y="141"/>
                </a:lnTo>
                <a:lnTo>
                  <a:pt x="1084" y="144"/>
                </a:lnTo>
                <a:lnTo>
                  <a:pt x="1088" y="147"/>
                </a:lnTo>
                <a:lnTo>
                  <a:pt x="1092" y="149"/>
                </a:lnTo>
                <a:lnTo>
                  <a:pt x="1099" y="149"/>
                </a:lnTo>
                <a:lnTo>
                  <a:pt x="1105" y="149"/>
                </a:lnTo>
                <a:lnTo>
                  <a:pt x="1110" y="149"/>
                </a:lnTo>
                <a:lnTo>
                  <a:pt x="1118" y="150"/>
                </a:lnTo>
                <a:lnTo>
                  <a:pt x="1129" y="153"/>
                </a:lnTo>
                <a:lnTo>
                  <a:pt x="1133" y="153"/>
                </a:lnTo>
                <a:lnTo>
                  <a:pt x="1138" y="153"/>
                </a:lnTo>
                <a:lnTo>
                  <a:pt x="1139" y="151"/>
                </a:lnTo>
                <a:lnTo>
                  <a:pt x="1140" y="150"/>
                </a:lnTo>
                <a:lnTo>
                  <a:pt x="1140" y="148"/>
                </a:lnTo>
                <a:lnTo>
                  <a:pt x="1140" y="146"/>
                </a:lnTo>
                <a:lnTo>
                  <a:pt x="1146" y="150"/>
                </a:lnTo>
                <a:lnTo>
                  <a:pt x="1150" y="155"/>
                </a:lnTo>
                <a:lnTo>
                  <a:pt x="1152" y="157"/>
                </a:lnTo>
                <a:lnTo>
                  <a:pt x="1155" y="159"/>
                </a:lnTo>
                <a:lnTo>
                  <a:pt x="1158" y="159"/>
                </a:lnTo>
                <a:lnTo>
                  <a:pt x="1160" y="161"/>
                </a:lnTo>
                <a:lnTo>
                  <a:pt x="1160" y="162"/>
                </a:lnTo>
                <a:lnTo>
                  <a:pt x="1160" y="163"/>
                </a:lnTo>
                <a:lnTo>
                  <a:pt x="1159" y="164"/>
                </a:lnTo>
                <a:lnTo>
                  <a:pt x="1157" y="165"/>
                </a:lnTo>
                <a:lnTo>
                  <a:pt x="1152" y="167"/>
                </a:lnTo>
                <a:lnTo>
                  <a:pt x="1146" y="170"/>
                </a:lnTo>
                <a:lnTo>
                  <a:pt x="1132" y="172"/>
                </a:lnTo>
                <a:lnTo>
                  <a:pt x="1124" y="174"/>
                </a:lnTo>
                <a:lnTo>
                  <a:pt x="1113" y="175"/>
                </a:lnTo>
                <a:lnTo>
                  <a:pt x="1100" y="175"/>
                </a:lnTo>
                <a:lnTo>
                  <a:pt x="1088" y="175"/>
                </a:lnTo>
                <a:lnTo>
                  <a:pt x="1075" y="174"/>
                </a:lnTo>
                <a:lnTo>
                  <a:pt x="1051" y="171"/>
                </a:lnTo>
                <a:lnTo>
                  <a:pt x="1027" y="166"/>
                </a:lnTo>
                <a:lnTo>
                  <a:pt x="1019" y="164"/>
                </a:lnTo>
                <a:lnTo>
                  <a:pt x="1010" y="163"/>
                </a:lnTo>
                <a:lnTo>
                  <a:pt x="1008" y="163"/>
                </a:lnTo>
                <a:lnTo>
                  <a:pt x="1005" y="162"/>
                </a:lnTo>
                <a:lnTo>
                  <a:pt x="1002" y="159"/>
                </a:lnTo>
                <a:lnTo>
                  <a:pt x="1001" y="157"/>
                </a:lnTo>
                <a:lnTo>
                  <a:pt x="998" y="157"/>
                </a:lnTo>
                <a:lnTo>
                  <a:pt x="994" y="157"/>
                </a:lnTo>
                <a:lnTo>
                  <a:pt x="989" y="157"/>
                </a:lnTo>
                <a:lnTo>
                  <a:pt x="984" y="155"/>
                </a:lnTo>
                <a:lnTo>
                  <a:pt x="974" y="151"/>
                </a:lnTo>
                <a:lnTo>
                  <a:pt x="964" y="148"/>
                </a:lnTo>
                <a:lnTo>
                  <a:pt x="952" y="145"/>
                </a:lnTo>
                <a:lnTo>
                  <a:pt x="940" y="144"/>
                </a:lnTo>
                <a:lnTo>
                  <a:pt x="928" y="141"/>
                </a:lnTo>
                <a:lnTo>
                  <a:pt x="918" y="138"/>
                </a:lnTo>
                <a:lnTo>
                  <a:pt x="912" y="134"/>
                </a:lnTo>
                <a:lnTo>
                  <a:pt x="905" y="132"/>
                </a:lnTo>
                <a:lnTo>
                  <a:pt x="903" y="132"/>
                </a:lnTo>
                <a:lnTo>
                  <a:pt x="901" y="130"/>
                </a:lnTo>
                <a:lnTo>
                  <a:pt x="900" y="126"/>
                </a:lnTo>
                <a:lnTo>
                  <a:pt x="899" y="122"/>
                </a:lnTo>
                <a:lnTo>
                  <a:pt x="895" y="125"/>
                </a:lnTo>
                <a:lnTo>
                  <a:pt x="893" y="126"/>
                </a:lnTo>
                <a:lnTo>
                  <a:pt x="890" y="126"/>
                </a:lnTo>
                <a:lnTo>
                  <a:pt x="886" y="126"/>
                </a:lnTo>
                <a:lnTo>
                  <a:pt x="877" y="123"/>
                </a:lnTo>
                <a:lnTo>
                  <a:pt x="868" y="120"/>
                </a:lnTo>
                <a:lnTo>
                  <a:pt x="859" y="116"/>
                </a:lnTo>
                <a:lnTo>
                  <a:pt x="849" y="114"/>
                </a:lnTo>
                <a:lnTo>
                  <a:pt x="839" y="113"/>
                </a:lnTo>
                <a:lnTo>
                  <a:pt x="832" y="111"/>
                </a:lnTo>
                <a:lnTo>
                  <a:pt x="830" y="106"/>
                </a:lnTo>
                <a:lnTo>
                  <a:pt x="827" y="100"/>
                </a:lnTo>
                <a:lnTo>
                  <a:pt x="825" y="100"/>
                </a:lnTo>
                <a:lnTo>
                  <a:pt x="824" y="100"/>
                </a:lnTo>
                <a:lnTo>
                  <a:pt x="822" y="103"/>
                </a:lnTo>
                <a:lnTo>
                  <a:pt x="821" y="105"/>
                </a:lnTo>
                <a:lnTo>
                  <a:pt x="819" y="106"/>
                </a:lnTo>
                <a:lnTo>
                  <a:pt x="817" y="105"/>
                </a:lnTo>
                <a:lnTo>
                  <a:pt x="817" y="104"/>
                </a:lnTo>
                <a:lnTo>
                  <a:pt x="816" y="104"/>
                </a:lnTo>
                <a:lnTo>
                  <a:pt x="814" y="104"/>
                </a:lnTo>
                <a:lnTo>
                  <a:pt x="813" y="106"/>
                </a:lnTo>
                <a:lnTo>
                  <a:pt x="810" y="107"/>
                </a:lnTo>
                <a:lnTo>
                  <a:pt x="806" y="106"/>
                </a:lnTo>
                <a:lnTo>
                  <a:pt x="806" y="106"/>
                </a:lnTo>
                <a:lnTo>
                  <a:pt x="806" y="105"/>
                </a:lnTo>
                <a:lnTo>
                  <a:pt x="808" y="104"/>
                </a:lnTo>
                <a:lnTo>
                  <a:pt x="809" y="104"/>
                </a:lnTo>
                <a:lnTo>
                  <a:pt x="812" y="103"/>
                </a:lnTo>
                <a:lnTo>
                  <a:pt x="813" y="103"/>
                </a:lnTo>
                <a:lnTo>
                  <a:pt x="809" y="101"/>
                </a:lnTo>
                <a:lnTo>
                  <a:pt x="805" y="100"/>
                </a:lnTo>
                <a:lnTo>
                  <a:pt x="801" y="99"/>
                </a:lnTo>
                <a:lnTo>
                  <a:pt x="796" y="100"/>
                </a:lnTo>
                <a:lnTo>
                  <a:pt x="791" y="100"/>
                </a:lnTo>
                <a:lnTo>
                  <a:pt x="785" y="100"/>
                </a:lnTo>
                <a:lnTo>
                  <a:pt x="779" y="99"/>
                </a:lnTo>
                <a:lnTo>
                  <a:pt x="775" y="97"/>
                </a:lnTo>
                <a:lnTo>
                  <a:pt x="770" y="95"/>
                </a:lnTo>
                <a:lnTo>
                  <a:pt x="766" y="91"/>
                </a:lnTo>
                <a:lnTo>
                  <a:pt x="760" y="91"/>
                </a:lnTo>
                <a:lnTo>
                  <a:pt x="754" y="91"/>
                </a:lnTo>
                <a:lnTo>
                  <a:pt x="751" y="90"/>
                </a:lnTo>
                <a:lnTo>
                  <a:pt x="747" y="89"/>
                </a:lnTo>
                <a:lnTo>
                  <a:pt x="746" y="88"/>
                </a:lnTo>
                <a:lnTo>
                  <a:pt x="745" y="88"/>
                </a:lnTo>
                <a:lnTo>
                  <a:pt x="746" y="87"/>
                </a:lnTo>
                <a:lnTo>
                  <a:pt x="746" y="84"/>
                </a:lnTo>
                <a:lnTo>
                  <a:pt x="737" y="84"/>
                </a:lnTo>
                <a:lnTo>
                  <a:pt x="727" y="83"/>
                </a:lnTo>
                <a:lnTo>
                  <a:pt x="722" y="82"/>
                </a:lnTo>
                <a:lnTo>
                  <a:pt x="718" y="80"/>
                </a:lnTo>
                <a:lnTo>
                  <a:pt x="715" y="80"/>
                </a:lnTo>
                <a:lnTo>
                  <a:pt x="714" y="79"/>
                </a:lnTo>
                <a:lnTo>
                  <a:pt x="713" y="76"/>
                </a:lnTo>
                <a:lnTo>
                  <a:pt x="713" y="75"/>
                </a:lnTo>
                <a:lnTo>
                  <a:pt x="706" y="75"/>
                </a:lnTo>
                <a:lnTo>
                  <a:pt x="699" y="75"/>
                </a:lnTo>
                <a:lnTo>
                  <a:pt x="689" y="73"/>
                </a:lnTo>
                <a:lnTo>
                  <a:pt x="679" y="71"/>
                </a:lnTo>
                <a:lnTo>
                  <a:pt x="676" y="68"/>
                </a:lnTo>
                <a:lnTo>
                  <a:pt x="671" y="66"/>
                </a:lnTo>
                <a:lnTo>
                  <a:pt x="666" y="66"/>
                </a:lnTo>
                <a:lnTo>
                  <a:pt x="661" y="65"/>
                </a:lnTo>
                <a:lnTo>
                  <a:pt x="656" y="63"/>
                </a:lnTo>
                <a:lnTo>
                  <a:pt x="654" y="59"/>
                </a:lnTo>
                <a:lnTo>
                  <a:pt x="651" y="61"/>
                </a:lnTo>
                <a:lnTo>
                  <a:pt x="646" y="61"/>
                </a:lnTo>
                <a:lnTo>
                  <a:pt x="640" y="59"/>
                </a:lnTo>
                <a:lnTo>
                  <a:pt x="635" y="58"/>
                </a:lnTo>
                <a:lnTo>
                  <a:pt x="633" y="58"/>
                </a:lnTo>
                <a:lnTo>
                  <a:pt x="631" y="57"/>
                </a:lnTo>
                <a:lnTo>
                  <a:pt x="630" y="56"/>
                </a:lnTo>
                <a:lnTo>
                  <a:pt x="629" y="54"/>
                </a:lnTo>
                <a:lnTo>
                  <a:pt x="626" y="54"/>
                </a:lnTo>
                <a:lnTo>
                  <a:pt x="621" y="54"/>
                </a:lnTo>
                <a:lnTo>
                  <a:pt x="626" y="56"/>
                </a:lnTo>
                <a:lnTo>
                  <a:pt x="628" y="57"/>
                </a:lnTo>
                <a:lnTo>
                  <a:pt x="626" y="58"/>
                </a:lnTo>
                <a:lnTo>
                  <a:pt x="622" y="58"/>
                </a:lnTo>
                <a:lnTo>
                  <a:pt x="619" y="58"/>
                </a:lnTo>
                <a:lnTo>
                  <a:pt x="616" y="57"/>
                </a:lnTo>
                <a:lnTo>
                  <a:pt x="614" y="54"/>
                </a:lnTo>
                <a:lnTo>
                  <a:pt x="611" y="50"/>
                </a:lnTo>
                <a:lnTo>
                  <a:pt x="606" y="51"/>
                </a:lnTo>
                <a:lnTo>
                  <a:pt x="602" y="51"/>
                </a:lnTo>
                <a:lnTo>
                  <a:pt x="597" y="50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1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3" y="50"/>
                </a:lnTo>
                <a:lnTo>
                  <a:pt x="591" y="50"/>
                </a:lnTo>
                <a:lnTo>
                  <a:pt x="593" y="49"/>
                </a:lnTo>
                <a:lnTo>
                  <a:pt x="591" y="47"/>
                </a:lnTo>
                <a:lnTo>
                  <a:pt x="589" y="48"/>
                </a:lnTo>
                <a:lnTo>
                  <a:pt x="586" y="50"/>
                </a:lnTo>
                <a:lnTo>
                  <a:pt x="583" y="49"/>
                </a:lnTo>
                <a:lnTo>
                  <a:pt x="581" y="47"/>
                </a:lnTo>
                <a:lnTo>
                  <a:pt x="579" y="48"/>
                </a:lnTo>
                <a:lnTo>
                  <a:pt x="577" y="49"/>
                </a:lnTo>
                <a:lnTo>
                  <a:pt x="573" y="48"/>
                </a:lnTo>
                <a:lnTo>
                  <a:pt x="570" y="48"/>
                </a:lnTo>
                <a:lnTo>
                  <a:pt x="569" y="50"/>
                </a:lnTo>
                <a:lnTo>
                  <a:pt x="569" y="51"/>
                </a:lnTo>
                <a:lnTo>
                  <a:pt x="571" y="51"/>
                </a:lnTo>
                <a:lnTo>
                  <a:pt x="572" y="53"/>
                </a:lnTo>
                <a:lnTo>
                  <a:pt x="575" y="53"/>
                </a:lnTo>
                <a:lnTo>
                  <a:pt x="580" y="53"/>
                </a:lnTo>
                <a:lnTo>
                  <a:pt x="582" y="53"/>
                </a:lnTo>
                <a:lnTo>
                  <a:pt x="585" y="54"/>
                </a:lnTo>
                <a:lnTo>
                  <a:pt x="586" y="55"/>
                </a:lnTo>
                <a:lnTo>
                  <a:pt x="588" y="56"/>
                </a:lnTo>
                <a:lnTo>
                  <a:pt x="578" y="56"/>
                </a:lnTo>
                <a:lnTo>
                  <a:pt x="569" y="54"/>
                </a:lnTo>
                <a:lnTo>
                  <a:pt x="564" y="53"/>
                </a:lnTo>
                <a:lnTo>
                  <a:pt x="559" y="50"/>
                </a:lnTo>
                <a:lnTo>
                  <a:pt x="556" y="51"/>
                </a:lnTo>
                <a:lnTo>
                  <a:pt x="552" y="53"/>
                </a:lnTo>
                <a:lnTo>
                  <a:pt x="548" y="53"/>
                </a:lnTo>
                <a:lnTo>
                  <a:pt x="544" y="51"/>
                </a:lnTo>
                <a:lnTo>
                  <a:pt x="541" y="49"/>
                </a:lnTo>
                <a:lnTo>
                  <a:pt x="541" y="46"/>
                </a:lnTo>
                <a:lnTo>
                  <a:pt x="540" y="45"/>
                </a:lnTo>
                <a:lnTo>
                  <a:pt x="538" y="46"/>
                </a:lnTo>
                <a:lnTo>
                  <a:pt x="537" y="47"/>
                </a:lnTo>
                <a:lnTo>
                  <a:pt x="534" y="47"/>
                </a:lnTo>
                <a:lnTo>
                  <a:pt x="531" y="48"/>
                </a:lnTo>
                <a:lnTo>
                  <a:pt x="530" y="47"/>
                </a:lnTo>
                <a:lnTo>
                  <a:pt x="529" y="45"/>
                </a:lnTo>
                <a:lnTo>
                  <a:pt x="526" y="42"/>
                </a:lnTo>
                <a:lnTo>
                  <a:pt x="525" y="40"/>
                </a:lnTo>
                <a:lnTo>
                  <a:pt x="524" y="40"/>
                </a:lnTo>
                <a:lnTo>
                  <a:pt x="523" y="41"/>
                </a:lnTo>
                <a:lnTo>
                  <a:pt x="523" y="43"/>
                </a:lnTo>
                <a:lnTo>
                  <a:pt x="524" y="46"/>
                </a:lnTo>
                <a:lnTo>
                  <a:pt x="526" y="48"/>
                </a:lnTo>
                <a:lnTo>
                  <a:pt x="526" y="48"/>
                </a:lnTo>
                <a:lnTo>
                  <a:pt x="526" y="49"/>
                </a:lnTo>
                <a:lnTo>
                  <a:pt x="525" y="50"/>
                </a:lnTo>
                <a:lnTo>
                  <a:pt x="523" y="50"/>
                </a:lnTo>
                <a:lnTo>
                  <a:pt x="522" y="48"/>
                </a:lnTo>
                <a:lnTo>
                  <a:pt x="521" y="46"/>
                </a:lnTo>
                <a:lnTo>
                  <a:pt x="519" y="43"/>
                </a:lnTo>
                <a:lnTo>
                  <a:pt x="516" y="42"/>
                </a:lnTo>
                <a:lnTo>
                  <a:pt x="513" y="40"/>
                </a:lnTo>
                <a:lnTo>
                  <a:pt x="509" y="40"/>
                </a:lnTo>
                <a:lnTo>
                  <a:pt x="507" y="40"/>
                </a:lnTo>
                <a:lnTo>
                  <a:pt x="504" y="40"/>
                </a:lnTo>
                <a:lnTo>
                  <a:pt x="501" y="41"/>
                </a:lnTo>
                <a:lnTo>
                  <a:pt x="498" y="42"/>
                </a:lnTo>
                <a:lnTo>
                  <a:pt x="496" y="40"/>
                </a:lnTo>
                <a:lnTo>
                  <a:pt x="492" y="40"/>
                </a:lnTo>
                <a:lnTo>
                  <a:pt x="490" y="41"/>
                </a:lnTo>
                <a:lnTo>
                  <a:pt x="487" y="43"/>
                </a:lnTo>
                <a:lnTo>
                  <a:pt x="484" y="42"/>
                </a:lnTo>
                <a:lnTo>
                  <a:pt x="483" y="41"/>
                </a:lnTo>
                <a:lnTo>
                  <a:pt x="480" y="39"/>
                </a:lnTo>
                <a:lnTo>
                  <a:pt x="476" y="38"/>
                </a:lnTo>
                <a:lnTo>
                  <a:pt x="473" y="37"/>
                </a:lnTo>
                <a:lnTo>
                  <a:pt x="468" y="37"/>
                </a:lnTo>
                <a:lnTo>
                  <a:pt x="458" y="38"/>
                </a:lnTo>
                <a:lnTo>
                  <a:pt x="448" y="38"/>
                </a:lnTo>
                <a:lnTo>
                  <a:pt x="446" y="38"/>
                </a:lnTo>
                <a:lnTo>
                  <a:pt x="441" y="37"/>
                </a:lnTo>
                <a:lnTo>
                  <a:pt x="440" y="38"/>
                </a:lnTo>
                <a:lnTo>
                  <a:pt x="439" y="38"/>
                </a:lnTo>
                <a:lnTo>
                  <a:pt x="440" y="39"/>
                </a:lnTo>
                <a:lnTo>
                  <a:pt x="442" y="40"/>
                </a:lnTo>
                <a:lnTo>
                  <a:pt x="446" y="41"/>
                </a:lnTo>
                <a:lnTo>
                  <a:pt x="449" y="41"/>
                </a:lnTo>
                <a:lnTo>
                  <a:pt x="455" y="41"/>
                </a:lnTo>
                <a:lnTo>
                  <a:pt x="459" y="40"/>
                </a:lnTo>
                <a:lnTo>
                  <a:pt x="462" y="40"/>
                </a:lnTo>
                <a:lnTo>
                  <a:pt x="463" y="41"/>
                </a:lnTo>
                <a:lnTo>
                  <a:pt x="462" y="42"/>
                </a:lnTo>
                <a:lnTo>
                  <a:pt x="459" y="43"/>
                </a:lnTo>
                <a:lnTo>
                  <a:pt x="470" y="45"/>
                </a:lnTo>
                <a:lnTo>
                  <a:pt x="481" y="45"/>
                </a:lnTo>
                <a:lnTo>
                  <a:pt x="492" y="45"/>
                </a:lnTo>
                <a:lnTo>
                  <a:pt x="503" y="46"/>
                </a:lnTo>
                <a:lnTo>
                  <a:pt x="506" y="47"/>
                </a:lnTo>
                <a:lnTo>
                  <a:pt x="509" y="47"/>
                </a:lnTo>
                <a:lnTo>
                  <a:pt x="509" y="45"/>
                </a:lnTo>
                <a:lnTo>
                  <a:pt x="509" y="43"/>
                </a:lnTo>
                <a:lnTo>
                  <a:pt x="512" y="43"/>
                </a:lnTo>
                <a:lnTo>
                  <a:pt x="514" y="46"/>
                </a:lnTo>
                <a:lnTo>
                  <a:pt x="516" y="48"/>
                </a:lnTo>
                <a:lnTo>
                  <a:pt x="516" y="50"/>
                </a:lnTo>
                <a:lnTo>
                  <a:pt x="504" y="50"/>
                </a:lnTo>
                <a:lnTo>
                  <a:pt x="491" y="51"/>
                </a:lnTo>
                <a:lnTo>
                  <a:pt x="480" y="50"/>
                </a:lnTo>
                <a:lnTo>
                  <a:pt x="467" y="49"/>
                </a:lnTo>
                <a:lnTo>
                  <a:pt x="453" y="50"/>
                </a:lnTo>
                <a:lnTo>
                  <a:pt x="439" y="50"/>
                </a:lnTo>
                <a:lnTo>
                  <a:pt x="424" y="51"/>
                </a:lnTo>
                <a:lnTo>
                  <a:pt x="409" y="53"/>
                </a:lnTo>
                <a:lnTo>
                  <a:pt x="396" y="55"/>
                </a:lnTo>
                <a:lnTo>
                  <a:pt x="382" y="57"/>
                </a:lnTo>
                <a:lnTo>
                  <a:pt x="367" y="59"/>
                </a:lnTo>
                <a:lnTo>
                  <a:pt x="353" y="62"/>
                </a:lnTo>
                <a:lnTo>
                  <a:pt x="348" y="62"/>
                </a:lnTo>
                <a:lnTo>
                  <a:pt x="342" y="62"/>
                </a:lnTo>
                <a:lnTo>
                  <a:pt x="342" y="65"/>
                </a:lnTo>
                <a:lnTo>
                  <a:pt x="344" y="67"/>
                </a:lnTo>
                <a:lnTo>
                  <a:pt x="344" y="68"/>
                </a:lnTo>
                <a:lnTo>
                  <a:pt x="343" y="70"/>
                </a:lnTo>
                <a:lnTo>
                  <a:pt x="342" y="70"/>
                </a:lnTo>
                <a:lnTo>
                  <a:pt x="341" y="68"/>
                </a:lnTo>
                <a:lnTo>
                  <a:pt x="340" y="67"/>
                </a:lnTo>
                <a:lnTo>
                  <a:pt x="339" y="66"/>
                </a:lnTo>
                <a:lnTo>
                  <a:pt x="336" y="64"/>
                </a:lnTo>
                <a:lnTo>
                  <a:pt x="333" y="64"/>
                </a:lnTo>
                <a:lnTo>
                  <a:pt x="334" y="67"/>
                </a:lnTo>
                <a:lnTo>
                  <a:pt x="336" y="71"/>
                </a:lnTo>
                <a:lnTo>
                  <a:pt x="338" y="73"/>
                </a:lnTo>
                <a:lnTo>
                  <a:pt x="338" y="74"/>
                </a:lnTo>
                <a:lnTo>
                  <a:pt x="336" y="75"/>
                </a:lnTo>
                <a:lnTo>
                  <a:pt x="334" y="76"/>
                </a:lnTo>
                <a:lnTo>
                  <a:pt x="340" y="76"/>
                </a:lnTo>
                <a:lnTo>
                  <a:pt x="347" y="75"/>
                </a:lnTo>
                <a:lnTo>
                  <a:pt x="348" y="72"/>
                </a:lnTo>
                <a:lnTo>
                  <a:pt x="350" y="70"/>
                </a:lnTo>
                <a:lnTo>
                  <a:pt x="359" y="71"/>
                </a:lnTo>
                <a:lnTo>
                  <a:pt x="368" y="73"/>
                </a:lnTo>
                <a:lnTo>
                  <a:pt x="366" y="75"/>
                </a:lnTo>
                <a:lnTo>
                  <a:pt x="364" y="76"/>
                </a:lnTo>
                <a:lnTo>
                  <a:pt x="360" y="78"/>
                </a:lnTo>
                <a:lnTo>
                  <a:pt x="356" y="78"/>
                </a:lnTo>
                <a:lnTo>
                  <a:pt x="347" y="79"/>
                </a:lnTo>
                <a:lnTo>
                  <a:pt x="341" y="80"/>
                </a:lnTo>
                <a:lnTo>
                  <a:pt x="334" y="80"/>
                </a:lnTo>
                <a:lnTo>
                  <a:pt x="327" y="82"/>
                </a:lnTo>
                <a:lnTo>
                  <a:pt x="323" y="84"/>
                </a:lnTo>
                <a:lnTo>
                  <a:pt x="320" y="89"/>
                </a:lnTo>
                <a:lnTo>
                  <a:pt x="318" y="91"/>
                </a:lnTo>
                <a:lnTo>
                  <a:pt x="316" y="92"/>
                </a:lnTo>
                <a:lnTo>
                  <a:pt x="314" y="92"/>
                </a:lnTo>
                <a:lnTo>
                  <a:pt x="311" y="92"/>
                </a:lnTo>
                <a:lnTo>
                  <a:pt x="308" y="90"/>
                </a:lnTo>
                <a:lnTo>
                  <a:pt x="303" y="88"/>
                </a:lnTo>
                <a:lnTo>
                  <a:pt x="298" y="88"/>
                </a:lnTo>
                <a:lnTo>
                  <a:pt x="292" y="90"/>
                </a:lnTo>
                <a:lnTo>
                  <a:pt x="287" y="94"/>
                </a:lnTo>
                <a:lnTo>
                  <a:pt x="284" y="96"/>
                </a:lnTo>
                <a:lnTo>
                  <a:pt x="282" y="95"/>
                </a:lnTo>
                <a:lnTo>
                  <a:pt x="280" y="94"/>
                </a:lnTo>
                <a:lnTo>
                  <a:pt x="278" y="94"/>
                </a:lnTo>
                <a:lnTo>
                  <a:pt x="276" y="95"/>
                </a:lnTo>
                <a:lnTo>
                  <a:pt x="269" y="96"/>
                </a:lnTo>
                <a:lnTo>
                  <a:pt x="262" y="98"/>
                </a:lnTo>
                <a:lnTo>
                  <a:pt x="248" y="103"/>
                </a:lnTo>
                <a:lnTo>
                  <a:pt x="233" y="107"/>
                </a:lnTo>
                <a:lnTo>
                  <a:pt x="218" y="113"/>
                </a:lnTo>
                <a:lnTo>
                  <a:pt x="202" y="119"/>
                </a:lnTo>
                <a:lnTo>
                  <a:pt x="200" y="120"/>
                </a:lnTo>
                <a:lnTo>
                  <a:pt x="195" y="121"/>
                </a:lnTo>
                <a:lnTo>
                  <a:pt x="191" y="123"/>
                </a:lnTo>
                <a:lnTo>
                  <a:pt x="190" y="125"/>
                </a:lnTo>
                <a:lnTo>
                  <a:pt x="190" y="126"/>
                </a:lnTo>
                <a:lnTo>
                  <a:pt x="192" y="126"/>
                </a:lnTo>
                <a:lnTo>
                  <a:pt x="194" y="126"/>
                </a:lnTo>
                <a:lnTo>
                  <a:pt x="195" y="126"/>
                </a:lnTo>
                <a:lnTo>
                  <a:pt x="193" y="129"/>
                </a:lnTo>
                <a:lnTo>
                  <a:pt x="190" y="131"/>
                </a:lnTo>
                <a:lnTo>
                  <a:pt x="186" y="133"/>
                </a:lnTo>
                <a:lnTo>
                  <a:pt x="183" y="134"/>
                </a:lnTo>
                <a:lnTo>
                  <a:pt x="181" y="134"/>
                </a:lnTo>
                <a:lnTo>
                  <a:pt x="179" y="133"/>
                </a:lnTo>
                <a:lnTo>
                  <a:pt x="178" y="133"/>
                </a:lnTo>
                <a:lnTo>
                  <a:pt x="178" y="132"/>
                </a:lnTo>
                <a:lnTo>
                  <a:pt x="182" y="130"/>
                </a:lnTo>
                <a:lnTo>
                  <a:pt x="185" y="130"/>
                </a:lnTo>
                <a:lnTo>
                  <a:pt x="184" y="128"/>
                </a:lnTo>
                <a:lnTo>
                  <a:pt x="183" y="126"/>
                </a:lnTo>
                <a:lnTo>
                  <a:pt x="181" y="126"/>
                </a:lnTo>
                <a:lnTo>
                  <a:pt x="178" y="126"/>
                </a:lnTo>
                <a:lnTo>
                  <a:pt x="174" y="129"/>
                </a:lnTo>
                <a:lnTo>
                  <a:pt x="170" y="132"/>
                </a:lnTo>
                <a:lnTo>
                  <a:pt x="158" y="138"/>
                </a:lnTo>
                <a:lnTo>
                  <a:pt x="146" y="142"/>
                </a:lnTo>
                <a:lnTo>
                  <a:pt x="142" y="145"/>
                </a:lnTo>
                <a:lnTo>
                  <a:pt x="138" y="147"/>
                </a:lnTo>
                <a:lnTo>
                  <a:pt x="138" y="149"/>
                </a:lnTo>
                <a:lnTo>
                  <a:pt x="141" y="151"/>
                </a:lnTo>
                <a:lnTo>
                  <a:pt x="142" y="153"/>
                </a:lnTo>
                <a:lnTo>
                  <a:pt x="144" y="154"/>
                </a:lnTo>
                <a:lnTo>
                  <a:pt x="146" y="151"/>
                </a:lnTo>
                <a:lnTo>
                  <a:pt x="150" y="149"/>
                </a:lnTo>
                <a:lnTo>
                  <a:pt x="153" y="148"/>
                </a:lnTo>
                <a:lnTo>
                  <a:pt x="155" y="146"/>
                </a:lnTo>
                <a:lnTo>
                  <a:pt x="158" y="148"/>
                </a:lnTo>
                <a:lnTo>
                  <a:pt x="160" y="149"/>
                </a:lnTo>
                <a:lnTo>
                  <a:pt x="161" y="149"/>
                </a:lnTo>
                <a:lnTo>
                  <a:pt x="162" y="148"/>
                </a:lnTo>
                <a:lnTo>
                  <a:pt x="162" y="147"/>
                </a:lnTo>
                <a:lnTo>
                  <a:pt x="163" y="145"/>
                </a:lnTo>
                <a:lnTo>
                  <a:pt x="162" y="142"/>
                </a:lnTo>
                <a:lnTo>
                  <a:pt x="161" y="141"/>
                </a:lnTo>
                <a:lnTo>
                  <a:pt x="162" y="139"/>
                </a:lnTo>
                <a:lnTo>
                  <a:pt x="165" y="139"/>
                </a:lnTo>
                <a:lnTo>
                  <a:pt x="167" y="140"/>
                </a:lnTo>
                <a:lnTo>
                  <a:pt x="168" y="140"/>
                </a:lnTo>
                <a:lnTo>
                  <a:pt x="174" y="142"/>
                </a:lnTo>
                <a:lnTo>
                  <a:pt x="179" y="145"/>
                </a:lnTo>
                <a:lnTo>
                  <a:pt x="181" y="142"/>
                </a:lnTo>
                <a:lnTo>
                  <a:pt x="182" y="140"/>
                </a:lnTo>
                <a:lnTo>
                  <a:pt x="183" y="138"/>
                </a:lnTo>
                <a:lnTo>
                  <a:pt x="185" y="139"/>
                </a:lnTo>
                <a:lnTo>
                  <a:pt x="186" y="139"/>
                </a:lnTo>
                <a:lnTo>
                  <a:pt x="187" y="139"/>
                </a:lnTo>
                <a:lnTo>
                  <a:pt x="188" y="138"/>
                </a:lnTo>
                <a:lnTo>
                  <a:pt x="190" y="136"/>
                </a:lnTo>
                <a:lnTo>
                  <a:pt x="194" y="133"/>
                </a:lnTo>
                <a:lnTo>
                  <a:pt x="201" y="131"/>
                </a:lnTo>
                <a:lnTo>
                  <a:pt x="206" y="130"/>
                </a:lnTo>
                <a:lnTo>
                  <a:pt x="210" y="129"/>
                </a:lnTo>
                <a:lnTo>
                  <a:pt x="212" y="128"/>
                </a:lnTo>
                <a:lnTo>
                  <a:pt x="215" y="125"/>
                </a:lnTo>
                <a:lnTo>
                  <a:pt x="218" y="125"/>
                </a:lnTo>
                <a:lnTo>
                  <a:pt x="221" y="125"/>
                </a:lnTo>
                <a:lnTo>
                  <a:pt x="229" y="125"/>
                </a:lnTo>
                <a:lnTo>
                  <a:pt x="236" y="125"/>
                </a:lnTo>
                <a:lnTo>
                  <a:pt x="239" y="125"/>
                </a:lnTo>
                <a:lnTo>
                  <a:pt x="243" y="125"/>
                </a:lnTo>
                <a:lnTo>
                  <a:pt x="244" y="125"/>
                </a:lnTo>
                <a:lnTo>
                  <a:pt x="245" y="125"/>
                </a:lnTo>
                <a:lnTo>
                  <a:pt x="245" y="124"/>
                </a:lnTo>
                <a:lnTo>
                  <a:pt x="245" y="122"/>
                </a:lnTo>
                <a:lnTo>
                  <a:pt x="242" y="122"/>
                </a:lnTo>
                <a:lnTo>
                  <a:pt x="239" y="120"/>
                </a:lnTo>
                <a:lnTo>
                  <a:pt x="244" y="116"/>
                </a:lnTo>
                <a:lnTo>
                  <a:pt x="251" y="113"/>
                </a:lnTo>
                <a:lnTo>
                  <a:pt x="259" y="111"/>
                </a:lnTo>
                <a:lnTo>
                  <a:pt x="266" y="108"/>
                </a:lnTo>
                <a:lnTo>
                  <a:pt x="269" y="107"/>
                </a:lnTo>
                <a:lnTo>
                  <a:pt x="272" y="107"/>
                </a:lnTo>
                <a:lnTo>
                  <a:pt x="274" y="106"/>
                </a:lnTo>
                <a:lnTo>
                  <a:pt x="276" y="104"/>
                </a:lnTo>
                <a:lnTo>
                  <a:pt x="276" y="101"/>
                </a:lnTo>
                <a:lnTo>
                  <a:pt x="276" y="99"/>
                </a:lnTo>
                <a:lnTo>
                  <a:pt x="276" y="98"/>
                </a:lnTo>
                <a:lnTo>
                  <a:pt x="277" y="98"/>
                </a:lnTo>
                <a:lnTo>
                  <a:pt x="277" y="98"/>
                </a:lnTo>
                <a:lnTo>
                  <a:pt x="280" y="99"/>
                </a:lnTo>
                <a:lnTo>
                  <a:pt x="280" y="101"/>
                </a:lnTo>
                <a:lnTo>
                  <a:pt x="281" y="104"/>
                </a:lnTo>
                <a:lnTo>
                  <a:pt x="282" y="105"/>
                </a:lnTo>
                <a:lnTo>
                  <a:pt x="284" y="106"/>
                </a:lnTo>
                <a:lnTo>
                  <a:pt x="289" y="107"/>
                </a:lnTo>
                <a:lnTo>
                  <a:pt x="292" y="108"/>
                </a:lnTo>
                <a:lnTo>
                  <a:pt x="294" y="108"/>
                </a:lnTo>
                <a:lnTo>
                  <a:pt x="295" y="107"/>
                </a:lnTo>
                <a:lnTo>
                  <a:pt x="297" y="106"/>
                </a:lnTo>
                <a:lnTo>
                  <a:pt x="298" y="105"/>
                </a:lnTo>
                <a:lnTo>
                  <a:pt x="297" y="103"/>
                </a:lnTo>
                <a:lnTo>
                  <a:pt x="297" y="101"/>
                </a:lnTo>
                <a:lnTo>
                  <a:pt x="300" y="100"/>
                </a:lnTo>
                <a:lnTo>
                  <a:pt x="305" y="100"/>
                </a:lnTo>
                <a:lnTo>
                  <a:pt x="306" y="101"/>
                </a:lnTo>
                <a:lnTo>
                  <a:pt x="308" y="101"/>
                </a:lnTo>
                <a:lnTo>
                  <a:pt x="311" y="100"/>
                </a:lnTo>
                <a:lnTo>
                  <a:pt x="315" y="99"/>
                </a:lnTo>
                <a:lnTo>
                  <a:pt x="318" y="99"/>
                </a:lnTo>
                <a:lnTo>
                  <a:pt x="322" y="99"/>
                </a:lnTo>
                <a:lnTo>
                  <a:pt x="326" y="98"/>
                </a:lnTo>
                <a:lnTo>
                  <a:pt x="328" y="96"/>
                </a:lnTo>
                <a:lnTo>
                  <a:pt x="330" y="98"/>
                </a:lnTo>
                <a:lnTo>
                  <a:pt x="330" y="101"/>
                </a:lnTo>
                <a:lnTo>
                  <a:pt x="332" y="100"/>
                </a:lnTo>
                <a:lnTo>
                  <a:pt x="334" y="99"/>
                </a:lnTo>
                <a:lnTo>
                  <a:pt x="335" y="99"/>
                </a:lnTo>
                <a:lnTo>
                  <a:pt x="338" y="99"/>
                </a:lnTo>
                <a:lnTo>
                  <a:pt x="340" y="101"/>
                </a:lnTo>
                <a:lnTo>
                  <a:pt x="343" y="104"/>
                </a:lnTo>
                <a:lnTo>
                  <a:pt x="325" y="108"/>
                </a:lnTo>
                <a:lnTo>
                  <a:pt x="307" y="114"/>
                </a:lnTo>
                <a:lnTo>
                  <a:pt x="287" y="117"/>
                </a:lnTo>
                <a:lnTo>
                  <a:pt x="268" y="120"/>
                </a:lnTo>
                <a:lnTo>
                  <a:pt x="270" y="122"/>
                </a:lnTo>
                <a:lnTo>
                  <a:pt x="273" y="125"/>
                </a:lnTo>
                <a:lnTo>
                  <a:pt x="270" y="128"/>
                </a:lnTo>
                <a:lnTo>
                  <a:pt x="269" y="130"/>
                </a:lnTo>
                <a:lnTo>
                  <a:pt x="270" y="131"/>
                </a:lnTo>
                <a:lnTo>
                  <a:pt x="274" y="132"/>
                </a:lnTo>
                <a:lnTo>
                  <a:pt x="276" y="132"/>
                </a:lnTo>
                <a:lnTo>
                  <a:pt x="276" y="133"/>
                </a:lnTo>
                <a:lnTo>
                  <a:pt x="276" y="134"/>
                </a:lnTo>
                <a:lnTo>
                  <a:pt x="275" y="136"/>
                </a:lnTo>
                <a:lnTo>
                  <a:pt x="274" y="134"/>
                </a:lnTo>
                <a:lnTo>
                  <a:pt x="274" y="134"/>
                </a:lnTo>
                <a:lnTo>
                  <a:pt x="272" y="136"/>
                </a:lnTo>
                <a:lnTo>
                  <a:pt x="269" y="136"/>
                </a:lnTo>
                <a:lnTo>
                  <a:pt x="268" y="137"/>
                </a:lnTo>
                <a:lnTo>
                  <a:pt x="266" y="136"/>
                </a:lnTo>
                <a:lnTo>
                  <a:pt x="266" y="133"/>
                </a:lnTo>
                <a:lnTo>
                  <a:pt x="265" y="131"/>
                </a:lnTo>
                <a:lnTo>
                  <a:pt x="261" y="130"/>
                </a:lnTo>
                <a:lnTo>
                  <a:pt x="259" y="129"/>
                </a:lnTo>
                <a:lnTo>
                  <a:pt x="265" y="128"/>
                </a:lnTo>
                <a:lnTo>
                  <a:pt x="268" y="125"/>
                </a:lnTo>
                <a:lnTo>
                  <a:pt x="265" y="124"/>
                </a:lnTo>
                <a:lnTo>
                  <a:pt x="261" y="125"/>
                </a:lnTo>
                <a:lnTo>
                  <a:pt x="247" y="128"/>
                </a:lnTo>
                <a:lnTo>
                  <a:pt x="234" y="131"/>
                </a:lnTo>
                <a:lnTo>
                  <a:pt x="220" y="136"/>
                </a:lnTo>
                <a:lnTo>
                  <a:pt x="208" y="140"/>
                </a:lnTo>
                <a:lnTo>
                  <a:pt x="194" y="146"/>
                </a:lnTo>
                <a:lnTo>
                  <a:pt x="182" y="150"/>
                </a:lnTo>
                <a:lnTo>
                  <a:pt x="169" y="155"/>
                </a:lnTo>
                <a:lnTo>
                  <a:pt x="158" y="158"/>
                </a:lnTo>
                <a:lnTo>
                  <a:pt x="151" y="164"/>
                </a:lnTo>
                <a:lnTo>
                  <a:pt x="145" y="170"/>
                </a:lnTo>
                <a:lnTo>
                  <a:pt x="137" y="173"/>
                </a:lnTo>
                <a:lnTo>
                  <a:pt x="130" y="177"/>
                </a:lnTo>
                <a:lnTo>
                  <a:pt x="130" y="178"/>
                </a:lnTo>
                <a:lnTo>
                  <a:pt x="132" y="179"/>
                </a:lnTo>
                <a:lnTo>
                  <a:pt x="134" y="179"/>
                </a:lnTo>
                <a:lnTo>
                  <a:pt x="136" y="178"/>
                </a:lnTo>
                <a:lnTo>
                  <a:pt x="142" y="177"/>
                </a:lnTo>
                <a:lnTo>
                  <a:pt x="144" y="175"/>
                </a:lnTo>
                <a:lnTo>
                  <a:pt x="144" y="179"/>
                </a:lnTo>
                <a:lnTo>
                  <a:pt x="146" y="180"/>
                </a:lnTo>
                <a:lnTo>
                  <a:pt x="146" y="181"/>
                </a:lnTo>
                <a:lnTo>
                  <a:pt x="146" y="182"/>
                </a:lnTo>
                <a:lnTo>
                  <a:pt x="145" y="183"/>
                </a:lnTo>
                <a:lnTo>
                  <a:pt x="143" y="184"/>
                </a:lnTo>
                <a:lnTo>
                  <a:pt x="138" y="188"/>
                </a:lnTo>
                <a:lnTo>
                  <a:pt x="134" y="190"/>
                </a:lnTo>
                <a:lnTo>
                  <a:pt x="132" y="190"/>
                </a:lnTo>
                <a:lnTo>
                  <a:pt x="129" y="190"/>
                </a:lnTo>
                <a:lnTo>
                  <a:pt x="128" y="190"/>
                </a:lnTo>
                <a:lnTo>
                  <a:pt x="126" y="189"/>
                </a:lnTo>
                <a:lnTo>
                  <a:pt x="122" y="189"/>
                </a:lnTo>
                <a:lnTo>
                  <a:pt x="120" y="190"/>
                </a:lnTo>
                <a:lnTo>
                  <a:pt x="117" y="192"/>
                </a:lnTo>
                <a:lnTo>
                  <a:pt x="114" y="195"/>
                </a:lnTo>
                <a:lnTo>
                  <a:pt x="111" y="197"/>
                </a:lnTo>
                <a:lnTo>
                  <a:pt x="107" y="198"/>
                </a:lnTo>
                <a:lnTo>
                  <a:pt x="103" y="200"/>
                </a:lnTo>
                <a:lnTo>
                  <a:pt x="102" y="204"/>
                </a:lnTo>
                <a:lnTo>
                  <a:pt x="107" y="203"/>
                </a:lnTo>
                <a:lnTo>
                  <a:pt x="111" y="202"/>
                </a:lnTo>
                <a:lnTo>
                  <a:pt x="112" y="203"/>
                </a:lnTo>
                <a:lnTo>
                  <a:pt x="112" y="204"/>
                </a:lnTo>
                <a:lnTo>
                  <a:pt x="111" y="205"/>
                </a:lnTo>
                <a:lnTo>
                  <a:pt x="110" y="205"/>
                </a:lnTo>
                <a:lnTo>
                  <a:pt x="103" y="208"/>
                </a:lnTo>
                <a:lnTo>
                  <a:pt x="100" y="213"/>
                </a:lnTo>
                <a:lnTo>
                  <a:pt x="97" y="216"/>
                </a:lnTo>
                <a:lnTo>
                  <a:pt x="94" y="219"/>
                </a:lnTo>
                <a:lnTo>
                  <a:pt x="92" y="220"/>
                </a:lnTo>
                <a:lnTo>
                  <a:pt x="89" y="221"/>
                </a:lnTo>
                <a:lnTo>
                  <a:pt x="88" y="223"/>
                </a:lnTo>
                <a:lnTo>
                  <a:pt x="87" y="225"/>
                </a:lnTo>
                <a:lnTo>
                  <a:pt x="87" y="227"/>
                </a:lnTo>
                <a:lnTo>
                  <a:pt x="89" y="229"/>
                </a:lnTo>
                <a:lnTo>
                  <a:pt x="91" y="228"/>
                </a:lnTo>
                <a:lnTo>
                  <a:pt x="93" y="227"/>
                </a:lnTo>
                <a:lnTo>
                  <a:pt x="93" y="227"/>
                </a:lnTo>
                <a:lnTo>
                  <a:pt x="94" y="227"/>
                </a:lnTo>
                <a:lnTo>
                  <a:pt x="94" y="228"/>
                </a:lnTo>
                <a:lnTo>
                  <a:pt x="94" y="229"/>
                </a:lnTo>
                <a:lnTo>
                  <a:pt x="89" y="232"/>
                </a:lnTo>
                <a:lnTo>
                  <a:pt x="85" y="236"/>
                </a:lnTo>
                <a:lnTo>
                  <a:pt x="85" y="237"/>
                </a:lnTo>
                <a:lnTo>
                  <a:pt x="85" y="238"/>
                </a:lnTo>
                <a:lnTo>
                  <a:pt x="85" y="238"/>
                </a:lnTo>
                <a:lnTo>
                  <a:pt x="86" y="239"/>
                </a:lnTo>
                <a:lnTo>
                  <a:pt x="89" y="239"/>
                </a:lnTo>
                <a:lnTo>
                  <a:pt x="91" y="241"/>
                </a:lnTo>
                <a:lnTo>
                  <a:pt x="88" y="242"/>
                </a:lnTo>
                <a:lnTo>
                  <a:pt x="85" y="244"/>
                </a:lnTo>
                <a:lnTo>
                  <a:pt x="83" y="245"/>
                </a:lnTo>
                <a:lnTo>
                  <a:pt x="80" y="245"/>
                </a:lnTo>
                <a:lnTo>
                  <a:pt x="79" y="248"/>
                </a:lnTo>
                <a:lnTo>
                  <a:pt x="80" y="250"/>
                </a:lnTo>
                <a:lnTo>
                  <a:pt x="77" y="250"/>
                </a:lnTo>
                <a:lnTo>
                  <a:pt x="72" y="250"/>
                </a:lnTo>
                <a:lnTo>
                  <a:pt x="70" y="255"/>
                </a:lnTo>
                <a:lnTo>
                  <a:pt x="70" y="260"/>
                </a:lnTo>
                <a:lnTo>
                  <a:pt x="67" y="266"/>
                </a:lnTo>
                <a:lnTo>
                  <a:pt x="62" y="272"/>
                </a:lnTo>
                <a:lnTo>
                  <a:pt x="61" y="274"/>
                </a:lnTo>
                <a:lnTo>
                  <a:pt x="59" y="275"/>
                </a:lnTo>
                <a:lnTo>
                  <a:pt x="56" y="277"/>
                </a:lnTo>
                <a:lnTo>
                  <a:pt x="54" y="275"/>
                </a:lnTo>
                <a:lnTo>
                  <a:pt x="52" y="275"/>
                </a:lnTo>
                <a:lnTo>
                  <a:pt x="51" y="275"/>
                </a:lnTo>
                <a:lnTo>
                  <a:pt x="52" y="278"/>
                </a:lnTo>
                <a:lnTo>
                  <a:pt x="54" y="279"/>
                </a:lnTo>
                <a:lnTo>
                  <a:pt x="53" y="285"/>
                </a:lnTo>
                <a:lnTo>
                  <a:pt x="52" y="289"/>
                </a:lnTo>
                <a:lnTo>
                  <a:pt x="54" y="288"/>
                </a:lnTo>
                <a:lnTo>
                  <a:pt x="56" y="286"/>
                </a:lnTo>
                <a:lnTo>
                  <a:pt x="58" y="283"/>
                </a:lnTo>
                <a:lnTo>
                  <a:pt x="59" y="281"/>
                </a:lnTo>
                <a:lnTo>
                  <a:pt x="60" y="280"/>
                </a:lnTo>
                <a:lnTo>
                  <a:pt x="61" y="280"/>
                </a:lnTo>
                <a:lnTo>
                  <a:pt x="62" y="281"/>
                </a:lnTo>
                <a:lnTo>
                  <a:pt x="63" y="282"/>
                </a:lnTo>
                <a:lnTo>
                  <a:pt x="64" y="287"/>
                </a:lnTo>
                <a:lnTo>
                  <a:pt x="64" y="289"/>
                </a:lnTo>
                <a:lnTo>
                  <a:pt x="62" y="291"/>
                </a:lnTo>
                <a:lnTo>
                  <a:pt x="59" y="292"/>
                </a:lnTo>
                <a:lnTo>
                  <a:pt x="56" y="296"/>
                </a:lnTo>
                <a:lnTo>
                  <a:pt x="52" y="297"/>
                </a:lnTo>
                <a:lnTo>
                  <a:pt x="53" y="299"/>
                </a:lnTo>
                <a:lnTo>
                  <a:pt x="55" y="300"/>
                </a:lnTo>
                <a:lnTo>
                  <a:pt x="56" y="300"/>
                </a:lnTo>
                <a:lnTo>
                  <a:pt x="59" y="300"/>
                </a:lnTo>
                <a:lnTo>
                  <a:pt x="62" y="300"/>
                </a:lnTo>
                <a:lnTo>
                  <a:pt x="66" y="302"/>
                </a:lnTo>
                <a:lnTo>
                  <a:pt x="68" y="305"/>
                </a:lnTo>
                <a:lnTo>
                  <a:pt x="70" y="307"/>
                </a:lnTo>
                <a:lnTo>
                  <a:pt x="75" y="303"/>
                </a:lnTo>
                <a:lnTo>
                  <a:pt x="80" y="299"/>
                </a:lnTo>
                <a:lnTo>
                  <a:pt x="83" y="296"/>
                </a:lnTo>
                <a:lnTo>
                  <a:pt x="86" y="294"/>
                </a:lnTo>
                <a:lnTo>
                  <a:pt x="89" y="292"/>
                </a:lnTo>
                <a:lnTo>
                  <a:pt x="94" y="291"/>
                </a:lnTo>
                <a:lnTo>
                  <a:pt x="91" y="294"/>
                </a:lnTo>
                <a:lnTo>
                  <a:pt x="87" y="296"/>
                </a:lnTo>
                <a:lnTo>
                  <a:pt x="85" y="298"/>
                </a:lnTo>
                <a:lnTo>
                  <a:pt x="83" y="300"/>
                </a:lnTo>
                <a:lnTo>
                  <a:pt x="77" y="311"/>
                </a:lnTo>
                <a:lnTo>
                  <a:pt x="71" y="320"/>
                </a:lnTo>
                <a:lnTo>
                  <a:pt x="67" y="325"/>
                </a:lnTo>
                <a:lnTo>
                  <a:pt x="64" y="330"/>
                </a:lnTo>
                <a:lnTo>
                  <a:pt x="63" y="331"/>
                </a:lnTo>
                <a:lnTo>
                  <a:pt x="62" y="335"/>
                </a:lnTo>
                <a:lnTo>
                  <a:pt x="61" y="336"/>
                </a:lnTo>
                <a:lnTo>
                  <a:pt x="61" y="337"/>
                </a:lnTo>
                <a:lnTo>
                  <a:pt x="62" y="338"/>
                </a:lnTo>
                <a:lnTo>
                  <a:pt x="63" y="338"/>
                </a:lnTo>
                <a:lnTo>
                  <a:pt x="64" y="335"/>
                </a:lnTo>
                <a:lnTo>
                  <a:pt x="67" y="332"/>
                </a:lnTo>
                <a:lnTo>
                  <a:pt x="70" y="330"/>
                </a:lnTo>
                <a:lnTo>
                  <a:pt x="74" y="329"/>
                </a:lnTo>
                <a:lnTo>
                  <a:pt x="69" y="333"/>
                </a:lnTo>
                <a:lnTo>
                  <a:pt x="64" y="339"/>
                </a:lnTo>
                <a:lnTo>
                  <a:pt x="63" y="343"/>
                </a:lnTo>
                <a:lnTo>
                  <a:pt x="62" y="346"/>
                </a:lnTo>
                <a:lnTo>
                  <a:pt x="62" y="348"/>
                </a:lnTo>
                <a:lnTo>
                  <a:pt x="63" y="352"/>
                </a:lnTo>
                <a:lnTo>
                  <a:pt x="60" y="353"/>
                </a:lnTo>
                <a:lnTo>
                  <a:pt x="59" y="353"/>
                </a:lnTo>
                <a:lnTo>
                  <a:pt x="60" y="355"/>
                </a:lnTo>
                <a:lnTo>
                  <a:pt x="60" y="357"/>
                </a:lnTo>
                <a:lnTo>
                  <a:pt x="59" y="364"/>
                </a:lnTo>
                <a:lnTo>
                  <a:pt x="55" y="370"/>
                </a:lnTo>
                <a:lnTo>
                  <a:pt x="51" y="383"/>
                </a:lnTo>
                <a:lnTo>
                  <a:pt x="46" y="397"/>
                </a:lnTo>
                <a:lnTo>
                  <a:pt x="52" y="396"/>
                </a:lnTo>
                <a:lnTo>
                  <a:pt x="55" y="396"/>
                </a:lnTo>
                <a:lnTo>
                  <a:pt x="59" y="398"/>
                </a:lnTo>
                <a:lnTo>
                  <a:pt x="62" y="403"/>
                </a:lnTo>
                <a:lnTo>
                  <a:pt x="61" y="399"/>
                </a:lnTo>
                <a:lnTo>
                  <a:pt x="60" y="396"/>
                </a:lnTo>
                <a:lnTo>
                  <a:pt x="61" y="394"/>
                </a:lnTo>
                <a:lnTo>
                  <a:pt x="63" y="394"/>
                </a:lnTo>
                <a:lnTo>
                  <a:pt x="64" y="395"/>
                </a:lnTo>
                <a:lnTo>
                  <a:pt x="66" y="396"/>
                </a:lnTo>
                <a:lnTo>
                  <a:pt x="64" y="397"/>
                </a:lnTo>
                <a:lnTo>
                  <a:pt x="64" y="399"/>
                </a:lnTo>
                <a:lnTo>
                  <a:pt x="66" y="402"/>
                </a:lnTo>
                <a:lnTo>
                  <a:pt x="67" y="404"/>
                </a:lnTo>
                <a:lnTo>
                  <a:pt x="68" y="406"/>
                </a:lnTo>
                <a:lnTo>
                  <a:pt x="68" y="407"/>
                </a:lnTo>
                <a:lnTo>
                  <a:pt x="67" y="408"/>
                </a:lnTo>
                <a:lnTo>
                  <a:pt x="64" y="410"/>
                </a:lnTo>
                <a:lnTo>
                  <a:pt x="63" y="411"/>
                </a:lnTo>
                <a:lnTo>
                  <a:pt x="61" y="411"/>
                </a:lnTo>
                <a:lnTo>
                  <a:pt x="61" y="412"/>
                </a:lnTo>
                <a:lnTo>
                  <a:pt x="62" y="414"/>
                </a:lnTo>
                <a:lnTo>
                  <a:pt x="64" y="415"/>
                </a:lnTo>
                <a:lnTo>
                  <a:pt x="68" y="416"/>
                </a:lnTo>
                <a:lnTo>
                  <a:pt x="69" y="419"/>
                </a:lnTo>
                <a:lnTo>
                  <a:pt x="68" y="420"/>
                </a:lnTo>
                <a:lnTo>
                  <a:pt x="67" y="422"/>
                </a:lnTo>
                <a:lnTo>
                  <a:pt x="66" y="423"/>
                </a:lnTo>
                <a:lnTo>
                  <a:pt x="62" y="423"/>
                </a:lnTo>
                <a:lnTo>
                  <a:pt x="62" y="423"/>
                </a:lnTo>
                <a:lnTo>
                  <a:pt x="61" y="421"/>
                </a:lnTo>
                <a:lnTo>
                  <a:pt x="61" y="419"/>
                </a:lnTo>
                <a:lnTo>
                  <a:pt x="60" y="427"/>
                </a:lnTo>
                <a:lnTo>
                  <a:pt x="62" y="435"/>
                </a:lnTo>
                <a:lnTo>
                  <a:pt x="56" y="436"/>
                </a:lnTo>
                <a:lnTo>
                  <a:pt x="53" y="438"/>
                </a:lnTo>
                <a:lnTo>
                  <a:pt x="58" y="439"/>
                </a:lnTo>
                <a:lnTo>
                  <a:pt x="63" y="439"/>
                </a:lnTo>
                <a:lnTo>
                  <a:pt x="62" y="438"/>
                </a:lnTo>
                <a:lnTo>
                  <a:pt x="62" y="436"/>
                </a:lnTo>
                <a:lnTo>
                  <a:pt x="63" y="432"/>
                </a:lnTo>
                <a:lnTo>
                  <a:pt x="66" y="429"/>
                </a:lnTo>
                <a:lnTo>
                  <a:pt x="69" y="423"/>
                </a:lnTo>
                <a:lnTo>
                  <a:pt x="72" y="419"/>
                </a:lnTo>
                <a:lnTo>
                  <a:pt x="74" y="414"/>
                </a:lnTo>
                <a:lnTo>
                  <a:pt x="77" y="408"/>
                </a:lnTo>
                <a:lnTo>
                  <a:pt x="79" y="405"/>
                </a:lnTo>
                <a:lnTo>
                  <a:pt x="81" y="403"/>
                </a:lnTo>
                <a:lnTo>
                  <a:pt x="83" y="402"/>
                </a:lnTo>
                <a:lnTo>
                  <a:pt x="84" y="402"/>
                </a:lnTo>
                <a:lnTo>
                  <a:pt x="81" y="407"/>
                </a:lnTo>
                <a:lnTo>
                  <a:pt x="79" y="413"/>
                </a:lnTo>
                <a:lnTo>
                  <a:pt x="77" y="421"/>
                </a:lnTo>
                <a:lnTo>
                  <a:pt x="75" y="427"/>
                </a:lnTo>
                <a:lnTo>
                  <a:pt x="70" y="440"/>
                </a:lnTo>
                <a:lnTo>
                  <a:pt x="66" y="455"/>
                </a:lnTo>
                <a:lnTo>
                  <a:pt x="64" y="460"/>
                </a:lnTo>
                <a:lnTo>
                  <a:pt x="61" y="466"/>
                </a:lnTo>
                <a:lnTo>
                  <a:pt x="60" y="470"/>
                </a:lnTo>
                <a:lnTo>
                  <a:pt x="60" y="473"/>
                </a:lnTo>
                <a:lnTo>
                  <a:pt x="60" y="476"/>
                </a:lnTo>
                <a:lnTo>
                  <a:pt x="61" y="478"/>
                </a:lnTo>
                <a:lnTo>
                  <a:pt x="64" y="480"/>
                </a:lnTo>
                <a:lnTo>
                  <a:pt x="68" y="483"/>
                </a:lnTo>
                <a:lnTo>
                  <a:pt x="67" y="490"/>
                </a:lnTo>
                <a:lnTo>
                  <a:pt x="64" y="497"/>
                </a:lnTo>
                <a:lnTo>
                  <a:pt x="59" y="513"/>
                </a:lnTo>
                <a:lnTo>
                  <a:pt x="54" y="529"/>
                </a:lnTo>
                <a:lnTo>
                  <a:pt x="52" y="544"/>
                </a:lnTo>
                <a:lnTo>
                  <a:pt x="48" y="556"/>
                </a:lnTo>
                <a:lnTo>
                  <a:pt x="48" y="559"/>
                </a:lnTo>
                <a:lnTo>
                  <a:pt x="47" y="561"/>
                </a:lnTo>
                <a:lnTo>
                  <a:pt x="46" y="564"/>
                </a:lnTo>
                <a:lnTo>
                  <a:pt x="45" y="566"/>
                </a:lnTo>
                <a:lnTo>
                  <a:pt x="46" y="569"/>
                </a:lnTo>
                <a:lnTo>
                  <a:pt x="46" y="572"/>
                </a:lnTo>
                <a:lnTo>
                  <a:pt x="45" y="574"/>
                </a:lnTo>
                <a:lnTo>
                  <a:pt x="44" y="578"/>
                </a:lnTo>
                <a:lnTo>
                  <a:pt x="43" y="579"/>
                </a:lnTo>
                <a:lnTo>
                  <a:pt x="42" y="581"/>
                </a:lnTo>
                <a:lnTo>
                  <a:pt x="42" y="584"/>
                </a:lnTo>
                <a:lnTo>
                  <a:pt x="44" y="585"/>
                </a:lnTo>
                <a:lnTo>
                  <a:pt x="46" y="585"/>
                </a:lnTo>
                <a:lnTo>
                  <a:pt x="46" y="585"/>
                </a:lnTo>
                <a:lnTo>
                  <a:pt x="47" y="584"/>
                </a:lnTo>
                <a:lnTo>
                  <a:pt x="48" y="582"/>
                </a:lnTo>
                <a:lnTo>
                  <a:pt x="48" y="579"/>
                </a:lnTo>
                <a:lnTo>
                  <a:pt x="50" y="577"/>
                </a:lnTo>
                <a:lnTo>
                  <a:pt x="51" y="579"/>
                </a:lnTo>
                <a:lnTo>
                  <a:pt x="51" y="581"/>
                </a:lnTo>
                <a:lnTo>
                  <a:pt x="51" y="582"/>
                </a:lnTo>
                <a:lnTo>
                  <a:pt x="52" y="584"/>
                </a:lnTo>
                <a:lnTo>
                  <a:pt x="53" y="584"/>
                </a:lnTo>
                <a:lnTo>
                  <a:pt x="54" y="582"/>
                </a:lnTo>
                <a:lnTo>
                  <a:pt x="55" y="581"/>
                </a:lnTo>
                <a:lnTo>
                  <a:pt x="55" y="579"/>
                </a:lnTo>
                <a:lnTo>
                  <a:pt x="55" y="577"/>
                </a:lnTo>
                <a:lnTo>
                  <a:pt x="55" y="576"/>
                </a:lnTo>
                <a:lnTo>
                  <a:pt x="52" y="577"/>
                </a:lnTo>
                <a:lnTo>
                  <a:pt x="50" y="576"/>
                </a:lnTo>
                <a:lnTo>
                  <a:pt x="52" y="576"/>
                </a:lnTo>
                <a:lnTo>
                  <a:pt x="53" y="573"/>
                </a:lnTo>
                <a:lnTo>
                  <a:pt x="53" y="570"/>
                </a:lnTo>
                <a:lnTo>
                  <a:pt x="53" y="568"/>
                </a:lnTo>
                <a:lnTo>
                  <a:pt x="55" y="566"/>
                </a:lnTo>
                <a:lnTo>
                  <a:pt x="58" y="565"/>
                </a:lnTo>
                <a:lnTo>
                  <a:pt x="59" y="565"/>
                </a:lnTo>
                <a:lnTo>
                  <a:pt x="60" y="565"/>
                </a:lnTo>
                <a:lnTo>
                  <a:pt x="60" y="563"/>
                </a:lnTo>
                <a:lnTo>
                  <a:pt x="61" y="562"/>
                </a:lnTo>
                <a:lnTo>
                  <a:pt x="63" y="557"/>
                </a:lnTo>
                <a:lnTo>
                  <a:pt x="66" y="554"/>
                </a:lnTo>
                <a:lnTo>
                  <a:pt x="68" y="552"/>
                </a:lnTo>
                <a:lnTo>
                  <a:pt x="68" y="548"/>
                </a:lnTo>
                <a:lnTo>
                  <a:pt x="70" y="545"/>
                </a:lnTo>
                <a:lnTo>
                  <a:pt x="71" y="543"/>
                </a:lnTo>
                <a:lnTo>
                  <a:pt x="70" y="540"/>
                </a:lnTo>
                <a:lnTo>
                  <a:pt x="70" y="539"/>
                </a:lnTo>
                <a:lnTo>
                  <a:pt x="72" y="538"/>
                </a:lnTo>
                <a:lnTo>
                  <a:pt x="75" y="537"/>
                </a:lnTo>
                <a:lnTo>
                  <a:pt x="77" y="534"/>
                </a:lnTo>
                <a:lnTo>
                  <a:pt x="79" y="530"/>
                </a:lnTo>
                <a:lnTo>
                  <a:pt x="80" y="526"/>
                </a:lnTo>
                <a:lnTo>
                  <a:pt x="81" y="522"/>
                </a:lnTo>
                <a:lnTo>
                  <a:pt x="86" y="520"/>
                </a:lnTo>
                <a:lnTo>
                  <a:pt x="91" y="518"/>
                </a:lnTo>
                <a:lnTo>
                  <a:pt x="91" y="513"/>
                </a:lnTo>
                <a:lnTo>
                  <a:pt x="92" y="510"/>
                </a:lnTo>
                <a:lnTo>
                  <a:pt x="94" y="507"/>
                </a:lnTo>
                <a:lnTo>
                  <a:pt x="99" y="506"/>
                </a:lnTo>
                <a:lnTo>
                  <a:pt x="101" y="506"/>
                </a:lnTo>
                <a:lnTo>
                  <a:pt x="102" y="506"/>
                </a:lnTo>
                <a:lnTo>
                  <a:pt x="103" y="506"/>
                </a:lnTo>
                <a:lnTo>
                  <a:pt x="104" y="504"/>
                </a:lnTo>
                <a:lnTo>
                  <a:pt x="104" y="503"/>
                </a:lnTo>
                <a:lnTo>
                  <a:pt x="103" y="501"/>
                </a:lnTo>
                <a:lnTo>
                  <a:pt x="101" y="499"/>
                </a:lnTo>
                <a:lnTo>
                  <a:pt x="100" y="499"/>
                </a:lnTo>
                <a:lnTo>
                  <a:pt x="108" y="491"/>
                </a:lnTo>
                <a:lnTo>
                  <a:pt x="116" y="485"/>
                </a:lnTo>
                <a:lnTo>
                  <a:pt x="125" y="478"/>
                </a:lnTo>
                <a:lnTo>
                  <a:pt x="134" y="472"/>
                </a:lnTo>
                <a:lnTo>
                  <a:pt x="154" y="462"/>
                </a:lnTo>
                <a:lnTo>
                  <a:pt x="174" y="453"/>
                </a:lnTo>
                <a:lnTo>
                  <a:pt x="185" y="448"/>
                </a:lnTo>
                <a:lnTo>
                  <a:pt x="198" y="444"/>
                </a:lnTo>
                <a:lnTo>
                  <a:pt x="209" y="440"/>
                </a:lnTo>
                <a:lnTo>
                  <a:pt x="220" y="437"/>
                </a:lnTo>
                <a:lnTo>
                  <a:pt x="232" y="433"/>
                </a:lnTo>
                <a:lnTo>
                  <a:pt x="242" y="431"/>
                </a:lnTo>
                <a:lnTo>
                  <a:pt x="248" y="429"/>
                </a:lnTo>
                <a:lnTo>
                  <a:pt x="254" y="428"/>
                </a:lnTo>
                <a:lnTo>
                  <a:pt x="259" y="427"/>
                </a:lnTo>
                <a:lnTo>
                  <a:pt x="264" y="426"/>
                </a:lnTo>
                <a:lnTo>
                  <a:pt x="266" y="427"/>
                </a:lnTo>
                <a:lnTo>
                  <a:pt x="267" y="429"/>
                </a:lnTo>
                <a:lnTo>
                  <a:pt x="268" y="430"/>
                </a:lnTo>
                <a:lnTo>
                  <a:pt x="268" y="430"/>
                </a:lnTo>
                <a:lnTo>
                  <a:pt x="269" y="430"/>
                </a:lnTo>
                <a:lnTo>
                  <a:pt x="272" y="430"/>
                </a:lnTo>
                <a:lnTo>
                  <a:pt x="272" y="428"/>
                </a:lnTo>
                <a:lnTo>
                  <a:pt x="270" y="426"/>
                </a:lnTo>
                <a:lnTo>
                  <a:pt x="274" y="423"/>
                </a:lnTo>
                <a:lnTo>
                  <a:pt x="277" y="423"/>
                </a:lnTo>
                <a:lnTo>
                  <a:pt x="289" y="421"/>
                </a:lnTo>
                <a:lnTo>
                  <a:pt x="300" y="420"/>
                </a:lnTo>
                <a:lnTo>
                  <a:pt x="310" y="418"/>
                </a:lnTo>
                <a:lnTo>
                  <a:pt x="322" y="416"/>
                </a:lnTo>
                <a:lnTo>
                  <a:pt x="332" y="415"/>
                </a:lnTo>
                <a:lnTo>
                  <a:pt x="342" y="413"/>
                </a:lnTo>
                <a:lnTo>
                  <a:pt x="342" y="410"/>
                </a:lnTo>
                <a:lnTo>
                  <a:pt x="341" y="406"/>
                </a:lnTo>
                <a:lnTo>
                  <a:pt x="342" y="403"/>
                </a:lnTo>
                <a:lnTo>
                  <a:pt x="343" y="399"/>
                </a:lnTo>
                <a:lnTo>
                  <a:pt x="344" y="397"/>
                </a:lnTo>
                <a:lnTo>
                  <a:pt x="348" y="395"/>
                </a:lnTo>
                <a:lnTo>
                  <a:pt x="352" y="393"/>
                </a:lnTo>
                <a:lnTo>
                  <a:pt x="356" y="393"/>
                </a:lnTo>
                <a:lnTo>
                  <a:pt x="357" y="395"/>
                </a:lnTo>
                <a:lnTo>
                  <a:pt x="357" y="397"/>
                </a:lnTo>
                <a:lnTo>
                  <a:pt x="353" y="399"/>
                </a:lnTo>
                <a:lnTo>
                  <a:pt x="350" y="400"/>
                </a:lnTo>
                <a:lnTo>
                  <a:pt x="348" y="403"/>
                </a:lnTo>
                <a:lnTo>
                  <a:pt x="347" y="405"/>
                </a:lnTo>
                <a:lnTo>
                  <a:pt x="347" y="406"/>
                </a:lnTo>
                <a:lnTo>
                  <a:pt x="347" y="407"/>
                </a:lnTo>
                <a:lnTo>
                  <a:pt x="348" y="408"/>
                </a:lnTo>
                <a:lnTo>
                  <a:pt x="350" y="410"/>
                </a:lnTo>
                <a:lnTo>
                  <a:pt x="351" y="410"/>
                </a:lnTo>
                <a:lnTo>
                  <a:pt x="355" y="410"/>
                </a:lnTo>
                <a:lnTo>
                  <a:pt x="358" y="408"/>
                </a:lnTo>
                <a:lnTo>
                  <a:pt x="361" y="407"/>
                </a:lnTo>
                <a:lnTo>
                  <a:pt x="365" y="407"/>
                </a:lnTo>
                <a:lnTo>
                  <a:pt x="368" y="408"/>
                </a:lnTo>
                <a:lnTo>
                  <a:pt x="371" y="411"/>
                </a:lnTo>
                <a:lnTo>
                  <a:pt x="373" y="414"/>
                </a:lnTo>
                <a:lnTo>
                  <a:pt x="380" y="415"/>
                </a:lnTo>
                <a:lnTo>
                  <a:pt x="387" y="415"/>
                </a:lnTo>
                <a:lnTo>
                  <a:pt x="401" y="416"/>
                </a:lnTo>
                <a:lnTo>
                  <a:pt x="417" y="419"/>
                </a:lnTo>
                <a:lnTo>
                  <a:pt x="415" y="421"/>
                </a:lnTo>
                <a:lnTo>
                  <a:pt x="412" y="421"/>
                </a:lnTo>
                <a:lnTo>
                  <a:pt x="408" y="421"/>
                </a:lnTo>
                <a:lnTo>
                  <a:pt x="405" y="420"/>
                </a:lnTo>
                <a:lnTo>
                  <a:pt x="397" y="421"/>
                </a:lnTo>
                <a:lnTo>
                  <a:pt x="388" y="421"/>
                </a:lnTo>
                <a:lnTo>
                  <a:pt x="381" y="422"/>
                </a:lnTo>
                <a:lnTo>
                  <a:pt x="375" y="422"/>
                </a:lnTo>
                <a:lnTo>
                  <a:pt x="371" y="427"/>
                </a:lnTo>
                <a:lnTo>
                  <a:pt x="366" y="430"/>
                </a:lnTo>
                <a:lnTo>
                  <a:pt x="369" y="430"/>
                </a:lnTo>
                <a:lnTo>
                  <a:pt x="373" y="430"/>
                </a:lnTo>
                <a:lnTo>
                  <a:pt x="375" y="431"/>
                </a:lnTo>
                <a:lnTo>
                  <a:pt x="377" y="432"/>
                </a:lnTo>
                <a:lnTo>
                  <a:pt x="382" y="431"/>
                </a:lnTo>
                <a:lnTo>
                  <a:pt x="388" y="429"/>
                </a:lnTo>
                <a:lnTo>
                  <a:pt x="393" y="429"/>
                </a:lnTo>
                <a:lnTo>
                  <a:pt x="400" y="428"/>
                </a:lnTo>
                <a:lnTo>
                  <a:pt x="413" y="428"/>
                </a:lnTo>
                <a:lnTo>
                  <a:pt x="426" y="428"/>
                </a:lnTo>
                <a:lnTo>
                  <a:pt x="439" y="430"/>
                </a:lnTo>
                <a:lnTo>
                  <a:pt x="451" y="432"/>
                </a:lnTo>
                <a:lnTo>
                  <a:pt x="462" y="433"/>
                </a:lnTo>
                <a:lnTo>
                  <a:pt x="472" y="435"/>
                </a:lnTo>
                <a:lnTo>
                  <a:pt x="475" y="435"/>
                </a:lnTo>
                <a:lnTo>
                  <a:pt x="481" y="436"/>
                </a:lnTo>
                <a:lnTo>
                  <a:pt x="483" y="437"/>
                </a:lnTo>
                <a:lnTo>
                  <a:pt x="484" y="437"/>
                </a:lnTo>
                <a:lnTo>
                  <a:pt x="484" y="438"/>
                </a:lnTo>
                <a:lnTo>
                  <a:pt x="483" y="439"/>
                </a:lnTo>
                <a:lnTo>
                  <a:pt x="480" y="440"/>
                </a:lnTo>
                <a:lnTo>
                  <a:pt x="474" y="439"/>
                </a:lnTo>
                <a:lnTo>
                  <a:pt x="468" y="438"/>
                </a:lnTo>
                <a:lnTo>
                  <a:pt x="464" y="437"/>
                </a:lnTo>
                <a:lnTo>
                  <a:pt x="459" y="437"/>
                </a:lnTo>
                <a:lnTo>
                  <a:pt x="455" y="438"/>
                </a:lnTo>
                <a:lnTo>
                  <a:pt x="451" y="440"/>
                </a:lnTo>
                <a:lnTo>
                  <a:pt x="448" y="445"/>
                </a:lnTo>
                <a:lnTo>
                  <a:pt x="459" y="444"/>
                </a:lnTo>
                <a:lnTo>
                  <a:pt x="472" y="443"/>
                </a:lnTo>
                <a:lnTo>
                  <a:pt x="484" y="443"/>
                </a:lnTo>
                <a:lnTo>
                  <a:pt x="496" y="444"/>
                </a:lnTo>
                <a:lnTo>
                  <a:pt x="509" y="446"/>
                </a:lnTo>
                <a:lnTo>
                  <a:pt x="522" y="448"/>
                </a:lnTo>
                <a:lnTo>
                  <a:pt x="534" y="452"/>
                </a:lnTo>
                <a:lnTo>
                  <a:pt x="547" y="454"/>
                </a:lnTo>
                <a:lnTo>
                  <a:pt x="559" y="457"/>
                </a:lnTo>
                <a:lnTo>
                  <a:pt x="572" y="460"/>
                </a:lnTo>
                <a:lnTo>
                  <a:pt x="582" y="462"/>
                </a:lnTo>
                <a:lnTo>
                  <a:pt x="593" y="465"/>
                </a:lnTo>
                <a:lnTo>
                  <a:pt x="597" y="470"/>
                </a:lnTo>
                <a:lnTo>
                  <a:pt x="603" y="473"/>
                </a:lnTo>
                <a:lnTo>
                  <a:pt x="607" y="473"/>
                </a:lnTo>
                <a:lnTo>
                  <a:pt x="613" y="474"/>
                </a:lnTo>
                <a:lnTo>
                  <a:pt x="616" y="474"/>
                </a:lnTo>
                <a:lnTo>
                  <a:pt x="619" y="476"/>
                </a:lnTo>
                <a:lnTo>
                  <a:pt x="621" y="477"/>
                </a:lnTo>
                <a:lnTo>
                  <a:pt x="621" y="478"/>
                </a:lnTo>
                <a:lnTo>
                  <a:pt x="606" y="477"/>
                </a:lnTo>
                <a:lnTo>
                  <a:pt x="591" y="474"/>
                </a:lnTo>
                <a:lnTo>
                  <a:pt x="586" y="477"/>
                </a:lnTo>
                <a:lnTo>
                  <a:pt x="580" y="478"/>
                </a:lnTo>
                <a:lnTo>
                  <a:pt x="572" y="478"/>
                </a:lnTo>
                <a:lnTo>
                  <a:pt x="564" y="478"/>
                </a:lnTo>
                <a:lnTo>
                  <a:pt x="547" y="478"/>
                </a:lnTo>
                <a:lnTo>
                  <a:pt x="530" y="479"/>
                </a:lnTo>
                <a:lnTo>
                  <a:pt x="524" y="480"/>
                </a:lnTo>
                <a:lnTo>
                  <a:pt x="516" y="481"/>
                </a:lnTo>
                <a:lnTo>
                  <a:pt x="513" y="482"/>
                </a:lnTo>
                <a:lnTo>
                  <a:pt x="509" y="483"/>
                </a:lnTo>
                <a:lnTo>
                  <a:pt x="507" y="486"/>
                </a:lnTo>
                <a:lnTo>
                  <a:pt x="505" y="488"/>
                </a:lnTo>
                <a:lnTo>
                  <a:pt x="513" y="487"/>
                </a:lnTo>
                <a:lnTo>
                  <a:pt x="522" y="487"/>
                </a:lnTo>
                <a:lnTo>
                  <a:pt x="520" y="489"/>
                </a:lnTo>
                <a:lnTo>
                  <a:pt x="520" y="491"/>
                </a:lnTo>
                <a:lnTo>
                  <a:pt x="523" y="493"/>
                </a:lnTo>
                <a:lnTo>
                  <a:pt x="526" y="491"/>
                </a:lnTo>
                <a:lnTo>
                  <a:pt x="537" y="488"/>
                </a:lnTo>
                <a:lnTo>
                  <a:pt x="546" y="487"/>
                </a:lnTo>
                <a:lnTo>
                  <a:pt x="556" y="485"/>
                </a:lnTo>
                <a:lnTo>
                  <a:pt x="566" y="485"/>
                </a:lnTo>
                <a:lnTo>
                  <a:pt x="577" y="485"/>
                </a:lnTo>
                <a:lnTo>
                  <a:pt x="588" y="485"/>
                </a:lnTo>
                <a:lnTo>
                  <a:pt x="598" y="486"/>
                </a:lnTo>
                <a:lnTo>
                  <a:pt x="608" y="488"/>
                </a:lnTo>
                <a:lnTo>
                  <a:pt x="613" y="488"/>
                </a:lnTo>
                <a:lnTo>
                  <a:pt x="618" y="489"/>
                </a:lnTo>
                <a:lnTo>
                  <a:pt x="621" y="491"/>
                </a:lnTo>
                <a:lnTo>
                  <a:pt x="624" y="494"/>
                </a:lnTo>
                <a:lnTo>
                  <a:pt x="632" y="493"/>
                </a:lnTo>
                <a:lnTo>
                  <a:pt x="639" y="494"/>
                </a:lnTo>
                <a:lnTo>
                  <a:pt x="640" y="496"/>
                </a:lnTo>
                <a:lnTo>
                  <a:pt x="639" y="497"/>
                </a:lnTo>
                <a:lnTo>
                  <a:pt x="638" y="497"/>
                </a:lnTo>
                <a:lnTo>
                  <a:pt x="637" y="498"/>
                </a:lnTo>
                <a:lnTo>
                  <a:pt x="654" y="499"/>
                </a:lnTo>
                <a:lnTo>
                  <a:pt x="670" y="503"/>
                </a:lnTo>
                <a:lnTo>
                  <a:pt x="664" y="505"/>
                </a:lnTo>
                <a:lnTo>
                  <a:pt x="657" y="505"/>
                </a:lnTo>
                <a:lnTo>
                  <a:pt x="656" y="505"/>
                </a:lnTo>
                <a:lnTo>
                  <a:pt x="655" y="505"/>
                </a:lnTo>
                <a:lnTo>
                  <a:pt x="655" y="507"/>
                </a:lnTo>
                <a:lnTo>
                  <a:pt x="655" y="509"/>
                </a:lnTo>
                <a:lnTo>
                  <a:pt x="649" y="506"/>
                </a:lnTo>
                <a:lnTo>
                  <a:pt x="643" y="504"/>
                </a:lnTo>
                <a:lnTo>
                  <a:pt x="635" y="504"/>
                </a:lnTo>
                <a:lnTo>
                  <a:pt x="627" y="503"/>
                </a:lnTo>
                <a:lnTo>
                  <a:pt x="628" y="501"/>
                </a:lnTo>
                <a:lnTo>
                  <a:pt x="627" y="499"/>
                </a:lnTo>
                <a:lnTo>
                  <a:pt x="624" y="498"/>
                </a:lnTo>
                <a:lnTo>
                  <a:pt x="622" y="497"/>
                </a:lnTo>
                <a:lnTo>
                  <a:pt x="616" y="497"/>
                </a:lnTo>
                <a:lnTo>
                  <a:pt x="612" y="496"/>
                </a:lnTo>
                <a:lnTo>
                  <a:pt x="606" y="496"/>
                </a:lnTo>
                <a:lnTo>
                  <a:pt x="600" y="495"/>
                </a:lnTo>
                <a:lnTo>
                  <a:pt x="595" y="494"/>
                </a:lnTo>
                <a:lnTo>
                  <a:pt x="589" y="495"/>
                </a:lnTo>
                <a:lnTo>
                  <a:pt x="605" y="499"/>
                </a:lnTo>
                <a:lnTo>
                  <a:pt x="621" y="505"/>
                </a:lnTo>
                <a:lnTo>
                  <a:pt x="611" y="505"/>
                </a:lnTo>
                <a:lnTo>
                  <a:pt x="600" y="504"/>
                </a:lnTo>
                <a:lnTo>
                  <a:pt x="590" y="502"/>
                </a:lnTo>
                <a:lnTo>
                  <a:pt x="580" y="501"/>
                </a:lnTo>
                <a:lnTo>
                  <a:pt x="578" y="502"/>
                </a:lnTo>
                <a:lnTo>
                  <a:pt x="577" y="502"/>
                </a:lnTo>
                <a:lnTo>
                  <a:pt x="577" y="501"/>
                </a:lnTo>
                <a:lnTo>
                  <a:pt x="575" y="499"/>
                </a:lnTo>
                <a:lnTo>
                  <a:pt x="573" y="497"/>
                </a:lnTo>
                <a:lnTo>
                  <a:pt x="571" y="497"/>
                </a:lnTo>
                <a:lnTo>
                  <a:pt x="567" y="497"/>
                </a:lnTo>
                <a:lnTo>
                  <a:pt x="564" y="497"/>
                </a:lnTo>
                <a:lnTo>
                  <a:pt x="563" y="497"/>
                </a:lnTo>
                <a:lnTo>
                  <a:pt x="562" y="497"/>
                </a:lnTo>
                <a:lnTo>
                  <a:pt x="561" y="496"/>
                </a:lnTo>
                <a:lnTo>
                  <a:pt x="559" y="494"/>
                </a:lnTo>
                <a:lnTo>
                  <a:pt x="563" y="494"/>
                </a:lnTo>
                <a:lnTo>
                  <a:pt x="564" y="493"/>
                </a:lnTo>
                <a:lnTo>
                  <a:pt x="563" y="490"/>
                </a:lnTo>
                <a:lnTo>
                  <a:pt x="561" y="490"/>
                </a:lnTo>
                <a:lnTo>
                  <a:pt x="554" y="490"/>
                </a:lnTo>
                <a:lnTo>
                  <a:pt x="548" y="491"/>
                </a:lnTo>
                <a:lnTo>
                  <a:pt x="540" y="491"/>
                </a:lnTo>
                <a:lnTo>
                  <a:pt x="532" y="491"/>
                </a:lnTo>
                <a:lnTo>
                  <a:pt x="528" y="493"/>
                </a:lnTo>
                <a:lnTo>
                  <a:pt x="524" y="494"/>
                </a:lnTo>
                <a:lnTo>
                  <a:pt x="521" y="495"/>
                </a:lnTo>
                <a:lnTo>
                  <a:pt x="516" y="497"/>
                </a:lnTo>
                <a:lnTo>
                  <a:pt x="532" y="502"/>
                </a:lnTo>
                <a:lnTo>
                  <a:pt x="548" y="504"/>
                </a:lnTo>
                <a:lnTo>
                  <a:pt x="536" y="504"/>
                </a:lnTo>
                <a:lnTo>
                  <a:pt x="523" y="503"/>
                </a:lnTo>
                <a:lnTo>
                  <a:pt x="519" y="503"/>
                </a:lnTo>
                <a:lnTo>
                  <a:pt x="515" y="503"/>
                </a:lnTo>
                <a:lnTo>
                  <a:pt x="514" y="502"/>
                </a:lnTo>
                <a:lnTo>
                  <a:pt x="513" y="501"/>
                </a:lnTo>
                <a:lnTo>
                  <a:pt x="513" y="499"/>
                </a:lnTo>
                <a:lnTo>
                  <a:pt x="514" y="497"/>
                </a:lnTo>
                <a:lnTo>
                  <a:pt x="509" y="497"/>
                </a:lnTo>
                <a:lnTo>
                  <a:pt x="503" y="497"/>
                </a:lnTo>
                <a:lnTo>
                  <a:pt x="499" y="497"/>
                </a:lnTo>
                <a:lnTo>
                  <a:pt x="496" y="497"/>
                </a:lnTo>
                <a:lnTo>
                  <a:pt x="493" y="498"/>
                </a:lnTo>
                <a:lnTo>
                  <a:pt x="493" y="501"/>
                </a:lnTo>
                <a:lnTo>
                  <a:pt x="496" y="499"/>
                </a:lnTo>
                <a:lnTo>
                  <a:pt x="499" y="499"/>
                </a:lnTo>
                <a:lnTo>
                  <a:pt x="501" y="501"/>
                </a:lnTo>
                <a:lnTo>
                  <a:pt x="504" y="502"/>
                </a:lnTo>
                <a:lnTo>
                  <a:pt x="499" y="503"/>
                </a:lnTo>
                <a:lnTo>
                  <a:pt x="495" y="505"/>
                </a:lnTo>
                <a:lnTo>
                  <a:pt x="506" y="506"/>
                </a:lnTo>
                <a:lnTo>
                  <a:pt x="519" y="507"/>
                </a:lnTo>
                <a:lnTo>
                  <a:pt x="530" y="510"/>
                </a:lnTo>
                <a:lnTo>
                  <a:pt x="542" y="511"/>
                </a:lnTo>
                <a:lnTo>
                  <a:pt x="553" y="512"/>
                </a:lnTo>
                <a:lnTo>
                  <a:pt x="564" y="513"/>
                </a:lnTo>
                <a:lnTo>
                  <a:pt x="569" y="515"/>
                </a:lnTo>
                <a:lnTo>
                  <a:pt x="572" y="516"/>
                </a:lnTo>
                <a:lnTo>
                  <a:pt x="577" y="515"/>
                </a:lnTo>
                <a:lnTo>
                  <a:pt x="580" y="514"/>
                </a:lnTo>
                <a:lnTo>
                  <a:pt x="580" y="516"/>
                </a:lnTo>
                <a:lnTo>
                  <a:pt x="582" y="519"/>
                </a:lnTo>
                <a:lnTo>
                  <a:pt x="588" y="520"/>
                </a:lnTo>
                <a:lnTo>
                  <a:pt x="593" y="521"/>
                </a:lnTo>
                <a:lnTo>
                  <a:pt x="588" y="522"/>
                </a:lnTo>
                <a:lnTo>
                  <a:pt x="582" y="521"/>
                </a:lnTo>
                <a:lnTo>
                  <a:pt x="581" y="522"/>
                </a:lnTo>
                <a:lnTo>
                  <a:pt x="579" y="523"/>
                </a:lnTo>
                <a:lnTo>
                  <a:pt x="578" y="526"/>
                </a:lnTo>
                <a:lnTo>
                  <a:pt x="579" y="528"/>
                </a:lnTo>
                <a:lnTo>
                  <a:pt x="582" y="527"/>
                </a:lnTo>
                <a:lnTo>
                  <a:pt x="586" y="524"/>
                </a:lnTo>
                <a:lnTo>
                  <a:pt x="590" y="526"/>
                </a:lnTo>
                <a:lnTo>
                  <a:pt x="595" y="526"/>
                </a:lnTo>
                <a:lnTo>
                  <a:pt x="596" y="523"/>
                </a:lnTo>
                <a:lnTo>
                  <a:pt x="598" y="521"/>
                </a:lnTo>
                <a:lnTo>
                  <a:pt x="599" y="522"/>
                </a:lnTo>
                <a:lnTo>
                  <a:pt x="602" y="523"/>
                </a:lnTo>
                <a:lnTo>
                  <a:pt x="610" y="526"/>
                </a:lnTo>
                <a:lnTo>
                  <a:pt x="619" y="527"/>
                </a:lnTo>
                <a:lnTo>
                  <a:pt x="626" y="527"/>
                </a:lnTo>
                <a:lnTo>
                  <a:pt x="632" y="528"/>
                </a:lnTo>
                <a:lnTo>
                  <a:pt x="635" y="529"/>
                </a:lnTo>
                <a:lnTo>
                  <a:pt x="636" y="530"/>
                </a:lnTo>
                <a:lnTo>
                  <a:pt x="637" y="531"/>
                </a:lnTo>
                <a:lnTo>
                  <a:pt x="638" y="531"/>
                </a:lnTo>
                <a:lnTo>
                  <a:pt x="640" y="531"/>
                </a:lnTo>
                <a:lnTo>
                  <a:pt x="641" y="531"/>
                </a:lnTo>
                <a:lnTo>
                  <a:pt x="648" y="532"/>
                </a:lnTo>
                <a:lnTo>
                  <a:pt x="653" y="536"/>
                </a:lnTo>
                <a:lnTo>
                  <a:pt x="660" y="537"/>
                </a:lnTo>
                <a:lnTo>
                  <a:pt x="666" y="539"/>
                </a:lnTo>
                <a:lnTo>
                  <a:pt x="682" y="544"/>
                </a:lnTo>
                <a:lnTo>
                  <a:pt x="699" y="549"/>
                </a:lnTo>
                <a:lnTo>
                  <a:pt x="713" y="554"/>
                </a:lnTo>
                <a:lnTo>
                  <a:pt x="728" y="559"/>
                </a:lnTo>
                <a:lnTo>
                  <a:pt x="743" y="563"/>
                </a:lnTo>
                <a:lnTo>
                  <a:pt x="756" y="569"/>
                </a:lnTo>
                <a:lnTo>
                  <a:pt x="753" y="570"/>
                </a:lnTo>
                <a:lnTo>
                  <a:pt x="750" y="570"/>
                </a:lnTo>
                <a:lnTo>
                  <a:pt x="748" y="570"/>
                </a:lnTo>
                <a:lnTo>
                  <a:pt x="747" y="570"/>
                </a:lnTo>
                <a:lnTo>
                  <a:pt x="746" y="571"/>
                </a:lnTo>
                <a:lnTo>
                  <a:pt x="745" y="572"/>
                </a:lnTo>
                <a:lnTo>
                  <a:pt x="744" y="576"/>
                </a:lnTo>
                <a:lnTo>
                  <a:pt x="744" y="579"/>
                </a:lnTo>
                <a:lnTo>
                  <a:pt x="742" y="581"/>
                </a:lnTo>
                <a:lnTo>
                  <a:pt x="738" y="582"/>
                </a:lnTo>
                <a:lnTo>
                  <a:pt x="742" y="582"/>
                </a:lnTo>
                <a:lnTo>
                  <a:pt x="746" y="584"/>
                </a:lnTo>
                <a:lnTo>
                  <a:pt x="750" y="584"/>
                </a:lnTo>
                <a:lnTo>
                  <a:pt x="753" y="581"/>
                </a:lnTo>
                <a:lnTo>
                  <a:pt x="748" y="581"/>
                </a:lnTo>
                <a:lnTo>
                  <a:pt x="746" y="580"/>
                </a:lnTo>
                <a:lnTo>
                  <a:pt x="746" y="579"/>
                </a:lnTo>
                <a:lnTo>
                  <a:pt x="747" y="578"/>
                </a:lnTo>
                <a:lnTo>
                  <a:pt x="748" y="578"/>
                </a:lnTo>
                <a:lnTo>
                  <a:pt x="750" y="578"/>
                </a:lnTo>
                <a:lnTo>
                  <a:pt x="753" y="578"/>
                </a:lnTo>
                <a:lnTo>
                  <a:pt x="756" y="577"/>
                </a:lnTo>
                <a:lnTo>
                  <a:pt x="756" y="574"/>
                </a:lnTo>
                <a:lnTo>
                  <a:pt x="758" y="571"/>
                </a:lnTo>
                <a:lnTo>
                  <a:pt x="761" y="570"/>
                </a:lnTo>
                <a:lnTo>
                  <a:pt x="766" y="571"/>
                </a:lnTo>
                <a:lnTo>
                  <a:pt x="771" y="573"/>
                </a:lnTo>
                <a:lnTo>
                  <a:pt x="775" y="576"/>
                </a:lnTo>
                <a:lnTo>
                  <a:pt x="787" y="579"/>
                </a:lnTo>
                <a:lnTo>
                  <a:pt x="800" y="585"/>
                </a:lnTo>
                <a:lnTo>
                  <a:pt x="812" y="589"/>
                </a:lnTo>
                <a:lnTo>
                  <a:pt x="825" y="594"/>
                </a:lnTo>
                <a:lnTo>
                  <a:pt x="837" y="598"/>
                </a:lnTo>
                <a:lnTo>
                  <a:pt x="850" y="603"/>
                </a:lnTo>
                <a:lnTo>
                  <a:pt x="859" y="607"/>
                </a:lnTo>
                <a:lnTo>
                  <a:pt x="869" y="612"/>
                </a:lnTo>
                <a:lnTo>
                  <a:pt x="874" y="613"/>
                </a:lnTo>
                <a:lnTo>
                  <a:pt x="878" y="613"/>
                </a:lnTo>
                <a:lnTo>
                  <a:pt x="882" y="615"/>
                </a:lnTo>
                <a:lnTo>
                  <a:pt x="885" y="619"/>
                </a:lnTo>
                <a:lnTo>
                  <a:pt x="882" y="619"/>
                </a:lnTo>
                <a:lnTo>
                  <a:pt x="880" y="620"/>
                </a:lnTo>
                <a:lnTo>
                  <a:pt x="878" y="621"/>
                </a:lnTo>
                <a:lnTo>
                  <a:pt x="876" y="623"/>
                </a:lnTo>
                <a:lnTo>
                  <a:pt x="875" y="626"/>
                </a:lnTo>
                <a:lnTo>
                  <a:pt x="874" y="627"/>
                </a:lnTo>
                <a:lnTo>
                  <a:pt x="870" y="627"/>
                </a:lnTo>
                <a:lnTo>
                  <a:pt x="866" y="627"/>
                </a:lnTo>
                <a:lnTo>
                  <a:pt x="867" y="628"/>
                </a:lnTo>
                <a:lnTo>
                  <a:pt x="869" y="630"/>
                </a:lnTo>
                <a:lnTo>
                  <a:pt x="868" y="631"/>
                </a:lnTo>
                <a:lnTo>
                  <a:pt x="869" y="634"/>
                </a:lnTo>
                <a:lnTo>
                  <a:pt x="874" y="634"/>
                </a:lnTo>
                <a:lnTo>
                  <a:pt x="878" y="635"/>
                </a:lnTo>
                <a:lnTo>
                  <a:pt x="884" y="635"/>
                </a:lnTo>
                <a:lnTo>
                  <a:pt x="890" y="637"/>
                </a:lnTo>
                <a:lnTo>
                  <a:pt x="891" y="638"/>
                </a:lnTo>
                <a:lnTo>
                  <a:pt x="892" y="639"/>
                </a:lnTo>
                <a:lnTo>
                  <a:pt x="892" y="639"/>
                </a:lnTo>
                <a:lnTo>
                  <a:pt x="894" y="638"/>
                </a:lnTo>
                <a:lnTo>
                  <a:pt x="899" y="638"/>
                </a:lnTo>
                <a:lnTo>
                  <a:pt x="902" y="638"/>
                </a:lnTo>
                <a:lnTo>
                  <a:pt x="907" y="639"/>
                </a:lnTo>
                <a:lnTo>
                  <a:pt x="911" y="640"/>
                </a:lnTo>
                <a:lnTo>
                  <a:pt x="913" y="637"/>
                </a:lnTo>
                <a:lnTo>
                  <a:pt x="916" y="635"/>
                </a:lnTo>
                <a:lnTo>
                  <a:pt x="919" y="632"/>
                </a:lnTo>
                <a:lnTo>
                  <a:pt x="921" y="632"/>
                </a:lnTo>
                <a:lnTo>
                  <a:pt x="924" y="632"/>
                </a:lnTo>
                <a:lnTo>
                  <a:pt x="925" y="635"/>
                </a:lnTo>
                <a:lnTo>
                  <a:pt x="925" y="636"/>
                </a:lnTo>
                <a:lnTo>
                  <a:pt x="926" y="638"/>
                </a:lnTo>
                <a:lnTo>
                  <a:pt x="927" y="638"/>
                </a:lnTo>
                <a:lnTo>
                  <a:pt x="928" y="637"/>
                </a:lnTo>
                <a:lnTo>
                  <a:pt x="929" y="635"/>
                </a:lnTo>
                <a:lnTo>
                  <a:pt x="929" y="634"/>
                </a:lnTo>
                <a:lnTo>
                  <a:pt x="926" y="630"/>
                </a:lnTo>
                <a:lnTo>
                  <a:pt x="920" y="628"/>
                </a:lnTo>
                <a:lnTo>
                  <a:pt x="924" y="626"/>
                </a:lnTo>
                <a:lnTo>
                  <a:pt x="927" y="626"/>
                </a:lnTo>
                <a:lnTo>
                  <a:pt x="931" y="627"/>
                </a:lnTo>
                <a:lnTo>
                  <a:pt x="934" y="628"/>
                </a:lnTo>
                <a:lnTo>
                  <a:pt x="937" y="631"/>
                </a:lnTo>
                <a:lnTo>
                  <a:pt x="940" y="632"/>
                </a:lnTo>
                <a:lnTo>
                  <a:pt x="942" y="634"/>
                </a:lnTo>
                <a:lnTo>
                  <a:pt x="945" y="634"/>
                </a:lnTo>
                <a:lnTo>
                  <a:pt x="952" y="636"/>
                </a:lnTo>
                <a:lnTo>
                  <a:pt x="959" y="639"/>
                </a:lnTo>
                <a:lnTo>
                  <a:pt x="964" y="644"/>
                </a:lnTo>
                <a:lnTo>
                  <a:pt x="969" y="649"/>
                </a:lnTo>
                <a:lnTo>
                  <a:pt x="964" y="648"/>
                </a:lnTo>
                <a:lnTo>
                  <a:pt x="956" y="647"/>
                </a:lnTo>
                <a:lnTo>
                  <a:pt x="952" y="647"/>
                </a:lnTo>
                <a:lnTo>
                  <a:pt x="948" y="647"/>
                </a:lnTo>
                <a:lnTo>
                  <a:pt x="945" y="648"/>
                </a:lnTo>
                <a:lnTo>
                  <a:pt x="944" y="649"/>
                </a:lnTo>
                <a:lnTo>
                  <a:pt x="943" y="651"/>
                </a:lnTo>
                <a:lnTo>
                  <a:pt x="944" y="653"/>
                </a:lnTo>
                <a:lnTo>
                  <a:pt x="945" y="655"/>
                </a:lnTo>
                <a:lnTo>
                  <a:pt x="946" y="657"/>
                </a:lnTo>
                <a:lnTo>
                  <a:pt x="952" y="661"/>
                </a:lnTo>
                <a:lnTo>
                  <a:pt x="956" y="662"/>
                </a:lnTo>
                <a:lnTo>
                  <a:pt x="954" y="660"/>
                </a:lnTo>
                <a:lnTo>
                  <a:pt x="952" y="657"/>
                </a:lnTo>
                <a:lnTo>
                  <a:pt x="957" y="657"/>
                </a:lnTo>
                <a:lnTo>
                  <a:pt x="961" y="656"/>
                </a:lnTo>
                <a:lnTo>
                  <a:pt x="966" y="655"/>
                </a:lnTo>
                <a:lnTo>
                  <a:pt x="969" y="653"/>
                </a:lnTo>
                <a:lnTo>
                  <a:pt x="972" y="651"/>
                </a:lnTo>
                <a:lnTo>
                  <a:pt x="973" y="647"/>
                </a:lnTo>
                <a:lnTo>
                  <a:pt x="975" y="645"/>
                </a:lnTo>
                <a:lnTo>
                  <a:pt x="979" y="644"/>
                </a:lnTo>
                <a:lnTo>
                  <a:pt x="989" y="644"/>
                </a:lnTo>
                <a:lnTo>
                  <a:pt x="1003" y="644"/>
                </a:lnTo>
                <a:lnTo>
                  <a:pt x="1010" y="645"/>
                </a:lnTo>
                <a:lnTo>
                  <a:pt x="1016" y="647"/>
                </a:lnTo>
                <a:lnTo>
                  <a:pt x="1018" y="648"/>
                </a:lnTo>
                <a:lnTo>
                  <a:pt x="1019" y="649"/>
                </a:lnTo>
                <a:lnTo>
                  <a:pt x="1019" y="651"/>
                </a:lnTo>
                <a:lnTo>
                  <a:pt x="1018" y="653"/>
                </a:lnTo>
                <a:lnTo>
                  <a:pt x="1022" y="653"/>
                </a:lnTo>
                <a:lnTo>
                  <a:pt x="1024" y="653"/>
                </a:lnTo>
                <a:lnTo>
                  <a:pt x="1026" y="654"/>
                </a:lnTo>
                <a:lnTo>
                  <a:pt x="1028" y="657"/>
                </a:lnTo>
                <a:lnTo>
                  <a:pt x="1020" y="657"/>
                </a:lnTo>
                <a:lnTo>
                  <a:pt x="1012" y="659"/>
                </a:lnTo>
                <a:lnTo>
                  <a:pt x="1009" y="660"/>
                </a:lnTo>
                <a:lnTo>
                  <a:pt x="1007" y="660"/>
                </a:lnTo>
                <a:lnTo>
                  <a:pt x="1005" y="659"/>
                </a:lnTo>
                <a:lnTo>
                  <a:pt x="1002" y="657"/>
                </a:lnTo>
                <a:lnTo>
                  <a:pt x="1000" y="659"/>
                </a:lnTo>
                <a:lnTo>
                  <a:pt x="997" y="661"/>
                </a:lnTo>
                <a:lnTo>
                  <a:pt x="994" y="661"/>
                </a:lnTo>
                <a:lnTo>
                  <a:pt x="990" y="660"/>
                </a:lnTo>
                <a:lnTo>
                  <a:pt x="986" y="659"/>
                </a:lnTo>
                <a:lnTo>
                  <a:pt x="983" y="657"/>
                </a:lnTo>
                <a:lnTo>
                  <a:pt x="978" y="657"/>
                </a:lnTo>
                <a:lnTo>
                  <a:pt x="975" y="657"/>
                </a:lnTo>
                <a:lnTo>
                  <a:pt x="987" y="662"/>
                </a:lnTo>
                <a:lnTo>
                  <a:pt x="1000" y="664"/>
                </a:lnTo>
                <a:lnTo>
                  <a:pt x="1006" y="665"/>
                </a:lnTo>
                <a:lnTo>
                  <a:pt x="1010" y="667"/>
                </a:lnTo>
                <a:lnTo>
                  <a:pt x="1015" y="669"/>
                </a:lnTo>
                <a:lnTo>
                  <a:pt x="1018" y="670"/>
                </a:lnTo>
                <a:lnTo>
                  <a:pt x="1032" y="672"/>
                </a:lnTo>
                <a:lnTo>
                  <a:pt x="1044" y="671"/>
                </a:lnTo>
                <a:lnTo>
                  <a:pt x="1036" y="668"/>
                </a:lnTo>
                <a:lnTo>
                  <a:pt x="1026" y="664"/>
                </a:lnTo>
                <a:lnTo>
                  <a:pt x="1030" y="664"/>
                </a:lnTo>
                <a:lnTo>
                  <a:pt x="1033" y="663"/>
                </a:lnTo>
                <a:lnTo>
                  <a:pt x="1036" y="661"/>
                </a:lnTo>
                <a:lnTo>
                  <a:pt x="1040" y="659"/>
                </a:lnTo>
                <a:lnTo>
                  <a:pt x="1043" y="656"/>
                </a:lnTo>
                <a:lnTo>
                  <a:pt x="1047" y="656"/>
                </a:lnTo>
                <a:lnTo>
                  <a:pt x="1050" y="656"/>
                </a:lnTo>
                <a:lnTo>
                  <a:pt x="1052" y="660"/>
                </a:lnTo>
                <a:lnTo>
                  <a:pt x="1052" y="664"/>
                </a:lnTo>
                <a:lnTo>
                  <a:pt x="1050" y="669"/>
                </a:lnTo>
                <a:lnTo>
                  <a:pt x="1050" y="671"/>
                </a:lnTo>
                <a:lnTo>
                  <a:pt x="1050" y="673"/>
                </a:lnTo>
                <a:lnTo>
                  <a:pt x="1052" y="674"/>
                </a:lnTo>
                <a:lnTo>
                  <a:pt x="1056" y="674"/>
                </a:lnTo>
                <a:lnTo>
                  <a:pt x="1052" y="676"/>
                </a:lnTo>
                <a:lnTo>
                  <a:pt x="1045" y="677"/>
                </a:lnTo>
                <a:lnTo>
                  <a:pt x="1042" y="678"/>
                </a:lnTo>
                <a:lnTo>
                  <a:pt x="1041" y="679"/>
                </a:lnTo>
                <a:lnTo>
                  <a:pt x="1040" y="680"/>
                </a:lnTo>
                <a:lnTo>
                  <a:pt x="1041" y="682"/>
                </a:lnTo>
                <a:lnTo>
                  <a:pt x="1042" y="684"/>
                </a:lnTo>
                <a:lnTo>
                  <a:pt x="1044" y="684"/>
                </a:lnTo>
                <a:lnTo>
                  <a:pt x="1047" y="684"/>
                </a:lnTo>
                <a:lnTo>
                  <a:pt x="1049" y="684"/>
                </a:lnTo>
                <a:lnTo>
                  <a:pt x="1052" y="681"/>
                </a:lnTo>
                <a:lnTo>
                  <a:pt x="1056" y="680"/>
                </a:lnTo>
                <a:lnTo>
                  <a:pt x="1059" y="678"/>
                </a:lnTo>
                <a:lnTo>
                  <a:pt x="1061" y="677"/>
                </a:lnTo>
                <a:lnTo>
                  <a:pt x="1065" y="677"/>
                </a:lnTo>
                <a:lnTo>
                  <a:pt x="1068" y="677"/>
                </a:lnTo>
                <a:lnTo>
                  <a:pt x="1074" y="678"/>
                </a:lnTo>
                <a:lnTo>
                  <a:pt x="1081" y="679"/>
                </a:lnTo>
                <a:lnTo>
                  <a:pt x="1083" y="679"/>
                </a:lnTo>
                <a:lnTo>
                  <a:pt x="1084" y="679"/>
                </a:lnTo>
                <a:lnTo>
                  <a:pt x="1086" y="679"/>
                </a:lnTo>
                <a:lnTo>
                  <a:pt x="1088" y="677"/>
                </a:lnTo>
                <a:lnTo>
                  <a:pt x="1089" y="676"/>
                </a:lnTo>
                <a:lnTo>
                  <a:pt x="1090" y="673"/>
                </a:lnTo>
                <a:lnTo>
                  <a:pt x="1091" y="672"/>
                </a:lnTo>
                <a:lnTo>
                  <a:pt x="1092" y="671"/>
                </a:lnTo>
                <a:lnTo>
                  <a:pt x="1086" y="669"/>
                </a:lnTo>
                <a:lnTo>
                  <a:pt x="1082" y="669"/>
                </a:lnTo>
                <a:lnTo>
                  <a:pt x="1083" y="672"/>
                </a:lnTo>
                <a:lnTo>
                  <a:pt x="1082" y="676"/>
                </a:lnTo>
                <a:lnTo>
                  <a:pt x="1081" y="676"/>
                </a:lnTo>
                <a:lnTo>
                  <a:pt x="1080" y="676"/>
                </a:lnTo>
                <a:lnTo>
                  <a:pt x="1080" y="673"/>
                </a:lnTo>
                <a:lnTo>
                  <a:pt x="1078" y="672"/>
                </a:lnTo>
                <a:lnTo>
                  <a:pt x="1074" y="672"/>
                </a:lnTo>
                <a:lnTo>
                  <a:pt x="1068" y="671"/>
                </a:lnTo>
                <a:lnTo>
                  <a:pt x="1073" y="669"/>
                </a:lnTo>
                <a:lnTo>
                  <a:pt x="1077" y="667"/>
                </a:lnTo>
                <a:lnTo>
                  <a:pt x="1082" y="665"/>
                </a:lnTo>
                <a:lnTo>
                  <a:pt x="1086" y="664"/>
                </a:lnTo>
                <a:lnTo>
                  <a:pt x="1091" y="665"/>
                </a:lnTo>
                <a:lnTo>
                  <a:pt x="1094" y="668"/>
                </a:lnTo>
                <a:lnTo>
                  <a:pt x="1099" y="668"/>
                </a:lnTo>
                <a:lnTo>
                  <a:pt x="1104" y="665"/>
                </a:lnTo>
                <a:lnTo>
                  <a:pt x="1107" y="664"/>
                </a:lnTo>
                <a:lnTo>
                  <a:pt x="1110" y="664"/>
                </a:lnTo>
                <a:lnTo>
                  <a:pt x="1115" y="664"/>
                </a:lnTo>
                <a:lnTo>
                  <a:pt x="1118" y="665"/>
                </a:lnTo>
                <a:lnTo>
                  <a:pt x="1123" y="667"/>
                </a:lnTo>
                <a:lnTo>
                  <a:pt x="1126" y="669"/>
                </a:lnTo>
                <a:lnTo>
                  <a:pt x="1132" y="669"/>
                </a:lnTo>
                <a:lnTo>
                  <a:pt x="1138" y="669"/>
                </a:lnTo>
                <a:lnTo>
                  <a:pt x="1162" y="669"/>
                </a:lnTo>
                <a:lnTo>
                  <a:pt x="1185" y="671"/>
                </a:lnTo>
                <a:lnTo>
                  <a:pt x="1209" y="674"/>
                </a:lnTo>
                <a:lnTo>
                  <a:pt x="1232" y="677"/>
                </a:lnTo>
                <a:lnTo>
                  <a:pt x="1256" y="679"/>
                </a:lnTo>
                <a:lnTo>
                  <a:pt x="1281" y="680"/>
                </a:lnTo>
                <a:lnTo>
                  <a:pt x="1305" y="680"/>
                </a:lnTo>
                <a:lnTo>
                  <a:pt x="1329" y="680"/>
                </a:lnTo>
                <a:lnTo>
                  <a:pt x="1340" y="679"/>
                </a:lnTo>
                <a:lnTo>
                  <a:pt x="1352" y="678"/>
                </a:lnTo>
                <a:lnTo>
                  <a:pt x="1363" y="676"/>
                </a:lnTo>
                <a:lnTo>
                  <a:pt x="1374" y="673"/>
                </a:lnTo>
                <a:lnTo>
                  <a:pt x="1387" y="671"/>
                </a:lnTo>
                <a:lnTo>
                  <a:pt x="1398" y="668"/>
                </a:lnTo>
                <a:lnTo>
                  <a:pt x="1407" y="664"/>
                </a:lnTo>
                <a:lnTo>
                  <a:pt x="1417" y="661"/>
                </a:lnTo>
                <a:lnTo>
                  <a:pt x="1417" y="662"/>
                </a:lnTo>
                <a:lnTo>
                  <a:pt x="1414" y="664"/>
                </a:lnTo>
                <a:lnTo>
                  <a:pt x="1413" y="665"/>
                </a:lnTo>
                <a:lnTo>
                  <a:pt x="1410" y="667"/>
                </a:lnTo>
                <a:lnTo>
                  <a:pt x="1405" y="669"/>
                </a:lnTo>
                <a:lnTo>
                  <a:pt x="1402" y="672"/>
                </a:lnTo>
                <a:lnTo>
                  <a:pt x="1398" y="676"/>
                </a:lnTo>
                <a:lnTo>
                  <a:pt x="1394" y="677"/>
                </a:lnTo>
                <a:lnTo>
                  <a:pt x="1394" y="674"/>
                </a:lnTo>
                <a:lnTo>
                  <a:pt x="1391" y="672"/>
                </a:lnTo>
                <a:lnTo>
                  <a:pt x="1388" y="676"/>
                </a:lnTo>
                <a:lnTo>
                  <a:pt x="1384" y="680"/>
                </a:lnTo>
                <a:lnTo>
                  <a:pt x="1381" y="682"/>
                </a:lnTo>
                <a:lnTo>
                  <a:pt x="1380" y="684"/>
                </a:lnTo>
                <a:lnTo>
                  <a:pt x="1378" y="682"/>
                </a:lnTo>
                <a:lnTo>
                  <a:pt x="1376" y="681"/>
                </a:lnTo>
                <a:lnTo>
                  <a:pt x="1373" y="680"/>
                </a:lnTo>
                <a:lnTo>
                  <a:pt x="1373" y="680"/>
                </a:lnTo>
                <a:lnTo>
                  <a:pt x="1372" y="681"/>
                </a:lnTo>
                <a:lnTo>
                  <a:pt x="1371" y="682"/>
                </a:lnTo>
                <a:lnTo>
                  <a:pt x="1369" y="684"/>
                </a:lnTo>
                <a:lnTo>
                  <a:pt x="1368" y="685"/>
                </a:lnTo>
                <a:lnTo>
                  <a:pt x="1365" y="686"/>
                </a:lnTo>
                <a:lnTo>
                  <a:pt x="1363" y="685"/>
                </a:lnTo>
                <a:lnTo>
                  <a:pt x="1361" y="684"/>
                </a:lnTo>
                <a:lnTo>
                  <a:pt x="1360" y="684"/>
                </a:lnTo>
                <a:lnTo>
                  <a:pt x="1360" y="685"/>
                </a:lnTo>
                <a:lnTo>
                  <a:pt x="1358" y="687"/>
                </a:lnTo>
                <a:lnTo>
                  <a:pt x="1356" y="689"/>
                </a:lnTo>
                <a:lnTo>
                  <a:pt x="1355" y="688"/>
                </a:lnTo>
                <a:lnTo>
                  <a:pt x="1355" y="687"/>
                </a:lnTo>
                <a:lnTo>
                  <a:pt x="1353" y="686"/>
                </a:lnTo>
                <a:lnTo>
                  <a:pt x="1345" y="689"/>
                </a:lnTo>
                <a:lnTo>
                  <a:pt x="1338" y="693"/>
                </a:lnTo>
                <a:lnTo>
                  <a:pt x="1336" y="690"/>
                </a:lnTo>
                <a:lnTo>
                  <a:pt x="1333" y="687"/>
                </a:lnTo>
                <a:lnTo>
                  <a:pt x="1332" y="687"/>
                </a:lnTo>
                <a:lnTo>
                  <a:pt x="1331" y="687"/>
                </a:lnTo>
                <a:lnTo>
                  <a:pt x="1331" y="688"/>
                </a:lnTo>
                <a:lnTo>
                  <a:pt x="1330" y="689"/>
                </a:lnTo>
                <a:lnTo>
                  <a:pt x="1331" y="693"/>
                </a:lnTo>
                <a:lnTo>
                  <a:pt x="1331" y="695"/>
                </a:lnTo>
                <a:lnTo>
                  <a:pt x="1329" y="694"/>
                </a:lnTo>
                <a:lnTo>
                  <a:pt x="1327" y="693"/>
                </a:lnTo>
                <a:lnTo>
                  <a:pt x="1324" y="694"/>
                </a:lnTo>
                <a:lnTo>
                  <a:pt x="1323" y="695"/>
                </a:lnTo>
                <a:lnTo>
                  <a:pt x="1317" y="695"/>
                </a:lnTo>
                <a:lnTo>
                  <a:pt x="1312" y="693"/>
                </a:lnTo>
                <a:lnTo>
                  <a:pt x="1306" y="694"/>
                </a:lnTo>
                <a:lnTo>
                  <a:pt x="1300" y="695"/>
                </a:lnTo>
                <a:lnTo>
                  <a:pt x="1300" y="693"/>
                </a:lnTo>
                <a:lnTo>
                  <a:pt x="1299" y="690"/>
                </a:lnTo>
                <a:lnTo>
                  <a:pt x="1297" y="692"/>
                </a:lnTo>
                <a:lnTo>
                  <a:pt x="1294" y="693"/>
                </a:lnTo>
                <a:lnTo>
                  <a:pt x="1290" y="694"/>
                </a:lnTo>
                <a:lnTo>
                  <a:pt x="1287" y="693"/>
                </a:lnTo>
                <a:lnTo>
                  <a:pt x="1284" y="693"/>
                </a:lnTo>
                <a:lnTo>
                  <a:pt x="1281" y="693"/>
                </a:lnTo>
                <a:lnTo>
                  <a:pt x="1280" y="690"/>
                </a:lnTo>
                <a:lnTo>
                  <a:pt x="1278" y="689"/>
                </a:lnTo>
                <a:lnTo>
                  <a:pt x="1273" y="692"/>
                </a:lnTo>
                <a:lnTo>
                  <a:pt x="1270" y="693"/>
                </a:lnTo>
                <a:lnTo>
                  <a:pt x="1267" y="693"/>
                </a:lnTo>
                <a:lnTo>
                  <a:pt x="1267" y="693"/>
                </a:lnTo>
                <a:lnTo>
                  <a:pt x="1267" y="692"/>
                </a:lnTo>
                <a:lnTo>
                  <a:pt x="1269" y="690"/>
                </a:lnTo>
                <a:lnTo>
                  <a:pt x="1272" y="688"/>
                </a:lnTo>
                <a:lnTo>
                  <a:pt x="1274" y="687"/>
                </a:lnTo>
                <a:lnTo>
                  <a:pt x="1271" y="685"/>
                </a:lnTo>
                <a:lnTo>
                  <a:pt x="1269" y="685"/>
                </a:lnTo>
                <a:lnTo>
                  <a:pt x="1266" y="686"/>
                </a:lnTo>
                <a:lnTo>
                  <a:pt x="1264" y="689"/>
                </a:lnTo>
                <a:lnTo>
                  <a:pt x="1263" y="690"/>
                </a:lnTo>
                <a:lnTo>
                  <a:pt x="1263" y="692"/>
                </a:lnTo>
                <a:lnTo>
                  <a:pt x="1261" y="693"/>
                </a:lnTo>
                <a:lnTo>
                  <a:pt x="1258" y="693"/>
                </a:lnTo>
                <a:lnTo>
                  <a:pt x="1251" y="692"/>
                </a:lnTo>
                <a:lnTo>
                  <a:pt x="1245" y="690"/>
                </a:lnTo>
                <a:lnTo>
                  <a:pt x="1251" y="689"/>
                </a:lnTo>
                <a:lnTo>
                  <a:pt x="1257" y="687"/>
                </a:lnTo>
                <a:lnTo>
                  <a:pt x="1257" y="686"/>
                </a:lnTo>
                <a:lnTo>
                  <a:pt x="1256" y="685"/>
                </a:lnTo>
                <a:lnTo>
                  <a:pt x="1255" y="685"/>
                </a:lnTo>
                <a:lnTo>
                  <a:pt x="1253" y="685"/>
                </a:lnTo>
                <a:lnTo>
                  <a:pt x="1249" y="686"/>
                </a:lnTo>
                <a:lnTo>
                  <a:pt x="1246" y="686"/>
                </a:lnTo>
                <a:lnTo>
                  <a:pt x="1241" y="687"/>
                </a:lnTo>
                <a:lnTo>
                  <a:pt x="1238" y="687"/>
                </a:lnTo>
                <a:lnTo>
                  <a:pt x="1237" y="686"/>
                </a:lnTo>
                <a:lnTo>
                  <a:pt x="1237" y="684"/>
                </a:lnTo>
                <a:lnTo>
                  <a:pt x="1236" y="681"/>
                </a:lnTo>
                <a:lnTo>
                  <a:pt x="1232" y="680"/>
                </a:lnTo>
                <a:lnTo>
                  <a:pt x="1230" y="680"/>
                </a:lnTo>
                <a:lnTo>
                  <a:pt x="1228" y="681"/>
                </a:lnTo>
                <a:lnTo>
                  <a:pt x="1225" y="684"/>
                </a:lnTo>
                <a:lnTo>
                  <a:pt x="1222" y="686"/>
                </a:lnTo>
                <a:lnTo>
                  <a:pt x="1217" y="688"/>
                </a:lnTo>
                <a:lnTo>
                  <a:pt x="1214" y="687"/>
                </a:lnTo>
                <a:lnTo>
                  <a:pt x="1214" y="686"/>
                </a:lnTo>
                <a:lnTo>
                  <a:pt x="1213" y="684"/>
                </a:lnTo>
                <a:lnTo>
                  <a:pt x="1209" y="685"/>
                </a:lnTo>
                <a:lnTo>
                  <a:pt x="1206" y="687"/>
                </a:lnTo>
                <a:lnTo>
                  <a:pt x="1198" y="687"/>
                </a:lnTo>
                <a:lnTo>
                  <a:pt x="1190" y="686"/>
                </a:lnTo>
                <a:lnTo>
                  <a:pt x="1187" y="686"/>
                </a:lnTo>
                <a:lnTo>
                  <a:pt x="1183" y="687"/>
                </a:lnTo>
                <a:lnTo>
                  <a:pt x="1182" y="687"/>
                </a:lnTo>
                <a:lnTo>
                  <a:pt x="1181" y="687"/>
                </a:lnTo>
                <a:lnTo>
                  <a:pt x="1180" y="686"/>
                </a:lnTo>
                <a:lnTo>
                  <a:pt x="1179" y="684"/>
                </a:lnTo>
                <a:lnTo>
                  <a:pt x="1183" y="684"/>
                </a:lnTo>
                <a:lnTo>
                  <a:pt x="1187" y="681"/>
                </a:lnTo>
                <a:lnTo>
                  <a:pt x="1188" y="680"/>
                </a:lnTo>
                <a:lnTo>
                  <a:pt x="1189" y="678"/>
                </a:lnTo>
                <a:lnTo>
                  <a:pt x="1188" y="677"/>
                </a:lnTo>
                <a:lnTo>
                  <a:pt x="1187" y="676"/>
                </a:lnTo>
                <a:lnTo>
                  <a:pt x="1183" y="677"/>
                </a:lnTo>
                <a:lnTo>
                  <a:pt x="1180" y="679"/>
                </a:lnTo>
                <a:lnTo>
                  <a:pt x="1175" y="678"/>
                </a:lnTo>
                <a:lnTo>
                  <a:pt x="1171" y="678"/>
                </a:lnTo>
                <a:lnTo>
                  <a:pt x="1173" y="681"/>
                </a:lnTo>
                <a:lnTo>
                  <a:pt x="1175" y="685"/>
                </a:lnTo>
                <a:lnTo>
                  <a:pt x="1173" y="685"/>
                </a:lnTo>
                <a:lnTo>
                  <a:pt x="1171" y="685"/>
                </a:lnTo>
                <a:lnTo>
                  <a:pt x="1168" y="682"/>
                </a:lnTo>
                <a:lnTo>
                  <a:pt x="1167" y="681"/>
                </a:lnTo>
                <a:lnTo>
                  <a:pt x="1166" y="679"/>
                </a:lnTo>
                <a:lnTo>
                  <a:pt x="1166" y="677"/>
                </a:lnTo>
                <a:lnTo>
                  <a:pt x="1167" y="674"/>
                </a:lnTo>
                <a:lnTo>
                  <a:pt x="1167" y="672"/>
                </a:lnTo>
                <a:lnTo>
                  <a:pt x="1156" y="672"/>
                </a:lnTo>
                <a:lnTo>
                  <a:pt x="1144" y="672"/>
                </a:lnTo>
                <a:lnTo>
                  <a:pt x="1142" y="673"/>
                </a:lnTo>
                <a:lnTo>
                  <a:pt x="1140" y="677"/>
                </a:lnTo>
                <a:lnTo>
                  <a:pt x="1141" y="678"/>
                </a:lnTo>
                <a:lnTo>
                  <a:pt x="1143" y="680"/>
                </a:lnTo>
                <a:lnTo>
                  <a:pt x="1135" y="680"/>
                </a:lnTo>
                <a:lnTo>
                  <a:pt x="1127" y="680"/>
                </a:lnTo>
                <a:lnTo>
                  <a:pt x="1126" y="679"/>
                </a:lnTo>
                <a:lnTo>
                  <a:pt x="1125" y="677"/>
                </a:lnTo>
                <a:lnTo>
                  <a:pt x="1126" y="676"/>
                </a:lnTo>
                <a:lnTo>
                  <a:pt x="1127" y="676"/>
                </a:lnTo>
                <a:lnTo>
                  <a:pt x="1127" y="673"/>
                </a:lnTo>
                <a:lnTo>
                  <a:pt x="1126" y="672"/>
                </a:lnTo>
                <a:lnTo>
                  <a:pt x="1124" y="672"/>
                </a:lnTo>
                <a:lnTo>
                  <a:pt x="1122" y="672"/>
                </a:lnTo>
                <a:lnTo>
                  <a:pt x="1116" y="672"/>
                </a:lnTo>
                <a:lnTo>
                  <a:pt x="1111" y="672"/>
                </a:lnTo>
                <a:lnTo>
                  <a:pt x="1107" y="671"/>
                </a:lnTo>
                <a:lnTo>
                  <a:pt x="1104" y="669"/>
                </a:lnTo>
                <a:lnTo>
                  <a:pt x="1101" y="669"/>
                </a:lnTo>
                <a:lnTo>
                  <a:pt x="1100" y="670"/>
                </a:lnTo>
                <a:lnTo>
                  <a:pt x="1099" y="671"/>
                </a:lnTo>
                <a:lnTo>
                  <a:pt x="1099" y="674"/>
                </a:lnTo>
                <a:lnTo>
                  <a:pt x="1100" y="677"/>
                </a:lnTo>
                <a:lnTo>
                  <a:pt x="1100" y="677"/>
                </a:lnTo>
                <a:lnTo>
                  <a:pt x="1100" y="677"/>
                </a:lnTo>
                <a:lnTo>
                  <a:pt x="1102" y="678"/>
                </a:lnTo>
                <a:lnTo>
                  <a:pt x="1109" y="677"/>
                </a:lnTo>
                <a:lnTo>
                  <a:pt x="1116" y="677"/>
                </a:lnTo>
                <a:lnTo>
                  <a:pt x="1113" y="680"/>
                </a:lnTo>
                <a:lnTo>
                  <a:pt x="1108" y="684"/>
                </a:lnTo>
                <a:lnTo>
                  <a:pt x="1116" y="681"/>
                </a:lnTo>
                <a:lnTo>
                  <a:pt x="1124" y="682"/>
                </a:lnTo>
                <a:lnTo>
                  <a:pt x="1131" y="682"/>
                </a:lnTo>
                <a:lnTo>
                  <a:pt x="1138" y="684"/>
                </a:lnTo>
                <a:lnTo>
                  <a:pt x="1141" y="687"/>
                </a:lnTo>
                <a:lnTo>
                  <a:pt x="1143" y="690"/>
                </a:lnTo>
                <a:lnTo>
                  <a:pt x="1144" y="690"/>
                </a:lnTo>
                <a:lnTo>
                  <a:pt x="1146" y="692"/>
                </a:lnTo>
                <a:lnTo>
                  <a:pt x="1144" y="694"/>
                </a:lnTo>
                <a:lnTo>
                  <a:pt x="1143" y="696"/>
                </a:lnTo>
                <a:lnTo>
                  <a:pt x="1146" y="695"/>
                </a:lnTo>
                <a:lnTo>
                  <a:pt x="1148" y="694"/>
                </a:lnTo>
                <a:lnTo>
                  <a:pt x="1149" y="694"/>
                </a:lnTo>
                <a:lnTo>
                  <a:pt x="1151" y="695"/>
                </a:lnTo>
                <a:lnTo>
                  <a:pt x="1155" y="696"/>
                </a:lnTo>
                <a:lnTo>
                  <a:pt x="1158" y="696"/>
                </a:lnTo>
                <a:lnTo>
                  <a:pt x="1163" y="696"/>
                </a:lnTo>
                <a:lnTo>
                  <a:pt x="1166" y="694"/>
                </a:lnTo>
                <a:lnTo>
                  <a:pt x="1173" y="694"/>
                </a:lnTo>
                <a:lnTo>
                  <a:pt x="1180" y="692"/>
                </a:lnTo>
                <a:lnTo>
                  <a:pt x="1173" y="692"/>
                </a:lnTo>
                <a:lnTo>
                  <a:pt x="1167" y="690"/>
                </a:lnTo>
                <a:lnTo>
                  <a:pt x="1171" y="689"/>
                </a:lnTo>
                <a:lnTo>
                  <a:pt x="1175" y="688"/>
                </a:lnTo>
                <a:lnTo>
                  <a:pt x="1179" y="689"/>
                </a:lnTo>
                <a:lnTo>
                  <a:pt x="1183" y="690"/>
                </a:lnTo>
                <a:lnTo>
                  <a:pt x="1184" y="694"/>
                </a:lnTo>
                <a:lnTo>
                  <a:pt x="1188" y="696"/>
                </a:lnTo>
                <a:lnTo>
                  <a:pt x="1191" y="695"/>
                </a:lnTo>
                <a:lnTo>
                  <a:pt x="1196" y="694"/>
                </a:lnTo>
                <a:lnTo>
                  <a:pt x="1205" y="693"/>
                </a:lnTo>
                <a:lnTo>
                  <a:pt x="1215" y="694"/>
                </a:lnTo>
                <a:lnTo>
                  <a:pt x="1220" y="696"/>
                </a:lnTo>
                <a:lnTo>
                  <a:pt x="1225" y="697"/>
                </a:lnTo>
                <a:lnTo>
                  <a:pt x="1230" y="697"/>
                </a:lnTo>
                <a:lnTo>
                  <a:pt x="1234" y="696"/>
                </a:lnTo>
                <a:lnTo>
                  <a:pt x="1246" y="696"/>
                </a:lnTo>
                <a:lnTo>
                  <a:pt x="1257" y="696"/>
                </a:lnTo>
                <a:lnTo>
                  <a:pt x="1259" y="696"/>
                </a:lnTo>
                <a:lnTo>
                  <a:pt x="1262" y="697"/>
                </a:lnTo>
                <a:lnTo>
                  <a:pt x="1263" y="697"/>
                </a:lnTo>
                <a:lnTo>
                  <a:pt x="1263" y="698"/>
                </a:lnTo>
                <a:lnTo>
                  <a:pt x="1263" y="700"/>
                </a:lnTo>
                <a:lnTo>
                  <a:pt x="1262" y="702"/>
                </a:lnTo>
                <a:lnTo>
                  <a:pt x="1258" y="703"/>
                </a:lnTo>
                <a:lnTo>
                  <a:pt x="1254" y="703"/>
                </a:lnTo>
                <a:lnTo>
                  <a:pt x="1248" y="703"/>
                </a:lnTo>
                <a:lnTo>
                  <a:pt x="1244" y="703"/>
                </a:lnTo>
                <a:lnTo>
                  <a:pt x="1232" y="702"/>
                </a:lnTo>
                <a:lnTo>
                  <a:pt x="1220" y="703"/>
                </a:lnTo>
                <a:lnTo>
                  <a:pt x="1231" y="704"/>
                </a:lnTo>
                <a:lnTo>
                  <a:pt x="1241" y="705"/>
                </a:lnTo>
                <a:lnTo>
                  <a:pt x="1245" y="706"/>
                </a:lnTo>
                <a:lnTo>
                  <a:pt x="1247" y="709"/>
                </a:lnTo>
                <a:lnTo>
                  <a:pt x="1249" y="710"/>
                </a:lnTo>
                <a:lnTo>
                  <a:pt x="1251" y="709"/>
                </a:lnTo>
                <a:lnTo>
                  <a:pt x="1254" y="707"/>
                </a:lnTo>
                <a:lnTo>
                  <a:pt x="1257" y="706"/>
                </a:lnTo>
                <a:lnTo>
                  <a:pt x="1261" y="707"/>
                </a:lnTo>
                <a:lnTo>
                  <a:pt x="1264" y="709"/>
                </a:lnTo>
                <a:lnTo>
                  <a:pt x="1269" y="709"/>
                </a:lnTo>
                <a:lnTo>
                  <a:pt x="1271" y="709"/>
                </a:lnTo>
                <a:lnTo>
                  <a:pt x="1274" y="710"/>
                </a:lnTo>
                <a:lnTo>
                  <a:pt x="1277" y="711"/>
                </a:lnTo>
                <a:lnTo>
                  <a:pt x="1287" y="710"/>
                </a:lnTo>
                <a:lnTo>
                  <a:pt x="1297" y="707"/>
                </a:lnTo>
                <a:lnTo>
                  <a:pt x="1308" y="706"/>
                </a:lnTo>
                <a:lnTo>
                  <a:pt x="1321" y="706"/>
                </a:lnTo>
                <a:lnTo>
                  <a:pt x="1331" y="707"/>
                </a:lnTo>
                <a:lnTo>
                  <a:pt x="1343" y="707"/>
                </a:lnTo>
                <a:lnTo>
                  <a:pt x="1353" y="705"/>
                </a:lnTo>
                <a:lnTo>
                  <a:pt x="1363" y="702"/>
                </a:lnTo>
                <a:lnTo>
                  <a:pt x="1357" y="700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7" y="694"/>
                </a:lnTo>
                <a:lnTo>
                  <a:pt x="1361" y="693"/>
                </a:lnTo>
                <a:lnTo>
                  <a:pt x="1363" y="694"/>
                </a:lnTo>
                <a:lnTo>
                  <a:pt x="1365" y="694"/>
                </a:lnTo>
                <a:lnTo>
                  <a:pt x="1368" y="695"/>
                </a:lnTo>
                <a:lnTo>
                  <a:pt x="1369" y="695"/>
                </a:lnTo>
                <a:lnTo>
                  <a:pt x="1369" y="694"/>
                </a:lnTo>
                <a:lnTo>
                  <a:pt x="1369" y="693"/>
                </a:lnTo>
                <a:lnTo>
                  <a:pt x="1373" y="690"/>
                </a:lnTo>
                <a:lnTo>
                  <a:pt x="1378" y="688"/>
                </a:lnTo>
                <a:lnTo>
                  <a:pt x="1388" y="685"/>
                </a:lnTo>
                <a:lnTo>
                  <a:pt x="1398" y="680"/>
                </a:lnTo>
                <a:lnTo>
                  <a:pt x="1407" y="676"/>
                </a:lnTo>
                <a:lnTo>
                  <a:pt x="1418" y="671"/>
                </a:lnTo>
                <a:lnTo>
                  <a:pt x="1420" y="671"/>
                </a:lnTo>
                <a:lnTo>
                  <a:pt x="1421" y="671"/>
                </a:lnTo>
                <a:lnTo>
                  <a:pt x="1420" y="672"/>
                </a:lnTo>
                <a:lnTo>
                  <a:pt x="1421" y="673"/>
                </a:lnTo>
                <a:lnTo>
                  <a:pt x="1421" y="674"/>
                </a:lnTo>
                <a:lnTo>
                  <a:pt x="1422" y="676"/>
                </a:lnTo>
                <a:lnTo>
                  <a:pt x="1422" y="677"/>
                </a:lnTo>
                <a:lnTo>
                  <a:pt x="1424" y="677"/>
                </a:lnTo>
                <a:lnTo>
                  <a:pt x="1427" y="674"/>
                </a:lnTo>
                <a:lnTo>
                  <a:pt x="1428" y="671"/>
                </a:lnTo>
                <a:lnTo>
                  <a:pt x="1428" y="667"/>
                </a:lnTo>
                <a:lnTo>
                  <a:pt x="1428" y="664"/>
                </a:lnTo>
                <a:lnTo>
                  <a:pt x="1428" y="660"/>
                </a:lnTo>
                <a:lnTo>
                  <a:pt x="1428" y="656"/>
                </a:lnTo>
                <a:lnTo>
                  <a:pt x="1429" y="654"/>
                </a:lnTo>
                <a:lnTo>
                  <a:pt x="1431" y="651"/>
                </a:lnTo>
                <a:lnTo>
                  <a:pt x="1434" y="646"/>
                </a:lnTo>
                <a:lnTo>
                  <a:pt x="1435" y="643"/>
                </a:lnTo>
                <a:lnTo>
                  <a:pt x="1435" y="638"/>
                </a:lnTo>
                <a:lnTo>
                  <a:pt x="1435" y="634"/>
                </a:lnTo>
                <a:lnTo>
                  <a:pt x="1431" y="627"/>
                </a:lnTo>
                <a:lnTo>
                  <a:pt x="1427" y="618"/>
                </a:lnTo>
                <a:lnTo>
                  <a:pt x="1424" y="613"/>
                </a:lnTo>
                <a:lnTo>
                  <a:pt x="1421" y="610"/>
                </a:lnTo>
                <a:lnTo>
                  <a:pt x="1419" y="609"/>
                </a:lnTo>
                <a:lnTo>
                  <a:pt x="1417" y="609"/>
                </a:lnTo>
                <a:lnTo>
                  <a:pt x="1414" y="611"/>
                </a:lnTo>
                <a:lnTo>
                  <a:pt x="1414" y="613"/>
                </a:lnTo>
                <a:lnTo>
                  <a:pt x="1415" y="615"/>
                </a:lnTo>
                <a:lnTo>
                  <a:pt x="1417" y="618"/>
                </a:lnTo>
                <a:lnTo>
                  <a:pt x="1418" y="620"/>
                </a:lnTo>
                <a:lnTo>
                  <a:pt x="1418" y="622"/>
                </a:lnTo>
                <a:lnTo>
                  <a:pt x="1417" y="624"/>
                </a:lnTo>
                <a:lnTo>
                  <a:pt x="1414" y="626"/>
                </a:lnTo>
                <a:lnTo>
                  <a:pt x="1406" y="626"/>
                </a:lnTo>
                <a:lnTo>
                  <a:pt x="1396" y="626"/>
                </a:lnTo>
                <a:lnTo>
                  <a:pt x="1391" y="627"/>
                </a:lnTo>
                <a:lnTo>
                  <a:pt x="1388" y="628"/>
                </a:lnTo>
                <a:lnTo>
                  <a:pt x="1387" y="629"/>
                </a:lnTo>
                <a:lnTo>
                  <a:pt x="1386" y="630"/>
                </a:lnTo>
                <a:lnTo>
                  <a:pt x="1386" y="632"/>
                </a:lnTo>
                <a:lnTo>
                  <a:pt x="1386" y="635"/>
                </a:lnTo>
                <a:lnTo>
                  <a:pt x="1388" y="631"/>
                </a:lnTo>
                <a:lnTo>
                  <a:pt x="1391" y="629"/>
                </a:lnTo>
                <a:lnTo>
                  <a:pt x="1394" y="630"/>
                </a:lnTo>
                <a:lnTo>
                  <a:pt x="1394" y="631"/>
                </a:lnTo>
                <a:lnTo>
                  <a:pt x="1391" y="634"/>
                </a:lnTo>
                <a:lnTo>
                  <a:pt x="1390" y="635"/>
                </a:lnTo>
                <a:lnTo>
                  <a:pt x="1387" y="637"/>
                </a:lnTo>
                <a:lnTo>
                  <a:pt x="1385" y="640"/>
                </a:lnTo>
                <a:lnTo>
                  <a:pt x="1386" y="643"/>
                </a:lnTo>
                <a:lnTo>
                  <a:pt x="1386" y="646"/>
                </a:lnTo>
                <a:lnTo>
                  <a:pt x="1380" y="648"/>
                </a:lnTo>
                <a:lnTo>
                  <a:pt x="1373" y="649"/>
                </a:lnTo>
                <a:lnTo>
                  <a:pt x="1366" y="649"/>
                </a:lnTo>
                <a:lnTo>
                  <a:pt x="1361" y="648"/>
                </a:lnTo>
                <a:lnTo>
                  <a:pt x="1356" y="646"/>
                </a:lnTo>
                <a:lnTo>
                  <a:pt x="1350" y="644"/>
                </a:lnTo>
                <a:lnTo>
                  <a:pt x="1349" y="643"/>
                </a:lnTo>
                <a:lnTo>
                  <a:pt x="1348" y="640"/>
                </a:lnTo>
                <a:lnTo>
                  <a:pt x="1347" y="638"/>
                </a:lnTo>
                <a:lnTo>
                  <a:pt x="1348" y="635"/>
                </a:lnTo>
                <a:lnTo>
                  <a:pt x="1345" y="638"/>
                </a:lnTo>
                <a:lnTo>
                  <a:pt x="1343" y="639"/>
                </a:lnTo>
                <a:lnTo>
                  <a:pt x="1339" y="639"/>
                </a:lnTo>
                <a:lnTo>
                  <a:pt x="1336" y="638"/>
                </a:lnTo>
                <a:lnTo>
                  <a:pt x="1330" y="636"/>
                </a:lnTo>
                <a:lnTo>
                  <a:pt x="1324" y="636"/>
                </a:lnTo>
                <a:lnTo>
                  <a:pt x="1319" y="637"/>
                </a:lnTo>
                <a:lnTo>
                  <a:pt x="1312" y="637"/>
                </a:lnTo>
                <a:lnTo>
                  <a:pt x="1311" y="634"/>
                </a:lnTo>
                <a:lnTo>
                  <a:pt x="1307" y="631"/>
                </a:lnTo>
                <a:lnTo>
                  <a:pt x="1302" y="630"/>
                </a:lnTo>
                <a:lnTo>
                  <a:pt x="1295" y="629"/>
                </a:lnTo>
                <a:lnTo>
                  <a:pt x="1288" y="628"/>
                </a:lnTo>
                <a:lnTo>
                  <a:pt x="1282" y="629"/>
                </a:lnTo>
                <a:lnTo>
                  <a:pt x="1281" y="631"/>
                </a:lnTo>
                <a:lnTo>
                  <a:pt x="1280" y="634"/>
                </a:lnTo>
                <a:lnTo>
                  <a:pt x="1278" y="635"/>
                </a:lnTo>
                <a:lnTo>
                  <a:pt x="1275" y="635"/>
                </a:lnTo>
                <a:lnTo>
                  <a:pt x="1274" y="631"/>
                </a:lnTo>
                <a:lnTo>
                  <a:pt x="1274" y="628"/>
                </a:lnTo>
                <a:lnTo>
                  <a:pt x="1271" y="626"/>
                </a:lnTo>
                <a:lnTo>
                  <a:pt x="1265" y="624"/>
                </a:lnTo>
                <a:lnTo>
                  <a:pt x="1261" y="623"/>
                </a:lnTo>
                <a:lnTo>
                  <a:pt x="1256" y="623"/>
                </a:lnTo>
                <a:lnTo>
                  <a:pt x="1241" y="622"/>
                </a:lnTo>
                <a:lnTo>
                  <a:pt x="1228" y="618"/>
                </a:lnTo>
                <a:lnTo>
                  <a:pt x="1223" y="619"/>
                </a:lnTo>
                <a:lnTo>
                  <a:pt x="1216" y="619"/>
                </a:lnTo>
                <a:lnTo>
                  <a:pt x="1213" y="619"/>
                </a:lnTo>
                <a:lnTo>
                  <a:pt x="1209" y="619"/>
                </a:lnTo>
                <a:lnTo>
                  <a:pt x="1207" y="619"/>
                </a:lnTo>
                <a:lnTo>
                  <a:pt x="1206" y="618"/>
                </a:lnTo>
                <a:lnTo>
                  <a:pt x="1205" y="615"/>
                </a:lnTo>
                <a:lnTo>
                  <a:pt x="1205" y="614"/>
                </a:lnTo>
                <a:lnTo>
                  <a:pt x="1207" y="613"/>
                </a:lnTo>
                <a:lnTo>
                  <a:pt x="1208" y="613"/>
                </a:lnTo>
                <a:lnTo>
                  <a:pt x="1218" y="613"/>
                </a:lnTo>
                <a:lnTo>
                  <a:pt x="1229" y="613"/>
                </a:lnTo>
                <a:lnTo>
                  <a:pt x="1238" y="612"/>
                </a:lnTo>
                <a:lnTo>
                  <a:pt x="1246" y="612"/>
                </a:lnTo>
                <a:lnTo>
                  <a:pt x="1253" y="613"/>
                </a:lnTo>
                <a:lnTo>
                  <a:pt x="1259" y="613"/>
                </a:lnTo>
                <a:lnTo>
                  <a:pt x="1266" y="612"/>
                </a:lnTo>
                <a:lnTo>
                  <a:pt x="1273" y="610"/>
                </a:lnTo>
                <a:lnTo>
                  <a:pt x="1281" y="609"/>
                </a:lnTo>
                <a:lnTo>
                  <a:pt x="1290" y="609"/>
                </a:lnTo>
                <a:lnTo>
                  <a:pt x="1307" y="606"/>
                </a:lnTo>
                <a:lnTo>
                  <a:pt x="1323" y="603"/>
                </a:lnTo>
                <a:lnTo>
                  <a:pt x="1339" y="598"/>
                </a:lnTo>
                <a:lnTo>
                  <a:pt x="1355" y="594"/>
                </a:lnTo>
                <a:lnTo>
                  <a:pt x="1371" y="589"/>
                </a:lnTo>
                <a:lnTo>
                  <a:pt x="1386" y="584"/>
                </a:lnTo>
                <a:lnTo>
                  <a:pt x="1402" y="578"/>
                </a:lnTo>
                <a:lnTo>
                  <a:pt x="1418" y="573"/>
                </a:lnTo>
                <a:lnTo>
                  <a:pt x="1432" y="570"/>
                </a:lnTo>
                <a:lnTo>
                  <a:pt x="1447" y="566"/>
                </a:lnTo>
                <a:lnTo>
                  <a:pt x="1454" y="562"/>
                </a:lnTo>
                <a:lnTo>
                  <a:pt x="1461" y="557"/>
                </a:lnTo>
                <a:lnTo>
                  <a:pt x="1467" y="552"/>
                </a:lnTo>
                <a:lnTo>
                  <a:pt x="1472" y="546"/>
                </a:lnTo>
                <a:lnTo>
                  <a:pt x="1475" y="544"/>
                </a:lnTo>
                <a:lnTo>
                  <a:pt x="1477" y="541"/>
                </a:lnTo>
                <a:lnTo>
                  <a:pt x="1476" y="540"/>
                </a:lnTo>
                <a:lnTo>
                  <a:pt x="1475" y="540"/>
                </a:lnTo>
                <a:lnTo>
                  <a:pt x="1473" y="539"/>
                </a:lnTo>
                <a:lnTo>
                  <a:pt x="1471" y="538"/>
                </a:lnTo>
                <a:lnTo>
                  <a:pt x="1472" y="537"/>
                </a:lnTo>
                <a:lnTo>
                  <a:pt x="1472" y="535"/>
                </a:lnTo>
                <a:lnTo>
                  <a:pt x="1472" y="532"/>
                </a:lnTo>
                <a:lnTo>
                  <a:pt x="1472" y="529"/>
                </a:lnTo>
                <a:lnTo>
                  <a:pt x="1471" y="527"/>
                </a:lnTo>
                <a:lnTo>
                  <a:pt x="1469" y="524"/>
                </a:lnTo>
                <a:lnTo>
                  <a:pt x="1464" y="522"/>
                </a:lnTo>
                <a:lnTo>
                  <a:pt x="1460" y="519"/>
                </a:lnTo>
                <a:lnTo>
                  <a:pt x="1459" y="516"/>
                </a:lnTo>
                <a:lnTo>
                  <a:pt x="1459" y="514"/>
                </a:lnTo>
                <a:lnTo>
                  <a:pt x="1461" y="511"/>
                </a:lnTo>
                <a:lnTo>
                  <a:pt x="1464" y="509"/>
                </a:lnTo>
                <a:lnTo>
                  <a:pt x="1471" y="504"/>
                </a:lnTo>
                <a:lnTo>
                  <a:pt x="1477" y="501"/>
                </a:lnTo>
                <a:lnTo>
                  <a:pt x="1479" y="498"/>
                </a:lnTo>
                <a:lnTo>
                  <a:pt x="1481" y="496"/>
                </a:lnTo>
                <a:lnTo>
                  <a:pt x="1483" y="494"/>
                </a:lnTo>
                <a:lnTo>
                  <a:pt x="1484" y="490"/>
                </a:lnTo>
                <a:lnTo>
                  <a:pt x="1484" y="487"/>
                </a:lnTo>
                <a:lnTo>
                  <a:pt x="1483" y="485"/>
                </a:lnTo>
                <a:lnTo>
                  <a:pt x="1480" y="483"/>
                </a:lnTo>
                <a:lnTo>
                  <a:pt x="1477" y="481"/>
                </a:lnTo>
                <a:lnTo>
                  <a:pt x="1477" y="481"/>
                </a:lnTo>
                <a:lnTo>
                  <a:pt x="1477" y="481"/>
                </a:lnTo>
                <a:close/>
                <a:moveTo>
                  <a:pt x="546" y="357"/>
                </a:moveTo>
                <a:lnTo>
                  <a:pt x="544" y="358"/>
                </a:lnTo>
                <a:lnTo>
                  <a:pt x="542" y="360"/>
                </a:lnTo>
                <a:lnTo>
                  <a:pt x="542" y="361"/>
                </a:lnTo>
                <a:lnTo>
                  <a:pt x="546" y="362"/>
                </a:lnTo>
                <a:lnTo>
                  <a:pt x="548" y="361"/>
                </a:lnTo>
                <a:lnTo>
                  <a:pt x="550" y="360"/>
                </a:lnTo>
                <a:lnTo>
                  <a:pt x="549" y="358"/>
                </a:lnTo>
                <a:lnTo>
                  <a:pt x="546" y="357"/>
                </a:lnTo>
                <a:lnTo>
                  <a:pt x="546" y="357"/>
                </a:lnTo>
                <a:lnTo>
                  <a:pt x="546" y="357"/>
                </a:lnTo>
                <a:close/>
                <a:moveTo>
                  <a:pt x="408" y="336"/>
                </a:moveTo>
                <a:lnTo>
                  <a:pt x="412" y="337"/>
                </a:lnTo>
                <a:lnTo>
                  <a:pt x="415" y="336"/>
                </a:lnTo>
                <a:lnTo>
                  <a:pt x="418" y="336"/>
                </a:lnTo>
                <a:lnTo>
                  <a:pt x="423" y="333"/>
                </a:lnTo>
                <a:lnTo>
                  <a:pt x="418" y="333"/>
                </a:lnTo>
                <a:lnTo>
                  <a:pt x="415" y="333"/>
                </a:lnTo>
                <a:lnTo>
                  <a:pt x="412" y="333"/>
                </a:lnTo>
                <a:lnTo>
                  <a:pt x="408" y="336"/>
                </a:lnTo>
                <a:close/>
                <a:moveTo>
                  <a:pt x="643" y="373"/>
                </a:moveTo>
                <a:lnTo>
                  <a:pt x="645" y="377"/>
                </a:lnTo>
                <a:lnTo>
                  <a:pt x="648" y="378"/>
                </a:lnTo>
                <a:lnTo>
                  <a:pt x="653" y="378"/>
                </a:lnTo>
                <a:lnTo>
                  <a:pt x="656" y="378"/>
                </a:lnTo>
                <a:lnTo>
                  <a:pt x="653" y="374"/>
                </a:lnTo>
                <a:lnTo>
                  <a:pt x="651" y="370"/>
                </a:lnTo>
                <a:lnTo>
                  <a:pt x="653" y="370"/>
                </a:lnTo>
                <a:lnTo>
                  <a:pt x="656" y="371"/>
                </a:lnTo>
                <a:lnTo>
                  <a:pt x="660" y="373"/>
                </a:lnTo>
                <a:lnTo>
                  <a:pt x="662" y="374"/>
                </a:lnTo>
                <a:lnTo>
                  <a:pt x="665" y="374"/>
                </a:lnTo>
                <a:lnTo>
                  <a:pt x="670" y="374"/>
                </a:lnTo>
                <a:lnTo>
                  <a:pt x="674" y="374"/>
                </a:lnTo>
                <a:lnTo>
                  <a:pt x="677" y="377"/>
                </a:lnTo>
                <a:lnTo>
                  <a:pt x="677" y="378"/>
                </a:lnTo>
                <a:lnTo>
                  <a:pt x="677" y="379"/>
                </a:lnTo>
                <a:lnTo>
                  <a:pt x="676" y="380"/>
                </a:lnTo>
                <a:lnTo>
                  <a:pt x="674" y="380"/>
                </a:lnTo>
                <a:lnTo>
                  <a:pt x="670" y="380"/>
                </a:lnTo>
                <a:lnTo>
                  <a:pt x="666" y="381"/>
                </a:lnTo>
                <a:lnTo>
                  <a:pt x="671" y="383"/>
                </a:lnTo>
                <a:lnTo>
                  <a:pt x="677" y="385"/>
                </a:lnTo>
                <a:lnTo>
                  <a:pt x="682" y="386"/>
                </a:lnTo>
                <a:lnTo>
                  <a:pt x="687" y="386"/>
                </a:lnTo>
                <a:lnTo>
                  <a:pt x="686" y="383"/>
                </a:lnTo>
                <a:lnTo>
                  <a:pt x="684" y="381"/>
                </a:lnTo>
                <a:lnTo>
                  <a:pt x="682" y="380"/>
                </a:lnTo>
                <a:lnTo>
                  <a:pt x="684" y="380"/>
                </a:lnTo>
                <a:lnTo>
                  <a:pt x="685" y="380"/>
                </a:lnTo>
                <a:lnTo>
                  <a:pt x="687" y="380"/>
                </a:lnTo>
                <a:lnTo>
                  <a:pt x="690" y="381"/>
                </a:lnTo>
                <a:lnTo>
                  <a:pt x="693" y="382"/>
                </a:lnTo>
                <a:lnTo>
                  <a:pt x="694" y="382"/>
                </a:lnTo>
                <a:lnTo>
                  <a:pt x="695" y="383"/>
                </a:lnTo>
                <a:lnTo>
                  <a:pt x="697" y="382"/>
                </a:lnTo>
                <a:lnTo>
                  <a:pt x="698" y="381"/>
                </a:lnTo>
                <a:lnTo>
                  <a:pt x="690" y="378"/>
                </a:lnTo>
                <a:lnTo>
                  <a:pt x="682" y="374"/>
                </a:lnTo>
                <a:lnTo>
                  <a:pt x="676" y="372"/>
                </a:lnTo>
                <a:lnTo>
                  <a:pt x="669" y="372"/>
                </a:lnTo>
                <a:lnTo>
                  <a:pt x="663" y="370"/>
                </a:lnTo>
                <a:lnTo>
                  <a:pt x="659" y="366"/>
                </a:lnTo>
                <a:lnTo>
                  <a:pt x="656" y="365"/>
                </a:lnTo>
                <a:lnTo>
                  <a:pt x="654" y="365"/>
                </a:lnTo>
                <a:lnTo>
                  <a:pt x="652" y="366"/>
                </a:lnTo>
                <a:lnTo>
                  <a:pt x="648" y="369"/>
                </a:lnTo>
                <a:lnTo>
                  <a:pt x="648" y="365"/>
                </a:lnTo>
                <a:lnTo>
                  <a:pt x="651" y="363"/>
                </a:lnTo>
                <a:lnTo>
                  <a:pt x="652" y="362"/>
                </a:lnTo>
                <a:lnTo>
                  <a:pt x="653" y="361"/>
                </a:lnTo>
                <a:lnTo>
                  <a:pt x="654" y="358"/>
                </a:lnTo>
                <a:lnTo>
                  <a:pt x="654" y="358"/>
                </a:lnTo>
                <a:lnTo>
                  <a:pt x="653" y="357"/>
                </a:lnTo>
                <a:lnTo>
                  <a:pt x="653" y="357"/>
                </a:lnTo>
                <a:lnTo>
                  <a:pt x="649" y="357"/>
                </a:lnTo>
                <a:lnTo>
                  <a:pt x="646" y="357"/>
                </a:lnTo>
                <a:lnTo>
                  <a:pt x="644" y="356"/>
                </a:lnTo>
                <a:lnTo>
                  <a:pt x="643" y="357"/>
                </a:lnTo>
                <a:lnTo>
                  <a:pt x="640" y="358"/>
                </a:lnTo>
                <a:lnTo>
                  <a:pt x="637" y="360"/>
                </a:lnTo>
                <a:lnTo>
                  <a:pt x="632" y="358"/>
                </a:lnTo>
                <a:lnTo>
                  <a:pt x="630" y="357"/>
                </a:lnTo>
                <a:lnTo>
                  <a:pt x="630" y="356"/>
                </a:lnTo>
                <a:lnTo>
                  <a:pt x="630" y="354"/>
                </a:lnTo>
                <a:lnTo>
                  <a:pt x="620" y="353"/>
                </a:lnTo>
                <a:lnTo>
                  <a:pt x="610" y="352"/>
                </a:lnTo>
                <a:lnTo>
                  <a:pt x="599" y="350"/>
                </a:lnTo>
                <a:lnTo>
                  <a:pt x="589" y="350"/>
                </a:lnTo>
                <a:lnTo>
                  <a:pt x="586" y="350"/>
                </a:lnTo>
                <a:lnTo>
                  <a:pt x="582" y="349"/>
                </a:lnTo>
                <a:lnTo>
                  <a:pt x="580" y="347"/>
                </a:lnTo>
                <a:lnTo>
                  <a:pt x="577" y="346"/>
                </a:lnTo>
                <a:lnTo>
                  <a:pt x="572" y="345"/>
                </a:lnTo>
                <a:lnTo>
                  <a:pt x="569" y="346"/>
                </a:lnTo>
                <a:lnTo>
                  <a:pt x="564" y="346"/>
                </a:lnTo>
                <a:lnTo>
                  <a:pt x="561" y="347"/>
                </a:lnTo>
                <a:lnTo>
                  <a:pt x="566" y="349"/>
                </a:lnTo>
                <a:lnTo>
                  <a:pt x="573" y="350"/>
                </a:lnTo>
                <a:lnTo>
                  <a:pt x="577" y="352"/>
                </a:lnTo>
                <a:lnTo>
                  <a:pt x="579" y="354"/>
                </a:lnTo>
                <a:lnTo>
                  <a:pt x="581" y="354"/>
                </a:lnTo>
                <a:lnTo>
                  <a:pt x="585" y="354"/>
                </a:lnTo>
                <a:lnTo>
                  <a:pt x="591" y="354"/>
                </a:lnTo>
                <a:lnTo>
                  <a:pt x="598" y="355"/>
                </a:lnTo>
                <a:lnTo>
                  <a:pt x="602" y="355"/>
                </a:lnTo>
                <a:lnTo>
                  <a:pt x="605" y="356"/>
                </a:lnTo>
                <a:lnTo>
                  <a:pt x="608" y="355"/>
                </a:lnTo>
                <a:lnTo>
                  <a:pt x="612" y="354"/>
                </a:lnTo>
                <a:lnTo>
                  <a:pt x="616" y="356"/>
                </a:lnTo>
                <a:lnTo>
                  <a:pt x="620" y="360"/>
                </a:lnTo>
                <a:lnTo>
                  <a:pt x="624" y="362"/>
                </a:lnTo>
                <a:lnTo>
                  <a:pt x="630" y="364"/>
                </a:lnTo>
                <a:lnTo>
                  <a:pt x="631" y="364"/>
                </a:lnTo>
                <a:lnTo>
                  <a:pt x="635" y="365"/>
                </a:lnTo>
                <a:lnTo>
                  <a:pt x="636" y="365"/>
                </a:lnTo>
                <a:lnTo>
                  <a:pt x="637" y="368"/>
                </a:lnTo>
                <a:lnTo>
                  <a:pt x="635" y="369"/>
                </a:lnTo>
                <a:lnTo>
                  <a:pt x="631" y="370"/>
                </a:lnTo>
                <a:lnTo>
                  <a:pt x="627" y="369"/>
                </a:lnTo>
                <a:lnTo>
                  <a:pt x="624" y="369"/>
                </a:lnTo>
                <a:lnTo>
                  <a:pt x="627" y="371"/>
                </a:lnTo>
                <a:lnTo>
                  <a:pt x="630" y="372"/>
                </a:lnTo>
                <a:lnTo>
                  <a:pt x="632" y="373"/>
                </a:lnTo>
                <a:lnTo>
                  <a:pt x="636" y="373"/>
                </a:lnTo>
                <a:lnTo>
                  <a:pt x="637" y="373"/>
                </a:lnTo>
                <a:lnTo>
                  <a:pt x="639" y="372"/>
                </a:lnTo>
                <a:lnTo>
                  <a:pt x="641" y="372"/>
                </a:lnTo>
                <a:lnTo>
                  <a:pt x="643" y="373"/>
                </a:lnTo>
                <a:lnTo>
                  <a:pt x="644" y="375"/>
                </a:lnTo>
                <a:lnTo>
                  <a:pt x="643" y="373"/>
                </a:lnTo>
                <a:close/>
                <a:moveTo>
                  <a:pt x="330" y="76"/>
                </a:moveTo>
                <a:lnTo>
                  <a:pt x="331" y="75"/>
                </a:lnTo>
                <a:lnTo>
                  <a:pt x="332" y="73"/>
                </a:lnTo>
                <a:lnTo>
                  <a:pt x="332" y="71"/>
                </a:lnTo>
                <a:lnTo>
                  <a:pt x="331" y="70"/>
                </a:lnTo>
                <a:lnTo>
                  <a:pt x="328" y="71"/>
                </a:lnTo>
                <a:lnTo>
                  <a:pt x="327" y="73"/>
                </a:lnTo>
                <a:lnTo>
                  <a:pt x="327" y="74"/>
                </a:lnTo>
                <a:lnTo>
                  <a:pt x="327" y="75"/>
                </a:lnTo>
                <a:lnTo>
                  <a:pt x="328" y="75"/>
                </a:lnTo>
                <a:lnTo>
                  <a:pt x="330" y="76"/>
                </a:lnTo>
                <a:lnTo>
                  <a:pt x="330" y="76"/>
                </a:lnTo>
                <a:lnTo>
                  <a:pt x="330" y="76"/>
                </a:lnTo>
                <a:close/>
                <a:moveTo>
                  <a:pt x="314" y="89"/>
                </a:moveTo>
                <a:lnTo>
                  <a:pt x="316" y="88"/>
                </a:lnTo>
                <a:lnTo>
                  <a:pt x="317" y="87"/>
                </a:lnTo>
                <a:lnTo>
                  <a:pt x="317" y="86"/>
                </a:lnTo>
                <a:lnTo>
                  <a:pt x="315" y="84"/>
                </a:lnTo>
                <a:lnTo>
                  <a:pt x="311" y="86"/>
                </a:lnTo>
                <a:lnTo>
                  <a:pt x="310" y="87"/>
                </a:lnTo>
                <a:lnTo>
                  <a:pt x="311" y="89"/>
                </a:lnTo>
                <a:lnTo>
                  <a:pt x="314" y="89"/>
                </a:lnTo>
                <a:lnTo>
                  <a:pt x="314" y="89"/>
                </a:lnTo>
                <a:lnTo>
                  <a:pt x="314" y="89"/>
                </a:lnTo>
                <a:close/>
                <a:moveTo>
                  <a:pt x="764" y="84"/>
                </a:moveTo>
                <a:lnTo>
                  <a:pt x="766" y="83"/>
                </a:lnTo>
                <a:lnTo>
                  <a:pt x="766" y="82"/>
                </a:lnTo>
                <a:lnTo>
                  <a:pt x="764" y="80"/>
                </a:lnTo>
                <a:lnTo>
                  <a:pt x="764" y="79"/>
                </a:lnTo>
                <a:lnTo>
                  <a:pt x="762" y="78"/>
                </a:lnTo>
                <a:lnTo>
                  <a:pt x="761" y="79"/>
                </a:lnTo>
                <a:lnTo>
                  <a:pt x="760" y="79"/>
                </a:lnTo>
                <a:lnTo>
                  <a:pt x="760" y="80"/>
                </a:lnTo>
                <a:lnTo>
                  <a:pt x="760" y="82"/>
                </a:lnTo>
                <a:lnTo>
                  <a:pt x="761" y="83"/>
                </a:lnTo>
                <a:lnTo>
                  <a:pt x="762" y="83"/>
                </a:lnTo>
                <a:lnTo>
                  <a:pt x="764" y="84"/>
                </a:lnTo>
                <a:lnTo>
                  <a:pt x="763" y="84"/>
                </a:lnTo>
                <a:lnTo>
                  <a:pt x="764" y="84"/>
                </a:lnTo>
                <a:close/>
                <a:moveTo>
                  <a:pt x="751" y="80"/>
                </a:moveTo>
                <a:lnTo>
                  <a:pt x="751" y="79"/>
                </a:lnTo>
                <a:lnTo>
                  <a:pt x="750" y="76"/>
                </a:lnTo>
                <a:lnTo>
                  <a:pt x="747" y="75"/>
                </a:lnTo>
                <a:lnTo>
                  <a:pt x="746" y="75"/>
                </a:lnTo>
                <a:lnTo>
                  <a:pt x="746" y="76"/>
                </a:lnTo>
                <a:lnTo>
                  <a:pt x="747" y="79"/>
                </a:lnTo>
                <a:lnTo>
                  <a:pt x="745" y="80"/>
                </a:lnTo>
                <a:lnTo>
                  <a:pt x="744" y="81"/>
                </a:lnTo>
                <a:lnTo>
                  <a:pt x="745" y="81"/>
                </a:lnTo>
                <a:lnTo>
                  <a:pt x="747" y="82"/>
                </a:lnTo>
                <a:lnTo>
                  <a:pt x="748" y="82"/>
                </a:lnTo>
                <a:lnTo>
                  <a:pt x="751" y="80"/>
                </a:lnTo>
                <a:lnTo>
                  <a:pt x="750" y="80"/>
                </a:lnTo>
                <a:lnTo>
                  <a:pt x="751" y="80"/>
                </a:lnTo>
                <a:close/>
                <a:moveTo>
                  <a:pt x="1216" y="0"/>
                </a:moveTo>
                <a:lnTo>
                  <a:pt x="1217" y="0"/>
                </a:lnTo>
                <a:lnTo>
                  <a:pt x="1216" y="0"/>
                </a:lnTo>
                <a:lnTo>
                  <a:pt x="1216" y="0"/>
                </a:lnTo>
                <a:lnTo>
                  <a:pt x="1216" y="0"/>
                </a:lnTo>
                <a:close/>
                <a:moveTo>
                  <a:pt x="1479" y="354"/>
                </a:moveTo>
                <a:lnTo>
                  <a:pt x="1479" y="353"/>
                </a:lnTo>
                <a:lnTo>
                  <a:pt x="1479" y="352"/>
                </a:lnTo>
                <a:lnTo>
                  <a:pt x="1478" y="353"/>
                </a:lnTo>
                <a:lnTo>
                  <a:pt x="1479" y="354"/>
                </a:lnTo>
                <a:lnTo>
                  <a:pt x="1479" y="354"/>
                </a:lnTo>
                <a:lnTo>
                  <a:pt x="1479" y="354"/>
                </a:lnTo>
                <a:close/>
                <a:moveTo>
                  <a:pt x="70" y="612"/>
                </a:moveTo>
                <a:lnTo>
                  <a:pt x="69" y="613"/>
                </a:lnTo>
                <a:lnTo>
                  <a:pt x="70" y="613"/>
                </a:lnTo>
                <a:lnTo>
                  <a:pt x="71" y="613"/>
                </a:lnTo>
                <a:lnTo>
                  <a:pt x="72" y="613"/>
                </a:lnTo>
                <a:lnTo>
                  <a:pt x="75" y="611"/>
                </a:lnTo>
                <a:lnTo>
                  <a:pt x="77" y="609"/>
                </a:lnTo>
                <a:lnTo>
                  <a:pt x="74" y="607"/>
                </a:lnTo>
                <a:lnTo>
                  <a:pt x="72" y="609"/>
                </a:lnTo>
                <a:lnTo>
                  <a:pt x="71" y="610"/>
                </a:lnTo>
                <a:lnTo>
                  <a:pt x="70" y="612"/>
                </a:lnTo>
                <a:lnTo>
                  <a:pt x="70" y="612"/>
                </a:lnTo>
                <a:lnTo>
                  <a:pt x="70" y="612"/>
                </a:lnTo>
                <a:close/>
                <a:moveTo>
                  <a:pt x="257" y="476"/>
                </a:moveTo>
                <a:lnTo>
                  <a:pt x="253" y="476"/>
                </a:lnTo>
                <a:lnTo>
                  <a:pt x="251" y="476"/>
                </a:lnTo>
                <a:lnTo>
                  <a:pt x="249" y="477"/>
                </a:lnTo>
                <a:lnTo>
                  <a:pt x="245" y="479"/>
                </a:lnTo>
                <a:lnTo>
                  <a:pt x="249" y="479"/>
                </a:lnTo>
                <a:lnTo>
                  <a:pt x="252" y="479"/>
                </a:lnTo>
                <a:lnTo>
                  <a:pt x="254" y="478"/>
                </a:lnTo>
                <a:lnTo>
                  <a:pt x="257" y="476"/>
                </a:lnTo>
                <a:close/>
                <a:moveTo>
                  <a:pt x="83" y="211"/>
                </a:moveTo>
                <a:lnTo>
                  <a:pt x="81" y="211"/>
                </a:lnTo>
                <a:lnTo>
                  <a:pt x="78" y="212"/>
                </a:lnTo>
                <a:lnTo>
                  <a:pt x="76" y="215"/>
                </a:lnTo>
                <a:lnTo>
                  <a:pt x="75" y="217"/>
                </a:lnTo>
                <a:lnTo>
                  <a:pt x="77" y="216"/>
                </a:lnTo>
                <a:lnTo>
                  <a:pt x="79" y="215"/>
                </a:lnTo>
                <a:lnTo>
                  <a:pt x="81" y="213"/>
                </a:lnTo>
                <a:lnTo>
                  <a:pt x="83" y="211"/>
                </a:lnTo>
                <a:lnTo>
                  <a:pt x="83" y="211"/>
                </a:lnTo>
                <a:lnTo>
                  <a:pt x="83" y="211"/>
                </a:lnTo>
                <a:close/>
                <a:moveTo>
                  <a:pt x="599" y="527"/>
                </a:moveTo>
                <a:lnTo>
                  <a:pt x="599" y="529"/>
                </a:lnTo>
                <a:lnTo>
                  <a:pt x="599" y="532"/>
                </a:lnTo>
                <a:lnTo>
                  <a:pt x="600" y="535"/>
                </a:lnTo>
                <a:lnTo>
                  <a:pt x="600" y="536"/>
                </a:lnTo>
                <a:lnTo>
                  <a:pt x="602" y="536"/>
                </a:lnTo>
                <a:lnTo>
                  <a:pt x="603" y="535"/>
                </a:lnTo>
                <a:lnTo>
                  <a:pt x="604" y="532"/>
                </a:lnTo>
                <a:lnTo>
                  <a:pt x="603" y="530"/>
                </a:lnTo>
                <a:lnTo>
                  <a:pt x="602" y="528"/>
                </a:lnTo>
                <a:lnTo>
                  <a:pt x="599" y="527"/>
                </a:lnTo>
                <a:lnTo>
                  <a:pt x="600" y="528"/>
                </a:lnTo>
                <a:lnTo>
                  <a:pt x="599" y="527"/>
                </a:lnTo>
                <a:close/>
                <a:moveTo>
                  <a:pt x="267" y="505"/>
                </a:moveTo>
                <a:lnTo>
                  <a:pt x="265" y="503"/>
                </a:lnTo>
                <a:lnTo>
                  <a:pt x="262" y="502"/>
                </a:lnTo>
                <a:lnTo>
                  <a:pt x="261" y="502"/>
                </a:lnTo>
                <a:lnTo>
                  <a:pt x="260" y="502"/>
                </a:lnTo>
                <a:lnTo>
                  <a:pt x="259" y="503"/>
                </a:lnTo>
                <a:lnTo>
                  <a:pt x="259" y="504"/>
                </a:lnTo>
                <a:lnTo>
                  <a:pt x="259" y="506"/>
                </a:lnTo>
                <a:lnTo>
                  <a:pt x="260" y="506"/>
                </a:lnTo>
                <a:lnTo>
                  <a:pt x="261" y="506"/>
                </a:lnTo>
                <a:lnTo>
                  <a:pt x="262" y="506"/>
                </a:lnTo>
                <a:lnTo>
                  <a:pt x="265" y="505"/>
                </a:lnTo>
                <a:lnTo>
                  <a:pt x="267" y="505"/>
                </a:lnTo>
                <a:lnTo>
                  <a:pt x="265" y="504"/>
                </a:lnTo>
                <a:lnTo>
                  <a:pt x="267" y="505"/>
                </a:lnTo>
                <a:close/>
                <a:moveTo>
                  <a:pt x="336" y="445"/>
                </a:moveTo>
                <a:lnTo>
                  <a:pt x="341" y="444"/>
                </a:lnTo>
                <a:lnTo>
                  <a:pt x="343" y="441"/>
                </a:lnTo>
                <a:lnTo>
                  <a:pt x="339" y="441"/>
                </a:lnTo>
                <a:lnTo>
                  <a:pt x="334" y="441"/>
                </a:lnTo>
                <a:lnTo>
                  <a:pt x="333" y="443"/>
                </a:lnTo>
                <a:lnTo>
                  <a:pt x="334" y="444"/>
                </a:lnTo>
                <a:lnTo>
                  <a:pt x="335" y="445"/>
                </a:lnTo>
                <a:lnTo>
                  <a:pt x="336" y="445"/>
                </a:lnTo>
                <a:lnTo>
                  <a:pt x="336" y="445"/>
                </a:lnTo>
                <a:lnTo>
                  <a:pt x="336" y="445"/>
                </a:lnTo>
                <a:close/>
                <a:moveTo>
                  <a:pt x="261" y="530"/>
                </a:moveTo>
                <a:lnTo>
                  <a:pt x="261" y="531"/>
                </a:lnTo>
                <a:lnTo>
                  <a:pt x="261" y="530"/>
                </a:lnTo>
                <a:lnTo>
                  <a:pt x="261" y="527"/>
                </a:lnTo>
                <a:lnTo>
                  <a:pt x="261" y="523"/>
                </a:lnTo>
                <a:lnTo>
                  <a:pt x="260" y="526"/>
                </a:lnTo>
                <a:lnTo>
                  <a:pt x="261" y="523"/>
                </a:lnTo>
                <a:lnTo>
                  <a:pt x="257" y="526"/>
                </a:lnTo>
                <a:lnTo>
                  <a:pt x="253" y="527"/>
                </a:lnTo>
                <a:lnTo>
                  <a:pt x="257" y="529"/>
                </a:lnTo>
                <a:lnTo>
                  <a:pt x="261" y="530"/>
                </a:lnTo>
                <a:close/>
                <a:moveTo>
                  <a:pt x="944" y="664"/>
                </a:moveTo>
                <a:lnTo>
                  <a:pt x="945" y="667"/>
                </a:lnTo>
                <a:lnTo>
                  <a:pt x="949" y="669"/>
                </a:lnTo>
                <a:lnTo>
                  <a:pt x="952" y="669"/>
                </a:lnTo>
                <a:lnTo>
                  <a:pt x="957" y="668"/>
                </a:lnTo>
                <a:lnTo>
                  <a:pt x="953" y="665"/>
                </a:lnTo>
                <a:lnTo>
                  <a:pt x="951" y="665"/>
                </a:lnTo>
                <a:lnTo>
                  <a:pt x="948" y="664"/>
                </a:lnTo>
                <a:lnTo>
                  <a:pt x="944" y="664"/>
                </a:lnTo>
                <a:lnTo>
                  <a:pt x="946" y="664"/>
                </a:lnTo>
                <a:lnTo>
                  <a:pt x="944" y="664"/>
                </a:lnTo>
                <a:close/>
                <a:moveTo>
                  <a:pt x="81" y="220"/>
                </a:moveTo>
                <a:lnTo>
                  <a:pt x="84" y="220"/>
                </a:lnTo>
                <a:lnTo>
                  <a:pt x="86" y="219"/>
                </a:lnTo>
                <a:lnTo>
                  <a:pt x="88" y="216"/>
                </a:lnTo>
                <a:lnTo>
                  <a:pt x="89" y="214"/>
                </a:lnTo>
                <a:lnTo>
                  <a:pt x="86" y="214"/>
                </a:lnTo>
                <a:lnTo>
                  <a:pt x="83" y="216"/>
                </a:lnTo>
                <a:lnTo>
                  <a:pt x="81" y="216"/>
                </a:lnTo>
                <a:lnTo>
                  <a:pt x="80" y="217"/>
                </a:lnTo>
                <a:lnTo>
                  <a:pt x="80" y="219"/>
                </a:lnTo>
                <a:lnTo>
                  <a:pt x="81" y="220"/>
                </a:lnTo>
                <a:lnTo>
                  <a:pt x="81" y="221"/>
                </a:lnTo>
                <a:lnTo>
                  <a:pt x="81" y="220"/>
                </a:lnTo>
                <a:close/>
                <a:moveTo>
                  <a:pt x="315" y="58"/>
                </a:moveTo>
                <a:lnTo>
                  <a:pt x="317" y="57"/>
                </a:lnTo>
                <a:lnTo>
                  <a:pt x="317" y="56"/>
                </a:lnTo>
                <a:lnTo>
                  <a:pt x="316" y="55"/>
                </a:lnTo>
                <a:lnTo>
                  <a:pt x="315" y="54"/>
                </a:lnTo>
                <a:lnTo>
                  <a:pt x="311" y="54"/>
                </a:lnTo>
                <a:lnTo>
                  <a:pt x="309" y="55"/>
                </a:lnTo>
                <a:lnTo>
                  <a:pt x="307" y="56"/>
                </a:lnTo>
                <a:lnTo>
                  <a:pt x="306" y="58"/>
                </a:lnTo>
                <a:lnTo>
                  <a:pt x="310" y="58"/>
                </a:lnTo>
                <a:lnTo>
                  <a:pt x="315" y="58"/>
                </a:lnTo>
                <a:lnTo>
                  <a:pt x="315" y="58"/>
                </a:lnTo>
                <a:lnTo>
                  <a:pt x="315" y="58"/>
                </a:lnTo>
                <a:close/>
                <a:moveTo>
                  <a:pt x="149" y="577"/>
                </a:moveTo>
                <a:lnTo>
                  <a:pt x="146" y="578"/>
                </a:lnTo>
                <a:lnTo>
                  <a:pt x="144" y="579"/>
                </a:lnTo>
                <a:lnTo>
                  <a:pt x="144" y="581"/>
                </a:lnTo>
                <a:lnTo>
                  <a:pt x="144" y="584"/>
                </a:lnTo>
                <a:lnTo>
                  <a:pt x="145" y="582"/>
                </a:lnTo>
                <a:lnTo>
                  <a:pt x="146" y="580"/>
                </a:lnTo>
                <a:lnTo>
                  <a:pt x="149" y="580"/>
                </a:lnTo>
                <a:lnTo>
                  <a:pt x="151" y="580"/>
                </a:lnTo>
                <a:lnTo>
                  <a:pt x="152" y="579"/>
                </a:lnTo>
                <a:lnTo>
                  <a:pt x="151" y="578"/>
                </a:lnTo>
                <a:lnTo>
                  <a:pt x="151" y="577"/>
                </a:lnTo>
                <a:lnTo>
                  <a:pt x="149" y="577"/>
                </a:lnTo>
                <a:lnTo>
                  <a:pt x="147" y="577"/>
                </a:lnTo>
                <a:lnTo>
                  <a:pt x="149" y="577"/>
                </a:lnTo>
                <a:close/>
                <a:moveTo>
                  <a:pt x="380" y="483"/>
                </a:moveTo>
                <a:lnTo>
                  <a:pt x="376" y="487"/>
                </a:lnTo>
                <a:lnTo>
                  <a:pt x="372" y="489"/>
                </a:lnTo>
                <a:lnTo>
                  <a:pt x="376" y="490"/>
                </a:lnTo>
                <a:lnTo>
                  <a:pt x="380" y="489"/>
                </a:lnTo>
                <a:lnTo>
                  <a:pt x="381" y="487"/>
                </a:lnTo>
                <a:lnTo>
                  <a:pt x="380" y="483"/>
                </a:lnTo>
                <a:close/>
                <a:moveTo>
                  <a:pt x="968" y="670"/>
                </a:moveTo>
                <a:lnTo>
                  <a:pt x="967" y="672"/>
                </a:lnTo>
                <a:lnTo>
                  <a:pt x="968" y="673"/>
                </a:lnTo>
                <a:lnTo>
                  <a:pt x="969" y="673"/>
                </a:lnTo>
                <a:lnTo>
                  <a:pt x="970" y="674"/>
                </a:lnTo>
                <a:lnTo>
                  <a:pt x="973" y="676"/>
                </a:lnTo>
                <a:lnTo>
                  <a:pt x="975" y="676"/>
                </a:lnTo>
                <a:lnTo>
                  <a:pt x="977" y="674"/>
                </a:lnTo>
                <a:lnTo>
                  <a:pt x="979" y="672"/>
                </a:lnTo>
                <a:lnTo>
                  <a:pt x="976" y="672"/>
                </a:lnTo>
                <a:lnTo>
                  <a:pt x="973" y="672"/>
                </a:lnTo>
                <a:lnTo>
                  <a:pt x="970" y="671"/>
                </a:lnTo>
                <a:lnTo>
                  <a:pt x="968" y="670"/>
                </a:lnTo>
                <a:lnTo>
                  <a:pt x="968" y="670"/>
                </a:lnTo>
                <a:lnTo>
                  <a:pt x="968" y="670"/>
                </a:lnTo>
                <a:close/>
                <a:moveTo>
                  <a:pt x="820" y="97"/>
                </a:moveTo>
                <a:lnTo>
                  <a:pt x="820" y="97"/>
                </a:lnTo>
                <a:lnTo>
                  <a:pt x="820" y="96"/>
                </a:lnTo>
                <a:lnTo>
                  <a:pt x="819" y="95"/>
                </a:lnTo>
                <a:lnTo>
                  <a:pt x="818" y="94"/>
                </a:lnTo>
                <a:lnTo>
                  <a:pt x="816" y="92"/>
                </a:lnTo>
                <a:lnTo>
                  <a:pt x="813" y="92"/>
                </a:lnTo>
                <a:lnTo>
                  <a:pt x="811" y="92"/>
                </a:lnTo>
                <a:lnTo>
                  <a:pt x="811" y="94"/>
                </a:lnTo>
                <a:lnTo>
                  <a:pt x="812" y="95"/>
                </a:lnTo>
                <a:lnTo>
                  <a:pt x="813" y="96"/>
                </a:lnTo>
                <a:lnTo>
                  <a:pt x="818" y="97"/>
                </a:lnTo>
                <a:lnTo>
                  <a:pt x="820" y="97"/>
                </a:lnTo>
                <a:lnTo>
                  <a:pt x="819" y="97"/>
                </a:lnTo>
                <a:lnTo>
                  <a:pt x="820" y="97"/>
                </a:lnTo>
                <a:close/>
                <a:moveTo>
                  <a:pt x="1026" y="120"/>
                </a:moveTo>
                <a:lnTo>
                  <a:pt x="1024" y="117"/>
                </a:lnTo>
                <a:lnTo>
                  <a:pt x="1022" y="115"/>
                </a:lnTo>
                <a:lnTo>
                  <a:pt x="1019" y="114"/>
                </a:lnTo>
                <a:lnTo>
                  <a:pt x="1016" y="115"/>
                </a:lnTo>
                <a:lnTo>
                  <a:pt x="1017" y="117"/>
                </a:lnTo>
                <a:lnTo>
                  <a:pt x="1019" y="120"/>
                </a:lnTo>
                <a:lnTo>
                  <a:pt x="1023" y="120"/>
                </a:lnTo>
                <a:lnTo>
                  <a:pt x="1026" y="120"/>
                </a:lnTo>
                <a:close/>
                <a:moveTo>
                  <a:pt x="289" y="454"/>
                </a:moveTo>
                <a:lnTo>
                  <a:pt x="291" y="455"/>
                </a:lnTo>
                <a:lnTo>
                  <a:pt x="294" y="455"/>
                </a:lnTo>
                <a:lnTo>
                  <a:pt x="297" y="454"/>
                </a:lnTo>
                <a:lnTo>
                  <a:pt x="300" y="452"/>
                </a:lnTo>
                <a:lnTo>
                  <a:pt x="293" y="452"/>
                </a:lnTo>
                <a:lnTo>
                  <a:pt x="289" y="454"/>
                </a:lnTo>
                <a:close/>
                <a:moveTo>
                  <a:pt x="86" y="612"/>
                </a:moveTo>
                <a:lnTo>
                  <a:pt x="81" y="614"/>
                </a:lnTo>
                <a:lnTo>
                  <a:pt x="77" y="617"/>
                </a:lnTo>
                <a:lnTo>
                  <a:pt x="79" y="617"/>
                </a:lnTo>
                <a:lnTo>
                  <a:pt x="83" y="617"/>
                </a:lnTo>
                <a:lnTo>
                  <a:pt x="86" y="615"/>
                </a:lnTo>
                <a:lnTo>
                  <a:pt x="88" y="614"/>
                </a:lnTo>
                <a:lnTo>
                  <a:pt x="88" y="612"/>
                </a:lnTo>
                <a:lnTo>
                  <a:pt x="88" y="611"/>
                </a:lnTo>
                <a:lnTo>
                  <a:pt x="88" y="611"/>
                </a:lnTo>
                <a:lnTo>
                  <a:pt x="86" y="612"/>
                </a:lnTo>
                <a:lnTo>
                  <a:pt x="85" y="612"/>
                </a:lnTo>
                <a:lnTo>
                  <a:pt x="86" y="612"/>
                </a:lnTo>
                <a:close/>
                <a:moveTo>
                  <a:pt x="363" y="515"/>
                </a:moveTo>
                <a:lnTo>
                  <a:pt x="360" y="516"/>
                </a:lnTo>
                <a:lnTo>
                  <a:pt x="359" y="518"/>
                </a:lnTo>
                <a:lnTo>
                  <a:pt x="359" y="520"/>
                </a:lnTo>
                <a:lnTo>
                  <a:pt x="360" y="521"/>
                </a:lnTo>
                <a:lnTo>
                  <a:pt x="364" y="521"/>
                </a:lnTo>
                <a:lnTo>
                  <a:pt x="365" y="519"/>
                </a:lnTo>
                <a:lnTo>
                  <a:pt x="365" y="518"/>
                </a:lnTo>
                <a:lnTo>
                  <a:pt x="365" y="516"/>
                </a:lnTo>
                <a:lnTo>
                  <a:pt x="364" y="516"/>
                </a:lnTo>
                <a:lnTo>
                  <a:pt x="363" y="515"/>
                </a:lnTo>
                <a:lnTo>
                  <a:pt x="361" y="515"/>
                </a:lnTo>
                <a:lnTo>
                  <a:pt x="363" y="515"/>
                </a:lnTo>
                <a:close/>
                <a:moveTo>
                  <a:pt x="46" y="319"/>
                </a:moveTo>
                <a:lnTo>
                  <a:pt x="50" y="316"/>
                </a:lnTo>
                <a:lnTo>
                  <a:pt x="52" y="313"/>
                </a:lnTo>
                <a:lnTo>
                  <a:pt x="52" y="311"/>
                </a:lnTo>
                <a:lnTo>
                  <a:pt x="52" y="310"/>
                </a:lnTo>
                <a:lnTo>
                  <a:pt x="51" y="308"/>
                </a:lnTo>
                <a:lnTo>
                  <a:pt x="50" y="308"/>
                </a:lnTo>
                <a:lnTo>
                  <a:pt x="47" y="311"/>
                </a:lnTo>
                <a:lnTo>
                  <a:pt x="48" y="313"/>
                </a:lnTo>
                <a:lnTo>
                  <a:pt x="47" y="314"/>
                </a:lnTo>
                <a:lnTo>
                  <a:pt x="46" y="316"/>
                </a:lnTo>
                <a:lnTo>
                  <a:pt x="45" y="317"/>
                </a:lnTo>
                <a:lnTo>
                  <a:pt x="46" y="319"/>
                </a:lnTo>
                <a:lnTo>
                  <a:pt x="47" y="319"/>
                </a:lnTo>
                <a:lnTo>
                  <a:pt x="46" y="319"/>
                </a:lnTo>
                <a:close/>
                <a:moveTo>
                  <a:pt x="1000" y="670"/>
                </a:moveTo>
                <a:lnTo>
                  <a:pt x="998" y="671"/>
                </a:lnTo>
                <a:lnTo>
                  <a:pt x="998" y="673"/>
                </a:lnTo>
                <a:lnTo>
                  <a:pt x="998" y="676"/>
                </a:lnTo>
                <a:lnTo>
                  <a:pt x="1001" y="677"/>
                </a:lnTo>
                <a:lnTo>
                  <a:pt x="1003" y="677"/>
                </a:lnTo>
                <a:lnTo>
                  <a:pt x="1005" y="676"/>
                </a:lnTo>
                <a:lnTo>
                  <a:pt x="1006" y="674"/>
                </a:lnTo>
                <a:lnTo>
                  <a:pt x="1006" y="674"/>
                </a:lnTo>
                <a:lnTo>
                  <a:pt x="1003" y="672"/>
                </a:lnTo>
                <a:lnTo>
                  <a:pt x="1000" y="670"/>
                </a:lnTo>
                <a:lnTo>
                  <a:pt x="1001" y="670"/>
                </a:lnTo>
                <a:lnTo>
                  <a:pt x="1000" y="670"/>
                </a:lnTo>
                <a:close/>
                <a:moveTo>
                  <a:pt x="984" y="654"/>
                </a:moveTo>
                <a:lnTo>
                  <a:pt x="987" y="654"/>
                </a:lnTo>
                <a:lnTo>
                  <a:pt x="990" y="652"/>
                </a:lnTo>
                <a:lnTo>
                  <a:pt x="990" y="651"/>
                </a:lnTo>
                <a:lnTo>
                  <a:pt x="986" y="651"/>
                </a:lnTo>
                <a:lnTo>
                  <a:pt x="984" y="649"/>
                </a:lnTo>
                <a:lnTo>
                  <a:pt x="982" y="651"/>
                </a:lnTo>
                <a:lnTo>
                  <a:pt x="981" y="652"/>
                </a:lnTo>
                <a:lnTo>
                  <a:pt x="982" y="653"/>
                </a:lnTo>
                <a:lnTo>
                  <a:pt x="983" y="654"/>
                </a:lnTo>
                <a:lnTo>
                  <a:pt x="984" y="654"/>
                </a:lnTo>
                <a:lnTo>
                  <a:pt x="985" y="654"/>
                </a:lnTo>
                <a:lnTo>
                  <a:pt x="984" y="654"/>
                </a:lnTo>
                <a:close/>
                <a:moveTo>
                  <a:pt x="1066" y="125"/>
                </a:moveTo>
                <a:lnTo>
                  <a:pt x="1063" y="123"/>
                </a:lnTo>
                <a:lnTo>
                  <a:pt x="1057" y="122"/>
                </a:lnTo>
                <a:lnTo>
                  <a:pt x="1059" y="124"/>
                </a:lnTo>
                <a:lnTo>
                  <a:pt x="1059" y="125"/>
                </a:lnTo>
                <a:lnTo>
                  <a:pt x="1059" y="126"/>
                </a:lnTo>
                <a:lnTo>
                  <a:pt x="1059" y="128"/>
                </a:lnTo>
                <a:lnTo>
                  <a:pt x="1058" y="131"/>
                </a:lnTo>
                <a:lnTo>
                  <a:pt x="1058" y="133"/>
                </a:lnTo>
                <a:lnTo>
                  <a:pt x="1063" y="131"/>
                </a:lnTo>
                <a:lnTo>
                  <a:pt x="1066" y="125"/>
                </a:lnTo>
                <a:lnTo>
                  <a:pt x="1064" y="125"/>
                </a:lnTo>
                <a:lnTo>
                  <a:pt x="1066" y="125"/>
                </a:lnTo>
                <a:close/>
                <a:moveTo>
                  <a:pt x="349" y="462"/>
                </a:moveTo>
                <a:lnTo>
                  <a:pt x="344" y="462"/>
                </a:lnTo>
                <a:lnTo>
                  <a:pt x="340" y="463"/>
                </a:lnTo>
                <a:lnTo>
                  <a:pt x="343" y="465"/>
                </a:lnTo>
                <a:lnTo>
                  <a:pt x="348" y="465"/>
                </a:lnTo>
                <a:lnTo>
                  <a:pt x="349" y="464"/>
                </a:lnTo>
                <a:lnTo>
                  <a:pt x="350" y="463"/>
                </a:lnTo>
                <a:lnTo>
                  <a:pt x="350" y="462"/>
                </a:lnTo>
                <a:lnTo>
                  <a:pt x="349" y="462"/>
                </a:lnTo>
                <a:lnTo>
                  <a:pt x="348" y="462"/>
                </a:lnTo>
                <a:lnTo>
                  <a:pt x="349" y="462"/>
                </a:lnTo>
                <a:close/>
                <a:moveTo>
                  <a:pt x="546" y="518"/>
                </a:moveTo>
                <a:lnTo>
                  <a:pt x="550" y="520"/>
                </a:lnTo>
                <a:lnTo>
                  <a:pt x="554" y="520"/>
                </a:lnTo>
                <a:lnTo>
                  <a:pt x="556" y="520"/>
                </a:lnTo>
                <a:lnTo>
                  <a:pt x="559" y="519"/>
                </a:lnTo>
                <a:lnTo>
                  <a:pt x="553" y="516"/>
                </a:lnTo>
                <a:lnTo>
                  <a:pt x="546" y="518"/>
                </a:lnTo>
                <a:close/>
                <a:moveTo>
                  <a:pt x="514" y="515"/>
                </a:moveTo>
                <a:lnTo>
                  <a:pt x="512" y="515"/>
                </a:lnTo>
                <a:lnTo>
                  <a:pt x="511" y="516"/>
                </a:lnTo>
                <a:lnTo>
                  <a:pt x="511" y="518"/>
                </a:lnTo>
                <a:lnTo>
                  <a:pt x="512" y="519"/>
                </a:lnTo>
                <a:lnTo>
                  <a:pt x="517" y="519"/>
                </a:lnTo>
                <a:lnTo>
                  <a:pt x="524" y="518"/>
                </a:lnTo>
                <a:lnTo>
                  <a:pt x="519" y="516"/>
                </a:lnTo>
                <a:lnTo>
                  <a:pt x="514" y="515"/>
                </a:lnTo>
                <a:lnTo>
                  <a:pt x="514" y="515"/>
                </a:lnTo>
                <a:lnTo>
                  <a:pt x="514" y="515"/>
                </a:lnTo>
                <a:close/>
                <a:moveTo>
                  <a:pt x="1135" y="125"/>
                </a:moveTo>
                <a:lnTo>
                  <a:pt x="1133" y="125"/>
                </a:lnTo>
                <a:lnTo>
                  <a:pt x="1130" y="125"/>
                </a:lnTo>
                <a:lnTo>
                  <a:pt x="1127" y="125"/>
                </a:lnTo>
                <a:lnTo>
                  <a:pt x="1126" y="126"/>
                </a:lnTo>
                <a:lnTo>
                  <a:pt x="1126" y="128"/>
                </a:lnTo>
                <a:lnTo>
                  <a:pt x="1126" y="129"/>
                </a:lnTo>
                <a:lnTo>
                  <a:pt x="1127" y="130"/>
                </a:lnTo>
                <a:lnTo>
                  <a:pt x="1129" y="131"/>
                </a:lnTo>
                <a:lnTo>
                  <a:pt x="1130" y="130"/>
                </a:lnTo>
                <a:lnTo>
                  <a:pt x="1132" y="130"/>
                </a:lnTo>
                <a:lnTo>
                  <a:pt x="1134" y="128"/>
                </a:lnTo>
                <a:lnTo>
                  <a:pt x="1135" y="125"/>
                </a:lnTo>
                <a:lnTo>
                  <a:pt x="1133" y="128"/>
                </a:lnTo>
                <a:lnTo>
                  <a:pt x="1135" y="125"/>
                </a:lnTo>
                <a:close/>
                <a:moveTo>
                  <a:pt x="281" y="427"/>
                </a:moveTo>
                <a:lnTo>
                  <a:pt x="285" y="428"/>
                </a:lnTo>
                <a:lnTo>
                  <a:pt x="289" y="428"/>
                </a:lnTo>
                <a:lnTo>
                  <a:pt x="292" y="427"/>
                </a:lnTo>
                <a:lnTo>
                  <a:pt x="297" y="424"/>
                </a:lnTo>
                <a:lnTo>
                  <a:pt x="289" y="424"/>
                </a:lnTo>
                <a:lnTo>
                  <a:pt x="281" y="427"/>
                </a:lnTo>
                <a:close/>
                <a:moveTo>
                  <a:pt x="228" y="544"/>
                </a:moveTo>
                <a:lnTo>
                  <a:pt x="226" y="544"/>
                </a:lnTo>
                <a:lnTo>
                  <a:pt x="223" y="546"/>
                </a:lnTo>
                <a:lnTo>
                  <a:pt x="220" y="548"/>
                </a:lnTo>
                <a:lnTo>
                  <a:pt x="219" y="549"/>
                </a:lnTo>
                <a:lnTo>
                  <a:pt x="223" y="551"/>
                </a:lnTo>
                <a:lnTo>
                  <a:pt x="227" y="549"/>
                </a:lnTo>
                <a:lnTo>
                  <a:pt x="228" y="546"/>
                </a:lnTo>
                <a:lnTo>
                  <a:pt x="228" y="544"/>
                </a:lnTo>
                <a:lnTo>
                  <a:pt x="227" y="544"/>
                </a:lnTo>
                <a:lnTo>
                  <a:pt x="228" y="544"/>
                </a:lnTo>
                <a:close/>
                <a:moveTo>
                  <a:pt x="273" y="439"/>
                </a:moveTo>
                <a:lnTo>
                  <a:pt x="277" y="438"/>
                </a:lnTo>
                <a:lnTo>
                  <a:pt x="282" y="438"/>
                </a:lnTo>
                <a:lnTo>
                  <a:pt x="285" y="436"/>
                </a:lnTo>
                <a:lnTo>
                  <a:pt x="290" y="433"/>
                </a:lnTo>
                <a:lnTo>
                  <a:pt x="284" y="433"/>
                </a:lnTo>
                <a:lnTo>
                  <a:pt x="281" y="433"/>
                </a:lnTo>
                <a:lnTo>
                  <a:pt x="276" y="436"/>
                </a:lnTo>
                <a:lnTo>
                  <a:pt x="273" y="439"/>
                </a:lnTo>
                <a:close/>
                <a:moveTo>
                  <a:pt x="277" y="519"/>
                </a:moveTo>
                <a:lnTo>
                  <a:pt x="270" y="521"/>
                </a:lnTo>
                <a:lnTo>
                  <a:pt x="266" y="526"/>
                </a:lnTo>
                <a:lnTo>
                  <a:pt x="270" y="527"/>
                </a:lnTo>
                <a:lnTo>
                  <a:pt x="273" y="526"/>
                </a:lnTo>
                <a:lnTo>
                  <a:pt x="275" y="523"/>
                </a:lnTo>
                <a:lnTo>
                  <a:pt x="277" y="519"/>
                </a:lnTo>
                <a:close/>
                <a:moveTo>
                  <a:pt x="162" y="129"/>
                </a:moveTo>
                <a:lnTo>
                  <a:pt x="158" y="125"/>
                </a:lnTo>
                <a:lnTo>
                  <a:pt x="154" y="124"/>
                </a:lnTo>
                <a:lnTo>
                  <a:pt x="151" y="125"/>
                </a:lnTo>
                <a:lnTo>
                  <a:pt x="147" y="129"/>
                </a:lnTo>
                <a:lnTo>
                  <a:pt x="155" y="128"/>
                </a:lnTo>
                <a:lnTo>
                  <a:pt x="162" y="129"/>
                </a:lnTo>
                <a:close/>
                <a:moveTo>
                  <a:pt x="1043" y="84"/>
                </a:moveTo>
                <a:lnTo>
                  <a:pt x="1039" y="84"/>
                </a:lnTo>
                <a:lnTo>
                  <a:pt x="1033" y="83"/>
                </a:lnTo>
                <a:lnTo>
                  <a:pt x="1031" y="82"/>
                </a:lnTo>
                <a:lnTo>
                  <a:pt x="1030" y="82"/>
                </a:lnTo>
                <a:lnTo>
                  <a:pt x="1028" y="82"/>
                </a:lnTo>
                <a:lnTo>
                  <a:pt x="1030" y="84"/>
                </a:lnTo>
                <a:lnTo>
                  <a:pt x="1032" y="87"/>
                </a:lnTo>
                <a:lnTo>
                  <a:pt x="1036" y="87"/>
                </a:lnTo>
                <a:lnTo>
                  <a:pt x="1041" y="87"/>
                </a:lnTo>
                <a:lnTo>
                  <a:pt x="1043" y="84"/>
                </a:lnTo>
                <a:lnTo>
                  <a:pt x="1040" y="86"/>
                </a:lnTo>
                <a:lnTo>
                  <a:pt x="1043" y="84"/>
                </a:lnTo>
                <a:close/>
                <a:moveTo>
                  <a:pt x="127" y="167"/>
                </a:moveTo>
                <a:lnTo>
                  <a:pt x="129" y="166"/>
                </a:lnTo>
                <a:lnTo>
                  <a:pt x="130" y="163"/>
                </a:lnTo>
                <a:lnTo>
                  <a:pt x="129" y="158"/>
                </a:lnTo>
                <a:lnTo>
                  <a:pt x="127" y="156"/>
                </a:lnTo>
                <a:lnTo>
                  <a:pt x="126" y="156"/>
                </a:lnTo>
                <a:lnTo>
                  <a:pt x="125" y="157"/>
                </a:lnTo>
                <a:lnTo>
                  <a:pt x="125" y="159"/>
                </a:lnTo>
                <a:lnTo>
                  <a:pt x="126" y="161"/>
                </a:lnTo>
                <a:lnTo>
                  <a:pt x="125" y="163"/>
                </a:lnTo>
                <a:lnTo>
                  <a:pt x="125" y="165"/>
                </a:lnTo>
                <a:lnTo>
                  <a:pt x="125" y="167"/>
                </a:lnTo>
                <a:lnTo>
                  <a:pt x="127" y="167"/>
                </a:lnTo>
                <a:lnTo>
                  <a:pt x="127" y="167"/>
                </a:lnTo>
                <a:lnTo>
                  <a:pt x="127" y="167"/>
                </a:lnTo>
                <a:close/>
                <a:moveTo>
                  <a:pt x="365" y="468"/>
                </a:moveTo>
                <a:lnTo>
                  <a:pt x="359" y="469"/>
                </a:lnTo>
                <a:lnTo>
                  <a:pt x="352" y="469"/>
                </a:lnTo>
                <a:lnTo>
                  <a:pt x="353" y="473"/>
                </a:lnTo>
                <a:lnTo>
                  <a:pt x="355" y="474"/>
                </a:lnTo>
                <a:lnTo>
                  <a:pt x="357" y="476"/>
                </a:lnTo>
                <a:lnTo>
                  <a:pt x="359" y="474"/>
                </a:lnTo>
                <a:lnTo>
                  <a:pt x="364" y="471"/>
                </a:lnTo>
                <a:lnTo>
                  <a:pt x="365" y="468"/>
                </a:lnTo>
                <a:lnTo>
                  <a:pt x="365" y="469"/>
                </a:lnTo>
                <a:lnTo>
                  <a:pt x="365" y="468"/>
                </a:lnTo>
                <a:close/>
                <a:moveTo>
                  <a:pt x="590" y="489"/>
                </a:moveTo>
                <a:lnTo>
                  <a:pt x="587" y="489"/>
                </a:lnTo>
                <a:lnTo>
                  <a:pt x="582" y="488"/>
                </a:lnTo>
                <a:lnTo>
                  <a:pt x="577" y="488"/>
                </a:lnTo>
                <a:lnTo>
                  <a:pt x="574" y="489"/>
                </a:lnTo>
                <a:lnTo>
                  <a:pt x="574" y="491"/>
                </a:lnTo>
                <a:lnTo>
                  <a:pt x="575" y="493"/>
                </a:lnTo>
                <a:lnTo>
                  <a:pt x="578" y="493"/>
                </a:lnTo>
                <a:lnTo>
                  <a:pt x="581" y="493"/>
                </a:lnTo>
                <a:lnTo>
                  <a:pt x="587" y="490"/>
                </a:lnTo>
                <a:lnTo>
                  <a:pt x="590" y="489"/>
                </a:lnTo>
                <a:lnTo>
                  <a:pt x="587" y="489"/>
                </a:lnTo>
                <a:lnTo>
                  <a:pt x="590" y="489"/>
                </a:lnTo>
                <a:close/>
                <a:moveTo>
                  <a:pt x="270" y="452"/>
                </a:moveTo>
                <a:lnTo>
                  <a:pt x="272" y="452"/>
                </a:lnTo>
                <a:lnTo>
                  <a:pt x="273" y="449"/>
                </a:lnTo>
                <a:lnTo>
                  <a:pt x="273" y="447"/>
                </a:lnTo>
                <a:lnTo>
                  <a:pt x="272" y="446"/>
                </a:lnTo>
                <a:lnTo>
                  <a:pt x="267" y="448"/>
                </a:lnTo>
                <a:lnTo>
                  <a:pt x="265" y="452"/>
                </a:lnTo>
                <a:lnTo>
                  <a:pt x="264" y="453"/>
                </a:lnTo>
                <a:lnTo>
                  <a:pt x="264" y="455"/>
                </a:lnTo>
                <a:lnTo>
                  <a:pt x="265" y="457"/>
                </a:lnTo>
                <a:lnTo>
                  <a:pt x="267" y="457"/>
                </a:lnTo>
                <a:lnTo>
                  <a:pt x="268" y="455"/>
                </a:lnTo>
                <a:lnTo>
                  <a:pt x="270" y="452"/>
                </a:lnTo>
                <a:lnTo>
                  <a:pt x="270" y="452"/>
                </a:lnTo>
                <a:lnTo>
                  <a:pt x="270" y="452"/>
                </a:lnTo>
                <a:close/>
                <a:moveTo>
                  <a:pt x="63" y="321"/>
                </a:moveTo>
                <a:lnTo>
                  <a:pt x="66" y="319"/>
                </a:lnTo>
                <a:lnTo>
                  <a:pt x="67" y="315"/>
                </a:lnTo>
                <a:lnTo>
                  <a:pt x="68" y="313"/>
                </a:lnTo>
                <a:lnTo>
                  <a:pt x="68" y="311"/>
                </a:lnTo>
                <a:lnTo>
                  <a:pt x="68" y="310"/>
                </a:lnTo>
                <a:lnTo>
                  <a:pt x="66" y="310"/>
                </a:lnTo>
                <a:lnTo>
                  <a:pt x="63" y="312"/>
                </a:lnTo>
                <a:lnTo>
                  <a:pt x="62" y="315"/>
                </a:lnTo>
                <a:lnTo>
                  <a:pt x="62" y="319"/>
                </a:lnTo>
                <a:lnTo>
                  <a:pt x="63" y="321"/>
                </a:lnTo>
                <a:lnTo>
                  <a:pt x="63" y="320"/>
                </a:lnTo>
                <a:lnTo>
                  <a:pt x="63" y="321"/>
                </a:lnTo>
                <a:close/>
                <a:moveTo>
                  <a:pt x="97" y="202"/>
                </a:moveTo>
                <a:lnTo>
                  <a:pt x="101" y="198"/>
                </a:lnTo>
                <a:lnTo>
                  <a:pt x="104" y="196"/>
                </a:lnTo>
                <a:lnTo>
                  <a:pt x="107" y="195"/>
                </a:lnTo>
                <a:lnTo>
                  <a:pt x="107" y="194"/>
                </a:lnTo>
                <a:lnTo>
                  <a:pt x="105" y="191"/>
                </a:lnTo>
                <a:lnTo>
                  <a:pt x="104" y="191"/>
                </a:lnTo>
                <a:lnTo>
                  <a:pt x="103" y="191"/>
                </a:lnTo>
                <a:lnTo>
                  <a:pt x="102" y="192"/>
                </a:lnTo>
                <a:lnTo>
                  <a:pt x="100" y="195"/>
                </a:lnTo>
                <a:lnTo>
                  <a:pt x="96" y="198"/>
                </a:lnTo>
                <a:lnTo>
                  <a:pt x="94" y="198"/>
                </a:lnTo>
                <a:lnTo>
                  <a:pt x="92" y="199"/>
                </a:lnTo>
                <a:lnTo>
                  <a:pt x="91" y="200"/>
                </a:lnTo>
                <a:lnTo>
                  <a:pt x="89" y="202"/>
                </a:lnTo>
                <a:lnTo>
                  <a:pt x="91" y="202"/>
                </a:lnTo>
                <a:lnTo>
                  <a:pt x="92" y="202"/>
                </a:lnTo>
                <a:lnTo>
                  <a:pt x="95" y="202"/>
                </a:lnTo>
                <a:lnTo>
                  <a:pt x="97" y="202"/>
                </a:lnTo>
                <a:lnTo>
                  <a:pt x="97" y="199"/>
                </a:lnTo>
                <a:lnTo>
                  <a:pt x="97" y="202"/>
                </a:lnTo>
                <a:close/>
                <a:moveTo>
                  <a:pt x="1396" y="693"/>
                </a:moveTo>
                <a:lnTo>
                  <a:pt x="1398" y="694"/>
                </a:lnTo>
                <a:lnTo>
                  <a:pt x="1399" y="693"/>
                </a:lnTo>
                <a:lnTo>
                  <a:pt x="1401" y="692"/>
                </a:lnTo>
                <a:lnTo>
                  <a:pt x="1403" y="689"/>
                </a:lnTo>
                <a:lnTo>
                  <a:pt x="1405" y="688"/>
                </a:lnTo>
                <a:lnTo>
                  <a:pt x="1407" y="688"/>
                </a:lnTo>
                <a:lnTo>
                  <a:pt x="1410" y="687"/>
                </a:lnTo>
                <a:lnTo>
                  <a:pt x="1411" y="684"/>
                </a:lnTo>
                <a:lnTo>
                  <a:pt x="1406" y="685"/>
                </a:lnTo>
                <a:lnTo>
                  <a:pt x="1401" y="687"/>
                </a:lnTo>
                <a:lnTo>
                  <a:pt x="1398" y="689"/>
                </a:lnTo>
                <a:lnTo>
                  <a:pt x="1396" y="690"/>
                </a:lnTo>
                <a:lnTo>
                  <a:pt x="1395" y="692"/>
                </a:lnTo>
                <a:lnTo>
                  <a:pt x="1396" y="693"/>
                </a:lnTo>
                <a:lnTo>
                  <a:pt x="1395" y="693"/>
                </a:lnTo>
                <a:lnTo>
                  <a:pt x="1396" y="693"/>
                </a:lnTo>
                <a:close/>
                <a:moveTo>
                  <a:pt x="284" y="469"/>
                </a:moveTo>
                <a:lnTo>
                  <a:pt x="283" y="469"/>
                </a:lnTo>
                <a:lnTo>
                  <a:pt x="282" y="469"/>
                </a:lnTo>
                <a:lnTo>
                  <a:pt x="282" y="470"/>
                </a:lnTo>
                <a:lnTo>
                  <a:pt x="281" y="471"/>
                </a:lnTo>
                <a:lnTo>
                  <a:pt x="282" y="473"/>
                </a:lnTo>
                <a:lnTo>
                  <a:pt x="282" y="476"/>
                </a:lnTo>
                <a:lnTo>
                  <a:pt x="283" y="477"/>
                </a:lnTo>
                <a:lnTo>
                  <a:pt x="284" y="476"/>
                </a:lnTo>
                <a:lnTo>
                  <a:pt x="284" y="476"/>
                </a:lnTo>
                <a:lnTo>
                  <a:pt x="285" y="473"/>
                </a:lnTo>
                <a:lnTo>
                  <a:pt x="285" y="470"/>
                </a:lnTo>
                <a:lnTo>
                  <a:pt x="284" y="469"/>
                </a:lnTo>
                <a:lnTo>
                  <a:pt x="284" y="469"/>
                </a:lnTo>
                <a:lnTo>
                  <a:pt x="284" y="469"/>
                </a:lnTo>
                <a:close/>
                <a:moveTo>
                  <a:pt x="284" y="477"/>
                </a:moveTo>
                <a:lnTo>
                  <a:pt x="284" y="477"/>
                </a:lnTo>
                <a:lnTo>
                  <a:pt x="285" y="478"/>
                </a:lnTo>
                <a:lnTo>
                  <a:pt x="286" y="479"/>
                </a:lnTo>
                <a:lnTo>
                  <a:pt x="289" y="479"/>
                </a:lnTo>
                <a:lnTo>
                  <a:pt x="291" y="479"/>
                </a:lnTo>
                <a:lnTo>
                  <a:pt x="292" y="478"/>
                </a:lnTo>
                <a:lnTo>
                  <a:pt x="294" y="477"/>
                </a:lnTo>
                <a:lnTo>
                  <a:pt x="295" y="476"/>
                </a:lnTo>
                <a:lnTo>
                  <a:pt x="294" y="476"/>
                </a:lnTo>
                <a:lnTo>
                  <a:pt x="293" y="474"/>
                </a:lnTo>
                <a:lnTo>
                  <a:pt x="292" y="474"/>
                </a:lnTo>
                <a:lnTo>
                  <a:pt x="293" y="474"/>
                </a:lnTo>
                <a:lnTo>
                  <a:pt x="289" y="477"/>
                </a:lnTo>
                <a:lnTo>
                  <a:pt x="285" y="478"/>
                </a:lnTo>
                <a:lnTo>
                  <a:pt x="285" y="477"/>
                </a:lnTo>
                <a:lnTo>
                  <a:pt x="284" y="477"/>
                </a:lnTo>
                <a:lnTo>
                  <a:pt x="284" y="477"/>
                </a:lnTo>
                <a:lnTo>
                  <a:pt x="284" y="477"/>
                </a:lnTo>
                <a:close/>
                <a:moveTo>
                  <a:pt x="58" y="460"/>
                </a:moveTo>
                <a:lnTo>
                  <a:pt x="58" y="458"/>
                </a:lnTo>
                <a:lnTo>
                  <a:pt x="59" y="455"/>
                </a:lnTo>
                <a:lnTo>
                  <a:pt x="59" y="454"/>
                </a:lnTo>
                <a:lnTo>
                  <a:pt x="58" y="454"/>
                </a:lnTo>
                <a:lnTo>
                  <a:pt x="56" y="453"/>
                </a:lnTo>
                <a:lnTo>
                  <a:pt x="54" y="454"/>
                </a:lnTo>
                <a:lnTo>
                  <a:pt x="52" y="455"/>
                </a:lnTo>
                <a:lnTo>
                  <a:pt x="51" y="456"/>
                </a:lnTo>
                <a:lnTo>
                  <a:pt x="52" y="458"/>
                </a:lnTo>
                <a:lnTo>
                  <a:pt x="52" y="462"/>
                </a:lnTo>
                <a:lnTo>
                  <a:pt x="52" y="463"/>
                </a:lnTo>
                <a:lnTo>
                  <a:pt x="52" y="466"/>
                </a:lnTo>
                <a:lnTo>
                  <a:pt x="52" y="468"/>
                </a:lnTo>
                <a:lnTo>
                  <a:pt x="52" y="468"/>
                </a:lnTo>
                <a:lnTo>
                  <a:pt x="53" y="468"/>
                </a:lnTo>
                <a:lnTo>
                  <a:pt x="54" y="465"/>
                </a:lnTo>
                <a:lnTo>
                  <a:pt x="54" y="463"/>
                </a:lnTo>
                <a:lnTo>
                  <a:pt x="54" y="461"/>
                </a:lnTo>
                <a:lnTo>
                  <a:pt x="54" y="461"/>
                </a:lnTo>
                <a:lnTo>
                  <a:pt x="55" y="460"/>
                </a:lnTo>
                <a:lnTo>
                  <a:pt x="56" y="460"/>
                </a:lnTo>
                <a:lnTo>
                  <a:pt x="58" y="460"/>
                </a:lnTo>
                <a:lnTo>
                  <a:pt x="56" y="460"/>
                </a:lnTo>
                <a:lnTo>
                  <a:pt x="58" y="460"/>
                </a:lnTo>
                <a:close/>
                <a:moveTo>
                  <a:pt x="75" y="239"/>
                </a:moveTo>
                <a:lnTo>
                  <a:pt x="69" y="241"/>
                </a:lnTo>
                <a:lnTo>
                  <a:pt x="66" y="244"/>
                </a:lnTo>
                <a:lnTo>
                  <a:pt x="63" y="247"/>
                </a:lnTo>
                <a:lnTo>
                  <a:pt x="63" y="250"/>
                </a:lnTo>
                <a:lnTo>
                  <a:pt x="70" y="246"/>
                </a:lnTo>
                <a:lnTo>
                  <a:pt x="74" y="244"/>
                </a:lnTo>
                <a:lnTo>
                  <a:pt x="75" y="241"/>
                </a:lnTo>
                <a:lnTo>
                  <a:pt x="75" y="239"/>
                </a:lnTo>
                <a:close/>
                <a:moveTo>
                  <a:pt x="75" y="239"/>
                </a:moveTo>
                <a:lnTo>
                  <a:pt x="76" y="239"/>
                </a:lnTo>
                <a:lnTo>
                  <a:pt x="75" y="239"/>
                </a:lnTo>
                <a:close/>
                <a:moveTo>
                  <a:pt x="319" y="457"/>
                </a:moveTo>
                <a:lnTo>
                  <a:pt x="325" y="455"/>
                </a:lnTo>
                <a:lnTo>
                  <a:pt x="331" y="454"/>
                </a:lnTo>
                <a:lnTo>
                  <a:pt x="336" y="453"/>
                </a:lnTo>
                <a:lnTo>
                  <a:pt x="340" y="448"/>
                </a:lnTo>
                <a:lnTo>
                  <a:pt x="330" y="452"/>
                </a:lnTo>
                <a:lnTo>
                  <a:pt x="319" y="457"/>
                </a:lnTo>
                <a:close/>
                <a:moveTo>
                  <a:pt x="274" y="530"/>
                </a:moveTo>
                <a:lnTo>
                  <a:pt x="270" y="529"/>
                </a:lnTo>
                <a:lnTo>
                  <a:pt x="266" y="530"/>
                </a:lnTo>
                <a:lnTo>
                  <a:pt x="261" y="531"/>
                </a:lnTo>
                <a:lnTo>
                  <a:pt x="259" y="534"/>
                </a:lnTo>
                <a:lnTo>
                  <a:pt x="260" y="536"/>
                </a:lnTo>
                <a:lnTo>
                  <a:pt x="264" y="536"/>
                </a:lnTo>
                <a:lnTo>
                  <a:pt x="267" y="536"/>
                </a:lnTo>
                <a:lnTo>
                  <a:pt x="269" y="536"/>
                </a:lnTo>
                <a:lnTo>
                  <a:pt x="270" y="535"/>
                </a:lnTo>
                <a:lnTo>
                  <a:pt x="273" y="534"/>
                </a:lnTo>
                <a:lnTo>
                  <a:pt x="275" y="531"/>
                </a:lnTo>
                <a:lnTo>
                  <a:pt x="274" y="530"/>
                </a:lnTo>
                <a:lnTo>
                  <a:pt x="274" y="530"/>
                </a:lnTo>
                <a:lnTo>
                  <a:pt x="274" y="530"/>
                </a:lnTo>
                <a:close/>
                <a:moveTo>
                  <a:pt x="773" y="584"/>
                </a:moveTo>
                <a:lnTo>
                  <a:pt x="777" y="586"/>
                </a:lnTo>
                <a:lnTo>
                  <a:pt x="781" y="587"/>
                </a:lnTo>
                <a:lnTo>
                  <a:pt x="787" y="586"/>
                </a:lnTo>
                <a:lnTo>
                  <a:pt x="793" y="584"/>
                </a:lnTo>
                <a:lnTo>
                  <a:pt x="787" y="584"/>
                </a:lnTo>
                <a:lnTo>
                  <a:pt x="783" y="582"/>
                </a:lnTo>
                <a:lnTo>
                  <a:pt x="778" y="582"/>
                </a:lnTo>
                <a:lnTo>
                  <a:pt x="773" y="584"/>
                </a:lnTo>
                <a:close/>
                <a:moveTo>
                  <a:pt x="390" y="486"/>
                </a:moveTo>
                <a:lnTo>
                  <a:pt x="389" y="487"/>
                </a:lnTo>
                <a:lnTo>
                  <a:pt x="389" y="488"/>
                </a:lnTo>
                <a:lnTo>
                  <a:pt x="389" y="488"/>
                </a:lnTo>
                <a:lnTo>
                  <a:pt x="390" y="489"/>
                </a:lnTo>
                <a:lnTo>
                  <a:pt x="392" y="489"/>
                </a:lnTo>
                <a:lnTo>
                  <a:pt x="394" y="488"/>
                </a:lnTo>
                <a:lnTo>
                  <a:pt x="401" y="488"/>
                </a:lnTo>
                <a:lnTo>
                  <a:pt x="408" y="488"/>
                </a:lnTo>
                <a:lnTo>
                  <a:pt x="404" y="485"/>
                </a:lnTo>
                <a:lnTo>
                  <a:pt x="399" y="483"/>
                </a:lnTo>
                <a:lnTo>
                  <a:pt x="397" y="482"/>
                </a:lnTo>
                <a:lnTo>
                  <a:pt x="394" y="483"/>
                </a:lnTo>
                <a:lnTo>
                  <a:pt x="392" y="485"/>
                </a:lnTo>
                <a:lnTo>
                  <a:pt x="390" y="486"/>
                </a:lnTo>
                <a:lnTo>
                  <a:pt x="391" y="485"/>
                </a:lnTo>
                <a:lnTo>
                  <a:pt x="390" y="486"/>
                </a:lnTo>
                <a:close/>
                <a:moveTo>
                  <a:pt x="437" y="453"/>
                </a:moveTo>
                <a:lnTo>
                  <a:pt x="421" y="453"/>
                </a:lnTo>
                <a:lnTo>
                  <a:pt x="405" y="453"/>
                </a:lnTo>
                <a:lnTo>
                  <a:pt x="413" y="454"/>
                </a:lnTo>
                <a:lnTo>
                  <a:pt x="421" y="455"/>
                </a:lnTo>
                <a:lnTo>
                  <a:pt x="429" y="455"/>
                </a:lnTo>
                <a:lnTo>
                  <a:pt x="437" y="453"/>
                </a:lnTo>
                <a:close/>
                <a:moveTo>
                  <a:pt x="637" y="532"/>
                </a:moveTo>
                <a:lnTo>
                  <a:pt x="637" y="531"/>
                </a:lnTo>
                <a:lnTo>
                  <a:pt x="637" y="532"/>
                </a:lnTo>
                <a:lnTo>
                  <a:pt x="628" y="532"/>
                </a:lnTo>
                <a:lnTo>
                  <a:pt x="619" y="532"/>
                </a:lnTo>
                <a:lnTo>
                  <a:pt x="622" y="534"/>
                </a:lnTo>
                <a:lnTo>
                  <a:pt x="619" y="532"/>
                </a:lnTo>
                <a:lnTo>
                  <a:pt x="621" y="534"/>
                </a:lnTo>
                <a:lnTo>
                  <a:pt x="623" y="536"/>
                </a:lnTo>
                <a:lnTo>
                  <a:pt x="627" y="537"/>
                </a:lnTo>
                <a:lnTo>
                  <a:pt x="630" y="537"/>
                </a:lnTo>
                <a:lnTo>
                  <a:pt x="632" y="537"/>
                </a:lnTo>
                <a:lnTo>
                  <a:pt x="636" y="536"/>
                </a:lnTo>
                <a:lnTo>
                  <a:pt x="637" y="535"/>
                </a:lnTo>
                <a:lnTo>
                  <a:pt x="637" y="532"/>
                </a:lnTo>
                <a:close/>
                <a:moveTo>
                  <a:pt x="224" y="494"/>
                </a:moveTo>
                <a:lnTo>
                  <a:pt x="226" y="494"/>
                </a:lnTo>
                <a:lnTo>
                  <a:pt x="228" y="493"/>
                </a:lnTo>
                <a:lnTo>
                  <a:pt x="229" y="490"/>
                </a:lnTo>
                <a:lnTo>
                  <a:pt x="228" y="488"/>
                </a:lnTo>
                <a:lnTo>
                  <a:pt x="229" y="486"/>
                </a:lnTo>
                <a:lnTo>
                  <a:pt x="232" y="483"/>
                </a:lnTo>
                <a:lnTo>
                  <a:pt x="227" y="482"/>
                </a:lnTo>
                <a:lnTo>
                  <a:pt x="224" y="483"/>
                </a:lnTo>
                <a:lnTo>
                  <a:pt x="220" y="486"/>
                </a:lnTo>
                <a:lnTo>
                  <a:pt x="218" y="490"/>
                </a:lnTo>
                <a:lnTo>
                  <a:pt x="219" y="490"/>
                </a:lnTo>
                <a:lnTo>
                  <a:pt x="221" y="490"/>
                </a:lnTo>
                <a:lnTo>
                  <a:pt x="223" y="490"/>
                </a:lnTo>
                <a:lnTo>
                  <a:pt x="223" y="490"/>
                </a:lnTo>
                <a:lnTo>
                  <a:pt x="224" y="491"/>
                </a:lnTo>
                <a:lnTo>
                  <a:pt x="224" y="494"/>
                </a:lnTo>
                <a:lnTo>
                  <a:pt x="224" y="491"/>
                </a:lnTo>
                <a:lnTo>
                  <a:pt x="224" y="494"/>
                </a:lnTo>
                <a:close/>
                <a:moveTo>
                  <a:pt x="1372" y="702"/>
                </a:moveTo>
                <a:lnTo>
                  <a:pt x="1374" y="703"/>
                </a:lnTo>
                <a:lnTo>
                  <a:pt x="1378" y="704"/>
                </a:lnTo>
                <a:lnTo>
                  <a:pt x="1381" y="704"/>
                </a:lnTo>
                <a:lnTo>
                  <a:pt x="1385" y="703"/>
                </a:lnTo>
                <a:lnTo>
                  <a:pt x="1382" y="702"/>
                </a:lnTo>
                <a:lnTo>
                  <a:pt x="1380" y="701"/>
                </a:lnTo>
                <a:lnTo>
                  <a:pt x="1380" y="698"/>
                </a:lnTo>
                <a:lnTo>
                  <a:pt x="1379" y="696"/>
                </a:lnTo>
                <a:lnTo>
                  <a:pt x="1377" y="697"/>
                </a:lnTo>
                <a:lnTo>
                  <a:pt x="1373" y="698"/>
                </a:lnTo>
                <a:lnTo>
                  <a:pt x="1371" y="697"/>
                </a:lnTo>
                <a:lnTo>
                  <a:pt x="1369" y="695"/>
                </a:lnTo>
                <a:lnTo>
                  <a:pt x="1366" y="697"/>
                </a:lnTo>
                <a:lnTo>
                  <a:pt x="1366" y="700"/>
                </a:lnTo>
                <a:lnTo>
                  <a:pt x="1369" y="701"/>
                </a:lnTo>
                <a:lnTo>
                  <a:pt x="1372" y="702"/>
                </a:lnTo>
                <a:lnTo>
                  <a:pt x="1370" y="702"/>
                </a:lnTo>
                <a:lnTo>
                  <a:pt x="1372" y="702"/>
                </a:lnTo>
                <a:close/>
                <a:moveTo>
                  <a:pt x="960" y="664"/>
                </a:moveTo>
                <a:lnTo>
                  <a:pt x="964" y="664"/>
                </a:lnTo>
                <a:lnTo>
                  <a:pt x="966" y="665"/>
                </a:lnTo>
                <a:lnTo>
                  <a:pt x="968" y="667"/>
                </a:lnTo>
                <a:lnTo>
                  <a:pt x="972" y="668"/>
                </a:lnTo>
                <a:lnTo>
                  <a:pt x="974" y="668"/>
                </a:lnTo>
                <a:lnTo>
                  <a:pt x="977" y="668"/>
                </a:lnTo>
                <a:lnTo>
                  <a:pt x="979" y="667"/>
                </a:lnTo>
                <a:lnTo>
                  <a:pt x="982" y="664"/>
                </a:lnTo>
                <a:lnTo>
                  <a:pt x="976" y="663"/>
                </a:lnTo>
                <a:lnTo>
                  <a:pt x="970" y="661"/>
                </a:lnTo>
                <a:lnTo>
                  <a:pt x="967" y="661"/>
                </a:lnTo>
                <a:lnTo>
                  <a:pt x="965" y="661"/>
                </a:lnTo>
                <a:lnTo>
                  <a:pt x="962" y="662"/>
                </a:lnTo>
                <a:lnTo>
                  <a:pt x="960" y="664"/>
                </a:lnTo>
                <a:lnTo>
                  <a:pt x="962" y="663"/>
                </a:lnTo>
                <a:lnTo>
                  <a:pt x="960" y="664"/>
                </a:lnTo>
                <a:close/>
                <a:moveTo>
                  <a:pt x="379" y="471"/>
                </a:moveTo>
                <a:lnTo>
                  <a:pt x="382" y="471"/>
                </a:lnTo>
                <a:lnTo>
                  <a:pt x="384" y="469"/>
                </a:lnTo>
                <a:lnTo>
                  <a:pt x="387" y="466"/>
                </a:lnTo>
                <a:lnTo>
                  <a:pt x="389" y="464"/>
                </a:lnTo>
                <a:lnTo>
                  <a:pt x="382" y="465"/>
                </a:lnTo>
                <a:lnTo>
                  <a:pt x="376" y="466"/>
                </a:lnTo>
                <a:lnTo>
                  <a:pt x="374" y="468"/>
                </a:lnTo>
                <a:lnTo>
                  <a:pt x="372" y="470"/>
                </a:lnTo>
                <a:lnTo>
                  <a:pt x="369" y="472"/>
                </a:lnTo>
                <a:lnTo>
                  <a:pt x="367" y="474"/>
                </a:lnTo>
                <a:lnTo>
                  <a:pt x="373" y="472"/>
                </a:lnTo>
                <a:lnTo>
                  <a:pt x="379" y="471"/>
                </a:lnTo>
                <a:lnTo>
                  <a:pt x="380" y="471"/>
                </a:lnTo>
                <a:lnTo>
                  <a:pt x="379" y="471"/>
                </a:lnTo>
                <a:close/>
                <a:moveTo>
                  <a:pt x="861" y="615"/>
                </a:moveTo>
                <a:lnTo>
                  <a:pt x="858" y="615"/>
                </a:lnTo>
                <a:lnTo>
                  <a:pt x="858" y="617"/>
                </a:lnTo>
                <a:lnTo>
                  <a:pt x="859" y="618"/>
                </a:lnTo>
                <a:lnTo>
                  <a:pt x="859" y="619"/>
                </a:lnTo>
                <a:lnTo>
                  <a:pt x="853" y="619"/>
                </a:lnTo>
                <a:lnTo>
                  <a:pt x="849" y="620"/>
                </a:lnTo>
                <a:lnTo>
                  <a:pt x="847" y="621"/>
                </a:lnTo>
                <a:lnTo>
                  <a:pt x="849" y="622"/>
                </a:lnTo>
                <a:lnTo>
                  <a:pt x="850" y="623"/>
                </a:lnTo>
                <a:lnTo>
                  <a:pt x="851" y="623"/>
                </a:lnTo>
                <a:lnTo>
                  <a:pt x="857" y="623"/>
                </a:lnTo>
                <a:lnTo>
                  <a:pt x="862" y="621"/>
                </a:lnTo>
                <a:lnTo>
                  <a:pt x="867" y="619"/>
                </a:lnTo>
                <a:lnTo>
                  <a:pt x="872" y="615"/>
                </a:lnTo>
                <a:lnTo>
                  <a:pt x="867" y="615"/>
                </a:lnTo>
                <a:lnTo>
                  <a:pt x="861" y="615"/>
                </a:lnTo>
                <a:lnTo>
                  <a:pt x="862" y="615"/>
                </a:lnTo>
                <a:lnTo>
                  <a:pt x="861" y="615"/>
                </a:lnTo>
                <a:close/>
                <a:moveTo>
                  <a:pt x="41" y="424"/>
                </a:moveTo>
                <a:lnTo>
                  <a:pt x="44" y="424"/>
                </a:lnTo>
                <a:lnTo>
                  <a:pt x="47" y="424"/>
                </a:lnTo>
                <a:lnTo>
                  <a:pt x="48" y="426"/>
                </a:lnTo>
                <a:lnTo>
                  <a:pt x="50" y="429"/>
                </a:lnTo>
                <a:lnTo>
                  <a:pt x="52" y="424"/>
                </a:lnTo>
                <a:lnTo>
                  <a:pt x="54" y="419"/>
                </a:lnTo>
                <a:lnTo>
                  <a:pt x="51" y="419"/>
                </a:lnTo>
                <a:lnTo>
                  <a:pt x="47" y="418"/>
                </a:lnTo>
                <a:lnTo>
                  <a:pt x="45" y="416"/>
                </a:lnTo>
                <a:lnTo>
                  <a:pt x="43" y="416"/>
                </a:lnTo>
                <a:lnTo>
                  <a:pt x="42" y="418"/>
                </a:lnTo>
                <a:lnTo>
                  <a:pt x="41" y="420"/>
                </a:lnTo>
                <a:lnTo>
                  <a:pt x="41" y="423"/>
                </a:lnTo>
                <a:lnTo>
                  <a:pt x="41" y="424"/>
                </a:lnTo>
                <a:lnTo>
                  <a:pt x="43" y="423"/>
                </a:lnTo>
                <a:lnTo>
                  <a:pt x="41" y="424"/>
                </a:lnTo>
                <a:close/>
                <a:moveTo>
                  <a:pt x="310" y="80"/>
                </a:moveTo>
                <a:lnTo>
                  <a:pt x="313" y="78"/>
                </a:lnTo>
                <a:lnTo>
                  <a:pt x="315" y="75"/>
                </a:lnTo>
                <a:lnTo>
                  <a:pt x="318" y="76"/>
                </a:lnTo>
                <a:lnTo>
                  <a:pt x="320" y="76"/>
                </a:lnTo>
                <a:lnTo>
                  <a:pt x="323" y="75"/>
                </a:lnTo>
                <a:lnTo>
                  <a:pt x="325" y="72"/>
                </a:lnTo>
                <a:lnTo>
                  <a:pt x="326" y="68"/>
                </a:lnTo>
                <a:lnTo>
                  <a:pt x="326" y="66"/>
                </a:lnTo>
                <a:lnTo>
                  <a:pt x="323" y="66"/>
                </a:lnTo>
                <a:lnTo>
                  <a:pt x="320" y="68"/>
                </a:lnTo>
                <a:lnTo>
                  <a:pt x="319" y="70"/>
                </a:lnTo>
                <a:lnTo>
                  <a:pt x="317" y="71"/>
                </a:lnTo>
                <a:lnTo>
                  <a:pt x="316" y="71"/>
                </a:lnTo>
                <a:lnTo>
                  <a:pt x="314" y="70"/>
                </a:lnTo>
                <a:lnTo>
                  <a:pt x="309" y="73"/>
                </a:lnTo>
                <a:lnTo>
                  <a:pt x="305" y="74"/>
                </a:lnTo>
                <a:lnTo>
                  <a:pt x="303" y="76"/>
                </a:lnTo>
                <a:lnTo>
                  <a:pt x="303" y="78"/>
                </a:lnTo>
                <a:lnTo>
                  <a:pt x="303" y="79"/>
                </a:lnTo>
                <a:lnTo>
                  <a:pt x="305" y="79"/>
                </a:lnTo>
                <a:lnTo>
                  <a:pt x="308" y="79"/>
                </a:lnTo>
                <a:lnTo>
                  <a:pt x="310" y="80"/>
                </a:lnTo>
                <a:lnTo>
                  <a:pt x="311" y="79"/>
                </a:lnTo>
                <a:lnTo>
                  <a:pt x="310" y="80"/>
                </a:lnTo>
                <a:close/>
                <a:moveTo>
                  <a:pt x="14" y="674"/>
                </a:moveTo>
                <a:lnTo>
                  <a:pt x="10" y="676"/>
                </a:lnTo>
                <a:lnTo>
                  <a:pt x="5" y="678"/>
                </a:lnTo>
                <a:lnTo>
                  <a:pt x="3" y="681"/>
                </a:lnTo>
                <a:lnTo>
                  <a:pt x="1" y="687"/>
                </a:lnTo>
                <a:lnTo>
                  <a:pt x="0" y="689"/>
                </a:lnTo>
                <a:lnTo>
                  <a:pt x="1" y="690"/>
                </a:lnTo>
                <a:lnTo>
                  <a:pt x="2" y="690"/>
                </a:lnTo>
                <a:lnTo>
                  <a:pt x="4" y="690"/>
                </a:lnTo>
                <a:lnTo>
                  <a:pt x="8" y="686"/>
                </a:lnTo>
                <a:lnTo>
                  <a:pt x="11" y="685"/>
                </a:lnTo>
                <a:lnTo>
                  <a:pt x="12" y="686"/>
                </a:lnTo>
                <a:lnTo>
                  <a:pt x="13" y="688"/>
                </a:lnTo>
                <a:lnTo>
                  <a:pt x="13" y="689"/>
                </a:lnTo>
                <a:lnTo>
                  <a:pt x="14" y="689"/>
                </a:lnTo>
                <a:lnTo>
                  <a:pt x="15" y="689"/>
                </a:lnTo>
                <a:lnTo>
                  <a:pt x="17" y="688"/>
                </a:lnTo>
                <a:lnTo>
                  <a:pt x="15" y="685"/>
                </a:lnTo>
                <a:lnTo>
                  <a:pt x="15" y="681"/>
                </a:lnTo>
                <a:lnTo>
                  <a:pt x="17" y="677"/>
                </a:lnTo>
                <a:lnTo>
                  <a:pt x="19" y="674"/>
                </a:lnTo>
                <a:lnTo>
                  <a:pt x="19" y="672"/>
                </a:lnTo>
                <a:lnTo>
                  <a:pt x="17" y="672"/>
                </a:lnTo>
                <a:lnTo>
                  <a:pt x="15" y="672"/>
                </a:lnTo>
                <a:lnTo>
                  <a:pt x="14" y="674"/>
                </a:lnTo>
                <a:lnTo>
                  <a:pt x="12" y="673"/>
                </a:lnTo>
                <a:lnTo>
                  <a:pt x="14" y="674"/>
                </a:lnTo>
                <a:close/>
                <a:moveTo>
                  <a:pt x="150" y="498"/>
                </a:moveTo>
                <a:lnTo>
                  <a:pt x="155" y="494"/>
                </a:lnTo>
                <a:lnTo>
                  <a:pt x="162" y="491"/>
                </a:lnTo>
                <a:lnTo>
                  <a:pt x="157" y="488"/>
                </a:lnTo>
                <a:lnTo>
                  <a:pt x="151" y="488"/>
                </a:lnTo>
                <a:lnTo>
                  <a:pt x="149" y="489"/>
                </a:lnTo>
                <a:lnTo>
                  <a:pt x="145" y="489"/>
                </a:lnTo>
                <a:lnTo>
                  <a:pt x="143" y="491"/>
                </a:lnTo>
                <a:lnTo>
                  <a:pt x="141" y="494"/>
                </a:lnTo>
                <a:lnTo>
                  <a:pt x="141" y="496"/>
                </a:lnTo>
                <a:lnTo>
                  <a:pt x="141" y="497"/>
                </a:lnTo>
                <a:lnTo>
                  <a:pt x="142" y="499"/>
                </a:lnTo>
                <a:lnTo>
                  <a:pt x="143" y="499"/>
                </a:lnTo>
                <a:lnTo>
                  <a:pt x="145" y="501"/>
                </a:lnTo>
                <a:lnTo>
                  <a:pt x="146" y="501"/>
                </a:lnTo>
                <a:lnTo>
                  <a:pt x="149" y="499"/>
                </a:lnTo>
                <a:lnTo>
                  <a:pt x="150" y="498"/>
                </a:lnTo>
                <a:close/>
                <a:moveTo>
                  <a:pt x="725" y="570"/>
                </a:moveTo>
                <a:lnTo>
                  <a:pt x="719" y="569"/>
                </a:lnTo>
                <a:lnTo>
                  <a:pt x="712" y="568"/>
                </a:lnTo>
                <a:lnTo>
                  <a:pt x="704" y="566"/>
                </a:lnTo>
                <a:lnTo>
                  <a:pt x="695" y="565"/>
                </a:lnTo>
                <a:lnTo>
                  <a:pt x="706" y="569"/>
                </a:lnTo>
                <a:lnTo>
                  <a:pt x="717" y="574"/>
                </a:lnTo>
                <a:lnTo>
                  <a:pt x="722" y="576"/>
                </a:lnTo>
                <a:lnTo>
                  <a:pt x="728" y="577"/>
                </a:lnTo>
                <a:lnTo>
                  <a:pt x="734" y="577"/>
                </a:lnTo>
                <a:lnTo>
                  <a:pt x="739" y="574"/>
                </a:lnTo>
                <a:lnTo>
                  <a:pt x="735" y="574"/>
                </a:lnTo>
                <a:lnTo>
                  <a:pt x="731" y="574"/>
                </a:lnTo>
                <a:lnTo>
                  <a:pt x="729" y="574"/>
                </a:lnTo>
                <a:lnTo>
                  <a:pt x="727" y="573"/>
                </a:lnTo>
                <a:lnTo>
                  <a:pt x="726" y="572"/>
                </a:lnTo>
                <a:lnTo>
                  <a:pt x="725" y="570"/>
                </a:lnTo>
                <a:lnTo>
                  <a:pt x="726" y="572"/>
                </a:lnTo>
                <a:lnTo>
                  <a:pt x="725" y="570"/>
                </a:lnTo>
                <a:close/>
                <a:moveTo>
                  <a:pt x="201" y="478"/>
                </a:moveTo>
                <a:lnTo>
                  <a:pt x="210" y="477"/>
                </a:lnTo>
                <a:lnTo>
                  <a:pt x="220" y="473"/>
                </a:lnTo>
                <a:lnTo>
                  <a:pt x="226" y="470"/>
                </a:lnTo>
                <a:lnTo>
                  <a:pt x="229" y="466"/>
                </a:lnTo>
                <a:lnTo>
                  <a:pt x="233" y="463"/>
                </a:lnTo>
                <a:lnTo>
                  <a:pt x="235" y="458"/>
                </a:lnTo>
                <a:lnTo>
                  <a:pt x="233" y="458"/>
                </a:lnTo>
                <a:lnTo>
                  <a:pt x="231" y="458"/>
                </a:lnTo>
                <a:lnTo>
                  <a:pt x="228" y="458"/>
                </a:lnTo>
                <a:lnTo>
                  <a:pt x="226" y="461"/>
                </a:lnTo>
                <a:lnTo>
                  <a:pt x="225" y="462"/>
                </a:lnTo>
                <a:lnTo>
                  <a:pt x="224" y="465"/>
                </a:lnTo>
                <a:lnTo>
                  <a:pt x="221" y="466"/>
                </a:lnTo>
                <a:lnTo>
                  <a:pt x="219" y="468"/>
                </a:lnTo>
                <a:lnTo>
                  <a:pt x="215" y="469"/>
                </a:lnTo>
                <a:lnTo>
                  <a:pt x="208" y="472"/>
                </a:lnTo>
                <a:lnTo>
                  <a:pt x="203" y="476"/>
                </a:lnTo>
                <a:lnTo>
                  <a:pt x="201" y="478"/>
                </a:lnTo>
                <a:lnTo>
                  <a:pt x="206" y="478"/>
                </a:lnTo>
                <a:lnTo>
                  <a:pt x="201" y="478"/>
                </a:lnTo>
                <a:close/>
                <a:moveTo>
                  <a:pt x="487" y="497"/>
                </a:moveTo>
                <a:lnTo>
                  <a:pt x="479" y="496"/>
                </a:lnTo>
                <a:lnTo>
                  <a:pt x="472" y="495"/>
                </a:lnTo>
                <a:lnTo>
                  <a:pt x="468" y="495"/>
                </a:lnTo>
                <a:lnTo>
                  <a:pt x="466" y="495"/>
                </a:lnTo>
                <a:lnTo>
                  <a:pt x="466" y="497"/>
                </a:lnTo>
                <a:lnTo>
                  <a:pt x="466" y="498"/>
                </a:lnTo>
                <a:lnTo>
                  <a:pt x="459" y="499"/>
                </a:lnTo>
                <a:lnTo>
                  <a:pt x="450" y="498"/>
                </a:lnTo>
                <a:lnTo>
                  <a:pt x="451" y="499"/>
                </a:lnTo>
                <a:lnTo>
                  <a:pt x="454" y="502"/>
                </a:lnTo>
                <a:lnTo>
                  <a:pt x="457" y="502"/>
                </a:lnTo>
                <a:lnTo>
                  <a:pt x="460" y="503"/>
                </a:lnTo>
                <a:lnTo>
                  <a:pt x="467" y="504"/>
                </a:lnTo>
                <a:lnTo>
                  <a:pt x="473" y="504"/>
                </a:lnTo>
                <a:lnTo>
                  <a:pt x="479" y="503"/>
                </a:lnTo>
                <a:lnTo>
                  <a:pt x="484" y="502"/>
                </a:lnTo>
                <a:lnTo>
                  <a:pt x="487" y="501"/>
                </a:lnTo>
                <a:lnTo>
                  <a:pt x="489" y="499"/>
                </a:lnTo>
                <a:lnTo>
                  <a:pt x="489" y="498"/>
                </a:lnTo>
                <a:lnTo>
                  <a:pt x="487" y="497"/>
                </a:lnTo>
                <a:lnTo>
                  <a:pt x="484" y="496"/>
                </a:lnTo>
                <a:lnTo>
                  <a:pt x="487" y="497"/>
                </a:lnTo>
                <a:close/>
                <a:moveTo>
                  <a:pt x="946" y="645"/>
                </a:moveTo>
                <a:lnTo>
                  <a:pt x="949" y="646"/>
                </a:lnTo>
                <a:lnTo>
                  <a:pt x="951" y="645"/>
                </a:lnTo>
                <a:lnTo>
                  <a:pt x="953" y="645"/>
                </a:lnTo>
                <a:lnTo>
                  <a:pt x="956" y="643"/>
                </a:lnTo>
                <a:lnTo>
                  <a:pt x="950" y="642"/>
                </a:lnTo>
                <a:lnTo>
                  <a:pt x="944" y="642"/>
                </a:lnTo>
                <a:lnTo>
                  <a:pt x="942" y="642"/>
                </a:lnTo>
                <a:lnTo>
                  <a:pt x="938" y="642"/>
                </a:lnTo>
                <a:lnTo>
                  <a:pt x="936" y="639"/>
                </a:lnTo>
                <a:lnTo>
                  <a:pt x="933" y="638"/>
                </a:lnTo>
                <a:lnTo>
                  <a:pt x="929" y="640"/>
                </a:lnTo>
                <a:lnTo>
                  <a:pt x="926" y="643"/>
                </a:lnTo>
                <a:lnTo>
                  <a:pt x="923" y="642"/>
                </a:lnTo>
                <a:lnTo>
                  <a:pt x="919" y="640"/>
                </a:lnTo>
                <a:lnTo>
                  <a:pt x="916" y="640"/>
                </a:lnTo>
                <a:lnTo>
                  <a:pt x="915" y="642"/>
                </a:lnTo>
                <a:lnTo>
                  <a:pt x="918" y="643"/>
                </a:lnTo>
                <a:lnTo>
                  <a:pt x="920" y="645"/>
                </a:lnTo>
                <a:lnTo>
                  <a:pt x="919" y="647"/>
                </a:lnTo>
                <a:lnTo>
                  <a:pt x="919" y="649"/>
                </a:lnTo>
                <a:lnTo>
                  <a:pt x="925" y="651"/>
                </a:lnTo>
                <a:lnTo>
                  <a:pt x="929" y="651"/>
                </a:lnTo>
                <a:lnTo>
                  <a:pt x="932" y="651"/>
                </a:lnTo>
                <a:lnTo>
                  <a:pt x="934" y="652"/>
                </a:lnTo>
                <a:lnTo>
                  <a:pt x="937" y="652"/>
                </a:lnTo>
                <a:lnTo>
                  <a:pt x="940" y="651"/>
                </a:lnTo>
                <a:lnTo>
                  <a:pt x="941" y="648"/>
                </a:lnTo>
                <a:lnTo>
                  <a:pt x="942" y="646"/>
                </a:lnTo>
                <a:lnTo>
                  <a:pt x="943" y="645"/>
                </a:lnTo>
                <a:lnTo>
                  <a:pt x="946" y="645"/>
                </a:lnTo>
                <a:lnTo>
                  <a:pt x="946" y="645"/>
                </a:lnTo>
                <a:lnTo>
                  <a:pt x="946" y="645"/>
                </a:lnTo>
                <a:close/>
                <a:moveTo>
                  <a:pt x="270" y="485"/>
                </a:moveTo>
                <a:lnTo>
                  <a:pt x="267" y="487"/>
                </a:lnTo>
                <a:lnTo>
                  <a:pt x="265" y="487"/>
                </a:lnTo>
                <a:lnTo>
                  <a:pt x="261" y="486"/>
                </a:lnTo>
                <a:lnTo>
                  <a:pt x="258" y="486"/>
                </a:lnTo>
                <a:lnTo>
                  <a:pt x="254" y="486"/>
                </a:lnTo>
                <a:lnTo>
                  <a:pt x="251" y="488"/>
                </a:lnTo>
                <a:lnTo>
                  <a:pt x="249" y="490"/>
                </a:lnTo>
                <a:lnTo>
                  <a:pt x="247" y="493"/>
                </a:lnTo>
                <a:lnTo>
                  <a:pt x="241" y="493"/>
                </a:lnTo>
                <a:lnTo>
                  <a:pt x="235" y="493"/>
                </a:lnTo>
                <a:lnTo>
                  <a:pt x="233" y="494"/>
                </a:lnTo>
                <a:lnTo>
                  <a:pt x="231" y="496"/>
                </a:lnTo>
                <a:lnTo>
                  <a:pt x="226" y="497"/>
                </a:lnTo>
                <a:lnTo>
                  <a:pt x="225" y="499"/>
                </a:lnTo>
                <a:lnTo>
                  <a:pt x="226" y="499"/>
                </a:lnTo>
                <a:lnTo>
                  <a:pt x="228" y="501"/>
                </a:lnTo>
                <a:lnTo>
                  <a:pt x="231" y="499"/>
                </a:lnTo>
                <a:lnTo>
                  <a:pt x="234" y="499"/>
                </a:lnTo>
                <a:lnTo>
                  <a:pt x="239" y="498"/>
                </a:lnTo>
                <a:lnTo>
                  <a:pt x="244" y="497"/>
                </a:lnTo>
                <a:lnTo>
                  <a:pt x="249" y="495"/>
                </a:lnTo>
                <a:lnTo>
                  <a:pt x="253" y="494"/>
                </a:lnTo>
                <a:lnTo>
                  <a:pt x="258" y="494"/>
                </a:lnTo>
                <a:lnTo>
                  <a:pt x="261" y="493"/>
                </a:lnTo>
                <a:lnTo>
                  <a:pt x="265" y="490"/>
                </a:lnTo>
                <a:lnTo>
                  <a:pt x="268" y="488"/>
                </a:lnTo>
                <a:lnTo>
                  <a:pt x="274" y="487"/>
                </a:lnTo>
                <a:lnTo>
                  <a:pt x="278" y="487"/>
                </a:lnTo>
                <a:lnTo>
                  <a:pt x="281" y="486"/>
                </a:lnTo>
                <a:lnTo>
                  <a:pt x="282" y="486"/>
                </a:lnTo>
                <a:lnTo>
                  <a:pt x="282" y="483"/>
                </a:lnTo>
                <a:lnTo>
                  <a:pt x="280" y="482"/>
                </a:lnTo>
                <a:lnTo>
                  <a:pt x="277" y="481"/>
                </a:lnTo>
                <a:lnTo>
                  <a:pt x="275" y="481"/>
                </a:lnTo>
                <a:lnTo>
                  <a:pt x="273" y="483"/>
                </a:lnTo>
                <a:lnTo>
                  <a:pt x="270" y="485"/>
                </a:lnTo>
                <a:lnTo>
                  <a:pt x="270" y="485"/>
                </a:lnTo>
                <a:lnTo>
                  <a:pt x="270" y="485"/>
                </a:lnTo>
                <a:close/>
                <a:moveTo>
                  <a:pt x="195" y="561"/>
                </a:moveTo>
                <a:lnTo>
                  <a:pt x="193" y="561"/>
                </a:lnTo>
                <a:lnTo>
                  <a:pt x="191" y="560"/>
                </a:lnTo>
                <a:lnTo>
                  <a:pt x="188" y="559"/>
                </a:lnTo>
                <a:lnTo>
                  <a:pt x="188" y="556"/>
                </a:lnTo>
                <a:lnTo>
                  <a:pt x="191" y="555"/>
                </a:lnTo>
                <a:lnTo>
                  <a:pt x="193" y="553"/>
                </a:lnTo>
                <a:lnTo>
                  <a:pt x="186" y="554"/>
                </a:lnTo>
                <a:lnTo>
                  <a:pt x="179" y="557"/>
                </a:lnTo>
                <a:lnTo>
                  <a:pt x="175" y="557"/>
                </a:lnTo>
                <a:lnTo>
                  <a:pt x="170" y="560"/>
                </a:lnTo>
                <a:lnTo>
                  <a:pt x="168" y="562"/>
                </a:lnTo>
                <a:lnTo>
                  <a:pt x="167" y="562"/>
                </a:lnTo>
                <a:lnTo>
                  <a:pt x="166" y="560"/>
                </a:lnTo>
                <a:lnTo>
                  <a:pt x="166" y="557"/>
                </a:lnTo>
                <a:lnTo>
                  <a:pt x="163" y="557"/>
                </a:lnTo>
                <a:lnTo>
                  <a:pt x="162" y="557"/>
                </a:lnTo>
                <a:lnTo>
                  <a:pt x="161" y="559"/>
                </a:lnTo>
                <a:lnTo>
                  <a:pt x="161" y="560"/>
                </a:lnTo>
                <a:lnTo>
                  <a:pt x="161" y="563"/>
                </a:lnTo>
                <a:lnTo>
                  <a:pt x="161" y="564"/>
                </a:lnTo>
                <a:lnTo>
                  <a:pt x="163" y="565"/>
                </a:lnTo>
                <a:lnTo>
                  <a:pt x="166" y="566"/>
                </a:lnTo>
                <a:lnTo>
                  <a:pt x="173" y="566"/>
                </a:lnTo>
                <a:lnTo>
                  <a:pt x="177" y="566"/>
                </a:lnTo>
                <a:lnTo>
                  <a:pt x="176" y="564"/>
                </a:lnTo>
                <a:lnTo>
                  <a:pt x="175" y="561"/>
                </a:lnTo>
                <a:lnTo>
                  <a:pt x="177" y="561"/>
                </a:lnTo>
                <a:lnTo>
                  <a:pt x="181" y="561"/>
                </a:lnTo>
                <a:lnTo>
                  <a:pt x="183" y="560"/>
                </a:lnTo>
                <a:lnTo>
                  <a:pt x="185" y="559"/>
                </a:lnTo>
                <a:lnTo>
                  <a:pt x="185" y="560"/>
                </a:lnTo>
                <a:lnTo>
                  <a:pt x="185" y="562"/>
                </a:lnTo>
                <a:lnTo>
                  <a:pt x="184" y="562"/>
                </a:lnTo>
                <a:lnTo>
                  <a:pt x="183" y="563"/>
                </a:lnTo>
                <a:lnTo>
                  <a:pt x="182" y="563"/>
                </a:lnTo>
                <a:lnTo>
                  <a:pt x="181" y="565"/>
                </a:lnTo>
                <a:lnTo>
                  <a:pt x="179" y="566"/>
                </a:lnTo>
                <a:lnTo>
                  <a:pt x="181" y="568"/>
                </a:lnTo>
                <a:lnTo>
                  <a:pt x="185" y="566"/>
                </a:lnTo>
                <a:lnTo>
                  <a:pt x="191" y="565"/>
                </a:lnTo>
                <a:lnTo>
                  <a:pt x="193" y="565"/>
                </a:lnTo>
                <a:lnTo>
                  <a:pt x="195" y="563"/>
                </a:lnTo>
                <a:lnTo>
                  <a:pt x="196" y="563"/>
                </a:lnTo>
                <a:lnTo>
                  <a:pt x="196" y="562"/>
                </a:lnTo>
                <a:lnTo>
                  <a:pt x="196" y="561"/>
                </a:lnTo>
                <a:lnTo>
                  <a:pt x="195" y="561"/>
                </a:lnTo>
                <a:lnTo>
                  <a:pt x="194" y="561"/>
                </a:lnTo>
                <a:lnTo>
                  <a:pt x="195" y="561"/>
                </a:lnTo>
                <a:close/>
                <a:moveTo>
                  <a:pt x="201" y="468"/>
                </a:moveTo>
                <a:lnTo>
                  <a:pt x="194" y="470"/>
                </a:lnTo>
                <a:lnTo>
                  <a:pt x="188" y="473"/>
                </a:lnTo>
                <a:lnTo>
                  <a:pt x="184" y="477"/>
                </a:lnTo>
                <a:lnTo>
                  <a:pt x="179" y="478"/>
                </a:lnTo>
                <a:lnTo>
                  <a:pt x="177" y="477"/>
                </a:lnTo>
                <a:lnTo>
                  <a:pt x="176" y="476"/>
                </a:lnTo>
                <a:lnTo>
                  <a:pt x="174" y="477"/>
                </a:lnTo>
                <a:lnTo>
                  <a:pt x="171" y="478"/>
                </a:lnTo>
                <a:lnTo>
                  <a:pt x="167" y="483"/>
                </a:lnTo>
                <a:lnTo>
                  <a:pt x="165" y="490"/>
                </a:lnTo>
                <a:lnTo>
                  <a:pt x="169" y="490"/>
                </a:lnTo>
                <a:lnTo>
                  <a:pt x="173" y="489"/>
                </a:lnTo>
                <a:lnTo>
                  <a:pt x="175" y="487"/>
                </a:lnTo>
                <a:lnTo>
                  <a:pt x="178" y="485"/>
                </a:lnTo>
                <a:lnTo>
                  <a:pt x="186" y="482"/>
                </a:lnTo>
                <a:lnTo>
                  <a:pt x="193" y="479"/>
                </a:lnTo>
                <a:lnTo>
                  <a:pt x="192" y="479"/>
                </a:lnTo>
                <a:lnTo>
                  <a:pt x="190" y="478"/>
                </a:lnTo>
                <a:lnTo>
                  <a:pt x="198" y="474"/>
                </a:lnTo>
                <a:lnTo>
                  <a:pt x="206" y="469"/>
                </a:lnTo>
                <a:lnTo>
                  <a:pt x="206" y="468"/>
                </a:lnTo>
                <a:lnTo>
                  <a:pt x="207" y="466"/>
                </a:lnTo>
                <a:lnTo>
                  <a:pt x="208" y="465"/>
                </a:lnTo>
                <a:lnTo>
                  <a:pt x="206" y="465"/>
                </a:lnTo>
                <a:lnTo>
                  <a:pt x="203" y="466"/>
                </a:lnTo>
                <a:lnTo>
                  <a:pt x="201" y="468"/>
                </a:lnTo>
                <a:lnTo>
                  <a:pt x="201" y="468"/>
                </a:lnTo>
                <a:lnTo>
                  <a:pt x="201" y="468"/>
                </a:lnTo>
                <a:close/>
                <a:moveTo>
                  <a:pt x="453" y="464"/>
                </a:moveTo>
                <a:lnTo>
                  <a:pt x="453" y="463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453" y="460"/>
                </a:moveTo>
                <a:lnTo>
                  <a:pt x="443" y="461"/>
                </a:lnTo>
                <a:lnTo>
                  <a:pt x="434" y="461"/>
                </a:lnTo>
                <a:lnTo>
                  <a:pt x="427" y="460"/>
                </a:lnTo>
                <a:lnTo>
                  <a:pt x="420" y="460"/>
                </a:lnTo>
                <a:lnTo>
                  <a:pt x="417" y="461"/>
                </a:lnTo>
                <a:lnTo>
                  <a:pt x="417" y="463"/>
                </a:lnTo>
                <a:lnTo>
                  <a:pt x="417" y="464"/>
                </a:lnTo>
                <a:lnTo>
                  <a:pt x="416" y="468"/>
                </a:lnTo>
                <a:lnTo>
                  <a:pt x="413" y="471"/>
                </a:lnTo>
                <a:lnTo>
                  <a:pt x="409" y="474"/>
                </a:lnTo>
                <a:lnTo>
                  <a:pt x="418" y="474"/>
                </a:lnTo>
                <a:lnTo>
                  <a:pt x="427" y="471"/>
                </a:lnTo>
                <a:lnTo>
                  <a:pt x="431" y="468"/>
                </a:lnTo>
                <a:lnTo>
                  <a:pt x="434" y="465"/>
                </a:lnTo>
                <a:lnTo>
                  <a:pt x="443" y="464"/>
                </a:lnTo>
                <a:lnTo>
                  <a:pt x="453" y="464"/>
                </a:lnTo>
                <a:lnTo>
                  <a:pt x="453" y="462"/>
                </a:lnTo>
                <a:lnTo>
                  <a:pt x="453" y="460"/>
                </a:lnTo>
                <a:lnTo>
                  <a:pt x="449" y="462"/>
                </a:lnTo>
                <a:lnTo>
                  <a:pt x="453" y="460"/>
                </a:lnTo>
                <a:close/>
                <a:moveTo>
                  <a:pt x="453" y="464"/>
                </a:moveTo>
                <a:lnTo>
                  <a:pt x="453" y="464"/>
                </a:lnTo>
                <a:lnTo>
                  <a:pt x="453" y="464"/>
                </a:lnTo>
                <a:lnTo>
                  <a:pt x="453" y="465"/>
                </a:lnTo>
                <a:lnTo>
                  <a:pt x="451" y="465"/>
                </a:lnTo>
                <a:lnTo>
                  <a:pt x="445" y="469"/>
                </a:lnTo>
                <a:lnTo>
                  <a:pt x="438" y="472"/>
                </a:lnTo>
                <a:lnTo>
                  <a:pt x="448" y="472"/>
                </a:lnTo>
                <a:lnTo>
                  <a:pt x="457" y="472"/>
                </a:lnTo>
                <a:lnTo>
                  <a:pt x="466" y="471"/>
                </a:lnTo>
                <a:lnTo>
                  <a:pt x="476" y="471"/>
                </a:lnTo>
                <a:lnTo>
                  <a:pt x="475" y="473"/>
                </a:lnTo>
                <a:lnTo>
                  <a:pt x="474" y="474"/>
                </a:lnTo>
                <a:lnTo>
                  <a:pt x="475" y="474"/>
                </a:lnTo>
                <a:lnTo>
                  <a:pt x="476" y="474"/>
                </a:lnTo>
                <a:lnTo>
                  <a:pt x="479" y="476"/>
                </a:lnTo>
                <a:lnTo>
                  <a:pt x="481" y="477"/>
                </a:lnTo>
                <a:lnTo>
                  <a:pt x="482" y="479"/>
                </a:lnTo>
                <a:lnTo>
                  <a:pt x="481" y="481"/>
                </a:lnTo>
                <a:lnTo>
                  <a:pt x="480" y="482"/>
                </a:lnTo>
                <a:lnTo>
                  <a:pt x="476" y="482"/>
                </a:lnTo>
                <a:lnTo>
                  <a:pt x="468" y="482"/>
                </a:lnTo>
                <a:lnTo>
                  <a:pt x="459" y="483"/>
                </a:lnTo>
                <a:lnTo>
                  <a:pt x="453" y="486"/>
                </a:lnTo>
                <a:lnTo>
                  <a:pt x="447" y="489"/>
                </a:lnTo>
                <a:lnTo>
                  <a:pt x="438" y="491"/>
                </a:lnTo>
                <a:lnTo>
                  <a:pt x="427" y="493"/>
                </a:lnTo>
                <a:lnTo>
                  <a:pt x="418" y="494"/>
                </a:lnTo>
                <a:lnTo>
                  <a:pt x="408" y="495"/>
                </a:lnTo>
                <a:lnTo>
                  <a:pt x="401" y="496"/>
                </a:lnTo>
                <a:lnTo>
                  <a:pt x="392" y="498"/>
                </a:lnTo>
                <a:lnTo>
                  <a:pt x="389" y="499"/>
                </a:lnTo>
                <a:lnTo>
                  <a:pt x="384" y="501"/>
                </a:lnTo>
                <a:lnTo>
                  <a:pt x="381" y="503"/>
                </a:lnTo>
                <a:lnTo>
                  <a:pt x="379" y="506"/>
                </a:lnTo>
                <a:lnTo>
                  <a:pt x="384" y="506"/>
                </a:lnTo>
                <a:lnTo>
                  <a:pt x="390" y="505"/>
                </a:lnTo>
                <a:lnTo>
                  <a:pt x="391" y="504"/>
                </a:lnTo>
                <a:lnTo>
                  <a:pt x="393" y="503"/>
                </a:lnTo>
                <a:lnTo>
                  <a:pt x="400" y="503"/>
                </a:lnTo>
                <a:lnTo>
                  <a:pt x="408" y="503"/>
                </a:lnTo>
                <a:lnTo>
                  <a:pt x="410" y="502"/>
                </a:lnTo>
                <a:lnTo>
                  <a:pt x="414" y="499"/>
                </a:lnTo>
                <a:lnTo>
                  <a:pt x="416" y="499"/>
                </a:lnTo>
                <a:lnTo>
                  <a:pt x="421" y="499"/>
                </a:lnTo>
                <a:lnTo>
                  <a:pt x="429" y="502"/>
                </a:lnTo>
                <a:lnTo>
                  <a:pt x="438" y="503"/>
                </a:lnTo>
                <a:lnTo>
                  <a:pt x="434" y="501"/>
                </a:lnTo>
                <a:lnTo>
                  <a:pt x="432" y="497"/>
                </a:lnTo>
                <a:lnTo>
                  <a:pt x="443" y="497"/>
                </a:lnTo>
                <a:lnTo>
                  <a:pt x="454" y="494"/>
                </a:lnTo>
                <a:lnTo>
                  <a:pt x="457" y="494"/>
                </a:lnTo>
                <a:lnTo>
                  <a:pt x="460" y="493"/>
                </a:lnTo>
                <a:lnTo>
                  <a:pt x="464" y="491"/>
                </a:lnTo>
                <a:lnTo>
                  <a:pt x="467" y="489"/>
                </a:lnTo>
                <a:lnTo>
                  <a:pt x="473" y="487"/>
                </a:lnTo>
                <a:lnTo>
                  <a:pt x="479" y="486"/>
                </a:lnTo>
                <a:lnTo>
                  <a:pt x="481" y="485"/>
                </a:lnTo>
                <a:lnTo>
                  <a:pt x="487" y="482"/>
                </a:lnTo>
                <a:lnTo>
                  <a:pt x="488" y="481"/>
                </a:lnTo>
                <a:lnTo>
                  <a:pt x="490" y="480"/>
                </a:lnTo>
                <a:lnTo>
                  <a:pt x="490" y="479"/>
                </a:lnTo>
                <a:lnTo>
                  <a:pt x="489" y="478"/>
                </a:lnTo>
                <a:lnTo>
                  <a:pt x="489" y="478"/>
                </a:lnTo>
                <a:lnTo>
                  <a:pt x="489" y="478"/>
                </a:lnTo>
                <a:lnTo>
                  <a:pt x="484" y="474"/>
                </a:lnTo>
                <a:lnTo>
                  <a:pt x="479" y="471"/>
                </a:lnTo>
                <a:lnTo>
                  <a:pt x="487" y="469"/>
                </a:lnTo>
                <a:lnTo>
                  <a:pt x="495" y="470"/>
                </a:lnTo>
                <a:lnTo>
                  <a:pt x="503" y="472"/>
                </a:lnTo>
                <a:lnTo>
                  <a:pt x="509" y="473"/>
                </a:lnTo>
                <a:lnTo>
                  <a:pt x="519" y="473"/>
                </a:lnTo>
                <a:lnTo>
                  <a:pt x="526" y="472"/>
                </a:lnTo>
                <a:lnTo>
                  <a:pt x="536" y="472"/>
                </a:lnTo>
                <a:lnTo>
                  <a:pt x="545" y="472"/>
                </a:lnTo>
                <a:lnTo>
                  <a:pt x="554" y="472"/>
                </a:lnTo>
                <a:lnTo>
                  <a:pt x="562" y="470"/>
                </a:lnTo>
                <a:lnTo>
                  <a:pt x="564" y="470"/>
                </a:lnTo>
                <a:lnTo>
                  <a:pt x="567" y="469"/>
                </a:lnTo>
                <a:lnTo>
                  <a:pt x="569" y="469"/>
                </a:lnTo>
                <a:lnTo>
                  <a:pt x="570" y="468"/>
                </a:lnTo>
                <a:lnTo>
                  <a:pt x="570" y="466"/>
                </a:lnTo>
                <a:lnTo>
                  <a:pt x="570" y="465"/>
                </a:lnTo>
                <a:lnTo>
                  <a:pt x="569" y="464"/>
                </a:lnTo>
                <a:lnTo>
                  <a:pt x="567" y="464"/>
                </a:lnTo>
                <a:lnTo>
                  <a:pt x="566" y="464"/>
                </a:lnTo>
                <a:lnTo>
                  <a:pt x="565" y="465"/>
                </a:lnTo>
                <a:lnTo>
                  <a:pt x="563" y="466"/>
                </a:lnTo>
                <a:lnTo>
                  <a:pt x="561" y="468"/>
                </a:lnTo>
                <a:lnTo>
                  <a:pt x="557" y="470"/>
                </a:lnTo>
                <a:lnTo>
                  <a:pt x="555" y="469"/>
                </a:lnTo>
                <a:lnTo>
                  <a:pt x="553" y="468"/>
                </a:lnTo>
                <a:lnTo>
                  <a:pt x="552" y="465"/>
                </a:lnTo>
                <a:lnTo>
                  <a:pt x="549" y="468"/>
                </a:lnTo>
                <a:lnTo>
                  <a:pt x="548" y="469"/>
                </a:lnTo>
                <a:lnTo>
                  <a:pt x="545" y="470"/>
                </a:lnTo>
                <a:lnTo>
                  <a:pt x="542" y="470"/>
                </a:lnTo>
                <a:lnTo>
                  <a:pt x="536" y="468"/>
                </a:lnTo>
                <a:lnTo>
                  <a:pt x="530" y="468"/>
                </a:lnTo>
                <a:lnTo>
                  <a:pt x="523" y="468"/>
                </a:lnTo>
                <a:lnTo>
                  <a:pt x="515" y="468"/>
                </a:lnTo>
                <a:lnTo>
                  <a:pt x="507" y="465"/>
                </a:lnTo>
                <a:lnTo>
                  <a:pt x="499" y="462"/>
                </a:lnTo>
                <a:lnTo>
                  <a:pt x="490" y="461"/>
                </a:lnTo>
                <a:lnTo>
                  <a:pt x="482" y="462"/>
                </a:lnTo>
                <a:lnTo>
                  <a:pt x="473" y="463"/>
                </a:lnTo>
                <a:lnTo>
                  <a:pt x="464" y="463"/>
                </a:lnTo>
                <a:lnTo>
                  <a:pt x="459" y="463"/>
                </a:lnTo>
                <a:lnTo>
                  <a:pt x="455" y="463"/>
                </a:lnTo>
                <a:lnTo>
                  <a:pt x="454" y="463"/>
                </a:lnTo>
                <a:lnTo>
                  <a:pt x="453" y="464"/>
                </a:lnTo>
                <a:lnTo>
                  <a:pt x="453" y="464"/>
                </a:lnTo>
                <a:close/>
                <a:moveTo>
                  <a:pt x="344" y="470"/>
                </a:moveTo>
                <a:lnTo>
                  <a:pt x="339" y="472"/>
                </a:lnTo>
                <a:lnTo>
                  <a:pt x="331" y="473"/>
                </a:lnTo>
                <a:lnTo>
                  <a:pt x="326" y="474"/>
                </a:lnTo>
                <a:lnTo>
                  <a:pt x="323" y="474"/>
                </a:lnTo>
                <a:lnTo>
                  <a:pt x="320" y="473"/>
                </a:lnTo>
                <a:lnTo>
                  <a:pt x="318" y="472"/>
                </a:lnTo>
                <a:lnTo>
                  <a:pt x="323" y="471"/>
                </a:lnTo>
                <a:lnTo>
                  <a:pt x="326" y="470"/>
                </a:lnTo>
                <a:lnTo>
                  <a:pt x="331" y="469"/>
                </a:lnTo>
                <a:lnTo>
                  <a:pt x="333" y="465"/>
                </a:lnTo>
                <a:lnTo>
                  <a:pt x="326" y="466"/>
                </a:lnTo>
                <a:lnTo>
                  <a:pt x="320" y="468"/>
                </a:lnTo>
                <a:lnTo>
                  <a:pt x="315" y="470"/>
                </a:lnTo>
                <a:lnTo>
                  <a:pt x="309" y="474"/>
                </a:lnTo>
                <a:lnTo>
                  <a:pt x="305" y="478"/>
                </a:lnTo>
                <a:lnTo>
                  <a:pt x="300" y="479"/>
                </a:lnTo>
                <a:lnTo>
                  <a:pt x="299" y="480"/>
                </a:lnTo>
                <a:lnTo>
                  <a:pt x="298" y="480"/>
                </a:lnTo>
                <a:lnTo>
                  <a:pt x="298" y="480"/>
                </a:lnTo>
                <a:lnTo>
                  <a:pt x="298" y="482"/>
                </a:lnTo>
                <a:lnTo>
                  <a:pt x="299" y="483"/>
                </a:lnTo>
                <a:lnTo>
                  <a:pt x="301" y="485"/>
                </a:lnTo>
                <a:lnTo>
                  <a:pt x="308" y="483"/>
                </a:lnTo>
                <a:lnTo>
                  <a:pt x="315" y="481"/>
                </a:lnTo>
                <a:lnTo>
                  <a:pt x="323" y="478"/>
                </a:lnTo>
                <a:lnTo>
                  <a:pt x="331" y="477"/>
                </a:lnTo>
                <a:lnTo>
                  <a:pt x="339" y="476"/>
                </a:lnTo>
                <a:lnTo>
                  <a:pt x="346" y="474"/>
                </a:lnTo>
                <a:lnTo>
                  <a:pt x="348" y="473"/>
                </a:lnTo>
                <a:lnTo>
                  <a:pt x="349" y="471"/>
                </a:lnTo>
                <a:lnTo>
                  <a:pt x="348" y="470"/>
                </a:lnTo>
                <a:lnTo>
                  <a:pt x="347" y="470"/>
                </a:lnTo>
                <a:lnTo>
                  <a:pt x="346" y="470"/>
                </a:lnTo>
                <a:lnTo>
                  <a:pt x="344" y="470"/>
                </a:lnTo>
                <a:lnTo>
                  <a:pt x="342" y="471"/>
                </a:lnTo>
                <a:lnTo>
                  <a:pt x="344" y="470"/>
                </a:lnTo>
                <a:close/>
                <a:moveTo>
                  <a:pt x="843" y="607"/>
                </a:moveTo>
                <a:lnTo>
                  <a:pt x="835" y="605"/>
                </a:lnTo>
                <a:lnTo>
                  <a:pt x="826" y="604"/>
                </a:lnTo>
                <a:lnTo>
                  <a:pt x="817" y="603"/>
                </a:lnTo>
                <a:lnTo>
                  <a:pt x="809" y="601"/>
                </a:lnTo>
                <a:lnTo>
                  <a:pt x="802" y="599"/>
                </a:lnTo>
                <a:lnTo>
                  <a:pt x="795" y="596"/>
                </a:lnTo>
                <a:lnTo>
                  <a:pt x="793" y="594"/>
                </a:lnTo>
                <a:lnTo>
                  <a:pt x="791" y="593"/>
                </a:lnTo>
                <a:lnTo>
                  <a:pt x="786" y="593"/>
                </a:lnTo>
                <a:lnTo>
                  <a:pt x="783" y="593"/>
                </a:lnTo>
                <a:lnTo>
                  <a:pt x="776" y="591"/>
                </a:lnTo>
                <a:lnTo>
                  <a:pt x="770" y="591"/>
                </a:lnTo>
                <a:lnTo>
                  <a:pt x="769" y="593"/>
                </a:lnTo>
                <a:lnTo>
                  <a:pt x="769" y="594"/>
                </a:lnTo>
                <a:lnTo>
                  <a:pt x="771" y="595"/>
                </a:lnTo>
                <a:lnTo>
                  <a:pt x="772" y="596"/>
                </a:lnTo>
                <a:lnTo>
                  <a:pt x="775" y="596"/>
                </a:lnTo>
                <a:lnTo>
                  <a:pt x="777" y="596"/>
                </a:lnTo>
                <a:lnTo>
                  <a:pt x="778" y="598"/>
                </a:lnTo>
                <a:lnTo>
                  <a:pt x="780" y="601"/>
                </a:lnTo>
                <a:lnTo>
                  <a:pt x="786" y="602"/>
                </a:lnTo>
                <a:lnTo>
                  <a:pt x="792" y="602"/>
                </a:lnTo>
                <a:lnTo>
                  <a:pt x="799" y="602"/>
                </a:lnTo>
                <a:lnTo>
                  <a:pt x="804" y="604"/>
                </a:lnTo>
                <a:lnTo>
                  <a:pt x="804" y="606"/>
                </a:lnTo>
                <a:lnTo>
                  <a:pt x="803" y="609"/>
                </a:lnTo>
                <a:lnTo>
                  <a:pt x="804" y="610"/>
                </a:lnTo>
                <a:lnTo>
                  <a:pt x="805" y="611"/>
                </a:lnTo>
                <a:lnTo>
                  <a:pt x="806" y="612"/>
                </a:lnTo>
                <a:lnTo>
                  <a:pt x="809" y="613"/>
                </a:lnTo>
                <a:lnTo>
                  <a:pt x="808" y="615"/>
                </a:lnTo>
                <a:lnTo>
                  <a:pt x="809" y="618"/>
                </a:lnTo>
                <a:lnTo>
                  <a:pt x="812" y="619"/>
                </a:lnTo>
                <a:lnTo>
                  <a:pt x="816" y="618"/>
                </a:lnTo>
                <a:lnTo>
                  <a:pt x="822" y="621"/>
                </a:lnTo>
                <a:lnTo>
                  <a:pt x="829" y="623"/>
                </a:lnTo>
                <a:lnTo>
                  <a:pt x="832" y="624"/>
                </a:lnTo>
                <a:lnTo>
                  <a:pt x="835" y="624"/>
                </a:lnTo>
                <a:lnTo>
                  <a:pt x="836" y="624"/>
                </a:lnTo>
                <a:lnTo>
                  <a:pt x="838" y="624"/>
                </a:lnTo>
                <a:lnTo>
                  <a:pt x="838" y="623"/>
                </a:lnTo>
                <a:lnTo>
                  <a:pt x="838" y="622"/>
                </a:lnTo>
                <a:lnTo>
                  <a:pt x="834" y="621"/>
                </a:lnTo>
                <a:lnTo>
                  <a:pt x="829" y="620"/>
                </a:lnTo>
                <a:lnTo>
                  <a:pt x="824" y="617"/>
                </a:lnTo>
                <a:lnTo>
                  <a:pt x="818" y="612"/>
                </a:lnTo>
                <a:lnTo>
                  <a:pt x="822" y="612"/>
                </a:lnTo>
                <a:lnTo>
                  <a:pt x="827" y="613"/>
                </a:lnTo>
                <a:lnTo>
                  <a:pt x="832" y="615"/>
                </a:lnTo>
                <a:lnTo>
                  <a:pt x="835" y="618"/>
                </a:lnTo>
                <a:lnTo>
                  <a:pt x="837" y="618"/>
                </a:lnTo>
                <a:lnTo>
                  <a:pt x="838" y="618"/>
                </a:lnTo>
                <a:lnTo>
                  <a:pt x="838" y="617"/>
                </a:lnTo>
                <a:lnTo>
                  <a:pt x="837" y="615"/>
                </a:lnTo>
                <a:lnTo>
                  <a:pt x="834" y="612"/>
                </a:lnTo>
                <a:lnTo>
                  <a:pt x="832" y="611"/>
                </a:lnTo>
                <a:lnTo>
                  <a:pt x="837" y="611"/>
                </a:lnTo>
                <a:lnTo>
                  <a:pt x="843" y="613"/>
                </a:lnTo>
                <a:lnTo>
                  <a:pt x="845" y="612"/>
                </a:lnTo>
                <a:lnTo>
                  <a:pt x="845" y="610"/>
                </a:lnTo>
                <a:lnTo>
                  <a:pt x="845" y="609"/>
                </a:lnTo>
                <a:lnTo>
                  <a:pt x="843" y="607"/>
                </a:lnTo>
                <a:lnTo>
                  <a:pt x="841" y="606"/>
                </a:lnTo>
                <a:lnTo>
                  <a:pt x="843" y="607"/>
                </a:lnTo>
                <a:close/>
                <a:moveTo>
                  <a:pt x="193" y="117"/>
                </a:moveTo>
                <a:lnTo>
                  <a:pt x="195" y="115"/>
                </a:lnTo>
                <a:lnTo>
                  <a:pt x="198" y="113"/>
                </a:lnTo>
                <a:lnTo>
                  <a:pt x="202" y="111"/>
                </a:lnTo>
                <a:lnTo>
                  <a:pt x="207" y="109"/>
                </a:lnTo>
                <a:lnTo>
                  <a:pt x="217" y="105"/>
                </a:lnTo>
                <a:lnTo>
                  <a:pt x="228" y="103"/>
                </a:lnTo>
                <a:lnTo>
                  <a:pt x="232" y="104"/>
                </a:lnTo>
                <a:lnTo>
                  <a:pt x="235" y="103"/>
                </a:lnTo>
                <a:lnTo>
                  <a:pt x="235" y="100"/>
                </a:lnTo>
                <a:lnTo>
                  <a:pt x="236" y="99"/>
                </a:lnTo>
                <a:lnTo>
                  <a:pt x="237" y="100"/>
                </a:lnTo>
                <a:lnTo>
                  <a:pt x="239" y="100"/>
                </a:lnTo>
                <a:lnTo>
                  <a:pt x="242" y="99"/>
                </a:lnTo>
                <a:lnTo>
                  <a:pt x="244" y="97"/>
                </a:lnTo>
                <a:lnTo>
                  <a:pt x="249" y="96"/>
                </a:lnTo>
                <a:lnTo>
                  <a:pt x="253" y="96"/>
                </a:lnTo>
                <a:lnTo>
                  <a:pt x="251" y="94"/>
                </a:lnTo>
                <a:lnTo>
                  <a:pt x="250" y="90"/>
                </a:lnTo>
                <a:lnTo>
                  <a:pt x="258" y="92"/>
                </a:lnTo>
                <a:lnTo>
                  <a:pt x="266" y="94"/>
                </a:lnTo>
                <a:lnTo>
                  <a:pt x="268" y="91"/>
                </a:lnTo>
                <a:lnTo>
                  <a:pt x="270" y="90"/>
                </a:lnTo>
                <a:lnTo>
                  <a:pt x="275" y="88"/>
                </a:lnTo>
                <a:lnTo>
                  <a:pt x="280" y="87"/>
                </a:lnTo>
                <a:lnTo>
                  <a:pt x="284" y="86"/>
                </a:lnTo>
                <a:lnTo>
                  <a:pt x="289" y="84"/>
                </a:lnTo>
                <a:lnTo>
                  <a:pt x="293" y="84"/>
                </a:lnTo>
                <a:lnTo>
                  <a:pt x="297" y="84"/>
                </a:lnTo>
                <a:lnTo>
                  <a:pt x="299" y="86"/>
                </a:lnTo>
                <a:lnTo>
                  <a:pt x="301" y="84"/>
                </a:lnTo>
                <a:lnTo>
                  <a:pt x="301" y="83"/>
                </a:lnTo>
                <a:lnTo>
                  <a:pt x="300" y="81"/>
                </a:lnTo>
                <a:lnTo>
                  <a:pt x="300" y="78"/>
                </a:lnTo>
                <a:lnTo>
                  <a:pt x="300" y="73"/>
                </a:lnTo>
                <a:lnTo>
                  <a:pt x="294" y="74"/>
                </a:lnTo>
                <a:lnTo>
                  <a:pt x="287" y="75"/>
                </a:lnTo>
                <a:lnTo>
                  <a:pt x="281" y="78"/>
                </a:lnTo>
                <a:lnTo>
                  <a:pt x="274" y="80"/>
                </a:lnTo>
                <a:lnTo>
                  <a:pt x="268" y="81"/>
                </a:lnTo>
                <a:lnTo>
                  <a:pt x="262" y="82"/>
                </a:lnTo>
                <a:lnTo>
                  <a:pt x="260" y="83"/>
                </a:lnTo>
                <a:lnTo>
                  <a:pt x="259" y="84"/>
                </a:lnTo>
                <a:lnTo>
                  <a:pt x="257" y="84"/>
                </a:lnTo>
                <a:lnTo>
                  <a:pt x="254" y="86"/>
                </a:lnTo>
                <a:lnTo>
                  <a:pt x="250" y="88"/>
                </a:lnTo>
                <a:lnTo>
                  <a:pt x="245" y="91"/>
                </a:lnTo>
                <a:lnTo>
                  <a:pt x="243" y="91"/>
                </a:lnTo>
                <a:lnTo>
                  <a:pt x="240" y="90"/>
                </a:lnTo>
                <a:lnTo>
                  <a:pt x="235" y="91"/>
                </a:lnTo>
                <a:lnTo>
                  <a:pt x="232" y="92"/>
                </a:lnTo>
                <a:lnTo>
                  <a:pt x="229" y="94"/>
                </a:lnTo>
                <a:lnTo>
                  <a:pt x="228" y="95"/>
                </a:lnTo>
                <a:lnTo>
                  <a:pt x="227" y="96"/>
                </a:lnTo>
                <a:lnTo>
                  <a:pt x="225" y="98"/>
                </a:lnTo>
                <a:lnTo>
                  <a:pt x="217" y="100"/>
                </a:lnTo>
                <a:lnTo>
                  <a:pt x="209" y="101"/>
                </a:lnTo>
                <a:lnTo>
                  <a:pt x="207" y="104"/>
                </a:lnTo>
                <a:lnTo>
                  <a:pt x="204" y="107"/>
                </a:lnTo>
                <a:lnTo>
                  <a:pt x="202" y="108"/>
                </a:lnTo>
                <a:lnTo>
                  <a:pt x="202" y="107"/>
                </a:lnTo>
                <a:lnTo>
                  <a:pt x="202" y="106"/>
                </a:lnTo>
                <a:lnTo>
                  <a:pt x="201" y="105"/>
                </a:lnTo>
                <a:lnTo>
                  <a:pt x="200" y="104"/>
                </a:lnTo>
                <a:lnTo>
                  <a:pt x="200" y="104"/>
                </a:lnTo>
                <a:lnTo>
                  <a:pt x="199" y="104"/>
                </a:lnTo>
                <a:lnTo>
                  <a:pt x="198" y="105"/>
                </a:lnTo>
                <a:lnTo>
                  <a:pt x="196" y="106"/>
                </a:lnTo>
                <a:lnTo>
                  <a:pt x="194" y="107"/>
                </a:lnTo>
                <a:lnTo>
                  <a:pt x="192" y="107"/>
                </a:lnTo>
                <a:lnTo>
                  <a:pt x="191" y="107"/>
                </a:lnTo>
                <a:lnTo>
                  <a:pt x="187" y="109"/>
                </a:lnTo>
                <a:lnTo>
                  <a:pt x="184" y="113"/>
                </a:lnTo>
                <a:lnTo>
                  <a:pt x="179" y="115"/>
                </a:lnTo>
                <a:lnTo>
                  <a:pt x="175" y="115"/>
                </a:lnTo>
                <a:lnTo>
                  <a:pt x="179" y="115"/>
                </a:lnTo>
                <a:lnTo>
                  <a:pt x="184" y="115"/>
                </a:lnTo>
                <a:lnTo>
                  <a:pt x="188" y="115"/>
                </a:lnTo>
                <a:lnTo>
                  <a:pt x="193" y="117"/>
                </a:lnTo>
                <a:lnTo>
                  <a:pt x="191" y="116"/>
                </a:lnTo>
                <a:lnTo>
                  <a:pt x="193" y="117"/>
                </a:lnTo>
                <a:close/>
                <a:moveTo>
                  <a:pt x="260" y="84"/>
                </a:moveTo>
                <a:lnTo>
                  <a:pt x="265" y="86"/>
                </a:lnTo>
                <a:lnTo>
                  <a:pt x="268" y="84"/>
                </a:lnTo>
                <a:lnTo>
                  <a:pt x="267" y="87"/>
                </a:lnTo>
                <a:lnTo>
                  <a:pt x="266" y="88"/>
                </a:lnTo>
                <a:lnTo>
                  <a:pt x="264" y="89"/>
                </a:lnTo>
                <a:lnTo>
                  <a:pt x="261" y="89"/>
                </a:lnTo>
                <a:lnTo>
                  <a:pt x="260" y="88"/>
                </a:lnTo>
                <a:lnTo>
                  <a:pt x="260" y="88"/>
                </a:lnTo>
                <a:lnTo>
                  <a:pt x="260" y="87"/>
                </a:lnTo>
                <a:lnTo>
                  <a:pt x="260" y="84"/>
                </a:lnTo>
                <a:lnTo>
                  <a:pt x="261" y="86"/>
                </a:lnTo>
                <a:lnTo>
                  <a:pt x="260" y="84"/>
                </a:lnTo>
                <a:close/>
                <a:moveTo>
                  <a:pt x="195" y="501"/>
                </a:moveTo>
                <a:lnTo>
                  <a:pt x="202" y="498"/>
                </a:lnTo>
                <a:lnTo>
                  <a:pt x="208" y="494"/>
                </a:lnTo>
                <a:lnTo>
                  <a:pt x="201" y="495"/>
                </a:lnTo>
                <a:lnTo>
                  <a:pt x="194" y="498"/>
                </a:lnTo>
                <a:lnTo>
                  <a:pt x="188" y="502"/>
                </a:lnTo>
                <a:lnTo>
                  <a:pt x="183" y="505"/>
                </a:lnTo>
                <a:lnTo>
                  <a:pt x="184" y="506"/>
                </a:lnTo>
                <a:lnTo>
                  <a:pt x="186" y="505"/>
                </a:lnTo>
                <a:lnTo>
                  <a:pt x="188" y="506"/>
                </a:lnTo>
                <a:lnTo>
                  <a:pt x="188" y="507"/>
                </a:lnTo>
                <a:lnTo>
                  <a:pt x="184" y="510"/>
                </a:lnTo>
                <a:lnTo>
                  <a:pt x="178" y="511"/>
                </a:lnTo>
                <a:lnTo>
                  <a:pt x="173" y="513"/>
                </a:lnTo>
                <a:lnTo>
                  <a:pt x="166" y="518"/>
                </a:lnTo>
                <a:lnTo>
                  <a:pt x="162" y="519"/>
                </a:lnTo>
                <a:lnTo>
                  <a:pt x="159" y="520"/>
                </a:lnTo>
                <a:lnTo>
                  <a:pt x="155" y="520"/>
                </a:lnTo>
                <a:lnTo>
                  <a:pt x="152" y="520"/>
                </a:lnTo>
                <a:lnTo>
                  <a:pt x="157" y="516"/>
                </a:lnTo>
                <a:lnTo>
                  <a:pt x="161" y="513"/>
                </a:lnTo>
                <a:lnTo>
                  <a:pt x="155" y="514"/>
                </a:lnTo>
                <a:lnTo>
                  <a:pt x="151" y="514"/>
                </a:lnTo>
                <a:lnTo>
                  <a:pt x="153" y="513"/>
                </a:lnTo>
                <a:lnTo>
                  <a:pt x="154" y="512"/>
                </a:lnTo>
                <a:lnTo>
                  <a:pt x="155" y="510"/>
                </a:lnTo>
                <a:lnTo>
                  <a:pt x="157" y="507"/>
                </a:lnTo>
                <a:lnTo>
                  <a:pt x="152" y="509"/>
                </a:lnTo>
                <a:lnTo>
                  <a:pt x="149" y="511"/>
                </a:lnTo>
                <a:lnTo>
                  <a:pt x="147" y="513"/>
                </a:lnTo>
                <a:lnTo>
                  <a:pt x="149" y="514"/>
                </a:lnTo>
                <a:lnTo>
                  <a:pt x="151" y="514"/>
                </a:lnTo>
                <a:lnTo>
                  <a:pt x="152" y="515"/>
                </a:lnTo>
                <a:lnTo>
                  <a:pt x="151" y="518"/>
                </a:lnTo>
                <a:lnTo>
                  <a:pt x="147" y="521"/>
                </a:lnTo>
                <a:lnTo>
                  <a:pt x="144" y="523"/>
                </a:lnTo>
                <a:lnTo>
                  <a:pt x="142" y="526"/>
                </a:lnTo>
                <a:lnTo>
                  <a:pt x="140" y="528"/>
                </a:lnTo>
                <a:lnTo>
                  <a:pt x="136" y="530"/>
                </a:lnTo>
                <a:lnTo>
                  <a:pt x="132" y="531"/>
                </a:lnTo>
                <a:lnTo>
                  <a:pt x="127" y="532"/>
                </a:lnTo>
                <a:lnTo>
                  <a:pt x="124" y="535"/>
                </a:lnTo>
                <a:lnTo>
                  <a:pt x="122" y="537"/>
                </a:lnTo>
                <a:lnTo>
                  <a:pt x="119" y="539"/>
                </a:lnTo>
                <a:lnTo>
                  <a:pt x="114" y="540"/>
                </a:lnTo>
                <a:lnTo>
                  <a:pt x="117" y="543"/>
                </a:lnTo>
                <a:lnTo>
                  <a:pt x="118" y="546"/>
                </a:lnTo>
                <a:lnTo>
                  <a:pt x="117" y="547"/>
                </a:lnTo>
                <a:lnTo>
                  <a:pt x="114" y="547"/>
                </a:lnTo>
                <a:lnTo>
                  <a:pt x="112" y="546"/>
                </a:lnTo>
                <a:lnTo>
                  <a:pt x="111" y="545"/>
                </a:lnTo>
                <a:lnTo>
                  <a:pt x="109" y="546"/>
                </a:lnTo>
                <a:lnTo>
                  <a:pt x="108" y="547"/>
                </a:lnTo>
                <a:lnTo>
                  <a:pt x="107" y="547"/>
                </a:lnTo>
                <a:lnTo>
                  <a:pt x="105" y="547"/>
                </a:lnTo>
                <a:lnTo>
                  <a:pt x="105" y="546"/>
                </a:lnTo>
                <a:lnTo>
                  <a:pt x="105" y="545"/>
                </a:lnTo>
                <a:lnTo>
                  <a:pt x="108" y="544"/>
                </a:lnTo>
                <a:lnTo>
                  <a:pt x="109" y="543"/>
                </a:lnTo>
                <a:lnTo>
                  <a:pt x="104" y="543"/>
                </a:lnTo>
                <a:lnTo>
                  <a:pt x="103" y="545"/>
                </a:lnTo>
                <a:lnTo>
                  <a:pt x="102" y="547"/>
                </a:lnTo>
                <a:lnTo>
                  <a:pt x="101" y="551"/>
                </a:lnTo>
                <a:lnTo>
                  <a:pt x="97" y="555"/>
                </a:lnTo>
                <a:lnTo>
                  <a:pt x="93" y="559"/>
                </a:lnTo>
                <a:lnTo>
                  <a:pt x="87" y="562"/>
                </a:lnTo>
                <a:lnTo>
                  <a:pt x="83" y="563"/>
                </a:lnTo>
                <a:lnTo>
                  <a:pt x="78" y="563"/>
                </a:lnTo>
                <a:lnTo>
                  <a:pt x="76" y="565"/>
                </a:lnTo>
                <a:lnTo>
                  <a:pt x="77" y="566"/>
                </a:lnTo>
                <a:lnTo>
                  <a:pt x="78" y="566"/>
                </a:lnTo>
                <a:lnTo>
                  <a:pt x="80" y="566"/>
                </a:lnTo>
                <a:lnTo>
                  <a:pt x="83" y="566"/>
                </a:lnTo>
                <a:lnTo>
                  <a:pt x="85" y="566"/>
                </a:lnTo>
                <a:lnTo>
                  <a:pt x="86" y="568"/>
                </a:lnTo>
                <a:lnTo>
                  <a:pt x="86" y="569"/>
                </a:lnTo>
                <a:lnTo>
                  <a:pt x="85" y="570"/>
                </a:lnTo>
                <a:lnTo>
                  <a:pt x="83" y="571"/>
                </a:lnTo>
                <a:lnTo>
                  <a:pt x="80" y="571"/>
                </a:lnTo>
                <a:lnTo>
                  <a:pt x="78" y="571"/>
                </a:lnTo>
                <a:lnTo>
                  <a:pt x="76" y="569"/>
                </a:lnTo>
                <a:lnTo>
                  <a:pt x="75" y="572"/>
                </a:lnTo>
                <a:lnTo>
                  <a:pt x="74" y="574"/>
                </a:lnTo>
                <a:lnTo>
                  <a:pt x="72" y="577"/>
                </a:lnTo>
                <a:lnTo>
                  <a:pt x="70" y="577"/>
                </a:lnTo>
                <a:lnTo>
                  <a:pt x="66" y="577"/>
                </a:lnTo>
                <a:lnTo>
                  <a:pt x="62" y="577"/>
                </a:lnTo>
                <a:lnTo>
                  <a:pt x="61" y="579"/>
                </a:lnTo>
                <a:lnTo>
                  <a:pt x="60" y="581"/>
                </a:lnTo>
                <a:lnTo>
                  <a:pt x="59" y="584"/>
                </a:lnTo>
                <a:lnTo>
                  <a:pt x="56" y="586"/>
                </a:lnTo>
                <a:lnTo>
                  <a:pt x="55" y="588"/>
                </a:lnTo>
                <a:lnTo>
                  <a:pt x="55" y="590"/>
                </a:lnTo>
                <a:lnTo>
                  <a:pt x="53" y="591"/>
                </a:lnTo>
                <a:lnTo>
                  <a:pt x="51" y="593"/>
                </a:lnTo>
                <a:lnTo>
                  <a:pt x="50" y="593"/>
                </a:lnTo>
                <a:lnTo>
                  <a:pt x="47" y="591"/>
                </a:lnTo>
                <a:lnTo>
                  <a:pt x="44" y="589"/>
                </a:lnTo>
                <a:lnTo>
                  <a:pt x="42" y="586"/>
                </a:lnTo>
                <a:lnTo>
                  <a:pt x="42" y="590"/>
                </a:lnTo>
                <a:lnTo>
                  <a:pt x="42" y="594"/>
                </a:lnTo>
                <a:lnTo>
                  <a:pt x="43" y="595"/>
                </a:lnTo>
                <a:lnTo>
                  <a:pt x="45" y="596"/>
                </a:lnTo>
                <a:lnTo>
                  <a:pt x="44" y="597"/>
                </a:lnTo>
                <a:lnTo>
                  <a:pt x="43" y="598"/>
                </a:lnTo>
                <a:lnTo>
                  <a:pt x="43" y="602"/>
                </a:lnTo>
                <a:lnTo>
                  <a:pt x="42" y="605"/>
                </a:lnTo>
                <a:lnTo>
                  <a:pt x="39" y="607"/>
                </a:lnTo>
                <a:lnTo>
                  <a:pt x="38" y="609"/>
                </a:lnTo>
                <a:lnTo>
                  <a:pt x="37" y="612"/>
                </a:lnTo>
                <a:lnTo>
                  <a:pt x="39" y="614"/>
                </a:lnTo>
                <a:lnTo>
                  <a:pt x="41" y="615"/>
                </a:lnTo>
                <a:lnTo>
                  <a:pt x="41" y="614"/>
                </a:lnTo>
                <a:lnTo>
                  <a:pt x="41" y="613"/>
                </a:lnTo>
                <a:lnTo>
                  <a:pt x="42" y="612"/>
                </a:lnTo>
                <a:lnTo>
                  <a:pt x="43" y="611"/>
                </a:lnTo>
                <a:lnTo>
                  <a:pt x="45" y="612"/>
                </a:lnTo>
                <a:lnTo>
                  <a:pt x="44" y="615"/>
                </a:lnTo>
                <a:lnTo>
                  <a:pt x="42" y="618"/>
                </a:lnTo>
                <a:lnTo>
                  <a:pt x="39" y="618"/>
                </a:lnTo>
                <a:lnTo>
                  <a:pt x="37" y="618"/>
                </a:lnTo>
                <a:lnTo>
                  <a:pt x="35" y="621"/>
                </a:lnTo>
                <a:lnTo>
                  <a:pt x="33" y="624"/>
                </a:lnTo>
                <a:lnTo>
                  <a:pt x="29" y="629"/>
                </a:lnTo>
                <a:lnTo>
                  <a:pt x="28" y="632"/>
                </a:lnTo>
                <a:lnTo>
                  <a:pt x="27" y="636"/>
                </a:lnTo>
                <a:lnTo>
                  <a:pt x="27" y="640"/>
                </a:lnTo>
                <a:lnTo>
                  <a:pt x="27" y="645"/>
                </a:lnTo>
                <a:lnTo>
                  <a:pt x="25" y="647"/>
                </a:lnTo>
                <a:lnTo>
                  <a:pt x="22" y="649"/>
                </a:lnTo>
                <a:lnTo>
                  <a:pt x="19" y="653"/>
                </a:lnTo>
                <a:lnTo>
                  <a:pt x="18" y="656"/>
                </a:lnTo>
                <a:lnTo>
                  <a:pt x="18" y="661"/>
                </a:lnTo>
                <a:lnTo>
                  <a:pt x="14" y="664"/>
                </a:lnTo>
                <a:lnTo>
                  <a:pt x="12" y="668"/>
                </a:lnTo>
                <a:lnTo>
                  <a:pt x="15" y="670"/>
                </a:lnTo>
                <a:lnTo>
                  <a:pt x="19" y="672"/>
                </a:lnTo>
                <a:lnTo>
                  <a:pt x="21" y="671"/>
                </a:lnTo>
                <a:lnTo>
                  <a:pt x="23" y="671"/>
                </a:lnTo>
                <a:lnTo>
                  <a:pt x="25" y="671"/>
                </a:lnTo>
                <a:lnTo>
                  <a:pt x="25" y="671"/>
                </a:lnTo>
                <a:lnTo>
                  <a:pt x="25" y="672"/>
                </a:lnTo>
                <a:lnTo>
                  <a:pt x="25" y="674"/>
                </a:lnTo>
                <a:lnTo>
                  <a:pt x="23" y="676"/>
                </a:lnTo>
                <a:lnTo>
                  <a:pt x="22" y="678"/>
                </a:lnTo>
                <a:lnTo>
                  <a:pt x="23" y="679"/>
                </a:lnTo>
                <a:lnTo>
                  <a:pt x="26" y="680"/>
                </a:lnTo>
                <a:lnTo>
                  <a:pt x="27" y="680"/>
                </a:lnTo>
                <a:lnTo>
                  <a:pt x="28" y="679"/>
                </a:lnTo>
                <a:lnTo>
                  <a:pt x="29" y="678"/>
                </a:lnTo>
                <a:lnTo>
                  <a:pt x="29" y="676"/>
                </a:lnTo>
                <a:lnTo>
                  <a:pt x="31" y="673"/>
                </a:lnTo>
                <a:lnTo>
                  <a:pt x="35" y="672"/>
                </a:lnTo>
                <a:lnTo>
                  <a:pt x="36" y="671"/>
                </a:lnTo>
                <a:lnTo>
                  <a:pt x="37" y="670"/>
                </a:lnTo>
                <a:lnTo>
                  <a:pt x="37" y="669"/>
                </a:lnTo>
                <a:lnTo>
                  <a:pt x="36" y="668"/>
                </a:lnTo>
                <a:lnTo>
                  <a:pt x="34" y="668"/>
                </a:lnTo>
                <a:lnTo>
                  <a:pt x="29" y="669"/>
                </a:lnTo>
                <a:lnTo>
                  <a:pt x="27" y="669"/>
                </a:lnTo>
                <a:lnTo>
                  <a:pt x="26" y="668"/>
                </a:lnTo>
                <a:lnTo>
                  <a:pt x="25" y="667"/>
                </a:lnTo>
                <a:lnTo>
                  <a:pt x="26" y="664"/>
                </a:lnTo>
                <a:lnTo>
                  <a:pt x="30" y="660"/>
                </a:lnTo>
                <a:lnTo>
                  <a:pt x="35" y="656"/>
                </a:lnTo>
                <a:lnTo>
                  <a:pt x="35" y="655"/>
                </a:lnTo>
                <a:lnTo>
                  <a:pt x="35" y="654"/>
                </a:lnTo>
                <a:lnTo>
                  <a:pt x="36" y="653"/>
                </a:lnTo>
                <a:lnTo>
                  <a:pt x="38" y="652"/>
                </a:lnTo>
                <a:lnTo>
                  <a:pt x="41" y="652"/>
                </a:lnTo>
                <a:lnTo>
                  <a:pt x="43" y="651"/>
                </a:lnTo>
                <a:lnTo>
                  <a:pt x="44" y="651"/>
                </a:lnTo>
                <a:lnTo>
                  <a:pt x="45" y="649"/>
                </a:lnTo>
                <a:lnTo>
                  <a:pt x="46" y="647"/>
                </a:lnTo>
                <a:lnTo>
                  <a:pt x="50" y="644"/>
                </a:lnTo>
                <a:lnTo>
                  <a:pt x="51" y="643"/>
                </a:lnTo>
                <a:lnTo>
                  <a:pt x="53" y="642"/>
                </a:lnTo>
                <a:lnTo>
                  <a:pt x="54" y="643"/>
                </a:lnTo>
                <a:lnTo>
                  <a:pt x="54" y="644"/>
                </a:lnTo>
                <a:lnTo>
                  <a:pt x="53" y="646"/>
                </a:lnTo>
                <a:lnTo>
                  <a:pt x="50" y="647"/>
                </a:lnTo>
                <a:lnTo>
                  <a:pt x="47" y="649"/>
                </a:lnTo>
                <a:lnTo>
                  <a:pt x="46" y="652"/>
                </a:lnTo>
                <a:lnTo>
                  <a:pt x="45" y="654"/>
                </a:lnTo>
                <a:lnTo>
                  <a:pt x="45" y="657"/>
                </a:lnTo>
                <a:lnTo>
                  <a:pt x="61" y="647"/>
                </a:lnTo>
                <a:lnTo>
                  <a:pt x="78" y="638"/>
                </a:lnTo>
                <a:lnTo>
                  <a:pt x="72" y="636"/>
                </a:lnTo>
                <a:lnTo>
                  <a:pt x="67" y="635"/>
                </a:lnTo>
                <a:lnTo>
                  <a:pt x="66" y="634"/>
                </a:lnTo>
                <a:lnTo>
                  <a:pt x="64" y="632"/>
                </a:lnTo>
                <a:lnTo>
                  <a:pt x="64" y="631"/>
                </a:lnTo>
                <a:lnTo>
                  <a:pt x="66" y="629"/>
                </a:lnTo>
                <a:lnTo>
                  <a:pt x="70" y="624"/>
                </a:lnTo>
                <a:lnTo>
                  <a:pt x="75" y="620"/>
                </a:lnTo>
                <a:lnTo>
                  <a:pt x="70" y="620"/>
                </a:lnTo>
                <a:lnTo>
                  <a:pt x="67" y="622"/>
                </a:lnTo>
                <a:lnTo>
                  <a:pt x="63" y="624"/>
                </a:lnTo>
                <a:lnTo>
                  <a:pt x="61" y="627"/>
                </a:lnTo>
                <a:lnTo>
                  <a:pt x="59" y="629"/>
                </a:lnTo>
                <a:lnTo>
                  <a:pt x="55" y="631"/>
                </a:lnTo>
                <a:lnTo>
                  <a:pt x="52" y="634"/>
                </a:lnTo>
                <a:lnTo>
                  <a:pt x="48" y="634"/>
                </a:lnTo>
                <a:lnTo>
                  <a:pt x="46" y="634"/>
                </a:lnTo>
                <a:lnTo>
                  <a:pt x="45" y="634"/>
                </a:lnTo>
                <a:lnTo>
                  <a:pt x="44" y="635"/>
                </a:lnTo>
                <a:lnTo>
                  <a:pt x="43" y="637"/>
                </a:lnTo>
                <a:lnTo>
                  <a:pt x="42" y="640"/>
                </a:lnTo>
                <a:lnTo>
                  <a:pt x="39" y="643"/>
                </a:lnTo>
                <a:lnTo>
                  <a:pt x="37" y="644"/>
                </a:lnTo>
                <a:lnTo>
                  <a:pt x="36" y="643"/>
                </a:lnTo>
                <a:lnTo>
                  <a:pt x="36" y="642"/>
                </a:lnTo>
                <a:lnTo>
                  <a:pt x="36" y="640"/>
                </a:lnTo>
                <a:lnTo>
                  <a:pt x="36" y="638"/>
                </a:lnTo>
                <a:lnTo>
                  <a:pt x="36" y="635"/>
                </a:lnTo>
                <a:lnTo>
                  <a:pt x="39" y="635"/>
                </a:lnTo>
                <a:lnTo>
                  <a:pt x="43" y="635"/>
                </a:lnTo>
                <a:lnTo>
                  <a:pt x="44" y="632"/>
                </a:lnTo>
                <a:lnTo>
                  <a:pt x="46" y="631"/>
                </a:lnTo>
                <a:lnTo>
                  <a:pt x="50" y="629"/>
                </a:lnTo>
                <a:lnTo>
                  <a:pt x="53" y="627"/>
                </a:lnTo>
                <a:lnTo>
                  <a:pt x="59" y="624"/>
                </a:lnTo>
                <a:lnTo>
                  <a:pt x="63" y="621"/>
                </a:lnTo>
                <a:lnTo>
                  <a:pt x="64" y="617"/>
                </a:lnTo>
                <a:lnTo>
                  <a:pt x="64" y="611"/>
                </a:lnTo>
                <a:lnTo>
                  <a:pt x="62" y="612"/>
                </a:lnTo>
                <a:lnTo>
                  <a:pt x="60" y="614"/>
                </a:lnTo>
                <a:lnTo>
                  <a:pt x="59" y="617"/>
                </a:lnTo>
                <a:lnTo>
                  <a:pt x="58" y="620"/>
                </a:lnTo>
                <a:lnTo>
                  <a:pt x="56" y="621"/>
                </a:lnTo>
                <a:lnTo>
                  <a:pt x="55" y="623"/>
                </a:lnTo>
                <a:lnTo>
                  <a:pt x="53" y="623"/>
                </a:lnTo>
                <a:lnTo>
                  <a:pt x="48" y="621"/>
                </a:lnTo>
                <a:lnTo>
                  <a:pt x="48" y="623"/>
                </a:lnTo>
                <a:lnTo>
                  <a:pt x="48" y="626"/>
                </a:lnTo>
                <a:lnTo>
                  <a:pt x="47" y="626"/>
                </a:lnTo>
                <a:lnTo>
                  <a:pt x="46" y="627"/>
                </a:lnTo>
                <a:lnTo>
                  <a:pt x="43" y="628"/>
                </a:lnTo>
                <a:lnTo>
                  <a:pt x="39" y="630"/>
                </a:lnTo>
                <a:lnTo>
                  <a:pt x="39" y="627"/>
                </a:lnTo>
                <a:lnTo>
                  <a:pt x="39" y="624"/>
                </a:lnTo>
                <a:lnTo>
                  <a:pt x="42" y="621"/>
                </a:lnTo>
                <a:lnTo>
                  <a:pt x="45" y="618"/>
                </a:lnTo>
                <a:lnTo>
                  <a:pt x="51" y="610"/>
                </a:lnTo>
                <a:lnTo>
                  <a:pt x="58" y="602"/>
                </a:lnTo>
                <a:lnTo>
                  <a:pt x="66" y="597"/>
                </a:lnTo>
                <a:lnTo>
                  <a:pt x="72" y="591"/>
                </a:lnTo>
                <a:lnTo>
                  <a:pt x="75" y="589"/>
                </a:lnTo>
                <a:lnTo>
                  <a:pt x="76" y="586"/>
                </a:lnTo>
                <a:lnTo>
                  <a:pt x="79" y="584"/>
                </a:lnTo>
                <a:lnTo>
                  <a:pt x="83" y="584"/>
                </a:lnTo>
                <a:lnTo>
                  <a:pt x="89" y="578"/>
                </a:lnTo>
                <a:lnTo>
                  <a:pt x="97" y="571"/>
                </a:lnTo>
                <a:lnTo>
                  <a:pt x="101" y="568"/>
                </a:lnTo>
                <a:lnTo>
                  <a:pt x="105" y="564"/>
                </a:lnTo>
                <a:lnTo>
                  <a:pt x="109" y="562"/>
                </a:lnTo>
                <a:lnTo>
                  <a:pt x="113" y="561"/>
                </a:lnTo>
                <a:lnTo>
                  <a:pt x="114" y="562"/>
                </a:lnTo>
                <a:lnTo>
                  <a:pt x="116" y="562"/>
                </a:lnTo>
                <a:lnTo>
                  <a:pt x="117" y="561"/>
                </a:lnTo>
                <a:lnTo>
                  <a:pt x="117" y="560"/>
                </a:lnTo>
                <a:lnTo>
                  <a:pt x="119" y="555"/>
                </a:lnTo>
                <a:lnTo>
                  <a:pt x="124" y="553"/>
                </a:lnTo>
                <a:lnTo>
                  <a:pt x="128" y="551"/>
                </a:lnTo>
                <a:lnTo>
                  <a:pt x="134" y="548"/>
                </a:lnTo>
                <a:lnTo>
                  <a:pt x="137" y="545"/>
                </a:lnTo>
                <a:lnTo>
                  <a:pt x="141" y="543"/>
                </a:lnTo>
                <a:lnTo>
                  <a:pt x="141" y="545"/>
                </a:lnTo>
                <a:lnTo>
                  <a:pt x="141" y="547"/>
                </a:lnTo>
                <a:lnTo>
                  <a:pt x="144" y="547"/>
                </a:lnTo>
                <a:lnTo>
                  <a:pt x="147" y="545"/>
                </a:lnTo>
                <a:lnTo>
                  <a:pt x="150" y="543"/>
                </a:lnTo>
                <a:lnTo>
                  <a:pt x="151" y="540"/>
                </a:lnTo>
                <a:lnTo>
                  <a:pt x="151" y="537"/>
                </a:lnTo>
                <a:lnTo>
                  <a:pt x="152" y="535"/>
                </a:lnTo>
                <a:lnTo>
                  <a:pt x="158" y="536"/>
                </a:lnTo>
                <a:lnTo>
                  <a:pt x="163" y="535"/>
                </a:lnTo>
                <a:lnTo>
                  <a:pt x="166" y="535"/>
                </a:lnTo>
                <a:lnTo>
                  <a:pt x="168" y="536"/>
                </a:lnTo>
                <a:lnTo>
                  <a:pt x="169" y="536"/>
                </a:lnTo>
                <a:lnTo>
                  <a:pt x="169" y="534"/>
                </a:lnTo>
                <a:lnTo>
                  <a:pt x="169" y="531"/>
                </a:lnTo>
                <a:lnTo>
                  <a:pt x="168" y="530"/>
                </a:lnTo>
                <a:lnTo>
                  <a:pt x="167" y="530"/>
                </a:lnTo>
                <a:lnTo>
                  <a:pt x="166" y="530"/>
                </a:lnTo>
                <a:lnTo>
                  <a:pt x="163" y="531"/>
                </a:lnTo>
                <a:lnTo>
                  <a:pt x="160" y="532"/>
                </a:lnTo>
                <a:lnTo>
                  <a:pt x="157" y="532"/>
                </a:lnTo>
                <a:lnTo>
                  <a:pt x="155" y="531"/>
                </a:lnTo>
                <a:lnTo>
                  <a:pt x="157" y="530"/>
                </a:lnTo>
                <a:lnTo>
                  <a:pt x="159" y="528"/>
                </a:lnTo>
                <a:lnTo>
                  <a:pt x="166" y="524"/>
                </a:lnTo>
                <a:lnTo>
                  <a:pt x="173" y="522"/>
                </a:lnTo>
                <a:lnTo>
                  <a:pt x="182" y="519"/>
                </a:lnTo>
                <a:lnTo>
                  <a:pt x="190" y="515"/>
                </a:lnTo>
                <a:lnTo>
                  <a:pt x="196" y="512"/>
                </a:lnTo>
                <a:lnTo>
                  <a:pt x="202" y="509"/>
                </a:lnTo>
                <a:lnTo>
                  <a:pt x="206" y="506"/>
                </a:lnTo>
                <a:lnTo>
                  <a:pt x="209" y="504"/>
                </a:lnTo>
                <a:lnTo>
                  <a:pt x="208" y="502"/>
                </a:lnTo>
                <a:lnTo>
                  <a:pt x="206" y="499"/>
                </a:lnTo>
                <a:lnTo>
                  <a:pt x="203" y="502"/>
                </a:lnTo>
                <a:lnTo>
                  <a:pt x="201" y="502"/>
                </a:lnTo>
                <a:lnTo>
                  <a:pt x="199" y="502"/>
                </a:lnTo>
                <a:lnTo>
                  <a:pt x="195" y="501"/>
                </a:lnTo>
                <a:lnTo>
                  <a:pt x="199" y="501"/>
                </a:lnTo>
                <a:lnTo>
                  <a:pt x="195" y="501"/>
                </a:lnTo>
                <a:close/>
                <a:moveTo>
                  <a:pt x="61" y="637"/>
                </a:moveTo>
                <a:lnTo>
                  <a:pt x="63" y="636"/>
                </a:lnTo>
                <a:lnTo>
                  <a:pt x="64" y="636"/>
                </a:lnTo>
                <a:lnTo>
                  <a:pt x="67" y="638"/>
                </a:lnTo>
                <a:lnTo>
                  <a:pt x="68" y="639"/>
                </a:lnTo>
                <a:lnTo>
                  <a:pt x="66" y="642"/>
                </a:lnTo>
                <a:lnTo>
                  <a:pt x="62" y="644"/>
                </a:lnTo>
                <a:lnTo>
                  <a:pt x="60" y="643"/>
                </a:lnTo>
                <a:lnTo>
                  <a:pt x="60" y="640"/>
                </a:lnTo>
                <a:lnTo>
                  <a:pt x="60" y="638"/>
                </a:lnTo>
                <a:lnTo>
                  <a:pt x="61" y="637"/>
                </a:lnTo>
                <a:close/>
                <a:moveTo>
                  <a:pt x="50" y="603"/>
                </a:moveTo>
                <a:lnTo>
                  <a:pt x="48" y="605"/>
                </a:lnTo>
                <a:lnTo>
                  <a:pt x="47" y="606"/>
                </a:lnTo>
                <a:lnTo>
                  <a:pt x="46" y="606"/>
                </a:lnTo>
                <a:lnTo>
                  <a:pt x="45" y="604"/>
                </a:lnTo>
                <a:lnTo>
                  <a:pt x="45" y="602"/>
                </a:lnTo>
                <a:lnTo>
                  <a:pt x="47" y="599"/>
                </a:lnTo>
                <a:lnTo>
                  <a:pt x="48" y="599"/>
                </a:lnTo>
                <a:lnTo>
                  <a:pt x="50" y="601"/>
                </a:lnTo>
                <a:lnTo>
                  <a:pt x="50" y="602"/>
                </a:lnTo>
                <a:lnTo>
                  <a:pt x="50" y="603"/>
                </a:lnTo>
                <a:lnTo>
                  <a:pt x="50" y="603"/>
                </a:lnTo>
                <a:lnTo>
                  <a:pt x="50" y="603"/>
                </a:lnTo>
                <a:close/>
                <a:moveTo>
                  <a:pt x="61" y="585"/>
                </a:moveTo>
                <a:lnTo>
                  <a:pt x="60" y="585"/>
                </a:lnTo>
                <a:lnTo>
                  <a:pt x="61" y="584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lnTo>
                  <a:pt x="61" y="585"/>
                </a:lnTo>
                <a:close/>
                <a:moveTo>
                  <a:pt x="68" y="589"/>
                </a:moveTo>
                <a:lnTo>
                  <a:pt x="66" y="589"/>
                </a:lnTo>
                <a:lnTo>
                  <a:pt x="66" y="588"/>
                </a:lnTo>
                <a:lnTo>
                  <a:pt x="66" y="587"/>
                </a:lnTo>
                <a:lnTo>
                  <a:pt x="67" y="586"/>
                </a:lnTo>
                <a:lnTo>
                  <a:pt x="69" y="584"/>
                </a:lnTo>
                <a:lnTo>
                  <a:pt x="71" y="581"/>
                </a:lnTo>
                <a:lnTo>
                  <a:pt x="71" y="584"/>
                </a:lnTo>
                <a:lnTo>
                  <a:pt x="70" y="586"/>
                </a:lnTo>
                <a:lnTo>
                  <a:pt x="69" y="588"/>
                </a:lnTo>
                <a:lnTo>
                  <a:pt x="68" y="589"/>
                </a:lnTo>
                <a:lnTo>
                  <a:pt x="69" y="589"/>
                </a:lnTo>
                <a:lnTo>
                  <a:pt x="68" y="589"/>
                </a:lnTo>
                <a:close/>
                <a:moveTo>
                  <a:pt x="144" y="543"/>
                </a:moveTo>
                <a:lnTo>
                  <a:pt x="143" y="543"/>
                </a:lnTo>
                <a:lnTo>
                  <a:pt x="143" y="543"/>
                </a:lnTo>
                <a:lnTo>
                  <a:pt x="144" y="541"/>
                </a:lnTo>
                <a:lnTo>
                  <a:pt x="145" y="543"/>
                </a:lnTo>
                <a:lnTo>
                  <a:pt x="144" y="543"/>
                </a:lnTo>
                <a:lnTo>
                  <a:pt x="144" y="543"/>
                </a:lnTo>
                <a:lnTo>
                  <a:pt x="143" y="543"/>
                </a:lnTo>
                <a:lnTo>
                  <a:pt x="144" y="543"/>
                </a:lnTo>
                <a:close/>
                <a:moveTo>
                  <a:pt x="45" y="651"/>
                </a:moveTo>
                <a:lnTo>
                  <a:pt x="45" y="652"/>
                </a:lnTo>
                <a:lnTo>
                  <a:pt x="45" y="652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lnTo>
                  <a:pt x="45" y="651"/>
                </a:lnTo>
                <a:close/>
                <a:moveTo>
                  <a:pt x="1216" y="1"/>
                </a:moveTo>
                <a:lnTo>
                  <a:pt x="1216" y="1"/>
                </a:lnTo>
                <a:lnTo>
                  <a:pt x="1216" y="1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lnTo>
                  <a:pt x="1369" y="695"/>
                </a:lnTo>
                <a:close/>
                <a:moveTo>
                  <a:pt x="1369" y="695"/>
                </a:moveTo>
                <a:lnTo>
                  <a:pt x="1369" y="695"/>
                </a:lnTo>
                <a:lnTo>
                  <a:pt x="1369" y="695"/>
                </a:lnTo>
                <a:close/>
                <a:moveTo>
                  <a:pt x="1353" y="695"/>
                </a:moveTo>
                <a:lnTo>
                  <a:pt x="1353" y="697"/>
                </a:lnTo>
                <a:lnTo>
                  <a:pt x="1353" y="700"/>
                </a:lnTo>
                <a:lnTo>
                  <a:pt x="1352" y="701"/>
                </a:lnTo>
                <a:lnTo>
                  <a:pt x="1350" y="702"/>
                </a:lnTo>
                <a:lnTo>
                  <a:pt x="1349" y="703"/>
                </a:lnTo>
                <a:lnTo>
                  <a:pt x="1347" y="703"/>
                </a:lnTo>
                <a:lnTo>
                  <a:pt x="1345" y="702"/>
                </a:lnTo>
                <a:lnTo>
                  <a:pt x="1344" y="701"/>
                </a:lnTo>
                <a:lnTo>
                  <a:pt x="1344" y="698"/>
                </a:lnTo>
                <a:lnTo>
                  <a:pt x="1345" y="696"/>
                </a:lnTo>
                <a:lnTo>
                  <a:pt x="1349" y="695"/>
                </a:lnTo>
                <a:lnTo>
                  <a:pt x="1353" y="695"/>
                </a:lnTo>
                <a:lnTo>
                  <a:pt x="1353" y="695"/>
                </a:lnTo>
                <a:lnTo>
                  <a:pt x="1353" y="695"/>
                </a:lnTo>
                <a:close/>
                <a:moveTo>
                  <a:pt x="1353" y="695"/>
                </a:moveTo>
                <a:lnTo>
                  <a:pt x="1353" y="695"/>
                </a:lnTo>
                <a:lnTo>
                  <a:pt x="1353" y="695"/>
                </a:lnTo>
                <a:close/>
                <a:moveTo>
                  <a:pt x="1422" y="216"/>
                </a:moveTo>
                <a:lnTo>
                  <a:pt x="1422" y="217"/>
                </a:lnTo>
                <a:lnTo>
                  <a:pt x="1422" y="216"/>
                </a:lnTo>
                <a:lnTo>
                  <a:pt x="1422" y="217"/>
                </a:lnTo>
                <a:lnTo>
                  <a:pt x="1422" y="216"/>
                </a:lnTo>
                <a:close/>
                <a:moveTo>
                  <a:pt x="1091" y="117"/>
                </a:moveTo>
                <a:lnTo>
                  <a:pt x="1090" y="116"/>
                </a:lnTo>
                <a:lnTo>
                  <a:pt x="1089" y="115"/>
                </a:lnTo>
                <a:lnTo>
                  <a:pt x="1090" y="113"/>
                </a:lnTo>
                <a:lnTo>
                  <a:pt x="1093" y="113"/>
                </a:lnTo>
                <a:lnTo>
                  <a:pt x="1096" y="113"/>
                </a:lnTo>
                <a:lnTo>
                  <a:pt x="1096" y="115"/>
                </a:lnTo>
                <a:lnTo>
                  <a:pt x="1094" y="116"/>
                </a:lnTo>
                <a:lnTo>
                  <a:pt x="1091" y="117"/>
                </a:lnTo>
                <a:lnTo>
                  <a:pt x="1092" y="117"/>
                </a:lnTo>
                <a:lnTo>
                  <a:pt x="1091" y="117"/>
                </a:lnTo>
                <a:close/>
                <a:moveTo>
                  <a:pt x="1101" y="117"/>
                </a:moveTo>
                <a:lnTo>
                  <a:pt x="1099" y="116"/>
                </a:lnTo>
                <a:lnTo>
                  <a:pt x="1099" y="115"/>
                </a:lnTo>
                <a:lnTo>
                  <a:pt x="1098" y="114"/>
                </a:lnTo>
                <a:lnTo>
                  <a:pt x="1100" y="113"/>
                </a:lnTo>
                <a:lnTo>
                  <a:pt x="1105" y="114"/>
                </a:lnTo>
                <a:lnTo>
                  <a:pt x="1109" y="115"/>
                </a:lnTo>
                <a:lnTo>
                  <a:pt x="1107" y="116"/>
                </a:lnTo>
                <a:lnTo>
                  <a:pt x="1105" y="117"/>
                </a:lnTo>
                <a:lnTo>
                  <a:pt x="1104" y="117"/>
                </a:lnTo>
                <a:lnTo>
                  <a:pt x="1101" y="117"/>
                </a:lnTo>
                <a:lnTo>
                  <a:pt x="1101" y="117"/>
                </a:lnTo>
                <a:lnTo>
                  <a:pt x="1101" y="117"/>
                </a:lnTo>
                <a:close/>
                <a:moveTo>
                  <a:pt x="231" y="114"/>
                </a:moveTo>
                <a:lnTo>
                  <a:pt x="229" y="116"/>
                </a:lnTo>
                <a:lnTo>
                  <a:pt x="226" y="117"/>
                </a:lnTo>
                <a:lnTo>
                  <a:pt x="224" y="117"/>
                </a:lnTo>
                <a:lnTo>
                  <a:pt x="221" y="115"/>
                </a:lnTo>
                <a:lnTo>
                  <a:pt x="224" y="113"/>
                </a:lnTo>
                <a:lnTo>
                  <a:pt x="226" y="112"/>
                </a:lnTo>
                <a:lnTo>
                  <a:pt x="228" y="112"/>
                </a:lnTo>
                <a:lnTo>
                  <a:pt x="229" y="112"/>
                </a:lnTo>
                <a:lnTo>
                  <a:pt x="231" y="113"/>
                </a:lnTo>
                <a:lnTo>
                  <a:pt x="231" y="114"/>
                </a:lnTo>
                <a:lnTo>
                  <a:pt x="231" y="115"/>
                </a:lnTo>
                <a:lnTo>
                  <a:pt x="231" y="114"/>
                </a:lnTo>
                <a:close/>
                <a:moveTo>
                  <a:pt x="77" y="262"/>
                </a:moveTo>
                <a:lnTo>
                  <a:pt x="78" y="262"/>
                </a:lnTo>
                <a:lnTo>
                  <a:pt x="78" y="262"/>
                </a:lnTo>
                <a:lnTo>
                  <a:pt x="78" y="263"/>
                </a:lnTo>
                <a:lnTo>
                  <a:pt x="78" y="265"/>
                </a:lnTo>
                <a:lnTo>
                  <a:pt x="77" y="266"/>
                </a:lnTo>
                <a:lnTo>
                  <a:pt x="76" y="267"/>
                </a:lnTo>
                <a:lnTo>
                  <a:pt x="74" y="269"/>
                </a:lnTo>
                <a:lnTo>
                  <a:pt x="72" y="269"/>
                </a:lnTo>
                <a:lnTo>
                  <a:pt x="71" y="267"/>
                </a:lnTo>
                <a:lnTo>
                  <a:pt x="71" y="266"/>
                </a:lnTo>
                <a:lnTo>
                  <a:pt x="71" y="265"/>
                </a:lnTo>
                <a:lnTo>
                  <a:pt x="72" y="264"/>
                </a:lnTo>
                <a:lnTo>
                  <a:pt x="75" y="262"/>
                </a:lnTo>
                <a:lnTo>
                  <a:pt x="77" y="262"/>
                </a:lnTo>
                <a:lnTo>
                  <a:pt x="76" y="262"/>
                </a:lnTo>
                <a:lnTo>
                  <a:pt x="77" y="262"/>
                </a:lnTo>
                <a:close/>
                <a:moveTo>
                  <a:pt x="70" y="278"/>
                </a:moveTo>
                <a:lnTo>
                  <a:pt x="67" y="278"/>
                </a:lnTo>
                <a:lnTo>
                  <a:pt x="64" y="275"/>
                </a:lnTo>
                <a:lnTo>
                  <a:pt x="64" y="274"/>
                </a:lnTo>
                <a:lnTo>
                  <a:pt x="66" y="272"/>
                </a:lnTo>
                <a:lnTo>
                  <a:pt x="67" y="271"/>
                </a:lnTo>
                <a:lnTo>
                  <a:pt x="68" y="271"/>
                </a:lnTo>
                <a:lnTo>
                  <a:pt x="70" y="271"/>
                </a:lnTo>
                <a:lnTo>
                  <a:pt x="71" y="272"/>
                </a:lnTo>
                <a:lnTo>
                  <a:pt x="72" y="273"/>
                </a:lnTo>
                <a:lnTo>
                  <a:pt x="72" y="274"/>
                </a:lnTo>
                <a:lnTo>
                  <a:pt x="72" y="275"/>
                </a:lnTo>
                <a:lnTo>
                  <a:pt x="72" y="278"/>
                </a:lnTo>
                <a:lnTo>
                  <a:pt x="71" y="278"/>
                </a:lnTo>
                <a:lnTo>
                  <a:pt x="70" y="278"/>
                </a:lnTo>
                <a:lnTo>
                  <a:pt x="70" y="278"/>
                </a:lnTo>
                <a:lnTo>
                  <a:pt x="70" y="278"/>
                </a:lnTo>
                <a:close/>
                <a:moveTo>
                  <a:pt x="80" y="292"/>
                </a:moveTo>
                <a:lnTo>
                  <a:pt x="78" y="295"/>
                </a:lnTo>
                <a:lnTo>
                  <a:pt x="77" y="296"/>
                </a:lnTo>
                <a:lnTo>
                  <a:pt x="75" y="297"/>
                </a:lnTo>
                <a:lnTo>
                  <a:pt x="72" y="297"/>
                </a:lnTo>
                <a:lnTo>
                  <a:pt x="74" y="294"/>
                </a:lnTo>
                <a:lnTo>
                  <a:pt x="76" y="291"/>
                </a:lnTo>
                <a:lnTo>
                  <a:pt x="78" y="291"/>
                </a:lnTo>
                <a:lnTo>
                  <a:pt x="79" y="291"/>
                </a:lnTo>
                <a:lnTo>
                  <a:pt x="80" y="291"/>
                </a:lnTo>
                <a:lnTo>
                  <a:pt x="80" y="292"/>
                </a:lnTo>
                <a:lnTo>
                  <a:pt x="80" y="294"/>
                </a:lnTo>
                <a:lnTo>
                  <a:pt x="80" y="292"/>
                </a:lnTo>
                <a:close/>
                <a:moveTo>
                  <a:pt x="60" y="381"/>
                </a:moveTo>
                <a:lnTo>
                  <a:pt x="58" y="381"/>
                </a:lnTo>
                <a:lnTo>
                  <a:pt x="58" y="380"/>
                </a:lnTo>
                <a:lnTo>
                  <a:pt x="56" y="379"/>
                </a:lnTo>
                <a:lnTo>
                  <a:pt x="56" y="378"/>
                </a:lnTo>
                <a:lnTo>
                  <a:pt x="58" y="375"/>
                </a:lnTo>
                <a:lnTo>
                  <a:pt x="60" y="374"/>
                </a:lnTo>
                <a:lnTo>
                  <a:pt x="61" y="375"/>
                </a:lnTo>
                <a:lnTo>
                  <a:pt x="62" y="379"/>
                </a:lnTo>
                <a:lnTo>
                  <a:pt x="61" y="381"/>
                </a:lnTo>
                <a:lnTo>
                  <a:pt x="60" y="381"/>
                </a:lnTo>
                <a:lnTo>
                  <a:pt x="60" y="381"/>
                </a:lnTo>
                <a:lnTo>
                  <a:pt x="60" y="381"/>
                </a:lnTo>
                <a:close/>
                <a:moveTo>
                  <a:pt x="71" y="358"/>
                </a:moveTo>
                <a:lnTo>
                  <a:pt x="71" y="362"/>
                </a:lnTo>
                <a:lnTo>
                  <a:pt x="70" y="364"/>
                </a:lnTo>
                <a:lnTo>
                  <a:pt x="68" y="365"/>
                </a:lnTo>
                <a:lnTo>
                  <a:pt x="66" y="364"/>
                </a:lnTo>
                <a:lnTo>
                  <a:pt x="67" y="360"/>
                </a:lnTo>
                <a:lnTo>
                  <a:pt x="70" y="356"/>
                </a:lnTo>
                <a:lnTo>
                  <a:pt x="71" y="355"/>
                </a:lnTo>
                <a:lnTo>
                  <a:pt x="72" y="356"/>
                </a:lnTo>
                <a:lnTo>
                  <a:pt x="72" y="357"/>
                </a:lnTo>
                <a:lnTo>
                  <a:pt x="71" y="358"/>
                </a:lnTo>
                <a:lnTo>
                  <a:pt x="71" y="360"/>
                </a:lnTo>
                <a:lnTo>
                  <a:pt x="71" y="358"/>
                </a:lnTo>
                <a:close/>
                <a:moveTo>
                  <a:pt x="69" y="463"/>
                </a:moveTo>
                <a:lnTo>
                  <a:pt x="67" y="463"/>
                </a:lnTo>
                <a:lnTo>
                  <a:pt x="67" y="462"/>
                </a:lnTo>
                <a:lnTo>
                  <a:pt x="66" y="460"/>
                </a:lnTo>
                <a:lnTo>
                  <a:pt x="66" y="458"/>
                </a:lnTo>
                <a:lnTo>
                  <a:pt x="68" y="458"/>
                </a:lnTo>
                <a:lnTo>
                  <a:pt x="71" y="460"/>
                </a:lnTo>
                <a:lnTo>
                  <a:pt x="71" y="461"/>
                </a:lnTo>
                <a:lnTo>
                  <a:pt x="71" y="462"/>
                </a:lnTo>
                <a:lnTo>
                  <a:pt x="70" y="463"/>
                </a:lnTo>
                <a:lnTo>
                  <a:pt x="69" y="463"/>
                </a:lnTo>
                <a:lnTo>
                  <a:pt x="68" y="463"/>
                </a:lnTo>
                <a:lnTo>
                  <a:pt x="69" y="463"/>
                </a:lnTo>
                <a:close/>
                <a:moveTo>
                  <a:pt x="99" y="501"/>
                </a:moveTo>
                <a:lnTo>
                  <a:pt x="99" y="502"/>
                </a:lnTo>
                <a:lnTo>
                  <a:pt x="99" y="501"/>
                </a:lnTo>
                <a:lnTo>
                  <a:pt x="99" y="501"/>
                </a:lnTo>
                <a:lnTo>
                  <a:pt x="99" y="501"/>
                </a:lnTo>
                <a:close/>
                <a:moveTo>
                  <a:pt x="548" y="497"/>
                </a:moveTo>
                <a:lnTo>
                  <a:pt x="550" y="495"/>
                </a:lnTo>
                <a:lnTo>
                  <a:pt x="554" y="494"/>
                </a:lnTo>
                <a:lnTo>
                  <a:pt x="556" y="494"/>
                </a:lnTo>
                <a:lnTo>
                  <a:pt x="559" y="494"/>
                </a:lnTo>
                <a:lnTo>
                  <a:pt x="555" y="497"/>
                </a:lnTo>
                <a:lnTo>
                  <a:pt x="548" y="497"/>
                </a:lnTo>
                <a:close/>
                <a:moveTo>
                  <a:pt x="570" y="510"/>
                </a:moveTo>
                <a:lnTo>
                  <a:pt x="573" y="510"/>
                </a:lnTo>
                <a:lnTo>
                  <a:pt x="578" y="510"/>
                </a:lnTo>
                <a:lnTo>
                  <a:pt x="575" y="512"/>
                </a:lnTo>
                <a:lnTo>
                  <a:pt x="573" y="512"/>
                </a:lnTo>
                <a:lnTo>
                  <a:pt x="572" y="512"/>
                </a:lnTo>
                <a:lnTo>
                  <a:pt x="570" y="510"/>
                </a:lnTo>
                <a:close/>
                <a:moveTo>
                  <a:pt x="1213" y="688"/>
                </a:moveTo>
                <a:lnTo>
                  <a:pt x="1214" y="687"/>
                </a:lnTo>
                <a:lnTo>
                  <a:pt x="1213" y="688"/>
                </a:lnTo>
                <a:lnTo>
                  <a:pt x="1213" y="688"/>
                </a:lnTo>
                <a:lnTo>
                  <a:pt x="1213" y="688"/>
                </a:lnTo>
                <a:close/>
                <a:moveTo>
                  <a:pt x="1234" y="688"/>
                </a:moveTo>
                <a:lnTo>
                  <a:pt x="1233" y="689"/>
                </a:lnTo>
                <a:lnTo>
                  <a:pt x="1232" y="688"/>
                </a:lnTo>
                <a:lnTo>
                  <a:pt x="1234" y="687"/>
                </a:lnTo>
                <a:lnTo>
                  <a:pt x="1234" y="688"/>
                </a:lnTo>
                <a:lnTo>
                  <a:pt x="1236" y="688"/>
                </a:lnTo>
                <a:lnTo>
                  <a:pt x="1234" y="688"/>
                </a:lnTo>
                <a:close/>
                <a:moveTo>
                  <a:pt x="1287" y="704"/>
                </a:moveTo>
                <a:lnTo>
                  <a:pt x="1280" y="706"/>
                </a:lnTo>
                <a:lnTo>
                  <a:pt x="1274" y="709"/>
                </a:lnTo>
                <a:lnTo>
                  <a:pt x="1273" y="705"/>
                </a:lnTo>
                <a:lnTo>
                  <a:pt x="1273" y="702"/>
                </a:lnTo>
                <a:lnTo>
                  <a:pt x="1275" y="700"/>
                </a:lnTo>
                <a:lnTo>
                  <a:pt x="1278" y="698"/>
                </a:lnTo>
                <a:lnTo>
                  <a:pt x="1281" y="697"/>
                </a:lnTo>
                <a:lnTo>
                  <a:pt x="1284" y="697"/>
                </a:lnTo>
                <a:lnTo>
                  <a:pt x="1288" y="698"/>
                </a:lnTo>
                <a:lnTo>
                  <a:pt x="1290" y="700"/>
                </a:lnTo>
                <a:lnTo>
                  <a:pt x="1286" y="701"/>
                </a:lnTo>
                <a:lnTo>
                  <a:pt x="1281" y="702"/>
                </a:lnTo>
                <a:lnTo>
                  <a:pt x="1286" y="703"/>
                </a:lnTo>
                <a:lnTo>
                  <a:pt x="1290" y="703"/>
                </a:lnTo>
                <a:lnTo>
                  <a:pt x="1289" y="705"/>
                </a:lnTo>
                <a:lnTo>
                  <a:pt x="1287" y="704"/>
                </a:lnTo>
                <a:lnTo>
                  <a:pt x="1286" y="706"/>
                </a:lnTo>
                <a:lnTo>
                  <a:pt x="1287" y="704"/>
                </a:lnTo>
                <a:close/>
                <a:moveTo>
                  <a:pt x="1327" y="701"/>
                </a:moveTo>
                <a:lnTo>
                  <a:pt x="1324" y="702"/>
                </a:lnTo>
                <a:lnTo>
                  <a:pt x="1323" y="704"/>
                </a:lnTo>
                <a:lnTo>
                  <a:pt x="1320" y="705"/>
                </a:lnTo>
                <a:lnTo>
                  <a:pt x="1316" y="704"/>
                </a:lnTo>
                <a:lnTo>
                  <a:pt x="1312" y="704"/>
                </a:lnTo>
                <a:lnTo>
                  <a:pt x="1306" y="704"/>
                </a:lnTo>
                <a:lnTo>
                  <a:pt x="1304" y="704"/>
                </a:lnTo>
                <a:lnTo>
                  <a:pt x="1302" y="704"/>
                </a:lnTo>
                <a:lnTo>
                  <a:pt x="1299" y="704"/>
                </a:lnTo>
                <a:lnTo>
                  <a:pt x="1297" y="702"/>
                </a:lnTo>
                <a:lnTo>
                  <a:pt x="1298" y="701"/>
                </a:lnTo>
                <a:lnTo>
                  <a:pt x="1299" y="700"/>
                </a:lnTo>
                <a:lnTo>
                  <a:pt x="1302" y="698"/>
                </a:lnTo>
                <a:lnTo>
                  <a:pt x="1305" y="698"/>
                </a:lnTo>
                <a:lnTo>
                  <a:pt x="1311" y="698"/>
                </a:lnTo>
                <a:lnTo>
                  <a:pt x="1315" y="698"/>
                </a:lnTo>
                <a:lnTo>
                  <a:pt x="1321" y="698"/>
                </a:lnTo>
                <a:lnTo>
                  <a:pt x="1328" y="697"/>
                </a:lnTo>
                <a:lnTo>
                  <a:pt x="1336" y="696"/>
                </a:lnTo>
                <a:lnTo>
                  <a:pt x="1339" y="697"/>
                </a:lnTo>
                <a:lnTo>
                  <a:pt x="1336" y="700"/>
                </a:lnTo>
                <a:lnTo>
                  <a:pt x="1333" y="702"/>
                </a:lnTo>
                <a:lnTo>
                  <a:pt x="1331" y="702"/>
                </a:lnTo>
                <a:lnTo>
                  <a:pt x="1330" y="703"/>
                </a:lnTo>
                <a:lnTo>
                  <a:pt x="1329" y="702"/>
                </a:lnTo>
                <a:lnTo>
                  <a:pt x="1327" y="701"/>
                </a:lnTo>
                <a:lnTo>
                  <a:pt x="1329" y="703"/>
                </a:lnTo>
                <a:lnTo>
                  <a:pt x="1327" y="701"/>
                </a:lnTo>
                <a:close/>
                <a:moveTo>
                  <a:pt x="1393" y="642"/>
                </a:moveTo>
                <a:lnTo>
                  <a:pt x="1395" y="644"/>
                </a:lnTo>
                <a:lnTo>
                  <a:pt x="1397" y="646"/>
                </a:lnTo>
                <a:lnTo>
                  <a:pt x="1397" y="647"/>
                </a:lnTo>
                <a:lnTo>
                  <a:pt x="1397" y="648"/>
                </a:lnTo>
                <a:lnTo>
                  <a:pt x="1396" y="648"/>
                </a:lnTo>
                <a:lnTo>
                  <a:pt x="1394" y="648"/>
                </a:lnTo>
                <a:lnTo>
                  <a:pt x="1390" y="647"/>
                </a:lnTo>
                <a:lnTo>
                  <a:pt x="1389" y="646"/>
                </a:lnTo>
                <a:lnTo>
                  <a:pt x="1390" y="644"/>
                </a:lnTo>
                <a:lnTo>
                  <a:pt x="1393" y="642"/>
                </a:lnTo>
                <a:lnTo>
                  <a:pt x="1393" y="643"/>
                </a:lnTo>
                <a:lnTo>
                  <a:pt x="1393" y="642"/>
                </a:lnTo>
                <a:close/>
                <a:moveTo>
                  <a:pt x="1312" y="649"/>
                </a:moveTo>
                <a:lnTo>
                  <a:pt x="1320" y="649"/>
                </a:lnTo>
                <a:lnTo>
                  <a:pt x="1328" y="648"/>
                </a:lnTo>
                <a:lnTo>
                  <a:pt x="1336" y="647"/>
                </a:lnTo>
                <a:lnTo>
                  <a:pt x="1344" y="649"/>
                </a:lnTo>
                <a:lnTo>
                  <a:pt x="1348" y="651"/>
                </a:lnTo>
                <a:lnTo>
                  <a:pt x="1352" y="653"/>
                </a:lnTo>
                <a:lnTo>
                  <a:pt x="1352" y="655"/>
                </a:lnTo>
                <a:lnTo>
                  <a:pt x="1350" y="656"/>
                </a:lnTo>
                <a:lnTo>
                  <a:pt x="1348" y="656"/>
                </a:lnTo>
                <a:lnTo>
                  <a:pt x="1347" y="656"/>
                </a:lnTo>
                <a:lnTo>
                  <a:pt x="1346" y="655"/>
                </a:lnTo>
                <a:lnTo>
                  <a:pt x="1345" y="654"/>
                </a:lnTo>
                <a:lnTo>
                  <a:pt x="1343" y="654"/>
                </a:lnTo>
                <a:lnTo>
                  <a:pt x="1341" y="654"/>
                </a:lnTo>
                <a:lnTo>
                  <a:pt x="1335" y="657"/>
                </a:lnTo>
                <a:lnTo>
                  <a:pt x="1327" y="659"/>
                </a:lnTo>
                <a:lnTo>
                  <a:pt x="1325" y="660"/>
                </a:lnTo>
                <a:lnTo>
                  <a:pt x="1323" y="661"/>
                </a:lnTo>
                <a:lnTo>
                  <a:pt x="1321" y="661"/>
                </a:lnTo>
                <a:lnTo>
                  <a:pt x="1320" y="659"/>
                </a:lnTo>
                <a:lnTo>
                  <a:pt x="1324" y="656"/>
                </a:lnTo>
                <a:lnTo>
                  <a:pt x="1328" y="653"/>
                </a:lnTo>
                <a:lnTo>
                  <a:pt x="1322" y="654"/>
                </a:lnTo>
                <a:lnTo>
                  <a:pt x="1317" y="657"/>
                </a:lnTo>
                <a:lnTo>
                  <a:pt x="1315" y="657"/>
                </a:lnTo>
                <a:lnTo>
                  <a:pt x="1313" y="657"/>
                </a:lnTo>
                <a:lnTo>
                  <a:pt x="1312" y="655"/>
                </a:lnTo>
                <a:lnTo>
                  <a:pt x="1312" y="653"/>
                </a:lnTo>
                <a:lnTo>
                  <a:pt x="1308" y="653"/>
                </a:lnTo>
                <a:lnTo>
                  <a:pt x="1306" y="652"/>
                </a:lnTo>
                <a:lnTo>
                  <a:pt x="1306" y="651"/>
                </a:lnTo>
                <a:lnTo>
                  <a:pt x="1307" y="649"/>
                </a:lnTo>
                <a:lnTo>
                  <a:pt x="1310" y="649"/>
                </a:lnTo>
                <a:lnTo>
                  <a:pt x="1312" y="649"/>
                </a:lnTo>
                <a:lnTo>
                  <a:pt x="1314" y="649"/>
                </a:lnTo>
                <a:lnTo>
                  <a:pt x="1312" y="649"/>
                </a:lnTo>
                <a:close/>
                <a:moveTo>
                  <a:pt x="1237" y="631"/>
                </a:moveTo>
                <a:lnTo>
                  <a:pt x="1238" y="629"/>
                </a:lnTo>
                <a:lnTo>
                  <a:pt x="1241" y="627"/>
                </a:lnTo>
                <a:lnTo>
                  <a:pt x="1242" y="627"/>
                </a:lnTo>
                <a:lnTo>
                  <a:pt x="1244" y="627"/>
                </a:lnTo>
                <a:lnTo>
                  <a:pt x="1245" y="628"/>
                </a:lnTo>
                <a:lnTo>
                  <a:pt x="1245" y="630"/>
                </a:lnTo>
                <a:lnTo>
                  <a:pt x="1242" y="632"/>
                </a:lnTo>
                <a:lnTo>
                  <a:pt x="1239" y="634"/>
                </a:lnTo>
                <a:lnTo>
                  <a:pt x="1238" y="634"/>
                </a:lnTo>
                <a:lnTo>
                  <a:pt x="1237" y="634"/>
                </a:lnTo>
                <a:lnTo>
                  <a:pt x="1237" y="632"/>
                </a:lnTo>
                <a:lnTo>
                  <a:pt x="1237" y="631"/>
                </a:lnTo>
                <a:close/>
                <a:moveTo>
                  <a:pt x="1207" y="656"/>
                </a:moveTo>
                <a:lnTo>
                  <a:pt x="1208" y="654"/>
                </a:lnTo>
                <a:lnTo>
                  <a:pt x="1211" y="653"/>
                </a:lnTo>
                <a:lnTo>
                  <a:pt x="1213" y="653"/>
                </a:lnTo>
                <a:lnTo>
                  <a:pt x="1215" y="653"/>
                </a:lnTo>
                <a:lnTo>
                  <a:pt x="1220" y="653"/>
                </a:lnTo>
                <a:lnTo>
                  <a:pt x="1225" y="653"/>
                </a:lnTo>
                <a:lnTo>
                  <a:pt x="1228" y="652"/>
                </a:lnTo>
                <a:lnTo>
                  <a:pt x="1231" y="651"/>
                </a:lnTo>
                <a:lnTo>
                  <a:pt x="1236" y="652"/>
                </a:lnTo>
                <a:lnTo>
                  <a:pt x="1240" y="653"/>
                </a:lnTo>
                <a:lnTo>
                  <a:pt x="1246" y="649"/>
                </a:lnTo>
                <a:lnTo>
                  <a:pt x="1253" y="647"/>
                </a:lnTo>
                <a:lnTo>
                  <a:pt x="1258" y="646"/>
                </a:lnTo>
                <a:lnTo>
                  <a:pt x="1263" y="645"/>
                </a:lnTo>
                <a:lnTo>
                  <a:pt x="1263" y="648"/>
                </a:lnTo>
                <a:lnTo>
                  <a:pt x="1263" y="653"/>
                </a:lnTo>
                <a:lnTo>
                  <a:pt x="1262" y="653"/>
                </a:lnTo>
                <a:lnTo>
                  <a:pt x="1261" y="653"/>
                </a:lnTo>
                <a:lnTo>
                  <a:pt x="1259" y="652"/>
                </a:lnTo>
                <a:lnTo>
                  <a:pt x="1259" y="649"/>
                </a:lnTo>
                <a:lnTo>
                  <a:pt x="1256" y="649"/>
                </a:lnTo>
                <a:lnTo>
                  <a:pt x="1254" y="652"/>
                </a:lnTo>
                <a:lnTo>
                  <a:pt x="1254" y="653"/>
                </a:lnTo>
                <a:lnTo>
                  <a:pt x="1255" y="654"/>
                </a:lnTo>
                <a:lnTo>
                  <a:pt x="1256" y="655"/>
                </a:lnTo>
                <a:lnTo>
                  <a:pt x="1258" y="655"/>
                </a:lnTo>
                <a:lnTo>
                  <a:pt x="1263" y="654"/>
                </a:lnTo>
                <a:lnTo>
                  <a:pt x="1269" y="654"/>
                </a:lnTo>
                <a:lnTo>
                  <a:pt x="1275" y="656"/>
                </a:lnTo>
                <a:lnTo>
                  <a:pt x="1282" y="660"/>
                </a:lnTo>
                <a:lnTo>
                  <a:pt x="1272" y="661"/>
                </a:lnTo>
                <a:lnTo>
                  <a:pt x="1261" y="662"/>
                </a:lnTo>
                <a:lnTo>
                  <a:pt x="1250" y="661"/>
                </a:lnTo>
                <a:lnTo>
                  <a:pt x="1240" y="659"/>
                </a:lnTo>
                <a:lnTo>
                  <a:pt x="1229" y="657"/>
                </a:lnTo>
                <a:lnTo>
                  <a:pt x="1218" y="659"/>
                </a:lnTo>
                <a:lnTo>
                  <a:pt x="1215" y="660"/>
                </a:lnTo>
                <a:lnTo>
                  <a:pt x="1211" y="660"/>
                </a:lnTo>
                <a:lnTo>
                  <a:pt x="1208" y="660"/>
                </a:lnTo>
                <a:lnTo>
                  <a:pt x="1206" y="660"/>
                </a:lnTo>
                <a:lnTo>
                  <a:pt x="1206" y="659"/>
                </a:lnTo>
                <a:lnTo>
                  <a:pt x="1207" y="656"/>
                </a:lnTo>
                <a:lnTo>
                  <a:pt x="1207" y="655"/>
                </a:lnTo>
                <a:lnTo>
                  <a:pt x="1207" y="656"/>
                </a:lnTo>
                <a:close/>
                <a:moveTo>
                  <a:pt x="1162" y="636"/>
                </a:moveTo>
                <a:lnTo>
                  <a:pt x="1159" y="637"/>
                </a:lnTo>
                <a:lnTo>
                  <a:pt x="1157" y="637"/>
                </a:lnTo>
                <a:lnTo>
                  <a:pt x="1158" y="632"/>
                </a:lnTo>
                <a:lnTo>
                  <a:pt x="1160" y="629"/>
                </a:lnTo>
                <a:lnTo>
                  <a:pt x="1163" y="629"/>
                </a:lnTo>
                <a:lnTo>
                  <a:pt x="1163" y="631"/>
                </a:lnTo>
                <a:lnTo>
                  <a:pt x="1163" y="634"/>
                </a:lnTo>
                <a:lnTo>
                  <a:pt x="1162" y="636"/>
                </a:lnTo>
                <a:lnTo>
                  <a:pt x="1162" y="636"/>
                </a:lnTo>
                <a:lnTo>
                  <a:pt x="1162" y="636"/>
                </a:lnTo>
                <a:close/>
                <a:moveTo>
                  <a:pt x="1082" y="619"/>
                </a:moveTo>
                <a:lnTo>
                  <a:pt x="1074" y="620"/>
                </a:lnTo>
                <a:lnTo>
                  <a:pt x="1066" y="619"/>
                </a:lnTo>
                <a:lnTo>
                  <a:pt x="1069" y="617"/>
                </a:lnTo>
                <a:lnTo>
                  <a:pt x="1074" y="615"/>
                </a:lnTo>
                <a:lnTo>
                  <a:pt x="1077" y="617"/>
                </a:lnTo>
                <a:lnTo>
                  <a:pt x="1082" y="619"/>
                </a:lnTo>
                <a:close/>
                <a:moveTo>
                  <a:pt x="1058" y="614"/>
                </a:moveTo>
                <a:lnTo>
                  <a:pt x="1056" y="617"/>
                </a:lnTo>
                <a:lnTo>
                  <a:pt x="1053" y="619"/>
                </a:lnTo>
                <a:lnTo>
                  <a:pt x="1050" y="620"/>
                </a:lnTo>
                <a:lnTo>
                  <a:pt x="1045" y="620"/>
                </a:lnTo>
                <a:lnTo>
                  <a:pt x="1049" y="618"/>
                </a:lnTo>
                <a:lnTo>
                  <a:pt x="1051" y="614"/>
                </a:lnTo>
                <a:lnTo>
                  <a:pt x="1052" y="613"/>
                </a:lnTo>
                <a:lnTo>
                  <a:pt x="1053" y="613"/>
                </a:lnTo>
                <a:lnTo>
                  <a:pt x="1056" y="613"/>
                </a:lnTo>
                <a:lnTo>
                  <a:pt x="1058" y="614"/>
                </a:lnTo>
                <a:close/>
                <a:moveTo>
                  <a:pt x="941" y="462"/>
                </a:moveTo>
                <a:lnTo>
                  <a:pt x="938" y="463"/>
                </a:lnTo>
                <a:lnTo>
                  <a:pt x="937" y="464"/>
                </a:lnTo>
                <a:lnTo>
                  <a:pt x="935" y="464"/>
                </a:lnTo>
                <a:lnTo>
                  <a:pt x="934" y="464"/>
                </a:lnTo>
                <a:lnTo>
                  <a:pt x="932" y="463"/>
                </a:lnTo>
                <a:lnTo>
                  <a:pt x="929" y="461"/>
                </a:lnTo>
                <a:lnTo>
                  <a:pt x="926" y="460"/>
                </a:lnTo>
                <a:lnTo>
                  <a:pt x="923" y="458"/>
                </a:lnTo>
                <a:lnTo>
                  <a:pt x="920" y="460"/>
                </a:lnTo>
                <a:lnTo>
                  <a:pt x="919" y="461"/>
                </a:lnTo>
                <a:lnTo>
                  <a:pt x="918" y="460"/>
                </a:lnTo>
                <a:lnTo>
                  <a:pt x="917" y="458"/>
                </a:lnTo>
                <a:lnTo>
                  <a:pt x="916" y="457"/>
                </a:lnTo>
                <a:lnTo>
                  <a:pt x="917" y="455"/>
                </a:lnTo>
                <a:lnTo>
                  <a:pt x="920" y="454"/>
                </a:lnTo>
                <a:lnTo>
                  <a:pt x="925" y="454"/>
                </a:lnTo>
                <a:lnTo>
                  <a:pt x="934" y="457"/>
                </a:lnTo>
                <a:lnTo>
                  <a:pt x="941" y="462"/>
                </a:lnTo>
                <a:lnTo>
                  <a:pt x="940" y="462"/>
                </a:lnTo>
                <a:lnTo>
                  <a:pt x="941" y="462"/>
                </a:lnTo>
                <a:close/>
                <a:moveTo>
                  <a:pt x="875" y="569"/>
                </a:moveTo>
                <a:lnTo>
                  <a:pt x="877" y="566"/>
                </a:lnTo>
                <a:lnTo>
                  <a:pt x="882" y="565"/>
                </a:lnTo>
                <a:lnTo>
                  <a:pt x="884" y="566"/>
                </a:lnTo>
                <a:lnTo>
                  <a:pt x="886" y="566"/>
                </a:lnTo>
                <a:lnTo>
                  <a:pt x="888" y="568"/>
                </a:lnTo>
                <a:lnTo>
                  <a:pt x="888" y="570"/>
                </a:lnTo>
                <a:lnTo>
                  <a:pt x="887" y="572"/>
                </a:lnTo>
                <a:lnTo>
                  <a:pt x="886" y="574"/>
                </a:lnTo>
                <a:lnTo>
                  <a:pt x="884" y="574"/>
                </a:lnTo>
                <a:lnTo>
                  <a:pt x="882" y="573"/>
                </a:lnTo>
                <a:lnTo>
                  <a:pt x="876" y="571"/>
                </a:lnTo>
                <a:lnTo>
                  <a:pt x="875" y="569"/>
                </a:lnTo>
                <a:lnTo>
                  <a:pt x="875" y="569"/>
                </a:lnTo>
                <a:lnTo>
                  <a:pt x="875" y="569"/>
                </a:lnTo>
                <a:close/>
                <a:moveTo>
                  <a:pt x="858" y="560"/>
                </a:moveTo>
                <a:lnTo>
                  <a:pt x="857" y="560"/>
                </a:lnTo>
                <a:lnTo>
                  <a:pt x="855" y="559"/>
                </a:lnTo>
                <a:lnTo>
                  <a:pt x="855" y="557"/>
                </a:lnTo>
                <a:lnTo>
                  <a:pt x="857" y="556"/>
                </a:lnTo>
                <a:lnTo>
                  <a:pt x="860" y="556"/>
                </a:lnTo>
                <a:lnTo>
                  <a:pt x="863" y="557"/>
                </a:lnTo>
                <a:lnTo>
                  <a:pt x="867" y="559"/>
                </a:lnTo>
                <a:lnTo>
                  <a:pt x="871" y="560"/>
                </a:lnTo>
                <a:lnTo>
                  <a:pt x="875" y="561"/>
                </a:lnTo>
                <a:lnTo>
                  <a:pt x="878" y="563"/>
                </a:lnTo>
                <a:lnTo>
                  <a:pt x="872" y="564"/>
                </a:lnTo>
                <a:lnTo>
                  <a:pt x="868" y="563"/>
                </a:lnTo>
                <a:lnTo>
                  <a:pt x="862" y="562"/>
                </a:lnTo>
                <a:lnTo>
                  <a:pt x="858" y="560"/>
                </a:lnTo>
                <a:lnTo>
                  <a:pt x="860" y="561"/>
                </a:lnTo>
                <a:lnTo>
                  <a:pt x="858" y="560"/>
                </a:lnTo>
                <a:close/>
                <a:moveTo>
                  <a:pt x="869" y="458"/>
                </a:moveTo>
                <a:lnTo>
                  <a:pt x="855" y="453"/>
                </a:lnTo>
                <a:lnTo>
                  <a:pt x="842" y="448"/>
                </a:lnTo>
                <a:lnTo>
                  <a:pt x="827" y="444"/>
                </a:lnTo>
                <a:lnTo>
                  <a:pt x="813" y="440"/>
                </a:lnTo>
                <a:lnTo>
                  <a:pt x="814" y="438"/>
                </a:lnTo>
                <a:lnTo>
                  <a:pt x="814" y="437"/>
                </a:lnTo>
                <a:lnTo>
                  <a:pt x="813" y="436"/>
                </a:lnTo>
                <a:lnTo>
                  <a:pt x="812" y="436"/>
                </a:lnTo>
                <a:lnTo>
                  <a:pt x="804" y="435"/>
                </a:lnTo>
                <a:lnTo>
                  <a:pt x="796" y="433"/>
                </a:lnTo>
                <a:lnTo>
                  <a:pt x="793" y="433"/>
                </a:lnTo>
                <a:lnTo>
                  <a:pt x="791" y="432"/>
                </a:lnTo>
                <a:lnTo>
                  <a:pt x="789" y="431"/>
                </a:lnTo>
                <a:lnTo>
                  <a:pt x="791" y="430"/>
                </a:lnTo>
                <a:lnTo>
                  <a:pt x="791" y="429"/>
                </a:lnTo>
                <a:lnTo>
                  <a:pt x="791" y="428"/>
                </a:lnTo>
                <a:lnTo>
                  <a:pt x="791" y="427"/>
                </a:lnTo>
                <a:lnTo>
                  <a:pt x="789" y="427"/>
                </a:lnTo>
                <a:lnTo>
                  <a:pt x="791" y="424"/>
                </a:lnTo>
                <a:lnTo>
                  <a:pt x="793" y="424"/>
                </a:lnTo>
                <a:lnTo>
                  <a:pt x="795" y="424"/>
                </a:lnTo>
                <a:lnTo>
                  <a:pt x="799" y="426"/>
                </a:lnTo>
                <a:lnTo>
                  <a:pt x="804" y="429"/>
                </a:lnTo>
                <a:lnTo>
                  <a:pt x="809" y="431"/>
                </a:lnTo>
                <a:lnTo>
                  <a:pt x="813" y="431"/>
                </a:lnTo>
                <a:lnTo>
                  <a:pt x="817" y="432"/>
                </a:lnTo>
                <a:lnTo>
                  <a:pt x="819" y="435"/>
                </a:lnTo>
                <a:lnTo>
                  <a:pt x="820" y="436"/>
                </a:lnTo>
                <a:lnTo>
                  <a:pt x="821" y="437"/>
                </a:lnTo>
                <a:lnTo>
                  <a:pt x="825" y="437"/>
                </a:lnTo>
                <a:lnTo>
                  <a:pt x="832" y="438"/>
                </a:lnTo>
                <a:lnTo>
                  <a:pt x="838" y="439"/>
                </a:lnTo>
                <a:lnTo>
                  <a:pt x="844" y="441"/>
                </a:lnTo>
                <a:lnTo>
                  <a:pt x="851" y="445"/>
                </a:lnTo>
                <a:lnTo>
                  <a:pt x="858" y="448"/>
                </a:lnTo>
                <a:lnTo>
                  <a:pt x="865" y="451"/>
                </a:lnTo>
                <a:lnTo>
                  <a:pt x="871" y="452"/>
                </a:lnTo>
                <a:lnTo>
                  <a:pt x="878" y="454"/>
                </a:lnTo>
                <a:lnTo>
                  <a:pt x="879" y="456"/>
                </a:lnTo>
                <a:lnTo>
                  <a:pt x="880" y="458"/>
                </a:lnTo>
                <a:lnTo>
                  <a:pt x="884" y="460"/>
                </a:lnTo>
                <a:lnTo>
                  <a:pt x="886" y="461"/>
                </a:lnTo>
                <a:lnTo>
                  <a:pt x="888" y="461"/>
                </a:lnTo>
                <a:lnTo>
                  <a:pt x="892" y="462"/>
                </a:lnTo>
                <a:lnTo>
                  <a:pt x="894" y="463"/>
                </a:lnTo>
                <a:lnTo>
                  <a:pt x="895" y="465"/>
                </a:lnTo>
                <a:lnTo>
                  <a:pt x="895" y="466"/>
                </a:lnTo>
                <a:lnTo>
                  <a:pt x="894" y="468"/>
                </a:lnTo>
                <a:lnTo>
                  <a:pt x="893" y="468"/>
                </a:lnTo>
                <a:lnTo>
                  <a:pt x="891" y="468"/>
                </a:lnTo>
                <a:lnTo>
                  <a:pt x="887" y="466"/>
                </a:lnTo>
                <a:lnTo>
                  <a:pt x="885" y="465"/>
                </a:lnTo>
                <a:lnTo>
                  <a:pt x="877" y="461"/>
                </a:lnTo>
                <a:lnTo>
                  <a:pt x="869" y="458"/>
                </a:lnTo>
                <a:lnTo>
                  <a:pt x="869" y="457"/>
                </a:lnTo>
                <a:lnTo>
                  <a:pt x="869" y="458"/>
                </a:lnTo>
                <a:close/>
                <a:moveTo>
                  <a:pt x="846" y="426"/>
                </a:moveTo>
                <a:lnTo>
                  <a:pt x="849" y="426"/>
                </a:lnTo>
                <a:lnTo>
                  <a:pt x="850" y="428"/>
                </a:lnTo>
                <a:lnTo>
                  <a:pt x="849" y="429"/>
                </a:lnTo>
                <a:lnTo>
                  <a:pt x="847" y="429"/>
                </a:lnTo>
                <a:lnTo>
                  <a:pt x="845" y="429"/>
                </a:lnTo>
                <a:lnTo>
                  <a:pt x="843" y="428"/>
                </a:lnTo>
                <a:lnTo>
                  <a:pt x="842" y="427"/>
                </a:lnTo>
                <a:lnTo>
                  <a:pt x="843" y="426"/>
                </a:lnTo>
                <a:lnTo>
                  <a:pt x="844" y="426"/>
                </a:lnTo>
                <a:lnTo>
                  <a:pt x="846" y="426"/>
                </a:lnTo>
                <a:lnTo>
                  <a:pt x="846" y="426"/>
                </a:lnTo>
                <a:lnTo>
                  <a:pt x="846" y="426"/>
                </a:lnTo>
                <a:close/>
                <a:moveTo>
                  <a:pt x="1192" y="115"/>
                </a:moveTo>
                <a:lnTo>
                  <a:pt x="1192" y="115"/>
                </a:lnTo>
                <a:lnTo>
                  <a:pt x="1192" y="116"/>
                </a:lnTo>
                <a:lnTo>
                  <a:pt x="1191" y="115"/>
                </a:lnTo>
                <a:lnTo>
                  <a:pt x="1192" y="115"/>
                </a:lnTo>
                <a:lnTo>
                  <a:pt x="1192" y="115"/>
                </a:lnTo>
                <a:lnTo>
                  <a:pt x="1192" y="115"/>
                </a:lnTo>
                <a:close/>
                <a:moveTo>
                  <a:pt x="682" y="324"/>
                </a:moveTo>
                <a:lnTo>
                  <a:pt x="686" y="324"/>
                </a:lnTo>
                <a:lnTo>
                  <a:pt x="690" y="324"/>
                </a:lnTo>
                <a:lnTo>
                  <a:pt x="693" y="325"/>
                </a:lnTo>
                <a:lnTo>
                  <a:pt x="694" y="327"/>
                </a:lnTo>
                <a:lnTo>
                  <a:pt x="695" y="328"/>
                </a:lnTo>
                <a:lnTo>
                  <a:pt x="695" y="329"/>
                </a:lnTo>
                <a:lnTo>
                  <a:pt x="694" y="330"/>
                </a:lnTo>
                <a:lnTo>
                  <a:pt x="693" y="331"/>
                </a:lnTo>
                <a:lnTo>
                  <a:pt x="690" y="330"/>
                </a:lnTo>
                <a:lnTo>
                  <a:pt x="688" y="329"/>
                </a:lnTo>
                <a:lnTo>
                  <a:pt x="684" y="327"/>
                </a:lnTo>
                <a:lnTo>
                  <a:pt x="682" y="324"/>
                </a:lnTo>
                <a:lnTo>
                  <a:pt x="684" y="324"/>
                </a:lnTo>
                <a:lnTo>
                  <a:pt x="682" y="324"/>
                </a:lnTo>
                <a:close/>
                <a:moveTo>
                  <a:pt x="692" y="345"/>
                </a:moveTo>
                <a:lnTo>
                  <a:pt x="689" y="347"/>
                </a:lnTo>
                <a:lnTo>
                  <a:pt x="687" y="348"/>
                </a:lnTo>
                <a:lnTo>
                  <a:pt x="686" y="347"/>
                </a:lnTo>
                <a:lnTo>
                  <a:pt x="685" y="347"/>
                </a:lnTo>
                <a:lnTo>
                  <a:pt x="685" y="346"/>
                </a:lnTo>
                <a:lnTo>
                  <a:pt x="685" y="344"/>
                </a:lnTo>
                <a:lnTo>
                  <a:pt x="687" y="343"/>
                </a:lnTo>
                <a:lnTo>
                  <a:pt x="689" y="343"/>
                </a:lnTo>
                <a:lnTo>
                  <a:pt x="690" y="343"/>
                </a:lnTo>
                <a:lnTo>
                  <a:pt x="692" y="345"/>
                </a:lnTo>
                <a:lnTo>
                  <a:pt x="692" y="345"/>
                </a:lnTo>
                <a:lnTo>
                  <a:pt x="692" y="345"/>
                </a:lnTo>
                <a:close/>
                <a:moveTo>
                  <a:pt x="659" y="311"/>
                </a:moveTo>
                <a:lnTo>
                  <a:pt x="660" y="313"/>
                </a:lnTo>
                <a:lnTo>
                  <a:pt x="662" y="315"/>
                </a:lnTo>
                <a:lnTo>
                  <a:pt x="664" y="316"/>
                </a:lnTo>
                <a:lnTo>
                  <a:pt x="666" y="316"/>
                </a:lnTo>
                <a:lnTo>
                  <a:pt x="669" y="316"/>
                </a:lnTo>
                <a:lnTo>
                  <a:pt x="669" y="319"/>
                </a:lnTo>
                <a:lnTo>
                  <a:pt x="665" y="320"/>
                </a:lnTo>
                <a:lnTo>
                  <a:pt x="662" y="320"/>
                </a:lnTo>
                <a:lnTo>
                  <a:pt x="660" y="321"/>
                </a:lnTo>
                <a:lnTo>
                  <a:pt x="661" y="322"/>
                </a:lnTo>
                <a:lnTo>
                  <a:pt x="662" y="323"/>
                </a:lnTo>
                <a:lnTo>
                  <a:pt x="663" y="324"/>
                </a:lnTo>
                <a:lnTo>
                  <a:pt x="660" y="323"/>
                </a:lnTo>
                <a:lnTo>
                  <a:pt x="656" y="322"/>
                </a:lnTo>
                <a:lnTo>
                  <a:pt x="654" y="323"/>
                </a:lnTo>
                <a:lnTo>
                  <a:pt x="651" y="323"/>
                </a:lnTo>
                <a:lnTo>
                  <a:pt x="644" y="322"/>
                </a:lnTo>
                <a:lnTo>
                  <a:pt x="637" y="320"/>
                </a:lnTo>
                <a:lnTo>
                  <a:pt x="636" y="319"/>
                </a:lnTo>
                <a:lnTo>
                  <a:pt x="633" y="317"/>
                </a:lnTo>
                <a:lnTo>
                  <a:pt x="632" y="317"/>
                </a:lnTo>
                <a:lnTo>
                  <a:pt x="631" y="316"/>
                </a:lnTo>
                <a:lnTo>
                  <a:pt x="631" y="315"/>
                </a:lnTo>
                <a:lnTo>
                  <a:pt x="632" y="314"/>
                </a:lnTo>
                <a:lnTo>
                  <a:pt x="637" y="313"/>
                </a:lnTo>
                <a:lnTo>
                  <a:pt x="643" y="315"/>
                </a:lnTo>
                <a:lnTo>
                  <a:pt x="645" y="315"/>
                </a:lnTo>
                <a:lnTo>
                  <a:pt x="647" y="316"/>
                </a:lnTo>
                <a:lnTo>
                  <a:pt x="649" y="316"/>
                </a:lnTo>
                <a:lnTo>
                  <a:pt x="651" y="314"/>
                </a:lnTo>
                <a:lnTo>
                  <a:pt x="649" y="313"/>
                </a:lnTo>
                <a:lnTo>
                  <a:pt x="648" y="313"/>
                </a:lnTo>
                <a:lnTo>
                  <a:pt x="646" y="314"/>
                </a:lnTo>
                <a:lnTo>
                  <a:pt x="644" y="315"/>
                </a:lnTo>
                <a:lnTo>
                  <a:pt x="643" y="313"/>
                </a:lnTo>
                <a:lnTo>
                  <a:pt x="643" y="312"/>
                </a:lnTo>
                <a:lnTo>
                  <a:pt x="644" y="310"/>
                </a:lnTo>
                <a:lnTo>
                  <a:pt x="646" y="308"/>
                </a:lnTo>
                <a:lnTo>
                  <a:pt x="652" y="311"/>
                </a:lnTo>
                <a:lnTo>
                  <a:pt x="659" y="311"/>
                </a:lnTo>
                <a:lnTo>
                  <a:pt x="656" y="312"/>
                </a:lnTo>
                <a:lnTo>
                  <a:pt x="659" y="311"/>
                </a:lnTo>
                <a:close/>
                <a:moveTo>
                  <a:pt x="652" y="286"/>
                </a:moveTo>
                <a:lnTo>
                  <a:pt x="652" y="287"/>
                </a:lnTo>
                <a:lnTo>
                  <a:pt x="651" y="289"/>
                </a:lnTo>
                <a:lnTo>
                  <a:pt x="646" y="288"/>
                </a:lnTo>
                <a:lnTo>
                  <a:pt x="643" y="286"/>
                </a:lnTo>
                <a:lnTo>
                  <a:pt x="641" y="285"/>
                </a:lnTo>
                <a:lnTo>
                  <a:pt x="641" y="283"/>
                </a:lnTo>
                <a:lnTo>
                  <a:pt x="641" y="283"/>
                </a:lnTo>
                <a:lnTo>
                  <a:pt x="644" y="282"/>
                </a:lnTo>
                <a:lnTo>
                  <a:pt x="647" y="283"/>
                </a:lnTo>
                <a:lnTo>
                  <a:pt x="652" y="286"/>
                </a:lnTo>
                <a:lnTo>
                  <a:pt x="651" y="286"/>
                </a:lnTo>
                <a:lnTo>
                  <a:pt x="652" y="286"/>
                </a:lnTo>
                <a:close/>
                <a:moveTo>
                  <a:pt x="599" y="104"/>
                </a:moveTo>
                <a:lnTo>
                  <a:pt x="605" y="104"/>
                </a:lnTo>
                <a:lnTo>
                  <a:pt x="611" y="106"/>
                </a:lnTo>
                <a:lnTo>
                  <a:pt x="618" y="107"/>
                </a:lnTo>
                <a:lnTo>
                  <a:pt x="623" y="108"/>
                </a:lnTo>
                <a:lnTo>
                  <a:pt x="629" y="108"/>
                </a:lnTo>
                <a:lnTo>
                  <a:pt x="637" y="109"/>
                </a:lnTo>
                <a:lnTo>
                  <a:pt x="640" y="111"/>
                </a:lnTo>
                <a:lnTo>
                  <a:pt x="641" y="112"/>
                </a:lnTo>
                <a:lnTo>
                  <a:pt x="641" y="114"/>
                </a:lnTo>
                <a:lnTo>
                  <a:pt x="639" y="117"/>
                </a:lnTo>
                <a:lnTo>
                  <a:pt x="638" y="119"/>
                </a:lnTo>
                <a:lnTo>
                  <a:pt x="637" y="117"/>
                </a:lnTo>
                <a:lnTo>
                  <a:pt x="637" y="116"/>
                </a:lnTo>
                <a:lnTo>
                  <a:pt x="636" y="115"/>
                </a:lnTo>
                <a:lnTo>
                  <a:pt x="629" y="113"/>
                </a:lnTo>
                <a:lnTo>
                  <a:pt x="621" y="112"/>
                </a:lnTo>
                <a:lnTo>
                  <a:pt x="613" y="112"/>
                </a:lnTo>
                <a:lnTo>
                  <a:pt x="605" y="113"/>
                </a:lnTo>
                <a:lnTo>
                  <a:pt x="603" y="112"/>
                </a:lnTo>
                <a:lnTo>
                  <a:pt x="600" y="109"/>
                </a:lnTo>
                <a:lnTo>
                  <a:pt x="599" y="107"/>
                </a:lnTo>
                <a:lnTo>
                  <a:pt x="599" y="104"/>
                </a:lnTo>
                <a:lnTo>
                  <a:pt x="599" y="104"/>
                </a:lnTo>
                <a:lnTo>
                  <a:pt x="599" y="104"/>
                </a:lnTo>
                <a:close/>
                <a:moveTo>
                  <a:pt x="616" y="305"/>
                </a:moveTo>
                <a:lnTo>
                  <a:pt x="622" y="305"/>
                </a:lnTo>
                <a:lnTo>
                  <a:pt x="627" y="307"/>
                </a:lnTo>
                <a:lnTo>
                  <a:pt x="623" y="308"/>
                </a:lnTo>
                <a:lnTo>
                  <a:pt x="620" y="308"/>
                </a:lnTo>
                <a:lnTo>
                  <a:pt x="618" y="308"/>
                </a:lnTo>
                <a:lnTo>
                  <a:pt x="616" y="307"/>
                </a:lnTo>
                <a:lnTo>
                  <a:pt x="615" y="305"/>
                </a:lnTo>
                <a:lnTo>
                  <a:pt x="616" y="305"/>
                </a:lnTo>
                <a:lnTo>
                  <a:pt x="618" y="304"/>
                </a:lnTo>
                <a:lnTo>
                  <a:pt x="616" y="305"/>
                </a:lnTo>
                <a:close/>
                <a:moveTo>
                  <a:pt x="614" y="279"/>
                </a:moveTo>
                <a:lnTo>
                  <a:pt x="618" y="278"/>
                </a:lnTo>
                <a:lnTo>
                  <a:pt x="622" y="279"/>
                </a:lnTo>
                <a:lnTo>
                  <a:pt x="624" y="280"/>
                </a:lnTo>
                <a:lnTo>
                  <a:pt x="626" y="281"/>
                </a:lnTo>
                <a:lnTo>
                  <a:pt x="627" y="282"/>
                </a:lnTo>
                <a:lnTo>
                  <a:pt x="626" y="285"/>
                </a:lnTo>
                <a:lnTo>
                  <a:pt x="623" y="285"/>
                </a:lnTo>
                <a:lnTo>
                  <a:pt x="620" y="283"/>
                </a:lnTo>
                <a:lnTo>
                  <a:pt x="616" y="281"/>
                </a:lnTo>
                <a:lnTo>
                  <a:pt x="614" y="279"/>
                </a:lnTo>
                <a:lnTo>
                  <a:pt x="616" y="279"/>
                </a:lnTo>
                <a:lnTo>
                  <a:pt x="614" y="279"/>
                </a:lnTo>
                <a:close/>
                <a:moveTo>
                  <a:pt x="627" y="320"/>
                </a:moveTo>
                <a:lnTo>
                  <a:pt x="629" y="321"/>
                </a:lnTo>
                <a:lnTo>
                  <a:pt x="630" y="323"/>
                </a:lnTo>
                <a:lnTo>
                  <a:pt x="629" y="325"/>
                </a:lnTo>
                <a:lnTo>
                  <a:pt x="627" y="327"/>
                </a:lnTo>
                <a:lnTo>
                  <a:pt x="626" y="327"/>
                </a:lnTo>
                <a:lnTo>
                  <a:pt x="624" y="325"/>
                </a:lnTo>
                <a:lnTo>
                  <a:pt x="622" y="324"/>
                </a:lnTo>
                <a:lnTo>
                  <a:pt x="622" y="322"/>
                </a:lnTo>
                <a:lnTo>
                  <a:pt x="623" y="321"/>
                </a:lnTo>
                <a:lnTo>
                  <a:pt x="623" y="320"/>
                </a:lnTo>
                <a:lnTo>
                  <a:pt x="626" y="320"/>
                </a:lnTo>
                <a:lnTo>
                  <a:pt x="627" y="320"/>
                </a:lnTo>
                <a:lnTo>
                  <a:pt x="627" y="320"/>
                </a:lnTo>
                <a:lnTo>
                  <a:pt x="627" y="320"/>
                </a:lnTo>
                <a:close/>
                <a:moveTo>
                  <a:pt x="566" y="298"/>
                </a:moveTo>
                <a:lnTo>
                  <a:pt x="571" y="295"/>
                </a:lnTo>
                <a:lnTo>
                  <a:pt x="575" y="292"/>
                </a:lnTo>
                <a:lnTo>
                  <a:pt x="580" y="292"/>
                </a:lnTo>
                <a:lnTo>
                  <a:pt x="585" y="294"/>
                </a:lnTo>
                <a:lnTo>
                  <a:pt x="591" y="295"/>
                </a:lnTo>
                <a:lnTo>
                  <a:pt x="598" y="297"/>
                </a:lnTo>
                <a:lnTo>
                  <a:pt x="605" y="298"/>
                </a:lnTo>
                <a:lnTo>
                  <a:pt x="611" y="300"/>
                </a:lnTo>
                <a:lnTo>
                  <a:pt x="612" y="303"/>
                </a:lnTo>
                <a:lnTo>
                  <a:pt x="612" y="304"/>
                </a:lnTo>
                <a:lnTo>
                  <a:pt x="610" y="304"/>
                </a:lnTo>
                <a:lnTo>
                  <a:pt x="607" y="304"/>
                </a:lnTo>
                <a:lnTo>
                  <a:pt x="600" y="304"/>
                </a:lnTo>
                <a:lnTo>
                  <a:pt x="596" y="303"/>
                </a:lnTo>
                <a:lnTo>
                  <a:pt x="581" y="300"/>
                </a:lnTo>
                <a:lnTo>
                  <a:pt x="566" y="298"/>
                </a:lnTo>
                <a:lnTo>
                  <a:pt x="574" y="296"/>
                </a:lnTo>
                <a:lnTo>
                  <a:pt x="566" y="298"/>
                </a:lnTo>
                <a:close/>
                <a:moveTo>
                  <a:pt x="591" y="316"/>
                </a:moveTo>
                <a:lnTo>
                  <a:pt x="588" y="317"/>
                </a:lnTo>
                <a:lnTo>
                  <a:pt x="587" y="320"/>
                </a:lnTo>
                <a:lnTo>
                  <a:pt x="582" y="317"/>
                </a:lnTo>
                <a:lnTo>
                  <a:pt x="578" y="315"/>
                </a:lnTo>
                <a:lnTo>
                  <a:pt x="581" y="313"/>
                </a:lnTo>
                <a:lnTo>
                  <a:pt x="586" y="312"/>
                </a:lnTo>
                <a:lnTo>
                  <a:pt x="588" y="312"/>
                </a:lnTo>
                <a:lnTo>
                  <a:pt x="589" y="313"/>
                </a:lnTo>
                <a:lnTo>
                  <a:pt x="590" y="314"/>
                </a:lnTo>
                <a:lnTo>
                  <a:pt x="591" y="316"/>
                </a:lnTo>
                <a:lnTo>
                  <a:pt x="589" y="315"/>
                </a:lnTo>
                <a:lnTo>
                  <a:pt x="591" y="316"/>
                </a:lnTo>
                <a:close/>
                <a:moveTo>
                  <a:pt x="523" y="278"/>
                </a:moveTo>
                <a:lnTo>
                  <a:pt x="529" y="279"/>
                </a:lnTo>
                <a:lnTo>
                  <a:pt x="536" y="280"/>
                </a:lnTo>
                <a:lnTo>
                  <a:pt x="533" y="283"/>
                </a:lnTo>
                <a:lnTo>
                  <a:pt x="529" y="285"/>
                </a:lnTo>
                <a:lnTo>
                  <a:pt x="529" y="286"/>
                </a:lnTo>
                <a:lnTo>
                  <a:pt x="529" y="288"/>
                </a:lnTo>
                <a:lnTo>
                  <a:pt x="526" y="288"/>
                </a:lnTo>
                <a:lnTo>
                  <a:pt x="524" y="288"/>
                </a:lnTo>
                <a:lnTo>
                  <a:pt x="522" y="288"/>
                </a:lnTo>
                <a:lnTo>
                  <a:pt x="520" y="289"/>
                </a:lnTo>
                <a:lnTo>
                  <a:pt x="517" y="288"/>
                </a:lnTo>
                <a:lnTo>
                  <a:pt x="515" y="286"/>
                </a:lnTo>
                <a:lnTo>
                  <a:pt x="516" y="285"/>
                </a:lnTo>
                <a:lnTo>
                  <a:pt x="519" y="283"/>
                </a:lnTo>
                <a:lnTo>
                  <a:pt x="522" y="283"/>
                </a:lnTo>
                <a:lnTo>
                  <a:pt x="524" y="283"/>
                </a:lnTo>
                <a:lnTo>
                  <a:pt x="523" y="281"/>
                </a:lnTo>
                <a:lnTo>
                  <a:pt x="523" y="278"/>
                </a:lnTo>
                <a:lnTo>
                  <a:pt x="523" y="278"/>
                </a:lnTo>
                <a:lnTo>
                  <a:pt x="523" y="278"/>
                </a:lnTo>
                <a:close/>
                <a:moveTo>
                  <a:pt x="531" y="291"/>
                </a:moveTo>
                <a:lnTo>
                  <a:pt x="532" y="291"/>
                </a:lnTo>
                <a:lnTo>
                  <a:pt x="534" y="292"/>
                </a:lnTo>
                <a:lnTo>
                  <a:pt x="537" y="292"/>
                </a:lnTo>
                <a:lnTo>
                  <a:pt x="538" y="295"/>
                </a:lnTo>
                <a:lnTo>
                  <a:pt x="538" y="296"/>
                </a:lnTo>
                <a:lnTo>
                  <a:pt x="537" y="297"/>
                </a:lnTo>
                <a:lnTo>
                  <a:pt x="536" y="297"/>
                </a:lnTo>
                <a:lnTo>
                  <a:pt x="534" y="297"/>
                </a:lnTo>
                <a:lnTo>
                  <a:pt x="531" y="297"/>
                </a:lnTo>
                <a:lnTo>
                  <a:pt x="528" y="295"/>
                </a:lnTo>
                <a:lnTo>
                  <a:pt x="526" y="294"/>
                </a:lnTo>
                <a:lnTo>
                  <a:pt x="528" y="292"/>
                </a:lnTo>
                <a:lnTo>
                  <a:pt x="529" y="291"/>
                </a:lnTo>
                <a:lnTo>
                  <a:pt x="531" y="291"/>
                </a:lnTo>
                <a:lnTo>
                  <a:pt x="531" y="291"/>
                </a:lnTo>
                <a:lnTo>
                  <a:pt x="531" y="291"/>
                </a:lnTo>
                <a:close/>
                <a:moveTo>
                  <a:pt x="519" y="263"/>
                </a:moveTo>
                <a:lnTo>
                  <a:pt x="507" y="260"/>
                </a:lnTo>
                <a:lnTo>
                  <a:pt x="495" y="257"/>
                </a:lnTo>
                <a:lnTo>
                  <a:pt x="491" y="257"/>
                </a:lnTo>
                <a:lnTo>
                  <a:pt x="487" y="258"/>
                </a:lnTo>
                <a:lnTo>
                  <a:pt x="482" y="257"/>
                </a:lnTo>
                <a:lnTo>
                  <a:pt x="480" y="256"/>
                </a:lnTo>
                <a:lnTo>
                  <a:pt x="479" y="254"/>
                </a:lnTo>
                <a:lnTo>
                  <a:pt x="479" y="252"/>
                </a:lnTo>
                <a:lnTo>
                  <a:pt x="479" y="250"/>
                </a:lnTo>
                <a:lnTo>
                  <a:pt x="480" y="249"/>
                </a:lnTo>
                <a:lnTo>
                  <a:pt x="483" y="247"/>
                </a:lnTo>
                <a:lnTo>
                  <a:pt x="488" y="247"/>
                </a:lnTo>
                <a:lnTo>
                  <a:pt x="498" y="248"/>
                </a:lnTo>
                <a:lnTo>
                  <a:pt x="505" y="249"/>
                </a:lnTo>
                <a:lnTo>
                  <a:pt x="528" y="253"/>
                </a:lnTo>
                <a:lnTo>
                  <a:pt x="550" y="258"/>
                </a:lnTo>
                <a:lnTo>
                  <a:pt x="573" y="264"/>
                </a:lnTo>
                <a:lnTo>
                  <a:pt x="595" y="271"/>
                </a:lnTo>
                <a:lnTo>
                  <a:pt x="593" y="273"/>
                </a:lnTo>
                <a:lnTo>
                  <a:pt x="589" y="274"/>
                </a:lnTo>
                <a:lnTo>
                  <a:pt x="586" y="274"/>
                </a:lnTo>
                <a:lnTo>
                  <a:pt x="581" y="273"/>
                </a:lnTo>
                <a:lnTo>
                  <a:pt x="571" y="271"/>
                </a:lnTo>
                <a:lnTo>
                  <a:pt x="561" y="271"/>
                </a:lnTo>
                <a:lnTo>
                  <a:pt x="553" y="269"/>
                </a:lnTo>
                <a:lnTo>
                  <a:pt x="546" y="265"/>
                </a:lnTo>
                <a:lnTo>
                  <a:pt x="532" y="264"/>
                </a:lnTo>
                <a:lnTo>
                  <a:pt x="519" y="263"/>
                </a:lnTo>
                <a:lnTo>
                  <a:pt x="515" y="262"/>
                </a:lnTo>
                <a:lnTo>
                  <a:pt x="517" y="263"/>
                </a:lnTo>
                <a:lnTo>
                  <a:pt x="521" y="264"/>
                </a:lnTo>
                <a:lnTo>
                  <a:pt x="519" y="263"/>
                </a:lnTo>
                <a:close/>
                <a:moveTo>
                  <a:pt x="328" y="132"/>
                </a:moveTo>
                <a:lnTo>
                  <a:pt x="330" y="129"/>
                </a:lnTo>
                <a:lnTo>
                  <a:pt x="332" y="128"/>
                </a:lnTo>
                <a:lnTo>
                  <a:pt x="336" y="126"/>
                </a:lnTo>
                <a:lnTo>
                  <a:pt x="340" y="126"/>
                </a:lnTo>
                <a:lnTo>
                  <a:pt x="347" y="124"/>
                </a:lnTo>
                <a:lnTo>
                  <a:pt x="353" y="123"/>
                </a:lnTo>
                <a:lnTo>
                  <a:pt x="359" y="123"/>
                </a:lnTo>
                <a:lnTo>
                  <a:pt x="366" y="122"/>
                </a:lnTo>
                <a:lnTo>
                  <a:pt x="373" y="122"/>
                </a:lnTo>
                <a:lnTo>
                  <a:pt x="376" y="124"/>
                </a:lnTo>
                <a:lnTo>
                  <a:pt x="375" y="125"/>
                </a:lnTo>
                <a:lnTo>
                  <a:pt x="371" y="128"/>
                </a:lnTo>
                <a:lnTo>
                  <a:pt x="364" y="129"/>
                </a:lnTo>
                <a:lnTo>
                  <a:pt x="355" y="130"/>
                </a:lnTo>
                <a:lnTo>
                  <a:pt x="339" y="131"/>
                </a:lnTo>
                <a:lnTo>
                  <a:pt x="328" y="132"/>
                </a:lnTo>
                <a:lnTo>
                  <a:pt x="332" y="131"/>
                </a:lnTo>
                <a:lnTo>
                  <a:pt x="328" y="132"/>
                </a:lnTo>
                <a:close/>
                <a:moveTo>
                  <a:pt x="352" y="250"/>
                </a:moveTo>
                <a:lnTo>
                  <a:pt x="351" y="254"/>
                </a:lnTo>
                <a:lnTo>
                  <a:pt x="348" y="256"/>
                </a:lnTo>
                <a:lnTo>
                  <a:pt x="343" y="256"/>
                </a:lnTo>
                <a:lnTo>
                  <a:pt x="341" y="255"/>
                </a:lnTo>
                <a:lnTo>
                  <a:pt x="342" y="252"/>
                </a:lnTo>
                <a:lnTo>
                  <a:pt x="347" y="249"/>
                </a:lnTo>
                <a:lnTo>
                  <a:pt x="349" y="248"/>
                </a:lnTo>
                <a:lnTo>
                  <a:pt x="350" y="248"/>
                </a:lnTo>
                <a:lnTo>
                  <a:pt x="352" y="249"/>
                </a:lnTo>
                <a:lnTo>
                  <a:pt x="352" y="250"/>
                </a:lnTo>
                <a:lnTo>
                  <a:pt x="352" y="253"/>
                </a:lnTo>
                <a:lnTo>
                  <a:pt x="352" y="250"/>
                </a:lnTo>
                <a:close/>
                <a:moveTo>
                  <a:pt x="361" y="114"/>
                </a:moveTo>
                <a:lnTo>
                  <a:pt x="365" y="112"/>
                </a:lnTo>
                <a:lnTo>
                  <a:pt x="368" y="112"/>
                </a:lnTo>
                <a:lnTo>
                  <a:pt x="372" y="112"/>
                </a:lnTo>
                <a:lnTo>
                  <a:pt x="375" y="114"/>
                </a:lnTo>
                <a:lnTo>
                  <a:pt x="371" y="117"/>
                </a:lnTo>
                <a:lnTo>
                  <a:pt x="365" y="119"/>
                </a:lnTo>
                <a:lnTo>
                  <a:pt x="363" y="119"/>
                </a:lnTo>
                <a:lnTo>
                  <a:pt x="361" y="117"/>
                </a:lnTo>
                <a:lnTo>
                  <a:pt x="360" y="116"/>
                </a:lnTo>
                <a:lnTo>
                  <a:pt x="361" y="114"/>
                </a:lnTo>
                <a:lnTo>
                  <a:pt x="363" y="113"/>
                </a:lnTo>
                <a:lnTo>
                  <a:pt x="361" y="114"/>
                </a:lnTo>
                <a:close/>
                <a:moveTo>
                  <a:pt x="408" y="247"/>
                </a:moveTo>
                <a:lnTo>
                  <a:pt x="402" y="247"/>
                </a:lnTo>
                <a:lnTo>
                  <a:pt x="398" y="247"/>
                </a:lnTo>
                <a:lnTo>
                  <a:pt x="396" y="247"/>
                </a:lnTo>
                <a:lnTo>
                  <a:pt x="393" y="247"/>
                </a:lnTo>
                <a:lnTo>
                  <a:pt x="391" y="246"/>
                </a:lnTo>
                <a:lnTo>
                  <a:pt x="389" y="244"/>
                </a:lnTo>
                <a:lnTo>
                  <a:pt x="393" y="244"/>
                </a:lnTo>
                <a:lnTo>
                  <a:pt x="399" y="244"/>
                </a:lnTo>
                <a:lnTo>
                  <a:pt x="401" y="244"/>
                </a:lnTo>
                <a:lnTo>
                  <a:pt x="404" y="244"/>
                </a:lnTo>
                <a:lnTo>
                  <a:pt x="406" y="245"/>
                </a:lnTo>
                <a:lnTo>
                  <a:pt x="408" y="247"/>
                </a:lnTo>
                <a:close/>
                <a:moveTo>
                  <a:pt x="392" y="122"/>
                </a:moveTo>
                <a:lnTo>
                  <a:pt x="393" y="121"/>
                </a:lnTo>
                <a:lnTo>
                  <a:pt x="396" y="120"/>
                </a:lnTo>
                <a:lnTo>
                  <a:pt x="399" y="120"/>
                </a:lnTo>
                <a:lnTo>
                  <a:pt x="400" y="121"/>
                </a:lnTo>
                <a:lnTo>
                  <a:pt x="400" y="123"/>
                </a:lnTo>
                <a:lnTo>
                  <a:pt x="399" y="124"/>
                </a:lnTo>
                <a:lnTo>
                  <a:pt x="398" y="124"/>
                </a:lnTo>
                <a:lnTo>
                  <a:pt x="397" y="125"/>
                </a:lnTo>
                <a:lnTo>
                  <a:pt x="394" y="125"/>
                </a:lnTo>
                <a:lnTo>
                  <a:pt x="393" y="124"/>
                </a:lnTo>
                <a:lnTo>
                  <a:pt x="392" y="123"/>
                </a:lnTo>
                <a:lnTo>
                  <a:pt x="392" y="122"/>
                </a:lnTo>
                <a:lnTo>
                  <a:pt x="392" y="122"/>
                </a:lnTo>
                <a:lnTo>
                  <a:pt x="392" y="122"/>
                </a:lnTo>
                <a:close/>
                <a:moveTo>
                  <a:pt x="409" y="107"/>
                </a:moveTo>
                <a:lnTo>
                  <a:pt x="413" y="108"/>
                </a:lnTo>
                <a:lnTo>
                  <a:pt x="413" y="111"/>
                </a:lnTo>
                <a:lnTo>
                  <a:pt x="413" y="113"/>
                </a:lnTo>
                <a:lnTo>
                  <a:pt x="410" y="113"/>
                </a:lnTo>
                <a:lnTo>
                  <a:pt x="408" y="113"/>
                </a:lnTo>
                <a:lnTo>
                  <a:pt x="407" y="111"/>
                </a:lnTo>
                <a:lnTo>
                  <a:pt x="408" y="108"/>
                </a:lnTo>
                <a:lnTo>
                  <a:pt x="409" y="107"/>
                </a:lnTo>
                <a:lnTo>
                  <a:pt x="409" y="107"/>
                </a:lnTo>
                <a:lnTo>
                  <a:pt x="409" y="107"/>
                </a:lnTo>
                <a:close/>
                <a:moveTo>
                  <a:pt x="389" y="277"/>
                </a:moveTo>
                <a:lnTo>
                  <a:pt x="391" y="275"/>
                </a:lnTo>
                <a:lnTo>
                  <a:pt x="394" y="277"/>
                </a:lnTo>
                <a:lnTo>
                  <a:pt x="398" y="278"/>
                </a:lnTo>
                <a:lnTo>
                  <a:pt x="399" y="280"/>
                </a:lnTo>
                <a:lnTo>
                  <a:pt x="398" y="282"/>
                </a:lnTo>
                <a:lnTo>
                  <a:pt x="397" y="282"/>
                </a:lnTo>
                <a:lnTo>
                  <a:pt x="393" y="283"/>
                </a:lnTo>
                <a:lnTo>
                  <a:pt x="391" y="283"/>
                </a:lnTo>
                <a:lnTo>
                  <a:pt x="384" y="283"/>
                </a:lnTo>
                <a:lnTo>
                  <a:pt x="380" y="283"/>
                </a:lnTo>
                <a:lnTo>
                  <a:pt x="384" y="280"/>
                </a:lnTo>
                <a:lnTo>
                  <a:pt x="389" y="277"/>
                </a:lnTo>
                <a:lnTo>
                  <a:pt x="389" y="277"/>
                </a:lnTo>
                <a:lnTo>
                  <a:pt x="389" y="277"/>
                </a:lnTo>
                <a:close/>
                <a:moveTo>
                  <a:pt x="376" y="254"/>
                </a:moveTo>
                <a:lnTo>
                  <a:pt x="373" y="250"/>
                </a:lnTo>
                <a:lnTo>
                  <a:pt x="369" y="247"/>
                </a:lnTo>
                <a:lnTo>
                  <a:pt x="376" y="247"/>
                </a:lnTo>
                <a:lnTo>
                  <a:pt x="384" y="246"/>
                </a:lnTo>
                <a:lnTo>
                  <a:pt x="383" y="249"/>
                </a:lnTo>
                <a:lnTo>
                  <a:pt x="382" y="252"/>
                </a:lnTo>
                <a:lnTo>
                  <a:pt x="380" y="253"/>
                </a:lnTo>
                <a:lnTo>
                  <a:pt x="376" y="254"/>
                </a:lnTo>
                <a:lnTo>
                  <a:pt x="376" y="254"/>
                </a:lnTo>
                <a:lnTo>
                  <a:pt x="376" y="254"/>
                </a:lnTo>
                <a:close/>
                <a:moveTo>
                  <a:pt x="359" y="191"/>
                </a:moveTo>
                <a:lnTo>
                  <a:pt x="361" y="190"/>
                </a:lnTo>
                <a:lnTo>
                  <a:pt x="365" y="190"/>
                </a:lnTo>
                <a:lnTo>
                  <a:pt x="369" y="190"/>
                </a:lnTo>
                <a:lnTo>
                  <a:pt x="373" y="191"/>
                </a:lnTo>
                <a:lnTo>
                  <a:pt x="369" y="192"/>
                </a:lnTo>
                <a:lnTo>
                  <a:pt x="364" y="194"/>
                </a:lnTo>
                <a:lnTo>
                  <a:pt x="359" y="192"/>
                </a:lnTo>
                <a:lnTo>
                  <a:pt x="359" y="191"/>
                </a:lnTo>
                <a:lnTo>
                  <a:pt x="359" y="191"/>
                </a:lnTo>
                <a:lnTo>
                  <a:pt x="359" y="191"/>
                </a:lnTo>
                <a:close/>
                <a:moveTo>
                  <a:pt x="368" y="252"/>
                </a:moveTo>
                <a:lnTo>
                  <a:pt x="369" y="253"/>
                </a:lnTo>
                <a:lnTo>
                  <a:pt x="371" y="255"/>
                </a:lnTo>
                <a:lnTo>
                  <a:pt x="371" y="257"/>
                </a:lnTo>
                <a:lnTo>
                  <a:pt x="369" y="258"/>
                </a:lnTo>
                <a:lnTo>
                  <a:pt x="366" y="258"/>
                </a:lnTo>
                <a:lnTo>
                  <a:pt x="365" y="256"/>
                </a:lnTo>
                <a:lnTo>
                  <a:pt x="364" y="254"/>
                </a:lnTo>
                <a:lnTo>
                  <a:pt x="365" y="253"/>
                </a:lnTo>
                <a:lnTo>
                  <a:pt x="366" y="252"/>
                </a:lnTo>
                <a:lnTo>
                  <a:pt x="368" y="252"/>
                </a:lnTo>
                <a:lnTo>
                  <a:pt x="368" y="252"/>
                </a:lnTo>
                <a:lnTo>
                  <a:pt x="368" y="252"/>
                </a:lnTo>
                <a:close/>
                <a:moveTo>
                  <a:pt x="369" y="279"/>
                </a:moveTo>
                <a:lnTo>
                  <a:pt x="372" y="280"/>
                </a:lnTo>
                <a:lnTo>
                  <a:pt x="373" y="280"/>
                </a:lnTo>
                <a:lnTo>
                  <a:pt x="373" y="281"/>
                </a:lnTo>
                <a:lnTo>
                  <a:pt x="373" y="282"/>
                </a:lnTo>
                <a:lnTo>
                  <a:pt x="373" y="283"/>
                </a:lnTo>
                <a:lnTo>
                  <a:pt x="372" y="285"/>
                </a:lnTo>
                <a:lnTo>
                  <a:pt x="369" y="285"/>
                </a:lnTo>
                <a:lnTo>
                  <a:pt x="368" y="285"/>
                </a:lnTo>
                <a:lnTo>
                  <a:pt x="365" y="283"/>
                </a:lnTo>
                <a:lnTo>
                  <a:pt x="365" y="281"/>
                </a:lnTo>
                <a:lnTo>
                  <a:pt x="366" y="280"/>
                </a:lnTo>
                <a:lnTo>
                  <a:pt x="369" y="279"/>
                </a:lnTo>
                <a:lnTo>
                  <a:pt x="369" y="279"/>
                </a:lnTo>
                <a:lnTo>
                  <a:pt x="369" y="279"/>
                </a:lnTo>
                <a:close/>
                <a:moveTo>
                  <a:pt x="366" y="289"/>
                </a:moveTo>
                <a:lnTo>
                  <a:pt x="380" y="287"/>
                </a:lnTo>
                <a:lnTo>
                  <a:pt x="393" y="286"/>
                </a:lnTo>
                <a:lnTo>
                  <a:pt x="398" y="286"/>
                </a:lnTo>
                <a:lnTo>
                  <a:pt x="404" y="287"/>
                </a:lnTo>
                <a:lnTo>
                  <a:pt x="406" y="287"/>
                </a:lnTo>
                <a:lnTo>
                  <a:pt x="407" y="288"/>
                </a:lnTo>
                <a:lnTo>
                  <a:pt x="407" y="290"/>
                </a:lnTo>
                <a:lnTo>
                  <a:pt x="405" y="291"/>
                </a:lnTo>
                <a:lnTo>
                  <a:pt x="399" y="292"/>
                </a:lnTo>
                <a:lnTo>
                  <a:pt x="393" y="291"/>
                </a:lnTo>
                <a:lnTo>
                  <a:pt x="388" y="291"/>
                </a:lnTo>
                <a:lnTo>
                  <a:pt x="382" y="291"/>
                </a:lnTo>
                <a:lnTo>
                  <a:pt x="374" y="292"/>
                </a:lnTo>
                <a:lnTo>
                  <a:pt x="367" y="292"/>
                </a:lnTo>
                <a:lnTo>
                  <a:pt x="366" y="292"/>
                </a:lnTo>
                <a:lnTo>
                  <a:pt x="365" y="292"/>
                </a:lnTo>
                <a:lnTo>
                  <a:pt x="365" y="290"/>
                </a:lnTo>
                <a:lnTo>
                  <a:pt x="366" y="289"/>
                </a:lnTo>
                <a:lnTo>
                  <a:pt x="371" y="288"/>
                </a:lnTo>
                <a:lnTo>
                  <a:pt x="366" y="289"/>
                </a:lnTo>
                <a:close/>
                <a:moveTo>
                  <a:pt x="404" y="282"/>
                </a:moveTo>
                <a:lnTo>
                  <a:pt x="407" y="279"/>
                </a:lnTo>
                <a:lnTo>
                  <a:pt x="412" y="274"/>
                </a:lnTo>
                <a:lnTo>
                  <a:pt x="416" y="277"/>
                </a:lnTo>
                <a:lnTo>
                  <a:pt x="422" y="279"/>
                </a:lnTo>
                <a:lnTo>
                  <a:pt x="423" y="278"/>
                </a:lnTo>
                <a:lnTo>
                  <a:pt x="424" y="275"/>
                </a:lnTo>
                <a:lnTo>
                  <a:pt x="426" y="274"/>
                </a:lnTo>
                <a:lnTo>
                  <a:pt x="427" y="275"/>
                </a:lnTo>
                <a:lnTo>
                  <a:pt x="427" y="278"/>
                </a:lnTo>
                <a:lnTo>
                  <a:pt x="427" y="280"/>
                </a:lnTo>
                <a:lnTo>
                  <a:pt x="430" y="279"/>
                </a:lnTo>
                <a:lnTo>
                  <a:pt x="432" y="279"/>
                </a:lnTo>
                <a:lnTo>
                  <a:pt x="438" y="280"/>
                </a:lnTo>
                <a:lnTo>
                  <a:pt x="443" y="282"/>
                </a:lnTo>
                <a:lnTo>
                  <a:pt x="449" y="283"/>
                </a:lnTo>
                <a:lnTo>
                  <a:pt x="454" y="285"/>
                </a:lnTo>
                <a:lnTo>
                  <a:pt x="456" y="283"/>
                </a:lnTo>
                <a:lnTo>
                  <a:pt x="457" y="282"/>
                </a:lnTo>
                <a:lnTo>
                  <a:pt x="456" y="282"/>
                </a:lnTo>
                <a:lnTo>
                  <a:pt x="456" y="281"/>
                </a:lnTo>
                <a:lnTo>
                  <a:pt x="454" y="281"/>
                </a:lnTo>
                <a:lnTo>
                  <a:pt x="451" y="280"/>
                </a:lnTo>
                <a:lnTo>
                  <a:pt x="449" y="280"/>
                </a:lnTo>
                <a:lnTo>
                  <a:pt x="446" y="279"/>
                </a:lnTo>
                <a:lnTo>
                  <a:pt x="443" y="277"/>
                </a:lnTo>
                <a:lnTo>
                  <a:pt x="441" y="274"/>
                </a:lnTo>
                <a:lnTo>
                  <a:pt x="446" y="274"/>
                </a:lnTo>
                <a:lnTo>
                  <a:pt x="451" y="274"/>
                </a:lnTo>
                <a:lnTo>
                  <a:pt x="457" y="277"/>
                </a:lnTo>
                <a:lnTo>
                  <a:pt x="460" y="279"/>
                </a:lnTo>
                <a:lnTo>
                  <a:pt x="462" y="281"/>
                </a:lnTo>
                <a:lnTo>
                  <a:pt x="462" y="282"/>
                </a:lnTo>
                <a:lnTo>
                  <a:pt x="462" y="283"/>
                </a:lnTo>
                <a:lnTo>
                  <a:pt x="459" y="285"/>
                </a:lnTo>
                <a:lnTo>
                  <a:pt x="455" y="287"/>
                </a:lnTo>
                <a:lnTo>
                  <a:pt x="450" y="289"/>
                </a:lnTo>
                <a:lnTo>
                  <a:pt x="448" y="287"/>
                </a:lnTo>
                <a:lnTo>
                  <a:pt x="446" y="286"/>
                </a:lnTo>
                <a:lnTo>
                  <a:pt x="442" y="286"/>
                </a:lnTo>
                <a:lnTo>
                  <a:pt x="440" y="286"/>
                </a:lnTo>
                <a:lnTo>
                  <a:pt x="433" y="285"/>
                </a:lnTo>
                <a:lnTo>
                  <a:pt x="426" y="283"/>
                </a:lnTo>
                <a:lnTo>
                  <a:pt x="420" y="285"/>
                </a:lnTo>
                <a:lnTo>
                  <a:pt x="413" y="286"/>
                </a:lnTo>
                <a:lnTo>
                  <a:pt x="410" y="286"/>
                </a:lnTo>
                <a:lnTo>
                  <a:pt x="408" y="286"/>
                </a:lnTo>
                <a:lnTo>
                  <a:pt x="406" y="285"/>
                </a:lnTo>
                <a:lnTo>
                  <a:pt x="404" y="282"/>
                </a:lnTo>
                <a:lnTo>
                  <a:pt x="404" y="283"/>
                </a:lnTo>
                <a:lnTo>
                  <a:pt x="404" y="282"/>
                </a:lnTo>
                <a:close/>
                <a:moveTo>
                  <a:pt x="460" y="253"/>
                </a:moveTo>
                <a:lnTo>
                  <a:pt x="459" y="254"/>
                </a:lnTo>
                <a:lnTo>
                  <a:pt x="457" y="254"/>
                </a:lnTo>
                <a:lnTo>
                  <a:pt x="456" y="253"/>
                </a:lnTo>
                <a:lnTo>
                  <a:pt x="454" y="252"/>
                </a:lnTo>
                <a:lnTo>
                  <a:pt x="453" y="253"/>
                </a:lnTo>
                <a:lnTo>
                  <a:pt x="450" y="254"/>
                </a:lnTo>
                <a:lnTo>
                  <a:pt x="449" y="255"/>
                </a:lnTo>
                <a:lnTo>
                  <a:pt x="447" y="255"/>
                </a:lnTo>
                <a:lnTo>
                  <a:pt x="442" y="263"/>
                </a:lnTo>
                <a:lnTo>
                  <a:pt x="440" y="270"/>
                </a:lnTo>
                <a:lnTo>
                  <a:pt x="439" y="270"/>
                </a:lnTo>
                <a:lnTo>
                  <a:pt x="438" y="269"/>
                </a:lnTo>
                <a:lnTo>
                  <a:pt x="439" y="266"/>
                </a:lnTo>
                <a:lnTo>
                  <a:pt x="439" y="263"/>
                </a:lnTo>
                <a:lnTo>
                  <a:pt x="440" y="257"/>
                </a:lnTo>
                <a:lnTo>
                  <a:pt x="440" y="254"/>
                </a:lnTo>
                <a:lnTo>
                  <a:pt x="438" y="252"/>
                </a:lnTo>
                <a:lnTo>
                  <a:pt x="434" y="250"/>
                </a:lnTo>
                <a:lnTo>
                  <a:pt x="431" y="249"/>
                </a:lnTo>
                <a:lnTo>
                  <a:pt x="426" y="249"/>
                </a:lnTo>
                <a:lnTo>
                  <a:pt x="417" y="250"/>
                </a:lnTo>
                <a:lnTo>
                  <a:pt x="412" y="250"/>
                </a:lnTo>
                <a:lnTo>
                  <a:pt x="415" y="247"/>
                </a:lnTo>
                <a:lnTo>
                  <a:pt x="421" y="245"/>
                </a:lnTo>
                <a:lnTo>
                  <a:pt x="426" y="244"/>
                </a:lnTo>
                <a:lnTo>
                  <a:pt x="432" y="244"/>
                </a:lnTo>
                <a:lnTo>
                  <a:pt x="445" y="246"/>
                </a:lnTo>
                <a:lnTo>
                  <a:pt x="456" y="247"/>
                </a:lnTo>
                <a:lnTo>
                  <a:pt x="460" y="247"/>
                </a:lnTo>
                <a:lnTo>
                  <a:pt x="466" y="247"/>
                </a:lnTo>
                <a:lnTo>
                  <a:pt x="472" y="247"/>
                </a:lnTo>
                <a:lnTo>
                  <a:pt x="475" y="249"/>
                </a:lnTo>
                <a:lnTo>
                  <a:pt x="475" y="252"/>
                </a:lnTo>
                <a:lnTo>
                  <a:pt x="474" y="252"/>
                </a:lnTo>
                <a:lnTo>
                  <a:pt x="473" y="252"/>
                </a:lnTo>
                <a:lnTo>
                  <a:pt x="471" y="252"/>
                </a:lnTo>
                <a:lnTo>
                  <a:pt x="466" y="252"/>
                </a:lnTo>
                <a:lnTo>
                  <a:pt x="460" y="253"/>
                </a:lnTo>
                <a:lnTo>
                  <a:pt x="462" y="253"/>
                </a:lnTo>
                <a:lnTo>
                  <a:pt x="460" y="253"/>
                </a:lnTo>
                <a:close/>
                <a:moveTo>
                  <a:pt x="418" y="117"/>
                </a:moveTo>
                <a:lnTo>
                  <a:pt x="427" y="116"/>
                </a:lnTo>
                <a:lnTo>
                  <a:pt x="437" y="117"/>
                </a:lnTo>
                <a:lnTo>
                  <a:pt x="446" y="119"/>
                </a:lnTo>
                <a:lnTo>
                  <a:pt x="455" y="119"/>
                </a:lnTo>
                <a:lnTo>
                  <a:pt x="460" y="120"/>
                </a:lnTo>
                <a:lnTo>
                  <a:pt x="465" y="119"/>
                </a:lnTo>
                <a:lnTo>
                  <a:pt x="467" y="117"/>
                </a:lnTo>
                <a:lnTo>
                  <a:pt x="470" y="116"/>
                </a:lnTo>
                <a:lnTo>
                  <a:pt x="472" y="117"/>
                </a:lnTo>
                <a:lnTo>
                  <a:pt x="473" y="120"/>
                </a:lnTo>
                <a:lnTo>
                  <a:pt x="470" y="122"/>
                </a:lnTo>
                <a:lnTo>
                  <a:pt x="466" y="123"/>
                </a:lnTo>
                <a:lnTo>
                  <a:pt x="457" y="124"/>
                </a:lnTo>
                <a:lnTo>
                  <a:pt x="448" y="123"/>
                </a:lnTo>
                <a:lnTo>
                  <a:pt x="445" y="123"/>
                </a:lnTo>
                <a:lnTo>
                  <a:pt x="441" y="122"/>
                </a:lnTo>
                <a:lnTo>
                  <a:pt x="438" y="120"/>
                </a:lnTo>
                <a:lnTo>
                  <a:pt x="434" y="121"/>
                </a:lnTo>
                <a:lnTo>
                  <a:pt x="426" y="123"/>
                </a:lnTo>
                <a:lnTo>
                  <a:pt x="418" y="122"/>
                </a:lnTo>
                <a:lnTo>
                  <a:pt x="415" y="121"/>
                </a:lnTo>
                <a:lnTo>
                  <a:pt x="414" y="120"/>
                </a:lnTo>
                <a:lnTo>
                  <a:pt x="416" y="119"/>
                </a:lnTo>
                <a:lnTo>
                  <a:pt x="418" y="117"/>
                </a:lnTo>
                <a:lnTo>
                  <a:pt x="418" y="117"/>
                </a:lnTo>
                <a:lnTo>
                  <a:pt x="418" y="117"/>
                </a:lnTo>
                <a:close/>
                <a:moveTo>
                  <a:pt x="417" y="108"/>
                </a:moveTo>
                <a:lnTo>
                  <a:pt x="420" y="106"/>
                </a:lnTo>
                <a:lnTo>
                  <a:pt x="422" y="104"/>
                </a:lnTo>
                <a:lnTo>
                  <a:pt x="425" y="105"/>
                </a:lnTo>
                <a:lnTo>
                  <a:pt x="427" y="107"/>
                </a:lnTo>
                <a:lnTo>
                  <a:pt x="427" y="108"/>
                </a:lnTo>
                <a:lnTo>
                  <a:pt x="426" y="109"/>
                </a:lnTo>
                <a:lnTo>
                  <a:pt x="424" y="109"/>
                </a:lnTo>
                <a:lnTo>
                  <a:pt x="422" y="109"/>
                </a:lnTo>
                <a:lnTo>
                  <a:pt x="421" y="111"/>
                </a:lnTo>
                <a:lnTo>
                  <a:pt x="418" y="111"/>
                </a:lnTo>
                <a:lnTo>
                  <a:pt x="417" y="109"/>
                </a:lnTo>
                <a:lnTo>
                  <a:pt x="417" y="108"/>
                </a:lnTo>
                <a:lnTo>
                  <a:pt x="418" y="108"/>
                </a:lnTo>
                <a:lnTo>
                  <a:pt x="417" y="108"/>
                </a:lnTo>
                <a:close/>
                <a:moveTo>
                  <a:pt x="425" y="156"/>
                </a:moveTo>
                <a:lnTo>
                  <a:pt x="424" y="158"/>
                </a:lnTo>
                <a:lnTo>
                  <a:pt x="422" y="159"/>
                </a:lnTo>
                <a:lnTo>
                  <a:pt x="420" y="159"/>
                </a:lnTo>
                <a:lnTo>
                  <a:pt x="418" y="156"/>
                </a:lnTo>
                <a:lnTo>
                  <a:pt x="418" y="155"/>
                </a:lnTo>
                <a:lnTo>
                  <a:pt x="420" y="155"/>
                </a:lnTo>
                <a:lnTo>
                  <a:pt x="421" y="154"/>
                </a:lnTo>
                <a:lnTo>
                  <a:pt x="422" y="154"/>
                </a:lnTo>
                <a:lnTo>
                  <a:pt x="424" y="155"/>
                </a:lnTo>
                <a:lnTo>
                  <a:pt x="425" y="156"/>
                </a:lnTo>
                <a:lnTo>
                  <a:pt x="425" y="156"/>
                </a:lnTo>
                <a:lnTo>
                  <a:pt x="425" y="156"/>
                </a:lnTo>
                <a:close/>
                <a:moveTo>
                  <a:pt x="491" y="280"/>
                </a:moveTo>
                <a:lnTo>
                  <a:pt x="492" y="280"/>
                </a:lnTo>
                <a:lnTo>
                  <a:pt x="493" y="281"/>
                </a:lnTo>
                <a:lnTo>
                  <a:pt x="492" y="282"/>
                </a:lnTo>
                <a:lnTo>
                  <a:pt x="492" y="283"/>
                </a:lnTo>
                <a:lnTo>
                  <a:pt x="488" y="286"/>
                </a:lnTo>
                <a:lnTo>
                  <a:pt x="483" y="286"/>
                </a:lnTo>
                <a:lnTo>
                  <a:pt x="478" y="285"/>
                </a:lnTo>
                <a:lnTo>
                  <a:pt x="473" y="283"/>
                </a:lnTo>
                <a:lnTo>
                  <a:pt x="471" y="283"/>
                </a:lnTo>
                <a:lnTo>
                  <a:pt x="470" y="282"/>
                </a:lnTo>
                <a:lnTo>
                  <a:pt x="467" y="280"/>
                </a:lnTo>
                <a:lnTo>
                  <a:pt x="467" y="279"/>
                </a:lnTo>
                <a:lnTo>
                  <a:pt x="479" y="279"/>
                </a:lnTo>
                <a:lnTo>
                  <a:pt x="491" y="280"/>
                </a:lnTo>
                <a:lnTo>
                  <a:pt x="488" y="280"/>
                </a:lnTo>
                <a:lnTo>
                  <a:pt x="491" y="280"/>
                </a:lnTo>
                <a:close/>
                <a:moveTo>
                  <a:pt x="479" y="297"/>
                </a:moveTo>
                <a:lnTo>
                  <a:pt x="491" y="297"/>
                </a:lnTo>
                <a:lnTo>
                  <a:pt x="503" y="298"/>
                </a:lnTo>
                <a:lnTo>
                  <a:pt x="505" y="299"/>
                </a:lnTo>
                <a:lnTo>
                  <a:pt x="506" y="300"/>
                </a:lnTo>
                <a:lnTo>
                  <a:pt x="506" y="302"/>
                </a:lnTo>
                <a:lnTo>
                  <a:pt x="505" y="303"/>
                </a:lnTo>
                <a:lnTo>
                  <a:pt x="503" y="305"/>
                </a:lnTo>
                <a:lnTo>
                  <a:pt x="498" y="305"/>
                </a:lnTo>
                <a:lnTo>
                  <a:pt x="495" y="303"/>
                </a:lnTo>
                <a:lnTo>
                  <a:pt x="491" y="300"/>
                </a:lnTo>
                <a:lnTo>
                  <a:pt x="487" y="299"/>
                </a:lnTo>
                <a:lnTo>
                  <a:pt x="482" y="300"/>
                </a:lnTo>
                <a:lnTo>
                  <a:pt x="480" y="300"/>
                </a:lnTo>
                <a:lnTo>
                  <a:pt x="478" y="300"/>
                </a:lnTo>
                <a:lnTo>
                  <a:pt x="476" y="300"/>
                </a:lnTo>
                <a:lnTo>
                  <a:pt x="475" y="299"/>
                </a:lnTo>
                <a:lnTo>
                  <a:pt x="475" y="297"/>
                </a:lnTo>
                <a:lnTo>
                  <a:pt x="476" y="297"/>
                </a:lnTo>
                <a:lnTo>
                  <a:pt x="478" y="297"/>
                </a:lnTo>
                <a:lnTo>
                  <a:pt x="479" y="297"/>
                </a:lnTo>
                <a:lnTo>
                  <a:pt x="481" y="297"/>
                </a:lnTo>
                <a:lnTo>
                  <a:pt x="479" y="297"/>
                </a:lnTo>
                <a:close/>
                <a:moveTo>
                  <a:pt x="497" y="285"/>
                </a:moveTo>
                <a:lnTo>
                  <a:pt x="497" y="282"/>
                </a:lnTo>
                <a:lnTo>
                  <a:pt x="499" y="281"/>
                </a:lnTo>
                <a:lnTo>
                  <a:pt x="501" y="281"/>
                </a:lnTo>
                <a:lnTo>
                  <a:pt x="503" y="283"/>
                </a:lnTo>
                <a:lnTo>
                  <a:pt x="501" y="286"/>
                </a:lnTo>
                <a:lnTo>
                  <a:pt x="499" y="287"/>
                </a:lnTo>
                <a:lnTo>
                  <a:pt x="498" y="287"/>
                </a:lnTo>
                <a:lnTo>
                  <a:pt x="497" y="287"/>
                </a:lnTo>
                <a:lnTo>
                  <a:pt x="497" y="286"/>
                </a:lnTo>
                <a:lnTo>
                  <a:pt x="497" y="285"/>
                </a:lnTo>
                <a:lnTo>
                  <a:pt x="497" y="285"/>
                </a:lnTo>
                <a:lnTo>
                  <a:pt x="497" y="285"/>
                </a:lnTo>
                <a:close/>
                <a:moveTo>
                  <a:pt x="503" y="244"/>
                </a:moveTo>
                <a:lnTo>
                  <a:pt x="499" y="244"/>
                </a:lnTo>
                <a:lnTo>
                  <a:pt x="493" y="244"/>
                </a:lnTo>
                <a:lnTo>
                  <a:pt x="490" y="244"/>
                </a:lnTo>
                <a:lnTo>
                  <a:pt x="488" y="242"/>
                </a:lnTo>
                <a:lnTo>
                  <a:pt x="486" y="242"/>
                </a:lnTo>
                <a:lnTo>
                  <a:pt x="486" y="240"/>
                </a:lnTo>
                <a:lnTo>
                  <a:pt x="489" y="239"/>
                </a:lnTo>
                <a:lnTo>
                  <a:pt x="493" y="240"/>
                </a:lnTo>
                <a:lnTo>
                  <a:pt x="499" y="241"/>
                </a:lnTo>
                <a:lnTo>
                  <a:pt x="503" y="244"/>
                </a:lnTo>
                <a:lnTo>
                  <a:pt x="499" y="241"/>
                </a:lnTo>
                <a:lnTo>
                  <a:pt x="503" y="244"/>
                </a:lnTo>
                <a:close/>
                <a:moveTo>
                  <a:pt x="498" y="192"/>
                </a:moveTo>
                <a:lnTo>
                  <a:pt x="500" y="190"/>
                </a:lnTo>
                <a:lnTo>
                  <a:pt x="504" y="189"/>
                </a:lnTo>
                <a:lnTo>
                  <a:pt x="506" y="189"/>
                </a:lnTo>
                <a:lnTo>
                  <a:pt x="507" y="189"/>
                </a:lnTo>
                <a:lnTo>
                  <a:pt x="508" y="190"/>
                </a:lnTo>
                <a:lnTo>
                  <a:pt x="508" y="191"/>
                </a:lnTo>
                <a:lnTo>
                  <a:pt x="506" y="192"/>
                </a:lnTo>
                <a:lnTo>
                  <a:pt x="503" y="194"/>
                </a:lnTo>
                <a:lnTo>
                  <a:pt x="499" y="194"/>
                </a:lnTo>
                <a:lnTo>
                  <a:pt x="498" y="192"/>
                </a:lnTo>
                <a:close/>
                <a:moveTo>
                  <a:pt x="526" y="195"/>
                </a:moveTo>
                <a:lnTo>
                  <a:pt x="530" y="194"/>
                </a:lnTo>
                <a:lnTo>
                  <a:pt x="536" y="194"/>
                </a:lnTo>
                <a:lnTo>
                  <a:pt x="538" y="194"/>
                </a:lnTo>
                <a:lnTo>
                  <a:pt x="540" y="194"/>
                </a:lnTo>
                <a:lnTo>
                  <a:pt x="541" y="194"/>
                </a:lnTo>
                <a:lnTo>
                  <a:pt x="542" y="196"/>
                </a:lnTo>
                <a:lnTo>
                  <a:pt x="541" y="198"/>
                </a:lnTo>
                <a:lnTo>
                  <a:pt x="540" y="198"/>
                </a:lnTo>
                <a:lnTo>
                  <a:pt x="538" y="199"/>
                </a:lnTo>
                <a:lnTo>
                  <a:pt x="534" y="198"/>
                </a:lnTo>
                <a:lnTo>
                  <a:pt x="530" y="197"/>
                </a:lnTo>
                <a:lnTo>
                  <a:pt x="526" y="195"/>
                </a:lnTo>
                <a:lnTo>
                  <a:pt x="530" y="195"/>
                </a:lnTo>
                <a:lnTo>
                  <a:pt x="526" y="195"/>
                </a:lnTo>
                <a:close/>
                <a:moveTo>
                  <a:pt x="532" y="233"/>
                </a:moveTo>
                <a:lnTo>
                  <a:pt x="530" y="231"/>
                </a:lnTo>
                <a:lnTo>
                  <a:pt x="528" y="228"/>
                </a:lnTo>
                <a:lnTo>
                  <a:pt x="526" y="227"/>
                </a:lnTo>
                <a:lnTo>
                  <a:pt x="526" y="225"/>
                </a:lnTo>
                <a:lnTo>
                  <a:pt x="528" y="224"/>
                </a:lnTo>
                <a:lnTo>
                  <a:pt x="530" y="224"/>
                </a:lnTo>
                <a:lnTo>
                  <a:pt x="532" y="224"/>
                </a:lnTo>
                <a:lnTo>
                  <a:pt x="532" y="224"/>
                </a:lnTo>
                <a:lnTo>
                  <a:pt x="533" y="225"/>
                </a:lnTo>
                <a:lnTo>
                  <a:pt x="533" y="228"/>
                </a:lnTo>
                <a:lnTo>
                  <a:pt x="532" y="230"/>
                </a:lnTo>
                <a:lnTo>
                  <a:pt x="532" y="233"/>
                </a:lnTo>
                <a:lnTo>
                  <a:pt x="531" y="230"/>
                </a:lnTo>
                <a:lnTo>
                  <a:pt x="532" y="233"/>
                </a:lnTo>
                <a:close/>
                <a:moveTo>
                  <a:pt x="600" y="273"/>
                </a:moveTo>
                <a:lnTo>
                  <a:pt x="603" y="274"/>
                </a:lnTo>
                <a:lnTo>
                  <a:pt x="604" y="275"/>
                </a:lnTo>
                <a:lnTo>
                  <a:pt x="604" y="277"/>
                </a:lnTo>
                <a:lnTo>
                  <a:pt x="603" y="278"/>
                </a:lnTo>
                <a:lnTo>
                  <a:pt x="600" y="278"/>
                </a:lnTo>
                <a:lnTo>
                  <a:pt x="599" y="278"/>
                </a:lnTo>
                <a:lnTo>
                  <a:pt x="598" y="278"/>
                </a:lnTo>
                <a:lnTo>
                  <a:pt x="597" y="277"/>
                </a:lnTo>
                <a:lnTo>
                  <a:pt x="596" y="275"/>
                </a:lnTo>
                <a:lnTo>
                  <a:pt x="596" y="274"/>
                </a:lnTo>
                <a:lnTo>
                  <a:pt x="598" y="273"/>
                </a:lnTo>
                <a:lnTo>
                  <a:pt x="600" y="273"/>
                </a:lnTo>
                <a:lnTo>
                  <a:pt x="600" y="274"/>
                </a:lnTo>
                <a:lnTo>
                  <a:pt x="600" y="273"/>
                </a:lnTo>
                <a:close/>
                <a:moveTo>
                  <a:pt x="586" y="101"/>
                </a:moveTo>
                <a:lnTo>
                  <a:pt x="590" y="101"/>
                </a:lnTo>
                <a:lnTo>
                  <a:pt x="595" y="103"/>
                </a:lnTo>
                <a:lnTo>
                  <a:pt x="596" y="104"/>
                </a:lnTo>
                <a:lnTo>
                  <a:pt x="596" y="105"/>
                </a:lnTo>
                <a:lnTo>
                  <a:pt x="596" y="105"/>
                </a:lnTo>
                <a:lnTo>
                  <a:pt x="594" y="106"/>
                </a:lnTo>
                <a:lnTo>
                  <a:pt x="593" y="106"/>
                </a:lnTo>
                <a:lnTo>
                  <a:pt x="590" y="105"/>
                </a:lnTo>
                <a:lnTo>
                  <a:pt x="588" y="106"/>
                </a:lnTo>
                <a:lnTo>
                  <a:pt x="586" y="106"/>
                </a:lnTo>
                <a:lnTo>
                  <a:pt x="583" y="106"/>
                </a:lnTo>
                <a:lnTo>
                  <a:pt x="583" y="104"/>
                </a:lnTo>
                <a:lnTo>
                  <a:pt x="583" y="103"/>
                </a:lnTo>
                <a:lnTo>
                  <a:pt x="586" y="101"/>
                </a:lnTo>
                <a:lnTo>
                  <a:pt x="586" y="101"/>
                </a:lnTo>
                <a:lnTo>
                  <a:pt x="586" y="101"/>
                </a:lnTo>
                <a:close/>
                <a:moveTo>
                  <a:pt x="552" y="97"/>
                </a:moveTo>
                <a:lnTo>
                  <a:pt x="558" y="97"/>
                </a:lnTo>
                <a:lnTo>
                  <a:pt x="565" y="98"/>
                </a:lnTo>
                <a:lnTo>
                  <a:pt x="573" y="101"/>
                </a:lnTo>
                <a:lnTo>
                  <a:pt x="579" y="105"/>
                </a:lnTo>
                <a:lnTo>
                  <a:pt x="573" y="105"/>
                </a:lnTo>
                <a:lnTo>
                  <a:pt x="567" y="105"/>
                </a:lnTo>
                <a:lnTo>
                  <a:pt x="562" y="104"/>
                </a:lnTo>
                <a:lnTo>
                  <a:pt x="556" y="103"/>
                </a:lnTo>
                <a:lnTo>
                  <a:pt x="555" y="101"/>
                </a:lnTo>
                <a:lnTo>
                  <a:pt x="553" y="100"/>
                </a:lnTo>
                <a:lnTo>
                  <a:pt x="552" y="100"/>
                </a:lnTo>
                <a:lnTo>
                  <a:pt x="549" y="101"/>
                </a:lnTo>
                <a:lnTo>
                  <a:pt x="548" y="100"/>
                </a:lnTo>
                <a:lnTo>
                  <a:pt x="548" y="99"/>
                </a:lnTo>
                <a:lnTo>
                  <a:pt x="549" y="98"/>
                </a:lnTo>
                <a:lnTo>
                  <a:pt x="552" y="97"/>
                </a:lnTo>
                <a:lnTo>
                  <a:pt x="553" y="97"/>
                </a:lnTo>
                <a:lnTo>
                  <a:pt x="552" y="97"/>
                </a:lnTo>
                <a:close/>
                <a:moveTo>
                  <a:pt x="406" y="61"/>
                </a:moveTo>
                <a:lnTo>
                  <a:pt x="408" y="61"/>
                </a:lnTo>
                <a:lnTo>
                  <a:pt x="412" y="62"/>
                </a:lnTo>
                <a:lnTo>
                  <a:pt x="413" y="62"/>
                </a:lnTo>
                <a:lnTo>
                  <a:pt x="414" y="63"/>
                </a:lnTo>
                <a:lnTo>
                  <a:pt x="414" y="64"/>
                </a:lnTo>
                <a:lnTo>
                  <a:pt x="414" y="65"/>
                </a:lnTo>
                <a:lnTo>
                  <a:pt x="413" y="66"/>
                </a:lnTo>
                <a:lnTo>
                  <a:pt x="412" y="66"/>
                </a:lnTo>
                <a:lnTo>
                  <a:pt x="410" y="66"/>
                </a:lnTo>
                <a:lnTo>
                  <a:pt x="408" y="65"/>
                </a:lnTo>
                <a:lnTo>
                  <a:pt x="406" y="63"/>
                </a:lnTo>
                <a:lnTo>
                  <a:pt x="405" y="62"/>
                </a:lnTo>
                <a:lnTo>
                  <a:pt x="405" y="61"/>
                </a:lnTo>
                <a:lnTo>
                  <a:pt x="406" y="61"/>
                </a:lnTo>
                <a:lnTo>
                  <a:pt x="407" y="61"/>
                </a:lnTo>
                <a:lnTo>
                  <a:pt x="406" y="61"/>
                </a:lnTo>
                <a:close/>
                <a:moveTo>
                  <a:pt x="374" y="67"/>
                </a:moveTo>
                <a:lnTo>
                  <a:pt x="376" y="65"/>
                </a:lnTo>
                <a:lnTo>
                  <a:pt x="379" y="64"/>
                </a:lnTo>
                <a:lnTo>
                  <a:pt x="381" y="64"/>
                </a:lnTo>
                <a:lnTo>
                  <a:pt x="383" y="64"/>
                </a:lnTo>
                <a:lnTo>
                  <a:pt x="388" y="66"/>
                </a:lnTo>
                <a:lnTo>
                  <a:pt x="392" y="66"/>
                </a:lnTo>
                <a:lnTo>
                  <a:pt x="390" y="68"/>
                </a:lnTo>
                <a:lnTo>
                  <a:pt x="387" y="70"/>
                </a:lnTo>
                <a:lnTo>
                  <a:pt x="383" y="70"/>
                </a:lnTo>
                <a:lnTo>
                  <a:pt x="380" y="71"/>
                </a:lnTo>
                <a:lnTo>
                  <a:pt x="379" y="72"/>
                </a:lnTo>
                <a:lnTo>
                  <a:pt x="377" y="73"/>
                </a:lnTo>
                <a:lnTo>
                  <a:pt x="375" y="74"/>
                </a:lnTo>
                <a:lnTo>
                  <a:pt x="373" y="73"/>
                </a:lnTo>
                <a:lnTo>
                  <a:pt x="372" y="72"/>
                </a:lnTo>
                <a:lnTo>
                  <a:pt x="372" y="70"/>
                </a:lnTo>
                <a:lnTo>
                  <a:pt x="373" y="68"/>
                </a:lnTo>
                <a:lnTo>
                  <a:pt x="374" y="67"/>
                </a:lnTo>
                <a:lnTo>
                  <a:pt x="375" y="64"/>
                </a:lnTo>
                <a:lnTo>
                  <a:pt x="374" y="67"/>
                </a:lnTo>
                <a:close/>
                <a:moveTo>
                  <a:pt x="343" y="99"/>
                </a:moveTo>
                <a:lnTo>
                  <a:pt x="340" y="97"/>
                </a:lnTo>
                <a:lnTo>
                  <a:pt x="336" y="95"/>
                </a:lnTo>
                <a:lnTo>
                  <a:pt x="344" y="92"/>
                </a:lnTo>
                <a:lnTo>
                  <a:pt x="351" y="92"/>
                </a:lnTo>
                <a:lnTo>
                  <a:pt x="353" y="95"/>
                </a:lnTo>
                <a:lnTo>
                  <a:pt x="356" y="96"/>
                </a:lnTo>
                <a:lnTo>
                  <a:pt x="358" y="97"/>
                </a:lnTo>
                <a:lnTo>
                  <a:pt x="361" y="96"/>
                </a:lnTo>
                <a:lnTo>
                  <a:pt x="358" y="94"/>
                </a:lnTo>
                <a:lnTo>
                  <a:pt x="356" y="91"/>
                </a:lnTo>
                <a:lnTo>
                  <a:pt x="359" y="91"/>
                </a:lnTo>
                <a:lnTo>
                  <a:pt x="364" y="92"/>
                </a:lnTo>
                <a:lnTo>
                  <a:pt x="367" y="91"/>
                </a:lnTo>
                <a:lnTo>
                  <a:pt x="369" y="91"/>
                </a:lnTo>
                <a:lnTo>
                  <a:pt x="374" y="91"/>
                </a:lnTo>
                <a:lnTo>
                  <a:pt x="379" y="92"/>
                </a:lnTo>
                <a:lnTo>
                  <a:pt x="387" y="91"/>
                </a:lnTo>
                <a:lnTo>
                  <a:pt x="394" y="90"/>
                </a:lnTo>
                <a:lnTo>
                  <a:pt x="398" y="89"/>
                </a:lnTo>
                <a:lnTo>
                  <a:pt x="402" y="88"/>
                </a:lnTo>
                <a:lnTo>
                  <a:pt x="405" y="88"/>
                </a:lnTo>
                <a:lnTo>
                  <a:pt x="407" y="89"/>
                </a:lnTo>
                <a:lnTo>
                  <a:pt x="413" y="89"/>
                </a:lnTo>
                <a:lnTo>
                  <a:pt x="418" y="88"/>
                </a:lnTo>
                <a:lnTo>
                  <a:pt x="421" y="89"/>
                </a:lnTo>
                <a:lnTo>
                  <a:pt x="422" y="90"/>
                </a:lnTo>
                <a:lnTo>
                  <a:pt x="424" y="88"/>
                </a:lnTo>
                <a:lnTo>
                  <a:pt x="425" y="87"/>
                </a:lnTo>
                <a:lnTo>
                  <a:pt x="427" y="90"/>
                </a:lnTo>
                <a:lnTo>
                  <a:pt x="430" y="92"/>
                </a:lnTo>
                <a:lnTo>
                  <a:pt x="432" y="89"/>
                </a:lnTo>
                <a:lnTo>
                  <a:pt x="434" y="86"/>
                </a:lnTo>
                <a:lnTo>
                  <a:pt x="438" y="86"/>
                </a:lnTo>
                <a:lnTo>
                  <a:pt x="441" y="86"/>
                </a:lnTo>
                <a:lnTo>
                  <a:pt x="445" y="88"/>
                </a:lnTo>
                <a:lnTo>
                  <a:pt x="447" y="89"/>
                </a:lnTo>
                <a:lnTo>
                  <a:pt x="450" y="90"/>
                </a:lnTo>
                <a:lnTo>
                  <a:pt x="454" y="90"/>
                </a:lnTo>
                <a:lnTo>
                  <a:pt x="458" y="89"/>
                </a:lnTo>
                <a:lnTo>
                  <a:pt x="462" y="88"/>
                </a:lnTo>
                <a:lnTo>
                  <a:pt x="466" y="91"/>
                </a:lnTo>
                <a:lnTo>
                  <a:pt x="471" y="94"/>
                </a:lnTo>
                <a:lnTo>
                  <a:pt x="472" y="91"/>
                </a:lnTo>
                <a:lnTo>
                  <a:pt x="472" y="90"/>
                </a:lnTo>
                <a:lnTo>
                  <a:pt x="474" y="89"/>
                </a:lnTo>
                <a:lnTo>
                  <a:pt x="475" y="89"/>
                </a:lnTo>
                <a:lnTo>
                  <a:pt x="482" y="90"/>
                </a:lnTo>
                <a:lnTo>
                  <a:pt x="489" y="91"/>
                </a:lnTo>
                <a:lnTo>
                  <a:pt x="495" y="90"/>
                </a:lnTo>
                <a:lnTo>
                  <a:pt x="500" y="88"/>
                </a:lnTo>
                <a:lnTo>
                  <a:pt x="508" y="90"/>
                </a:lnTo>
                <a:lnTo>
                  <a:pt x="515" y="92"/>
                </a:lnTo>
                <a:lnTo>
                  <a:pt x="519" y="91"/>
                </a:lnTo>
                <a:lnTo>
                  <a:pt x="521" y="92"/>
                </a:lnTo>
                <a:lnTo>
                  <a:pt x="519" y="94"/>
                </a:lnTo>
                <a:lnTo>
                  <a:pt x="517" y="96"/>
                </a:lnTo>
                <a:lnTo>
                  <a:pt x="521" y="96"/>
                </a:lnTo>
                <a:lnTo>
                  <a:pt x="523" y="96"/>
                </a:lnTo>
                <a:lnTo>
                  <a:pt x="526" y="97"/>
                </a:lnTo>
                <a:lnTo>
                  <a:pt x="529" y="98"/>
                </a:lnTo>
                <a:lnTo>
                  <a:pt x="531" y="98"/>
                </a:lnTo>
                <a:lnTo>
                  <a:pt x="532" y="97"/>
                </a:lnTo>
                <a:lnTo>
                  <a:pt x="532" y="97"/>
                </a:lnTo>
                <a:lnTo>
                  <a:pt x="532" y="96"/>
                </a:lnTo>
                <a:lnTo>
                  <a:pt x="532" y="96"/>
                </a:lnTo>
                <a:lnTo>
                  <a:pt x="531" y="95"/>
                </a:lnTo>
                <a:lnTo>
                  <a:pt x="532" y="94"/>
                </a:lnTo>
                <a:lnTo>
                  <a:pt x="534" y="95"/>
                </a:lnTo>
                <a:lnTo>
                  <a:pt x="540" y="94"/>
                </a:lnTo>
                <a:lnTo>
                  <a:pt x="545" y="95"/>
                </a:lnTo>
                <a:lnTo>
                  <a:pt x="546" y="97"/>
                </a:lnTo>
                <a:lnTo>
                  <a:pt x="546" y="99"/>
                </a:lnTo>
                <a:lnTo>
                  <a:pt x="545" y="100"/>
                </a:lnTo>
                <a:lnTo>
                  <a:pt x="542" y="101"/>
                </a:lnTo>
                <a:lnTo>
                  <a:pt x="538" y="100"/>
                </a:lnTo>
                <a:lnTo>
                  <a:pt x="533" y="99"/>
                </a:lnTo>
                <a:lnTo>
                  <a:pt x="528" y="100"/>
                </a:lnTo>
                <a:lnTo>
                  <a:pt x="521" y="101"/>
                </a:lnTo>
                <a:lnTo>
                  <a:pt x="513" y="100"/>
                </a:lnTo>
                <a:lnTo>
                  <a:pt x="506" y="99"/>
                </a:lnTo>
                <a:lnTo>
                  <a:pt x="492" y="99"/>
                </a:lnTo>
                <a:lnTo>
                  <a:pt x="480" y="98"/>
                </a:lnTo>
                <a:lnTo>
                  <a:pt x="467" y="98"/>
                </a:lnTo>
                <a:lnTo>
                  <a:pt x="454" y="97"/>
                </a:lnTo>
                <a:lnTo>
                  <a:pt x="441" y="98"/>
                </a:lnTo>
                <a:lnTo>
                  <a:pt x="429" y="97"/>
                </a:lnTo>
                <a:lnTo>
                  <a:pt x="414" y="98"/>
                </a:lnTo>
                <a:lnTo>
                  <a:pt x="399" y="99"/>
                </a:lnTo>
                <a:lnTo>
                  <a:pt x="401" y="101"/>
                </a:lnTo>
                <a:lnTo>
                  <a:pt x="405" y="103"/>
                </a:lnTo>
                <a:lnTo>
                  <a:pt x="399" y="105"/>
                </a:lnTo>
                <a:lnTo>
                  <a:pt x="393" y="106"/>
                </a:lnTo>
                <a:lnTo>
                  <a:pt x="394" y="105"/>
                </a:lnTo>
                <a:lnTo>
                  <a:pt x="397" y="101"/>
                </a:lnTo>
                <a:lnTo>
                  <a:pt x="398" y="100"/>
                </a:lnTo>
                <a:lnTo>
                  <a:pt x="399" y="99"/>
                </a:lnTo>
                <a:lnTo>
                  <a:pt x="399" y="97"/>
                </a:lnTo>
                <a:lnTo>
                  <a:pt x="398" y="96"/>
                </a:lnTo>
                <a:lnTo>
                  <a:pt x="394" y="97"/>
                </a:lnTo>
                <a:lnTo>
                  <a:pt x="391" y="99"/>
                </a:lnTo>
                <a:lnTo>
                  <a:pt x="385" y="101"/>
                </a:lnTo>
                <a:lnTo>
                  <a:pt x="380" y="101"/>
                </a:lnTo>
                <a:lnTo>
                  <a:pt x="374" y="101"/>
                </a:lnTo>
                <a:lnTo>
                  <a:pt x="367" y="103"/>
                </a:lnTo>
                <a:lnTo>
                  <a:pt x="365" y="104"/>
                </a:lnTo>
                <a:lnTo>
                  <a:pt x="361" y="105"/>
                </a:lnTo>
                <a:lnTo>
                  <a:pt x="360" y="105"/>
                </a:lnTo>
                <a:lnTo>
                  <a:pt x="359" y="104"/>
                </a:lnTo>
                <a:lnTo>
                  <a:pt x="358" y="103"/>
                </a:lnTo>
                <a:lnTo>
                  <a:pt x="356" y="101"/>
                </a:lnTo>
                <a:lnTo>
                  <a:pt x="353" y="103"/>
                </a:lnTo>
                <a:lnTo>
                  <a:pt x="351" y="103"/>
                </a:lnTo>
                <a:lnTo>
                  <a:pt x="348" y="101"/>
                </a:lnTo>
                <a:lnTo>
                  <a:pt x="343" y="99"/>
                </a:lnTo>
                <a:lnTo>
                  <a:pt x="343" y="99"/>
                </a:lnTo>
                <a:lnTo>
                  <a:pt x="343" y="99"/>
                </a:lnTo>
                <a:close/>
                <a:moveTo>
                  <a:pt x="346" y="112"/>
                </a:moveTo>
                <a:lnTo>
                  <a:pt x="342" y="114"/>
                </a:lnTo>
                <a:lnTo>
                  <a:pt x="339" y="115"/>
                </a:lnTo>
                <a:lnTo>
                  <a:pt x="335" y="116"/>
                </a:lnTo>
                <a:lnTo>
                  <a:pt x="332" y="117"/>
                </a:lnTo>
                <a:lnTo>
                  <a:pt x="325" y="116"/>
                </a:lnTo>
                <a:lnTo>
                  <a:pt x="318" y="116"/>
                </a:lnTo>
                <a:lnTo>
                  <a:pt x="325" y="113"/>
                </a:lnTo>
                <a:lnTo>
                  <a:pt x="331" y="112"/>
                </a:lnTo>
                <a:lnTo>
                  <a:pt x="338" y="111"/>
                </a:lnTo>
                <a:lnTo>
                  <a:pt x="346" y="112"/>
                </a:lnTo>
                <a:close/>
                <a:moveTo>
                  <a:pt x="324" y="261"/>
                </a:moveTo>
                <a:lnTo>
                  <a:pt x="322" y="261"/>
                </a:lnTo>
                <a:lnTo>
                  <a:pt x="320" y="261"/>
                </a:lnTo>
                <a:lnTo>
                  <a:pt x="318" y="260"/>
                </a:lnTo>
                <a:lnTo>
                  <a:pt x="318" y="257"/>
                </a:lnTo>
                <a:lnTo>
                  <a:pt x="320" y="257"/>
                </a:lnTo>
                <a:lnTo>
                  <a:pt x="324" y="257"/>
                </a:lnTo>
                <a:lnTo>
                  <a:pt x="325" y="258"/>
                </a:lnTo>
                <a:lnTo>
                  <a:pt x="326" y="260"/>
                </a:lnTo>
                <a:lnTo>
                  <a:pt x="326" y="261"/>
                </a:lnTo>
                <a:lnTo>
                  <a:pt x="324" y="261"/>
                </a:lnTo>
                <a:lnTo>
                  <a:pt x="324" y="261"/>
                </a:lnTo>
                <a:lnTo>
                  <a:pt x="324" y="261"/>
                </a:lnTo>
                <a:close/>
                <a:moveTo>
                  <a:pt x="313" y="147"/>
                </a:moveTo>
                <a:lnTo>
                  <a:pt x="315" y="146"/>
                </a:lnTo>
                <a:lnTo>
                  <a:pt x="317" y="145"/>
                </a:lnTo>
                <a:lnTo>
                  <a:pt x="319" y="145"/>
                </a:lnTo>
                <a:lnTo>
                  <a:pt x="322" y="145"/>
                </a:lnTo>
                <a:lnTo>
                  <a:pt x="319" y="147"/>
                </a:lnTo>
                <a:lnTo>
                  <a:pt x="317" y="148"/>
                </a:lnTo>
                <a:lnTo>
                  <a:pt x="314" y="149"/>
                </a:lnTo>
                <a:lnTo>
                  <a:pt x="313" y="147"/>
                </a:lnTo>
                <a:lnTo>
                  <a:pt x="314" y="146"/>
                </a:lnTo>
                <a:lnTo>
                  <a:pt x="313" y="147"/>
                </a:lnTo>
                <a:close/>
                <a:moveTo>
                  <a:pt x="310" y="288"/>
                </a:moveTo>
                <a:lnTo>
                  <a:pt x="308" y="289"/>
                </a:lnTo>
                <a:lnTo>
                  <a:pt x="306" y="290"/>
                </a:lnTo>
                <a:lnTo>
                  <a:pt x="302" y="290"/>
                </a:lnTo>
                <a:lnTo>
                  <a:pt x="301" y="288"/>
                </a:lnTo>
                <a:lnTo>
                  <a:pt x="303" y="286"/>
                </a:lnTo>
                <a:lnTo>
                  <a:pt x="307" y="286"/>
                </a:lnTo>
                <a:lnTo>
                  <a:pt x="309" y="287"/>
                </a:lnTo>
                <a:lnTo>
                  <a:pt x="310" y="288"/>
                </a:lnTo>
                <a:lnTo>
                  <a:pt x="310" y="288"/>
                </a:lnTo>
                <a:lnTo>
                  <a:pt x="310" y="288"/>
                </a:lnTo>
                <a:close/>
                <a:moveTo>
                  <a:pt x="300" y="179"/>
                </a:moveTo>
                <a:lnTo>
                  <a:pt x="302" y="178"/>
                </a:lnTo>
                <a:lnTo>
                  <a:pt x="305" y="179"/>
                </a:lnTo>
                <a:lnTo>
                  <a:pt x="307" y="180"/>
                </a:lnTo>
                <a:lnTo>
                  <a:pt x="307" y="182"/>
                </a:lnTo>
                <a:lnTo>
                  <a:pt x="301" y="183"/>
                </a:lnTo>
                <a:lnTo>
                  <a:pt x="295" y="183"/>
                </a:lnTo>
                <a:lnTo>
                  <a:pt x="297" y="180"/>
                </a:lnTo>
                <a:lnTo>
                  <a:pt x="300" y="179"/>
                </a:lnTo>
                <a:lnTo>
                  <a:pt x="300" y="179"/>
                </a:lnTo>
                <a:lnTo>
                  <a:pt x="300" y="179"/>
                </a:lnTo>
                <a:close/>
                <a:moveTo>
                  <a:pt x="284" y="138"/>
                </a:moveTo>
                <a:lnTo>
                  <a:pt x="286" y="137"/>
                </a:lnTo>
                <a:lnTo>
                  <a:pt x="290" y="137"/>
                </a:lnTo>
                <a:lnTo>
                  <a:pt x="291" y="138"/>
                </a:lnTo>
                <a:lnTo>
                  <a:pt x="290" y="139"/>
                </a:lnTo>
                <a:lnTo>
                  <a:pt x="289" y="140"/>
                </a:lnTo>
                <a:lnTo>
                  <a:pt x="287" y="141"/>
                </a:lnTo>
                <a:lnTo>
                  <a:pt x="283" y="142"/>
                </a:lnTo>
                <a:lnTo>
                  <a:pt x="280" y="141"/>
                </a:lnTo>
                <a:lnTo>
                  <a:pt x="278" y="139"/>
                </a:lnTo>
                <a:lnTo>
                  <a:pt x="280" y="138"/>
                </a:lnTo>
                <a:lnTo>
                  <a:pt x="282" y="138"/>
                </a:lnTo>
                <a:lnTo>
                  <a:pt x="284" y="138"/>
                </a:lnTo>
                <a:lnTo>
                  <a:pt x="284" y="138"/>
                </a:lnTo>
                <a:lnTo>
                  <a:pt x="284" y="138"/>
                </a:lnTo>
                <a:close/>
                <a:moveTo>
                  <a:pt x="268" y="208"/>
                </a:moveTo>
                <a:lnTo>
                  <a:pt x="273" y="205"/>
                </a:lnTo>
                <a:lnTo>
                  <a:pt x="277" y="204"/>
                </a:lnTo>
                <a:lnTo>
                  <a:pt x="283" y="203"/>
                </a:lnTo>
                <a:lnTo>
                  <a:pt x="287" y="203"/>
                </a:lnTo>
                <a:lnTo>
                  <a:pt x="293" y="199"/>
                </a:lnTo>
                <a:lnTo>
                  <a:pt x="298" y="196"/>
                </a:lnTo>
                <a:lnTo>
                  <a:pt x="300" y="195"/>
                </a:lnTo>
                <a:lnTo>
                  <a:pt x="303" y="195"/>
                </a:lnTo>
                <a:lnTo>
                  <a:pt x="306" y="195"/>
                </a:lnTo>
                <a:lnTo>
                  <a:pt x="309" y="196"/>
                </a:lnTo>
                <a:lnTo>
                  <a:pt x="306" y="196"/>
                </a:lnTo>
                <a:lnTo>
                  <a:pt x="305" y="197"/>
                </a:lnTo>
                <a:lnTo>
                  <a:pt x="303" y="199"/>
                </a:lnTo>
                <a:lnTo>
                  <a:pt x="302" y="202"/>
                </a:lnTo>
                <a:lnTo>
                  <a:pt x="301" y="205"/>
                </a:lnTo>
                <a:lnTo>
                  <a:pt x="299" y="206"/>
                </a:lnTo>
                <a:lnTo>
                  <a:pt x="295" y="207"/>
                </a:lnTo>
                <a:lnTo>
                  <a:pt x="292" y="207"/>
                </a:lnTo>
                <a:lnTo>
                  <a:pt x="284" y="207"/>
                </a:lnTo>
                <a:lnTo>
                  <a:pt x="275" y="209"/>
                </a:lnTo>
                <a:lnTo>
                  <a:pt x="272" y="211"/>
                </a:lnTo>
                <a:lnTo>
                  <a:pt x="269" y="211"/>
                </a:lnTo>
                <a:lnTo>
                  <a:pt x="268" y="212"/>
                </a:lnTo>
                <a:lnTo>
                  <a:pt x="267" y="211"/>
                </a:lnTo>
                <a:lnTo>
                  <a:pt x="268" y="209"/>
                </a:lnTo>
                <a:lnTo>
                  <a:pt x="268" y="208"/>
                </a:lnTo>
                <a:lnTo>
                  <a:pt x="269" y="207"/>
                </a:lnTo>
                <a:lnTo>
                  <a:pt x="268" y="208"/>
                </a:lnTo>
                <a:close/>
                <a:moveTo>
                  <a:pt x="300" y="261"/>
                </a:moveTo>
                <a:lnTo>
                  <a:pt x="298" y="263"/>
                </a:lnTo>
                <a:lnTo>
                  <a:pt x="294" y="263"/>
                </a:lnTo>
                <a:lnTo>
                  <a:pt x="292" y="263"/>
                </a:lnTo>
                <a:lnTo>
                  <a:pt x="291" y="263"/>
                </a:lnTo>
                <a:lnTo>
                  <a:pt x="290" y="262"/>
                </a:lnTo>
                <a:lnTo>
                  <a:pt x="291" y="260"/>
                </a:lnTo>
                <a:lnTo>
                  <a:pt x="292" y="257"/>
                </a:lnTo>
                <a:lnTo>
                  <a:pt x="295" y="257"/>
                </a:lnTo>
                <a:lnTo>
                  <a:pt x="298" y="257"/>
                </a:lnTo>
                <a:lnTo>
                  <a:pt x="299" y="258"/>
                </a:lnTo>
                <a:lnTo>
                  <a:pt x="300" y="260"/>
                </a:lnTo>
                <a:lnTo>
                  <a:pt x="300" y="261"/>
                </a:lnTo>
                <a:lnTo>
                  <a:pt x="300" y="261"/>
                </a:lnTo>
                <a:lnTo>
                  <a:pt x="300" y="261"/>
                </a:lnTo>
                <a:close/>
                <a:moveTo>
                  <a:pt x="290" y="305"/>
                </a:moveTo>
                <a:lnTo>
                  <a:pt x="286" y="306"/>
                </a:lnTo>
                <a:lnTo>
                  <a:pt x="283" y="307"/>
                </a:lnTo>
                <a:lnTo>
                  <a:pt x="281" y="307"/>
                </a:lnTo>
                <a:lnTo>
                  <a:pt x="280" y="307"/>
                </a:lnTo>
                <a:lnTo>
                  <a:pt x="278" y="306"/>
                </a:lnTo>
                <a:lnTo>
                  <a:pt x="277" y="305"/>
                </a:lnTo>
                <a:lnTo>
                  <a:pt x="280" y="303"/>
                </a:lnTo>
                <a:lnTo>
                  <a:pt x="283" y="304"/>
                </a:lnTo>
                <a:lnTo>
                  <a:pt x="286" y="304"/>
                </a:lnTo>
                <a:lnTo>
                  <a:pt x="290" y="305"/>
                </a:lnTo>
                <a:lnTo>
                  <a:pt x="286" y="306"/>
                </a:lnTo>
                <a:lnTo>
                  <a:pt x="290" y="305"/>
                </a:lnTo>
                <a:close/>
                <a:moveTo>
                  <a:pt x="276" y="307"/>
                </a:moveTo>
                <a:lnTo>
                  <a:pt x="275" y="310"/>
                </a:lnTo>
                <a:lnTo>
                  <a:pt x="273" y="311"/>
                </a:lnTo>
                <a:lnTo>
                  <a:pt x="270" y="311"/>
                </a:lnTo>
                <a:lnTo>
                  <a:pt x="269" y="310"/>
                </a:lnTo>
                <a:lnTo>
                  <a:pt x="270" y="307"/>
                </a:lnTo>
                <a:lnTo>
                  <a:pt x="273" y="306"/>
                </a:lnTo>
                <a:lnTo>
                  <a:pt x="274" y="306"/>
                </a:lnTo>
                <a:lnTo>
                  <a:pt x="275" y="306"/>
                </a:lnTo>
                <a:lnTo>
                  <a:pt x="276" y="306"/>
                </a:lnTo>
                <a:lnTo>
                  <a:pt x="276" y="307"/>
                </a:lnTo>
                <a:lnTo>
                  <a:pt x="276" y="307"/>
                </a:lnTo>
                <a:lnTo>
                  <a:pt x="276" y="307"/>
                </a:lnTo>
                <a:close/>
                <a:moveTo>
                  <a:pt x="261" y="304"/>
                </a:moveTo>
                <a:lnTo>
                  <a:pt x="264" y="302"/>
                </a:lnTo>
                <a:lnTo>
                  <a:pt x="267" y="302"/>
                </a:lnTo>
                <a:lnTo>
                  <a:pt x="270" y="303"/>
                </a:lnTo>
                <a:lnTo>
                  <a:pt x="273" y="304"/>
                </a:lnTo>
                <a:lnTo>
                  <a:pt x="270" y="305"/>
                </a:lnTo>
                <a:lnTo>
                  <a:pt x="266" y="306"/>
                </a:lnTo>
                <a:lnTo>
                  <a:pt x="264" y="306"/>
                </a:lnTo>
                <a:lnTo>
                  <a:pt x="262" y="306"/>
                </a:lnTo>
                <a:lnTo>
                  <a:pt x="261" y="305"/>
                </a:lnTo>
                <a:lnTo>
                  <a:pt x="261" y="304"/>
                </a:lnTo>
                <a:close/>
                <a:moveTo>
                  <a:pt x="261" y="310"/>
                </a:moveTo>
                <a:lnTo>
                  <a:pt x="264" y="308"/>
                </a:lnTo>
                <a:lnTo>
                  <a:pt x="265" y="310"/>
                </a:lnTo>
                <a:lnTo>
                  <a:pt x="265" y="311"/>
                </a:lnTo>
                <a:lnTo>
                  <a:pt x="264" y="312"/>
                </a:lnTo>
                <a:lnTo>
                  <a:pt x="261" y="314"/>
                </a:lnTo>
                <a:lnTo>
                  <a:pt x="258" y="314"/>
                </a:lnTo>
                <a:lnTo>
                  <a:pt x="256" y="313"/>
                </a:lnTo>
                <a:lnTo>
                  <a:pt x="254" y="312"/>
                </a:lnTo>
                <a:lnTo>
                  <a:pt x="258" y="311"/>
                </a:lnTo>
                <a:lnTo>
                  <a:pt x="261" y="310"/>
                </a:lnTo>
                <a:lnTo>
                  <a:pt x="261" y="310"/>
                </a:lnTo>
                <a:lnTo>
                  <a:pt x="261" y="310"/>
                </a:lnTo>
                <a:close/>
                <a:moveTo>
                  <a:pt x="258" y="214"/>
                </a:moveTo>
                <a:lnTo>
                  <a:pt x="257" y="215"/>
                </a:lnTo>
                <a:lnTo>
                  <a:pt x="254" y="215"/>
                </a:lnTo>
                <a:lnTo>
                  <a:pt x="252" y="214"/>
                </a:lnTo>
                <a:lnTo>
                  <a:pt x="250" y="213"/>
                </a:lnTo>
                <a:lnTo>
                  <a:pt x="253" y="212"/>
                </a:lnTo>
                <a:lnTo>
                  <a:pt x="256" y="211"/>
                </a:lnTo>
                <a:lnTo>
                  <a:pt x="257" y="211"/>
                </a:lnTo>
                <a:lnTo>
                  <a:pt x="258" y="212"/>
                </a:lnTo>
                <a:lnTo>
                  <a:pt x="259" y="213"/>
                </a:lnTo>
                <a:lnTo>
                  <a:pt x="258" y="214"/>
                </a:lnTo>
                <a:lnTo>
                  <a:pt x="258" y="214"/>
                </a:lnTo>
                <a:lnTo>
                  <a:pt x="258" y="214"/>
                </a:lnTo>
                <a:close/>
                <a:moveTo>
                  <a:pt x="251" y="130"/>
                </a:moveTo>
                <a:lnTo>
                  <a:pt x="252" y="130"/>
                </a:lnTo>
                <a:lnTo>
                  <a:pt x="253" y="131"/>
                </a:lnTo>
                <a:lnTo>
                  <a:pt x="252" y="132"/>
                </a:lnTo>
                <a:lnTo>
                  <a:pt x="252" y="134"/>
                </a:lnTo>
                <a:lnTo>
                  <a:pt x="252" y="137"/>
                </a:lnTo>
                <a:lnTo>
                  <a:pt x="252" y="139"/>
                </a:lnTo>
                <a:lnTo>
                  <a:pt x="251" y="140"/>
                </a:lnTo>
                <a:lnTo>
                  <a:pt x="250" y="140"/>
                </a:lnTo>
                <a:lnTo>
                  <a:pt x="250" y="139"/>
                </a:lnTo>
                <a:lnTo>
                  <a:pt x="249" y="137"/>
                </a:lnTo>
                <a:lnTo>
                  <a:pt x="249" y="136"/>
                </a:lnTo>
                <a:lnTo>
                  <a:pt x="249" y="133"/>
                </a:lnTo>
                <a:lnTo>
                  <a:pt x="249" y="131"/>
                </a:lnTo>
                <a:lnTo>
                  <a:pt x="251" y="130"/>
                </a:lnTo>
                <a:lnTo>
                  <a:pt x="250" y="130"/>
                </a:lnTo>
                <a:lnTo>
                  <a:pt x="251" y="130"/>
                </a:lnTo>
                <a:close/>
                <a:moveTo>
                  <a:pt x="242" y="179"/>
                </a:moveTo>
                <a:lnTo>
                  <a:pt x="245" y="178"/>
                </a:lnTo>
                <a:lnTo>
                  <a:pt x="250" y="177"/>
                </a:lnTo>
                <a:lnTo>
                  <a:pt x="252" y="175"/>
                </a:lnTo>
                <a:lnTo>
                  <a:pt x="254" y="175"/>
                </a:lnTo>
                <a:lnTo>
                  <a:pt x="256" y="177"/>
                </a:lnTo>
                <a:lnTo>
                  <a:pt x="256" y="178"/>
                </a:lnTo>
                <a:lnTo>
                  <a:pt x="256" y="179"/>
                </a:lnTo>
                <a:lnTo>
                  <a:pt x="254" y="181"/>
                </a:lnTo>
                <a:lnTo>
                  <a:pt x="252" y="181"/>
                </a:lnTo>
                <a:lnTo>
                  <a:pt x="250" y="182"/>
                </a:lnTo>
                <a:lnTo>
                  <a:pt x="245" y="183"/>
                </a:lnTo>
                <a:lnTo>
                  <a:pt x="242" y="183"/>
                </a:lnTo>
                <a:lnTo>
                  <a:pt x="244" y="186"/>
                </a:lnTo>
                <a:lnTo>
                  <a:pt x="248" y="188"/>
                </a:lnTo>
                <a:lnTo>
                  <a:pt x="244" y="189"/>
                </a:lnTo>
                <a:lnTo>
                  <a:pt x="242" y="188"/>
                </a:lnTo>
                <a:lnTo>
                  <a:pt x="240" y="187"/>
                </a:lnTo>
                <a:lnTo>
                  <a:pt x="237" y="186"/>
                </a:lnTo>
                <a:lnTo>
                  <a:pt x="236" y="183"/>
                </a:lnTo>
                <a:lnTo>
                  <a:pt x="236" y="182"/>
                </a:lnTo>
                <a:lnTo>
                  <a:pt x="239" y="180"/>
                </a:lnTo>
                <a:lnTo>
                  <a:pt x="242" y="179"/>
                </a:lnTo>
                <a:lnTo>
                  <a:pt x="242" y="179"/>
                </a:lnTo>
                <a:lnTo>
                  <a:pt x="242" y="179"/>
                </a:lnTo>
                <a:close/>
                <a:moveTo>
                  <a:pt x="236" y="273"/>
                </a:moveTo>
                <a:lnTo>
                  <a:pt x="241" y="275"/>
                </a:lnTo>
                <a:lnTo>
                  <a:pt x="247" y="277"/>
                </a:lnTo>
                <a:lnTo>
                  <a:pt x="243" y="278"/>
                </a:lnTo>
                <a:lnTo>
                  <a:pt x="240" y="278"/>
                </a:lnTo>
                <a:lnTo>
                  <a:pt x="236" y="279"/>
                </a:lnTo>
                <a:lnTo>
                  <a:pt x="234" y="279"/>
                </a:lnTo>
                <a:lnTo>
                  <a:pt x="233" y="278"/>
                </a:lnTo>
                <a:lnTo>
                  <a:pt x="233" y="277"/>
                </a:lnTo>
                <a:lnTo>
                  <a:pt x="234" y="274"/>
                </a:lnTo>
                <a:lnTo>
                  <a:pt x="236" y="273"/>
                </a:lnTo>
                <a:lnTo>
                  <a:pt x="236" y="273"/>
                </a:lnTo>
                <a:lnTo>
                  <a:pt x="236" y="273"/>
                </a:lnTo>
                <a:close/>
                <a:moveTo>
                  <a:pt x="153" y="169"/>
                </a:moveTo>
                <a:lnTo>
                  <a:pt x="155" y="166"/>
                </a:lnTo>
                <a:lnTo>
                  <a:pt x="159" y="164"/>
                </a:lnTo>
                <a:lnTo>
                  <a:pt x="163" y="163"/>
                </a:lnTo>
                <a:lnTo>
                  <a:pt x="167" y="162"/>
                </a:lnTo>
                <a:lnTo>
                  <a:pt x="168" y="161"/>
                </a:lnTo>
                <a:lnTo>
                  <a:pt x="170" y="161"/>
                </a:lnTo>
                <a:lnTo>
                  <a:pt x="170" y="162"/>
                </a:lnTo>
                <a:lnTo>
                  <a:pt x="170" y="164"/>
                </a:lnTo>
                <a:lnTo>
                  <a:pt x="173" y="164"/>
                </a:lnTo>
                <a:lnTo>
                  <a:pt x="174" y="164"/>
                </a:lnTo>
                <a:lnTo>
                  <a:pt x="177" y="164"/>
                </a:lnTo>
                <a:lnTo>
                  <a:pt x="181" y="164"/>
                </a:lnTo>
                <a:lnTo>
                  <a:pt x="182" y="165"/>
                </a:lnTo>
                <a:lnTo>
                  <a:pt x="182" y="166"/>
                </a:lnTo>
                <a:lnTo>
                  <a:pt x="181" y="167"/>
                </a:lnTo>
                <a:lnTo>
                  <a:pt x="179" y="169"/>
                </a:lnTo>
                <a:lnTo>
                  <a:pt x="178" y="170"/>
                </a:lnTo>
                <a:lnTo>
                  <a:pt x="177" y="171"/>
                </a:lnTo>
                <a:lnTo>
                  <a:pt x="177" y="172"/>
                </a:lnTo>
                <a:lnTo>
                  <a:pt x="178" y="172"/>
                </a:lnTo>
                <a:lnTo>
                  <a:pt x="184" y="171"/>
                </a:lnTo>
                <a:lnTo>
                  <a:pt x="190" y="171"/>
                </a:lnTo>
                <a:lnTo>
                  <a:pt x="186" y="173"/>
                </a:lnTo>
                <a:lnTo>
                  <a:pt x="184" y="174"/>
                </a:lnTo>
                <a:lnTo>
                  <a:pt x="181" y="175"/>
                </a:lnTo>
                <a:lnTo>
                  <a:pt x="177" y="178"/>
                </a:lnTo>
                <a:lnTo>
                  <a:pt x="175" y="178"/>
                </a:lnTo>
                <a:lnTo>
                  <a:pt x="174" y="180"/>
                </a:lnTo>
                <a:lnTo>
                  <a:pt x="176" y="180"/>
                </a:lnTo>
                <a:lnTo>
                  <a:pt x="178" y="180"/>
                </a:lnTo>
                <a:lnTo>
                  <a:pt x="181" y="180"/>
                </a:lnTo>
                <a:lnTo>
                  <a:pt x="181" y="181"/>
                </a:lnTo>
                <a:lnTo>
                  <a:pt x="181" y="182"/>
                </a:lnTo>
                <a:lnTo>
                  <a:pt x="178" y="183"/>
                </a:lnTo>
                <a:lnTo>
                  <a:pt x="171" y="182"/>
                </a:lnTo>
                <a:lnTo>
                  <a:pt x="167" y="179"/>
                </a:lnTo>
                <a:lnTo>
                  <a:pt x="171" y="175"/>
                </a:lnTo>
                <a:lnTo>
                  <a:pt x="176" y="172"/>
                </a:lnTo>
                <a:lnTo>
                  <a:pt x="167" y="173"/>
                </a:lnTo>
                <a:lnTo>
                  <a:pt x="157" y="177"/>
                </a:lnTo>
                <a:lnTo>
                  <a:pt x="154" y="177"/>
                </a:lnTo>
                <a:lnTo>
                  <a:pt x="152" y="175"/>
                </a:lnTo>
                <a:lnTo>
                  <a:pt x="151" y="172"/>
                </a:lnTo>
                <a:lnTo>
                  <a:pt x="153" y="169"/>
                </a:lnTo>
                <a:lnTo>
                  <a:pt x="153" y="169"/>
                </a:lnTo>
                <a:lnTo>
                  <a:pt x="153" y="169"/>
                </a:lnTo>
                <a:close/>
                <a:moveTo>
                  <a:pt x="193" y="180"/>
                </a:moveTo>
                <a:lnTo>
                  <a:pt x="193" y="182"/>
                </a:lnTo>
                <a:lnTo>
                  <a:pt x="193" y="184"/>
                </a:lnTo>
                <a:lnTo>
                  <a:pt x="192" y="186"/>
                </a:lnTo>
                <a:lnTo>
                  <a:pt x="191" y="187"/>
                </a:lnTo>
                <a:lnTo>
                  <a:pt x="188" y="188"/>
                </a:lnTo>
                <a:lnTo>
                  <a:pt x="186" y="191"/>
                </a:lnTo>
                <a:lnTo>
                  <a:pt x="185" y="187"/>
                </a:lnTo>
                <a:lnTo>
                  <a:pt x="184" y="184"/>
                </a:lnTo>
                <a:lnTo>
                  <a:pt x="187" y="182"/>
                </a:lnTo>
                <a:lnTo>
                  <a:pt x="193" y="180"/>
                </a:lnTo>
                <a:close/>
                <a:moveTo>
                  <a:pt x="181" y="247"/>
                </a:moveTo>
                <a:lnTo>
                  <a:pt x="182" y="249"/>
                </a:lnTo>
                <a:lnTo>
                  <a:pt x="182" y="250"/>
                </a:lnTo>
                <a:lnTo>
                  <a:pt x="179" y="252"/>
                </a:lnTo>
                <a:lnTo>
                  <a:pt x="177" y="252"/>
                </a:lnTo>
                <a:lnTo>
                  <a:pt x="171" y="252"/>
                </a:lnTo>
                <a:lnTo>
                  <a:pt x="168" y="253"/>
                </a:lnTo>
                <a:lnTo>
                  <a:pt x="170" y="249"/>
                </a:lnTo>
                <a:lnTo>
                  <a:pt x="174" y="247"/>
                </a:lnTo>
                <a:lnTo>
                  <a:pt x="175" y="246"/>
                </a:lnTo>
                <a:lnTo>
                  <a:pt x="177" y="246"/>
                </a:lnTo>
                <a:lnTo>
                  <a:pt x="178" y="246"/>
                </a:lnTo>
                <a:lnTo>
                  <a:pt x="181" y="247"/>
                </a:lnTo>
                <a:lnTo>
                  <a:pt x="179" y="247"/>
                </a:lnTo>
                <a:lnTo>
                  <a:pt x="181" y="247"/>
                </a:lnTo>
                <a:close/>
                <a:moveTo>
                  <a:pt x="157" y="189"/>
                </a:moveTo>
                <a:lnTo>
                  <a:pt x="153" y="192"/>
                </a:lnTo>
                <a:lnTo>
                  <a:pt x="150" y="195"/>
                </a:lnTo>
                <a:lnTo>
                  <a:pt x="145" y="198"/>
                </a:lnTo>
                <a:lnTo>
                  <a:pt x="142" y="198"/>
                </a:lnTo>
                <a:lnTo>
                  <a:pt x="141" y="196"/>
                </a:lnTo>
                <a:lnTo>
                  <a:pt x="138" y="194"/>
                </a:lnTo>
                <a:lnTo>
                  <a:pt x="135" y="195"/>
                </a:lnTo>
                <a:lnTo>
                  <a:pt x="133" y="194"/>
                </a:lnTo>
                <a:lnTo>
                  <a:pt x="138" y="190"/>
                </a:lnTo>
                <a:lnTo>
                  <a:pt x="144" y="188"/>
                </a:lnTo>
                <a:lnTo>
                  <a:pt x="147" y="187"/>
                </a:lnTo>
                <a:lnTo>
                  <a:pt x="150" y="187"/>
                </a:lnTo>
                <a:lnTo>
                  <a:pt x="153" y="187"/>
                </a:lnTo>
                <a:lnTo>
                  <a:pt x="157" y="189"/>
                </a:lnTo>
                <a:lnTo>
                  <a:pt x="152" y="187"/>
                </a:lnTo>
                <a:lnTo>
                  <a:pt x="157" y="189"/>
                </a:lnTo>
                <a:close/>
                <a:moveTo>
                  <a:pt x="129" y="200"/>
                </a:moveTo>
                <a:lnTo>
                  <a:pt x="132" y="202"/>
                </a:lnTo>
                <a:lnTo>
                  <a:pt x="133" y="204"/>
                </a:lnTo>
                <a:lnTo>
                  <a:pt x="132" y="206"/>
                </a:lnTo>
                <a:lnTo>
                  <a:pt x="129" y="207"/>
                </a:lnTo>
                <a:lnTo>
                  <a:pt x="128" y="206"/>
                </a:lnTo>
                <a:lnTo>
                  <a:pt x="127" y="206"/>
                </a:lnTo>
                <a:lnTo>
                  <a:pt x="126" y="205"/>
                </a:lnTo>
                <a:lnTo>
                  <a:pt x="126" y="204"/>
                </a:lnTo>
                <a:lnTo>
                  <a:pt x="128" y="202"/>
                </a:lnTo>
                <a:lnTo>
                  <a:pt x="129" y="200"/>
                </a:lnTo>
                <a:lnTo>
                  <a:pt x="129" y="200"/>
                </a:lnTo>
                <a:lnTo>
                  <a:pt x="129" y="200"/>
                </a:lnTo>
                <a:close/>
                <a:moveTo>
                  <a:pt x="110" y="217"/>
                </a:moveTo>
                <a:lnTo>
                  <a:pt x="107" y="217"/>
                </a:lnTo>
                <a:lnTo>
                  <a:pt x="104" y="216"/>
                </a:lnTo>
                <a:lnTo>
                  <a:pt x="107" y="214"/>
                </a:lnTo>
                <a:lnTo>
                  <a:pt x="109" y="212"/>
                </a:lnTo>
                <a:lnTo>
                  <a:pt x="111" y="211"/>
                </a:lnTo>
                <a:lnTo>
                  <a:pt x="112" y="209"/>
                </a:lnTo>
                <a:lnTo>
                  <a:pt x="114" y="211"/>
                </a:lnTo>
                <a:lnTo>
                  <a:pt x="114" y="211"/>
                </a:lnTo>
                <a:lnTo>
                  <a:pt x="114" y="213"/>
                </a:lnTo>
                <a:lnTo>
                  <a:pt x="113" y="216"/>
                </a:lnTo>
                <a:lnTo>
                  <a:pt x="112" y="217"/>
                </a:lnTo>
                <a:lnTo>
                  <a:pt x="110" y="217"/>
                </a:lnTo>
                <a:lnTo>
                  <a:pt x="110" y="219"/>
                </a:lnTo>
                <a:lnTo>
                  <a:pt x="110" y="217"/>
                </a:lnTo>
                <a:close/>
                <a:moveTo>
                  <a:pt x="118" y="245"/>
                </a:moveTo>
                <a:lnTo>
                  <a:pt x="118" y="246"/>
                </a:lnTo>
                <a:lnTo>
                  <a:pt x="118" y="247"/>
                </a:lnTo>
                <a:lnTo>
                  <a:pt x="117" y="247"/>
                </a:lnTo>
                <a:lnTo>
                  <a:pt x="116" y="247"/>
                </a:lnTo>
                <a:lnTo>
                  <a:pt x="113" y="245"/>
                </a:lnTo>
                <a:lnTo>
                  <a:pt x="112" y="242"/>
                </a:lnTo>
                <a:lnTo>
                  <a:pt x="113" y="239"/>
                </a:lnTo>
                <a:lnTo>
                  <a:pt x="114" y="237"/>
                </a:lnTo>
                <a:lnTo>
                  <a:pt x="117" y="234"/>
                </a:lnTo>
                <a:lnTo>
                  <a:pt x="120" y="233"/>
                </a:lnTo>
                <a:lnTo>
                  <a:pt x="122" y="233"/>
                </a:lnTo>
                <a:lnTo>
                  <a:pt x="125" y="234"/>
                </a:lnTo>
                <a:lnTo>
                  <a:pt x="126" y="234"/>
                </a:lnTo>
                <a:lnTo>
                  <a:pt x="127" y="236"/>
                </a:lnTo>
                <a:lnTo>
                  <a:pt x="127" y="237"/>
                </a:lnTo>
                <a:lnTo>
                  <a:pt x="126" y="238"/>
                </a:lnTo>
                <a:lnTo>
                  <a:pt x="122" y="239"/>
                </a:lnTo>
                <a:lnTo>
                  <a:pt x="120" y="239"/>
                </a:lnTo>
                <a:lnTo>
                  <a:pt x="119" y="240"/>
                </a:lnTo>
                <a:lnTo>
                  <a:pt x="118" y="241"/>
                </a:lnTo>
                <a:lnTo>
                  <a:pt x="118" y="242"/>
                </a:lnTo>
                <a:lnTo>
                  <a:pt x="118" y="245"/>
                </a:lnTo>
                <a:lnTo>
                  <a:pt x="118" y="244"/>
                </a:lnTo>
                <a:lnTo>
                  <a:pt x="118" y="245"/>
                </a:lnTo>
                <a:close/>
                <a:moveTo>
                  <a:pt x="127" y="263"/>
                </a:moveTo>
                <a:lnTo>
                  <a:pt x="126" y="263"/>
                </a:lnTo>
                <a:lnTo>
                  <a:pt x="125" y="263"/>
                </a:lnTo>
                <a:lnTo>
                  <a:pt x="124" y="262"/>
                </a:lnTo>
                <a:lnTo>
                  <a:pt x="124" y="261"/>
                </a:lnTo>
                <a:lnTo>
                  <a:pt x="124" y="258"/>
                </a:lnTo>
                <a:lnTo>
                  <a:pt x="126" y="258"/>
                </a:lnTo>
                <a:lnTo>
                  <a:pt x="127" y="258"/>
                </a:lnTo>
                <a:lnTo>
                  <a:pt x="129" y="258"/>
                </a:lnTo>
                <a:lnTo>
                  <a:pt x="132" y="254"/>
                </a:lnTo>
                <a:lnTo>
                  <a:pt x="133" y="249"/>
                </a:lnTo>
                <a:lnTo>
                  <a:pt x="134" y="248"/>
                </a:lnTo>
                <a:lnTo>
                  <a:pt x="135" y="249"/>
                </a:lnTo>
                <a:lnTo>
                  <a:pt x="136" y="249"/>
                </a:lnTo>
                <a:lnTo>
                  <a:pt x="136" y="250"/>
                </a:lnTo>
                <a:lnTo>
                  <a:pt x="137" y="254"/>
                </a:lnTo>
                <a:lnTo>
                  <a:pt x="137" y="256"/>
                </a:lnTo>
                <a:lnTo>
                  <a:pt x="136" y="260"/>
                </a:lnTo>
                <a:lnTo>
                  <a:pt x="134" y="262"/>
                </a:lnTo>
                <a:lnTo>
                  <a:pt x="132" y="263"/>
                </a:lnTo>
                <a:lnTo>
                  <a:pt x="127" y="263"/>
                </a:lnTo>
                <a:lnTo>
                  <a:pt x="129" y="264"/>
                </a:lnTo>
                <a:lnTo>
                  <a:pt x="127" y="263"/>
                </a:lnTo>
                <a:close/>
                <a:moveTo>
                  <a:pt x="142" y="445"/>
                </a:moveTo>
                <a:lnTo>
                  <a:pt x="141" y="446"/>
                </a:lnTo>
                <a:lnTo>
                  <a:pt x="138" y="447"/>
                </a:lnTo>
                <a:lnTo>
                  <a:pt x="136" y="447"/>
                </a:lnTo>
                <a:lnTo>
                  <a:pt x="135" y="445"/>
                </a:lnTo>
                <a:lnTo>
                  <a:pt x="135" y="444"/>
                </a:lnTo>
                <a:lnTo>
                  <a:pt x="136" y="443"/>
                </a:lnTo>
                <a:lnTo>
                  <a:pt x="137" y="441"/>
                </a:lnTo>
                <a:lnTo>
                  <a:pt x="138" y="441"/>
                </a:lnTo>
                <a:lnTo>
                  <a:pt x="141" y="443"/>
                </a:lnTo>
                <a:lnTo>
                  <a:pt x="142" y="445"/>
                </a:lnTo>
                <a:close/>
                <a:moveTo>
                  <a:pt x="144" y="219"/>
                </a:moveTo>
                <a:lnTo>
                  <a:pt x="142" y="220"/>
                </a:lnTo>
                <a:lnTo>
                  <a:pt x="140" y="220"/>
                </a:lnTo>
                <a:lnTo>
                  <a:pt x="138" y="221"/>
                </a:lnTo>
                <a:lnTo>
                  <a:pt x="137" y="221"/>
                </a:lnTo>
                <a:lnTo>
                  <a:pt x="136" y="221"/>
                </a:lnTo>
                <a:lnTo>
                  <a:pt x="135" y="219"/>
                </a:lnTo>
                <a:lnTo>
                  <a:pt x="136" y="217"/>
                </a:lnTo>
                <a:lnTo>
                  <a:pt x="137" y="216"/>
                </a:lnTo>
                <a:lnTo>
                  <a:pt x="142" y="214"/>
                </a:lnTo>
                <a:lnTo>
                  <a:pt x="146" y="215"/>
                </a:lnTo>
                <a:lnTo>
                  <a:pt x="147" y="216"/>
                </a:lnTo>
                <a:lnTo>
                  <a:pt x="146" y="217"/>
                </a:lnTo>
                <a:lnTo>
                  <a:pt x="146" y="219"/>
                </a:lnTo>
                <a:lnTo>
                  <a:pt x="144" y="219"/>
                </a:lnTo>
                <a:lnTo>
                  <a:pt x="144" y="219"/>
                </a:lnTo>
                <a:lnTo>
                  <a:pt x="144" y="219"/>
                </a:lnTo>
                <a:close/>
                <a:moveTo>
                  <a:pt x="150" y="208"/>
                </a:moveTo>
                <a:lnTo>
                  <a:pt x="154" y="206"/>
                </a:lnTo>
                <a:lnTo>
                  <a:pt x="160" y="203"/>
                </a:lnTo>
                <a:lnTo>
                  <a:pt x="162" y="202"/>
                </a:lnTo>
                <a:lnTo>
                  <a:pt x="165" y="202"/>
                </a:lnTo>
                <a:lnTo>
                  <a:pt x="167" y="203"/>
                </a:lnTo>
                <a:lnTo>
                  <a:pt x="167" y="205"/>
                </a:lnTo>
                <a:lnTo>
                  <a:pt x="165" y="207"/>
                </a:lnTo>
                <a:lnTo>
                  <a:pt x="163" y="208"/>
                </a:lnTo>
                <a:lnTo>
                  <a:pt x="161" y="208"/>
                </a:lnTo>
                <a:lnTo>
                  <a:pt x="159" y="209"/>
                </a:lnTo>
                <a:lnTo>
                  <a:pt x="154" y="208"/>
                </a:lnTo>
                <a:lnTo>
                  <a:pt x="150" y="208"/>
                </a:lnTo>
                <a:lnTo>
                  <a:pt x="154" y="206"/>
                </a:lnTo>
                <a:lnTo>
                  <a:pt x="150" y="208"/>
                </a:lnTo>
                <a:close/>
                <a:moveTo>
                  <a:pt x="160" y="258"/>
                </a:moveTo>
                <a:lnTo>
                  <a:pt x="158" y="257"/>
                </a:lnTo>
                <a:lnTo>
                  <a:pt x="158" y="256"/>
                </a:lnTo>
                <a:lnTo>
                  <a:pt x="159" y="255"/>
                </a:lnTo>
                <a:lnTo>
                  <a:pt x="161" y="255"/>
                </a:lnTo>
                <a:lnTo>
                  <a:pt x="167" y="255"/>
                </a:lnTo>
                <a:lnTo>
                  <a:pt x="173" y="255"/>
                </a:lnTo>
                <a:lnTo>
                  <a:pt x="169" y="257"/>
                </a:lnTo>
                <a:lnTo>
                  <a:pt x="167" y="258"/>
                </a:lnTo>
                <a:lnTo>
                  <a:pt x="163" y="258"/>
                </a:lnTo>
                <a:lnTo>
                  <a:pt x="160" y="258"/>
                </a:lnTo>
                <a:lnTo>
                  <a:pt x="160" y="258"/>
                </a:lnTo>
                <a:lnTo>
                  <a:pt x="160" y="258"/>
                </a:lnTo>
                <a:close/>
                <a:moveTo>
                  <a:pt x="177" y="429"/>
                </a:moveTo>
                <a:lnTo>
                  <a:pt x="175" y="429"/>
                </a:lnTo>
                <a:lnTo>
                  <a:pt x="173" y="429"/>
                </a:lnTo>
                <a:lnTo>
                  <a:pt x="173" y="431"/>
                </a:lnTo>
                <a:lnTo>
                  <a:pt x="173" y="433"/>
                </a:lnTo>
                <a:lnTo>
                  <a:pt x="169" y="432"/>
                </a:lnTo>
                <a:lnTo>
                  <a:pt x="169" y="430"/>
                </a:lnTo>
                <a:lnTo>
                  <a:pt x="169" y="428"/>
                </a:lnTo>
                <a:lnTo>
                  <a:pt x="170" y="426"/>
                </a:lnTo>
                <a:lnTo>
                  <a:pt x="173" y="423"/>
                </a:lnTo>
                <a:lnTo>
                  <a:pt x="175" y="422"/>
                </a:lnTo>
                <a:lnTo>
                  <a:pt x="178" y="422"/>
                </a:lnTo>
                <a:lnTo>
                  <a:pt x="181" y="422"/>
                </a:lnTo>
                <a:lnTo>
                  <a:pt x="181" y="424"/>
                </a:lnTo>
                <a:lnTo>
                  <a:pt x="183" y="427"/>
                </a:lnTo>
                <a:lnTo>
                  <a:pt x="183" y="429"/>
                </a:lnTo>
                <a:lnTo>
                  <a:pt x="182" y="430"/>
                </a:lnTo>
                <a:lnTo>
                  <a:pt x="179" y="429"/>
                </a:lnTo>
                <a:lnTo>
                  <a:pt x="177" y="429"/>
                </a:lnTo>
                <a:lnTo>
                  <a:pt x="176" y="429"/>
                </a:lnTo>
                <a:lnTo>
                  <a:pt x="177" y="429"/>
                </a:lnTo>
                <a:close/>
                <a:moveTo>
                  <a:pt x="176" y="320"/>
                </a:moveTo>
                <a:lnTo>
                  <a:pt x="174" y="321"/>
                </a:lnTo>
                <a:lnTo>
                  <a:pt x="173" y="321"/>
                </a:lnTo>
                <a:lnTo>
                  <a:pt x="170" y="321"/>
                </a:lnTo>
                <a:lnTo>
                  <a:pt x="169" y="319"/>
                </a:lnTo>
                <a:lnTo>
                  <a:pt x="170" y="315"/>
                </a:lnTo>
                <a:lnTo>
                  <a:pt x="173" y="313"/>
                </a:lnTo>
                <a:lnTo>
                  <a:pt x="178" y="312"/>
                </a:lnTo>
                <a:lnTo>
                  <a:pt x="184" y="313"/>
                </a:lnTo>
                <a:lnTo>
                  <a:pt x="181" y="317"/>
                </a:lnTo>
                <a:lnTo>
                  <a:pt x="176" y="320"/>
                </a:lnTo>
                <a:lnTo>
                  <a:pt x="177" y="320"/>
                </a:lnTo>
                <a:lnTo>
                  <a:pt x="176" y="320"/>
                </a:lnTo>
                <a:close/>
                <a:moveTo>
                  <a:pt x="181" y="239"/>
                </a:moveTo>
                <a:lnTo>
                  <a:pt x="181" y="237"/>
                </a:lnTo>
                <a:lnTo>
                  <a:pt x="182" y="232"/>
                </a:lnTo>
                <a:lnTo>
                  <a:pt x="187" y="233"/>
                </a:lnTo>
                <a:lnTo>
                  <a:pt x="194" y="237"/>
                </a:lnTo>
                <a:lnTo>
                  <a:pt x="187" y="237"/>
                </a:lnTo>
                <a:lnTo>
                  <a:pt x="181" y="239"/>
                </a:lnTo>
                <a:lnTo>
                  <a:pt x="182" y="238"/>
                </a:lnTo>
                <a:lnTo>
                  <a:pt x="181" y="239"/>
                </a:lnTo>
                <a:close/>
                <a:moveTo>
                  <a:pt x="193" y="154"/>
                </a:moveTo>
                <a:lnTo>
                  <a:pt x="194" y="151"/>
                </a:lnTo>
                <a:lnTo>
                  <a:pt x="198" y="149"/>
                </a:lnTo>
                <a:lnTo>
                  <a:pt x="202" y="148"/>
                </a:lnTo>
                <a:lnTo>
                  <a:pt x="204" y="148"/>
                </a:lnTo>
                <a:lnTo>
                  <a:pt x="209" y="150"/>
                </a:lnTo>
                <a:lnTo>
                  <a:pt x="214" y="153"/>
                </a:lnTo>
                <a:lnTo>
                  <a:pt x="214" y="155"/>
                </a:lnTo>
                <a:lnTo>
                  <a:pt x="214" y="158"/>
                </a:lnTo>
                <a:lnTo>
                  <a:pt x="215" y="159"/>
                </a:lnTo>
                <a:lnTo>
                  <a:pt x="216" y="161"/>
                </a:lnTo>
                <a:lnTo>
                  <a:pt x="217" y="162"/>
                </a:lnTo>
                <a:lnTo>
                  <a:pt x="216" y="163"/>
                </a:lnTo>
                <a:lnTo>
                  <a:pt x="211" y="165"/>
                </a:lnTo>
                <a:lnTo>
                  <a:pt x="208" y="165"/>
                </a:lnTo>
                <a:lnTo>
                  <a:pt x="206" y="165"/>
                </a:lnTo>
                <a:lnTo>
                  <a:pt x="204" y="165"/>
                </a:lnTo>
                <a:lnTo>
                  <a:pt x="206" y="164"/>
                </a:lnTo>
                <a:lnTo>
                  <a:pt x="206" y="163"/>
                </a:lnTo>
                <a:lnTo>
                  <a:pt x="209" y="159"/>
                </a:lnTo>
                <a:lnTo>
                  <a:pt x="211" y="156"/>
                </a:lnTo>
                <a:lnTo>
                  <a:pt x="207" y="157"/>
                </a:lnTo>
                <a:lnTo>
                  <a:pt x="201" y="157"/>
                </a:lnTo>
                <a:lnTo>
                  <a:pt x="195" y="156"/>
                </a:lnTo>
                <a:lnTo>
                  <a:pt x="193" y="154"/>
                </a:lnTo>
                <a:lnTo>
                  <a:pt x="193" y="154"/>
                </a:lnTo>
                <a:lnTo>
                  <a:pt x="193" y="154"/>
                </a:lnTo>
                <a:close/>
                <a:moveTo>
                  <a:pt x="198" y="232"/>
                </a:moveTo>
                <a:lnTo>
                  <a:pt x="199" y="230"/>
                </a:lnTo>
                <a:lnTo>
                  <a:pt x="203" y="225"/>
                </a:lnTo>
                <a:lnTo>
                  <a:pt x="206" y="224"/>
                </a:lnTo>
                <a:lnTo>
                  <a:pt x="207" y="223"/>
                </a:lnTo>
                <a:lnTo>
                  <a:pt x="209" y="223"/>
                </a:lnTo>
                <a:lnTo>
                  <a:pt x="209" y="223"/>
                </a:lnTo>
                <a:lnTo>
                  <a:pt x="209" y="225"/>
                </a:lnTo>
                <a:lnTo>
                  <a:pt x="207" y="227"/>
                </a:lnTo>
                <a:lnTo>
                  <a:pt x="207" y="230"/>
                </a:lnTo>
                <a:lnTo>
                  <a:pt x="206" y="232"/>
                </a:lnTo>
                <a:lnTo>
                  <a:pt x="204" y="233"/>
                </a:lnTo>
                <a:lnTo>
                  <a:pt x="202" y="234"/>
                </a:lnTo>
                <a:lnTo>
                  <a:pt x="200" y="234"/>
                </a:lnTo>
                <a:lnTo>
                  <a:pt x="198" y="232"/>
                </a:lnTo>
                <a:lnTo>
                  <a:pt x="198" y="232"/>
                </a:lnTo>
                <a:lnTo>
                  <a:pt x="198" y="232"/>
                </a:lnTo>
                <a:close/>
                <a:moveTo>
                  <a:pt x="202" y="416"/>
                </a:moveTo>
                <a:lnTo>
                  <a:pt x="201" y="416"/>
                </a:lnTo>
                <a:lnTo>
                  <a:pt x="199" y="416"/>
                </a:lnTo>
                <a:lnTo>
                  <a:pt x="199" y="414"/>
                </a:lnTo>
                <a:lnTo>
                  <a:pt x="200" y="413"/>
                </a:lnTo>
                <a:lnTo>
                  <a:pt x="204" y="410"/>
                </a:lnTo>
                <a:lnTo>
                  <a:pt x="209" y="407"/>
                </a:lnTo>
                <a:lnTo>
                  <a:pt x="209" y="411"/>
                </a:lnTo>
                <a:lnTo>
                  <a:pt x="207" y="413"/>
                </a:lnTo>
                <a:lnTo>
                  <a:pt x="206" y="414"/>
                </a:lnTo>
                <a:lnTo>
                  <a:pt x="202" y="416"/>
                </a:lnTo>
                <a:lnTo>
                  <a:pt x="203" y="415"/>
                </a:lnTo>
                <a:lnTo>
                  <a:pt x="202" y="416"/>
                </a:lnTo>
                <a:close/>
                <a:moveTo>
                  <a:pt x="219" y="174"/>
                </a:moveTo>
                <a:lnTo>
                  <a:pt x="216" y="175"/>
                </a:lnTo>
                <a:lnTo>
                  <a:pt x="211" y="177"/>
                </a:lnTo>
                <a:lnTo>
                  <a:pt x="210" y="177"/>
                </a:lnTo>
                <a:lnTo>
                  <a:pt x="209" y="177"/>
                </a:lnTo>
                <a:lnTo>
                  <a:pt x="208" y="175"/>
                </a:lnTo>
                <a:lnTo>
                  <a:pt x="209" y="174"/>
                </a:lnTo>
                <a:lnTo>
                  <a:pt x="212" y="172"/>
                </a:lnTo>
                <a:lnTo>
                  <a:pt x="217" y="171"/>
                </a:lnTo>
                <a:lnTo>
                  <a:pt x="219" y="171"/>
                </a:lnTo>
                <a:lnTo>
                  <a:pt x="220" y="171"/>
                </a:lnTo>
                <a:lnTo>
                  <a:pt x="220" y="172"/>
                </a:lnTo>
                <a:lnTo>
                  <a:pt x="219" y="174"/>
                </a:lnTo>
                <a:lnTo>
                  <a:pt x="218" y="175"/>
                </a:lnTo>
                <a:lnTo>
                  <a:pt x="219" y="174"/>
                </a:lnTo>
                <a:close/>
                <a:moveTo>
                  <a:pt x="240" y="338"/>
                </a:moveTo>
                <a:lnTo>
                  <a:pt x="231" y="340"/>
                </a:lnTo>
                <a:lnTo>
                  <a:pt x="221" y="341"/>
                </a:lnTo>
                <a:lnTo>
                  <a:pt x="228" y="337"/>
                </a:lnTo>
                <a:lnTo>
                  <a:pt x="236" y="335"/>
                </a:lnTo>
                <a:lnTo>
                  <a:pt x="237" y="333"/>
                </a:lnTo>
                <a:lnTo>
                  <a:pt x="239" y="332"/>
                </a:lnTo>
                <a:lnTo>
                  <a:pt x="240" y="333"/>
                </a:lnTo>
                <a:lnTo>
                  <a:pt x="242" y="335"/>
                </a:lnTo>
                <a:lnTo>
                  <a:pt x="242" y="336"/>
                </a:lnTo>
                <a:lnTo>
                  <a:pt x="242" y="337"/>
                </a:lnTo>
                <a:lnTo>
                  <a:pt x="241" y="338"/>
                </a:lnTo>
                <a:lnTo>
                  <a:pt x="240" y="338"/>
                </a:lnTo>
                <a:lnTo>
                  <a:pt x="239" y="338"/>
                </a:lnTo>
                <a:lnTo>
                  <a:pt x="240" y="338"/>
                </a:lnTo>
                <a:close/>
                <a:moveTo>
                  <a:pt x="268" y="335"/>
                </a:moveTo>
                <a:lnTo>
                  <a:pt x="269" y="335"/>
                </a:lnTo>
                <a:lnTo>
                  <a:pt x="268" y="335"/>
                </a:lnTo>
                <a:close/>
                <a:moveTo>
                  <a:pt x="276" y="378"/>
                </a:moveTo>
                <a:lnTo>
                  <a:pt x="281" y="374"/>
                </a:lnTo>
                <a:lnTo>
                  <a:pt x="285" y="373"/>
                </a:lnTo>
                <a:lnTo>
                  <a:pt x="291" y="373"/>
                </a:lnTo>
                <a:lnTo>
                  <a:pt x="297" y="373"/>
                </a:lnTo>
                <a:lnTo>
                  <a:pt x="291" y="375"/>
                </a:lnTo>
                <a:lnTo>
                  <a:pt x="285" y="377"/>
                </a:lnTo>
                <a:lnTo>
                  <a:pt x="281" y="378"/>
                </a:lnTo>
                <a:lnTo>
                  <a:pt x="276" y="378"/>
                </a:lnTo>
                <a:close/>
                <a:moveTo>
                  <a:pt x="314" y="377"/>
                </a:moveTo>
                <a:lnTo>
                  <a:pt x="310" y="378"/>
                </a:lnTo>
                <a:lnTo>
                  <a:pt x="308" y="378"/>
                </a:lnTo>
                <a:lnTo>
                  <a:pt x="306" y="378"/>
                </a:lnTo>
                <a:lnTo>
                  <a:pt x="303" y="377"/>
                </a:lnTo>
                <a:lnTo>
                  <a:pt x="307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4"/>
                </a:lnTo>
                <a:lnTo>
                  <a:pt x="315" y="375"/>
                </a:lnTo>
                <a:lnTo>
                  <a:pt x="314" y="377"/>
                </a:lnTo>
                <a:lnTo>
                  <a:pt x="313" y="377"/>
                </a:lnTo>
                <a:lnTo>
                  <a:pt x="314" y="377"/>
                </a:lnTo>
                <a:close/>
                <a:moveTo>
                  <a:pt x="273" y="356"/>
                </a:moveTo>
                <a:lnTo>
                  <a:pt x="274" y="354"/>
                </a:lnTo>
                <a:lnTo>
                  <a:pt x="276" y="353"/>
                </a:lnTo>
                <a:lnTo>
                  <a:pt x="278" y="352"/>
                </a:lnTo>
                <a:lnTo>
                  <a:pt x="282" y="350"/>
                </a:lnTo>
                <a:lnTo>
                  <a:pt x="289" y="350"/>
                </a:lnTo>
                <a:lnTo>
                  <a:pt x="294" y="349"/>
                </a:lnTo>
                <a:lnTo>
                  <a:pt x="300" y="348"/>
                </a:lnTo>
                <a:lnTo>
                  <a:pt x="307" y="347"/>
                </a:lnTo>
                <a:lnTo>
                  <a:pt x="309" y="346"/>
                </a:lnTo>
                <a:lnTo>
                  <a:pt x="310" y="345"/>
                </a:lnTo>
                <a:lnTo>
                  <a:pt x="311" y="344"/>
                </a:lnTo>
                <a:lnTo>
                  <a:pt x="310" y="341"/>
                </a:lnTo>
                <a:lnTo>
                  <a:pt x="310" y="340"/>
                </a:lnTo>
                <a:lnTo>
                  <a:pt x="309" y="339"/>
                </a:lnTo>
                <a:lnTo>
                  <a:pt x="310" y="338"/>
                </a:lnTo>
                <a:lnTo>
                  <a:pt x="311" y="338"/>
                </a:lnTo>
                <a:lnTo>
                  <a:pt x="314" y="335"/>
                </a:lnTo>
                <a:lnTo>
                  <a:pt x="317" y="332"/>
                </a:lnTo>
                <a:lnTo>
                  <a:pt x="323" y="332"/>
                </a:lnTo>
                <a:lnTo>
                  <a:pt x="328" y="333"/>
                </a:lnTo>
                <a:lnTo>
                  <a:pt x="333" y="336"/>
                </a:lnTo>
                <a:lnTo>
                  <a:pt x="338" y="339"/>
                </a:lnTo>
                <a:lnTo>
                  <a:pt x="331" y="344"/>
                </a:lnTo>
                <a:lnTo>
                  <a:pt x="323" y="346"/>
                </a:lnTo>
                <a:lnTo>
                  <a:pt x="315" y="349"/>
                </a:lnTo>
                <a:lnTo>
                  <a:pt x="307" y="350"/>
                </a:lnTo>
                <a:lnTo>
                  <a:pt x="290" y="354"/>
                </a:lnTo>
                <a:lnTo>
                  <a:pt x="273" y="356"/>
                </a:lnTo>
                <a:lnTo>
                  <a:pt x="276" y="355"/>
                </a:lnTo>
                <a:lnTo>
                  <a:pt x="282" y="354"/>
                </a:lnTo>
                <a:lnTo>
                  <a:pt x="283" y="354"/>
                </a:lnTo>
                <a:lnTo>
                  <a:pt x="273" y="356"/>
                </a:lnTo>
                <a:close/>
                <a:moveTo>
                  <a:pt x="277" y="343"/>
                </a:moveTo>
                <a:lnTo>
                  <a:pt x="281" y="341"/>
                </a:lnTo>
                <a:lnTo>
                  <a:pt x="285" y="340"/>
                </a:lnTo>
                <a:lnTo>
                  <a:pt x="286" y="340"/>
                </a:lnTo>
                <a:lnTo>
                  <a:pt x="287" y="340"/>
                </a:lnTo>
                <a:lnTo>
                  <a:pt x="287" y="341"/>
                </a:lnTo>
                <a:lnTo>
                  <a:pt x="286" y="344"/>
                </a:lnTo>
                <a:lnTo>
                  <a:pt x="282" y="346"/>
                </a:lnTo>
                <a:lnTo>
                  <a:pt x="277" y="346"/>
                </a:lnTo>
                <a:lnTo>
                  <a:pt x="276" y="346"/>
                </a:lnTo>
                <a:lnTo>
                  <a:pt x="275" y="344"/>
                </a:lnTo>
                <a:lnTo>
                  <a:pt x="275" y="343"/>
                </a:lnTo>
                <a:lnTo>
                  <a:pt x="277" y="343"/>
                </a:lnTo>
                <a:lnTo>
                  <a:pt x="277" y="343"/>
                </a:lnTo>
                <a:lnTo>
                  <a:pt x="277" y="343"/>
                </a:lnTo>
                <a:close/>
                <a:moveTo>
                  <a:pt x="392" y="410"/>
                </a:moveTo>
                <a:lnTo>
                  <a:pt x="389" y="411"/>
                </a:lnTo>
                <a:lnTo>
                  <a:pt x="387" y="411"/>
                </a:lnTo>
                <a:lnTo>
                  <a:pt x="384" y="411"/>
                </a:lnTo>
                <a:lnTo>
                  <a:pt x="382" y="410"/>
                </a:lnTo>
                <a:lnTo>
                  <a:pt x="377" y="406"/>
                </a:lnTo>
                <a:lnTo>
                  <a:pt x="374" y="403"/>
                </a:lnTo>
                <a:lnTo>
                  <a:pt x="372" y="403"/>
                </a:lnTo>
                <a:lnTo>
                  <a:pt x="371" y="402"/>
                </a:lnTo>
                <a:lnTo>
                  <a:pt x="371" y="402"/>
                </a:lnTo>
                <a:lnTo>
                  <a:pt x="371" y="399"/>
                </a:lnTo>
                <a:lnTo>
                  <a:pt x="371" y="396"/>
                </a:lnTo>
                <a:lnTo>
                  <a:pt x="372" y="394"/>
                </a:lnTo>
                <a:lnTo>
                  <a:pt x="374" y="394"/>
                </a:lnTo>
                <a:lnTo>
                  <a:pt x="376" y="394"/>
                </a:lnTo>
                <a:lnTo>
                  <a:pt x="379" y="395"/>
                </a:lnTo>
                <a:lnTo>
                  <a:pt x="381" y="396"/>
                </a:lnTo>
                <a:lnTo>
                  <a:pt x="382" y="400"/>
                </a:lnTo>
                <a:lnTo>
                  <a:pt x="384" y="403"/>
                </a:lnTo>
                <a:lnTo>
                  <a:pt x="389" y="404"/>
                </a:lnTo>
                <a:lnTo>
                  <a:pt x="392" y="404"/>
                </a:lnTo>
                <a:lnTo>
                  <a:pt x="394" y="405"/>
                </a:lnTo>
                <a:lnTo>
                  <a:pt x="394" y="406"/>
                </a:lnTo>
                <a:lnTo>
                  <a:pt x="393" y="408"/>
                </a:lnTo>
                <a:lnTo>
                  <a:pt x="392" y="410"/>
                </a:lnTo>
                <a:lnTo>
                  <a:pt x="391" y="411"/>
                </a:lnTo>
                <a:lnTo>
                  <a:pt x="392" y="410"/>
                </a:lnTo>
                <a:close/>
                <a:moveTo>
                  <a:pt x="391" y="354"/>
                </a:moveTo>
                <a:lnTo>
                  <a:pt x="387" y="353"/>
                </a:lnTo>
                <a:lnTo>
                  <a:pt x="383" y="350"/>
                </a:lnTo>
                <a:lnTo>
                  <a:pt x="385" y="349"/>
                </a:lnTo>
                <a:lnTo>
                  <a:pt x="389" y="349"/>
                </a:lnTo>
                <a:lnTo>
                  <a:pt x="392" y="349"/>
                </a:lnTo>
                <a:lnTo>
                  <a:pt x="394" y="350"/>
                </a:lnTo>
                <a:lnTo>
                  <a:pt x="396" y="352"/>
                </a:lnTo>
                <a:lnTo>
                  <a:pt x="394" y="353"/>
                </a:lnTo>
                <a:lnTo>
                  <a:pt x="393" y="354"/>
                </a:lnTo>
                <a:lnTo>
                  <a:pt x="391" y="354"/>
                </a:lnTo>
                <a:lnTo>
                  <a:pt x="391" y="354"/>
                </a:lnTo>
                <a:lnTo>
                  <a:pt x="391" y="354"/>
                </a:lnTo>
                <a:close/>
                <a:moveTo>
                  <a:pt x="401" y="398"/>
                </a:moveTo>
                <a:lnTo>
                  <a:pt x="400" y="398"/>
                </a:lnTo>
                <a:lnTo>
                  <a:pt x="399" y="397"/>
                </a:lnTo>
                <a:lnTo>
                  <a:pt x="400" y="395"/>
                </a:lnTo>
                <a:lnTo>
                  <a:pt x="400" y="394"/>
                </a:lnTo>
                <a:lnTo>
                  <a:pt x="405" y="393"/>
                </a:lnTo>
                <a:lnTo>
                  <a:pt x="410" y="391"/>
                </a:lnTo>
                <a:lnTo>
                  <a:pt x="420" y="394"/>
                </a:lnTo>
                <a:lnTo>
                  <a:pt x="430" y="396"/>
                </a:lnTo>
                <a:lnTo>
                  <a:pt x="415" y="397"/>
                </a:lnTo>
                <a:lnTo>
                  <a:pt x="401" y="398"/>
                </a:lnTo>
                <a:lnTo>
                  <a:pt x="404" y="398"/>
                </a:lnTo>
                <a:lnTo>
                  <a:pt x="401" y="398"/>
                </a:lnTo>
                <a:close/>
                <a:moveTo>
                  <a:pt x="442" y="422"/>
                </a:moveTo>
                <a:lnTo>
                  <a:pt x="441" y="423"/>
                </a:lnTo>
                <a:lnTo>
                  <a:pt x="440" y="424"/>
                </a:lnTo>
                <a:lnTo>
                  <a:pt x="439" y="424"/>
                </a:lnTo>
                <a:lnTo>
                  <a:pt x="437" y="423"/>
                </a:lnTo>
                <a:lnTo>
                  <a:pt x="433" y="422"/>
                </a:lnTo>
                <a:lnTo>
                  <a:pt x="431" y="422"/>
                </a:lnTo>
                <a:lnTo>
                  <a:pt x="433" y="421"/>
                </a:lnTo>
                <a:lnTo>
                  <a:pt x="437" y="420"/>
                </a:lnTo>
                <a:lnTo>
                  <a:pt x="441" y="421"/>
                </a:lnTo>
                <a:lnTo>
                  <a:pt x="442" y="422"/>
                </a:lnTo>
                <a:lnTo>
                  <a:pt x="442" y="422"/>
                </a:lnTo>
                <a:lnTo>
                  <a:pt x="442" y="422"/>
                </a:lnTo>
                <a:close/>
                <a:moveTo>
                  <a:pt x="439" y="406"/>
                </a:moveTo>
                <a:lnTo>
                  <a:pt x="447" y="404"/>
                </a:lnTo>
                <a:lnTo>
                  <a:pt x="456" y="403"/>
                </a:lnTo>
                <a:lnTo>
                  <a:pt x="454" y="405"/>
                </a:lnTo>
                <a:lnTo>
                  <a:pt x="451" y="406"/>
                </a:lnTo>
                <a:lnTo>
                  <a:pt x="449" y="407"/>
                </a:lnTo>
                <a:lnTo>
                  <a:pt x="448" y="406"/>
                </a:lnTo>
                <a:lnTo>
                  <a:pt x="443" y="406"/>
                </a:lnTo>
                <a:lnTo>
                  <a:pt x="439" y="406"/>
                </a:lnTo>
                <a:close/>
                <a:moveTo>
                  <a:pt x="440" y="398"/>
                </a:moveTo>
                <a:lnTo>
                  <a:pt x="443" y="397"/>
                </a:lnTo>
                <a:lnTo>
                  <a:pt x="447" y="397"/>
                </a:lnTo>
                <a:lnTo>
                  <a:pt x="451" y="399"/>
                </a:lnTo>
                <a:lnTo>
                  <a:pt x="455" y="399"/>
                </a:lnTo>
                <a:lnTo>
                  <a:pt x="450" y="400"/>
                </a:lnTo>
                <a:lnTo>
                  <a:pt x="447" y="402"/>
                </a:lnTo>
                <a:lnTo>
                  <a:pt x="443" y="400"/>
                </a:lnTo>
                <a:lnTo>
                  <a:pt x="440" y="398"/>
                </a:lnTo>
                <a:close/>
                <a:moveTo>
                  <a:pt x="468" y="427"/>
                </a:moveTo>
                <a:lnTo>
                  <a:pt x="474" y="426"/>
                </a:lnTo>
                <a:lnTo>
                  <a:pt x="479" y="427"/>
                </a:lnTo>
                <a:lnTo>
                  <a:pt x="484" y="428"/>
                </a:lnTo>
                <a:lnTo>
                  <a:pt x="489" y="429"/>
                </a:lnTo>
                <a:lnTo>
                  <a:pt x="483" y="429"/>
                </a:lnTo>
                <a:lnTo>
                  <a:pt x="479" y="430"/>
                </a:lnTo>
                <a:lnTo>
                  <a:pt x="474" y="429"/>
                </a:lnTo>
                <a:lnTo>
                  <a:pt x="468" y="427"/>
                </a:lnTo>
                <a:close/>
                <a:moveTo>
                  <a:pt x="493" y="410"/>
                </a:moveTo>
                <a:lnTo>
                  <a:pt x="490" y="411"/>
                </a:lnTo>
                <a:lnTo>
                  <a:pt x="487" y="411"/>
                </a:lnTo>
                <a:lnTo>
                  <a:pt x="482" y="411"/>
                </a:lnTo>
                <a:lnTo>
                  <a:pt x="479" y="410"/>
                </a:lnTo>
                <a:lnTo>
                  <a:pt x="478" y="406"/>
                </a:lnTo>
                <a:lnTo>
                  <a:pt x="475" y="405"/>
                </a:lnTo>
                <a:lnTo>
                  <a:pt x="470" y="406"/>
                </a:lnTo>
                <a:lnTo>
                  <a:pt x="466" y="408"/>
                </a:lnTo>
                <a:lnTo>
                  <a:pt x="464" y="407"/>
                </a:lnTo>
                <a:lnTo>
                  <a:pt x="462" y="406"/>
                </a:lnTo>
                <a:lnTo>
                  <a:pt x="460" y="404"/>
                </a:lnTo>
                <a:lnTo>
                  <a:pt x="460" y="402"/>
                </a:lnTo>
                <a:lnTo>
                  <a:pt x="462" y="400"/>
                </a:lnTo>
                <a:lnTo>
                  <a:pt x="464" y="399"/>
                </a:lnTo>
                <a:lnTo>
                  <a:pt x="466" y="399"/>
                </a:lnTo>
                <a:lnTo>
                  <a:pt x="468" y="399"/>
                </a:lnTo>
                <a:lnTo>
                  <a:pt x="474" y="400"/>
                </a:lnTo>
                <a:lnTo>
                  <a:pt x="482" y="403"/>
                </a:lnTo>
                <a:lnTo>
                  <a:pt x="487" y="405"/>
                </a:lnTo>
                <a:lnTo>
                  <a:pt x="490" y="406"/>
                </a:lnTo>
                <a:lnTo>
                  <a:pt x="492" y="408"/>
                </a:lnTo>
                <a:lnTo>
                  <a:pt x="493" y="410"/>
                </a:lnTo>
                <a:lnTo>
                  <a:pt x="492" y="410"/>
                </a:lnTo>
                <a:lnTo>
                  <a:pt x="493" y="410"/>
                </a:lnTo>
                <a:close/>
                <a:moveTo>
                  <a:pt x="504" y="413"/>
                </a:moveTo>
                <a:lnTo>
                  <a:pt x="501" y="411"/>
                </a:lnTo>
                <a:lnTo>
                  <a:pt x="499" y="408"/>
                </a:lnTo>
                <a:lnTo>
                  <a:pt x="498" y="407"/>
                </a:lnTo>
                <a:lnTo>
                  <a:pt x="498" y="407"/>
                </a:lnTo>
                <a:lnTo>
                  <a:pt x="499" y="406"/>
                </a:lnTo>
                <a:lnTo>
                  <a:pt x="501" y="406"/>
                </a:lnTo>
                <a:lnTo>
                  <a:pt x="504" y="407"/>
                </a:lnTo>
                <a:lnTo>
                  <a:pt x="506" y="410"/>
                </a:lnTo>
                <a:lnTo>
                  <a:pt x="506" y="411"/>
                </a:lnTo>
                <a:lnTo>
                  <a:pt x="506" y="412"/>
                </a:lnTo>
                <a:lnTo>
                  <a:pt x="506" y="413"/>
                </a:lnTo>
                <a:lnTo>
                  <a:pt x="504" y="413"/>
                </a:lnTo>
                <a:lnTo>
                  <a:pt x="504" y="412"/>
                </a:lnTo>
                <a:lnTo>
                  <a:pt x="504" y="413"/>
                </a:lnTo>
                <a:close/>
                <a:moveTo>
                  <a:pt x="515" y="410"/>
                </a:moveTo>
                <a:lnTo>
                  <a:pt x="521" y="410"/>
                </a:lnTo>
                <a:lnTo>
                  <a:pt x="526" y="411"/>
                </a:lnTo>
                <a:lnTo>
                  <a:pt x="523" y="412"/>
                </a:lnTo>
                <a:lnTo>
                  <a:pt x="521" y="412"/>
                </a:lnTo>
                <a:lnTo>
                  <a:pt x="519" y="411"/>
                </a:lnTo>
                <a:lnTo>
                  <a:pt x="515" y="410"/>
                </a:lnTo>
                <a:close/>
                <a:moveTo>
                  <a:pt x="570" y="455"/>
                </a:moveTo>
                <a:lnTo>
                  <a:pt x="569" y="454"/>
                </a:lnTo>
                <a:lnTo>
                  <a:pt x="569" y="453"/>
                </a:lnTo>
                <a:lnTo>
                  <a:pt x="570" y="453"/>
                </a:lnTo>
                <a:lnTo>
                  <a:pt x="572" y="452"/>
                </a:lnTo>
                <a:lnTo>
                  <a:pt x="575" y="451"/>
                </a:lnTo>
                <a:lnTo>
                  <a:pt x="579" y="452"/>
                </a:lnTo>
                <a:lnTo>
                  <a:pt x="578" y="453"/>
                </a:lnTo>
                <a:lnTo>
                  <a:pt x="575" y="455"/>
                </a:lnTo>
                <a:lnTo>
                  <a:pt x="573" y="455"/>
                </a:lnTo>
                <a:lnTo>
                  <a:pt x="570" y="455"/>
                </a:lnTo>
                <a:lnTo>
                  <a:pt x="571" y="455"/>
                </a:lnTo>
                <a:lnTo>
                  <a:pt x="570" y="455"/>
                </a:lnTo>
                <a:close/>
                <a:moveTo>
                  <a:pt x="585" y="428"/>
                </a:moveTo>
                <a:lnTo>
                  <a:pt x="579" y="428"/>
                </a:lnTo>
                <a:lnTo>
                  <a:pt x="573" y="429"/>
                </a:lnTo>
                <a:lnTo>
                  <a:pt x="569" y="428"/>
                </a:lnTo>
                <a:lnTo>
                  <a:pt x="563" y="427"/>
                </a:lnTo>
                <a:lnTo>
                  <a:pt x="559" y="424"/>
                </a:lnTo>
                <a:lnTo>
                  <a:pt x="555" y="422"/>
                </a:lnTo>
                <a:lnTo>
                  <a:pt x="554" y="421"/>
                </a:lnTo>
                <a:lnTo>
                  <a:pt x="554" y="420"/>
                </a:lnTo>
                <a:lnTo>
                  <a:pt x="555" y="419"/>
                </a:lnTo>
                <a:lnTo>
                  <a:pt x="558" y="419"/>
                </a:lnTo>
                <a:lnTo>
                  <a:pt x="569" y="420"/>
                </a:lnTo>
                <a:lnTo>
                  <a:pt x="580" y="422"/>
                </a:lnTo>
                <a:lnTo>
                  <a:pt x="582" y="422"/>
                </a:lnTo>
                <a:lnTo>
                  <a:pt x="585" y="422"/>
                </a:lnTo>
                <a:lnTo>
                  <a:pt x="588" y="423"/>
                </a:lnTo>
                <a:lnTo>
                  <a:pt x="589" y="426"/>
                </a:lnTo>
                <a:lnTo>
                  <a:pt x="589" y="427"/>
                </a:lnTo>
                <a:lnTo>
                  <a:pt x="588" y="428"/>
                </a:lnTo>
                <a:lnTo>
                  <a:pt x="586" y="428"/>
                </a:lnTo>
                <a:lnTo>
                  <a:pt x="585" y="428"/>
                </a:lnTo>
                <a:lnTo>
                  <a:pt x="583" y="428"/>
                </a:lnTo>
                <a:lnTo>
                  <a:pt x="585" y="428"/>
                </a:lnTo>
                <a:close/>
                <a:moveTo>
                  <a:pt x="614" y="435"/>
                </a:moveTo>
                <a:lnTo>
                  <a:pt x="614" y="436"/>
                </a:lnTo>
                <a:lnTo>
                  <a:pt x="613" y="437"/>
                </a:lnTo>
                <a:lnTo>
                  <a:pt x="611" y="437"/>
                </a:lnTo>
                <a:lnTo>
                  <a:pt x="610" y="437"/>
                </a:lnTo>
                <a:lnTo>
                  <a:pt x="606" y="436"/>
                </a:lnTo>
                <a:lnTo>
                  <a:pt x="603" y="435"/>
                </a:lnTo>
                <a:lnTo>
                  <a:pt x="600" y="435"/>
                </a:lnTo>
                <a:lnTo>
                  <a:pt x="598" y="433"/>
                </a:lnTo>
                <a:lnTo>
                  <a:pt x="598" y="432"/>
                </a:lnTo>
                <a:lnTo>
                  <a:pt x="597" y="431"/>
                </a:lnTo>
                <a:lnTo>
                  <a:pt x="598" y="430"/>
                </a:lnTo>
                <a:lnTo>
                  <a:pt x="599" y="429"/>
                </a:lnTo>
                <a:lnTo>
                  <a:pt x="600" y="430"/>
                </a:lnTo>
                <a:lnTo>
                  <a:pt x="600" y="430"/>
                </a:lnTo>
                <a:lnTo>
                  <a:pt x="603" y="430"/>
                </a:lnTo>
                <a:lnTo>
                  <a:pt x="605" y="429"/>
                </a:lnTo>
                <a:lnTo>
                  <a:pt x="607" y="430"/>
                </a:lnTo>
                <a:lnTo>
                  <a:pt x="611" y="430"/>
                </a:lnTo>
                <a:lnTo>
                  <a:pt x="614" y="431"/>
                </a:lnTo>
                <a:lnTo>
                  <a:pt x="614" y="435"/>
                </a:lnTo>
                <a:lnTo>
                  <a:pt x="614" y="435"/>
                </a:lnTo>
                <a:lnTo>
                  <a:pt x="614" y="435"/>
                </a:lnTo>
                <a:close/>
                <a:moveTo>
                  <a:pt x="593" y="369"/>
                </a:moveTo>
                <a:lnTo>
                  <a:pt x="588" y="366"/>
                </a:lnTo>
                <a:lnTo>
                  <a:pt x="585" y="365"/>
                </a:lnTo>
                <a:lnTo>
                  <a:pt x="583" y="368"/>
                </a:lnTo>
                <a:lnTo>
                  <a:pt x="583" y="369"/>
                </a:lnTo>
                <a:lnTo>
                  <a:pt x="581" y="369"/>
                </a:lnTo>
                <a:lnTo>
                  <a:pt x="580" y="368"/>
                </a:lnTo>
                <a:lnTo>
                  <a:pt x="578" y="364"/>
                </a:lnTo>
                <a:lnTo>
                  <a:pt x="577" y="363"/>
                </a:lnTo>
                <a:lnTo>
                  <a:pt x="573" y="361"/>
                </a:lnTo>
                <a:lnTo>
                  <a:pt x="569" y="360"/>
                </a:lnTo>
                <a:lnTo>
                  <a:pt x="563" y="358"/>
                </a:lnTo>
                <a:lnTo>
                  <a:pt x="559" y="358"/>
                </a:lnTo>
                <a:lnTo>
                  <a:pt x="556" y="360"/>
                </a:lnTo>
                <a:lnTo>
                  <a:pt x="554" y="361"/>
                </a:lnTo>
                <a:lnTo>
                  <a:pt x="555" y="364"/>
                </a:lnTo>
                <a:lnTo>
                  <a:pt x="556" y="366"/>
                </a:lnTo>
                <a:lnTo>
                  <a:pt x="556" y="369"/>
                </a:lnTo>
                <a:lnTo>
                  <a:pt x="554" y="370"/>
                </a:lnTo>
                <a:lnTo>
                  <a:pt x="552" y="370"/>
                </a:lnTo>
                <a:lnTo>
                  <a:pt x="549" y="369"/>
                </a:lnTo>
                <a:lnTo>
                  <a:pt x="549" y="366"/>
                </a:lnTo>
                <a:lnTo>
                  <a:pt x="549" y="365"/>
                </a:lnTo>
                <a:lnTo>
                  <a:pt x="545" y="364"/>
                </a:lnTo>
                <a:lnTo>
                  <a:pt x="540" y="365"/>
                </a:lnTo>
                <a:lnTo>
                  <a:pt x="536" y="365"/>
                </a:lnTo>
                <a:lnTo>
                  <a:pt x="531" y="366"/>
                </a:lnTo>
                <a:lnTo>
                  <a:pt x="526" y="366"/>
                </a:lnTo>
                <a:lnTo>
                  <a:pt x="522" y="365"/>
                </a:lnTo>
                <a:lnTo>
                  <a:pt x="517" y="364"/>
                </a:lnTo>
                <a:lnTo>
                  <a:pt x="513" y="364"/>
                </a:lnTo>
                <a:lnTo>
                  <a:pt x="509" y="365"/>
                </a:lnTo>
                <a:lnTo>
                  <a:pt x="506" y="364"/>
                </a:lnTo>
                <a:lnTo>
                  <a:pt x="507" y="362"/>
                </a:lnTo>
                <a:lnTo>
                  <a:pt x="507" y="360"/>
                </a:lnTo>
                <a:lnTo>
                  <a:pt x="505" y="358"/>
                </a:lnTo>
                <a:lnTo>
                  <a:pt x="501" y="358"/>
                </a:lnTo>
                <a:lnTo>
                  <a:pt x="493" y="357"/>
                </a:lnTo>
                <a:lnTo>
                  <a:pt x="488" y="357"/>
                </a:lnTo>
                <a:lnTo>
                  <a:pt x="472" y="358"/>
                </a:lnTo>
                <a:lnTo>
                  <a:pt x="457" y="358"/>
                </a:lnTo>
                <a:lnTo>
                  <a:pt x="441" y="356"/>
                </a:lnTo>
                <a:lnTo>
                  <a:pt x="426" y="354"/>
                </a:lnTo>
                <a:lnTo>
                  <a:pt x="418" y="354"/>
                </a:lnTo>
                <a:lnTo>
                  <a:pt x="412" y="353"/>
                </a:lnTo>
                <a:lnTo>
                  <a:pt x="402" y="353"/>
                </a:lnTo>
                <a:lnTo>
                  <a:pt x="396" y="350"/>
                </a:lnTo>
                <a:lnTo>
                  <a:pt x="399" y="348"/>
                </a:lnTo>
                <a:lnTo>
                  <a:pt x="404" y="345"/>
                </a:lnTo>
                <a:lnTo>
                  <a:pt x="399" y="344"/>
                </a:lnTo>
                <a:lnTo>
                  <a:pt x="394" y="340"/>
                </a:lnTo>
                <a:lnTo>
                  <a:pt x="390" y="338"/>
                </a:lnTo>
                <a:lnTo>
                  <a:pt x="385" y="338"/>
                </a:lnTo>
                <a:lnTo>
                  <a:pt x="381" y="341"/>
                </a:lnTo>
                <a:lnTo>
                  <a:pt x="379" y="345"/>
                </a:lnTo>
                <a:lnTo>
                  <a:pt x="373" y="347"/>
                </a:lnTo>
                <a:lnTo>
                  <a:pt x="366" y="349"/>
                </a:lnTo>
                <a:lnTo>
                  <a:pt x="363" y="349"/>
                </a:lnTo>
                <a:lnTo>
                  <a:pt x="360" y="349"/>
                </a:lnTo>
                <a:lnTo>
                  <a:pt x="359" y="348"/>
                </a:lnTo>
                <a:lnTo>
                  <a:pt x="357" y="346"/>
                </a:lnTo>
                <a:lnTo>
                  <a:pt x="355" y="347"/>
                </a:lnTo>
                <a:lnTo>
                  <a:pt x="353" y="349"/>
                </a:lnTo>
                <a:lnTo>
                  <a:pt x="352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7"/>
                </a:lnTo>
                <a:lnTo>
                  <a:pt x="349" y="344"/>
                </a:lnTo>
                <a:lnTo>
                  <a:pt x="348" y="340"/>
                </a:lnTo>
                <a:lnTo>
                  <a:pt x="344" y="339"/>
                </a:lnTo>
                <a:lnTo>
                  <a:pt x="342" y="337"/>
                </a:lnTo>
                <a:lnTo>
                  <a:pt x="343" y="335"/>
                </a:lnTo>
                <a:lnTo>
                  <a:pt x="344" y="333"/>
                </a:lnTo>
                <a:lnTo>
                  <a:pt x="346" y="331"/>
                </a:lnTo>
                <a:lnTo>
                  <a:pt x="344" y="328"/>
                </a:lnTo>
                <a:lnTo>
                  <a:pt x="342" y="327"/>
                </a:lnTo>
                <a:lnTo>
                  <a:pt x="340" y="327"/>
                </a:lnTo>
                <a:lnTo>
                  <a:pt x="338" y="328"/>
                </a:lnTo>
                <a:lnTo>
                  <a:pt x="335" y="329"/>
                </a:lnTo>
                <a:lnTo>
                  <a:pt x="333" y="330"/>
                </a:lnTo>
                <a:lnTo>
                  <a:pt x="330" y="331"/>
                </a:lnTo>
                <a:lnTo>
                  <a:pt x="326" y="331"/>
                </a:lnTo>
                <a:lnTo>
                  <a:pt x="323" y="330"/>
                </a:lnTo>
                <a:lnTo>
                  <a:pt x="320" y="329"/>
                </a:lnTo>
                <a:lnTo>
                  <a:pt x="318" y="328"/>
                </a:lnTo>
                <a:lnTo>
                  <a:pt x="316" y="329"/>
                </a:lnTo>
                <a:lnTo>
                  <a:pt x="314" y="330"/>
                </a:lnTo>
                <a:lnTo>
                  <a:pt x="313" y="331"/>
                </a:lnTo>
                <a:lnTo>
                  <a:pt x="310" y="330"/>
                </a:lnTo>
                <a:lnTo>
                  <a:pt x="309" y="328"/>
                </a:lnTo>
                <a:lnTo>
                  <a:pt x="308" y="327"/>
                </a:lnTo>
                <a:lnTo>
                  <a:pt x="305" y="328"/>
                </a:lnTo>
                <a:lnTo>
                  <a:pt x="300" y="330"/>
                </a:lnTo>
                <a:lnTo>
                  <a:pt x="293" y="332"/>
                </a:lnTo>
                <a:lnTo>
                  <a:pt x="285" y="335"/>
                </a:lnTo>
                <a:lnTo>
                  <a:pt x="276" y="336"/>
                </a:lnTo>
                <a:lnTo>
                  <a:pt x="268" y="335"/>
                </a:lnTo>
                <a:lnTo>
                  <a:pt x="272" y="332"/>
                </a:lnTo>
                <a:lnTo>
                  <a:pt x="276" y="331"/>
                </a:lnTo>
                <a:lnTo>
                  <a:pt x="260" y="331"/>
                </a:lnTo>
                <a:lnTo>
                  <a:pt x="243" y="335"/>
                </a:lnTo>
                <a:lnTo>
                  <a:pt x="248" y="331"/>
                </a:lnTo>
                <a:lnTo>
                  <a:pt x="253" y="329"/>
                </a:lnTo>
                <a:lnTo>
                  <a:pt x="259" y="327"/>
                </a:lnTo>
                <a:lnTo>
                  <a:pt x="265" y="325"/>
                </a:lnTo>
                <a:lnTo>
                  <a:pt x="277" y="323"/>
                </a:lnTo>
                <a:lnTo>
                  <a:pt x="290" y="322"/>
                </a:lnTo>
                <a:lnTo>
                  <a:pt x="302" y="319"/>
                </a:lnTo>
                <a:lnTo>
                  <a:pt x="314" y="316"/>
                </a:lnTo>
                <a:lnTo>
                  <a:pt x="320" y="315"/>
                </a:lnTo>
                <a:lnTo>
                  <a:pt x="327" y="314"/>
                </a:lnTo>
                <a:lnTo>
                  <a:pt x="334" y="314"/>
                </a:lnTo>
                <a:lnTo>
                  <a:pt x="340" y="314"/>
                </a:lnTo>
                <a:lnTo>
                  <a:pt x="341" y="311"/>
                </a:lnTo>
                <a:lnTo>
                  <a:pt x="340" y="308"/>
                </a:lnTo>
                <a:lnTo>
                  <a:pt x="338" y="306"/>
                </a:lnTo>
                <a:lnTo>
                  <a:pt x="334" y="305"/>
                </a:lnTo>
                <a:lnTo>
                  <a:pt x="328" y="305"/>
                </a:lnTo>
                <a:lnTo>
                  <a:pt x="323" y="306"/>
                </a:lnTo>
                <a:lnTo>
                  <a:pt x="316" y="307"/>
                </a:lnTo>
                <a:lnTo>
                  <a:pt x="310" y="307"/>
                </a:lnTo>
                <a:lnTo>
                  <a:pt x="303" y="308"/>
                </a:lnTo>
                <a:lnTo>
                  <a:pt x="298" y="308"/>
                </a:lnTo>
                <a:lnTo>
                  <a:pt x="295" y="307"/>
                </a:lnTo>
                <a:lnTo>
                  <a:pt x="295" y="306"/>
                </a:lnTo>
                <a:lnTo>
                  <a:pt x="297" y="305"/>
                </a:lnTo>
                <a:lnTo>
                  <a:pt x="297" y="303"/>
                </a:lnTo>
                <a:lnTo>
                  <a:pt x="292" y="302"/>
                </a:lnTo>
                <a:lnTo>
                  <a:pt x="285" y="299"/>
                </a:lnTo>
                <a:lnTo>
                  <a:pt x="299" y="296"/>
                </a:lnTo>
                <a:lnTo>
                  <a:pt x="311" y="294"/>
                </a:lnTo>
                <a:lnTo>
                  <a:pt x="324" y="292"/>
                </a:lnTo>
                <a:lnTo>
                  <a:pt x="338" y="291"/>
                </a:lnTo>
                <a:lnTo>
                  <a:pt x="334" y="289"/>
                </a:lnTo>
                <a:lnTo>
                  <a:pt x="327" y="289"/>
                </a:lnTo>
                <a:lnTo>
                  <a:pt x="319" y="289"/>
                </a:lnTo>
                <a:lnTo>
                  <a:pt x="315" y="289"/>
                </a:lnTo>
                <a:lnTo>
                  <a:pt x="315" y="287"/>
                </a:lnTo>
                <a:lnTo>
                  <a:pt x="316" y="285"/>
                </a:lnTo>
                <a:lnTo>
                  <a:pt x="315" y="283"/>
                </a:lnTo>
                <a:lnTo>
                  <a:pt x="311" y="282"/>
                </a:lnTo>
                <a:lnTo>
                  <a:pt x="319" y="281"/>
                </a:lnTo>
                <a:lnTo>
                  <a:pt x="326" y="279"/>
                </a:lnTo>
                <a:lnTo>
                  <a:pt x="333" y="278"/>
                </a:lnTo>
                <a:lnTo>
                  <a:pt x="339" y="278"/>
                </a:lnTo>
                <a:lnTo>
                  <a:pt x="340" y="279"/>
                </a:lnTo>
                <a:lnTo>
                  <a:pt x="341" y="279"/>
                </a:lnTo>
                <a:lnTo>
                  <a:pt x="341" y="280"/>
                </a:lnTo>
                <a:lnTo>
                  <a:pt x="340" y="281"/>
                </a:lnTo>
                <a:lnTo>
                  <a:pt x="333" y="282"/>
                </a:lnTo>
                <a:lnTo>
                  <a:pt x="326" y="283"/>
                </a:lnTo>
                <a:lnTo>
                  <a:pt x="332" y="285"/>
                </a:lnTo>
                <a:lnTo>
                  <a:pt x="338" y="283"/>
                </a:lnTo>
                <a:lnTo>
                  <a:pt x="340" y="283"/>
                </a:lnTo>
                <a:lnTo>
                  <a:pt x="343" y="283"/>
                </a:lnTo>
                <a:lnTo>
                  <a:pt x="344" y="285"/>
                </a:lnTo>
                <a:lnTo>
                  <a:pt x="344" y="285"/>
                </a:lnTo>
                <a:lnTo>
                  <a:pt x="344" y="286"/>
                </a:lnTo>
                <a:lnTo>
                  <a:pt x="343" y="287"/>
                </a:lnTo>
                <a:lnTo>
                  <a:pt x="341" y="288"/>
                </a:lnTo>
                <a:lnTo>
                  <a:pt x="339" y="289"/>
                </a:lnTo>
                <a:lnTo>
                  <a:pt x="348" y="290"/>
                </a:lnTo>
                <a:lnTo>
                  <a:pt x="356" y="289"/>
                </a:lnTo>
                <a:lnTo>
                  <a:pt x="343" y="292"/>
                </a:lnTo>
                <a:lnTo>
                  <a:pt x="331" y="295"/>
                </a:lnTo>
                <a:lnTo>
                  <a:pt x="318" y="297"/>
                </a:lnTo>
                <a:lnTo>
                  <a:pt x="307" y="299"/>
                </a:lnTo>
                <a:lnTo>
                  <a:pt x="315" y="300"/>
                </a:lnTo>
                <a:lnTo>
                  <a:pt x="323" y="299"/>
                </a:lnTo>
                <a:lnTo>
                  <a:pt x="331" y="298"/>
                </a:lnTo>
                <a:lnTo>
                  <a:pt x="340" y="297"/>
                </a:lnTo>
                <a:lnTo>
                  <a:pt x="347" y="296"/>
                </a:lnTo>
                <a:lnTo>
                  <a:pt x="352" y="296"/>
                </a:lnTo>
                <a:lnTo>
                  <a:pt x="356" y="297"/>
                </a:lnTo>
                <a:lnTo>
                  <a:pt x="357" y="298"/>
                </a:lnTo>
                <a:lnTo>
                  <a:pt x="359" y="298"/>
                </a:lnTo>
                <a:lnTo>
                  <a:pt x="363" y="298"/>
                </a:lnTo>
                <a:lnTo>
                  <a:pt x="364" y="296"/>
                </a:lnTo>
                <a:lnTo>
                  <a:pt x="366" y="295"/>
                </a:lnTo>
                <a:lnTo>
                  <a:pt x="369" y="296"/>
                </a:lnTo>
                <a:lnTo>
                  <a:pt x="372" y="296"/>
                </a:lnTo>
                <a:lnTo>
                  <a:pt x="381" y="297"/>
                </a:lnTo>
                <a:lnTo>
                  <a:pt x="389" y="296"/>
                </a:lnTo>
                <a:lnTo>
                  <a:pt x="394" y="297"/>
                </a:lnTo>
                <a:lnTo>
                  <a:pt x="400" y="297"/>
                </a:lnTo>
                <a:lnTo>
                  <a:pt x="406" y="295"/>
                </a:lnTo>
                <a:lnTo>
                  <a:pt x="412" y="294"/>
                </a:lnTo>
                <a:lnTo>
                  <a:pt x="410" y="296"/>
                </a:lnTo>
                <a:lnTo>
                  <a:pt x="407" y="298"/>
                </a:lnTo>
                <a:lnTo>
                  <a:pt x="417" y="298"/>
                </a:lnTo>
                <a:lnTo>
                  <a:pt x="427" y="298"/>
                </a:lnTo>
                <a:lnTo>
                  <a:pt x="430" y="298"/>
                </a:lnTo>
                <a:lnTo>
                  <a:pt x="433" y="298"/>
                </a:lnTo>
                <a:lnTo>
                  <a:pt x="434" y="298"/>
                </a:lnTo>
                <a:lnTo>
                  <a:pt x="435" y="297"/>
                </a:lnTo>
                <a:lnTo>
                  <a:pt x="437" y="296"/>
                </a:lnTo>
                <a:lnTo>
                  <a:pt x="435" y="294"/>
                </a:lnTo>
                <a:lnTo>
                  <a:pt x="432" y="294"/>
                </a:lnTo>
                <a:lnTo>
                  <a:pt x="427" y="295"/>
                </a:lnTo>
                <a:lnTo>
                  <a:pt x="425" y="291"/>
                </a:lnTo>
                <a:lnTo>
                  <a:pt x="423" y="290"/>
                </a:lnTo>
                <a:lnTo>
                  <a:pt x="417" y="290"/>
                </a:lnTo>
                <a:lnTo>
                  <a:pt x="412" y="290"/>
                </a:lnTo>
                <a:lnTo>
                  <a:pt x="416" y="288"/>
                </a:lnTo>
                <a:lnTo>
                  <a:pt x="421" y="287"/>
                </a:lnTo>
                <a:lnTo>
                  <a:pt x="426" y="287"/>
                </a:lnTo>
                <a:lnTo>
                  <a:pt x="432" y="287"/>
                </a:lnTo>
                <a:lnTo>
                  <a:pt x="438" y="288"/>
                </a:lnTo>
                <a:lnTo>
                  <a:pt x="442" y="290"/>
                </a:lnTo>
                <a:lnTo>
                  <a:pt x="446" y="294"/>
                </a:lnTo>
                <a:lnTo>
                  <a:pt x="448" y="297"/>
                </a:lnTo>
                <a:lnTo>
                  <a:pt x="446" y="297"/>
                </a:lnTo>
                <a:lnTo>
                  <a:pt x="442" y="296"/>
                </a:lnTo>
                <a:lnTo>
                  <a:pt x="440" y="296"/>
                </a:lnTo>
                <a:lnTo>
                  <a:pt x="439" y="296"/>
                </a:lnTo>
                <a:lnTo>
                  <a:pt x="439" y="297"/>
                </a:lnTo>
                <a:lnTo>
                  <a:pt x="439" y="299"/>
                </a:lnTo>
                <a:lnTo>
                  <a:pt x="441" y="300"/>
                </a:lnTo>
                <a:lnTo>
                  <a:pt x="443" y="299"/>
                </a:lnTo>
                <a:lnTo>
                  <a:pt x="446" y="300"/>
                </a:lnTo>
                <a:lnTo>
                  <a:pt x="448" y="300"/>
                </a:lnTo>
                <a:lnTo>
                  <a:pt x="450" y="300"/>
                </a:lnTo>
                <a:lnTo>
                  <a:pt x="454" y="302"/>
                </a:lnTo>
                <a:lnTo>
                  <a:pt x="455" y="302"/>
                </a:lnTo>
                <a:lnTo>
                  <a:pt x="456" y="302"/>
                </a:lnTo>
                <a:lnTo>
                  <a:pt x="456" y="303"/>
                </a:lnTo>
                <a:lnTo>
                  <a:pt x="455" y="304"/>
                </a:lnTo>
                <a:lnTo>
                  <a:pt x="450" y="304"/>
                </a:lnTo>
                <a:lnTo>
                  <a:pt x="445" y="304"/>
                </a:lnTo>
                <a:lnTo>
                  <a:pt x="438" y="304"/>
                </a:lnTo>
                <a:lnTo>
                  <a:pt x="432" y="303"/>
                </a:lnTo>
                <a:lnTo>
                  <a:pt x="427" y="302"/>
                </a:lnTo>
                <a:lnTo>
                  <a:pt x="423" y="303"/>
                </a:lnTo>
                <a:lnTo>
                  <a:pt x="418" y="304"/>
                </a:lnTo>
                <a:lnTo>
                  <a:pt x="415" y="304"/>
                </a:lnTo>
                <a:lnTo>
                  <a:pt x="402" y="303"/>
                </a:lnTo>
                <a:lnTo>
                  <a:pt x="391" y="303"/>
                </a:lnTo>
                <a:lnTo>
                  <a:pt x="379" y="304"/>
                </a:lnTo>
                <a:lnTo>
                  <a:pt x="367" y="305"/>
                </a:lnTo>
                <a:lnTo>
                  <a:pt x="356" y="308"/>
                </a:lnTo>
                <a:lnTo>
                  <a:pt x="343" y="311"/>
                </a:lnTo>
                <a:lnTo>
                  <a:pt x="346" y="313"/>
                </a:lnTo>
                <a:lnTo>
                  <a:pt x="349" y="314"/>
                </a:lnTo>
                <a:lnTo>
                  <a:pt x="351" y="314"/>
                </a:lnTo>
                <a:lnTo>
                  <a:pt x="353" y="313"/>
                </a:lnTo>
                <a:lnTo>
                  <a:pt x="359" y="312"/>
                </a:lnTo>
                <a:lnTo>
                  <a:pt x="365" y="311"/>
                </a:lnTo>
                <a:lnTo>
                  <a:pt x="380" y="308"/>
                </a:lnTo>
                <a:lnTo>
                  <a:pt x="394" y="308"/>
                </a:lnTo>
                <a:lnTo>
                  <a:pt x="408" y="308"/>
                </a:lnTo>
                <a:lnTo>
                  <a:pt x="423" y="310"/>
                </a:lnTo>
                <a:lnTo>
                  <a:pt x="438" y="311"/>
                </a:lnTo>
                <a:lnTo>
                  <a:pt x="451" y="313"/>
                </a:lnTo>
                <a:lnTo>
                  <a:pt x="465" y="314"/>
                </a:lnTo>
                <a:lnTo>
                  <a:pt x="479" y="315"/>
                </a:lnTo>
                <a:lnTo>
                  <a:pt x="493" y="317"/>
                </a:lnTo>
                <a:lnTo>
                  <a:pt x="508" y="321"/>
                </a:lnTo>
                <a:lnTo>
                  <a:pt x="523" y="323"/>
                </a:lnTo>
                <a:lnTo>
                  <a:pt x="538" y="325"/>
                </a:lnTo>
                <a:lnTo>
                  <a:pt x="552" y="328"/>
                </a:lnTo>
                <a:lnTo>
                  <a:pt x="566" y="331"/>
                </a:lnTo>
                <a:lnTo>
                  <a:pt x="581" y="335"/>
                </a:lnTo>
                <a:lnTo>
                  <a:pt x="595" y="338"/>
                </a:lnTo>
                <a:lnTo>
                  <a:pt x="610" y="341"/>
                </a:lnTo>
                <a:lnTo>
                  <a:pt x="624" y="345"/>
                </a:lnTo>
                <a:lnTo>
                  <a:pt x="635" y="348"/>
                </a:lnTo>
                <a:lnTo>
                  <a:pt x="646" y="350"/>
                </a:lnTo>
                <a:lnTo>
                  <a:pt x="652" y="353"/>
                </a:lnTo>
                <a:lnTo>
                  <a:pt x="656" y="354"/>
                </a:lnTo>
                <a:lnTo>
                  <a:pt x="657" y="354"/>
                </a:lnTo>
                <a:lnTo>
                  <a:pt x="660" y="355"/>
                </a:lnTo>
                <a:lnTo>
                  <a:pt x="661" y="357"/>
                </a:lnTo>
                <a:lnTo>
                  <a:pt x="661" y="358"/>
                </a:lnTo>
                <a:lnTo>
                  <a:pt x="669" y="361"/>
                </a:lnTo>
                <a:lnTo>
                  <a:pt x="679" y="362"/>
                </a:lnTo>
                <a:lnTo>
                  <a:pt x="692" y="365"/>
                </a:lnTo>
                <a:lnTo>
                  <a:pt x="704" y="370"/>
                </a:lnTo>
                <a:lnTo>
                  <a:pt x="707" y="372"/>
                </a:lnTo>
                <a:lnTo>
                  <a:pt x="710" y="373"/>
                </a:lnTo>
                <a:lnTo>
                  <a:pt x="714" y="374"/>
                </a:lnTo>
                <a:lnTo>
                  <a:pt x="718" y="377"/>
                </a:lnTo>
                <a:lnTo>
                  <a:pt x="720" y="378"/>
                </a:lnTo>
                <a:lnTo>
                  <a:pt x="722" y="380"/>
                </a:lnTo>
                <a:lnTo>
                  <a:pt x="725" y="379"/>
                </a:lnTo>
                <a:lnTo>
                  <a:pt x="727" y="379"/>
                </a:lnTo>
                <a:lnTo>
                  <a:pt x="729" y="380"/>
                </a:lnTo>
                <a:lnTo>
                  <a:pt x="732" y="382"/>
                </a:lnTo>
                <a:lnTo>
                  <a:pt x="738" y="383"/>
                </a:lnTo>
                <a:lnTo>
                  <a:pt x="745" y="385"/>
                </a:lnTo>
                <a:lnTo>
                  <a:pt x="751" y="387"/>
                </a:lnTo>
                <a:lnTo>
                  <a:pt x="756" y="389"/>
                </a:lnTo>
                <a:lnTo>
                  <a:pt x="770" y="395"/>
                </a:lnTo>
                <a:lnTo>
                  <a:pt x="784" y="399"/>
                </a:lnTo>
                <a:lnTo>
                  <a:pt x="799" y="405"/>
                </a:lnTo>
                <a:lnTo>
                  <a:pt x="811" y="411"/>
                </a:lnTo>
                <a:lnTo>
                  <a:pt x="818" y="413"/>
                </a:lnTo>
                <a:lnTo>
                  <a:pt x="825" y="415"/>
                </a:lnTo>
                <a:lnTo>
                  <a:pt x="830" y="419"/>
                </a:lnTo>
                <a:lnTo>
                  <a:pt x="836" y="423"/>
                </a:lnTo>
                <a:lnTo>
                  <a:pt x="821" y="422"/>
                </a:lnTo>
                <a:lnTo>
                  <a:pt x="806" y="419"/>
                </a:lnTo>
                <a:lnTo>
                  <a:pt x="802" y="416"/>
                </a:lnTo>
                <a:lnTo>
                  <a:pt x="797" y="414"/>
                </a:lnTo>
                <a:lnTo>
                  <a:pt x="796" y="412"/>
                </a:lnTo>
                <a:lnTo>
                  <a:pt x="797" y="412"/>
                </a:lnTo>
                <a:lnTo>
                  <a:pt x="799" y="411"/>
                </a:lnTo>
                <a:lnTo>
                  <a:pt x="801" y="410"/>
                </a:lnTo>
                <a:lnTo>
                  <a:pt x="794" y="406"/>
                </a:lnTo>
                <a:lnTo>
                  <a:pt x="787" y="405"/>
                </a:lnTo>
                <a:lnTo>
                  <a:pt x="781" y="402"/>
                </a:lnTo>
                <a:lnTo>
                  <a:pt x="775" y="398"/>
                </a:lnTo>
                <a:lnTo>
                  <a:pt x="767" y="396"/>
                </a:lnTo>
                <a:lnTo>
                  <a:pt x="759" y="394"/>
                </a:lnTo>
                <a:lnTo>
                  <a:pt x="751" y="393"/>
                </a:lnTo>
                <a:lnTo>
                  <a:pt x="743" y="391"/>
                </a:lnTo>
                <a:lnTo>
                  <a:pt x="740" y="391"/>
                </a:lnTo>
                <a:lnTo>
                  <a:pt x="738" y="390"/>
                </a:lnTo>
                <a:lnTo>
                  <a:pt x="737" y="389"/>
                </a:lnTo>
                <a:lnTo>
                  <a:pt x="735" y="387"/>
                </a:lnTo>
                <a:lnTo>
                  <a:pt x="728" y="388"/>
                </a:lnTo>
                <a:lnTo>
                  <a:pt x="722" y="390"/>
                </a:lnTo>
                <a:lnTo>
                  <a:pt x="719" y="388"/>
                </a:lnTo>
                <a:lnTo>
                  <a:pt x="715" y="387"/>
                </a:lnTo>
                <a:lnTo>
                  <a:pt x="712" y="388"/>
                </a:lnTo>
                <a:lnTo>
                  <a:pt x="709" y="389"/>
                </a:lnTo>
                <a:lnTo>
                  <a:pt x="707" y="389"/>
                </a:lnTo>
                <a:lnTo>
                  <a:pt x="706" y="388"/>
                </a:lnTo>
                <a:lnTo>
                  <a:pt x="705" y="387"/>
                </a:lnTo>
                <a:lnTo>
                  <a:pt x="706" y="386"/>
                </a:lnTo>
                <a:lnTo>
                  <a:pt x="707" y="383"/>
                </a:lnTo>
                <a:lnTo>
                  <a:pt x="709" y="380"/>
                </a:lnTo>
                <a:lnTo>
                  <a:pt x="705" y="380"/>
                </a:lnTo>
                <a:lnTo>
                  <a:pt x="702" y="382"/>
                </a:lnTo>
                <a:lnTo>
                  <a:pt x="701" y="385"/>
                </a:lnTo>
                <a:lnTo>
                  <a:pt x="701" y="389"/>
                </a:lnTo>
                <a:lnTo>
                  <a:pt x="702" y="390"/>
                </a:lnTo>
                <a:lnTo>
                  <a:pt x="703" y="391"/>
                </a:lnTo>
                <a:lnTo>
                  <a:pt x="706" y="393"/>
                </a:lnTo>
                <a:lnTo>
                  <a:pt x="709" y="394"/>
                </a:lnTo>
                <a:lnTo>
                  <a:pt x="714" y="394"/>
                </a:lnTo>
                <a:lnTo>
                  <a:pt x="719" y="395"/>
                </a:lnTo>
                <a:lnTo>
                  <a:pt x="723" y="397"/>
                </a:lnTo>
                <a:lnTo>
                  <a:pt x="728" y="399"/>
                </a:lnTo>
                <a:lnTo>
                  <a:pt x="727" y="402"/>
                </a:lnTo>
                <a:lnTo>
                  <a:pt x="728" y="403"/>
                </a:lnTo>
                <a:lnTo>
                  <a:pt x="731" y="404"/>
                </a:lnTo>
                <a:lnTo>
                  <a:pt x="735" y="403"/>
                </a:lnTo>
                <a:lnTo>
                  <a:pt x="740" y="405"/>
                </a:lnTo>
                <a:lnTo>
                  <a:pt x="746" y="408"/>
                </a:lnTo>
                <a:lnTo>
                  <a:pt x="740" y="408"/>
                </a:lnTo>
                <a:lnTo>
                  <a:pt x="735" y="410"/>
                </a:lnTo>
                <a:lnTo>
                  <a:pt x="729" y="410"/>
                </a:lnTo>
                <a:lnTo>
                  <a:pt x="723" y="408"/>
                </a:lnTo>
                <a:lnTo>
                  <a:pt x="714" y="405"/>
                </a:lnTo>
                <a:lnTo>
                  <a:pt x="704" y="403"/>
                </a:lnTo>
                <a:lnTo>
                  <a:pt x="694" y="399"/>
                </a:lnTo>
                <a:lnTo>
                  <a:pt x="685" y="396"/>
                </a:lnTo>
                <a:lnTo>
                  <a:pt x="674" y="393"/>
                </a:lnTo>
                <a:lnTo>
                  <a:pt x="664" y="391"/>
                </a:lnTo>
                <a:lnTo>
                  <a:pt x="661" y="390"/>
                </a:lnTo>
                <a:lnTo>
                  <a:pt x="659" y="389"/>
                </a:lnTo>
                <a:lnTo>
                  <a:pt x="656" y="387"/>
                </a:lnTo>
                <a:lnTo>
                  <a:pt x="654" y="385"/>
                </a:lnTo>
                <a:lnTo>
                  <a:pt x="645" y="381"/>
                </a:lnTo>
                <a:lnTo>
                  <a:pt x="637" y="380"/>
                </a:lnTo>
                <a:lnTo>
                  <a:pt x="626" y="378"/>
                </a:lnTo>
                <a:lnTo>
                  <a:pt x="614" y="375"/>
                </a:lnTo>
                <a:lnTo>
                  <a:pt x="603" y="372"/>
                </a:lnTo>
                <a:lnTo>
                  <a:pt x="593" y="369"/>
                </a:lnTo>
                <a:lnTo>
                  <a:pt x="594" y="370"/>
                </a:lnTo>
                <a:lnTo>
                  <a:pt x="597" y="371"/>
                </a:lnTo>
                <a:lnTo>
                  <a:pt x="598" y="371"/>
                </a:lnTo>
                <a:lnTo>
                  <a:pt x="593" y="369"/>
                </a:lnTo>
                <a:close/>
                <a:moveTo>
                  <a:pt x="771" y="423"/>
                </a:moveTo>
                <a:lnTo>
                  <a:pt x="764" y="421"/>
                </a:lnTo>
                <a:lnTo>
                  <a:pt x="759" y="419"/>
                </a:lnTo>
                <a:lnTo>
                  <a:pt x="752" y="419"/>
                </a:lnTo>
                <a:lnTo>
                  <a:pt x="745" y="419"/>
                </a:lnTo>
                <a:lnTo>
                  <a:pt x="744" y="419"/>
                </a:lnTo>
                <a:lnTo>
                  <a:pt x="742" y="418"/>
                </a:lnTo>
                <a:lnTo>
                  <a:pt x="740" y="416"/>
                </a:lnTo>
                <a:lnTo>
                  <a:pt x="740" y="415"/>
                </a:lnTo>
                <a:lnTo>
                  <a:pt x="740" y="413"/>
                </a:lnTo>
                <a:lnTo>
                  <a:pt x="742" y="413"/>
                </a:lnTo>
                <a:lnTo>
                  <a:pt x="742" y="413"/>
                </a:lnTo>
                <a:lnTo>
                  <a:pt x="744" y="413"/>
                </a:lnTo>
                <a:lnTo>
                  <a:pt x="753" y="413"/>
                </a:lnTo>
                <a:lnTo>
                  <a:pt x="763" y="414"/>
                </a:lnTo>
                <a:lnTo>
                  <a:pt x="767" y="416"/>
                </a:lnTo>
                <a:lnTo>
                  <a:pt x="770" y="419"/>
                </a:lnTo>
                <a:lnTo>
                  <a:pt x="775" y="421"/>
                </a:lnTo>
                <a:lnTo>
                  <a:pt x="780" y="423"/>
                </a:lnTo>
                <a:lnTo>
                  <a:pt x="776" y="424"/>
                </a:lnTo>
                <a:lnTo>
                  <a:pt x="771" y="423"/>
                </a:lnTo>
                <a:lnTo>
                  <a:pt x="769" y="423"/>
                </a:lnTo>
                <a:lnTo>
                  <a:pt x="771" y="423"/>
                </a:lnTo>
                <a:close/>
                <a:moveTo>
                  <a:pt x="776" y="523"/>
                </a:moveTo>
                <a:lnTo>
                  <a:pt x="772" y="526"/>
                </a:lnTo>
                <a:lnTo>
                  <a:pt x="768" y="527"/>
                </a:lnTo>
                <a:lnTo>
                  <a:pt x="764" y="527"/>
                </a:lnTo>
                <a:lnTo>
                  <a:pt x="761" y="524"/>
                </a:lnTo>
                <a:lnTo>
                  <a:pt x="754" y="526"/>
                </a:lnTo>
                <a:lnTo>
                  <a:pt x="748" y="528"/>
                </a:lnTo>
                <a:lnTo>
                  <a:pt x="746" y="528"/>
                </a:lnTo>
                <a:lnTo>
                  <a:pt x="745" y="527"/>
                </a:lnTo>
                <a:lnTo>
                  <a:pt x="744" y="526"/>
                </a:lnTo>
                <a:lnTo>
                  <a:pt x="745" y="524"/>
                </a:lnTo>
                <a:lnTo>
                  <a:pt x="747" y="523"/>
                </a:lnTo>
                <a:lnTo>
                  <a:pt x="751" y="522"/>
                </a:lnTo>
                <a:lnTo>
                  <a:pt x="756" y="521"/>
                </a:lnTo>
                <a:lnTo>
                  <a:pt x="763" y="520"/>
                </a:lnTo>
                <a:lnTo>
                  <a:pt x="769" y="521"/>
                </a:lnTo>
                <a:lnTo>
                  <a:pt x="776" y="523"/>
                </a:lnTo>
                <a:lnTo>
                  <a:pt x="771" y="523"/>
                </a:lnTo>
                <a:lnTo>
                  <a:pt x="776" y="523"/>
                </a:lnTo>
                <a:close/>
                <a:moveTo>
                  <a:pt x="709" y="501"/>
                </a:moveTo>
                <a:lnTo>
                  <a:pt x="705" y="502"/>
                </a:lnTo>
                <a:lnTo>
                  <a:pt x="702" y="503"/>
                </a:lnTo>
                <a:lnTo>
                  <a:pt x="699" y="503"/>
                </a:lnTo>
                <a:lnTo>
                  <a:pt x="698" y="503"/>
                </a:lnTo>
                <a:lnTo>
                  <a:pt x="697" y="502"/>
                </a:lnTo>
                <a:lnTo>
                  <a:pt x="697" y="501"/>
                </a:lnTo>
                <a:lnTo>
                  <a:pt x="699" y="499"/>
                </a:lnTo>
                <a:lnTo>
                  <a:pt x="703" y="499"/>
                </a:lnTo>
                <a:lnTo>
                  <a:pt x="706" y="499"/>
                </a:lnTo>
                <a:lnTo>
                  <a:pt x="709" y="501"/>
                </a:lnTo>
                <a:lnTo>
                  <a:pt x="705" y="501"/>
                </a:lnTo>
                <a:lnTo>
                  <a:pt x="709" y="501"/>
                </a:lnTo>
                <a:close/>
                <a:moveTo>
                  <a:pt x="693" y="410"/>
                </a:moveTo>
                <a:lnTo>
                  <a:pt x="689" y="412"/>
                </a:lnTo>
                <a:lnTo>
                  <a:pt x="684" y="412"/>
                </a:lnTo>
                <a:lnTo>
                  <a:pt x="681" y="412"/>
                </a:lnTo>
                <a:lnTo>
                  <a:pt x="679" y="411"/>
                </a:lnTo>
                <a:lnTo>
                  <a:pt x="677" y="410"/>
                </a:lnTo>
                <a:lnTo>
                  <a:pt x="677" y="406"/>
                </a:lnTo>
                <a:lnTo>
                  <a:pt x="677" y="405"/>
                </a:lnTo>
                <a:lnTo>
                  <a:pt x="678" y="404"/>
                </a:lnTo>
                <a:lnTo>
                  <a:pt x="679" y="405"/>
                </a:lnTo>
                <a:lnTo>
                  <a:pt x="681" y="405"/>
                </a:lnTo>
                <a:lnTo>
                  <a:pt x="687" y="407"/>
                </a:lnTo>
                <a:lnTo>
                  <a:pt x="693" y="410"/>
                </a:lnTo>
                <a:lnTo>
                  <a:pt x="690" y="411"/>
                </a:lnTo>
                <a:lnTo>
                  <a:pt x="693" y="410"/>
                </a:lnTo>
                <a:close/>
                <a:moveTo>
                  <a:pt x="679" y="520"/>
                </a:moveTo>
                <a:lnTo>
                  <a:pt x="673" y="520"/>
                </a:lnTo>
                <a:lnTo>
                  <a:pt x="666" y="520"/>
                </a:lnTo>
                <a:lnTo>
                  <a:pt x="666" y="518"/>
                </a:lnTo>
                <a:lnTo>
                  <a:pt x="666" y="515"/>
                </a:lnTo>
                <a:lnTo>
                  <a:pt x="663" y="514"/>
                </a:lnTo>
                <a:lnTo>
                  <a:pt x="659" y="512"/>
                </a:lnTo>
                <a:lnTo>
                  <a:pt x="665" y="512"/>
                </a:lnTo>
                <a:lnTo>
                  <a:pt x="674" y="512"/>
                </a:lnTo>
                <a:lnTo>
                  <a:pt x="684" y="513"/>
                </a:lnTo>
                <a:lnTo>
                  <a:pt x="690" y="516"/>
                </a:lnTo>
                <a:lnTo>
                  <a:pt x="688" y="516"/>
                </a:lnTo>
                <a:lnTo>
                  <a:pt x="687" y="518"/>
                </a:lnTo>
                <a:lnTo>
                  <a:pt x="692" y="520"/>
                </a:lnTo>
                <a:lnTo>
                  <a:pt x="697" y="521"/>
                </a:lnTo>
                <a:lnTo>
                  <a:pt x="693" y="522"/>
                </a:lnTo>
                <a:lnTo>
                  <a:pt x="688" y="523"/>
                </a:lnTo>
                <a:lnTo>
                  <a:pt x="686" y="524"/>
                </a:lnTo>
                <a:lnTo>
                  <a:pt x="684" y="523"/>
                </a:lnTo>
                <a:lnTo>
                  <a:pt x="681" y="522"/>
                </a:lnTo>
                <a:lnTo>
                  <a:pt x="679" y="520"/>
                </a:lnTo>
                <a:close/>
                <a:moveTo>
                  <a:pt x="682" y="506"/>
                </a:moveTo>
                <a:lnTo>
                  <a:pt x="679" y="505"/>
                </a:lnTo>
                <a:lnTo>
                  <a:pt x="677" y="505"/>
                </a:lnTo>
                <a:lnTo>
                  <a:pt x="674" y="502"/>
                </a:lnTo>
                <a:lnTo>
                  <a:pt x="672" y="498"/>
                </a:lnTo>
                <a:lnTo>
                  <a:pt x="670" y="496"/>
                </a:lnTo>
                <a:lnTo>
                  <a:pt x="666" y="496"/>
                </a:lnTo>
                <a:lnTo>
                  <a:pt x="663" y="496"/>
                </a:lnTo>
                <a:lnTo>
                  <a:pt x="660" y="497"/>
                </a:lnTo>
                <a:lnTo>
                  <a:pt x="652" y="495"/>
                </a:lnTo>
                <a:lnTo>
                  <a:pt x="644" y="493"/>
                </a:lnTo>
                <a:lnTo>
                  <a:pt x="640" y="491"/>
                </a:lnTo>
                <a:lnTo>
                  <a:pt x="635" y="491"/>
                </a:lnTo>
                <a:lnTo>
                  <a:pt x="633" y="490"/>
                </a:lnTo>
                <a:lnTo>
                  <a:pt x="631" y="489"/>
                </a:lnTo>
                <a:lnTo>
                  <a:pt x="630" y="488"/>
                </a:lnTo>
                <a:lnTo>
                  <a:pt x="629" y="487"/>
                </a:lnTo>
                <a:lnTo>
                  <a:pt x="644" y="488"/>
                </a:lnTo>
                <a:lnTo>
                  <a:pt x="659" y="490"/>
                </a:lnTo>
                <a:lnTo>
                  <a:pt x="665" y="490"/>
                </a:lnTo>
                <a:lnTo>
                  <a:pt x="672" y="490"/>
                </a:lnTo>
                <a:lnTo>
                  <a:pt x="676" y="490"/>
                </a:lnTo>
                <a:lnTo>
                  <a:pt x="678" y="490"/>
                </a:lnTo>
                <a:lnTo>
                  <a:pt x="679" y="490"/>
                </a:lnTo>
                <a:lnTo>
                  <a:pt x="680" y="490"/>
                </a:lnTo>
                <a:lnTo>
                  <a:pt x="681" y="491"/>
                </a:lnTo>
                <a:lnTo>
                  <a:pt x="681" y="494"/>
                </a:lnTo>
                <a:lnTo>
                  <a:pt x="680" y="494"/>
                </a:lnTo>
                <a:lnTo>
                  <a:pt x="678" y="495"/>
                </a:lnTo>
                <a:lnTo>
                  <a:pt x="677" y="496"/>
                </a:lnTo>
                <a:lnTo>
                  <a:pt x="677" y="496"/>
                </a:lnTo>
                <a:lnTo>
                  <a:pt x="678" y="497"/>
                </a:lnTo>
                <a:lnTo>
                  <a:pt x="679" y="497"/>
                </a:lnTo>
                <a:lnTo>
                  <a:pt x="681" y="497"/>
                </a:lnTo>
                <a:lnTo>
                  <a:pt x="682" y="497"/>
                </a:lnTo>
                <a:lnTo>
                  <a:pt x="685" y="497"/>
                </a:lnTo>
                <a:lnTo>
                  <a:pt x="687" y="497"/>
                </a:lnTo>
                <a:lnTo>
                  <a:pt x="689" y="498"/>
                </a:lnTo>
                <a:lnTo>
                  <a:pt x="692" y="498"/>
                </a:lnTo>
                <a:lnTo>
                  <a:pt x="693" y="498"/>
                </a:lnTo>
                <a:lnTo>
                  <a:pt x="694" y="499"/>
                </a:lnTo>
                <a:lnTo>
                  <a:pt x="694" y="499"/>
                </a:lnTo>
                <a:lnTo>
                  <a:pt x="693" y="501"/>
                </a:lnTo>
                <a:lnTo>
                  <a:pt x="690" y="502"/>
                </a:lnTo>
                <a:lnTo>
                  <a:pt x="687" y="502"/>
                </a:lnTo>
                <a:lnTo>
                  <a:pt x="688" y="504"/>
                </a:lnTo>
                <a:lnTo>
                  <a:pt x="690" y="505"/>
                </a:lnTo>
                <a:lnTo>
                  <a:pt x="693" y="506"/>
                </a:lnTo>
                <a:lnTo>
                  <a:pt x="696" y="506"/>
                </a:lnTo>
                <a:lnTo>
                  <a:pt x="703" y="509"/>
                </a:lnTo>
                <a:lnTo>
                  <a:pt x="709" y="512"/>
                </a:lnTo>
                <a:lnTo>
                  <a:pt x="702" y="512"/>
                </a:lnTo>
                <a:lnTo>
                  <a:pt x="695" y="512"/>
                </a:lnTo>
                <a:lnTo>
                  <a:pt x="688" y="510"/>
                </a:lnTo>
                <a:lnTo>
                  <a:pt x="682" y="506"/>
                </a:lnTo>
                <a:lnTo>
                  <a:pt x="685" y="509"/>
                </a:lnTo>
                <a:lnTo>
                  <a:pt x="682" y="506"/>
                </a:lnTo>
                <a:close/>
                <a:moveTo>
                  <a:pt x="734" y="515"/>
                </a:moveTo>
                <a:lnTo>
                  <a:pt x="731" y="515"/>
                </a:lnTo>
                <a:lnTo>
                  <a:pt x="730" y="515"/>
                </a:lnTo>
                <a:lnTo>
                  <a:pt x="729" y="515"/>
                </a:lnTo>
                <a:lnTo>
                  <a:pt x="728" y="514"/>
                </a:lnTo>
                <a:lnTo>
                  <a:pt x="725" y="512"/>
                </a:lnTo>
                <a:lnTo>
                  <a:pt x="721" y="511"/>
                </a:lnTo>
                <a:lnTo>
                  <a:pt x="718" y="510"/>
                </a:lnTo>
                <a:lnTo>
                  <a:pt x="714" y="510"/>
                </a:lnTo>
                <a:lnTo>
                  <a:pt x="711" y="507"/>
                </a:lnTo>
                <a:lnTo>
                  <a:pt x="709" y="504"/>
                </a:lnTo>
                <a:lnTo>
                  <a:pt x="712" y="505"/>
                </a:lnTo>
                <a:lnTo>
                  <a:pt x="717" y="506"/>
                </a:lnTo>
                <a:lnTo>
                  <a:pt x="721" y="506"/>
                </a:lnTo>
                <a:lnTo>
                  <a:pt x="726" y="509"/>
                </a:lnTo>
                <a:lnTo>
                  <a:pt x="729" y="509"/>
                </a:lnTo>
                <a:lnTo>
                  <a:pt x="734" y="510"/>
                </a:lnTo>
                <a:lnTo>
                  <a:pt x="735" y="511"/>
                </a:lnTo>
                <a:lnTo>
                  <a:pt x="736" y="512"/>
                </a:lnTo>
                <a:lnTo>
                  <a:pt x="735" y="514"/>
                </a:lnTo>
                <a:lnTo>
                  <a:pt x="734" y="515"/>
                </a:lnTo>
                <a:lnTo>
                  <a:pt x="734" y="515"/>
                </a:lnTo>
                <a:lnTo>
                  <a:pt x="734" y="515"/>
                </a:lnTo>
                <a:close/>
                <a:moveTo>
                  <a:pt x="739" y="535"/>
                </a:moveTo>
                <a:lnTo>
                  <a:pt x="747" y="534"/>
                </a:lnTo>
                <a:lnTo>
                  <a:pt x="754" y="532"/>
                </a:lnTo>
                <a:lnTo>
                  <a:pt x="759" y="530"/>
                </a:lnTo>
                <a:lnTo>
                  <a:pt x="764" y="531"/>
                </a:lnTo>
                <a:lnTo>
                  <a:pt x="767" y="532"/>
                </a:lnTo>
                <a:lnTo>
                  <a:pt x="768" y="534"/>
                </a:lnTo>
                <a:lnTo>
                  <a:pt x="767" y="535"/>
                </a:lnTo>
                <a:lnTo>
                  <a:pt x="763" y="536"/>
                </a:lnTo>
                <a:lnTo>
                  <a:pt x="758" y="537"/>
                </a:lnTo>
                <a:lnTo>
                  <a:pt x="752" y="537"/>
                </a:lnTo>
                <a:lnTo>
                  <a:pt x="745" y="536"/>
                </a:lnTo>
                <a:lnTo>
                  <a:pt x="739" y="535"/>
                </a:lnTo>
                <a:lnTo>
                  <a:pt x="744" y="535"/>
                </a:lnTo>
                <a:lnTo>
                  <a:pt x="739" y="535"/>
                </a:lnTo>
                <a:close/>
                <a:moveTo>
                  <a:pt x="770" y="539"/>
                </a:moveTo>
                <a:lnTo>
                  <a:pt x="768" y="539"/>
                </a:lnTo>
                <a:lnTo>
                  <a:pt x="767" y="537"/>
                </a:lnTo>
                <a:lnTo>
                  <a:pt x="767" y="536"/>
                </a:lnTo>
                <a:lnTo>
                  <a:pt x="768" y="535"/>
                </a:lnTo>
                <a:lnTo>
                  <a:pt x="770" y="535"/>
                </a:lnTo>
                <a:lnTo>
                  <a:pt x="771" y="534"/>
                </a:lnTo>
                <a:lnTo>
                  <a:pt x="779" y="531"/>
                </a:lnTo>
                <a:lnTo>
                  <a:pt x="787" y="530"/>
                </a:lnTo>
                <a:lnTo>
                  <a:pt x="791" y="530"/>
                </a:lnTo>
                <a:lnTo>
                  <a:pt x="794" y="531"/>
                </a:lnTo>
                <a:lnTo>
                  <a:pt x="795" y="532"/>
                </a:lnTo>
                <a:lnTo>
                  <a:pt x="797" y="534"/>
                </a:lnTo>
                <a:lnTo>
                  <a:pt x="801" y="535"/>
                </a:lnTo>
                <a:lnTo>
                  <a:pt x="803" y="534"/>
                </a:lnTo>
                <a:lnTo>
                  <a:pt x="805" y="535"/>
                </a:lnTo>
                <a:lnTo>
                  <a:pt x="808" y="535"/>
                </a:lnTo>
                <a:lnTo>
                  <a:pt x="810" y="536"/>
                </a:lnTo>
                <a:lnTo>
                  <a:pt x="811" y="537"/>
                </a:lnTo>
                <a:lnTo>
                  <a:pt x="810" y="539"/>
                </a:lnTo>
                <a:lnTo>
                  <a:pt x="809" y="539"/>
                </a:lnTo>
                <a:lnTo>
                  <a:pt x="806" y="539"/>
                </a:lnTo>
                <a:lnTo>
                  <a:pt x="804" y="539"/>
                </a:lnTo>
                <a:lnTo>
                  <a:pt x="795" y="538"/>
                </a:lnTo>
                <a:lnTo>
                  <a:pt x="787" y="538"/>
                </a:lnTo>
                <a:lnTo>
                  <a:pt x="778" y="538"/>
                </a:lnTo>
                <a:lnTo>
                  <a:pt x="770" y="539"/>
                </a:lnTo>
                <a:lnTo>
                  <a:pt x="772" y="539"/>
                </a:lnTo>
                <a:lnTo>
                  <a:pt x="770" y="539"/>
                </a:lnTo>
                <a:close/>
                <a:moveTo>
                  <a:pt x="801" y="564"/>
                </a:moveTo>
                <a:lnTo>
                  <a:pt x="800" y="562"/>
                </a:lnTo>
                <a:lnTo>
                  <a:pt x="801" y="561"/>
                </a:lnTo>
                <a:lnTo>
                  <a:pt x="803" y="561"/>
                </a:lnTo>
                <a:lnTo>
                  <a:pt x="804" y="561"/>
                </a:lnTo>
                <a:lnTo>
                  <a:pt x="810" y="562"/>
                </a:lnTo>
                <a:lnTo>
                  <a:pt x="816" y="563"/>
                </a:lnTo>
                <a:lnTo>
                  <a:pt x="812" y="564"/>
                </a:lnTo>
                <a:lnTo>
                  <a:pt x="808" y="566"/>
                </a:lnTo>
                <a:lnTo>
                  <a:pt x="804" y="565"/>
                </a:lnTo>
                <a:lnTo>
                  <a:pt x="801" y="564"/>
                </a:lnTo>
                <a:lnTo>
                  <a:pt x="801" y="564"/>
                </a:lnTo>
                <a:lnTo>
                  <a:pt x="801" y="564"/>
                </a:lnTo>
                <a:close/>
                <a:moveTo>
                  <a:pt x="843" y="574"/>
                </a:moveTo>
                <a:lnTo>
                  <a:pt x="837" y="576"/>
                </a:lnTo>
                <a:lnTo>
                  <a:pt x="833" y="573"/>
                </a:lnTo>
                <a:lnTo>
                  <a:pt x="830" y="572"/>
                </a:lnTo>
                <a:lnTo>
                  <a:pt x="830" y="572"/>
                </a:lnTo>
                <a:lnTo>
                  <a:pt x="832" y="571"/>
                </a:lnTo>
                <a:lnTo>
                  <a:pt x="833" y="571"/>
                </a:lnTo>
                <a:lnTo>
                  <a:pt x="835" y="571"/>
                </a:lnTo>
                <a:lnTo>
                  <a:pt x="838" y="571"/>
                </a:lnTo>
                <a:lnTo>
                  <a:pt x="839" y="571"/>
                </a:lnTo>
                <a:lnTo>
                  <a:pt x="842" y="572"/>
                </a:lnTo>
                <a:lnTo>
                  <a:pt x="844" y="573"/>
                </a:lnTo>
                <a:lnTo>
                  <a:pt x="843" y="574"/>
                </a:lnTo>
                <a:lnTo>
                  <a:pt x="842" y="574"/>
                </a:lnTo>
                <a:lnTo>
                  <a:pt x="843" y="574"/>
                </a:lnTo>
                <a:close/>
                <a:moveTo>
                  <a:pt x="833" y="560"/>
                </a:moveTo>
                <a:lnTo>
                  <a:pt x="835" y="556"/>
                </a:lnTo>
                <a:lnTo>
                  <a:pt x="836" y="554"/>
                </a:lnTo>
                <a:lnTo>
                  <a:pt x="837" y="552"/>
                </a:lnTo>
                <a:lnTo>
                  <a:pt x="839" y="552"/>
                </a:lnTo>
                <a:lnTo>
                  <a:pt x="843" y="553"/>
                </a:lnTo>
                <a:lnTo>
                  <a:pt x="849" y="557"/>
                </a:lnTo>
                <a:lnTo>
                  <a:pt x="842" y="560"/>
                </a:lnTo>
                <a:lnTo>
                  <a:pt x="833" y="560"/>
                </a:lnTo>
                <a:close/>
                <a:moveTo>
                  <a:pt x="869" y="586"/>
                </a:moveTo>
                <a:lnTo>
                  <a:pt x="869" y="587"/>
                </a:lnTo>
                <a:lnTo>
                  <a:pt x="868" y="588"/>
                </a:lnTo>
                <a:lnTo>
                  <a:pt x="867" y="589"/>
                </a:lnTo>
                <a:lnTo>
                  <a:pt x="866" y="589"/>
                </a:lnTo>
                <a:lnTo>
                  <a:pt x="863" y="588"/>
                </a:lnTo>
                <a:lnTo>
                  <a:pt x="861" y="586"/>
                </a:lnTo>
                <a:lnTo>
                  <a:pt x="862" y="584"/>
                </a:lnTo>
                <a:lnTo>
                  <a:pt x="866" y="581"/>
                </a:lnTo>
                <a:lnTo>
                  <a:pt x="862" y="581"/>
                </a:lnTo>
                <a:lnTo>
                  <a:pt x="858" y="582"/>
                </a:lnTo>
                <a:lnTo>
                  <a:pt x="857" y="584"/>
                </a:lnTo>
                <a:lnTo>
                  <a:pt x="854" y="586"/>
                </a:lnTo>
                <a:lnTo>
                  <a:pt x="853" y="585"/>
                </a:lnTo>
                <a:lnTo>
                  <a:pt x="851" y="585"/>
                </a:lnTo>
                <a:lnTo>
                  <a:pt x="850" y="584"/>
                </a:lnTo>
                <a:lnTo>
                  <a:pt x="850" y="582"/>
                </a:lnTo>
                <a:lnTo>
                  <a:pt x="851" y="579"/>
                </a:lnTo>
                <a:lnTo>
                  <a:pt x="853" y="578"/>
                </a:lnTo>
                <a:lnTo>
                  <a:pt x="857" y="577"/>
                </a:lnTo>
                <a:lnTo>
                  <a:pt x="861" y="576"/>
                </a:lnTo>
                <a:lnTo>
                  <a:pt x="869" y="574"/>
                </a:lnTo>
                <a:lnTo>
                  <a:pt x="876" y="574"/>
                </a:lnTo>
                <a:lnTo>
                  <a:pt x="872" y="579"/>
                </a:lnTo>
                <a:lnTo>
                  <a:pt x="869" y="586"/>
                </a:lnTo>
                <a:lnTo>
                  <a:pt x="868" y="585"/>
                </a:lnTo>
                <a:lnTo>
                  <a:pt x="869" y="586"/>
                </a:lnTo>
                <a:close/>
                <a:moveTo>
                  <a:pt x="872" y="589"/>
                </a:moveTo>
                <a:lnTo>
                  <a:pt x="876" y="587"/>
                </a:lnTo>
                <a:lnTo>
                  <a:pt x="882" y="587"/>
                </a:lnTo>
                <a:lnTo>
                  <a:pt x="885" y="587"/>
                </a:lnTo>
                <a:lnTo>
                  <a:pt x="887" y="587"/>
                </a:lnTo>
                <a:lnTo>
                  <a:pt x="890" y="588"/>
                </a:lnTo>
                <a:lnTo>
                  <a:pt x="890" y="590"/>
                </a:lnTo>
                <a:lnTo>
                  <a:pt x="890" y="593"/>
                </a:lnTo>
                <a:lnTo>
                  <a:pt x="887" y="593"/>
                </a:lnTo>
                <a:lnTo>
                  <a:pt x="885" y="593"/>
                </a:lnTo>
                <a:lnTo>
                  <a:pt x="882" y="593"/>
                </a:lnTo>
                <a:lnTo>
                  <a:pt x="876" y="590"/>
                </a:lnTo>
                <a:lnTo>
                  <a:pt x="872" y="589"/>
                </a:lnTo>
                <a:lnTo>
                  <a:pt x="877" y="588"/>
                </a:lnTo>
                <a:lnTo>
                  <a:pt x="872" y="589"/>
                </a:lnTo>
                <a:close/>
                <a:moveTo>
                  <a:pt x="913" y="631"/>
                </a:moveTo>
                <a:lnTo>
                  <a:pt x="910" y="632"/>
                </a:lnTo>
                <a:lnTo>
                  <a:pt x="905" y="635"/>
                </a:lnTo>
                <a:lnTo>
                  <a:pt x="902" y="635"/>
                </a:lnTo>
                <a:lnTo>
                  <a:pt x="901" y="635"/>
                </a:lnTo>
                <a:lnTo>
                  <a:pt x="900" y="634"/>
                </a:lnTo>
                <a:lnTo>
                  <a:pt x="900" y="632"/>
                </a:lnTo>
                <a:lnTo>
                  <a:pt x="903" y="631"/>
                </a:lnTo>
                <a:lnTo>
                  <a:pt x="907" y="628"/>
                </a:lnTo>
                <a:lnTo>
                  <a:pt x="903" y="629"/>
                </a:lnTo>
                <a:lnTo>
                  <a:pt x="902" y="630"/>
                </a:lnTo>
                <a:lnTo>
                  <a:pt x="896" y="630"/>
                </a:lnTo>
                <a:lnTo>
                  <a:pt x="890" y="631"/>
                </a:lnTo>
                <a:lnTo>
                  <a:pt x="885" y="631"/>
                </a:lnTo>
                <a:lnTo>
                  <a:pt x="882" y="630"/>
                </a:lnTo>
                <a:lnTo>
                  <a:pt x="880" y="629"/>
                </a:lnTo>
                <a:lnTo>
                  <a:pt x="879" y="626"/>
                </a:lnTo>
                <a:lnTo>
                  <a:pt x="880" y="624"/>
                </a:lnTo>
                <a:lnTo>
                  <a:pt x="882" y="623"/>
                </a:lnTo>
                <a:lnTo>
                  <a:pt x="884" y="622"/>
                </a:lnTo>
                <a:lnTo>
                  <a:pt x="886" y="621"/>
                </a:lnTo>
                <a:lnTo>
                  <a:pt x="892" y="621"/>
                </a:lnTo>
                <a:lnTo>
                  <a:pt x="895" y="621"/>
                </a:lnTo>
                <a:lnTo>
                  <a:pt x="896" y="623"/>
                </a:lnTo>
                <a:lnTo>
                  <a:pt x="899" y="624"/>
                </a:lnTo>
                <a:lnTo>
                  <a:pt x="900" y="624"/>
                </a:lnTo>
                <a:lnTo>
                  <a:pt x="902" y="623"/>
                </a:lnTo>
                <a:lnTo>
                  <a:pt x="903" y="623"/>
                </a:lnTo>
                <a:lnTo>
                  <a:pt x="905" y="623"/>
                </a:lnTo>
                <a:lnTo>
                  <a:pt x="907" y="626"/>
                </a:lnTo>
                <a:lnTo>
                  <a:pt x="909" y="627"/>
                </a:lnTo>
                <a:lnTo>
                  <a:pt x="913" y="627"/>
                </a:lnTo>
                <a:lnTo>
                  <a:pt x="917" y="627"/>
                </a:lnTo>
                <a:lnTo>
                  <a:pt x="918" y="628"/>
                </a:lnTo>
                <a:lnTo>
                  <a:pt x="917" y="629"/>
                </a:lnTo>
                <a:lnTo>
                  <a:pt x="916" y="630"/>
                </a:lnTo>
                <a:lnTo>
                  <a:pt x="913" y="631"/>
                </a:lnTo>
                <a:lnTo>
                  <a:pt x="913" y="631"/>
                </a:lnTo>
                <a:lnTo>
                  <a:pt x="913" y="631"/>
                </a:lnTo>
                <a:close/>
                <a:moveTo>
                  <a:pt x="898" y="593"/>
                </a:moveTo>
                <a:lnTo>
                  <a:pt x="903" y="593"/>
                </a:lnTo>
                <a:lnTo>
                  <a:pt x="909" y="595"/>
                </a:lnTo>
                <a:lnTo>
                  <a:pt x="912" y="595"/>
                </a:lnTo>
                <a:lnTo>
                  <a:pt x="916" y="596"/>
                </a:lnTo>
                <a:lnTo>
                  <a:pt x="916" y="597"/>
                </a:lnTo>
                <a:lnTo>
                  <a:pt x="916" y="598"/>
                </a:lnTo>
                <a:lnTo>
                  <a:pt x="915" y="598"/>
                </a:lnTo>
                <a:lnTo>
                  <a:pt x="915" y="598"/>
                </a:lnTo>
                <a:lnTo>
                  <a:pt x="911" y="599"/>
                </a:lnTo>
                <a:lnTo>
                  <a:pt x="909" y="598"/>
                </a:lnTo>
                <a:lnTo>
                  <a:pt x="903" y="596"/>
                </a:lnTo>
                <a:lnTo>
                  <a:pt x="898" y="593"/>
                </a:lnTo>
                <a:lnTo>
                  <a:pt x="901" y="594"/>
                </a:lnTo>
                <a:lnTo>
                  <a:pt x="898" y="593"/>
                </a:lnTo>
                <a:close/>
                <a:moveTo>
                  <a:pt x="902" y="578"/>
                </a:moveTo>
                <a:lnTo>
                  <a:pt x="918" y="579"/>
                </a:lnTo>
                <a:lnTo>
                  <a:pt x="934" y="581"/>
                </a:lnTo>
                <a:lnTo>
                  <a:pt x="933" y="582"/>
                </a:lnTo>
                <a:lnTo>
                  <a:pt x="929" y="584"/>
                </a:lnTo>
                <a:lnTo>
                  <a:pt x="925" y="584"/>
                </a:lnTo>
                <a:lnTo>
                  <a:pt x="919" y="582"/>
                </a:lnTo>
                <a:lnTo>
                  <a:pt x="909" y="581"/>
                </a:lnTo>
                <a:lnTo>
                  <a:pt x="902" y="578"/>
                </a:lnTo>
                <a:close/>
                <a:moveTo>
                  <a:pt x="944" y="607"/>
                </a:moveTo>
                <a:lnTo>
                  <a:pt x="941" y="607"/>
                </a:lnTo>
                <a:lnTo>
                  <a:pt x="938" y="609"/>
                </a:lnTo>
                <a:lnTo>
                  <a:pt x="936" y="609"/>
                </a:lnTo>
                <a:lnTo>
                  <a:pt x="934" y="610"/>
                </a:lnTo>
                <a:lnTo>
                  <a:pt x="933" y="609"/>
                </a:lnTo>
                <a:lnTo>
                  <a:pt x="933" y="609"/>
                </a:lnTo>
                <a:lnTo>
                  <a:pt x="934" y="607"/>
                </a:lnTo>
                <a:lnTo>
                  <a:pt x="935" y="606"/>
                </a:lnTo>
                <a:lnTo>
                  <a:pt x="937" y="605"/>
                </a:lnTo>
                <a:lnTo>
                  <a:pt x="938" y="605"/>
                </a:lnTo>
                <a:lnTo>
                  <a:pt x="943" y="604"/>
                </a:lnTo>
                <a:lnTo>
                  <a:pt x="948" y="604"/>
                </a:lnTo>
                <a:lnTo>
                  <a:pt x="949" y="606"/>
                </a:lnTo>
                <a:lnTo>
                  <a:pt x="948" y="607"/>
                </a:lnTo>
                <a:lnTo>
                  <a:pt x="945" y="607"/>
                </a:lnTo>
                <a:lnTo>
                  <a:pt x="944" y="607"/>
                </a:lnTo>
                <a:lnTo>
                  <a:pt x="944" y="607"/>
                </a:lnTo>
                <a:lnTo>
                  <a:pt x="944" y="607"/>
                </a:lnTo>
                <a:close/>
                <a:moveTo>
                  <a:pt x="901" y="471"/>
                </a:moveTo>
                <a:lnTo>
                  <a:pt x="900" y="471"/>
                </a:lnTo>
                <a:lnTo>
                  <a:pt x="899" y="470"/>
                </a:lnTo>
                <a:lnTo>
                  <a:pt x="900" y="469"/>
                </a:lnTo>
                <a:lnTo>
                  <a:pt x="901" y="469"/>
                </a:lnTo>
                <a:lnTo>
                  <a:pt x="903" y="468"/>
                </a:lnTo>
                <a:lnTo>
                  <a:pt x="907" y="468"/>
                </a:lnTo>
                <a:lnTo>
                  <a:pt x="911" y="468"/>
                </a:lnTo>
                <a:lnTo>
                  <a:pt x="915" y="469"/>
                </a:lnTo>
                <a:lnTo>
                  <a:pt x="919" y="470"/>
                </a:lnTo>
                <a:lnTo>
                  <a:pt x="924" y="472"/>
                </a:lnTo>
                <a:lnTo>
                  <a:pt x="932" y="476"/>
                </a:lnTo>
                <a:lnTo>
                  <a:pt x="940" y="478"/>
                </a:lnTo>
                <a:lnTo>
                  <a:pt x="944" y="479"/>
                </a:lnTo>
                <a:lnTo>
                  <a:pt x="949" y="481"/>
                </a:lnTo>
                <a:lnTo>
                  <a:pt x="952" y="483"/>
                </a:lnTo>
                <a:lnTo>
                  <a:pt x="954" y="486"/>
                </a:lnTo>
                <a:lnTo>
                  <a:pt x="941" y="483"/>
                </a:lnTo>
                <a:lnTo>
                  <a:pt x="927" y="480"/>
                </a:lnTo>
                <a:lnTo>
                  <a:pt x="915" y="477"/>
                </a:lnTo>
                <a:lnTo>
                  <a:pt x="901" y="471"/>
                </a:lnTo>
                <a:lnTo>
                  <a:pt x="903" y="472"/>
                </a:lnTo>
                <a:lnTo>
                  <a:pt x="907" y="474"/>
                </a:lnTo>
                <a:lnTo>
                  <a:pt x="908" y="474"/>
                </a:lnTo>
                <a:lnTo>
                  <a:pt x="901" y="471"/>
                </a:lnTo>
                <a:close/>
                <a:moveTo>
                  <a:pt x="982" y="605"/>
                </a:moveTo>
                <a:lnTo>
                  <a:pt x="978" y="603"/>
                </a:lnTo>
                <a:lnTo>
                  <a:pt x="976" y="601"/>
                </a:lnTo>
                <a:lnTo>
                  <a:pt x="976" y="599"/>
                </a:lnTo>
                <a:lnTo>
                  <a:pt x="976" y="598"/>
                </a:lnTo>
                <a:lnTo>
                  <a:pt x="978" y="597"/>
                </a:lnTo>
                <a:lnTo>
                  <a:pt x="981" y="597"/>
                </a:lnTo>
                <a:lnTo>
                  <a:pt x="983" y="597"/>
                </a:lnTo>
                <a:lnTo>
                  <a:pt x="984" y="598"/>
                </a:lnTo>
                <a:lnTo>
                  <a:pt x="985" y="599"/>
                </a:lnTo>
                <a:lnTo>
                  <a:pt x="986" y="601"/>
                </a:lnTo>
                <a:lnTo>
                  <a:pt x="984" y="604"/>
                </a:lnTo>
                <a:lnTo>
                  <a:pt x="982" y="605"/>
                </a:lnTo>
                <a:lnTo>
                  <a:pt x="981" y="604"/>
                </a:lnTo>
                <a:lnTo>
                  <a:pt x="982" y="605"/>
                </a:lnTo>
                <a:close/>
                <a:moveTo>
                  <a:pt x="1000" y="627"/>
                </a:moveTo>
                <a:lnTo>
                  <a:pt x="998" y="626"/>
                </a:lnTo>
                <a:lnTo>
                  <a:pt x="998" y="624"/>
                </a:lnTo>
                <a:lnTo>
                  <a:pt x="998" y="623"/>
                </a:lnTo>
                <a:lnTo>
                  <a:pt x="999" y="622"/>
                </a:lnTo>
                <a:lnTo>
                  <a:pt x="1001" y="620"/>
                </a:lnTo>
                <a:lnTo>
                  <a:pt x="1003" y="618"/>
                </a:lnTo>
                <a:lnTo>
                  <a:pt x="1007" y="617"/>
                </a:lnTo>
                <a:lnTo>
                  <a:pt x="1011" y="615"/>
                </a:lnTo>
                <a:lnTo>
                  <a:pt x="1015" y="617"/>
                </a:lnTo>
                <a:lnTo>
                  <a:pt x="1018" y="618"/>
                </a:lnTo>
                <a:lnTo>
                  <a:pt x="1015" y="621"/>
                </a:lnTo>
                <a:lnTo>
                  <a:pt x="1010" y="624"/>
                </a:lnTo>
                <a:lnTo>
                  <a:pt x="1005" y="627"/>
                </a:lnTo>
                <a:lnTo>
                  <a:pt x="1000" y="627"/>
                </a:lnTo>
                <a:lnTo>
                  <a:pt x="1000" y="627"/>
                </a:lnTo>
                <a:lnTo>
                  <a:pt x="1000" y="627"/>
                </a:lnTo>
                <a:close/>
                <a:moveTo>
                  <a:pt x="1018" y="630"/>
                </a:moveTo>
                <a:lnTo>
                  <a:pt x="1016" y="630"/>
                </a:lnTo>
                <a:lnTo>
                  <a:pt x="1012" y="630"/>
                </a:lnTo>
                <a:lnTo>
                  <a:pt x="1012" y="628"/>
                </a:lnTo>
                <a:lnTo>
                  <a:pt x="1012" y="626"/>
                </a:lnTo>
                <a:lnTo>
                  <a:pt x="1015" y="627"/>
                </a:lnTo>
                <a:lnTo>
                  <a:pt x="1017" y="627"/>
                </a:lnTo>
                <a:lnTo>
                  <a:pt x="1018" y="627"/>
                </a:lnTo>
                <a:lnTo>
                  <a:pt x="1019" y="627"/>
                </a:lnTo>
                <a:lnTo>
                  <a:pt x="1020" y="628"/>
                </a:lnTo>
                <a:lnTo>
                  <a:pt x="1020" y="629"/>
                </a:lnTo>
                <a:lnTo>
                  <a:pt x="1019" y="630"/>
                </a:lnTo>
                <a:lnTo>
                  <a:pt x="1018" y="630"/>
                </a:lnTo>
                <a:lnTo>
                  <a:pt x="1018" y="630"/>
                </a:lnTo>
                <a:lnTo>
                  <a:pt x="1018" y="630"/>
                </a:lnTo>
                <a:close/>
                <a:moveTo>
                  <a:pt x="1072" y="664"/>
                </a:moveTo>
                <a:lnTo>
                  <a:pt x="1065" y="665"/>
                </a:lnTo>
                <a:lnTo>
                  <a:pt x="1058" y="669"/>
                </a:lnTo>
                <a:lnTo>
                  <a:pt x="1056" y="670"/>
                </a:lnTo>
                <a:lnTo>
                  <a:pt x="1055" y="669"/>
                </a:lnTo>
                <a:lnTo>
                  <a:pt x="1055" y="668"/>
                </a:lnTo>
                <a:lnTo>
                  <a:pt x="1056" y="665"/>
                </a:lnTo>
                <a:lnTo>
                  <a:pt x="1058" y="663"/>
                </a:lnTo>
                <a:lnTo>
                  <a:pt x="1060" y="661"/>
                </a:lnTo>
                <a:lnTo>
                  <a:pt x="1064" y="660"/>
                </a:lnTo>
                <a:lnTo>
                  <a:pt x="1066" y="659"/>
                </a:lnTo>
                <a:lnTo>
                  <a:pt x="1069" y="659"/>
                </a:lnTo>
                <a:lnTo>
                  <a:pt x="1072" y="660"/>
                </a:lnTo>
                <a:lnTo>
                  <a:pt x="1073" y="661"/>
                </a:lnTo>
                <a:lnTo>
                  <a:pt x="1074" y="663"/>
                </a:lnTo>
                <a:lnTo>
                  <a:pt x="1074" y="664"/>
                </a:lnTo>
                <a:lnTo>
                  <a:pt x="1072" y="664"/>
                </a:lnTo>
                <a:lnTo>
                  <a:pt x="1071" y="664"/>
                </a:lnTo>
                <a:lnTo>
                  <a:pt x="1072" y="664"/>
                </a:lnTo>
                <a:close/>
                <a:moveTo>
                  <a:pt x="1068" y="637"/>
                </a:moveTo>
                <a:lnTo>
                  <a:pt x="1057" y="636"/>
                </a:lnTo>
                <a:lnTo>
                  <a:pt x="1045" y="635"/>
                </a:lnTo>
                <a:lnTo>
                  <a:pt x="1041" y="635"/>
                </a:lnTo>
                <a:lnTo>
                  <a:pt x="1035" y="635"/>
                </a:lnTo>
                <a:lnTo>
                  <a:pt x="1036" y="631"/>
                </a:lnTo>
                <a:lnTo>
                  <a:pt x="1036" y="629"/>
                </a:lnTo>
                <a:lnTo>
                  <a:pt x="1032" y="630"/>
                </a:lnTo>
                <a:lnTo>
                  <a:pt x="1026" y="630"/>
                </a:lnTo>
                <a:lnTo>
                  <a:pt x="1026" y="626"/>
                </a:lnTo>
                <a:lnTo>
                  <a:pt x="1024" y="623"/>
                </a:lnTo>
                <a:lnTo>
                  <a:pt x="1026" y="621"/>
                </a:lnTo>
                <a:lnTo>
                  <a:pt x="1028" y="621"/>
                </a:lnTo>
                <a:lnTo>
                  <a:pt x="1031" y="622"/>
                </a:lnTo>
                <a:lnTo>
                  <a:pt x="1033" y="623"/>
                </a:lnTo>
                <a:lnTo>
                  <a:pt x="1036" y="623"/>
                </a:lnTo>
                <a:lnTo>
                  <a:pt x="1039" y="624"/>
                </a:lnTo>
                <a:lnTo>
                  <a:pt x="1039" y="627"/>
                </a:lnTo>
                <a:lnTo>
                  <a:pt x="1039" y="628"/>
                </a:lnTo>
                <a:lnTo>
                  <a:pt x="1040" y="629"/>
                </a:lnTo>
                <a:lnTo>
                  <a:pt x="1042" y="628"/>
                </a:lnTo>
                <a:lnTo>
                  <a:pt x="1048" y="630"/>
                </a:lnTo>
                <a:lnTo>
                  <a:pt x="1053" y="631"/>
                </a:lnTo>
                <a:lnTo>
                  <a:pt x="1059" y="631"/>
                </a:lnTo>
                <a:lnTo>
                  <a:pt x="1065" y="631"/>
                </a:lnTo>
                <a:lnTo>
                  <a:pt x="1075" y="635"/>
                </a:lnTo>
                <a:lnTo>
                  <a:pt x="1084" y="638"/>
                </a:lnTo>
                <a:lnTo>
                  <a:pt x="1081" y="639"/>
                </a:lnTo>
                <a:lnTo>
                  <a:pt x="1076" y="639"/>
                </a:lnTo>
                <a:lnTo>
                  <a:pt x="1073" y="638"/>
                </a:lnTo>
                <a:lnTo>
                  <a:pt x="1068" y="637"/>
                </a:lnTo>
                <a:lnTo>
                  <a:pt x="1068" y="637"/>
                </a:lnTo>
                <a:lnTo>
                  <a:pt x="1068" y="637"/>
                </a:lnTo>
                <a:close/>
                <a:moveTo>
                  <a:pt x="1093" y="638"/>
                </a:moveTo>
                <a:lnTo>
                  <a:pt x="1097" y="638"/>
                </a:lnTo>
                <a:lnTo>
                  <a:pt x="1100" y="638"/>
                </a:lnTo>
                <a:lnTo>
                  <a:pt x="1104" y="639"/>
                </a:lnTo>
                <a:lnTo>
                  <a:pt x="1107" y="642"/>
                </a:lnTo>
                <a:lnTo>
                  <a:pt x="1102" y="642"/>
                </a:lnTo>
                <a:lnTo>
                  <a:pt x="1099" y="642"/>
                </a:lnTo>
                <a:lnTo>
                  <a:pt x="1096" y="640"/>
                </a:lnTo>
                <a:lnTo>
                  <a:pt x="1093" y="638"/>
                </a:lnTo>
                <a:close/>
                <a:moveTo>
                  <a:pt x="1116" y="638"/>
                </a:moveTo>
                <a:lnTo>
                  <a:pt x="1113" y="637"/>
                </a:lnTo>
                <a:lnTo>
                  <a:pt x="1109" y="635"/>
                </a:lnTo>
                <a:lnTo>
                  <a:pt x="1107" y="635"/>
                </a:lnTo>
                <a:lnTo>
                  <a:pt x="1105" y="635"/>
                </a:lnTo>
                <a:lnTo>
                  <a:pt x="1104" y="635"/>
                </a:lnTo>
                <a:lnTo>
                  <a:pt x="1102" y="634"/>
                </a:lnTo>
                <a:lnTo>
                  <a:pt x="1102" y="632"/>
                </a:lnTo>
                <a:lnTo>
                  <a:pt x="1102" y="631"/>
                </a:lnTo>
                <a:lnTo>
                  <a:pt x="1105" y="630"/>
                </a:lnTo>
                <a:lnTo>
                  <a:pt x="1107" y="630"/>
                </a:lnTo>
                <a:lnTo>
                  <a:pt x="1109" y="630"/>
                </a:lnTo>
                <a:lnTo>
                  <a:pt x="1113" y="631"/>
                </a:lnTo>
                <a:lnTo>
                  <a:pt x="1114" y="634"/>
                </a:lnTo>
                <a:lnTo>
                  <a:pt x="1116" y="636"/>
                </a:lnTo>
                <a:lnTo>
                  <a:pt x="1116" y="637"/>
                </a:lnTo>
                <a:lnTo>
                  <a:pt x="1116" y="638"/>
                </a:lnTo>
                <a:lnTo>
                  <a:pt x="1116" y="638"/>
                </a:lnTo>
                <a:lnTo>
                  <a:pt x="1116" y="638"/>
                </a:lnTo>
                <a:close/>
                <a:moveTo>
                  <a:pt x="1147" y="651"/>
                </a:moveTo>
                <a:lnTo>
                  <a:pt x="1150" y="648"/>
                </a:lnTo>
                <a:lnTo>
                  <a:pt x="1154" y="647"/>
                </a:lnTo>
                <a:lnTo>
                  <a:pt x="1158" y="646"/>
                </a:lnTo>
                <a:lnTo>
                  <a:pt x="1163" y="646"/>
                </a:lnTo>
                <a:lnTo>
                  <a:pt x="1159" y="648"/>
                </a:lnTo>
                <a:lnTo>
                  <a:pt x="1155" y="651"/>
                </a:lnTo>
                <a:lnTo>
                  <a:pt x="1151" y="651"/>
                </a:lnTo>
                <a:lnTo>
                  <a:pt x="1147" y="651"/>
                </a:lnTo>
                <a:close/>
                <a:moveTo>
                  <a:pt x="1180" y="642"/>
                </a:moveTo>
                <a:lnTo>
                  <a:pt x="1179" y="642"/>
                </a:lnTo>
                <a:lnTo>
                  <a:pt x="1179" y="642"/>
                </a:lnTo>
                <a:lnTo>
                  <a:pt x="1180" y="639"/>
                </a:lnTo>
                <a:lnTo>
                  <a:pt x="1180" y="638"/>
                </a:lnTo>
                <a:lnTo>
                  <a:pt x="1179" y="638"/>
                </a:lnTo>
                <a:lnTo>
                  <a:pt x="1178" y="637"/>
                </a:lnTo>
                <a:lnTo>
                  <a:pt x="1176" y="636"/>
                </a:lnTo>
                <a:lnTo>
                  <a:pt x="1175" y="635"/>
                </a:lnTo>
                <a:lnTo>
                  <a:pt x="1174" y="634"/>
                </a:lnTo>
                <a:lnTo>
                  <a:pt x="1175" y="631"/>
                </a:lnTo>
                <a:lnTo>
                  <a:pt x="1176" y="630"/>
                </a:lnTo>
                <a:lnTo>
                  <a:pt x="1178" y="629"/>
                </a:lnTo>
                <a:lnTo>
                  <a:pt x="1180" y="629"/>
                </a:lnTo>
                <a:lnTo>
                  <a:pt x="1181" y="629"/>
                </a:lnTo>
                <a:lnTo>
                  <a:pt x="1182" y="634"/>
                </a:lnTo>
                <a:lnTo>
                  <a:pt x="1181" y="638"/>
                </a:lnTo>
                <a:lnTo>
                  <a:pt x="1184" y="638"/>
                </a:lnTo>
                <a:lnTo>
                  <a:pt x="1189" y="638"/>
                </a:lnTo>
                <a:lnTo>
                  <a:pt x="1188" y="640"/>
                </a:lnTo>
                <a:lnTo>
                  <a:pt x="1185" y="642"/>
                </a:lnTo>
                <a:lnTo>
                  <a:pt x="1182" y="642"/>
                </a:lnTo>
                <a:lnTo>
                  <a:pt x="1180" y="642"/>
                </a:lnTo>
                <a:close/>
                <a:moveTo>
                  <a:pt x="1402" y="227"/>
                </a:moveTo>
                <a:lnTo>
                  <a:pt x="1396" y="233"/>
                </a:lnTo>
                <a:lnTo>
                  <a:pt x="1388" y="240"/>
                </a:lnTo>
                <a:lnTo>
                  <a:pt x="1388" y="237"/>
                </a:lnTo>
                <a:lnTo>
                  <a:pt x="1389" y="232"/>
                </a:lnTo>
                <a:lnTo>
                  <a:pt x="1390" y="229"/>
                </a:lnTo>
                <a:lnTo>
                  <a:pt x="1393" y="227"/>
                </a:lnTo>
                <a:lnTo>
                  <a:pt x="1396" y="225"/>
                </a:lnTo>
                <a:lnTo>
                  <a:pt x="1399" y="224"/>
                </a:lnTo>
                <a:lnTo>
                  <a:pt x="1401" y="224"/>
                </a:lnTo>
                <a:lnTo>
                  <a:pt x="1402" y="224"/>
                </a:lnTo>
                <a:lnTo>
                  <a:pt x="1402" y="225"/>
                </a:lnTo>
                <a:lnTo>
                  <a:pt x="1402" y="227"/>
                </a:lnTo>
                <a:lnTo>
                  <a:pt x="1399" y="228"/>
                </a:lnTo>
                <a:lnTo>
                  <a:pt x="1402" y="227"/>
                </a:lnTo>
                <a:close/>
                <a:moveTo>
                  <a:pt x="1444" y="358"/>
                </a:moveTo>
                <a:lnTo>
                  <a:pt x="1442" y="360"/>
                </a:lnTo>
                <a:lnTo>
                  <a:pt x="1439" y="361"/>
                </a:lnTo>
                <a:lnTo>
                  <a:pt x="1436" y="362"/>
                </a:lnTo>
                <a:lnTo>
                  <a:pt x="1434" y="361"/>
                </a:lnTo>
                <a:lnTo>
                  <a:pt x="1432" y="358"/>
                </a:lnTo>
                <a:lnTo>
                  <a:pt x="1432" y="356"/>
                </a:lnTo>
                <a:lnTo>
                  <a:pt x="1435" y="354"/>
                </a:lnTo>
                <a:lnTo>
                  <a:pt x="1436" y="352"/>
                </a:lnTo>
                <a:lnTo>
                  <a:pt x="1438" y="350"/>
                </a:lnTo>
                <a:lnTo>
                  <a:pt x="1440" y="350"/>
                </a:lnTo>
                <a:lnTo>
                  <a:pt x="1443" y="350"/>
                </a:lnTo>
                <a:lnTo>
                  <a:pt x="1445" y="352"/>
                </a:lnTo>
                <a:lnTo>
                  <a:pt x="1446" y="354"/>
                </a:lnTo>
                <a:lnTo>
                  <a:pt x="1446" y="355"/>
                </a:lnTo>
                <a:lnTo>
                  <a:pt x="1446" y="357"/>
                </a:lnTo>
                <a:lnTo>
                  <a:pt x="1444" y="358"/>
                </a:lnTo>
                <a:lnTo>
                  <a:pt x="1445" y="358"/>
                </a:lnTo>
                <a:lnTo>
                  <a:pt x="1444" y="3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C9EF83-B884-0E4B-992B-E38753B2E34F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6CDCA8E4-23D1-E240-89A2-599814A7570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9D42FD6-3041-4D40-876A-4EB7F807221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42">
            <a:extLst>
              <a:ext uri="{FF2B5EF4-FFF2-40B4-BE49-F238E27FC236}">
                <a16:creationId xmlns:a16="http://schemas.microsoft.com/office/drawing/2014/main" id="{9F9D3398-7B64-D043-B3C5-C6F5412530E4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599506" y="522090"/>
            <a:ext cx="23114568" cy="8094612"/>
          </a:xfrm>
          <a:custGeom>
            <a:avLst/>
            <a:gdLst>
              <a:gd name="T0" fmla="*/ 804 w 1291"/>
              <a:gd name="T1" fmla="*/ 300 h 642"/>
              <a:gd name="T2" fmla="*/ 834 w 1291"/>
              <a:gd name="T3" fmla="*/ 269 h 642"/>
              <a:gd name="T4" fmla="*/ 666 w 1291"/>
              <a:gd name="T5" fmla="*/ 248 h 642"/>
              <a:gd name="T6" fmla="*/ 811 w 1291"/>
              <a:gd name="T7" fmla="*/ 230 h 642"/>
              <a:gd name="T8" fmla="*/ 946 w 1291"/>
              <a:gd name="T9" fmla="*/ 240 h 642"/>
              <a:gd name="T10" fmla="*/ 1057 w 1291"/>
              <a:gd name="T11" fmla="*/ 273 h 642"/>
              <a:gd name="T12" fmla="*/ 1066 w 1291"/>
              <a:gd name="T13" fmla="*/ 232 h 642"/>
              <a:gd name="T14" fmla="*/ 969 w 1291"/>
              <a:gd name="T15" fmla="*/ 179 h 642"/>
              <a:gd name="T16" fmla="*/ 745 w 1291"/>
              <a:gd name="T17" fmla="*/ 46 h 642"/>
              <a:gd name="T18" fmla="*/ 223 w 1291"/>
              <a:gd name="T19" fmla="*/ 76 h 642"/>
              <a:gd name="T20" fmla="*/ 188 w 1291"/>
              <a:gd name="T21" fmla="*/ 114 h 642"/>
              <a:gd name="T22" fmla="*/ 56 w 1291"/>
              <a:gd name="T23" fmla="*/ 298 h 642"/>
              <a:gd name="T24" fmla="*/ 209 w 1291"/>
              <a:gd name="T25" fmla="*/ 385 h 642"/>
              <a:gd name="T26" fmla="*/ 158 w 1291"/>
              <a:gd name="T27" fmla="*/ 535 h 642"/>
              <a:gd name="T28" fmla="*/ 204 w 1291"/>
              <a:gd name="T29" fmla="*/ 633 h 642"/>
              <a:gd name="T30" fmla="*/ 273 w 1291"/>
              <a:gd name="T31" fmla="*/ 599 h 642"/>
              <a:gd name="T32" fmla="*/ 299 w 1291"/>
              <a:gd name="T33" fmla="*/ 609 h 642"/>
              <a:gd name="T34" fmla="*/ 470 w 1291"/>
              <a:gd name="T35" fmla="*/ 550 h 642"/>
              <a:gd name="T36" fmla="*/ 544 w 1291"/>
              <a:gd name="T37" fmla="*/ 521 h 642"/>
              <a:gd name="T38" fmla="*/ 619 w 1291"/>
              <a:gd name="T39" fmla="*/ 513 h 642"/>
              <a:gd name="T40" fmla="*/ 835 w 1291"/>
              <a:gd name="T41" fmla="*/ 480 h 642"/>
              <a:gd name="T42" fmla="*/ 952 w 1291"/>
              <a:gd name="T43" fmla="*/ 473 h 642"/>
              <a:gd name="T44" fmla="*/ 1071 w 1291"/>
              <a:gd name="T45" fmla="*/ 500 h 642"/>
              <a:gd name="T46" fmla="*/ 1189 w 1291"/>
              <a:gd name="T47" fmla="*/ 545 h 642"/>
              <a:gd name="T48" fmla="*/ 1131 w 1291"/>
              <a:gd name="T49" fmla="*/ 452 h 642"/>
              <a:gd name="T50" fmla="*/ 960 w 1291"/>
              <a:gd name="T51" fmla="*/ 427 h 642"/>
              <a:gd name="T52" fmla="*/ 689 w 1291"/>
              <a:gd name="T53" fmla="*/ 459 h 642"/>
              <a:gd name="T54" fmla="*/ 446 w 1291"/>
              <a:gd name="T55" fmla="*/ 508 h 642"/>
              <a:gd name="T56" fmla="*/ 185 w 1291"/>
              <a:gd name="T57" fmla="*/ 564 h 642"/>
              <a:gd name="T58" fmla="*/ 327 w 1291"/>
              <a:gd name="T59" fmla="*/ 497 h 642"/>
              <a:gd name="T60" fmla="*/ 492 w 1291"/>
              <a:gd name="T61" fmla="*/ 456 h 642"/>
              <a:gd name="T62" fmla="*/ 640 w 1291"/>
              <a:gd name="T63" fmla="*/ 460 h 642"/>
              <a:gd name="T64" fmla="*/ 670 w 1291"/>
              <a:gd name="T65" fmla="*/ 401 h 642"/>
              <a:gd name="T66" fmla="*/ 1114 w 1291"/>
              <a:gd name="T67" fmla="*/ 386 h 642"/>
              <a:gd name="T68" fmla="*/ 1048 w 1291"/>
              <a:gd name="T69" fmla="*/ 427 h 642"/>
              <a:gd name="T70" fmla="*/ 1284 w 1291"/>
              <a:gd name="T71" fmla="*/ 376 h 642"/>
              <a:gd name="T72" fmla="*/ 165 w 1291"/>
              <a:gd name="T73" fmla="*/ 428 h 642"/>
              <a:gd name="T74" fmla="*/ 462 w 1291"/>
              <a:gd name="T75" fmla="*/ 336 h 642"/>
              <a:gd name="T76" fmla="*/ 665 w 1291"/>
              <a:gd name="T77" fmla="*/ 320 h 642"/>
              <a:gd name="T78" fmla="*/ 590 w 1291"/>
              <a:gd name="T79" fmla="*/ 344 h 642"/>
              <a:gd name="T80" fmla="*/ 145 w 1291"/>
              <a:gd name="T81" fmla="*/ 436 h 642"/>
              <a:gd name="T82" fmla="*/ 954 w 1291"/>
              <a:gd name="T83" fmla="*/ 392 h 642"/>
              <a:gd name="T84" fmla="*/ 532 w 1291"/>
              <a:gd name="T85" fmla="*/ 496 h 642"/>
              <a:gd name="T86" fmla="*/ 853 w 1291"/>
              <a:gd name="T87" fmla="*/ 284 h 642"/>
              <a:gd name="T88" fmla="*/ 1007 w 1291"/>
              <a:gd name="T89" fmla="*/ 237 h 642"/>
              <a:gd name="T90" fmla="*/ 1077 w 1291"/>
              <a:gd name="T91" fmla="*/ 243 h 642"/>
              <a:gd name="T92" fmla="*/ 1121 w 1291"/>
              <a:gd name="T93" fmla="*/ 485 h 642"/>
              <a:gd name="T94" fmla="*/ 1035 w 1291"/>
              <a:gd name="T95" fmla="*/ 441 h 642"/>
              <a:gd name="T96" fmla="*/ 814 w 1291"/>
              <a:gd name="T97" fmla="*/ 448 h 642"/>
              <a:gd name="T98" fmla="*/ 679 w 1291"/>
              <a:gd name="T99" fmla="*/ 500 h 642"/>
              <a:gd name="T100" fmla="*/ 298 w 1291"/>
              <a:gd name="T101" fmla="*/ 579 h 642"/>
              <a:gd name="T102" fmla="*/ 310 w 1291"/>
              <a:gd name="T103" fmla="*/ 288 h 642"/>
              <a:gd name="T104" fmla="*/ 372 w 1291"/>
              <a:gd name="T105" fmla="*/ 450 h 642"/>
              <a:gd name="T106" fmla="*/ 574 w 1291"/>
              <a:gd name="T107" fmla="*/ 365 h 642"/>
              <a:gd name="T108" fmla="*/ 640 w 1291"/>
              <a:gd name="T109" fmla="*/ 351 h 642"/>
              <a:gd name="T110" fmla="*/ 1139 w 1291"/>
              <a:gd name="T111" fmla="*/ 365 h 642"/>
              <a:gd name="T112" fmla="*/ 615 w 1291"/>
              <a:gd name="T113" fmla="*/ 386 h 642"/>
              <a:gd name="T114" fmla="*/ 796 w 1291"/>
              <a:gd name="T115" fmla="*/ 353 h 642"/>
              <a:gd name="T116" fmla="*/ 778 w 1291"/>
              <a:gd name="T117" fmla="*/ 330 h 642"/>
              <a:gd name="T118" fmla="*/ 1039 w 1291"/>
              <a:gd name="T119" fmla="*/ 339 h 642"/>
              <a:gd name="T120" fmla="*/ 912 w 1291"/>
              <a:gd name="T121" fmla="*/ 346 h 642"/>
              <a:gd name="T122" fmla="*/ 1068 w 1291"/>
              <a:gd name="T123" fmla="*/ 336 h 642"/>
              <a:gd name="T124" fmla="*/ 1146 w 1291"/>
              <a:gd name="T125" fmla="*/ 365 h 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1" h="642">
                <a:moveTo>
                  <a:pt x="1266" y="363"/>
                </a:moveTo>
                <a:lnTo>
                  <a:pt x="1240" y="353"/>
                </a:lnTo>
                <a:lnTo>
                  <a:pt x="1212" y="344"/>
                </a:lnTo>
                <a:lnTo>
                  <a:pt x="1184" y="336"/>
                </a:lnTo>
                <a:lnTo>
                  <a:pt x="1156" y="330"/>
                </a:lnTo>
                <a:lnTo>
                  <a:pt x="1142" y="328"/>
                </a:lnTo>
                <a:lnTo>
                  <a:pt x="1130" y="325"/>
                </a:lnTo>
                <a:lnTo>
                  <a:pt x="1117" y="322"/>
                </a:lnTo>
                <a:lnTo>
                  <a:pt x="1105" y="321"/>
                </a:lnTo>
                <a:lnTo>
                  <a:pt x="1093" y="321"/>
                </a:lnTo>
                <a:lnTo>
                  <a:pt x="1082" y="320"/>
                </a:lnTo>
                <a:lnTo>
                  <a:pt x="1066" y="318"/>
                </a:lnTo>
                <a:lnTo>
                  <a:pt x="1051" y="317"/>
                </a:lnTo>
                <a:lnTo>
                  <a:pt x="1020" y="314"/>
                </a:lnTo>
                <a:lnTo>
                  <a:pt x="990" y="312"/>
                </a:lnTo>
                <a:lnTo>
                  <a:pt x="959" y="312"/>
                </a:lnTo>
                <a:lnTo>
                  <a:pt x="928" y="312"/>
                </a:lnTo>
                <a:lnTo>
                  <a:pt x="912" y="312"/>
                </a:lnTo>
                <a:lnTo>
                  <a:pt x="898" y="312"/>
                </a:lnTo>
                <a:lnTo>
                  <a:pt x="882" y="313"/>
                </a:lnTo>
                <a:lnTo>
                  <a:pt x="866" y="312"/>
                </a:lnTo>
                <a:lnTo>
                  <a:pt x="861" y="311"/>
                </a:lnTo>
                <a:lnTo>
                  <a:pt x="855" y="309"/>
                </a:lnTo>
                <a:lnTo>
                  <a:pt x="850" y="310"/>
                </a:lnTo>
                <a:lnTo>
                  <a:pt x="845" y="311"/>
                </a:lnTo>
                <a:lnTo>
                  <a:pt x="837" y="313"/>
                </a:lnTo>
                <a:lnTo>
                  <a:pt x="830" y="313"/>
                </a:lnTo>
                <a:lnTo>
                  <a:pt x="822" y="313"/>
                </a:lnTo>
                <a:lnTo>
                  <a:pt x="816" y="313"/>
                </a:lnTo>
                <a:lnTo>
                  <a:pt x="812" y="313"/>
                </a:lnTo>
                <a:lnTo>
                  <a:pt x="809" y="313"/>
                </a:lnTo>
                <a:lnTo>
                  <a:pt x="805" y="312"/>
                </a:lnTo>
                <a:lnTo>
                  <a:pt x="804" y="312"/>
                </a:lnTo>
                <a:lnTo>
                  <a:pt x="803" y="312"/>
                </a:lnTo>
                <a:lnTo>
                  <a:pt x="802" y="310"/>
                </a:lnTo>
                <a:lnTo>
                  <a:pt x="802" y="307"/>
                </a:lnTo>
                <a:lnTo>
                  <a:pt x="801" y="304"/>
                </a:lnTo>
                <a:lnTo>
                  <a:pt x="801" y="302"/>
                </a:lnTo>
                <a:lnTo>
                  <a:pt x="802" y="301"/>
                </a:lnTo>
                <a:lnTo>
                  <a:pt x="802" y="300"/>
                </a:lnTo>
                <a:lnTo>
                  <a:pt x="804" y="300"/>
                </a:lnTo>
                <a:lnTo>
                  <a:pt x="808" y="301"/>
                </a:lnTo>
                <a:lnTo>
                  <a:pt x="811" y="301"/>
                </a:lnTo>
                <a:lnTo>
                  <a:pt x="816" y="301"/>
                </a:lnTo>
                <a:lnTo>
                  <a:pt x="821" y="300"/>
                </a:lnTo>
                <a:lnTo>
                  <a:pt x="829" y="298"/>
                </a:lnTo>
                <a:lnTo>
                  <a:pt x="836" y="298"/>
                </a:lnTo>
                <a:lnTo>
                  <a:pt x="845" y="297"/>
                </a:lnTo>
                <a:lnTo>
                  <a:pt x="854" y="297"/>
                </a:lnTo>
                <a:lnTo>
                  <a:pt x="862" y="297"/>
                </a:lnTo>
                <a:lnTo>
                  <a:pt x="871" y="297"/>
                </a:lnTo>
                <a:lnTo>
                  <a:pt x="879" y="297"/>
                </a:lnTo>
                <a:lnTo>
                  <a:pt x="887" y="297"/>
                </a:lnTo>
                <a:lnTo>
                  <a:pt x="895" y="296"/>
                </a:lnTo>
                <a:lnTo>
                  <a:pt x="903" y="294"/>
                </a:lnTo>
                <a:lnTo>
                  <a:pt x="901" y="293"/>
                </a:lnTo>
                <a:lnTo>
                  <a:pt x="898" y="292"/>
                </a:lnTo>
                <a:lnTo>
                  <a:pt x="894" y="290"/>
                </a:lnTo>
                <a:lnTo>
                  <a:pt x="891" y="289"/>
                </a:lnTo>
                <a:lnTo>
                  <a:pt x="884" y="289"/>
                </a:lnTo>
                <a:lnTo>
                  <a:pt x="878" y="290"/>
                </a:lnTo>
                <a:lnTo>
                  <a:pt x="861" y="290"/>
                </a:lnTo>
                <a:lnTo>
                  <a:pt x="845" y="290"/>
                </a:lnTo>
                <a:lnTo>
                  <a:pt x="829" y="290"/>
                </a:lnTo>
                <a:lnTo>
                  <a:pt x="813" y="290"/>
                </a:lnTo>
                <a:lnTo>
                  <a:pt x="808" y="292"/>
                </a:lnTo>
                <a:lnTo>
                  <a:pt x="801" y="290"/>
                </a:lnTo>
                <a:lnTo>
                  <a:pt x="797" y="290"/>
                </a:lnTo>
                <a:lnTo>
                  <a:pt x="795" y="289"/>
                </a:lnTo>
                <a:lnTo>
                  <a:pt x="792" y="287"/>
                </a:lnTo>
                <a:lnTo>
                  <a:pt x="789" y="285"/>
                </a:lnTo>
                <a:lnTo>
                  <a:pt x="805" y="282"/>
                </a:lnTo>
                <a:lnTo>
                  <a:pt x="821" y="281"/>
                </a:lnTo>
                <a:lnTo>
                  <a:pt x="822" y="280"/>
                </a:lnTo>
                <a:lnTo>
                  <a:pt x="825" y="280"/>
                </a:lnTo>
                <a:lnTo>
                  <a:pt x="826" y="279"/>
                </a:lnTo>
                <a:lnTo>
                  <a:pt x="826" y="278"/>
                </a:lnTo>
                <a:lnTo>
                  <a:pt x="826" y="273"/>
                </a:lnTo>
                <a:lnTo>
                  <a:pt x="826" y="269"/>
                </a:lnTo>
                <a:lnTo>
                  <a:pt x="828" y="268"/>
                </a:lnTo>
                <a:lnTo>
                  <a:pt x="830" y="268"/>
                </a:lnTo>
                <a:lnTo>
                  <a:pt x="834" y="269"/>
                </a:lnTo>
                <a:lnTo>
                  <a:pt x="836" y="269"/>
                </a:lnTo>
                <a:lnTo>
                  <a:pt x="853" y="270"/>
                </a:lnTo>
                <a:lnTo>
                  <a:pt x="870" y="270"/>
                </a:lnTo>
                <a:lnTo>
                  <a:pt x="887" y="269"/>
                </a:lnTo>
                <a:lnTo>
                  <a:pt x="904" y="268"/>
                </a:lnTo>
                <a:lnTo>
                  <a:pt x="920" y="267"/>
                </a:lnTo>
                <a:lnTo>
                  <a:pt x="936" y="265"/>
                </a:lnTo>
                <a:lnTo>
                  <a:pt x="952" y="267"/>
                </a:lnTo>
                <a:lnTo>
                  <a:pt x="968" y="268"/>
                </a:lnTo>
                <a:lnTo>
                  <a:pt x="976" y="268"/>
                </a:lnTo>
                <a:lnTo>
                  <a:pt x="985" y="268"/>
                </a:lnTo>
                <a:lnTo>
                  <a:pt x="994" y="267"/>
                </a:lnTo>
                <a:lnTo>
                  <a:pt x="1003" y="267"/>
                </a:lnTo>
                <a:lnTo>
                  <a:pt x="956" y="262"/>
                </a:lnTo>
                <a:lnTo>
                  <a:pt x="909" y="260"/>
                </a:lnTo>
                <a:lnTo>
                  <a:pt x="861" y="259"/>
                </a:lnTo>
                <a:lnTo>
                  <a:pt x="813" y="259"/>
                </a:lnTo>
                <a:lnTo>
                  <a:pt x="767" y="260"/>
                </a:lnTo>
                <a:lnTo>
                  <a:pt x="719" y="262"/>
                </a:lnTo>
                <a:lnTo>
                  <a:pt x="671" y="265"/>
                </a:lnTo>
                <a:lnTo>
                  <a:pt x="624" y="269"/>
                </a:lnTo>
                <a:lnTo>
                  <a:pt x="624" y="267"/>
                </a:lnTo>
                <a:lnTo>
                  <a:pt x="624" y="265"/>
                </a:lnTo>
                <a:lnTo>
                  <a:pt x="627" y="265"/>
                </a:lnTo>
                <a:lnTo>
                  <a:pt x="629" y="264"/>
                </a:lnTo>
                <a:lnTo>
                  <a:pt x="632" y="264"/>
                </a:lnTo>
                <a:lnTo>
                  <a:pt x="637" y="264"/>
                </a:lnTo>
                <a:lnTo>
                  <a:pt x="633" y="261"/>
                </a:lnTo>
                <a:lnTo>
                  <a:pt x="632" y="257"/>
                </a:lnTo>
                <a:lnTo>
                  <a:pt x="633" y="255"/>
                </a:lnTo>
                <a:lnTo>
                  <a:pt x="636" y="252"/>
                </a:lnTo>
                <a:lnTo>
                  <a:pt x="638" y="249"/>
                </a:lnTo>
                <a:lnTo>
                  <a:pt x="639" y="246"/>
                </a:lnTo>
                <a:lnTo>
                  <a:pt x="641" y="245"/>
                </a:lnTo>
                <a:lnTo>
                  <a:pt x="644" y="245"/>
                </a:lnTo>
                <a:lnTo>
                  <a:pt x="646" y="247"/>
                </a:lnTo>
                <a:lnTo>
                  <a:pt x="647" y="248"/>
                </a:lnTo>
                <a:lnTo>
                  <a:pt x="653" y="249"/>
                </a:lnTo>
                <a:lnTo>
                  <a:pt x="657" y="249"/>
                </a:lnTo>
                <a:lnTo>
                  <a:pt x="662" y="249"/>
                </a:lnTo>
                <a:lnTo>
                  <a:pt x="666" y="248"/>
                </a:lnTo>
                <a:lnTo>
                  <a:pt x="670" y="245"/>
                </a:lnTo>
                <a:lnTo>
                  <a:pt x="674" y="242"/>
                </a:lnTo>
                <a:lnTo>
                  <a:pt x="679" y="239"/>
                </a:lnTo>
                <a:lnTo>
                  <a:pt x="682" y="238"/>
                </a:lnTo>
                <a:lnTo>
                  <a:pt x="687" y="237"/>
                </a:lnTo>
                <a:lnTo>
                  <a:pt x="692" y="236"/>
                </a:lnTo>
                <a:lnTo>
                  <a:pt x="704" y="236"/>
                </a:lnTo>
                <a:lnTo>
                  <a:pt x="715" y="234"/>
                </a:lnTo>
                <a:lnTo>
                  <a:pt x="728" y="231"/>
                </a:lnTo>
                <a:lnTo>
                  <a:pt x="739" y="230"/>
                </a:lnTo>
                <a:lnTo>
                  <a:pt x="751" y="231"/>
                </a:lnTo>
                <a:lnTo>
                  <a:pt x="762" y="231"/>
                </a:lnTo>
                <a:lnTo>
                  <a:pt x="762" y="236"/>
                </a:lnTo>
                <a:lnTo>
                  <a:pt x="763" y="239"/>
                </a:lnTo>
                <a:lnTo>
                  <a:pt x="766" y="240"/>
                </a:lnTo>
                <a:lnTo>
                  <a:pt x="767" y="240"/>
                </a:lnTo>
                <a:lnTo>
                  <a:pt x="768" y="239"/>
                </a:lnTo>
                <a:lnTo>
                  <a:pt x="769" y="238"/>
                </a:lnTo>
                <a:lnTo>
                  <a:pt x="771" y="235"/>
                </a:lnTo>
                <a:lnTo>
                  <a:pt x="773" y="232"/>
                </a:lnTo>
                <a:lnTo>
                  <a:pt x="778" y="232"/>
                </a:lnTo>
                <a:lnTo>
                  <a:pt x="784" y="234"/>
                </a:lnTo>
                <a:lnTo>
                  <a:pt x="785" y="235"/>
                </a:lnTo>
                <a:lnTo>
                  <a:pt x="785" y="237"/>
                </a:lnTo>
                <a:lnTo>
                  <a:pt x="785" y="238"/>
                </a:lnTo>
                <a:lnTo>
                  <a:pt x="784" y="242"/>
                </a:lnTo>
                <a:lnTo>
                  <a:pt x="784" y="244"/>
                </a:lnTo>
                <a:lnTo>
                  <a:pt x="785" y="246"/>
                </a:lnTo>
                <a:lnTo>
                  <a:pt x="786" y="247"/>
                </a:lnTo>
                <a:lnTo>
                  <a:pt x="789" y="247"/>
                </a:lnTo>
                <a:lnTo>
                  <a:pt x="793" y="246"/>
                </a:lnTo>
                <a:lnTo>
                  <a:pt x="794" y="244"/>
                </a:lnTo>
                <a:lnTo>
                  <a:pt x="793" y="242"/>
                </a:lnTo>
                <a:lnTo>
                  <a:pt x="793" y="238"/>
                </a:lnTo>
                <a:lnTo>
                  <a:pt x="792" y="237"/>
                </a:lnTo>
                <a:lnTo>
                  <a:pt x="792" y="236"/>
                </a:lnTo>
                <a:lnTo>
                  <a:pt x="793" y="236"/>
                </a:lnTo>
                <a:lnTo>
                  <a:pt x="794" y="235"/>
                </a:lnTo>
                <a:lnTo>
                  <a:pt x="799" y="234"/>
                </a:lnTo>
                <a:lnTo>
                  <a:pt x="803" y="232"/>
                </a:lnTo>
                <a:lnTo>
                  <a:pt x="811" y="230"/>
                </a:lnTo>
                <a:lnTo>
                  <a:pt x="819" y="229"/>
                </a:lnTo>
                <a:lnTo>
                  <a:pt x="822" y="228"/>
                </a:lnTo>
                <a:lnTo>
                  <a:pt x="825" y="228"/>
                </a:lnTo>
                <a:lnTo>
                  <a:pt x="824" y="234"/>
                </a:lnTo>
                <a:lnTo>
                  <a:pt x="821" y="238"/>
                </a:lnTo>
                <a:lnTo>
                  <a:pt x="822" y="240"/>
                </a:lnTo>
                <a:lnTo>
                  <a:pt x="826" y="240"/>
                </a:lnTo>
                <a:lnTo>
                  <a:pt x="826" y="238"/>
                </a:lnTo>
                <a:lnTo>
                  <a:pt x="826" y="237"/>
                </a:lnTo>
                <a:lnTo>
                  <a:pt x="833" y="234"/>
                </a:lnTo>
                <a:lnTo>
                  <a:pt x="842" y="231"/>
                </a:lnTo>
                <a:lnTo>
                  <a:pt x="849" y="229"/>
                </a:lnTo>
                <a:lnTo>
                  <a:pt x="857" y="227"/>
                </a:lnTo>
                <a:lnTo>
                  <a:pt x="865" y="226"/>
                </a:lnTo>
                <a:lnTo>
                  <a:pt x="874" y="226"/>
                </a:lnTo>
                <a:lnTo>
                  <a:pt x="876" y="227"/>
                </a:lnTo>
                <a:lnTo>
                  <a:pt x="878" y="227"/>
                </a:lnTo>
                <a:lnTo>
                  <a:pt x="879" y="227"/>
                </a:lnTo>
                <a:lnTo>
                  <a:pt x="883" y="226"/>
                </a:lnTo>
                <a:lnTo>
                  <a:pt x="885" y="224"/>
                </a:lnTo>
                <a:lnTo>
                  <a:pt x="886" y="224"/>
                </a:lnTo>
                <a:lnTo>
                  <a:pt x="887" y="227"/>
                </a:lnTo>
                <a:lnTo>
                  <a:pt x="888" y="229"/>
                </a:lnTo>
                <a:lnTo>
                  <a:pt x="892" y="234"/>
                </a:lnTo>
                <a:lnTo>
                  <a:pt x="894" y="235"/>
                </a:lnTo>
                <a:lnTo>
                  <a:pt x="898" y="234"/>
                </a:lnTo>
                <a:lnTo>
                  <a:pt x="902" y="232"/>
                </a:lnTo>
                <a:lnTo>
                  <a:pt x="905" y="230"/>
                </a:lnTo>
                <a:lnTo>
                  <a:pt x="909" y="229"/>
                </a:lnTo>
                <a:lnTo>
                  <a:pt x="913" y="228"/>
                </a:lnTo>
                <a:lnTo>
                  <a:pt x="917" y="229"/>
                </a:lnTo>
                <a:lnTo>
                  <a:pt x="920" y="231"/>
                </a:lnTo>
                <a:lnTo>
                  <a:pt x="924" y="234"/>
                </a:lnTo>
                <a:lnTo>
                  <a:pt x="927" y="236"/>
                </a:lnTo>
                <a:lnTo>
                  <a:pt x="931" y="236"/>
                </a:lnTo>
                <a:lnTo>
                  <a:pt x="933" y="237"/>
                </a:lnTo>
                <a:lnTo>
                  <a:pt x="934" y="240"/>
                </a:lnTo>
                <a:lnTo>
                  <a:pt x="936" y="243"/>
                </a:lnTo>
                <a:lnTo>
                  <a:pt x="939" y="244"/>
                </a:lnTo>
                <a:lnTo>
                  <a:pt x="943" y="243"/>
                </a:lnTo>
                <a:lnTo>
                  <a:pt x="946" y="240"/>
                </a:lnTo>
                <a:lnTo>
                  <a:pt x="951" y="237"/>
                </a:lnTo>
                <a:lnTo>
                  <a:pt x="956" y="234"/>
                </a:lnTo>
                <a:lnTo>
                  <a:pt x="959" y="235"/>
                </a:lnTo>
                <a:lnTo>
                  <a:pt x="964" y="236"/>
                </a:lnTo>
                <a:lnTo>
                  <a:pt x="966" y="234"/>
                </a:lnTo>
                <a:lnTo>
                  <a:pt x="968" y="232"/>
                </a:lnTo>
                <a:lnTo>
                  <a:pt x="969" y="236"/>
                </a:lnTo>
                <a:lnTo>
                  <a:pt x="969" y="239"/>
                </a:lnTo>
                <a:lnTo>
                  <a:pt x="973" y="242"/>
                </a:lnTo>
                <a:lnTo>
                  <a:pt x="978" y="242"/>
                </a:lnTo>
                <a:lnTo>
                  <a:pt x="984" y="240"/>
                </a:lnTo>
                <a:lnTo>
                  <a:pt x="989" y="239"/>
                </a:lnTo>
                <a:lnTo>
                  <a:pt x="993" y="238"/>
                </a:lnTo>
                <a:lnTo>
                  <a:pt x="998" y="236"/>
                </a:lnTo>
                <a:lnTo>
                  <a:pt x="1000" y="230"/>
                </a:lnTo>
                <a:lnTo>
                  <a:pt x="1003" y="228"/>
                </a:lnTo>
                <a:lnTo>
                  <a:pt x="1007" y="229"/>
                </a:lnTo>
                <a:lnTo>
                  <a:pt x="1011" y="231"/>
                </a:lnTo>
                <a:lnTo>
                  <a:pt x="1015" y="232"/>
                </a:lnTo>
                <a:lnTo>
                  <a:pt x="1019" y="232"/>
                </a:lnTo>
                <a:lnTo>
                  <a:pt x="1028" y="234"/>
                </a:lnTo>
                <a:lnTo>
                  <a:pt x="1038" y="235"/>
                </a:lnTo>
                <a:lnTo>
                  <a:pt x="1043" y="235"/>
                </a:lnTo>
                <a:lnTo>
                  <a:pt x="1049" y="237"/>
                </a:lnTo>
                <a:lnTo>
                  <a:pt x="1050" y="239"/>
                </a:lnTo>
                <a:lnTo>
                  <a:pt x="1051" y="243"/>
                </a:lnTo>
                <a:lnTo>
                  <a:pt x="1050" y="245"/>
                </a:lnTo>
                <a:lnTo>
                  <a:pt x="1049" y="247"/>
                </a:lnTo>
                <a:lnTo>
                  <a:pt x="1045" y="248"/>
                </a:lnTo>
                <a:lnTo>
                  <a:pt x="1042" y="249"/>
                </a:lnTo>
                <a:lnTo>
                  <a:pt x="1041" y="251"/>
                </a:lnTo>
                <a:lnTo>
                  <a:pt x="1040" y="252"/>
                </a:lnTo>
                <a:lnTo>
                  <a:pt x="1040" y="254"/>
                </a:lnTo>
                <a:lnTo>
                  <a:pt x="1041" y="255"/>
                </a:lnTo>
                <a:lnTo>
                  <a:pt x="1047" y="256"/>
                </a:lnTo>
                <a:lnTo>
                  <a:pt x="1052" y="255"/>
                </a:lnTo>
                <a:lnTo>
                  <a:pt x="1056" y="256"/>
                </a:lnTo>
                <a:lnTo>
                  <a:pt x="1058" y="259"/>
                </a:lnTo>
                <a:lnTo>
                  <a:pt x="1059" y="261"/>
                </a:lnTo>
                <a:lnTo>
                  <a:pt x="1058" y="265"/>
                </a:lnTo>
                <a:lnTo>
                  <a:pt x="1057" y="273"/>
                </a:lnTo>
                <a:lnTo>
                  <a:pt x="1056" y="281"/>
                </a:lnTo>
                <a:lnTo>
                  <a:pt x="1058" y="278"/>
                </a:lnTo>
                <a:lnTo>
                  <a:pt x="1061" y="276"/>
                </a:lnTo>
                <a:lnTo>
                  <a:pt x="1065" y="273"/>
                </a:lnTo>
                <a:lnTo>
                  <a:pt x="1069" y="272"/>
                </a:lnTo>
                <a:lnTo>
                  <a:pt x="1073" y="272"/>
                </a:lnTo>
                <a:lnTo>
                  <a:pt x="1077" y="272"/>
                </a:lnTo>
                <a:lnTo>
                  <a:pt x="1081" y="273"/>
                </a:lnTo>
                <a:lnTo>
                  <a:pt x="1084" y="276"/>
                </a:lnTo>
                <a:lnTo>
                  <a:pt x="1091" y="280"/>
                </a:lnTo>
                <a:lnTo>
                  <a:pt x="1098" y="284"/>
                </a:lnTo>
                <a:lnTo>
                  <a:pt x="1110" y="289"/>
                </a:lnTo>
                <a:lnTo>
                  <a:pt x="1122" y="294"/>
                </a:lnTo>
                <a:lnTo>
                  <a:pt x="1126" y="296"/>
                </a:lnTo>
                <a:lnTo>
                  <a:pt x="1132" y="300"/>
                </a:lnTo>
                <a:lnTo>
                  <a:pt x="1138" y="301"/>
                </a:lnTo>
                <a:lnTo>
                  <a:pt x="1142" y="301"/>
                </a:lnTo>
                <a:lnTo>
                  <a:pt x="1149" y="296"/>
                </a:lnTo>
                <a:lnTo>
                  <a:pt x="1155" y="288"/>
                </a:lnTo>
                <a:lnTo>
                  <a:pt x="1158" y="286"/>
                </a:lnTo>
                <a:lnTo>
                  <a:pt x="1162" y="282"/>
                </a:lnTo>
                <a:lnTo>
                  <a:pt x="1166" y="281"/>
                </a:lnTo>
                <a:lnTo>
                  <a:pt x="1172" y="280"/>
                </a:lnTo>
                <a:lnTo>
                  <a:pt x="1176" y="280"/>
                </a:lnTo>
                <a:lnTo>
                  <a:pt x="1181" y="280"/>
                </a:lnTo>
                <a:lnTo>
                  <a:pt x="1187" y="280"/>
                </a:lnTo>
                <a:lnTo>
                  <a:pt x="1191" y="277"/>
                </a:lnTo>
                <a:lnTo>
                  <a:pt x="1183" y="271"/>
                </a:lnTo>
                <a:lnTo>
                  <a:pt x="1175" y="265"/>
                </a:lnTo>
                <a:lnTo>
                  <a:pt x="1166" y="261"/>
                </a:lnTo>
                <a:lnTo>
                  <a:pt x="1157" y="257"/>
                </a:lnTo>
                <a:lnTo>
                  <a:pt x="1139" y="249"/>
                </a:lnTo>
                <a:lnTo>
                  <a:pt x="1119" y="245"/>
                </a:lnTo>
                <a:lnTo>
                  <a:pt x="1110" y="243"/>
                </a:lnTo>
                <a:lnTo>
                  <a:pt x="1101" y="240"/>
                </a:lnTo>
                <a:lnTo>
                  <a:pt x="1098" y="238"/>
                </a:lnTo>
                <a:lnTo>
                  <a:pt x="1096" y="236"/>
                </a:lnTo>
                <a:lnTo>
                  <a:pt x="1091" y="236"/>
                </a:lnTo>
                <a:lnTo>
                  <a:pt x="1088" y="236"/>
                </a:lnTo>
                <a:lnTo>
                  <a:pt x="1076" y="235"/>
                </a:lnTo>
                <a:lnTo>
                  <a:pt x="1066" y="232"/>
                </a:lnTo>
                <a:lnTo>
                  <a:pt x="1056" y="230"/>
                </a:lnTo>
                <a:lnTo>
                  <a:pt x="1044" y="229"/>
                </a:lnTo>
                <a:lnTo>
                  <a:pt x="1022" y="226"/>
                </a:lnTo>
                <a:lnTo>
                  <a:pt x="999" y="222"/>
                </a:lnTo>
                <a:lnTo>
                  <a:pt x="976" y="220"/>
                </a:lnTo>
                <a:lnTo>
                  <a:pt x="953" y="219"/>
                </a:lnTo>
                <a:lnTo>
                  <a:pt x="942" y="218"/>
                </a:lnTo>
                <a:lnTo>
                  <a:pt x="931" y="217"/>
                </a:lnTo>
                <a:lnTo>
                  <a:pt x="919" y="217"/>
                </a:lnTo>
                <a:lnTo>
                  <a:pt x="907" y="215"/>
                </a:lnTo>
                <a:lnTo>
                  <a:pt x="898" y="217"/>
                </a:lnTo>
                <a:lnTo>
                  <a:pt x="888" y="217"/>
                </a:lnTo>
                <a:lnTo>
                  <a:pt x="887" y="215"/>
                </a:lnTo>
                <a:lnTo>
                  <a:pt x="886" y="215"/>
                </a:lnTo>
                <a:lnTo>
                  <a:pt x="885" y="214"/>
                </a:lnTo>
                <a:lnTo>
                  <a:pt x="885" y="212"/>
                </a:lnTo>
                <a:lnTo>
                  <a:pt x="891" y="211"/>
                </a:lnTo>
                <a:lnTo>
                  <a:pt x="896" y="211"/>
                </a:lnTo>
                <a:lnTo>
                  <a:pt x="909" y="210"/>
                </a:lnTo>
                <a:lnTo>
                  <a:pt x="920" y="211"/>
                </a:lnTo>
                <a:lnTo>
                  <a:pt x="925" y="212"/>
                </a:lnTo>
                <a:lnTo>
                  <a:pt x="929" y="212"/>
                </a:lnTo>
                <a:lnTo>
                  <a:pt x="934" y="212"/>
                </a:lnTo>
                <a:lnTo>
                  <a:pt x="939" y="211"/>
                </a:lnTo>
                <a:lnTo>
                  <a:pt x="953" y="199"/>
                </a:lnTo>
                <a:lnTo>
                  <a:pt x="969" y="190"/>
                </a:lnTo>
                <a:lnTo>
                  <a:pt x="967" y="187"/>
                </a:lnTo>
                <a:lnTo>
                  <a:pt x="964" y="186"/>
                </a:lnTo>
                <a:lnTo>
                  <a:pt x="960" y="187"/>
                </a:lnTo>
                <a:lnTo>
                  <a:pt x="956" y="187"/>
                </a:lnTo>
                <a:lnTo>
                  <a:pt x="952" y="188"/>
                </a:lnTo>
                <a:lnTo>
                  <a:pt x="949" y="187"/>
                </a:lnTo>
                <a:lnTo>
                  <a:pt x="948" y="186"/>
                </a:lnTo>
                <a:lnTo>
                  <a:pt x="946" y="185"/>
                </a:lnTo>
                <a:lnTo>
                  <a:pt x="946" y="182"/>
                </a:lnTo>
                <a:lnTo>
                  <a:pt x="949" y="180"/>
                </a:lnTo>
                <a:lnTo>
                  <a:pt x="954" y="179"/>
                </a:lnTo>
                <a:lnTo>
                  <a:pt x="961" y="178"/>
                </a:lnTo>
                <a:lnTo>
                  <a:pt x="965" y="179"/>
                </a:lnTo>
                <a:lnTo>
                  <a:pt x="968" y="180"/>
                </a:lnTo>
                <a:lnTo>
                  <a:pt x="969" y="179"/>
                </a:lnTo>
                <a:lnTo>
                  <a:pt x="970" y="179"/>
                </a:lnTo>
                <a:lnTo>
                  <a:pt x="969" y="178"/>
                </a:lnTo>
                <a:lnTo>
                  <a:pt x="969" y="178"/>
                </a:lnTo>
                <a:lnTo>
                  <a:pt x="967" y="177"/>
                </a:lnTo>
                <a:lnTo>
                  <a:pt x="966" y="177"/>
                </a:lnTo>
                <a:lnTo>
                  <a:pt x="967" y="173"/>
                </a:lnTo>
                <a:lnTo>
                  <a:pt x="968" y="170"/>
                </a:lnTo>
                <a:lnTo>
                  <a:pt x="969" y="165"/>
                </a:lnTo>
                <a:lnTo>
                  <a:pt x="968" y="162"/>
                </a:lnTo>
                <a:lnTo>
                  <a:pt x="965" y="159"/>
                </a:lnTo>
                <a:lnTo>
                  <a:pt x="959" y="156"/>
                </a:lnTo>
                <a:lnTo>
                  <a:pt x="953" y="154"/>
                </a:lnTo>
                <a:lnTo>
                  <a:pt x="949" y="152"/>
                </a:lnTo>
                <a:lnTo>
                  <a:pt x="933" y="147"/>
                </a:lnTo>
                <a:lnTo>
                  <a:pt x="918" y="143"/>
                </a:lnTo>
                <a:lnTo>
                  <a:pt x="902" y="138"/>
                </a:lnTo>
                <a:lnTo>
                  <a:pt x="887" y="135"/>
                </a:lnTo>
                <a:lnTo>
                  <a:pt x="854" y="128"/>
                </a:lnTo>
                <a:lnTo>
                  <a:pt x="822" y="123"/>
                </a:lnTo>
                <a:lnTo>
                  <a:pt x="789" y="119"/>
                </a:lnTo>
                <a:lnTo>
                  <a:pt x="758" y="115"/>
                </a:lnTo>
                <a:lnTo>
                  <a:pt x="752" y="114"/>
                </a:lnTo>
                <a:lnTo>
                  <a:pt x="748" y="113"/>
                </a:lnTo>
                <a:lnTo>
                  <a:pt x="748" y="112"/>
                </a:lnTo>
                <a:lnTo>
                  <a:pt x="748" y="110"/>
                </a:lnTo>
                <a:lnTo>
                  <a:pt x="750" y="107"/>
                </a:lnTo>
                <a:lnTo>
                  <a:pt x="751" y="105"/>
                </a:lnTo>
                <a:lnTo>
                  <a:pt x="759" y="96"/>
                </a:lnTo>
                <a:lnTo>
                  <a:pt x="769" y="88"/>
                </a:lnTo>
                <a:lnTo>
                  <a:pt x="772" y="85"/>
                </a:lnTo>
                <a:lnTo>
                  <a:pt x="776" y="80"/>
                </a:lnTo>
                <a:lnTo>
                  <a:pt x="779" y="74"/>
                </a:lnTo>
                <a:lnTo>
                  <a:pt x="781" y="70"/>
                </a:lnTo>
                <a:lnTo>
                  <a:pt x="783" y="64"/>
                </a:lnTo>
                <a:lnTo>
                  <a:pt x="781" y="60"/>
                </a:lnTo>
                <a:lnTo>
                  <a:pt x="780" y="57"/>
                </a:lnTo>
                <a:lnTo>
                  <a:pt x="779" y="55"/>
                </a:lnTo>
                <a:lnTo>
                  <a:pt x="777" y="53"/>
                </a:lnTo>
                <a:lnTo>
                  <a:pt x="773" y="52"/>
                </a:lnTo>
                <a:lnTo>
                  <a:pt x="760" y="48"/>
                </a:lnTo>
                <a:lnTo>
                  <a:pt x="745" y="46"/>
                </a:lnTo>
                <a:lnTo>
                  <a:pt x="729" y="43"/>
                </a:lnTo>
                <a:lnTo>
                  <a:pt x="713" y="41"/>
                </a:lnTo>
                <a:lnTo>
                  <a:pt x="697" y="40"/>
                </a:lnTo>
                <a:lnTo>
                  <a:pt x="680" y="39"/>
                </a:lnTo>
                <a:lnTo>
                  <a:pt x="674" y="38"/>
                </a:lnTo>
                <a:lnTo>
                  <a:pt x="669" y="38"/>
                </a:lnTo>
                <a:lnTo>
                  <a:pt x="662" y="37"/>
                </a:lnTo>
                <a:lnTo>
                  <a:pt x="657" y="35"/>
                </a:lnTo>
                <a:lnTo>
                  <a:pt x="654" y="31"/>
                </a:lnTo>
                <a:lnTo>
                  <a:pt x="652" y="27"/>
                </a:lnTo>
                <a:lnTo>
                  <a:pt x="651" y="23"/>
                </a:lnTo>
                <a:lnTo>
                  <a:pt x="648" y="19"/>
                </a:lnTo>
                <a:lnTo>
                  <a:pt x="645" y="15"/>
                </a:lnTo>
                <a:lnTo>
                  <a:pt x="640" y="13"/>
                </a:lnTo>
                <a:lnTo>
                  <a:pt x="635" y="12"/>
                </a:lnTo>
                <a:lnTo>
                  <a:pt x="630" y="11"/>
                </a:lnTo>
                <a:lnTo>
                  <a:pt x="615" y="6"/>
                </a:lnTo>
                <a:lnTo>
                  <a:pt x="599" y="4"/>
                </a:lnTo>
                <a:lnTo>
                  <a:pt x="583" y="3"/>
                </a:lnTo>
                <a:lnTo>
                  <a:pt x="567" y="2"/>
                </a:lnTo>
                <a:lnTo>
                  <a:pt x="534" y="0"/>
                </a:lnTo>
                <a:lnTo>
                  <a:pt x="500" y="0"/>
                </a:lnTo>
                <a:lnTo>
                  <a:pt x="467" y="2"/>
                </a:lnTo>
                <a:lnTo>
                  <a:pt x="434" y="4"/>
                </a:lnTo>
                <a:lnTo>
                  <a:pt x="401" y="6"/>
                </a:lnTo>
                <a:lnTo>
                  <a:pt x="369" y="12"/>
                </a:lnTo>
                <a:lnTo>
                  <a:pt x="338" y="18"/>
                </a:lnTo>
                <a:lnTo>
                  <a:pt x="306" y="27"/>
                </a:lnTo>
                <a:lnTo>
                  <a:pt x="290" y="30"/>
                </a:lnTo>
                <a:lnTo>
                  <a:pt x="275" y="35"/>
                </a:lnTo>
                <a:lnTo>
                  <a:pt x="260" y="38"/>
                </a:lnTo>
                <a:lnTo>
                  <a:pt x="245" y="44"/>
                </a:lnTo>
                <a:lnTo>
                  <a:pt x="240" y="46"/>
                </a:lnTo>
                <a:lnTo>
                  <a:pt x="235" y="49"/>
                </a:lnTo>
                <a:lnTo>
                  <a:pt x="229" y="53"/>
                </a:lnTo>
                <a:lnTo>
                  <a:pt x="225" y="57"/>
                </a:lnTo>
                <a:lnTo>
                  <a:pt x="223" y="62"/>
                </a:lnTo>
                <a:lnTo>
                  <a:pt x="220" y="68"/>
                </a:lnTo>
                <a:lnTo>
                  <a:pt x="220" y="70"/>
                </a:lnTo>
                <a:lnTo>
                  <a:pt x="221" y="73"/>
                </a:lnTo>
                <a:lnTo>
                  <a:pt x="223" y="76"/>
                </a:lnTo>
                <a:lnTo>
                  <a:pt x="225" y="79"/>
                </a:lnTo>
                <a:lnTo>
                  <a:pt x="227" y="81"/>
                </a:lnTo>
                <a:lnTo>
                  <a:pt x="229" y="82"/>
                </a:lnTo>
                <a:lnTo>
                  <a:pt x="233" y="83"/>
                </a:lnTo>
                <a:lnTo>
                  <a:pt x="236" y="83"/>
                </a:lnTo>
                <a:lnTo>
                  <a:pt x="243" y="83"/>
                </a:lnTo>
                <a:lnTo>
                  <a:pt x="249" y="82"/>
                </a:lnTo>
                <a:lnTo>
                  <a:pt x="265" y="76"/>
                </a:lnTo>
                <a:lnTo>
                  <a:pt x="280" y="69"/>
                </a:lnTo>
                <a:lnTo>
                  <a:pt x="294" y="64"/>
                </a:lnTo>
                <a:lnTo>
                  <a:pt x="310" y="61"/>
                </a:lnTo>
                <a:lnTo>
                  <a:pt x="326" y="57"/>
                </a:lnTo>
                <a:lnTo>
                  <a:pt x="342" y="54"/>
                </a:lnTo>
                <a:lnTo>
                  <a:pt x="359" y="51"/>
                </a:lnTo>
                <a:lnTo>
                  <a:pt x="376" y="47"/>
                </a:lnTo>
                <a:lnTo>
                  <a:pt x="393" y="44"/>
                </a:lnTo>
                <a:lnTo>
                  <a:pt x="410" y="41"/>
                </a:lnTo>
                <a:lnTo>
                  <a:pt x="429" y="38"/>
                </a:lnTo>
                <a:lnTo>
                  <a:pt x="447" y="36"/>
                </a:lnTo>
                <a:lnTo>
                  <a:pt x="465" y="33"/>
                </a:lnTo>
                <a:lnTo>
                  <a:pt x="483" y="33"/>
                </a:lnTo>
                <a:lnTo>
                  <a:pt x="480" y="35"/>
                </a:lnTo>
                <a:lnTo>
                  <a:pt x="475" y="36"/>
                </a:lnTo>
                <a:lnTo>
                  <a:pt x="474" y="38"/>
                </a:lnTo>
                <a:lnTo>
                  <a:pt x="473" y="39"/>
                </a:lnTo>
                <a:lnTo>
                  <a:pt x="470" y="40"/>
                </a:lnTo>
                <a:lnTo>
                  <a:pt x="465" y="40"/>
                </a:lnTo>
                <a:lnTo>
                  <a:pt x="456" y="41"/>
                </a:lnTo>
                <a:lnTo>
                  <a:pt x="447" y="41"/>
                </a:lnTo>
                <a:lnTo>
                  <a:pt x="437" y="43"/>
                </a:lnTo>
                <a:lnTo>
                  <a:pt x="427" y="44"/>
                </a:lnTo>
                <a:lnTo>
                  <a:pt x="410" y="47"/>
                </a:lnTo>
                <a:lnTo>
                  <a:pt x="392" y="49"/>
                </a:lnTo>
                <a:lnTo>
                  <a:pt x="375" y="53"/>
                </a:lnTo>
                <a:lnTo>
                  <a:pt x="357" y="56"/>
                </a:lnTo>
                <a:lnTo>
                  <a:pt x="323" y="65"/>
                </a:lnTo>
                <a:lnTo>
                  <a:pt x="289" y="77"/>
                </a:lnTo>
                <a:lnTo>
                  <a:pt x="256" y="89"/>
                </a:lnTo>
                <a:lnTo>
                  <a:pt x="221" y="102"/>
                </a:lnTo>
                <a:lnTo>
                  <a:pt x="206" y="107"/>
                </a:lnTo>
                <a:lnTo>
                  <a:pt x="188" y="114"/>
                </a:lnTo>
                <a:lnTo>
                  <a:pt x="173" y="121"/>
                </a:lnTo>
                <a:lnTo>
                  <a:pt x="155" y="128"/>
                </a:lnTo>
                <a:lnTo>
                  <a:pt x="140" y="135"/>
                </a:lnTo>
                <a:lnTo>
                  <a:pt x="124" y="141"/>
                </a:lnTo>
                <a:lnTo>
                  <a:pt x="118" y="144"/>
                </a:lnTo>
                <a:lnTo>
                  <a:pt x="110" y="147"/>
                </a:lnTo>
                <a:lnTo>
                  <a:pt x="107" y="148"/>
                </a:lnTo>
                <a:lnTo>
                  <a:pt x="104" y="151"/>
                </a:lnTo>
                <a:lnTo>
                  <a:pt x="103" y="154"/>
                </a:lnTo>
                <a:lnTo>
                  <a:pt x="103" y="157"/>
                </a:lnTo>
                <a:lnTo>
                  <a:pt x="105" y="161"/>
                </a:lnTo>
                <a:lnTo>
                  <a:pt x="109" y="163"/>
                </a:lnTo>
                <a:lnTo>
                  <a:pt x="116" y="168"/>
                </a:lnTo>
                <a:lnTo>
                  <a:pt x="121" y="172"/>
                </a:lnTo>
                <a:lnTo>
                  <a:pt x="126" y="176"/>
                </a:lnTo>
                <a:lnTo>
                  <a:pt x="130" y="180"/>
                </a:lnTo>
                <a:lnTo>
                  <a:pt x="132" y="182"/>
                </a:lnTo>
                <a:lnTo>
                  <a:pt x="132" y="185"/>
                </a:lnTo>
                <a:lnTo>
                  <a:pt x="130" y="186"/>
                </a:lnTo>
                <a:lnTo>
                  <a:pt x="129" y="187"/>
                </a:lnTo>
                <a:lnTo>
                  <a:pt x="126" y="189"/>
                </a:lnTo>
                <a:lnTo>
                  <a:pt x="122" y="190"/>
                </a:lnTo>
                <a:lnTo>
                  <a:pt x="107" y="199"/>
                </a:lnTo>
                <a:lnTo>
                  <a:pt x="92" y="207"/>
                </a:lnTo>
                <a:lnTo>
                  <a:pt x="77" y="217"/>
                </a:lnTo>
                <a:lnTo>
                  <a:pt x="63" y="227"/>
                </a:lnTo>
                <a:lnTo>
                  <a:pt x="55" y="232"/>
                </a:lnTo>
                <a:lnTo>
                  <a:pt x="48" y="238"/>
                </a:lnTo>
                <a:lnTo>
                  <a:pt x="42" y="244"/>
                </a:lnTo>
                <a:lnTo>
                  <a:pt x="35" y="251"/>
                </a:lnTo>
                <a:lnTo>
                  <a:pt x="34" y="254"/>
                </a:lnTo>
                <a:lnTo>
                  <a:pt x="33" y="257"/>
                </a:lnTo>
                <a:lnTo>
                  <a:pt x="33" y="260"/>
                </a:lnTo>
                <a:lnTo>
                  <a:pt x="34" y="263"/>
                </a:lnTo>
                <a:lnTo>
                  <a:pt x="38" y="267"/>
                </a:lnTo>
                <a:lnTo>
                  <a:pt x="44" y="271"/>
                </a:lnTo>
                <a:lnTo>
                  <a:pt x="47" y="275"/>
                </a:lnTo>
                <a:lnTo>
                  <a:pt x="51" y="280"/>
                </a:lnTo>
                <a:lnTo>
                  <a:pt x="51" y="287"/>
                </a:lnTo>
                <a:lnTo>
                  <a:pt x="53" y="294"/>
                </a:lnTo>
                <a:lnTo>
                  <a:pt x="56" y="298"/>
                </a:lnTo>
                <a:lnTo>
                  <a:pt x="61" y="301"/>
                </a:lnTo>
                <a:lnTo>
                  <a:pt x="67" y="303"/>
                </a:lnTo>
                <a:lnTo>
                  <a:pt x="72" y="305"/>
                </a:lnTo>
                <a:lnTo>
                  <a:pt x="60" y="312"/>
                </a:lnTo>
                <a:lnTo>
                  <a:pt x="48" y="319"/>
                </a:lnTo>
                <a:lnTo>
                  <a:pt x="36" y="327"/>
                </a:lnTo>
                <a:lnTo>
                  <a:pt x="25" y="334"/>
                </a:lnTo>
                <a:lnTo>
                  <a:pt x="15" y="340"/>
                </a:lnTo>
                <a:lnTo>
                  <a:pt x="9" y="347"/>
                </a:lnTo>
                <a:lnTo>
                  <a:pt x="5" y="351"/>
                </a:lnTo>
                <a:lnTo>
                  <a:pt x="3" y="354"/>
                </a:lnTo>
                <a:lnTo>
                  <a:pt x="1" y="359"/>
                </a:lnTo>
                <a:lnTo>
                  <a:pt x="0" y="364"/>
                </a:lnTo>
                <a:lnTo>
                  <a:pt x="0" y="369"/>
                </a:lnTo>
                <a:lnTo>
                  <a:pt x="1" y="372"/>
                </a:lnTo>
                <a:lnTo>
                  <a:pt x="3" y="375"/>
                </a:lnTo>
                <a:lnTo>
                  <a:pt x="6" y="377"/>
                </a:lnTo>
                <a:lnTo>
                  <a:pt x="14" y="379"/>
                </a:lnTo>
                <a:lnTo>
                  <a:pt x="22" y="383"/>
                </a:lnTo>
                <a:lnTo>
                  <a:pt x="29" y="392"/>
                </a:lnTo>
                <a:lnTo>
                  <a:pt x="34" y="401"/>
                </a:lnTo>
                <a:lnTo>
                  <a:pt x="38" y="404"/>
                </a:lnTo>
                <a:lnTo>
                  <a:pt x="44" y="406"/>
                </a:lnTo>
                <a:lnTo>
                  <a:pt x="50" y="408"/>
                </a:lnTo>
                <a:lnTo>
                  <a:pt x="55" y="408"/>
                </a:lnTo>
                <a:lnTo>
                  <a:pt x="70" y="408"/>
                </a:lnTo>
                <a:lnTo>
                  <a:pt x="84" y="405"/>
                </a:lnTo>
                <a:lnTo>
                  <a:pt x="97" y="404"/>
                </a:lnTo>
                <a:lnTo>
                  <a:pt x="111" y="401"/>
                </a:lnTo>
                <a:lnTo>
                  <a:pt x="138" y="395"/>
                </a:lnTo>
                <a:lnTo>
                  <a:pt x="167" y="390"/>
                </a:lnTo>
                <a:lnTo>
                  <a:pt x="181" y="388"/>
                </a:lnTo>
                <a:lnTo>
                  <a:pt x="193" y="385"/>
                </a:lnTo>
                <a:lnTo>
                  <a:pt x="198" y="383"/>
                </a:lnTo>
                <a:lnTo>
                  <a:pt x="202" y="381"/>
                </a:lnTo>
                <a:lnTo>
                  <a:pt x="204" y="380"/>
                </a:lnTo>
                <a:lnTo>
                  <a:pt x="207" y="381"/>
                </a:lnTo>
                <a:lnTo>
                  <a:pt x="208" y="381"/>
                </a:lnTo>
                <a:lnTo>
                  <a:pt x="209" y="383"/>
                </a:lnTo>
                <a:lnTo>
                  <a:pt x="209" y="383"/>
                </a:lnTo>
                <a:lnTo>
                  <a:pt x="209" y="385"/>
                </a:lnTo>
                <a:lnTo>
                  <a:pt x="204" y="386"/>
                </a:lnTo>
                <a:lnTo>
                  <a:pt x="200" y="388"/>
                </a:lnTo>
                <a:lnTo>
                  <a:pt x="193" y="390"/>
                </a:lnTo>
                <a:lnTo>
                  <a:pt x="186" y="394"/>
                </a:lnTo>
                <a:lnTo>
                  <a:pt x="171" y="400"/>
                </a:lnTo>
                <a:lnTo>
                  <a:pt x="158" y="406"/>
                </a:lnTo>
                <a:lnTo>
                  <a:pt x="144" y="413"/>
                </a:lnTo>
                <a:lnTo>
                  <a:pt x="120" y="425"/>
                </a:lnTo>
                <a:lnTo>
                  <a:pt x="92" y="439"/>
                </a:lnTo>
                <a:lnTo>
                  <a:pt x="62" y="456"/>
                </a:lnTo>
                <a:lnTo>
                  <a:pt x="48" y="466"/>
                </a:lnTo>
                <a:lnTo>
                  <a:pt x="37" y="476"/>
                </a:lnTo>
                <a:lnTo>
                  <a:pt x="26" y="485"/>
                </a:lnTo>
                <a:lnTo>
                  <a:pt x="19" y="494"/>
                </a:lnTo>
                <a:lnTo>
                  <a:pt x="15" y="498"/>
                </a:lnTo>
                <a:lnTo>
                  <a:pt x="13" y="503"/>
                </a:lnTo>
                <a:lnTo>
                  <a:pt x="12" y="508"/>
                </a:lnTo>
                <a:lnTo>
                  <a:pt x="12" y="512"/>
                </a:lnTo>
                <a:lnTo>
                  <a:pt x="13" y="516"/>
                </a:lnTo>
                <a:lnTo>
                  <a:pt x="14" y="520"/>
                </a:lnTo>
                <a:lnTo>
                  <a:pt x="18" y="523"/>
                </a:lnTo>
                <a:lnTo>
                  <a:pt x="21" y="527"/>
                </a:lnTo>
                <a:lnTo>
                  <a:pt x="31" y="531"/>
                </a:lnTo>
                <a:lnTo>
                  <a:pt x="39" y="537"/>
                </a:lnTo>
                <a:lnTo>
                  <a:pt x="43" y="541"/>
                </a:lnTo>
                <a:lnTo>
                  <a:pt x="45" y="545"/>
                </a:lnTo>
                <a:lnTo>
                  <a:pt x="48" y="547"/>
                </a:lnTo>
                <a:lnTo>
                  <a:pt x="54" y="549"/>
                </a:lnTo>
                <a:lnTo>
                  <a:pt x="64" y="549"/>
                </a:lnTo>
                <a:lnTo>
                  <a:pt x="75" y="546"/>
                </a:lnTo>
                <a:lnTo>
                  <a:pt x="89" y="545"/>
                </a:lnTo>
                <a:lnTo>
                  <a:pt x="103" y="544"/>
                </a:lnTo>
                <a:lnTo>
                  <a:pt x="118" y="542"/>
                </a:lnTo>
                <a:lnTo>
                  <a:pt x="130" y="538"/>
                </a:lnTo>
                <a:lnTo>
                  <a:pt x="136" y="536"/>
                </a:lnTo>
                <a:lnTo>
                  <a:pt x="143" y="534"/>
                </a:lnTo>
                <a:lnTo>
                  <a:pt x="146" y="533"/>
                </a:lnTo>
                <a:lnTo>
                  <a:pt x="150" y="531"/>
                </a:lnTo>
                <a:lnTo>
                  <a:pt x="153" y="531"/>
                </a:lnTo>
                <a:lnTo>
                  <a:pt x="155" y="533"/>
                </a:lnTo>
                <a:lnTo>
                  <a:pt x="158" y="535"/>
                </a:lnTo>
                <a:lnTo>
                  <a:pt x="159" y="536"/>
                </a:lnTo>
                <a:lnTo>
                  <a:pt x="160" y="537"/>
                </a:lnTo>
                <a:lnTo>
                  <a:pt x="160" y="539"/>
                </a:lnTo>
                <a:lnTo>
                  <a:pt x="158" y="542"/>
                </a:lnTo>
                <a:lnTo>
                  <a:pt x="154" y="544"/>
                </a:lnTo>
                <a:lnTo>
                  <a:pt x="149" y="547"/>
                </a:lnTo>
                <a:lnTo>
                  <a:pt x="144" y="551"/>
                </a:lnTo>
                <a:lnTo>
                  <a:pt x="140" y="555"/>
                </a:lnTo>
                <a:lnTo>
                  <a:pt x="136" y="560"/>
                </a:lnTo>
                <a:lnTo>
                  <a:pt x="133" y="564"/>
                </a:lnTo>
                <a:lnTo>
                  <a:pt x="130" y="570"/>
                </a:lnTo>
                <a:lnTo>
                  <a:pt x="128" y="577"/>
                </a:lnTo>
                <a:lnTo>
                  <a:pt x="127" y="584"/>
                </a:lnTo>
                <a:lnTo>
                  <a:pt x="128" y="589"/>
                </a:lnTo>
                <a:lnTo>
                  <a:pt x="129" y="595"/>
                </a:lnTo>
                <a:lnTo>
                  <a:pt x="132" y="597"/>
                </a:lnTo>
                <a:lnTo>
                  <a:pt x="133" y="600"/>
                </a:lnTo>
                <a:lnTo>
                  <a:pt x="136" y="601"/>
                </a:lnTo>
                <a:lnTo>
                  <a:pt x="140" y="602"/>
                </a:lnTo>
                <a:lnTo>
                  <a:pt x="149" y="602"/>
                </a:lnTo>
                <a:lnTo>
                  <a:pt x="158" y="603"/>
                </a:lnTo>
                <a:lnTo>
                  <a:pt x="159" y="608"/>
                </a:lnTo>
                <a:lnTo>
                  <a:pt x="161" y="613"/>
                </a:lnTo>
                <a:lnTo>
                  <a:pt x="160" y="617"/>
                </a:lnTo>
                <a:lnTo>
                  <a:pt x="159" y="619"/>
                </a:lnTo>
                <a:lnTo>
                  <a:pt x="157" y="624"/>
                </a:lnTo>
                <a:lnTo>
                  <a:pt x="157" y="628"/>
                </a:lnTo>
                <a:lnTo>
                  <a:pt x="158" y="633"/>
                </a:lnTo>
                <a:lnTo>
                  <a:pt x="161" y="637"/>
                </a:lnTo>
                <a:lnTo>
                  <a:pt x="165" y="639"/>
                </a:lnTo>
                <a:lnTo>
                  <a:pt x="169" y="641"/>
                </a:lnTo>
                <a:lnTo>
                  <a:pt x="174" y="641"/>
                </a:lnTo>
                <a:lnTo>
                  <a:pt x="179" y="639"/>
                </a:lnTo>
                <a:lnTo>
                  <a:pt x="184" y="641"/>
                </a:lnTo>
                <a:lnTo>
                  <a:pt x="190" y="642"/>
                </a:lnTo>
                <a:lnTo>
                  <a:pt x="193" y="641"/>
                </a:lnTo>
                <a:lnTo>
                  <a:pt x="195" y="639"/>
                </a:lnTo>
                <a:lnTo>
                  <a:pt x="198" y="637"/>
                </a:lnTo>
                <a:lnTo>
                  <a:pt x="200" y="635"/>
                </a:lnTo>
                <a:lnTo>
                  <a:pt x="202" y="633"/>
                </a:lnTo>
                <a:lnTo>
                  <a:pt x="204" y="633"/>
                </a:lnTo>
                <a:lnTo>
                  <a:pt x="207" y="633"/>
                </a:lnTo>
                <a:lnTo>
                  <a:pt x="209" y="634"/>
                </a:lnTo>
                <a:lnTo>
                  <a:pt x="212" y="636"/>
                </a:lnTo>
                <a:lnTo>
                  <a:pt x="215" y="641"/>
                </a:lnTo>
                <a:lnTo>
                  <a:pt x="220" y="635"/>
                </a:lnTo>
                <a:lnTo>
                  <a:pt x="226" y="629"/>
                </a:lnTo>
                <a:lnTo>
                  <a:pt x="229" y="627"/>
                </a:lnTo>
                <a:lnTo>
                  <a:pt x="233" y="625"/>
                </a:lnTo>
                <a:lnTo>
                  <a:pt x="236" y="624"/>
                </a:lnTo>
                <a:lnTo>
                  <a:pt x="241" y="622"/>
                </a:lnTo>
                <a:lnTo>
                  <a:pt x="243" y="622"/>
                </a:lnTo>
                <a:lnTo>
                  <a:pt x="245" y="622"/>
                </a:lnTo>
                <a:lnTo>
                  <a:pt x="248" y="622"/>
                </a:lnTo>
                <a:lnTo>
                  <a:pt x="250" y="620"/>
                </a:lnTo>
                <a:lnTo>
                  <a:pt x="251" y="617"/>
                </a:lnTo>
                <a:lnTo>
                  <a:pt x="251" y="613"/>
                </a:lnTo>
                <a:lnTo>
                  <a:pt x="236" y="617"/>
                </a:lnTo>
                <a:lnTo>
                  <a:pt x="221" y="620"/>
                </a:lnTo>
                <a:lnTo>
                  <a:pt x="216" y="622"/>
                </a:lnTo>
                <a:lnTo>
                  <a:pt x="209" y="626"/>
                </a:lnTo>
                <a:lnTo>
                  <a:pt x="207" y="627"/>
                </a:lnTo>
                <a:lnTo>
                  <a:pt x="203" y="627"/>
                </a:lnTo>
                <a:lnTo>
                  <a:pt x="201" y="627"/>
                </a:lnTo>
                <a:lnTo>
                  <a:pt x="198" y="625"/>
                </a:lnTo>
                <a:lnTo>
                  <a:pt x="204" y="620"/>
                </a:lnTo>
                <a:lnTo>
                  <a:pt x="211" y="618"/>
                </a:lnTo>
                <a:lnTo>
                  <a:pt x="219" y="617"/>
                </a:lnTo>
                <a:lnTo>
                  <a:pt x="226" y="614"/>
                </a:lnTo>
                <a:lnTo>
                  <a:pt x="229" y="613"/>
                </a:lnTo>
                <a:lnTo>
                  <a:pt x="231" y="612"/>
                </a:lnTo>
                <a:lnTo>
                  <a:pt x="232" y="610"/>
                </a:lnTo>
                <a:lnTo>
                  <a:pt x="233" y="606"/>
                </a:lnTo>
                <a:lnTo>
                  <a:pt x="236" y="603"/>
                </a:lnTo>
                <a:lnTo>
                  <a:pt x="241" y="601"/>
                </a:lnTo>
                <a:lnTo>
                  <a:pt x="245" y="600"/>
                </a:lnTo>
                <a:lnTo>
                  <a:pt x="251" y="601"/>
                </a:lnTo>
                <a:lnTo>
                  <a:pt x="257" y="602"/>
                </a:lnTo>
                <a:lnTo>
                  <a:pt x="264" y="601"/>
                </a:lnTo>
                <a:lnTo>
                  <a:pt x="267" y="601"/>
                </a:lnTo>
                <a:lnTo>
                  <a:pt x="272" y="600"/>
                </a:lnTo>
                <a:lnTo>
                  <a:pt x="273" y="599"/>
                </a:lnTo>
                <a:lnTo>
                  <a:pt x="273" y="597"/>
                </a:lnTo>
                <a:lnTo>
                  <a:pt x="273" y="596"/>
                </a:lnTo>
                <a:lnTo>
                  <a:pt x="270" y="593"/>
                </a:lnTo>
                <a:lnTo>
                  <a:pt x="275" y="592"/>
                </a:lnTo>
                <a:lnTo>
                  <a:pt x="280" y="591"/>
                </a:lnTo>
                <a:lnTo>
                  <a:pt x="284" y="587"/>
                </a:lnTo>
                <a:lnTo>
                  <a:pt x="289" y="585"/>
                </a:lnTo>
                <a:lnTo>
                  <a:pt x="291" y="584"/>
                </a:lnTo>
                <a:lnTo>
                  <a:pt x="294" y="584"/>
                </a:lnTo>
                <a:lnTo>
                  <a:pt x="297" y="585"/>
                </a:lnTo>
                <a:lnTo>
                  <a:pt x="299" y="587"/>
                </a:lnTo>
                <a:lnTo>
                  <a:pt x="299" y="592"/>
                </a:lnTo>
                <a:lnTo>
                  <a:pt x="299" y="595"/>
                </a:lnTo>
                <a:lnTo>
                  <a:pt x="295" y="599"/>
                </a:lnTo>
                <a:lnTo>
                  <a:pt x="292" y="600"/>
                </a:lnTo>
                <a:lnTo>
                  <a:pt x="287" y="601"/>
                </a:lnTo>
                <a:lnTo>
                  <a:pt x="283" y="601"/>
                </a:lnTo>
                <a:lnTo>
                  <a:pt x="281" y="602"/>
                </a:lnTo>
                <a:lnTo>
                  <a:pt x="278" y="604"/>
                </a:lnTo>
                <a:lnTo>
                  <a:pt x="276" y="604"/>
                </a:lnTo>
                <a:lnTo>
                  <a:pt x="274" y="605"/>
                </a:lnTo>
                <a:lnTo>
                  <a:pt x="268" y="609"/>
                </a:lnTo>
                <a:lnTo>
                  <a:pt x="264" y="613"/>
                </a:lnTo>
                <a:lnTo>
                  <a:pt x="268" y="612"/>
                </a:lnTo>
                <a:lnTo>
                  <a:pt x="275" y="611"/>
                </a:lnTo>
                <a:lnTo>
                  <a:pt x="276" y="613"/>
                </a:lnTo>
                <a:lnTo>
                  <a:pt x="277" y="616"/>
                </a:lnTo>
                <a:lnTo>
                  <a:pt x="276" y="618"/>
                </a:lnTo>
                <a:lnTo>
                  <a:pt x="276" y="621"/>
                </a:lnTo>
                <a:lnTo>
                  <a:pt x="276" y="624"/>
                </a:lnTo>
                <a:lnTo>
                  <a:pt x="276" y="625"/>
                </a:lnTo>
                <a:lnTo>
                  <a:pt x="277" y="626"/>
                </a:lnTo>
                <a:lnTo>
                  <a:pt x="280" y="627"/>
                </a:lnTo>
                <a:lnTo>
                  <a:pt x="284" y="625"/>
                </a:lnTo>
                <a:lnTo>
                  <a:pt x="287" y="620"/>
                </a:lnTo>
                <a:lnTo>
                  <a:pt x="289" y="619"/>
                </a:lnTo>
                <a:lnTo>
                  <a:pt x="290" y="617"/>
                </a:lnTo>
                <a:lnTo>
                  <a:pt x="291" y="616"/>
                </a:lnTo>
                <a:lnTo>
                  <a:pt x="293" y="614"/>
                </a:lnTo>
                <a:lnTo>
                  <a:pt x="295" y="611"/>
                </a:lnTo>
                <a:lnTo>
                  <a:pt x="299" y="609"/>
                </a:lnTo>
                <a:lnTo>
                  <a:pt x="305" y="609"/>
                </a:lnTo>
                <a:lnTo>
                  <a:pt x="308" y="609"/>
                </a:lnTo>
                <a:lnTo>
                  <a:pt x="313" y="608"/>
                </a:lnTo>
                <a:lnTo>
                  <a:pt x="317" y="605"/>
                </a:lnTo>
                <a:lnTo>
                  <a:pt x="321" y="603"/>
                </a:lnTo>
                <a:lnTo>
                  <a:pt x="325" y="601"/>
                </a:lnTo>
                <a:lnTo>
                  <a:pt x="328" y="601"/>
                </a:lnTo>
                <a:lnTo>
                  <a:pt x="333" y="601"/>
                </a:lnTo>
                <a:lnTo>
                  <a:pt x="339" y="601"/>
                </a:lnTo>
                <a:lnTo>
                  <a:pt x="344" y="601"/>
                </a:lnTo>
                <a:lnTo>
                  <a:pt x="350" y="600"/>
                </a:lnTo>
                <a:lnTo>
                  <a:pt x="355" y="597"/>
                </a:lnTo>
                <a:lnTo>
                  <a:pt x="364" y="593"/>
                </a:lnTo>
                <a:lnTo>
                  <a:pt x="372" y="587"/>
                </a:lnTo>
                <a:lnTo>
                  <a:pt x="376" y="586"/>
                </a:lnTo>
                <a:lnTo>
                  <a:pt x="381" y="585"/>
                </a:lnTo>
                <a:lnTo>
                  <a:pt x="385" y="584"/>
                </a:lnTo>
                <a:lnTo>
                  <a:pt x="391" y="585"/>
                </a:lnTo>
                <a:lnTo>
                  <a:pt x="383" y="589"/>
                </a:lnTo>
                <a:lnTo>
                  <a:pt x="376" y="594"/>
                </a:lnTo>
                <a:lnTo>
                  <a:pt x="383" y="592"/>
                </a:lnTo>
                <a:lnTo>
                  <a:pt x="391" y="591"/>
                </a:lnTo>
                <a:lnTo>
                  <a:pt x="394" y="589"/>
                </a:lnTo>
                <a:lnTo>
                  <a:pt x="398" y="588"/>
                </a:lnTo>
                <a:lnTo>
                  <a:pt x="400" y="585"/>
                </a:lnTo>
                <a:lnTo>
                  <a:pt x="402" y="581"/>
                </a:lnTo>
                <a:lnTo>
                  <a:pt x="405" y="575"/>
                </a:lnTo>
                <a:lnTo>
                  <a:pt x="407" y="569"/>
                </a:lnTo>
                <a:lnTo>
                  <a:pt x="410" y="569"/>
                </a:lnTo>
                <a:lnTo>
                  <a:pt x="414" y="568"/>
                </a:lnTo>
                <a:lnTo>
                  <a:pt x="418" y="568"/>
                </a:lnTo>
                <a:lnTo>
                  <a:pt x="423" y="566"/>
                </a:lnTo>
                <a:lnTo>
                  <a:pt x="431" y="563"/>
                </a:lnTo>
                <a:lnTo>
                  <a:pt x="438" y="560"/>
                </a:lnTo>
                <a:lnTo>
                  <a:pt x="447" y="558"/>
                </a:lnTo>
                <a:lnTo>
                  <a:pt x="455" y="558"/>
                </a:lnTo>
                <a:lnTo>
                  <a:pt x="458" y="556"/>
                </a:lnTo>
                <a:lnTo>
                  <a:pt x="463" y="555"/>
                </a:lnTo>
                <a:lnTo>
                  <a:pt x="466" y="554"/>
                </a:lnTo>
                <a:lnTo>
                  <a:pt x="468" y="552"/>
                </a:lnTo>
                <a:lnTo>
                  <a:pt x="470" y="550"/>
                </a:lnTo>
                <a:lnTo>
                  <a:pt x="468" y="549"/>
                </a:lnTo>
                <a:lnTo>
                  <a:pt x="467" y="549"/>
                </a:lnTo>
                <a:lnTo>
                  <a:pt x="465" y="547"/>
                </a:lnTo>
                <a:lnTo>
                  <a:pt x="462" y="547"/>
                </a:lnTo>
                <a:lnTo>
                  <a:pt x="458" y="545"/>
                </a:lnTo>
                <a:lnTo>
                  <a:pt x="466" y="544"/>
                </a:lnTo>
                <a:lnTo>
                  <a:pt x="475" y="542"/>
                </a:lnTo>
                <a:lnTo>
                  <a:pt x="480" y="541"/>
                </a:lnTo>
                <a:lnTo>
                  <a:pt x="483" y="539"/>
                </a:lnTo>
                <a:lnTo>
                  <a:pt x="486" y="537"/>
                </a:lnTo>
                <a:lnTo>
                  <a:pt x="487" y="536"/>
                </a:lnTo>
                <a:lnTo>
                  <a:pt x="496" y="536"/>
                </a:lnTo>
                <a:lnTo>
                  <a:pt x="504" y="536"/>
                </a:lnTo>
                <a:lnTo>
                  <a:pt x="512" y="534"/>
                </a:lnTo>
                <a:lnTo>
                  <a:pt x="521" y="530"/>
                </a:lnTo>
                <a:lnTo>
                  <a:pt x="528" y="528"/>
                </a:lnTo>
                <a:lnTo>
                  <a:pt x="534" y="528"/>
                </a:lnTo>
                <a:lnTo>
                  <a:pt x="540" y="530"/>
                </a:lnTo>
                <a:lnTo>
                  <a:pt x="547" y="533"/>
                </a:lnTo>
                <a:lnTo>
                  <a:pt x="553" y="533"/>
                </a:lnTo>
                <a:lnTo>
                  <a:pt x="560" y="531"/>
                </a:lnTo>
                <a:lnTo>
                  <a:pt x="570" y="529"/>
                </a:lnTo>
                <a:lnTo>
                  <a:pt x="580" y="528"/>
                </a:lnTo>
                <a:lnTo>
                  <a:pt x="580" y="533"/>
                </a:lnTo>
                <a:lnTo>
                  <a:pt x="581" y="535"/>
                </a:lnTo>
                <a:lnTo>
                  <a:pt x="582" y="536"/>
                </a:lnTo>
                <a:lnTo>
                  <a:pt x="585" y="537"/>
                </a:lnTo>
                <a:lnTo>
                  <a:pt x="590" y="536"/>
                </a:lnTo>
                <a:lnTo>
                  <a:pt x="597" y="534"/>
                </a:lnTo>
                <a:lnTo>
                  <a:pt x="591" y="531"/>
                </a:lnTo>
                <a:lnTo>
                  <a:pt x="589" y="528"/>
                </a:lnTo>
                <a:lnTo>
                  <a:pt x="589" y="527"/>
                </a:lnTo>
                <a:lnTo>
                  <a:pt x="589" y="526"/>
                </a:lnTo>
                <a:lnTo>
                  <a:pt x="591" y="523"/>
                </a:lnTo>
                <a:lnTo>
                  <a:pt x="594" y="521"/>
                </a:lnTo>
                <a:lnTo>
                  <a:pt x="590" y="521"/>
                </a:lnTo>
                <a:lnTo>
                  <a:pt x="585" y="522"/>
                </a:lnTo>
                <a:lnTo>
                  <a:pt x="578" y="523"/>
                </a:lnTo>
                <a:lnTo>
                  <a:pt x="571" y="525"/>
                </a:lnTo>
                <a:lnTo>
                  <a:pt x="557" y="522"/>
                </a:lnTo>
                <a:lnTo>
                  <a:pt x="544" y="521"/>
                </a:lnTo>
                <a:lnTo>
                  <a:pt x="537" y="521"/>
                </a:lnTo>
                <a:lnTo>
                  <a:pt x="530" y="522"/>
                </a:lnTo>
                <a:lnTo>
                  <a:pt x="524" y="525"/>
                </a:lnTo>
                <a:lnTo>
                  <a:pt x="517" y="526"/>
                </a:lnTo>
                <a:lnTo>
                  <a:pt x="504" y="530"/>
                </a:lnTo>
                <a:lnTo>
                  <a:pt x="489" y="531"/>
                </a:lnTo>
                <a:lnTo>
                  <a:pt x="489" y="529"/>
                </a:lnTo>
                <a:lnTo>
                  <a:pt x="489" y="529"/>
                </a:lnTo>
                <a:lnTo>
                  <a:pt x="488" y="528"/>
                </a:lnTo>
                <a:lnTo>
                  <a:pt x="486" y="528"/>
                </a:lnTo>
                <a:lnTo>
                  <a:pt x="488" y="529"/>
                </a:lnTo>
                <a:lnTo>
                  <a:pt x="491" y="528"/>
                </a:lnTo>
                <a:lnTo>
                  <a:pt x="493" y="527"/>
                </a:lnTo>
                <a:lnTo>
                  <a:pt x="496" y="526"/>
                </a:lnTo>
                <a:lnTo>
                  <a:pt x="500" y="523"/>
                </a:lnTo>
                <a:lnTo>
                  <a:pt x="506" y="522"/>
                </a:lnTo>
                <a:lnTo>
                  <a:pt x="517" y="519"/>
                </a:lnTo>
                <a:lnTo>
                  <a:pt x="529" y="517"/>
                </a:lnTo>
                <a:lnTo>
                  <a:pt x="542" y="513"/>
                </a:lnTo>
                <a:lnTo>
                  <a:pt x="555" y="510"/>
                </a:lnTo>
                <a:lnTo>
                  <a:pt x="569" y="508"/>
                </a:lnTo>
                <a:lnTo>
                  <a:pt x="581" y="505"/>
                </a:lnTo>
                <a:lnTo>
                  <a:pt x="594" y="503"/>
                </a:lnTo>
                <a:lnTo>
                  <a:pt x="606" y="502"/>
                </a:lnTo>
                <a:lnTo>
                  <a:pt x="619" y="498"/>
                </a:lnTo>
                <a:lnTo>
                  <a:pt x="631" y="496"/>
                </a:lnTo>
                <a:lnTo>
                  <a:pt x="636" y="495"/>
                </a:lnTo>
                <a:lnTo>
                  <a:pt x="639" y="495"/>
                </a:lnTo>
                <a:lnTo>
                  <a:pt x="643" y="496"/>
                </a:lnTo>
                <a:lnTo>
                  <a:pt x="646" y="498"/>
                </a:lnTo>
                <a:lnTo>
                  <a:pt x="649" y="500"/>
                </a:lnTo>
                <a:lnTo>
                  <a:pt x="652" y="501"/>
                </a:lnTo>
                <a:lnTo>
                  <a:pt x="653" y="502"/>
                </a:lnTo>
                <a:lnTo>
                  <a:pt x="653" y="502"/>
                </a:lnTo>
                <a:lnTo>
                  <a:pt x="654" y="503"/>
                </a:lnTo>
                <a:lnTo>
                  <a:pt x="653" y="505"/>
                </a:lnTo>
                <a:lnTo>
                  <a:pt x="649" y="508"/>
                </a:lnTo>
                <a:lnTo>
                  <a:pt x="643" y="509"/>
                </a:lnTo>
                <a:lnTo>
                  <a:pt x="637" y="510"/>
                </a:lnTo>
                <a:lnTo>
                  <a:pt x="632" y="510"/>
                </a:lnTo>
                <a:lnTo>
                  <a:pt x="619" y="513"/>
                </a:lnTo>
                <a:lnTo>
                  <a:pt x="604" y="516"/>
                </a:lnTo>
                <a:lnTo>
                  <a:pt x="602" y="516"/>
                </a:lnTo>
                <a:lnTo>
                  <a:pt x="597" y="517"/>
                </a:lnTo>
                <a:lnTo>
                  <a:pt x="595" y="518"/>
                </a:lnTo>
                <a:lnTo>
                  <a:pt x="594" y="518"/>
                </a:lnTo>
                <a:lnTo>
                  <a:pt x="594" y="520"/>
                </a:lnTo>
                <a:lnTo>
                  <a:pt x="594" y="521"/>
                </a:lnTo>
                <a:lnTo>
                  <a:pt x="600" y="521"/>
                </a:lnTo>
                <a:lnTo>
                  <a:pt x="607" y="521"/>
                </a:lnTo>
                <a:lnTo>
                  <a:pt x="615" y="520"/>
                </a:lnTo>
                <a:lnTo>
                  <a:pt x="622" y="519"/>
                </a:lnTo>
                <a:lnTo>
                  <a:pt x="635" y="514"/>
                </a:lnTo>
                <a:lnTo>
                  <a:pt x="646" y="510"/>
                </a:lnTo>
                <a:lnTo>
                  <a:pt x="660" y="508"/>
                </a:lnTo>
                <a:lnTo>
                  <a:pt x="673" y="506"/>
                </a:lnTo>
                <a:lnTo>
                  <a:pt x="687" y="505"/>
                </a:lnTo>
                <a:lnTo>
                  <a:pt x="701" y="504"/>
                </a:lnTo>
                <a:lnTo>
                  <a:pt x="714" y="502"/>
                </a:lnTo>
                <a:lnTo>
                  <a:pt x="728" y="500"/>
                </a:lnTo>
                <a:lnTo>
                  <a:pt x="742" y="496"/>
                </a:lnTo>
                <a:lnTo>
                  <a:pt x="756" y="493"/>
                </a:lnTo>
                <a:lnTo>
                  <a:pt x="763" y="489"/>
                </a:lnTo>
                <a:lnTo>
                  <a:pt x="771" y="488"/>
                </a:lnTo>
                <a:lnTo>
                  <a:pt x="778" y="488"/>
                </a:lnTo>
                <a:lnTo>
                  <a:pt x="786" y="488"/>
                </a:lnTo>
                <a:lnTo>
                  <a:pt x="793" y="488"/>
                </a:lnTo>
                <a:lnTo>
                  <a:pt x="800" y="489"/>
                </a:lnTo>
                <a:lnTo>
                  <a:pt x="805" y="491"/>
                </a:lnTo>
                <a:lnTo>
                  <a:pt x="810" y="491"/>
                </a:lnTo>
                <a:lnTo>
                  <a:pt x="814" y="491"/>
                </a:lnTo>
                <a:lnTo>
                  <a:pt x="820" y="492"/>
                </a:lnTo>
                <a:lnTo>
                  <a:pt x="825" y="494"/>
                </a:lnTo>
                <a:lnTo>
                  <a:pt x="829" y="494"/>
                </a:lnTo>
                <a:lnTo>
                  <a:pt x="827" y="492"/>
                </a:lnTo>
                <a:lnTo>
                  <a:pt x="827" y="489"/>
                </a:lnTo>
                <a:lnTo>
                  <a:pt x="828" y="488"/>
                </a:lnTo>
                <a:lnTo>
                  <a:pt x="829" y="487"/>
                </a:lnTo>
                <a:lnTo>
                  <a:pt x="832" y="486"/>
                </a:lnTo>
                <a:lnTo>
                  <a:pt x="834" y="485"/>
                </a:lnTo>
                <a:lnTo>
                  <a:pt x="835" y="483"/>
                </a:lnTo>
                <a:lnTo>
                  <a:pt x="835" y="480"/>
                </a:lnTo>
                <a:lnTo>
                  <a:pt x="847" y="480"/>
                </a:lnTo>
                <a:lnTo>
                  <a:pt x="861" y="478"/>
                </a:lnTo>
                <a:lnTo>
                  <a:pt x="867" y="477"/>
                </a:lnTo>
                <a:lnTo>
                  <a:pt x="874" y="477"/>
                </a:lnTo>
                <a:lnTo>
                  <a:pt x="880" y="479"/>
                </a:lnTo>
                <a:lnTo>
                  <a:pt x="886" y="481"/>
                </a:lnTo>
                <a:lnTo>
                  <a:pt x="882" y="478"/>
                </a:lnTo>
                <a:lnTo>
                  <a:pt x="876" y="475"/>
                </a:lnTo>
                <a:lnTo>
                  <a:pt x="872" y="470"/>
                </a:lnTo>
                <a:lnTo>
                  <a:pt x="869" y="466"/>
                </a:lnTo>
                <a:lnTo>
                  <a:pt x="882" y="466"/>
                </a:lnTo>
                <a:lnTo>
                  <a:pt x="895" y="466"/>
                </a:lnTo>
                <a:lnTo>
                  <a:pt x="908" y="466"/>
                </a:lnTo>
                <a:lnTo>
                  <a:pt x="920" y="466"/>
                </a:lnTo>
                <a:lnTo>
                  <a:pt x="927" y="466"/>
                </a:lnTo>
                <a:lnTo>
                  <a:pt x="933" y="467"/>
                </a:lnTo>
                <a:lnTo>
                  <a:pt x="935" y="468"/>
                </a:lnTo>
                <a:lnTo>
                  <a:pt x="936" y="469"/>
                </a:lnTo>
                <a:lnTo>
                  <a:pt x="937" y="472"/>
                </a:lnTo>
                <a:lnTo>
                  <a:pt x="939" y="476"/>
                </a:lnTo>
                <a:lnTo>
                  <a:pt x="929" y="473"/>
                </a:lnTo>
                <a:lnTo>
                  <a:pt x="917" y="472"/>
                </a:lnTo>
                <a:lnTo>
                  <a:pt x="911" y="472"/>
                </a:lnTo>
                <a:lnTo>
                  <a:pt x="907" y="473"/>
                </a:lnTo>
                <a:lnTo>
                  <a:pt x="904" y="475"/>
                </a:lnTo>
                <a:lnTo>
                  <a:pt x="904" y="477"/>
                </a:lnTo>
                <a:lnTo>
                  <a:pt x="904" y="479"/>
                </a:lnTo>
                <a:lnTo>
                  <a:pt x="904" y="483"/>
                </a:lnTo>
                <a:lnTo>
                  <a:pt x="907" y="480"/>
                </a:lnTo>
                <a:lnTo>
                  <a:pt x="909" y="478"/>
                </a:lnTo>
                <a:lnTo>
                  <a:pt x="911" y="478"/>
                </a:lnTo>
                <a:lnTo>
                  <a:pt x="915" y="478"/>
                </a:lnTo>
                <a:lnTo>
                  <a:pt x="920" y="479"/>
                </a:lnTo>
                <a:lnTo>
                  <a:pt x="926" y="480"/>
                </a:lnTo>
                <a:lnTo>
                  <a:pt x="932" y="481"/>
                </a:lnTo>
                <a:lnTo>
                  <a:pt x="936" y="481"/>
                </a:lnTo>
                <a:lnTo>
                  <a:pt x="941" y="480"/>
                </a:lnTo>
                <a:lnTo>
                  <a:pt x="945" y="477"/>
                </a:lnTo>
                <a:lnTo>
                  <a:pt x="948" y="475"/>
                </a:lnTo>
                <a:lnTo>
                  <a:pt x="950" y="473"/>
                </a:lnTo>
                <a:lnTo>
                  <a:pt x="952" y="473"/>
                </a:lnTo>
                <a:lnTo>
                  <a:pt x="953" y="475"/>
                </a:lnTo>
                <a:lnTo>
                  <a:pt x="957" y="478"/>
                </a:lnTo>
                <a:lnTo>
                  <a:pt x="962" y="480"/>
                </a:lnTo>
                <a:lnTo>
                  <a:pt x="974" y="481"/>
                </a:lnTo>
                <a:lnTo>
                  <a:pt x="986" y="480"/>
                </a:lnTo>
                <a:lnTo>
                  <a:pt x="1002" y="478"/>
                </a:lnTo>
                <a:lnTo>
                  <a:pt x="1017" y="476"/>
                </a:lnTo>
                <a:lnTo>
                  <a:pt x="1020" y="475"/>
                </a:lnTo>
                <a:lnTo>
                  <a:pt x="1025" y="476"/>
                </a:lnTo>
                <a:lnTo>
                  <a:pt x="1026" y="478"/>
                </a:lnTo>
                <a:lnTo>
                  <a:pt x="1026" y="481"/>
                </a:lnTo>
                <a:lnTo>
                  <a:pt x="1023" y="483"/>
                </a:lnTo>
                <a:lnTo>
                  <a:pt x="1018" y="483"/>
                </a:lnTo>
                <a:lnTo>
                  <a:pt x="1016" y="484"/>
                </a:lnTo>
                <a:lnTo>
                  <a:pt x="1015" y="483"/>
                </a:lnTo>
                <a:lnTo>
                  <a:pt x="1014" y="481"/>
                </a:lnTo>
                <a:lnTo>
                  <a:pt x="1012" y="481"/>
                </a:lnTo>
                <a:lnTo>
                  <a:pt x="1011" y="483"/>
                </a:lnTo>
                <a:lnTo>
                  <a:pt x="1010" y="485"/>
                </a:lnTo>
                <a:lnTo>
                  <a:pt x="1010" y="487"/>
                </a:lnTo>
                <a:lnTo>
                  <a:pt x="1011" y="488"/>
                </a:lnTo>
                <a:lnTo>
                  <a:pt x="1018" y="489"/>
                </a:lnTo>
                <a:lnTo>
                  <a:pt x="1025" y="488"/>
                </a:lnTo>
                <a:lnTo>
                  <a:pt x="1031" y="489"/>
                </a:lnTo>
                <a:lnTo>
                  <a:pt x="1039" y="489"/>
                </a:lnTo>
                <a:lnTo>
                  <a:pt x="1042" y="488"/>
                </a:lnTo>
                <a:lnTo>
                  <a:pt x="1045" y="488"/>
                </a:lnTo>
                <a:lnTo>
                  <a:pt x="1048" y="486"/>
                </a:lnTo>
                <a:lnTo>
                  <a:pt x="1050" y="484"/>
                </a:lnTo>
                <a:lnTo>
                  <a:pt x="1044" y="484"/>
                </a:lnTo>
                <a:lnTo>
                  <a:pt x="1040" y="484"/>
                </a:lnTo>
                <a:lnTo>
                  <a:pt x="1042" y="481"/>
                </a:lnTo>
                <a:lnTo>
                  <a:pt x="1045" y="481"/>
                </a:lnTo>
                <a:lnTo>
                  <a:pt x="1048" y="481"/>
                </a:lnTo>
                <a:lnTo>
                  <a:pt x="1051" y="484"/>
                </a:lnTo>
                <a:lnTo>
                  <a:pt x="1053" y="486"/>
                </a:lnTo>
                <a:lnTo>
                  <a:pt x="1056" y="488"/>
                </a:lnTo>
                <a:lnTo>
                  <a:pt x="1059" y="489"/>
                </a:lnTo>
                <a:lnTo>
                  <a:pt x="1061" y="492"/>
                </a:lnTo>
                <a:lnTo>
                  <a:pt x="1066" y="496"/>
                </a:lnTo>
                <a:lnTo>
                  <a:pt x="1071" y="500"/>
                </a:lnTo>
                <a:lnTo>
                  <a:pt x="1075" y="503"/>
                </a:lnTo>
                <a:lnTo>
                  <a:pt x="1081" y="506"/>
                </a:lnTo>
                <a:lnTo>
                  <a:pt x="1071" y="508"/>
                </a:lnTo>
                <a:lnTo>
                  <a:pt x="1060" y="510"/>
                </a:lnTo>
                <a:lnTo>
                  <a:pt x="1066" y="514"/>
                </a:lnTo>
                <a:lnTo>
                  <a:pt x="1073" y="518"/>
                </a:lnTo>
                <a:lnTo>
                  <a:pt x="1080" y="519"/>
                </a:lnTo>
                <a:lnTo>
                  <a:pt x="1086" y="520"/>
                </a:lnTo>
                <a:lnTo>
                  <a:pt x="1094" y="521"/>
                </a:lnTo>
                <a:lnTo>
                  <a:pt x="1101" y="522"/>
                </a:lnTo>
                <a:lnTo>
                  <a:pt x="1108" y="525"/>
                </a:lnTo>
                <a:lnTo>
                  <a:pt x="1114" y="529"/>
                </a:lnTo>
                <a:lnTo>
                  <a:pt x="1100" y="529"/>
                </a:lnTo>
                <a:lnTo>
                  <a:pt x="1085" y="529"/>
                </a:lnTo>
                <a:lnTo>
                  <a:pt x="1080" y="529"/>
                </a:lnTo>
                <a:lnTo>
                  <a:pt x="1074" y="529"/>
                </a:lnTo>
                <a:lnTo>
                  <a:pt x="1071" y="530"/>
                </a:lnTo>
                <a:lnTo>
                  <a:pt x="1068" y="531"/>
                </a:lnTo>
                <a:lnTo>
                  <a:pt x="1067" y="534"/>
                </a:lnTo>
                <a:lnTo>
                  <a:pt x="1067" y="536"/>
                </a:lnTo>
                <a:lnTo>
                  <a:pt x="1067" y="538"/>
                </a:lnTo>
                <a:lnTo>
                  <a:pt x="1068" y="541"/>
                </a:lnTo>
                <a:lnTo>
                  <a:pt x="1069" y="542"/>
                </a:lnTo>
                <a:lnTo>
                  <a:pt x="1071" y="542"/>
                </a:lnTo>
                <a:lnTo>
                  <a:pt x="1075" y="542"/>
                </a:lnTo>
                <a:lnTo>
                  <a:pt x="1078" y="541"/>
                </a:lnTo>
                <a:lnTo>
                  <a:pt x="1084" y="539"/>
                </a:lnTo>
                <a:lnTo>
                  <a:pt x="1089" y="539"/>
                </a:lnTo>
                <a:lnTo>
                  <a:pt x="1096" y="542"/>
                </a:lnTo>
                <a:lnTo>
                  <a:pt x="1101" y="545"/>
                </a:lnTo>
                <a:lnTo>
                  <a:pt x="1107" y="546"/>
                </a:lnTo>
                <a:lnTo>
                  <a:pt x="1113" y="546"/>
                </a:lnTo>
                <a:lnTo>
                  <a:pt x="1118" y="545"/>
                </a:lnTo>
                <a:lnTo>
                  <a:pt x="1124" y="544"/>
                </a:lnTo>
                <a:lnTo>
                  <a:pt x="1130" y="544"/>
                </a:lnTo>
                <a:lnTo>
                  <a:pt x="1135" y="545"/>
                </a:lnTo>
                <a:lnTo>
                  <a:pt x="1143" y="545"/>
                </a:lnTo>
                <a:lnTo>
                  <a:pt x="1152" y="545"/>
                </a:lnTo>
                <a:lnTo>
                  <a:pt x="1167" y="545"/>
                </a:lnTo>
                <a:lnTo>
                  <a:pt x="1183" y="545"/>
                </a:lnTo>
                <a:lnTo>
                  <a:pt x="1189" y="545"/>
                </a:lnTo>
                <a:lnTo>
                  <a:pt x="1195" y="545"/>
                </a:lnTo>
                <a:lnTo>
                  <a:pt x="1197" y="544"/>
                </a:lnTo>
                <a:lnTo>
                  <a:pt x="1198" y="543"/>
                </a:lnTo>
                <a:lnTo>
                  <a:pt x="1197" y="542"/>
                </a:lnTo>
                <a:lnTo>
                  <a:pt x="1198" y="539"/>
                </a:lnTo>
                <a:lnTo>
                  <a:pt x="1199" y="537"/>
                </a:lnTo>
                <a:lnTo>
                  <a:pt x="1200" y="536"/>
                </a:lnTo>
                <a:lnTo>
                  <a:pt x="1203" y="537"/>
                </a:lnTo>
                <a:lnTo>
                  <a:pt x="1205" y="537"/>
                </a:lnTo>
                <a:lnTo>
                  <a:pt x="1209" y="537"/>
                </a:lnTo>
                <a:lnTo>
                  <a:pt x="1213" y="536"/>
                </a:lnTo>
                <a:lnTo>
                  <a:pt x="1215" y="534"/>
                </a:lnTo>
                <a:lnTo>
                  <a:pt x="1217" y="529"/>
                </a:lnTo>
                <a:lnTo>
                  <a:pt x="1224" y="521"/>
                </a:lnTo>
                <a:lnTo>
                  <a:pt x="1230" y="514"/>
                </a:lnTo>
                <a:lnTo>
                  <a:pt x="1232" y="510"/>
                </a:lnTo>
                <a:lnTo>
                  <a:pt x="1234" y="505"/>
                </a:lnTo>
                <a:lnTo>
                  <a:pt x="1236" y="500"/>
                </a:lnTo>
                <a:lnTo>
                  <a:pt x="1236" y="493"/>
                </a:lnTo>
                <a:lnTo>
                  <a:pt x="1240" y="486"/>
                </a:lnTo>
                <a:lnTo>
                  <a:pt x="1244" y="477"/>
                </a:lnTo>
                <a:lnTo>
                  <a:pt x="1242" y="473"/>
                </a:lnTo>
                <a:lnTo>
                  <a:pt x="1240" y="470"/>
                </a:lnTo>
                <a:lnTo>
                  <a:pt x="1237" y="468"/>
                </a:lnTo>
                <a:lnTo>
                  <a:pt x="1233" y="466"/>
                </a:lnTo>
                <a:lnTo>
                  <a:pt x="1226" y="463"/>
                </a:lnTo>
                <a:lnTo>
                  <a:pt x="1220" y="461"/>
                </a:lnTo>
                <a:lnTo>
                  <a:pt x="1213" y="460"/>
                </a:lnTo>
                <a:lnTo>
                  <a:pt x="1205" y="460"/>
                </a:lnTo>
                <a:lnTo>
                  <a:pt x="1200" y="460"/>
                </a:lnTo>
                <a:lnTo>
                  <a:pt x="1196" y="460"/>
                </a:lnTo>
                <a:lnTo>
                  <a:pt x="1191" y="458"/>
                </a:lnTo>
                <a:lnTo>
                  <a:pt x="1187" y="454"/>
                </a:lnTo>
                <a:lnTo>
                  <a:pt x="1175" y="451"/>
                </a:lnTo>
                <a:lnTo>
                  <a:pt x="1163" y="450"/>
                </a:lnTo>
                <a:lnTo>
                  <a:pt x="1154" y="453"/>
                </a:lnTo>
                <a:lnTo>
                  <a:pt x="1146" y="456"/>
                </a:lnTo>
                <a:lnTo>
                  <a:pt x="1141" y="455"/>
                </a:lnTo>
                <a:lnTo>
                  <a:pt x="1137" y="453"/>
                </a:lnTo>
                <a:lnTo>
                  <a:pt x="1133" y="452"/>
                </a:lnTo>
                <a:lnTo>
                  <a:pt x="1131" y="452"/>
                </a:lnTo>
                <a:lnTo>
                  <a:pt x="1129" y="453"/>
                </a:lnTo>
                <a:lnTo>
                  <a:pt x="1125" y="454"/>
                </a:lnTo>
                <a:lnTo>
                  <a:pt x="1118" y="456"/>
                </a:lnTo>
                <a:lnTo>
                  <a:pt x="1111" y="458"/>
                </a:lnTo>
                <a:lnTo>
                  <a:pt x="1104" y="456"/>
                </a:lnTo>
                <a:lnTo>
                  <a:pt x="1097" y="458"/>
                </a:lnTo>
                <a:lnTo>
                  <a:pt x="1098" y="454"/>
                </a:lnTo>
                <a:lnTo>
                  <a:pt x="1099" y="453"/>
                </a:lnTo>
                <a:lnTo>
                  <a:pt x="1101" y="453"/>
                </a:lnTo>
                <a:lnTo>
                  <a:pt x="1102" y="452"/>
                </a:lnTo>
                <a:lnTo>
                  <a:pt x="1106" y="452"/>
                </a:lnTo>
                <a:lnTo>
                  <a:pt x="1109" y="450"/>
                </a:lnTo>
                <a:lnTo>
                  <a:pt x="1107" y="448"/>
                </a:lnTo>
                <a:lnTo>
                  <a:pt x="1104" y="447"/>
                </a:lnTo>
                <a:lnTo>
                  <a:pt x="1102" y="447"/>
                </a:lnTo>
                <a:lnTo>
                  <a:pt x="1101" y="446"/>
                </a:lnTo>
                <a:lnTo>
                  <a:pt x="1102" y="445"/>
                </a:lnTo>
                <a:lnTo>
                  <a:pt x="1104" y="443"/>
                </a:lnTo>
                <a:lnTo>
                  <a:pt x="1106" y="443"/>
                </a:lnTo>
                <a:lnTo>
                  <a:pt x="1108" y="441"/>
                </a:lnTo>
                <a:lnTo>
                  <a:pt x="1108" y="439"/>
                </a:lnTo>
                <a:lnTo>
                  <a:pt x="1106" y="437"/>
                </a:lnTo>
                <a:lnTo>
                  <a:pt x="1104" y="436"/>
                </a:lnTo>
                <a:lnTo>
                  <a:pt x="1102" y="436"/>
                </a:lnTo>
                <a:lnTo>
                  <a:pt x="1089" y="436"/>
                </a:lnTo>
                <a:lnTo>
                  <a:pt x="1076" y="436"/>
                </a:lnTo>
                <a:lnTo>
                  <a:pt x="1063" y="435"/>
                </a:lnTo>
                <a:lnTo>
                  <a:pt x="1049" y="435"/>
                </a:lnTo>
                <a:lnTo>
                  <a:pt x="1035" y="434"/>
                </a:lnTo>
                <a:lnTo>
                  <a:pt x="1023" y="435"/>
                </a:lnTo>
                <a:lnTo>
                  <a:pt x="1017" y="435"/>
                </a:lnTo>
                <a:lnTo>
                  <a:pt x="1012" y="435"/>
                </a:lnTo>
                <a:lnTo>
                  <a:pt x="1009" y="434"/>
                </a:lnTo>
                <a:lnTo>
                  <a:pt x="1006" y="430"/>
                </a:lnTo>
                <a:lnTo>
                  <a:pt x="1002" y="427"/>
                </a:lnTo>
                <a:lnTo>
                  <a:pt x="998" y="425"/>
                </a:lnTo>
                <a:lnTo>
                  <a:pt x="992" y="423"/>
                </a:lnTo>
                <a:lnTo>
                  <a:pt x="987" y="423"/>
                </a:lnTo>
                <a:lnTo>
                  <a:pt x="976" y="425"/>
                </a:lnTo>
                <a:lnTo>
                  <a:pt x="967" y="426"/>
                </a:lnTo>
                <a:lnTo>
                  <a:pt x="960" y="427"/>
                </a:lnTo>
                <a:lnTo>
                  <a:pt x="954" y="428"/>
                </a:lnTo>
                <a:lnTo>
                  <a:pt x="952" y="426"/>
                </a:lnTo>
                <a:lnTo>
                  <a:pt x="950" y="425"/>
                </a:lnTo>
                <a:lnTo>
                  <a:pt x="948" y="426"/>
                </a:lnTo>
                <a:lnTo>
                  <a:pt x="946" y="427"/>
                </a:lnTo>
                <a:lnTo>
                  <a:pt x="940" y="427"/>
                </a:lnTo>
                <a:lnTo>
                  <a:pt x="932" y="427"/>
                </a:lnTo>
                <a:lnTo>
                  <a:pt x="925" y="427"/>
                </a:lnTo>
                <a:lnTo>
                  <a:pt x="918" y="427"/>
                </a:lnTo>
                <a:lnTo>
                  <a:pt x="905" y="426"/>
                </a:lnTo>
                <a:lnTo>
                  <a:pt x="894" y="427"/>
                </a:lnTo>
                <a:lnTo>
                  <a:pt x="879" y="427"/>
                </a:lnTo>
                <a:lnTo>
                  <a:pt x="865" y="428"/>
                </a:lnTo>
                <a:lnTo>
                  <a:pt x="851" y="428"/>
                </a:lnTo>
                <a:lnTo>
                  <a:pt x="837" y="428"/>
                </a:lnTo>
                <a:lnTo>
                  <a:pt x="824" y="428"/>
                </a:lnTo>
                <a:lnTo>
                  <a:pt x="810" y="428"/>
                </a:lnTo>
                <a:lnTo>
                  <a:pt x="797" y="429"/>
                </a:lnTo>
                <a:lnTo>
                  <a:pt x="784" y="430"/>
                </a:lnTo>
                <a:lnTo>
                  <a:pt x="771" y="433"/>
                </a:lnTo>
                <a:lnTo>
                  <a:pt x="759" y="435"/>
                </a:lnTo>
                <a:lnTo>
                  <a:pt x="745" y="438"/>
                </a:lnTo>
                <a:lnTo>
                  <a:pt x="730" y="441"/>
                </a:lnTo>
                <a:lnTo>
                  <a:pt x="723" y="442"/>
                </a:lnTo>
                <a:lnTo>
                  <a:pt x="717" y="443"/>
                </a:lnTo>
                <a:lnTo>
                  <a:pt x="710" y="442"/>
                </a:lnTo>
                <a:lnTo>
                  <a:pt x="704" y="442"/>
                </a:lnTo>
                <a:lnTo>
                  <a:pt x="701" y="444"/>
                </a:lnTo>
                <a:lnTo>
                  <a:pt x="698" y="447"/>
                </a:lnTo>
                <a:lnTo>
                  <a:pt x="694" y="448"/>
                </a:lnTo>
                <a:lnTo>
                  <a:pt x="689" y="448"/>
                </a:lnTo>
                <a:lnTo>
                  <a:pt x="684" y="450"/>
                </a:lnTo>
                <a:lnTo>
                  <a:pt x="679" y="450"/>
                </a:lnTo>
                <a:lnTo>
                  <a:pt x="674" y="452"/>
                </a:lnTo>
                <a:lnTo>
                  <a:pt x="670" y="455"/>
                </a:lnTo>
                <a:lnTo>
                  <a:pt x="674" y="456"/>
                </a:lnTo>
                <a:lnTo>
                  <a:pt x="680" y="456"/>
                </a:lnTo>
                <a:lnTo>
                  <a:pt x="685" y="456"/>
                </a:lnTo>
                <a:lnTo>
                  <a:pt x="688" y="456"/>
                </a:lnTo>
                <a:lnTo>
                  <a:pt x="689" y="458"/>
                </a:lnTo>
                <a:lnTo>
                  <a:pt x="689" y="459"/>
                </a:lnTo>
                <a:lnTo>
                  <a:pt x="689" y="461"/>
                </a:lnTo>
                <a:lnTo>
                  <a:pt x="688" y="462"/>
                </a:lnTo>
                <a:lnTo>
                  <a:pt x="686" y="464"/>
                </a:lnTo>
                <a:lnTo>
                  <a:pt x="684" y="467"/>
                </a:lnTo>
                <a:lnTo>
                  <a:pt x="694" y="468"/>
                </a:lnTo>
                <a:lnTo>
                  <a:pt x="705" y="468"/>
                </a:lnTo>
                <a:lnTo>
                  <a:pt x="679" y="472"/>
                </a:lnTo>
                <a:lnTo>
                  <a:pt x="653" y="477"/>
                </a:lnTo>
                <a:lnTo>
                  <a:pt x="627" y="481"/>
                </a:lnTo>
                <a:lnTo>
                  <a:pt x="602" y="487"/>
                </a:lnTo>
                <a:lnTo>
                  <a:pt x="575" y="493"/>
                </a:lnTo>
                <a:lnTo>
                  <a:pt x="549" y="497"/>
                </a:lnTo>
                <a:lnTo>
                  <a:pt x="523" y="503"/>
                </a:lnTo>
                <a:lnTo>
                  <a:pt x="498" y="508"/>
                </a:lnTo>
                <a:lnTo>
                  <a:pt x="501" y="505"/>
                </a:lnTo>
                <a:lnTo>
                  <a:pt x="504" y="503"/>
                </a:lnTo>
                <a:lnTo>
                  <a:pt x="505" y="502"/>
                </a:lnTo>
                <a:lnTo>
                  <a:pt x="504" y="501"/>
                </a:lnTo>
                <a:lnTo>
                  <a:pt x="503" y="500"/>
                </a:lnTo>
                <a:lnTo>
                  <a:pt x="499" y="500"/>
                </a:lnTo>
                <a:lnTo>
                  <a:pt x="496" y="498"/>
                </a:lnTo>
                <a:lnTo>
                  <a:pt x="492" y="498"/>
                </a:lnTo>
                <a:lnTo>
                  <a:pt x="491" y="500"/>
                </a:lnTo>
                <a:lnTo>
                  <a:pt x="490" y="502"/>
                </a:lnTo>
                <a:lnTo>
                  <a:pt x="490" y="503"/>
                </a:lnTo>
                <a:lnTo>
                  <a:pt x="490" y="505"/>
                </a:lnTo>
                <a:lnTo>
                  <a:pt x="487" y="506"/>
                </a:lnTo>
                <a:lnTo>
                  <a:pt x="481" y="506"/>
                </a:lnTo>
                <a:lnTo>
                  <a:pt x="474" y="506"/>
                </a:lnTo>
                <a:lnTo>
                  <a:pt x="466" y="508"/>
                </a:lnTo>
                <a:lnTo>
                  <a:pt x="460" y="510"/>
                </a:lnTo>
                <a:lnTo>
                  <a:pt x="453" y="513"/>
                </a:lnTo>
                <a:lnTo>
                  <a:pt x="449" y="514"/>
                </a:lnTo>
                <a:lnTo>
                  <a:pt x="446" y="516"/>
                </a:lnTo>
                <a:lnTo>
                  <a:pt x="442" y="516"/>
                </a:lnTo>
                <a:lnTo>
                  <a:pt x="440" y="516"/>
                </a:lnTo>
                <a:lnTo>
                  <a:pt x="443" y="513"/>
                </a:lnTo>
                <a:lnTo>
                  <a:pt x="447" y="512"/>
                </a:lnTo>
                <a:lnTo>
                  <a:pt x="447" y="510"/>
                </a:lnTo>
                <a:lnTo>
                  <a:pt x="447" y="509"/>
                </a:lnTo>
                <a:lnTo>
                  <a:pt x="446" y="508"/>
                </a:lnTo>
                <a:lnTo>
                  <a:pt x="443" y="508"/>
                </a:lnTo>
                <a:lnTo>
                  <a:pt x="440" y="508"/>
                </a:lnTo>
                <a:lnTo>
                  <a:pt x="438" y="508"/>
                </a:lnTo>
                <a:lnTo>
                  <a:pt x="427" y="510"/>
                </a:lnTo>
                <a:lnTo>
                  <a:pt x="418" y="512"/>
                </a:lnTo>
                <a:lnTo>
                  <a:pt x="408" y="514"/>
                </a:lnTo>
                <a:lnTo>
                  <a:pt x="398" y="516"/>
                </a:lnTo>
                <a:lnTo>
                  <a:pt x="392" y="517"/>
                </a:lnTo>
                <a:lnTo>
                  <a:pt x="389" y="520"/>
                </a:lnTo>
                <a:lnTo>
                  <a:pt x="387" y="525"/>
                </a:lnTo>
                <a:lnTo>
                  <a:pt x="385" y="530"/>
                </a:lnTo>
                <a:lnTo>
                  <a:pt x="385" y="534"/>
                </a:lnTo>
                <a:lnTo>
                  <a:pt x="385" y="535"/>
                </a:lnTo>
                <a:lnTo>
                  <a:pt x="384" y="536"/>
                </a:lnTo>
                <a:lnTo>
                  <a:pt x="381" y="536"/>
                </a:lnTo>
                <a:lnTo>
                  <a:pt x="374" y="538"/>
                </a:lnTo>
                <a:lnTo>
                  <a:pt x="365" y="538"/>
                </a:lnTo>
                <a:lnTo>
                  <a:pt x="371" y="536"/>
                </a:lnTo>
                <a:lnTo>
                  <a:pt x="377" y="530"/>
                </a:lnTo>
                <a:lnTo>
                  <a:pt x="381" y="528"/>
                </a:lnTo>
                <a:lnTo>
                  <a:pt x="382" y="526"/>
                </a:lnTo>
                <a:lnTo>
                  <a:pt x="382" y="523"/>
                </a:lnTo>
                <a:lnTo>
                  <a:pt x="380" y="521"/>
                </a:lnTo>
                <a:lnTo>
                  <a:pt x="376" y="520"/>
                </a:lnTo>
                <a:lnTo>
                  <a:pt x="373" y="521"/>
                </a:lnTo>
                <a:lnTo>
                  <a:pt x="369" y="523"/>
                </a:lnTo>
                <a:lnTo>
                  <a:pt x="367" y="526"/>
                </a:lnTo>
                <a:lnTo>
                  <a:pt x="358" y="529"/>
                </a:lnTo>
                <a:lnTo>
                  <a:pt x="349" y="531"/>
                </a:lnTo>
                <a:lnTo>
                  <a:pt x="331" y="535"/>
                </a:lnTo>
                <a:lnTo>
                  <a:pt x="313" y="538"/>
                </a:lnTo>
                <a:lnTo>
                  <a:pt x="294" y="542"/>
                </a:lnTo>
                <a:lnTo>
                  <a:pt x="276" y="545"/>
                </a:lnTo>
                <a:lnTo>
                  <a:pt x="258" y="551"/>
                </a:lnTo>
                <a:lnTo>
                  <a:pt x="240" y="558"/>
                </a:lnTo>
                <a:lnTo>
                  <a:pt x="231" y="560"/>
                </a:lnTo>
                <a:lnTo>
                  <a:pt x="221" y="562"/>
                </a:lnTo>
                <a:lnTo>
                  <a:pt x="212" y="563"/>
                </a:lnTo>
                <a:lnTo>
                  <a:pt x="203" y="564"/>
                </a:lnTo>
                <a:lnTo>
                  <a:pt x="194" y="564"/>
                </a:lnTo>
                <a:lnTo>
                  <a:pt x="185" y="564"/>
                </a:lnTo>
                <a:lnTo>
                  <a:pt x="177" y="566"/>
                </a:lnTo>
                <a:lnTo>
                  <a:pt x="168" y="569"/>
                </a:lnTo>
                <a:lnTo>
                  <a:pt x="162" y="572"/>
                </a:lnTo>
                <a:lnTo>
                  <a:pt x="157" y="576"/>
                </a:lnTo>
                <a:lnTo>
                  <a:pt x="154" y="577"/>
                </a:lnTo>
                <a:lnTo>
                  <a:pt x="151" y="578"/>
                </a:lnTo>
                <a:lnTo>
                  <a:pt x="148" y="578"/>
                </a:lnTo>
                <a:lnTo>
                  <a:pt x="144" y="578"/>
                </a:lnTo>
                <a:lnTo>
                  <a:pt x="157" y="566"/>
                </a:lnTo>
                <a:lnTo>
                  <a:pt x="169" y="555"/>
                </a:lnTo>
                <a:lnTo>
                  <a:pt x="178" y="551"/>
                </a:lnTo>
                <a:lnTo>
                  <a:pt x="187" y="546"/>
                </a:lnTo>
                <a:lnTo>
                  <a:pt x="195" y="541"/>
                </a:lnTo>
                <a:lnTo>
                  <a:pt x="204" y="537"/>
                </a:lnTo>
                <a:lnTo>
                  <a:pt x="214" y="534"/>
                </a:lnTo>
                <a:lnTo>
                  <a:pt x="224" y="530"/>
                </a:lnTo>
                <a:lnTo>
                  <a:pt x="234" y="528"/>
                </a:lnTo>
                <a:lnTo>
                  <a:pt x="243" y="526"/>
                </a:lnTo>
                <a:lnTo>
                  <a:pt x="252" y="522"/>
                </a:lnTo>
                <a:lnTo>
                  <a:pt x="262" y="520"/>
                </a:lnTo>
                <a:lnTo>
                  <a:pt x="269" y="518"/>
                </a:lnTo>
                <a:lnTo>
                  <a:pt x="278" y="513"/>
                </a:lnTo>
                <a:lnTo>
                  <a:pt x="278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4"/>
                </a:lnTo>
                <a:lnTo>
                  <a:pt x="280" y="513"/>
                </a:lnTo>
                <a:lnTo>
                  <a:pt x="280" y="512"/>
                </a:lnTo>
                <a:lnTo>
                  <a:pt x="280" y="512"/>
                </a:lnTo>
                <a:lnTo>
                  <a:pt x="280" y="512"/>
                </a:lnTo>
                <a:lnTo>
                  <a:pt x="281" y="512"/>
                </a:lnTo>
                <a:lnTo>
                  <a:pt x="281" y="512"/>
                </a:lnTo>
                <a:lnTo>
                  <a:pt x="281" y="510"/>
                </a:lnTo>
                <a:lnTo>
                  <a:pt x="282" y="508"/>
                </a:lnTo>
                <a:lnTo>
                  <a:pt x="283" y="506"/>
                </a:lnTo>
                <a:lnTo>
                  <a:pt x="286" y="506"/>
                </a:lnTo>
                <a:lnTo>
                  <a:pt x="291" y="506"/>
                </a:lnTo>
                <a:lnTo>
                  <a:pt x="297" y="506"/>
                </a:lnTo>
                <a:lnTo>
                  <a:pt x="307" y="504"/>
                </a:lnTo>
                <a:lnTo>
                  <a:pt x="317" y="501"/>
                </a:lnTo>
                <a:lnTo>
                  <a:pt x="327" y="497"/>
                </a:lnTo>
                <a:lnTo>
                  <a:pt x="338" y="496"/>
                </a:lnTo>
                <a:lnTo>
                  <a:pt x="347" y="494"/>
                </a:lnTo>
                <a:lnTo>
                  <a:pt x="356" y="491"/>
                </a:lnTo>
                <a:lnTo>
                  <a:pt x="359" y="489"/>
                </a:lnTo>
                <a:lnTo>
                  <a:pt x="360" y="488"/>
                </a:lnTo>
                <a:lnTo>
                  <a:pt x="360" y="486"/>
                </a:lnTo>
                <a:lnTo>
                  <a:pt x="358" y="484"/>
                </a:lnTo>
                <a:lnTo>
                  <a:pt x="357" y="480"/>
                </a:lnTo>
                <a:lnTo>
                  <a:pt x="356" y="478"/>
                </a:lnTo>
                <a:lnTo>
                  <a:pt x="357" y="476"/>
                </a:lnTo>
                <a:lnTo>
                  <a:pt x="358" y="476"/>
                </a:lnTo>
                <a:lnTo>
                  <a:pt x="359" y="475"/>
                </a:lnTo>
                <a:lnTo>
                  <a:pt x="361" y="475"/>
                </a:lnTo>
                <a:lnTo>
                  <a:pt x="366" y="475"/>
                </a:lnTo>
                <a:lnTo>
                  <a:pt x="369" y="476"/>
                </a:lnTo>
                <a:lnTo>
                  <a:pt x="374" y="477"/>
                </a:lnTo>
                <a:lnTo>
                  <a:pt x="377" y="479"/>
                </a:lnTo>
                <a:lnTo>
                  <a:pt x="379" y="477"/>
                </a:lnTo>
                <a:lnTo>
                  <a:pt x="381" y="475"/>
                </a:lnTo>
                <a:lnTo>
                  <a:pt x="383" y="473"/>
                </a:lnTo>
                <a:lnTo>
                  <a:pt x="387" y="473"/>
                </a:lnTo>
                <a:lnTo>
                  <a:pt x="391" y="473"/>
                </a:lnTo>
                <a:lnTo>
                  <a:pt x="398" y="473"/>
                </a:lnTo>
                <a:lnTo>
                  <a:pt x="407" y="470"/>
                </a:lnTo>
                <a:lnTo>
                  <a:pt x="417" y="464"/>
                </a:lnTo>
                <a:lnTo>
                  <a:pt x="423" y="463"/>
                </a:lnTo>
                <a:lnTo>
                  <a:pt x="430" y="463"/>
                </a:lnTo>
                <a:lnTo>
                  <a:pt x="435" y="466"/>
                </a:lnTo>
                <a:lnTo>
                  <a:pt x="440" y="466"/>
                </a:lnTo>
                <a:lnTo>
                  <a:pt x="448" y="462"/>
                </a:lnTo>
                <a:lnTo>
                  <a:pt x="455" y="459"/>
                </a:lnTo>
                <a:lnTo>
                  <a:pt x="463" y="455"/>
                </a:lnTo>
                <a:lnTo>
                  <a:pt x="472" y="453"/>
                </a:lnTo>
                <a:lnTo>
                  <a:pt x="475" y="452"/>
                </a:lnTo>
                <a:lnTo>
                  <a:pt x="479" y="451"/>
                </a:lnTo>
                <a:lnTo>
                  <a:pt x="481" y="452"/>
                </a:lnTo>
                <a:lnTo>
                  <a:pt x="482" y="454"/>
                </a:lnTo>
                <a:lnTo>
                  <a:pt x="484" y="456"/>
                </a:lnTo>
                <a:lnTo>
                  <a:pt x="487" y="458"/>
                </a:lnTo>
                <a:lnTo>
                  <a:pt x="489" y="458"/>
                </a:lnTo>
                <a:lnTo>
                  <a:pt x="492" y="456"/>
                </a:lnTo>
                <a:lnTo>
                  <a:pt x="496" y="452"/>
                </a:lnTo>
                <a:lnTo>
                  <a:pt x="497" y="446"/>
                </a:lnTo>
                <a:lnTo>
                  <a:pt x="498" y="445"/>
                </a:lnTo>
                <a:lnTo>
                  <a:pt x="499" y="444"/>
                </a:lnTo>
                <a:lnTo>
                  <a:pt x="500" y="443"/>
                </a:lnTo>
                <a:lnTo>
                  <a:pt x="503" y="443"/>
                </a:lnTo>
                <a:lnTo>
                  <a:pt x="507" y="442"/>
                </a:lnTo>
                <a:lnTo>
                  <a:pt x="512" y="441"/>
                </a:lnTo>
                <a:lnTo>
                  <a:pt x="530" y="437"/>
                </a:lnTo>
                <a:lnTo>
                  <a:pt x="548" y="436"/>
                </a:lnTo>
                <a:lnTo>
                  <a:pt x="566" y="435"/>
                </a:lnTo>
                <a:lnTo>
                  <a:pt x="586" y="436"/>
                </a:lnTo>
                <a:lnTo>
                  <a:pt x="580" y="433"/>
                </a:lnTo>
                <a:lnTo>
                  <a:pt x="575" y="428"/>
                </a:lnTo>
                <a:lnTo>
                  <a:pt x="582" y="428"/>
                </a:lnTo>
                <a:lnTo>
                  <a:pt x="588" y="426"/>
                </a:lnTo>
                <a:lnTo>
                  <a:pt x="593" y="422"/>
                </a:lnTo>
                <a:lnTo>
                  <a:pt x="598" y="419"/>
                </a:lnTo>
                <a:lnTo>
                  <a:pt x="599" y="422"/>
                </a:lnTo>
                <a:lnTo>
                  <a:pt x="602" y="425"/>
                </a:lnTo>
                <a:lnTo>
                  <a:pt x="604" y="427"/>
                </a:lnTo>
                <a:lnTo>
                  <a:pt x="606" y="428"/>
                </a:lnTo>
                <a:lnTo>
                  <a:pt x="612" y="431"/>
                </a:lnTo>
                <a:lnTo>
                  <a:pt x="618" y="434"/>
                </a:lnTo>
                <a:lnTo>
                  <a:pt x="619" y="437"/>
                </a:lnTo>
                <a:lnTo>
                  <a:pt x="621" y="439"/>
                </a:lnTo>
                <a:lnTo>
                  <a:pt x="624" y="442"/>
                </a:lnTo>
                <a:lnTo>
                  <a:pt x="628" y="443"/>
                </a:lnTo>
                <a:lnTo>
                  <a:pt x="629" y="443"/>
                </a:lnTo>
                <a:lnTo>
                  <a:pt x="628" y="443"/>
                </a:lnTo>
                <a:lnTo>
                  <a:pt x="633" y="444"/>
                </a:lnTo>
                <a:lnTo>
                  <a:pt x="639" y="446"/>
                </a:lnTo>
                <a:lnTo>
                  <a:pt x="645" y="448"/>
                </a:lnTo>
                <a:lnTo>
                  <a:pt x="649" y="451"/>
                </a:lnTo>
                <a:lnTo>
                  <a:pt x="647" y="452"/>
                </a:lnTo>
                <a:lnTo>
                  <a:pt x="646" y="453"/>
                </a:lnTo>
                <a:lnTo>
                  <a:pt x="645" y="454"/>
                </a:lnTo>
                <a:lnTo>
                  <a:pt x="645" y="456"/>
                </a:lnTo>
                <a:lnTo>
                  <a:pt x="644" y="459"/>
                </a:lnTo>
                <a:lnTo>
                  <a:pt x="643" y="460"/>
                </a:lnTo>
                <a:lnTo>
                  <a:pt x="640" y="460"/>
                </a:lnTo>
                <a:lnTo>
                  <a:pt x="638" y="461"/>
                </a:lnTo>
                <a:lnTo>
                  <a:pt x="644" y="461"/>
                </a:lnTo>
                <a:lnTo>
                  <a:pt x="649" y="460"/>
                </a:lnTo>
                <a:lnTo>
                  <a:pt x="652" y="459"/>
                </a:lnTo>
                <a:lnTo>
                  <a:pt x="656" y="458"/>
                </a:lnTo>
                <a:lnTo>
                  <a:pt x="660" y="456"/>
                </a:lnTo>
                <a:lnTo>
                  <a:pt x="661" y="453"/>
                </a:lnTo>
                <a:lnTo>
                  <a:pt x="660" y="451"/>
                </a:lnTo>
                <a:lnTo>
                  <a:pt x="656" y="451"/>
                </a:lnTo>
                <a:lnTo>
                  <a:pt x="653" y="447"/>
                </a:lnTo>
                <a:lnTo>
                  <a:pt x="651" y="444"/>
                </a:lnTo>
                <a:lnTo>
                  <a:pt x="645" y="439"/>
                </a:lnTo>
                <a:lnTo>
                  <a:pt x="639" y="436"/>
                </a:lnTo>
                <a:lnTo>
                  <a:pt x="635" y="434"/>
                </a:lnTo>
                <a:lnTo>
                  <a:pt x="629" y="431"/>
                </a:lnTo>
                <a:lnTo>
                  <a:pt x="623" y="431"/>
                </a:lnTo>
                <a:lnTo>
                  <a:pt x="618" y="434"/>
                </a:lnTo>
                <a:lnTo>
                  <a:pt x="618" y="430"/>
                </a:lnTo>
                <a:lnTo>
                  <a:pt x="618" y="428"/>
                </a:lnTo>
                <a:lnTo>
                  <a:pt x="619" y="425"/>
                </a:lnTo>
                <a:lnTo>
                  <a:pt x="621" y="421"/>
                </a:lnTo>
                <a:lnTo>
                  <a:pt x="622" y="420"/>
                </a:lnTo>
                <a:lnTo>
                  <a:pt x="623" y="419"/>
                </a:lnTo>
                <a:lnTo>
                  <a:pt x="623" y="418"/>
                </a:lnTo>
                <a:lnTo>
                  <a:pt x="622" y="417"/>
                </a:lnTo>
                <a:lnTo>
                  <a:pt x="620" y="417"/>
                </a:lnTo>
                <a:lnTo>
                  <a:pt x="618" y="417"/>
                </a:lnTo>
                <a:lnTo>
                  <a:pt x="615" y="417"/>
                </a:lnTo>
                <a:lnTo>
                  <a:pt x="613" y="417"/>
                </a:lnTo>
                <a:lnTo>
                  <a:pt x="611" y="415"/>
                </a:lnTo>
                <a:lnTo>
                  <a:pt x="611" y="413"/>
                </a:lnTo>
                <a:lnTo>
                  <a:pt x="611" y="412"/>
                </a:lnTo>
                <a:lnTo>
                  <a:pt x="613" y="411"/>
                </a:lnTo>
                <a:lnTo>
                  <a:pt x="615" y="410"/>
                </a:lnTo>
                <a:lnTo>
                  <a:pt x="619" y="410"/>
                </a:lnTo>
                <a:lnTo>
                  <a:pt x="626" y="410"/>
                </a:lnTo>
                <a:lnTo>
                  <a:pt x="629" y="410"/>
                </a:lnTo>
                <a:lnTo>
                  <a:pt x="640" y="409"/>
                </a:lnTo>
                <a:lnTo>
                  <a:pt x="651" y="406"/>
                </a:lnTo>
                <a:lnTo>
                  <a:pt x="660" y="404"/>
                </a:lnTo>
                <a:lnTo>
                  <a:pt x="670" y="401"/>
                </a:lnTo>
                <a:lnTo>
                  <a:pt x="681" y="398"/>
                </a:lnTo>
                <a:lnTo>
                  <a:pt x="692" y="396"/>
                </a:lnTo>
                <a:lnTo>
                  <a:pt x="703" y="394"/>
                </a:lnTo>
                <a:lnTo>
                  <a:pt x="713" y="393"/>
                </a:lnTo>
                <a:lnTo>
                  <a:pt x="723" y="390"/>
                </a:lnTo>
                <a:lnTo>
                  <a:pt x="735" y="388"/>
                </a:lnTo>
                <a:lnTo>
                  <a:pt x="745" y="387"/>
                </a:lnTo>
                <a:lnTo>
                  <a:pt x="755" y="386"/>
                </a:lnTo>
                <a:lnTo>
                  <a:pt x="767" y="385"/>
                </a:lnTo>
                <a:lnTo>
                  <a:pt x="778" y="384"/>
                </a:lnTo>
                <a:lnTo>
                  <a:pt x="788" y="384"/>
                </a:lnTo>
                <a:lnTo>
                  <a:pt x="800" y="383"/>
                </a:lnTo>
                <a:lnTo>
                  <a:pt x="821" y="379"/>
                </a:lnTo>
                <a:lnTo>
                  <a:pt x="843" y="376"/>
                </a:lnTo>
                <a:lnTo>
                  <a:pt x="853" y="375"/>
                </a:lnTo>
                <a:lnTo>
                  <a:pt x="865" y="373"/>
                </a:lnTo>
                <a:lnTo>
                  <a:pt x="875" y="373"/>
                </a:lnTo>
                <a:lnTo>
                  <a:pt x="886" y="373"/>
                </a:lnTo>
                <a:lnTo>
                  <a:pt x="896" y="376"/>
                </a:lnTo>
                <a:lnTo>
                  <a:pt x="908" y="377"/>
                </a:lnTo>
                <a:lnTo>
                  <a:pt x="918" y="378"/>
                </a:lnTo>
                <a:lnTo>
                  <a:pt x="929" y="378"/>
                </a:lnTo>
                <a:lnTo>
                  <a:pt x="940" y="378"/>
                </a:lnTo>
                <a:lnTo>
                  <a:pt x="951" y="377"/>
                </a:lnTo>
                <a:lnTo>
                  <a:pt x="961" y="377"/>
                </a:lnTo>
                <a:lnTo>
                  <a:pt x="973" y="376"/>
                </a:lnTo>
                <a:lnTo>
                  <a:pt x="978" y="375"/>
                </a:lnTo>
                <a:lnTo>
                  <a:pt x="983" y="372"/>
                </a:lnTo>
                <a:lnTo>
                  <a:pt x="993" y="373"/>
                </a:lnTo>
                <a:lnTo>
                  <a:pt x="1003" y="376"/>
                </a:lnTo>
                <a:lnTo>
                  <a:pt x="1014" y="378"/>
                </a:lnTo>
                <a:lnTo>
                  <a:pt x="1025" y="378"/>
                </a:lnTo>
                <a:lnTo>
                  <a:pt x="1035" y="379"/>
                </a:lnTo>
                <a:lnTo>
                  <a:pt x="1047" y="379"/>
                </a:lnTo>
                <a:lnTo>
                  <a:pt x="1056" y="378"/>
                </a:lnTo>
                <a:lnTo>
                  <a:pt x="1064" y="379"/>
                </a:lnTo>
                <a:lnTo>
                  <a:pt x="1074" y="381"/>
                </a:lnTo>
                <a:lnTo>
                  <a:pt x="1084" y="384"/>
                </a:lnTo>
                <a:lnTo>
                  <a:pt x="1094" y="384"/>
                </a:lnTo>
                <a:lnTo>
                  <a:pt x="1104" y="385"/>
                </a:lnTo>
                <a:lnTo>
                  <a:pt x="1114" y="386"/>
                </a:lnTo>
                <a:lnTo>
                  <a:pt x="1124" y="388"/>
                </a:lnTo>
                <a:lnTo>
                  <a:pt x="1131" y="390"/>
                </a:lnTo>
                <a:lnTo>
                  <a:pt x="1139" y="392"/>
                </a:lnTo>
                <a:lnTo>
                  <a:pt x="1142" y="389"/>
                </a:lnTo>
                <a:lnTo>
                  <a:pt x="1146" y="388"/>
                </a:lnTo>
                <a:lnTo>
                  <a:pt x="1151" y="387"/>
                </a:lnTo>
                <a:lnTo>
                  <a:pt x="1157" y="387"/>
                </a:lnTo>
                <a:lnTo>
                  <a:pt x="1160" y="388"/>
                </a:lnTo>
                <a:lnTo>
                  <a:pt x="1164" y="389"/>
                </a:lnTo>
                <a:lnTo>
                  <a:pt x="1167" y="390"/>
                </a:lnTo>
                <a:lnTo>
                  <a:pt x="1168" y="394"/>
                </a:lnTo>
                <a:lnTo>
                  <a:pt x="1170" y="397"/>
                </a:lnTo>
                <a:lnTo>
                  <a:pt x="1170" y="400"/>
                </a:lnTo>
                <a:lnTo>
                  <a:pt x="1167" y="402"/>
                </a:lnTo>
                <a:lnTo>
                  <a:pt x="1165" y="404"/>
                </a:lnTo>
                <a:lnTo>
                  <a:pt x="1162" y="406"/>
                </a:lnTo>
                <a:lnTo>
                  <a:pt x="1158" y="409"/>
                </a:lnTo>
                <a:lnTo>
                  <a:pt x="1154" y="410"/>
                </a:lnTo>
                <a:lnTo>
                  <a:pt x="1150" y="411"/>
                </a:lnTo>
                <a:lnTo>
                  <a:pt x="1142" y="412"/>
                </a:lnTo>
                <a:lnTo>
                  <a:pt x="1133" y="412"/>
                </a:lnTo>
                <a:lnTo>
                  <a:pt x="1123" y="411"/>
                </a:lnTo>
                <a:lnTo>
                  <a:pt x="1111" y="411"/>
                </a:lnTo>
                <a:lnTo>
                  <a:pt x="1100" y="410"/>
                </a:lnTo>
                <a:lnTo>
                  <a:pt x="1089" y="410"/>
                </a:lnTo>
                <a:lnTo>
                  <a:pt x="1077" y="410"/>
                </a:lnTo>
                <a:lnTo>
                  <a:pt x="1065" y="410"/>
                </a:lnTo>
                <a:lnTo>
                  <a:pt x="1061" y="411"/>
                </a:lnTo>
                <a:lnTo>
                  <a:pt x="1058" y="412"/>
                </a:lnTo>
                <a:lnTo>
                  <a:pt x="1056" y="413"/>
                </a:lnTo>
                <a:lnTo>
                  <a:pt x="1056" y="414"/>
                </a:lnTo>
                <a:lnTo>
                  <a:pt x="1056" y="415"/>
                </a:lnTo>
                <a:lnTo>
                  <a:pt x="1057" y="418"/>
                </a:lnTo>
                <a:lnTo>
                  <a:pt x="1059" y="419"/>
                </a:lnTo>
                <a:lnTo>
                  <a:pt x="1063" y="420"/>
                </a:lnTo>
                <a:lnTo>
                  <a:pt x="1065" y="421"/>
                </a:lnTo>
                <a:lnTo>
                  <a:pt x="1066" y="422"/>
                </a:lnTo>
                <a:lnTo>
                  <a:pt x="1066" y="422"/>
                </a:lnTo>
                <a:lnTo>
                  <a:pt x="1066" y="425"/>
                </a:lnTo>
                <a:lnTo>
                  <a:pt x="1058" y="425"/>
                </a:lnTo>
                <a:lnTo>
                  <a:pt x="1048" y="427"/>
                </a:lnTo>
                <a:lnTo>
                  <a:pt x="1059" y="427"/>
                </a:lnTo>
                <a:lnTo>
                  <a:pt x="1069" y="427"/>
                </a:lnTo>
                <a:lnTo>
                  <a:pt x="1080" y="427"/>
                </a:lnTo>
                <a:lnTo>
                  <a:pt x="1090" y="427"/>
                </a:lnTo>
                <a:lnTo>
                  <a:pt x="1097" y="425"/>
                </a:lnTo>
                <a:lnTo>
                  <a:pt x="1104" y="422"/>
                </a:lnTo>
                <a:lnTo>
                  <a:pt x="1107" y="421"/>
                </a:lnTo>
                <a:lnTo>
                  <a:pt x="1110" y="421"/>
                </a:lnTo>
                <a:lnTo>
                  <a:pt x="1115" y="421"/>
                </a:lnTo>
                <a:lnTo>
                  <a:pt x="1118" y="421"/>
                </a:lnTo>
                <a:lnTo>
                  <a:pt x="1124" y="425"/>
                </a:lnTo>
                <a:lnTo>
                  <a:pt x="1131" y="427"/>
                </a:lnTo>
                <a:lnTo>
                  <a:pt x="1134" y="428"/>
                </a:lnTo>
                <a:lnTo>
                  <a:pt x="1137" y="428"/>
                </a:lnTo>
                <a:lnTo>
                  <a:pt x="1140" y="427"/>
                </a:lnTo>
                <a:lnTo>
                  <a:pt x="1143" y="426"/>
                </a:lnTo>
                <a:lnTo>
                  <a:pt x="1146" y="425"/>
                </a:lnTo>
                <a:lnTo>
                  <a:pt x="1148" y="421"/>
                </a:lnTo>
                <a:lnTo>
                  <a:pt x="1150" y="420"/>
                </a:lnTo>
                <a:lnTo>
                  <a:pt x="1152" y="420"/>
                </a:lnTo>
                <a:lnTo>
                  <a:pt x="1163" y="421"/>
                </a:lnTo>
                <a:lnTo>
                  <a:pt x="1173" y="423"/>
                </a:lnTo>
                <a:lnTo>
                  <a:pt x="1190" y="425"/>
                </a:lnTo>
                <a:lnTo>
                  <a:pt x="1208" y="426"/>
                </a:lnTo>
                <a:lnTo>
                  <a:pt x="1217" y="425"/>
                </a:lnTo>
                <a:lnTo>
                  <a:pt x="1225" y="423"/>
                </a:lnTo>
                <a:lnTo>
                  <a:pt x="1234" y="421"/>
                </a:lnTo>
                <a:lnTo>
                  <a:pt x="1242" y="418"/>
                </a:lnTo>
                <a:lnTo>
                  <a:pt x="1249" y="413"/>
                </a:lnTo>
                <a:lnTo>
                  <a:pt x="1255" y="409"/>
                </a:lnTo>
                <a:lnTo>
                  <a:pt x="1261" y="403"/>
                </a:lnTo>
                <a:lnTo>
                  <a:pt x="1266" y="397"/>
                </a:lnTo>
                <a:lnTo>
                  <a:pt x="1271" y="392"/>
                </a:lnTo>
                <a:lnTo>
                  <a:pt x="1277" y="387"/>
                </a:lnTo>
                <a:lnTo>
                  <a:pt x="1280" y="386"/>
                </a:lnTo>
                <a:lnTo>
                  <a:pt x="1283" y="386"/>
                </a:lnTo>
                <a:lnTo>
                  <a:pt x="1287" y="386"/>
                </a:lnTo>
                <a:lnTo>
                  <a:pt x="1291" y="386"/>
                </a:lnTo>
                <a:lnTo>
                  <a:pt x="1289" y="383"/>
                </a:lnTo>
                <a:lnTo>
                  <a:pt x="1287" y="379"/>
                </a:lnTo>
                <a:lnTo>
                  <a:pt x="1284" y="376"/>
                </a:lnTo>
                <a:lnTo>
                  <a:pt x="1281" y="372"/>
                </a:lnTo>
                <a:lnTo>
                  <a:pt x="1274" y="368"/>
                </a:lnTo>
                <a:lnTo>
                  <a:pt x="1266" y="363"/>
                </a:lnTo>
                <a:lnTo>
                  <a:pt x="1247" y="355"/>
                </a:lnTo>
                <a:lnTo>
                  <a:pt x="1253" y="358"/>
                </a:lnTo>
                <a:lnTo>
                  <a:pt x="1264" y="362"/>
                </a:lnTo>
                <a:lnTo>
                  <a:pt x="1266" y="36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599" y="353"/>
                </a:lnTo>
                <a:lnTo>
                  <a:pt x="598" y="355"/>
                </a:lnTo>
                <a:lnTo>
                  <a:pt x="598" y="354"/>
                </a:lnTo>
                <a:lnTo>
                  <a:pt x="598" y="355"/>
                </a:lnTo>
                <a:lnTo>
                  <a:pt x="599" y="356"/>
                </a:lnTo>
                <a:lnTo>
                  <a:pt x="600" y="356"/>
                </a:lnTo>
                <a:lnTo>
                  <a:pt x="602" y="355"/>
                </a:lnTo>
                <a:lnTo>
                  <a:pt x="603" y="354"/>
                </a:lnTo>
                <a:lnTo>
                  <a:pt x="603" y="353"/>
                </a:lnTo>
                <a:lnTo>
                  <a:pt x="602" y="353"/>
                </a:lnTo>
                <a:close/>
                <a:moveTo>
                  <a:pt x="602" y="353"/>
                </a:move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lnTo>
                  <a:pt x="602" y="353"/>
                </a:lnTo>
                <a:close/>
                <a:moveTo>
                  <a:pt x="953" y="358"/>
                </a:moveTo>
                <a:lnTo>
                  <a:pt x="959" y="360"/>
                </a:lnTo>
                <a:lnTo>
                  <a:pt x="965" y="361"/>
                </a:lnTo>
                <a:lnTo>
                  <a:pt x="972" y="361"/>
                </a:lnTo>
                <a:lnTo>
                  <a:pt x="979" y="359"/>
                </a:lnTo>
                <a:lnTo>
                  <a:pt x="973" y="355"/>
                </a:lnTo>
                <a:lnTo>
                  <a:pt x="966" y="355"/>
                </a:lnTo>
                <a:lnTo>
                  <a:pt x="959" y="356"/>
                </a:lnTo>
                <a:lnTo>
                  <a:pt x="953" y="358"/>
                </a:lnTo>
                <a:close/>
                <a:moveTo>
                  <a:pt x="161" y="433"/>
                </a:move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1" y="433"/>
                </a:lnTo>
                <a:lnTo>
                  <a:pt x="162" y="430"/>
                </a:lnTo>
                <a:lnTo>
                  <a:pt x="165" y="428"/>
                </a:lnTo>
                <a:lnTo>
                  <a:pt x="167" y="426"/>
                </a:lnTo>
                <a:lnTo>
                  <a:pt x="170" y="425"/>
                </a:lnTo>
                <a:lnTo>
                  <a:pt x="176" y="423"/>
                </a:lnTo>
                <a:lnTo>
                  <a:pt x="182" y="421"/>
                </a:lnTo>
                <a:lnTo>
                  <a:pt x="186" y="417"/>
                </a:lnTo>
                <a:lnTo>
                  <a:pt x="191" y="413"/>
                </a:lnTo>
                <a:lnTo>
                  <a:pt x="194" y="413"/>
                </a:lnTo>
                <a:lnTo>
                  <a:pt x="198" y="414"/>
                </a:lnTo>
                <a:lnTo>
                  <a:pt x="201" y="415"/>
                </a:lnTo>
                <a:lnTo>
                  <a:pt x="204" y="417"/>
                </a:lnTo>
                <a:lnTo>
                  <a:pt x="210" y="417"/>
                </a:lnTo>
                <a:lnTo>
                  <a:pt x="216" y="414"/>
                </a:lnTo>
                <a:lnTo>
                  <a:pt x="223" y="413"/>
                </a:lnTo>
                <a:lnTo>
                  <a:pt x="228" y="410"/>
                </a:lnTo>
                <a:lnTo>
                  <a:pt x="229" y="409"/>
                </a:lnTo>
                <a:lnTo>
                  <a:pt x="229" y="406"/>
                </a:lnTo>
                <a:lnTo>
                  <a:pt x="228" y="404"/>
                </a:lnTo>
                <a:lnTo>
                  <a:pt x="226" y="402"/>
                </a:lnTo>
                <a:lnTo>
                  <a:pt x="219" y="398"/>
                </a:lnTo>
                <a:lnTo>
                  <a:pt x="215" y="397"/>
                </a:lnTo>
                <a:lnTo>
                  <a:pt x="256" y="381"/>
                </a:lnTo>
                <a:lnTo>
                  <a:pt x="297" y="365"/>
                </a:lnTo>
                <a:lnTo>
                  <a:pt x="317" y="358"/>
                </a:lnTo>
                <a:lnTo>
                  <a:pt x="339" y="352"/>
                </a:lnTo>
                <a:lnTo>
                  <a:pt x="360" y="346"/>
                </a:lnTo>
                <a:lnTo>
                  <a:pt x="382" y="343"/>
                </a:lnTo>
                <a:lnTo>
                  <a:pt x="377" y="350"/>
                </a:lnTo>
                <a:lnTo>
                  <a:pt x="373" y="356"/>
                </a:lnTo>
                <a:lnTo>
                  <a:pt x="384" y="353"/>
                </a:lnTo>
                <a:lnTo>
                  <a:pt x="394" y="352"/>
                </a:lnTo>
                <a:lnTo>
                  <a:pt x="404" y="348"/>
                </a:lnTo>
                <a:lnTo>
                  <a:pt x="412" y="345"/>
                </a:lnTo>
                <a:lnTo>
                  <a:pt x="418" y="345"/>
                </a:lnTo>
                <a:lnTo>
                  <a:pt x="424" y="346"/>
                </a:lnTo>
                <a:lnTo>
                  <a:pt x="429" y="345"/>
                </a:lnTo>
                <a:lnTo>
                  <a:pt x="432" y="344"/>
                </a:lnTo>
                <a:lnTo>
                  <a:pt x="434" y="342"/>
                </a:lnTo>
                <a:lnTo>
                  <a:pt x="437" y="339"/>
                </a:lnTo>
                <a:lnTo>
                  <a:pt x="445" y="338"/>
                </a:lnTo>
                <a:lnTo>
                  <a:pt x="453" y="337"/>
                </a:lnTo>
                <a:lnTo>
                  <a:pt x="462" y="336"/>
                </a:lnTo>
                <a:lnTo>
                  <a:pt x="471" y="334"/>
                </a:lnTo>
                <a:lnTo>
                  <a:pt x="481" y="330"/>
                </a:lnTo>
                <a:lnTo>
                  <a:pt x="490" y="329"/>
                </a:lnTo>
                <a:lnTo>
                  <a:pt x="499" y="331"/>
                </a:lnTo>
                <a:lnTo>
                  <a:pt x="508" y="331"/>
                </a:lnTo>
                <a:lnTo>
                  <a:pt x="516" y="328"/>
                </a:lnTo>
                <a:lnTo>
                  <a:pt x="525" y="325"/>
                </a:lnTo>
                <a:lnTo>
                  <a:pt x="534" y="323"/>
                </a:lnTo>
                <a:lnTo>
                  <a:pt x="545" y="322"/>
                </a:lnTo>
                <a:lnTo>
                  <a:pt x="555" y="322"/>
                </a:lnTo>
                <a:lnTo>
                  <a:pt x="565" y="321"/>
                </a:lnTo>
                <a:lnTo>
                  <a:pt x="577" y="320"/>
                </a:lnTo>
                <a:lnTo>
                  <a:pt x="587" y="318"/>
                </a:lnTo>
                <a:lnTo>
                  <a:pt x="598" y="317"/>
                </a:lnTo>
                <a:lnTo>
                  <a:pt x="610" y="314"/>
                </a:lnTo>
                <a:lnTo>
                  <a:pt x="621" y="312"/>
                </a:lnTo>
                <a:lnTo>
                  <a:pt x="632" y="310"/>
                </a:lnTo>
                <a:lnTo>
                  <a:pt x="640" y="307"/>
                </a:lnTo>
                <a:lnTo>
                  <a:pt x="649" y="305"/>
                </a:lnTo>
                <a:lnTo>
                  <a:pt x="654" y="305"/>
                </a:lnTo>
                <a:lnTo>
                  <a:pt x="657" y="306"/>
                </a:lnTo>
                <a:lnTo>
                  <a:pt x="662" y="307"/>
                </a:lnTo>
                <a:lnTo>
                  <a:pt x="665" y="311"/>
                </a:lnTo>
                <a:lnTo>
                  <a:pt x="649" y="313"/>
                </a:lnTo>
                <a:lnTo>
                  <a:pt x="635" y="314"/>
                </a:lnTo>
                <a:lnTo>
                  <a:pt x="628" y="315"/>
                </a:lnTo>
                <a:lnTo>
                  <a:pt x="622" y="315"/>
                </a:lnTo>
                <a:lnTo>
                  <a:pt x="619" y="314"/>
                </a:lnTo>
                <a:lnTo>
                  <a:pt x="615" y="317"/>
                </a:lnTo>
                <a:lnTo>
                  <a:pt x="614" y="319"/>
                </a:lnTo>
                <a:lnTo>
                  <a:pt x="614" y="320"/>
                </a:lnTo>
                <a:lnTo>
                  <a:pt x="615" y="321"/>
                </a:lnTo>
                <a:lnTo>
                  <a:pt x="618" y="321"/>
                </a:lnTo>
                <a:lnTo>
                  <a:pt x="622" y="322"/>
                </a:lnTo>
                <a:lnTo>
                  <a:pt x="626" y="321"/>
                </a:lnTo>
                <a:lnTo>
                  <a:pt x="638" y="320"/>
                </a:lnTo>
                <a:lnTo>
                  <a:pt x="651" y="320"/>
                </a:lnTo>
                <a:lnTo>
                  <a:pt x="657" y="322"/>
                </a:lnTo>
                <a:lnTo>
                  <a:pt x="663" y="322"/>
                </a:lnTo>
                <a:lnTo>
                  <a:pt x="664" y="321"/>
                </a:lnTo>
                <a:lnTo>
                  <a:pt x="665" y="320"/>
                </a:lnTo>
                <a:lnTo>
                  <a:pt x="666" y="317"/>
                </a:lnTo>
                <a:lnTo>
                  <a:pt x="669" y="317"/>
                </a:lnTo>
                <a:lnTo>
                  <a:pt x="673" y="315"/>
                </a:lnTo>
                <a:lnTo>
                  <a:pt x="677" y="315"/>
                </a:lnTo>
                <a:lnTo>
                  <a:pt x="679" y="315"/>
                </a:lnTo>
                <a:lnTo>
                  <a:pt x="680" y="315"/>
                </a:lnTo>
                <a:lnTo>
                  <a:pt x="682" y="315"/>
                </a:lnTo>
                <a:lnTo>
                  <a:pt x="684" y="317"/>
                </a:lnTo>
                <a:lnTo>
                  <a:pt x="685" y="317"/>
                </a:lnTo>
                <a:lnTo>
                  <a:pt x="687" y="317"/>
                </a:lnTo>
                <a:lnTo>
                  <a:pt x="687" y="315"/>
                </a:lnTo>
                <a:lnTo>
                  <a:pt x="688" y="315"/>
                </a:lnTo>
                <a:lnTo>
                  <a:pt x="689" y="313"/>
                </a:lnTo>
                <a:lnTo>
                  <a:pt x="692" y="313"/>
                </a:lnTo>
                <a:lnTo>
                  <a:pt x="698" y="313"/>
                </a:lnTo>
                <a:lnTo>
                  <a:pt x="706" y="313"/>
                </a:lnTo>
                <a:lnTo>
                  <a:pt x="713" y="313"/>
                </a:lnTo>
                <a:lnTo>
                  <a:pt x="720" y="313"/>
                </a:lnTo>
                <a:lnTo>
                  <a:pt x="721" y="319"/>
                </a:lnTo>
                <a:lnTo>
                  <a:pt x="725" y="323"/>
                </a:lnTo>
                <a:lnTo>
                  <a:pt x="723" y="322"/>
                </a:lnTo>
                <a:lnTo>
                  <a:pt x="722" y="321"/>
                </a:lnTo>
                <a:lnTo>
                  <a:pt x="720" y="322"/>
                </a:lnTo>
                <a:lnTo>
                  <a:pt x="718" y="322"/>
                </a:lnTo>
                <a:lnTo>
                  <a:pt x="714" y="321"/>
                </a:lnTo>
                <a:lnTo>
                  <a:pt x="711" y="321"/>
                </a:lnTo>
                <a:lnTo>
                  <a:pt x="706" y="322"/>
                </a:lnTo>
                <a:lnTo>
                  <a:pt x="703" y="322"/>
                </a:lnTo>
                <a:lnTo>
                  <a:pt x="699" y="325"/>
                </a:lnTo>
                <a:lnTo>
                  <a:pt x="696" y="328"/>
                </a:lnTo>
                <a:lnTo>
                  <a:pt x="694" y="326"/>
                </a:lnTo>
                <a:lnTo>
                  <a:pt x="692" y="326"/>
                </a:lnTo>
                <a:lnTo>
                  <a:pt x="688" y="326"/>
                </a:lnTo>
                <a:lnTo>
                  <a:pt x="686" y="326"/>
                </a:lnTo>
                <a:lnTo>
                  <a:pt x="679" y="328"/>
                </a:lnTo>
                <a:lnTo>
                  <a:pt x="673" y="330"/>
                </a:lnTo>
                <a:lnTo>
                  <a:pt x="657" y="332"/>
                </a:lnTo>
                <a:lnTo>
                  <a:pt x="640" y="335"/>
                </a:lnTo>
                <a:lnTo>
                  <a:pt x="624" y="337"/>
                </a:lnTo>
                <a:lnTo>
                  <a:pt x="607" y="340"/>
                </a:lnTo>
                <a:lnTo>
                  <a:pt x="590" y="344"/>
                </a:lnTo>
                <a:lnTo>
                  <a:pt x="574" y="347"/>
                </a:lnTo>
                <a:lnTo>
                  <a:pt x="541" y="355"/>
                </a:lnTo>
                <a:lnTo>
                  <a:pt x="508" y="362"/>
                </a:lnTo>
                <a:lnTo>
                  <a:pt x="475" y="371"/>
                </a:lnTo>
                <a:lnTo>
                  <a:pt x="442" y="379"/>
                </a:lnTo>
                <a:lnTo>
                  <a:pt x="426" y="385"/>
                </a:lnTo>
                <a:lnTo>
                  <a:pt x="435" y="381"/>
                </a:lnTo>
                <a:lnTo>
                  <a:pt x="448" y="378"/>
                </a:lnTo>
                <a:lnTo>
                  <a:pt x="442" y="379"/>
                </a:lnTo>
                <a:lnTo>
                  <a:pt x="402" y="392"/>
                </a:lnTo>
                <a:lnTo>
                  <a:pt x="364" y="403"/>
                </a:lnTo>
                <a:lnTo>
                  <a:pt x="324" y="415"/>
                </a:lnTo>
                <a:lnTo>
                  <a:pt x="284" y="428"/>
                </a:lnTo>
                <a:lnTo>
                  <a:pt x="245" y="441"/>
                </a:lnTo>
                <a:lnTo>
                  <a:pt x="207" y="455"/>
                </a:lnTo>
                <a:lnTo>
                  <a:pt x="169" y="469"/>
                </a:lnTo>
                <a:lnTo>
                  <a:pt x="130" y="484"/>
                </a:lnTo>
                <a:lnTo>
                  <a:pt x="120" y="487"/>
                </a:lnTo>
                <a:lnTo>
                  <a:pt x="110" y="491"/>
                </a:lnTo>
                <a:lnTo>
                  <a:pt x="99" y="494"/>
                </a:lnTo>
                <a:lnTo>
                  <a:pt x="88" y="497"/>
                </a:lnTo>
                <a:lnTo>
                  <a:pt x="80" y="501"/>
                </a:lnTo>
                <a:lnTo>
                  <a:pt x="71" y="502"/>
                </a:lnTo>
                <a:lnTo>
                  <a:pt x="70" y="501"/>
                </a:lnTo>
                <a:lnTo>
                  <a:pt x="68" y="500"/>
                </a:lnTo>
                <a:lnTo>
                  <a:pt x="66" y="497"/>
                </a:lnTo>
                <a:lnTo>
                  <a:pt x="64" y="498"/>
                </a:lnTo>
                <a:lnTo>
                  <a:pt x="67" y="495"/>
                </a:lnTo>
                <a:lnTo>
                  <a:pt x="68" y="492"/>
                </a:lnTo>
                <a:lnTo>
                  <a:pt x="66" y="488"/>
                </a:lnTo>
                <a:lnTo>
                  <a:pt x="64" y="485"/>
                </a:lnTo>
                <a:lnTo>
                  <a:pt x="70" y="480"/>
                </a:lnTo>
                <a:lnTo>
                  <a:pt x="77" y="477"/>
                </a:lnTo>
                <a:lnTo>
                  <a:pt x="85" y="471"/>
                </a:lnTo>
                <a:lnTo>
                  <a:pt x="94" y="467"/>
                </a:lnTo>
                <a:lnTo>
                  <a:pt x="102" y="462"/>
                </a:lnTo>
                <a:lnTo>
                  <a:pt x="111" y="456"/>
                </a:lnTo>
                <a:lnTo>
                  <a:pt x="119" y="452"/>
                </a:lnTo>
                <a:lnTo>
                  <a:pt x="128" y="446"/>
                </a:lnTo>
                <a:lnTo>
                  <a:pt x="136" y="441"/>
                </a:lnTo>
                <a:lnTo>
                  <a:pt x="145" y="436"/>
                </a:lnTo>
                <a:lnTo>
                  <a:pt x="149" y="434"/>
                </a:lnTo>
                <a:lnTo>
                  <a:pt x="152" y="433"/>
                </a:lnTo>
                <a:lnTo>
                  <a:pt x="157" y="433"/>
                </a:lnTo>
                <a:lnTo>
                  <a:pt x="161" y="433"/>
                </a:lnTo>
                <a:close/>
                <a:moveTo>
                  <a:pt x="163" y="441"/>
                </a:moveTo>
                <a:lnTo>
                  <a:pt x="169" y="439"/>
                </a:lnTo>
                <a:lnTo>
                  <a:pt x="174" y="437"/>
                </a:lnTo>
                <a:lnTo>
                  <a:pt x="175" y="435"/>
                </a:lnTo>
                <a:lnTo>
                  <a:pt x="175" y="434"/>
                </a:lnTo>
                <a:lnTo>
                  <a:pt x="174" y="433"/>
                </a:lnTo>
                <a:lnTo>
                  <a:pt x="171" y="431"/>
                </a:lnTo>
                <a:lnTo>
                  <a:pt x="165" y="431"/>
                </a:lnTo>
                <a:lnTo>
                  <a:pt x="161" y="434"/>
                </a:lnTo>
                <a:lnTo>
                  <a:pt x="160" y="436"/>
                </a:lnTo>
                <a:lnTo>
                  <a:pt x="160" y="438"/>
                </a:lnTo>
                <a:lnTo>
                  <a:pt x="161" y="439"/>
                </a:lnTo>
                <a:lnTo>
                  <a:pt x="163" y="441"/>
                </a:lnTo>
                <a:lnTo>
                  <a:pt x="163" y="441"/>
                </a:lnTo>
                <a:lnTo>
                  <a:pt x="163" y="441"/>
                </a:lnTo>
                <a:close/>
                <a:moveTo>
                  <a:pt x="124" y="455"/>
                </a:moveTo>
                <a:lnTo>
                  <a:pt x="127" y="456"/>
                </a:lnTo>
                <a:lnTo>
                  <a:pt x="129" y="456"/>
                </a:lnTo>
                <a:lnTo>
                  <a:pt x="133" y="455"/>
                </a:lnTo>
                <a:lnTo>
                  <a:pt x="135" y="454"/>
                </a:lnTo>
                <a:lnTo>
                  <a:pt x="140" y="452"/>
                </a:lnTo>
                <a:lnTo>
                  <a:pt x="144" y="450"/>
                </a:lnTo>
                <a:lnTo>
                  <a:pt x="138" y="448"/>
                </a:lnTo>
                <a:lnTo>
                  <a:pt x="134" y="450"/>
                </a:lnTo>
                <a:lnTo>
                  <a:pt x="128" y="451"/>
                </a:lnTo>
                <a:lnTo>
                  <a:pt x="124" y="455"/>
                </a:lnTo>
                <a:close/>
                <a:moveTo>
                  <a:pt x="954" y="392"/>
                </a:moveTo>
                <a:lnTo>
                  <a:pt x="949" y="387"/>
                </a:lnTo>
                <a:lnTo>
                  <a:pt x="943" y="386"/>
                </a:lnTo>
                <a:lnTo>
                  <a:pt x="941" y="387"/>
                </a:lnTo>
                <a:lnTo>
                  <a:pt x="937" y="388"/>
                </a:lnTo>
                <a:lnTo>
                  <a:pt x="935" y="389"/>
                </a:lnTo>
                <a:lnTo>
                  <a:pt x="933" y="392"/>
                </a:lnTo>
                <a:lnTo>
                  <a:pt x="939" y="393"/>
                </a:lnTo>
                <a:lnTo>
                  <a:pt x="943" y="393"/>
                </a:lnTo>
                <a:lnTo>
                  <a:pt x="949" y="393"/>
                </a:lnTo>
                <a:lnTo>
                  <a:pt x="954" y="392"/>
                </a:lnTo>
                <a:close/>
                <a:moveTo>
                  <a:pt x="1107" y="402"/>
                </a:moveTo>
                <a:lnTo>
                  <a:pt x="1115" y="405"/>
                </a:lnTo>
                <a:lnTo>
                  <a:pt x="1119" y="408"/>
                </a:lnTo>
                <a:lnTo>
                  <a:pt x="1122" y="408"/>
                </a:lnTo>
                <a:lnTo>
                  <a:pt x="1126" y="405"/>
                </a:lnTo>
                <a:lnTo>
                  <a:pt x="1122" y="402"/>
                </a:lnTo>
                <a:lnTo>
                  <a:pt x="1117" y="401"/>
                </a:lnTo>
                <a:lnTo>
                  <a:pt x="1113" y="401"/>
                </a:lnTo>
                <a:lnTo>
                  <a:pt x="1107" y="402"/>
                </a:lnTo>
                <a:close/>
                <a:moveTo>
                  <a:pt x="808" y="510"/>
                </a:moveTo>
                <a:lnTo>
                  <a:pt x="803" y="509"/>
                </a:lnTo>
                <a:lnTo>
                  <a:pt x="800" y="509"/>
                </a:lnTo>
                <a:lnTo>
                  <a:pt x="796" y="511"/>
                </a:lnTo>
                <a:lnTo>
                  <a:pt x="794" y="514"/>
                </a:lnTo>
                <a:lnTo>
                  <a:pt x="800" y="516"/>
                </a:lnTo>
                <a:lnTo>
                  <a:pt x="805" y="516"/>
                </a:lnTo>
                <a:lnTo>
                  <a:pt x="806" y="514"/>
                </a:lnTo>
                <a:lnTo>
                  <a:pt x="808" y="512"/>
                </a:lnTo>
                <a:lnTo>
                  <a:pt x="809" y="511"/>
                </a:lnTo>
                <a:lnTo>
                  <a:pt x="808" y="510"/>
                </a:lnTo>
                <a:lnTo>
                  <a:pt x="805" y="509"/>
                </a:lnTo>
                <a:lnTo>
                  <a:pt x="808" y="510"/>
                </a:lnTo>
                <a:close/>
                <a:moveTo>
                  <a:pt x="1063" y="398"/>
                </a:moveTo>
                <a:lnTo>
                  <a:pt x="1058" y="394"/>
                </a:lnTo>
                <a:lnTo>
                  <a:pt x="1053" y="393"/>
                </a:lnTo>
                <a:lnTo>
                  <a:pt x="1049" y="394"/>
                </a:lnTo>
                <a:lnTo>
                  <a:pt x="1044" y="395"/>
                </a:lnTo>
                <a:lnTo>
                  <a:pt x="1049" y="397"/>
                </a:lnTo>
                <a:lnTo>
                  <a:pt x="1053" y="400"/>
                </a:lnTo>
                <a:lnTo>
                  <a:pt x="1056" y="401"/>
                </a:lnTo>
                <a:lnTo>
                  <a:pt x="1058" y="400"/>
                </a:lnTo>
                <a:lnTo>
                  <a:pt x="1060" y="400"/>
                </a:lnTo>
                <a:lnTo>
                  <a:pt x="1063" y="398"/>
                </a:lnTo>
                <a:close/>
                <a:moveTo>
                  <a:pt x="546" y="481"/>
                </a:moveTo>
                <a:lnTo>
                  <a:pt x="546" y="485"/>
                </a:lnTo>
                <a:lnTo>
                  <a:pt x="544" y="487"/>
                </a:lnTo>
                <a:lnTo>
                  <a:pt x="541" y="488"/>
                </a:lnTo>
                <a:lnTo>
                  <a:pt x="539" y="489"/>
                </a:lnTo>
                <a:lnTo>
                  <a:pt x="532" y="492"/>
                </a:lnTo>
                <a:lnTo>
                  <a:pt x="528" y="496"/>
                </a:lnTo>
                <a:lnTo>
                  <a:pt x="532" y="496"/>
                </a:lnTo>
                <a:lnTo>
                  <a:pt x="538" y="496"/>
                </a:lnTo>
                <a:lnTo>
                  <a:pt x="542" y="495"/>
                </a:lnTo>
                <a:lnTo>
                  <a:pt x="546" y="492"/>
                </a:lnTo>
                <a:lnTo>
                  <a:pt x="549" y="488"/>
                </a:lnTo>
                <a:lnTo>
                  <a:pt x="552" y="484"/>
                </a:lnTo>
                <a:lnTo>
                  <a:pt x="552" y="481"/>
                </a:lnTo>
                <a:lnTo>
                  <a:pt x="550" y="480"/>
                </a:lnTo>
                <a:lnTo>
                  <a:pt x="548" y="480"/>
                </a:lnTo>
                <a:lnTo>
                  <a:pt x="546" y="481"/>
                </a:lnTo>
                <a:lnTo>
                  <a:pt x="546" y="485"/>
                </a:lnTo>
                <a:lnTo>
                  <a:pt x="546" y="481"/>
                </a:lnTo>
                <a:close/>
                <a:moveTo>
                  <a:pt x="958" y="489"/>
                </a:moveTo>
                <a:lnTo>
                  <a:pt x="954" y="489"/>
                </a:lnTo>
                <a:lnTo>
                  <a:pt x="951" y="489"/>
                </a:lnTo>
                <a:lnTo>
                  <a:pt x="952" y="492"/>
                </a:lnTo>
                <a:lnTo>
                  <a:pt x="953" y="494"/>
                </a:lnTo>
                <a:lnTo>
                  <a:pt x="956" y="496"/>
                </a:lnTo>
                <a:lnTo>
                  <a:pt x="958" y="496"/>
                </a:lnTo>
                <a:lnTo>
                  <a:pt x="962" y="496"/>
                </a:lnTo>
                <a:lnTo>
                  <a:pt x="968" y="496"/>
                </a:lnTo>
                <a:lnTo>
                  <a:pt x="970" y="496"/>
                </a:lnTo>
                <a:lnTo>
                  <a:pt x="973" y="496"/>
                </a:lnTo>
                <a:lnTo>
                  <a:pt x="974" y="495"/>
                </a:lnTo>
                <a:lnTo>
                  <a:pt x="974" y="493"/>
                </a:lnTo>
                <a:lnTo>
                  <a:pt x="972" y="491"/>
                </a:lnTo>
                <a:lnTo>
                  <a:pt x="966" y="489"/>
                </a:lnTo>
                <a:lnTo>
                  <a:pt x="961" y="489"/>
                </a:lnTo>
                <a:lnTo>
                  <a:pt x="958" y="489"/>
                </a:lnTo>
                <a:lnTo>
                  <a:pt x="959" y="489"/>
                </a:lnTo>
                <a:lnTo>
                  <a:pt x="958" y="489"/>
                </a:lnTo>
                <a:close/>
                <a:moveTo>
                  <a:pt x="853" y="276"/>
                </a:moveTo>
                <a:lnTo>
                  <a:pt x="851" y="276"/>
                </a:lnTo>
                <a:lnTo>
                  <a:pt x="847" y="276"/>
                </a:lnTo>
                <a:lnTo>
                  <a:pt x="846" y="277"/>
                </a:lnTo>
                <a:lnTo>
                  <a:pt x="845" y="277"/>
                </a:lnTo>
                <a:lnTo>
                  <a:pt x="844" y="278"/>
                </a:lnTo>
                <a:lnTo>
                  <a:pt x="844" y="280"/>
                </a:lnTo>
                <a:lnTo>
                  <a:pt x="845" y="282"/>
                </a:lnTo>
                <a:lnTo>
                  <a:pt x="847" y="284"/>
                </a:lnTo>
                <a:lnTo>
                  <a:pt x="851" y="284"/>
                </a:lnTo>
                <a:lnTo>
                  <a:pt x="853" y="284"/>
                </a:lnTo>
                <a:lnTo>
                  <a:pt x="857" y="284"/>
                </a:lnTo>
                <a:lnTo>
                  <a:pt x="859" y="284"/>
                </a:lnTo>
                <a:lnTo>
                  <a:pt x="861" y="282"/>
                </a:lnTo>
                <a:lnTo>
                  <a:pt x="862" y="280"/>
                </a:lnTo>
                <a:lnTo>
                  <a:pt x="861" y="277"/>
                </a:lnTo>
                <a:lnTo>
                  <a:pt x="859" y="276"/>
                </a:lnTo>
                <a:lnTo>
                  <a:pt x="857" y="276"/>
                </a:lnTo>
                <a:lnTo>
                  <a:pt x="853" y="276"/>
                </a:lnTo>
                <a:lnTo>
                  <a:pt x="853" y="276"/>
                </a:lnTo>
                <a:lnTo>
                  <a:pt x="853" y="276"/>
                </a:lnTo>
                <a:close/>
                <a:moveTo>
                  <a:pt x="1020" y="500"/>
                </a:moveTo>
                <a:lnTo>
                  <a:pt x="1018" y="501"/>
                </a:lnTo>
                <a:lnTo>
                  <a:pt x="1018" y="502"/>
                </a:lnTo>
                <a:lnTo>
                  <a:pt x="1019" y="504"/>
                </a:lnTo>
                <a:lnTo>
                  <a:pt x="1020" y="505"/>
                </a:lnTo>
                <a:lnTo>
                  <a:pt x="1023" y="506"/>
                </a:lnTo>
                <a:lnTo>
                  <a:pt x="1027" y="508"/>
                </a:lnTo>
                <a:lnTo>
                  <a:pt x="1034" y="508"/>
                </a:lnTo>
                <a:lnTo>
                  <a:pt x="1042" y="506"/>
                </a:lnTo>
                <a:lnTo>
                  <a:pt x="1038" y="502"/>
                </a:lnTo>
                <a:lnTo>
                  <a:pt x="1032" y="501"/>
                </a:lnTo>
                <a:lnTo>
                  <a:pt x="1026" y="500"/>
                </a:lnTo>
                <a:lnTo>
                  <a:pt x="1020" y="500"/>
                </a:lnTo>
                <a:lnTo>
                  <a:pt x="1023" y="500"/>
                </a:lnTo>
                <a:lnTo>
                  <a:pt x="1020" y="500"/>
                </a:lnTo>
                <a:close/>
                <a:moveTo>
                  <a:pt x="1006" y="239"/>
                </a:moveTo>
                <a:lnTo>
                  <a:pt x="1002" y="240"/>
                </a:lnTo>
                <a:lnTo>
                  <a:pt x="1000" y="243"/>
                </a:lnTo>
                <a:lnTo>
                  <a:pt x="1000" y="245"/>
                </a:lnTo>
                <a:lnTo>
                  <a:pt x="1001" y="247"/>
                </a:lnTo>
                <a:lnTo>
                  <a:pt x="1003" y="248"/>
                </a:lnTo>
                <a:lnTo>
                  <a:pt x="1006" y="249"/>
                </a:lnTo>
                <a:lnTo>
                  <a:pt x="1009" y="248"/>
                </a:lnTo>
                <a:lnTo>
                  <a:pt x="1014" y="245"/>
                </a:lnTo>
                <a:lnTo>
                  <a:pt x="1019" y="240"/>
                </a:lnTo>
                <a:lnTo>
                  <a:pt x="1025" y="237"/>
                </a:lnTo>
                <a:lnTo>
                  <a:pt x="1020" y="236"/>
                </a:lnTo>
                <a:lnTo>
                  <a:pt x="1015" y="235"/>
                </a:lnTo>
                <a:lnTo>
                  <a:pt x="1012" y="235"/>
                </a:lnTo>
                <a:lnTo>
                  <a:pt x="1010" y="236"/>
                </a:lnTo>
                <a:lnTo>
                  <a:pt x="1007" y="237"/>
                </a:lnTo>
                <a:lnTo>
                  <a:pt x="1006" y="239"/>
                </a:lnTo>
                <a:lnTo>
                  <a:pt x="1007" y="237"/>
                </a:lnTo>
                <a:lnTo>
                  <a:pt x="1006" y="239"/>
                </a:lnTo>
                <a:close/>
                <a:moveTo>
                  <a:pt x="1002" y="421"/>
                </a:moveTo>
                <a:lnTo>
                  <a:pt x="1007" y="423"/>
                </a:lnTo>
                <a:lnTo>
                  <a:pt x="1012" y="426"/>
                </a:lnTo>
                <a:lnTo>
                  <a:pt x="1017" y="427"/>
                </a:lnTo>
                <a:lnTo>
                  <a:pt x="1022" y="428"/>
                </a:lnTo>
                <a:lnTo>
                  <a:pt x="1031" y="428"/>
                </a:lnTo>
                <a:lnTo>
                  <a:pt x="1041" y="428"/>
                </a:lnTo>
                <a:lnTo>
                  <a:pt x="1036" y="425"/>
                </a:lnTo>
                <a:lnTo>
                  <a:pt x="1032" y="422"/>
                </a:lnTo>
                <a:lnTo>
                  <a:pt x="1027" y="421"/>
                </a:lnTo>
                <a:lnTo>
                  <a:pt x="1023" y="420"/>
                </a:lnTo>
                <a:lnTo>
                  <a:pt x="1012" y="420"/>
                </a:lnTo>
                <a:lnTo>
                  <a:pt x="1002" y="421"/>
                </a:lnTo>
                <a:close/>
                <a:moveTo>
                  <a:pt x="697" y="253"/>
                </a:moveTo>
                <a:lnTo>
                  <a:pt x="687" y="254"/>
                </a:lnTo>
                <a:lnTo>
                  <a:pt x="677" y="255"/>
                </a:lnTo>
                <a:lnTo>
                  <a:pt x="666" y="257"/>
                </a:lnTo>
                <a:lnTo>
                  <a:pt x="656" y="259"/>
                </a:lnTo>
                <a:lnTo>
                  <a:pt x="652" y="259"/>
                </a:lnTo>
                <a:lnTo>
                  <a:pt x="646" y="259"/>
                </a:lnTo>
                <a:lnTo>
                  <a:pt x="652" y="259"/>
                </a:lnTo>
                <a:lnTo>
                  <a:pt x="656" y="259"/>
                </a:lnTo>
                <a:lnTo>
                  <a:pt x="666" y="259"/>
                </a:lnTo>
                <a:lnTo>
                  <a:pt x="677" y="259"/>
                </a:lnTo>
                <a:lnTo>
                  <a:pt x="687" y="256"/>
                </a:lnTo>
                <a:lnTo>
                  <a:pt x="697" y="253"/>
                </a:lnTo>
                <a:close/>
                <a:moveTo>
                  <a:pt x="1133" y="254"/>
                </a:moveTo>
                <a:lnTo>
                  <a:pt x="1117" y="253"/>
                </a:lnTo>
                <a:lnTo>
                  <a:pt x="1104" y="252"/>
                </a:lnTo>
                <a:lnTo>
                  <a:pt x="1107" y="249"/>
                </a:lnTo>
                <a:lnTo>
                  <a:pt x="1110" y="249"/>
                </a:lnTo>
                <a:lnTo>
                  <a:pt x="1114" y="248"/>
                </a:lnTo>
                <a:lnTo>
                  <a:pt x="1117" y="249"/>
                </a:lnTo>
                <a:lnTo>
                  <a:pt x="1125" y="251"/>
                </a:lnTo>
                <a:lnTo>
                  <a:pt x="1133" y="254"/>
                </a:lnTo>
                <a:close/>
                <a:moveTo>
                  <a:pt x="1082" y="242"/>
                </a:moveTo>
                <a:lnTo>
                  <a:pt x="1080" y="242"/>
                </a:lnTo>
                <a:lnTo>
                  <a:pt x="1077" y="243"/>
                </a:lnTo>
                <a:lnTo>
                  <a:pt x="1080" y="242"/>
                </a:lnTo>
                <a:lnTo>
                  <a:pt x="1082" y="242"/>
                </a:lnTo>
                <a:close/>
                <a:moveTo>
                  <a:pt x="663" y="182"/>
                </a:moveTo>
                <a:lnTo>
                  <a:pt x="663" y="180"/>
                </a:lnTo>
                <a:lnTo>
                  <a:pt x="663" y="178"/>
                </a:lnTo>
                <a:lnTo>
                  <a:pt x="663" y="184"/>
                </a:lnTo>
                <a:lnTo>
                  <a:pt x="662" y="190"/>
                </a:lnTo>
                <a:lnTo>
                  <a:pt x="660" y="195"/>
                </a:lnTo>
                <a:lnTo>
                  <a:pt x="655" y="199"/>
                </a:lnTo>
                <a:lnTo>
                  <a:pt x="660" y="196"/>
                </a:lnTo>
                <a:lnTo>
                  <a:pt x="662" y="192"/>
                </a:lnTo>
                <a:lnTo>
                  <a:pt x="663" y="187"/>
                </a:lnTo>
                <a:lnTo>
                  <a:pt x="663" y="182"/>
                </a:lnTo>
                <a:lnTo>
                  <a:pt x="663" y="185"/>
                </a:lnTo>
                <a:lnTo>
                  <a:pt x="663" y="182"/>
                </a:lnTo>
                <a:close/>
                <a:moveTo>
                  <a:pt x="1118" y="480"/>
                </a:moveTo>
                <a:lnTo>
                  <a:pt x="1119" y="478"/>
                </a:lnTo>
                <a:lnTo>
                  <a:pt x="1121" y="476"/>
                </a:lnTo>
                <a:lnTo>
                  <a:pt x="1123" y="476"/>
                </a:lnTo>
                <a:lnTo>
                  <a:pt x="1125" y="476"/>
                </a:lnTo>
                <a:lnTo>
                  <a:pt x="1129" y="477"/>
                </a:lnTo>
                <a:lnTo>
                  <a:pt x="1132" y="478"/>
                </a:lnTo>
                <a:lnTo>
                  <a:pt x="1141" y="480"/>
                </a:lnTo>
                <a:lnTo>
                  <a:pt x="1149" y="481"/>
                </a:lnTo>
                <a:lnTo>
                  <a:pt x="1145" y="483"/>
                </a:lnTo>
                <a:lnTo>
                  <a:pt x="1140" y="483"/>
                </a:lnTo>
                <a:lnTo>
                  <a:pt x="1135" y="483"/>
                </a:lnTo>
                <a:lnTo>
                  <a:pt x="1131" y="481"/>
                </a:lnTo>
                <a:lnTo>
                  <a:pt x="1127" y="481"/>
                </a:lnTo>
                <a:lnTo>
                  <a:pt x="1125" y="481"/>
                </a:lnTo>
                <a:lnTo>
                  <a:pt x="1124" y="481"/>
                </a:lnTo>
                <a:lnTo>
                  <a:pt x="1123" y="484"/>
                </a:lnTo>
                <a:lnTo>
                  <a:pt x="1123" y="486"/>
                </a:lnTo>
                <a:lnTo>
                  <a:pt x="1124" y="487"/>
                </a:lnTo>
                <a:lnTo>
                  <a:pt x="1124" y="488"/>
                </a:lnTo>
                <a:lnTo>
                  <a:pt x="1122" y="489"/>
                </a:lnTo>
                <a:lnTo>
                  <a:pt x="1121" y="491"/>
                </a:lnTo>
                <a:lnTo>
                  <a:pt x="1118" y="491"/>
                </a:lnTo>
                <a:lnTo>
                  <a:pt x="1118" y="489"/>
                </a:lnTo>
                <a:lnTo>
                  <a:pt x="1119" y="487"/>
                </a:lnTo>
                <a:lnTo>
                  <a:pt x="1121" y="485"/>
                </a:lnTo>
                <a:lnTo>
                  <a:pt x="1121" y="484"/>
                </a:lnTo>
                <a:lnTo>
                  <a:pt x="1119" y="481"/>
                </a:lnTo>
                <a:lnTo>
                  <a:pt x="1118" y="480"/>
                </a:lnTo>
                <a:lnTo>
                  <a:pt x="1119" y="480"/>
                </a:lnTo>
                <a:lnTo>
                  <a:pt x="1118" y="480"/>
                </a:lnTo>
                <a:close/>
                <a:moveTo>
                  <a:pt x="1056" y="476"/>
                </a:moveTo>
                <a:lnTo>
                  <a:pt x="1052" y="475"/>
                </a:lnTo>
                <a:lnTo>
                  <a:pt x="1049" y="472"/>
                </a:lnTo>
                <a:lnTo>
                  <a:pt x="1049" y="470"/>
                </a:lnTo>
                <a:lnTo>
                  <a:pt x="1050" y="469"/>
                </a:lnTo>
                <a:lnTo>
                  <a:pt x="1051" y="468"/>
                </a:lnTo>
                <a:lnTo>
                  <a:pt x="1053" y="468"/>
                </a:lnTo>
                <a:lnTo>
                  <a:pt x="1061" y="471"/>
                </a:lnTo>
                <a:lnTo>
                  <a:pt x="1068" y="475"/>
                </a:lnTo>
                <a:lnTo>
                  <a:pt x="1063" y="476"/>
                </a:lnTo>
                <a:lnTo>
                  <a:pt x="1056" y="476"/>
                </a:lnTo>
                <a:lnTo>
                  <a:pt x="1056" y="476"/>
                </a:lnTo>
                <a:lnTo>
                  <a:pt x="1056" y="476"/>
                </a:lnTo>
                <a:close/>
                <a:moveTo>
                  <a:pt x="1042" y="442"/>
                </a:moveTo>
                <a:lnTo>
                  <a:pt x="1052" y="443"/>
                </a:lnTo>
                <a:lnTo>
                  <a:pt x="1063" y="442"/>
                </a:lnTo>
                <a:lnTo>
                  <a:pt x="1067" y="442"/>
                </a:lnTo>
                <a:lnTo>
                  <a:pt x="1073" y="442"/>
                </a:lnTo>
                <a:lnTo>
                  <a:pt x="1077" y="442"/>
                </a:lnTo>
                <a:lnTo>
                  <a:pt x="1083" y="443"/>
                </a:lnTo>
                <a:lnTo>
                  <a:pt x="1080" y="446"/>
                </a:lnTo>
                <a:lnTo>
                  <a:pt x="1075" y="447"/>
                </a:lnTo>
                <a:lnTo>
                  <a:pt x="1072" y="448"/>
                </a:lnTo>
                <a:lnTo>
                  <a:pt x="1067" y="448"/>
                </a:lnTo>
                <a:lnTo>
                  <a:pt x="1059" y="448"/>
                </a:lnTo>
                <a:lnTo>
                  <a:pt x="1051" y="448"/>
                </a:lnTo>
                <a:lnTo>
                  <a:pt x="1047" y="450"/>
                </a:lnTo>
                <a:lnTo>
                  <a:pt x="1044" y="448"/>
                </a:lnTo>
                <a:lnTo>
                  <a:pt x="1043" y="446"/>
                </a:lnTo>
                <a:lnTo>
                  <a:pt x="1042" y="443"/>
                </a:lnTo>
                <a:lnTo>
                  <a:pt x="1040" y="441"/>
                </a:lnTo>
                <a:lnTo>
                  <a:pt x="1035" y="441"/>
                </a:lnTo>
                <a:lnTo>
                  <a:pt x="1031" y="442"/>
                </a:lnTo>
                <a:lnTo>
                  <a:pt x="1027" y="443"/>
                </a:lnTo>
                <a:lnTo>
                  <a:pt x="1031" y="441"/>
                </a:lnTo>
                <a:lnTo>
                  <a:pt x="1035" y="441"/>
                </a:lnTo>
                <a:lnTo>
                  <a:pt x="1039" y="441"/>
                </a:lnTo>
                <a:lnTo>
                  <a:pt x="1042" y="442"/>
                </a:lnTo>
                <a:lnTo>
                  <a:pt x="1047" y="443"/>
                </a:lnTo>
                <a:lnTo>
                  <a:pt x="1045" y="442"/>
                </a:lnTo>
                <a:lnTo>
                  <a:pt x="1042" y="442"/>
                </a:lnTo>
                <a:lnTo>
                  <a:pt x="1042" y="442"/>
                </a:lnTo>
                <a:close/>
                <a:moveTo>
                  <a:pt x="970" y="442"/>
                </a:moveTo>
                <a:lnTo>
                  <a:pt x="970" y="445"/>
                </a:lnTo>
                <a:lnTo>
                  <a:pt x="972" y="448"/>
                </a:lnTo>
                <a:lnTo>
                  <a:pt x="970" y="452"/>
                </a:lnTo>
                <a:lnTo>
                  <a:pt x="969" y="455"/>
                </a:lnTo>
                <a:lnTo>
                  <a:pt x="968" y="452"/>
                </a:lnTo>
                <a:lnTo>
                  <a:pt x="966" y="450"/>
                </a:lnTo>
                <a:lnTo>
                  <a:pt x="964" y="448"/>
                </a:lnTo>
                <a:lnTo>
                  <a:pt x="960" y="448"/>
                </a:lnTo>
                <a:lnTo>
                  <a:pt x="954" y="447"/>
                </a:lnTo>
                <a:lnTo>
                  <a:pt x="948" y="445"/>
                </a:lnTo>
                <a:lnTo>
                  <a:pt x="959" y="444"/>
                </a:lnTo>
                <a:lnTo>
                  <a:pt x="970" y="442"/>
                </a:lnTo>
                <a:lnTo>
                  <a:pt x="968" y="444"/>
                </a:lnTo>
                <a:lnTo>
                  <a:pt x="970" y="442"/>
                </a:lnTo>
                <a:close/>
                <a:moveTo>
                  <a:pt x="845" y="468"/>
                </a:moveTo>
                <a:lnTo>
                  <a:pt x="851" y="468"/>
                </a:lnTo>
                <a:lnTo>
                  <a:pt x="855" y="468"/>
                </a:lnTo>
                <a:lnTo>
                  <a:pt x="861" y="469"/>
                </a:lnTo>
                <a:lnTo>
                  <a:pt x="867" y="470"/>
                </a:lnTo>
                <a:lnTo>
                  <a:pt x="855" y="473"/>
                </a:lnTo>
                <a:lnTo>
                  <a:pt x="844" y="476"/>
                </a:lnTo>
                <a:lnTo>
                  <a:pt x="842" y="475"/>
                </a:lnTo>
                <a:lnTo>
                  <a:pt x="839" y="473"/>
                </a:lnTo>
                <a:lnTo>
                  <a:pt x="838" y="472"/>
                </a:lnTo>
                <a:lnTo>
                  <a:pt x="838" y="470"/>
                </a:lnTo>
                <a:lnTo>
                  <a:pt x="839" y="469"/>
                </a:lnTo>
                <a:lnTo>
                  <a:pt x="841" y="468"/>
                </a:lnTo>
                <a:lnTo>
                  <a:pt x="843" y="468"/>
                </a:lnTo>
                <a:lnTo>
                  <a:pt x="845" y="468"/>
                </a:lnTo>
                <a:lnTo>
                  <a:pt x="846" y="468"/>
                </a:lnTo>
                <a:lnTo>
                  <a:pt x="845" y="468"/>
                </a:lnTo>
                <a:close/>
                <a:moveTo>
                  <a:pt x="803" y="452"/>
                </a:moveTo>
                <a:lnTo>
                  <a:pt x="809" y="452"/>
                </a:lnTo>
                <a:lnTo>
                  <a:pt x="814" y="448"/>
                </a:lnTo>
                <a:lnTo>
                  <a:pt x="817" y="450"/>
                </a:lnTo>
                <a:lnTo>
                  <a:pt x="819" y="452"/>
                </a:lnTo>
                <a:lnTo>
                  <a:pt x="819" y="454"/>
                </a:lnTo>
                <a:lnTo>
                  <a:pt x="820" y="456"/>
                </a:lnTo>
                <a:lnTo>
                  <a:pt x="824" y="458"/>
                </a:lnTo>
                <a:lnTo>
                  <a:pt x="826" y="458"/>
                </a:lnTo>
                <a:lnTo>
                  <a:pt x="826" y="458"/>
                </a:lnTo>
                <a:lnTo>
                  <a:pt x="826" y="459"/>
                </a:lnTo>
                <a:lnTo>
                  <a:pt x="827" y="459"/>
                </a:lnTo>
                <a:lnTo>
                  <a:pt x="828" y="460"/>
                </a:lnTo>
                <a:lnTo>
                  <a:pt x="832" y="460"/>
                </a:lnTo>
                <a:lnTo>
                  <a:pt x="834" y="460"/>
                </a:lnTo>
                <a:lnTo>
                  <a:pt x="824" y="460"/>
                </a:lnTo>
                <a:lnTo>
                  <a:pt x="813" y="460"/>
                </a:lnTo>
                <a:lnTo>
                  <a:pt x="803" y="460"/>
                </a:lnTo>
                <a:lnTo>
                  <a:pt x="793" y="461"/>
                </a:lnTo>
                <a:lnTo>
                  <a:pt x="797" y="456"/>
                </a:lnTo>
                <a:lnTo>
                  <a:pt x="803" y="452"/>
                </a:lnTo>
                <a:lnTo>
                  <a:pt x="804" y="455"/>
                </a:lnTo>
                <a:lnTo>
                  <a:pt x="803" y="452"/>
                </a:lnTo>
                <a:close/>
                <a:moveTo>
                  <a:pt x="681" y="491"/>
                </a:moveTo>
                <a:lnTo>
                  <a:pt x="684" y="488"/>
                </a:lnTo>
                <a:lnTo>
                  <a:pt x="686" y="486"/>
                </a:lnTo>
                <a:lnTo>
                  <a:pt x="689" y="485"/>
                </a:lnTo>
                <a:lnTo>
                  <a:pt x="694" y="484"/>
                </a:lnTo>
                <a:lnTo>
                  <a:pt x="702" y="484"/>
                </a:lnTo>
                <a:lnTo>
                  <a:pt x="710" y="484"/>
                </a:lnTo>
                <a:lnTo>
                  <a:pt x="720" y="484"/>
                </a:lnTo>
                <a:lnTo>
                  <a:pt x="730" y="483"/>
                </a:lnTo>
                <a:lnTo>
                  <a:pt x="740" y="480"/>
                </a:lnTo>
                <a:lnTo>
                  <a:pt x="751" y="477"/>
                </a:lnTo>
                <a:lnTo>
                  <a:pt x="746" y="484"/>
                </a:lnTo>
                <a:lnTo>
                  <a:pt x="740" y="491"/>
                </a:lnTo>
                <a:lnTo>
                  <a:pt x="738" y="493"/>
                </a:lnTo>
                <a:lnTo>
                  <a:pt x="735" y="495"/>
                </a:lnTo>
                <a:lnTo>
                  <a:pt x="730" y="496"/>
                </a:lnTo>
                <a:lnTo>
                  <a:pt x="726" y="496"/>
                </a:lnTo>
                <a:lnTo>
                  <a:pt x="714" y="496"/>
                </a:lnTo>
                <a:lnTo>
                  <a:pt x="703" y="497"/>
                </a:lnTo>
                <a:lnTo>
                  <a:pt x="690" y="498"/>
                </a:lnTo>
                <a:lnTo>
                  <a:pt x="679" y="500"/>
                </a:lnTo>
                <a:lnTo>
                  <a:pt x="680" y="495"/>
                </a:lnTo>
                <a:lnTo>
                  <a:pt x="681" y="491"/>
                </a:lnTo>
                <a:lnTo>
                  <a:pt x="682" y="489"/>
                </a:lnTo>
                <a:lnTo>
                  <a:pt x="681" y="491"/>
                </a:lnTo>
                <a:close/>
                <a:moveTo>
                  <a:pt x="655" y="491"/>
                </a:moveTo>
                <a:lnTo>
                  <a:pt x="661" y="489"/>
                </a:lnTo>
                <a:lnTo>
                  <a:pt x="665" y="488"/>
                </a:lnTo>
                <a:lnTo>
                  <a:pt x="671" y="488"/>
                </a:lnTo>
                <a:lnTo>
                  <a:pt x="677" y="488"/>
                </a:lnTo>
                <a:lnTo>
                  <a:pt x="672" y="492"/>
                </a:lnTo>
                <a:lnTo>
                  <a:pt x="666" y="494"/>
                </a:lnTo>
                <a:lnTo>
                  <a:pt x="661" y="496"/>
                </a:lnTo>
                <a:lnTo>
                  <a:pt x="655" y="496"/>
                </a:lnTo>
                <a:lnTo>
                  <a:pt x="654" y="496"/>
                </a:lnTo>
                <a:lnTo>
                  <a:pt x="652" y="496"/>
                </a:lnTo>
                <a:lnTo>
                  <a:pt x="651" y="495"/>
                </a:lnTo>
                <a:lnTo>
                  <a:pt x="651" y="493"/>
                </a:lnTo>
                <a:lnTo>
                  <a:pt x="653" y="492"/>
                </a:lnTo>
                <a:lnTo>
                  <a:pt x="655" y="491"/>
                </a:lnTo>
                <a:lnTo>
                  <a:pt x="657" y="491"/>
                </a:lnTo>
                <a:lnTo>
                  <a:pt x="655" y="491"/>
                </a:lnTo>
                <a:close/>
                <a:moveTo>
                  <a:pt x="389" y="583"/>
                </a:moveTo>
                <a:lnTo>
                  <a:pt x="390" y="581"/>
                </a:lnTo>
                <a:lnTo>
                  <a:pt x="391" y="580"/>
                </a:lnTo>
                <a:lnTo>
                  <a:pt x="392" y="583"/>
                </a:lnTo>
                <a:lnTo>
                  <a:pt x="391" y="584"/>
                </a:lnTo>
                <a:lnTo>
                  <a:pt x="390" y="584"/>
                </a:lnTo>
                <a:lnTo>
                  <a:pt x="389" y="583"/>
                </a:lnTo>
                <a:lnTo>
                  <a:pt x="389" y="583"/>
                </a:lnTo>
                <a:lnTo>
                  <a:pt x="389" y="583"/>
                </a:lnTo>
                <a:close/>
                <a:moveTo>
                  <a:pt x="298" y="579"/>
                </a:moveTo>
                <a:lnTo>
                  <a:pt x="299" y="579"/>
                </a:lnTo>
                <a:lnTo>
                  <a:pt x="300" y="580"/>
                </a:lnTo>
                <a:lnTo>
                  <a:pt x="300" y="581"/>
                </a:lnTo>
                <a:lnTo>
                  <a:pt x="299" y="584"/>
                </a:lnTo>
                <a:lnTo>
                  <a:pt x="298" y="585"/>
                </a:lnTo>
                <a:lnTo>
                  <a:pt x="297" y="585"/>
                </a:lnTo>
                <a:lnTo>
                  <a:pt x="297" y="585"/>
                </a:lnTo>
                <a:lnTo>
                  <a:pt x="297" y="584"/>
                </a:lnTo>
                <a:lnTo>
                  <a:pt x="297" y="581"/>
                </a:lnTo>
                <a:lnTo>
                  <a:pt x="298" y="579"/>
                </a:lnTo>
                <a:lnTo>
                  <a:pt x="298" y="579"/>
                </a:lnTo>
                <a:lnTo>
                  <a:pt x="298" y="579"/>
                </a:lnTo>
                <a:close/>
                <a:moveTo>
                  <a:pt x="243" y="301"/>
                </a:moveTo>
                <a:lnTo>
                  <a:pt x="252" y="300"/>
                </a:lnTo>
                <a:lnTo>
                  <a:pt x="262" y="296"/>
                </a:lnTo>
                <a:lnTo>
                  <a:pt x="273" y="293"/>
                </a:lnTo>
                <a:lnTo>
                  <a:pt x="282" y="289"/>
                </a:lnTo>
                <a:lnTo>
                  <a:pt x="292" y="286"/>
                </a:lnTo>
                <a:lnTo>
                  <a:pt x="302" y="284"/>
                </a:lnTo>
                <a:lnTo>
                  <a:pt x="313" y="281"/>
                </a:lnTo>
                <a:lnTo>
                  <a:pt x="322" y="278"/>
                </a:lnTo>
                <a:lnTo>
                  <a:pt x="344" y="272"/>
                </a:lnTo>
                <a:lnTo>
                  <a:pt x="366" y="267"/>
                </a:lnTo>
                <a:lnTo>
                  <a:pt x="388" y="262"/>
                </a:lnTo>
                <a:lnTo>
                  <a:pt x="409" y="256"/>
                </a:lnTo>
                <a:lnTo>
                  <a:pt x="431" y="253"/>
                </a:lnTo>
                <a:lnTo>
                  <a:pt x="453" y="249"/>
                </a:lnTo>
                <a:lnTo>
                  <a:pt x="474" y="246"/>
                </a:lnTo>
                <a:lnTo>
                  <a:pt x="496" y="242"/>
                </a:lnTo>
                <a:lnTo>
                  <a:pt x="506" y="240"/>
                </a:lnTo>
                <a:lnTo>
                  <a:pt x="517" y="239"/>
                </a:lnTo>
                <a:lnTo>
                  <a:pt x="528" y="237"/>
                </a:lnTo>
                <a:lnTo>
                  <a:pt x="539" y="236"/>
                </a:lnTo>
                <a:lnTo>
                  <a:pt x="549" y="234"/>
                </a:lnTo>
                <a:lnTo>
                  <a:pt x="561" y="232"/>
                </a:lnTo>
                <a:lnTo>
                  <a:pt x="566" y="231"/>
                </a:lnTo>
                <a:lnTo>
                  <a:pt x="572" y="232"/>
                </a:lnTo>
                <a:lnTo>
                  <a:pt x="578" y="232"/>
                </a:lnTo>
                <a:lnTo>
                  <a:pt x="582" y="235"/>
                </a:lnTo>
                <a:lnTo>
                  <a:pt x="560" y="238"/>
                </a:lnTo>
                <a:lnTo>
                  <a:pt x="537" y="242"/>
                </a:lnTo>
                <a:lnTo>
                  <a:pt x="513" y="245"/>
                </a:lnTo>
                <a:lnTo>
                  <a:pt x="490" y="248"/>
                </a:lnTo>
                <a:lnTo>
                  <a:pt x="467" y="252"/>
                </a:lnTo>
                <a:lnTo>
                  <a:pt x="443" y="256"/>
                </a:lnTo>
                <a:lnTo>
                  <a:pt x="421" y="261"/>
                </a:lnTo>
                <a:lnTo>
                  <a:pt x="398" y="265"/>
                </a:lnTo>
                <a:lnTo>
                  <a:pt x="376" y="271"/>
                </a:lnTo>
                <a:lnTo>
                  <a:pt x="354" y="277"/>
                </a:lnTo>
                <a:lnTo>
                  <a:pt x="332" y="282"/>
                </a:lnTo>
                <a:lnTo>
                  <a:pt x="310" y="288"/>
                </a:lnTo>
                <a:lnTo>
                  <a:pt x="290" y="294"/>
                </a:lnTo>
                <a:lnTo>
                  <a:pt x="269" y="301"/>
                </a:lnTo>
                <a:lnTo>
                  <a:pt x="259" y="303"/>
                </a:lnTo>
                <a:lnTo>
                  <a:pt x="249" y="306"/>
                </a:lnTo>
                <a:lnTo>
                  <a:pt x="239" y="307"/>
                </a:lnTo>
                <a:lnTo>
                  <a:pt x="227" y="309"/>
                </a:lnTo>
                <a:lnTo>
                  <a:pt x="231" y="305"/>
                </a:lnTo>
                <a:lnTo>
                  <a:pt x="234" y="303"/>
                </a:lnTo>
                <a:lnTo>
                  <a:pt x="239" y="302"/>
                </a:lnTo>
                <a:lnTo>
                  <a:pt x="243" y="301"/>
                </a:lnTo>
                <a:lnTo>
                  <a:pt x="252" y="300"/>
                </a:lnTo>
                <a:lnTo>
                  <a:pt x="250" y="300"/>
                </a:lnTo>
                <a:lnTo>
                  <a:pt x="244" y="301"/>
                </a:lnTo>
                <a:lnTo>
                  <a:pt x="243" y="301"/>
                </a:lnTo>
                <a:close/>
                <a:moveTo>
                  <a:pt x="190" y="498"/>
                </a:moveTo>
                <a:lnTo>
                  <a:pt x="199" y="496"/>
                </a:lnTo>
                <a:lnTo>
                  <a:pt x="207" y="492"/>
                </a:lnTo>
                <a:lnTo>
                  <a:pt x="214" y="487"/>
                </a:lnTo>
                <a:lnTo>
                  <a:pt x="220" y="483"/>
                </a:lnTo>
                <a:lnTo>
                  <a:pt x="228" y="478"/>
                </a:lnTo>
                <a:lnTo>
                  <a:pt x="235" y="475"/>
                </a:lnTo>
                <a:lnTo>
                  <a:pt x="240" y="473"/>
                </a:lnTo>
                <a:lnTo>
                  <a:pt x="244" y="472"/>
                </a:lnTo>
                <a:lnTo>
                  <a:pt x="249" y="472"/>
                </a:lnTo>
                <a:lnTo>
                  <a:pt x="253" y="473"/>
                </a:lnTo>
                <a:lnTo>
                  <a:pt x="239" y="484"/>
                </a:lnTo>
                <a:lnTo>
                  <a:pt x="225" y="492"/>
                </a:lnTo>
                <a:lnTo>
                  <a:pt x="217" y="496"/>
                </a:lnTo>
                <a:lnTo>
                  <a:pt x="209" y="498"/>
                </a:lnTo>
                <a:lnTo>
                  <a:pt x="200" y="498"/>
                </a:lnTo>
                <a:lnTo>
                  <a:pt x="190" y="498"/>
                </a:lnTo>
                <a:close/>
                <a:moveTo>
                  <a:pt x="361" y="453"/>
                </a:moveTo>
                <a:lnTo>
                  <a:pt x="371" y="447"/>
                </a:lnTo>
                <a:lnTo>
                  <a:pt x="380" y="444"/>
                </a:lnTo>
                <a:lnTo>
                  <a:pt x="390" y="442"/>
                </a:lnTo>
                <a:lnTo>
                  <a:pt x="400" y="441"/>
                </a:lnTo>
                <a:lnTo>
                  <a:pt x="391" y="445"/>
                </a:lnTo>
                <a:lnTo>
                  <a:pt x="382" y="448"/>
                </a:lnTo>
                <a:lnTo>
                  <a:pt x="372" y="452"/>
                </a:lnTo>
                <a:lnTo>
                  <a:pt x="361" y="453"/>
                </a:lnTo>
                <a:lnTo>
                  <a:pt x="372" y="450"/>
                </a:lnTo>
                <a:lnTo>
                  <a:pt x="361" y="453"/>
                </a:lnTo>
                <a:close/>
                <a:moveTo>
                  <a:pt x="417" y="436"/>
                </a:moveTo>
                <a:lnTo>
                  <a:pt x="415" y="436"/>
                </a:lnTo>
                <a:lnTo>
                  <a:pt x="412" y="435"/>
                </a:lnTo>
                <a:lnTo>
                  <a:pt x="429" y="429"/>
                </a:lnTo>
                <a:lnTo>
                  <a:pt x="447" y="423"/>
                </a:lnTo>
                <a:lnTo>
                  <a:pt x="464" y="420"/>
                </a:lnTo>
                <a:lnTo>
                  <a:pt x="482" y="417"/>
                </a:lnTo>
                <a:lnTo>
                  <a:pt x="466" y="423"/>
                </a:lnTo>
                <a:lnTo>
                  <a:pt x="450" y="429"/>
                </a:lnTo>
                <a:lnTo>
                  <a:pt x="434" y="434"/>
                </a:lnTo>
                <a:lnTo>
                  <a:pt x="417" y="436"/>
                </a:lnTo>
                <a:lnTo>
                  <a:pt x="420" y="436"/>
                </a:lnTo>
                <a:lnTo>
                  <a:pt x="425" y="435"/>
                </a:lnTo>
                <a:lnTo>
                  <a:pt x="427" y="435"/>
                </a:lnTo>
                <a:lnTo>
                  <a:pt x="417" y="436"/>
                </a:lnTo>
                <a:close/>
                <a:moveTo>
                  <a:pt x="481" y="451"/>
                </a:moveTo>
                <a:lnTo>
                  <a:pt x="481" y="451"/>
                </a:lnTo>
                <a:lnTo>
                  <a:pt x="481" y="451"/>
                </a:lnTo>
                <a:lnTo>
                  <a:pt x="483" y="448"/>
                </a:lnTo>
                <a:lnTo>
                  <a:pt x="487" y="448"/>
                </a:lnTo>
                <a:lnTo>
                  <a:pt x="486" y="451"/>
                </a:lnTo>
                <a:lnTo>
                  <a:pt x="484" y="452"/>
                </a:lnTo>
                <a:lnTo>
                  <a:pt x="483" y="452"/>
                </a:lnTo>
                <a:lnTo>
                  <a:pt x="481" y="451"/>
                </a:lnTo>
                <a:lnTo>
                  <a:pt x="482" y="451"/>
                </a:lnTo>
                <a:lnTo>
                  <a:pt x="481" y="451"/>
                </a:lnTo>
                <a:close/>
                <a:moveTo>
                  <a:pt x="587" y="364"/>
                </a:moveTo>
                <a:lnTo>
                  <a:pt x="589" y="362"/>
                </a:lnTo>
                <a:lnTo>
                  <a:pt x="591" y="360"/>
                </a:lnTo>
                <a:lnTo>
                  <a:pt x="593" y="359"/>
                </a:lnTo>
                <a:lnTo>
                  <a:pt x="594" y="358"/>
                </a:lnTo>
                <a:lnTo>
                  <a:pt x="593" y="356"/>
                </a:lnTo>
                <a:lnTo>
                  <a:pt x="590" y="356"/>
                </a:lnTo>
                <a:lnTo>
                  <a:pt x="588" y="355"/>
                </a:lnTo>
                <a:lnTo>
                  <a:pt x="587" y="358"/>
                </a:lnTo>
                <a:lnTo>
                  <a:pt x="586" y="360"/>
                </a:lnTo>
                <a:lnTo>
                  <a:pt x="583" y="362"/>
                </a:lnTo>
                <a:lnTo>
                  <a:pt x="580" y="363"/>
                </a:lnTo>
                <a:lnTo>
                  <a:pt x="577" y="363"/>
                </a:lnTo>
                <a:lnTo>
                  <a:pt x="574" y="365"/>
                </a:lnTo>
                <a:lnTo>
                  <a:pt x="571" y="367"/>
                </a:lnTo>
                <a:lnTo>
                  <a:pt x="565" y="371"/>
                </a:lnTo>
                <a:lnTo>
                  <a:pt x="558" y="372"/>
                </a:lnTo>
                <a:lnTo>
                  <a:pt x="557" y="373"/>
                </a:lnTo>
                <a:lnTo>
                  <a:pt x="556" y="373"/>
                </a:lnTo>
                <a:lnTo>
                  <a:pt x="555" y="373"/>
                </a:lnTo>
                <a:lnTo>
                  <a:pt x="554" y="372"/>
                </a:lnTo>
                <a:lnTo>
                  <a:pt x="554" y="369"/>
                </a:lnTo>
                <a:lnTo>
                  <a:pt x="554" y="365"/>
                </a:lnTo>
                <a:lnTo>
                  <a:pt x="556" y="364"/>
                </a:lnTo>
                <a:lnTo>
                  <a:pt x="556" y="364"/>
                </a:lnTo>
                <a:lnTo>
                  <a:pt x="557" y="367"/>
                </a:lnTo>
                <a:lnTo>
                  <a:pt x="558" y="368"/>
                </a:lnTo>
                <a:lnTo>
                  <a:pt x="561" y="369"/>
                </a:lnTo>
                <a:lnTo>
                  <a:pt x="562" y="367"/>
                </a:lnTo>
                <a:lnTo>
                  <a:pt x="563" y="365"/>
                </a:lnTo>
                <a:lnTo>
                  <a:pt x="564" y="363"/>
                </a:lnTo>
                <a:lnTo>
                  <a:pt x="567" y="360"/>
                </a:lnTo>
                <a:lnTo>
                  <a:pt x="570" y="358"/>
                </a:lnTo>
                <a:lnTo>
                  <a:pt x="573" y="355"/>
                </a:lnTo>
                <a:lnTo>
                  <a:pt x="577" y="354"/>
                </a:lnTo>
                <a:lnTo>
                  <a:pt x="585" y="352"/>
                </a:lnTo>
                <a:lnTo>
                  <a:pt x="593" y="350"/>
                </a:lnTo>
                <a:lnTo>
                  <a:pt x="596" y="348"/>
                </a:lnTo>
                <a:lnTo>
                  <a:pt x="599" y="348"/>
                </a:lnTo>
                <a:lnTo>
                  <a:pt x="600" y="350"/>
                </a:lnTo>
                <a:lnTo>
                  <a:pt x="602" y="353"/>
                </a:lnTo>
                <a:lnTo>
                  <a:pt x="605" y="353"/>
                </a:lnTo>
                <a:lnTo>
                  <a:pt x="608" y="352"/>
                </a:lnTo>
                <a:lnTo>
                  <a:pt x="613" y="350"/>
                </a:lnTo>
                <a:lnTo>
                  <a:pt x="615" y="347"/>
                </a:lnTo>
                <a:lnTo>
                  <a:pt x="619" y="345"/>
                </a:lnTo>
                <a:lnTo>
                  <a:pt x="623" y="343"/>
                </a:lnTo>
                <a:lnTo>
                  <a:pt x="627" y="344"/>
                </a:lnTo>
                <a:lnTo>
                  <a:pt x="628" y="346"/>
                </a:lnTo>
                <a:lnTo>
                  <a:pt x="629" y="348"/>
                </a:lnTo>
                <a:lnTo>
                  <a:pt x="630" y="351"/>
                </a:lnTo>
                <a:lnTo>
                  <a:pt x="632" y="353"/>
                </a:lnTo>
                <a:lnTo>
                  <a:pt x="635" y="353"/>
                </a:lnTo>
                <a:lnTo>
                  <a:pt x="638" y="352"/>
                </a:lnTo>
                <a:lnTo>
                  <a:pt x="640" y="351"/>
                </a:lnTo>
                <a:lnTo>
                  <a:pt x="647" y="348"/>
                </a:lnTo>
                <a:lnTo>
                  <a:pt x="654" y="347"/>
                </a:lnTo>
                <a:lnTo>
                  <a:pt x="661" y="344"/>
                </a:lnTo>
                <a:lnTo>
                  <a:pt x="666" y="339"/>
                </a:lnTo>
                <a:lnTo>
                  <a:pt x="669" y="343"/>
                </a:lnTo>
                <a:lnTo>
                  <a:pt x="670" y="344"/>
                </a:lnTo>
                <a:lnTo>
                  <a:pt x="673" y="345"/>
                </a:lnTo>
                <a:lnTo>
                  <a:pt x="676" y="346"/>
                </a:lnTo>
                <a:lnTo>
                  <a:pt x="681" y="346"/>
                </a:lnTo>
                <a:lnTo>
                  <a:pt x="686" y="350"/>
                </a:lnTo>
                <a:lnTo>
                  <a:pt x="680" y="353"/>
                </a:lnTo>
                <a:lnTo>
                  <a:pt x="673" y="355"/>
                </a:lnTo>
                <a:lnTo>
                  <a:pt x="670" y="355"/>
                </a:lnTo>
                <a:lnTo>
                  <a:pt x="666" y="355"/>
                </a:lnTo>
                <a:lnTo>
                  <a:pt x="663" y="354"/>
                </a:lnTo>
                <a:lnTo>
                  <a:pt x="660" y="353"/>
                </a:lnTo>
                <a:lnTo>
                  <a:pt x="657" y="358"/>
                </a:lnTo>
                <a:lnTo>
                  <a:pt x="654" y="361"/>
                </a:lnTo>
                <a:lnTo>
                  <a:pt x="649" y="364"/>
                </a:lnTo>
                <a:lnTo>
                  <a:pt x="645" y="367"/>
                </a:lnTo>
                <a:lnTo>
                  <a:pt x="639" y="367"/>
                </a:lnTo>
                <a:lnTo>
                  <a:pt x="635" y="365"/>
                </a:lnTo>
                <a:lnTo>
                  <a:pt x="629" y="364"/>
                </a:lnTo>
                <a:lnTo>
                  <a:pt x="623" y="362"/>
                </a:lnTo>
                <a:lnTo>
                  <a:pt x="621" y="361"/>
                </a:lnTo>
                <a:lnTo>
                  <a:pt x="619" y="361"/>
                </a:lnTo>
                <a:lnTo>
                  <a:pt x="616" y="363"/>
                </a:lnTo>
                <a:lnTo>
                  <a:pt x="614" y="364"/>
                </a:lnTo>
                <a:lnTo>
                  <a:pt x="608" y="367"/>
                </a:lnTo>
                <a:lnTo>
                  <a:pt x="603" y="368"/>
                </a:lnTo>
                <a:lnTo>
                  <a:pt x="597" y="367"/>
                </a:lnTo>
                <a:lnTo>
                  <a:pt x="593" y="367"/>
                </a:lnTo>
                <a:lnTo>
                  <a:pt x="589" y="367"/>
                </a:lnTo>
                <a:lnTo>
                  <a:pt x="588" y="368"/>
                </a:lnTo>
                <a:lnTo>
                  <a:pt x="587" y="367"/>
                </a:lnTo>
                <a:lnTo>
                  <a:pt x="587" y="364"/>
                </a:lnTo>
                <a:lnTo>
                  <a:pt x="588" y="363"/>
                </a:lnTo>
                <a:lnTo>
                  <a:pt x="587" y="364"/>
                </a:lnTo>
                <a:close/>
                <a:moveTo>
                  <a:pt x="1141" y="364"/>
                </a:moveTo>
                <a:lnTo>
                  <a:pt x="1140" y="364"/>
                </a:lnTo>
                <a:lnTo>
                  <a:pt x="1139" y="365"/>
                </a:lnTo>
                <a:lnTo>
                  <a:pt x="1139" y="368"/>
                </a:lnTo>
                <a:lnTo>
                  <a:pt x="1135" y="369"/>
                </a:lnTo>
                <a:lnTo>
                  <a:pt x="1130" y="369"/>
                </a:lnTo>
                <a:lnTo>
                  <a:pt x="1123" y="369"/>
                </a:lnTo>
                <a:lnTo>
                  <a:pt x="1108" y="368"/>
                </a:lnTo>
                <a:lnTo>
                  <a:pt x="1093" y="365"/>
                </a:lnTo>
                <a:lnTo>
                  <a:pt x="1078" y="363"/>
                </a:lnTo>
                <a:lnTo>
                  <a:pt x="1064" y="362"/>
                </a:lnTo>
                <a:lnTo>
                  <a:pt x="1049" y="362"/>
                </a:lnTo>
                <a:lnTo>
                  <a:pt x="1034" y="362"/>
                </a:lnTo>
                <a:lnTo>
                  <a:pt x="1006" y="364"/>
                </a:lnTo>
                <a:lnTo>
                  <a:pt x="976" y="364"/>
                </a:lnTo>
                <a:lnTo>
                  <a:pt x="946" y="363"/>
                </a:lnTo>
                <a:lnTo>
                  <a:pt x="918" y="363"/>
                </a:lnTo>
                <a:lnTo>
                  <a:pt x="887" y="364"/>
                </a:lnTo>
                <a:lnTo>
                  <a:pt x="858" y="365"/>
                </a:lnTo>
                <a:lnTo>
                  <a:pt x="828" y="368"/>
                </a:lnTo>
                <a:lnTo>
                  <a:pt x="797" y="370"/>
                </a:lnTo>
                <a:lnTo>
                  <a:pt x="783" y="371"/>
                </a:lnTo>
                <a:lnTo>
                  <a:pt x="769" y="373"/>
                </a:lnTo>
                <a:lnTo>
                  <a:pt x="754" y="376"/>
                </a:lnTo>
                <a:lnTo>
                  <a:pt x="739" y="377"/>
                </a:lnTo>
                <a:lnTo>
                  <a:pt x="725" y="378"/>
                </a:lnTo>
                <a:lnTo>
                  <a:pt x="711" y="379"/>
                </a:lnTo>
                <a:lnTo>
                  <a:pt x="696" y="381"/>
                </a:lnTo>
                <a:lnTo>
                  <a:pt x="682" y="383"/>
                </a:lnTo>
                <a:lnTo>
                  <a:pt x="665" y="385"/>
                </a:lnTo>
                <a:lnTo>
                  <a:pt x="649" y="387"/>
                </a:lnTo>
                <a:lnTo>
                  <a:pt x="632" y="390"/>
                </a:lnTo>
                <a:lnTo>
                  <a:pt x="616" y="393"/>
                </a:lnTo>
                <a:lnTo>
                  <a:pt x="600" y="396"/>
                </a:lnTo>
                <a:lnTo>
                  <a:pt x="585" y="400"/>
                </a:lnTo>
                <a:lnTo>
                  <a:pt x="577" y="402"/>
                </a:lnTo>
                <a:lnTo>
                  <a:pt x="567" y="402"/>
                </a:lnTo>
                <a:lnTo>
                  <a:pt x="560" y="403"/>
                </a:lnTo>
                <a:lnTo>
                  <a:pt x="552" y="402"/>
                </a:lnTo>
                <a:lnTo>
                  <a:pt x="566" y="397"/>
                </a:lnTo>
                <a:lnTo>
                  <a:pt x="581" y="394"/>
                </a:lnTo>
                <a:lnTo>
                  <a:pt x="594" y="393"/>
                </a:lnTo>
                <a:lnTo>
                  <a:pt x="605" y="389"/>
                </a:lnTo>
                <a:lnTo>
                  <a:pt x="615" y="386"/>
                </a:lnTo>
                <a:lnTo>
                  <a:pt x="626" y="384"/>
                </a:lnTo>
                <a:lnTo>
                  <a:pt x="630" y="385"/>
                </a:lnTo>
                <a:lnTo>
                  <a:pt x="635" y="385"/>
                </a:lnTo>
                <a:lnTo>
                  <a:pt x="639" y="384"/>
                </a:lnTo>
                <a:lnTo>
                  <a:pt x="644" y="383"/>
                </a:lnTo>
                <a:lnTo>
                  <a:pt x="647" y="378"/>
                </a:lnTo>
                <a:lnTo>
                  <a:pt x="649" y="375"/>
                </a:lnTo>
                <a:lnTo>
                  <a:pt x="651" y="373"/>
                </a:lnTo>
                <a:lnTo>
                  <a:pt x="651" y="372"/>
                </a:lnTo>
                <a:lnTo>
                  <a:pt x="651" y="372"/>
                </a:lnTo>
                <a:lnTo>
                  <a:pt x="653" y="372"/>
                </a:lnTo>
                <a:lnTo>
                  <a:pt x="656" y="372"/>
                </a:lnTo>
                <a:lnTo>
                  <a:pt x="659" y="372"/>
                </a:lnTo>
                <a:lnTo>
                  <a:pt x="671" y="370"/>
                </a:lnTo>
                <a:lnTo>
                  <a:pt x="685" y="365"/>
                </a:lnTo>
                <a:lnTo>
                  <a:pt x="697" y="361"/>
                </a:lnTo>
                <a:lnTo>
                  <a:pt x="711" y="358"/>
                </a:lnTo>
                <a:lnTo>
                  <a:pt x="718" y="356"/>
                </a:lnTo>
                <a:lnTo>
                  <a:pt x="726" y="355"/>
                </a:lnTo>
                <a:lnTo>
                  <a:pt x="733" y="355"/>
                </a:lnTo>
                <a:lnTo>
                  <a:pt x="739" y="358"/>
                </a:lnTo>
                <a:lnTo>
                  <a:pt x="738" y="361"/>
                </a:lnTo>
                <a:lnTo>
                  <a:pt x="738" y="364"/>
                </a:lnTo>
                <a:lnTo>
                  <a:pt x="738" y="365"/>
                </a:lnTo>
                <a:lnTo>
                  <a:pt x="739" y="367"/>
                </a:lnTo>
                <a:lnTo>
                  <a:pt x="740" y="368"/>
                </a:lnTo>
                <a:lnTo>
                  <a:pt x="744" y="369"/>
                </a:lnTo>
                <a:lnTo>
                  <a:pt x="748" y="368"/>
                </a:lnTo>
                <a:lnTo>
                  <a:pt x="754" y="367"/>
                </a:lnTo>
                <a:lnTo>
                  <a:pt x="759" y="363"/>
                </a:lnTo>
                <a:lnTo>
                  <a:pt x="763" y="361"/>
                </a:lnTo>
                <a:lnTo>
                  <a:pt x="760" y="361"/>
                </a:lnTo>
                <a:lnTo>
                  <a:pt x="754" y="361"/>
                </a:lnTo>
                <a:lnTo>
                  <a:pt x="752" y="361"/>
                </a:lnTo>
                <a:lnTo>
                  <a:pt x="751" y="360"/>
                </a:lnTo>
                <a:lnTo>
                  <a:pt x="751" y="359"/>
                </a:lnTo>
                <a:lnTo>
                  <a:pt x="752" y="356"/>
                </a:lnTo>
                <a:lnTo>
                  <a:pt x="761" y="354"/>
                </a:lnTo>
                <a:lnTo>
                  <a:pt x="771" y="354"/>
                </a:lnTo>
                <a:lnTo>
                  <a:pt x="784" y="353"/>
                </a:lnTo>
                <a:lnTo>
                  <a:pt x="796" y="353"/>
                </a:lnTo>
                <a:lnTo>
                  <a:pt x="799" y="353"/>
                </a:lnTo>
                <a:lnTo>
                  <a:pt x="801" y="352"/>
                </a:lnTo>
                <a:lnTo>
                  <a:pt x="802" y="350"/>
                </a:lnTo>
                <a:lnTo>
                  <a:pt x="803" y="348"/>
                </a:lnTo>
                <a:lnTo>
                  <a:pt x="806" y="348"/>
                </a:lnTo>
                <a:lnTo>
                  <a:pt x="809" y="347"/>
                </a:lnTo>
                <a:lnTo>
                  <a:pt x="809" y="346"/>
                </a:lnTo>
                <a:lnTo>
                  <a:pt x="808" y="345"/>
                </a:lnTo>
                <a:lnTo>
                  <a:pt x="805" y="345"/>
                </a:lnTo>
                <a:lnTo>
                  <a:pt x="803" y="345"/>
                </a:lnTo>
                <a:lnTo>
                  <a:pt x="799" y="346"/>
                </a:lnTo>
                <a:lnTo>
                  <a:pt x="796" y="346"/>
                </a:lnTo>
                <a:lnTo>
                  <a:pt x="791" y="347"/>
                </a:lnTo>
                <a:lnTo>
                  <a:pt x="786" y="347"/>
                </a:lnTo>
                <a:lnTo>
                  <a:pt x="781" y="345"/>
                </a:lnTo>
                <a:lnTo>
                  <a:pt x="777" y="342"/>
                </a:lnTo>
                <a:lnTo>
                  <a:pt x="773" y="340"/>
                </a:lnTo>
                <a:lnTo>
                  <a:pt x="770" y="340"/>
                </a:lnTo>
                <a:lnTo>
                  <a:pt x="766" y="340"/>
                </a:lnTo>
                <a:lnTo>
                  <a:pt x="762" y="342"/>
                </a:lnTo>
                <a:lnTo>
                  <a:pt x="748" y="344"/>
                </a:lnTo>
                <a:lnTo>
                  <a:pt x="736" y="346"/>
                </a:lnTo>
                <a:lnTo>
                  <a:pt x="737" y="342"/>
                </a:lnTo>
                <a:lnTo>
                  <a:pt x="738" y="338"/>
                </a:lnTo>
                <a:lnTo>
                  <a:pt x="738" y="336"/>
                </a:lnTo>
                <a:lnTo>
                  <a:pt x="738" y="334"/>
                </a:lnTo>
                <a:lnTo>
                  <a:pt x="739" y="332"/>
                </a:lnTo>
                <a:lnTo>
                  <a:pt x="742" y="331"/>
                </a:lnTo>
                <a:lnTo>
                  <a:pt x="746" y="331"/>
                </a:lnTo>
                <a:lnTo>
                  <a:pt x="752" y="331"/>
                </a:lnTo>
                <a:lnTo>
                  <a:pt x="755" y="331"/>
                </a:lnTo>
                <a:lnTo>
                  <a:pt x="756" y="331"/>
                </a:lnTo>
                <a:lnTo>
                  <a:pt x="758" y="332"/>
                </a:lnTo>
                <a:lnTo>
                  <a:pt x="760" y="335"/>
                </a:lnTo>
                <a:lnTo>
                  <a:pt x="764" y="337"/>
                </a:lnTo>
                <a:lnTo>
                  <a:pt x="770" y="337"/>
                </a:lnTo>
                <a:lnTo>
                  <a:pt x="773" y="337"/>
                </a:lnTo>
                <a:lnTo>
                  <a:pt x="776" y="337"/>
                </a:lnTo>
                <a:lnTo>
                  <a:pt x="777" y="336"/>
                </a:lnTo>
                <a:lnTo>
                  <a:pt x="778" y="332"/>
                </a:lnTo>
                <a:lnTo>
                  <a:pt x="778" y="330"/>
                </a:lnTo>
                <a:lnTo>
                  <a:pt x="779" y="329"/>
                </a:lnTo>
                <a:lnTo>
                  <a:pt x="780" y="329"/>
                </a:lnTo>
                <a:lnTo>
                  <a:pt x="784" y="329"/>
                </a:lnTo>
                <a:lnTo>
                  <a:pt x="794" y="329"/>
                </a:lnTo>
                <a:lnTo>
                  <a:pt x="804" y="328"/>
                </a:lnTo>
                <a:lnTo>
                  <a:pt x="813" y="326"/>
                </a:lnTo>
                <a:lnTo>
                  <a:pt x="821" y="323"/>
                </a:lnTo>
                <a:lnTo>
                  <a:pt x="830" y="322"/>
                </a:lnTo>
                <a:lnTo>
                  <a:pt x="839" y="325"/>
                </a:lnTo>
                <a:lnTo>
                  <a:pt x="855" y="323"/>
                </a:lnTo>
                <a:lnTo>
                  <a:pt x="871" y="320"/>
                </a:lnTo>
                <a:lnTo>
                  <a:pt x="879" y="320"/>
                </a:lnTo>
                <a:lnTo>
                  <a:pt x="887" y="319"/>
                </a:lnTo>
                <a:lnTo>
                  <a:pt x="894" y="317"/>
                </a:lnTo>
                <a:lnTo>
                  <a:pt x="902" y="315"/>
                </a:lnTo>
                <a:lnTo>
                  <a:pt x="904" y="318"/>
                </a:lnTo>
                <a:lnTo>
                  <a:pt x="905" y="320"/>
                </a:lnTo>
                <a:lnTo>
                  <a:pt x="908" y="322"/>
                </a:lnTo>
                <a:lnTo>
                  <a:pt x="911" y="323"/>
                </a:lnTo>
                <a:lnTo>
                  <a:pt x="919" y="321"/>
                </a:lnTo>
                <a:lnTo>
                  <a:pt x="927" y="320"/>
                </a:lnTo>
                <a:lnTo>
                  <a:pt x="943" y="321"/>
                </a:lnTo>
                <a:lnTo>
                  <a:pt x="959" y="321"/>
                </a:lnTo>
                <a:lnTo>
                  <a:pt x="970" y="320"/>
                </a:lnTo>
                <a:lnTo>
                  <a:pt x="981" y="320"/>
                </a:lnTo>
                <a:lnTo>
                  <a:pt x="992" y="321"/>
                </a:lnTo>
                <a:lnTo>
                  <a:pt x="1002" y="322"/>
                </a:lnTo>
                <a:lnTo>
                  <a:pt x="1024" y="327"/>
                </a:lnTo>
                <a:lnTo>
                  <a:pt x="1044" y="329"/>
                </a:lnTo>
                <a:lnTo>
                  <a:pt x="1042" y="330"/>
                </a:lnTo>
                <a:lnTo>
                  <a:pt x="1040" y="331"/>
                </a:lnTo>
                <a:lnTo>
                  <a:pt x="1036" y="331"/>
                </a:lnTo>
                <a:lnTo>
                  <a:pt x="1033" y="332"/>
                </a:lnTo>
                <a:lnTo>
                  <a:pt x="1031" y="332"/>
                </a:lnTo>
                <a:lnTo>
                  <a:pt x="1030" y="334"/>
                </a:lnTo>
                <a:lnTo>
                  <a:pt x="1030" y="335"/>
                </a:lnTo>
                <a:lnTo>
                  <a:pt x="1032" y="337"/>
                </a:lnTo>
                <a:lnTo>
                  <a:pt x="1034" y="337"/>
                </a:lnTo>
                <a:lnTo>
                  <a:pt x="1036" y="338"/>
                </a:lnTo>
                <a:lnTo>
                  <a:pt x="1038" y="338"/>
                </a:lnTo>
                <a:lnTo>
                  <a:pt x="1039" y="339"/>
                </a:lnTo>
                <a:lnTo>
                  <a:pt x="1039" y="340"/>
                </a:lnTo>
                <a:lnTo>
                  <a:pt x="1039" y="342"/>
                </a:lnTo>
                <a:lnTo>
                  <a:pt x="1036" y="344"/>
                </a:lnTo>
                <a:lnTo>
                  <a:pt x="1034" y="345"/>
                </a:lnTo>
                <a:lnTo>
                  <a:pt x="1031" y="344"/>
                </a:lnTo>
                <a:lnTo>
                  <a:pt x="1027" y="344"/>
                </a:lnTo>
                <a:lnTo>
                  <a:pt x="1019" y="345"/>
                </a:lnTo>
                <a:lnTo>
                  <a:pt x="1012" y="343"/>
                </a:lnTo>
                <a:lnTo>
                  <a:pt x="1012" y="342"/>
                </a:lnTo>
                <a:lnTo>
                  <a:pt x="1014" y="340"/>
                </a:lnTo>
                <a:lnTo>
                  <a:pt x="1014" y="338"/>
                </a:lnTo>
                <a:lnTo>
                  <a:pt x="1011" y="337"/>
                </a:lnTo>
                <a:lnTo>
                  <a:pt x="1009" y="337"/>
                </a:lnTo>
                <a:lnTo>
                  <a:pt x="1009" y="338"/>
                </a:lnTo>
                <a:lnTo>
                  <a:pt x="1008" y="340"/>
                </a:lnTo>
                <a:lnTo>
                  <a:pt x="1008" y="343"/>
                </a:lnTo>
                <a:lnTo>
                  <a:pt x="1008" y="343"/>
                </a:lnTo>
                <a:lnTo>
                  <a:pt x="1008" y="344"/>
                </a:lnTo>
                <a:lnTo>
                  <a:pt x="1006" y="345"/>
                </a:lnTo>
                <a:lnTo>
                  <a:pt x="1003" y="345"/>
                </a:lnTo>
                <a:lnTo>
                  <a:pt x="1000" y="345"/>
                </a:lnTo>
                <a:lnTo>
                  <a:pt x="998" y="345"/>
                </a:lnTo>
                <a:lnTo>
                  <a:pt x="992" y="342"/>
                </a:lnTo>
                <a:lnTo>
                  <a:pt x="986" y="339"/>
                </a:lnTo>
                <a:lnTo>
                  <a:pt x="978" y="339"/>
                </a:lnTo>
                <a:lnTo>
                  <a:pt x="970" y="339"/>
                </a:lnTo>
                <a:lnTo>
                  <a:pt x="960" y="339"/>
                </a:lnTo>
                <a:lnTo>
                  <a:pt x="949" y="339"/>
                </a:lnTo>
                <a:lnTo>
                  <a:pt x="939" y="339"/>
                </a:lnTo>
                <a:lnTo>
                  <a:pt x="927" y="339"/>
                </a:lnTo>
                <a:lnTo>
                  <a:pt x="917" y="339"/>
                </a:lnTo>
                <a:lnTo>
                  <a:pt x="905" y="339"/>
                </a:lnTo>
                <a:lnTo>
                  <a:pt x="895" y="339"/>
                </a:lnTo>
                <a:lnTo>
                  <a:pt x="885" y="339"/>
                </a:lnTo>
                <a:lnTo>
                  <a:pt x="875" y="340"/>
                </a:lnTo>
                <a:lnTo>
                  <a:pt x="865" y="340"/>
                </a:lnTo>
                <a:lnTo>
                  <a:pt x="855" y="343"/>
                </a:lnTo>
                <a:lnTo>
                  <a:pt x="845" y="346"/>
                </a:lnTo>
                <a:lnTo>
                  <a:pt x="868" y="347"/>
                </a:lnTo>
                <a:lnTo>
                  <a:pt x="890" y="347"/>
                </a:lnTo>
                <a:lnTo>
                  <a:pt x="912" y="346"/>
                </a:lnTo>
                <a:lnTo>
                  <a:pt x="934" y="346"/>
                </a:lnTo>
                <a:lnTo>
                  <a:pt x="945" y="345"/>
                </a:lnTo>
                <a:lnTo>
                  <a:pt x="957" y="345"/>
                </a:lnTo>
                <a:lnTo>
                  <a:pt x="967" y="345"/>
                </a:lnTo>
                <a:lnTo>
                  <a:pt x="978" y="345"/>
                </a:lnTo>
                <a:lnTo>
                  <a:pt x="989" y="346"/>
                </a:lnTo>
                <a:lnTo>
                  <a:pt x="999" y="347"/>
                </a:lnTo>
                <a:lnTo>
                  <a:pt x="1010" y="347"/>
                </a:lnTo>
                <a:lnTo>
                  <a:pt x="1020" y="347"/>
                </a:lnTo>
                <a:lnTo>
                  <a:pt x="1031" y="347"/>
                </a:lnTo>
                <a:lnTo>
                  <a:pt x="1041" y="347"/>
                </a:lnTo>
                <a:lnTo>
                  <a:pt x="1050" y="348"/>
                </a:lnTo>
                <a:lnTo>
                  <a:pt x="1060" y="350"/>
                </a:lnTo>
                <a:lnTo>
                  <a:pt x="1064" y="351"/>
                </a:lnTo>
                <a:lnTo>
                  <a:pt x="1067" y="352"/>
                </a:lnTo>
                <a:lnTo>
                  <a:pt x="1069" y="351"/>
                </a:lnTo>
                <a:lnTo>
                  <a:pt x="1073" y="350"/>
                </a:lnTo>
                <a:lnTo>
                  <a:pt x="1074" y="347"/>
                </a:lnTo>
                <a:lnTo>
                  <a:pt x="1075" y="345"/>
                </a:lnTo>
                <a:lnTo>
                  <a:pt x="1076" y="344"/>
                </a:lnTo>
                <a:lnTo>
                  <a:pt x="1080" y="345"/>
                </a:lnTo>
                <a:lnTo>
                  <a:pt x="1081" y="346"/>
                </a:lnTo>
                <a:lnTo>
                  <a:pt x="1083" y="347"/>
                </a:lnTo>
                <a:lnTo>
                  <a:pt x="1084" y="347"/>
                </a:lnTo>
                <a:lnTo>
                  <a:pt x="1085" y="346"/>
                </a:lnTo>
                <a:lnTo>
                  <a:pt x="1086" y="344"/>
                </a:lnTo>
                <a:lnTo>
                  <a:pt x="1086" y="342"/>
                </a:lnTo>
                <a:lnTo>
                  <a:pt x="1088" y="339"/>
                </a:lnTo>
                <a:lnTo>
                  <a:pt x="1091" y="339"/>
                </a:lnTo>
                <a:lnTo>
                  <a:pt x="1097" y="343"/>
                </a:lnTo>
                <a:lnTo>
                  <a:pt x="1101" y="345"/>
                </a:lnTo>
                <a:lnTo>
                  <a:pt x="1105" y="344"/>
                </a:lnTo>
                <a:lnTo>
                  <a:pt x="1107" y="343"/>
                </a:lnTo>
                <a:lnTo>
                  <a:pt x="1109" y="339"/>
                </a:lnTo>
                <a:lnTo>
                  <a:pt x="1110" y="337"/>
                </a:lnTo>
                <a:lnTo>
                  <a:pt x="1104" y="335"/>
                </a:lnTo>
                <a:lnTo>
                  <a:pt x="1097" y="334"/>
                </a:lnTo>
                <a:lnTo>
                  <a:pt x="1090" y="334"/>
                </a:lnTo>
                <a:lnTo>
                  <a:pt x="1083" y="335"/>
                </a:lnTo>
                <a:lnTo>
                  <a:pt x="1076" y="335"/>
                </a:lnTo>
                <a:lnTo>
                  <a:pt x="1068" y="336"/>
                </a:lnTo>
                <a:lnTo>
                  <a:pt x="1061" y="335"/>
                </a:lnTo>
                <a:lnTo>
                  <a:pt x="1055" y="334"/>
                </a:lnTo>
                <a:lnTo>
                  <a:pt x="1063" y="329"/>
                </a:lnTo>
                <a:lnTo>
                  <a:pt x="1071" y="325"/>
                </a:lnTo>
                <a:lnTo>
                  <a:pt x="1073" y="325"/>
                </a:lnTo>
                <a:lnTo>
                  <a:pt x="1075" y="325"/>
                </a:lnTo>
                <a:lnTo>
                  <a:pt x="1077" y="325"/>
                </a:lnTo>
                <a:lnTo>
                  <a:pt x="1080" y="326"/>
                </a:lnTo>
                <a:lnTo>
                  <a:pt x="1084" y="329"/>
                </a:lnTo>
                <a:lnTo>
                  <a:pt x="1090" y="330"/>
                </a:lnTo>
                <a:lnTo>
                  <a:pt x="1100" y="329"/>
                </a:lnTo>
                <a:lnTo>
                  <a:pt x="1110" y="329"/>
                </a:lnTo>
                <a:lnTo>
                  <a:pt x="1117" y="330"/>
                </a:lnTo>
                <a:lnTo>
                  <a:pt x="1123" y="334"/>
                </a:lnTo>
                <a:lnTo>
                  <a:pt x="1129" y="337"/>
                </a:lnTo>
                <a:lnTo>
                  <a:pt x="1133" y="342"/>
                </a:lnTo>
                <a:lnTo>
                  <a:pt x="1126" y="345"/>
                </a:lnTo>
                <a:lnTo>
                  <a:pt x="1118" y="346"/>
                </a:lnTo>
                <a:lnTo>
                  <a:pt x="1115" y="347"/>
                </a:lnTo>
                <a:lnTo>
                  <a:pt x="1111" y="350"/>
                </a:lnTo>
                <a:lnTo>
                  <a:pt x="1109" y="352"/>
                </a:lnTo>
                <a:lnTo>
                  <a:pt x="1107" y="355"/>
                </a:lnTo>
                <a:lnTo>
                  <a:pt x="1110" y="355"/>
                </a:lnTo>
                <a:lnTo>
                  <a:pt x="1116" y="356"/>
                </a:lnTo>
                <a:lnTo>
                  <a:pt x="1119" y="356"/>
                </a:lnTo>
                <a:lnTo>
                  <a:pt x="1122" y="356"/>
                </a:lnTo>
                <a:lnTo>
                  <a:pt x="1124" y="355"/>
                </a:lnTo>
                <a:lnTo>
                  <a:pt x="1125" y="354"/>
                </a:lnTo>
                <a:lnTo>
                  <a:pt x="1123" y="351"/>
                </a:lnTo>
                <a:lnTo>
                  <a:pt x="1122" y="348"/>
                </a:lnTo>
                <a:lnTo>
                  <a:pt x="1124" y="347"/>
                </a:lnTo>
                <a:lnTo>
                  <a:pt x="1126" y="347"/>
                </a:lnTo>
                <a:lnTo>
                  <a:pt x="1130" y="347"/>
                </a:lnTo>
                <a:lnTo>
                  <a:pt x="1132" y="347"/>
                </a:lnTo>
                <a:lnTo>
                  <a:pt x="1138" y="350"/>
                </a:lnTo>
                <a:lnTo>
                  <a:pt x="1142" y="352"/>
                </a:lnTo>
                <a:lnTo>
                  <a:pt x="1150" y="358"/>
                </a:lnTo>
                <a:lnTo>
                  <a:pt x="1159" y="361"/>
                </a:lnTo>
                <a:lnTo>
                  <a:pt x="1155" y="363"/>
                </a:lnTo>
                <a:lnTo>
                  <a:pt x="1150" y="365"/>
                </a:lnTo>
                <a:lnTo>
                  <a:pt x="1146" y="365"/>
                </a:lnTo>
                <a:lnTo>
                  <a:pt x="1141" y="364"/>
                </a:lnTo>
                <a:lnTo>
                  <a:pt x="1143" y="365"/>
                </a:lnTo>
                <a:lnTo>
                  <a:pt x="1141" y="364"/>
                </a:lnTo>
                <a:close/>
                <a:moveTo>
                  <a:pt x="998" y="346"/>
                </a:moveTo>
                <a:lnTo>
                  <a:pt x="998" y="346"/>
                </a:lnTo>
                <a:lnTo>
                  <a:pt x="998" y="345"/>
                </a:lnTo>
                <a:lnTo>
                  <a:pt x="998" y="34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07ECD4CA-DADA-384D-9E13-AB1F90DD734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562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7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24DE589-2CCA-1348-8D92-38DEB837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B360E5B-B6B6-E84D-B4D5-6CC2A2804A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39">
            <a:extLst>
              <a:ext uri="{FF2B5EF4-FFF2-40B4-BE49-F238E27FC236}">
                <a16:creationId xmlns:a16="http://schemas.microsoft.com/office/drawing/2014/main" id="{3EA755F4-3948-7D44-9769-856001ABD7FC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816323" y="738114"/>
            <a:ext cx="22754528" cy="7734572"/>
          </a:xfrm>
          <a:custGeom>
            <a:avLst/>
            <a:gdLst>
              <a:gd name="T0" fmla="*/ 968 w 1015"/>
              <a:gd name="T1" fmla="*/ 247 h 478"/>
              <a:gd name="T2" fmla="*/ 960 w 1015"/>
              <a:gd name="T3" fmla="*/ 223 h 478"/>
              <a:gd name="T4" fmla="*/ 977 w 1015"/>
              <a:gd name="T5" fmla="*/ 173 h 478"/>
              <a:gd name="T6" fmla="*/ 1004 w 1015"/>
              <a:gd name="T7" fmla="*/ 118 h 478"/>
              <a:gd name="T8" fmla="*/ 948 w 1015"/>
              <a:gd name="T9" fmla="*/ 84 h 478"/>
              <a:gd name="T10" fmla="*/ 922 w 1015"/>
              <a:gd name="T11" fmla="*/ 34 h 478"/>
              <a:gd name="T12" fmla="*/ 780 w 1015"/>
              <a:gd name="T13" fmla="*/ 14 h 478"/>
              <a:gd name="T14" fmla="*/ 490 w 1015"/>
              <a:gd name="T15" fmla="*/ 6 h 478"/>
              <a:gd name="T16" fmla="*/ 296 w 1015"/>
              <a:gd name="T17" fmla="*/ 42 h 478"/>
              <a:gd name="T18" fmla="*/ 181 w 1015"/>
              <a:gd name="T19" fmla="*/ 88 h 478"/>
              <a:gd name="T20" fmla="*/ 115 w 1015"/>
              <a:gd name="T21" fmla="*/ 150 h 478"/>
              <a:gd name="T22" fmla="*/ 32 w 1015"/>
              <a:gd name="T23" fmla="*/ 241 h 478"/>
              <a:gd name="T24" fmla="*/ 109 w 1015"/>
              <a:gd name="T25" fmla="*/ 259 h 478"/>
              <a:gd name="T26" fmla="*/ 134 w 1015"/>
              <a:gd name="T27" fmla="*/ 262 h 478"/>
              <a:gd name="T28" fmla="*/ 48 w 1015"/>
              <a:gd name="T29" fmla="*/ 306 h 478"/>
              <a:gd name="T30" fmla="*/ 12 w 1015"/>
              <a:gd name="T31" fmla="*/ 388 h 478"/>
              <a:gd name="T32" fmla="*/ 226 w 1015"/>
              <a:gd name="T33" fmla="*/ 316 h 478"/>
              <a:gd name="T34" fmla="*/ 580 w 1015"/>
              <a:gd name="T35" fmla="*/ 196 h 478"/>
              <a:gd name="T36" fmla="*/ 696 w 1015"/>
              <a:gd name="T37" fmla="*/ 172 h 478"/>
              <a:gd name="T38" fmla="*/ 837 w 1015"/>
              <a:gd name="T39" fmla="*/ 151 h 478"/>
              <a:gd name="T40" fmla="*/ 636 w 1015"/>
              <a:gd name="T41" fmla="*/ 193 h 478"/>
              <a:gd name="T42" fmla="*/ 314 w 1015"/>
              <a:gd name="T43" fmla="*/ 289 h 478"/>
              <a:gd name="T44" fmla="*/ 63 w 1015"/>
              <a:gd name="T45" fmla="*/ 405 h 478"/>
              <a:gd name="T46" fmla="*/ 52 w 1015"/>
              <a:gd name="T47" fmla="*/ 478 h 478"/>
              <a:gd name="T48" fmla="*/ 108 w 1015"/>
              <a:gd name="T49" fmla="*/ 447 h 478"/>
              <a:gd name="T50" fmla="*/ 211 w 1015"/>
              <a:gd name="T51" fmla="*/ 414 h 478"/>
              <a:gd name="T52" fmla="*/ 313 w 1015"/>
              <a:gd name="T53" fmla="*/ 373 h 478"/>
              <a:gd name="T54" fmla="*/ 406 w 1015"/>
              <a:gd name="T55" fmla="*/ 338 h 478"/>
              <a:gd name="T56" fmla="*/ 466 w 1015"/>
              <a:gd name="T57" fmla="*/ 322 h 478"/>
              <a:gd name="T58" fmla="*/ 338 w 1015"/>
              <a:gd name="T59" fmla="*/ 374 h 478"/>
              <a:gd name="T60" fmla="*/ 231 w 1015"/>
              <a:gd name="T61" fmla="*/ 444 h 478"/>
              <a:gd name="T62" fmla="*/ 288 w 1015"/>
              <a:gd name="T63" fmla="*/ 456 h 478"/>
              <a:gd name="T64" fmla="*/ 332 w 1015"/>
              <a:gd name="T65" fmla="*/ 427 h 478"/>
              <a:gd name="T66" fmla="*/ 340 w 1015"/>
              <a:gd name="T67" fmla="*/ 405 h 478"/>
              <a:gd name="T68" fmla="*/ 434 w 1015"/>
              <a:gd name="T69" fmla="*/ 372 h 478"/>
              <a:gd name="T70" fmla="*/ 448 w 1015"/>
              <a:gd name="T71" fmla="*/ 378 h 478"/>
              <a:gd name="T72" fmla="*/ 417 w 1015"/>
              <a:gd name="T73" fmla="*/ 402 h 478"/>
              <a:gd name="T74" fmla="*/ 557 w 1015"/>
              <a:gd name="T75" fmla="*/ 371 h 478"/>
              <a:gd name="T76" fmla="*/ 495 w 1015"/>
              <a:gd name="T77" fmla="*/ 396 h 478"/>
              <a:gd name="T78" fmla="*/ 622 w 1015"/>
              <a:gd name="T79" fmla="*/ 381 h 478"/>
              <a:gd name="T80" fmla="*/ 681 w 1015"/>
              <a:gd name="T81" fmla="*/ 369 h 478"/>
              <a:gd name="T82" fmla="*/ 720 w 1015"/>
              <a:gd name="T83" fmla="*/ 363 h 478"/>
              <a:gd name="T84" fmla="*/ 752 w 1015"/>
              <a:gd name="T85" fmla="*/ 349 h 478"/>
              <a:gd name="T86" fmla="*/ 687 w 1015"/>
              <a:gd name="T87" fmla="*/ 366 h 478"/>
              <a:gd name="T88" fmla="*/ 675 w 1015"/>
              <a:gd name="T89" fmla="*/ 346 h 478"/>
              <a:gd name="T90" fmla="*/ 826 w 1015"/>
              <a:gd name="T91" fmla="*/ 314 h 478"/>
              <a:gd name="T92" fmla="*/ 953 w 1015"/>
              <a:gd name="T93" fmla="*/ 322 h 478"/>
              <a:gd name="T94" fmla="*/ 1014 w 1015"/>
              <a:gd name="T95" fmla="*/ 289 h 478"/>
              <a:gd name="T96" fmla="*/ 214 w 1015"/>
              <a:gd name="T97" fmla="*/ 229 h 478"/>
              <a:gd name="T98" fmla="*/ 257 w 1015"/>
              <a:gd name="T99" fmla="*/ 217 h 478"/>
              <a:gd name="T100" fmla="*/ 573 w 1015"/>
              <a:gd name="T101" fmla="*/ 38 h 478"/>
              <a:gd name="T102" fmla="*/ 710 w 1015"/>
              <a:gd name="T103" fmla="*/ 34 h 478"/>
              <a:gd name="T104" fmla="*/ 206 w 1015"/>
              <a:gd name="T105" fmla="*/ 407 h 478"/>
              <a:gd name="T106" fmla="*/ 228 w 1015"/>
              <a:gd name="T107" fmla="*/ 396 h 478"/>
              <a:gd name="T108" fmla="*/ 335 w 1015"/>
              <a:gd name="T109" fmla="*/ 350 h 478"/>
              <a:gd name="T110" fmla="*/ 392 w 1015"/>
              <a:gd name="T111" fmla="*/ 330 h 478"/>
              <a:gd name="T112" fmla="*/ 495 w 1015"/>
              <a:gd name="T113" fmla="*/ 308 h 478"/>
              <a:gd name="T114" fmla="*/ 503 w 1015"/>
              <a:gd name="T115" fmla="*/ 291 h 478"/>
              <a:gd name="T116" fmla="*/ 519 w 1015"/>
              <a:gd name="T117" fmla="*/ 308 h 478"/>
              <a:gd name="T118" fmla="*/ 585 w 1015"/>
              <a:gd name="T119" fmla="*/ 279 h 478"/>
              <a:gd name="T120" fmla="*/ 630 w 1015"/>
              <a:gd name="T121" fmla="*/ 261 h 478"/>
              <a:gd name="T122" fmla="*/ 671 w 1015"/>
              <a:gd name="T123" fmla="*/ 263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15" h="478">
                <a:moveTo>
                  <a:pt x="1015" y="284"/>
                </a:moveTo>
                <a:lnTo>
                  <a:pt x="1014" y="279"/>
                </a:lnTo>
                <a:lnTo>
                  <a:pt x="1013" y="274"/>
                </a:lnTo>
                <a:lnTo>
                  <a:pt x="1011" y="270"/>
                </a:lnTo>
                <a:lnTo>
                  <a:pt x="1008" y="265"/>
                </a:lnTo>
                <a:lnTo>
                  <a:pt x="1006" y="262"/>
                </a:lnTo>
                <a:lnTo>
                  <a:pt x="1001" y="258"/>
                </a:lnTo>
                <a:lnTo>
                  <a:pt x="997" y="256"/>
                </a:lnTo>
                <a:lnTo>
                  <a:pt x="992" y="255"/>
                </a:lnTo>
                <a:lnTo>
                  <a:pt x="986" y="255"/>
                </a:lnTo>
                <a:lnTo>
                  <a:pt x="981" y="254"/>
                </a:lnTo>
                <a:lnTo>
                  <a:pt x="976" y="253"/>
                </a:lnTo>
                <a:lnTo>
                  <a:pt x="972" y="249"/>
                </a:lnTo>
                <a:lnTo>
                  <a:pt x="968" y="247"/>
                </a:lnTo>
                <a:lnTo>
                  <a:pt x="965" y="243"/>
                </a:lnTo>
                <a:lnTo>
                  <a:pt x="960" y="241"/>
                </a:lnTo>
                <a:lnTo>
                  <a:pt x="957" y="239"/>
                </a:lnTo>
                <a:lnTo>
                  <a:pt x="956" y="237"/>
                </a:lnTo>
                <a:lnTo>
                  <a:pt x="957" y="236"/>
                </a:lnTo>
                <a:lnTo>
                  <a:pt x="959" y="234"/>
                </a:lnTo>
                <a:lnTo>
                  <a:pt x="961" y="233"/>
                </a:lnTo>
                <a:lnTo>
                  <a:pt x="966" y="232"/>
                </a:lnTo>
                <a:lnTo>
                  <a:pt x="969" y="231"/>
                </a:lnTo>
                <a:lnTo>
                  <a:pt x="969" y="229"/>
                </a:lnTo>
                <a:lnTo>
                  <a:pt x="968" y="226"/>
                </a:lnTo>
                <a:lnTo>
                  <a:pt x="967" y="225"/>
                </a:lnTo>
                <a:lnTo>
                  <a:pt x="965" y="224"/>
                </a:lnTo>
                <a:lnTo>
                  <a:pt x="960" y="223"/>
                </a:lnTo>
                <a:lnTo>
                  <a:pt x="958" y="221"/>
                </a:lnTo>
                <a:lnTo>
                  <a:pt x="958" y="217"/>
                </a:lnTo>
                <a:lnTo>
                  <a:pt x="959" y="215"/>
                </a:lnTo>
                <a:lnTo>
                  <a:pt x="961" y="213"/>
                </a:lnTo>
                <a:lnTo>
                  <a:pt x="965" y="211"/>
                </a:lnTo>
                <a:lnTo>
                  <a:pt x="972" y="207"/>
                </a:lnTo>
                <a:lnTo>
                  <a:pt x="976" y="205"/>
                </a:lnTo>
                <a:lnTo>
                  <a:pt x="980" y="203"/>
                </a:lnTo>
                <a:lnTo>
                  <a:pt x="982" y="201"/>
                </a:lnTo>
                <a:lnTo>
                  <a:pt x="984" y="198"/>
                </a:lnTo>
                <a:lnTo>
                  <a:pt x="985" y="195"/>
                </a:lnTo>
                <a:lnTo>
                  <a:pt x="981" y="186"/>
                </a:lnTo>
                <a:lnTo>
                  <a:pt x="977" y="176"/>
                </a:lnTo>
                <a:lnTo>
                  <a:pt x="977" y="173"/>
                </a:lnTo>
                <a:lnTo>
                  <a:pt x="980" y="171"/>
                </a:lnTo>
                <a:lnTo>
                  <a:pt x="981" y="170"/>
                </a:lnTo>
                <a:lnTo>
                  <a:pt x="983" y="168"/>
                </a:lnTo>
                <a:lnTo>
                  <a:pt x="983" y="166"/>
                </a:lnTo>
                <a:lnTo>
                  <a:pt x="983" y="163"/>
                </a:lnTo>
                <a:lnTo>
                  <a:pt x="986" y="158"/>
                </a:lnTo>
                <a:lnTo>
                  <a:pt x="991" y="156"/>
                </a:lnTo>
                <a:lnTo>
                  <a:pt x="992" y="151"/>
                </a:lnTo>
                <a:lnTo>
                  <a:pt x="992" y="148"/>
                </a:lnTo>
                <a:lnTo>
                  <a:pt x="997" y="140"/>
                </a:lnTo>
                <a:lnTo>
                  <a:pt x="1002" y="133"/>
                </a:lnTo>
                <a:lnTo>
                  <a:pt x="1004" y="129"/>
                </a:lnTo>
                <a:lnTo>
                  <a:pt x="1005" y="124"/>
                </a:lnTo>
                <a:lnTo>
                  <a:pt x="1004" y="118"/>
                </a:lnTo>
                <a:lnTo>
                  <a:pt x="1002" y="114"/>
                </a:lnTo>
                <a:lnTo>
                  <a:pt x="1001" y="112"/>
                </a:lnTo>
                <a:lnTo>
                  <a:pt x="1000" y="108"/>
                </a:lnTo>
                <a:lnTo>
                  <a:pt x="998" y="106"/>
                </a:lnTo>
                <a:lnTo>
                  <a:pt x="996" y="104"/>
                </a:lnTo>
                <a:lnTo>
                  <a:pt x="990" y="101"/>
                </a:lnTo>
                <a:lnTo>
                  <a:pt x="983" y="98"/>
                </a:lnTo>
                <a:lnTo>
                  <a:pt x="969" y="95"/>
                </a:lnTo>
                <a:lnTo>
                  <a:pt x="956" y="92"/>
                </a:lnTo>
                <a:lnTo>
                  <a:pt x="951" y="92"/>
                </a:lnTo>
                <a:lnTo>
                  <a:pt x="948" y="91"/>
                </a:lnTo>
                <a:lnTo>
                  <a:pt x="947" y="89"/>
                </a:lnTo>
                <a:lnTo>
                  <a:pt x="947" y="87"/>
                </a:lnTo>
                <a:lnTo>
                  <a:pt x="948" y="84"/>
                </a:lnTo>
                <a:lnTo>
                  <a:pt x="950" y="82"/>
                </a:lnTo>
                <a:lnTo>
                  <a:pt x="950" y="76"/>
                </a:lnTo>
                <a:lnTo>
                  <a:pt x="950" y="71"/>
                </a:lnTo>
                <a:lnTo>
                  <a:pt x="949" y="65"/>
                </a:lnTo>
                <a:lnTo>
                  <a:pt x="947" y="59"/>
                </a:lnTo>
                <a:lnTo>
                  <a:pt x="947" y="52"/>
                </a:lnTo>
                <a:lnTo>
                  <a:pt x="945" y="48"/>
                </a:lnTo>
                <a:lnTo>
                  <a:pt x="945" y="45"/>
                </a:lnTo>
                <a:lnTo>
                  <a:pt x="943" y="42"/>
                </a:lnTo>
                <a:lnTo>
                  <a:pt x="942" y="41"/>
                </a:lnTo>
                <a:lnTo>
                  <a:pt x="940" y="39"/>
                </a:lnTo>
                <a:lnTo>
                  <a:pt x="934" y="37"/>
                </a:lnTo>
                <a:lnTo>
                  <a:pt x="927" y="35"/>
                </a:lnTo>
                <a:lnTo>
                  <a:pt x="922" y="34"/>
                </a:lnTo>
                <a:lnTo>
                  <a:pt x="915" y="33"/>
                </a:lnTo>
                <a:lnTo>
                  <a:pt x="906" y="32"/>
                </a:lnTo>
                <a:lnTo>
                  <a:pt x="897" y="31"/>
                </a:lnTo>
                <a:lnTo>
                  <a:pt x="887" y="30"/>
                </a:lnTo>
                <a:lnTo>
                  <a:pt x="878" y="29"/>
                </a:lnTo>
                <a:lnTo>
                  <a:pt x="864" y="29"/>
                </a:lnTo>
                <a:lnTo>
                  <a:pt x="849" y="29"/>
                </a:lnTo>
                <a:lnTo>
                  <a:pt x="834" y="29"/>
                </a:lnTo>
                <a:lnTo>
                  <a:pt x="819" y="29"/>
                </a:lnTo>
                <a:lnTo>
                  <a:pt x="812" y="27"/>
                </a:lnTo>
                <a:lnTo>
                  <a:pt x="805" y="26"/>
                </a:lnTo>
                <a:lnTo>
                  <a:pt x="800" y="24"/>
                </a:lnTo>
                <a:lnTo>
                  <a:pt x="793" y="21"/>
                </a:lnTo>
                <a:lnTo>
                  <a:pt x="780" y="14"/>
                </a:lnTo>
                <a:lnTo>
                  <a:pt x="767" y="7"/>
                </a:lnTo>
                <a:lnTo>
                  <a:pt x="752" y="4"/>
                </a:lnTo>
                <a:lnTo>
                  <a:pt x="737" y="2"/>
                </a:lnTo>
                <a:lnTo>
                  <a:pt x="724" y="1"/>
                </a:lnTo>
                <a:lnTo>
                  <a:pt x="709" y="1"/>
                </a:lnTo>
                <a:lnTo>
                  <a:pt x="692" y="0"/>
                </a:lnTo>
                <a:lnTo>
                  <a:pt x="675" y="0"/>
                </a:lnTo>
                <a:lnTo>
                  <a:pt x="658" y="0"/>
                </a:lnTo>
                <a:lnTo>
                  <a:pt x="639" y="0"/>
                </a:lnTo>
                <a:lnTo>
                  <a:pt x="605" y="0"/>
                </a:lnTo>
                <a:lnTo>
                  <a:pt x="570" y="1"/>
                </a:lnTo>
                <a:lnTo>
                  <a:pt x="535" y="4"/>
                </a:lnTo>
                <a:lnTo>
                  <a:pt x="499" y="6"/>
                </a:lnTo>
                <a:lnTo>
                  <a:pt x="490" y="6"/>
                </a:lnTo>
                <a:lnTo>
                  <a:pt x="480" y="6"/>
                </a:lnTo>
                <a:lnTo>
                  <a:pt x="471" y="7"/>
                </a:lnTo>
                <a:lnTo>
                  <a:pt x="461" y="8"/>
                </a:lnTo>
                <a:lnTo>
                  <a:pt x="452" y="9"/>
                </a:lnTo>
                <a:lnTo>
                  <a:pt x="442" y="12"/>
                </a:lnTo>
                <a:lnTo>
                  <a:pt x="433" y="13"/>
                </a:lnTo>
                <a:lnTo>
                  <a:pt x="424" y="15"/>
                </a:lnTo>
                <a:lnTo>
                  <a:pt x="406" y="18"/>
                </a:lnTo>
                <a:lnTo>
                  <a:pt x="388" y="22"/>
                </a:lnTo>
                <a:lnTo>
                  <a:pt x="370" y="25"/>
                </a:lnTo>
                <a:lnTo>
                  <a:pt x="351" y="29"/>
                </a:lnTo>
                <a:lnTo>
                  <a:pt x="333" y="33"/>
                </a:lnTo>
                <a:lnTo>
                  <a:pt x="314" y="38"/>
                </a:lnTo>
                <a:lnTo>
                  <a:pt x="296" y="42"/>
                </a:lnTo>
                <a:lnTo>
                  <a:pt x="276" y="48"/>
                </a:lnTo>
                <a:lnTo>
                  <a:pt x="258" y="52"/>
                </a:lnTo>
                <a:lnTo>
                  <a:pt x="239" y="58"/>
                </a:lnTo>
                <a:lnTo>
                  <a:pt x="219" y="63"/>
                </a:lnTo>
                <a:lnTo>
                  <a:pt x="201" y="68"/>
                </a:lnTo>
                <a:lnTo>
                  <a:pt x="206" y="72"/>
                </a:lnTo>
                <a:lnTo>
                  <a:pt x="208" y="76"/>
                </a:lnTo>
                <a:lnTo>
                  <a:pt x="208" y="79"/>
                </a:lnTo>
                <a:lnTo>
                  <a:pt x="207" y="80"/>
                </a:lnTo>
                <a:lnTo>
                  <a:pt x="205" y="81"/>
                </a:lnTo>
                <a:lnTo>
                  <a:pt x="202" y="82"/>
                </a:lnTo>
                <a:lnTo>
                  <a:pt x="198" y="83"/>
                </a:lnTo>
                <a:lnTo>
                  <a:pt x="193" y="83"/>
                </a:lnTo>
                <a:lnTo>
                  <a:pt x="181" y="88"/>
                </a:lnTo>
                <a:lnTo>
                  <a:pt x="168" y="93"/>
                </a:lnTo>
                <a:lnTo>
                  <a:pt x="157" y="100"/>
                </a:lnTo>
                <a:lnTo>
                  <a:pt x="145" y="107"/>
                </a:lnTo>
                <a:lnTo>
                  <a:pt x="134" y="114"/>
                </a:lnTo>
                <a:lnTo>
                  <a:pt x="124" y="122"/>
                </a:lnTo>
                <a:lnTo>
                  <a:pt x="119" y="125"/>
                </a:lnTo>
                <a:lnTo>
                  <a:pt x="115" y="129"/>
                </a:lnTo>
                <a:lnTo>
                  <a:pt x="110" y="132"/>
                </a:lnTo>
                <a:lnTo>
                  <a:pt x="108" y="137"/>
                </a:lnTo>
                <a:lnTo>
                  <a:pt x="110" y="141"/>
                </a:lnTo>
                <a:lnTo>
                  <a:pt x="112" y="145"/>
                </a:lnTo>
                <a:lnTo>
                  <a:pt x="115" y="147"/>
                </a:lnTo>
                <a:lnTo>
                  <a:pt x="115" y="149"/>
                </a:lnTo>
                <a:lnTo>
                  <a:pt x="115" y="150"/>
                </a:lnTo>
                <a:lnTo>
                  <a:pt x="114" y="154"/>
                </a:lnTo>
                <a:lnTo>
                  <a:pt x="104" y="159"/>
                </a:lnTo>
                <a:lnTo>
                  <a:pt x="93" y="164"/>
                </a:lnTo>
                <a:lnTo>
                  <a:pt x="82" y="171"/>
                </a:lnTo>
                <a:lnTo>
                  <a:pt x="70" y="179"/>
                </a:lnTo>
                <a:lnTo>
                  <a:pt x="59" y="187"/>
                </a:lnTo>
                <a:lnTo>
                  <a:pt x="49" y="196"/>
                </a:lnTo>
                <a:lnTo>
                  <a:pt x="40" y="205"/>
                </a:lnTo>
                <a:lnTo>
                  <a:pt x="34" y="214"/>
                </a:lnTo>
                <a:lnTo>
                  <a:pt x="32" y="220"/>
                </a:lnTo>
                <a:lnTo>
                  <a:pt x="30" y="224"/>
                </a:lnTo>
                <a:lnTo>
                  <a:pt x="30" y="230"/>
                </a:lnTo>
                <a:lnTo>
                  <a:pt x="30" y="237"/>
                </a:lnTo>
                <a:lnTo>
                  <a:pt x="32" y="241"/>
                </a:lnTo>
                <a:lnTo>
                  <a:pt x="34" y="247"/>
                </a:lnTo>
                <a:lnTo>
                  <a:pt x="37" y="251"/>
                </a:lnTo>
                <a:lnTo>
                  <a:pt x="40" y="256"/>
                </a:lnTo>
                <a:lnTo>
                  <a:pt x="44" y="261"/>
                </a:lnTo>
                <a:lnTo>
                  <a:pt x="48" y="265"/>
                </a:lnTo>
                <a:lnTo>
                  <a:pt x="52" y="269"/>
                </a:lnTo>
                <a:lnTo>
                  <a:pt x="57" y="271"/>
                </a:lnTo>
                <a:lnTo>
                  <a:pt x="61" y="273"/>
                </a:lnTo>
                <a:lnTo>
                  <a:pt x="67" y="273"/>
                </a:lnTo>
                <a:lnTo>
                  <a:pt x="71" y="273"/>
                </a:lnTo>
                <a:lnTo>
                  <a:pt x="76" y="273"/>
                </a:lnTo>
                <a:lnTo>
                  <a:pt x="85" y="270"/>
                </a:lnTo>
                <a:lnTo>
                  <a:pt x="94" y="266"/>
                </a:lnTo>
                <a:lnTo>
                  <a:pt x="109" y="259"/>
                </a:lnTo>
                <a:lnTo>
                  <a:pt x="125" y="253"/>
                </a:lnTo>
                <a:lnTo>
                  <a:pt x="133" y="250"/>
                </a:lnTo>
                <a:lnTo>
                  <a:pt x="141" y="247"/>
                </a:lnTo>
                <a:lnTo>
                  <a:pt x="144" y="246"/>
                </a:lnTo>
                <a:lnTo>
                  <a:pt x="148" y="243"/>
                </a:lnTo>
                <a:lnTo>
                  <a:pt x="150" y="242"/>
                </a:lnTo>
                <a:lnTo>
                  <a:pt x="152" y="242"/>
                </a:lnTo>
                <a:lnTo>
                  <a:pt x="153" y="243"/>
                </a:lnTo>
                <a:lnTo>
                  <a:pt x="154" y="245"/>
                </a:lnTo>
                <a:lnTo>
                  <a:pt x="153" y="248"/>
                </a:lnTo>
                <a:lnTo>
                  <a:pt x="149" y="253"/>
                </a:lnTo>
                <a:lnTo>
                  <a:pt x="144" y="257"/>
                </a:lnTo>
                <a:lnTo>
                  <a:pt x="140" y="259"/>
                </a:lnTo>
                <a:lnTo>
                  <a:pt x="134" y="262"/>
                </a:lnTo>
                <a:lnTo>
                  <a:pt x="128" y="262"/>
                </a:lnTo>
                <a:lnTo>
                  <a:pt x="126" y="262"/>
                </a:lnTo>
                <a:lnTo>
                  <a:pt x="124" y="262"/>
                </a:lnTo>
                <a:lnTo>
                  <a:pt x="124" y="263"/>
                </a:lnTo>
                <a:lnTo>
                  <a:pt x="125" y="266"/>
                </a:lnTo>
                <a:lnTo>
                  <a:pt x="119" y="266"/>
                </a:lnTo>
                <a:lnTo>
                  <a:pt x="115" y="267"/>
                </a:lnTo>
                <a:lnTo>
                  <a:pt x="109" y="270"/>
                </a:lnTo>
                <a:lnTo>
                  <a:pt x="104" y="273"/>
                </a:lnTo>
                <a:lnTo>
                  <a:pt x="94" y="281"/>
                </a:lnTo>
                <a:lnTo>
                  <a:pt x="84" y="288"/>
                </a:lnTo>
                <a:lnTo>
                  <a:pt x="71" y="294"/>
                </a:lnTo>
                <a:lnTo>
                  <a:pt x="60" y="299"/>
                </a:lnTo>
                <a:lnTo>
                  <a:pt x="48" y="306"/>
                </a:lnTo>
                <a:lnTo>
                  <a:pt x="36" y="312"/>
                </a:lnTo>
                <a:lnTo>
                  <a:pt x="26" y="317"/>
                </a:lnTo>
                <a:lnTo>
                  <a:pt x="17" y="322"/>
                </a:lnTo>
                <a:lnTo>
                  <a:pt x="12" y="325"/>
                </a:lnTo>
                <a:lnTo>
                  <a:pt x="9" y="330"/>
                </a:lnTo>
                <a:lnTo>
                  <a:pt x="5" y="334"/>
                </a:lnTo>
                <a:lnTo>
                  <a:pt x="3" y="340"/>
                </a:lnTo>
                <a:lnTo>
                  <a:pt x="1" y="349"/>
                </a:lnTo>
                <a:lnTo>
                  <a:pt x="0" y="359"/>
                </a:lnTo>
                <a:lnTo>
                  <a:pt x="1" y="370"/>
                </a:lnTo>
                <a:lnTo>
                  <a:pt x="3" y="379"/>
                </a:lnTo>
                <a:lnTo>
                  <a:pt x="5" y="382"/>
                </a:lnTo>
                <a:lnTo>
                  <a:pt x="9" y="386"/>
                </a:lnTo>
                <a:lnTo>
                  <a:pt x="12" y="388"/>
                </a:lnTo>
                <a:lnTo>
                  <a:pt x="16" y="390"/>
                </a:lnTo>
                <a:lnTo>
                  <a:pt x="19" y="392"/>
                </a:lnTo>
                <a:lnTo>
                  <a:pt x="24" y="394"/>
                </a:lnTo>
                <a:lnTo>
                  <a:pt x="28" y="394"/>
                </a:lnTo>
                <a:lnTo>
                  <a:pt x="32" y="394"/>
                </a:lnTo>
                <a:lnTo>
                  <a:pt x="45" y="390"/>
                </a:lnTo>
                <a:lnTo>
                  <a:pt x="59" y="386"/>
                </a:lnTo>
                <a:lnTo>
                  <a:pt x="71" y="380"/>
                </a:lnTo>
                <a:lnTo>
                  <a:pt x="84" y="374"/>
                </a:lnTo>
                <a:lnTo>
                  <a:pt x="112" y="362"/>
                </a:lnTo>
                <a:lnTo>
                  <a:pt x="141" y="350"/>
                </a:lnTo>
                <a:lnTo>
                  <a:pt x="169" y="339"/>
                </a:lnTo>
                <a:lnTo>
                  <a:pt x="198" y="328"/>
                </a:lnTo>
                <a:lnTo>
                  <a:pt x="226" y="316"/>
                </a:lnTo>
                <a:lnTo>
                  <a:pt x="254" y="305"/>
                </a:lnTo>
                <a:lnTo>
                  <a:pt x="282" y="292"/>
                </a:lnTo>
                <a:lnTo>
                  <a:pt x="309" y="281"/>
                </a:lnTo>
                <a:lnTo>
                  <a:pt x="338" y="270"/>
                </a:lnTo>
                <a:lnTo>
                  <a:pt x="366" y="259"/>
                </a:lnTo>
                <a:lnTo>
                  <a:pt x="395" y="249"/>
                </a:lnTo>
                <a:lnTo>
                  <a:pt x="423" y="240"/>
                </a:lnTo>
                <a:lnTo>
                  <a:pt x="452" y="231"/>
                </a:lnTo>
                <a:lnTo>
                  <a:pt x="480" y="223"/>
                </a:lnTo>
                <a:lnTo>
                  <a:pt x="508" y="214"/>
                </a:lnTo>
                <a:lnTo>
                  <a:pt x="537" y="206"/>
                </a:lnTo>
                <a:lnTo>
                  <a:pt x="551" y="203"/>
                </a:lnTo>
                <a:lnTo>
                  <a:pt x="565" y="199"/>
                </a:lnTo>
                <a:lnTo>
                  <a:pt x="580" y="196"/>
                </a:lnTo>
                <a:lnTo>
                  <a:pt x="594" y="192"/>
                </a:lnTo>
                <a:lnTo>
                  <a:pt x="607" y="190"/>
                </a:lnTo>
                <a:lnTo>
                  <a:pt x="621" y="187"/>
                </a:lnTo>
                <a:lnTo>
                  <a:pt x="634" y="184"/>
                </a:lnTo>
                <a:lnTo>
                  <a:pt x="644" y="180"/>
                </a:lnTo>
                <a:lnTo>
                  <a:pt x="653" y="173"/>
                </a:lnTo>
                <a:lnTo>
                  <a:pt x="662" y="167"/>
                </a:lnTo>
                <a:lnTo>
                  <a:pt x="672" y="166"/>
                </a:lnTo>
                <a:lnTo>
                  <a:pt x="683" y="166"/>
                </a:lnTo>
                <a:lnTo>
                  <a:pt x="687" y="167"/>
                </a:lnTo>
                <a:lnTo>
                  <a:pt x="692" y="171"/>
                </a:lnTo>
                <a:lnTo>
                  <a:pt x="693" y="173"/>
                </a:lnTo>
                <a:lnTo>
                  <a:pt x="695" y="173"/>
                </a:lnTo>
                <a:lnTo>
                  <a:pt x="696" y="172"/>
                </a:lnTo>
                <a:lnTo>
                  <a:pt x="699" y="171"/>
                </a:lnTo>
                <a:lnTo>
                  <a:pt x="706" y="168"/>
                </a:lnTo>
                <a:lnTo>
                  <a:pt x="714" y="167"/>
                </a:lnTo>
                <a:lnTo>
                  <a:pt x="722" y="167"/>
                </a:lnTo>
                <a:lnTo>
                  <a:pt x="730" y="167"/>
                </a:lnTo>
                <a:lnTo>
                  <a:pt x="747" y="165"/>
                </a:lnTo>
                <a:lnTo>
                  <a:pt x="763" y="163"/>
                </a:lnTo>
                <a:lnTo>
                  <a:pt x="779" y="160"/>
                </a:lnTo>
                <a:lnTo>
                  <a:pt x="796" y="159"/>
                </a:lnTo>
                <a:lnTo>
                  <a:pt x="808" y="157"/>
                </a:lnTo>
                <a:lnTo>
                  <a:pt x="820" y="153"/>
                </a:lnTo>
                <a:lnTo>
                  <a:pt x="826" y="151"/>
                </a:lnTo>
                <a:lnTo>
                  <a:pt x="832" y="151"/>
                </a:lnTo>
                <a:lnTo>
                  <a:pt x="837" y="151"/>
                </a:lnTo>
                <a:lnTo>
                  <a:pt x="844" y="154"/>
                </a:lnTo>
                <a:lnTo>
                  <a:pt x="834" y="158"/>
                </a:lnTo>
                <a:lnTo>
                  <a:pt x="824" y="160"/>
                </a:lnTo>
                <a:lnTo>
                  <a:pt x="812" y="163"/>
                </a:lnTo>
                <a:lnTo>
                  <a:pt x="802" y="165"/>
                </a:lnTo>
                <a:lnTo>
                  <a:pt x="790" y="167"/>
                </a:lnTo>
                <a:lnTo>
                  <a:pt x="778" y="170"/>
                </a:lnTo>
                <a:lnTo>
                  <a:pt x="766" y="172"/>
                </a:lnTo>
                <a:lnTo>
                  <a:pt x="754" y="173"/>
                </a:lnTo>
                <a:lnTo>
                  <a:pt x="730" y="178"/>
                </a:lnTo>
                <a:lnTo>
                  <a:pt x="706" y="181"/>
                </a:lnTo>
                <a:lnTo>
                  <a:pt x="683" y="184"/>
                </a:lnTo>
                <a:lnTo>
                  <a:pt x="659" y="189"/>
                </a:lnTo>
                <a:lnTo>
                  <a:pt x="636" y="193"/>
                </a:lnTo>
                <a:lnTo>
                  <a:pt x="612" y="199"/>
                </a:lnTo>
                <a:lnTo>
                  <a:pt x="589" y="206"/>
                </a:lnTo>
                <a:lnTo>
                  <a:pt x="566" y="212"/>
                </a:lnTo>
                <a:lnTo>
                  <a:pt x="543" y="218"/>
                </a:lnTo>
                <a:lnTo>
                  <a:pt x="520" y="224"/>
                </a:lnTo>
                <a:lnTo>
                  <a:pt x="496" y="230"/>
                </a:lnTo>
                <a:lnTo>
                  <a:pt x="473" y="237"/>
                </a:lnTo>
                <a:lnTo>
                  <a:pt x="449" y="243"/>
                </a:lnTo>
                <a:lnTo>
                  <a:pt x="427" y="250"/>
                </a:lnTo>
                <a:lnTo>
                  <a:pt x="404" y="257"/>
                </a:lnTo>
                <a:lnTo>
                  <a:pt x="381" y="265"/>
                </a:lnTo>
                <a:lnTo>
                  <a:pt x="358" y="272"/>
                </a:lnTo>
                <a:lnTo>
                  <a:pt x="337" y="280"/>
                </a:lnTo>
                <a:lnTo>
                  <a:pt x="314" y="289"/>
                </a:lnTo>
                <a:lnTo>
                  <a:pt x="291" y="297"/>
                </a:lnTo>
                <a:lnTo>
                  <a:pt x="269" y="307"/>
                </a:lnTo>
                <a:lnTo>
                  <a:pt x="248" y="316"/>
                </a:lnTo>
                <a:lnTo>
                  <a:pt x="226" y="325"/>
                </a:lnTo>
                <a:lnTo>
                  <a:pt x="205" y="336"/>
                </a:lnTo>
                <a:lnTo>
                  <a:pt x="183" y="346"/>
                </a:lnTo>
                <a:lnTo>
                  <a:pt x="162" y="357"/>
                </a:lnTo>
                <a:lnTo>
                  <a:pt x="141" y="367"/>
                </a:lnTo>
                <a:lnTo>
                  <a:pt x="120" y="378"/>
                </a:lnTo>
                <a:lnTo>
                  <a:pt x="108" y="383"/>
                </a:lnTo>
                <a:lnTo>
                  <a:pt x="95" y="389"/>
                </a:lnTo>
                <a:lnTo>
                  <a:pt x="84" y="395"/>
                </a:lnTo>
                <a:lnTo>
                  <a:pt x="71" y="400"/>
                </a:lnTo>
                <a:lnTo>
                  <a:pt x="63" y="405"/>
                </a:lnTo>
                <a:lnTo>
                  <a:pt x="54" y="411"/>
                </a:lnTo>
                <a:lnTo>
                  <a:pt x="46" y="417"/>
                </a:lnTo>
                <a:lnTo>
                  <a:pt x="41" y="424"/>
                </a:lnTo>
                <a:lnTo>
                  <a:pt x="36" y="432"/>
                </a:lnTo>
                <a:lnTo>
                  <a:pt x="34" y="441"/>
                </a:lnTo>
                <a:lnTo>
                  <a:pt x="34" y="450"/>
                </a:lnTo>
                <a:lnTo>
                  <a:pt x="35" y="458"/>
                </a:lnTo>
                <a:lnTo>
                  <a:pt x="38" y="463"/>
                </a:lnTo>
                <a:lnTo>
                  <a:pt x="44" y="467"/>
                </a:lnTo>
                <a:lnTo>
                  <a:pt x="46" y="470"/>
                </a:lnTo>
                <a:lnTo>
                  <a:pt x="49" y="472"/>
                </a:lnTo>
                <a:lnTo>
                  <a:pt x="50" y="474"/>
                </a:lnTo>
                <a:lnTo>
                  <a:pt x="50" y="478"/>
                </a:lnTo>
                <a:lnTo>
                  <a:pt x="52" y="478"/>
                </a:lnTo>
                <a:lnTo>
                  <a:pt x="55" y="478"/>
                </a:lnTo>
                <a:lnTo>
                  <a:pt x="58" y="478"/>
                </a:lnTo>
                <a:lnTo>
                  <a:pt x="60" y="475"/>
                </a:lnTo>
                <a:lnTo>
                  <a:pt x="59" y="473"/>
                </a:lnTo>
                <a:lnTo>
                  <a:pt x="58" y="471"/>
                </a:lnTo>
                <a:lnTo>
                  <a:pt x="57" y="467"/>
                </a:lnTo>
                <a:lnTo>
                  <a:pt x="57" y="465"/>
                </a:lnTo>
                <a:lnTo>
                  <a:pt x="58" y="463"/>
                </a:lnTo>
                <a:lnTo>
                  <a:pt x="59" y="461"/>
                </a:lnTo>
                <a:lnTo>
                  <a:pt x="62" y="457"/>
                </a:lnTo>
                <a:lnTo>
                  <a:pt x="68" y="456"/>
                </a:lnTo>
                <a:lnTo>
                  <a:pt x="81" y="453"/>
                </a:lnTo>
                <a:lnTo>
                  <a:pt x="94" y="449"/>
                </a:lnTo>
                <a:lnTo>
                  <a:pt x="108" y="447"/>
                </a:lnTo>
                <a:lnTo>
                  <a:pt x="121" y="446"/>
                </a:lnTo>
                <a:lnTo>
                  <a:pt x="125" y="445"/>
                </a:lnTo>
                <a:lnTo>
                  <a:pt x="128" y="445"/>
                </a:lnTo>
                <a:lnTo>
                  <a:pt x="131" y="442"/>
                </a:lnTo>
                <a:lnTo>
                  <a:pt x="133" y="440"/>
                </a:lnTo>
                <a:lnTo>
                  <a:pt x="140" y="440"/>
                </a:lnTo>
                <a:lnTo>
                  <a:pt x="148" y="441"/>
                </a:lnTo>
                <a:lnTo>
                  <a:pt x="158" y="437"/>
                </a:lnTo>
                <a:lnTo>
                  <a:pt x="169" y="431"/>
                </a:lnTo>
                <a:lnTo>
                  <a:pt x="180" y="425"/>
                </a:lnTo>
                <a:lnTo>
                  <a:pt x="191" y="422"/>
                </a:lnTo>
                <a:lnTo>
                  <a:pt x="199" y="419"/>
                </a:lnTo>
                <a:lnTo>
                  <a:pt x="206" y="415"/>
                </a:lnTo>
                <a:lnTo>
                  <a:pt x="211" y="414"/>
                </a:lnTo>
                <a:lnTo>
                  <a:pt x="217" y="412"/>
                </a:lnTo>
                <a:lnTo>
                  <a:pt x="218" y="411"/>
                </a:lnTo>
                <a:lnTo>
                  <a:pt x="218" y="409"/>
                </a:lnTo>
                <a:lnTo>
                  <a:pt x="218" y="408"/>
                </a:lnTo>
                <a:lnTo>
                  <a:pt x="222" y="407"/>
                </a:lnTo>
                <a:lnTo>
                  <a:pt x="227" y="405"/>
                </a:lnTo>
                <a:lnTo>
                  <a:pt x="234" y="403"/>
                </a:lnTo>
                <a:lnTo>
                  <a:pt x="247" y="397"/>
                </a:lnTo>
                <a:lnTo>
                  <a:pt x="259" y="391"/>
                </a:lnTo>
                <a:lnTo>
                  <a:pt x="269" y="387"/>
                </a:lnTo>
                <a:lnTo>
                  <a:pt x="281" y="382"/>
                </a:lnTo>
                <a:lnTo>
                  <a:pt x="291" y="379"/>
                </a:lnTo>
                <a:lnTo>
                  <a:pt x="302" y="375"/>
                </a:lnTo>
                <a:lnTo>
                  <a:pt x="313" y="373"/>
                </a:lnTo>
                <a:lnTo>
                  <a:pt x="323" y="369"/>
                </a:lnTo>
                <a:lnTo>
                  <a:pt x="331" y="363"/>
                </a:lnTo>
                <a:lnTo>
                  <a:pt x="340" y="357"/>
                </a:lnTo>
                <a:lnTo>
                  <a:pt x="349" y="356"/>
                </a:lnTo>
                <a:lnTo>
                  <a:pt x="358" y="358"/>
                </a:lnTo>
                <a:lnTo>
                  <a:pt x="363" y="357"/>
                </a:lnTo>
                <a:lnTo>
                  <a:pt x="368" y="356"/>
                </a:lnTo>
                <a:lnTo>
                  <a:pt x="373" y="354"/>
                </a:lnTo>
                <a:lnTo>
                  <a:pt x="376" y="352"/>
                </a:lnTo>
                <a:lnTo>
                  <a:pt x="382" y="345"/>
                </a:lnTo>
                <a:lnTo>
                  <a:pt x="388" y="338"/>
                </a:lnTo>
                <a:lnTo>
                  <a:pt x="393" y="336"/>
                </a:lnTo>
                <a:lnTo>
                  <a:pt x="399" y="337"/>
                </a:lnTo>
                <a:lnTo>
                  <a:pt x="406" y="338"/>
                </a:lnTo>
                <a:lnTo>
                  <a:pt x="411" y="340"/>
                </a:lnTo>
                <a:lnTo>
                  <a:pt x="415" y="341"/>
                </a:lnTo>
                <a:lnTo>
                  <a:pt x="419" y="340"/>
                </a:lnTo>
                <a:lnTo>
                  <a:pt x="421" y="339"/>
                </a:lnTo>
                <a:lnTo>
                  <a:pt x="424" y="337"/>
                </a:lnTo>
                <a:lnTo>
                  <a:pt x="431" y="329"/>
                </a:lnTo>
                <a:lnTo>
                  <a:pt x="439" y="323"/>
                </a:lnTo>
                <a:lnTo>
                  <a:pt x="448" y="319"/>
                </a:lnTo>
                <a:lnTo>
                  <a:pt x="457" y="316"/>
                </a:lnTo>
                <a:lnTo>
                  <a:pt x="460" y="315"/>
                </a:lnTo>
                <a:lnTo>
                  <a:pt x="462" y="314"/>
                </a:lnTo>
                <a:lnTo>
                  <a:pt x="464" y="315"/>
                </a:lnTo>
                <a:lnTo>
                  <a:pt x="465" y="317"/>
                </a:lnTo>
                <a:lnTo>
                  <a:pt x="466" y="322"/>
                </a:lnTo>
                <a:lnTo>
                  <a:pt x="465" y="326"/>
                </a:lnTo>
                <a:lnTo>
                  <a:pt x="463" y="330"/>
                </a:lnTo>
                <a:lnTo>
                  <a:pt x="460" y="332"/>
                </a:lnTo>
                <a:lnTo>
                  <a:pt x="456" y="334"/>
                </a:lnTo>
                <a:lnTo>
                  <a:pt x="453" y="336"/>
                </a:lnTo>
                <a:lnTo>
                  <a:pt x="439" y="339"/>
                </a:lnTo>
                <a:lnTo>
                  <a:pt x="425" y="344"/>
                </a:lnTo>
                <a:lnTo>
                  <a:pt x="413" y="349"/>
                </a:lnTo>
                <a:lnTo>
                  <a:pt x="400" y="354"/>
                </a:lnTo>
                <a:lnTo>
                  <a:pt x="389" y="358"/>
                </a:lnTo>
                <a:lnTo>
                  <a:pt x="376" y="363"/>
                </a:lnTo>
                <a:lnTo>
                  <a:pt x="363" y="366"/>
                </a:lnTo>
                <a:lnTo>
                  <a:pt x="350" y="370"/>
                </a:lnTo>
                <a:lnTo>
                  <a:pt x="338" y="374"/>
                </a:lnTo>
                <a:lnTo>
                  <a:pt x="325" y="380"/>
                </a:lnTo>
                <a:lnTo>
                  <a:pt x="312" y="386"/>
                </a:lnTo>
                <a:lnTo>
                  <a:pt x="299" y="391"/>
                </a:lnTo>
                <a:lnTo>
                  <a:pt x="287" y="397"/>
                </a:lnTo>
                <a:lnTo>
                  <a:pt x="274" y="402"/>
                </a:lnTo>
                <a:lnTo>
                  <a:pt x="261" y="407"/>
                </a:lnTo>
                <a:lnTo>
                  <a:pt x="251" y="413"/>
                </a:lnTo>
                <a:lnTo>
                  <a:pt x="247" y="416"/>
                </a:lnTo>
                <a:lnTo>
                  <a:pt x="242" y="420"/>
                </a:lnTo>
                <a:lnTo>
                  <a:pt x="239" y="424"/>
                </a:lnTo>
                <a:lnTo>
                  <a:pt x="235" y="430"/>
                </a:lnTo>
                <a:lnTo>
                  <a:pt x="233" y="435"/>
                </a:lnTo>
                <a:lnTo>
                  <a:pt x="232" y="439"/>
                </a:lnTo>
                <a:lnTo>
                  <a:pt x="231" y="444"/>
                </a:lnTo>
                <a:lnTo>
                  <a:pt x="232" y="448"/>
                </a:lnTo>
                <a:lnTo>
                  <a:pt x="234" y="450"/>
                </a:lnTo>
                <a:lnTo>
                  <a:pt x="236" y="453"/>
                </a:lnTo>
                <a:lnTo>
                  <a:pt x="238" y="456"/>
                </a:lnTo>
                <a:lnTo>
                  <a:pt x="240" y="458"/>
                </a:lnTo>
                <a:lnTo>
                  <a:pt x="243" y="462"/>
                </a:lnTo>
                <a:lnTo>
                  <a:pt x="248" y="463"/>
                </a:lnTo>
                <a:lnTo>
                  <a:pt x="249" y="463"/>
                </a:lnTo>
                <a:lnTo>
                  <a:pt x="252" y="462"/>
                </a:lnTo>
                <a:lnTo>
                  <a:pt x="256" y="461"/>
                </a:lnTo>
                <a:lnTo>
                  <a:pt x="259" y="460"/>
                </a:lnTo>
                <a:lnTo>
                  <a:pt x="266" y="458"/>
                </a:lnTo>
                <a:lnTo>
                  <a:pt x="274" y="458"/>
                </a:lnTo>
                <a:lnTo>
                  <a:pt x="288" y="456"/>
                </a:lnTo>
                <a:lnTo>
                  <a:pt x="302" y="453"/>
                </a:lnTo>
                <a:lnTo>
                  <a:pt x="316" y="448"/>
                </a:lnTo>
                <a:lnTo>
                  <a:pt x="331" y="442"/>
                </a:lnTo>
                <a:lnTo>
                  <a:pt x="345" y="437"/>
                </a:lnTo>
                <a:lnTo>
                  <a:pt x="358" y="431"/>
                </a:lnTo>
                <a:lnTo>
                  <a:pt x="351" y="432"/>
                </a:lnTo>
                <a:lnTo>
                  <a:pt x="343" y="433"/>
                </a:lnTo>
                <a:lnTo>
                  <a:pt x="341" y="433"/>
                </a:lnTo>
                <a:lnTo>
                  <a:pt x="338" y="435"/>
                </a:lnTo>
                <a:lnTo>
                  <a:pt x="335" y="433"/>
                </a:lnTo>
                <a:lnTo>
                  <a:pt x="332" y="432"/>
                </a:lnTo>
                <a:lnTo>
                  <a:pt x="331" y="430"/>
                </a:lnTo>
                <a:lnTo>
                  <a:pt x="331" y="428"/>
                </a:lnTo>
                <a:lnTo>
                  <a:pt x="332" y="427"/>
                </a:lnTo>
                <a:lnTo>
                  <a:pt x="334" y="425"/>
                </a:lnTo>
                <a:lnTo>
                  <a:pt x="341" y="424"/>
                </a:lnTo>
                <a:lnTo>
                  <a:pt x="346" y="424"/>
                </a:lnTo>
                <a:lnTo>
                  <a:pt x="342" y="422"/>
                </a:lnTo>
                <a:lnTo>
                  <a:pt x="340" y="419"/>
                </a:lnTo>
                <a:lnTo>
                  <a:pt x="337" y="417"/>
                </a:lnTo>
                <a:lnTo>
                  <a:pt x="332" y="416"/>
                </a:lnTo>
                <a:lnTo>
                  <a:pt x="330" y="415"/>
                </a:lnTo>
                <a:lnTo>
                  <a:pt x="330" y="413"/>
                </a:lnTo>
                <a:lnTo>
                  <a:pt x="330" y="411"/>
                </a:lnTo>
                <a:lnTo>
                  <a:pt x="332" y="408"/>
                </a:lnTo>
                <a:lnTo>
                  <a:pt x="334" y="407"/>
                </a:lnTo>
                <a:lnTo>
                  <a:pt x="338" y="407"/>
                </a:lnTo>
                <a:lnTo>
                  <a:pt x="340" y="405"/>
                </a:lnTo>
                <a:lnTo>
                  <a:pt x="342" y="403"/>
                </a:lnTo>
                <a:lnTo>
                  <a:pt x="347" y="399"/>
                </a:lnTo>
                <a:lnTo>
                  <a:pt x="351" y="396"/>
                </a:lnTo>
                <a:lnTo>
                  <a:pt x="356" y="395"/>
                </a:lnTo>
                <a:lnTo>
                  <a:pt x="362" y="392"/>
                </a:lnTo>
                <a:lnTo>
                  <a:pt x="374" y="388"/>
                </a:lnTo>
                <a:lnTo>
                  <a:pt x="388" y="383"/>
                </a:lnTo>
                <a:lnTo>
                  <a:pt x="400" y="378"/>
                </a:lnTo>
                <a:lnTo>
                  <a:pt x="414" y="373"/>
                </a:lnTo>
                <a:lnTo>
                  <a:pt x="417" y="372"/>
                </a:lnTo>
                <a:lnTo>
                  <a:pt x="423" y="370"/>
                </a:lnTo>
                <a:lnTo>
                  <a:pt x="428" y="369"/>
                </a:lnTo>
                <a:lnTo>
                  <a:pt x="432" y="370"/>
                </a:lnTo>
                <a:lnTo>
                  <a:pt x="434" y="372"/>
                </a:lnTo>
                <a:lnTo>
                  <a:pt x="438" y="374"/>
                </a:lnTo>
                <a:lnTo>
                  <a:pt x="441" y="372"/>
                </a:lnTo>
                <a:lnTo>
                  <a:pt x="444" y="370"/>
                </a:lnTo>
                <a:lnTo>
                  <a:pt x="447" y="367"/>
                </a:lnTo>
                <a:lnTo>
                  <a:pt x="450" y="364"/>
                </a:lnTo>
                <a:lnTo>
                  <a:pt x="453" y="364"/>
                </a:lnTo>
                <a:lnTo>
                  <a:pt x="455" y="364"/>
                </a:lnTo>
                <a:lnTo>
                  <a:pt x="457" y="365"/>
                </a:lnTo>
                <a:lnTo>
                  <a:pt x="457" y="367"/>
                </a:lnTo>
                <a:lnTo>
                  <a:pt x="457" y="370"/>
                </a:lnTo>
                <a:lnTo>
                  <a:pt x="456" y="371"/>
                </a:lnTo>
                <a:lnTo>
                  <a:pt x="455" y="373"/>
                </a:lnTo>
                <a:lnTo>
                  <a:pt x="453" y="374"/>
                </a:lnTo>
                <a:lnTo>
                  <a:pt x="448" y="378"/>
                </a:lnTo>
                <a:lnTo>
                  <a:pt x="445" y="379"/>
                </a:lnTo>
                <a:lnTo>
                  <a:pt x="433" y="382"/>
                </a:lnTo>
                <a:lnTo>
                  <a:pt x="421" y="386"/>
                </a:lnTo>
                <a:lnTo>
                  <a:pt x="411" y="389"/>
                </a:lnTo>
                <a:lnTo>
                  <a:pt x="399" y="394"/>
                </a:lnTo>
                <a:lnTo>
                  <a:pt x="396" y="395"/>
                </a:lnTo>
                <a:lnTo>
                  <a:pt x="393" y="397"/>
                </a:lnTo>
                <a:lnTo>
                  <a:pt x="392" y="400"/>
                </a:lnTo>
                <a:lnTo>
                  <a:pt x="393" y="404"/>
                </a:lnTo>
                <a:lnTo>
                  <a:pt x="397" y="406"/>
                </a:lnTo>
                <a:lnTo>
                  <a:pt x="400" y="407"/>
                </a:lnTo>
                <a:lnTo>
                  <a:pt x="404" y="407"/>
                </a:lnTo>
                <a:lnTo>
                  <a:pt x="407" y="406"/>
                </a:lnTo>
                <a:lnTo>
                  <a:pt x="417" y="402"/>
                </a:lnTo>
                <a:lnTo>
                  <a:pt x="428" y="397"/>
                </a:lnTo>
                <a:lnTo>
                  <a:pt x="440" y="395"/>
                </a:lnTo>
                <a:lnTo>
                  <a:pt x="453" y="392"/>
                </a:lnTo>
                <a:lnTo>
                  <a:pt x="467" y="389"/>
                </a:lnTo>
                <a:lnTo>
                  <a:pt x="482" y="386"/>
                </a:lnTo>
                <a:lnTo>
                  <a:pt x="498" y="381"/>
                </a:lnTo>
                <a:lnTo>
                  <a:pt x="513" y="378"/>
                </a:lnTo>
                <a:lnTo>
                  <a:pt x="528" y="374"/>
                </a:lnTo>
                <a:lnTo>
                  <a:pt x="541" y="371"/>
                </a:lnTo>
                <a:lnTo>
                  <a:pt x="546" y="370"/>
                </a:lnTo>
                <a:lnTo>
                  <a:pt x="552" y="369"/>
                </a:lnTo>
                <a:lnTo>
                  <a:pt x="554" y="369"/>
                </a:lnTo>
                <a:lnTo>
                  <a:pt x="556" y="369"/>
                </a:lnTo>
                <a:lnTo>
                  <a:pt x="557" y="371"/>
                </a:lnTo>
                <a:lnTo>
                  <a:pt x="559" y="373"/>
                </a:lnTo>
                <a:lnTo>
                  <a:pt x="532" y="380"/>
                </a:lnTo>
                <a:lnTo>
                  <a:pt x="506" y="387"/>
                </a:lnTo>
                <a:lnTo>
                  <a:pt x="479" y="394"/>
                </a:lnTo>
                <a:lnTo>
                  <a:pt x="453" y="402"/>
                </a:lnTo>
                <a:lnTo>
                  <a:pt x="454" y="404"/>
                </a:lnTo>
                <a:lnTo>
                  <a:pt x="455" y="405"/>
                </a:lnTo>
                <a:lnTo>
                  <a:pt x="456" y="405"/>
                </a:lnTo>
                <a:lnTo>
                  <a:pt x="458" y="405"/>
                </a:lnTo>
                <a:lnTo>
                  <a:pt x="464" y="404"/>
                </a:lnTo>
                <a:lnTo>
                  <a:pt x="469" y="403"/>
                </a:lnTo>
                <a:lnTo>
                  <a:pt x="478" y="400"/>
                </a:lnTo>
                <a:lnTo>
                  <a:pt x="486" y="398"/>
                </a:lnTo>
                <a:lnTo>
                  <a:pt x="495" y="396"/>
                </a:lnTo>
                <a:lnTo>
                  <a:pt x="504" y="394"/>
                </a:lnTo>
                <a:lnTo>
                  <a:pt x="513" y="391"/>
                </a:lnTo>
                <a:lnTo>
                  <a:pt x="522" y="389"/>
                </a:lnTo>
                <a:lnTo>
                  <a:pt x="531" y="387"/>
                </a:lnTo>
                <a:lnTo>
                  <a:pt x="541" y="386"/>
                </a:lnTo>
                <a:lnTo>
                  <a:pt x="551" y="384"/>
                </a:lnTo>
                <a:lnTo>
                  <a:pt x="560" y="382"/>
                </a:lnTo>
                <a:lnTo>
                  <a:pt x="577" y="379"/>
                </a:lnTo>
                <a:lnTo>
                  <a:pt x="593" y="375"/>
                </a:lnTo>
                <a:lnTo>
                  <a:pt x="599" y="371"/>
                </a:lnTo>
                <a:lnTo>
                  <a:pt x="607" y="370"/>
                </a:lnTo>
                <a:lnTo>
                  <a:pt x="614" y="377"/>
                </a:lnTo>
                <a:lnTo>
                  <a:pt x="620" y="382"/>
                </a:lnTo>
                <a:lnTo>
                  <a:pt x="622" y="381"/>
                </a:lnTo>
                <a:lnTo>
                  <a:pt x="625" y="380"/>
                </a:lnTo>
                <a:lnTo>
                  <a:pt x="629" y="378"/>
                </a:lnTo>
                <a:lnTo>
                  <a:pt x="634" y="377"/>
                </a:lnTo>
                <a:lnTo>
                  <a:pt x="642" y="378"/>
                </a:lnTo>
                <a:lnTo>
                  <a:pt x="651" y="378"/>
                </a:lnTo>
                <a:lnTo>
                  <a:pt x="658" y="375"/>
                </a:lnTo>
                <a:lnTo>
                  <a:pt x="666" y="372"/>
                </a:lnTo>
                <a:lnTo>
                  <a:pt x="669" y="370"/>
                </a:lnTo>
                <a:lnTo>
                  <a:pt x="673" y="369"/>
                </a:lnTo>
                <a:lnTo>
                  <a:pt x="677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9"/>
                </a:lnTo>
                <a:lnTo>
                  <a:pt x="681" y="369"/>
                </a:lnTo>
                <a:lnTo>
                  <a:pt x="684" y="371"/>
                </a:lnTo>
                <a:lnTo>
                  <a:pt x="686" y="373"/>
                </a:lnTo>
                <a:lnTo>
                  <a:pt x="687" y="374"/>
                </a:lnTo>
                <a:lnTo>
                  <a:pt x="688" y="374"/>
                </a:lnTo>
                <a:lnTo>
                  <a:pt x="689" y="374"/>
                </a:lnTo>
                <a:lnTo>
                  <a:pt x="692" y="373"/>
                </a:lnTo>
                <a:lnTo>
                  <a:pt x="693" y="371"/>
                </a:lnTo>
                <a:lnTo>
                  <a:pt x="692" y="373"/>
                </a:lnTo>
                <a:lnTo>
                  <a:pt x="695" y="370"/>
                </a:lnTo>
                <a:lnTo>
                  <a:pt x="700" y="367"/>
                </a:lnTo>
                <a:lnTo>
                  <a:pt x="705" y="367"/>
                </a:lnTo>
                <a:lnTo>
                  <a:pt x="711" y="366"/>
                </a:lnTo>
                <a:lnTo>
                  <a:pt x="716" y="365"/>
                </a:lnTo>
                <a:lnTo>
                  <a:pt x="720" y="363"/>
                </a:lnTo>
                <a:lnTo>
                  <a:pt x="724" y="361"/>
                </a:lnTo>
                <a:lnTo>
                  <a:pt x="726" y="358"/>
                </a:lnTo>
                <a:lnTo>
                  <a:pt x="728" y="357"/>
                </a:lnTo>
                <a:lnTo>
                  <a:pt x="730" y="358"/>
                </a:lnTo>
                <a:lnTo>
                  <a:pt x="732" y="359"/>
                </a:lnTo>
                <a:lnTo>
                  <a:pt x="733" y="361"/>
                </a:lnTo>
                <a:lnTo>
                  <a:pt x="734" y="364"/>
                </a:lnTo>
                <a:lnTo>
                  <a:pt x="736" y="366"/>
                </a:lnTo>
                <a:lnTo>
                  <a:pt x="742" y="365"/>
                </a:lnTo>
                <a:lnTo>
                  <a:pt x="747" y="364"/>
                </a:lnTo>
                <a:lnTo>
                  <a:pt x="750" y="358"/>
                </a:lnTo>
                <a:lnTo>
                  <a:pt x="752" y="353"/>
                </a:lnTo>
                <a:lnTo>
                  <a:pt x="753" y="350"/>
                </a:lnTo>
                <a:lnTo>
                  <a:pt x="752" y="349"/>
                </a:lnTo>
                <a:lnTo>
                  <a:pt x="750" y="348"/>
                </a:lnTo>
                <a:lnTo>
                  <a:pt x="746" y="348"/>
                </a:lnTo>
                <a:lnTo>
                  <a:pt x="732" y="350"/>
                </a:lnTo>
                <a:lnTo>
                  <a:pt x="718" y="353"/>
                </a:lnTo>
                <a:lnTo>
                  <a:pt x="712" y="352"/>
                </a:lnTo>
                <a:lnTo>
                  <a:pt x="708" y="350"/>
                </a:lnTo>
                <a:lnTo>
                  <a:pt x="703" y="350"/>
                </a:lnTo>
                <a:lnTo>
                  <a:pt x="699" y="352"/>
                </a:lnTo>
                <a:lnTo>
                  <a:pt x="695" y="353"/>
                </a:lnTo>
                <a:lnTo>
                  <a:pt x="693" y="356"/>
                </a:lnTo>
                <a:lnTo>
                  <a:pt x="692" y="358"/>
                </a:lnTo>
                <a:lnTo>
                  <a:pt x="691" y="362"/>
                </a:lnTo>
                <a:lnTo>
                  <a:pt x="689" y="364"/>
                </a:lnTo>
                <a:lnTo>
                  <a:pt x="687" y="366"/>
                </a:lnTo>
                <a:lnTo>
                  <a:pt x="685" y="369"/>
                </a:lnTo>
                <a:lnTo>
                  <a:pt x="681" y="369"/>
                </a:lnTo>
                <a:lnTo>
                  <a:pt x="680" y="369"/>
                </a:lnTo>
                <a:lnTo>
                  <a:pt x="680" y="369"/>
                </a:lnTo>
                <a:lnTo>
                  <a:pt x="680" y="364"/>
                </a:lnTo>
                <a:lnTo>
                  <a:pt x="679" y="361"/>
                </a:lnTo>
                <a:lnTo>
                  <a:pt x="677" y="358"/>
                </a:lnTo>
                <a:lnTo>
                  <a:pt x="672" y="356"/>
                </a:lnTo>
                <a:lnTo>
                  <a:pt x="669" y="356"/>
                </a:lnTo>
                <a:lnTo>
                  <a:pt x="664" y="357"/>
                </a:lnTo>
                <a:lnTo>
                  <a:pt x="661" y="356"/>
                </a:lnTo>
                <a:lnTo>
                  <a:pt x="659" y="355"/>
                </a:lnTo>
                <a:lnTo>
                  <a:pt x="666" y="349"/>
                </a:lnTo>
                <a:lnTo>
                  <a:pt x="675" y="346"/>
                </a:lnTo>
                <a:lnTo>
                  <a:pt x="684" y="344"/>
                </a:lnTo>
                <a:lnTo>
                  <a:pt x="693" y="342"/>
                </a:lnTo>
                <a:lnTo>
                  <a:pt x="704" y="341"/>
                </a:lnTo>
                <a:lnTo>
                  <a:pt x="716" y="340"/>
                </a:lnTo>
                <a:lnTo>
                  <a:pt x="726" y="338"/>
                </a:lnTo>
                <a:lnTo>
                  <a:pt x="737" y="337"/>
                </a:lnTo>
                <a:lnTo>
                  <a:pt x="750" y="333"/>
                </a:lnTo>
                <a:lnTo>
                  <a:pt x="761" y="331"/>
                </a:lnTo>
                <a:lnTo>
                  <a:pt x="772" y="329"/>
                </a:lnTo>
                <a:lnTo>
                  <a:pt x="784" y="325"/>
                </a:lnTo>
                <a:lnTo>
                  <a:pt x="795" y="323"/>
                </a:lnTo>
                <a:lnTo>
                  <a:pt x="805" y="320"/>
                </a:lnTo>
                <a:lnTo>
                  <a:pt x="816" y="316"/>
                </a:lnTo>
                <a:lnTo>
                  <a:pt x="826" y="314"/>
                </a:lnTo>
                <a:lnTo>
                  <a:pt x="850" y="309"/>
                </a:lnTo>
                <a:lnTo>
                  <a:pt x="873" y="308"/>
                </a:lnTo>
                <a:lnTo>
                  <a:pt x="897" y="307"/>
                </a:lnTo>
                <a:lnTo>
                  <a:pt x="920" y="307"/>
                </a:lnTo>
                <a:lnTo>
                  <a:pt x="927" y="307"/>
                </a:lnTo>
                <a:lnTo>
                  <a:pt x="935" y="308"/>
                </a:lnTo>
                <a:lnTo>
                  <a:pt x="939" y="308"/>
                </a:lnTo>
                <a:lnTo>
                  <a:pt x="940" y="311"/>
                </a:lnTo>
                <a:lnTo>
                  <a:pt x="941" y="313"/>
                </a:lnTo>
                <a:lnTo>
                  <a:pt x="943" y="315"/>
                </a:lnTo>
                <a:lnTo>
                  <a:pt x="944" y="317"/>
                </a:lnTo>
                <a:lnTo>
                  <a:pt x="948" y="320"/>
                </a:lnTo>
                <a:lnTo>
                  <a:pt x="950" y="321"/>
                </a:lnTo>
                <a:lnTo>
                  <a:pt x="953" y="322"/>
                </a:lnTo>
                <a:lnTo>
                  <a:pt x="959" y="324"/>
                </a:lnTo>
                <a:lnTo>
                  <a:pt x="966" y="325"/>
                </a:lnTo>
                <a:lnTo>
                  <a:pt x="971" y="328"/>
                </a:lnTo>
                <a:lnTo>
                  <a:pt x="975" y="328"/>
                </a:lnTo>
                <a:lnTo>
                  <a:pt x="978" y="326"/>
                </a:lnTo>
                <a:lnTo>
                  <a:pt x="981" y="325"/>
                </a:lnTo>
                <a:lnTo>
                  <a:pt x="986" y="320"/>
                </a:lnTo>
                <a:lnTo>
                  <a:pt x="991" y="312"/>
                </a:lnTo>
                <a:lnTo>
                  <a:pt x="997" y="304"/>
                </a:lnTo>
                <a:lnTo>
                  <a:pt x="1002" y="297"/>
                </a:lnTo>
                <a:lnTo>
                  <a:pt x="1007" y="295"/>
                </a:lnTo>
                <a:lnTo>
                  <a:pt x="1010" y="292"/>
                </a:lnTo>
                <a:lnTo>
                  <a:pt x="1013" y="291"/>
                </a:lnTo>
                <a:lnTo>
                  <a:pt x="1014" y="289"/>
                </a:lnTo>
                <a:lnTo>
                  <a:pt x="1014" y="287"/>
                </a:lnTo>
                <a:lnTo>
                  <a:pt x="1015" y="284"/>
                </a:lnTo>
                <a:lnTo>
                  <a:pt x="1014" y="276"/>
                </a:lnTo>
                <a:lnTo>
                  <a:pt x="1014" y="279"/>
                </a:lnTo>
                <a:lnTo>
                  <a:pt x="1014" y="283"/>
                </a:lnTo>
                <a:lnTo>
                  <a:pt x="1015" y="284"/>
                </a:lnTo>
                <a:close/>
                <a:moveTo>
                  <a:pt x="256" y="223"/>
                </a:moveTo>
                <a:lnTo>
                  <a:pt x="243" y="224"/>
                </a:lnTo>
                <a:lnTo>
                  <a:pt x="231" y="229"/>
                </a:lnTo>
                <a:lnTo>
                  <a:pt x="226" y="230"/>
                </a:lnTo>
                <a:lnTo>
                  <a:pt x="221" y="231"/>
                </a:lnTo>
                <a:lnTo>
                  <a:pt x="218" y="231"/>
                </a:lnTo>
                <a:lnTo>
                  <a:pt x="215" y="231"/>
                </a:lnTo>
                <a:lnTo>
                  <a:pt x="214" y="229"/>
                </a:lnTo>
                <a:lnTo>
                  <a:pt x="211" y="226"/>
                </a:lnTo>
                <a:lnTo>
                  <a:pt x="217" y="226"/>
                </a:lnTo>
                <a:lnTo>
                  <a:pt x="224" y="224"/>
                </a:lnTo>
                <a:lnTo>
                  <a:pt x="230" y="221"/>
                </a:lnTo>
                <a:lnTo>
                  <a:pt x="238" y="218"/>
                </a:lnTo>
                <a:lnTo>
                  <a:pt x="244" y="216"/>
                </a:lnTo>
                <a:lnTo>
                  <a:pt x="251" y="215"/>
                </a:lnTo>
                <a:lnTo>
                  <a:pt x="258" y="214"/>
                </a:lnTo>
                <a:lnTo>
                  <a:pt x="266" y="214"/>
                </a:lnTo>
                <a:lnTo>
                  <a:pt x="265" y="216"/>
                </a:lnTo>
                <a:lnTo>
                  <a:pt x="263" y="216"/>
                </a:lnTo>
                <a:lnTo>
                  <a:pt x="261" y="217"/>
                </a:lnTo>
                <a:lnTo>
                  <a:pt x="259" y="217"/>
                </a:lnTo>
                <a:lnTo>
                  <a:pt x="257" y="217"/>
                </a:lnTo>
                <a:lnTo>
                  <a:pt x="256" y="218"/>
                </a:lnTo>
                <a:lnTo>
                  <a:pt x="256" y="221"/>
                </a:lnTo>
                <a:lnTo>
                  <a:pt x="256" y="223"/>
                </a:lnTo>
                <a:lnTo>
                  <a:pt x="250" y="220"/>
                </a:lnTo>
                <a:lnTo>
                  <a:pt x="256" y="223"/>
                </a:lnTo>
                <a:close/>
                <a:moveTo>
                  <a:pt x="680" y="37"/>
                </a:moveTo>
                <a:lnTo>
                  <a:pt x="661" y="37"/>
                </a:lnTo>
                <a:lnTo>
                  <a:pt x="640" y="38"/>
                </a:lnTo>
                <a:lnTo>
                  <a:pt x="621" y="38"/>
                </a:lnTo>
                <a:lnTo>
                  <a:pt x="601" y="38"/>
                </a:lnTo>
                <a:lnTo>
                  <a:pt x="592" y="38"/>
                </a:lnTo>
                <a:lnTo>
                  <a:pt x="584" y="38"/>
                </a:lnTo>
                <a:lnTo>
                  <a:pt x="578" y="38"/>
                </a:lnTo>
                <a:lnTo>
                  <a:pt x="573" y="38"/>
                </a:lnTo>
                <a:lnTo>
                  <a:pt x="570" y="37"/>
                </a:lnTo>
                <a:lnTo>
                  <a:pt x="569" y="35"/>
                </a:lnTo>
                <a:lnTo>
                  <a:pt x="568" y="33"/>
                </a:lnTo>
                <a:lnTo>
                  <a:pt x="570" y="31"/>
                </a:lnTo>
                <a:lnTo>
                  <a:pt x="577" y="29"/>
                </a:lnTo>
                <a:lnTo>
                  <a:pt x="584" y="29"/>
                </a:lnTo>
                <a:lnTo>
                  <a:pt x="622" y="26"/>
                </a:lnTo>
                <a:lnTo>
                  <a:pt x="660" y="25"/>
                </a:lnTo>
                <a:lnTo>
                  <a:pt x="699" y="25"/>
                </a:lnTo>
                <a:lnTo>
                  <a:pt x="736" y="26"/>
                </a:lnTo>
                <a:lnTo>
                  <a:pt x="730" y="30"/>
                </a:lnTo>
                <a:lnTo>
                  <a:pt x="724" y="32"/>
                </a:lnTo>
                <a:lnTo>
                  <a:pt x="717" y="33"/>
                </a:lnTo>
                <a:lnTo>
                  <a:pt x="710" y="34"/>
                </a:lnTo>
                <a:lnTo>
                  <a:pt x="695" y="35"/>
                </a:lnTo>
                <a:lnTo>
                  <a:pt x="680" y="37"/>
                </a:lnTo>
                <a:lnTo>
                  <a:pt x="670" y="37"/>
                </a:lnTo>
                <a:lnTo>
                  <a:pt x="676" y="37"/>
                </a:lnTo>
                <a:lnTo>
                  <a:pt x="684" y="35"/>
                </a:lnTo>
                <a:lnTo>
                  <a:pt x="680" y="37"/>
                </a:lnTo>
                <a:close/>
                <a:moveTo>
                  <a:pt x="230" y="395"/>
                </a:moveTo>
                <a:lnTo>
                  <a:pt x="225" y="398"/>
                </a:lnTo>
                <a:lnTo>
                  <a:pt x="222" y="400"/>
                </a:lnTo>
                <a:lnTo>
                  <a:pt x="218" y="402"/>
                </a:lnTo>
                <a:lnTo>
                  <a:pt x="214" y="403"/>
                </a:lnTo>
                <a:lnTo>
                  <a:pt x="210" y="404"/>
                </a:lnTo>
                <a:lnTo>
                  <a:pt x="208" y="405"/>
                </a:lnTo>
                <a:lnTo>
                  <a:pt x="206" y="407"/>
                </a:lnTo>
                <a:lnTo>
                  <a:pt x="203" y="411"/>
                </a:lnTo>
                <a:lnTo>
                  <a:pt x="201" y="409"/>
                </a:lnTo>
                <a:lnTo>
                  <a:pt x="200" y="407"/>
                </a:lnTo>
                <a:lnTo>
                  <a:pt x="201" y="404"/>
                </a:lnTo>
                <a:lnTo>
                  <a:pt x="202" y="402"/>
                </a:lnTo>
                <a:lnTo>
                  <a:pt x="207" y="397"/>
                </a:lnTo>
                <a:lnTo>
                  <a:pt x="213" y="395"/>
                </a:lnTo>
                <a:lnTo>
                  <a:pt x="218" y="394"/>
                </a:lnTo>
                <a:lnTo>
                  <a:pt x="224" y="391"/>
                </a:lnTo>
                <a:lnTo>
                  <a:pt x="226" y="390"/>
                </a:lnTo>
                <a:lnTo>
                  <a:pt x="228" y="390"/>
                </a:lnTo>
                <a:lnTo>
                  <a:pt x="230" y="392"/>
                </a:lnTo>
                <a:lnTo>
                  <a:pt x="230" y="395"/>
                </a:lnTo>
                <a:lnTo>
                  <a:pt x="228" y="396"/>
                </a:lnTo>
                <a:lnTo>
                  <a:pt x="230" y="395"/>
                </a:lnTo>
                <a:close/>
                <a:moveTo>
                  <a:pt x="392" y="330"/>
                </a:moveTo>
                <a:lnTo>
                  <a:pt x="390" y="331"/>
                </a:lnTo>
                <a:lnTo>
                  <a:pt x="388" y="332"/>
                </a:lnTo>
                <a:lnTo>
                  <a:pt x="388" y="333"/>
                </a:lnTo>
                <a:lnTo>
                  <a:pt x="388" y="337"/>
                </a:lnTo>
                <a:lnTo>
                  <a:pt x="383" y="336"/>
                </a:lnTo>
                <a:lnTo>
                  <a:pt x="379" y="336"/>
                </a:lnTo>
                <a:lnTo>
                  <a:pt x="374" y="337"/>
                </a:lnTo>
                <a:lnTo>
                  <a:pt x="370" y="338"/>
                </a:lnTo>
                <a:lnTo>
                  <a:pt x="362" y="341"/>
                </a:lnTo>
                <a:lnTo>
                  <a:pt x="353" y="346"/>
                </a:lnTo>
                <a:lnTo>
                  <a:pt x="343" y="349"/>
                </a:lnTo>
                <a:lnTo>
                  <a:pt x="335" y="350"/>
                </a:lnTo>
                <a:lnTo>
                  <a:pt x="326" y="353"/>
                </a:lnTo>
                <a:lnTo>
                  <a:pt x="320" y="353"/>
                </a:lnTo>
                <a:lnTo>
                  <a:pt x="330" y="348"/>
                </a:lnTo>
                <a:lnTo>
                  <a:pt x="339" y="342"/>
                </a:lnTo>
                <a:lnTo>
                  <a:pt x="350" y="338"/>
                </a:lnTo>
                <a:lnTo>
                  <a:pt x="362" y="333"/>
                </a:lnTo>
                <a:lnTo>
                  <a:pt x="372" y="330"/>
                </a:lnTo>
                <a:lnTo>
                  <a:pt x="382" y="328"/>
                </a:lnTo>
                <a:lnTo>
                  <a:pt x="391" y="323"/>
                </a:lnTo>
                <a:lnTo>
                  <a:pt x="401" y="321"/>
                </a:lnTo>
                <a:lnTo>
                  <a:pt x="401" y="324"/>
                </a:lnTo>
                <a:lnTo>
                  <a:pt x="399" y="326"/>
                </a:lnTo>
                <a:lnTo>
                  <a:pt x="396" y="329"/>
                </a:lnTo>
                <a:lnTo>
                  <a:pt x="392" y="330"/>
                </a:lnTo>
                <a:lnTo>
                  <a:pt x="393" y="330"/>
                </a:lnTo>
                <a:lnTo>
                  <a:pt x="392" y="330"/>
                </a:lnTo>
                <a:close/>
                <a:moveTo>
                  <a:pt x="508" y="311"/>
                </a:moveTo>
                <a:lnTo>
                  <a:pt x="504" y="312"/>
                </a:lnTo>
                <a:lnTo>
                  <a:pt x="499" y="312"/>
                </a:lnTo>
                <a:lnTo>
                  <a:pt x="497" y="314"/>
                </a:lnTo>
                <a:lnTo>
                  <a:pt x="496" y="316"/>
                </a:lnTo>
                <a:lnTo>
                  <a:pt x="494" y="319"/>
                </a:lnTo>
                <a:lnTo>
                  <a:pt x="491" y="319"/>
                </a:lnTo>
                <a:lnTo>
                  <a:pt x="489" y="317"/>
                </a:lnTo>
                <a:lnTo>
                  <a:pt x="488" y="314"/>
                </a:lnTo>
                <a:lnTo>
                  <a:pt x="489" y="311"/>
                </a:lnTo>
                <a:lnTo>
                  <a:pt x="491" y="309"/>
                </a:lnTo>
                <a:lnTo>
                  <a:pt x="495" y="308"/>
                </a:lnTo>
                <a:lnTo>
                  <a:pt x="497" y="307"/>
                </a:lnTo>
                <a:lnTo>
                  <a:pt x="500" y="304"/>
                </a:lnTo>
                <a:lnTo>
                  <a:pt x="503" y="303"/>
                </a:lnTo>
                <a:lnTo>
                  <a:pt x="505" y="301"/>
                </a:lnTo>
                <a:lnTo>
                  <a:pt x="507" y="300"/>
                </a:lnTo>
                <a:lnTo>
                  <a:pt x="508" y="300"/>
                </a:lnTo>
                <a:lnTo>
                  <a:pt x="506" y="298"/>
                </a:lnTo>
                <a:lnTo>
                  <a:pt x="504" y="297"/>
                </a:lnTo>
                <a:lnTo>
                  <a:pt x="500" y="297"/>
                </a:lnTo>
                <a:lnTo>
                  <a:pt x="500" y="297"/>
                </a:lnTo>
                <a:lnTo>
                  <a:pt x="499" y="296"/>
                </a:lnTo>
                <a:lnTo>
                  <a:pt x="500" y="295"/>
                </a:lnTo>
                <a:lnTo>
                  <a:pt x="502" y="292"/>
                </a:lnTo>
                <a:lnTo>
                  <a:pt x="503" y="291"/>
                </a:lnTo>
                <a:lnTo>
                  <a:pt x="505" y="289"/>
                </a:lnTo>
                <a:lnTo>
                  <a:pt x="507" y="289"/>
                </a:lnTo>
                <a:lnTo>
                  <a:pt x="510" y="289"/>
                </a:lnTo>
                <a:lnTo>
                  <a:pt x="512" y="289"/>
                </a:lnTo>
                <a:lnTo>
                  <a:pt x="513" y="290"/>
                </a:lnTo>
                <a:lnTo>
                  <a:pt x="515" y="291"/>
                </a:lnTo>
                <a:lnTo>
                  <a:pt x="516" y="292"/>
                </a:lnTo>
                <a:lnTo>
                  <a:pt x="516" y="295"/>
                </a:lnTo>
                <a:lnTo>
                  <a:pt x="516" y="296"/>
                </a:lnTo>
                <a:lnTo>
                  <a:pt x="518" y="297"/>
                </a:lnTo>
                <a:lnTo>
                  <a:pt x="519" y="298"/>
                </a:lnTo>
                <a:lnTo>
                  <a:pt x="521" y="301"/>
                </a:lnTo>
                <a:lnTo>
                  <a:pt x="521" y="305"/>
                </a:lnTo>
                <a:lnTo>
                  <a:pt x="519" y="308"/>
                </a:lnTo>
                <a:lnTo>
                  <a:pt x="515" y="309"/>
                </a:lnTo>
                <a:lnTo>
                  <a:pt x="512" y="309"/>
                </a:lnTo>
                <a:lnTo>
                  <a:pt x="508" y="311"/>
                </a:lnTo>
                <a:lnTo>
                  <a:pt x="510" y="309"/>
                </a:lnTo>
                <a:lnTo>
                  <a:pt x="508" y="311"/>
                </a:lnTo>
                <a:close/>
                <a:moveTo>
                  <a:pt x="669" y="264"/>
                </a:moveTo>
                <a:lnTo>
                  <a:pt x="658" y="269"/>
                </a:lnTo>
                <a:lnTo>
                  <a:pt x="647" y="271"/>
                </a:lnTo>
                <a:lnTo>
                  <a:pt x="637" y="272"/>
                </a:lnTo>
                <a:lnTo>
                  <a:pt x="627" y="274"/>
                </a:lnTo>
                <a:lnTo>
                  <a:pt x="617" y="278"/>
                </a:lnTo>
                <a:lnTo>
                  <a:pt x="606" y="281"/>
                </a:lnTo>
                <a:lnTo>
                  <a:pt x="596" y="280"/>
                </a:lnTo>
                <a:lnTo>
                  <a:pt x="585" y="279"/>
                </a:lnTo>
                <a:lnTo>
                  <a:pt x="586" y="276"/>
                </a:lnTo>
                <a:lnTo>
                  <a:pt x="587" y="273"/>
                </a:lnTo>
                <a:lnTo>
                  <a:pt x="588" y="271"/>
                </a:lnTo>
                <a:lnTo>
                  <a:pt x="592" y="270"/>
                </a:lnTo>
                <a:lnTo>
                  <a:pt x="596" y="272"/>
                </a:lnTo>
                <a:lnTo>
                  <a:pt x="601" y="274"/>
                </a:lnTo>
                <a:lnTo>
                  <a:pt x="607" y="274"/>
                </a:lnTo>
                <a:lnTo>
                  <a:pt x="613" y="272"/>
                </a:lnTo>
                <a:lnTo>
                  <a:pt x="617" y="271"/>
                </a:lnTo>
                <a:lnTo>
                  <a:pt x="620" y="269"/>
                </a:lnTo>
                <a:lnTo>
                  <a:pt x="622" y="266"/>
                </a:lnTo>
                <a:lnTo>
                  <a:pt x="625" y="264"/>
                </a:lnTo>
                <a:lnTo>
                  <a:pt x="628" y="261"/>
                </a:lnTo>
                <a:lnTo>
                  <a:pt x="630" y="261"/>
                </a:lnTo>
                <a:lnTo>
                  <a:pt x="634" y="262"/>
                </a:lnTo>
                <a:lnTo>
                  <a:pt x="637" y="264"/>
                </a:lnTo>
                <a:lnTo>
                  <a:pt x="638" y="261"/>
                </a:lnTo>
                <a:lnTo>
                  <a:pt x="640" y="258"/>
                </a:lnTo>
                <a:lnTo>
                  <a:pt x="643" y="257"/>
                </a:lnTo>
                <a:lnTo>
                  <a:pt x="645" y="256"/>
                </a:lnTo>
                <a:lnTo>
                  <a:pt x="650" y="257"/>
                </a:lnTo>
                <a:lnTo>
                  <a:pt x="656" y="259"/>
                </a:lnTo>
                <a:lnTo>
                  <a:pt x="661" y="261"/>
                </a:lnTo>
                <a:lnTo>
                  <a:pt x="666" y="261"/>
                </a:lnTo>
                <a:lnTo>
                  <a:pt x="669" y="258"/>
                </a:lnTo>
                <a:lnTo>
                  <a:pt x="671" y="258"/>
                </a:lnTo>
                <a:lnTo>
                  <a:pt x="672" y="261"/>
                </a:lnTo>
                <a:lnTo>
                  <a:pt x="671" y="263"/>
                </a:lnTo>
                <a:lnTo>
                  <a:pt x="670" y="264"/>
                </a:lnTo>
                <a:lnTo>
                  <a:pt x="669" y="264"/>
                </a:lnTo>
                <a:lnTo>
                  <a:pt x="666" y="265"/>
                </a:lnTo>
                <a:lnTo>
                  <a:pt x="669" y="26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4BE4C2D-C164-B048-A03C-CB84320D36E0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D7192E70-4B81-654F-BB57-C9568A49CE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60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6390" y="2394298"/>
            <a:ext cx="8631013" cy="266429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YOUR PORTFOLIO</a:t>
            </a:r>
            <a:endParaRPr lang="ru-RU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F280503-2B30-A040-9DAE-FDA9E454CE5A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0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EEEB70E9-84EF-8842-9088-0FE85A90C9D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193234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7BED3383-0C74-2645-B3F5-25346B460D3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2386468" y="821623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92F01D6A-F145-074C-8EE1-0A581E2BE201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18579702" y="8184232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ACA902F4-552E-2B42-84CB-14EBECA84C08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12386468" y="2354288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DEC3C5BB-6281-5A4C-A8C6-CCF091277477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8579702" y="2322290"/>
            <a:ext cx="5807473" cy="552264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1" name="Текст 3">
            <a:extLst>
              <a:ext uri="{FF2B5EF4-FFF2-40B4-BE49-F238E27FC236}">
                <a16:creationId xmlns:a16="http://schemas.microsoft.com/office/drawing/2014/main" id="{426A134F-5D0D-3D4A-8329-113FE26185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93690" y="5490642"/>
            <a:ext cx="8571706" cy="2304257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43101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1B7C56-29A4-CE42-8FD8-358FD600CEC9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4275" y="378074"/>
            <a:ext cx="23618624" cy="129827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141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9169155-79DE-3E4D-A634-323E92A18418}"/>
              </a:ext>
            </a:extLst>
          </p:cNvPr>
          <p:cNvSpPr>
            <a:spLocks/>
          </p:cNvSpPr>
          <p:nvPr userDrawn="1"/>
        </p:nvSpPr>
        <p:spPr bwMode="auto">
          <a:xfrm>
            <a:off x="10616381" y="3114378"/>
            <a:ext cx="13317489" cy="8304384"/>
          </a:xfrm>
          <a:custGeom>
            <a:avLst/>
            <a:gdLst>
              <a:gd name="T0" fmla="*/ 1237 w 1543"/>
              <a:gd name="T1" fmla="*/ 5 h 963"/>
              <a:gd name="T2" fmla="*/ 952 w 1543"/>
              <a:gd name="T3" fmla="*/ 305 h 963"/>
              <a:gd name="T4" fmla="*/ 952 w 1543"/>
              <a:gd name="T5" fmla="*/ 312 h 963"/>
              <a:gd name="T6" fmla="*/ 866 w 1543"/>
              <a:gd name="T7" fmla="*/ 408 h 963"/>
              <a:gd name="T8" fmla="*/ 864 w 1543"/>
              <a:gd name="T9" fmla="*/ 408 h 963"/>
              <a:gd name="T10" fmla="*/ 767 w 1543"/>
              <a:gd name="T11" fmla="*/ 337 h 963"/>
              <a:gd name="T12" fmla="*/ 522 w 1543"/>
              <a:gd name="T13" fmla="*/ 115 h 963"/>
              <a:gd name="T14" fmla="*/ 215 w 1543"/>
              <a:gd name="T15" fmla="*/ 347 h 963"/>
              <a:gd name="T16" fmla="*/ 211 w 1543"/>
              <a:gd name="T17" fmla="*/ 407 h 963"/>
              <a:gd name="T18" fmla="*/ 131 w 1543"/>
              <a:gd name="T19" fmla="*/ 538 h 963"/>
              <a:gd name="T20" fmla="*/ 38 w 1543"/>
              <a:gd name="T21" fmla="*/ 630 h 963"/>
              <a:gd name="T22" fmla="*/ 116 w 1543"/>
              <a:gd name="T23" fmla="*/ 864 h 963"/>
              <a:gd name="T24" fmla="*/ 368 w 1543"/>
              <a:gd name="T25" fmla="*/ 787 h 963"/>
              <a:gd name="T26" fmla="*/ 378 w 1543"/>
              <a:gd name="T27" fmla="*/ 766 h 963"/>
              <a:gd name="T28" fmla="*/ 495 w 1543"/>
              <a:gd name="T29" fmla="*/ 679 h 963"/>
              <a:gd name="T30" fmla="*/ 498 w 1543"/>
              <a:gd name="T31" fmla="*/ 679 h 963"/>
              <a:gd name="T32" fmla="*/ 628 w 1543"/>
              <a:gd name="T33" fmla="*/ 775 h 963"/>
              <a:gd name="T34" fmla="*/ 644 w 1543"/>
              <a:gd name="T35" fmla="*/ 818 h 963"/>
              <a:gd name="T36" fmla="*/ 853 w 1543"/>
              <a:gd name="T37" fmla="*/ 960 h 963"/>
              <a:gd name="T38" fmla="*/ 1090 w 1543"/>
              <a:gd name="T39" fmla="*/ 728 h 963"/>
              <a:gd name="T40" fmla="*/ 1089 w 1543"/>
              <a:gd name="T41" fmla="*/ 705 h 963"/>
              <a:gd name="T42" fmla="*/ 1089 w 1543"/>
              <a:gd name="T43" fmla="*/ 705 h 963"/>
              <a:gd name="T44" fmla="*/ 1089 w 1543"/>
              <a:gd name="T45" fmla="*/ 704 h 963"/>
              <a:gd name="T46" fmla="*/ 1088 w 1543"/>
              <a:gd name="T47" fmla="*/ 703 h 963"/>
              <a:gd name="T48" fmla="*/ 1088 w 1543"/>
              <a:gd name="T49" fmla="*/ 701 h 963"/>
              <a:gd name="T50" fmla="*/ 1204 w 1543"/>
              <a:gd name="T51" fmla="*/ 588 h 963"/>
              <a:gd name="T52" fmla="*/ 1250 w 1543"/>
              <a:gd name="T53" fmla="*/ 591 h 963"/>
              <a:gd name="T54" fmla="*/ 1538 w 1543"/>
              <a:gd name="T55" fmla="*/ 307 h 963"/>
              <a:gd name="T56" fmla="*/ 1237 w 1543"/>
              <a:gd name="T57" fmla="*/ 5 h 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43" h="963">
                <a:moveTo>
                  <a:pt x="1237" y="5"/>
                </a:moveTo>
                <a:cubicBezTo>
                  <a:pt x="1074" y="9"/>
                  <a:pt x="948" y="143"/>
                  <a:pt x="952" y="305"/>
                </a:cubicBezTo>
                <a:cubicBezTo>
                  <a:pt x="952" y="307"/>
                  <a:pt x="952" y="310"/>
                  <a:pt x="952" y="312"/>
                </a:cubicBezTo>
                <a:cubicBezTo>
                  <a:pt x="954" y="362"/>
                  <a:pt x="916" y="404"/>
                  <a:pt x="866" y="408"/>
                </a:cubicBezTo>
                <a:cubicBezTo>
                  <a:pt x="864" y="408"/>
                  <a:pt x="864" y="408"/>
                  <a:pt x="864" y="408"/>
                </a:cubicBezTo>
                <a:cubicBezTo>
                  <a:pt x="819" y="412"/>
                  <a:pt x="777" y="381"/>
                  <a:pt x="767" y="337"/>
                </a:cubicBezTo>
                <a:cubicBezTo>
                  <a:pt x="743" y="221"/>
                  <a:pt x="647" y="129"/>
                  <a:pt x="522" y="115"/>
                </a:cubicBezTo>
                <a:cubicBezTo>
                  <a:pt x="375" y="99"/>
                  <a:pt x="240" y="201"/>
                  <a:pt x="215" y="347"/>
                </a:cubicBezTo>
                <a:cubicBezTo>
                  <a:pt x="211" y="367"/>
                  <a:pt x="210" y="387"/>
                  <a:pt x="211" y="407"/>
                </a:cubicBezTo>
                <a:cubicBezTo>
                  <a:pt x="213" y="462"/>
                  <a:pt x="182" y="515"/>
                  <a:pt x="131" y="538"/>
                </a:cubicBezTo>
                <a:cubicBezTo>
                  <a:pt x="91" y="556"/>
                  <a:pt x="58" y="587"/>
                  <a:pt x="38" y="630"/>
                </a:cubicBezTo>
                <a:cubicBezTo>
                  <a:pt x="0" y="716"/>
                  <a:pt x="34" y="818"/>
                  <a:pt x="116" y="864"/>
                </a:cubicBezTo>
                <a:cubicBezTo>
                  <a:pt x="207" y="915"/>
                  <a:pt x="322" y="880"/>
                  <a:pt x="368" y="787"/>
                </a:cubicBezTo>
                <a:cubicBezTo>
                  <a:pt x="372" y="780"/>
                  <a:pt x="375" y="773"/>
                  <a:pt x="378" y="766"/>
                </a:cubicBezTo>
                <a:cubicBezTo>
                  <a:pt x="396" y="716"/>
                  <a:pt x="442" y="681"/>
                  <a:pt x="495" y="679"/>
                </a:cubicBezTo>
                <a:cubicBezTo>
                  <a:pt x="496" y="679"/>
                  <a:pt x="497" y="679"/>
                  <a:pt x="498" y="679"/>
                </a:cubicBezTo>
                <a:cubicBezTo>
                  <a:pt x="559" y="677"/>
                  <a:pt x="614" y="716"/>
                  <a:pt x="628" y="775"/>
                </a:cubicBezTo>
                <a:cubicBezTo>
                  <a:pt x="632" y="790"/>
                  <a:pt x="637" y="804"/>
                  <a:pt x="644" y="818"/>
                </a:cubicBezTo>
                <a:cubicBezTo>
                  <a:pt x="679" y="900"/>
                  <a:pt x="759" y="958"/>
                  <a:pt x="853" y="960"/>
                </a:cubicBezTo>
                <a:cubicBezTo>
                  <a:pt x="983" y="963"/>
                  <a:pt x="1090" y="858"/>
                  <a:pt x="1090" y="728"/>
                </a:cubicBezTo>
                <a:cubicBezTo>
                  <a:pt x="1090" y="720"/>
                  <a:pt x="1089" y="712"/>
                  <a:pt x="1089" y="705"/>
                </a:cubicBezTo>
                <a:cubicBezTo>
                  <a:pt x="1089" y="705"/>
                  <a:pt x="1089" y="705"/>
                  <a:pt x="1089" y="705"/>
                </a:cubicBezTo>
                <a:cubicBezTo>
                  <a:pt x="1089" y="704"/>
                  <a:pt x="1089" y="704"/>
                  <a:pt x="1089" y="704"/>
                </a:cubicBezTo>
                <a:cubicBezTo>
                  <a:pt x="1089" y="704"/>
                  <a:pt x="1088" y="704"/>
                  <a:pt x="1088" y="703"/>
                </a:cubicBezTo>
                <a:cubicBezTo>
                  <a:pt x="1088" y="701"/>
                  <a:pt x="1088" y="701"/>
                  <a:pt x="1088" y="701"/>
                </a:cubicBezTo>
                <a:cubicBezTo>
                  <a:pt x="1081" y="634"/>
                  <a:pt x="1138" y="579"/>
                  <a:pt x="1204" y="588"/>
                </a:cubicBezTo>
                <a:cubicBezTo>
                  <a:pt x="1219" y="590"/>
                  <a:pt x="1234" y="591"/>
                  <a:pt x="1250" y="591"/>
                </a:cubicBezTo>
                <a:cubicBezTo>
                  <a:pt x="1405" y="588"/>
                  <a:pt x="1533" y="463"/>
                  <a:pt x="1538" y="307"/>
                </a:cubicBezTo>
                <a:cubicBezTo>
                  <a:pt x="1543" y="138"/>
                  <a:pt x="1405" y="0"/>
                  <a:pt x="1237" y="5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3B3311CA-947A-A349-B13B-510E8448662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440445" y="3137855"/>
            <a:ext cx="12124901" cy="7634784"/>
          </a:xfrm>
          <a:custGeom>
            <a:avLst/>
            <a:gdLst>
              <a:gd name="connsiteX0" fmla="*/ 5480931 w 12124901"/>
              <a:gd name="connsiteY0" fmla="*/ 501 h 7634784"/>
              <a:gd name="connsiteX1" fmla="*/ 7152895 w 12124901"/>
              <a:gd name="connsiteY1" fmla="*/ 1135494 h 7634784"/>
              <a:gd name="connsiteX2" fmla="*/ 7280891 w 12124901"/>
              <a:gd name="connsiteY2" fmla="*/ 1479189 h 7634784"/>
              <a:gd name="connsiteX3" fmla="*/ 8320869 w 12124901"/>
              <a:gd name="connsiteY3" fmla="*/ 2246509 h 7634784"/>
              <a:gd name="connsiteX4" fmla="*/ 8344869 w 12124901"/>
              <a:gd name="connsiteY4" fmla="*/ 2246509 h 7634784"/>
              <a:gd name="connsiteX5" fmla="*/ 9280847 w 12124901"/>
              <a:gd name="connsiteY5" fmla="*/ 1551126 h 7634784"/>
              <a:gd name="connsiteX6" fmla="*/ 9360847 w 12124901"/>
              <a:gd name="connsiteY6" fmla="*/ 1383274 h 7634784"/>
              <a:gd name="connsiteX7" fmla="*/ 11376801 w 12124901"/>
              <a:gd name="connsiteY7" fmla="*/ 767821 h 7634784"/>
              <a:gd name="connsiteX8" fmla="*/ 12000787 w 12124901"/>
              <a:gd name="connsiteY8" fmla="*/ 2638162 h 7634784"/>
              <a:gd name="connsiteX9" fmla="*/ 11256805 w 12124901"/>
              <a:gd name="connsiteY9" fmla="*/ 3373510 h 7634784"/>
              <a:gd name="connsiteX10" fmla="*/ 10616819 w 12124901"/>
              <a:gd name="connsiteY10" fmla="*/ 4420582 h 7634784"/>
              <a:gd name="connsiteX11" fmla="*/ 10584819 w 12124901"/>
              <a:gd name="connsiteY11" fmla="*/ 4900156 h 7634784"/>
              <a:gd name="connsiteX12" fmla="*/ 8128873 w 12124901"/>
              <a:gd name="connsiteY12" fmla="*/ 6754512 h 7634784"/>
              <a:gd name="connsiteX13" fmla="*/ 6168917 w 12124901"/>
              <a:gd name="connsiteY13" fmla="*/ 4980086 h 7634784"/>
              <a:gd name="connsiteX14" fmla="*/ 5392935 w 12124901"/>
              <a:gd name="connsiteY14" fmla="*/ 4412589 h 7634784"/>
              <a:gd name="connsiteX15" fmla="*/ 5376935 w 12124901"/>
              <a:gd name="connsiteY15" fmla="*/ 4412589 h 7634784"/>
              <a:gd name="connsiteX16" fmla="*/ 4688949 w 12124901"/>
              <a:gd name="connsiteY16" fmla="*/ 5179909 h 7634784"/>
              <a:gd name="connsiteX17" fmla="*/ 4688949 w 12124901"/>
              <a:gd name="connsiteY17" fmla="*/ 5235859 h 7634784"/>
              <a:gd name="connsiteX18" fmla="*/ 2409000 w 12124901"/>
              <a:gd name="connsiteY18" fmla="*/ 7633732 h 7634784"/>
              <a:gd name="connsiteX19" fmla="*/ 1053 w 12124901"/>
              <a:gd name="connsiteY19" fmla="*/ 5219873 h 7634784"/>
              <a:gd name="connsiteX20" fmla="*/ 2305002 w 12124901"/>
              <a:gd name="connsiteY20" fmla="*/ 2949886 h 7634784"/>
              <a:gd name="connsiteX21" fmla="*/ 2672994 w 12124901"/>
              <a:gd name="connsiteY21" fmla="*/ 2973865 h 7634784"/>
              <a:gd name="connsiteX22" fmla="*/ 3600973 w 12124901"/>
              <a:gd name="connsiteY22" fmla="*/ 2070665 h 7634784"/>
              <a:gd name="connsiteX23" fmla="*/ 3600973 w 12124901"/>
              <a:gd name="connsiteY23" fmla="*/ 2054679 h 7634784"/>
              <a:gd name="connsiteX24" fmla="*/ 3592974 w 12124901"/>
              <a:gd name="connsiteY24" fmla="*/ 2046686 h 7634784"/>
              <a:gd name="connsiteX25" fmla="*/ 3592974 w 12124901"/>
              <a:gd name="connsiteY25" fmla="*/ 2038693 h 7634784"/>
              <a:gd name="connsiteX26" fmla="*/ 3584974 w 12124901"/>
              <a:gd name="connsiteY26" fmla="*/ 1854856 h 7634784"/>
              <a:gd name="connsiteX27" fmla="*/ 5480931 w 12124901"/>
              <a:gd name="connsiteY27" fmla="*/ 501 h 7634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24901" h="7634784">
                <a:moveTo>
                  <a:pt x="5480931" y="501"/>
                </a:moveTo>
                <a:cubicBezTo>
                  <a:pt x="6232915" y="16487"/>
                  <a:pt x="6872901" y="480075"/>
                  <a:pt x="7152895" y="1135494"/>
                </a:cubicBezTo>
                <a:cubicBezTo>
                  <a:pt x="7208893" y="1247395"/>
                  <a:pt x="7248893" y="1359296"/>
                  <a:pt x="7280891" y="1479189"/>
                </a:cubicBezTo>
                <a:cubicBezTo>
                  <a:pt x="7392889" y="1950771"/>
                  <a:pt x="7832879" y="2262495"/>
                  <a:pt x="8320869" y="2246509"/>
                </a:cubicBezTo>
                <a:cubicBezTo>
                  <a:pt x="8328869" y="2246509"/>
                  <a:pt x="8336869" y="2246509"/>
                  <a:pt x="8344869" y="2246509"/>
                </a:cubicBezTo>
                <a:cubicBezTo>
                  <a:pt x="8768859" y="2230523"/>
                  <a:pt x="9136851" y="1950771"/>
                  <a:pt x="9280847" y="1551126"/>
                </a:cubicBezTo>
                <a:cubicBezTo>
                  <a:pt x="9304847" y="1495175"/>
                  <a:pt x="9328847" y="1439225"/>
                  <a:pt x="9360847" y="1383274"/>
                </a:cubicBezTo>
                <a:cubicBezTo>
                  <a:pt x="9728839" y="639934"/>
                  <a:pt x="10648817" y="360182"/>
                  <a:pt x="11376801" y="767821"/>
                </a:cubicBezTo>
                <a:cubicBezTo>
                  <a:pt x="12032787" y="1135494"/>
                  <a:pt x="12304781" y="1950771"/>
                  <a:pt x="12000787" y="2638162"/>
                </a:cubicBezTo>
                <a:cubicBezTo>
                  <a:pt x="11840791" y="2981857"/>
                  <a:pt x="11576797" y="3229638"/>
                  <a:pt x="11256805" y="3373510"/>
                </a:cubicBezTo>
                <a:cubicBezTo>
                  <a:pt x="10848813" y="3557347"/>
                  <a:pt x="10600819" y="3980971"/>
                  <a:pt x="10616819" y="4420582"/>
                </a:cubicBezTo>
                <a:cubicBezTo>
                  <a:pt x="10624819" y="4580440"/>
                  <a:pt x="10616819" y="4740298"/>
                  <a:pt x="10584819" y="4900156"/>
                </a:cubicBezTo>
                <a:cubicBezTo>
                  <a:pt x="10384823" y="6067122"/>
                  <a:pt x="9304847" y="6882399"/>
                  <a:pt x="8128873" y="6754512"/>
                </a:cubicBezTo>
                <a:cubicBezTo>
                  <a:pt x="7128895" y="6642611"/>
                  <a:pt x="6360913" y="5907263"/>
                  <a:pt x="6168917" y="4980086"/>
                </a:cubicBezTo>
                <a:cubicBezTo>
                  <a:pt x="6088919" y="4628398"/>
                  <a:pt x="5752927" y="4380617"/>
                  <a:pt x="5392935" y="4412589"/>
                </a:cubicBezTo>
                <a:cubicBezTo>
                  <a:pt x="5392935" y="4412589"/>
                  <a:pt x="5392935" y="4412589"/>
                  <a:pt x="5376935" y="4412589"/>
                </a:cubicBezTo>
                <a:cubicBezTo>
                  <a:pt x="4976943" y="4444561"/>
                  <a:pt x="4672950" y="4780263"/>
                  <a:pt x="4688949" y="5179909"/>
                </a:cubicBezTo>
                <a:cubicBezTo>
                  <a:pt x="4688949" y="5195894"/>
                  <a:pt x="4688949" y="5219873"/>
                  <a:pt x="4688949" y="5235859"/>
                </a:cubicBezTo>
                <a:cubicBezTo>
                  <a:pt x="4720949" y="6530710"/>
                  <a:pt x="3712971" y="7601761"/>
                  <a:pt x="2409000" y="7633732"/>
                </a:cubicBezTo>
                <a:cubicBezTo>
                  <a:pt x="1065030" y="7673697"/>
                  <a:pt x="-38946" y="6570675"/>
                  <a:pt x="1053" y="5219873"/>
                </a:cubicBezTo>
                <a:cubicBezTo>
                  <a:pt x="41052" y="3972979"/>
                  <a:pt x="1065030" y="2973865"/>
                  <a:pt x="2305002" y="2949886"/>
                </a:cubicBezTo>
                <a:cubicBezTo>
                  <a:pt x="2432999" y="2949886"/>
                  <a:pt x="2552997" y="2957879"/>
                  <a:pt x="2672994" y="2973865"/>
                </a:cubicBezTo>
                <a:cubicBezTo>
                  <a:pt x="3200982" y="3045801"/>
                  <a:pt x="3656972" y="2606191"/>
                  <a:pt x="3600973" y="2070665"/>
                </a:cubicBezTo>
                <a:cubicBezTo>
                  <a:pt x="3600973" y="2070665"/>
                  <a:pt x="3600973" y="2070665"/>
                  <a:pt x="3600973" y="2054679"/>
                </a:cubicBezTo>
                <a:cubicBezTo>
                  <a:pt x="3600973" y="2046686"/>
                  <a:pt x="3592974" y="2046686"/>
                  <a:pt x="3592974" y="2046686"/>
                </a:cubicBezTo>
                <a:cubicBezTo>
                  <a:pt x="3592974" y="2046686"/>
                  <a:pt x="3592974" y="2046686"/>
                  <a:pt x="3592974" y="2038693"/>
                </a:cubicBezTo>
                <a:cubicBezTo>
                  <a:pt x="3592974" y="1982743"/>
                  <a:pt x="3584974" y="1918800"/>
                  <a:pt x="3584974" y="1854856"/>
                </a:cubicBezTo>
                <a:cubicBezTo>
                  <a:pt x="3584974" y="815778"/>
                  <a:pt x="4440955" y="-23478"/>
                  <a:pt x="5480931" y="501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B1DC6D7-898B-F847-9AE3-D9AC82A3D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14A84458-1958-0C4B-8644-AACDC52039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03375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1B7C56-29A4-CE42-8FD8-358FD600CEC9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84276" y="378074"/>
            <a:ext cx="6624736" cy="129827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281938-4EBB-A04F-99D6-12EE6F4D6C09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369051" y="378074"/>
            <a:ext cx="6624736" cy="64087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6231FD2-7B16-F74E-8153-51D64E2D2AE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369051" y="7136457"/>
            <a:ext cx="6624736" cy="6224339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CD2230-7771-0341-B9F2-B3BEF20F1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49445" y="1386185"/>
            <a:ext cx="6769277" cy="41049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4CA5CBB1-809F-1A46-8E36-D2B27FE2D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649575" y="6858794"/>
            <a:ext cx="6769148" cy="5078446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933F1402-E811-2347-B3A8-5CFE02EB06E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17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2">
          <p15:clr>
            <a:srgbClr val="FBAE40"/>
          </p15:clr>
        </p15:guide>
        <p15:guide id="2" pos="5504">
          <p15:clr>
            <a:srgbClr val="FBAE40"/>
          </p15:clr>
        </p15:guide>
        <p15:guide id="3" pos="1195">
          <p15:clr>
            <a:srgbClr val="FBAE40"/>
          </p15:clr>
        </p15:guide>
        <p15:guide id="4" pos="14167">
          <p15:clr>
            <a:srgbClr val="FBAE40"/>
          </p15:clr>
        </p15:guide>
        <p15:guide id="5" orient="horz" pos="6906">
          <p15:clr>
            <a:srgbClr val="FBAE40"/>
          </p15:clr>
        </p15:guide>
        <p15:guide id="6" pos="9858">
          <p15:clr>
            <a:srgbClr val="FBAE40"/>
          </p15:clr>
        </p15:guide>
        <p15:guide id="7" orient="horz" pos="3459">
          <p15:clr>
            <a:srgbClr val="FBAE40"/>
          </p15:clr>
        </p15:guide>
        <p15:guide id="8" orient="horz" pos="173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568863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81ED9F-06CE-7048-9049-34BD9B390CEE}"/>
              </a:ext>
            </a:extLst>
          </p:cNvPr>
          <p:cNvSpPr/>
          <p:nvPr userDrawn="1"/>
        </p:nvSpPr>
        <p:spPr>
          <a:xfrm>
            <a:off x="1824435" y="0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E8FA922-8BD3-EF4C-AF23-6ABB1434DB1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8449171" y="8831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38091B0-CD20-3D40-9985-5EEEA949CD1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3635953" y="8831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0F04A18-A9B7-1C45-B156-AD11F1B120A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9376" y="8831"/>
            <a:ext cx="4552686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605E96E4-EB6D-2645-8E80-828B9C7EE10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3635953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11143E83-AB6C-094E-B463-FCB0ED16DE8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750728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98F3C7B3-2A19-044C-91D4-36F143674CE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49171" y="6899387"/>
            <a:ext cx="4759147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71EE6583-C491-2A43-8484-927241B50E9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624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568863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F81ED9F-06CE-7048-9049-34BD9B390CEE}"/>
              </a:ext>
            </a:extLst>
          </p:cNvPr>
          <p:cNvSpPr/>
          <p:nvPr userDrawn="1"/>
        </p:nvSpPr>
        <p:spPr>
          <a:xfrm>
            <a:off x="1824435" y="0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E8FA922-8BD3-EF4C-AF23-6ABB1434DB1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8449171" y="7230183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38091B0-CD20-3D40-9985-5EEEA949CD1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3635953" y="7230183"/>
            <a:ext cx="4759147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0F04A18-A9B7-1C45-B156-AD11F1B120A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9376" y="7230183"/>
            <a:ext cx="4552686" cy="645850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605E96E4-EB6D-2645-8E80-828B9C7EE10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3635953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11143E83-AB6C-094E-B463-FCB0ED16DE8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750728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98F3C7B3-2A19-044C-91D4-36F143674CE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49171" y="4266506"/>
            <a:ext cx="4604099" cy="2455473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075530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84A9BBBD-3AB8-F74D-A92E-60BAE221DBEE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0510" y="0"/>
            <a:ext cx="12361962" cy="13717588"/>
          </a:xfrm>
          <a:custGeom>
            <a:avLst/>
            <a:gdLst>
              <a:gd name="connsiteX0" fmla="*/ 5075 w 12361962"/>
              <a:gd name="connsiteY0" fmla="*/ 10387186 h 13717588"/>
              <a:gd name="connsiteX1" fmla="*/ 3900126 w 12361962"/>
              <a:gd name="connsiteY1" fmla="*/ 10387186 h 13717588"/>
              <a:gd name="connsiteX2" fmla="*/ 3900126 w 12361962"/>
              <a:gd name="connsiteY2" fmla="*/ 13717588 h 13717588"/>
              <a:gd name="connsiteX3" fmla="*/ 5075 w 12361962"/>
              <a:gd name="connsiteY3" fmla="*/ 13717588 h 13717588"/>
              <a:gd name="connsiteX4" fmla="*/ 8635886 w 12361962"/>
              <a:gd name="connsiteY4" fmla="*/ 8298953 h 13717588"/>
              <a:gd name="connsiteX5" fmla="*/ 12361962 w 12361962"/>
              <a:gd name="connsiteY5" fmla="*/ 8298953 h 13717588"/>
              <a:gd name="connsiteX6" fmla="*/ 12361962 w 12361962"/>
              <a:gd name="connsiteY6" fmla="*/ 13717588 h 13717588"/>
              <a:gd name="connsiteX7" fmla="*/ 8635886 w 12361962"/>
              <a:gd name="connsiteY7" fmla="*/ 13717588 h 13717588"/>
              <a:gd name="connsiteX8" fmla="*/ 4320480 w 12361962"/>
              <a:gd name="connsiteY8" fmla="*/ 4986585 h 13717588"/>
              <a:gd name="connsiteX9" fmla="*/ 8215530 w 12361962"/>
              <a:gd name="connsiteY9" fmla="*/ 4986585 h 13717588"/>
              <a:gd name="connsiteX10" fmla="*/ 8215530 w 12361962"/>
              <a:gd name="connsiteY10" fmla="*/ 13717588 h 13717588"/>
              <a:gd name="connsiteX11" fmla="*/ 4320480 w 12361962"/>
              <a:gd name="connsiteY11" fmla="*/ 13717588 h 13717588"/>
              <a:gd name="connsiteX12" fmla="*/ 4315405 w 12361962"/>
              <a:gd name="connsiteY12" fmla="*/ 1 h 13717588"/>
              <a:gd name="connsiteX13" fmla="*/ 8210456 w 12361962"/>
              <a:gd name="connsiteY13" fmla="*/ 1 h 13717588"/>
              <a:gd name="connsiteX14" fmla="*/ 8210456 w 12361962"/>
              <a:gd name="connsiteY14" fmla="*/ 4626546 h 13717588"/>
              <a:gd name="connsiteX15" fmla="*/ 4315405 w 12361962"/>
              <a:gd name="connsiteY15" fmla="*/ 4626546 h 13717588"/>
              <a:gd name="connsiteX16" fmla="*/ 8625734 w 12361962"/>
              <a:gd name="connsiteY16" fmla="*/ 1 h 13717588"/>
              <a:gd name="connsiteX17" fmla="*/ 12351810 w 12361962"/>
              <a:gd name="connsiteY17" fmla="*/ 1 h 13717588"/>
              <a:gd name="connsiteX18" fmla="*/ 12351810 w 12361962"/>
              <a:gd name="connsiteY18" fmla="*/ 7938914 h 13717588"/>
              <a:gd name="connsiteX19" fmla="*/ 8625734 w 12361962"/>
              <a:gd name="connsiteY19" fmla="*/ 7938914 h 13717588"/>
              <a:gd name="connsiteX20" fmla="*/ 0 w 12361962"/>
              <a:gd name="connsiteY20" fmla="*/ 0 h 13717588"/>
              <a:gd name="connsiteX21" fmla="*/ 3895051 w 12361962"/>
              <a:gd name="connsiteY21" fmla="*/ 0 h 13717588"/>
              <a:gd name="connsiteX22" fmla="*/ 3895051 w 12361962"/>
              <a:gd name="connsiteY22" fmla="*/ 10027145 h 13717588"/>
              <a:gd name="connsiteX23" fmla="*/ 0 w 12361962"/>
              <a:gd name="connsiteY23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361962" h="13717588">
                <a:moveTo>
                  <a:pt x="5075" y="10387186"/>
                </a:moveTo>
                <a:lnTo>
                  <a:pt x="3900126" y="10387186"/>
                </a:lnTo>
                <a:lnTo>
                  <a:pt x="3900126" y="13717588"/>
                </a:lnTo>
                <a:lnTo>
                  <a:pt x="5075" y="13717588"/>
                </a:lnTo>
                <a:close/>
                <a:moveTo>
                  <a:pt x="8635886" y="8298953"/>
                </a:moveTo>
                <a:lnTo>
                  <a:pt x="12361962" y="8298953"/>
                </a:lnTo>
                <a:lnTo>
                  <a:pt x="12361962" y="13717588"/>
                </a:lnTo>
                <a:lnTo>
                  <a:pt x="8635886" y="13717588"/>
                </a:lnTo>
                <a:close/>
                <a:moveTo>
                  <a:pt x="4320480" y="4986585"/>
                </a:moveTo>
                <a:lnTo>
                  <a:pt x="8215530" y="4986585"/>
                </a:lnTo>
                <a:lnTo>
                  <a:pt x="8215530" y="13717588"/>
                </a:lnTo>
                <a:lnTo>
                  <a:pt x="4320480" y="13717588"/>
                </a:lnTo>
                <a:close/>
                <a:moveTo>
                  <a:pt x="4315405" y="1"/>
                </a:moveTo>
                <a:lnTo>
                  <a:pt x="8210456" y="1"/>
                </a:lnTo>
                <a:lnTo>
                  <a:pt x="8210456" y="4626546"/>
                </a:lnTo>
                <a:lnTo>
                  <a:pt x="4315405" y="4626546"/>
                </a:lnTo>
                <a:close/>
                <a:moveTo>
                  <a:pt x="8625734" y="1"/>
                </a:moveTo>
                <a:lnTo>
                  <a:pt x="12351810" y="1"/>
                </a:lnTo>
                <a:lnTo>
                  <a:pt x="12351810" y="7938914"/>
                </a:lnTo>
                <a:lnTo>
                  <a:pt x="8625734" y="7938914"/>
                </a:lnTo>
                <a:close/>
                <a:moveTo>
                  <a:pt x="0" y="0"/>
                </a:moveTo>
                <a:lnTo>
                  <a:pt x="3895051" y="0"/>
                </a:lnTo>
                <a:lnTo>
                  <a:pt x="3895051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85456C87-9795-3742-A2F8-97F38F36626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406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AD01A830-8F98-8D49-819A-3B2C942A1801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65413" y="0"/>
            <a:ext cx="12346736" cy="13717589"/>
          </a:xfrm>
          <a:custGeom>
            <a:avLst/>
            <a:gdLst>
              <a:gd name="connsiteX0" fmla="*/ 4315405 w 12346736"/>
              <a:gd name="connsiteY0" fmla="*/ 4986587 h 13717589"/>
              <a:gd name="connsiteX1" fmla="*/ 8210456 w 12346736"/>
              <a:gd name="connsiteY1" fmla="*/ 4986587 h 13717589"/>
              <a:gd name="connsiteX2" fmla="*/ 8210456 w 12346736"/>
              <a:gd name="connsiteY2" fmla="*/ 13717589 h 13717589"/>
              <a:gd name="connsiteX3" fmla="*/ 4315405 w 12346736"/>
              <a:gd name="connsiteY3" fmla="*/ 13717589 h 13717589"/>
              <a:gd name="connsiteX4" fmla="*/ 0 w 12346736"/>
              <a:gd name="connsiteY4" fmla="*/ 2682330 h 13717589"/>
              <a:gd name="connsiteX5" fmla="*/ 3895051 w 12346736"/>
              <a:gd name="connsiteY5" fmla="*/ 2682330 h 13717589"/>
              <a:gd name="connsiteX6" fmla="*/ 3895051 w 12346736"/>
              <a:gd name="connsiteY6" fmla="*/ 13717589 h 13717589"/>
              <a:gd name="connsiteX7" fmla="*/ 0 w 12346736"/>
              <a:gd name="connsiteY7" fmla="*/ 13717589 h 13717589"/>
              <a:gd name="connsiteX8" fmla="*/ 4310330 w 12346736"/>
              <a:gd name="connsiteY8" fmla="*/ 2 h 13717589"/>
              <a:gd name="connsiteX9" fmla="*/ 8205381 w 12346736"/>
              <a:gd name="connsiteY9" fmla="*/ 2 h 13717589"/>
              <a:gd name="connsiteX10" fmla="*/ 8205381 w 12346736"/>
              <a:gd name="connsiteY10" fmla="*/ 4626547 h 13717589"/>
              <a:gd name="connsiteX11" fmla="*/ 4310330 w 12346736"/>
              <a:gd name="connsiteY11" fmla="*/ 4626547 h 13717589"/>
              <a:gd name="connsiteX12" fmla="*/ 8620660 w 12346736"/>
              <a:gd name="connsiteY12" fmla="*/ 0 h 13717589"/>
              <a:gd name="connsiteX13" fmla="*/ 12346736 w 12346736"/>
              <a:gd name="connsiteY13" fmla="*/ 0 h 13717589"/>
              <a:gd name="connsiteX14" fmla="*/ 12346736 w 12346736"/>
              <a:gd name="connsiteY14" fmla="*/ 11179273 h 13717589"/>
              <a:gd name="connsiteX15" fmla="*/ 8620660 w 12346736"/>
              <a:gd name="connsiteY15" fmla="*/ 11179273 h 13717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46736" h="13717589">
                <a:moveTo>
                  <a:pt x="4315405" y="4986587"/>
                </a:moveTo>
                <a:lnTo>
                  <a:pt x="8210456" y="4986587"/>
                </a:lnTo>
                <a:lnTo>
                  <a:pt x="8210456" y="13717589"/>
                </a:lnTo>
                <a:lnTo>
                  <a:pt x="4315405" y="13717589"/>
                </a:lnTo>
                <a:close/>
                <a:moveTo>
                  <a:pt x="0" y="2682330"/>
                </a:moveTo>
                <a:lnTo>
                  <a:pt x="3895051" y="2682330"/>
                </a:lnTo>
                <a:lnTo>
                  <a:pt x="3895051" y="13717589"/>
                </a:lnTo>
                <a:lnTo>
                  <a:pt x="0" y="13717589"/>
                </a:lnTo>
                <a:close/>
                <a:moveTo>
                  <a:pt x="4310330" y="2"/>
                </a:moveTo>
                <a:lnTo>
                  <a:pt x="8205381" y="2"/>
                </a:lnTo>
                <a:lnTo>
                  <a:pt x="8205381" y="4626547"/>
                </a:lnTo>
                <a:lnTo>
                  <a:pt x="4310330" y="4626547"/>
                </a:lnTo>
                <a:close/>
                <a:moveTo>
                  <a:pt x="8620660" y="0"/>
                </a:moveTo>
                <a:lnTo>
                  <a:pt x="12346736" y="0"/>
                </a:lnTo>
                <a:lnTo>
                  <a:pt x="12346736" y="11179273"/>
                </a:lnTo>
                <a:lnTo>
                  <a:pt x="8620660" y="11179273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EBCEF69-80FF-B74E-A340-A8B2C201D96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14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D8D3845A-51EC-D543-BDAD-B887B539BB93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0510" y="0"/>
            <a:ext cx="12361962" cy="13717588"/>
          </a:xfrm>
          <a:custGeom>
            <a:avLst/>
            <a:gdLst>
              <a:gd name="connsiteX0" fmla="*/ 8635886 w 12361962"/>
              <a:gd name="connsiteY0" fmla="*/ 8298953 h 13717588"/>
              <a:gd name="connsiteX1" fmla="*/ 12361962 w 12361962"/>
              <a:gd name="connsiteY1" fmla="*/ 8298953 h 13717588"/>
              <a:gd name="connsiteX2" fmla="*/ 12361962 w 12361962"/>
              <a:gd name="connsiteY2" fmla="*/ 13717588 h 13717588"/>
              <a:gd name="connsiteX3" fmla="*/ 8635886 w 12361962"/>
              <a:gd name="connsiteY3" fmla="*/ 13717588 h 13717588"/>
              <a:gd name="connsiteX4" fmla="*/ 4320480 w 12361962"/>
              <a:gd name="connsiteY4" fmla="*/ 2322289 h 13717588"/>
              <a:gd name="connsiteX5" fmla="*/ 8215530 w 12361962"/>
              <a:gd name="connsiteY5" fmla="*/ 2322289 h 13717588"/>
              <a:gd name="connsiteX6" fmla="*/ 8215530 w 12361962"/>
              <a:gd name="connsiteY6" fmla="*/ 13717588 h 13717588"/>
              <a:gd name="connsiteX7" fmla="*/ 4320480 w 12361962"/>
              <a:gd name="connsiteY7" fmla="*/ 13717588 h 13717588"/>
              <a:gd name="connsiteX8" fmla="*/ 8625734 w 12361962"/>
              <a:gd name="connsiteY8" fmla="*/ 0 h 13717588"/>
              <a:gd name="connsiteX9" fmla="*/ 12351810 w 12361962"/>
              <a:gd name="connsiteY9" fmla="*/ 0 h 13717588"/>
              <a:gd name="connsiteX10" fmla="*/ 12351810 w 12361962"/>
              <a:gd name="connsiteY10" fmla="*/ 7938914 h 13717588"/>
              <a:gd name="connsiteX11" fmla="*/ 8625734 w 12361962"/>
              <a:gd name="connsiteY11" fmla="*/ 7938914 h 13717588"/>
              <a:gd name="connsiteX12" fmla="*/ 0 w 12361962"/>
              <a:gd name="connsiteY12" fmla="*/ 0 h 13717588"/>
              <a:gd name="connsiteX13" fmla="*/ 3895051 w 12361962"/>
              <a:gd name="connsiteY13" fmla="*/ 0 h 13717588"/>
              <a:gd name="connsiteX14" fmla="*/ 3895051 w 12361962"/>
              <a:gd name="connsiteY14" fmla="*/ 10027145 h 13717588"/>
              <a:gd name="connsiteX15" fmla="*/ 0 w 12361962"/>
              <a:gd name="connsiteY15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61962" h="13717588">
                <a:moveTo>
                  <a:pt x="8635886" y="8298953"/>
                </a:moveTo>
                <a:lnTo>
                  <a:pt x="12361962" y="8298953"/>
                </a:lnTo>
                <a:lnTo>
                  <a:pt x="12361962" y="13717588"/>
                </a:lnTo>
                <a:lnTo>
                  <a:pt x="8635886" y="13717588"/>
                </a:lnTo>
                <a:close/>
                <a:moveTo>
                  <a:pt x="4320480" y="2322289"/>
                </a:moveTo>
                <a:lnTo>
                  <a:pt x="8215530" y="2322289"/>
                </a:lnTo>
                <a:lnTo>
                  <a:pt x="8215530" y="13717588"/>
                </a:lnTo>
                <a:lnTo>
                  <a:pt x="4320480" y="13717588"/>
                </a:lnTo>
                <a:close/>
                <a:moveTo>
                  <a:pt x="8625734" y="0"/>
                </a:moveTo>
                <a:lnTo>
                  <a:pt x="12351810" y="0"/>
                </a:lnTo>
                <a:lnTo>
                  <a:pt x="12351810" y="7938914"/>
                </a:lnTo>
                <a:lnTo>
                  <a:pt x="8625734" y="7938914"/>
                </a:lnTo>
                <a:close/>
                <a:moveTo>
                  <a:pt x="0" y="0"/>
                </a:moveTo>
                <a:lnTo>
                  <a:pt x="3895051" y="0"/>
                </a:lnTo>
                <a:lnTo>
                  <a:pt x="3895051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527BE3F7-73D6-FD4A-A2F2-AB32ABFD65D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12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24436" y="1602210"/>
            <a:ext cx="6768752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24601" y="6354738"/>
            <a:ext cx="6768623" cy="5582502"/>
          </a:xfrm>
          <a:prstGeom prst="rect">
            <a:avLst/>
          </a:prstGeom>
        </p:spPr>
        <p:txBody>
          <a:bodyPr/>
          <a:lstStyle>
            <a:lvl1pPr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070F2859-3B3A-F548-B8EC-170DF258975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0835585" y="2"/>
            <a:ext cx="12356887" cy="13717587"/>
          </a:xfrm>
          <a:custGeom>
            <a:avLst/>
            <a:gdLst>
              <a:gd name="connsiteX0" fmla="*/ 0 w 12356887"/>
              <a:gd name="connsiteY0" fmla="*/ 7794896 h 13717587"/>
              <a:gd name="connsiteX1" fmla="*/ 3895051 w 12356887"/>
              <a:gd name="connsiteY1" fmla="*/ 7794896 h 13717587"/>
              <a:gd name="connsiteX2" fmla="*/ 3895051 w 12356887"/>
              <a:gd name="connsiteY2" fmla="*/ 13717587 h 13717587"/>
              <a:gd name="connsiteX3" fmla="*/ 0 w 12356887"/>
              <a:gd name="connsiteY3" fmla="*/ 13717587 h 13717587"/>
              <a:gd name="connsiteX4" fmla="*/ 4315405 w 12356887"/>
              <a:gd name="connsiteY4" fmla="*/ 4986584 h 13717587"/>
              <a:gd name="connsiteX5" fmla="*/ 8210455 w 12356887"/>
              <a:gd name="connsiteY5" fmla="*/ 4986584 h 13717587"/>
              <a:gd name="connsiteX6" fmla="*/ 8210455 w 12356887"/>
              <a:gd name="connsiteY6" fmla="*/ 13717587 h 13717587"/>
              <a:gd name="connsiteX7" fmla="*/ 4315405 w 12356887"/>
              <a:gd name="connsiteY7" fmla="*/ 13717587 h 13717587"/>
              <a:gd name="connsiteX8" fmla="*/ 8630811 w 12356887"/>
              <a:gd name="connsiteY8" fmla="*/ 2898353 h 13717587"/>
              <a:gd name="connsiteX9" fmla="*/ 12356887 w 12356887"/>
              <a:gd name="connsiteY9" fmla="*/ 2898353 h 13717587"/>
              <a:gd name="connsiteX10" fmla="*/ 12356887 w 12356887"/>
              <a:gd name="connsiteY10" fmla="*/ 13717587 h 13717587"/>
              <a:gd name="connsiteX11" fmla="*/ 8630811 w 12356887"/>
              <a:gd name="connsiteY11" fmla="*/ 13717587 h 13717587"/>
              <a:gd name="connsiteX12" fmla="*/ 4310330 w 12356887"/>
              <a:gd name="connsiteY12" fmla="*/ 0 h 13717587"/>
              <a:gd name="connsiteX13" fmla="*/ 8205381 w 12356887"/>
              <a:gd name="connsiteY13" fmla="*/ 0 h 13717587"/>
              <a:gd name="connsiteX14" fmla="*/ 8205381 w 12356887"/>
              <a:gd name="connsiteY14" fmla="*/ 4626546 h 13717587"/>
              <a:gd name="connsiteX15" fmla="*/ 4310330 w 12356887"/>
              <a:gd name="connsiteY15" fmla="*/ 4626546 h 13717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56887" h="13717587">
                <a:moveTo>
                  <a:pt x="0" y="7794896"/>
                </a:moveTo>
                <a:lnTo>
                  <a:pt x="3895051" y="7794896"/>
                </a:lnTo>
                <a:lnTo>
                  <a:pt x="3895051" y="13717587"/>
                </a:lnTo>
                <a:lnTo>
                  <a:pt x="0" y="13717587"/>
                </a:lnTo>
                <a:close/>
                <a:moveTo>
                  <a:pt x="4315405" y="4986584"/>
                </a:moveTo>
                <a:lnTo>
                  <a:pt x="8210455" y="4986584"/>
                </a:lnTo>
                <a:lnTo>
                  <a:pt x="8210455" y="13717587"/>
                </a:lnTo>
                <a:lnTo>
                  <a:pt x="4315405" y="13717587"/>
                </a:lnTo>
                <a:close/>
                <a:moveTo>
                  <a:pt x="8630811" y="2898353"/>
                </a:moveTo>
                <a:lnTo>
                  <a:pt x="12356887" y="2898353"/>
                </a:lnTo>
                <a:lnTo>
                  <a:pt x="12356887" y="13717587"/>
                </a:lnTo>
                <a:lnTo>
                  <a:pt x="8630811" y="13717587"/>
                </a:lnTo>
                <a:close/>
                <a:moveTo>
                  <a:pt x="4310330" y="0"/>
                </a:moveTo>
                <a:lnTo>
                  <a:pt x="8205381" y="0"/>
                </a:lnTo>
                <a:lnTo>
                  <a:pt x="8205381" y="4626546"/>
                </a:lnTo>
                <a:lnTo>
                  <a:pt x="4310330" y="462654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CD52A6BB-EE21-AA4E-98D3-AA3D0FD84B6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90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13B46B83-47EB-2640-BFEE-F7381A6DC9F1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960340" y="0"/>
            <a:ext cx="12361960" cy="13717588"/>
          </a:xfrm>
          <a:custGeom>
            <a:avLst/>
            <a:gdLst>
              <a:gd name="connsiteX0" fmla="*/ 8635884 w 12361960"/>
              <a:gd name="connsiteY0" fmla="*/ 8298953 h 13717588"/>
              <a:gd name="connsiteX1" fmla="*/ 12361960 w 12361960"/>
              <a:gd name="connsiteY1" fmla="*/ 8298953 h 13717588"/>
              <a:gd name="connsiteX2" fmla="*/ 12361960 w 12361960"/>
              <a:gd name="connsiteY2" fmla="*/ 13717588 h 13717588"/>
              <a:gd name="connsiteX3" fmla="*/ 8635884 w 12361960"/>
              <a:gd name="connsiteY3" fmla="*/ 13717588 h 13717588"/>
              <a:gd name="connsiteX4" fmla="*/ 4320479 w 12361960"/>
              <a:gd name="connsiteY4" fmla="*/ 4986585 h 13717588"/>
              <a:gd name="connsiteX5" fmla="*/ 8215530 w 12361960"/>
              <a:gd name="connsiteY5" fmla="*/ 4986585 h 13717588"/>
              <a:gd name="connsiteX6" fmla="*/ 8215530 w 12361960"/>
              <a:gd name="connsiteY6" fmla="*/ 13717588 h 13717588"/>
              <a:gd name="connsiteX7" fmla="*/ 4320479 w 12361960"/>
              <a:gd name="connsiteY7" fmla="*/ 13717588 h 13717588"/>
              <a:gd name="connsiteX8" fmla="*/ 8625734 w 12361960"/>
              <a:gd name="connsiteY8" fmla="*/ 2178272 h 13717588"/>
              <a:gd name="connsiteX9" fmla="*/ 12351810 w 12361960"/>
              <a:gd name="connsiteY9" fmla="*/ 2178272 h 13717588"/>
              <a:gd name="connsiteX10" fmla="*/ 12351810 w 12361960"/>
              <a:gd name="connsiteY10" fmla="*/ 7938913 h 13717588"/>
              <a:gd name="connsiteX11" fmla="*/ 8625734 w 12361960"/>
              <a:gd name="connsiteY11" fmla="*/ 7938913 h 13717588"/>
              <a:gd name="connsiteX12" fmla="*/ 4315405 w 12361960"/>
              <a:gd name="connsiteY12" fmla="*/ 1 h 13717588"/>
              <a:gd name="connsiteX13" fmla="*/ 8210455 w 12361960"/>
              <a:gd name="connsiteY13" fmla="*/ 1 h 13717588"/>
              <a:gd name="connsiteX14" fmla="*/ 8210455 w 12361960"/>
              <a:gd name="connsiteY14" fmla="*/ 4626546 h 13717588"/>
              <a:gd name="connsiteX15" fmla="*/ 4315405 w 12361960"/>
              <a:gd name="connsiteY15" fmla="*/ 4626546 h 13717588"/>
              <a:gd name="connsiteX16" fmla="*/ 0 w 12361960"/>
              <a:gd name="connsiteY16" fmla="*/ 0 h 13717588"/>
              <a:gd name="connsiteX17" fmla="*/ 3895050 w 12361960"/>
              <a:gd name="connsiteY17" fmla="*/ 0 h 13717588"/>
              <a:gd name="connsiteX18" fmla="*/ 3895050 w 12361960"/>
              <a:gd name="connsiteY18" fmla="*/ 10027145 h 13717588"/>
              <a:gd name="connsiteX19" fmla="*/ 0 w 12361960"/>
              <a:gd name="connsiteY19" fmla="*/ 10027145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61960" h="13717588">
                <a:moveTo>
                  <a:pt x="8635884" y="8298953"/>
                </a:moveTo>
                <a:lnTo>
                  <a:pt x="12361960" y="8298953"/>
                </a:lnTo>
                <a:lnTo>
                  <a:pt x="12361960" y="13717588"/>
                </a:lnTo>
                <a:lnTo>
                  <a:pt x="8635884" y="13717588"/>
                </a:lnTo>
                <a:close/>
                <a:moveTo>
                  <a:pt x="4320479" y="4986585"/>
                </a:moveTo>
                <a:lnTo>
                  <a:pt x="8215530" y="4986585"/>
                </a:lnTo>
                <a:lnTo>
                  <a:pt x="8215530" y="13717588"/>
                </a:lnTo>
                <a:lnTo>
                  <a:pt x="4320479" y="13717588"/>
                </a:lnTo>
                <a:close/>
                <a:moveTo>
                  <a:pt x="8625734" y="2178272"/>
                </a:moveTo>
                <a:lnTo>
                  <a:pt x="12351810" y="2178272"/>
                </a:lnTo>
                <a:lnTo>
                  <a:pt x="12351810" y="7938913"/>
                </a:lnTo>
                <a:lnTo>
                  <a:pt x="8625734" y="7938913"/>
                </a:lnTo>
                <a:close/>
                <a:moveTo>
                  <a:pt x="4315405" y="1"/>
                </a:moveTo>
                <a:lnTo>
                  <a:pt x="8210455" y="1"/>
                </a:lnTo>
                <a:lnTo>
                  <a:pt x="8210455" y="4626546"/>
                </a:lnTo>
                <a:lnTo>
                  <a:pt x="4315405" y="4626546"/>
                </a:lnTo>
                <a:close/>
                <a:moveTo>
                  <a:pt x="0" y="0"/>
                </a:moveTo>
                <a:lnTo>
                  <a:pt x="3895050" y="0"/>
                </a:lnTo>
                <a:lnTo>
                  <a:pt x="3895050" y="10027145"/>
                </a:lnTo>
                <a:lnTo>
                  <a:pt x="0" y="10027145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D3234F6-6E8D-1F45-985E-334B4C62EBE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336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370162" y="1602210"/>
            <a:ext cx="6480608" cy="288032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OUR </a:t>
            </a:r>
            <a:br>
              <a:rPr lang="en-US" dirty="0"/>
            </a:br>
            <a:r>
              <a:rPr lang="en-US" dirty="0"/>
              <a:t>TEAM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370051" y="6354738"/>
            <a:ext cx="6480484" cy="5582502"/>
          </a:xfrm>
          <a:prstGeom prst="rect">
            <a:avLst/>
          </a:prstGeom>
        </p:spPr>
        <p:txBody>
          <a:bodyPr/>
          <a:lstStyle>
            <a:lvl1pPr algn="r"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B7011833-E145-A54C-97DA-2488CE9ED51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60339" y="0"/>
            <a:ext cx="12351811" cy="13717589"/>
          </a:xfrm>
          <a:custGeom>
            <a:avLst/>
            <a:gdLst>
              <a:gd name="connsiteX0" fmla="*/ 4320480 w 12351811"/>
              <a:gd name="connsiteY0" fmla="*/ 8226946 h 13717589"/>
              <a:gd name="connsiteX1" fmla="*/ 8215531 w 12351811"/>
              <a:gd name="connsiteY1" fmla="*/ 8226946 h 13717589"/>
              <a:gd name="connsiteX2" fmla="*/ 8215531 w 12351811"/>
              <a:gd name="connsiteY2" fmla="*/ 13717589 h 13717589"/>
              <a:gd name="connsiteX3" fmla="*/ 4320480 w 12351811"/>
              <a:gd name="connsiteY3" fmla="*/ 13717589 h 13717589"/>
              <a:gd name="connsiteX4" fmla="*/ 0 w 12351811"/>
              <a:gd name="connsiteY4" fmla="*/ 1 h 13717589"/>
              <a:gd name="connsiteX5" fmla="*/ 3895051 w 12351811"/>
              <a:gd name="connsiteY5" fmla="*/ 1 h 13717589"/>
              <a:gd name="connsiteX6" fmla="*/ 3895051 w 12351811"/>
              <a:gd name="connsiteY6" fmla="*/ 4914578 h 13717589"/>
              <a:gd name="connsiteX7" fmla="*/ 0 w 12351811"/>
              <a:gd name="connsiteY7" fmla="*/ 4914578 h 13717589"/>
              <a:gd name="connsiteX8" fmla="*/ 4315405 w 12351811"/>
              <a:gd name="connsiteY8" fmla="*/ 0 h 13717589"/>
              <a:gd name="connsiteX9" fmla="*/ 8210456 w 12351811"/>
              <a:gd name="connsiteY9" fmla="*/ 0 h 13717589"/>
              <a:gd name="connsiteX10" fmla="*/ 8210456 w 12351811"/>
              <a:gd name="connsiteY10" fmla="*/ 7938913 h 13717589"/>
              <a:gd name="connsiteX11" fmla="*/ 4315405 w 12351811"/>
              <a:gd name="connsiteY11" fmla="*/ 7938913 h 13717589"/>
              <a:gd name="connsiteX12" fmla="*/ 8625735 w 12351811"/>
              <a:gd name="connsiteY12" fmla="*/ 0 h 13717589"/>
              <a:gd name="connsiteX13" fmla="*/ 12351811 w 12351811"/>
              <a:gd name="connsiteY13" fmla="*/ 0 h 13717589"/>
              <a:gd name="connsiteX14" fmla="*/ 12351811 w 12351811"/>
              <a:gd name="connsiteY14" fmla="*/ 13717587 h 13717589"/>
              <a:gd name="connsiteX15" fmla="*/ 8625735 w 12351811"/>
              <a:gd name="connsiteY15" fmla="*/ 13717587 h 13717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351811" h="13717589">
                <a:moveTo>
                  <a:pt x="4320480" y="8226946"/>
                </a:moveTo>
                <a:lnTo>
                  <a:pt x="8215531" y="8226946"/>
                </a:lnTo>
                <a:lnTo>
                  <a:pt x="8215531" y="13717589"/>
                </a:lnTo>
                <a:lnTo>
                  <a:pt x="4320480" y="13717589"/>
                </a:lnTo>
                <a:close/>
                <a:moveTo>
                  <a:pt x="0" y="1"/>
                </a:moveTo>
                <a:lnTo>
                  <a:pt x="3895051" y="1"/>
                </a:lnTo>
                <a:lnTo>
                  <a:pt x="3895051" y="4914578"/>
                </a:lnTo>
                <a:lnTo>
                  <a:pt x="0" y="4914578"/>
                </a:lnTo>
                <a:close/>
                <a:moveTo>
                  <a:pt x="4315405" y="0"/>
                </a:moveTo>
                <a:lnTo>
                  <a:pt x="8210456" y="0"/>
                </a:lnTo>
                <a:lnTo>
                  <a:pt x="8210456" y="7938913"/>
                </a:lnTo>
                <a:lnTo>
                  <a:pt x="4315405" y="7938913"/>
                </a:lnTo>
                <a:close/>
                <a:moveTo>
                  <a:pt x="8625735" y="0"/>
                </a:moveTo>
                <a:lnTo>
                  <a:pt x="12351811" y="0"/>
                </a:lnTo>
                <a:lnTo>
                  <a:pt x="12351811" y="13717587"/>
                </a:lnTo>
                <a:lnTo>
                  <a:pt x="8625735" y="13717587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0E47A0FB-FF1D-294A-AD14-482FBCA8FED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327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Рисунок 10">
            <a:extLst>
              <a:ext uri="{FF2B5EF4-FFF2-40B4-BE49-F238E27FC236}">
                <a16:creationId xmlns:a16="http://schemas.microsoft.com/office/drawing/2014/main" id="{FE93B032-6714-3C43-976A-09D136BA5F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057683" y="1818234"/>
            <a:ext cx="10297144" cy="10258343"/>
          </a:xfrm>
          <a:custGeom>
            <a:avLst/>
            <a:gdLst>
              <a:gd name="connsiteX0" fmla="*/ 5889574 w 11779148"/>
              <a:gd name="connsiteY0" fmla="*/ 0 h 11748018"/>
              <a:gd name="connsiteX1" fmla="*/ 11779148 w 11779148"/>
              <a:gd name="connsiteY1" fmla="*/ 5889577 h 11748018"/>
              <a:gd name="connsiteX2" fmla="*/ 7361470 w 11779148"/>
              <a:gd name="connsiteY2" fmla="*/ 11593735 h 11748018"/>
              <a:gd name="connsiteX3" fmla="*/ 7179652 w 11779148"/>
              <a:gd name="connsiteY3" fmla="*/ 11635698 h 11748018"/>
              <a:gd name="connsiteX4" fmla="*/ 7179652 w 11779148"/>
              <a:gd name="connsiteY4" fmla="*/ 11367864 h 11748018"/>
              <a:gd name="connsiteX5" fmla="*/ 7179652 w 11779148"/>
              <a:gd name="connsiteY5" fmla="*/ 8011273 h 11748018"/>
              <a:gd name="connsiteX6" fmla="*/ 8365898 w 11779148"/>
              <a:gd name="connsiteY6" fmla="*/ 8011273 h 11748018"/>
              <a:gd name="connsiteX7" fmla="*/ 8484522 w 11779148"/>
              <a:gd name="connsiteY7" fmla="*/ 7922264 h 11748018"/>
              <a:gd name="connsiteX8" fmla="*/ 8573490 w 11779148"/>
              <a:gd name="connsiteY8" fmla="*/ 6557465 h 11748018"/>
              <a:gd name="connsiteX9" fmla="*/ 8484522 w 11779148"/>
              <a:gd name="connsiteY9" fmla="*/ 6438787 h 11748018"/>
              <a:gd name="connsiteX10" fmla="*/ 7179652 w 11779148"/>
              <a:gd name="connsiteY10" fmla="*/ 6438787 h 11748018"/>
              <a:gd name="connsiteX11" fmla="*/ 7179652 w 11779148"/>
              <a:gd name="connsiteY11" fmla="*/ 5489362 h 11748018"/>
              <a:gd name="connsiteX12" fmla="*/ 7565182 w 11779148"/>
              <a:gd name="connsiteY12" fmla="*/ 5073988 h 11748018"/>
              <a:gd name="connsiteX13" fmla="*/ 8484522 w 11779148"/>
              <a:gd name="connsiteY13" fmla="*/ 5073988 h 11748018"/>
              <a:gd name="connsiteX14" fmla="*/ 8603146 w 11779148"/>
              <a:gd name="connsiteY14" fmla="*/ 4955311 h 11748018"/>
              <a:gd name="connsiteX15" fmla="*/ 8603146 w 11779148"/>
              <a:gd name="connsiteY15" fmla="*/ 3590512 h 11748018"/>
              <a:gd name="connsiteX16" fmla="*/ 8484522 w 11779148"/>
              <a:gd name="connsiteY16" fmla="*/ 3471833 h 11748018"/>
              <a:gd name="connsiteX17" fmla="*/ 6942404 w 11779148"/>
              <a:gd name="connsiteY17" fmla="*/ 3471833 h 11748018"/>
              <a:gd name="connsiteX18" fmla="*/ 5281662 w 11779148"/>
              <a:gd name="connsiteY18" fmla="*/ 5133327 h 11748018"/>
              <a:gd name="connsiteX19" fmla="*/ 5281662 w 11779148"/>
              <a:gd name="connsiteY19" fmla="*/ 6438787 h 11748018"/>
              <a:gd name="connsiteX20" fmla="*/ 4480948 w 11779148"/>
              <a:gd name="connsiteY20" fmla="*/ 6438787 h 11748018"/>
              <a:gd name="connsiteX21" fmla="*/ 4362324 w 11779148"/>
              <a:gd name="connsiteY21" fmla="*/ 6557465 h 11748018"/>
              <a:gd name="connsiteX22" fmla="*/ 4362324 w 11779148"/>
              <a:gd name="connsiteY22" fmla="*/ 7922264 h 11748018"/>
              <a:gd name="connsiteX23" fmla="*/ 4480948 w 11779148"/>
              <a:gd name="connsiteY23" fmla="*/ 8011273 h 11748018"/>
              <a:gd name="connsiteX24" fmla="*/ 5281662 w 11779148"/>
              <a:gd name="connsiteY24" fmla="*/ 8011273 h 11748018"/>
              <a:gd name="connsiteX25" fmla="*/ 5281662 w 11779148"/>
              <a:gd name="connsiteY25" fmla="*/ 8100282 h 11748018"/>
              <a:gd name="connsiteX26" fmla="*/ 5281662 w 11779148"/>
              <a:gd name="connsiteY26" fmla="*/ 11734242 h 11748018"/>
              <a:gd name="connsiteX27" fmla="*/ 5281662 w 11779148"/>
              <a:gd name="connsiteY27" fmla="*/ 11748018 h 11748018"/>
              <a:gd name="connsiteX28" fmla="*/ 4992650 w 11779148"/>
              <a:gd name="connsiteY28" fmla="*/ 11711293 h 11748018"/>
              <a:gd name="connsiteX29" fmla="*/ 0 w 11779148"/>
              <a:gd name="connsiteY29" fmla="*/ 5889577 h 11748018"/>
              <a:gd name="connsiteX30" fmla="*/ 5889574 w 11779148"/>
              <a:gd name="connsiteY30" fmla="*/ 0 h 1174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79148" h="11748018">
                <a:moveTo>
                  <a:pt x="5889574" y="0"/>
                </a:moveTo>
                <a:cubicBezTo>
                  <a:pt x="9142296" y="0"/>
                  <a:pt x="11779148" y="2636853"/>
                  <a:pt x="11779148" y="5889577"/>
                </a:cubicBezTo>
                <a:cubicBezTo>
                  <a:pt x="11779148" y="8634063"/>
                  <a:pt x="9901936" y="10940102"/>
                  <a:pt x="7361470" y="11593735"/>
                </a:cubicBezTo>
                <a:lnTo>
                  <a:pt x="7179652" y="11635698"/>
                </a:lnTo>
                <a:lnTo>
                  <a:pt x="7179652" y="11367864"/>
                </a:lnTo>
                <a:cubicBezTo>
                  <a:pt x="7179652" y="8011273"/>
                  <a:pt x="7179652" y="8011273"/>
                  <a:pt x="7179652" y="8011273"/>
                </a:cubicBezTo>
                <a:cubicBezTo>
                  <a:pt x="8365898" y="8011273"/>
                  <a:pt x="8365898" y="8011273"/>
                  <a:pt x="8365898" y="8011273"/>
                </a:cubicBezTo>
                <a:cubicBezTo>
                  <a:pt x="8425210" y="8011273"/>
                  <a:pt x="8454866" y="7981603"/>
                  <a:pt x="8484522" y="7922264"/>
                </a:cubicBezTo>
                <a:cubicBezTo>
                  <a:pt x="8573490" y="6557465"/>
                  <a:pt x="8573490" y="6557465"/>
                  <a:pt x="8573490" y="6557465"/>
                </a:cubicBezTo>
                <a:cubicBezTo>
                  <a:pt x="8603146" y="6498126"/>
                  <a:pt x="8543834" y="6438787"/>
                  <a:pt x="8484522" y="6438787"/>
                </a:cubicBezTo>
                <a:cubicBezTo>
                  <a:pt x="7179652" y="6438787"/>
                  <a:pt x="7179652" y="6438787"/>
                  <a:pt x="7179652" y="6438787"/>
                </a:cubicBezTo>
                <a:cubicBezTo>
                  <a:pt x="7179652" y="5489362"/>
                  <a:pt x="7179652" y="5489362"/>
                  <a:pt x="7179652" y="5489362"/>
                </a:cubicBezTo>
                <a:cubicBezTo>
                  <a:pt x="7179652" y="5252006"/>
                  <a:pt x="7357590" y="5073988"/>
                  <a:pt x="7565182" y="5073988"/>
                </a:cubicBezTo>
                <a:cubicBezTo>
                  <a:pt x="8484522" y="5073988"/>
                  <a:pt x="8484522" y="5073988"/>
                  <a:pt x="8484522" y="5073988"/>
                </a:cubicBezTo>
                <a:cubicBezTo>
                  <a:pt x="8543834" y="5073988"/>
                  <a:pt x="8603146" y="5014649"/>
                  <a:pt x="8603146" y="4955311"/>
                </a:cubicBezTo>
                <a:cubicBezTo>
                  <a:pt x="8603146" y="3590512"/>
                  <a:pt x="8603146" y="3590512"/>
                  <a:pt x="8603146" y="3590512"/>
                </a:cubicBezTo>
                <a:cubicBezTo>
                  <a:pt x="8603146" y="3531172"/>
                  <a:pt x="8543834" y="3471833"/>
                  <a:pt x="8484522" y="3471833"/>
                </a:cubicBezTo>
                <a:cubicBezTo>
                  <a:pt x="6942404" y="3471833"/>
                  <a:pt x="6942404" y="3471833"/>
                  <a:pt x="6942404" y="3471833"/>
                </a:cubicBezTo>
                <a:cubicBezTo>
                  <a:pt x="6023064" y="3471833"/>
                  <a:pt x="5281662" y="4213572"/>
                  <a:pt x="5281662" y="5133327"/>
                </a:cubicBezTo>
                <a:cubicBezTo>
                  <a:pt x="5281662" y="6438787"/>
                  <a:pt x="5281662" y="6438787"/>
                  <a:pt x="5281662" y="6438787"/>
                </a:cubicBezTo>
                <a:cubicBezTo>
                  <a:pt x="4480948" y="6438787"/>
                  <a:pt x="4480948" y="6438787"/>
                  <a:pt x="4480948" y="6438787"/>
                </a:cubicBezTo>
                <a:cubicBezTo>
                  <a:pt x="4421636" y="6438787"/>
                  <a:pt x="4362324" y="6498126"/>
                  <a:pt x="4362324" y="6557465"/>
                </a:cubicBezTo>
                <a:cubicBezTo>
                  <a:pt x="4362324" y="7922264"/>
                  <a:pt x="4362324" y="7922264"/>
                  <a:pt x="4362324" y="7922264"/>
                </a:cubicBezTo>
                <a:cubicBezTo>
                  <a:pt x="4362324" y="7981603"/>
                  <a:pt x="4421636" y="8011273"/>
                  <a:pt x="4480948" y="8011273"/>
                </a:cubicBezTo>
                <a:cubicBezTo>
                  <a:pt x="5281662" y="8011273"/>
                  <a:pt x="5281662" y="8011273"/>
                  <a:pt x="5281662" y="8011273"/>
                </a:cubicBezTo>
                <a:lnTo>
                  <a:pt x="5281662" y="8100282"/>
                </a:lnTo>
                <a:cubicBezTo>
                  <a:pt x="5281662" y="10034365"/>
                  <a:pt x="5281662" y="11122286"/>
                  <a:pt x="5281662" y="11734242"/>
                </a:cubicBezTo>
                <a:lnTo>
                  <a:pt x="5281662" y="11748018"/>
                </a:lnTo>
                <a:lnTo>
                  <a:pt x="4992650" y="11711293"/>
                </a:lnTo>
                <a:cubicBezTo>
                  <a:pt x="2165618" y="11279331"/>
                  <a:pt x="0" y="8837358"/>
                  <a:pt x="0" y="5889577"/>
                </a:cubicBezTo>
                <a:cubicBezTo>
                  <a:pt x="0" y="2636853"/>
                  <a:pt x="2636852" y="0"/>
                  <a:pt x="5889574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dirty="0"/>
            </a:lvl1pPr>
          </a:lstStyle>
          <a:p>
            <a:pPr lvl="0" algn="ctr"/>
            <a:endParaRPr lang="ru-RU" b="1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E7A9D69-AA00-324D-9241-A8E3D1195AC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26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AF4738E-FB28-D546-8E5E-A531F0ADE8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B519D042-A997-C548-BF3B-18C4884C9C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B53AE72-F3DB-894D-AD68-D999252F724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E998076E-A4D3-6E41-A585-B1F6C847514C}"/>
              </a:ext>
            </a:extLst>
          </p:cNvPr>
          <p:cNvSpPr>
            <a:spLocks/>
          </p:cNvSpPr>
          <p:nvPr userDrawn="1"/>
        </p:nvSpPr>
        <p:spPr bwMode="auto">
          <a:xfrm>
            <a:off x="11631661" y="5608686"/>
            <a:ext cx="12755515" cy="8108903"/>
          </a:xfrm>
          <a:custGeom>
            <a:avLst/>
            <a:gdLst>
              <a:gd name="connsiteX0" fmla="*/ 6656959 w 12755515"/>
              <a:gd name="connsiteY0" fmla="*/ 346 h 8108903"/>
              <a:gd name="connsiteX1" fmla="*/ 7260387 w 12755515"/>
              <a:gd name="connsiteY1" fmla="*/ 36331 h 8108903"/>
              <a:gd name="connsiteX2" fmla="*/ 12656403 w 12755515"/>
              <a:gd name="connsiteY2" fmla="*/ 4921559 h 8108903"/>
              <a:gd name="connsiteX3" fmla="*/ 12705801 w 12755515"/>
              <a:gd name="connsiteY3" fmla="*/ 5099634 h 8108903"/>
              <a:gd name="connsiteX4" fmla="*/ 12755515 w 12755515"/>
              <a:gd name="connsiteY4" fmla="*/ 5230194 h 8108903"/>
              <a:gd name="connsiteX5" fmla="*/ 12755515 w 12755515"/>
              <a:gd name="connsiteY5" fmla="*/ 8108903 h 8108903"/>
              <a:gd name="connsiteX6" fmla="*/ 0 w 12755515"/>
              <a:gd name="connsiteY6" fmla="*/ 8108903 h 8108903"/>
              <a:gd name="connsiteX7" fmla="*/ 75191 w 12755515"/>
              <a:gd name="connsiteY7" fmla="*/ 7973602 h 8108903"/>
              <a:gd name="connsiteX8" fmla="*/ 410749 w 12755515"/>
              <a:gd name="connsiteY8" fmla="*/ 6461947 h 8108903"/>
              <a:gd name="connsiteX9" fmla="*/ 498847 w 12755515"/>
              <a:gd name="connsiteY9" fmla="*/ 5141615 h 8108903"/>
              <a:gd name="connsiteX10" fmla="*/ 6656959 w 12755515"/>
              <a:gd name="connsiteY10" fmla="*/ 346 h 810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55515" h="8108903">
                <a:moveTo>
                  <a:pt x="6656959" y="346"/>
                </a:moveTo>
                <a:cubicBezTo>
                  <a:pt x="6856719" y="2463"/>
                  <a:pt x="7058037" y="14325"/>
                  <a:pt x="7260387" y="36331"/>
                </a:cubicBezTo>
                <a:cubicBezTo>
                  <a:pt x="10013455" y="344408"/>
                  <a:pt x="12127815" y="2368917"/>
                  <a:pt x="12656403" y="4921559"/>
                </a:cubicBezTo>
                <a:cubicBezTo>
                  <a:pt x="12670169" y="4982075"/>
                  <a:pt x="12686687" y="5041472"/>
                  <a:pt x="12705801" y="5099634"/>
                </a:cubicBezTo>
                <a:lnTo>
                  <a:pt x="12755515" y="5230194"/>
                </a:lnTo>
                <a:lnTo>
                  <a:pt x="12755515" y="8108903"/>
                </a:lnTo>
                <a:lnTo>
                  <a:pt x="0" y="8108903"/>
                </a:lnTo>
                <a:lnTo>
                  <a:pt x="75191" y="7973602"/>
                </a:lnTo>
                <a:cubicBezTo>
                  <a:pt x="310176" y="7512539"/>
                  <a:pt x="430020" y="6991455"/>
                  <a:pt x="410749" y="6461947"/>
                </a:cubicBezTo>
                <a:cubicBezTo>
                  <a:pt x="388724" y="6021836"/>
                  <a:pt x="410749" y="5581725"/>
                  <a:pt x="498847" y="5141615"/>
                </a:cubicBezTo>
                <a:cubicBezTo>
                  <a:pt x="1015047" y="2129607"/>
                  <a:pt x="3660575" y="-31406"/>
                  <a:pt x="6656959" y="346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2" name="Рисунок 7">
            <a:extLst>
              <a:ext uri="{FF2B5EF4-FFF2-40B4-BE49-F238E27FC236}">
                <a16:creationId xmlns:a16="http://schemas.microsoft.com/office/drawing/2014/main" id="{4FFD5A0F-2DA5-3047-8F47-AB28134A1D0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479155" y="4912747"/>
            <a:ext cx="12908021" cy="8804840"/>
          </a:xfrm>
          <a:custGeom>
            <a:avLst/>
            <a:gdLst>
              <a:gd name="connsiteX0" fmla="*/ 11408529 w 12908021"/>
              <a:gd name="connsiteY0" fmla="*/ 1153 h 8804840"/>
              <a:gd name="connsiteX1" fmla="*/ 12648425 w 12908021"/>
              <a:gd name="connsiteY1" fmla="*/ 212555 h 8804840"/>
              <a:gd name="connsiteX2" fmla="*/ 12908021 w 12908021"/>
              <a:gd name="connsiteY2" fmla="*/ 308532 h 8804840"/>
              <a:gd name="connsiteX3" fmla="*/ 12908021 w 12908021"/>
              <a:gd name="connsiteY3" fmla="*/ 8804840 h 8804840"/>
              <a:gd name="connsiteX4" fmla="*/ 0 w 12908021"/>
              <a:gd name="connsiteY4" fmla="*/ 8804840 h 8804840"/>
              <a:gd name="connsiteX5" fmla="*/ 77773 w 12908021"/>
              <a:gd name="connsiteY5" fmla="*/ 8708529 h 8804840"/>
              <a:gd name="connsiteX6" fmla="*/ 4104272 w 12908021"/>
              <a:gd name="connsiteY6" fmla="*/ 6784386 h 8804840"/>
              <a:gd name="connsiteX7" fmla="*/ 4950609 w 12908021"/>
              <a:gd name="connsiteY7" fmla="*/ 6839534 h 8804840"/>
              <a:gd name="connsiteX8" fmla="*/ 7084851 w 12908021"/>
              <a:gd name="connsiteY8" fmla="*/ 4762284 h 8804840"/>
              <a:gd name="connsiteX9" fmla="*/ 7084851 w 12908021"/>
              <a:gd name="connsiteY9" fmla="*/ 4725518 h 8804840"/>
              <a:gd name="connsiteX10" fmla="*/ 7066451 w 12908021"/>
              <a:gd name="connsiteY10" fmla="*/ 4707136 h 8804840"/>
              <a:gd name="connsiteX11" fmla="*/ 7066451 w 12908021"/>
              <a:gd name="connsiteY11" fmla="*/ 4688753 h 8804840"/>
              <a:gd name="connsiteX12" fmla="*/ 7048053 w 12908021"/>
              <a:gd name="connsiteY12" fmla="*/ 4265950 h 8804840"/>
              <a:gd name="connsiteX13" fmla="*/ 11408529 w 12908021"/>
              <a:gd name="connsiteY13" fmla="*/ 1153 h 880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908021" h="8804840">
                <a:moveTo>
                  <a:pt x="11408529" y="1153"/>
                </a:moveTo>
                <a:cubicBezTo>
                  <a:pt x="11840897" y="10345"/>
                  <a:pt x="12257167" y="83876"/>
                  <a:pt x="12648425" y="212555"/>
                </a:cubicBezTo>
                <a:lnTo>
                  <a:pt x="12908021" y="308532"/>
                </a:lnTo>
                <a:lnTo>
                  <a:pt x="12908021" y="8804840"/>
                </a:lnTo>
                <a:lnTo>
                  <a:pt x="0" y="8804840"/>
                </a:lnTo>
                <a:lnTo>
                  <a:pt x="77773" y="8708529"/>
                </a:lnTo>
                <a:cubicBezTo>
                  <a:pt x="1053189" y="7556030"/>
                  <a:pt x="2500141" y="6815407"/>
                  <a:pt x="4104272" y="6784386"/>
                </a:cubicBezTo>
                <a:cubicBezTo>
                  <a:pt x="4398649" y="6784386"/>
                  <a:pt x="4674629" y="6802768"/>
                  <a:pt x="4950609" y="6839534"/>
                </a:cubicBezTo>
                <a:cubicBezTo>
                  <a:pt x="6164919" y="7004979"/>
                  <a:pt x="7213641" y="5993928"/>
                  <a:pt x="7084851" y="4762284"/>
                </a:cubicBezTo>
                <a:cubicBezTo>
                  <a:pt x="7084851" y="4762284"/>
                  <a:pt x="7084851" y="4762284"/>
                  <a:pt x="7084851" y="4725518"/>
                </a:cubicBezTo>
                <a:cubicBezTo>
                  <a:pt x="7084851" y="4707136"/>
                  <a:pt x="7066451" y="4707136"/>
                  <a:pt x="7066451" y="4707136"/>
                </a:cubicBezTo>
                <a:cubicBezTo>
                  <a:pt x="7066451" y="4707136"/>
                  <a:pt x="7066451" y="4707136"/>
                  <a:pt x="7066451" y="4688753"/>
                </a:cubicBezTo>
                <a:cubicBezTo>
                  <a:pt x="7066451" y="4560074"/>
                  <a:pt x="7048053" y="4413012"/>
                  <a:pt x="7048053" y="4265950"/>
                </a:cubicBezTo>
                <a:cubicBezTo>
                  <a:pt x="7048053" y="1876193"/>
                  <a:pt x="9016707" y="-53995"/>
                  <a:pt x="11408529" y="1153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09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2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1" grpId="0" animBg="1"/>
          <p:bldP spid="1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2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1" grpId="0" animBg="1"/>
          <p:bldP spid="12" grpId="0" animBg="1"/>
        </p:bldLst>
      </p:timing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90D12028-29DA-E342-A86B-ADEEF68A9F1A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2985675" y="3452608"/>
            <a:ext cx="10297144" cy="7006586"/>
          </a:xfrm>
          <a:custGeom>
            <a:avLst/>
            <a:gdLst>
              <a:gd name="T0" fmla="*/ 304 w 304"/>
              <a:gd name="T1" fmla="*/ 66 h 213"/>
              <a:gd name="T2" fmla="*/ 238 w 304"/>
              <a:gd name="T3" fmla="*/ 0 h 213"/>
              <a:gd name="T4" fmla="*/ 66 w 304"/>
              <a:gd name="T5" fmla="*/ 0 h 213"/>
              <a:gd name="T6" fmla="*/ 0 w 304"/>
              <a:gd name="T7" fmla="*/ 66 h 213"/>
              <a:gd name="T8" fmla="*/ 0 w 304"/>
              <a:gd name="T9" fmla="*/ 147 h 213"/>
              <a:gd name="T10" fmla="*/ 66 w 304"/>
              <a:gd name="T11" fmla="*/ 213 h 213"/>
              <a:gd name="T12" fmla="*/ 238 w 304"/>
              <a:gd name="T13" fmla="*/ 213 h 213"/>
              <a:gd name="T14" fmla="*/ 304 w 304"/>
              <a:gd name="T15" fmla="*/ 147 h 213"/>
              <a:gd name="T16" fmla="*/ 304 w 304"/>
              <a:gd name="T17" fmla="*/ 66 h 213"/>
              <a:gd name="T18" fmla="*/ 196 w 304"/>
              <a:gd name="T19" fmla="*/ 111 h 213"/>
              <a:gd name="T20" fmla="*/ 127 w 304"/>
              <a:gd name="T21" fmla="*/ 148 h 213"/>
              <a:gd name="T22" fmla="*/ 122 w 304"/>
              <a:gd name="T23" fmla="*/ 144 h 213"/>
              <a:gd name="T24" fmla="*/ 122 w 304"/>
              <a:gd name="T25" fmla="*/ 67 h 213"/>
              <a:gd name="T26" fmla="*/ 127 w 304"/>
              <a:gd name="T27" fmla="*/ 63 h 213"/>
              <a:gd name="T28" fmla="*/ 196 w 304"/>
              <a:gd name="T29" fmla="*/ 103 h 213"/>
              <a:gd name="T30" fmla="*/ 196 w 304"/>
              <a:gd name="T31" fmla="*/ 111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4" h="213">
                <a:moveTo>
                  <a:pt x="304" y="66"/>
                </a:moveTo>
                <a:cubicBezTo>
                  <a:pt x="304" y="30"/>
                  <a:pt x="274" y="0"/>
                  <a:pt x="238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30" y="0"/>
                  <a:pt x="0" y="30"/>
                  <a:pt x="0" y="6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83"/>
                  <a:pt x="30" y="213"/>
                  <a:pt x="66" y="213"/>
                </a:cubicBezTo>
                <a:cubicBezTo>
                  <a:pt x="238" y="213"/>
                  <a:pt x="238" y="213"/>
                  <a:pt x="238" y="213"/>
                </a:cubicBezTo>
                <a:cubicBezTo>
                  <a:pt x="274" y="213"/>
                  <a:pt x="304" y="183"/>
                  <a:pt x="304" y="147"/>
                </a:cubicBezTo>
                <a:lnTo>
                  <a:pt x="304" y="66"/>
                </a:lnTo>
                <a:close/>
                <a:moveTo>
                  <a:pt x="196" y="111"/>
                </a:moveTo>
                <a:cubicBezTo>
                  <a:pt x="127" y="148"/>
                  <a:pt x="127" y="148"/>
                  <a:pt x="127" y="148"/>
                </a:cubicBezTo>
                <a:cubicBezTo>
                  <a:pt x="124" y="150"/>
                  <a:pt x="122" y="148"/>
                  <a:pt x="122" y="144"/>
                </a:cubicBezTo>
                <a:cubicBezTo>
                  <a:pt x="122" y="67"/>
                  <a:pt x="122" y="67"/>
                  <a:pt x="122" y="67"/>
                </a:cubicBezTo>
                <a:cubicBezTo>
                  <a:pt x="122" y="64"/>
                  <a:pt x="124" y="62"/>
                  <a:pt x="127" y="63"/>
                </a:cubicBezTo>
                <a:cubicBezTo>
                  <a:pt x="196" y="103"/>
                  <a:pt x="196" y="103"/>
                  <a:pt x="196" y="103"/>
                </a:cubicBezTo>
                <a:cubicBezTo>
                  <a:pt x="199" y="105"/>
                  <a:pt x="199" y="109"/>
                  <a:pt x="196" y="11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1F03BC63-6EAB-9144-BDA6-31E7EA946F3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44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D7C4001B-A5D1-EE48-B16C-4E5F45A07A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2470818" y="2293018"/>
            <a:ext cx="11326858" cy="9325767"/>
          </a:xfrm>
          <a:custGeom>
            <a:avLst/>
            <a:gdLst>
              <a:gd name="T0" fmla="*/ 300 w 301"/>
              <a:gd name="T1" fmla="*/ 30 h 257"/>
              <a:gd name="T2" fmla="*/ 269 w 301"/>
              <a:gd name="T3" fmla="*/ 38 h 257"/>
              <a:gd name="T4" fmla="*/ 284 w 301"/>
              <a:gd name="T5" fmla="*/ 25 h 257"/>
              <a:gd name="T6" fmla="*/ 295 w 301"/>
              <a:gd name="T7" fmla="*/ 7 h 257"/>
              <a:gd name="T8" fmla="*/ 294 w 301"/>
              <a:gd name="T9" fmla="*/ 5 h 257"/>
              <a:gd name="T10" fmla="*/ 293 w 301"/>
              <a:gd name="T11" fmla="*/ 5 h 257"/>
              <a:gd name="T12" fmla="*/ 257 w 301"/>
              <a:gd name="T13" fmla="*/ 19 h 257"/>
              <a:gd name="T14" fmla="*/ 254 w 301"/>
              <a:gd name="T15" fmla="*/ 18 h 257"/>
              <a:gd name="T16" fmla="*/ 251 w 301"/>
              <a:gd name="T17" fmla="*/ 15 h 257"/>
              <a:gd name="T18" fmla="*/ 234 w 301"/>
              <a:gd name="T19" fmla="*/ 4 h 257"/>
              <a:gd name="T20" fmla="*/ 207 w 301"/>
              <a:gd name="T21" fmla="*/ 0 h 257"/>
              <a:gd name="T22" fmla="*/ 182 w 301"/>
              <a:gd name="T23" fmla="*/ 7 h 257"/>
              <a:gd name="T24" fmla="*/ 161 w 301"/>
              <a:gd name="T25" fmla="*/ 24 h 257"/>
              <a:gd name="T26" fmla="*/ 149 w 301"/>
              <a:gd name="T27" fmla="*/ 49 h 257"/>
              <a:gd name="T28" fmla="*/ 148 w 301"/>
              <a:gd name="T29" fmla="*/ 74 h 257"/>
              <a:gd name="T30" fmla="*/ 147 w 301"/>
              <a:gd name="T31" fmla="*/ 76 h 257"/>
              <a:gd name="T32" fmla="*/ 23 w 301"/>
              <a:gd name="T33" fmla="*/ 13 h 257"/>
              <a:gd name="T34" fmla="*/ 20 w 301"/>
              <a:gd name="T35" fmla="*/ 13 h 257"/>
              <a:gd name="T36" fmla="*/ 31 w 301"/>
              <a:gd name="T37" fmla="*/ 87 h 257"/>
              <a:gd name="T38" fmla="*/ 38 w 301"/>
              <a:gd name="T39" fmla="*/ 94 h 257"/>
              <a:gd name="T40" fmla="*/ 14 w 301"/>
              <a:gd name="T41" fmla="*/ 87 h 257"/>
              <a:gd name="T42" fmla="*/ 12 w 301"/>
              <a:gd name="T43" fmla="*/ 88 h 257"/>
              <a:gd name="T44" fmla="*/ 12 w 301"/>
              <a:gd name="T45" fmla="*/ 96 h 257"/>
              <a:gd name="T46" fmla="*/ 51 w 301"/>
              <a:gd name="T47" fmla="*/ 146 h 257"/>
              <a:gd name="T48" fmla="*/ 59 w 301"/>
              <a:gd name="T49" fmla="*/ 149 h 257"/>
              <a:gd name="T50" fmla="*/ 36 w 301"/>
              <a:gd name="T51" fmla="*/ 149 h 257"/>
              <a:gd name="T52" fmla="*/ 34 w 301"/>
              <a:gd name="T53" fmla="*/ 151 h 257"/>
              <a:gd name="T54" fmla="*/ 84 w 301"/>
              <a:gd name="T55" fmla="*/ 193 h 257"/>
              <a:gd name="T56" fmla="*/ 90 w 301"/>
              <a:gd name="T57" fmla="*/ 194 h 257"/>
              <a:gd name="T58" fmla="*/ 90 w 301"/>
              <a:gd name="T59" fmla="*/ 194 h 257"/>
              <a:gd name="T60" fmla="*/ 56 w 301"/>
              <a:gd name="T61" fmla="*/ 212 h 257"/>
              <a:gd name="T62" fmla="*/ 5 w 301"/>
              <a:gd name="T63" fmla="*/ 218 h 257"/>
              <a:gd name="T64" fmla="*/ 1 w 301"/>
              <a:gd name="T65" fmla="*/ 218 h 257"/>
              <a:gd name="T66" fmla="*/ 2 w 301"/>
              <a:gd name="T67" fmla="*/ 220 h 257"/>
              <a:gd name="T68" fmla="*/ 13 w 301"/>
              <a:gd name="T69" fmla="*/ 226 h 257"/>
              <a:gd name="T70" fmla="*/ 47 w 301"/>
              <a:gd name="T71" fmla="*/ 240 h 257"/>
              <a:gd name="T72" fmla="*/ 223 w 301"/>
              <a:gd name="T73" fmla="*/ 199 h 257"/>
              <a:gd name="T74" fmla="*/ 272 w 301"/>
              <a:gd name="T75" fmla="*/ 64 h 257"/>
              <a:gd name="T76" fmla="*/ 276 w 301"/>
              <a:gd name="T77" fmla="*/ 60 h 257"/>
              <a:gd name="T78" fmla="*/ 299 w 301"/>
              <a:gd name="T79" fmla="*/ 35 h 257"/>
              <a:gd name="T80" fmla="*/ 301 w 301"/>
              <a:gd name="T81" fmla="*/ 30 h 257"/>
              <a:gd name="T82" fmla="*/ 301 w 301"/>
              <a:gd name="T83" fmla="*/ 30 h 257"/>
              <a:gd name="T84" fmla="*/ 300 w 301"/>
              <a:gd name="T85" fmla="*/ 30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1" h="257">
                <a:moveTo>
                  <a:pt x="300" y="30"/>
                </a:moveTo>
                <a:cubicBezTo>
                  <a:pt x="290" y="34"/>
                  <a:pt x="280" y="37"/>
                  <a:pt x="269" y="38"/>
                </a:cubicBezTo>
                <a:cubicBezTo>
                  <a:pt x="274" y="38"/>
                  <a:pt x="282" y="29"/>
                  <a:pt x="284" y="25"/>
                </a:cubicBezTo>
                <a:cubicBezTo>
                  <a:pt x="289" y="20"/>
                  <a:pt x="292" y="13"/>
                  <a:pt x="295" y="7"/>
                </a:cubicBezTo>
                <a:cubicBezTo>
                  <a:pt x="295" y="6"/>
                  <a:pt x="295" y="6"/>
                  <a:pt x="294" y="5"/>
                </a:cubicBezTo>
                <a:cubicBezTo>
                  <a:pt x="294" y="5"/>
                  <a:pt x="293" y="5"/>
                  <a:pt x="293" y="5"/>
                </a:cubicBezTo>
                <a:cubicBezTo>
                  <a:pt x="281" y="11"/>
                  <a:pt x="270" y="16"/>
                  <a:pt x="257" y="19"/>
                </a:cubicBezTo>
                <a:cubicBezTo>
                  <a:pt x="256" y="19"/>
                  <a:pt x="255" y="19"/>
                  <a:pt x="254" y="18"/>
                </a:cubicBezTo>
                <a:cubicBezTo>
                  <a:pt x="253" y="17"/>
                  <a:pt x="252" y="16"/>
                  <a:pt x="251" y="15"/>
                </a:cubicBezTo>
                <a:cubicBezTo>
                  <a:pt x="246" y="11"/>
                  <a:pt x="240" y="7"/>
                  <a:pt x="234" y="4"/>
                </a:cubicBezTo>
                <a:cubicBezTo>
                  <a:pt x="225" y="1"/>
                  <a:pt x="216" y="0"/>
                  <a:pt x="207" y="0"/>
                </a:cubicBezTo>
                <a:cubicBezTo>
                  <a:pt x="198" y="1"/>
                  <a:pt x="189" y="3"/>
                  <a:pt x="182" y="7"/>
                </a:cubicBezTo>
                <a:cubicBezTo>
                  <a:pt x="174" y="11"/>
                  <a:pt x="167" y="17"/>
                  <a:pt x="161" y="24"/>
                </a:cubicBezTo>
                <a:cubicBezTo>
                  <a:pt x="155" y="31"/>
                  <a:pt x="151" y="40"/>
                  <a:pt x="149" y="49"/>
                </a:cubicBezTo>
                <a:cubicBezTo>
                  <a:pt x="147" y="57"/>
                  <a:pt x="147" y="66"/>
                  <a:pt x="148" y="74"/>
                </a:cubicBezTo>
                <a:cubicBezTo>
                  <a:pt x="148" y="76"/>
                  <a:pt x="148" y="76"/>
                  <a:pt x="147" y="76"/>
                </a:cubicBezTo>
                <a:cubicBezTo>
                  <a:pt x="98" y="69"/>
                  <a:pt x="57" y="51"/>
                  <a:pt x="23" y="13"/>
                </a:cubicBezTo>
                <a:cubicBezTo>
                  <a:pt x="22" y="11"/>
                  <a:pt x="21" y="11"/>
                  <a:pt x="20" y="13"/>
                </a:cubicBezTo>
                <a:cubicBezTo>
                  <a:pt x="5" y="35"/>
                  <a:pt x="12" y="70"/>
                  <a:pt x="31" y="87"/>
                </a:cubicBezTo>
                <a:cubicBezTo>
                  <a:pt x="33" y="89"/>
                  <a:pt x="35" y="92"/>
                  <a:pt x="38" y="94"/>
                </a:cubicBezTo>
                <a:cubicBezTo>
                  <a:pt x="37" y="94"/>
                  <a:pt x="25" y="93"/>
                  <a:pt x="14" y="87"/>
                </a:cubicBezTo>
                <a:cubicBezTo>
                  <a:pt x="13" y="86"/>
                  <a:pt x="12" y="87"/>
                  <a:pt x="12" y="88"/>
                </a:cubicBezTo>
                <a:cubicBezTo>
                  <a:pt x="12" y="91"/>
                  <a:pt x="12" y="93"/>
                  <a:pt x="12" y="96"/>
                </a:cubicBezTo>
                <a:cubicBezTo>
                  <a:pt x="15" y="118"/>
                  <a:pt x="30" y="138"/>
                  <a:pt x="51" y="146"/>
                </a:cubicBezTo>
                <a:cubicBezTo>
                  <a:pt x="54" y="147"/>
                  <a:pt x="57" y="148"/>
                  <a:pt x="59" y="149"/>
                </a:cubicBezTo>
                <a:cubicBezTo>
                  <a:pt x="55" y="150"/>
                  <a:pt x="50" y="150"/>
                  <a:pt x="36" y="149"/>
                </a:cubicBezTo>
                <a:cubicBezTo>
                  <a:pt x="34" y="149"/>
                  <a:pt x="34" y="150"/>
                  <a:pt x="34" y="151"/>
                </a:cubicBezTo>
                <a:cubicBezTo>
                  <a:pt x="45" y="180"/>
                  <a:pt x="67" y="188"/>
                  <a:pt x="84" y="193"/>
                </a:cubicBezTo>
                <a:cubicBezTo>
                  <a:pt x="86" y="193"/>
                  <a:pt x="88" y="193"/>
                  <a:pt x="90" y="194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84" y="202"/>
                  <a:pt x="65" y="209"/>
                  <a:pt x="56" y="212"/>
                </a:cubicBezTo>
                <a:cubicBezTo>
                  <a:pt x="40" y="217"/>
                  <a:pt x="22" y="220"/>
                  <a:pt x="5" y="218"/>
                </a:cubicBezTo>
                <a:cubicBezTo>
                  <a:pt x="2" y="218"/>
                  <a:pt x="2" y="218"/>
                  <a:pt x="1" y="218"/>
                </a:cubicBezTo>
                <a:cubicBezTo>
                  <a:pt x="0" y="219"/>
                  <a:pt x="1" y="219"/>
                  <a:pt x="2" y="220"/>
                </a:cubicBezTo>
                <a:cubicBezTo>
                  <a:pt x="5" y="222"/>
                  <a:pt x="9" y="224"/>
                  <a:pt x="13" y="226"/>
                </a:cubicBezTo>
                <a:cubicBezTo>
                  <a:pt x="23" y="232"/>
                  <a:pt x="35" y="237"/>
                  <a:pt x="47" y="240"/>
                </a:cubicBezTo>
                <a:cubicBezTo>
                  <a:pt x="108" y="257"/>
                  <a:pt x="177" y="245"/>
                  <a:pt x="223" y="199"/>
                </a:cubicBezTo>
                <a:cubicBezTo>
                  <a:pt x="259" y="163"/>
                  <a:pt x="272" y="113"/>
                  <a:pt x="272" y="64"/>
                </a:cubicBezTo>
                <a:cubicBezTo>
                  <a:pt x="272" y="62"/>
                  <a:pt x="274" y="61"/>
                  <a:pt x="276" y="60"/>
                </a:cubicBezTo>
                <a:cubicBezTo>
                  <a:pt x="285" y="53"/>
                  <a:pt x="292" y="44"/>
                  <a:pt x="299" y="35"/>
                </a:cubicBezTo>
                <a:cubicBezTo>
                  <a:pt x="301" y="33"/>
                  <a:pt x="301" y="31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301" y="29"/>
                  <a:pt x="301" y="29"/>
                  <a:pt x="300" y="3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DC10E33-E113-E74F-AC2B-297F34A542E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509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Freeform 24">
            <a:extLst>
              <a:ext uri="{FF2B5EF4-FFF2-40B4-BE49-F238E27FC236}">
                <a16:creationId xmlns:a16="http://schemas.microsoft.com/office/drawing/2014/main" id="{40C85FC2-40BA-7E46-A2F5-EBB5E6A55E6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1545515" y="3258394"/>
            <a:ext cx="12025199" cy="7439233"/>
          </a:xfrm>
          <a:custGeom>
            <a:avLst/>
            <a:gdLst>
              <a:gd name="T0" fmla="*/ 448 w 459"/>
              <a:gd name="T1" fmla="*/ 25 h 266"/>
              <a:gd name="T2" fmla="*/ 400 w 459"/>
              <a:gd name="T3" fmla="*/ 20 h 266"/>
              <a:gd name="T4" fmla="*/ 353 w 459"/>
              <a:gd name="T5" fmla="*/ 23 h 266"/>
              <a:gd name="T6" fmla="*/ 324 w 459"/>
              <a:gd name="T7" fmla="*/ 75 h 266"/>
              <a:gd name="T8" fmla="*/ 279 w 459"/>
              <a:gd name="T9" fmla="*/ 131 h 266"/>
              <a:gd name="T10" fmla="*/ 268 w 459"/>
              <a:gd name="T11" fmla="*/ 49 h 266"/>
              <a:gd name="T12" fmla="*/ 261 w 459"/>
              <a:gd name="T13" fmla="*/ 16 h 266"/>
              <a:gd name="T14" fmla="*/ 231 w 459"/>
              <a:gd name="T15" fmla="*/ 5 h 266"/>
              <a:gd name="T16" fmla="*/ 154 w 459"/>
              <a:gd name="T17" fmla="*/ 29 h 266"/>
              <a:gd name="T18" fmla="*/ 181 w 459"/>
              <a:gd name="T19" fmla="*/ 116 h 266"/>
              <a:gd name="T20" fmla="*/ 139 w 459"/>
              <a:gd name="T21" fmla="*/ 108 h 266"/>
              <a:gd name="T22" fmla="*/ 91 w 459"/>
              <a:gd name="T23" fmla="*/ 20 h 266"/>
              <a:gd name="T24" fmla="*/ 11 w 459"/>
              <a:gd name="T25" fmla="*/ 25 h 266"/>
              <a:gd name="T26" fmla="*/ 70 w 459"/>
              <a:gd name="T27" fmla="*/ 151 h 266"/>
              <a:gd name="T28" fmla="*/ 209 w 459"/>
              <a:gd name="T29" fmla="*/ 262 h 266"/>
              <a:gd name="T30" fmla="*/ 263 w 459"/>
              <a:gd name="T31" fmla="*/ 260 h 266"/>
              <a:gd name="T32" fmla="*/ 285 w 459"/>
              <a:gd name="T33" fmla="*/ 203 h 266"/>
              <a:gd name="T34" fmla="*/ 350 w 459"/>
              <a:gd name="T35" fmla="*/ 260 h 266"/>
              <a:gd name="T36" fmla="*/ 400 w 459"/>
              <a:gd name="T37" fmla="*/ 264 h 266"/>
              <a:gd name="T38" fmla="*/ 450 w 459"/>
              <a:gd name="T39" fmla="*/ 251 h 266"/>
              <a:gd name="T40" fmla="*/ 381 w 459"/>
              <a:gd name="T41" fmla="*/ 153 h 266"/>
              <a:gd name="T42" fmla="*/ 422 w 459"/>
              <a:gd name="T43" fmla="*/ 90 h 266"/>
              <a:gd name="T44" fmla="*/ 448 w 459"/>
              <a:gd name="T45" fmla="*/ 25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59" h="266">
                <a:moveTo>
                  <a:pt x="448" y="25"/>
                </a:moveTo>
                <a:cubicBezTo>
                  <a:pt x="443" y="20"/>
                  <a:pt x="422" y="20"/>
                  <a:pt x="400" y="20"/>
                </a:cubicBezTo>
                <a:cubicBezTo>
                  <a:pt x="379" y="21"/>
                  <a:pt x="357" y="21"/>
                  <a:pt x="353" y="23"/>
                </a:cubicBezTo>
                <a:cubicBezTo>
                  <a:pt x="348" y="24"/>
                  <a:pt x="338" y="49"/>
                  <a:pt x="324" y="75"/>
                </a:cubicBezTo>
                <a:cubicBezTo>
                  <a:pt x="309" y="104"/>
                  <a:pt x="290" y="132"/>
                  <a:pt x="279" y="131"/>
                </a:cubicBezTo>
                <a:cubicBezTo>
                  <a:pt x="263" y="131"/>
                  <a:pt x="267" y="84"/>
                  <a:pt x="268" y="49"/>
                </a:cubicBezTo>
                <a:cubicBezTo>
                  <a:pt x="268" y="26"/>
                  <a:pt x="264" y="18"/>
                  <a:pt x="261" y="16"/>
                </a:cubicBezTo>
                <a:cubicBezTo>
                  <a:pt x="253" y="11"/>
                  <a:pt x="231" y="5"/>
                  <a:pt x="231" y="5"/>
                </a:cubicBezTo>
                <a:cubicBezTo>
                  <a:pt x="231" y="5"/>
                  <a:pt x="164" y="0"/>
                  <a:pt x="154" y="29"/>
                </a:cubicBezTo>
                <a:cubicBezTo>
                  <a:pt x="167" y="31"/>
                  <a:pt x="189" y="27"/>
                  <a:pt x="181" y="116"/>
                </a:cubicBezTo>
                <a:cubicBezTo>
                  <a:pt x="180" y="121"/>
                  <a:pt x="170" y="157"/>
                  <a:pt x="139" y="108"/>
                </a:cubicBezTo>
                <a:cubicBezTo>
                  <a:pt x="132" y="95"/>
                  <a:pt x="102" y="21"/>
                  <a:pt x="91" y="20"/>
                </a:cubicBezTo>
                <a:cubicBezTo>
                  <a:pt x="57" y="19"/>
                  <a:pt x="23" y="18"/>
                  <a:pt x="11" y="25"/>
                </a:cubicBezTo>
                <a:cubicBezTo>
                  <a:pt x="0" y="31"/>
                  <a:pt x="26" y="82"/>
                  <a:pt x="70" y="151"/>
                </a:cubicBezTo>
                <a:cubicBezTo>
                  <a:pt x="105" y="207"/>
                  <a:pt x="143" y="251"/>
                  <a:pt x="209" y="262"/>
                </a:cubicBezTo>
                <a:cubicBezTo>
                  <a:pt x="221" y="263"/>
                  <a:pt x="253" y="265"/>
                  <a:pt x="263" y="260"/>
                </a:cubicBezTo>
                <a:cubicBezTo>
                  <a:pt x="270" y="257"/>
                  <a:pt x="262" y="208"/>
                  <a:pt x="285" y="203"/>
                </a:cubicBezTo>
                <a:cubicBezTo>
                  <a:pt x="296" y="201"/>
                  <a:pt x="335" y="254"/>
                  <a:pt x="350" y="260"/>
                </a:cubicBezTo>
                <a:cubicBezTo>
                  <a:pt x="360" y="264"/>
                  <a:pt x="380" y="265"/>
                  <a:pt x="400" y="264"/>
                </a:cubicBezTo>
                <a:cubicBezTo>
                  <a:pt x="423" y="264"/>
                  <a:pt x="448" y="266"/>
                  <a:pt x="450" y="251"/>
                </a:cubicBezTo>
                <a:cubicBezTo>
                  <a:pt x="456" y="218"/>
                  <a:pt x="383" y="174"/>
                  <a:pt x="381" y="153"/>
                </a:cubicBezTo>
                <a:cubicBezTo>
                  <a:pt x="379" y="138"/>
                  <a:pt x="408" y="111"/>
                  <a:pt x="422" y="90"/>
                </a:cubicBezTo>
                <a:cubicBezTo>
                  <a:pt x="440" y="65"/>
                  <a:pt x="459" y="34"/>
                  <a:pt x="448" y="2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14492" indent="-914492" defTabSz="2438645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ru-RU" sz="9600" b="1">
              <a:solidFill>
                <a:schemeClr val="lt1"/>
              </a:solidFill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856EDD07-83E8-2B41-B45B-A75A3152557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94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Рисунок 8">
            <a:extLst>
              <a:ext uri="{FF2B5EF4-FFF2-40B4-BE49-F238E27FC236}">
                <a16:creationId xmlns:a16="http://schemas.microsoft.com/office/drawing/2014/main" id="{2242636F-690F-2D4C-8A8A-38C9851AE2F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350717" y="1458194"/>
            <a:ext cx="10932102" cy="10891477"/>
          </a:xfrm>
          <a:custGeom>
            <a:avLst/>
            <a:gdLst>
              <a:gd name="connsiteX0" fmla="*/ 5256584 w 10513168"/>
              <a:gd name="connsiteY0" fmla="*/ 3636404 h 10513168"/>
              <a:gd name="connsiteX1" fmla="*/ 3636404 w 10513168"/>
              <a:gd name="connsiteY1" fmla="*/ 5256584 h 10513168"/>
              <a:gd name="connsiteX2" fmla="*/ 5256584 w 10513168"/>
              <a:gd name="connsiteY2" fmla="*/ 6876764 h 10513168"/>
              <a:gd name="connsiteX3" fmla="*/ 6876764 w 10513168"/>
              <a:gd name="connsiteY3" fmla="*/ 5256584 h 10513168"/>
              <a:gd name="connsiteX4" fmla="*/ 5256584 w 10513168"/>
              <a:gd name="connsiteY4" fmla="*/ 3636404 h 10513168"/>
              <a:gd name="connsiteX5" fmla="*/ 5256584 w 10513168"/>
              <a:gd name="connsiteY5" fmla="*/ 2664296 h 10513168"/>
              <a:gd name="connsiteX6" fmla="*/ 7848872 w 10513168"/>
              <a:gd name="connsiteY6" fmla="*/ 5256584 h 10513168"/>
              <a:gd name="connsiteX7" fmla="*/ 5256584 w 10513168"/>
              <a:gd name="connsiteY7" fmla="*/ 7848872 h 10513168"/>
              <a:gd name="connsiteX8" fmla="*/ 2664296 w 10513168"/>
              <a:gd name="connsiteY8" fmla="*/ 5256584 h 10513168"/>
              <a:gd name="connsiteX9" fmla="*/ 5256584 w 10513168"/>
              <a:gd name="connsiteY9" fmla="*/ 2664296 h 10513168"/>
              <a:gd name="connsiteX10" fmla="*/ 7848872 w 10513168"/>
              <a:gd name="connsiteY10" fmla="*/ 1908212 h 10513168"/>
              <a:gd name="connsiteX11" fmla="*/ 8460940 w 10513168"/>
              <a:gd name="connsiteY11" fmla="*/ 2520280 h 10513168"/>
              <a:gd name="connsiteX12" fmla="*/ 7848872 w 10513168"/>
              <a:gd name="connsiteY12" fmla="*/ 3132348 h 10513168"/>
              <a:gd name="connsiteX13" fmla="*/ 7236804 w 10513168"/>
              <a:gd name="connsiteY13" fmla="*/ 2520280 h 10513168"/>
              <a:gd name="connsiteX14" fmla="*/ 7848872 w 10513168"/>
              <a:gd name="connsiteY14" fmla="*/ 1908212 h 10513168"/>
              <a:gd name="connsiteX15" fmla="*/ 3103844 w 10513168"/>
              <a:gd name="connsiteY15" fmla="*/ 1044116 h 10513168"/>
              <a:gd name="connsiteX16" fmla="*/ 1044116 w 10513168"/>
              <a:gd name="connsiteY16" fmla="*/ 3103844 h 10513168"/>
              <a:gd name="connsiteX17" fmla="*/ 1044116 w 10513168"/>
              <a:gd name="connsiteY17" fmla="*/ 7409324 h 10513168"/>
              <a:gd name="connsiteX18" fmla="*/ 3103844 w 10513168"/>
              <a:gd name="connsiteY18" fmla="*/ 9469052 h 10513168"/>
              <a:gd name="connsiteX19" fmla="*/ 7409324 w 10513168"/>
              <a:gd name="connsiteY19" fmla="*/ 9469052 h 10513168"/>
              <a:gd name="connsiteX20" fmla="*/ 9469052 w 10513168"/>
              <a:gd name="connsiteY20" fmla="*/ 7409324 h 10513168"/>
              <a:gd name="connsiteX21" fmla="*/ 9469052 w 10513168"/>
              <a:gd name="connsiteY21" fmla="*/ 3103844 h 10513168"/>
              <a:gd name="connsiteX22" fmla="*/ 7409324 w 10513168"/>
              <a:gd name="connsiteY22" fmla="*/ 1044116 h 10513168"/>
              <a:gd name="connsiteX23" fmla="*/ 2916036 w 10513168"/>
              <a:gd name="connsiteY23" fmla="*/ 0 h 10513168"/>
              <a:gd name="connsiteX24" fmla="*/ 7597130 w 10513168"/>
              <a:gd name="connsiteY24" fmla="*/ 0 h 10513168"/>
              <a:gd name="connsiteX25" fmla="*/ 10513168 w 10513168"/>
              <a:gd name="connsiteY25" fmla="*/ 2916037 h 10513168"/>
              <a:gd name="connsiteX26" fmla="*/ 10513168 w 10513168"/>
              <a:gd name="connsiteY26" fmla="*/ 7597131 h 10513168"/>
              <a:gd name="connsiteX27" fmla="*/ 7597130 w 10513168"/>
              <a:gd name="connsiteY27" fmla="*/ 10513168 h 10513168"/>
              <a:gd name="connsiteX28" fmla="*/ 2916036 w 10513168"/>
              <a:gd name="connsiteY28" fmla="*/ 10513168 h 10513168"/>
              <a:gd name="connsiteX29" fmla="*/ 0 w 10513168"/>
              <a:gd name="connsiteY29" fmla="*/ 7597131 h 10513168"/>
              <a:gd name="connsiteX30" fmla="*/ 0 w 10513168"/>
              <a:gd name="connsiteY30" fmla="*/ 2916037 h 10513168"/>
              <a:gd name="connsiteX31" fmla="*/ 2916036 w 10513168"/>
              <a:gd name="connsiteY31" fmla="*/ 0 h 10513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513168" h="10513168">
                <a:moveTo>
                  <a:pt x="5256584" y="3636404"/>
                </a:moveTo>
                <a:cubicBezTo>
                  <a:pt x="4361784" y="3636404"/>
                  <a:pt x="3636404" y="4361783"/>
                  <a:pt x="3636404" y="5256584"/>
                </a:cubicBezTo>
                <a:cubicBezTo>
                  <a:pt x="3636404" y="6151385"/>
                  <a:pt x="4361784" y="6876764"/>
                  <a:pt x="5256584" y="6876764"/>
                </a:cubicBezTo>
                <a:cubicBezTo>
                  <a:pt x="6151384" y="6876764"/>
                  <a:pt x="6876764" y="6151385"/>
                  <a:pt x="6876764" y="5256584"/>
                </a:cubicBezTo>
                <a:cubicBezTo>
                  <a:pt x="6876764" y="4361783"/>
                  <a:pt x="6151384" y="3636404"/>
                  <a:pt x="5256584" y="3636404"/>
                </a:cubicBezTo>
                <a:close/>
                <a:moveTo>
                  <a:pt x="5256584" y="2664296"/>
                </a:moveTo>
                <a:cubicBezTo>
                  <a:pt x="6688264" y="2664296"/>
                  <a:pt x="7848872" y="3824903"/>
                  <a:pt x="7848872" y="5256584"/>
                </a:cubicBezTo>
                <a:cubicBezTo>
                  <a:pt x="7848872" y="6688265"/>
                  <a:pt x="6688264" y="7848872"/>
                  <a:pt x="5256584" y="7848872"/>
                </a:cubicBezTo>
                <a:cubicBezTo>
                  <a:pt x="3824904" y="7848872"/>
                  <a:pt x="2664296" y="6688265"/>
                  <a:pt x="2664296" y="5256584"/>
                </a:cubicBezTo>
                <a:cubicBezTo>
                  <a:pt x="2664296" y="3824903"/>
                  <a:pt x="3824904" y="2664296"/>
                  <a:pt x="5256584" y="2664296"/>
                </a:cubicBezTo>
                <a:close/>
                <a:moveTo>
                  <a:pt x="7848872" y="1908212"/>
                </a:moveTo>
                <a:cubicBezTo>
                  <a:pt x="8186908" y="1908212"/>
                  <a:pt x="8460940" y="2182244"/>
                  <a:pt x="8460940" y="2520280"/>
                </a:cubicBezTo>
                <a:cubicBezTo>
                  <a:pt x="8460940" y="2858316"/>
                  <a:pt x="8186908" y="3132348"/>
                  <a:pt x="7848872" y="3132348"/>
                </a:cubicBezTo>
                <a:cubicBezTo>
                  <a:pt x="7510836" y="3132348"/>
                  <a:pt x="7236804" y="2858316"/>
                  <a:pt x="7236804" y="2520280"/>
                </a:cubicBezTo>
                <a:cubicBezTo>
                  <a:pt x="7236804" y="2182244"/>
                  <a:pt x="7510836" y="1908212"/>
                  <a:pt x="7848872" y="1908212"/>
                </a:cubicBezTo>
                <a:close/>
                <a:moveTo>
                  <a:pt x="3103844" y="1044116"/>
                </a:moveTo>
                <a:cubicBezTo>
                  <a:pt x="1966288" y="1044116"/>
                  <a:pt x="1044116" y="1966288"/>
                  <a:pt x="1044116" y="3103844"/>
                </a:cubicBezTo>
                <a:lnTo>
                  <a:pt x="1044116" y="7409324"/>
                </a:lnTo>
                <a:cubicBezTo>
                  <a:pt x="1044116" y="8546880"/>
                  <a:pt x="1966288" y="9469052"/>
                  <a:pt x="3103844" y="9469052"/>
                </a:cubicBezTo>
                <a:lnTo>
                  <a:pt x="7409324" y="9469052"/>
                </a:lnTo>
                <a:cubicBezTo>
                  <a:pt x="8546880" y="9469052"/>
                  <a:pt x="9469052" y="8546880"/>
                  <a:pt x="9469052" y="7409324"/>
                </a:cubicBezTo>
                <a:lnTo>
                  <a:pt x="9469052" y="3103844"/>
                </a:lnTo>
                <a:cubicBezTo>
                  <a:pt x="9469052" y="1966288"/>
                  <a:pt x="8546880" y="1044116"/>
                  <a:pt x="7409324" y="1044116"/>
                </a:cubicBezTo>
                <a:close/>
                <a:moveTo>
                  <a:pt x="2916036" y="0"/>
                </a:moveTo>
                <a:lnTo>
                  <a:pt x="7597130" y="0"/>
                </a:lnTo>
                <a:cubicBezTo>
                  <a:pt x="9207612" y="0"/>
                  <a:pt x="10513168" y="1305554"/>
                  <a:pt x="10513168" y="2916037"/>
                </a:cubicBezTo>
                <a:lnTo>
                  <a:pt x="10513168" y="7597131"/>
                </a:lnTo>
                <a:cubicBezTo>
                  <a:pt x="10513168" y="9207614"/>
                  <a:pt x="9207612" y="10513168"/>
                  <a:pt x="7597130" y="10513168"/>
                </a:cubicBezTo>
                <a:lnTo>
                  <a:pt x="2916036" y="10513168"/>
                </a:lnTo>
                <a:cubicBezTo>
                  <a:pt x="1305552" y="10513168"/>
                  <a:pt x="0" y="9207614"/>
                  <a:pt x="0" y="7597131"/>
                </a:cubicBezTo>
                <a:lnTo>
                  <a:pt x="0" y="2916037"/>
                </a:lnTo>
                <a:cubicBezTo>
                  <a:pt x="0" y="1305554"/>
                  <a:pt x="1305552" y="0"/>
                  <a:pt x="2916036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F0D45ADD-F565-014B-A6DD-1728FBE30A2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560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1602210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Freeform 22">
            <a:extLst>
              <a:ext uri="{FF2B5EF4-FFF2-40B4-BE49-F238E27FC236}">
                <a16:creationId xmlns:a16="http://schemas.microsoft.com/office/drawing/2014/main" id="{2A2EB8E7-FF77-8746-8524-2E8F7CDCDF1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auto">
          <a:xfrm>
            <a:off x="13129691" y="937096"/>
            <a:ext cx="9721080" cy="12042378"/>
          </a:xfrm>
          <a:custGeom>
            <a:avLst/>
            <a:gdLst>
              <a:gd name="T0" fmla="*/ 171 w 323"/>
              <a:gd name="T1" fmla="*/ 0 h 404"/>
              <a:gd name="T2" fmla="*/ 0 w 323"/>
              <a:gd name="T3" fmla="*/ 145 h 404"/>
              <a:gd name="T4" fmla="*/ 5 w 323"/>
              <a:gd name="T5" fmla="*/ 179 h 404"/>
              <a:gd name="T6" fmla="*/ 49 w 323"/>
              <a:gd name="T7" fmla="*/ 233 h 404"/>
              <a:gd name="T8" fmla="*/ 61 w 323"/>
              <a:gd name="T9" fmla="*/ 227 h 404"/>
              <a:gd name="T10" fmla="*/ 66 w 323"/>
              <a:gd name="T11" fmla="*/ 209 h 404"/>
              <a:gd name="T12" fmla="*/ 63 w 323"/>
              <a:gd name="T13" fmla="*/ 196 h 404"/>
              <a:gd name="T14" fmla="*/ 50 w 323"/>
              <a:gd name="T15" fmla="*/ 172 h 404"/>
              <a:gd name="T16" fmla="*/ 47 w 323"/>
              <a:gd name="T17" fmla="*/ 151 h 404"/>
              <a:gd name="T18" fmla="*/ 165 w 323"/>
              <a:gd name="T19" fmla="*/ 40 h 404"/>
              <a:gd name="T20" fmla="*/ 264 w 323"/>
              <a:gd name="T21" fmla="*/ 128 h 404"/>
              <a:gd name="T22" fmla="*/ 260 w 323"/>
              <a:gd name="T23" fmla="*/ 171 h 404"/>
              <a:gd name="T24" fmla="*/ 188 w 323"/>
              <a:gd name="T25" fmla="*/ 251 h 404"/>
              <a:gd name="T26" fmla="*/ 151 w 323"/>
              <a:gd name="T27" fmla="*/ 207 h 404"/>
              <a:gd name="T28" fmla="*/ 163 w 323"/>
              <a:gd name="T29" fmla="*/ 165 h 404"/>
              <a:gd name="T30" fmla="*/ 172 w 323"/>
              <a:gd name="T31" fmla="*/ 125 h 404"/>
              <a:gd name="T32" fmla="*/ 140 w 323"/>
              <a:gd name="T33" fmla="*/ 90 h 404"/>
              <a:gd name="T34" fmla="*/ 93 w 323"/>
              <a:gd name="T35" fmla="*/ 150 h 404"/>
              <a:gd name="T36" fmla="*/ 95 w 323"/>
              <a:gd name="T37" fmla="*/ 167 h 404"/>
              <a:gd name="T38" fmla="*/ 101 w 323"/>
              <a:gd name="T39" fmla="*/ 187 h 404"/>
              <a:gd name="T40" fmla="*/ 70 w 323"/>
              <a:gd name="T41" fmla="*/ 313 h 404"/>
              <a:gd name="T42" fmla="*/ 69 w 323"/>
              <a:gd name="T43" fmla="*/ 401 h 404"/>
              <a:gd name="T44" fmla="*/ 75 w 323"/>
              <a:gd name="T45" fmla="*/ 402 h 404"/>
              <a:gd name="T46" fmla="*/ 118 w 323"/>
              <a:gd name="T47" fmla="*/ 326 h 404"/>
              <a:gd name="T48" fmla="*/ 135 w 323"/>
              <a:gd name="T49" fmla="*/ 263 h 404"/>
              <a:gd name="T50" fmla="*/ 194 w 323"/>
              <a:gd name="T51" fmla="*/ 291 h 404"/>
              <a:gd name="T52" fmla="*/ 318 w 323"/>
              <a:gd name="T53" fmla="*/ 181 h 404"/>
              <a:gd name="T54" fmla="*/ 323 w 323"/>
              <a:gd name="T55" fmla="*/ 133 h 404"/>
              <a:gd name="T56" fmla="*/ 171 w 323"/>
              <a:gd name="T57" fmla="*/ 0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23" h="404">
                <a:moveTo>
                  <a:pt x="171" y="0"/>
                </a:moveTo>
                <a:cubicBezTo>
                  <a:pt x="58" y="0"/>
                  <a:pt x="0" y="79"/>
                  <a:pt x="0" y="145"/>
                </a:cubicBezTo>
                <a:cubicBezTo>
                  <a:pt x="0" y="157"/>
                  <a:pt x="2" y="169"/>
                  <a:pt x="5" y="179"/>
                </a:cubicBezTo>
                <a:cubicBezTo>
                  <a:pt x="11" y="204"/>
                  <a:pt x="26" y="224"/>
                  <a:pt x="49" y="233"/>
                </a:cubicBezTo>
                <a:cubicBezTo>
                  <a:pt x="55" y="235"/>
                  <a:pt x="60" y="233"/>
                  <a:pt x="61" y="227"/>
                </a:cubicBezTo>
                <a:cubicBezTo>
                  <a:pt x="62" y="223"/>
                  <a:pt x="65" y="213"/>
                  <a:pt x="66" y="209"/>
                </a:cubicBezTo>
                <a:cubicBezTo>
                  <a:pt x="68" y="203"/>
                  <a:pt x="67" y="201"/>
                  <a:pt x="63" y="196"/>
                </a:cubicBezTo>
                <a:cubicBezTo>
                  <a:pt x="57" y="189"/>
                  <a:pt x="52" y="182"/>
                  <a:pt x="50" y="172"/>
                </a:cubicBezTo>
                <a:cubicBezTo>
                  <a:pt x="48" y="166"/>
                  <a:pt x="47" y="159"/>
                  <a:pt x="47" y="151"/>
                </a:cubicBezTo>
                <a:cubicBezTo>
                  <a:pt x="47" y="92"/>
                  <a:pt x="92" y="40"/>
                  <a:pt x="165" y="40"/>
                </a:cubicBezTo>
                <a:cubicBezTo>
                  <a:pt x="229" y="40"/>
                  <a:pt x="264" y="78"/>
                  <a:pt x="264" y="128"/>
                </a:cubicBezTo>
                <a:cubicBezTo>
                  <a:pt x="264" y="143"/>
                  <a:pt x="263" y="158"/>
                  <a:pt x="260" y="171"/>
                </a:cubicBezTo>
                <a:cubicBezTo>
                  <a:pt x="250" y="218"/>
                  <a:pt x="224" y="251"/>
                  <a:pt x="188" y="251"/>
                </a:cubicBezTo>
                <a:cubicBezTo>
                  <a:pt x="163" y="251"/>
                  <a:pt x="145" y="231"/>
                  <a:pt x="151" y="207"/>
                </a:cubicBezTo>
                <a:cubicBezTo>
                  <a:pt x="154" y="193"/>
                  <a:pt x="159" y="178"/>
                  <a:pt x="163" y="165"/>
                </a:cubicBezTo>
                <a:cubicBezTo>
                  <a:pt x="168" y="150"/>
                  <a:pt x="172" y="136"/>
                  <a:pt x="172" y="125"/>
                </a:cubicBezTo>
                <a:cubicBezTo>
                  <a:pt x="172" y="106"/>
                  <a:pt x="161" y="90"/>
                  <a:pt x="140" y="90"/>
                </a:cubicBezTo>
                <a:cubicBezTo>
                  <a:pt x="114" y="90"/>
                  <a:pt x="93" y="116"/>
                  <a:pt x="93" y="150"/>
                </a:cubicBezTo>
                <a:cubicBezTo>
                  <a:pt x="93" y="156"/>
                  <a:pt x="94" y="162"/>
                  <a:pt x="95" y="167"/>
                </a:cubicBezTo>
                <a:cubicBezTo>
                  <a:pt x="97" y="179"/>
                  <a:pt x="101" y="187"/>
                  <a:pt x="101" y="187"/>
                </a:cubicBezTo>
                <a:cubicBezTo>
                  <a:pt x="101" y="187"/>
                  <a:pt x="75" y="294"/>
                  <a:pt x="70" y="313"/>
                </a:cubicBezTo>
                <a:cubicBezTo>
                  <a:pt x="61" y="350"/>
                  <a:pt x="69" y="396"/>
                  <a:pt x="69" y="401"/>
                </a:cubicBezTo>
                <a:cubicBezTo>
                  <a:pt x="70" y="403"/>
                  <a:pt x="74" y="404"/>
                  <a:pt x="75" y="402"/>
                </a:cubicBezTo>
                <a:cubicBezTo>
                  <a:pt x="78" y="399"/>
                  <a:pt x="108" y="363"/>
                  <a:pt x="118" y="326"/>
                </a:cubicBezTo>
                <a:cubicBezTo>
                  <a:pt x="121" y="316"/>
                  <a:pt x="135" y="263"/>
                  <a:pt x="135" y="263"/>
                </a:cubicBezTo>
                <a:cubicBezTo>
                  <a:pt x="144" y="278"/>
                  <a:pt x="168" y="291"/>
                  <a:pt x="194" y="291"/>
                </a:cubicBezTo>
                <a:cubicBezTo>
                  <a:pt x="256" y="291"/>
                  <a:pt x="303" y="246"/>
                  <a:pt x="318" y="181"/>
                </a:cubicBezTo>
                <a:cubicBezTo>
                  <a:pt x="321" y="166"/>
                  <a:pt x="323" y="150"/>
                  <a:pt x="323" y="133"/>
                </a:cubicBezTo>
                <a:cubicBezTo>
                  <a:pt x="323" y="64"/>
                  <a:pt x="263" y="0"/>
                  <a:pt x="171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B71DA418-0416-6E4C-A6FC-1E235EDE36C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37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5">
            <a:extLst>
              <a:ext uri="{FF2B5EF4-FFF2-40B4-BE49-F238E27FC236}">
                <a16:creationId xmlns:a16="http://schemas.microsoft.com/office/drawing/2014/main" id="{BF2B1F7D-565C-5E4F-85B7-AA2C878038A8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auto">
          <a:xfrm>
            <a:off x="0" y="1911089"/>
            <a:ext cx="6792987" cy="11806499"/>
          </a:xfrm>
          <a:custGeom>
            <a:avLst/>
            <a:gdLst>
              <a:gd name="T0" fmla="*/ 0 w 3210"/>
              <a:gd name="T1" fmla="*/ 1099 h 5565"/>
              <a:gd name="T2" fmla="*/ 0 w 3210"/>
              <a:gd name="T3" fmla="*/ 2287 h 5565"/>
              <a:gd name="T4" fmla="*/ 1746 w 3210"/>
              <a:gd name="T5" fmla="*/ 1747 h 5565"/>
              <a:gd name="T6" fmla="*/ 1746 w 3210"/>
              <a:gd name="T7" fmla="*/ 5565 h 5565"/>
              <a:gd name="T8" fmla="*/ 3210 w 3210"/>
              <a:gd name="T9" fmla="*/ 5565 h 5565"/>
              <a:gd name="T10" fmla="*/ 3210 w 3210"/>
              <a:gd name="T11" fmla="*/ 0 h 5565"/>
              <a:gd name="T12" fmla="*/ 3054 w 3210"/>
              <a:gd name="T13" fmla="*/ 0 h 5565"/>
              <a:gd name="T14" fmla="*/ 0 w 3210"/>
              <a:gd name="T15" fmla="*/ 1099 h 5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10" h="5565">
                <a:moveTo>
                  <a:pt x="0" y="1099"/>
                </a:moveTo>
                <a:lnTo>
                  <a:pt x="0" y="2287"/>
                </a:lnTo>
                <a:lnTo>
                  <a:pt x="1746" y="1747"/>
                </a:lnTo>
                <a:lnTo>
                  <a:pt x="1746" y="5565"/>
                </a:lnTo>
                <a:lnTo>
                  <a:pt x="3210" y="5565"/>
                </a:lnTo>
                <a:lnTo>
                  <a:pt x="3210" y="0"/>
                </a:lnTo>
                <a:lnTo>
                  <a:pt x="3054" y="0"/>
                </a:lnTo>
                <a:lnTo>
                  <a:pt x="0" y="109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sz="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35C0CC87-2282-5049-A6F5-8F16C778D43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183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">
            <a:extLst>
              <a:ext uri="{FF2B5EF4-FFF2-40B4-BE49-F238E27FC236}">
                <a16:creationId xmlns:a16="http://schemas.microsoft.com/office/drawing/2014/main" id="{EA083E1C-F261-9849-BD41-8A706A956394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 bwMode="auto">
          <a:xfrm>
            <a:off x="0" y="1742612"/>
            <a:ext cx="10537403" cy="11950514"/>
          </a:xfrm>
          <a:custGeom>
            <a:avLst/>
            <a:gdLst>
              <a:gd name="T0" fmla="*/ 722 w 827"/>
              <a:gd name="T1" fmla="*/ 91 h 942"/>
              <a:gd name="T2" fmla="*/ 427 w 827"/>
              <a:gd name="T3" fmla="*/ 0 h 942"/>
              <a:gd name="T4" fmla="*/ 205 w 827"/>
              <a:gd name="T5" fmla="*/ 53 h 942"/>
              <a:gd name="T6" fmla="*/ 53 w 827"/>
              <a:gd name="T7" fmla="*/ 199 h 942"/>
              <a:gd name="T8" fmla="*/ 0 w 827"/>
              <a:gd name="T9" fmla="*/ 404 h 942"/>
              <a:gd name="T10" fmla="*/ 245 w 827"/>
              <a:gd name="T11" fmla="*/ 404 h 942"/>
              <a:gd name="T12" fmla="*/ 292 w 827"/>
              <a:gd name="T13" fmla="*/ 253 h 942"/>
              <a:gd name="T14" fmla="*/ 423 w 827"/>
              <a:gd name="T15" fmla="*/ 196 h 942"/>
              <a:gd name="T16" fmla="*/ 541 w 827"/>
              <a:gd name="T17" fmla="*/ 243 h 942"/>
              <a:gd name="T18" fmla="*/ 582 w 827"/>
              <a:gd name="T19" fmla="*/ 372 h 942"/>
              <a:gd name="T20" fmla="*/ 543 w 827"/>
              <a:gd name="T21" fmla="*/ 499 h 942"/>
              <a:gd name="T22" fmla="*/ 422 w 827"/>
              <a:gd name="T23" fmla="*/ 655 h 942"/>
              <a:gd name="T24" fmla="*/ 153 w 827"/>
              <a:gd name="T25" fmla="*/ 942 h 942"/>
              <a:gd name="T26" fmla="*/ 441 w 827"/>
              <a:gd name="T27" fmla="*/ 942 h 942"/>
              <a:gd name="T28" fmla="*/ 618 w 827"/>
              <a:gd name="T29" fmla="*/ 755 h 942"/>
              <a:gd name="T30" fmla="*/ 780 w 827"/>
              <a:gd name="T31" fmla="*/ 534 h 942"/>
              <a:gd name="T32" fmla="*/ 827 w 827"/>
              <a:gd name="T33" fmla="*/ 349 h 942"/>
              <a:gd name="T34" fmla="*/ 722 w 827"/>
              <a:gd name="T35" fmla="*/ 91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27" h="942">
                <a:moveTo>
                  <a:pt x="722" y="91"/>
                </a:moveTo>
                <a:cubicBezTo>
                  <a:pt x="652" y="31"/>
                  <a:pt x="553" y="0"/>
                  <a:pt x="427" y="0"/>
                </a:cubicBezTo>
                <a:cubicBezTo>
                  <a:pt x="344" y="0"/>
                  <a:pt x="270" y="18"/>
                  <a:pt x="205" y="53"/>
                </a:cubicBezTo>
                <a:cubicBezTo>
                  <a:pt x="140" y="88"/>
                  <a:pt x="89" y="137"/>
                  <a:pt x="53" y="199"/>
                </a:cubicBezTo>
                <a:cubicBezTo>
                  <a:pt x="18" y="260"/>
                  <a:pt x="0" y="329"/>
                  <a:pt x="0" y="404"/>
                </a:cubicBezTo>
                <a:cubicBezTo>
                  <a:pt x="245" y="404"/>
                  <a:pt x="245" y="404"/>
                  <a:pt x="245" y="404"/>
                </a:cubicBezTo>
                <a:cubicBezTo>
                  <a:pt x="245" y="342"/>
                  <a:pt x="260" y="292"/>
                  <a:pt x="292" y="253"/>
                </a:cubicBezTo>
                <a:cubicBezTo>
                  <a:pt x="324" y="215"/>
                  <a:pt x="367" y="196"/>
                  <a:pt x="423" y="196"/>
                </a:cubicBezTo>
                <a:cubicBezTo>
                  <a:pt x="474" y="196"/>
                  <a:pt x="513" y="212"/>
                  <a:pt x="541" y="243"/>
                </a:cubicBezTo>
                <a:cubicBezTo>
                  <a:pt x="568" y="274"/>
                  <a:pt x="582" y="317"/>
                  <a:pt x="582" y="372"/>
                </a:cubicBezTo>
                <a:cubicBezTo>
                  <a:pt x="582" y="412"/>
                  <a:pt x="569" y="454"/>
                  <a:pt x="543" y="499"/>
                </a:cubicBezTo>
                <a:cubicBezTo>
                  <a:pt x="517" y="543"/>
                  <a:pt x="476" y="595"/>
                  <a:pt x="422" y="655"/>
                </a:cubicBezTo>
                <a:cubicBezTo>
                  <a:pt x="153" y="942"/>
                  <a:pt x="153" y="942"/>
                  <a:pt x="153" y="942"/>
                </a:cubicBezTo>
                <a:cubicBezTo>
                  <a:pt x="441" y="942"/>
                  <a:pt x="441" y="942"/>
                  <a:pt x="441" y="942"/>
                </a:cubicBezTo>
                <a:cubicBezTo>
                  <a:pt x="618" y="755"/>
                  <a:pt x="618" y="755"/>
                  <a:pt x="618" y="755"/>
                </a:cubicBezTo>
                <a:cubicBezTo>
                  <a:pt x="694" y="671"/>
                  <a:pt x="748" y="597"/>
                  <a:pt x="780" y="534"/>
                </a:cubicBezTo>
                <a:cubicBezTo>
                  <a:pt x="811" y="471"/>
                  <a:pt x="827" y="410"/>
                  <a:pt x="827" y="349"/>
                </a:cubicBezTo>
                <a:cubicBezTo>
                  <a:pt x="827" y="238"/>
                  <a:pt x="792" y="152"/>
                  <a:pt x="722" y="9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76A8C0-06DD-1745-85F1-407373AFF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9F60FDF-0BCE-444A-9E94-E15410833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CF9EB3B5-CE25-FA44-A77A-11D829ADB80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181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3">
            <a:extLst>
              <a:ext uri="{FF2B5EF4-FFF2-40B4-BE49-F238E27FC236}">
                <a16:creationId xmlns:a16="http://schemas.microsoft.com/office/drawing/2014/main" id="{08C20EFA-0367-4E40-9494-73A7C2EB0AF8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 bwMode="auto">
          <a:xfrm>
            <a:off x="9274" y="1782819"/>
            <a:ext cx="10679823" cy="11950514"/>
          </a:xfrm>
          <a:custGeom>
            <a:avLst/>
            <a:gdLst>
              <a:gd name="T0" fmla="*/ 632 w 838"/>
              <a:gd name="T1" fmla="*/ 614 h 942"/>
              <a:gd name="T2" fmla="*/ 767 w 838"/>
              <a:gd name="T3" fmla="*/ 505 h 942"/>
              <a:gd name="T4" fmla="*/ 819 w 838"/>
              <a:gd name="T5" fmla="*/ 350 h 942"/>
              <a:gd name="T6" fmla="*/ 708 w 838"/>
              <a:gd name="T7" fmla="*/ 94 h 942"/>
              <a:gd name="T8" fmla="*/ 403 w 838"/>
              <a:gd name="T9" fmla="*/ 0 h 942"/>
              <a:gd name="T10" fmla="*/ 197 w 838"/>
              <a:gd name="T11" fmla="*/ 43 h 942"/>
              <a:gd name="T12" fmla="*/ 52 w 838"/>
              <a:gd name="T13" fmla="*/ 163 h 942"/>
              <a:gd name="T14" fmla="*/ 0 w 838"/>
              <a:gd name="T15" fmla="*/ 335 h 942"/>
              <a:gd name="T16" fmla="*/ 244 w 838"/>
              <a:gd name="T17" fmla="*/ 335 h 942"/>
              <a:gd name="T18" fmla="*/ 292 w 838"/>
              <a:gd name="T19" fmla="*/ 235 h 942"/>
              <a:gd name="T20" fmla="*/ 409 w 838"/>
              <a:gd name="T21" fmla="*/ 196 h 942"/>
              <a:gd name="T22" fmla="*/ 531 w 838"/>
              <a:gd name="T23" fmla="*/ 238 h 942"/>
              <a:gd name="T24" fmla="*/ 575 w 838"/>
              <a:gd name="T25" fmla="*/ 353 h 942"/>
              <a:gd name="T26" fmla="*/ 530 w 838"/>
              <a:gd name="T27" fmla="*/ 477 h 942"/>
              <a:gd name="T28" fmla="*/ 393 w 838"/>
              <a:gd name="T29" fmla="*/ 523 h 942"/>
              <a:gd name="T30" fmla="*/ 263 w 838"/>
              <a:gd name="T31" fmla="*/ 523 h 942"/>
              <a:gd name="T32" fmla="*/ 263 w 838"/>
              <a:gd name="T33" fmla="*/ 714 h 942"/>
              <a:gd name="T34" fmla="*/ 392 w 838"/>
              <a:gd name="T35" fmla="*/ 714 h 942"/>
              <a:gd name="T36" fmla="*/ 594 w 838"/>
              <a:gd name="T37" fmla="*/ 898 h 942"/>
              <a:gd name="T38" fmla="*/ 590 w 838"/>
              <a:gd name="T39" fmla="*/ 942 h 942"/>
              <a:gd name="T40" fmla="*/ 836 w 838"/>
              <a:gd name="T41" fmla="*/ 942 h 942"/>
              <a:gd name="T42" fmla="*/ 838 w 838"/>
              <a:gd name="T43" fmla="*/ 901 h 942"/>
              <a:gd name="T44" fmla="*/ 787 w 838"/>
              <a:gd name="T45" fmla="*/ 726 h 942"/>
              <a:gd name="T46" fmla="*/ 632 w 838"/>
              <a:gd name="T47" fmla="*/ 61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38" h="942">
                <a:moveTo>
                  <a:pt x="632" y="614"/>
                </a:moveTo>
                <a:cubicBezTo>
                  <a:pt x="688" y="589"/>
                  <a:pt x="733" y="553"/>
                  <a:pt x="767" y="505"/>
                </a:cubicBezTo>
                <a:cubicBezTo>
                  <a:pt x="802" y="458"/>
                  <a:pt x="819" y="406"/>
                  <a:pt x="819" y="350"/>
                </a:cubicBezTo>
                <a:cubicBezTo>
                  <a:pt x="819" y="241"/>
                  <a:pt x="782" y="156"/>
                  <a:pt x="708" y="94"/>
                </a:cubicBezTo>
                <a:cubicBezTo>
                  <a:pt x="635" y="31"/>
                  <a:pt x="533" y="0"/>
                  <a:pt x="403" y="0"/>
                </a:cubicBezTo>
                <a:cubicBezTo>
                  <a:pt x="328" y="0"/>
                  <a:pt x="260" y="15"/>
                  <a:pt x="197" y="43"/>
                </a:cubicBezTo>
                <a:cubicBezTo>
                  <a:pt x="135" y="72"/>
                  <a:pt x="87" y="112"/>
                  <a:pt x="52" y="163"/>
                </a:cubicBezTo>
                <a:cubicBezTo>
                  <a:pt x="18" y="214"/>
                  <a:pt x="0" y="271"/>
                  <a:pt x="0" y="335"/>
                </a:cubicBezTo>
                <a:cubicBezTo>
                  <a:pt x="244" y="335"/>
                  <a:pt x="244" y="335"/>
                  <a:pt x="244" y="335"/>
                </a:cubicBezTo>
                <a:cubicBezTo>
                  <a:pt x="244" y="294"/>
                  <a:pt x="260" y="261"/>
                  <a:pt x="292" y="235"/>
                </a:cubicBezTo>
                <a:cubicBezTo>
                  <a:pt x="323" y="209"/>
                  <a:pt x="362" y="196"/>
                  <a:pt x="409" y="196"/>
                </a:cubicBezTo>
                <a:cubicBezTo>
                  <a:pt x="461" y="196"/>
                  <a:pt x="501" y="210"/>
                  <a:pt x="531" y="238"/>
                </a:cubicBezTo>
                <a:cubicBezTo>
                  <a:pt x="560" y="265"/>
                  <a:pt x="575" y="304"/>
                  <a:pt x="575" y="353"/>
                </a:cubicBezTo>
                <a:cubicBezTo>
                  <a:pt x="575" y="405"/>
                  <a:pt x="560" y="446"/>
                  <a:pt x="530" y="477"/>
                </a:cubicBezTo>
                <a:cubicBezTo>
                  <a:pt x="500" y="508"/>
                  <a:pt x="455" y="523"/>
                  <a:pt x="393" y="523"/>
                </a:cubicBezTo>
                <a:cubicBezTo>
                  <a:pt x="263" y="523"/>
                  <a:pt x="263" y="523"/>
                  <a:pt x="263" y="523"/>
                </a:cubicBezTo>
                <a:cubicBezTo>
                  <a:pt x="263" y="714"/>
                  <a:pt x="263" y="714"/>
                  <a:pt x="263" y="714"/>
                </a:cubicBezTo>
                <a:cubicBezTo>
                  <a:pt x="392" y="714"/>
                  <a:pt x="392" y="714"/>
                  <a:pt x="392" y="714"/>
                </a:cubicBezTo>
                <a:cubicBezTo>
                  <a:pt x="527" y="714"/>
                  <a:pt x="594" y="775"/>
                  <a:pt x="594" y="898"/>
                </a:cubicBezTo>
                <a:cubicBezTo>
                  <a:pt x="594" y="914"/>
                  <a:pt x="593" y="928"/>
                  <a:pt x="590" y="942"/>
                </a:cubicBezTo>
                <a:cubicBezTo>
                  <a:pt x="836" y="942"/>
                  <a:pt x="836" y="942"/>
                  <a:pt x="836" y="942"/>
                </a:cubicBezTo>
                <a:cubicBezTo>
                  <a:pt x="838" y="929"/>
                  <a:pt x="838" y="915"/>
                  <a:pt x="838" y="901"/>
                </a:cubicBezTo>
                <a:cubicBezTo>
                  <a:pt x="838" y="834"/>
                  <a:pt x="821" y="775"/>
                  <a:pt x="787" y="726"/>
                </a:cubicBezTo>
                <a:cubicBezTo>
                  <a:pt x="753" y="676"/>
                  <a:pt x="702" y="639"/>
                  <a:pt x="632" y="61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D698217-4A94-3845-972A-DE498CE7D8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id="{F9E37294-1B85-AA4B-857B-0862C6B846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48C180B3-07AA-FB4A-AC5D-34480EB4045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082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2">
            <a:extLst>
              <a:ext uri="{FF2B5EF4-FFF2-40B4-BE49-F238E27FC236}">
                <a16:creationId xmlns:a16="http://schemas.microsoft.com/office/drawing/2014/main" id="{AA8FCCEF-7261-6147-AC0C-FB3CB61F6283}"/>
              </a:ext>
            </a:extLst>
          </p:cNvPr>
          <p:cNvSpPr>
            <a:spLocks noGrp="1" noEditPoints="1"/>
          </p:cNvSpPr>
          <p:nvPr>
            <p:ph type="pic" sz="quarter" idx="50"/>
          </p:nvPr>
        </p:nvSpPr>
        <p:spPr bwMode="auto">
          <a:xfrm>
            <a:off x="17576" y="2039257"/>
            <a:ext cx="11401499" cy="11662483"/>
          </a:xfrm>
          <a:custGeom>
            <a:avLst/>
            <a:gdLst>
              <a:gd name="T0" fmla="*/ 4548 w 5388"/>
              <a:gd name="T1" fmla="*/ 4592 h 5547"/>
              <a:gd name="T2" fmla="*/ 4548 w 5388"/>
              <a:gd name="T3" fmla="*/ 0 h 5547"/>
              <a:gd name="T4" fmla="*/ 3072 w 5388"/>
              <a:gd name="T5" fmla="*/ 0 h 5547"/>
              <a:gd name="T6" fmla="*/ 0 w 5388"/>
              <a:gd name="T7" fmla="*/ 4851 h 5547"/>
              <a:gd name="T8" fmla="*/ 48 w 5388"/>
              <a:gd name="T9" fmla="*/ 5547 h 5547"/>
              <a:gd name="T10" fmla="*/ 5388 w 5388"/>
              <a:gd name="T11" fmla="*/ 5547 h 5547"/>
              <a:gd name="T12" fmla="*/ 5388 w 5388"/>
              <a:gd name="T13" fmla="*/ 4592 h 5547"/>
              <a:gd name="T14" fmla="*/ 4548 w 5388"/>
              <a:gd name="T15" fmla="*/ 4592 h 5547"/>
              <a:gd name="T16" fmla="*/ 3084 w 5388"/>
              <a:gd name="T17" fmla="*/ 4592 h 5547"/>
              <a:gd name="T18" fmla="*/ 1824 w 5388"/>
              <a:gd name="T19" fmla="*/ 4592 h 5547"/>
              <a:gd name="T20" fmla="*/ 3084 w 5388"/>
              <a:gd name="T21" fmla="*/ 2546 h 5547"/>
              <a:gd name="T22" fmla="*/ 3084 w 5388"/>
              <a:gd name="T23" fmla="*/ 4592 h 5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388" h="5547">
                <a:moveTo>
                  <a:pt x="4548" y="4592"/>
                </a:moveTo>
                <a:lnTo>
                  <a:pt x="4548" y="0"/>
                </a:lnTo>
                <a:lnTo>
                  <a:pt x="3072" y="0"/>
                </a:lnTo>
                <a:lnTo>
                  <a:pt x="0" y="4851"/>
                </a:lnTo>
                <a:lnTo>
                  <a:pt x="48" y="5547"/>
                </a:lnTo>
                <a:lnTo>
                  <a:pt x="5388" y="5547"/>
                </a:lnTo>
                <a:lnTo>
                  <a:pt x="5388" y="4592"/>
                </a:lnTo>
                <a:lnTo>
                  <a:pt x="4548" y="4592"/>
                </a:lnTo>
                <a:close/>
                <a:moveTo>
                  <a:pt x="3084" y="4592"/>
                </a:moveTo>
                <a:lnTo>
                  <a:pt x="1824" y="4592"/>
                </a:lnTo>
                <a:lnTo>
                  <a:pt x="3084" y="2546"/>
                </a:lnTo>
                <a:lnTo>
                  <a:pt x="3084" y="45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517EDD7-6D3B-D34C-88D2-2D3266A192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45A50AC-9DB6-F447-BC75-073680A79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D163AFC2-87C8-4946-B3C4-CCA3EE6605B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690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1">
            <a:extLst>
              <a:ext uri="{FF2B5EF4-FFF2-40B4-BE49-F238E27FC236}">
                <a16:creationId xmlns:a16="http://schemas.microsoft.com/office/drawing/2014/main" id="{401447D7-78E6-5744-8C34-CEA1AE6B34CC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 bwMode="auto">
          <a:xfrm>
            <a:off x="0" y="1911090"/>
            <a:ext cx="10177364" cy="11806498"/>
          </a:xfrm>
          <a:custGeom>
            <a:avLst/>
            <a:gdLst>
              <a:gd name="T0" fmla="*/ 425 w 800"/>
              <a:gd name="T1" fmla="*/ 421 h 924"/>
              <a:gd name="T2" fmla="*/ 240 w 800"/>
              <a:gd name="T3" fmla="*/ 467 h 924"/>
              <a:gd name="T4" fmla="*/ 271 w 800"/>
              <a:gd name="T5" fmla="*/ 204 h 924"/>
              <a:gd name="T6" fmla="*/ 759 w 800"/>
              <a:gd name="T7" fmla="*/ 204 h 924"/>
              <a:gd name="T8" fmla="*/ 759 w 800"/>
              <a:gd name="T9" fmla="*/ 0 h 924"/>
              <a:gd name="T10" fmla="*/ 71 w 800"/>
              <a:gd name="T11" fmla="*/ 0 h 924"/>
              <a:gd name="T12" fmla="*/ 0 w 800"/>
              <a:gd name="T13" fmla="*/ 624 h 924"/>
              <a:gd name="T14" fmla="*/ 194 w 800"/>
              <a:gd name="T15" fmla="*/ 673 h 924"/>
              <a:gd name="T16" fmla="*/ 218 w 800"/>
              <a:gd name="T17" fmla="*/ 651 h 924"/>
              <a:gd name="T18" fmla="*/ 358 w 800"/>
              <a:gd name="T19" fmla="*/ 605 h 924"/>
              <a:gd name="T20" fmla="*/ 504 w 800"/>
              <a:gd name="T21" fmla="*/ 661 h 924"/>
              <a:gd name="T22" fmla="*/ 556 w 800"/>
              <a:gd name="T23" fmla="*/ 821 h 924"/>
              <a:gd name="T24" fmla="*/ 543 w 800"/>
              <a:gd name="T25" fmla="*/ 924 h 924"/>
              <a:gd name="T26" fmla="*/ 792 w 800"/>
              <a:gd name="T27" fmla="*/ 924 h 924"/>
              <a:gd name="T28" fmla="*/ 800 w 800"/>
              <a:gd name="T29" fmla="*/ 834 h 924"/>
              <a:gd name="T30" fmla="*/ 700 w 800"/>
              <a:gd name="T31" fmla="*/ 530 h 924"/>
              <a:gd name="T32" fmla="*/ 425 w 800"/>
              <a:gd name="T33" fmla="*/ 421 h 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00" h="924">
                <a:moveTo>
                  <a:pt x="425" y="421"/>
                </a:moveTo>
                <a:cubicBezTo>
                  <a:pt x="360" y="421"/>
                  <a:pt x="298" y="436"/>
                  <a:pt x="240" y="467"/>
                </a:cubicBezTo>
                <a:cubicBezTo>
                  <a:pt x="271" y="204"/>
                  <a:pt x="271" y="204"/>
                  <a:pt x="271" y="204"/>
                </a:cubicBezTo>
                <a:cubicBezTo>
                  <a:pt x="759" y="204"/>
                  <a:pt x="759" y="204"/>
                  <a:pt x="759" y="204"/>
                </a:cubicBezTo>
                <a:cubicBezTo>
                  <a:pt x="759" y="0"/>
                  <a:pt x="759" y="0"/>
                  <a:pt x="759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0" y="624"/>
                  <a:pt x="0" y="624"/>
                  <a:pt x="0" y="624"/>
                </a:cubicBezTo>
                <a:cubicBezTo>
                  <a:pt x="194" y="673"/>
                  <a:pt x="194" y="673"/>
                  <a:pt x="194" y="673"/>
                </a:cubicBezTo>
                <a:cubicBezTo>
                  <a:pt x="218" y="651"/>
                  <a:pt x="218" y="651"/>
                  <a:pt x="218" y="651"/>
                </a:cubicBezTo>
                <a:cubicBezTo>
                  <a:pt x="254" y="620"/>
                  <a:pt x="301" y="605"/>
                  <a:pt x="358" y="605"/>
                </a:cubicBezTo>
                <a:cubicBezTo>
                  <a:pt x="421" y="605"/>
                  <a:pt x="470" y="624"/>
                  <a:pt x="504" y="661"/>
                </a:cubicBezTo>
                <a:cubicBezTo>
                  <a:pt x="539" y="698"/>
                  <a:pt x="556" y="751"/>
                  <a:pt x="556" y="821"/>
                </a:cubicBezTo>
                <a:cubicBezTo>
                  <a:pt x="556" y="860"/>
                  <a:pt x="552" y="894"/>
                  <a:pt x="543" y="924"/>
                </a:cubicBezTo>
                <a:cubicBezTo>
                  <a:pt x="792" y="924"/>
                  <a:pt x="792" y="924"/>
                  <a:pt x="792" y="924"/>
                </a:cubicBezTo>
                <a:cubicBezTo>
                  <a:pt x="797" y="895"/>
                  <a:pt x="800" y="865"/>
                  <a:pt x="800" y="834"/>
                </a:cubicBezTo>
                <a:cubicBezTo>
                  <a:pt x="800" y="704"/>
                  <a:pt x="767" y="602"/>
                  <a:pt x="700" y="530"/>
                </a:cubicBezTo>
                <a:cubicBezTo>
                  <a:pt x="634" y="457"/>
                  <a:pt x="542" y="421"/>
                  <a:pt x="425" y="42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/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8C00925-FA83-7D45-9BF5-C36AFCF91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0EA515A1-8F85-3C4E-A8E9-19B1FE39D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DC955D0D-290C-2A49-A7C2-BFF035F4CF9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757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E7625C-E295-6048-BAAC-E7F42A42B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8B54F173-65EF-5940-B2FD-D7A8AEC2A5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4A4B30B5-E2DE-E148-B187-2E45814FDED3}"/>
              </a:ext>
            </a:extLst>
          </p:cNvPr>
          <p:cNvSpPr>
            <a:spLocks/>
          </p:cNvSpPr>
          <p:nvPr userDrawn="1"/>
        </p:nvSpPr>
        <p:spPr bwMode="auto">
          <a:xfrm>
            <a:off x="0" y="3221508"/>
            <a:ext cx="16884725" cy="10496081"/>
          </a:xfrm>
          <a:custGeom>
            <a:avLst/>
            <a:gdLst>
              <a:gd name="connsiteX0" fmla="*/ 10597308 w 16884725"/>
              <a:gd name="connsiteY0" fmla="*/ 1728 h 10496081"/>
              <a:gd name="connsiteX1" fmla="*/ 16881824 w 16884725"/>
              <a:gd name="connsiteY1" fmla="*/ 6648571 h 10496081"/>
              <a:gd name="connsiteX2" fmla="*/ 15548092 w 16884725"/>
              <a:gd name="connsiteY2" fmla="*/ 10360357 h 10496081"/>
              <a:gd name="connsiteX3" fmla="*/ 15438488 w 16884725"/>
              <a:gd name="connsiteY3" fmla="*/ 10496081 h 10496081"/>
              <a:gd name="connsiteX4" fmla="*/ 0 w 16884725"/>
              <a:gd name="connsiteY4" fmla="*/ 10496081 h 10496081"/>
              <a:gd name="connsiteX5" fmla="*/ 0 w 16884725"/>
              <a:gd name="connsiteY5" fmla="*/ 7617373 h 10496081"/>
              <a:gd name="connsiteX6" fmla="*/ 15270 w 16884725"/>
              <a:gd name="connsiteY6" fmla="*/ 7657474 h 10496081"/>
              <a:gd name="connsiteX7" fmla="*/ 2037272 w 16884725"/>
              <a:gd name="connsiteY7" fmla="*/ 8871130 h 10496081"/>
              <a:gd name="connsiteX8" fmla="*/ 2081320 w 16884725"/>
              <a:gd name="connsiteY8" fmla="*/ 8871130 h 10496081"/>
              <a:gd name="connsiteX9" fmla="*/ 3975432 w 16884725"/>
              <a:gd name="connsiteY9" fmla="*/ 6758599 h 10496081"/>
              <a:gd name="connsiteX10" fmla="*/ 3975432 w 16884725"/>
              <a:gd name="connsiteY10" fmla="*/ 6604560 h 10496081"/>
              <a:gd name="connsiteX11" fmla="*/ 10252432 w 16884725"/>
              <a:gd name="connsiteY11" fmla="*/ 2899 h 10496081"/>
              <a:gd name="connsiteX12" fmla="*/ 10597308 w 16884725"/>
              <a:gd name="connsiteY12" fmla="*/ 1728 h 10496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884725" h="10496081">
                <a:moveTo>
                  <a:pt x="10597308" y="1728"/>
                </a:moveTo>
                <a:cubicBezTo>
                  <a:pt x="14139444" y="83335"/>
                  <a:pt x="16988508" y="3045852"/>
                  <a:pt x="16881824" y="6648571"/>
                </a:cubicBezTo>
                <a:cubicBezTo>
                  <a:pt x="16837088" y="8043172"/>
                  <a:pt x="16345256" y="9325188"/>
                  <a:pt x="15548092" y="10360357"/>
                </a:cubicBezTo>
                <a:lnTo>
                  <a:pt x="15438488" y="10496081"/>
                </a:lnTo>
                <a:lnTo>
                  <a:pt x="0" y="10496081"/>
                </a:lnTo>
                <a:lnTo>
                  <a:pt x="0" y="7617373"/>
                </a:lnTo>
                <a:lnTo>
                  <a:pt x="15270" y="7657474"/>
                </a:lnTo>
                <a:cubicBezTo>
                  <a:pt x="353424" y="8435489"/>
                  <a:pt x="1170054" y="8948149"/>
                  <a:pt x="2037272" y="8871130"/>
                </a:cubicBezTo>
                <a:cubicBezTo>
                  <a:pt x="2037272" y="8871130"/>
                  <a:pt x="2037272" y="8871130"/>
                  <a:pt x="2081320" y="8871130"/>
                </a:cubicBezTo>
                <a:cubicBezTo>
                  <a:pt x="3182548" y="8783108"/>
                  <a:pt x="4019480" y="7858875"/>
                  <a:pt x="3975432" y="6758599"/>
                </a:cubicBezTo>
                <a:cubicBezTo>
                  <a:pt x="3975432" y="6714587"/>
                  <a:pt x="3975432" y="6648571"/>
                  <a:pt x="3975432" y="6604560"/>
                </a:cubicBezTo>
                <a:cubicBezTo>
                  <a:pt x="3887332" y="3039664"/>
                  <a:pt x="6662428" y="90921"/>
                  <a:pt x="10252432" y="2899"/>
                </a:cubicBezTo>
                <a:cubicBezTo>
                  <a:pt x="10368060" y="-539"/>
                  <a:pt x="10483044" y="-904"/>
                  <a:pt x="10597308" y="1728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1" name="Рисунок 7">
            <a:extLst>
              <a:ext uri="{FF2B5EF4-FFF2-40B4-BE49-F238E27FC236}">
                <a16:creationId xmlns:a16="http://schemas.microsoft.com/office/drawing/2014/main" id="{C1616CE8-F0FC-7543-9F91-AB4260FF6F8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-1" y="5221279"/>
            <a:ext cx="13780848" cy="8496308"/>
          </a:xfrm>
          <a:custGeom>
            <a:avLst/>
            <a:gdLst>
              <a:gd name="connsiteX0" fmla="*/ 0 w 13780848"/>
              <a:gd name="connsiteY0" fmla="*/ 0 h 8496308"/>
              <a:gd name="connsiteX1" fmla="*/ 29020 w 13780848"/>
              <a:gd name="connsiteY1" fmla="*/ 10729 h 8496308"/>
              <a:gd name="connsiteX2" fmla="*/ 2345824 w 13780848"/>
              <a:gd name="connsiteY2" fmla="*/ 2302971 h 8496308"/>
              <a:gd name="connsiteX3" fmla="*/ 2640204 w 13780848"/>
              <a:gd name="connsiteY3" fmla="*/ 3093429 h 8496308"/>
              <a:gd name="connsiteX4" fmla="*/ 5032026 w 13780848"/>
              <a:gd name="connsiteY4" fmla="*/ 4858172 h 8496308"/>
              <a:gd name="connsiteX5" fmla="*/ 5087222 w 13780848"/>
              <a:gd name="connsiteY5" fmla="*/ 4858172 h 8496308"/>
              <a:gd name="connsiteX6" fmla="*/ 7239862 w 13780848"/>
              <a:gd name="connsiteY6" fmla="*/ 3258874 h 8496308"/>
              <a:gd name="connsiteX7" fmla="*/ 7423848 w 13780848"/>
              <a:gd name="connsiteY7" fmla="*/ 2872836 h 8496308"/>
              <a:gd name="connsiteX8" fmla="*/ 12060304 w 13780848"/>
              <a:gd name="connsiteY8" fmla="*/ 1457365 h 8496308"/>
              <a:gd name="connsiteX9" fmla="*/ 13495400 w 13780848"/>
              <a:gd name="connsiteY9" fmla="*/ 5758927 h 8496308"/>
              <a:gd name="connsiteX10" fmla="*/ 11784328 w 13780848"/>
              <a:gd name="connsiteY10" fmla="*/ 7450139 h 8496308"/>
              <a:gd name="connsiteX11" fmla="*/ 10682708 w 13780848"/>
              <a:gd name="connsiteY11" fmla="*/ 8433615 h 8496308"/>
              <a:gd name="connsiteX12" fmla="*/ 10647868 w 13780848"/>
              <a:gd name="connsiteY12" fmla="*/ 8496308 h 8496308"/>
              <a:gd name="connsiteX13" fmla="*/ 0 w 13780848"/>
              <a:gd name="connsiteY13" fmla="*/ 8496308 h 8496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780848" h="8496308">
                <a:moveTo>
                  <a:pt x="0" y="0"/>
                </a:moveTo>
                <a:lnTo>
                  <a:pt x="29020" y="10729"/>
                </a:lnTo>
                <a:cubicBezTo>
                  <a:pt x="1069060" y="438846"/>
                  <a:pt x="1903108" y="1266644"/>
                  <a:pt x="2345824" y="2302971"/>
                </a:cubicBezTo>
                <a:cubicBezTo>
                  <a:pt x="2474616" y="2560329"/>
                  <a:pt x="2566608" y="2817688"/>
                  <a:pt x="2640204" y="3093429"/>
                </a:cubicBezTo>
                <a:cubicBezTo>
                  <a:pt x="2897784" y="4178011"/>
                  <a:pt x="3909708" y="4894938"/>
                  <a:pt x="5032026" y="4858172"/>
                </a:cubicBezTo>
                <a:cubicBezTo>
                  <a:pt x="5050424" y="4858172"/>
                  <a:pt x="5068824" y="4858172"/>
                  <a:pt x="5087222" y="4858172"/>
                </a:cubicBezTo>
                <a:cubicBezTo>
                  <a:pt x="6062350" y="4821407"/>
                  <a:pt x="6908688" y="4178011"/>
                  <a:pt x="7239862" y="3258874"/>
                </a:cubicBezTo>
                <a:cubicBezTo>
                  <a:pt x="7295058" y="3130194"/>
                  <a:pt x="7350254" y="3001515"/>
                  <a:pt x="7423848" y="2872836"/>
                </a:cubicBezTo>
                <a:cubicBezTo>
                  <a:pt x="8270186" y="1163241"/>
                  <a:pt x="10386028" y="519845"/>
                  <a:pt x="12060304" y="1457365"/>
                </a:cubicBezTo>
                <a:cubicBezTo>
                  <a:pt x="13568996" y="2302971"/>
                  <a:pt x="14194548" y="4178011"/>
                  <a:pt x="13495400" y="5758927"/>
                </a:cubicBezTo>
                <a:cubicBezTo>
                  <a:pt x="13127428" y="6549385"/>
                  <a:pt x="12520272" y="7119250"/>
                  <a:pt x="11784328" y="7450139"/>
                </a:cubicBezTo>
                <a:cubicBezTo>
                  <a:pt x="11315164" y="7661540"/>
                  <a:pt x="10937992" y="8010813"/>
                  <a:pt x="10682708" y="8433615"/>
                </a:cubicBezTo>
                <a:lnTo>
                  <a:pt x="10647868" y="8496308"/>
                </a:lnTo>
                <a:lnTo>
                  <a:pt x="0" y="8496308"/>
                </a:ln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02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DB04C1B4-FCBA-C94A-A0FA-10F6109A7B8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 bwMode="auto">
          <a:xfrm>
            <a:off x="0" y="1839081"/>
            <a:ext cx="10679823" cy="11878507"/>
          </a:xfrm>
          <a:custGeom>
            <a:avLst/>
            <a:gdLst>
              <a:gd name="T0" fmla="*/ 497 w 846"/>
              <a:gd name="T1" fmla="*/ 420 h 938"/>
              <a:gd name="T2" fmla="*/ 250 w 846"/>
              <a:gd name="T3" fmla="*/ 520 h 938"/>
              <a:gd name="T4" fmla="*/ 371 w 846"/>
              <a:gd name="T5" fmla="*/ 288 h 938"/>
              <a:gd name="T6" fmla="*/ 637 w 846"/>
              <a:gd name="T7" fmla="*/ 202 h 938"/>
              <a:gd name="T8" fmla="*/ 660 w 846"/>
              <a:gd name="T9" fmla="*/ 202 h 938"/>
              <a:gd name="T10" fmla="*/ 660 w 846"/>
              <a:gd name="T11" fmla="*/ 0 h 938"/>
              <a:gd name="T12" fmla="*/ 620 w 846"/>
              <a:gd name="T13" fmla="*/ 0 h 938"/>
              <a:gd name="T14" fmla="*/ 292 w 846"/>
              <a:gd name="T15" fmla="*/ 85 h 938"/>
              <a:gd name="T16" fmla="*/ 75 w 846"/>
              <a:gd name="T17" fmla="*/ 322 h 938"/>
              <a:gd name="T18" fmla="*/ 0 w 846"/>
              <a:gd name="T19" fmla="*/ 676 h 938"/>
              <a:gd name="T20" fmla="*/ 0 w 846"/>
              <a:gd name="T21" fmla="*/ 763 h 938"/>
              <a:gd name="T22" fmla="*/ 21 w 846"/>
              <a:gd name="T23" fmla="*/ 938 h 938"/>
              <a:gd name="T24" fmla="*/ 264 w 846"/>
              <a:gd name="T25" fmla="*/ 938 h 938"/>
              <a:gd name="T26" fmla="*/ 245 w 846"/>
              <a:gd name="T27" fmla="*/ 803 h 938"/>
              <a:gd name="T28" fmla="*/ 245 w 846"/>
              <a:gd name="T29" fmla="*/ 729 h 938"/>
              <a:gd name="T30" fmla="*/ 315 w 846"/>
              <a:gd name="T31" fmla="*/ 647 h 938"/>
              <a:gd name="T32" fmla="*/ 423 w 846"/>
              <a:gd name="T33" fmla="*/ 616 h 938"/>
              <a:gd name="T34" fmla="*/ 554 w 846"/>
              <a:gd name="T35" fmla="*/ 678 h 938"/>
              <a:gd name="T36" fmla="*/ 603 w 846"/>
              <a:gd name="T37" fmla="*/ 840 h 938"/>
              <a:gd name="T38" fmla="*/ 588 w 846"/>
              <a:gd name="T39" fmla="*/ 938 h 938"/>
              <a:gd name="T40" fmla="*/ 836 w 846"/>
              <a:gd name="T41" fmla="*/ 938 h 938"/>
              <a:gd name="T42" fmla="*/ 846 w 846"/>
              <a:gd name="T43" fmla="*/ 837 h 938"/>
              <a:gd name="T44" fmla="*/ 752 w 846"/>
              <a:gd name="T45" fmla="*/ 535 h 938"/>
              <a:gd name="T46" fmla="*/ 497 w 846"/>
              <a:gd name="T47" fmla="*/ 420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46" h="938">
                <a:moveTo>
                  <a:pt x="497" y="420"/>
                </a:moveTo>
                <a:cubicBezTo>
                  <a:pt x="397" y="420"/>
                  <a:pt x="315" y="454"/>
                  <a:pt x="250" y="520"/>
                </a:cubicBezTo>
                <a:cubicBezTo>
                  <a:pt x="263" y="421"/>
                  <a:pt x="303" y="344"/>
                  <a:pt x="371" y="288"/>
                </a:cubicBezTo>
                <a:cubicBezTo>
                  <a:pt x="438" y="232"/>
                  <a:pt x="527" y="203"/>
                  <a:pt x="637" y="202"/>
                </a:cubicBezTo>
                <a:cubicBezTo>
                  <a:pt x="660" y="202"/>
                  <a:pt x="660" y="202"/>
                  <a:pt x="660" y="202"/>
                </a:cubicBezTo>
                <a:cubicBezTo>
                  <a:pt x="660" y="0"/>
                  <a:pt x="660" y="0"/>
                  <a:pt x="660" y="0"/>
                </a:cubicBezTo>
                <a:cubicBezTo>
                  <a:pt x="620" y="0"/>
                  <a:pt x="620" y="0"/>
                  <a:pt x="620" y="0"/>
                </a:cubicBezTo>
                <a:cubicBezTo>
                  <a:pt x="496" y="1"/>
                  <a:pt x="386" y="29"/>
                  <a:pt x="292" y="85"/>
                </a:cubicBezTo>
                <a:cubicBezTo>
                  <a:pt x="198" y="141"/>
                  <a:pt x="126" y="220"/>
                  <a:pt x="75" y="322"/>
                </a:cubicBezTo>
                <a:cubicBezTo>
                  <a:pt x="25" y="425"/>
                  <a:pt x="0" y="542"/>
                  <a:pt x="0" y="676"/>
                </a:cubicBezTo>
                <a:cubicBezTo>
                  <a:pt x="0" y="763"/>
                  <a:pt x="0" y="763"/>
                  <a:pt x="0" y="763"/>
                </a:cubicBezTo>
                <a:cubicBezTo>
                  <a:pt x="0" y="827"/>
                  <a:pt x="7" y="885"/>
                  <a:pt x="21" y="938"/>
                </a:cubicBezTo>
                <a:cubicBezTo>
                  <a:pt x="264" y="938"/>
                  <a:pt x="264" y="938"/>
                  <a:pt x="264" y="938"/>
                </a:cubicBezTo>
                <a:cubicBezTo>
                  <a:pt x="251" y="900"/>
                  <a:pt x="245" y="855"/>
                  <a:pt x="245" y="803"/>
                </a:cubicBezTo>
                <a:cubicBezTo>
                  <a:pt x="245" y="729"/>
                  <a:pt x="245" y="729"/>
                  <a:pt x="245" y="729"/>
                </a:cubicBezTo>
                <a:cubicBezTo>
                  <a:pt x="260" y="695"/>
                  <a:pt x="283" y="668"/>
                  <a:pt x="315" y="647"/>
                </a:cubicBezTo>
                <a:cubicBezTo>
                  <a:pt x="347" y="627"/>
                  <a:pt x="383" y="616"/>
                  <a:pt x="423" y="616"/>
                </a:cubicBezTo>
                <a:cubicBezTo>
                  <a:pt x="478" y="616"/>
                  <a:pt x="522" y="637"/>
                  <a:pt x="554" y="678"/>
                </a:cubicBezTo>
                <a:cubicBezTo>
                  <a:pt x="587" y="719"/>
                  <a:pt x="603" y="773"/>
                  <a:pt x="603" y="840"/>
                </a:cubicBezTo>
                <a:cubicBezTo>
                  <a:pt x="603" y="876"/>
                  <a:pt x="598" y="909"/>
                  <a:pt x="588" y="938"/>
                </a:cubicBezTo>
                <a:cubicBezTo>
                  <a:pt x="836" y="938"/>
                  <a:pt x="836" y="938"/>
                  <a:pt x="836" y="938"/>
                </a:cubicBezTo>
                <a:cubicBezTo>
                  <a:pt x="843" y="906"/>
                  <a:pt x="846" y="872"/>
                  <a:pt x="846" y="837"/>
                </a:cubicBezTo>
                <a:cubicBezTo>
                  <a:pt x="846" y="712"/>
                  <a:pt x="815" y="612"/>
                  <a:pt x="752" y="535"/>
                </a:cubicBezTo>
                <a:cubicBezTo>
                  <a:pt x="689" y="459"/>
                  <a:pt x="604" y="420"/>
                  <a:pt x="497" y="42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D8289F-4557-6A44-8E0A-12B206A07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C8CAD86-386C-BD48-B310-3A039BBE5B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8CD3E97A-46B0-D14A-A389-F51E8D25E009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71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DC94B303-8A5C-0747-BC03-0AB135FF2B5E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 bwMode="auto">
          <a:xfrm>
            <a:off x="0" y="2055105"/>
            <a:ext cx="10969451" cy="11662483"/>
          </a:xfrm>
          <a:custGeom>
            <a:avLst/>
            <a:gdLst>
              <a:gd name="connsiteX0" fmla="*/ 0 w 10969451"/>
              <a:gd name="connsiteY0" fmla="*/ 0 h 11662483"/>
              <a:gd name="connsiteX1" fmla="*/ 47773 w 10969451"/>
              <a:gd name="connsiteY1" fmla="*/ 0 h 11662483"/>
              <a:gd name="connsiteX2" fmla="*/ 9865097 w 10969451"/>
              <a:gd name="connsiteY2" fmla="*/ 0 h 11662483"/>
              <a:gd name="connsiteX3" fmla="*/ 10969451 w 10969451"/>
              <a:gd name="connsiteY3" fmla="*/ 0 h 11662483"/>
              <a:gd name="connsiteX4" fmla="*/ 10969451 w 10969451"/>
              <a:gd name="connsiteY4" fmla="*/ 1717730 h 11662483"/>
              <a:gd name="connsiteX5" fmla="*/ 6642401 w 10969451"/>
              <a:gd name="connsiteY5" fmla="*/ 11662483 h 11662483"/>
              <a:gd name="connsiteX6" fmla="*/ 5992519 w 10969451"/>
              <a:gd name="connsiteY6" fmla="*/ 11662483 h 11662483"/>
              <a:gd name="connsiteX7" fmla="*/ 3479353 w 10969451"/>
              <a:gd name="connsiteY7" fmla="*/ 11662483 h 11662483"/>
              <a:gd name="connsiteX8" fmla="*/ 3161687 w 10969451"/>
              <a:gd name="connsiteY8" fmla="*/ 11662483 h 11662483"/>
              <a:gd name="connsiteX9" fmla="*/ 6966325 w 10969451"/>
              <a:gd name="connsiteY9" fmla="*/ 2487240 h 11662483"/>
              <a:gd name="connsiteX10" fmla="*/ 47773 w 10969451"/>
              <a:gd name="connsiteY10" fmla="*/ 2487240 h 11662483"/>
              <a:gd name="connsiteX11" fmla="*/ 0 w 10969451"/>
              <a:gd name="connsiteY11" fmla="*/ 2487240 h 11662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9451" h="11662483">
                <a:moveTo>
                  <a:pt x="0" y="0"/>
                </a:moveTo>
                <a:lnTo>
                  <a:pt x="47773" y="0"/>
                </a:lnTo>
                <a:lnTo>
                  <a:pt x="9865097" y="0"/>
                </a:lnTo>
                <a:lnTo>
                  <a:pt x="10969451" y="0"/>
                </a:lnTo>
                <a:lnTo>
                  <a:pt x="10969451" y="1717730"/>
                </a:lnTo>
                <a:lnTo>
                  <a:pt x="6642401" y="11662483"/>
                </a:lnTo>
                <a:lnTo>
                  <a:pt x="5992519" y="11662483"/>
                </a:lnTo>
                <a:lnTo>
                  <a:pt x="3479353" y="11662483"/>
                </a:lnTo>
                <a:lnTo>
                  <a:pt x="3161687" y="11662483"/>
                </a:lnTo>
                <a:lnTo>
                  <a:pt x="6966325" y="2487240"/>
                </a:lnTo>
                <a:lnTo>
                  <a:pt x="47773" y="2487240"/>
                </a:lnTo>
                <a:lnTo>
                  <a:pt x="0" y="2487240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3485E98-4BAB-4647-A273-4C1B08712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EE1461D6-FAAB-9048-B3E2-1806D4250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3036D552-B515-1E4D-9EBE-45666E519D7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800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8">
            <a:extLst>
              <a:ext uri="{FF2B5EF4-FFF2-40B4-BE49-F238E27FC236}">
                <a16:creationId xmlns:a16="http://schemas.microsoft.com/office/drawing/2014/main" id="{79B6F384-6C99-1F45-93DB-19B9B9C1E4CD}"/>
              </a:ext>
            </a:extLst>
          </p:cNvPr>
          <p:cNvSpPr>
            <a:spLocks noGrp="1" noEditPoints="1"/>
          </p:cNvSpPr>
          <p:nvPr>
            <p:ph type="pic" sz="quarter" idx="57"/>
          </p:nvPr>
        </p:nvSpPr>
        <p:spPr bwMode="auto">
          <a:xfrm>
            <a:off x="0" y="1695066"/>
            <a:ext cx="10537403" cy="12022522"/>
          </a:xfrm>
          <a:custGeom>
            <a:avLst/>
            <a:gdLst>
              <a:gd name="T0" fmla="*/ 637 w 831"/>
              <a:gd name="T1" fmla="*/ 613 h 942"/>
              <a:gd name="T2" fmla="*/ 760 w 831"/>
              <a:gd name="T3" fmla="*/ 503 h 942"/>
              <a:gd name="T4" fmla="*/ 805 w 831"/>
              <a:gd name="T5" fmla="*/ 344 h 942"/>
              <a:gd name="T6" fmla="*/ 699 w 831"/>
              <a:gd name="T7" fmla="*/ 93 h 942"/>
              <a:gd name="T8" fmla="*/ 416 w 831"/>
              <a:gd name="T9" fmla="*/ 0 h 942"/>
              <a:gd name="T10" fmla="*/ 131 w 831"/>
              <a:gd name="T11" fmla="*/ 94 h 942"/>
              <a:gd name="T12" fmla="*/ 27 w 831"/>
              <a:gd name="T13" fmla="*/ 344 h 942"/>
              <a:gd name="T14" fmla="*/ 71 w 831"/>
              <a:gd name="T15" fmla="*/ 503 h 942"/>
              <a:gd name="T16" fmla="*/ 194 w 831"/>
              <a:gd name="T17" fmla="*/ 613 h 942"/>
              <a:gd name="T18" fmla="*/ 53 w 831"/>
              <a:gd name="T19" fmla="*/ 731 h 942"/>
              <a:gd name="T20" fmla="*/ 0 w 831"/>
              <a:gd name="T21" fmla="*/ 909 h 942"/>
              <a:gd name="T22" fmla="*/ 2 w 831"/>
              <a:gd name="T23" fmla="*/ 942 h 942"/>
              <a:gd name="T24" fmla="*/ 250 w 831"/>
              <a:gd name="T25" fmla="*/ 942 h 942"/>
              <a:gd name="T26" fmla="*/ 244 w 831"/>
              <a:gd name="T27" fmla="*/ 892 h 942"/>
              <a:gd name="T28" fmla="*/ 291 w 831"/>
              <a:gd name="T29" fmla="*/ 763 h 942"/>
              <a:gd name="T30" fmla="*/ 415 w 831"/>
              <a:gd name="T31" fmla="*/ 715 h 942"/>
              <a:gd name="T32" fmla="*/ 540 w 831"/>
              <a:gd name="T33" fmla="*/ 763 h 942"/>
              <a:gd name="T34" fmla="*/ 586 w 831"/>
              <a:gd name="T35" fmla="*/ 892 h 942"/>
              <a:gd name="T36" fmla="*/ 581 w 831"/>
              <a:gd name="T37" fmla="*/ 942 h 942"/>
              <a:gd name="T38" fmla="*/ 830 w 831"/>
              <a:gd name="T39" fmla="*/ 942 h 942"/>
              <a:gd name="T40" fmla="*/ 831 w 831"/>
              <a:gd name="T41" fmla="*/ 909 h 942"/>
              <a:gd name="T42" fmla="*/ 778 w 831"/>
              <a:gd name="T43" fmla="*/ 732 h 942"/>
              <a:gd name="T44" fmla="*/ 637 w 831"/>
              <a:gd name="T45" fmla="*/ 613 h 942"/>
              <a:gd name="T46" fmla="*/ 523 w 831"/>
              <a:gd name="T47" fmla="*/ 474 h 942"/>
              <a:gd name="T48" fmla="*/ 416 w 831"/>
              <a:gd name="T49" fmla="*/ 519 h 942"/>
              <a:gd name="T50" fmla="*/ 309 w 831"/>
              <a:gd name="T51" fmla="*/ 474 h 942"/>
              <a:gd name="T52" fmla="*/ 271 w 831"/>
              <a:gd name="T53" fmla="*/ 356 h 942"/>
              <a:gd name="T54" fmla="*/ 309 w 831"/>
              <a:gd name="T55" fmla="*/ 239 h 942"/>
              <a:gd name="T56" fmla="*/ 416 w 831"/>
              <a:gd name="T57" fmla="*/ 196 h 942"/>
              <a:gd name="T58" fmla="*/ 523 w 831"/>
              <a:gd name="T59" fmla="*/ 240 h 942"/>
              <a:gd name="T60" fmla="*/ 561 w 831"/>
              <a:gd name="T61" fmla="*/ 356 h 942"/>
              <a:gd name="T62" fmla="*/ 523 w 831"/>
              <a:gd name="T63" fmla="*/ 474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1" h="942">
                <a:moveTo>
                  <a:pt x="637" y="613"/>
                </a:moveTo>
                <a:cubicBezTo>
                  <a:pt x="689" y="586"/>
                  <a:pt x="730" y="549"/>
                  <a:pt x="760" y="503"/>
                </a:cubicBezTo>
                <a:cubicBezTo>
                  <a:pt x="790" y="456"/>
                  <a:pt x="805" y="404"/>
                  <a:pt x="805" y="344"/>
                </a:cubicBezTo>
                <a:cubicBezTo>
                  <a:pt x="805" y="238"/>
                  <a:pt x="769" y="154"/>
                  <a:pt x="699" y="93"/>
                </a:cubicBezTo>
                <a:cubicBezTo>
                  <a:pt x="629" y="31"/>
                  <a:pt x="535" y="0"/>
                  <a:pt x="416" y="0"/>
                </a:cubicBezTo>
                <a:cubicBezTo>
                  <a:pt x="296" y="0"/>
                  <a:pt x="201" y="31"/>
                  <a:pt x="131" y="94"/>
                </a:cubicBezTo>
                <a:cubicBezTo>
                  <a:pt x="61" y="156"/>
                  <a:pt x="27" y="239"/>
                  <a:pt x="27" y="344"/>
                </a:cubicBezTo>
                <a:cubicBezTo>
                  <a:pt x="27" y="404"/>
                  <a:pt x="41" y="456"/>
                  <a:pt x="71" y="503"/>
                </a:cubicBezTo>
                <a:cubicBezTo>
                  <a:pt x="100" y="549"/>
                  <a:pt x="141" y="586"/>
                  <a:pt x="194" y="613"/>
                </a:cubicBezTo>
                <a:cubicBezTo>
                  <a:pt x="135" y="641"/>
                  <a:pt x="88" y="681"/>
                  <a:pt x="53" y="731"/>
                </a:cubicBezTo>
                <a:cubicBezTo>
                  <a:pt x="18" y="782"/>
                  <a:pt x="0" y="841"/>
                  <a:pt x="0" y="909"/>
                </a:cubicBezTo>
                <a:cubicBezTo>
                  <a:pt x="0" y="920"/>
                  <a:pt x="1" y="931"/>
                  <a:pt x="2" y="942"/>
                </a:cubicBezTo>
                <a:cubicBezTo>
                  <a:pt x="250" y="942"/>
                  <a:pt x="250" y="942"/>
                  <a:pt x="250" y="942"/>
                </a:cubicBezTo>
                <a:cubicBezTo>
                  <a:pt x="246" y="926"/>
                  <a:pt x="244" y="910"/>
                  <a:pt x="244" y="892"/>
                </a:cubicBezTo>
                <a:cubicBezTo>
                  <a:pt x="244" y="838"/>
                  <a:pt x="260" y="795"/>
                  <a:pt x="291" y="763"/>
                </a:cubicBezTo>
                <a:cubicBezTo>
                  <a:pt x="322" y="731"/>
                  <a:pt x="363" y="715"/>
                  <a:pt x="415" y="715"/>
                </a:cubicBezTo>
                <a:cubicBezTo>
                  <a:pt x="467" y="715"/>
                  <a:pt x="509" y="731"/>
                  <a:pt x="540" y="763"/>
                </a:cubicBezTo>
                <a:cubicBezTo>
                  <a:pt x="571" y="795"/>
                  <a:pt x="586" y="838"/>
                  <a:pt x="586" y="892"/>
                </a:cubicBezTo>
                <a:cubicBezTo>
                  <a:pt x="586" y="910"/>
                  <a:pt x="584" y="926"/>
                  <a:pt x="581" y="942"/>
                </a:cubicBezTo>
                <a:cubicBezTo>
                  <a:pt x="830" y="942"/>
                  <a:pt x="830" y="942"/>
                  <a:pt x="830" y="942"/>
                </a:cubicBezTo>
                <a:cubicBezTo>
                  <a:pt x="830" y="931"/>
                  <a:pt x="831" y="920"/>
                  <a:pt x="831" y="909"/>
                </a:cubicBezTo>
                <a:cubicBezTo>
                  <a:pt x="831" y="841"/>
                  <a:pt x="813" y="782"/>
                  <a:pt x="778" y="732"/>
                </a:cubicBezTo>
                <a:cubicBezTo>
                  <a:pt x="743" y="681"/>
                  <a:pt x="696" y="642"/>
                  <a:pt x="637" y="613"/>
                </a:cubicBezTo>
                <a:close/>
                <a:moveTo>
                  <a:pt x="523" y="474"/>
                </a:moveTo>
                <a:cubicBezTo>
                  <a:pt x="498" y="504"/>
                  <a:pt x="463" y="519"/>
                  <a:pt x="416" y="519"/>
                </a:cubicBezTo>
                <a:cubicBezTo>
                  <a:pt x="370" y="519"/>
                  <a:pt x="335" y="504"/>
                  <a:pt x="309" y="474"/>
                </a:cubicBezTo>
                <a:cubicBezTo>
                  <a:pt x="284" y="444"/>
                  <a:pt x="271" y="405"/>
                  <a:pt x="271" y="356"/>
                </a:cubicBezTo>
                <a:cubicBezTo>
                  <a:pt x="271" y="306"/>
                  <a:pt x="284" y="267"/>
                  <a:pt x="309" y="239"/>
                </a:cubicBezTo>
                <a:cubicBezTo>
                  <a:pt x="335" y="210"/>
                  <a:pt x="370" y="196"/>
                  <a:pt x="416" y="196"/>
                </a:cubicBezTo>
                <a:cubicBezTo>
                  <a:pt x="462" y="196"/>
                  <a:pt x="497" y="211"/>
                  <a:pt x="523" y="240"/>
                </a:cubicBezTo>
                <a:cubicBezTo>
                  <a:pt x="548" y="269"/>
                  <a:pt x="561" y="308"/>
                  <a:pt x="561" y="356"/>
                </a:cubicBezTo>
                <a:cubicBezTo>
                  <a:pt x="561" y="405"/>
                  <a:pt x="548" y="444"/>
                  <a:pt x="523" y="47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EC4552A-4DCE-B044-A4B9-94FEE27D8E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D63160D3-8864-764A-AB04-8E8653E7D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7D8E81E5-EF96-1F4F-86DD-E2D8AE7F0A4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458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9">
            <a:extLst>
              <a:ext uri="{FF2B5EF4-FFF2-40B4-BE49-F238E27FC236}">
                <a16:creationId xmlns:a16="http://schemas.microsoft.com/office/drawing/2014/main" id="{62D17ACD-BC13-E24F-81CE-E72054BAF371}"/>
              </a:ext>
            </a:extLst>
          </p:cNvPr>
          <p:cNvSpPr>
            <a:spLocks noGrp="1" noEditPoints="1"/>
          </p:cNvSpPr>
          <p:nvPr>
            <p:ph type="pic" sz="quarter" idx="58"/>
          </p:nvPr>
        </p:nvSpPr>
        <p:spPr bwMode="auto">
          <a:xfrm>
            <a:off x="20074" y="1767074"/>
            <a:ext cx="10465395" cy="11950514"/>
          </a:xfrm>
          <a:custGeom>
            <a:avLst/>
            <a:gdLst>
              <a:gd name="T0" fmla="*/ 629 w 829"/>
              <a:gd name="T1" fmla="*/ 61 h 942"/>
              <a:gd name="T2" fmla="*/ 413 w 829"/>
              <a:gd name="T3" fmla="*/ 0 h 942"/>
              <a:gd name="T4" fmla="*/ 200 w 829"/>
              <a:gd name="T5" fmla="*/ 56 h 942"/>
              <a:gd name="T6" fmla="*/ 53 w 829"/>
              <a:gd name="T7" fmla="*/ 213 h 942"/>
              <a:gd name="T8" fmla="*/ 0 w 829"/>
              <a:gd name="T9" fmla="*/ 435 h 942"/>
              <a:gd name="T10" fmla="*/ 98 w 829"/>
              <a:gd name="T11" fmla="*/ 737 h 942"/>
              <a:gd name="T12" fmla="*/ 359 w 829"/>
              <a:gd name="T13" fmla="*/ 848 h 942"/>
              <a:gd name="T14" fmla="*/ 582 w 829"/>
              <a:gd name="T15" fmla="*/ 755 h 942"/>
              <a:gd name="T16" fmla="*/ 511 w 829"/>
              <a:gd name="T17" fmla="*/ 942 h 942"/>
              <a:gd name="T18" fmla="*/ 759 w 829"/>
              <a:gd name="T19" fmla="*/ 942 h 942"/>
              <a:gd name="T20" fmla="*/ 829 w 829"/>
              <a:gd name="T21" fmla="*/ 587 h 942"/>
              <a:gd name="T22" fmla="*/ 829 w 829"/>
              <a:gd name="T23" fmla="*/ 497 h 942"/>
              <a:gd name="T24" fmla="*/ 776 w 829"/>
              <a:gd name="T25" fmla="*/ 236 h 942"/>
              <a:gd name="T26" fmla="*/ 629 w 829"/>
              <a:gd name="T27" fmla="*/ 61 h 942"/>
              <a:gd name="T28" fmla="*/ 585 w 829"/>
              <a:gd name="T29" fmla="*/ 558 h 942"/>
              <a:gd name="T30" fmla="*/ 520 w 829"/>
              <a:gd name="T31" fmla="*/ 631 h 942"/>
              <a:gd name="T32" fmla="*/ 419 w 829"/>
              <a:gd name="T33" fmla="*/ 662 h 942"/>
              <a:gd name="T34" fmla="*/ 289 w 829"/>
              <a:gd name="T35" fmla="*/ 597 h 942"/>
              <a:gd name="T36" fmla="*/ 243 w 829"/>
              <a:gd name="T37" fmla="*/ 432 h 942"/>
              <a:gd name="T38" fmla="*/ 290 w 829"/>
              <a:gd name="T39" fmla="*/ 263 h 942"/>
              <a:gd name="T40" fmla="*/ 411 w 829"/>
              <a:gd name="T41" fmla="*/ 196 h 942"/>
              <a:gd name="T42" fmla="*/ 538 w 829"/>
              <a:gd name="T43" fmla="*/ 265 h 942"/>
              <a:gd name="T44" fmla="*/ 585 w 829"/>
              <a:gd name="T45" fmla="*/ 457 h 942"/>
              <a:gd name="T46" fmla="*/ 585 w 829"/>
              <a:gd name="T47" fmla="*/ 558 h 9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9" h="942">
                <a:moveTo>
                  <a:pt x="629" y="61"/>
                </a:moveTo>
                <a:cubicBezTo>
                  <a:pt x="566" y="21"/>
                  <a:pt x="494" y="0"/>
                  <a:pt x="413" y="0"/>
                </a:cubicBezTo>
                <a:cubicBezTo>
                  <a:pt x="334" y="0"/>
                  <a:pt x="263" y="19"/>
                  <a:pt x="200" y="56"/>
                </a:cubicBezTo>
                <a:cubicBezTo>
                  <a:pt x="137" y="94"/>
                  <a:pt x="88" y="146"/>
                  <a:pt x="53" y="213"/>
                </a:cubicBezTo>
                <a:cubicBezTo>
                  <a:pt x="18" y="281"/>
                  <a:pt x="0" y="354"/>
                  <a:pt x="0" y="435"/>
                </a:cubicBezTo>
                <a:cubicBezTo>
                  <a:pt x="0" y="561"/>
                  <a:pt x="33" y="662"/>
                  <a:pt x="98" y="737"/>
                </a:cubicBezTo>
                <a:cubicBezTo>
                  <a:pt x="163" y="811"/>
                  <a:pt x="250" y="848"/>
                  <a:pt x="359" y="848"/>
                </a:cubicBezTo>
                <a:cubicBezTo>
                  <a:pt x="444" y="848"/>
                  <a:pt x="518" y="817"/>
                  <a:pt x="582" y="755"/>
                </a:cubicBezTo>
                <a:cubicBezTo>
                  <a:pt x="574" y="832"/>
                  <a:pt x="551" y="894"/>
                  <a:pt x="511" y="942"/>
                </a:cubicBezTo>
                <a:cubicBezTo>
                  <a:pt x="759" y="942"/>
                  <a:pt x="759" y="942"/>
                  <a:pt x="759" y="942"/>
                </a:cubicBezTo>
                <a:cubicBezTo>
                  <a:pt x="806" y="843"/>
                  <a:pt x="829" y="725"/>
                  <a:pt x="829" y="587"/>
                </a:cubicBezTo>
                <a:cubicBezTo>
                  <a:pt x="829" y="497"/>
                  <a:pt x="829" y="497"/>
                  <a:pt x="829" y="497"/>
                </a:cubicBezTo>
                <a:cubicBezTo>
                  <a:pt x="828" y="399"/>
                  <a:pt x="811" y="312"/>
                  <a:pt x="776" y="236"/>
                </a:cubicBezTo>
                <a:cubicBezTo>
                  <a:pt x="741" y="160"/>
                  <a:pt x="692" y="102"/>
                  <a:pt x="629" y="61"/>
                </a:cubicBezTo>
                <a:close/>
                <a:moveTo>
                  <a:pt x="585" y="558"/>
                </a:moveTo>
                <a:cubicBezTo>
                  <a:pt x="570" y="587"/>
                  <a:pt x="549" y="611"/>
                  <a:pt x="520" y="631"/>
                </a:cubicBezTo>
                <a:cubicBezTo>
                  <a:pt x="492" y="652"/>
                  <a:pt x="458" y="662"/>
                  <a:pt x="419" y="662"/>
                </a:cubicBezTo>
                <a:cubicBezTo>
                  <a:pt x="363" y="662"/>
                  <a:pt x="320" y="640"/>
                  <a:pt x="289" y="597"/>
                </a:cubicBezTo>
                <a:cubicBezTo>
                  <a:pt x="259" y="554"/>
                  <a:pt x="243" y="499"/>
                  <a:pt x="243" y="432"/>
                </a:cubicBezTo>
                <a:cubicBezTo>
                  <a:pt x="243" y="364"/>
                  <a:pt x="259" y="308"/>
                  <a:pt x="290" y="263"/>
                </a:cubicBezTo>
                <a:cubicBezTo>
                  <a:pt x="322" y="219"/>
                  <a:pt x="362" y="196"/>
                  <a:pt x="411" y="196"/>
                </a:cubicBezTo>
                <a:cubicBezTo>
                  <a:pt x="464" y="196"/>
                  <a:pt x="506" y="219"/>
                  <a:pt x="538" y="265"/>
                </a:cubicBezTo>
                <a:cubicBezTo>
                  <a:pt x="569" y="310"/>
                  <a:pt x="585" y="375"/>
                  <a:pt x="585" y="457"/>
                </a:cubicBezTo>
                <a:lnTo>
                  <a:pt x="585" y="55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1AB1BFF-EFAD-114F-9B33-CA99D1DB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58288020-5DAE-CA46-9763-1546398199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38F19FE2-374A-B54D-BEAD-0F20493E823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111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_1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>
            <a:extLst>
              <a:ext uri="{FF2B5EF4-FFF2-40B4-BE49-F238E27FC236}">
                <a16:creationId xmlns:a16="http://schemas.microsoft.com/office/drawing/2014/main" id="{C0D68591-52E5-E148-800D-041B1589A72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 bwMode="auto">
          <a:xfrm>
            <a:off x="0" y="1760177"/>
            <a:ext cx="10513189" cy="11957411"/>
          </a:xfrm>
          <a:custGeom>
            <a:avLst/>
            <a:gdLst>
              <a:gd name="connsiteX0" fmla="*/ 5256595 w 10513189"/>
              <a:gd name="connsiteY0" fmla="*/ 0 h 11957411"/>
              <a:gd name="connsiteX1" fmla="*/ 9145209 w 10513189"/>
              <a:gd name="connsiteY1" fmla="*/ 1675561 h 11957411"/>
              <a:gd name="connsiteX2" fmla="*/ 10513189 w 10513189"/>
              <a:gd name="connsiteY2" fmla="*/ 6499145 h 11957411"/>
              <a:gd name="connsiteX3" fmla="*/ 10513189 w 10513189"/>
              <a:gd name="connsiteY3" fmla="*/ 9367908 h 11957411"/>
              <a:gd name="connsiteX4" fmla="*/ 10247193 w 10513189"/>
              <a:gd name="connsiteY4" fmla="*/ 11957411 h 11957411"/>
              <a:gd name="connsiteX5" fmla="*/ 9501923 w 10513189"/>
              <a:gd name="connsiteY5" fmla="*/ 11957411 h 11957411"/>
              <a:gd name="connsiteX6" fmla="*/ 9495167 w 10513189"/>
              <a:gd name="connsiteY6" fmla="*/ 11957411 h 11957411"/>
              <a:gd name="connsiteX7" fmla="*/ 9416047 w 10513189"/>
              <a:gd name="connsiteY7" fmla="*/ 11957411 h 11957411"/>
              <a:gd name="connsiteX8" fmla="*/ 9384451 w 10513189"/>
              <a:gd name="connsiteY8" fmla="*/ 11957411 h 11957411"/>
              <a:gd name="connsiteX9" fmla="*/ 9358447 w 10513189"/>
              <a:gd name="connsiteY9" fmla="*/ 11957411 h 11957411"/>
              <a:gd name="connsiteX10" fmla="*/ 9278059 w 10513189"/>
              <a:gd name="connsiteY10" fmla="*/ 11957411 h 11957411"/>
              <a:gd name="connsiteX11" fmla="*/ 9255239 w 10513189"/>
              <a:gd name="connsiteY11" fmla="*/ 11957411 h 11957411"/>
              <a:gd name="connsiteX12" fmla="*/ 9228135 w 10513189"/>
              <a:gd name="connsiteY12" fmla="*/ 11957411 h 11957411"/>
              <a:gd name="connsiteX13" fmla="*/ 9171089 w 10513189"/>
              <a:gd name="connsiteY13" fmla="*/ 11957411 h 11957411"/>
              <a:gd name="connsiteX14" fmla="*/ 9113731 w 10513189"/>
              <a:gd name="connsiteY14" fmla="*/ 11957411 h 11957411"/>
              <a:gd name="connsiteX15" fmla="*/ 9106447 w 10513189"/>
              <a:gd name="connsiteY15" fmla="*/ 11957411 h 11957411"/>
              <a:gd name="connsiteX16" fmla="*/ 9033735 w 10513189"/>
              <a:gd name="connsiteY16" fmla="*/ 11957411 h 11957411"/>
              <a:gd name="connsiteX17" fmla="*/ 8959367 w 10513189"/>
              <a:gd name="connsiteY17" fmla="*/ 11957411 h 11957411"/>
              <a:gd name="connsiteX18" fmla="*/ 8952477 w 10513189"/>
              <a:gd name="connsiteY18" fmla="*/ 11957411 h 11957411"/>
              <a:gd name="connsiteX19" fmla="*/ 8862201 w 10513189"/>
              <a:gd name="connsiteY19" fmla="*/ 11957411 h 11957411"/>
              <a:gd name="connsiteX20" fmla="*/ 8791589 w 10513189"/>
              <a:gd name="connsiteY20" fmla="*/ 11957411 h 11957411"/>
              <a:gd name="connsiteX21" fmla="*/ 8762429 w 10513189"/>
              <a:gd name="connsiteY21" fmla="*/ 11957411 h 11957411"/>
              <a:gd name="connsiteX22" fmla="*/ 8652689 w 10513189"/>
              <a:gd name="connsiteY22" fmla="*/ 11957411 h 11957411"/>
              <a:gd name="connsiteX23" fmla="*/ 8609835 w 10513189"/>
              <a:gd name="connsiteY23" fmla="*/ 11957411 h 11957411"/>
              <a:gd name="connsiteX24" fmla="*/ 8532505 w 10513189"/>
              <a:gd name="connsiteY24" fmla="*/ 11957411 h 11957411"/>
              <a:gd name="connsiteX25" fmla="*/ 8413551 w 10513189"/>
              <a:gd name="connsiteY25" fmla="*/ 11957411 h 11957411"/>
              <a:gd name="connsiteX26" fmla="*/ 8401401 w 10513189"/>
              <a:gd name="connsiteY26" fmla="*/ 11957411 h 11957411"/>
              <a:gd name="connsiteX27" fmla="*/ 8258905 w 10513189"/>
              <a:gd name="connsiteY27" fmla="*/ 11957411 h 11957411"/>
              <a:gd name="connsiteX28" fmla="*/ 8202173 w 10513189"/>
              <a:gd name="connsiteY28" fmla="*/ 11957411 h 11957411"/>
              <a:gd name="connsiteX29" fmla="*/ 8104541 w 10513189"/>
              <a:gd name="connsiteY29" fmla="*/ 11957411 h 11957411"/>
              <a:gd name="connsiteX30" fmla="*/ 7975145 w 10513189"/>
              <a:gd name="connsiteY30" fmla="*/ 11957411 h 11957411"/>
              <a:gd name="connsiteX31" fmla="*/ 7937833 w 10513189"/>
              <a:gd name="connsiteY31" fmla="*/ 11957411 h 11957411"/>
              <a:gd name="connsiteX32" fmla="*/ 7758307 w 10513189"/>
              <a:gd name="connsiteY32" fmla="*/ 11957411 h 11957411"/>
              <a:gd name="connsiteX33" fmla="*/ 7731909 w 10513189"/>
              <a:gd name="connsiteY33" fmla="*/ 11957411 h 11957411"/>
              <a:gd name="connsiteX34" fmla="*/ 7565491 w 10513189"/>
              <a:gd name="connsiteY34" fmla="*/ 11957411 h 11957411"/>
              <a:gd name="connsiteX35" fmla="*/ 7471903 w 10513189"/>
              <a:gd name="connsiteY35" fmla="*/ 11957411 h 11957411"/>
              <a:gd name="connsiteX36" fmla="*/ 7358905 w 10513189"/>
              <a:gd name="connsiteY36" fmla="*/ 11957411 h 11957411"/>
              <a:gd name="connsiteX37" fmla="*/ 7194569 w 10513189"/>
              <a:gd name="connsiteY37" fmla="*/ 11957411 h 11957411"/>
              <a:gd name="connsiteX38" fmla="*/ 7138079 w 10513189"/>
              <a:gd name="connsiteY38" fmla="*/ 11957411 h 11957411"/>
              <a:gd name="connsiteX39" fmla="*/ 6902537 w 10513189"/>
              <a:gd name="connsiteY39" fmla="*/ 11957411 h 11957411"/>
              <a:gd name="connsiteX40" fmla="*/ 7106937 w 10513189"/>
              <a:gd name="connsiteY40" fmla="*/ 10024274 h 11957411"/>
              <a:gd name="connsiteX41" fmla="*/ 7106937 w 10513189"/>
              <a:gd name="connsiteY41" fmla="*/ 6496298 h 11957411"/>
              <a:gd name="connsiteX42" fmla="*/ 6655109 w 10513189"/>
              <a:gd name="connsiteY42" fmla="*/ 3801987 h 11957411"/>
              <a:gd name="connsiteX43" fmla="*/ 5256595 w 10513189"/>
              <a:gd name="connsiteY43" fmla="*/ 2968322 h 11957411"/>
              <a:gd name="connsiteX44" fmla="*/ 3890355 w 10513189"/>
              <a:gd name="connsiteY44" fmla="*/ 3765741 h 11957411"/>
              <a:gd name="connsiteX45" fmla="*/ 3417011 w 10513189"/>
              <a:gd name="connsiteY45" fmla="*/ 6266738 h 11957411"/>
              <a:gd name="connsiteX46" fmla="*/ 3417011 w 10513189"/>
              <a:gd name="connsiteY46" fmla="*/ 9879288 h 11957411"/>
              <a:gd name="connsiteX47" fmla="*/ 3632167 w 10513189"/>
              <a:gd name="connsiteY47" fmla="*/ 11957411 h 11957411"/>
              <a:gd name="connsiteX48" fmla="*/ 3364027 w 10513189"/>
              <a:gd name="connsiteY48" fmla="*/ 11957411 h 11957411"/>
              <a:gd name="connsiteX49" fmla="*/ 3343953 w 10513189"/>
              <a:gd name="connsiteY49" fmla="*/ 11957411 h 11957411"/>
              <a:gd name="connsiteX50" fmla="*/ 3343205 w 10513189"/>
              <a:gd name="connsiteY50" fmla="*/ 11957411 h 11957411"/>
              <a:gd name="connsiteX51" fmla="*/ 3337967 w 10513189"/>
              <a:gd name="connsiteY51" fmla="*/ 11957411 h 11957411"/>
              <a:gd name="connsiteX52" fmla="*/ 3323747 w 10513189"/>
              <a:gd name="connsiteY52" fmla="*/ 11957411 h 11957411"/>
              <a:gd name="connsiteX53" fmla="*/ 3306743 w 10513189"/>
              <a:gd name="connsiteY53" fmla="*/ 11957411 h 11957411"/>
              <a:gd name="connsiteX54" fmla="*/ 3296059 w 10513189"/>
              <a:gd name="connsiteY54" fmla="*/ 11957411 h 11957411"/>
              <a:gd name="connsiteX55" fmla="*/ 3250409 w 10513189"/>
              <a:gd name="connsiteY55" fmla="*/ 11957411 h 11957411"/>
              <a:gd name="connsiteX56" fmla="*/ 3241835 w 10513189"/>
              <a:gd name="connsiteY56" fmla="*/ 11957411 h 11957411"/>
              <a:gd name="connsiteX57" fmla="*/ 3182307 w 10513189"/>
              <a:gd name="connsiteY57" fmla="*/ 11957411 h 11957411"/>
              <a:gd name="connsiteX58" fmla="*/ 3168821 w 10513189"/>
              <a:gd name="connsiteY58" fmla="*/ 11957411 h 11957411"/>
              <a:gd name="connsiteX59" fmla="*/ 3138435 w 10513189"/>
              <a:gd name="connsiteY59" fmla="*/ 11957411 h 11957411"/>
              <a:gd name="connsiteX60" fmla="*/ 3087265 w 10513189"/>
              <a:gd name="connsiteY60" fmla="*/ 11957411 h 11957411"/>
              <a:gd name="connsiteX61" fmla="*/ 3087227 w 10513189"/>
              <a:gd name="connsiteY61" fmla="*/ 11957411 h 11957411"/>
              <a:gd name="connsiteX62" fmla="*/ 3028239 w 10513189"/>
              <a:gd name="connsiteY62" fmla="*/ 11957411 h 11957411"/>
              <a:gd name="connsiteX63" fmla="*/ 2996575 w 10513189"/>
              <a:gd name="connsiteY63" fmla="*/ 11957411 h 11957411"/>
              <a:gd name="connsiteX64" fmla="*/ 2960791 w 10513189"/>
              <a:gd name="connsiteY64" fmla="*/ 11957411 h 11957411"/>
              <a:gd name="connsiteX65" fmla="*/ 2896390 w 10513189"/>
              <a:gd name="connsiteY65" fmla="*/ 11957411 h 11957411"/>
              <a:gd name="connsiteX66" fmla="*/ 2884366 w 10513189"/>
              <a:gd name="connsiteY66" fmla="*/ 11957411 h 11957411"/>
              <a:gd name="connsiteX67" fmla="*/ 2798397 w 10513189"/>
              <a:gd name="connsiteY67" fmla="*/ 11957411 h 11957411"/>
              <a:gd name="connsiteX68" fmla="*/ 2786194 w 10513189"/>
              <a:gd name="connsiteY68" fmla="*/ 11957411 h 11957411"/>
              <a:gd name="connsiteX69" fmla="*/ 2702327 w 10513189"/>
              <a:gd name="connsiteY69" fmla="*/ 11957411 h 11957411"/>
              <a:gd name="connsiteX70" fmla="*/ 2665511 w 10513189"/>
              <a:gd name="connsiteY70" fmla="*/ 11957411 h 11957411"/>
              <a:gd name="connsiteX71" fmla="*/ 2595591 w 10513189"/>
              <a:gd name="connsiteY71" fmla="*/ 11957411 h 11957411"/>
              <a:gd name="connsiteX72" fmla="*/ 2533864 w 10513189"/>
              <a:gd name="connsiteY72" fmla="*/ 11957411 h 11957411"/>
              <a:gd name="connsiteX73" fmla="*/ 2477631 w 10513189"/>
              <a:gd name="connsiteY73" fmla="*/ 11957411 h 11957411"/>
              <a:gd name="connsiteX74" fmla="*/ 2390776 w 10513189"/>
              <a:gd name="connsiteY74" fmla="*/ 11957411 h 11957411"/>
              <a:gd name="connsiteX75" fmla="*/ 2347884 w 10513189"/>
              <a:gd name="connsiteY75" fmla="*/ 11957411 h 11957411"/>
              <a:gd name="connsiteX76" fmla="*/ 2235771 w 10513189"/>
              <a:gd name="connsiteY76" fmla="*/ 11957411 h 11957411"/>
              <a:gd name="connsiteX77" fmla="*/ 2205788 w 10513189"/>
              <a:gd name="connsiteY77" fmla="*/ 11957411 h 11957411"/>
              <a:gd name="connsiteX78" fmla="*/ 2068372 w 10513189"/>
              <a:gd name="connsiteY78" fmla="*/ 11957411 h 11957411"/>
              <a:gd name="connsiteX79" fmla="*/ 2050784 w 10513189"/>
              <a:gd name="connsiteY79" fmla="*/ 11957411 h 11957411"/>
              <a:gd name="connsiteX80" fmla="*/ 1888102 w 10513189"/>
              <a:gd name="connsiteY80" fmla="*/ 11957411 h 11957411"/>
              <a:gd name="connsiteX81" fmla="*/ 1882309 w 10513189"/>
              <a:gd name="connsiteY81" fmla="*/ 11957411 h 11957411"/>
              <a:gd name="connsiteX82" fmla="*/ 1699802 w 10513189"/>
              <a:gd name="connsiteY82" fmla="*/ 11957411 h 11957411"/>
              <a:gd name="connsiteX83" fmla="*/ 1694485 w 10513189"/>
              <a:gd name="connsiteY83" fmla="*/ 11957411 h 11957411"/>
              <a:gd name="connsiteX84" fmla="*/ 1502702 w 10513189"/>
              <a:gd name="connsiteY84" fmla="*/ 11957411 h 11957411"/>
              <a:gd name="connsiteX85" fmla="*/ 1487043 w 10513189"/>
              <a:gd name="connsiteY85" fmla="*/ 11957411 h 11957411"/>
              <a:gd name="connsiteX86" fmla="*/ 1290448 w 10513189"/>
              <a:gd name="connsiteY86" fmla="*/ 11957411 h 11957411"/>
              <a:gd name="connsiteX87" fmla="*/ 1265301 w 10513189"/>
              <a:gd name="connsiteY87" fmla="*/ 11957411 h 11957411"/>
              <a:gd name="connsiteX88" fmla="*/ 1062479 w 10513189"/>
              <a:gd name="connsiteY88" fmla="*/ 11957411 h 11957411"/>
              <a:gd name="connsiteX89" fmla="*/ 1028781 w 10513189"/>
              <a:gd name="connsiteY89" fmla="*/ 11957411 h 11957411"/>
              <a:gd name="connsiteX90" fmla="*/ 818232 w 10513189"/>
              <a:gd name="connsiteY90" fmla="*/ 11957411 h 11957411"/>
              <a:gd name="connsiteX91" fmla="*/ 278663 w 10513189"/>
              <a:gd name="connsiteY91" fmla="*/ 11957411 h 11957411"/>
              <a:gd name="connsiteX92" fmla="*/ 0 w 10513189"/>
              <a:gd name="connsiteY92" fmla="*/ 9532925 h 11957411"/>
              <a:gd name="connsiteX93" fmla="*/ 0 w 10513189"/>
              <a:gd name="connsiteY93" fmla="*/ 6651468 h 11957411"/>
              <a:gd name="connsiteX94" fmla="*/ 1355315 w 10513189"/>
              <a:gd name="connsiteY94" fmla="*/ 1700948 h 11957411"/>
              <a:gd name="connsiteX95" fmla="*/ 5256595 w 10513189"/>
              <a:gd name="connsiteY95" fmla="*/ 0 h 11957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0513189" h="11957411">
                <a:moveTo>
                  <a:pt x="5256595" y="0"/>
                </a:moveTo>
                <a:cubicBezTo>
                  <a:pt x="6941237" y="0"/>
                  <a:pt x="8245887" y="558520"/>
                  <a:pt x="9145209" y="1675561"/>
                </a:cubicBezTo>
                <a:cubicBezTo>
                  <a:pt x="10044529" y="2805295"/>
                  <a:pt x="10500523" y="4404695"/>
                  <a:pt x="10513189" y="6499145"/>
                </a:cubicBezTo>
                <a:cubicBezTo>
                  <a:pt x="10513189" y="6499145"/>
                  <a:pt x="10513189" y="6499145"/>
                  <a:pt x="10513189" y="9367908"/>
                </a:cubicBezTo>
                <a:cubicBezTo>
                  <a:pt x="10513189" y="10332625"/>
                  <a:pt x="10424525" y="11195792"/>
                  <a:pt x="10247193" y="11957411"/>
                </a:cubicBezTo>
                <a:cubicBezTo>
                  <a:pt x="10247193" y="11957411"/>
                  <a:pt x="10247193" y="11957411"/>
                  <a:pt x="9501923" y="11957411"/>
                </a:cubicBezTo>
                <a:lnTo>
                  <a:pt x="9495167" y="11957411"/>
                </a:lnTo>
                <a:cubicBezTo>
                  <a:pt x="9495167" y="11957411"/>
                  <a:pt x="9495167" y="11957411"/>
                  <a:pt x="9416047" y="11957411"/>
                </a:cubicBezTo>
                <a:lnTo>
                  <a:pt x="9384451" y="11957411"/>
                </a:lnTo>
                <a:lnTo>
                  <a:pt x="9358447" y="11957411"/>
                </a:lnTo>
                <a:cubicBezTo>
                  <a:pt x="9335659" y="11957411"/>
                  <a:pt x="9309075" y="11957411"/>
                  <a:pt x="9278059" y="11957411"/>
                </a:cubicBezTo>
                <a:lnTo>
                  <a:pt x="9255239" y="11957411"/>
                </a:lnTo>
                <a:lnTo>
                  <a:pt x="9228135" y="11957411"/>
                </a:lnTo>
                <a:cubicBezTo>
                  <a:pt x="9210333" y="11957411"/>
                  <a:pt x="9191343" y="11957411"/>
                  <a:pt x="9171089" y="11957411"/>
                </a:cubicBezTo>
                <a:lnTo>
                  <a:pt x="9113731" y="11957411"/>
                </a:lnTo>
                <a:lnTo>
                  <a:pt x="9106447" y="11957411"/>
                </a:lnTo>
                <a:cubicBezTo>
                  <a:pt x="9083581" y="11957411"/>
                  <a:pt x="9059369" y="11957411"/>
                  <a:pt x="9033735" y="11957411"/>
                </a:cubicBezTo>
                <a:lnTo>
                  <a:pt x="8959367" y="11957411"/>
                </a:lnTo>
                <a:lnTo>
                  <a:pt x="8952477" y="11957411"/>
                </a:lnTo>
                <a:cubicBezTo>
                  <a:pt x="8923915" y="11957411"/>
                  <a:pt x="8893849" y="11957411"/>
                  <a:pt x="8862201" y="11957411"/>
                </a:cubicBezTo>
                <a:lnTo>
                  <a:pt x="8791589" y="11957411"/>
                </a:lnTo>
                <a:lnTo>
                  <a:pt x="8762429" y="11957411"/>
                </a:lnTo>
                <a:cubicBezTo>
                  <a:pt x="8727537" y="11957411"/>
                  <a:pt x="8690983" y="11957411"/>
                  <a:pt x="8652689" y="11957411"/>
                </a:cubicBezTo>
                <a:lnTo>
                  <a:pt x="8609835" y="11957411"/>
                </a:lnTo>
                <a:lnTo>
                  <a:pt x="8532505" y="11957411"/>
                </a:lnTo>
                <a:lnTo>
                  <a:pt x="8413551" y="11957411"/>
                </a:lnTo>
                <a:lnTo>
                  <a:pt x="8401401" y="11957411"/>
                </a:lnTo>
                <a:cubicBezTo>
                  <a:pt x="8355827" y="11957411"/>
                  <a:pt x="8308355" y="11957411"/>
                  <a:pt x="8258905" y="11957411"/>
                </a:cubicBezTo>
                <a:lnTo>
                  <a:pt x="8202173" y="11957411"/>
                </a:lnTo>
                <a:lnTo>
                  <a:pt x="8104541" y="11957411"/>
                </a:lnTo>
                <a:lnTo>
                  <a:pt x="7975145" y="11957411"/>
                </a:lnTo>
                <a:lnTo>
                  <a:pt x="7937833" y="11957411"/>
                </a:lnTo>
                <a:cubicBezTo>
                  <a:pt x="7880153" y="11957411"/>
                  <a:pt x="7820339" y="11957411"/>
                  <a:pt x="7758307" y="11957411"/>
                </a:cubicBezTo>
                <a:lnTo>
                  <a:pt x="7731909" y="11957411"/>
                </a:lnTo>
                <a:lnTo>
                  <a:pt x="7565491" y="11957411"/>
                </a:lnTo>
                <a:lnTo>
                  <a:pt x="7471903" y="11957411"/>
                </a:lnTo>
                <a:lnTo>
                  <a:pt x="7358905" y="11957411"/>
                </a:lnTo>
                <a:lnTo>
                  <a:pt x="7194569" y="11957411"/>
                </a:lnTo>
                <a:lnTo>
                  <a:pt x="7138079" y="11957411"/>
                </a:lnTo>
                <a:cubicBezTo>
                  <a:pt x="7062045" y="11957411"/>
                  <a:pt x="6983557" y="11957411"/>
                  <a:pt x="6902537" y="11957411"/>
                </a:cubicBezTo>
                <a:cubicBezTo>
                  <a:pt x="7031631" y="11449962"/>
                  <a:pt x="7096179" y="10797529"/>
                  <a:pt x="7106937" y="10024274"/>
                </a:cubicBezTo>
                <a:cubicBezTo>
                  <a:pt x="7106937" y="10024274"/>
                  <a:pt x="7106937" y="10024274"/>
                  <a:pt x="7106937" y="6496298"/>
                </a:cubicBezTo>
                <a:cubicBezTo>
                  <a:pt x="7106937" y="5263923"/>
                  <a:pt x="6956327" y="4369846"/>
                  <a:pt x="6655109" y="3801987"/>
                </a:cubicBezTo>
                <a:cubicBezTo>
                  <a:pt x="6353891" y="3246210"/>
                  <a:pt x="5891305" y="2968322"/>
                  <a:pt x="5256595" y="2968322"/>
                </a:cubicBezTo>
                <a:cubicBezTo>
                  <a:pt x="4632643" y="2968322"/>
                  <a:pt x="4180815" y="3234128"/>
                  <a:pt x="3890355" y="3765741"/>
                </a:cubicBezTo>
                <a:cubicBezTo>
                  <a:pt x="3589137" y="4297354"/>
                  <a:pt x="3438527" y="5131019"/>
                  <a:pt x="3417011" y="6266738"/>
                </a:cubicBezTo>
                <a:cubicBezTo>
                  <a:pt x="3417011" y="6266738"/>
                  <a:pt x="3417011" y="6266738"/>
                  <a:pt x="3417011" y="9879288"/>
                </a:cubicBezTo>
                <a:cubicBezTo>
                  <a:pt x="3417011" y="10725036"/>
                  <a:pt x="3492317" y="11413716"/>
                  <a:pt x="3632167" y="11957411"/>
                </a:cubicBezTo>
                <a:cubicBezTo>
                  <a:pt x="3632167" y="11957411"/>
                  <a:pt x="3632167" y="11957411"/>
                  <a:pt x="3364027" y="11957411"/>
                </a:cubicBezTo>
                <a:lnTo>
                  <a:pt x="3343953" y="11957411"/>
                </a:lnTo>
                <a:lnTo>
                  <a:pt x="3343205" y="11957411"/>
                </a:lnTo>
                <a:lnTo>
                  <a:pt x="3337967" y="11957411"/>
                </a:lnTo>
                <a:lnTo>
                  <a:pt x="3323747" y="11957411"/>
                </a:lnTo>
                <a:lnTo>
                  <a:pt x="3306743" y="11957411"/>
                </a:lnTo>
                <a:lnTo>
                  <a:pt x="3296059" y="11957411"/>
                </a:lnTo>
                <a:lnTo>
                  <a:pt x="3250409" y="11957411"/>
                </a:lnTo>
                <a:lnTo>
                  <a:pt x="3241835" y="11957411"/>
                </a:lnTo>
                <a:lnTo>
                  <a:pt x="3182307" y="11957411"/>
                </a:lnTo>
                <a:lnTo>
                  <a:pt x="3168821" y="11957411"/>
                </a:lnTo>
                <a:lnTo>
                  <a:pt x="3138435" y="11957411"/>
                </a:lnTo>
                <a:lnTo>
                  <a:pt x="3087265" y="11957411"/>
                </a:lnTo>
                <a:lnTo>
                  <a:pt x="3087227" y="11957411"/>
                </a:lnTo>
                <a:lnTo>
                  <a:pt x="3028239" y="11957411"/>
                </a:lnTo>
                <a:lnTo>
                  <a:pt x="2996575" y="11957411"/>
                </a:lnTo>
                <a:lnTo>
                  <a:pt x="2960791" y="11957411"/>
                </a:lnTo>
                <a:lnTo>
                  <a:pt x="2896390" y="11957411"/>
                </a:lnTo>
                <a:lnTo>
                  <a:pt x="2884366" y="11957411"/>
                </a:lnTo>
                <a:lnTo>
                  <a:pt x="2798397" y="11957411"/>
                </a:lnTo>
                <a:lnTo>
                  <a:pt x="2786194" y="11957411"/>
                </a:lnTo>
                <a:lnTo>
                  <a:pt x="2702327" y="11957411"/>
                </a:lnTo>
                <a:lnTo>
                  <a:pt x="2665511" y="11957411"/>
                </a:lnTo>
                <a:lnTo>
                  <a:pt x="2595591" y="11957411"/>
                </a:lnTo>
                <a:lnTo>
                  <a:pt x="2533864" y="11957411"/>
                </a:lnTo>
                <a:lnTo>
                  <a:pt x="2477631" y="11957411"/>
                </a:lnTo>
                <a:lnTo>
                  <a:pt x="2390776" y="11957411"/>
                </a:lnTo>
                <a:lnTo>
                  <a:pt x="2347884" y="11957411"/>
                </a:lnTo>
                <a:lnTo>
                  <a:pt x="2235771" y="11957411"/>
                </a:lnTo>
                <a:lnTo>
                  <a:pt x="2205788" y="11957411"/>
                </a:lnTo>
                <a:lnTo>
                  <a:pt x="2068372" y="11957411"/>
                </a:lnTo>
                <a:lnTo>
                  <a:pt x="2050784" y="11957411"/>
                </a:lnTo>
                <a:lnTo>
                  <a:pt x="1888102" y="11957411"/>
                </a:lnTo>
                <a:lnTo>
                  <a:pt x="1882309" y="11957411"/>
                </a:lnTo>
                <a:lnTo>
                  <a:pt x="1699802" y="11957411"/>
                </a:lnTo>
                <a:lnTo>
                  <a:pt x="1694485" y="11957411"/>
                </a:lnTo>
                <a:lnTo>
                  <a:pt x="1502702" y="11957411"/>
                </a:lnTo>
                <a:lnTo>
                  <a:pt x="1487043" y="11957411"/>
                </a:lnTo>
                <a:lnTo>
                  <a:pt x="1290448" y="11957411"/>
                </a:lnTo>
                <a:lnTo>
                  <a:pt x="1265301" y="11957411"/>
                </a:lnTo>
                <a:lnTo>
                  <a:pt x="1062479" y="11957411"/>
                </a:lnTo>
                <a:lnTo>
                  <a:pt x="1028781" y="11957411"/>
                </a:lnTo>
                <a:lnTo>
                  <a:pt x="818232" y="11957411"/>
                </a:lnTo>
                <a:cubicBezTo>
                  <a:pt x="649851" y="11957411"/>
                  <a:pt x="470244" y="11957411"/>
                  <a:pt x="278663" y="11957411"/>
                </a:cubicBezTo>
                <a:cubicBezTo>
                  <a:pt x="101332" y="11233873"/>
                  <a:pt x="12666" y="10421480"/>
                  <a:pt x="0" y="9532925"/>
                </a:cubicBezTo>
                <a:cubicBezTo>
                  <a:pt x="0" y="9532925"/>
                  <a:pt x="0" y="9532925"/>
                  <a:pt x="0" y="6651468"/>
                </a:cubicBezTo>
                <a:cubicBezTo>
                  <a:pt x="0" y="4480856"/>
                  <a:pt x="455994" y="2830682"/>
                  <a:pt x="1355315" y="1700948"/>
                </a:cubicBezTo>
                <a:cubicBezTo>
                  <a:pt x="2254636" y="571214"/>
                  <a:pt x="3559285" y="0"/>
                  <a:pt x="5256595" y="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E4C49EC-3C14-0046-B0AE-DD2CBADBA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99385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FEA7CFC-443E-534E-B035-49AAA76228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99551" y="5850682"/>
            <a:ext cx="8719172" cy="6086558"/>
          </a:xfrm>
          <a:prstGeom prst="rect">
            <a:avLst/>
          </a:prstGeom>
        </p:spPr>
        <p:txBody>
          <a:bodyPr/>
          <a:lstStyle>
            <a:lvl1pPr algn="r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7A196FB3-9014-704C-ADAF-A5F9ACFE12B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42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icture Placeholder 2">
            <a:extLst>
              <a:ext uri="{FF2B5EF4-FFF2-40B4-BE49-F238E27FC236}">
                <a16:creationId xmlns:a16="http://schemas.microsoft.com/office/drawing/2014/main" id="{27D9A197-D8E8-014B-83B8-18AF5E2C9D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24387174" cy="13717587"/>
          </a:xfrm>
          <a:prstGeom prst="rect">
            <a:avLst/>
          </a:pr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DD616751-8DAB-034B-9E37-CE8F2B324817}"/>
              </a:ext>
            </a:extLst>
          </p:cNvPr>
          <p:cNvGrpSpPr/>
          <p:nvPr userDrawn="1"/>
        </p:nvGrpSpPr>
        <p:grpSpPr>
          <a:xfrm>
            <a:off x="960340" y="665390"/>
            <a:ext cx="22218207" cy="12593300"/>
            <a:chOff x="480170" y="332656"/>
            <a:chExt cx="11109104" cy="6295921"/>
          </a:xfrm>
        </p:grpSpPr>
        <p:sp>
          <p:nvSpPr>
            <p:cNvPr id="10" name="Треугольник 9">
              <a:extLst>
                <a:ext uri="{FF2B5EF4-FFF2-40B4-BE49-F238E27FC236}">
                  <a16:creationId xmlns:a16="http://schemas.microsoft.com/office/drawing/2014/main" id="{ECFD81B6-ED34-E243-AB38-53D47CC66C9B}"/>
                </a:ext>
              </a:extLst>
            </p:cNvPr>
            <p:cNvSpPr/>
            <p:nvPr/>
          </p:nvSpPr>
          <p:spPr>
            <a:xfrm>
              <a:off x="3792721" y="1124743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1" name="Треугольник 10">
              <a:extLst>
                <a:ext uri="{FF2B5EF4-FFF2-40B4-BE49-F238E27FC236}">
                  <a16:creationId xmlns:a16="http://schemas.microsoft.com/office/drawing/2014/main" id="{E573FBCD-82A3-2148-A980-D75B3A768A5A}"/>
                </a:ext>
              </a:extLst>
            </p:cNvPr>
            <p:cNvSpPr/>
            <p:nvPr/>
          </p:nvSpPr>
          <p:spPr>
            <a:xfrm>
              <a:off x="6397520" y="908719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2" name="Треугольник 11">
              <a:extLst>
                <a:ext uri="{FF2B5EF4-FFF2-40B4-BE49-F238E27FC236}">
                  <a16:creationId xmlns:a16="http://schemas.microsoft.com/office/drawing/2014/main" id="{886769AC-D078-0A47-A6E2-49BC6F7D40D2}"/>
                </a:ext>
              </a:extLst>
            </p:cNvPr>
            <p:cNvSpPr/>
            <p:nvPr/>
          </p:nvSpPr>
          <p:spPr>
            <a:xfrm>
              <a:off x="2856434" y="2085999"/>
              <a:ext cx="91880" cy="45719"/>
            </a:xfrm>
            <a:prstGeom prst="triangle">
              <a:avLst/>
            </a:prstGeom>
            <a:solidFill>
              <a:schemeClr val="accent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4" name="Треугольник 13">
              <a:extLst>
                <a:ext uri="{FF2B5EF4-FFF2-40B4-BE49-F238E27FC236}">
                  <a16:creationId xmlns:a16="http://schemas.microsoft.com/office/drawing/2014/main" id="{A1B94C5C-2F65-FA44-A764-D725336F5BEE}"/>
                </a:ext>
              </a:extLst>
            </p:cNvPr>
            <p:cNvSpPr/>
            <p:nvPr/>
          </p:nvSpPr>
          <p:spPr>
            <a:xfrm>
              <a:off x="11242075" y="4797151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5" name="Треугольник 14">
              <a:extLst>
                <a:ext uri="{FF2B5EF4-FFF2-40B4-BE49-F238E27FC236}">
                  <a16:creationId xmlns:a16="http://schemas.microsoft.com/office/drawing/2014/main" id="{A8803783-54AC-FE41-AF27-1A58E303D7DB}"/>
                </a:ext>
              </a:extLst>
            </p:cNvPr>
            <p:cNvSpPr/>
            <p:nvPr/>
          </p:nvSpPr>
          <p:spPr>
            <a:xfrm>
              <a:off x="480170" y="4725143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6" name="Треугольник 15">
              <a:extLst>
                <a:ext uri="{FF2B5EF4-FFF2-40B4-BE49-F238E27FC236}">
                  <a16:creationId xmlns:a16="http://schemas.microsoft.com/office/drawing/2014/main" id="{3FAD7213-DFAF-B743-87A8-C0DAAE53B85E}"/>
                </a:ext>
              </a:extLst>
            </p:cNvPr>
            <p:cNvSpPr/>
            <p:nvPr/>
          </p:nvSpPr>
          <p:spPr>
            <a:xfrm>
              <a:off x="990838" y="5877271"/>
              <a:ext cx="91880" cy="45719"/>
            </a:xfrm>
            <a:prstGeom prst="triangl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7" name="Треугольник 16">
              <a:extLst>
                <a:ext uri="{FF2B5EF4-FFF2-40B4-BE49-F238E27FC236}">
                  <a16:creationId xmlns:a16="http://schemas.microsoft.com/office/drawing/2014/main" id="{6625E069-7B2B-B146-9271-20D92F097C7A}"/>
                </a:ext>
              </a:extLst>
            </p:cNvPr>
            <p:cNvSpPr/>
            <p:nvPr/>
          </p:nvSpPr>
          <p:spPr>
            <a:xfrm rot="10800000">
              <a:off x="7813024" y="4725143"/>
              <a:ext cx="91880" cy="45719"/>
            </a:xfrm>
            <a:prstGeom prst="triangle">
              <a:avLst/>
            </a:prstGeom>
            <a:solidFill>
              <a:schemeClr val="accent3"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8" name="Треугольник 17">
              <a:extLst>
                <a:ext uri="{FF2B5EF4-FFF2-40B4-BE49-F238E27FC236}">
                  <a16:creationId xmlns:a16="http://schemas.microsoft.com/office/drawing/2014/main" id="{730DEED6-8A66-5140-84CB-E0A2C14E7FD4}"/>
                </a:ext>
              </a:extLst>
            </p:cNvPr>
            <p:cNvSpPr/>
            <p:nvPr/>
          </p:nvSpPr>
          <p:spPr>
            <a:xfrm rot="10800000">
              <a:off x="8068358" y="1340767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19" name="Треугольник 18">
              <a:extLst>
                <a:ext uri="{FF2B5EF4-FFF2-40B4-BE49-F238E27FC236}">
                  <a16:creationId xmlns:a16="http://schemas.microsoft.com/office/drawing/2014/main" id="{CD4FF605-4D16-4B4A-8086-0F826EB43FEB}"/>
                </a:ext>
              </a:extLst>
            </p:cNvPr>
            <p:cNvSpPr/>
            <p:nvPr/>
          </p:nvSpPr>
          <p:spPr>
            <a:xfrm rot="10800000">
              <a:off x="1246172" y="2852935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0" name="Треугольник 19">
              <a:extLst>
                <a:ext uri="{FF2B5EF4-FFF2-40B4-BE49-F238E27FC236}">
                  <a16:creationId xmlns:a16="http://schemas.microsoft.com/office/drawing/2014/main" id="{DDA0C5CF-0DF0-BB45-91BA-6624745A869D}"/>
                </a:ext>
              </a:extLst>
            </p:cNvPr>
            <p:cNvSpPr/>
            <p:nvPr/>
          </p:nvSpPr>
          <p:spPr>
            <a:xfrm rot="10800000">
              <a:off x="10986741" y="6047575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1" name="Треугольник 20">
              <a:extLst>
                <a:ext uri="{FF2B5EF4-FFF2-40B4-BE49-F238E27FC236}">
                  <a16:creationId xmlns:a16="http://schemas.microsoft.com/office/drawing/2014/main" id="{2D1D1E78-4C68-C049-B35B-DF7EC8C55A0E}"/>
                </a:ext>
              </a:extLst>
            </p:cNvPr>
            <p:cNvSpPr/>
            <p:nvPr/>
          </p:nvSpPr>
          <p:spPr>
            <a:xfrm rot="10800000">
              <a:off x="8323692" y="332656"/>
              <a:ext cx="91880" cy="45719"/>
            </a:xfrm>
            <a:prstGeom prst="triangle">
              <a:avLst/>
            </a:prstGeom>
            <a:solidFill>
              <a:schemeClr val="accent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2" name="Треугольник 21">
              <a:extLst>
                <a:ext uri="{FF2B5EF4-FFF2-40B4-BE49-F238E27FC236}">
                  <a16:creationId xmlns:a16="http://schemas.microsoft.com/office/drawing/2014/main" id="{9366D4D7-C730-E247-8463-341AA38334C5}"/>
                </a:ext>
              </a:extLst>
            </p:cNvPr>
            <p:cNvSpPr/>
            <p:nvPr/>
          </p:nvSpPr>
          <p:spPr>
            <a:xfrm rot="10800000">
              <a:off x="7105272" y="5733255"/>
              <a:ext cx="91880" cy="45719"/>
            </a:xfrm>
            <a:prstGeom prst="triangle">
              <a:avLst/>
            </a:prstGeom>
            <a:solidFill>
              <a:schemeClr val="accent3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3" name="Треугольник 22">
              <a:extLst>
                <a:ext uri="{FF2B5EF4-FFF2-40B4-BE49-F238E27FC236}">
                  <a16:creationId xmlns:a16="http://schemas.microsoft.com/office/drawing/2014/main" id="{27D05058-59AB-A34F-A7DC-9E52E7EAB6B6}"/>
                </a:ext>
              </a:extLst>
            </p:cNvPr>
            <p:cNvSpPr/>
            <p:nvPr/>
          </p:nvSpPr>
          <p:spPr>
            <a:xfrm rot="10800000">
              <a:off x="10220739" y="5877271"/>
              <a:ext cx="91880" cy="45719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4" name="Треугольник 23">
              <a:extLst>
                <a:ext uri="{FF2B5EF4-FFF2-40B4-BE49-F238E27FC236}">
                  <a16:creationId xmlns:a16="http://schemas.microsoft.com/office/drawing/2014/main" id="{E6CC6BA6-CDEA-DD4C-ADC1-3F2EBB470AEB}"/>
                </a:ext>
              </a:extLst>
            </p:cNvPr>
            <p:cNvSpPr/>
            <p:nvPr/>
          </p:nvSpPr>
          <p:spPr>
            <a:xfrm rot="10800000">
              <a:off x="10476073" y="5013175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5" name="Треугольник 24">
              <a:extLst>
                <a:ext uri="{FF2B5EF4-FFF2-40B4-BE49-F238E27FC236}">
                  <a16:creationId xmlns:a16="http://schemas.microsoft.com/office/drawing/2014/main" id="{ACA90EE4-4B56-6742-A2D7-D63A4E0CFED7}"/>
                </a:ext>
              </a:extLst>
            </p:cNvPr>
            <p:cNvSpPr/>
            <p:nvPr/>
          </p:nvSpPr>
          <p:spPr>
            <a:xfrm rot="10800000">
              <a:off x="2858760" y="3861047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6" name="Треугольник 25">
              <a:extLst>
                <a:ext uri="{FF2B5EF4-FFF2-40B4-BE49-F238E27FC236}">
                  <a16:creationId xmlns:a16="http://schemas.microsoft.com/office/drawing/2014/main" id="{C790AE41-92D1-BE49-ABAD-F3B635F26DAC}"/>
                </a:ext>
              </a:extLst>
            </p:cNvPr>
            <p:cNvSpPr/>
            <p:nvPr/>
          </p:nvSpPr>
          <p:spPr>
            <a:xfrm rot="10800000">
              <a:off x="11497394" y="2564903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7" name="Треугольник 26">
              <a:extLst>
                <a:ext uri="{FF2B5EF4-FFF2-40B4-BE49-F238E27FC236}">
                  <a16:creationId xmlns:a16="http://schemas.microsoft.com/office/drawing/2014/main" id="{43A4CA3A-DD29-944B-94D4-0D8434501DB7}"/>
                </a:ext>
              </a:extLst>
            </p:cNvPr>
            <p:cNvSpPr/>
            <p:nvPr/>
          </p:nvSpPr>
          <p:spPr>
            <a:xfrm rot="10800000">
              <a:off x="9739196" y="548679"/>
              <a:ext cx="91880" cy="45719"/>
            </a:xfrm>
            <a:prstGeom prst="triangle">
              <a:avLst/>
            </a:prstGeom>
            <a:solidFill>
              <a:schemeClr val="accent1">
                <a:alpha val="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8" name="Треугольник 27">
              <a:extLst>
                <a:ext uri="{FF2B5EF4-FFF2-40B4-BE49-F238E27FC236}">
                  <a16:creationId xmlns:a16="http://schemas.microsoft.com/office/drawing/2014/main" id="{EB26CD4C-42F1-364D-91CD-EFBDBD865143}"/>
                </a:ext>
              </a:extLst>
            </p:cNvPr>
            <p:cNvSpPr/>
            <p:nvPr/>
          </p:nvSpPr>
          <p:spPr>
            <a:xfrm>
              <a:off x="5689768" y="1916831"/>
              <a:ext cx="91880" cy="45719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29" name="Треугольник 28">
              <a:extLst>
                <a:ext uri="{FF2B5EF4-FFF2-40B4-BE49-F238E27FC236}">
                  <a16:creationId xmlns:a16="http://schemas.microsoft.com/office/drawing/2014/main" id="{BC7C07A2-1586-0341-A280-793323C21326}"/>
                </a:ext>
              </a:extLst>
            </p:cNvPr>
            <p:cNvSpPr/>
            <p:nvPr/>
          </p:nvSpPr>
          <p:spPr>
            <a:xfrm>
              <a:off x="4048055" y="3212975"/>
              <a:ext cx="91880" cy="45719"/>
            </a:xfrm>
            <a:prstGeom prst="triangle">
              <a:avLst/>
            </a:prstGeom>
            <a:solidFill>
              <a:schemeClr val="accent2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0" name="Треугольник 29">
              <a:extLst>
                <a:ext uri="{FF2B5EF4-FFF2-40B4-BE49-F238E27FC236}">
                  <a16:creationId xmlns:a16="http://schemas.microsoft.com/office/drawing/2014/main" id="{13145217-0CD1-A74F-84AD-D6447D4D8AA7}"/>
                </a:ext>
              </a:extLst>
            </p:cNvPr>
            <p:cNvSpPr/>
            <p:nvPr/>
          </p:nvSpPr>
          <p:spPr>
            <a:xfrm>
              <a:off x="10731407" y="3933055"/>
              <a:ext cx="91880" cy="4571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1" name="Треугольник 30">
              <a:extLst>
                <a:ext uri="{FF2B5EF4-FFF2-40B4-BE49-F238E27FC236}">
                  <a16:creationId xmlns:a16="http://schemas.microsoft.com/office/drawing/2014/main" id="{F120FC97-62E0-264C-B03E-6845536C4CB1}"/>
                </a:ext>
              </a:extLst>
            </p:cNvPr>
            <p:cNvSpPr/>
            <p:nvPr/>
          </p:nvSpPr>
          <p:spPr>
            <a:xfrm>
              <a:off x="735504" y="738415"/>
              <a:ext cx="91880" cy="45719"/>
            </a:xfrm>
            <a:prstGeom prst="triangle">
              <a:avLst/>
            </a:prstGeom>
            <a:solidFill>
              <a:schemeClr val="accent1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2" name="Треугольник 31">
              <a:extLst>
                <a:ext uri="{FF2B5EF4-FFF2-40B4-BE49-F238E27FC236}">
                  <a16:creationId xmlns:a16="http://schemas.microsoft.com/office/drawing/2014/main" id="{A808AFFD-041A-244D-958E-6403FE2BC6A4}"/>
                </a:ext>
              </a:extLst>
            </p:cNvPr>
            <p:cNvSpPr/>
            <p:nvPr/>
          </p:nvSpPr>
          <p:spPr>
            <a:xfrm>
              <a:off x="8579026" y="6453334"/>
              <a:ext cx="91880" cy="4571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3" name="Треугольник 32">
              <a:extLst>
                <a:ext uri="{FF2B5EF4-FFF2-40B4-BE49-F238E27FC236}">
                  <a16:creationId xmlns:a16="http://schemas.microsoft.com/office/drawing/2014/main" id="{B1207782-6ECA-E448-AE4B-FF4708C9A250}"/>
                </a:ext>
              </a:extLst>
            </p:cNvPr>
            <p:cNvSpPr/>
            <p:nvPr/>
          </p:nvSpPr>
          <p:spPr>
            <a:xfrm>
              <a:off x="4303389" y="1284389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4" name="Треугольник 33">
              <a:extLst>
                <a:ext uri="{FF2B5EF4-FFF2-40B4-BE49-F238E27FC236}">
                  <a16:creationId xmlns:a16="http://schemas.microsoft.com/office/drawing/2014/main" id="{D41B288E-2375-954B-A73E-868919EE499A}"/>
                </a:ext>
              </a:extLst>
            </p:cNvPr>
            <p:cNvSpPr/>
            <p:nvPr/>
          </p:nvSpPr>
          <p:spPr>
            <a:xfrm>
              <a:off x="6652854" y="1068365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5" name="Треугольник 34">
              <a:extLst>
                <a:ext uri="{FF2B5EF4-FFF2-40B4-BE49-F238E27FC236}">
                  <a16:creationId xmlns:a16="http://schemas.microsoft.com/office/drawing/2014/main" id="{537F7E97-2E0E-254F-A3B6-0785475D1878}"/>
                </a:ext>
              </a:extLst>
            </p:cNvPr>
            <p:cNvSpPr/>
            <p:nvPr/>
          </p:nvSpPr>
          <p:spPr>
            <a:xfrm>
              <a:off x="3111768" y="2245645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6" name="Треугольник 35">
              <a:extLst>
                <a:ext uri="{FF2B5EF4-FFF2-40B4-BE49-F238E27FC236}">
                  <a16:creationId xmlns:a16="http://schemas.microsoft.com/office/drawing/2014/main" id="{DE239722-2A83-044C-9C3A-0A7AD172DD3C}"/>
                </a:ext>
              </a:extLst>
            </p:cNvPr>
            <p:cNvSpPr/>
            <p:nvPr/>
          </p:nvSpPr>
          <p:spPr>
            <a:xfrm rot="10800000">
              <a:off x="8834360" y="1500413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7" name="Треугольник 36">
              <a:extLst>
                <a:ext uri="{FF2B5EF4-FFF2-40B4-BE49-F238E27FC236}">
                  <a16:creationId xmlns:a16="http://schemas.microsoft.com/office/drawing/2014/main" id="{4818ADB1-67C0-2847-8494-4E19C9F1FE85}"/>
                </a:ext>
              </a:extLst>
            </p:cNvPr>
            <p:cNvSpPr/>
            <p:nvPr/>
          </p:nvSpPr>
          <p:spPr>
            <a:xfrm rot="10800000">
              <a:off x="9060569" y="492302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8" name="Треугольник 37">
              <a:extLst>
                <a:ext uri="{FF2B5EF4-FFF2-40B4-BE49-F238E27FC236}">
                  <a16:creationId xmlns:a16="http://schemas.microsoft.com/office/drawing/2014/main" id="{2F5EB4AE-A967-F84F-B70B-260CB6C8F3CA}"/>
                </a:ext>
              </a:extLst>
            </p:cNvPr>
            <p:cNvSpPr/>
            <p:nvPr/>
          </p:nvSpPr>
          <p:spPr>
            <a:xfrm rot="10800000">
              <a:off x="9994530" y="708325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39" name="Треугольник 38">
              <a:extLst>
                <a:ext uri="{FF2B5EF4-FFF2-40B4-BE49-F238E27FC236}">
                  <a16:creationId xmlns:a16="http://schemas.microsoft.com/office/drawing/2014/main" id="{EEF9FFD5-1B5E-DC4A-836E-1CD24AB88ECF}"/>
                </a:ext>
              </a:extLst>
            </p:cNvPr>
            <p:cNvSpPr/>
            <p:nvPr/>
          </p:nvSpPr>
          <p:spPr>
            <a:xfrm>
              <a:off x="5945102" y="2076477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0" name="Треугольник 39">
              <a:extLst>
                <a:ext uri="{FF2B5EF4-FFF2-40B4-BE49-F238E27FC236}">
                  <a16:creationId xmlns:a16="http://schemas.microsoft.com/office/drawing/2014/main" id="{7A948CD4-2D31-F84B-AAD9-40905A67526A}"/>
                </a:ext>
              </a:extLst>
            </p:cNvPr>
            <p:cNvSpPr/>
            <p:nvPr/>
          </p:nvSpPr>
          <p:spPr>
            <a:xfrm>
              <a:off x="4529598" y="4633981"/>
              <a:ext cx="62755" cy="31227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1" name="Треугольник 40">
              <a:extLst>
                <a:ext uri="{FF2B5EF4-FFF2-40B4-BE49-F238E27FC236}">
                  <a16:creationId xmlns:a16="http://schemas.microsoft.com/office/drawing/2014/main" id="{B43D18F2-629C-BC49-9825-B47B23503FC2}"/>
                </a:ext>
              </a:extLst>
            </p:cNvPr>
            <p:cNvSpPr/>
            <p:nvPr/>
          </p:nvSpPr>
          <p:spPr>
            <a:xfrm>
              <a:off x="6879063" y="4417957"/>
              <a:ext cx="62755" cy="31227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2" name="Треугольник 41">
              <a:extLst>
                <a:ext uri="{FF2B5EF4-FFF2-40B4-BE49-F238E27FC236}">
                  <a16:creationId xmlns:a16="http://schemas.microsoft.com/office/drawing/2014/main" id="{88453AA0-02CA-174E-8B93-AF1B7282EA96}"/>
                </a:ext>
              </a:extLst>
            </p:cNvPr>
            <p:cNvSpPr/>
            <p:nvPr/>
          </p:nvSpPr>
          <p:spPr>
            <a:xfrm>
              <a:off x="5237350" y="5714101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3" name="Треугольник 42">
              <a:extLst>
                <a:ext uri="{FF2B5EF4-FFF2-40B4-BE49-F238E27FC236}">
                  <a16:creationId xmlns:a16="http://schemas.microsoft.com/office/drawing/2014/main" id="{80D24C53-E4DC-2A40-91F6-408B9BFF968A}"/>
                </a:ext>
              </a:extLst>
            </p:cNvPr>
            <p:cNvSpPr/>
            <p:nvPr/>
          </p:nvSpPr>
          <p:spPr>
            <a:xfrm rot="10800000">
              <a:off x="1501506" y="3789038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4" name="Треугольник 43">
              <a:extLst>
                <a:ext uri="{FF2B5EF4-FFF2-40B4-BE49-F238E27FC236}">
                  <a16:creationId xmlns:a16="http://schemas.microsoft.com/office/drawing/2014/main" id="{81AC055C-F9F8-A641-8FC9-D1BF37559E57}"/>
                </a:ext>
              </a:extLst>
            </p:cNvPr>
            <p:cNvSpPr/>
            <p:nvPr/>
          </p:nvSpPr>
          <p:spPr>
            <a:xfrm rot="10800000">
              <a:off x="1727715" y="2780927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5" name="Треугольник 44">
              <a:extLst>
                <a:ext uri="{FF2B5EF4-FFF2-40B4-BE49-F238E27FC236}">
                  <a16:creationId xmlns:a16="http://schemas.microsoft.com/office/drawing/2014/main" id="{82497BE7-1E65-2F49-A660-BCE500964BE5}"/>
                </a:ext>
              </a:extLst>
            </p:cNvPr>
            <p:cNvSpPr/>
            <p:nvPr/>
          </p:nvSpPr>
          <p:spPr>
            <a:xfrm rot="10800000">
              <a:off x="3114094" y="2996950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6" name="Треугольник 45">
              <a:extLst>
                <a:ext uri="{FF2B5EF4-FFF2-40B4-BE49-F238E27FC236}">
                  <a16:creationId xmlns:a16="http://schemas.microsoft.com/office/drawing/2014/main" id="{22E92FB7-510E-C64B-B353-05D253A7D9B4}"/>
                </a:ext>
              </a:extLst>
            </p:cNvPr>
            <p:cNvSpPr/>
            <p:nvPr/>
          </p:nvSpPr>
          <p:spPr>
            <a:xfrm>
              <a:off x="6171311" y="5426069"/>
              <a:ext cx="62755" cy="31227"/>
            </a:xfrm>
            <a:prstGeom prst="triangle">
              <a:avLst/>
            </a:prstGeom>
            <a:solidFill>
              <a:schemeClr val="accent3">
                <a:alpha val="2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7" name="Треугольник 46">
              <a:extLst>
                <a:ext uri="{FF2B5EF4-FFF2-40B4-BE49-F238E27FC236}">
                  <a16:creationId xmlns:a16="http://schemas.microsoft.com/office/drawing/2014/main" id="{00875782-8825-5341-81F9-B18AEE78DC51}"/>
                </a:ext>
              </a:extLst>
            </p:cNvPr>
            <p:cNvSpPr/>
            <p:nvPr/>
          </p:nvSpPr>
          <p:spPr>
            <a:xfrm rot="10800000">
              <a:off x="7360606" y="3861046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8" name="Треугольник 47">
              <a:extLst>
                <a:ext uri="{FF2B5EF4-FFF2-40B4-BE49-F238E27FC236}">
                  <a16:creationId xmlns:a16="http://schemas.microsoft.com/office/drawing/2014/main" id="{CFF29D44-AC0F-CA49-968A-A568381D33C9}"/>
                </a:ext>
              </a:extLst>
            </p:cNvPr>
            <p:cNvSpPr/>
            <p:nvPr/>
          </p:nvSpPr>
          <p:spPr>
            <a:xfrm rot="10800000">
              <a:off x="7586815" y="2852935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49" name="Треугольник 48">
              <a:extLst>
                <a:ext uri="{FF2B5EF4-FFF2-40B4-BE49-F238E27FC236}">
                  <a16:creationId xmlns:a16="http://schemas.microsoft.com/office/drawing/2014/main" id="{C1D5AE7D-0063-7A49-A630-3671FECED6CB}"/>
                </a:ext>
              </a:extLst>
            </p:cNvPr>
            <p:cNvSpPr/>
            <p:nvPr/>
          </p:nvSpPr>
          <p:spPr>
            <a:xfrm rot="10800000">
              <a:off x="9286778" y="3068958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0" name="Треугольник 49">
              <a:extLst>
                <a:ext uri="{FF2B5EF4-FFF2-40B4-BE49-F238E27FC236}">
                  <a16:creationId xmlns:a16="http://schemas.microsoft.com/office/drawing/2014/main" id="{0EC9CA04-634D-6E41-AC01-E142BFE96C61}"/>
                </a:ext>
              </a:extLst>
            </p:cNvPr>
            <p:cNvSpPr/>
            <p:nvPr/>
          </p:nvSpPr>
          <p:spPr>
            <a:xfrm rot="10800000">
              <a:off x="2406342" y="6597350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1" name="Треугольник 50">
              <a:extLst>
                <a:ext uri="{FF2B5EF4-FFF2-40B4-BE49-F238E27FC236}">
                  <a16:creationId xmlns:a16="http://schemas.microsoft.com/office/drawing/2014/main" id="{DF8FD85B-0018-BA4B-810F-4C488592C83D}"/>
                </a:ext>
              </a:extLst>
            </p:cNvPr>
            <p:cNvSpPr/>
            <p:nvPr/>
          </p:nvSpPr>
          <p:spPr>
            <a:xfrm rot="10800000">
              <a:off x="2632551" y="5589239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2" name="Треугольник 51">
              <a:extLst>
                <a:ext uri="{FF2B5EF4-FFF2-40B4-BE49-F238E27FC236}">
                  <a16:creationId xmlns:a16="http://schemas.microsoft.com/office/drawing/2014/main" id="{36126E66-2D03-C540-B1C4-63FB91C6F2F1}"/>
                </a:ext>
              </a:extLst>
            </p:cNvPr>
            <p:cNvSpPr/>
            <p:nvPr/>
          </p:nvSpPr>
          <p:spPr>
            <a:xfrm rot="10800000">
              <a:off x="3566512" y="5805262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3" name="Треугольник 52">
              <a:extLst>
                <a:ext uri="{FF2B5EF4-FFF2-40B4-BE49-F238E27FC236}">
                  <a16:creationId xmlns:a16="http://schemas.microsoft.com/office/drawing/2014/main" id="{BEDB74FB-047D-9F49-8DDF-518CDD08A7EC}"/>
                </a:ext>
              </a:extLst>
            </p:cNvPr>
            <p:cNvSpPr/>
            <p:nvPr/>
          </p:nvSpPr>
          <p:spPr>
            <a:xfrm rot="10800000">
              <a:off x="1953924" y="1412774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4" name="Треугольник 53">
              <a:extLst>
                <a:ext uri="{FF2B5EF4-FFF2-40B4-BE49-F238E27FC236}">
                  <a16:creationId xmlns:a16="http://schemas.microsoft.com/office/drawing/2014/main" id="{996BFBF4-5375-864A-90A0-5493FA4462EA}"/>
                </a:ext>
              </a:extLst>
            </p:cNvPr>
            <p:cNvSpPr/>
            <p:nvPr/>
          </p:nvSpPr>
          <p:spPr>
            <a:xfrm rot="10800000">
              <a:off x="2180133" y="404663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5" name="Треугольник 54">
              <a:extLst>
                <a:ext uri="{FF2B5EF4-FFF2-40B4-BE49-F238E27FC236}">
                  <a16:creationId xmlns:a16="http://schemas.microsoft.com/office/drawing/2014/main" id="{40E56D65-A499-7444-BFA4-BB65A8AC8056}"/>
                </a:ext>
              </a:extLst>
            </p:cNvPr>
            <p:cNvSpPr/>
            <p:nvPr/>
          </p:nvSpPr>
          <p:spPr>
            <a:xfrm rot="10800000">
              <a:off x="3340303" y="620686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6" name="Треугольник 55">
              <a:extLst>
                <a:ext uri="{FF2B5EF4-FFF2-40B4-BE49-F238E27FC236}">
                  <a16:creationId xmlns:a16="http://schemas.microsoft.com/office/drawing/2014/main" id="{DB4EDD40-1731-D242-8C12-8D34ED77FAF2}"/>
                </a:ext>
              </a:extLst>
            </p:cNvPr>
            <p:cNvSpPr/>
            <p:nvPr/>
          </p:nvSpPr>
          <p:spPr>
            <a:xfrm rot="10800000">
              <a:off x="5463559" y="560449"/>
              <a:ext cx="62755" cy="31227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  <p:sp>
          <p:nvSpPr>
            <p:cNvPr id="57" name="Треугольник 56">
              <a:extLst>
                <a:ext uri="{FF2B5EF4-FFF2-40B4-BE49-F238E27FC236}">
                  <a16:creationId xmlns:a16="http://schemas.microsoft.com/office/drawing/2014/main" id="{5208250F-C762-6D43-8A90-3EAD9CB111FC}"/>
                </a:ext>
              </a:extLst>
            </p:cNvPr>
            <p:cNvSpPr/>
            <p:nvPr/>
          </p:nvSpPr>
          <p:spPr>
            <a:xfrm rot="10800000">
              <a:off x="9512987" y="2708919"/>
              <a:ext cx="62755" cy="31227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600"/>
            </a:p>
          </p:txBody>
        </p:sp>
      </p:grpSp>
      <p:sp>
        <p:nvSpPr>
          <p:cNvPr id="108" name="Текст 3">
            <a:extLst>
              <a:ext uri="{FF2B5EF4-FFF2-40B4-BE49-F238E27FC236}">
                <a16:creationId xmlns:a16="http://schemas.microsoft.com/office/drawing/2014/main" id="{EB0B5FC6-3DD6-4449-8737-25EC60A7290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688532" y="3834108"/>
            <a:ext cx="20450271" cy="590465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lang="en-US" sz="12000" b="1" i="0" kern="1200" spc="0" baseline="0" dirty="0">
                <a:gradFill flip="none" rotWithShape="1">
                  <a:gsLst>
                    <a:gs pos="0">
                      <a:schemeClr val="accent2">
                        <a:shade val="30000"/>
                        <a:satMod val="115000"/>
                      </a:schemeClr>
                    </a:gs>
                    <a:gs pos="50000">
                      <a:schemeClr val="accent2">
                        <a:shade val="67500"/>
                        <a:satMod val="115000"/>
                      </a:schemeClr>
                    </a:gs>
                    <a:gs pos="100000">
                      <a:schemeClr val="accent2">
                        <a:shade val="100000"/>
                        <a:satMod val="115000"/>
                      </a:schemeClr>
                    </a:gs>
                  </a:gsLst>
                  <a:lin ang="18900000" scaled="1"/>
                  <a:tileRect/>
                </a:gradFill>
                <a:latin typeface="Century Gothic" panose="020B0502020202020204" pitchFamily="34" charset="0"/>
                <a:ea typeface="Tahoma" charset="0"/>
                <a:cs typeface="Tahoma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12000" dirty="0">
                <a:gradFill flip="none" rotWithShape="1">
                  <a:gsLst>
                    <a:gs pos="0">
                      <a:schemeClr val="accent2">
                        <a:shade val="30000"/>
                        <a:satMod val="115000"/>
                      </a:schemeClr>
                    </a:gs>
                    <a:gs pos="50000">
                      <a:schemeClr val="accent2">
                        <a:shade val="67500"/>
                        <a:satMod val="115000"/>
                      </a:schemeClr>
                    </a:gs>
                    <a:gs pos="100000">
                      <a:schemeClr val="accent2">
                        <a:shade val="100000"/>
                        <a:satMod val="115000"/>
                      </a:schemeClr>
                    </a:gs>
                  </a:gsLst>
                  <a:lin ang="18900000" scaled="1"/>
                  <a:tileRect/>
                </a:gradFill>
              </a:rPr>
              <a:t>Пример слайда</a:t>
            </a:r>
          </a:p>
        </p:txBody>
      </p:sp>
      <p:sp>
        <p:nvSpPr>
          <p:cNvPr id="109" name="Полилиния 108">
            <a:extLst>
              <a:ext uri="{FF2B5EF4-FFF2-40B4-BE49-F238E27FC236}">
                <a16:creationId xmlns:a16="http://schemas.microsoft.com/office/drawing/2014/main" id="{727E9D97-001A-0440-B0C5-1AB1C45CD91F}"/>
              </a:ext>
            </a:extLst>
          </p:cNvPr>
          <p:cNvSpPr/>
          <p:nvPr userDrawn="1"/>
        </p:nvSpPr>
        <p:spPr>
          <a:xfrm rot="8203638">
            <a:off x="8069626" y="-1260443"/>
            <a:ext cx="11183015" cy="6472046"/>
          </a:xfrm>
          <a:custGeom>
            <a:avLst/>
            <a:gdLst>
              <a:gd name="connsiteX0" fmla="*/ 8312727 w 8312727"/>
              <a:gd name="connsiteY0" fmla="*/ 0 h 5652655"/>
              <a:gd name="connsiteX1" fmla="*/ 83127 w 8312727"/>
              <a:gd name="connsiteY1" fmla="*/ 5652655 h 5652655"/>
              <a:gd name="connsiteX2" fmla="*/ 0 w 8312727"/>
              <a:gd name="connsiteY2" fmla="*/ 0 h 5652655"/>
              <a:gd name="connsiteX0" fmla="*/ 8193646 w 8193646"/>
              <a:gd name="connsiteY0" fmla="*/ 2409978 h 5652655"/>
              <a:gd name="connsiteX1" fmla="*/ 83127 w 8193646"/>
              <a:gd name="connsiteY1" fmla="*/ 5652655 h 5652655"/>
              <a:gd name="connsiteX2" fmla="*/ 0 w 8193646"/>
              <a:gd name="connsiteY2" fmla="*/ 0 h 5652655"/>
              <a:gd name="connsiteX0" fmla="*/ 7802382 w 7802382"/>
              <a:gd name="connsiteY0" fmla="*/ 1868201 h 5652655"/>
              <a:gd name="connsiteX1" fmla="*/ 83127 w 7802382"/>
              <a:gd name="connsiteY1" fmla="*/ 5652655 h 5652655"/>
              <a:gd name="connsiteX2" fmla="*/ 0 w 7802382"/>
              <a:gd name="connsiteY2" fmla="*/ 0 h 5652655"/>
              <a:gd name="connsiteX0" fmla="*/ 4740317 w 4740317"/>
              <a:gd name="connsiteY0" fmla="*/ 0 h 5708699"/>
              <a:gd name="connsiteX1" fmla="*/ 83127 w 4740317"/>
              <a:gd name="connsiteY1" fmla="*/ 5708699 h 5708699"/>
              <a:gd name="connsiteX2" fmla="*/ 0 w 4740317"/>
              <a:gd name="connsiteY2" fmla="*/ 56044 h 5708699"/>
              <a:gd name="connsiteX0" fmla="*/ 5114569 w 5114569"/>
              <a:gd name="connsiteY0" fmla="*/ 0 h 5708699"/>
              <a:gd name="connsiteX1" fmla="*/ 457379 w 5114569"/>
              <a:gd name="connsiteY1" fmla="*/ 5708699 h 5708699"/>
              <a:gd name="connsiteX2" fmla="*/ 0 w 5114569"/>
              <a:gd name="connsiteY2" fmla="*/ 2036336 h 5708699"/>
              <a:gd name="connsiteX0" fmla="*/ 5233649 w 5233649"/>
              <a:gd name="connsiteY0" fmla="*/ 0 h 5708699"/>
              <a:gd name="connsiteX1" fmla="*/ 576459 w 5233649"/>
              <a:gd name="connsiteY1" fmla="*/ 5708699 h 5708699"/>
              <a:gd name="connsiteX2" fmla="*/ 0 w 5233649"/>
              <a:gd name="connsiteY2" fmla="*/ 1214329 h 5708699"/>
              <a:gd name="connsiteX0" fmla="*/ 6340601 w 6340601"/>
              <a:gd name="connsiteY0" fmla="*/ 0 h 5708699"/>
              <a:gd name="connsiteX1" fmla="*/ 1683411 w 6340601"/>
              <a:gd name="connsiteY1" fmla="*/ 5708699 h 5708699"/>
              <a:gd name="connsiteX2" fmla="*/ 0 w 6340601"/>
              <a:gd name="connsiteY2" fmla="*/ 3774148 h 5708699"/>
              <a:gd name="connsiteX0" fmla="*/ 7545130 w 7545130"/>
              <a:gd name="connsiteY0" fmla="*/ 0 h 5708699"/>
              <a:gd name="connsiteX1" fmla="*/ 2887940 w 7545130"/>
              <a:gd name="connsiteY1" fmla="*/ 5708699 h 5708699"/>
              <a:gd name="connsiteX2" fmla="*/ 0 w 7545130"/>
              <a:gd name="connsiteY2" fmla="*/ 2040516 h 5708699"/>
              <a:gd name="connsiteX0" fmla="*/ 7433938 w 7433938"/>
              <a:gd name="connsiteY0" fmla="*/ 0 h 5708699"/>
              <a:gd name="connsiteX1" fmla="*/ 2776748 w 7433938"/>
              <a:gd name="connsiteY1" fmla="*/ 5708699 h 5708699"/>
              <a:gd name="connsiteX2" fmla="*/ 0 w 7433938"/>
              <a:gd name="connsiteY2" fmla="*/ 2153983 h 57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33938" h="5708699">
                <a:moveTo>
                  <a:pt x="7433938" y="0"/>
                </a:moveTo>
                <a:lnTo>
                  <a:pt x="2776748" y="5708699"/>
                </a:lnTo>
                <a:lnTo>
                  <a:pt x="0" y="2153983"/>
                </a:lnTo>
              </a:path>
            </a:pathLst>
          </a:custGeom>
          <a:gradFill>
            <a:gsLst>
              <a:gs pos="99000">
                <a:schemeClr val="accent2">
                  <a:alpha val="66000"/>
                </a:schemeClr>
              </a:gs>
              <a:gs pos="0">
                <a:schemeClr val="accent2"/>
              </a:gs>
            </a:gsLst>
            <a:lin ang="18600000" scaled="0"/>
          </a:gradFill>
          <a:ln>
            <a:noFill/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600"/>
          </a:p>
        </p:txBody>
      </p:sp>
    </p:spTree>
    <p:extLst>
      <p:ext uri="{BB962C8B-B14F-4D97-AF65-F5344CB8AC3E}">
        <p14:creationId xmlns:p14="http://schemas.microsoft.com/office/powerpoint/2010/main" val="346533495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_2" userDrawn="1">
  <p:cSld name="6_Main_2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714677" y="702000"/>
            <a:ext cx="22927961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6" name="Google Shape;16;p3"/>
          <p:cNvSpPr txBox="1">
            <a:spLocks noGrp="1"/>
          </p:cNvSpPr>
          <p:nvPr>
            <p:ph type="body" idx="1"/>
          </p:nvPr>
        </p:nvSpPr>
        <p:spPr>
          <a:xfrm>
            <a:off x="672307" y="1872000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rtl="0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rtl="0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rtl="0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rtl="0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382C6FD-854F-C5B8-AC05-4844C2CD531E}"/>
              </a:ext>
            </a:extLst>
          </p:cNvPr>
          <p:cNvSpPr txBox="1">
            <a:spLocks/>
          </p:cNvSpPr>
          <p:nvPr userDrawn="1"/>
        </p:nvSpPr>
        <p:spPr>
          <a:xfrm>
            <a:off x="21888000" y="12792280"/>
            <a:ext cx="1799757" cy="52317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i="0">
                <a:solidFill>
                  <a:schemeClr val="tx2"/>
                </a:solidFill>
                <a:latin typeface="Montserrat" pitchFamily="2" charset="77"/>
              </a:rPr>
              <a:t>  </a:t>
            </a:r>
            <a:fld id="{B7002F9C-17DA-404C-AAC4-8C00A0388562}" type="slidenum">
              <a:rPr lang="en-US" sz="2800" b="1" i="0" smtClean="0">
                <a:solidFill>
                  <a:schemeClr val="tx2"/>
                </a:solidFill>
                <a:latin typeface="Montserrat" pitchFamily="2" charset="77"/>
              </a:rPr>
              <a:pPr/>
              <a:t>‹#›</a:t>
            </a:fld>
            <a:endParaRPr lang="en-US" sz="2800" b="1" i="0">
              <a:solidFill>
                <a:schemeClr val="tx2"/>
              </a:solidFill>
              <a:latin typeface="Montserrat" pitchFamily="2" charset="77"/>
            </a:endParaRPr>
          </a:p>
        </p:txBody>
      </p:sp>
      <p:pic>
        <p:nvPicPr>
          <p:cNvPr id="6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3D835E88-9B21-5E33-DD7B-71730B3E72E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1" t="30395" r="12836" b="26496"/>
          <a:stretch/>
        </p:blipFill>
        <p:spPr bwMode="auto">
          <a:xfrm>
            <a:off x="837677" y="12753683"/>
            <a:ext cx="1463278" cy="600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644B3E-5300-2F79-9F2F-0B89DB5D39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72" b="37781"/>
          <a:stretch/>
        </p:blipFill>
        <p:spPr bwMode="auto">
          <a:xfrm>
            <a:off x="2371345" y="12825009"/>
            <a:ext cx="1757346" cy="45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18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1" userDrawn="1">
          <p15:clr>
            <a:srgbClr val="FBAE40"/>
          </p15:clr>
        </p15:guide>
        <p15:guide id="3" pos="514" userDrawn="1">
          <p15:clr>
            <a:srgbClr val="FBAE40"/>
          </p15:clr>
        </p15:guide>
        <p15:guide id="4" pos="14848" userDrawn="1">
          <p15:clr>
            <a:srgbClr val="FBAE40"/>
          </p15:clr>
        </p15:guide>
        <p15:guide id="5" orient="horz" pos="1463" userDrawn="1">
          <p15:clr>
            <a:srgbClr val="FBAE40"/>
          </p15:clr>
        </p15:guide>
        <p15:guide id="7" orient="horz" pos="8221" userDrawn="1">
          <p15:clr>
            <a:srgbClr val="FBAE40"/>
          </p15:clr>
        </p15:guide>
        <p15:guide id="8" orient="horz" pos="420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groun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1954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379074"/>
            <a:ext cx="9871588" cy="280831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Полилиния 5">
            <a:extLst>
              <a:ext uri="{FF2B5EF4-FFF2-40B4-BE49-F238E27FC236}">
                <a16:creationId xmlns:a16="http://schemas.microsoft.com/office/drawing/2014/main" id="{44C5E139-F76B-7F43-A4D3-0DCCC35F5013}"/>
              </a:ext>
            </a:extLst>
          </p:cNvPr>
          <p:cNvSpPr>
            <a:spLocks/>
          </p:cNvSpPr>
          <p:nvPr userDrawn="1"/>
        </p:nvSpPr>
        <p:spPr bwMode="auto">
          <a:xfrm>
            <a:off x="7920207" y="-1"/>
            <a:ext cx="16496719" cy="10154152"/>
          </a:xfrm>
          <a:custGeom>
            <a:avLst/>
            <a:gdLst>
              <a:gd name="connsiteX0" fmla="*/ 3741204 w 16496719"/>
              <a:gd name="connsiteY0" fmla="*/ 0 h 10154152"/>
              <a:gd name="connsiteX1" fmla="*/ 16496719 w 16496719"/>
              <a:gd name="connsiteY1" fmla="*/ 0 h 10154152"/>
              <a:gd name="connsiteX2" fmla="*/ 16496719 w 16496719"/>
              <a:gd name="connsiteY2" fmla="*/ 10154152 h 10154152"/>
              <a:gd name="connsiteX3" fmla="*/ 16461977 w 16496719"/>
              <a:gd name="connsiteY3" fmla="*/ 10141306 h 10154152"/>
              <a:gd name="connsiteX4" fmla="*/ 13688587 w 16496719"/>
              <a:gd name="connsiteY4" fmla="*/ 7397320 h 10154152"/>
              <a:gd name="connsiteX5" fmla="*/ 13336193 w 16496719"/>
              <a:gd name="connsiteY5" fmla="*/ 6451082 h 10154152"/>
              <a:gd name="connsiteX6" fmla="*/ 10473001 w 16496719"/>
              <a:gd name="connsiteY6" fmla="*/ 4338550 h 10154152"/>
              <a:gd name="connsiteX7" fmla="*/ 10406927 w 16496719"/>
              <a:gd name="connsiteY7" fmla="*/ 4338550 h 10154152"/>
              <a:gd name="connsiteX8" fmla="*/ 7830054 w 16496719"/>
              <a:gd name="connsiteY8" fmla="*/ 6253032 h 10154152"/>
              <a:gd name="connsiteX9" fmla="*/ 7609809 w 16496719"/>
              <a:gd name="connsiteY9" fmla="*/ 6715148 h 10154152"/>
              <a:gd name="connsiteX10" fmla="*/ 2059620 w 16496719"/>
              <a:gd name="connsiteY10" fmla="*/ 8409574 h 10154152"/>
              <a:gd name="connsiteX11" fmla="*/ 341704 w 16496719"/>
              <a:gd name="connsiteY11" fmla="*/ 3260278 h 10154152"/>
              <a:gd name="connsiteX12" fmla="*/ 2389988 w 16496719"/>
              <a:gd name="connsiteY12" fmla="*/ 1235770 h 10154152"/>
              <a:gd name="connsiteX13" fmla="*/ 3708709 w 16496719"/>
              <a:gd name="connsiteY13" fmla="*/ 58473 h 1015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96719" h="10154152">
                <a:moveTo>
                  <a:pt x="3741204" y="0"/>
                </a:moveTo>
                <a:lnTo>
                  <a:pt x="16496719" y="0"/>
                </a:lnTo>
                <a:lnTo>
                  <a:pt x="16496719" y="10154152"/>
                </a:lnTo>
                <a:lnTo>
                  <a:pt x="16461977" y="10141306"/>
                </a:lnTo>
                <a:cubicBezTo>
                  <a:pt x="15216971" y="9628818"/>
                  <a:pt x="14218553" y="8637882"/>
                  <a:pt x="13688587" y="7397320"/>
                </a:cubicBezTo>
                <a:cubicBezTo>
                  <a:pt x="13534415" y="7089242"/>
                  <a:pt x="13424291" y="6781164"/>
                  <a:pt x="13336193" y="6451082"/>
                </a:cubicBezTo>
                <a:cubicBezTo>
                  <a:pt x="13027849" y="5152754"/>
                  <a:pt x="11816499" y="4294538"/>
                  <a:pt x="10473001" y="4338550"/>
                </a:cubicBezTo>
                <a:cubicBezTo>
                  <a:pt x="10450975" y="4338550"/>
                  <a:pt x="10428951" y="4338550"/>
                  <a:pt x="10406927" y="4338550"/>
                </a:cubicBezTo>
                <a:cubicBezTo>
                  <a:pt x="9239625" y="4382560"/>
                  <a:pt x="8226495" y="5152754"/>
                  <a:pt x="7830054" y="6253032"/>
                </a:cubicBezTo>
                <a:cubicBezTo>
                  <a:pt x="7763980" y="6407070"/>
                  <a:pt x="7697907" y="6561108"/>
                  <a:pt x="7609809" y="6715148"/>
                </a:cubicBezTo>
                <a:cubicBezTo>
                  <a:pt x="6596679" y="8761662"/>
                  <a:pt x="4063855" y="9531856"/>
                  <a:pt x="2059620" y="8409574"/>
                </a:cubicBezTo>
                <a:cubicBezTo>
                  <a:pt x="253606" y="7397320"/>
                  <a:pt x="-495229" y="5152754"/>
                  <a:pt x="341704" y="3260278"/>
                </a:cubicBezTo>
                <a:cubicBezTo>
                  <a:pt x="782196" y="2314041"/>
                  <a:pt x="1509005" y="1631868"/>
                  <a:pt x="2389988" y="1235770"/>
                </a:cubicBezTo>
                <a:cubicBezTo>
                  <a:pt x="2951614" y="982705"/>
                  <a:pt x="3403118" y="564600"/>
                  <a:pt x="3708709" y="58473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7" name="Рисунок 7">
            <a:extLst>
              <a:ext uri="{FF2B5EF4-FFF2-40B4-BE49-F238E27FC236}">
                <a16:creationId xmlns:a16="http://schemas.microsoft.com/office/drawing/2014/main" id="{ADE7A0B1-1168-A740-A946-B67C4A2B72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0311945" y="-1"/>
            <a:ext cx="14104981" cy="8754254"/>
          </a:xfrm>
          <a:custGeom>
            <a:avLst/>
            <a:gdLst>
              <a:gd name="connsiteX0" fmla="*/ 1196961 w 14104981"/>
              <a:gd name="connsiteY0" fmla="*/ 0 h 8754254"/>
              <a:gd name="connsiteX1" fmla="*/ 14104981 w 14104981"/>
              <a:gd name="connsiteY1" fmla="*/ 0 h 8754254"/>
              <a:gd name="connsiteX2" fmla="*/ 14104981 w 14104981"/>
              <a:gd name="connsiteY2" fmla="*/ 2390948 h 8754254"/>
              <a:gd name="connsiteX3" fmla="*/ 14092223 w 14104981"/>
              <a:gd name="connsiteY3" fmla="*/ 2357440 h 8754254"/>
              <a:gd name="connsiteX4" fmla="*/ 12403105 w 14104981"/>
              <a:gd name="connsiteY4" fmla="*/ 1343588 h 8754254"/>
              <a:gd name="connsiteX5" fmla="*/ 12366309 w 14104981"/>
              <a:gd name="connsiteY5" fmla="*/ 1343588 h 8754254"/>
              <a:gd name="connsiteX6" fmla="*/ 10784025 w 14104981"/>
              <a:gd name="connsiteY6" fmla="*/ 3108331 h 8754254"/>
              <a:gd name="connsiteX7" fmla="*/ 10784025 w 14104981"/>
              <a:gd name="connsiteY7" fmla="*/ 3237011 h 8754254"/>
              <a:gd name="connsiteX8" fmla="*/ 5540414 w 14104981"/>
              <a:gd name="connsiteY8" fmla="*/ 8751833 h 8754254"/>
              <a:gd name="connsiteX9" fmla="*/ 2423 w 14104981"/>
              <a:gd name="connsiteY9" fmla="*/ 3200245 h 8754254"/>
              <a:gd name="connsiteX10" fmla="*/ 1116584 w 14104981"/>
              <a:gd name="connsiteY10" fmla="*/ 99535 h 8754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104981" h="8754254">
                <a:moveTo>
                  <a:pt x="1196961" y="0"/>
                </a:moveTo>
                <a:lnTo>
                  <a:pt x="14104981" y="0"/>
                </a:lnTo>
                <a:lnTo>
                  <a:pt x="14104981" y="2390948"/>
                </a:lnTo>
                <a:lnTo>
                  <a:pt x="14092223" y="2357440"/>
                </a:lnTo>
                <a:cubicBezTo>
                  <a:pt x="13809739" y="1707509"/>
                  <a:pt x="13127553" y="1279249"/>
                  <a:pt x="12403105" y="1343588"/>
                </a:cubicBezTo>
                <a:cubicBezTo>
                  <a:pt x="12403105" y="1343588"/>
                  <a:pt x="12403105" y="1343588"/>
                  <a:pt x="12366309" y="1343588"/>
                </a:cubicBezTo>
                <a:cubicBezTo>
                  <a:pt x="11446377" y="1417120"/>
                  <a:pt x="10747227" y="2189195"/>
                  <a:pt x="10784025" y="3108331"/>
                </a:cubicBezTo>
                <a:cubicBezTo>
                  <a:pt x="10784025" y="3145097"/>
                  <a:pt x="10784025" y="3200245"/>
                  <a:pt x="10784025" y="3237011"/>
                </a:cubicBezTo>
                <a:cubicBezTo>
                  <a:pt x="10857619" y="6215015"/>
                  <a:pt x="8539391" y="8678303"/>
                  <a:pt x="5540414" y="8751833"/>
                </a:cubicBezTo>
                <a:cubicBezTo>
                  <a:pt x="2449444" y="8843747"/>
                  <a:pt x="-89569" y="6306929"/>
                  <a:pt x="2423" y="3200245"/>
                </a:cubicBezTo>
                <a:cubicBezTo>
                  <a:pt x="39796" y="2035239"/>
                  <a:pt x="450657" y="964283"/>
                  <a:pt x="1116584" y="99535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01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6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6" grpId="0" animBg="1"/>
          <p:bldP spid="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6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7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6" grpId="0" animBg="1"/>
          <p:bldP spid="7" grpId="0" animBg="1"/>
        </p:bldLst>
      </p:timing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B4BC5EA-2F08-F34C-A0D4-EC24223DA5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89DEF72-CCDD-6C4A-B6A3-4E3BC06223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B0DAE69A-7A37-1A45-ACA8-57CAB434E921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5438492" cy="10523486"/>
          </a:xfrm>
          <a:custGeom>
            <a:avLst/>
            <a:gdLst>
              <a:gd name="connsiteX0" fmla="*/ 0 w 15438492"/>
              <a:gd name="connsiteY0" fmla="*/ 0 h 10523486"/>
              <a:gd name="connsiteX1" fmla="*/ 15438492 w 15438492"/>
              <a:gd name="connsiteY1" fmla="*/ 0 h 10523486"/>
              <a:gd name="connsiteX2" fmla="*/ 15358772 w 15438492"/>
              <a:gd name="connsiteY2" fmla="*/ 98718 h 10523486"/>
              <a:gd name="connsiteX3" fmla="*/ 10538752 w 15438492"/>
              <a:gd name="connsiteY3" fmla="*/ 2402062 h 10523486"/>
              <a:gd name="connsiteX4" fmla="*/ 9525620 w 15438492"/>
              <a:gd name="connsiteY4" fmla="*/ 2336046 h 10523486"/>
              <a:gd name="connsiteX5" fmla="*/ 6970772 w 15438492"/>
              <a:gd name="connsiteY5" fmla="*/ 4822672 h 10523486"/>
              <a:gd name="connsiteX6" fmla="*/ 6970772 w 15438492"/>
              <a:gd name="connsiteY6" fmla="*/ 4866682 h 10523486"/>
              <a:gd name="connsiteX7" fmla="*/ 6992796 w 15438492"/>
              <a:gd name="connsiteY7" fmla="*/ 4888688 h 10523486"/>
              <a:gd name="connsiteX8" fmla="*/ 6992796 w 15438492"/>
              <a:gd name="connsiteY8" fmla="*/ 4910692 h 10523486"/>
              <a:gd name="connsiteX9" fmla="*/ 7014820 w 15438492"/>
              <a:gd name="connsiteY9" fmla="*/ 5416820 h 10523486"/>
              <a:gd name="connsiteX10" fmla="*/ 1795000 w 15438492"/>
              <a:gd name="connsiteY10" fmla="*/ 10522106 h 10523486"/>
              <a:gd name="connsiteX11" fmla="*/ 310752 w 15438492"/>
              <a:gd name="connsiteY11" fmla="*/ 10269042 h 10523486"/>
              <a:gd name="connsiteX12" fmla="*/ 0 w 15438492"/>
              <a:gd name="connsiteY12" fmla="*/ 10154152 h 10523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438492" h="10523486">
                <a:moveTo>
                  <a:pt x="0" y="0"/>
                </a:moveTo>
                <a:lnTo>
                  <a:pt x="15438492" y="0"/>
                </a:lnTo>
                <a:lnTo>
                  <a:pt x="15358772" y="98718"/>
                </a:lnTo>
                <a:cubicBezTo>
                  <a:pt x="14191128" y="1478346"/>
                  <a:pt x="12459016" y="2364928"/>
                  <a:pt x="10538752" y="2402062"/>
                </a:cubicBezTo>
                <a:cubicBezTo>
                  <a:pt x="10186356" y="2402062"/>
                  <a:pt x="9855988" y="2380057"/>
                  <a:pt x="9525620" y="2336046"/>
                </a:cubicBezTo>
                <a:cubicBezTo>
                  <a:pt x="8072000" y="2137997"/>
                  <a:pt x="6816600" y="3348300"/>
                  <a:pt x="6970772" y="4822672"/>
                </a:cubicBezTo>
                <a:cubicBezTo>
                  <a:pt x="6970772" y="4822672"/>
                  <a:pt x="6970772" y="4822672"/>
                  <a:pt x="6970772" y="4866682"/>
                </a:cubicBezTo>
                <a:cubicBezTo>
                  <a:pt x="6970772" y="4888688"/>
                  <a:pt x="6992796" y="4888688"/>
                  <a:pt x="6992796" y="4888688"/>
                </a:cubicBezTo>
                <a:cubicBezTo>
                  <a:pt x="6992796" y="4888688"/>
                  <a:pt x="6992796" y="4888688"/>
                  <a:pt x="6992796" y="4910692"/>
                </a:cubicBezTo>
                <a:cubicBezTo>
                  <a:pt x="6992796" y="5064732"/>
                  <a:pt x="7014820" y="5240776"/>
                  <a:pt x="7014820" y="5416820"/>
                </a:cubicBezTo>
                <a:cubicBezTo>
                  <a:pt x="7014820" y="8277540"/>
                  <a:pt x="4658192" y="10588122"/>
                  <a:pt x="1795000" y="10522106"/>
                </a:cubicBezTo>
                <a:cubicBezTo>
                  <a:pt x="1277424" y="10511104"/>
                  <a:pt x="779118" y="10423080"/>
                  <a:pt x="310752" y="10269042"/>
                </a:cubicBezTo>
                <a:lnTo>
                  <a:pt x="0" y="10154152"/>
                </a:ln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11" name="Рисунок 7">
            <a:extLst>
              <a:ext uri="{FF2B5EF4-FFF2-40B4-BE49-F238E27FC236}">
                <a16:creationId xmlns:a16="http://schemas.microsoft.com/office/drawing/2014/main" id="{49C5F6F8-FEFE-604D-8869-6A96861A56D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-2" y="-1"/>
            <a:ext cx="10647868" cy="6760080"/>
          </a:xfrm>
          <a:custGeom>
            <a:avLst/>
            <a:gdLst>
              <a:gd name="connsiteX0" fmla="*/ 0 w 10647868"/>
              <a:gd name="connsiteY0" fmla="*/ 0 h 6760080"/>
              <a:gd name="connsiteX1" fmla="*/ 10647868 w 10647868"/>
              <a:gd name="connsiteY1" fmla="*/ 0 h 6760080"/>
              <a:gd name="connsiteX2" fmla="*/ 10592752 w 10647868"/>
              <a:gd name="connsiteY2" fmla="*/ 99180 h 6760080"/>
              <a:gd name="connsiteX3" fmla="*/ 10312436 w 10647868"/>
              <a:gd name="connsiteY3" fmla="*/ 1361970 h 6760080"/>
              <a:gd name="connsiteX4" fmla="*/ 10238840 w 10647868"/>
              <a:gd name="connsiteY4" fmla="*/ 2464935 h 6760080"/>
              <a:gd name="connsiteX5" fmla="*/ 4590460 w 10647868"/>
              <a:gd name="connsiteY5" fmla="*/ 6729732 h 6760080"/>
              <a:gd name="connsiteX6" fmla="*/ 82792 w 10647868"/>
              <a:gd name="connsiteY6" fmla="*/ 2648763 h 6760080"/>
              <a:gd name="connsiteX7" fmla="*/ 41526 w 10647868"/>
              <a:gd name="connsiteY7" fmla="*/ 2500005 h 6760080"/>
              <a:gd name="connsiteX8" fmla="*/ 0 w 10647868"/>
              <a:gd name="connsiteY8" fmla="*/ 2390948 h 67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47868" h="6760080">
                <a:moveTo>
                  <a:pt x="0" y="0"/>
                </a:moveTo>
                <a:lnTo>
                  <a:pt x="10647868" y="0"/>
                </a:lnTo>
                <a:lnTo>
                  <a:pt x="10592752" y="99180"/>
                </a:lnTo>
                <a:cubicBezTo>
                  <a:pt x="10396452" y="484338"/>
                  <a:pt x="10296336" y="919636"/>
                  <a:pt x="10312436" y="1361970"/>
                </a:cubicBezTo>
                <a:cubicBezTo>
                  <a:pt x="10330832" y="1729626"/>
                  <a:pt x="10312436" y="2097280"/>
                  <a:pt x="10238840" y="2464935"/>
                </a:cubicBezTo>
                <a:cubicBezTo>
                  <a:pt x="9778876" y="5148816"/>
                  <a:pt x="7295058" y="7023856"/>
                  <a:pt x="4590460" y="6729732"/>
                </a:cubicBezTo>
                <a:cubicBezTo>
                  <a:pt x="2290628" y="6472372"/>
                  <a:pt x="524360" y="4781160"/>
                  <a:pt x="82792" y="2648763"/>
                </a:cubicBezTo>
                <a:cubicBezTo>
                  <a:pt x="71294" y="2598211"/>
                  <a:pt x="57494" y="2548592"/>
                  <a:pt x="41526" y="2500005"/>
                </a:cubicBezTo>
                <a:lnTo>
                  <a:pt x="0" y="2390948"/>
                </a:ln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56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repeatCount="indefinite" autoRev="1" fill="remove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3000" fill="hold"/>
                                            <p:tgtEl>
                                              <p:spTgt spid="10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6" presetClass="emph" presetSubtype="0" repeatCount="indefinite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" dur="3000" fill="hold"/>
                                            <p:tgtEl>
                                              <p:spTgt spid="11"/>
                                            </p:tgtEl>
                                          </p:cBhvr>
                                          <p:by x="125000" y="12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10" grpId="0" animBg="1"/>
          <p:bldP spid="11" grpId="0" animBg="1"/>
        </p:bldLst>
      </p:timing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1055395D-A172-BC4A-8C2D-F6D8ACAE785D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199372" y="2000064"/>
            <a:ext cx="13572921" cy="10257320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7102074-204F-E64E-B4D7-DC52038C5F7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491838" y="2627846"/>
            <a:ext cx="11052749" cy="8353697"/>
          </a:xfrm>
          <a:custGeom>
            <a:avLst/>
            <a:gdLst>
              <a:gd name="connsiteX0" fmla="*/ 8113314 w 11052749"/>
              <a:gd name="connsiteY0" fmla="*/ 996 h 8353697"/>
              <a:gd name="connsiteX1" fmla="*/ 10199499 w 11052749"/>
              <a:gd name="connsiteY1" fmla="*/ 2056728 h 8353697"/>
              <a:gd name="connsiteX2" fmla="*/ 10097508 w 11052749"/>
              <a:gd name="connsiteY2" fmla="*/ 2825312 h 8353697"/>
              <a:gd name="connsiteX3" fmla="*/ 10347850 w 11052749"/>
              <a:gd name="connsiteY3" fmla="*/ 3899479 h 8353697"/>
              <a:gd name="connsiteX4" fmla="*/ 11052517 w 11052749"/>
              <a:gd name="connsiteY4" fmla="*/ 5714449 h 8353697"/>
              <a:gd name="connsiteX5" fmla="*/ 8428560 w 11052749"/>
              <a:gd name="connsiteY5" fmla="*/ 8353564 h 8353697"/>
              <a:gd name="connsiteX6" fmla="*/ 6184752 w 11052749"/>
              <a:gd name="connsiteY6" fmla="*/ 7168277 h 8353697"/>
              <a:gd name="connsiteX7" fmla="*/ 4803234 w 11052749"/>
              <a:gd name="connsiteY7" fmla="*/ 6770095 h 8353697"/>
              <a:gd name="connsiteX8" fmla="*/ 3393900 w 11052749"/>
              <a:gd name="connsiteY8" fmla="*/ 7075676 h 8353697"/>
              <a:gd name="connsiteX9" fmla="*/ 373 w 11052749"/>
              <a:gd name="connsiteY9" fmla="*/ 3640197 h 8353697"/>
              <a:gd name="connsiteX10" fmla="*/ 3403172 w 11052749"/>
              <a:gd name="connsiteY10" fmla="*/ 306578 h 8353697"/>
              <a:gd name="connsiteX11" fmla="*/ 5146296 w 11052749"/>
              <a:gd name="connsiteY11" fmla="*/ 797361 h 8353697"/>
              <a:gd name="connsiteX12" fmla="*/ 6509270 w 11052749"/>
              <a:gd name="connsiteY12" fmla="*/ 630680 h 8353697"/>
              <a:gd name="connsiteX13" fmla="*/ 8113314 w 11052749"/>
              <a:gd name="connsiteY13" fmla="*/ 996 h 835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52749" h="8353697">
                <a:moveTo>
                  <a:pt x="8113314" y="996"/>
                </a:moveTo>
                <a:cubicBezTo>
                  <a:pt x="9225946" y="38036"/>
                  <a:pt x="10143868" y="936261"/>
                  <a:pt x="10199499" y="2056728"/>
                </a:cubicBezTo>
                <a:cubicBezTo>
                  <a:pt x="10208771" y="2325269"/>
                  <a:pt x="10171683" y="2584551"/>
                  <a:pt x="10097508" y="2825312"/>
                </a:cubicBezTo>
                <a:cubicBezTo>
                  <a:pt x="9976973" y="3195715"/>
                  <a:pt x="10078964" y="3612417"/>
                  <a:pt x="10347850" y="3899479"/>
                </a:cubicBezTo>
                <a:cubicBezTo>
                  <a:pt x="10792903" y="4371741"/>
                  <a:pt x="11061789" y="5010685"/>
                  <a:pt x="11052517" y="5714449"/>
                </a:cubicBezTo>
                <a:cubicBezTo>
                  <a:pt x="11052517" y="7159017"/>
                  <a:pt x="9874982" y="8335044"/>
                  <a:pt x="8428560" y="8353564"/>
                </a:cubicBezTo>
                <a:cubicBezTo>
                  <a:pt x="7492095" y="8362824"/>
                  <a:pt x="6666893" y="7890562"/>
                  <a:pt x="6184752" y="7168277"/>
                </a:cubicBezTo>
                <a:cubicBezTo>
                  <a:pt x="5878779" y="6714534"/>
                  <a:pt x="5303919" y="6538594"/>
                  <a:pt x="4803234" y="6770095"/>
                </a:cubicBezTo>
                <a:cubicBezTo>
                  <a:pt x="4376725" y="6964556"/>
                  <a:pt x="3894585" y="7075676"/>
                  <a:pt x="3393900" y="7075676"/>
                </a:cubicBezTo>
                <a:cubicBezTo>
                  <a:pt x="1502426" y="7075676"/>
                  <a:pt x="-27443" y="5529248"/>
                  <a:pt x="373" y="3640197"/>
                </a:cubicBezTo>
                <a:cubicBezTo>
                  <a:pt x="28189" y="1797446"/>
                  <a:pt x="1558058" y="297318"/>
                  <a:pt x="3403172" y="306578"/>
                </a:cubicBezTo>
                <a:cubicBezTo>
                  <a:pt x="4042936" y="306578"/>
                  <a:pt x="4645612" y="482519"/>
                  <a:pt x="5146296" y="797361"/>
                </a:cubicBezTo>
                <a:cubicBezTo>
                  <a:pt x="5591349" y="1056642"/>
                  <a:pt x="6147665" y="982562"/>
                  <a:pt x="6509270" y="630680"/>
                </a:cubicBezTo>
                <a:cubicBezTo>
                  <a:pt x="6917235" y="223238"/>
                  <a:pt x="7482823" y="-17524"/>
                  <a:pt x="8113314" y="996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C565A03-D6CC-CC4F-A8E5-58862FE23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18BB868-827D-B944-BFF2-4FFE1B7272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8637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603B86A3-7AC7-8B43-919D-6AFBDA417F1F}"/>
              </a:ext>
            </a:extLst>
          </p:cNvPr>
          <p:cNvSpPr>
            <a:spLocks/>
          </p:cNvSpPr>
          <p:nvPr userDrawn="1"/>
        </p:nvSpPr>
        <p:spPr bwMode="auto">
          <a:xfrm>
            <a:off x="10208484" y="1640024"/>
            <a:ext cx="13572921" cy="10257320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C750E73B-BA42-2E4F-B0AA-D727E7F5522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626562" y="3051497"/>
            <a:ext cx="11052750" cy="8353697"/>
          </a:xfrm>
          <a:custGeom>
            <a:avLst/>
            <a:gdLst>
              <a:gd name="connsiteX0" fmla="*/ 2624189 w 11052750"/>
              <a:gd name="connsiteY0" fmla="*/ 133 h 8353697"/>
              <a:gd name="connsiteX1" fmla="*/ 4867997 w 11052750"/>
              <a:gd name="connsiteY1" fmla="*/ 1185420 h 8353697"/>
              <a:gd name="connsiteX2" fmla="*/ 6249515 w 11052750"/>
              <a:gd name="connsiteY2" fmla="*/ 1583602 h 8353697"/>
              <a:gd name="connsiteX3" fmla="*/ 7658849 w 11052750"/>
              <a:gd name="connsiteY3" fmla="*/ 1278020 h 8353697"/>
              <a:gd name="connsiteX4" fmla="*/ 11052377 w 11052750"/>
              <a:gd name="connsiteY4" fmla="*/ 4713500 h 8353697"/>
              <a:gd name="connsiteX5" fmla="*/ 7649577 w 11052750"/>
              <a:gd name="connsiteY5" fmla="*/ 8047119 h 8353697"/>
              <a:gd name="connsiteX6" fmla="*/ 5906453 w 11052750"/>
              <a:gd name="connsiteY6" fmla="*/ 7556336 h 8353697"/>
              <a:gd name="connsiteX7" fmla="*/ 4543479 w 11052750"/>
              <a:gd name="connsiteY7" fmla="*/ 7723017 h 8353697"/>
              <a:gd name="connsiteX8" fmla="*/ 2939435 w 11052750"/>
              <a:gd name="connsiteY8" fmla="*/ 8352701 h 8353697"/>
              <a:gd name="connsiteX9" fmla="*/ 853250 w 11052750"/>
              <a:gd name="connsiteY9" fmla="*/ 6296969 h 8353697"/>
              <a:gd name="connsiteX10" fmla="*/ 955241 w 11052750"/>
              <a:gd name="connsiteY10" fmla="*/ 5528385 h 8353697"/>
              <a:gd name="connsiteX11" fmla="*/ 704899 w 11052750"/>
              <a:gd name="connsiteY11" fmla="*/ 4454219 h 8353697"/>
              <a:gd name="connsiteX12" fmla="*/ 232 w 11052750"/>
              <a:gd name="connsiteY12" fmla="*/ 2639248 h 8353697"/>
              <a:gd name="connsiteX13" fmla="*/ 2624189 w 11052750"/>
              <a:gd name="connsiteY13" fmla="*/ 133 h 835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52750" h="8353697">
                <a:moveTo>
                  <a:pt x="2624189" y="133"/>
                </a:moveTo>
                <a:cubicBezTo>
                  <a:pt x="3560654" y="-9127"/>
                  <a:pt x="4385857" y="463135"/>
                  <a:pt x="4867997" y="1185420"/>
                </a:cubicBezTo>
                <a:cubicBezTo>
                  <a:pt x="5173971" y="1639162"/>
                  <a:pt x="5748831" y="1815103"/>
                  <a:pt x="6249515" y="1583602"/>
                </a:cubicBezTo>
                <a:cubicBezTo>
                  <a:pt x="6676025" y="1389141"/>
                  <a:pt x="7158165" y="1278020"/>
                  <a:pt x="7658849" y="1278020"/>
                </a:cubicBezTo>
                <a:cubicBezTo>
                  <a:pt x="9550323" y="1278020"/>
                  <a:pt x="11080193" y="2824449"/>
                  <a:pt x="11052377" y="4713500"/>
                </a:cubicBezTo>
                <a:cubicBezTo>
                  <a:pt x="11024561" y="6556251"/>
                  <a:pt x="9494691" y="8056379"/>
                  <a:pt x="7649577" y="8047119"/>
                </a:cubicBezTo>
                <a:cubicBezTo>
                  <a:pt x="7009813" y="8047119"/>
                  <a:pt x="6407137" y="7871178"/>
                  <a:pt x="5906453" y="7556336"/>
                </a:cubicBezTo>
                <a:cubicBezTo>
                  <a:pt x="5461401" y="7297055"/>
                  <a:pt x="4905085" y="7371135"/>
                  <a:pt x="4543479" y="7723017"/>
                </a:cubicBezTo>
                <a:cubicBezTo>
                  <a:pt x="4135514" y="8130460"/>
                  <a:pt x="3569926" y="8371221"/>
                  <a:pt x="2939435" y="8352701"/>
                </a:cubicBezTo>
                <a:cubicBezTo>
                  <a:pt x="1826803" y="8315661"/>
                  <a:pt x="908881" y="7417436"/>
                  <a:pt x="853250" y="6296969"/>
                </a:cubicBezTo>
                <a:cubicBezTo>
                  <a:pt x="843978" y="6028428"/>
                  <a:pt x="881066" y="5769146"/>
                  <a:pt x="955241" y="5528385"/>
                </a:cubicBezTo>
                <a:cubicBezTo>
                  <a:pt x="1075776" y="5157983"/>
                  <a:pt x="973785" y="4741281"/>
                  <a:pt x="704899" y="4454219"/>
                </a:cubicBezTo>
                <a:cubicBezTo>
                  <a:pt x="259846" y="3981956"/>
                  <a:pt x="-9040" y="3343012"/>
                  <a:pt x="232" y="2639248"/>
                </a:cubicBezTo>
                <a:cubicBezTo>
                  <a:pt x="232" y="1194680"/>
                  <a:pt x="1177767" y="18653"/>
                  <a:pt x="2624189" y="133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71DBE8A-0BC1-054A-9972-E825332C6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BD1E6C45-8492-6C46-B65D-6BFD01F4AB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6961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0745C386-64BD-E74F-819F-B2033E47FF1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56283" y="2394298"/>
            <a:ext cx="13782331" cy="10390053"/>
          </a:xfrm>
          <a:custGeom>
            <a:avLst/>
            <a:gdLst>
              <a:gd name="T0" fmla="*/ 1252 w 1255"/>
              <a:gd name="T1" fmla="*/ 251 h 948"/>
              <a:gd name="T2" fmla="*/ 1002 w 1255"/>
              <a:gd name="T3" fmla="*/ 2 h 948"/>
              <a:gd name="T4" fmla="*/ 787 w 1255"/>
              <a:gd name="T5" fmla="*/ 107 h 948"/>
              <a:gd name="T6" fmla="*/ 746 w 1255"/>
              <a:gd name="T7" fmla="*/ 127 h 948"/>
              <a:gd name="T8" fmla="*/ 746 w 1255"/>
              <a:gd name="T9" fmla="*/ 127 h 948"/>
              <a:gd name="T10" fmla="*/ 710 w 1255"/>
              <a:gd name="T11" fmla="*/ 112 h 948"/>
              <a:gd name="T12" fmla="*/ 600 w 1255"/>
              <a:gd name="T13" fmla="*/ 66 h 948"/>
              <a:gd name="T14" fmla="*/ 467 w 1255"/>
              <a:gd name="T15" fmla="*/ 142 h 948"/>
              <a:gd name="T16" fmla="*/ 457 w 1255"/>
              <a:gd name="T17" fmla="*/ 149 h 948"/>
              <a:gd name="T18" fmla="*/ 457 w 1255"/>
              <a:gd name="T19" fmla="*/ 149 h 948"/>
              <a:gd name="T20" fmla="*/ 442 w 1255"/>
              <a:gd name="T21" fmla="*/ 143 h 948"/>
              <a:gd name="T22" fmla="*/ 392 w 1255"/>
              <a:gd name="T23" fmla="*/ 116 h 948"/>
              <a:gd name="T24" fmla="*/ 339 w 1255"/>
              <a:gd name="T25" fmla="*/ 146 h 948"/>
              <a:gd name="T26" fmla="*/ 321 w 1255"/>
              <a:gd name="T27" fmla="*/ 155 h 948"/>
              <a:gd name="T28" fmla="*/ 321 w 1255"/>
              <a:gd name="T29" fmla="*/ 155 h 948"/>
              <a:gd name="T30" fmla="*/ 306 w 1255"/>
              <a:gd name="T31" fmla="*/ 145 h 948"/>
              <a:gd name="T32" fmla="*/ 207 w 1255"/>
              <a:gd name="T33" fmla="*/ 90 h 948"/>
              <a:gd name="T34" fmla="*/ 119 w 1255"/>
              <a:gd name="T35" fmla="*/ 177 h 948"/>
              <a:gd name="T36" fmla="*/ 163 w 1255"/>
              <a:gd name="T37" fmla="*/ 270 h 948"/>
              <a:gd name="T38" fmla="*/ 184 w 1255"/>
              <a:gd name="T39" fmla="*/ 306 h 948"/>
              <a:gd name="T40" fmla="*/ 184 w 1255"/>
              <a:gd name="T41" fmla="*/ 306 h 948"/>
              <a:gd name="T42" fmla="*/ 159 w 1255"/>
              <a:gd name="T43" fmla="*/ 349 h 948"/>
              <a:gd name="T44" fmla="*/ 1 w 1255"/>
              <a:gd name="T45" fmla="*/ 606 h 948"/>
              <a:gd name="T46" fmla="*/ 290 w 1255"/>
              <a:gd name="T47" fmla="*/ 901 h 948"/>
              <a:gd name="T48" fmla="*/ 391 w 1255"/>
              <a:gd name="T49" fmla="*/ 884 h 948"/>
              <a:gd name="T50" fmla="*/ 580 w 1255"/>
              <a:gd name="T51" fmla="*/ 903 h 948"/>
              <a:gd name="T52" fmla="*/ 747 w 1255"/>
              <a:gd name="T53" fmla="*/ 946 h 948"/>
              <a:gd name="T54" fmla="*/ 1040 w 1255"/>
              <a:gd name="T55" fmla="*/ 656 h 948"/>
              <a:gd name="T56" fmla="*/ 1040 w 1255"/>
              <a:gd name="T57" fmla="*/ 653 h 948"/>
              <a:gd name="T58" fmla="*/ 1137 w 1255"/>
              <a:gd name="T59" fmla="*/ 475 h 948"/>
              <a:gd name="T60" fmla="*/ 1252 w 1255"/>
              <a:gd name="T61" fmla="*/ 251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255" h="948">
                <a:moveTo>
                  <a:pt x="1252" y="251"/>
                </a:moveTo>
                <a:cubicBezTo>
                  <a:pt x="1247" y="116"/>
                  <a:pt x="1137" y="6"/>
                  <a:pt x="1002" y="2"/>
                </a:cubicBezTo>
                <a:cubicBezTo>
                  <a:pt x="914" y="0"/>
                  <a:pt x="835" y="41"/>
                  <a:pt x="787" y="107"/>
                </a:cubicBezTo>
                <a:cubicBezTo>
                  <a:pt x="777" y="120"/>
                  <a:pt x="762" y="127"/>
                  <a:pt x="746" y="127"/>
                </a:cubicBezTo>
                <a:cubicBezTo>
                  <a:pt x="746" y="127"/>
                  <a:pt x="746" y="127"/>
                  <a:pt x="746" y="127"/>
                </a:cubicBezTo>
                <a:cubicBezTo>
                  <a:pt x="733" y="127"/>
                  <a:pt x="720" y="122"/>
                  <a:pt x="710" y="112"/>
                </a:cubicBezTo>
                <a:cubicBezTo>
                  <a:pt x="682" y="84"/>
                  <a:pt x="643" y="66"/>
                  <a:pt x="600" y="66"/>
                </a:cubicBezTo>
                <a:cubicBezTo>
                  <a:pt x="543" y="66"/>
                  <a:pt x="494" y="97"/>
                  <a:pt x="467" y="142"/>
                </a:cubicBezTo>
                <a:cubicBezTo>
                  <a:pt x="464" y="146"/>
                  <a:pt x="461" y="148"/>
                  <a:pt x="457" y="149"/>
                </a:cubicBezTo>
                <a:cubicBezTo>
                  <a:pt x="457" y="149"/>
                  <a:pt x="457" y="149"/>
                  <a:pt x="457" y="149"/>
                </a:cubicBezTo>
                <a:cubicBezTo>
                  <a:pt x="451" y="150"/>
                  <a:pt x="445" y="147"/>
                  <a:pt x="442" y="143"/>
                </a:cubicBezTo>
                <a:cubicBezTo>
                  <a:pt x="431" y="126"/>
                  <a:pt x="413" y="116"/>
                  <a:pt x="392" y="116"/>
                </a:cubicBezTo>
                <a:cubicBezTo>
                  <a:pt x="369" y="116"/>
                  <a:pt x="350" y="128"/>
                  <a:pt x="339" y="146"/>
                </a:cubicBezTo>
                <a:cubicBezTo>
                  <a:pt x="335" y="152"/>
                  <a:pt x="328" y="156"/>
                  <a:pt x="321" y="155"/>
                </a:cubicBezTo>
                <a:cubicBezTo>
                  <a:pt x="321" y="155"/>
                  <a:pt x="321" y="155"/>
                  <a:pt x="321" y="155"/>
                </a:cubicBezTo>
                <a:cubicBezTo>
                  <a:pt x="314" y="154"/>
                  <a:pt x="309" y="150"/>
                  <a:pt x="306" y="145"/>
                </a:cubicBezTo>
                <a:cubicBezTo>
                  <a:pt x="288" y="109"/>
                  <a:pt x="250" y="85"/>
                  <a:pt x="207" y="90"/>
                </a:cubicBezTo>
                <a:cubicBezTo>
                  <a:pt x="161" y="94"/>
                  <a:pt x="124" y="131"/>
                  <a:pt x="119" y="177"/>
                </a:cubicBezTo>
                <a:cubicBezTo>
                  <a:pt x="115" y="216"/>
                  <a:pt x="133" y="250"/>
                  <a:pt x="163" y="270"/>
                </a:cubicBezTo>
                <a:cubicBezTo>
                  <a:pt x="175" y="278"/>
                  <a:pt x="183" y="291"/>
                  <a:pt x="184" y="306"/>
                </a:cubicBezTo>
                <a:cubicBezTo>
                  <a:pt x="184" y="306"/>
                  <a:pt x="184" y="306"/>
                  <a:pt x="184" y="306"/>
                </a:cubicBezTo>
                <a:cubicBezTo>
                  <a:pt x="185" y="324"/>
                  <a:pt x="175" y="341"/>
                  <a:pt x="159" y="349"/>
                </a:cubicBezTo>
                <a:cubicBezTo>
                  <a:pt x="66" y="398"/>
                  <a:pt x="2" y="494"/>
                  <a:pt x="1" y="606"/>
                </a:cubicBezTo>
                <a:cubicBezTo>
                  <a:pt x="0" y="766"/>
                  <a:pt x="130" y="899"/>
                  <a:pt x="290" y="901"/>
                </a:cubicBezTo>
                <a:cubicBezTo>
                  <a:pt x="326" y="901"/>
                  <a:pt x="360" y="895"/>
                  <a:pt x="391" y="884"/>
                </a:cubicBezTo>
                <a:cubicBezTo>
                  <a:pt x="454" y="861"/>
                  <a:pt x="524" y="869"/>
                  <a:pt x="580" y="903"/>
                </a:cubicBezTo>
                <a:cubicBezTo>
                  <a:pt x="629" y="932"/>
                  <a:pt x="686" y="948"/>
                  <a:pt x="747" y="946"/>
                </a:cubicBezTo>
                <a:cubicBezTo>
                  <a:pt x="904" y="941"/>
                  <a:pt x="1033" y="814"/>
                  <a:pt x="1040" y="656"/>
                </a:cubicBezTo>
                <a:cubicBezTo>
                  <a:pt x="1040" y="655"/>
                  <a:pt x="1040" y="654"/>
                  <a:pt x="1040" y="653"/>
                </a:cubicBezTo>
                <a:cubicBezTo>
                  <a:pt x="1042" y="581"/>
                  <a:pt x="1078" y="514"/>
                  <a:pt x="1137" y="475"/>
                </a:cubicBezTo>
                <a:cubicBezTo>
                  <a:pt x="1209" y="427"/>
                  <a:pt x="1255" y="344"/>
                  <a:pt x="1252" y="251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9632D608-16C3-C447-BE49-FC597AABB64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40459" y="3762450"/>
            <a:ext cx="11378178" cy="8569928"/>
          </a:xfrm>
          <a:custGeom>
            <a:avLst/>
            <a:gdLst>
              <a:gd name="connsiteX0" fmla="*/ 9103366 w 11378178"/>
              <a:gd name="connsiteY0" fmla="*/ 635 h 8569928"/>
              <a:gd name="connsiteX1" fmla="*/ 11376920 w 11378178"/>
              <a:gd name="connsiteY1" fmla="*/ 2260567 h 8569928"/>
              <a:gd name="connsiteX2" fmla="*/ 10331085 w 11378178"/>
              <a:gd name="connsiteY2" fmla="*/ 4293598 h 8569928"/>
              <a:gd name="connsiteX3" fmla="*/ 9448946 w 11378178"/>
              <a:gd name="connsiteY3" fmla="*/ 5909131 h 8569928"/>
              <a:gd name="connsiteX4" fmla="*/ 9448946 w 11378178"/>
              <a:gd name="connsiteY4" fmla="*/ 5936359 h 8569928"/>
              <a:gd name="connsiteX5" fmla="*/ 6784339 w 11378178"/>
              <a:gd name="connsiteY5" fmla="*/ 8568408 h 8569928"/>
              <a:gd name="connsiteX6" fmla="*/ 5265605 w 11378178"/>
              <a:gd name="connsiteY6" fmla="*/ 8178139 h 8569928"/>
              <a:gd name="connsiteX7" fmla="*/ 3546798 w 11378178"/>
              <a:gd name="connsiteY7" fmla="*/ 8005694 h 8569928"/>
              <a:gd name="connsiteX8" fmla="*/ 2628281 w 11378178"/>
              <a:gd name="connsiteY8" fmla="*/ 8159987 h 8569928"/>
              <a:gd name="connsiteX9" fmla="*/ 52 w 11378178"/>
              <a:gd name="connsiteY9" fmla="*/ 5482558 h 8569928"/>
              <a:gd name="connsiteX10" fmla="*/ 1436939 w 11378178"/>
              <a:gd name="connsiteY10" fmla="*/ 3150018 h 8569928"/>
              <a:gd name="connsiteX11" fmla="*/ 1664295 w 11378178"/>
              <a:gd name="connsiteY11" fmla="*/ 2759748 h 8569928"/>
              <a:gd name="connsiteX12" fmla="*/ 1473316 w 11378178"/>
              <a:gd name="connsiteY12" fmla="*/ 2433011 h 8569928"/>
              <a:gd name="connsiteX13" fmla="*/ 1073170 w 11378178"/>
              <a:gd name="connsiteY13" fmla="*/ 1588940 h 8569928"/>
              <a:gd name="connsiteX14" fmla="*/ 1873462 w 11378178"/>
              <a:gd name="connsiteY14" fmla="*/ 799326 h 8569928"/>
              <a:gd name="connsiteX15" fmla="*/ 2773789 w 11378178"/>
              <a:gd name="connsiteY15" fmla="*/ 1298507 h 8569928"/>
              <a:gd name="connsiteX16" fmla="*/ 2910202 w 11378178"/>
              <a:gd name="connsiteY16" fmla="*/ 1389268 h 8569928"/>
              <a:gd name="connsiteX17" fmla="*/ 3073898 w 11378178"/>
              <a:gd name="connsiteY17" fmla="*/ 1307583 h 8569928"/>
              <a:gd name="connsiteX18" fmla="*/ 3555892 w 11378178"/>
              <a:gd name="connsiteY18" fmla="*/ 1035303 h 8569928"/>
              <a:gd name="connsiteX19" fmla="*/ 4010603 w 11378178"/>
              <a:gd name="connsiteY19" fmla="*/ 1280356 h 8569928"/>
              <a:gd name="connsiteX20" fmla="*/ 4147016 w 11378178"/>
              <a:gd name="connsiteY20" fmla="*/ 1334811 h 8569928"/>
              <a:gd name="connsiteX21" fmla="*/ 4237959 w 11378178"/>
              <a:gd name="connsiteY21" fmla="*/ 1271280 h 8569928"/>
              <a:gd name="connsiteX22" fmla="*/ 5447490 w 11378178"/>
              <a:gd name="connsiteY22" fmla="*/ 581501 h 8569928"/>
              <a:gd name="connsiteX23" fmla="*/ 6447854 w 11378178"/>
              <a:gd name="connsiteY23" fmla="*/ 998999 h 8569928"/>
              <a:gd name="connsiteX24" fmla="*/ 6775245 w 11378178"/>
              <a:gd name="connsiteY24" fmla="*/ 1135139 h 8569928"/>
              <a:gd name="connsiteX25" fmla="*/ 7148109 w 11378178"/>
              <a:gd name="connsiteY25" fmla="*/ 953618 h 8569928"/>
              <a:gd name="connsiteX26" fmla="*/ 9103366 w 11378178"/>
              <a:gd name="connsiteY26" fmla="*/ 635 h 856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378178" h="8569928">
                <a:moveTo>
                  <a:pt x="9103366" y="635"/>
                </a:moveTo>
                <a:cubicBezTo>
                  <a:pt x="10331085" y="36939"/>
                  <a:pt x="11331449" y="1035303"/>
                  <a:pt x="11376920" y="2260567"/>
                </a:cubicBezTo>
                <a:cubicBezTo>
                  <a:pt x="11404203" y="3104637"/>
                  <a:pt x="10985869" y="3857948"/>
                  <a:pt x="10331085" y="4293598"/>
                </a:cubicBezTo>
                <a:cubicBezTo>
                  <a:pt x="9794526" y="4647563"/>
                  <a:pt x="9467134" y="5255657"/>
                  <a:pt x="9448946" y="5909131"/>
                </a:cubicBezTo>
                <a:cubicBezTo>
                  <a:pt x="9448946" y="5918207"/>
                  <a:pt x="9448946" y="5927283"/>
                  <a:pt x="9448946" y="5936359"/>
                </a:cubicBezTo>
                <a:cubicBezTo>
                  <a:pt x="9385286" y="7370372"/>
                  <a:pt x="8212132" y="8523028"/>
                  <a:pt x="6784339" y="8568408"/>
                </a:cubicBezTo>
                <a:cubicBezTo>
                  <a:pt x="6229593" y="8586560"/>
                  <a:pt x="5711222" y="8441344"/>
                  <a:pt x="5265605" y="8178139"/>
                </a:cubicBezTo>
                <a:cubicBezTo>
                  <a:pt x="4756329" y="7869553"/>
                  <a:pt x="4119733" y="7796945"/>
                  <a:pt x="3546798" y="8005694"/>
                </a:cubicBezTo>
                <a:cubicBezTo>
                  <a:pt x="3264877" y="8105531"/>
                  <a:pt x="2955673" y="8159987"/>
                  <a:pt x="2628281" y="8159987"/>
                </a:cubicBezTo>
                <a:cubicBezTo>
                  <a:pt x="1173206" y="8141835"/>
                  <a:pt x="-9042" y="6934723"/>
                  <a:pt x="52" y="5482558"/>
                </a:cubicBezTo>
                <a:cubicBezTo>
                  <a:pt x="9147" y="4466042"/>
                  <a:pt x="591177" y="3594743"/>
                  <a:pt x="1436939" y="3150018"/>
                </a:cubicBezTo>
                <a:cubicBezTo>
                  <a:pt x="1582447" y="3077409"/>
                  <a:pt x="1673389" y="2923117"/>
                  <a:pt x="1664295" y="2759748"/>
                </a:cubicBezTo>
                <a:cubicBezTo>
                  <a:pt x="1655200" y="2623608"/>
                  <a:pt x="1582447" y="2505619"/>
                  <a:pt x="1473316" y="2433011"/>
                </a:cubicBezTo>
                <a:cubicBezTo>
                  <a:pt x="1200489" y="2251491"/>
                  <a:pt x="1036793" y="1942905"/>
                  <a:pt x="1073170" y="1588940"/>
                </a:cubicBezTo>
                <a:cubicBezTo>
                  <a:pt x="1118641" y="1171443"/>
                  <a:pt x="1455127" y="835630"/>
                  <a:pt x="1873462" y="799326"/>
                </a:cubicBezTo>
                <a:cubicBezTo>
                  <a:pt x="2264513" y="753945"/>
                  <a:pt x="2610093" y="971770"/>
                  <a:pt x="2773789" y="1298507"/>
                </a:cubicBezTo>
                <a:cubicBezTo>
                  <a:pt x="2801072" y="1343887"/>
                  <a:pt x="2846543" y="1380192"/>
                  <a:pt x="2910202" y="1389268"/>
                </a:cubicBezTo>
                <a:cubicBezTo>
                  <a:pt x="2973862" y="1398344"/>
                  <a:pt x="3037521" y="1362040"/>
                  <a:pt x="3073898" y="1307583"/>
                </a:cubicBezTo>
                <a:cubicBezTo>
                  <a:pt x="3173935" y="1144215"/>
                  <a:pt x="3346725" y="1035303"/>
                  <a:pt x="3555892" y="1035303"/>
                </a:cubicBezTo>
                <a:cubicBezTo>
                  <a:pt x="3746870" y="1035303"/>
                  <a:pt x="3910566" y="1126063"/>
                  <a:pt x="4010603" y="1280356"/>
                </a:cubicBezTo>
                <a:cubicBezTo>
                  <a:pt x="4037885" y="1316660"/>
                  <a:pt x="4092451" y="1343887"/>
                  <a:pt x="4147016" y="1334811"/>
                </a:cubicBezTo>
                <a:cubicBezTo>
                  <a:pt x="4183393" y="1325736"/>
                  <a:pt x="4210676" y="1307583"/>
                  <a:pt x="4237959" y="1271280"/>
                </a:cubicBezTo>
                <a:cubicBezTo>
                  <a:pt x="4483502" y="862858"/>
                  <a:pt x="4929119" y="581501"/>
                  <a:pt x="5447490" y="581501"/>
                </a:cubicBezTo>
                <a:cubicBezTo>
                  <a:pt x="5838541" y="581501"/>
                  <a:pt x="6193216" y="744869"/>
                  <a:pt x="6447854" y="998999"/>
                </a:cubicBezTo>
                <a:cubicBezTo>
                  <a:pt x="6538796" y="1089759"/>
                  <a:pt x="6657021" y="1135139"/>
                  <a:pt x="6775245" y="1135139"/>
                </a:cubicBezTo>
                <a:cubicBezTo>
                  <a:pt x="6920753" y="1135139"/>
                  <a:pt x="7057167" y="1071606"/>
                  <a:pt x="7148109" y="953618"/>
                </a:cubicBezTo>
                <a:cubicBezTo>
                  <a:pt x="7584631" y="354600"/>
                  <a:pt x="8303075" y="-17517"/>
                  <a:pt x="9103366" y="635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C4CF0089-CD2A-F648-9A53-2A12456CAC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17CC4300-B80D-7749-963D-F8A4D9D3EA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4060424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77048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A80CA377-4C38-E549-97E6-0355B409187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313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5B020AAB-555D-9644-8170-D2D22604071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9673307" y="1458194"/>
            <a:ext cx="14430403" cy="10878613"/>
          </a:xfrm>
          <a:custGeom>
            <a:avLst/>
            <a:gdLst>
              <a:gd name="T0" fmla="*/ 1252 w 1255"/>
              <a:gd name="T1" fmla="*/ 251 h 948"/>
              <a:gd name="T2" fmla="*/ 1002 w 1255"/>
              <a:gd name="T3" fmla="*/ 2 h 948"/>
              <a:gd name="T4" fmla="*/ 787 w 1255"/>
              <a:gd name="T5" fmla="*/ 107 h 948"/>
              <a:gd name="T6" fmla="*/ 746 w 1255"/>
              <a:gd name="T7" fmla="*/ 127 h 948"/>
              <a:gd name="T8" fmla="*/ 746 w 1255"/>
              <a:gd name="T9" fmla="*/ 127 h 948"/>
              <a:gd name="T10" fmla="*/ 710 w 1255"/>
              <a:gd name="T11" fmla="*/ 112 h 948"/>
              <a:gd name="T12" fmla="*/ 600 w 1255"/>
              <a:gd name="T13" fmla="*/ 66 h 948"/>
              <a:gd name="T14" fmla="*/ 467 w 1255"/>
              <a:gd name="T15" fmla="*/ 142 h 948"/>
              <a:gd name="T16" fmla="*/ 457 w 1255"/>
              <a:gd name="T17" fmla="*/ 149 h 948"/>
              <a:gd name="T18" fmla="*/ 457 w 1255"/>
              <a:gd name="T19" fmla="*/ 149 h 948"/>
              <a:gd name="T20" fmla="*/ 442 w 1255"/>
              <a:gd name="T21" fmla="*/ 143 h 948"/>
              <a:gd name="T22" fmla="*/ 392 w 1255"/>
              <a:gd name="T23" fmla="*/ 116 h 948"/>
              <a:gd name="T24" fmla="*/ 339 w 1255"/>
              <a:gd name="T25" fmla="*/ 146 h 948"/>
              <a:gd name="T26" fmla="*/ 321 w 1255"/>
              <a:gd name="T27" fmla="*/ 155 h 948"/>
              <a:gd name="T28" fmla="*/ 321 w 1255"/>
              <a:gd name="T29" fmla="*/ 155 h 948"/>
              <a:gd name="T30" fmla="*/ 306 w 1255"/>
              <a:gd name="T31" fmla="*/ 145 h 948"/>
              <a:gd name="T32" fmla="*/ 207 w 1255"/>
              <a:gd name="T33" fmla="*/ 90 h 948"/>
              <a:gd name="T34" fmla="*/ 119 w 1255"/>
              <a:gd name="T35" fmla="*/ 177 h 948"/>
              <a:gd name="T36" fmla="*/ 163 w 1255"/>
              <a:gd name="T37" fmla="*/ 270 h 948"/>
              <a:gd name="T38" fmla="*/ 184 w 1255"/>
              <a:gd name="T39" fmla="*/ 306 h 948"/>
              <a:gd name="T40" fmla="*/ 184 w 1255"/>
              <a:gd name="T41" fmla="*/ 306 h 948"/>
              <a:gd name="T42" fmla="*/ 159 w 1255"/>
              <a:gd name="T43" fmla="*/ 349 h 948"/>
              <a:gd name="T44" fmla="*/ 1 w 1255"/>
              <a:gd name="T45" fmla="*/ 606 h 948"/>
              <a:gd name="T46" fmla="*/ 290 w 1255"/>
              <a:gd name="T47" fmla="*/ 901 h 948"/>
              <a:gd name="T48" fmla="*/ 391 w 1255"/>
              <a:gd name="T49" fmla="*/ 884 h 948"/>
              <a:gd name="T50" fmla="*/ 580 w 1255"/>
              <a:gd name="T51" fmla="*/ 903 h 948"/>
              <a:gd name="T52" fmla="*/ 747 w 1255"/>
              <a:gd name="T53" fmla="*/ 946 h 948"/>
              <a:gd name="T54" fmla="*/ 1040 w 1255"/>
              <a:gd name="T55" fmla="*/ 656 h 948"/>
              <a:gd name="T56" fmla="*/ 1040 w 1255"/>
              <a:gd name="T57" fmla="*/ 653 h 948"/>
              <a:gd name="T58" fmla="*/ 1137 w 1255"/>
              <a:gd name="T59" fmla="*/ 475 h 948"/>
              <a:gd name="T60" fmla="*/ 1252 w 1255"/>
              <a:gd name="T61" fmla="*/ 251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255" h="948">
                <a:moveTo>
                  <a:pt x="1252" y="251"/>
                </a:moveTo>
                <a:cubicBezTo>
                  <a:pt x="1247" y="116"/>
                  <a:pt x="1137" y="6"/>
                  <a:pt x="1002" y="2"/>
                </a:cubicBezTo>
                <a:cubicBezTo>
                  <a:pt x="914" y="0"/>
                  <a:pt x="835" y="41"/>
                  <a:pt x="787" y="107"/>
                </a:cubicBezTo>
                <a:cubicBezTo>
                  <a:pt x="777" y="120"/>
                  <a:pt x="762" y="127"/>
                  <a:pt x="746" y="127"/>
                </a:cubicBezTo>
                <a:cubicBezTo>
                  <a:pt x="746" y="127"/>
                  <a:pt x="746" y="127"/>
                  <a:pt x="746" y="127"/>
                </a:cubicBezTo>
                <a:cubicBezTo>
                  <a:pt x="733" y="127"/>
                  <a:pt x="720" y="122"/>
                  <a:pt x="710" y="112"/>
                </a:cubicBezTo>
                <a:cubicBezTo>
                  <a:pt x="682" y="84"/>
                  <a:pt x="643" y="66"/>
                  <a:pt x="600" y="66"/>
                </a:cubicBezTo>
                <a:cubicBezTo>
                  <a:pt x="543" y="66"/>
                  <a:pt x="494" y="97"/>
                  <a:pt x="467" y="142"/>
                </a:cubicBezTo>
                <a:cubicBezTo>
                  <a:pt x="464" y="146"/>
                  <a:pt x="461" y="148"/>
                  <a:pt x="457" y="149"/>
                </a:cubicBezTo>
                <a:cubicBezTo>
                  <a:pt x="457" y="149"/>
                  <a:pt x="457" y="149"/>
                  <a:pt x="457" y="149"/>
                </a:cubicBezTo>
                <a:cubicBezTo>
                  <a:pt x="451" y="150"/>
                  <a:pt x="445" y="147"/>
                  <a:pt x="442" y="143"/>
                </a:cubicBezTo>
                <a:cubicBezTo>
                  <a:pt x="431" y="126"/>
                  <a:pt x="413" y="116"/>
                  <a:pt x="392" y="116"/>
                </a:cubicBezTo>
                <a:cubicBezTo>
                  <a:pt x="369" y="116"/>
                  <a:pt x="350" y="128"/>
                  <a:pt x="339" y="146"/>
                </a:cubicBezTo>
                <a:cubicBezTo>
                  <a:pt x="335" y="152"/>
                  <a:pt x="328" y="156"/>
                  <a:pt x="321" y="155"/>
                </a:cubicBezTo>
                <a:cubicBezTo>
                  <a:pt x="321" y="155"/>
                  <a:pt x="321" y="155"/>
                  <a:pt x="321" y="155"/>
                </a:cubicBezTo>
                <a:cubicBezTo>
                  <a:pt x="314" y="154"/>
                  <a:pt x="309" y="150"/>
                  <a:pt x="306" y="145"/>
                </a:cubicBezTo>
                <a:cubicBezTo>
                  <a:pt x="288" y="109"/>
                  <a:pt x="250" y="85"/>
                  <a:pt x="207" y="90"/>
                </a:cubicBezTo>
                <a:cubicBezTo>
                  <a:pt x="161" y="94"/>
                  <a:pt x="124" y="131"/>
                  <a:pt x="119" y="177"/>
                </a:cubicBezTo>
                <a:cubicBezTo>
                  <a:pt x="115" y="216"/>
                  <a:pt x="133" y="250"/>
                  <a:pt x="163" y="270"/>
                </a:cubicBezTo>
                <a:cubicBezTo>
                  <a:pt x="175" y="278"/>
                  <a:pt x="183" y="291"/>
                  <a:pt x="184" y="306"/>
                </a:cubicBezTo>
                <a:cubicBezTo>
                  <a:pt x="184" y="306"/>
                  <a:pt x="184" y="306"/>
                  <a:pt x="184" y="306"/>
                </a:cubicBezTo>
                <a:cubicBezTo>
                  <a:pt x="185" y="324"/>
                  <a:pt x="175" y="341"/>
                  <a:pt x="159" y="349"/>
                </a:cubicBezTo>
                <a:cubicBezTo>
                  <a:pt x="66" y="398"/>
                  <a:pt x="2" y="494"/>
                  <a:pt x="1" y="606"/>
                </a:cubicBezTo>
                <a:cubicBezTo>
                  <a:pt x="0" y="766"/>
                  <a:pt x="130" y="899"/>
                  <a:pt x="290" y="901"/>
                </a:cubicBezTo>
                <a:cubicBezTo>
                  <a:pt x="326" y="901"/>
                  <a:pt x="360" y="895"/>
                  <a:pt x="391" y="884"/>
                </a:cubicBezTo>
                <a:cubicBezTo>
                  <a:pt x="454" y="861"/>
                  <a:pt x="524" y="869"/>
                  <a:pt x="580" y="903"/>
                </a:cubicBezTo>
                <a:cubicBezTo>
                  <a:pt x="629" y="932"/>
                  <a:pt x="686" y="948"/>
                  <a:pt x="747" y="946"/>
                </a:cubicBezTo>
                <a:cubicBezTo>
                  <a:pt x="904" y="941"/>
                  <a:pt x="1033" y="814"/>
                  <a:pt x="1040" y="656"/>
                </a:cubicBezTo>
                <a:cubicBezTo>
                  <a:pt x="1040" y="655"/>
                  <a:pt x="1040" y="654"/>
                  <a:pt x="1040" y="653"/>
                </a:cubicBezTo>
                <a:cubicBezTo>
                  <a:pt x="1042" y="581"/>
                  <a:pt x="1078" y="514"/>
                  <a:pt x="1137" y="475"/>
                </a:cubicBezTo>
                <a:cubicBezTo>
                  <a:pt x="1209" y="427"/>
                  <a:pt x="1255" y="344"/>
                  <a:pt x="1252" y="251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C4B9013D-4499-FB47-BDAF-EA902E74A91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574521" y="3137549"/>
            <a:ext cx="11378178" cy="8569928"/>
          </a:xfrm>
          <a:custGeom>
            <a:avLst/>
            <a:gdLst>
              <a:gd name="connsiteX0" fmla="*/ 4593838 w 11378178"/>
              <a:gd name="connsiteY0" fmla="*/ 1520 h 8569928"/>
              <a:gd name="connsiteX1" fmla="*/ 6112574 w 11378178"/>
              <a:gd name="connsiteY1" fmla="*/ 391790 h 8569928"/>
              <a:gd name="connsiteX2" fmla="*/ 7831380 w 11378178"/>
              <a:gd name="connsiteY2" fmla="*/ 564234 h 8569928"/>
              <a:gd name="connsiteX3" fmla="*/ 8749896 w 11378178"/>
              <a:gd name="connsiteY3" fmla="*/ 409941 h 8569928"/>
              <a:gd name="connsiteX4" fmla="*/ 11378126 w 11378178"/>
              <a:gd name="connsiteY4" fmla="*/ 3087371 h 8569928"/>
              <a:gd name="connsiteX5" fmla="*/ 9941240 w 11378178"/>
              <a:gd name="connsiteY5" fmla="*/ 5419910 h 8569928"/>
              <a:gd name="connsiteX6" fmla="*/ 9713884 w 11378178"/>
              <a:gd name="connsiteY6" fmla="*/ 5810180 h 8569928"/>
              <a:gd name="connsiteX7" fmla="*/ 9904862 w 11378178"/>
              <a:gd name="connsiteY7" fmla="*/ 6136917 h 8569928"/>
              <a:gd name="connsiteX8" fmla="*/ 10305008 w 11378178"/>
              <a:gd name="connsiteY8" fmla="*/ 6980988 h 8569928"/>
              <a:gd name="connsiteX9" fmla="*/ 9504716 w 11378178"/>
              <a:gd name="connsiteY9" fmla="*/ 7770602 h 8569928"/>
              <a:gd name="connsiteX10" fmla="*/ 8604390 w 11378178"/>
              <a:gd name="connsiteY10" fmla="*/ 7271421 h 8569928"/>
              <a:gd name="connsiteX11" fmla="*/ 8467976 w 11378178"/>
              <a:gd name="connsiteY11" fmla="*/ 7180660 h 8569928"/>
              <a:gd name="connsiteX12" fmla="*/ 8304280 w 11378178"/>
              <a:gd name="connsiteY12" fmla="*/ 7262344 h 8569928"/>
              <a:gd name="connsiteX13" fmla="*/ 7822286 w 11378178"/>
              <a:gd name="connsiteY13" fmla="*/ 7534626 h 8569928"/>
              <a:gd name="connsiteX14" fmla="*/ 7367576 w 11378178"/>
              <a:gd name="connsiteY14" fmla="*/ 7289573 h 8569928"/>
              <a:gd name="connsiteX15" fmla="*/ 7231162 w 11378178"/>
              <a:gd name="connsiteY15" fmla="*/ 7235116 h 8569928"/>
              <a:gd name="connsiteX16" fmla="*/ 7140220 w 11378178"/>
              <a:gd name="connsiteY16" fmla="*/ 7298649 h 8569928"/>
              <a:gd name="connsiteX17" fmla="*/ 5930688 w 11378178"/>
              <a:gd name="connsiteY17" fmla="*/ 7988427 h 8569928"/>
              <a:gd name="connsiteX18" fmla="*/ 4930324 w 11378178"/>
              <a:gd name="connsiteY18" fmla="*/ 7570930 h 8569928"/>
              <a:gd name="connsiteX19" fmla="*/ 4602932 w 11378178"/>
              <a:gd name="connsiteY19" fmla="*/ 7434789 h 8569928"/>
              <a:gd name="connsiteX20" fmla="*/ 4230070 w 11378178"/>
              <a:gd name="connsiteY20" fmla="*/ 7616310 h 8569928"/>
              <a:gd name="connsiteX21" fmla="*/ 2274812 w 11378178"/>
              <a:gd name="connsiteY21" fmla="*/ 8569293 h 8569928"/>
              <a:gd name="connsiteX22" fmla="*/ 1258 w 11378178"/>
              <a:gd name="connsiteY22" fmla="*/ 6309361 h 8569928"/>
              <a:gd name="connsiteX23" fmla="*/ 1047093 w 11378178"/>
              <a:gd name="connsiteY23" fmla="*/ 4276331 h 8569928"/>
              <a:gd name="connsiteX24" fmla="*/ 1929232 w 11378178"/>
              <a:gd name="connsiteY24" fmla="*/ 2660797 h 8569928"/>
              <a:gd name="connsiteX25" fmla="*/ 1929232 w 11378178"/>
              <a:gd name="connsiteY25" fmla="*/ 2633569 h 8569928"/>
              <a:gd name="connsiteX26" fmla="*/ 4593838 w 11378178"/>
              <a:gd name="connsiteY26" fmla="*/ 1520 h 8569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378178" h="8569928">
                <a:moveTo>
                  <a:pt x="4593838" y="1520"/>
                </a:moveTo>
                <a:cubicBezTo>
                  <a:pt x="5148586" y="-16632"/>
                  <a:pt x="5666956" y="128584"/>
                  <a:pt x="6112574" y="391790"/>
                </a:cubicBezTo>
                <a:cubicBezTo>
                  <a:pt x="6621850" y="700375"/>
                  <a:pt x="7258444" y="772983"/>
                  <a:pt x="7831380" y="564234"/>
                </a:cubicBezTo>
                <a:cubicBezTo>
                  <a:pt x="8113302" y="464398"/>
                  <a:pt x="8422504" y="409941"/>
                  <a:pt x="8749896" y="409941"/>
                </a:cubicBezTo>
                <a:cubicBezTo>
                  <a:pt x="10204972" y="428094"/>
                  <a:pt x="11387220" y="1635205"/>
                  <a:pt x="11378126" y="3087371"/>
                </a:cubicBezTo>
                <a:cubicBezTo>
                  <a:pt x="11369032" y="4103886"/>
                  <a:pt x="10787002" y="4975185"/>
                  <a:pt x="9941240" y="5419910"/>
                </a:cubicBezTo>
                <a:cubicBezTo>
                  <a:pt x="9795732" y="5492518"/>
                  <a:pt x="9704790" y="5646811"/>
                  <a:pt x="9713884" y="5810180"/>
                </a:cubicBezTo>
                <a:cubicBezTo>
                  <a:pt x="9722978" y="5946320"/>
                  <a:pt x="9795732" y="6064308"/>
                  <a:pt x="9904862" y="6136917"/>
                </a:cubicBezTo>
                <a:cubicBezTo>
                  <a:pt x="10177688" y="6318437"/>
                  <a:pt x="10341384" y="6627022"/>
                  <a:pt x="10305008" y="6980988"/>
                </a:cubicBezTo>
                <a:cubicBezTo>
                  <a:pt x="10259536" y="7398485"/>
                  <a:pt x="9923050" y="7734298"/>
                  <a:pt x="9504716" y="7770602"/>
                </a:cubicBezTo>
                <a:cubicBezTo>
                  <a:pt x="9113666" y="7815982"/>
                  <a:pt x="8768086" y="7598158"/>
                  <a:pt x="8604390" y="7271421"/>
                </a:cubicBezTo>
                <a:cubicBezTo>
                  <a:pt x="8577106" y="7226040"/>
                  <a:pt x="8531636" y="7189736"/>
                  <a:pt x="8467976" y="7180660"/>
                </a:cubicBezTo>
                <a:cubicBezTo>
                  <a:pt x="8404316" y="7171584"/>
                  <a:pt x="8340656" y="7207888"/>
                  <a:pt x="8304280" y="7262344"/>
                </a:cubicBezTo>
                <a:cubicBezTo>
                  <a:pt x="8204244" y="7425713"/>
                  <a:pt x="8031454" y="7534626"/>
                  <a:pt x="7822286" y="7534626"/>
                </a:cubicBezTo>
                <a:cubicBezTo>
                  <a:pt x="7631308" y="7534626"/>
                  <a:pt x="7467612" y="7443865"/>
                  <a:pt x="7367576" y="7289573"/>
                </a:cubicBezTo>
                <a:cubicBezTo>
                  <a:pt x="7340292" y="7253268"/>
                  <a:pt x="7285728" y="7226040"/>
                  <a:pt x="7231162" y="7235116"/>
                </a:cubicBezTo>
                <a:cubicBezTo>
                  <a:pt x="7194786" y="7244192"/>
                  <a:pt x="7167502" y="7262344"/>
                  <a:pt x="7140220" y="7298649"/>
                </a:cubicBezTo>
                <a:cubicBezTo>
                  <a:pt x="6894676" y="7707070"/>
                  <a:pt x="6449058" y="7988427"/>
                  <a:pt x="5930688" y="7988427"/>
                </a:cubicBezTo>
                <a:cubicBezTo>
                  <a:pt x="5539638" y="7988427"/>
                  <a:pt x="5184962" y="7825058"/>
                  <a:pt x="4930324" y="7570930"/>
                </a:cubicBezTo>
                <a:cubicBezTo>
                  <a:pt x="4839382" y="7480169"/>
                  <a:pt x="4721158" y="7434789"/>
                  <a:pt x="4602932" y="7434789"/>
                </a:cubicBezTo>
                <a:cubicBezTo>
                  <a:pt x="4457425" y="7434789"/>
                  <a:pt x="4321012" y="7498321"/>
                  <a:pt x="4230070" y="7616310"/>
                </a:cubicBezTo>
                <a:cubicBezTo>
                  <a:pt x="3793547" y="8215328"/>
                  <a:pt x="3075104" y="8587445"/>
                  <a:pt x="2274812" y="8569293"/>
                </a:cubicBezTo>
                <a:cubicBezTo>
                  <a:pt x="1047093" y="8532989"/>
                  <a:pt x="46729" y="7534626"/>
                  <a:pt x="1258" y="6309361"/>
                </a:cubicBezTo>
                <a:cubicBezTo>
                  <a:pt x="-26025" y="5465291"/>
                  <a:pt x="392309" y="4711980"/>
                  <a:pt x="1047093" y="4276331"/>
                </a:cubicBezTo>
                <a:cubicBezTo>
                  <a:pt x="1583652" y="3922366"/>
                  <a:pt x="1911044" y="3314271"/>
                  <a:pt x="1929232" y="2660797"/>
                </a:cubicBezTo>
                <a:cubicBezTo>
                  <a:pt x="1929232" y="2651721"/>
                  <a:pt x="1929232" y="2642645"/>
                  <a:pt x="1929232" y="2633569"/>
                </a:cubicBezTo>
                <a:cubicBezTo>
                  <a:pt x="1992892" y="1199556"/>
                  <a:pt x="3166046" y="46900"/>
                  <a:pt x="4593838" y="152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1DE53F-08DB-5D40-8856-9D1974D11A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02CB3007-3CCE-9C4F-8944-53C37414DE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49877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Полилиния 6">
            <a:extLst>
              <a:ext uri="{FF2B5EF4-FFF2-40B4-BE49-F238E27FC236}">
                <a16:creationId xmlns:a16="http://schemas.microsoft.com/office/drawing/2014/main" id="{CB474167-1D7C-AE46-81F8-99F97C331748}"/>
              </a:ext>
            </a:extLst>
          </p:cNvPr>
          <p:cNvSpPr>
            <a:spLocks/>
          </p:cNvSpPr>
          <p:nvPr userDrawn="1"/>
        </p:nvSpPr>
        <p:spPr bwMode="auto">
          <a:xfrm>
            <a:off x="1320379" y="1458194"/>
            <a:ext cx="11166032" cy="11186998"/>
          </a:xfrm>
          <a:custGeom>
            <a:avLst/>
            <a:gdLst>
              <a:gd name="connsiteX0" fmla="*/ 2915902 w 9515126"/>
              <a:gd name="connsiteY0" fmla="*/ 79 h 9532992"/>
              <a:gd name="connsiteX1" fmla="*/ 4247810 w 9515126"/>
              <a:gd name="connsiteY1" fmla="*/ 339349 h 9532992"/>
              <a:gd name="connsiteX2" fmla="*/ 4282544 w 9515126"/>
              <a:gd name="connsiteY2" fmla="*/ 359402 h 9532992"/>
              <a:gd name="connsiteX3" fmla="*/ 6290586 w 9515126"/>
              <a:gd name="connsiteY3" fmla="*/ 330599 h 9532992"/>
              <a:gd name="connsiteX4" fmla="*/ 8024776 w 9515126"/>
              <a:gd name="connsiteY4" fmla="*/ 134404 h 9532992"/>
              <a:gd name="connsiteX5" fmla="*/ 9427050 w 9515126"/>
              <a:gd name="connsiteY5" fmla="*/ 2791205 h 9532992"/>
              <a:gd name="connsiteX6" fmla="*/ 8415858 w 9515126"/>
              <a:gd name="connsiteY6" fmla="*/ 4045310 h 9532992"/>
              <a:gd name="connsiteX7" fmla="*/ 7739810 w 9515126"/>
              <a:gd name="connsiteY7" fmla="*/ 4991659 h 9532992"/>
              <a:gd name="connsiteX8" fmla="*/ 7437704 w 9515126"/>
              <a:gd name="connsiteY8" fmla="*/ 5819738 h 9532992"/>
              <a:gd name="connsiteX9" fmla="*/ 6026920 w 9515126"/>
              <a:gd name="connsiteY9" fmla="*/ 6963809 h 9532992"/>
              <a:gd name="connsiteX10" fmla="*/ 5199134 w 9515126"/>
              <a:gd name="connsiteY10" fmla="*/ 7803988 h 9532992"/>
              <a:gd name="connsiteX11" fmla="*/ 4180648 w 9515126"/>
              <a:gd name="connsiteY11" fmla="*/ 9118857 h 9532992"/>
              <a:gd name="connsiteX12" fmla="*/ 669564 w 9515126"/>
              <a:gd name="connsiteY12" fmla="*/ 8381987 h 9532992"/>
              <a:gd name="connsiteX13" fmla="*/ 445227 w 9515126"/>
              <a:gd name="connsiteY13" fmla="*/ 6043253 h 9532992"/>
              <a:gd name="connsiteX14" fmla="*/ 355201 w 9515126"/>
              <a:gd name="connsiteY14" fmla="*/ 4274032 h 9532992"/>
              <a:gd name="connsiteX15" fmla="*/ 407459 w 9515126"/>
              <a:gd name="connsiteY15" fmla="*/ 1408093 h 9532992"/>
              <a:gd name="connsiteX16" fmla="*/ 2915902 w 9515126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6" h="9532992">
                <a:moveTo>
                  <a:pt x="2915902" y="79"/>
                </a:moveTo>
                <a:cubicBezTo>
                  <a:pt x="3368616" y="3434"/>
                  <a:pt x="3825637" y="113012"/>
                  <a:pt x="4247810" y="339349"/>
                </a:cubicBezTo>
                <a:cubicBezTo>
                  <a:pt x="4261702" y="347370"/>
                  <a:pt x="4268650" y="351381"/>
                  <a:pt x="4282544" y="359402"/>
                </a:cubicBezTo>
                <a:cubicBezTo>
                  <a:pt x="4904826" y="709396"/>
                  <a:pt x="5671414" y="697147"/>
                  <a:pt x="6290586" y="330599"/>
                </a:cubicBezTo>
                <a:cubicBezTo>
                  <a:pt x="6793892" y="36392"/>
                  <a:pt x="7421544" y="-56071"/>
                  <a:pt x="8024776" y="134404"/>
                </a:cubicBezTo>
                <a:cubicBezTo>
                  <a:pt x="9128876" y="484102"/>
                  <a:pt x="9757594" y="1673226"/>
                  <a:pt x="9427050" y="2791205"/>
                </a:cubicBezTo>
                <a:cubicBezTo>
                  <a:pt x="9256840" y="3342703"/>
                  <a:pt x="8888102" y="3788862"/>
                  <a:pt x="8415858" y="4045310"/>
                </a:cubicBezTo>
                <a:cubicBezTo>
                  <a:pt x="8058388" y="4247350"/>
                  <a:pt x="7810626" y="4596272"/>
                  <a:pt x="7739810" y="4991659"/>
                </a:cubicBezTo>
                <a:cubicBezTo>
                  <a:pt x="7686512" y="5276489"/>
                  <a:pt x="7590440" y="5555189"/>
                  <a:pt x="7437704" y="5819738"/>
                </a:cubicBezTo>
                <a:cubicBezTo>
                  <a:pt x="7112132" y="6383644"/>
                  <a:pt x="6599346" y="6774484"/>
                  <a:pt x="6026920" y="6963809"/>
                </a:cubicBezTo>
                <a:cubicBezTo>
                  <a:pt x="5633972" y="7098954"/>
                  <a:pt x="5334656" y="7408828"/>
                  <a:pt x="5199134" y="7803988"/>
                </a:cubicBezTo>
                <a:cubicBezTo>
                  <a:pt x="5020142" y="8322568"/>
                  <a:pt x="4675172" y="8791732"/>
                  <a:pt x="4180648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077A601D-1D2E-6347-8CF8-2727DE220D2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5866" y="2163622"/>
            <a:ext cx="9515125" cy="9532991"/>
          </a:xfrm>
          <a:custGeom>
            <a:avLst/>
            <a:gdLst>
              <a:gd name="connsiteX0" fmla="*/ 6761941 w 9515125"/>
              <a:gd name="connsiteY0" fmla="*/ 330 h 9532991"/>
              <a:gd name="connsiteX1" fmla="*/ 8845561 w 9515125"/>
              <a:gd name="connsiteY1" fmla="*/ 1151004 h 9532991"/>
              <a:gd name="connsiteX2" fmla="*/ 9069898 w 9515125"/>
              <a:gd name="connsiteY2" fmla="*/ 3489738 h 9532991"/>
              <a:gd name="connsiteX3" fmla="*/ 9159924 w 9515125"/>
              <a:gd name="connsiteY3" fmla="*/ 5258959 h 9532991"/>
              <a:gd name="connsiteX4" fmla="*/ 9107666 w 9515125"/>
              <a:gd name="connsiteY4" fmla="*/ 8124898 h 9532991"/>
              <a:gd name="connsiteX5" fmla="*/ 5267316 w 9515125"/>
              <a:gd name="connsiteY5" fmla="*/ 9193642 h 9532991"/>
              <a:gd name="connsiteX6" fmla="*/ 5232582 w 9515125"/>
              <a:gd name="connsiteY6" fmla="*/ 9173589 h 9532991"/>
              <a:gd name="connsiteX7" fmla="*/ 3224539 w 9515125"/>
              <a:gd name="connsiteY7" fmla="*/ 9202392 h 9532991"/>
              <a:gd name="connsiteX8" fmla="*/ 1490348 w 9515125"/>
              <a:gd name="connsiteY8" fmla="*/ 9398587 h 9532991"/>
              <a:gd name="connsiteX9" fmla="*/ 88076 w 9515125"/>
              <a:gd name="connsiteY9" fmla="*/ 6741786 h 9532991"/>
              <a:gd name="connsiteX10" fmla="*/ 1099267 w 9515125"/>
              <a:gd name="connsiteY10" fmla="*/ 5487682 h 9532991"/>
              <a:gd name="connsiteX11" fmla="*/ 1775316 w 9515125"/>
              <a:gd name="connsiteY11" fmla="*/ 4541332 h 9532991"/>
              <a:gd name="connsiteX12" fmla="*/ 2077422 w 9515125"/>
              <a:gd name="connsiteY12" fmla="*/ 3713253 h 9532991"/>
              <a:gd name="connsiteX13" fmla="*/ 3488205 w 9515125"/>
              <a:gd name="connsiteY13" fmla="*/ 2569182 h 9532991"/>
              <a:gd name="connsiteX14" fmla="*/ 4315991 w 9515125"/>
              <a:gd name="connsiteY14" fmla="*/ 1729003 h 9532991"/>
              <a:gd name="connsiteX15" fmla="*/ 5334478 w 9515125"/>
              <a:gd name="connsiteY15" fmla="*/ 414134 h 9532991"/>
              <a:gd name="connsiteX16" fmla="*/ 6761941 w 9515125"/>
              <a:gd name="connsiteY16" fmla="*/ 330 h 953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5" h="9532991">
                <a:moveTo>
                  <a:pt x="6761941" y="330"/>
                </a:moveTo>
                <a:cubicBezTo>
                  <a:pt x="7577465" y="13489"/>
                  <a:pt x="8371048" y="418726"/>
                  <a:pt x="8845561" y="1151004"/>
                </a:cubicBezTo>
                <a:cubicBezTo>
                  <a:pt x="9319521" y="1870201"/>
                  <a:pt x="9370563" y="2744369"/>
                  <a:pt x="9069898" y="3489738"/>
                </a:cubicBezTo>
                <a:cubicBezTo>
                  <a:pt x="8840838" y="4062953"/>
                  <a:pt x="8862212" y="4715779"/>
                  <a:pt x="9159924" y="5258959"/>
                </a:cubicBezTo>
                <a:cubicBezTo>
                  <a:pt x="9632095" y="6125641"/>
                  <a:pt x="9652120" y="7213962"/>
                  <a:pt x="9107666" y="8124898"/>
                </a:cubicBezTo>
                <a:cubicBezTo>
                  <a:pt x="8326067" y="9446581"/>
                  <a:pt x="6618269" y="9917921"/>
                  <a:pt x="5267316" y="9193642"/>
                </a:cubicBezTo>
                <a:cubicBezTo>
                  <a:pt x="5253422" y="9185621"/>
                  <a:pt x="5246476" y="9181610"/>
                  <a:pt x="5232582" y="9173589"/>
                </a:cubicBezTo>
                <a:cubicBezTo>
                  <a:pt x="4610298" y="8823595"/>
                  <a:pt x="3843711" y="8835844"/>
                  <a:pt x="3224539" y="9202392"/>
                </a:cubicBezTo>
                <a:cubicBezTo>
                  <a:pt x="2721232" y="9496599"/>
                  <a:pt x="2093581" y="9589062"/>
                  <a:pt x="1490348" y="9398587"/>
                </a:cubicBezTo>
                <a:cubicBezTo>
                  <a:pt x="386249" y="9048890"/>
                  <a:pt x="-242469" y="7859765"/>
                  <a:pt x="88076" y="6741786"/>
                </a:cubicBezTo>
                <a:cubicBezTo>
                  <a:pt x="258285" y="6190288"/>
                  <a:pt x="627024" y="5744129"/>
                  <a:pt x="1099267" y="5487682"/>
                </a:cubicBezTo>
                <a:cubicBezTo>
                  <a:pt x="1456737" y="5285642"/>
                  <a:pt x="1704499" y="4936720"/>
                  <a:pt x="1775316" y="4541332"/>
                </a:cubicBezTo>
                <a:cubicBezTo>
                  <a:pt x="1828614" y="4256502"/>
                  <a:pt x="1924685" y="3977802"/>
                  <a:pt x="2077422" y="3713253"/>
                </a:cubicBezTo>
                <a:cubicBezTo>
                  <a:pt x="2402993" y="3149347"/>
                  <a:pt x="2915779" y="2758506"/>
                  <a:pt x="3488205" y="2569182"/>
                </a:cubicBezTo>
                <a:cubicBezTo>
                  <a:pt x="3881152" y="2434037"/>
                  <a:pt x="4180470" y="2124163"/>
                  <a:pt x="4315991" y="1729003"/>
                </a:cubicBezTo>
                <a:cubicBezTo>
                  <a:pt x="4494983" y="1210423"/>
                  <a:pt x="4839954" y="741259"/>
                  <a:pt x="5334478" y="414134"/>
                </a:cubicBezTo>
                <a:cubicBezTo>
                  <a:pt x="5775412" y="125686"/>
                  <a:pt x="6272626" y="-7566"/>
                  <a:pt x="6761941" y="33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81517BC-9491-6C4C-9AAF-EE4471F60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8B8A14E1-E5F8-1147-B597-B73E07D423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6886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423FAF3B-8D40-FD46-8D34-22255FEC8A6F}"/>
              </a:ext>
            </a:extLst>
          </p:cNvPr>
          <p:cNvSpPr>
            <a:spLocks/>
          </p:cNvSpPr>
          <p:nvPr userDrawn="1"/>
        </p:nvSpPr>
        <p:spPr bwMode="auto">
          <a:xfrm rot="588626">
            <a:off x="12128912" y="1319572"/>
            <a:ext cx="11166032" cy="11186998"/>
          </a:xfrm>
          <a:custGeom>
            <a:avLst/>
            <a:gdLst>
              <a:gd name="connsiteX0" fmla="*/ 2915902 w 9515126"/>
              <a:gd name="connsiteY0" fmla="*/ 79 h 9532992"/>
              <a:gd name="connsiteX1" fmla="*/ 4247810 w 9515126"/>
              <a:gd name="connsiteY1" fmla="*/ 339349 h 9532992"/>
              <a:gd name="connsiteX2" fmla="*/ 4282544 w 9515126"/>
              <a:gd name="connsiteY2" fmla="*/ 359402 h 9532992"/>
              <a:gd name="connsiteX3" fmla="*/ 6290586 w 9515126"/>
              <a:gd name="connsiteY3" fmla="*/ 330599 h 9532992"/>
              <a:gd name="connsiteX4" fmla="*/ 8024776 w 9515126"/>
              <a:gd name="connsiteY4" fmla="*/ 134404 h 9532992"/>
              <a:gd name="connsiteX5" fmla="*/ 9427050 w 9515126"/>
              <a:gd name="connsiteY5" fmla="*/ 2791205 h 9532992"/>
              <a:gd name="connsiteX6" fmla="*/ 8415858 w 9515126"/>
              <a:gd name="connsiteY6" fmla="*/ 4045310 h 9532992"/>
              <a:gd name="connsiteX7" fmla="*/ 7739810 w 9515126"/>
              <a:gd name="connsiteY7" fmla="*/ 4991659 h 9532992"/>
              <a:gd name="connsiteX8" fmla="*/ 7437704 w 9515126"/>
              <a:gd name="connsiteY8" fmla="*/ 5819738 h 9532992"/>
              <a:gd name="connsiteX9" fmla="*/ 6026920 w 9515126"/>
              <a:gd name="connsiteY9" fmla="*/ 6963809 h 9532992"/>
              <a:gd name="connsiteX10" fmla="*/ 5199134 w 9515126"/>
              <a:gd name="connsiteY10" fmla="*/ 7803988 h 9532992"/>
              <a:gd name="connsiteX11" fmla="*/ 4180648 w 9515126"/>
              <a:gd name="connsiteY11" fmla="*/ 9118857 h 9532992"/>
              <a:gd name="connsiteX12" fmla="*/ 669564 w 9515126"/>
              <a:gd name="connsiteY12" fmla="*/ 8381987 h 9532992"/>
              <a:gd name="connsiteX13" fmla="*/ 445227 w 9515126"/>
              <a:gd name="connsiteY13" fmla="*/ 6043253 h 9532992"/>
              <a:gd name="connsiteX14" fmla="*/ 355201 w 9515126"/>
              <a:gd name="connsiteY14" fmla="*/ 4274032 h 9532992"/>
              <a:gd name="connsiteX15" fmla="*/ 407459 w 9515126"/>
              <a:gd name="connsiteY15" fmla="*/ 1408093 h 9532992"/>
              <a:gd name="connsiteX16" fmla="*/ 2915902 w 9515126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6" h="9532992">
                <a:moveTo>
                  <a:pt x="2915902" y="79"/>
                </a:moveTo>
                <a:cubicBezTo>
                  <a:pt x="3368616" y="3434"/>
                  <a:pt x="3825637" y="113012"/>
                  <a:pt x="4247810" y="339349"/>
                </a:cubicBezTo>
                <a:cubicBezTo>
                  <a:pt x="4261702" y="347370"/>
                  <a:pt x="4268650" y="351381"/>
                  <a:pt x="4282544" y="359402"/>
                </a:cubicBezTo>
                <a:cubicBezTo>
                  <a:pt x="4904826" y="709396"/>
                  <a:pt x="5671414" y="697147"/>
                  <a:pt x="6290586" y="330599"/>
                </a:cubicBezTo>
                <a:cubicBezTo>
                  <a:pt x="6793892" y="36392"/>
                  <a:pt x="7421544" y="-56071"/>
                  <a:pt x="8024776" y="134404"/>
                </a:cubicBezTo>
                <a:cubicBezTo>
                  <a:pt x="9128876" y="484102"/>
                  <a:pt x="9757594" y="1673226"/>
                  <a:pt x="9427050" y="2791205"/>
                </a:cubicBezTo>
                <a:cubicBezTo>
                  <a:pt x="9256840" y="3342703"/>
                  <a:pt x="8888102" y="3788862"/>
                  <a:pt x="8415858" y="4045310"/>
                </a:cubicBezTo>
                <a:cubicBezTo>
                  <a:pt x="8058388" y="4247350"/>
                  <a:pt x="7810626" y="4596272"/>
                  <a:pt x="7739810" y="4991659"/>
                </a:cubicBezTo>
                <a:cubicBezTo>
                  <a:pt x="7686512" y="5276489"/>
                  <a:pt x="7590440" y="5555189"/>
                  <a:pt x="7437704" y="5819738"/>
                </a:cubicBezTo>
                <a:cubicBezTo>
                  <a:pt x="7112132" y="6383644"/>
                  <a:pt x="6599346" y="6774484"/>
                  <a:pt x="6026920" y="6963809"/>
                </a:cubicBezTo>
                <a:cubicBezTo>
                  <a:pt x="5633972" y="7098954"/>
                  <a:pt x="5334656" y="7408828"/>
                  <a:pt x="5199134" y="7803988"/>
                </a:cubicBezTo>
                <a:cubicBezTo>
                  <a:pt x="5020142" y="8322568"/>
                  <a:pt x="4675172" y="8791732"/>
                  <a:pt x="4180648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E8089984-DF5E-7847-9674-CE9AE134A7E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11571" y="2007320"/>
            <a:ext cx="9515125" cy="9532992"/>
          </a:xfrm>
          <a:custGeom>
            <a:avLst/>
            <a:gdLst>
              <a:gd name="connsiteX0" fmla="*/ 2915902 w 9515125"/>
              <a:gd name="connsiteY0" fmla="*/ 79 h 9532992"/>
              <a:gd name="connsiteX1" fmla="*/ 4247809 w 9515125"/>
              <a:gd name="connsiteY1" fmla="*/ 339349 h 9532992"/>
              <a:gd name="connsiteX2" fmla="*/ 4282545 w 9515125"/>
              <a:gd name="connsiteY2" fmla="*/ 359402 h 9532992"/>
              <a:gd name="connsiteX3" fmla="*/ 6290585 w 9515125"/>
              <a:gd name="connsiteY3" fmla="*/ 330599 h 9532992"/>
              <a:gd name="connsiteX4" fmla="*/ 8024777 w 9515125"/>
              <a:gd name="connsiteY4" fmla="*/ 134404 h 9532992"/>
              <a:gd name="connsiteX5" fmla="*/ 9427049 w 9515125"/>
              <a:gd name="connsiteY5" fmla="*/ 2791205 h 9532992"/>
              <a:gd name="connsiteX6" fmla="*/ 8415857 w 9515125"/>
              <a:gd name="connsiteY6" fmla="*/ 4045310 h 9532992"/>
              <a:gd name="connsiteX7" fmla="*/ 7739809 w 9515125"/>
              <a:gd name="connsiteY7" fmla="*/ 4991659 h 9532992"/>
              <a:gd name="connsiteX8" fmla="*/ 7437705 w 9515125"/>
              <a:gd name="connsiteY8" fmla="*/ 5819738 h 9532992"/>
              <a:gd name="connsiteX9" fmla="*/ 6026921 w 9515125"/>
              <a:gd name="connsiteY9" fmla="*/ 6963809 h 9532992"/>
              <a:gd name="connsiteX10" fmla="*/ 5199133 w 9515125"/>
              <a:gd name="connsiteY10" fmla="*/ 7803988 h 9532992"/>
              <a:gd name="connsiteX11" fmla="*/ 4180649 w 9515125"/>
              <a:gd name="connsiteY11" fmla="*/ 9118857 h 9532992"/>
              <a:gd name="connsiteX12" fmla="*/ 669564 w 9515125"/>
              <a:gd name="connsiteY12" fmla="*/ 8381987 h 9532992"/>
              <a:gd name="connsiteX13" fmla="*/ 445227 w 9515125"/>
              <a:gd name="connsiteY13" fmla="*/ 6043253 h 9532992"/>
              <a:gd name="connsiteX14" fmla="*/ 355201 w 9515125"/>
              <a:gd name="connsiteY14" fmla="*/ 4274032 h 9532992"/>
              <a:gd name="connsiteX15" fmla="*/ 407459 w 9515125"/>
              <a:gd name="connsiteY15" fmla="*/ 1408093 h 9532992"/>
              <a:gd name="connsiteX16" fmla="*/ 2915902 w 9515125"/>
              <a:gd name="connsiteY16" fmla="*/ 79 h 953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15125" h="9532992">
                <a:moveTo>
                  <a:pt x="2915902" y="79"/>
                </a:moveTo>
                <a:cubicBezTo>
                  <a:pt x="3368616" y="3434"/>
                  <a:pt x="3825637" y="113012"/>
                  <a:pt x="4247809" y="339349"/>
                </a:cubicBezTo>
                <a:cubicBezTo>
                  <a:pt x="4261701" y="347370"/>
                  <a:pt x="4268649" y="351381"/>
                  <a:pt x="4282545" y="359402"/>
                </a:cubicBezTo>
                <a:cubicBezTo>
                  <a:pt x="4904825" y="709396"/>
                  <a:pt x="5671413" y="697147"/>
                  <a:pt x="6290585" y="330599"/>
                </a:cubicBezTo>
                <a:cubicBezTo>
                  <a:pt x="6793893" y="36392"/>
                  <a:pt x="7421545" y="-56071"/>
                  <a:pt x="8024777" y="134404"/>
                </a:cubicBezTo>
                <a:cubicBezTo>
                  <a:pt x="9128877" y="484102"/>
                  <a:pt x="9757593" y="1673226"/>
                  <a:pt x="9427049" y="2791205"/>
                </a:cubicBezTo>
                <a:cubicBezTo>
                  <a:pt x="9256841" y="3342703"/>
                  <a:pt x="8888101" y="3788862"/>
                  <a:pt x="8415857" y="4045310"/>
                </a:cubicBezTo>
                <a:cubicBezTo>
                  <a:pt x="8058389" y="4247350"/>
                  <a:pt x="7810625" y="4596272"/>
                  <a:pt x="7739809" y="4991659"/>
                </a:cubicBezTo>
                <a:cubicBezTo>
                  <a:pt x="7686513" y="5276489"/>
                  <a:pt x="7590441" y="5555189"/>
                  <a:pt x="7437705" y="5819738"/>
                </a:cubicBezTo>
                <a:cubicBezTo>
                  <a:pt x="7112133" y="6383644"/>
                  <a:pt x="6599345" y="6774484"/>
                  <a:pt x="6026921" y="6963809"/>
                </a:cubicBezTo>
                <a:cubicBezTo>
                  <a:pt x="5633973" y="7098954"/>
                  <a:pt x="5334657" y="7408828"/>
                  <a:pt x="5199133" y="7803988"/>
                </a:cubicBezTo>
                <a:cubicBezTo>
                  <a:pt x="5020141" y="8322568"/>
                  <a:pt x="4675173" y="8791732"/>
                  <a:pt x="4180649" y="9118857"/>
                </a:cubicBezTo>
                <a:cubicBezTo>
                  <a:pt x="3004824" y="9888051"/>
                  <a:pt x="1428785" y="9553633"/>
                  <a:pt x="669564" y="8381987"/>
                </a:cubicBezTo>
                <a:cubicBezTo>
                  <a:pt x="195604" y="7662790"/>
                  <a:pt x="144562" y="6788622"/>
                  <a:pt x="445227" y="6043253"/>
                </a:cubicBezTo>
                <a:cubicBezTo>
                  <a:pt x="674287" y="5470038"/>
                  <a:pt x="652913" y="4817213"/>
                  <a:pt x="355201" y="4274032"/>
                </a:cubicBezTo>
                <a:cubicBezTo>
                  <a:pt x="-116970" y="3407350"/>
                  <a:pt x="-136995" y="2319029"/>
                  <a:pt x="407459" y="1408093"/>
                </a:cubicBezTo>
                <a:cubicBezTo>
                  <a:pt x="944808" y="499436"/>
                  <a:pt x="1919932" y="-7301"/>
                  <a:pt x="2915902" y="79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C1DB5E8-D724-1349-981B-4B570B7FD8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B96D9C16-888F-C74E-8AFB-06205EEA04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3281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 animBg="1"/>
          <p:bldP spid="7" grpId="0"/>
          <p:bldP spid="8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12" grpId="0" animBg="1"/>
          <p:bldP spid="7" grpId="0"/>
          <p:bldP spid="8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F76B4BA0-6A98-4D42-A62E-B74C7EF39453}"/>
              </a:ext>
            </a:extLst>
          </p:cNvPr>
          <p:cNvSpPr>
            <a:spLocks/>
          </p:cNvSpPr>
          <p:nvPr userDrawn="1"/>
        </p:nvSpPr>
        <p:spPr bwMode="auto">
          <a:xfrm>
            <a:off x="168251" y="1242170"/>
            <a:ext cx="12841660" cy="12767793"/>
          </a:xfrm>
          <a:custGeom>
            <a:avLst/>
            <a:gdLst>
              <a:gd name="T0" fmla="*/ 1067 w 1074"/>
              <a:gd name="T1" fmla="*/ 481 h 1069"/>
              <a:gd name="T2" fmla="*/ 1004 w 1074"/>
              <a:gd name="T3" fmla="*/ 395 h 1069"/>
              <a:gd name="T4" fmla="*/ 959 w 1074"/>
              <a:gd name="T5" fmla="*/ 344 h 1069"/>
              <a:gd name="T6" fmla="*/ 959 w 1074"/>
              <a:gd name="T7" fmla="*/ 344 h 1069"/>
              <a:gd name="T8" fmla="*/ 975 w 1074"/>
              <a:gd name="T9" fmla="*/ 261 h 1069"/>
              <a:gd name="T10" fmla="*/ 1010 w 1074"/>
              <a:gd name="T11" fmla="*/ 181 h 1069"/>
              <a:gd name="T12" fmla="*/ 900 w 1074"/>
              <a:gd name="T13" fmla="*/ 21 h 1069"/>
              <a:gd name="T14" fmla="*/ 717 w 1074"/>
              <a:gd name="T15" fmla="*/ 138 h 1069"/>
              <a:gd name="T16" fmla="*/ 715 w 1074"/>
              <a:gd name="T17" fmla="*/ 165 h 1069"/>
              <a:gd name="T18" fmla="*/ 640 w 1074"/>
              <a:gd name="T19" fmla="*/ 256 h 1069"/>
              <a:gd name="T20" fmla="*/ 640 w 1074"/>
              <a:gd name="T21" fmla="*/ 256 h 1069"/>
              <a:gd name="T22" fmla="*/ 589 w 1074"/>
              <a:gd name="T23" fmla="*/ 251 h 1069"/>
              <a:gd name="T24" fmla="*/ 306 w 1074"/>
              <a:gd name="T25" fmla="*/ 252 h 1069"/>
              <a:gd name="T26" fmla="*/ 78 w 1074"/>
              <a:gd name="T27" fmla="*/ 764 h 1069"/>
              <a:gd name="T28" fmla="*/ 587 w 1074"/>
              <a:gd name="T29" fmla="*/ 992 h 1069"/>
              <a:gd name="T30" fmla="*/ 841 w 1074"/>
              <a:gd name="T31" fmla="*/ 572 h 1069"/>
              <a:gd name="T32" fmla="*/ 850 w 1074"/>
              <a:gd name="T33" fmla="*/ 558 h 1069"/>
              <a:gd name="T34" fmla="*/ 850 w 1074"/>
              <a:gd name="T35" fmla="*/ 558 h 1069"/>
              <a:gd name="T36" fmla="*/ 866 w 1074"/>
              <a:gd name="T37" fmla="*/ 563 h 1069"/>
              <a:gd name="T38" fmla="*/ 995 w 1074"/>
              <a:gd name="T39" fmla="*/ 601 h 1069"/>
              <a:gd name="T40" fmla="*/ 1067 w 1074"/>
              <a:gd name="T41" fmla="*/ 481 h 1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74" h="1069">
                <a:moveTo>
                  <a:pt x="1067" y="481"/>
                </a:moveTo>
                <a:cubicBezTo>
                  <a:pt x="1061" y="442"/>
                  <a:pt x="1036" y="411"/>
                  <a:pt x="1004" y="395"/>
                </a:cubicBezTo>
                <a:cubicBezTo>
                  <a:pt x="982" y="385"/>
                  <a:pt x="966" y="367"/>
                  <a:pt x="959" y="344"/>
                </a:cubicBezTo>
                <a:cubicBezTo>
                  <a:pt x="959" y="344"/>
                  <a:pt x="959" y="344"/>
                  <a:pt x="959" y="344"/>
                </a:cubicBezTo>
                <a:cubicBezTo>
                  <a:pt x="949" y="315"/>
                  <a:pt x="956" y="284"/>
                  <a:pt x="975" y="261"/>
                </a:cubicBezTo>
                <a:cubicBezTo>
                  <a:pt x="994" y="239"/>
                  <a:pt x="1006" y="212"/>
                  <a:pt x="1010" y="181"/>
                </a:cubicBezTo>
                <a:cubicBezTo>
                  <a:pt x="1018" y="108"/>
                  <a:pt x="971" y="39"/>
                  <a:pt x="900" y="21"/>
                </a:cubicBezTo>
                <a:cubicBezTo>
                  <a:pt x="816" y="0"/>
                  <a:pt x="733" y="54"/>
                  <a:pt x="717" y="138"/>
                </a:cubicBezTo>
                <a:cubicBezTo>
                  <a:pt x="716" y="147"/>
                  <a:pt x="715" y="156"/>
                  <a:pt x="715" y="165"/>
                </a:cubicBezTo>
                <a:cubicBezTo>
                  <a:pt x="715" y="209"/>
                  <a:pt x="683" y="247"/>
                  <a:pt x="640" y="256"/>
                </a:cubicBezTo>
                <a:cubicBezTo>
                  <a:pt x="640" y="256"/>
                  <a:pt x="640" y="256"/>
                  <a:pt x="640" y="256"/>
                </a:cubicBezTo>
                <a:cubicBezTo>
                  <a:pt x="623" y="259"/>
                  <a:pt x="605" y="257"/>
                  <a:pt x="589" y="251"/>
                </a:cubicBezTo>
                <a:cubicBezTo>
                  <a:pt x="501" y="218"/>
                  <a:pt x="401" y="215"/>
                  <a:pt x="306" y="252"/>
                </a:cubicBezTo>
                <a:cubicBezTo>
                  <a:pt x="102" y="330"/>
                  <a:pt x="0" y="561"/>
                  <a:pt x="78" y="764"/>
                </a:cubicBezTo>
                <a:cubicBezTo>
                  <a:pt x="156" y="967"/>
                  <a:pt x="383" y="1069"/>
                  <a:pt x="587" y="992"/>
                </a:cubicBezTo>
                <a:cubicBezTo>
                  <a:pt x="762" y="927"/>
                  <a:pt x="863" y="750"/>
                  <a:pt x="841" y="572"/>
                </a:cubicBezTo>
                <a:cubicBezTo>
                  <a:pt x="840" y="566"/>
                  <a:pt x="844" y="560"/>
                  <a:pt x="850" y="558"/>
                </a:cubicBezTo>
                <a:cubicBezTo>
                  <a:pt x="850" y="558"/>
                  <a:pt x="850" y="558"/>
                  <a:pt x="850" y="558"/>
                </a:cubicBezTo>
                <a:cubicBezTo>
                  <a:pt x="856" y="556"/>
                  <a:pt x="862" y="558"/>
                  <a:pt x="866" y="563"/>
                </a:cubicBezTo>
                <a:cubicBezTo>
                  <a:pt x="894" y="601"/>
                  <a:pt x="946" y="619"/>
                  <a:pt x="995" y="601"/>
                </a:cubicBezTo>
                <a:cubicBezTo>
                  <a:pt x="1044" y="583"/>
                  <a:pt x="1074" y="533"/>
                  <a:pt x="1067" y="4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CFBFAB7E-CCCB-9B4C-B80A-8D6C18139EA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727928" y="1921295"/>
            <a:ext cx="10821681" cy="10650267"/>
          </a:xfrm>
          <a:custGeom>
            <a:avLst/>
            <a:gdLst>
              <a:gd name="connsiteX0" fmla="*/ 8698978 w 10821681"/>
              <a:gd name="connsiteY0" fmla="*/ 1007 h 10650267"/>
              <a:gd name="connsiteX1" fmla="*/ 9032550 w 10821681"/>
              <a:gd name="connsiteY1" fmla="*/ 48314 h 10650267"/>
              <a:gd name="connsiteX2" fmla="*/ 10203942 w 10821681"/>
              <a:gd name="connsiteY2" fmla="*/ 1750280 h 10650267"/>
              <a:gd name="connsiteX3" fmla="*/ 9831226 w 10821681"/>
              <a:gd name="connsiteY3" fmla="*/ 2601262 h 10650267"/>
              <a:gd name="connsiteX4" fmla="*/ 9660842 w 10821681"/>
              <a:gd name="connsiteY4" fmla="*/ 3484157 h 10650267"/>
              <a:gd name="connsiteX5" fmla="*/ 10140048 w 10821681"/>
              <a:gd name="connsiteY5" fmla="*/ 4026658 h 10650267"/>
              <a:gd name="connsiteX6" fmla="*/ 10810936 w 10821681"/>
              <a:gd name="connsiteY6" fmla="*/ 4941465 h 10650267"/>
              <a:gd name="connsiteX7" fmla="*/ 10044207 w 10821681"/>
              <a:gd name="connsiteY7" fmla="*/ 6217939 h 10650267"/>
              <a:gd name="connsiteX8" fmla="*/ 8670484 w 10821681"/>
              <a:gd name="connsiteY8" fmla="*/ 5813722 h 10650267"/>
              <a:gd name="connsiteX9" fmla="*/ 8500099 w 10821681"/>
              <a:gd name="connsiteY9" fmla="*/ 5760536 h 10650267"/>
              <a:gd name="connsiteX10" fmla="*/ 8404258 w 10821681"/>
              <a:gd name="connsiteY10" fmla="*/ 5909458 h 10650267"/>
              <a:gd name="connsiteX11" fmla="*/ 5699408 w 10821681"/>
              <a:gd name="connsiteY11" fmla="*/ 10377117 h 10650267"/>
              <a:gd name="connsiteX12" fmla="*/ 279058 w 10821681"/>
              <a:gd name="connsiteY12" fmla="*/ 7951817 h 10650267"/>
              <a:gd name="connsiteX13" fmla="*/ 2707034 w 10821681"/>
              <a:gd name="connsiteY13" fmla="*/ 2505527 h 10650267"/>
              <a:gd name="connsiteX14" fmla="*/ 5720706 w 10821681"/>
              <a:gd name="connsiteY14" fmla="*/ 2494889 h 10650267"/>
              <a:gd name="connsiteX15" fmla="*/ 6263806 w 10821681"/>
              <a:gd name="connsiteY15" fmla="*/ 2548076 h 10650267"/>
              <a:gd name="connsiteX16" fmla="*/ 7062482 w 10821681"/>
              <a:gd name="connsiteY16" fmla="*/ 1580083 h 10650267"/>
              <a:gd name="connsiteX17" fmla="*/ 7083780 w 10821681"/>
              <a:gd name="connsiteY17" fmla="*/ 1292876 h 10650267"/>
              <a:gd name="connsiteX18" fmla="*/ 8698978 w 10821681"/>
              <a:gd name="connsiteY18" fmla="*/ 1007 h 10650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21681" h="10650267">
                <a:moveTo>
                  <a:pt x="8698978" y="1007"/>
                </a:moveTo>
                <a:cubicBezTo>
                  <a:pt x="8809087" y="4934"/>
                  <a:pt x="8920735" y="20391"/>
                  <a:pt x="9032550" y="48314"/>
                </a:cubicBezTo>
                <a:cubicBezTo>
                  <a:pt x="9788630" y="239785"/>
                  <a:pt x="10289134" y="973758"/>
                  <a:pt x="10203942" y="1750280"/>
                </a:cubicBezTo>
                <a:cubicBezTo>
                  <a:pt x="10161346" y="2080035"/>
                  <a:pt x="10033558" y="2367242"/>
                  <a:pt x="9831226" y="2601262"/>
                </a:cubicBezTo>
                <a:cubicBezTo>
                  <a:pt x="9628895" y="2845920"/>
                  <a:pt x="9554352" y="3175675"/>
                  <a:pt x="9660842" y="3484157"/>
                </a:cubicBezTo>
                <a:cubicBezTo>
                  <a:pt x="9735385" y="3728814"/>
                  <a:pt x="9905769" y="3920285"/>
                  <a:pt x="10140048" y="4026658"/>
                </a:cubicBezTo>
                <a:cubicBezTo>
                  <a:pt x="10480816" y="4196855"/>
                  <a:pt x="10747042" y="4526611"/>
                  <a:pt x="10810936" y="4941465"/>
                </a:cubicBezTo>
                <a:cubicBezTo>
                  <a:pt x="10885479" y="5494604"/>
                  <a:pt x="10566008" y="6026468"/>
                  <a:pt x="10044207" y="6217939"/>
                </a:cubicBezTo>
                <a:cubicBezTo>
                  <a:pt x="9522405" y="6409410"/>
                  <a:pt x="8968656" y="6217939"/>
                  <a:pt x="8670484" y="5813722"/>
                </a:cubicBezTo>
                <a:cubicBezTo>
                  <a:pt x="8627887" y="5760536"/>
                  <a:pt x="8563993" y="5739261"/>
                  <a:pt x="8500099" y="5760536"/>
                </a:cubicBezTo>
                <a:cubicBezTo>
                  <a:pt x="8436205" y="5781811"/>
                  <a:pt x="8393609" y="5845634"/>
                  <a:pt x="8404258" y="5909458"/>
                </a:cubicBezTo>
                <a:cubicBezTo>
                  <a:pt x="8638536" y="7802895"/>
                  <a:pt x="7562986" y="9685694"/>
                  <a:pt x="5699408" y="10377117"/>
                </a:cubicBezTo>
                <a:cubicBezTo>
                  <a:pt x="3527009" y="11196188"/>
                  <a:pt x="1109682" y="10111185"/>
                  <a:pt x="279058" y="7951817"/>
                </a:cubicBezTo>
                <a:cubicBezTo>
                  <a:pt x="-551565" y="5792448"/>
                  <a:pt x="534635" y="3335235"/>
                  <a:pt x="2707034" y="2505527"/>
                </a:cubicBezTo>
                <a:cubicBezTo>
                  <a:pt x="3718691" y="2111947"/>
                  <a:pt x="4783593" y="2143859"/>
                  <a:pt x="5720706" y="2494889"/>
                </a:cubicBezTo>
                <a:cubicBezTo>
                  <a:pt x="5891090" y="2558713"/>
                  <a:pt x="6082773" y="2579988"/>
                  <a:pt x="6263806" y="2548076"/>
                </a:cubicBezTo>
                <a:cubicBezTo>
                  <a:pt x="6721714" y="2452340"/>
                  <a:pt x="7062482" y="2048124"/>
                  <a:pt x="7062482" y="1580083"/>
                </a:cubicBezTo>
                <a:cubicBezTo>
                  <a:pt x="7062482" y="1484347"/>
                  <a:pt x="7073131" y="1388612"/>
                  <a:pt x="7083780" y="1292876"/>
                </a:cubicBezTo>
                <a:cubicBezTo>
                  <a:pt x="7232866" y="511036"/>
                  <a:pt x="7928214" y="-26479"/>
                  <a:pt x="8698978" y="1007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74E063D-1A2C-974C-869F-71185B806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22BA9850-B716-0443-8B5E-283B84EE81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52438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0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AD9E480E-D227-E94F-860C-E39BBF0EB705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11689531" y="162050"/>
            <a:ext cx="12841660" cy="12767793"/>
          </a:xfrm>
          <a:custGeom>
            <a:avLst/>
            <a:gdLst>
              <a:gd name="T0" fmla="*/ 1067 w 1074"/>
              <a:gd name="T1" fmla="*/ 481 h 1069"/>
              <a:gd name="T2" fmla="*/ 1004 w 1074"/>
              <a:gd name="T3" fmla="*/ 395 h 1069"/>
              <a:gd name="T4" fmla="*/ 959 w 1074"/>
              <a:gd name="T5" fmla="*/ 344 h 1069"/>
              <a:gd name="T6" fmla="*/ 959 w 1074"/>
              <a:gd name="T7" fmla="*/ 344 h 1069"/>
              <a:gd name="T8" fmla="*/ 975 w 1074"/>
              <a:gd name="T9" fmla="*/ 261 h 1069"/>
              <a:gd name="T10" fmla="*/ 1010 w 1074"/>
              <a:gd name="T11" fmla="*/ 181 h 1069"/>
              <a:gd name="T12" fmla="*/ 900 w 1074"/>
              <a:gd name="T13" fmla="*/ 21 h 1069"/>
              <a:gd name="T14" fmla="*/ 717 w 1074"/>
              <a:gd name="T15" fmla="*/ 138 h 1069"/>
              <a:gd name="T16" fmla="*/ 715 w 1074"/>
              <a:gd name="T17" fmla="*/ 165 h 1069"/>
              <a:gd name="T18" fmla="*/ 640 w 1074"/>
              <a:gd name="T19" fmla="*/ 256 h 1069"/>
              <a:gd name="T20" fmla="*/ 640 w 1074"/>
              <a:gd name="T21" fmla="*/ 256 h 1069"/>
              <a:gd name="T22" fmla="*/ 589 w 1074"/>
              <a:gd name="T23" fmla="*/ 251 h 1069"/>
              <a:gd name="T24" fmla="*/ 306 w 1074"/>
              <a:gd name="T25" fmla="*/ 252 h 1069"/>
              <a:gd name="T26" fmla="*/ 78 w 1074"/>
              <a:gd name="T27" fmla="*/ 764 h 1069"/>
              <a:gd name="T28" fmla="*/ 587 w 1074"/>
              <a:gd name="T29" fmla="*/ 992 h 1069"/>
              <a:gd name="T30" fmla="*/ 841 w 1074"/>
              <a:gd name="T31" fmla="*/ 572 h 1069"/>
              <a:gd name="T32" fmla="*/ 850 w 1074"/>
              <a:gd name="T33" fmla="*/ 558 h 1069"/>
              <a:gd name="T34" fmla="*/ 850 w 1074"/>
              <a:gd name="T35" fmla="*/ 558 h 1069"/>
              <a:gd name="T36" fmla="*/ 866 w 1074"/>
              <a:gd name="T37" fmla="*/ 563 h 1069"/>
              <a:gd name="T38" fmla="*/ 995 w 1074"/>
              <a:gd name="T39" fmla="*/ 601 h 1069"/>
              <a:gd name="T40" fmla="*/ 1067 w 1074"/>
              <a:gd name="T41" fmla="*/ 481 h 1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74" h="1069">
                <a:moveTo>
                  <a:pt x="1067" y="481"/>
                </a:moveTo>
                <a:cubicBezTo>
                  <a:pt x="1061" y="442"/>
                  <a:pt x="1036" y="411"/>
                  <a:pt x="1004" y="395"/>
                </a:cubicBezTo>
                <a:cubicBezTo>
                  <a:pt x="982" y="385"/>
                  <a:pt x="966" y="367"/>
                  <a:pt x="959" y="344"/>
                </a:cubicBezTo>
                <a:cubicBezTo>
                  <a:pt x="959" y="344"/>
                  <a:pt x="959" y="344"/>
                  <a:pt x="959" y="344"/>
                </a:cubicBezTo>
                <a:cubicBezTo>
                  <a:pt x="949" y="315"/>
                  <a:pt x="956" y="284"/>
                  <a:pt x="975" y="261"/>
                </a:cubicBezTo>
                <a:cubicBezTo>
                  <a:pt x="994" y="239"/>
                  <a:pt x="1006" y="212"/>
                  <a:pt x="1010" y="181"/>
                </a:cubicBezTo>
                <a:cubicBezTo>
                  <a:pt x="1018" y="108"/>
                  <a:pt x="971" y="39"/>
                  <a:pt x="900" y="21"/>
                </a:cubicBezTo>
                <a:cubicBezTo>
                  <a:pt x="816" y="0"/>
                  <a:pt x="733" y="54"/>
                  <a:pt x="717" y="138"/>
                </a:cubicBezTo>
                <a:cubicBezTo>
                  <a:pt x="716" y="147"/>
                  <a:pt x="715" y="156"/>
                  <a:pt x="715" y="165"/>
                </a:cubicBezTo>
                <a:cubicBezTo>
                  <a:pt x="715" y="209"/>
                  <a:pt x="683" y="247"/>
                  <a:pt x="640" y="256"/>
                </a:cubicBezTo>
                <a:cubicBezTo>
                  <a:pt x="640" y="256"/>
                  <a:pt x="640" y="256"/>
                  <a:pt x="640" y="256"/>
                </a:cubicBezTo>
                <a:cubicBezTo>
                  <a:pt x="623" y="259"/>
                  <a:pt x="605" y="257"/>
                  <a:pt x="589" y="251"/>
                </a:cubicBezTo>
                <a:cubicBezTo>
                  <a:pt x="501" y="218"/>
                  <a:pt x="401" y="215"/>
                  <a:pt x="306" y="252"/>
                </a:cubicBezTo>
                <a:cubicBezTo>
                  <a:pt x="102" y="330"/>
                  <a:pt x="0" y="561"/>
                  <a:pt x="78" y="764"/>
                </a:cubicBezTo>
                <a:cubicBezTo>
                  <a:pt x="156" y="967"/>
                  <a:pt x="383" y="1069"/>
                  <a:pt x="587" y="992"/>
                </a:cubicBezTo>
                <a:cubicBezTo>
                  <a:pt x="762" y="927"/>
                  <a:pt x="863" y="750"/>
                  <a:pt x="841" y="572"/>
                </a:cubicBezTo>
                <a:cubicBezTo>
                  <a:pt x="840" y="566"/>
                  <a:pt x="844" y="560"/>
                  <a:pt x="850" y="558"/>
                </a:cubicBezTo>
                <a:cubicBezTo>
                  <a:pt x="850" y="558"/>
                  <a:pt x="850" y="558"/>
                  <a:pt x="850" y="558"/>
                </a:cubicBezTo>
                <a:cubicBezTo>
                  <a:pt x="856" y="556"/>
                  <a:pt x="862" y="558"/>
                  <a:pt x="866" y="563"/>
                </a:cubicBezTo>
                <a:cubicBezTo>
                  <a:pt x="894" y="601"/>
                  <a:pt x="946" y="619"/>
                  <a:pt x="995" y="601"/>
                </a:cubicBezTo>
                <a:cubicBezTo>
                  <a:pt x="1044" y="583"/>
                  <a:pt x="1074" y="533"/>
                  <a:pt x="1067" y="4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5153815A-417C-704F-9CA2-F873CFF662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113368" y="1572067"/>
            <a:ext cx="10821682" cy="10650266"/>
          </a:xfrm>
          <a:custGeom>
            <a:avLst/>
            <a:gdLst>
              <a:gd name="connsiteX0" fmla="*/ 6563899 w 10821682"/>
              <a:gd name="connsiteY0" fmla="*/ 288 h 10650266"/>
              <a:gd name="connsiteX1" fmla="*/ 10542623 w 10821682"/>
              <a:gd name="connsiteY1" fmla="*/ 2698449 h 10650266"/>
              <a:gd name="connsiteX2" fmla="*/ 8114647 w 10821682"/>
              <a:gd name="connsiteY2" fmla="*/ 8144739 h 10650266"/>
              <a:gd name="connsiteX3" fmla="*/ 5100975 w 10821682"/>
              <a:gd name="connsiteY3" fmla="*/ 8155376 h 10650266"/>
              <a:gd name="connsiteX4" fmla="*/ 4557875 w 10821682"/>
              <a:gd name="connsiteY4" fmla="*/ 8102190 h 10650266"/>
              <a:gd name="connsiteX5" fmla="*/ 3759199 w 10821682"/>
              <a:gd name="connsiteY5" fmla="*/ 9070183 h 10650266"/>
              <a:gd name="connsiteX6" fmla="*/ 3737901 w 10821682"/>
              <a:gd name="connsiteY6" fmla="*/ 9357390 h 10650266"/>
              <a:gd name="connsiteX7" fmla="*/ 1789131 w 10821682"/>
              <a:gd name="connsiteY7" fmla="*/ 10601952 h 10650266"/>
              <a:gd name="connsiteX8" fmla="*/ 617739 w 10821682"/>
              <a:gd name="connsiteY8" fmla="*/ 8899987 h 10650266"/>
              <a:gd name="connsiteX9" fmla="*/ 990455 w 10821682"/>
              <a:gd name="connsiteY9" fmla="*/ 8049004 h 10650266"/>
              <a:gd name="connsiteX10" fmla="*/ 1160839 w 10821682"/>
              <a:gd name="connsiteY10" fmla="*/ 7166109 h 10650266"/>
              <a:gd name="connsiteX11" fmla="*/ 681633 w 10821682"/>
              <a:gd name="connsiteY11" fmla="*/ 6623608 h 10650266"/>
              <a:gd name="connsiteX12" fmla="*/ 10745 w 10821682"/>
              <a:gd name="connsiteY12" fmla="*/ 5708801 h 10650266"/>
              <a:gd name="connsiteX13" fmla="*/ 777474 w 10821682"/>
              <a:gd name="connsiteY13" fmla="*/ 4432327 h 10650266"/>
              <a:gd name="connsiteX14" fmla="*/ 2151197 w 10821682"/>
              <a:gd name="connsiteY14" fmla="*/ 4836544 h 10650266"/>
              <a:gd name="connsiteX15" fmla="*/ 2321582 w 10821682"/>
              <a:gd name="connsiteY15" fmla="*/ 4889731 h 10650266"/>
              <a:gd name="connsiteX16" fmla="*/ 2417423 w 10821682"/>
              <a:gd name="connsiteY16" fmla="*/ 4740809 h 10650266"/>
              <a:gd name="connsiteX17" fmla="*/ 5122273 w 10821682"/>
              <a:gd name="connsiteY17" fmla="*/ 273149 h 10650266"/>
              <a:gd name="connsiteX18" fmla="*/ 6563899 w 10821682"/>
              <a:gd name="connsiteY18" fmla="*/ 288 h 10650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21682" h="10650266">
                <a:moveTo>
                  <a:pt x="6563899" y="288"/>
                </a:moveTo>
                <a:cubicBezTo>
                  <a:pt x="8276327" y="-19823"/>
                  <a:pt x="9893699" y="1011443"/>
                  <a:pt x="10542623" y="2698449"/>
                </a:cubicBezTo>
                <a:cubicBezTo>
                  <a:pt x="11373247" y="4857819"/>
                  <a:pt x="10287047" y="7315031"/>
                  <a:pt x="8114647" y="8144739"/>
                </a:cubicBezTo>
                <a:cubicBezTo>
                  <a:pt x="7102991" y="8538319"/>
                  <a:pt x="6038089" y="8506407"/>
                  <a:pt x="5100975" y="8155376"/>
                </a:cubicBezTo>
                <a:cubicBezTo>
                  <a:pt x="4930591" y="8091553"/>
                  <a:pt x="4738909" y="8070278"/>
                  <a:pt x="4557875" y="8102190"/>
                </a:cubicBezTo>
                <a:cubicBezTo>
                  <a:pt x="4099967" y="8197926"/>
                  <a:pt x="3759199" y="8602142"/>
                  <a:pt x="3759199" y="9070183"/>
                </a:cubicBezTo>
                <a:cubicBezTo>
                  <a:pt x="3759199" y="9165919"/>
                  <a:pt x="3748550" y="9261654"/>
                  <a:pt x="3737901" y="9357390"/>
                </a:cubicBezTo>
                <a:cubicBezTo>
                  <a:pt x="3567517" y="10250922"/>
                  <a:pt x="2683648" y="10825335"/>
                  <a:pt x="1789131" y="10601952"/>
                </a:cubicBezTo>
                <a:cubicBezTo>
                  <a:pt x="1033051" y="10410481"/>
                  <a:pt x="532547" y="9676508"/>
                  <a:pt x="617739" y="8899987"/>
                </a:cubicBezTo>
                <a:cubicBezTo>
                  <a:pt x="660335" y="8570231"/>
                  <a:pt x="788123" y="8283024"/>
                  <a:pt x="990455" y="8049004"/>
                </a:cubicBezTo>
                <a:cubicBezTo>
                  <a:pt x="1192786" y="7804346"/>
                  <a:pt x="1267329" y="7474591"/>
                  <a:pt x="1160839" y="7166109"/>
                </a:cubicBezTo>
                <a:cubicBezTo>
                  <a:pt x="1086296" y="6921452"/>
                  <a:pt x="915912" y="6729981"/>
                  <a:pt x="681633" y="6623608"/>
                </a:cubicBezTo>
                <a:cubicBezTo>
                  <a:pt x="340865" y="6453411"/>
                  <a:pt x="74639" y="6123656"/>
                  <a:pt x="10745" y="5708801"/>
                </a:cubicBezTo>
                <a:cubicBezTo>
                  <a:pt x="-63798" y="5155663"/>
                  <a:pt x="255673" y="4623798"/>
                  <a:pt x="777474" y="4432327"/>
                </a:cubicBezTo>
                <a:cubicBezTo>
                  <a:pt x="1299276" y="4240856"/>
                  <a:pt x="1853025" y="4432327"/>
                  <a:pt x="2151197" y="4836544"/>
                </a:cubicBezTo>
                <a:cubicBezTo>
                  <a:pt x="2193794" y="4889731"/>
                  <a:pt x="2257688" y="4911005"/>
                  <a:pt x="2321582" y="4889731"/>
                </a:cubicBezTo>
                <a:cubicBezTo>
                  <a:pt x="2385476" y="4868456"/>
                  <a:pt x="2428072" y="4804632"/>
                  <a:pt x="2417423" y="4740809"/>
                </a:cubicBezTo>
                <a:cubicBezTo>
                  <a:pt x="2183145" y="2847371"/>
                  <a:pt x="3258695" y="964572"/>
                  <a:pt x="5122273" y="273149"/>
                </a:cubicBezTo>
                <a:cubicBezTo>
                  <a:pt x="5597485" y="93977"/>
                  <a:pt x="6084419" y="5918"/>
                  <a:pt x="6563899" y="28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7B4C2907-5F37-2146-88DB-A2B671AC6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312DCFE8-D8F1-B043-8CE5-F170DE8A62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01625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12">
            <a:extLst>
              <a:ext uri="{FF2B5EF4-FFF2-40B4-BE49-F238E27FC236}">
                <a16:creationId xmlns:a16="http://schemas.microsoft.com/office/drawing/2014/main" id="{0892CCA3-EE80-7F4D-A7ED-568B18A39954}"/>
              </a:ext>
            </a:extLst>
          </p:cNvPr>
          <p:cNvSpPr>
            <a:spLocks/>
          </p:cNvSpPr>
          <p:nvPr userDrawn="1"/>
        </p:nvSpPr>
        <p:spPr bwMode="auto">
          <a:xfrm rot="13093723">
            <a:off x="2030880" y="-572008"/>
            <a:ext cx="9534799" cy="14211912"/>
          </a:xfrm>
          <a:custGeom>
            <a:avLst/>
            <a:gdLst>
              <a:gd name="T0" fmla="*/ 215 w 1711"/>
              <a:gd name="T1" fmla="*/ 1244 h 2553"/>
              <a:gd name="T2" fmla="*/ 215 w 1711"/>
              <a:gd name="T3" fmla="*/ 1244 h 2553"/>
              <a:gd name="T4" fmla="*/ 244 w 1711"/>
              <a:gd name="T5" fmla="*/ 1288 h 2553"/>
              <a:gd name="T6" fmla="*/ 301 w 1711"/>
              <a:gd name="T7" fmla="*/ 1509 h 2553"/>
              <a:gd name="T8" fmla="*/ 301 w 1711"/>
              <a:gd name="T9" fmla="*/ 1509 h 2553"/>
              <a:gd name="T10" fmla="*/ 197 w 1711"/>
              <a:gd name="T11" fmla="*/ 1730 h 2553"/>
              <a:gd name="T12" fmla="*/ 135 w 1711"/>
              <a:gd name="T13" fmla="*/ 2274 h 2553"/>
              <a:gd name="T14" fmla="*/ 135 w 1711"/>
              <a:gd name="T15" fmla="*/ 2274 h 2553"/>
              <a:gd name="T16" fmla="*/ 750 w 1711"/>
              <a:gd name="T17" fmla="*/ 2425 h 2553"/>
              <a:gd name="T18" fmla="*/ 750 w 1711"/>
              <a:gd name="T19" fmla="*/ 2425 h 2553"/>
              <a:gd name="T20" fmla="*/ 959 w 1711"/>
              <a:gd name="T21" fmla="*/ 1964 h 2553"/>
              <a:gd name="T22" fmla="*/ 997 w 1711"/>
              <a:gd name="T23" fmla="*/ 1747 h 2553"/>
              <a:gd name="T24" fmla="*/ 998 w 1711"/>
              <a:gd name="T25" fmla="*/ 1745 h 2553"/>
              <a:gd name="T26" fmla="*/ 1243 w 1711"/>
              <a:gd name="T27" fmla="*/ 1497 h 2553"/>
              <a:gd name="T28" fmla="*/ 1244 w 1711"/>
              <a:gd name="T29" fmla="*/ 1496 h 2553"/>
              <a:gd name="T30" fmla="*/ 1244 w 1711"/>
              <a:gd name="T31" fmla="*/ 1496 h 2553"/>
              <a:gd name="T32" fmla="*/ 1496 w 1711"/>
              <a:gd name="T33" fmla="*/ 467 h 2553"/>
              <a:gd name="T34" fmla="*/ 1496 w 1711"/>
              <a:gd name="T35" fmla="*/ 467 h 2553"/>
              <a:gd name="T36" fmla="*/ 467 w 1711"/>
              <a:gd name="T37" fmla="*/ 214 h 2553"/>
              <a:gd name="T38" fmla="*/ 467 w 1711"/>
              <a:gd name="T39" fmla="*/ 214 h 2553"/>
              <a:gd name="T40" fmla="*/ 215 w 1711"/>
              <a:gd name="T41" fmla="*/ 1244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11" h="2553">
                <a:moveTo>
                  <a:pt x="215" y="1244"/>
                </a:moveTo>
                <a:cubicBezTo>
                  <a:pt x="215" y="1244"/>
                  <a:pt x="215" y="1244"/>
                  <a:pt x="215" y="1244"/>
                </a:cubicBezTo>
                <a:cubicBezTo>
                  <a:pt x="224" y="1259"/>
                  <a:pt x="234" y="1274"/>
                  <a:pt x="244" y="1288"/>
                </a:cubicBezTo>
                <a:cubicBezTo>
                  <a:pt x="289" y="1352"/>
                  <a:pt x="309" y="1431"/>
                  <a:pt x="301" y="1509"/>
                </a:cubicBezTo>
                <a:cubicBezTo>
                  <a:pt x="301" y="1509"/>
                  <a:pt x="301" y="1509"/>
                  <a:pt x="301" y="1509"/>
                </a:cubicBezTo>
                <a:cubicBezTo>
                  <a:pt x="292" y="1592"/>
                  <a:pt x="256" y="1670"/>
                  <a:pt x="197" y="1730"/>
                </a:cubicBezTo>
                <a:cubicBezTo>
                  <a:pt x="58" y="1872"/>
                  <a:pt x="27" y="2096"/>
                  <a:pt x="135" y="2274"/>
                </a:cubicBezTo>
                <a:cubicBezTo>
                  <a:pt x="135" y="2274"/>
                  <a:pt x="135" y="2274"/>
                  <a:pt x="135" y="2274"/>
                </a:cubicBezTo>
                <a:cubicBezTo>
                  <a:pt x="263" y="2486"/>
                  <a:pt x="538" y="2553"/>
                  <a:pt x="750" y="2425"/>
                </a:cubicBezTo>
                <a:cubicBezTo>
                  <a:pt x="750" y="2425"/>
                  <a:pt x="750" y="2425"/>
                  <a:pt x="750" y="2425"/>
                </a:cubicBezTo>
                <a:cubicBezTo>
                  <a:pt x="913" y="2326"/>
                  <a:pt x="990" y="2141"/>
                  <a:pt x="959" y="1964"/>
                </a:cubicBezTo>
                <a:cubicBezTo>
                  <a:pt x="945" y="1889"/>
                  <a:pt x="959" y="1813"/>
                  <a:pt x="997" y="1747"/>
                </a:cubicBezTo>
                <a:cubicBezTo>
                  <a:pt x="998" y="1745"/>
                  <a:pt x="998" y="1745"/>
                  <a:pt x="998" y="1745"/>
                </a:cubicBezTo>
                <a:cubicBezTo>
                  <a:pt x="1057" y="1643"/>
                  <a:pt x="1141" y="1558"/>
                  <a:pt x="1243" y="1497"/>
                </a:cubicBezTo>
                <a:cubicBezTo>
                  <a:pt x="1243" y="1497"/>
                  <a:pt x="1243" y="1496"/>
                  <a:pt x="1244" y="1496"/>
                </a:cubicBezTo>
                <a:cubicBezTo>
                  <a:pt x="1244" y="1496"/>
                  <a:pt x="1244" y="1496"/>
                  <a:pt x="1244" y="1496"/>
                </a:cubicBezTo>
                <a:cubicBezTo>
                  <a:pt x="1598" y="1282"/>
                  <a:pt x="1711" y="821"/>
                  <a:pt x="1496" y="467"/>
                </a:cubicBezTo>
                <a:cubicBezTo>
                  <a:pt x="1496" y="467"/>
                  <a:pt x="1496" y="467"/>
                  <a:pt x="1496" y="467"/>
                </a:cubicBezTo>
                <a:cubicBezTo>
                  <a:pt x="1282" y="113"/>
                  <a:pt x="821" y="0"/>
                  <a:pt x="467" y="214"/>
                </a:cubicBezTo>
                <a:cubicBezTo>
                  <a:pt x="467" y="214"/>
                  <a:pt x="467" y="214"/>
                  <a:pt x="467" y="214"/>
                </a:cubicBezTo>
                <a:cubicBezTo>
                  <a:pt x="113" y="429"/>
                  <a:pt x="0" y="890"/>
                  <a:pt x="215" y="12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10E6A116-7350-6A4E-864C-032673758CF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608411" y="1026146"/>
            <a:ext cx="11111999" cy="11456315"/>
          </a:xfrm>
          <a:custGeom>
            <a:avLst/>
            <a:gdLst>
              <a:gd name="connsiteX0" fmla="*/ 4089061 w 11111999"/>
              <a:gd name="connsiteY0" fmla="*/ 0 h 11456315"/>
              <a:gd name="connsiteX1" fmla="*/ 8178121 w 11111999"/>
              <a:gd name="connsiteY1" fmla="*/ 4087745 h 11456315"/>
              <a:gd name="connsiteX2" fmla="*/ 8178121 w 11111999"/>
              <a:gd name="connsiteY2" fmla="*/ 4097409 h 11456315"/>
              <a:gd name="connsiteX3" fmla="*/ 8642129 w 11111999"/>
              <a:gd name="connsiteY3" fmla="*/ 5938343 h 11456315"/>
              <a:gd name="connsiteX4" fmla="*/ 8651795 w 11111999"/>
              <a:gd name="connsiteY4" fmla="*/ 5948007 h 11456315"/>
              <a:gd name="connsiteX5" fmla="*/ 9550809 w 11111999"/>
              <a:gd name="connsiteY5" fmla="*/ 6740430 h 11456315"/>
              <a:gd name="connsiteX6" fmla="*/ 11111999 w 11111999"/>
              <a:gd name="connsiteY6" fmla="*/ 9016231 h 11456315"/>
              <a:gd name="connsiteX7" fmla="*/ 8671129 w 11111999"/>
              <a:gd name="connsiteY7" fmla="*/ 11456315 h 11456315"/>
              <a:gd name="connsiteX8" fmla="*/ 6307593 w 11111999"/>
              <a:gd name="connsiteY8" fmla="*/ 9625044 h 11456315"/>
              <a:gd name="connsiteX9" fmla="*/ 5572917 w 11111999"/>
              <a:gd name="connsiteY9" fmla="*/ 8523382 h 11456315"/>
              <a:gd name="connsiteX10" fmla="*/ 4379065 w 11111999"/>
              <a:gd name="connsiteY10" fmla="*/ 8165826 h 11456315"/>
              <a:gd name="connsiteX11" fmla="*/ 4089061 w 11111999"/>
              <a:gd name="connsiteY11" fmla="*/ 8175489 h 11456315"/>
              <a:gd name="connsiteX12" fmla="*/ 0 w 11111999"/>
              <a:gd name="connsiteY12" fmla="*/ 4087745 h 11456315"/>
              <a:gd name="connsiteX13" fmla="*/ 4089061 w 11111999"/>
              <a:gd name="connsiteY13" fmla="*/ 0 h 11456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111999" h="11456315">
                <a:moveTo>
                  <a:pt x="4089061" y="0"/>
                </a:moveTo>
                <a:cubicBezTo>
                  <a:pt x="6346261" y="0"/>
                  <a:pt x="8178121" y="1831271"/>
                  <a:pt x="8178121" y="4087745"/>
                </a:cubicBezTo>
                <a:cubicBezTo>
                  <a:pt x="8178121" y="4092577"/>
                  <a:pt x="8178121" y="4092577"/>
                  <a:pt x="8178121" y="4097409"/>
                </a:cubicBezTo>
                <a:cubicBezTo>
                  <a:pt x="8173289" y="4740045"/>
                  <a:pt x="8332791" y="5373017"/>
                  <a:pt x="8642129" y="5938343"/>
                </a:cubicBezTo>
                <a:cubicBezTo>
                  <a:pt x="8642129" y="5938343"/>
                  <a:pt x="8642129" y="5938343"/>
                  <a:pt x="8651795" y="5948007"/>
                </a:cubicBezTo>
                <a:cubicBezTo>
                  <a:pt x="8849965" y="6310396"/>
                  <a:pt x="9168969" y="6590643"/>
                  <a:pt x="9550809" y="6740430"/>
                </a:cubicBezTo>
                <a:cubicBezTo>
                  <a:pt x="10464323" y="7093155"/>
                  <a:pt x="11111999" y="7977384"/>
                  <a:pt x="11111999" y="9016231"/>
                </a:cubicBezTo>
                <a:cubicBezTo>
                  <a:pt x="11111999" y="10364317"/>
                  <a:pt x="10019649" y="11456315"/>
                  <a:pt x="8671129" y="11456315"/>
                </a:cubicBezTo>
                <a:cubicBezTo>
                  <a:pt x="7535279" y="11456315"/>
                  <a:pt x="6578265" y="10678387"/>
                  <a:pt x="6307593" y="9625044"/>
                </a:cubicBezTo>
                <a:cubicBezTo>
                  <a:pt x="6191593" y="9185346"/>
                  <a:pt x="5935421" y="8798798"/>
                  <a:pt x="5572917" y="8523382"/>
                </a:cubicBezTo>
                <a:cubicBezTo>
                  <a:pt x="5229745" y="8262462"/>
                  <a:pt x="4804405" y="8132002"/>
                  <a:pt x="4379065" y="8165826"/>
                </a:cubicBezTo>
                <a:cubicBezTo>
                  <a:pt x="4282397" y="8170658"/>
                  <a:pt x="4185729" y="8175489"/>
                  <a:pt x="4089061" y="8175489"/>
                </a:cubicBezTo>
                <a:cubicBezTo>
                  <a:pt x="1831861" y="8175489"/>
                  <a:pt x="0" y="6344219"/>
                  <a:pt x="0" y="4087745"/>
                </a:cubicBezTo>
                <a:cubicBezTo>
                  <a:pt x="0" y="1831271"/>
                  <a:pt x="1831861" y="0"/>
                  <a:pt x="4089061" y="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26E25A-357A-8B40-9EDA-85EDF968F2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D4D4627-42C1-5E44-8EC8-0FD01EBAA3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72199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2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2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7" name="Freeform 12">
            <a:extLst>
              <a:ext uri="{FF2B5EF4-FFF2-40B4-BE49-F238E27FC236}">
                <a16:creationId xmlns:a16="http://schemas.microsoft.com/office/drawing/2014/main" id="{B807D982-D5E4-7448-989B-5B2CE886DF91}"/>
              </a:ext>
            </a:extLst>
          </p:cNvPr>
          <p:cNvSpPr>
            <a:spLocks/>
          </p:cNvSpPr>
          <p:nvPr userDrawn="1"/>
        </p:nvSpPr>
        <p:spPr bwMode="auto">
          <a:xfrm rot="1800000">
            <a:off x="12514602" y="-73109"/>
            <a:ext cx="9534799" cy="14211912"/>
          </a:xfrm>
          <a:custGeom>
            <a:avLst/>
            <a:gdLst>
              <a:gd name="T0" fmla="*/ 215 w 1711"/>
              <a:gd name="T1" fmla="*/ 1244 h 2553"/>
              <a:gd name="T2" fmla="*/ 215 w 1711"/>
              <a:gd name="T3" fmla="*/ 1244 h 2553"/>
              <a:gd name="T4" fmla="*/ 244 w 1711"/>
              <a:gd name="T5" fmla="*/ 1288 h 2553"/>
              <a:gd name="T6" fmla="*/ 301 w 1711"/>
              <a:gd name="T7" fmla="*/ 1509 h 2553"/>
              <a:gd name="T8" fmla="*/ 301 w 1711"/>
              <a:gd name="T9" fmla="*/ 1509 h 2553"/>
              <a:gd name="T10" fmla="*/ 197 w 1711"/>
              <a:gd name="T11" fmla="*/ 1730 h 2553"/>
              <a:gd name="T12" fmla="*/ 135 w 1711"/>
              <a:gd name="T13" fmla="*/ 2274 h 2553"/>
              <a:gd name="T14" fmla="*/ 135 w 1711"/>
              <a:gd name="T15" fmla="*/ 2274 h 2553"/>
              <a:gd name="T16" fmla="*/ 750 w 1711"/>
              <a:gd name="T17" fmla="*/ 2425 h 2553"/>
              <a:gd name="T18" fmla="*/ 750 w 1711"/>
              <a:gd name="T19" fmla="*/ 2425 h 2553"/>
              <a:gd name="T20" fmla="*/ 959 w 1711"/>
              <a:gd name="T21" fmla="*/ 1964 h 2553"/>
              <a:gd name="T22" fmla="*/ 997 w 1711"/>
              <a:gd name="T23" fmla="*/ 1747 h 2553"/>
              <a:gd name="T24" fmla="*/ 998 w 1711"/>
              <a:gd name="T25" fmla="*/ 1745 h 2553"/>
              <a:gd name="T26" fmla="*/ 1243 w 1711"/>
              <a:gd name="T27" fmla="*/ 1497 h 2553"/>
              <a:gd name="T28" fmla="*/ 1244 w 1711"/>
              <a:gd name="T29" fmla="*/ 1496 h 2553"/>
              <a:gd name="T30" fmla="*/ 1244 w 1711"/>
              <a:gd name="T31" fmla="*/ 1496 h 2553"/>
              <a:gd name="T32" fmla="*/ 1496 w 1711"/>
              <a:gd name="T33" fmla="*/ 467 h 2553"/>
              <a:gd name="T34" fmla="*/ 1496 w 1711"/>
              <a:gd name="T35" fmla="*/ 467 h 2553"/>
              <a:gd name="T36" fmla="*/ 467 w 1711"/>
              <a:gd name="T37" fmla="*/ 214 h 2553"/>
              <a:gd name="T38" fmla="*/ 467 w 1711"/>
              <a:gd name="T39" fmla="*/ 214 h 2553"/>
              <a:gd name="T40" fmla="*/ 215 w 1711"/>
              <a:gd name="T41" fmla="*/ 1244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11" h="2553">
                <a:moveTo>
                  <a:pt x="215" y="1244"/>
                </a:moveTo>
                <a:cubicBezTo>
                  <a:pt x="215" y="1244"/>
                  <a:pt x="215" y="1244"/>
                  <a:pt x="215" y="1244"/>
                </a:cubicBezTo>
                <a:cubicBezTo>
                  <a:pt x="224" y="1259"/>
                  <a:pt x="234" y="1274"/>
                  <a:pt x="244" y="1288"/>
                </a:cubicBezTo>
                <a:cubicBezTo>
                  <a:pt x="289" y="1352"/>
                  <a:pt x="309" y="1431"/>
                  <a:pt x="301" y="1509"/>
                </a:cubicBezTo>
                <a:cubicBezTo>
                  <a:pt x="301" y="1509"/>
                  <a:pt x="301" y="1509"/>
                  <a:pt x="301" y="1509"/>
                </a:cubicBezTo>
                <a:cubicBezTo>
                  <a:pt x="292" y="1592"/>
                  <a:pt x="256" y="1670"/>
                  <a:pt x="197" y="1730"/>
                </a:cubicBezTo>
                <a:cubicBezTo>
                  <a:pt x="58" y="1872"/>
                  <a:pt x="27" y="2096"/>
                  <a:pt x="135" y="2274"/>
                </a:cubicBezTo>
                <a:cubicBezTo>
                  <a:pt x="135" y="2274"/>
                  <a:pt x="135" y="2274"/>
                  <a:pt x="135" y="2274"/>
                </a:cubicBezTo>
                <a:cubicBezTo>
                  <a:pt x="263" y="2486"/>
                  <a:pt x="538" y="2553"/>
                  <a:pt x="750" y="2425"/>
                </a:cubicBezTo>
                <a:cubicBezTo>
                  <a:pt x="750" y="2425"/>
                  <a:pt x="750" y="2425"/>
                  <a:pt x="750" y="2425"/>
                </a:cubicBezTo>
                <a:cubicBezTo>
                  <a:pt x="913" y="2326"/>
                  <a:pt x="990" y="2141"/>
                  <a:pt x="959" y="1964"/>
                </a:cubicBezTo>
                <a:cubicBezTo>
                  <a:pt x="945" y="1889"/>
                  <a:pt x="959" y="1813"/>
                  <a:pt x="997" y="1747"/>
                </a:cubicBezTo>
                <a:cubicBezTo>
                  <a:pt x="998" y="1745"/>
                  <a:pt x="998" y="1745"/>
                  <a:pt x="998" y="1745"/>
                </a:cubicBezTo>
                <a:cubicBezTo>
                  <a:pt x="1057" y="1643"/>
                  <a:pt x="1141" y="1558"/>
                  <a:pt x="1243" y="1497"/>
                </a:cubicBezTo>
                <a:cubicBezTo>
                  <a:pt x="1243" y="1497"/>
                  <a:pt x="1243" y="1496"/>
                  <a:pt x="1244" y="1496"/>
                </a:cubicBezTo>
                <a:cubicBezTo>
                  <a:pt x="1244" y="1496"/>
                  <a:pt x="1244" y="1496"/>
                  <a:pt x="1244" y="1496"/>
                </a:cubicBezTo>
                <a:cubicBezTo>
                  <a:pt x="1598" y="1282"/>
                  <a:pt x="1711" y="821"/>
                  <a:pt x="1496" y="467"/>
                </a:cubicBezTo>
                <a:cubicBezTo>
                  <a:pt x="1496" y="467"/>
                  <a:pt x="1496" y="467"/>
                  <a:pt x="1496" y="467"/>
                </a:cubicBezTo>
                <a:cubicBezTo>
                  <a:pt x="1282" y="113"/>
                  <a:pt x="821" y="0"/>
                  <a:pt x="467" y="214"/>
                </a:cubicBezTo>
                <a:cubicBezTo>
                  <a:pt x="467" y="214"/>
                  <a:pt x="467" y="214"/>
                  <a:pt x="467" y="214"/>
                </a:cubicBezTo>
                <a:cubicBezTo>
                  <a:pt x="113" y="429"/>
                  <a:pt x="0" y="890"/>
                  <a:pt x="215" y="12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AE46F119-EEBD-A849-BD50-76C5C70DF22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653274" y="2004483"/>
            <a:ext cx="11770980" cy="10750529"/>
          </a:xfrm>
          <a:custGeom>
            <a:avLst/>
            <a:gdLst>
              <a:gd name="connsiteX0" fmla="*/ 2509317 w 11770980"/>
              <a:gd name="connsiteY0" fmla="*/ 886 h 10750529"/>
              <a:gd name="connsiteX1" fmla="*/ 4693260 w 11770980"/>
              <a:gd name="connsiteY1" fmla="*/ 1499525 h 10750529"/>
              <a:gd name="connsiteX2" fmla="*/ 5578047 w 11770980"/>
              <a:gd name="connsiteY2" fmla="*/ 2484694 h 10750529"/>
              <a:gd name="connsiteX3" fmla="*/ 6810783 w 11770980"/>
              <a:gd name="connsiteY3" fmla="*/ 2667699 h 10750529"/>
              <a:gd name="connsiteX4" fmla="*/ 7096419 w 11770980"/>
              <a:gd name="connsiteY4" fmla="*/ 2616628 h 10750529"/>
              <a:gd name="connsiteX5" fmla="*/ 11728439 w 11770980"/>
              <a:gd name="connsiteY5" fmla="*/ 6077041 h 10750529"/>
              <a:gd name="connsiteX6" fmla="*/ 8266535 w 11770980"/>
              <a:gd name="connsiteY6" fmla="*/ 10707948 h 10750529"/>
              <a:gd name="connsiteX7" fmla="*/ 3634516 w 11770980"/>
              <a:gd name="connsiteY7" fmla="*/ 7247534 h 10750529"/>
              <a:gd name="connsiteX8" fmla="*/ 3633133 w 11770980"/>
              <a:gd name="connsiteY8" fmla="*/ 7237970 h 10750529"/>
              <a:gd name="connsiteX9" fmla="*/ 2910418 w 11770980"/>
              <a:gd name="connsiteY9" fmla="*/ 5482400 h 10750529"/>
              <a:gd name="connsiteX10" fmla="*/ 2899468 w 11770980"/>
              <a:gd name="connsiteY10" fmla="*/ 5474219 h 10750529"/>
              <a:gd name="connsiteX11" fmla="*/ 1896295 w 11770980"/>
              <a:gd name="connsiteY11" fmla="*/ 4818626 h 10750529"/>
              <a:gd name="connsiteX12" fmla="*/ 25454 w 11770980"/>
              <a:gd name="connsiteY12" fmla="*/ 2789700 h 10750529"/>
              <a:gd name="connsiteX13" fmla="*/ 2091957 w 11770980"/>
              <a:gd name="connsiteY13" fmla="*/ 25389 h 10750529"/>
              <a:gd name="connsiteX14" fmla="*/ 2509317 w 11770980"/>
              <a:gd name="connsiteY14" fmla="*/ 886 h 10750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770980" h="10750529">
                <a:moveTo>
                  <a:pt x="2509317" y="886"/>
                </a:moveTo>
                <a:cubicBezTo>
                  <a:pt x="3470741" y="26850"/>
                  <a:pt x="4326946" y="621236"/>
                  <a:pt x="4693260" y="1499525"/>
                </a:cubicBezTo>
                <a:cubicBezTo>
                  <a:pt x="4870998" y="1918094"/>
                  <a:pt x="5179857" y="2263997"/>
                  <a:pt x="5578047" y="2484694"/>
                </a:cubicBezTo>
                <a:cubicBezTo>
                  <a:pt x="5955031" y="2693811"/>
                  <a:pt x="6394663" y="2762051"/>
                  <a:pt x="6810783" y="2667699"/>
                </a:cubicBezTo>
                <a:cubicBezTo>
                  <a:pt x="6905765" y="2649081"/>
                  <a:pt x="7000747" y="2630464"/>
                  <a:pt x="7096419" y="2616628"/>
                </a:cubicBezTo>
                <a:cubicBezTo>
                  <a:pt x="9330381" y="2293567"/>
                  <a:pt x="11405483" y="3843798"/>
                  <a:pt x="11728439" y="6077041"/>
                </a:cubicBezTo>
                <a:cubicBezTo>
                  <a:pt x="12051397" y="8310284"/>
                  <a:pt x="10500497" y="10384886"/>
                  <a:pt x="8266535" y="10707948"/>
                </a:cubicBezTo>
                <a:cubicBezTo>
                  <a:pt x="6032575" y="11031010"/>
                  <a:pt x="3957474" y="9480777"/>
                  <a:pt x="3634516" y="7247534"/>
                </a:cubicBezTo>
                <a:cubicBezTo>
                  <a:pt x="3633824" y="7242752"/>
                  <a:pt x="3633824" y="7242752"/>
                  <a:pt x="3633133" y="7237970"/>
                </a:cubicBezTo>
                <a:cubicBezTo>
                  <a:pt x="3545938" y="6601259"/>
                  <a:pt x="3297484" y="5997632"/>
                  <a:pt x="2910418" y="5482400"/>
                </a:cubicBezTo>
                <a:cubicBezTo>
                  <a:pt x="2910418" y="5482400"/>
                  <a:pt x="2910418" y="5482400"/>
                  <a:pt x="2899468" y="5474219"/>
                </a:cubicBezTo>
                <a:cubicBezTo>
                  <a:pt x="2651472" y="5143924"/>
                  <a:pt x="2295642" y="4912220"/>
                  <a:pt x="1896295" y="4818626"/>
                </a:cubicBezTo>
                <a:cubicBezTo>
                  <a:pt x="941702" y="4600279"/>
                  <a:pt x="174139" y="3817852"/>
                  <a:pt x="25454" y="2789700"/>
                </a:cubicBezTo>
                <a:cubicBezTo>
                  <a:pt x="-167491" y="1455493"/>
                  <a:pt x="757320" y="218395"/>
                  <a:pt x="2091957" y="25389"/>
                </a:cubicBezTo>
                <a:cubicBezTo>
                  <a:pt x="2232477" y="5068"/>
                  <a:pt x="2371970" y="-2824"/>
                  <a:pt x="2509317" y="886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A992ACF-840E-7D43-BC54-F381A483A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901E618F-DA03-B04A-8880-D8978B8D7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35740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1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11" grpId="0" animBg="1"/>
          <p:bldP spid="8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1728192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5320B3C-BC4B-0E4C-9D2C-0680FC6FEC3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1340494" y="5274619"/>
            <a:ext cx="5575578" cy="3363166"/>
          </a:xfrm>
          <a:custGeom>
            <a:avLst/>
            <a:gdLst>
              <a:gd name="connsiteX0" fmla="*/ 4496791 w 5575578"/>
              <a:gd name="connsiteY0" fmla="*/ 0 h 3363166"/>
              <a:gd name="connsiteX1" fmla="*/ 2838993 w 5575578"/>
              <a:gd name="connsiteY1" fmla="*/ 0 h 3363166"/>
              <a:gd name="connsiteX2" fmla="*/ 2786824 w 5575578"/>
              <a:gd name="connsiteY2" fmla="*/ 6111 h 3363166"/>
              <a:gd name="connsiteX3" fmla="*/ 2734553 w 5575578"/>
              <a:gd name="connsiteY3" fmla="*/ 0 h 3363166"/>
              <a:gd name="connsiteX4" fmla="*/ 1076756 w 5575578"/>
              <a:gd name="connsiteY4" fmla="*/ 0 h 3363166"/>
              <a:gd name="connsiteX5" fmla="*/ 865468 w 5575578"/>
              <a:gd name="connsiteY5" fmla="*/ 121854 h 3363166"/>
              <a:gd name="connsiteX6" fmla="*/ 36569 w 5575578"/>
              <a:gd name="connsiteY6" fmla="*/ 1551606 h 3363166"/>
              <a:gd name="connsiteX7" fmla="*/ 36569 w 5575578"/>
              <a:gd name="connsiteY7" fmla="*/ 1803437 h 3363166"/>
              <a:gd name="connsiteX8" fmla="*/ 865468 w 5575578"/>
              <a:gd name="connsiteY8" fmla="*/ 3241312 h 3363166"/>
              <a:gd name="connsiteX9" fmla="*/ 1076756 w 5575578"/>
              <a:gd name="connsiteY9" fmla="*/ 3363166 h 3363166"/>
              <a:gd name="connsiteX10" fmla="*/ 2734554 w 5575578"/>
              <a:gd name="connsiteY10" fmla="*/ 3363166 h 3363166"/>
              <a:gd name="connsiteX11" fmla="*/ 2786825 w 5575578"/>
              <a:gd name="connsiteY11" fmla="*/ 3356137 h 3363166"/>
              <a:gd name="connsiteX12" fmla="*/ 2838994 w 5575578"/>
              <a:gd name="connsiteY12" fmla="*/ 3363166 h 3363166"/>
              <a:gd name="connsiteX13" fmla="*/ 4496791 w 5575578"/>
              <a:gd name="connsiteY13" fmla="*/ 3363166 h 3363166"/>
              <a:gd name="connsiteX14" fmla="*/ 4716206 w 5575578"/>
              <a:gd name="connsiteY14" fmla="*/ 3241312 h 3363166"/>
              <a:gd name="connsiteX15" fmla="*/ 5545104 w 5575578"/>
              <a:gd name="connsiteY15" fmla="*/ 1803436 h 3363166"/>
              <a:gd name="connsiteX16" fmla="*/ 5545104 w 5575578"/>
              <a:gd name="connsiteY16" fmla="*/ 1551605 h 3363166"/>
              <a:gd name="connsiteX17" fmla="*/ 4716205 w 5575578"/>
              <a:gd name="connsiteY17" fmla="*/ 121854 h 3363166"/>
              <a:gd name="connsiteX18" fmla="*/ 4496791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6791" y="0"/>
                </a:moveTo>
                <a:cubicBezTo>
                  <a:pt x="4496791" y="0"/>
                  <a:pt x="4496791" y="0"/>
                  <a:pt x="2838993" y="0"/>
                </a:cubicBezTo>
                <a:lnTo>
                  <a:pt x="2786824" y="6111"/>
                </a:lnTo>
                <a:lnTo>
                  <a:pt x="2734553" y="0"/>
                </a:lnTo>
                <a:cubicBezTo>
                  <a:pt x="2734553" y="0"/>
                  <a:pt x="2734553" y="0"/>
                  <a:pt x="1076756" y="0"/>
                </a:cubicBezTo>
                <a:cubicBezTo>
                  <a:pt x="987365" y="0"/>
                  <a:pt x="906100" y="40617"/>
                  <a:pt x="865468" y="121854"/>
                </a:cubicBezTo>
                <a:cubicBezTo>
                  <a:pt x="865468" y="121854"/>
                  <a:pt x="865468" y="121854"/>
                  <a:pt x="36569" y="1551606"/>
                </a:cubicBezTo>
                <a:cubicBezTo>
                  <a:pt x="-12190" y="1632842"/>
                  <a:pt x="-12190" y="1730325"/>
                  <a:pt x="36569" y="1803437"/>
                </a:cubicBezTo>
                <a:cubicBezTo>
                  <a:pt x="36569" y="1803437"/>
                  <a:pt x="36569" y="1803437"/>
                  <a:pt x="865468" y="3241312"/>
                </a:cubicBezTo>
                <a:cubicBezTo>
                  <a:pt x="906100" y="3314424"/>
                  <a:pt x="987365" y="3363166"/>
                  <a:pt x="1076756" y="3363166"/>
                </a:cubicBezTo>
                <a:cubicBezTo>
                  <a:pt x="1076756" y="3363166"/>
                  <a:pt x="1076756" y="3363166"/>
                  <a:pt x="2734554" y="3363166"/>
                </a:cubicBezTo>
                <a:lnTo>
                  <a:pt x="2786825" y="3356137"/>
                </a:lnTo>
                <a:lnTo>
                  <a:pt x="2838994" y="3363166"/>
                </a:lnTo>
                <a:cubicBezTo>
                  <a:pt x="2838994" y="3363166"/>
                  <a:pt x="2838994" y="3363166"/>
                  <a:pt x="4496791" y="3363166"/>
                </a:cubicBezTo>
                <a:cubicBezTo>
                  <a:pt x="4586182" y="3363166"/>
                  <a:pt x="4667447" y="3314424"/>
                  <a:pt x="4716206" y="3241312"/>
                </a:cubicBezTo>
                <a:cubicBezTo>
                  <a:pt x="4716206" y="3241312"/>
                  <a:pt x="4716206" y="3241312"/>
                  <a:pt x="5545104" y="1803436"/>
                </a:cubicBezTo>
                <a:cubicBezTo>
                  <a:pt x="5585737" y="1730324"/>
                  <a:pt x="5585737" y="1632841"/>
                  <a:pt x="5545104" y="1551605"/>
                </a:cubicBezTo>
                <a:cubicBezTo>
                  <a:pt x="5545104" y="1551605"/>
                  <a:pt x="5545104" y="1551605"/>
                  <a:pt x="4716205" y="121854"/>
                </a:cubicBezTo>
                <a:cubicBezTo>
                  <a:pt x="4667446" y="40617"/>
                  <a:pt x="4586182" y="0"/>
                  <a:pt x="4496791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E6B1E0DB-B351-4449-8058-7CE147120AA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17295308" y="9328276"/>
            <a:ext cx="5575578" cy="3363166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ED1558AA-6A66-C64A-B723-0BCF9E330F6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5273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5320B3C-BC4B-0E4C-9D2C-0680FC6FEC3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1680420" y="6555540"/>
            <a:ext cx="4979399" cy="3003553"/>
          </a:xfrm>
          <a:custGeom>
            <a:avLst/>
            <a:gdLst>
              <a:gd name="connsiteX0" fmla="*/ 4496791 w 5575578"/>
              <a:gd name="connsiteY0" fmla="*/ 0 h 3363166"/>
              <a:gd name="connsiteX1" fmla="*/ 2838993 w 5575578"/>
              <a:gd name="connsiteY1" fmla="*/ 0 h 3363166"/>
              <a:gd name="connsiteX2" fmla="*/ 2786824 w 5575578"/>
              <a:gd name="connsiteY2" fmla="*/ 6111 h 3363166"/>
              <a:gd name="connsiteX3" fmla="*/ 2734553 w 5575578"/>
              <a:gd name="connsiteY3" fmla="*/ 0 h 3363166"/>
              <a:gd name="connsiteX4" fmla="*/ 1076756 w 5575578"/>
              <a:gd name="connsiteY4" fmla="*/ 0 h 3363166"/>
              <a:gd name="connsiteX5" fmla="*/ 865468 w 5575578"/>
              <a:gd name="connsiteY5" fmla="*/ 121854 h 3363166"/>
              <a:gd name="connsiteX6" fmla="*/ 36569 w 5575578"/>
              <a:gd name="connsiteY6" fmla="*/ 1551606 h 3363166"/>
              <a:gd name="connsiteX7" fmla="*/ 36569 w 5575578"/>
              <a:gd name="connsiteY7" fmla="*/ 1803437 h 3363166"/>
              <a:gd name="connsiteX8" fmla="*/ 865468 w 5575578"/>
              <a:gd name="connsiteY8" fmla="*/ 3241312 h 3363166"/>
              <a:gd name="connsiteX9" fmla="*/ 1076756 w 5575578"/>
              <a:gd name="connsiteY9" fmla="*/ 3363166 h 3363166"/>
              <a:gd name="connsiteX10" fmla="*/ 2734554 w 5575578"/>
              <a:gd name="connsiteY10" fmla="*/ 3363166 h 3363166"/>
              <a:gd name="connsiteX11" fmla="*/ 2786825 w 5575578"/>
              <a:gd name="connsiteY11" fmla="*/ 3356137 h 3363166"/>
              <a:gd name="connsiteX12" fmla="*/ 2838994 w 5575578"/>
              <a:gd name="connsiteY12" fmla="*/ 3363166 h 3363166"/>
              <a:gd name="connsiteX13" fmla="*/ 4496791 w 5575578"/>
              <a:gd name="connsiteY13" fmla="*/ 3363166 h 3363166"/>
              <a:gd name="connsiteX14" fmla="*/ 4716206 w 5575578"/>
              <a:gd name="connsiteY14" fmla="*/ 3241312 h 3363166"/>
              <a:gd name="connsiteX15" fmla="*/ 5545104 w 5575578"/>
              <a:gd name="connsiteY15" fmla="*/ 1803436 h 3363166"/>
              <a:gd name="connsiteX16" fmla="*/ 5545104 w 5575578"/>
              <a:gd name="connsiteY16" fmla="*/ 1551605 h 3363166"/>
              <a:gd name="connsiteX17" fmla="*/ 4716205 w 5575578"/>
              <a:gd name="connsiteY17" fmla="*/ 121854 h 3363166"/>
              <a:gd name="connsiteX18" fmla="*/ 4496791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6791" y="0"/>
                </a:moveTo>
                <a:cubicBezTo>
                  <a:pt x="4496791" y="0"/>
                  <a:pt x="4496791" y="0"/>
                  <a:pt x="2838993" y="0"/>
                </a:cubicBezTo>
                <a:lnTo>
                  <a:pt x="2786824" y="6111"/>
                </a:lnTo>
                <a:lnTo>
                  <a:pt x="2734553" y="0"/>
                </a:lnTo>
                <a:cubicBezTo>
                  <a:pt x="2734553" y="0"/>
                  <a:pt x="2734553" y="0"/>
                  <a:pt x="1076756" y="0"/>
                </a:cubicBezTo>
                <a:cubicBezTo>
                  <a:pt x="987365" y="0"/>
                  <a:pt x="906100" y="40617"/>
                  <a:pt x="865468" y="121854"/>
                </a:cubicBezTo>
                <a:cubicBezTo>
                  <a:pt x="865468" y="121854"/>
                  <a:pt x="865468" y="121854"/>
                  <a:pt x="36569" y="1551606"/>
                </a:cubicBezTo>
                <a:cubicBezTo>
                  <a:pt x="-12190" y="1632842"/>
                  <a:pt x="-12190" y="1730325"/>
                  <a:pt x="36569" y="1803437"/>
                </a:cubicBezTo>
                <a:cubicBezTo>
                  <a:pt x="36569" y="1803437"/>
                  <a:pt x="36569" y="1803437"/>
                  <a:pt x="865468" y="3241312"/>
                </a:cubicBezTo>
                <a:cubicBezTo>
                  <a:pt x="906100" y="3314424"/>
                  <a:pt x="987365" y="3363166"/>
                  <a:pt x="1076756" y="3363166"/>
                </a:cubicBezTo>
                <a:cubicBezTo>
                  <a:pt x="1076756" y="3363166"/>
                  <a:pt x="1076756" y="3363166"/>
                  <a:pt x="2734554" y="3363166"/>
                </a:cubicBezTo>
                <a:lnTo>
                  <a:pt x="2786825" y="3356137"/>
                </a:lnTo>
                <a:lnTo>
                  <a:pt x="2838994" y="3363166"/>
                </a:lnTo>
                <a:cubicBezTo>
                  <a:pt x="2838994" y="3363166"/>
                  <a:pt x="2838994" y="3363166"/>
                  <a:pt x="4496791" y="3363166"/>
                </a:cubicBezTo>
                <a:cubicBezTo>
                  <a:pt x="4586182" y="3363166"/>
                  <a:pt x="4667447" y="3314424"/>
                  <a:pt x="4716206" y="3241312"/>
                </a:cubicBezTo>
                <a:cubicBezTo>
                  <a:pt x="4716206" y="3241312"/>
                  <a:pt x="4716206" y="3241312"/>
                  <a:pt x="5545104" y="1803436"/>
                </a:cubicBezTo>
                <a:cubicBezTo>
                  <a:pt x="5585737" y="1730324"/>
                  <a:pt x="5585737" y="1632841"/>
                  <a:pt x="5545104" y="1551605"/>
                </a:cubicBezTo>
                <a:cubicBezTo>
                  <a:pt x="5545104" y="1551605"/>
                  <a:pt x="5545104" y="1551605"/>
                  <a:pt x="4716205" y="121854"/>
                </a:cubicBezTo>
                <a:cubicBezTo>
                  <a:pt x="4667446" y="40617"/>
                  <a:pt x="4586182" y="0"/>
                  <a:pt x="4496791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E6B1E0DB-B351-4449-8058-7CE147120AA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17635234" y="10119935"/>
            <a:ext cx="4979399" cy="3003553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E5BC4F67-0267-DC40-96A5-D207666D26E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V="1">
            <a:off x="17635234" y="2991145"/>
            <a:ext cx="4979399" cy="3003553"/>
          </a:xfrm>
          <a:custGeom>
            <a:avLst/>
            <a:gdLst>
              <a:gd name="connsiteX0" fmla="*/ 4498822 w 5575578"/>
              <a:gd name="connsiteY0" fmla="*/ 0 h 3363166"/>
              <a:gd name="connsiteX1" fmla="*/ 2841026 w 5575578"/>
              <a:gd name="connsiteY1" fmla="*/ 0 h 3363166"/>
              <a:gd name="connsiteX2" fmla="*/ 2788754 w 5575578"/>
              <a:gd name="connsiteY2" fmla="*/ 6111 h 3363166"/>
              <a:gd name="connsiteX3" fmla="*/ 2736586 w 5575578"/>
              <a:gd name="connsiteY3" fmla="*/ 0 h 3363166"/>
              <a:gd name="connsiteX4" fmla="*/ 1078788 w 5575578"/>
              <a:gd name="connsiteY4" fmla="*/ 0 h 3363166"/>
              <a:gd name="connsiteX5" fmla="*/ 859374 w 5575578"/>
              <a:gd name="connsiteY5" fmla="*/ 121854 h 3363166"/>
              <a:gd name="connsiteX6" fmla="*/ 30474 w 5575578"/>
              <a:gd name="connsiteY6" fmla="*/ 1551606 h 3363166"/>
              <a:gd name="connsiteX7" fmla="*/ 30474 w 5575578"/>
              <a:gd name="connsiteY7" fmla="*/ 1803436 h 3363166"/>
              <a:gd name="connsiteX8" fmla="*/ 859374 w 5575578"/>
              <a:gd name="connsiteY8" fmla="*/ 3241312 h 3363166"/>
              <a:gd name="connsiteX9" fmla="*/ 1078788 w 5575578"/>
              <a:gd name="connsiteY9" fmla="*/ 3363166 h 3363166"/>
              <a:gd name="connsiteX10" fmla="*/ 2736586 w 5575578"/>
              <a:gd name="connsiteY10" fmla="*/ 3363166 h 3363166"/>
              <a:gd name="connsiteX11" fmla="*/ 2788754 w 5575578"/>
              <a:gd name="connsiteY11" fmla="*/ 3356138 h 3363166"/>
              <a:gd name="connsiteX12" fmla="*/ 2841026 w 5575578"/>
              <a:gd name="connsiteY12" fmla="*/ 3363166 h 3363166"/>
              <a:gd name="connsiteX13" fmla="*/ 4498822 w 5575578"/>
              <a:gd name="connsiteY13" fmla="*/ 3363166 h 3363166"/>
              <a:gd name="connsiteX14" fmla="*/ 4710110 w 5575578"/>
              <a:gd name="connsiteY14" fmla="*/ 3241312 h 3363166"/>
              <a:gd name="connsiteX15" fmla="*/ 5539010 w 5575578"/>
              <a:gd name="connsiteY15" fmla="*/ 1803437 h 3363166"/>
              <a:gd name="connsiteX16" fmla="*/ 5539010 w 5575578"/>
              <a:gd name="connsiteY16" fmla="*/ 1551606 h 3363166"/>
              <a:gd name="connsiteX17" fmla="*/ 4710110 w 5575578"/>
              <a:gd name="connsiteY17" fmla="*/ 121854 h 3363166"/>
              <a:gd name="connsiteX18" fmla="*/ 4498822 w 5575578"/>
              <a:gd name="connsiteY18" fmla="*/ 0 h 336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75578" h="3363166">
                <a:moveTo>
                  <a:pt x="4498822" y="0"/>
                </a:moveTo>
                <a:cubicBezTo>
                  <a:pt x="2841026" y="0"/>
                  <a:pt x="2841026" y="0"/>
                  <a:pt x="2841026" y="0"/>
                </a:cubicBezTo>
                <a:lnTo>
                  <a:pt x="2788754" y="6111"/>
                </a:lnTo>
                <a:lnTo>
                  <a:pt x="2736586" y="0"/>
                </a:lnTo>
                <a:cubicBezTo>
                  <a:pt x="1078788" y="0"/>
                  <a:pt x="1078788" y="0"/>
                  <a:pt x="1078788" y="0"/>
                </a:cubicBezTo>
                <a:cubicBezTo>
                  <a:pt x="989398" y="0"/>
                  <a:pt x="908132" y="40618"/>
                  <a:pt x="859374" y="121854"/>
                </a:cubicBezTo>
                <a:cubicBezTo>
                  <a:pt x="30474" y="1551606"/>
                  <a:pt x="30474" y="1551606"/>
                  <a:pt x="30474" y="1551606"/>
                </a:cubicBezTo>
                <a:cubicBezTo>
                  <a:pt x="-10158" y="1632841"/>
                  <a:pt x="-10158" y="1730324"/>
                  <a:pt x="30474" y="1803436"/>
                </a:cubicBezTo>
                <a:cubicBezTo>
                  <a:pt x="859374" y="3241312"/>
                  <a:pt x="859374" y="3241312"/>
                  <a:pt x="859374" y="3241312"/>
                </a:cubicBezTo>
                <a:cubicBezTo>
                  <a:pt x="908132" y="3314424"/>
                  <a:pt x="989398" y="3363166"/>
                  <a:pt x="1078788" y="3363166"/>
                </a:cubicBezTo>
                <a:cubicBezTo>
                  <a:pt x="2736586" y="3363166"/>
                  <a:pt x="2736586" y="3363166"/>
                  <a:pt x="2736586" y="3363166"/>
                </a:cubicBezTo>
                <a:lnTo>
                  <a:pt x="2788754" y="3356138"/>
                </a:lnTo>
                <a:lnTo>
                  <a:pt x="2841026" y="3363166"/>
                </a:lnTo>
                <a:cubicBezTo>
                  <a:pt x="4498822" y="3363166"/>
                  <a:pt x="4498822" y="3363166"/>
                  <a:pt x="4498822" y="3363166"/>
                </a:cubicBezTo>
                <a:cubicBezTo>
                  <a:pt x="4588214" y="3363166"/>
                  <a:pt x="4669478" y="3314424"/>
                  <a:pt x="4710110" y="3241312"/>
                </a:cubicBezTo>
                <a:cubicBezTo>
                  <a:pt x="5539010" y="1803437"/>
                  <a:pt x="5539010" y="1803437"/>
                  <a:pt x="5539010" y="1803437"/>
                </a:cubicBezTo>
                <a:cubicBezTo>
                  <a:pt x="5587768" y="1730325"/>
                  <a:pt x="5587768" y="1632842"/>
                  <a:pt x="5539010" y="1551606"/>
                </a:cubicBezTo>
                <a:cubicBezTo>
                  <a:pt x="4710110" y="121854"/>
                  <a:pt x="4710110" y="121854"/>
                  <a:pt x="4710110" y="121854"/>
                </a:cubicBezTo>
                <a:cubicBezTo>
                  <a:pt x="4669478" y="40618"/>
                  <a:pt x="4588214" y="0"/>
                  <a:pt x="4498822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8435F831-CD6C-3C4D-BE00-535D674E031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0999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19" y="1170162"/>
            <a:ext cx="21248851" cy="12241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19" y="2898354"/>
            <a:ext cx="21248851" cy="77048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4511BD9D-C364-754A-9D92-80DDEF73452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4044" y="2273364"/>
            <a:ext cx="24368093" cy="11444224"/>
          </a:xfrm>
          <a:custGeom>
            <a:avLst/>
            <a:gdLst>
              <a:gd name="connsiteX0" fmla="*/ 0 w 24368093"/>
              <a:gd name="connsiteY0" fmla="*/ 0 h 11444224"/>
              <a:gd name="connsiteX1" fmla="*/ 12184047 w 24368093"/>
              <a:gd name="connsiteY1" fmla="*/ 7014918 h 11444224"/>
              <a:gd name="connsiteX2" fmla="*/ 24368093 w 24368093"/>
              <a:gd name="connsiteY2" fmla="*/ 0 h 11444224"/>
              <a:gd name="connsiteX3" fmla="*/ 24368093 w 24368093"/>
              <a:gd name="connsiteY3" fmla="*/ 156874 h 11444224"/>
              <a:gd name="connsiteX4" fmla="*/ 24368093 w 24368093"/>
              <a:gd name="connsiteY4" fmla="*/ 11444224 h 11444224"/>
              <a:gd name="connsiteX5" fmla="*/ 19877205 w 24368093"/>
              <a:gd name="connsiteY5" fmla="*/ 11444224 h 11444224"/>
              <a:gd name="connsiteX6" fmla="*/ 4490889 w 24368093"/>
              <a:gd name="connsiteY6" fmla="*/ 11444224 h 11444224"/>
              <a:gd name="connsiteX7" fmla="*/ 0 w 24368093"/>
              <a:gd name="connsiteY7" fmla="*/ 11444224 h 11444224"/>
              <a:gd name="connsiteX8" fmla="*/ 0 w 24368093"/>
              <a:gd name="connsiteY8" fmla="*/ 156874 h 1144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68093" h="11444224">
                <a:moveTo>
                  <a:pt x="0" y="0"/>
                </a:moveTo>
                <a:lnTo>
                  <a:pt x="12184047" y="7014918"/>
                </a:lnTo>
                <a:lnTo>
                  <a:pt x="24368093" y="0"/>
                </a:lnTo>
                <a:lnTo>
                  <a:pt x="24368093" y="156874"/>
                </a:lnTo>
                <a:lnTo>
                  <a:pt x="24368093" y="11444224"/>
                </a:lnTo>
                <a:lnTo>
                  <a:pt x="19877205" y="11444224"/>
                </a:lnTo>
                <a:lnTo>
                  <a:pt x="4490889" y="11444224"/>
                </a:lnTo>
                <a:lnTo>
                  <a:pt x="0" y="11444224"/>
                </a:lnTo>
                <a:lnTo>
                  <a:pt x="0" y="156874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3C4299E7-CEEE-A14D-B86F-55315AB38E4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415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76A1696C-966F-4941-97A8-04384F535B8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0047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069F9FBB-49AA-334B-BB40-9064F73ABA1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-34676" y="0"/>
            <a:ext cx="24421852" cy="13717588"/>
          </a:xfrm>
          <a:custGeom>
            <a:avLst/>
            <a:gdLst>
              <a:gd name="connsiteX0" fmla="*/ 4251570 w 24421852"/>
              <a:gd name="connsiteY0" fmla="*/ 0 h 13717588"/>
              <a:gd name="connsiteX1" fmla="*/ 0 w 24421852"/>
              <a:gd name="connsiteY1" fmla="*/ 0 h 13717588"/>
              <a:gd name="connsiteX2" fmla="*/ 0 w 24421852"/>
              <a:gd name="connsiteY2" fmla="*/ 13717588 h 13717588"/>
              <a:gd name="connsiteX3" fmla="*/ 24421852 w 24421852"/>
              <a:gd name="connsiteY3" fmla="*/ 13717588 h 13717588"/>
              <a:gd name="connsiteX4" fmla="*/ 24421852 w 24421852"/>
              <a:gd name="connsiteY4" fmla="*/ 11611382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1852" h="13717588">
                <a:moveTo>
                  <a:pt x="4251570" y="0"/>
                </a:moveTo>
                <a:lnTo>
                  <a:pt x="0" y="0"/>
                </a:lnTo>
                <a:lnTo>
                  <a:pt x="0" y="13717588"/>
                </a:lnTo>
                <a:lnTo>
                  <a:pt x="24421852" y="13717588"/>
                </a:lnTo>
                <a:lnTo>
                  <a:pt x="24421852" y="11611382"/>
                </a:lnTo>
                <a:close/>
              </a:path>
            </a:pathLst>
          </a:custGeom>
          <a:pattFill prst="openDmnd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0" y="255264"/>
            <a:ext cx="10516027" cy="12364170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D94A3763-CABF-3C48-A658-1731ACAD2D96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1642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717A84B6-7309-4645-9B4C-ED9DD98ED3B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H="1" flipV="1">
            <a:off x="-34676" y="0"/>
            <a:ext cx="24421852" cy="13717588"/>
          </a:xfrm>
          <a:custGeom>
            <a:avLst/>
            <a:gdLst>
              <a:gd name="connsiteX0" fmla="*/ 0 w 24421852"/>
              <a:gd name="connsiteY0" fmla="*/ 0 h 13717588"/>
              <a:gd name="connsiteX1" fmla="*/ 24421852 w 24421852"/>
              <a:gd name="connsiteY1" fmla="*/ 0 h 13717588"/>
              <a:gd name="connsiteX2" fmla="*/ 24421852 w 24421852"/>
              <a:gd name="connsiteY2" fmla="*/ 2106206 h 13717588"/>
              <a:gd name="connsiteX3" fmla="*/ 4251570 w 24421852"/>
              <a:gd name="connsiteY3" fmla="*/ 13717588 h 13717588"/>
              <a:gd name="connsiteX4" fmla="*/ 0 w 24421852"/>
              <a:gd name="connsiteY4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1852" h="13717588">
                <a:moveTo>
                  <a:pt x="0" y="0"/>
                </a:moveTo>
                <a:lnTo>
                  <a:pt x="24421852" y="0"/>
                </a:lnTo>
                <a:lnTo>
                  <a:pt x="24421852" y="2106206"/>
                </a:lnTo>
                <a:lnTo>
                  <a:pt x="4251570" y="13717588"/>
                </a:lnTo>
                <a:lnTo>
                  <a:pt x="0" y="13717588"/>
                </a:lnTo>
                <a:close/>
              </a:path>
            </a:pathLst>
          </a:custGeom>
          <a:pattFill prst="openDmnd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5433073D-4464-6146-AD28-25633AD0966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13320767" y="1602210"/>
            <a:ext cx="11051368" cy="12115378"/>
          </a:xfrm>
          <a:custGeom>
            <a:avLst/>
            <a:gdLst>
              <a:gd name="connsiteX0" fmla="*/ 8687236 w 11051368"/>
              <a:gd name="connsiteY0" fmla="*/ 0 h 12115378"/>
              <a:gd name="connsiteX1" fmla="*/ 9099884 w 11051368"/>
              <a:gd name="connsiteY1" fmla="*/ 111185 h 12115378"/>
              <a:gd name="connsiteX2" fmla="*/ 10961212 w 11051368"/>
              <a:gd name="connsiteY2" fmla="*/ 1186618 h 12115378"/>
              <a:gd name="connsiteX3" fmla="*/ 11051368 w 11051368"/>
              <a:gd name="connsiteY3" fmla="*/ 1238708 h 12115378"/>
              <a:gd name="connsiteX4" fmla="*/ 11051368 w 11051368"/>
              <a:gd name="connsiteY4" fmla="*/ 11152888 h 12115378"/>
              <a:gd name="connsiteX5" fmla="*/ 10753308 w 11051368"/>
              <a:gd name="connsiteY5" fmla="*/ 11325172 h 12115378"/>
              <a:gd name="connsiteX6" fmla="*/ 9482306 w 11051368"/>
              <a:gd name="connsiteY6" fmla="*/ 12059839 h 12115378"/>
              <a:gd name="connsiteX7" fmla="*/ 9386222 w 11051368"/>
              <a:gd name="connsiteY7" fmla="*/ 12115378 h 12115378"/>
              <a:gd name="connsiteX8" fmla="*/ 6560480 w 11051368"/>
              <a:gd name="connsiteY8" fmla="*/ 12115378 h 12115378"/>
              <a:gd name="connsiteX9" fmla="*/ 5818890 w 11051368"/>
              <a:gd name="connsiteY9" fmla="*/ 12115378 h 12115378"/>
              <a:gd name="connsiteX10" fmla="*/ 5460140 w 11051368"/>
              <a:gd name="connsiteY10" fmla="*/ 11908400 h 12115378"/>
              <a:gd name="connsiteX11" fmla="*/ 408010 w 11051368"/>
              <a:gd name="connsiteY11" fmla="*/ 8993617 h 12115378"/>
              <a:gd name="connsiteX12" fmla="*/ 0 w 11051368"/>
              <a:gd name="connsiteY12" fmla="*/ 8289445 h 12115378"/>
              <a:gd name="connsiteX13" fmla="*/ 0 w 11051368"/>
              <a:gd name="connsiteY13" fmla="*/ 5472765 h 12115378"/>
              <a:gd name="connsiteX14" fmla="*/ 395647 w 11051368"/>
              <a:gd name="connsiteY14" fmla="*/ 4780948 h 12115378"/>
              <a:gd name="connsiteX15" fmla="*/ 8283860 w 11051368"/>
              <a:gd name="connsiteY15" fmla="*/ 111185 h 12115378"/>
              <a:gd name="connsiteX16" fmla="*/ 8687236 w 11051368"/>
              <a:gd name="connsiteY16" fmla="*/ 0 h 12115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051368" h="12115378">
                <a:moveTo>
                  <a:pt x="8687236" y="0"/>
                </a:moveTo>
                <a:cubicBezTo>
                  <a:pt x="8827876" y="0"/>
                  <a:pt x="8970060" y="37062"/>
                  <a:pt x="9099884" y="111185"/>
                </a:cubicBezTo>
                <a:cubicBezTo>
                  <a:pt x="9828196" y="531988"/>
                  <a:pt x="10442712" y="887042"/>
                  <a:pt x="10961212" y="1186618"/>
                </a:cubicBezTo>
                <a:lnTo>
                  <a:pt x="11051368" y="1238708"/>
                </a:lnTo>
                <a:lnTo>
                  <a:pt x="11051368" y="11152888"/>
                </a:lnTo>
                <a:lnTo>
                  <a:pt x="10753308" y="11325172"/>
                </a:lnTo>
                <a:cubicBezTo>
                  <a:pt x="10239286" y="11622288"/>
                  <a:pt x="9821642" y="11863696"/>
                  <a:pt x="9482306" y="12059839"/>
                </a:cubicBezTo>
                <a:lnTo>
                  <a:pt x="9386222" y="12115378"/>
                </a:lnTo>
                <a:lnTo>
                  <a:pt x="6560480" y="12115378"/>
                </a:lnTo>
                <a:lnTo>
                  <a:pt x="5818890" y="12115378"/>
                </a:lnTo>
                <a:lnTo>
                  <a:pt x="5460140" y="11908400"/>
                </a:lnTo>
                <a:cubicBezTo>
                  <a:pt x="408010" y="8993617"/>
                  <a:pt x="408010" y="8993617"/>
                  <a:pt x="408010" y="8993617"/>
                </a:cubicBezTo>
                <a:cubicBezTo>
                  <a:pt x="160731" y="8845370"/>
                  <a:pt x="0" y="8585939"/>
                  <a:pt x="0" y="8289445"/>
                </a:cubicBezTo>
                <a:cubicBezTo>
                  <a:pt x="0" y="5472765"/>
                  <a:pt x="0" y="5472765"/>
                  <a:pt x="0" y="5472765"/>
                </a:cubicBezTo>
                <a:cubicBezTo>
                  <a:pt x="0" y="5188625"/>
                  <a:pt x="148366" y="4916841"/>
                  <a:pt x="395647" y="4780948"/>
                </a:cubicBezTo>
                <a:cubicBezTo>
                  <a:pt x="8283860" y="111185"/>
                  <a:pt x="8283860" y="111185"/>
                  <a:pt x="8283860" y="111185"/>
                </a:cubicBezTo>
                <a:cubicBezTo>
                  <a:pt x="8407500" y="37062"/>
                  <a:pt x="8546596" y="0"/>
                  <a:pt x="8687236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00FE27D2-F17E-D645-B45E-3ED5747B52F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8412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V="1">
            <a:off x="0" y="255264"/>
            <a:ext cx="11074658" cy="13020978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C4002CBC-2882-AA48-A62B-06802D22F78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39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0EE7BF5B-9CCE-D04E-B403-E4756E788C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 rot="10800000" flipH="1" flipV="1">
            <a:off x="13320768" y="246527"/>
            <a:ext cx="11066407" cy="13020978"/>
          </a:xfrm>
          <a:custGeom>
            <a:avLst/>
            <a:gdLst>
              <a:gd name="connsiteX0" fmla="*/ 8668239 w 11042208"/>
              <a:gd name="connsiteY0" fmla="*/ 0 h 13020978"/>
              <a:gd name="connsiteX1" fmla="*/ 8265746 w 11042208"/>
              <a:gd name="connsiteY1" fmla="*/ 111185 h 13020978"/>
              <a:gd name="connsiteX2" fmla="*/ 394782 w 11042208"/>
              <a:gd name="connsiteY2" fmla="*/ 4780948 h 13020978"/>
              <a:gd name="connsiteX3" fmla="*/ 0 w 11042208"/>
              <a:gd name="connsiteY3" fmla="*/ 5472765 h 13020978"/>
              <a:gd name="connsiteX4" fmla="*/ 0 w 11042208"/>
              <a:gd name="connsiteY4" fmla="*/ 8289445 h 13020978"/>
              <a:gd name="connsiteX5" fmla="*/ 407118 w 11042208"/>
              <a:gd name="connsiteY5" fmla="*/ 8993617 h 13020978"/>
              <a:gd name="connsiteX6" fmla="*/ 7180096 w 11042208"/>
              <a:gd name="connsiteY6" fmla="*/ 12909793 h 13020978"/>
              <a:gd name="connsiteX7" fmla="*/ 7994334 w 11042208"/>
              <a:gd name="connsiteY7" fmla="*/ 12909793 h 13020978"/>
              <a:gd name="connsiteX8" fmla="*/ 10729794 w 11042208"/>
              <a:gd name="connsiteY8" fmla="*/ 11325172 h 13020978"/>
              <a:gd name="connsiteX9" fmla="*/ 11042208 w 11042208"/>
              <a:gd name="connsiteY9" fmla="*/ 11144195 h 13020978"/>
              <a:gd name="connsiteX10" fmla="*/ 11042208 w 11042208"/>
              <a:gd name="connsiteY10" fmla="*/ 1247397 h 13020978"/>
              <a:gd name="connsiteX11" fmla="*/ 10937242 w 11042208"/>
              <a:gd name="connsiteY11" fmla="*/ 1186618 h 13020978"/>
              <a:gd name="connsiteX12" fmla="*/ 9079984 w 11042208"/>
              <a:gd name="connsiteY12" fmla="*/ 111185 h 13020978"/>
              <a:gd name="connsiteX13" fmla="*/ 8668239 w 11042208"/>
              <a:gd name="connsiteY13" fmla="*/ 0 h 1302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42208" h="13020978">
                <a:moveTo>
                  <a:pt x="8668239" y="0"/>
                </a:moveTo>
                <a:cubicBezTo>
                  <a:pt x="8527906" y="0"/>
                  <a:pt x="8389116" y="37062"/>
                  <a:pt x="8265746" y="111185"/>
                </a:cubicBezTo>
                <a:cubicBezTo>
                  <a:pt x="8265746" y="111185"/>
                  <a:pt x="8265746" y="111185"/>
                  <a:pt x="394782" y="4780948"/>
                </a:cubicBezTo>
                <a:cubicBezTo>
                  <a:pt x="148042" y="4916841"/>
                  <a:pt x="0" y="5188625"/>
                  <a:pt x="0" y="5472765"/>
                </a:cubicBezTo>
                <a:cubicBezTo>
                  <a:pt x="0" y="5472765"/>
                  <a:pt x="0" y="5472765"/>
                  <a:pt x="0" y="8289445"/>
                </a:cubicBezTo>
                <a:cubicBezTo>
                  <a:pt x="0" y="8585939"/>
                  <a:pt x="160380" y="8845370"/>
                  <a:pt x="407118" y="8993617"/>
                </a:cubicBezTo>
                <a:cubicBezTo>
                  <a:pt x="407118" y="8993617"/>
                  <a:pt x="407118" y="8993617"/>
                  <a:pt x="7180096" y="12909793"/>
                </a:cubicBezTo>
                <a:cubicBezTo>
                  <a:pt x="7439172" y="13058040"/>
                  <a:pt x="7735258" y="13058040"/>
                  <a:pt x="7994334" y="12909793"/>
                </a:cubicBezTo>
                <a:cubicBezTo>
                  <a:pt x="7994334" y="12909793"/>
                  <a:pt x="7994334" y="12909793"/>
                  <a:pt x="10729794" y="11325172"/>
                </a:cubicBezTo>
                <a:lnTo>
                  <a:pt x="11042208" y="11144195"/>
                </a:lnTo>
                <a:lnTo>
                  <a:pt x="11042208" y="1247397"/>
                </a:lnTo>
                <a:lnTo>
                  <a:pt x="10937242" y="1186618"/>
                </a:lnTo>
                <a:cubicBezTo>
                  <a:pt x="10419878" y="887042"/>
                  <a:pt x="9806706" y="531988"/>
                  <a:pt x="9079984" y="111185"/>
                </a:cubicBezTo>
                <a:cubicBezTo>
                  <a:pt x="8950446" y="37062"/>
                  <a:pt x="8808571" y="0"/>
                  <a:pt x="8668239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B42BA861-9B4A-8E4D-8E58-A4DA8889BBD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980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7FAAD09F-A2C8-AF45-A61E-3B290DC7246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10993686" cy="13717588"/>
          </a:xfrm>
          <a:custGeom>
            <a:avLst/>
            <a:gdLst>
              <a:gd name="connsiteX0" fmla="*/ 0 w 10993686"/>
              <a:gd name="connsiteY0" fmla="*/ 0 h 13717588"/>
              <a:gd name="connsiteX1" fmla="*/ 2087781 w 10993686"/>
              <a:gd name="connsiteY1" fmla="*/ 0 h 13717588"/>
              <a:gd name="connsiteX2" fmla="*/ 2133639 w 10993686"/>
              <a:gd name="connsiteY2" fmla="*/ 27127 h 13717588"/>
              <a:gd name="connsiteX3" fmla="*/ 10351785 w 10993686"/>
              <a:gd name="connsiteY3" fmla="*/ 4888585 h 13717588"/>
              <a:gd name="connsiteX4" fmla="*/ 10993686 w 10993686"/>
              <a:gd name="connsiteY4" fmla="*/ 6010156 h 13717588"/>
              <a:gd name="connsiteX5" fmla="*/ 10993686 w 10993686"/>
              <a:gd name="connsiteY5" fmla="*/ 10576556 h 13717588"/>
              <a:gd name="connsiteX6" fmla="*/ 10331727 w 10993686"/>
              <a:gd name="connsiteY6" fmla="*/ 11718159 h 13717588"/>
              <a:gd name="connsiteX7" fmla="*/ 7020699 w 10993686"/>
              <a:gd name="connsiteY7" fmla="*/ 13627005 h 13717588"/>
              <a:gd name="connsiteX8" fmla="*/ 6863577 w 10993686"/>
              <a:gd name="connsiteY8" fmla="*/ 13717588 h 13717588"/>
              <a:gd name="connsiteX9" fmla="*/ 0 w 10993686"/>
              <a:gd name="connsiteY9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93686" h="13717588">
                <a:moveTo>
                  <a:pt x="0" y="0"/>
                </a:moveTo>
                <a:lnTo>
                  <a:pt x="2087781" y="0"/>
                </a:lnTo>
                <a:lnTo>
                  <a:pt x="2133639" y="27127"/>
                </a:lnTo>
                <a:cubicBezTo>
                  <a:pt x="4004597" y="1133895"/>
                  <a:pt x="6639894" y="2692810"/>
                  <a:pt x="10351785" y="4888585"/>
                </a:cubicBezTo>
                <a:cubicBezTo>
                  <a:pt x="10752975" y="5108894"/>
                  <a:pt x="10993686" y="5549510"/>
                  <a:pt x="10993686" y="6010156"/>
                </a:cubicBezTo>
                <a:cubicBezTo>
                  <a:pt x="10993686" y="6010156"/>
                  <a:pt x="10993686" y="6010156"/>
                  <a:pt x="10993686" y="10576556"/>
                </a:cubicBezTo>
                <a:cubicBezTo>
                  <a:pt x="10993686" y="11057231"/>
                  <a:pt x="10732914" y="11477821"/>
                  <a:pt x="10331727" y="11718159"/>
                </a:cubicBezTo>
                <a:cubicBezTo>
                  <a:pt x="10331727" y="11718159"/>
                  <a:pt x="10331727" y="11718159"/>
                  <a:pt x="7020699" y="13627005"/>
                </a:cubicBezTo>
                <a:lnTo>
                  <a:pt x="6863577" y="13717588"/>
                </a:lnTo>
                <a:lnTo>
                  <a:pt x="0" y="13717588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DCD0BBFE-091B-744A-BD13-3904560E5B8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786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DA4A796E-24C6-D743-993E-2934AE7149F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H="1" flipV="1">
            <a:off x="13393489" y="15195"/>
            <a:ext cx="10993687" cy="13717588"/>
          </a:xfrm>
          <a:custGeom>
            <a:avLst/>
            <a:gdLst>
              <a:gd name="connsiteX0" fmla="*/ 4130109 w 10993687"/>
              <a:gd name="connsiteY0" fmla="*/ 0 h 13717588"/>
              <a:gd name="connsiteX1" fmla="*/ 10993687 w 10993687"/>
              <a:gd name="connsiteY1" fmla="*/ 0 h 13717588"/>
              <a:gd name="connsiteX2" fmla="*/ 10993687 w 10993687"/>
              <a:gd name="connsiteY2" fmla="*/ 13717588 h 13717588"/>
              <a:gd name="connsiteX3" fmla="*/ 8905905 w 10993687"/>
              <a:gd name="connsiteY3" fmla="*/ 13717588 h 13717588"/>
              <a:gd name="connsiteX4" fmla="*/ 8860047 w 10993687"/>
              <a:gd name="connsiteY4" fmla="*/ 13690461 h 13717588"/>
              <a:gd name="connsiteX5" fmla="*/ 641901 w 10993687"/>
              <a:gd name="connsiteY5" fmla="*/ 8829003 h 13717588"/>
              <a:gd name="connsiteX6" fmla="*/ 0 w 10993687"/>
              <a:gd name="connsiteY6" fmla="*/ 7707432 h 13717588"/>
              <a:gd name="connsiteX7" fmla="*/ 0 w 10993687"/>
              <a:gd name="connsiteY7" fmla="*/ 3141032 h 13717588"/>
              <a:gd name="connsiteX8" fmla="*/ 661959 w 10993687"/>
              <a:gd name="connsiteY8" fmla="*/ 1999429 h 13717588"/>
              <a:gd name="connsiteX9" fmla="*/ 3972987 w 10993687"/>
              <a:gd name="connsiteY9" fmla="*/ 90583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93687" h="13717588">
                <a:moveTo>
                  <a:pt x="4130109" y="0"/>
                </a:moveTo>
                <a:lnTo>
                  <a:pt x="10993687" y="0"/>
                </a:lnTo>
                <a:lnTo>
                  <a:pt x="10993687" y="13717588"/>
                </a:lnTo>
                <a:lnTo>
                  <a:pt x="8905905" y="13717588"/>
                </a:lnTo>
                <a:lnTo>
                  <a:pt x="8860047" y="13690461"/>
                </a:lnTo>
                <a:cubicBezTo>
                  <a:pt x="6989089" y="12583693"/>
                  <a:pt x="4353791" y="11024778"/>
                  <a:pt x="641901" y="8829003"/>
                </a:cubicBezTo>
                <a:cubicBezTo>
                  <a:pt x="240711" y="8608694"/>
                  <a:pt x="0" y="8168078"/>
                  <a:pt x="0" y="7707432"/>
                </a:cubicBezTo>
                <a:cubicBezTo>
                  <a:pt x="0" y="7707432"/>
                  <a:pt x="0" y="7707432"/>
                  <a:pt x="0" y="3141032"/>
                </a:cubicBezTo>
                <a:cubicBezTo>
                  <a:pt x="0" y="2660357"/>
                  <a:pt x="260772" y="2239767"/>
                  <a:pt x="661959" y="1999429"/>
                </a:cubicBezTo>
                <a:cubicBezTo>
                  <a:pt x="661959" y="1999429"/>
                  <a:pt x="661959" y="1999429"/>
                  <a:pt x="3972987" y="90583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22D5D3BF-1794-DB41-BDBB-E5B1737E1CDC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7248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4B56DD11-492B-AD40-8E8E-72053CF1B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548145FB-D572-C34A-98DA-A5DD2E061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E730F9EC-CFA8-D041-8557-01DCF654247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 rot="10800000" flipV="1">
            <a:off x="-2" y="0"/>
            <a:ext cx="12204541" cy="13177222"/>
          </a:xfrm>
          <a:custGeom>
            <a:avLst/>
            <a:gdLst>
              <a:gd name="connsiteX0" fmla="*/ 12204541 w 12204541"/>
              <a:gd name="connsiteY0" fmla="*/ 0 h 13177222"/>
              <a:gd name="connsiteX1" fmla="*/ 5455070 w 12204541"/>
              <a:gd name="connsiteY1" fmla="*/ 0 h 13177222"/>
              <a:gd name="connsiteX2" fmla="*/ 5040909 w 12204541"/>
              <a:gd name="connsiteY2" fmla="*/ 244998 h 13177222"/>
              <a:gd name="connsiteX3" fmla="*/ 492109 w 12204541"/>
              <a:gd name="connsiteY3" fmla="*/ 2935847 h 13177222"/>
              <a:gd name="connsiteX4" fmla="*/ 0 w 12204541"/>
              <a:gd name="connsiteY4" fmla="*/ 3795693 h 13177222"/>
              <a:gd name="connsiteX5" fmla="*/ 0 w 12204541"/>
              <a:gd name="connsiteY5" fmla="*/ 7296490 h 13177222"/>
              <a:gd name="connsiteX6" fmla="*/ 507485 w 12204541"/>
              <a:gd name="connsiteY6" fmla="*/ 8171692 h 13177222"/>
              <a:gd name="connsiteX7" fmla="*/ 8950229 w 12204541"/>
              <a:gd name="connsiteY7" fmla="*/ 13039032 h 13177222"/>
              <a:gd name="connsiteX8" fmla="*/ 9965204 w 12204541"/>
              <a:gd name="connsiteY8" fmla="*/ 13039032 h 13177222"/>
              <a:gd name="connsiteX9" fmla="*/ 12013419 w 12204541"/>
              <a:gd name="connsiteY9" fmla="*/ 11856001 h 13177222"/>
              <a:gd name="connsiteX10" fmla="*/ 12204541 w 12204541"/>
              <a:gd name="connsiteY10" fmla="*/ 11745611 h 1317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04541" h="13177222">
                <a:moveTo>
                  <a:pt x="12204541" y="0"/>
                </a:moveTo>
                <a:lnTo>
                  <a:pt x="5455070" y="0"/>
                </a:lnTo>
                <a:lnTo>
                  <a:pt x="5040909" y="244998"/>
                </a:lnTo>
                <a:cubicBezTo>
                  <a:pt x="3826458" y="963408"/>
                  <a:pt x="2331750" y="1847605"/>
                  <a:pt x="492109" y="2935847"/>
                </a:cubicBezTo>
                <a:cubicBezTo>
                  <a:pt x="184539" y="3104746"/>
                  <a:pt x="0" y="3442541"/>
                  <a:pt x="0" y="3795693"/>
                </a:cubicBezTo>
                <a:cubicBezTo>
                  <a:pt x="0" y="3795693"/>
                  <a:pt x="0" y="3795693"/>
                  <a:pt x="0" y="7296490"/>
                </a:cubicBezTo>
                <a:cubicBezTo>
                  <a:pt x="0" y="7664997"/>
                  <a:pt x="199919" y="7987439"/>
                  <a:pt x="507485" y="8171692"/>
                </a:cubicBezTo>
                <a:cubicBezTo>
                  <a:pt x="507485" y="8171692"/>
                  <a:pt x="507485" y="8171692"/>
                  <a:pt x="8950229" y="13039032"/>
                </a:cubicBezTo>
                <a:cubicBezTo>
                  <a:pt x="9273176" y="13223286"/>
                  <a:pt x="9642257" y="13223286"/>
                  <a:pt x="9965204" y="13039032"/>
                </a:cubicBezTo>
                <a:cubicBezTo>
                  <a:pt x="9965204" y="13039032"/>
                  <a:pt x="9965204" y="13039032"/>
                  <a:pt x="12013419" y="11856001"/>
                </a:cubicBezTo>
                <a:lnTo>
                  <a:pt x="12204541" y="11745611"/>
                </a:ln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A265E8F4-58AA-4F45-A0FB-12F6028E632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16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9601CF4-AD93-CB46-8D15-0A1EFA1FA0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29FEEE98-382D-CF4F-85AC-876713CFC0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BECD397-EB38-4143-94F4-DBA64C0BE43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 rot="10800000" flipH="1" flipV="1">
            <a:off x="12155756" y="535075"/>
            <a:ext cx="12204541" cy="13177222"/>
          </a:xfrm>
          <a:custGeom>
            <a:avLst/>
            <a:gdLst>
              <a:gd name="connsiteX0" fmla="*/ 9457717 w 12204541"/>
              <a:gd name="connsiteY0" fmla="*/ 0 h 13177222"/>
              <a:gd name="connsiteX1" fmla="*/ 9965205 w 12204541"/>
              <a:gd name="connsiteY1" fmla="*/ 138190 h 13177222"/>
              <a:gd name="connsiteX2" fmla="*/ 12013419 w 12204541"/>
              <a:gd name="connsiteY2" fmla="*/ 1321221 h 13177222"/>
              <a:gd name="connsiteX3" fmla="*/ 12204541 w 12204541"/>
              <a:gd name="connsiteY3" fmla="*/ 1431611 h 13177222"/>
              <a:gd name="connsiteX4" fmla="*/ 12204541 w 12204541"/>
              <a:gd name="connsiteY4" fmla="*/ 13177222 h 13177222"/>
              <a:gd name="connsiteX5" fmla="*/ 5455069 w 12204541"/>
              <a:gd name="connsiteY5" fmla="*/ 13177222 h 13177222"/>
              <a:gd name="connsiteX6" fmla="*/ 5040909 w 12204541"/>
              <a:gd name="connsiteY6" fmla="*/ 12932224 h 13177222"/>
              <a:gd name="connsiteX7" fmla="*/ 492109 w 12204541"/>
              <a:gd name="connsiteY7" fmla="*/ 10241375 h 13177222"/>
              <a:gd name="connsiteX8" fmla="*/ 0 w 12204541"/>
              <a:gd name="connsiteY8" fmla="*/ 9381529 h 13177222"/>
              <a:gd name="connsiteX9" fmla="*/ 0 w 12204541"/>
              <a:gd name="connsiteY9" fmla="*/ 5880732 h 13177222"/>
              <a:gd name="connsiteX10" fmla="*/ 507485 w 12204541"/>
              <a:gd name="connsiteY10" fmla="*/ 5005530 h 13177222"/>
              <a:gd name="connsiteX11" fmla="*/ 8950229 w 12204541"/>
              <a:gd name="connsiteY11" fmla="*/ 138190 h 13177222"/>
              <a:gd name="connsiteX12" fmla="*/ 9457717 w 12204541"/>
              <a:gd name="connsiteY12" fmla="*/ 0 h 1317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204541" h="13177222">
                <a:moveTo>
                  <a:pt x="9457717" y="0"/>
                </a:moveTo>
                <a:cubicBezTo>
                  <a:pt x="9630725" y="0"/>
                  <a:pt x="9803731" y="46063"/>
                  <a:pt x="9965205" y="138190"/>
                </a:cubicBezTo>
                <a:cubicBezTo>
                  <a:pt x="9965205" y="138190"/>
                  <a:pt x="9965205" y="138190"/>
                  <a:pt x="12013419" y="1321221"/>
                </a:cubicBezTo>
                <a:lnTo>
                  <a:pt x="12204541" y="1431611"/>
                </a:lnTo>
                <a:lnTo>
                  <a:pt x="12204541" y="13177222"/>
                </a:lnTo>
                <a:lnTo>
                  <a:pt x="5455069" y="13177222"/>
                </a:lnTo>
                <a:lnTo>
                  <a:pt x="5040909" y="12932224"/>
                </a:lnTo>
                <a:cubicBezTo>
                  <a:pt x="3826458" y="12213814"/>
                  <a:pt x="2331750" y="11329617"/>
                  <a:pt x="492109" y="10241375"/>
                </a:cubicBezTo>
                <a:cubicBezTo>
                  <a:pt x="184539" y="10072476"/>
                  <a:pt x="0" y="9734681"/>
                  <a:pt x="0" y="9381529"/>
                </a:cubicBezTo>
                <a:cubicBezTo>
                  <a:pt x="0" y="9381529"/>
                  <a:pt x="0" y="9381529"/>
                  <a:pt x="0" y="5880732"/>
                </a:cubicBezTo>
                <a:cubicBezTo>
                  <a:pt x="0" y="5512225"/>
                  <a:pt x="199919" y="5189784"/>
                  <a:pt x="507485" y="5005530"/>
                </a:cubicBezTo>
                <a:cubicBezTo>
                  <a:pt x="507485" y="5005530"/>
                  <a:pt x="507485" y="5005530"/>
                  <a:pt x="8950229" y="138190"/>
                </a:cubicBezTo>
                <a:cubicBezTo>
                  <a:pt x="9111703" y="46063"/>
                  <a:pt x="9284709" y="0"/>
                  <a:pt x="9457717" y="0"/>
                </a:cubicBezTo>
                <a:close/>
              </a:path>
            </a:pathLst>
          </a:custGeom>
          <a:pattFill prst="lgCheck">
            <a:fgClr>
              <a:schemeClr val="tx2">
                <a:lumMod val="25000"/>
                <a:lumOff val="75000"/>
              </a:schemeClr>
            </a:fgClr>
            <a:bgClr>
              <a:schemeClr val="tx2">
                <a:lumMod val="10000"/>
                <a:lumOff val="90000"/>
              </a:schemeClr>
            </a:bgClr>
          </a:pattFill>
          <a:ln w="50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543DDAD0-DA70-A548-82C4-E8916A09477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977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C27D9082-B526-EB40-A519-5A40567D208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7217"/>
            <a:ext cx="24359711" cy="13700371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10625" y="5202610"/>
            <a:ext cx="13765923" cy="39734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055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24387175" cy="4554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40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7847226" y="9739114"/>
            <a:ext cx="8987689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1861022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8314988" y="2178274"/>
            <a:ext cx="6044722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188276" y="2178274"/>
            <a:ext cx="10014590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8411" y="2303240"/>
            <a:ext cx="4463777" cy="685981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 TOP SLIDE</a:t>
            </a: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154650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9C0147E3-641B-3F41-AF7A-E0605EFFEA6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26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BA64CC7-E9D6-C241-92E9-C4143FE5C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4" y="1170162"/>
            <a:ext cx="8503436" cy="21602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66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1EA8315D-353A-2C4C-8809-F3D8DC536A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4" y="4050482"/>
            <a:ext cx="8503436" cy="7272808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E2B5BF83-35B2-004F-8794-E75EF79B3C7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9615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24387175" cy="4554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841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0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7847226" y="9739114"/>
            <a:ext cx="8987689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1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18610221" y="9739114"/>
            <a:ext cx="4456574" cy="2414150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8314988" y="2178274"/>
            <a:ext cx="6044722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0" y="2178274"/>
            <a:ext cx="6072188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188276" y="2178274"/>
            <a:ext cx="10014590" cy="6984776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3119635-8946-D34B-A648-31EE66EE5FE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617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459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471379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0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104996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2209992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8314988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9" hasCustomPrompt="1"/>
          </p:nvPr>
        </p:nvSpPr>
        <p:spPr>
          <a:xfrm>
            <a:off x="1633572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quarter" idx="30" hasCustomPrompt="1"/>
          </p:nvPr>
        </p:nvSpPr>
        <p:spPr>
          <a:xfrm>
            <a:off x="19146994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1" hasCustomPrompt="1"/>
          </p:nvPr>
        </p:nvSpPr>
        <p:spPr>
          <a:xfrm>
            <a:off x="13309186" y="9739114"/>
            <a:ext cx="3694300" cy="2054110"/>
          </a:xfrm>
          <a:prstGeom prst="rect">
            <a:avLst/>
          </a:prstGeom>
        </p:spPr>
        <p:txBody>
          <a:bodyPr/>
          <a:lstStyle>
            <a:lvl1pPr algn="ctr"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651D863C-CC75-4E4F-B10B-5A4AE69B16E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194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 userDrawn="1"/>
        </p:nvSpPr>
        <p:spPr>
          <a:xfrm>
            <a:off x="12193589" y="4554538"/>
            <a:ext cx="12220748" cy="4608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4554538"/>
            <a:ext cx="18314987" cy="460851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459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</a:t>
            </a:r>
            <a:endParaRPr lang="ru-RU" dirty="0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0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2209992" y="4554538"/>
            <a:ext cx="6072188" cy="460851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56732" y="5357185"/>
            <a:ext cx="4470103" cy="3007422"/>
          </a:xfrm>
          <a:prstGeom prst="rect">
            <a:avLst/>
          </a:prstGeom>
        </p:spPr>
        <p:txBody>
          <a:bodyPr/>
          <a:lstStyle>
            <a:lvl1pPr algn="l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quarter" idx="29" hasCustomPrompt="1"/>
          </p:nvPr>
        </p:nvSpPr>
        <p:spPr>
          <a:xfrm>
            <a:off x="6787380" y="5357185"/>
            <a:ext cx="4470103" cy="3007422"/>
          </a:xfrm>
          <a:prstGeom prst="rect">
            <a:avLst/>
          </a:prstGeom>
        </p:spPr>
        <p:txBody>
          <a:bodyPr/>
          <a:lstStyle>
            <a:lvl1pPr algn="l">
              <a:defRPr lang="en-US" sz="2600" b="0" i="0" baseline="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FDED8FEF-D779-5448-90B9-0C3D59848E5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342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2116245" y="4122490"/>
            <a:ext cx="9213193" cy="1872208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2116245" y="1530202"/>
            <a:ext cx="9213193" cy="2016224"/>
          </a:xfrm>
          <a:prstGeom prst="rect">
            <a:avLst/>
          </a:prstGeom>
        </p:spPr>
        <p:txBody>
          <a:bodyPr/>
          <a:lstStyle>
            <a:lvl1pPr>
              <a:defRPr lang="en-US" sz="8001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8211" y="4122490"/>
            <a:ext cx="9213193" cy="1872208"/>
          </a:xfrm>
          <a:prstGeom prst="rect">
            <a:avLst/>
          </a:prstGeom>
        </p:spPr>
        <p:txBody>
          <a:bodyPr/>
          <a:lstStyle>
            <a:lvl1pPr>
              <a:defRPr lang="en-US" sz="24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78211" y="1530202"/>
            <a:ext cx="9213193" cy="2016224"/>
          </a:xfrm>
          <a:prstGeom prst="rect">
            <a:avLst/>
          </a:prstGeom>
        </p:spPr>
        <p:txBody>
          <a:bodyPr/>
          <a:lstStyle>
            <a:lvl1pPr>
              <a:defRPr lang="en-US" sz="8001" b="1" i="0" kern="120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C39289E-ADF7-4048-A346-4945D998AF9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8343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dge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2104183"/>
            <a:ext cx="24387175" cy="95812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80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664890" y="810122"/>
            <a:ext cx="6403636" cy="117882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1630875" y="3330402"/>
            <a:ext cx="6726651" cy="7416824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bg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307737F-8074-9E43-97ED-E62A14592B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7018123" y="810122"/>
            <a:ext cx="6403636" cy="117882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DD254A6D-0979-CE4D-B26F-96A39A14F9A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517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40460" y="1674218"/>
            <a:ext cx="8497581" cy="27368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936AD7-4E18-D542-BA55-5875D9165081}"/>
              </a:ext>
            </a:extLst>
          </p:cNvPr>
          <p:cNvCxnSpPr>
            <a:cxnSpLocks/>
            <a:endCxn id="20" idx="0"/>
          </p:cNvCxnSpPr>
          <p:nvPr userDrawn="1"/>
        </p:nvCxnSpPr>
        <p:spPr>
          <a:xfrm flipV="1">
            <a:off x="13849771" y="5706666"/>
            <a:ext cx="0" cy="8010922"/>
          </a:xfrm>
          <a:prstGeom prst="line">
            <a:avLst/>
          </a:prstGeom>
          <a:noFill/>
          <a:ln w="76200"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509B52F-E954-C44D-9C5A-65BDD0B2B4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4819564" y="5913473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48771" y="5913473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497A04AC-1967-9843-99CD-FC8DF38C59C9}"/>
              </a:ext>
            </a:extLst>
          </p:cNvPr>
          <p:cNvSpPr/>
          <p:nvPr userDrawn="1"/>
        </p:nvSpPr>
        <p:spPr>
          <a:xfrm>
            <a:off x="13642963" y="5706666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A14630A1-E1DB-674C-9F28-6DB5B84E5D7A}"/>
              </a:ext>
            </a:extLst>
          </p:cNvPr>
          <p:cNvSpPr/>
          <p:nvPr userDrawn="1"/>
        </p:nvSpPr>
        <p:spPr>
          <a:xfrm>
            <a:off x="13642962" y="9491212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04E6AC8-6E4D-864A-870E-7F862AE281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4825155" y="9683612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id="{28529CCD-3F0C-834A-9A32-AD693A3526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54362" y="9683612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4290986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936AD7-4E18-D542-BA55-5875D9165081}"/>
              </a:ext>
            </a:extLst>
          </p:cNvPr>
          <p:cNvCxnSpPr>
            <a:cxnSpLocks/>
          </p:cNvCxnSpPr>
          <p:nvPr userDrawn="1"/>
        </p:nvCxnSpPr>
        <p:spPr>
          <a:xfrm flipV="1">
            <a:off x="13849771" y="0"/>
            <a:ext cx="0" cy="13717588"/>
          </a:xfrm>
          <a:prstGeom prst="line">
            <a:avLst/>
          </a:prstGeom>
          <a:noFill/>
          <a:ln w="76200"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509B52F-E954-C44D-9C5A-65BDD0B2B4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4819564" y="1618716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9" name="Текст 3">
            <a:extLst>
              <a:ext uri="{FF2B5EF4-FFF2-40B4-BE49-F238E27FC236}">
                <a16:creationId xmlns:a16="http://schemas.microsoft.com/office/drawing/2014/main" id="{407C7DDB-69DF-B940-91D6-554202B064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48771" y="1618716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497A04AC-1967-9843-99CD-FC8DF38C59C9}"/>
              </a:ext>
            </a:extLst>
          </p:cNvPr>
          <p:cNvSpPr/>
          <p:nvPr userDrawn="1"/>
        </p:nvSpPr>
        <p:spPr>
          <a:xfrm>
            <a:off x="13642963" y="1411909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2E7A68-4798-DD45-8CAF-EE6FFA9C6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4801843" y="5388855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BAA75962-A3B6-6946-A9C7-3442528143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31050" y="5388855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2DEF9A5-2B46-534D-A105-93FCB6253845}"/>
              </a:ext>
            </a:extLst>
          </p:cNvPr>
          <p:cNvSpPr/>
          <p:nvPr userDrawn="1"/>
        </p:nvSpPr>
        <p:spPr>
          <a:xfrm>
            <a:off x="13625242" y="5182048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A88E757A-85CB-2D48-A865-72D5155E51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4805388" y="9107548"/>
            <a:ext cx="8031207" cy="300783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id="{18CD846F-5A25-A44C-BA1E-80416DA7D6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34595" y="9107548"/>
            <a:ext cx="8015544" cy="3007830"/>
          </a:xfrm>
          <a:prstGeom prst="rect">
            <a:avLst/>
          </a:prstGeom>
        </p:spPr>
        <p:txBody>
          <a:bodyPr/>
          <a:lstStyle>
            <a:lvl1pPr algn="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B7EE839A-84A7-274A-93D4-74D2897195AD}"/>
              </a:ext>
            </a:extLst>
          </p:cNvPr>
          <p:cNvSpPr/>
          <p:nvPr userDrawn="1"/>
        </p:nvSpPr>
        <p:spPr>
          <a:xfrm>
            <a:off x="13628787" y="8900741"/>
            <a:ext cx="413615" cy="413615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1">
            <a:extLst>
              <a:ext uri="{FF2B5EF4-FFF2-40B4-BE49-F238E27FC236}">
                <a16:creationId xmlns:a16="http://schemas.microsoft.com/office/drawing/2014/main" id="{EDF798B8-BAF4-4A4D-8856-A08B2C709D6E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5464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63454D37-0D4A-E04A-BBC6-E4FF404A4BE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0"/>
            <a:ext cx="4920779" cy="49145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C09734D3-769B-1A48-AEE9-BA99FD9DACE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66598" y="0"/>
            <a:ext cx="4920779" cy="376245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721B513A-77F9-3D43-B73B-8C2EEB39551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33197" y="0"/>
            <a:ext cx="4920779" cy="2610322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491542C1-2977-A641-8C32-4663762135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4599796" y="0"/>
            <a:ext cx="4920779" cy="376245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DBBB3C77-3F96-CA47-AA0E-021AC52FCC7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9466396" y="0"/>
            <a:ext cx="4920779" cy="4914578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46" name="Текст 3">
            <a:extLst>
              <a:ext uri="{FF2B5EF4-FFF2-40B4-BE49-F238E27FC236}">
                <a16:creationId xmlns:a16="http://schemas.microsoft.com/office/drawing/2014/main" id="{B949DEAB-8436-5440-B6D2-C1C0F3D6A5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09" y="5593001"/>
            <a:ext cx="406675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7" name="Текст 3">
            <a:extLst>
              <a:ext uri="{FF2B5EF4-FFF2-40B4-BE49-F238E27FC236}">
                <a16:creationId xmlns:a16="http://schemas.microsoft.com/office/drawing/2014/main" id="{254F9BF4-EFD4-2C47-ACEB-58F425DC17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11446" y="4338514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8" name="Текст 3">
            <a:extLst>
              <a:ext uri="{FF2B5EF4-FFF2-40B4-BE49-F238E27FC236}">
                <a16:creationId xmlns:a16="http://schemas.microsoft.com/office/drawing/2014/main" id="{18E8B75F-B1AD-D948-B2D4-A3F7AA072F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73358" y="3288745"/>
            <a:ext cx="388822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9" name="Текст 3">
            <a:extLst>
              <a:ext uri="{FF2B5EF4-FFF2-40B4-BE49-F238E27FC236}">
                <a16:creationId xmlns:a16="http://schemas.microsoft.com/office/drawing/2014/main" id="{194F3FAD-9251-9B40-811A-FE79B74988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60517" y="4338514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2" name="Текст 3">
            <a:extLst>
              <a:ext uri="{FF2B5EF4-FFF2-40B4-BE49-F238E27FC236}">
                <a16:creationId xmlns:a16="http://schemas.microsoft.com/office/drawing/2014/main" id="{55C9719B-68F5-7E45-83CA-F81B0BC6B21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81297" y="5593001"/>
            <a:ext cx="3987220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415DC59F-0568-CD4F-92AD-3316C62EBC7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0" y="8298954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99669680-01D0-D043-A2B0-3674B605423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866599" y="7074818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5" name="Picture Placeholder 2">
            <a:extLst>
              <a:ext uri="{FF2B5EF4-FFF2-40B4-BE49-F238E27FC236}">
                <a16:creationId xmlns:a16="http://schemas.microsoft.com/office/drawing/2014/main" id="{AA6C0467-BD47-7A49-8578-66A52AC7F2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733197" y="6138714"/>
            <a:ext cx="4920779" cy="288032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4C3E5231-DF23-FB48-972A-9A9515C87E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4599797" y="7074818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7" name="Picture Placeholder 2">
            <a:extLst>
              <a:ext uri="{FF2B5EF4-FFF2-40B4-BE49-F238E27FC236}">
                <a16:creationId xmlns:a16="http://schemas.microsoft.com/office/drawing/2014/main" id="{2324A6A8-2F09-5743-A577-3B2B24B6A57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9466397" y="8298954"/>
            <a:ext cx="4920779" cy="281631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  <p:sp>
        <p:nvSpPr>
          <p:cNvPr id="58" name="Текст 3">
            <a:extLst>
              <a:ext uri="{FF2B5EF4-FFF2-40B4-BE49-F238E27FC236}">
                <a16:creationId xmlns:a16="http://schemas.microsoft.com/office/drawing/2014/main" id="{53FD9C7D-E49F-B24B-9CFA-F1ABDF7BB9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7010" y="11425649"/>
            <a:ext cx="4066759" cy="1697841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9" name="Текст 3">
            <a:extLst>
              <a:ext uri="{FF2B5EF4-FFF2-40B4-BE49-F238E27FC236}">
                <a16:creationId xmlns:a16="http://schemas.microsoft.com/office/drawing/2014/main" id="{F02B033D-CD7E-2742-9333-52615BD94DA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447" y="10171162"/>
            <a:ext cx="3987220" cy="3024336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0" name="Текст 3">
            <a:extLst>
              <a:ext uri="{FF2B5EF4-FFF2-40B4-BE49-F238E27FC236}">
                <a16:creationId xmlns:a16="http://schemas.microsoft.com/office/drawing/2014/main" id="{1C977AD6-1F29-1548-A30D-0319C168E15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273359" y="9337417"/>
            <a:ext cx="3888229" cy="2201897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1" name="Текст 3">
            <a:extLst>
              <a:ext uri="{FF2B5EF4-FFF2-40B4-BE49-F238E27FC236}">
                <a16:creationId xmlns:a16="http://schemas.microsoft.com/office/drawing/2014/main" id="{A041D768-0826-2C4C-883C-ED7F4B83864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60518" y="10171162"/>
            <a:ext cx="3987220" cy="3024336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id="{93D7442E-1418-DD44-B677-E197D9DD4AB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981298" y="11425649"/>
            <a:ext cx="3987220" cy="1697841"/>
          </a:xfrm>
          <a:prstGeom prst="rect">
            <a:avLst/>
          </a:prstGeom>
        </p:spPr>
        <p:txBody>
          <a:bodyPr/>
          <a:lstStyle>
            <a:lvl1pPr algn="ctr">
              <a:defRPr lang="en-US" sz="22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3" name="Picture Placeholder 2">
            <a:extLst>
              <a:ext uri="{FF2B5EF4-FFF2-40B4-BE49-F238E27FC236}">
                <a16:creationId xmlns:a16="http://schemas.microsoft.com/office/drawing/2014/main" id="{63B8FA0A-BA22-004E-9541-82AE27FA749E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9733197" y="11971361"/>
            <a:ext cx="4920779" cy="174622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771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30" name="Freeform 113">
            <a:extLst>
              <a:ext uri="{FF2B5EF4-FFF2-40B4-BE49-F238E27FC236}">
                <a16:creationId xmlns:a16="http://schemas.microsoft.com/office/drawing/2014/main" id="{97010E33-9486-4349-80EE-CC5EF3DBB0E7}"/>
              </a:ext>
            </a:extLst>
          </p:cNvPr>
          <p:cNvSpPr>
            <a:spLocks noGrp="1" noEditPoints="1"/>
          </p:cNvSpPr>
          <p:nvPr>
            <p:ph type="pic" sz="quarter" idx="40"/>
          </p:nvPr>
        </p:nvSpPr>
        <p:spPr bwMode="auto">
          <a:xfrm>
            <a:off x="10897443" y="954138"/>
            <a:ext cx="11752703" cy="11492627"/>
          </a:xfrm>
          <a:custGeom>
            <a:avLst/>
            <a:gdLst>
              <a:gd name="T0" fmla="*/ 27625 w 31750"/>
              <a:gd name="T1" fmla="*/ 9094 h 25656"/>
              <a:gd name="T2" fmla="*/ 22125 w 31750"/>
              <a:gd name="T3" fmla="*/ 9156 h 25656"/>
              <a:gd name="T4" fmla="*/ 17344 w 31750"/>
              <a:gd name="T5" fmla="*/ 25656 h 25656"/>
              <a:gd name="T6" fmla="*/ 17344 w 31750"/>
              <a:gd name="T7" fmla="*/ 25652 h 25656"/>
              <a:gd name="T8" fmla="*/ 17344 w 31750"/>
              <a:gd name="T9" fmla="*/ 25647 h 25656"/>
              <a:gd name="T10" fmla="*/ 17344 w 31750"/>
              <a:gd name="T11" fmla="*/ 25638 h 25656"/>
              <a:gd name="T12" fmla="*/ 17344 w 31750"/>
              <a:gd name="T13" fmla="*/ 25629 h 25656"/>
              <a:gd name="T14" fmla="*/ 17344 w 31750"/>
              <a:gd name="T15" fmla="*/ 25625 h 25656"/>
              <a:gd name="T16" fmla="*/ 21719 w 31750"/>
              <a:gd name="T17" fmla="*/ 21812 h 25656"/>
              <a:gd name="T18" fmla="*/ 15907 w 31750"/>
              <a:gd name="T19" fmla="*/ 12781 h 25656"/>
              <a:gd name="T20" fmla="*/ 21125 w 31750"/>
              <a:gd name="T21" fmla="*/ 13062 h 25656"/>
              <a:gd name="T22" fmla="*/ 24063 w 31750"/>
              <a:gd name="T23" fmla="*/ 14844 h 25656"/>
              <a:gd name="T24" fmla="*/ 27688 w 31750"/>
              <a:gd name="T25" fmla="*/ 18156 h 25656"/>
              <a:gd name="T26" fmla="*/ 31188 w 31750"/>
              <a:gd name="T27" fmla="*/ 3875 h 25656"/>
              <a:gd name="T28" fmla="*/ 28157 w 31750"/>
              <a:gd name="T29" fmla="*/ 3062 h 25656"/>
              <a:gd name="T30" fmla="*/ 12250 w 31750"/>
              <a:gd name="T31" fmla="*/ 8656 h 25656"/>
              <a:gd name="T32" fmla="*/ 3375 w 31750"/>
              <a:gd name="T33" fmla="*/ 18594 h 25656"/>
              <a:gd name="T34" fmla="*/ 6782 w 31750"/>
              <a:gd name="T35" fmla="*/ 18281 h 25656"/>
              <a:gd name="T36" fmla="*/ 8375 w 31750"/>
              <a:gd name="T37" fmla="*/ 20750 h 25656"/>
              <a:gd name="T38" fmla="*/ 12563 w 31750"/>
              <a:gd name="T39" fmla="*/ 19281 h 25656"/>
              <a:gd name="T40" fmla="*/ 14469 w 31750"/>
              <a:gd name="T41" fmla="*/ 21187 h 25656"/>
              <a:gd name="T42" fmla="*/ 17344 w 31750"/>
              <a:gd name="T43" fmla="*/ 23187 h 25656"/>
              <a:gd name="T44" fmla="*/ 16094 w 31750"/>
              <a:gd name="T45" fmla="*/ 20469 h 25656"/>
              <a:gd name="T46" fmla="*/ 13000 w 31750"/>
              <a:gd name="T47" fmla="*/ 14937 h 25656"/>
              <a:gd name="T48" fmla="*/ 15813 w 31750"/>
              <a:gd name="T49" fmla="*/ 17344 h 25656"/>
              <a:gd name="T50" fmla="*/ 18097 w 31750"/>
              <a:gd name="T51" fmla="*/ 15000 h 25656"/>
              <a:gd name="T52" fmla="*/ 18118 w 31750"/>
              <a:gd name="T53" fmla="*/ 15000 h 25656"/>
              <a:gd name="T54" fmla="*/ 18125 w 31750"/>
              <a:gd name="T55" fmla="*/ 15000 h 25656"/>
              <a:gd name="T56" fmla="*/ 15782 w 31750"/>
              <a:gd name="T57" fmla="*/ 13812 h 25656"/>
              <a:gd name="T58" fmla="*/ 23063 w 31750"/>
              <a:gd name="T59" fmla="*/ 13812 h 25656"/>
              <a:gd name="T60" fmla="*/ 11000 w 31750"/>
              <a:gd name="T61" fmla="*/ 22781 h 25656"/>
              <a:gd name="T62" fmla="*/ 14407 w 31750"/>
              <a:gd name="T63" fmla="*/ 22250 h 25656"/>
              <a:gd name="T64" fmla="*/ 21094 w 31750"/>
              <a:gd name="T65" fmla="*/ 20062 h 25656"/>
              <a:gd name="T66" fmla="*/ 24688 w 31750"/>
              <a:gd name="T67" fmla="*/ 22812 h 25656"/>
              <a:gd name="T68" fmla="*/ 20844 w 31750"/>
              <a:gd name="T69" fmla="*/ 24687 h 25656"/>
              <a:gd name="T70" fmla="*/ 719 w 31750"/>
              <a:gd name="T71" fmla="*/ 20062 h 25656"/>
              <a:gd name="T72" fmla="*/ 15375 w 31750"/>
              <a:gd name="T73" fmla="*/ 4187 h 25656"/>
              <a:gd name="T74" fmla="*/ 19063 w 31750"/>
              <a:gd name="T75" fmla="*/ 22500 h 25656"/>
              <a:gd name="T76" fmla="*/ 15219 w 31750"/>
              <a:gd name="T77" fmla="*/ 23750 h 25656"/>
              <a:gd name="T78" fmla="*/ 24875 w 31750"/>
              <a:gd name="T79" fmla="*/ 18281 h 25656"/>
              <a:gd name="T80" fmla="*/ 25532 w 31750"/>
              <a:gd name="T81" fmla="*/ 16062 h 25656"/>
              <a:gd name="T82" fmla="*/ 16875 w 31750"/>
              <a:gd name="T83" fmla="*/ 18656 h 25656"/>
              <a:gd name="T84" fmla="*/ 3625 w 31750"/>
              <a:gd name="T85" fmla="*/ 16344 h 25656"/>
              <a:gd name="T86" fmla="*/ 18469 w 31750"/>
              <a:gd name="T87" fmla="*/ 23187 h 25656"/>
              <a:gd name="T88" fmla="*/ 17282 w 31750"/>
              <a:gd name="T89" fmla="*/ 16437 h 25656"/>
              <a:gd name="T90" fmla="*/ 6344 w 31750"/>
              <a:gd name="T91" fmla="*/ 16062 h 25656"/>
              <a:gd name="T92" fmla="*/ 6563 w 31750"/>
              <a:gd name="T93" fmla="*/ 15375 h 25656"/>
              <a:gd name="T94" fmla="*/ 9594 w 31750"/>
              <a:gd name="T95" fmla="*/ 17031 h 25656"/>
              <a:gd name="T96" fmla="*/ 14282 w 31750"/>
              <a:gd name="T97" fmla="*/ 12250 h 25656"/>
              <a:gd name="T98" fmla="*/ 5969 w 31750"/>
              <a:gd name="T99" fmla="*/ 17969 h 25656"/>
              <a:gd name="T100" fmla="*/ 8219 w 31750"/>
              <a:gd name="T101" fmla="*/ 20219 h 25656"/>
              <a:gd name="T102" fmla="*/ 12782 w 31750"/>
              <a:gd name="T103" fmla="*/ 17500 h 25656"/>
              <a:gd name="T104" fmla="*/ 14688 w 31750"/>
              <a:gd name="T105" fmla="*/ 12187 h 25656"/>
              <a:gd name="T106" fmla="*/ 29313 w 31750"/>
              <a:gd name="T107" fmla="*/ 16969 h 25656"/>
              <a:gd name="T108" fmla="*/ 28563 w 31750"/>
              <a:gd name="T109" fmla="*/ 9500 h 25656"/>
              <a:gd name="T110" fmla="*/ 23625 w 31750"/>
              <a:gd name="T111" fmla="*/ 10906 h 25656"/>
              <a:gd name="T112" fmla="*/ 22719 w 31750"/>
              <a:gd name="T113" fmla="*/ 9875 h 25656"/>
              <a:gd name="T114" fmla="*/ 23938 w 31750"/>
              <a:gd name="T115" fmla="*/ 14000 h 25656"/>
              <a:gd name="T116" fmla="*/ 20125 w 31750"/>
              <a:gd name="T117" fmla="*/ 4312 h 25656"/>
              <a:gd name="T118" fmla="*/ 17438 w 31750"/>
              <a:gd name="T119" fmla="*/ 2562 h 25656"/>
              <a:gd name="T120" fmla="*/ 25438 w 31750"/>
              <a:gd name="T121" fmla="*/ 14500 h 25656"/>
              <a:gd name="T122" fmla="*/ 22407 w 31750"/>
              <a:gd name="T123" fmla="*/ 22156 h 25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0" h="25656">
                <a:moveTo>
                  <a:pt x="14469" y="12125"/>
                </a:moveTo>
                <a:cubicBezTo>
                  <a:pt x="14469" y="12125"/>
                  <a:pt x="14469" y="12125"/>
                  <a:pt x="14469" y="12125"/>
                </a:cubicBezTo>
                <a:cubicBezTo>
                  <a:pt x="14500" y="12187"/>
                  <a:pt x="14438" y="12187"/>
                  <a:pt x="14407" y="12219"/>
                </a:cubicBezTo>
                <a:cubicBezTo>
                  <a:pt x="14407" y="12156"/>
                  <a:pt x="14407" y="12125"/>
                  <a:pt x="14469" y="12125"/>
                </a:cubicBezTo>
                <a:cubicBezTo>
                  <a:pt x="14500" y="12156"/>
                  <a:pt x="14532" y="12125"/>
                  <a:pt x="14563" y="12125"/>
                </a:cubicBezTo>
                <a:lnTo>
                  <a:pt x="14563" y="12125"/>
                </a:lnTo>
                <a:cubicBezTo>
                  <a:pt x="14563" y="12031"/>
                  <a:pt x="14500" y="12062"/>
                  <a:pt x="14469" y="12062"/>
                </a:cubicBezTo>
                <a:cubicBezTo>
                  <a:pt x="14469" y="12062"/>
                  <a:pt x="14469" y="12094"/>
                  <a:pt x="14469" y="12125"/>
                </a:cubicBezTo>
                <a:cubicBezTo>
                  <a:pt x="14469" y="12125"/>
                  <a:pt x="14469" y="12125"/>
                  <a:pt x="14469" y="12125"/>
                </a:cubicBezTo>
                <a:close/>
                <a:moveTo>
                  <a:pt x="10469" y="19656"/>
                </a:moveTo>
                <a:cubicBezTo>
                  <a:pt x="10438" y="19656"/>
                  <a:pt x="10469" y="19687"/>
                  <a:pt x="10469" y="19687"/>
                </a:cubicBezTo>
                <a:cubicBezTo>
                  <a:pt x="10500" y="19687"/>
                  <a:pt x="10500" y="19687"/>
                  <a:pt x="10532" y="19687"/>
                </a:cubicBezTo>
                <a:cubicBezTo>
                  <a:pt x="10532" y="19656"/>
                  <a:pt x="10500" y="19656"/>
                  <a:pt x="10500" y="19625"/>
                </a:cubicBezTo>
                <a:cubicBezTo>
                  <a:pt x="10500" y="19625"/>
                  <a:pt x="10469" y="19625"/>
                  <a:pt x="10469" y="19656"/>
                </a:cubicBezTo>
                <a:close/>
                <a:moveTo>
                  <a:pt x="9125" y="18937"/>
                </a:moveTo>
                <a:cubicBezTo>
                  <a:pt x="9157" y="18969"/>
                  <a:pt x="9157" y="18969"/>
                  <a:pt x="9188" y="18969"/>
                </a:cubicBezTo>
                <a:cubicBezTo>
                  <a:pt x="9188" y="18937"/>
                  <a:pt x="9188" y="18906"/>
                  <a:pt x="9125" y="18937"/>
                </a:cubicBezTo>
                <a:close/>
                <a:moveTo>
                  <a:pt x="9188" y="18969"/>
                </a:moveTo>
                <a:cubicBezTo>
                  <a:pt x="9188" y="19000"/>
                  <a:pt x="9188" y="19031"/>
                  <a:pt x="9188" y="19062"/>
                </a:cubicBezTo>
                <a:cubicBezTo>
                  <a:pt x="9000" y="19000"/>
                  <a:pt x="9063" y="18812"/>
                  <a:pt x="9032" y="18719"/>
                </a:cubicBezTo>
                <a:cubicBezTo>
                  <a:pt x="9188" y="18531"/>
                  <a:pt x="9407" y="18500"/>
                  <a:pt x="9594" y="18375"/>
                </a:cubicBezTo>
                <a:cubicBezTo>
                  <a:pt x="9594" y="18281"/>
                  <a:pt x="9594" y="18219"/>
                  <a:pt x="9625" y="18156"/>
                </a:cubicBezTo>
                <a:cubicBezTo>
                  <a:pt x="9657" y="18125"/>
                  <a:pt x="9688" y="18125"/>
                  <a:pt x="9719" y="18094"/>
                </a:cubicBezTo>
                <a:cubicBezTo>
                  <a:pt x="9875" y="18312"/>
                  <a:pt x="9782" y="18500"/>
                  <a:pt x="9563" y="18594"/>
                </a:cubicBezTo>
                <a:cubicBezTo>
                  <a:pt x="9313" y="18656"/>
                  <a:pt x="9469" y="18750"/>
                  <a:pt x="9563" y="18844"/>
                </a:cubicBezTo>
                <a:cubicBezTo>
                  <a:pt x="9563" y="18844"/>
                  <a:pt x="9563" y="18844"/>
                  <a:pt x="9563" y="18844"/>
                </a:cubicBezTo>
                <a:cubicBezTo>
                  <a:pt x="9532" y="18875"/>
                  <a:pt x="9407" y="18875"/>
                  <a:pt x="9500" y="18969"/>
                </a:cubicBezTo>
                <a:cubicBezTo>
                  <a:pt x="9563" y="19125"/>
                  <a:pt x="9688" y="19031"/>
                  <a:pt x="9719" y="18969"/>
                </a:cubicBezTo>
                <a:cubicBezTo>
                  <a:pt x="9813" y="18812"/>
                  <a:pt x="10063" y="18844"/>
                  <a:pt x="10094" y="18625"/>
                </a:cubicBezTo>
                <a:cubicBezTo>
                  <a:pt x="10094" y="18625"/>
                  <a:pt x="10188" y="18531"/>
                  <a:pt x="10250" y="18594"/>
                </a:cubicBezTo>
                <a:cubicBezTo>
                  <a:pt x="10282" y="18656"/>
                  <a:pt x="10250" y="18687"/>
                  <a:pt x="10219" y="18750"/>
                </a:cubicBezTo>
                <a:cubicBezTo>
                  <a:pt x="10157" y="18937"/>
                  <a:pt x="9969" y="18969"/>
                  <a:pt x="9844" y="19062"/>
                </a:cubicBezTo>
                <a:lnTo>
                  <a:pt x="9844" y="19062"/>
                </a:lnTo>
                <a:cubicBezTo>
                  <a:pt x="9719" y="19156"/>
                  <a:pt x="9594" y="19156"/>
                  <a:pt x="9532" y="19344"/>
                </a:cubicBezTo>
                <a:cubicBezTo>
                  <a:pt x="9469" y="19500"/>
                  <a:pt x="9313" y="19281"/>
                  <a:pt x="9157" y="19281"/>
                </a:cubicBezTo>
                <a:cubicBezTo>
                  <a:pt x="9094" y="19281"/>
                  <a:pt x="9125" y="19187"/>
                  <a:pt x="9188" y="19156"/>
                </a:cubicBezTo>
                <a:cubicBezTo>
                  <a:pt x="9282" y="19156"/>
                  <a:pt x="9344" y="19062"/>
                  <a:pt x="9313" y="19000"/>
                </a:cubicBezTo>
                <a:cubicBezTo>
                  <a:pt x="9313" y="18937"/>
                  <a:pt x="9219" y="19000"/>
                  <a:pt x="9188" y="18969"/>
                </a:cubicBezTo>
                <a:close/>
                <a:moveTo>
                  <a:pt x="27282" y="9125"/>
                </a:moveTo>
                <a:cubicBezTo>
                  <a:pt x="27282" y="9062"/>
                  <a:pt x="27219" y="9094"/>
                  <a:pt x="27157" y="9094"/>
                </a:cubicBezTo>
                <a:cubicBezTo>
                  <a:pt x="27157" y="9125"/>
                  <a:pt x="27125" y="9187"/>
                  <a:pt x="27094" y="9219"/>
                </a:cubicBezTo>
                <a:cubicBezTo>
                  <a:pt x="27063" y="9219"/>
                  <a:pt x="27000" y="9250"/>
                  <a:pt x="27000" y="9156"/>
                </a:cubicBezTo>
                <a:cubicBezTo>
                  <a:pt x="27032" y="9125"/>
                  <a:pt x="27094" y="9094"/>
                  <a:pt x="27125" y="9062"/>
                </a:cubicBezTo>
                <a:cubicBezTo>
                  <a:pt x="27157" y="9000"/>
                  <a:pt x="27188" y="8969"/>
                  <a:pt x="27250" y="8906"/>
                </a:cubicBezTo>
                <a:cubicBezTo>
                  <a:pt x="27250" y="8906"/>
                  <a:pt x="27250" y="8906"/>
                  <a:pt x="27250" y="8906"/>
                </a:cubicBezTo>
                <a:cubicBezTo>
                  <a:pt x="27282" y="8906"/>
                  <a:pt x="27344" y="8906"/>
                  <a:pt x="27375" y="8844"/>
                </a:cubicBezTo>
                <a:cubicBezTo>
                  <a:pt x="27375" y="8781"/>
                  <a:pt x="27375" y="8719"/>
                  <a:pt x="27375" y="8687"/>
                </a:cubicBezTo>
                <a:cubicBezTo>
                  <a:pt x="27375" y="8656"/>
                  <a:pt x="27344" y="8656"/>
                  <a:pt x="27344" y="8625"/>
                </a:cubicBezTo>
                <a:cubicBezTo>
                  <a:pt x="27344" y="8625"/>
                  <a:pt x="27344" y="8625"/>
                  <a:pt x="27344" y="8625"/>
                </a:cubicBezTo>
                <a:cubicBezTo>
                  <a:pt x="27344" y="8656"/>
                  <a:pt x="27375" y="8656"/>
                  <a:pt x="27375" y="8687"/>
                </a:cubicBezTo>
                <a:cubicBezTo>
                  <a:pt x="27532" y="8625"/>
                  <a:pt x="27657" y="8500"/>
                  <a:pt x="27782" y="8437"/>
                </a:cubicBezTo>
                <a:cubicBezTo>
                  <a:pt x="27657" y="8500"/>
                  <a:pt x="27532" y="8625"/>
                  <a:pt x="27375" y="8687"/>
                </a:cubicBezTo>
                <a:cubicBezTo>
                  <a:pt x="27375" y="8719"/>
                  <a:pt x="27375" y="8781"/>
                  <a:pt x="27375" y="8844"/>
                </a:cubicBezTo>
                <a:cubicBezTo>
                  <a:pt x="27563" y="8844"/>
                  <a:pt x="27688" y="8844"/>
                  <a:pt x="27625" y="9094"/>
                </a:cubicBezTo>
                <a:cubicBezTo>
                  <a:pt x="27594" y="9219"/>
                  <a:pt x="27657" y="9281"/>
                  <a:pt x="27750" y="9219"/>
                </a:cubicBezTo>
                <a:cubicBezTo>
                  <a:pt x="28000" y="9094"/>
                  <a:pt x="28188" y="9250"/>
                  <a:pt x="28407" y="9281"/>
                </a:cubicBezTo>
                <a:cubicBezTo>
                  <a:pt x="28407" y="9281"/>
                  <a:pt x="28375" y="9281"/>
                  <a:pt x="28375" y="9281"/>
                </a:cubicBezTo>
                <a:cubicBezTo>
                  <a:pt x="28375" y="9281"/>
                  <a:pt x="28375" y="9312"/>
                  <a:pt x="28375" y="9312"/>
                </a:cubicBezTo>
                <a:cubicBezTo>
                  <a:pt x="28375" y="9312"/>
                  <a:pt x="28375" y="9281"/>
                  <a:pt x="28375" y="9281"/>
                </a:cubicBezTo>
                <a:cubicBezTo>
                  <a:pt x="28188" y="9250"/>
                  <a:pt x="28032" y="9312"/>
                  <a:pt x="27907" y="9375"/>
                </a:cubicBezTo>
                <a:cubicBezTo>
                  <a:pt x="27750" y="9469"/>
                  <a:pt x="27657" y="9656"/>
                  <a:pt x="27407" y="9562"/>
                </a:cubicBezTo>
                <a:cubicBezTo>
                  <a:pt x="27344" y="9562"/>
                  <a:pt x="27125" y="9750"/>
                  <a:pt x="27188" y="9969"/>
                </a:cubicBezTo>
                <a:cubicBezTo>
                  <a:pt x="27188" y="10031"/>
                  <a:pt x="27188" y="10062"/>
                  <a:pt x="27157" y="10094"/>
                </a:cubicBezTo>
                <a:cubicBezTo>
                  <a:pt x="27125" y="10094"/>
                  <a:pt x="27125" y="10125"/>
                  <a:pt x="27094" y="10156"/>
                </a:cubicBezTo>
                <a:cubicBezTo>
                  <a:pt x="26782" y="10125"/>
                  <a:pt x="26938" y="9875"/>
                  <a:pt x="26969" y="9750"/>
                </a:cubicBezTo>
                <a:lnTo>
                  <a:pt x="26969" y="9750"/>
                </a:lnTo>
                <a:cubicBezTo>
                  <a:pt x="27032" y="9562"/>
                  <a:pt x="27125" y="9406"/>
                  <a:pt x="27094" y="9219"/>
                </a:cubicBezTo>
                <a:cubicBezTo>
                  <a:pt x="27188" y="9250"/>
                  <a:pt x="27250" y="9219"/>
                  <a:pt x="27282" y="9125"/>
                </a:cubicBezTo>
                <a:close/>
                <a:moveTo>
                  <a:pt x="22282" y="8969"/>
                </a:moveTo>
                <a:cubicBezTo>
                  <a:pt x="22125" y="8969"/>
                  <a:pt x="22094" y="8781"/>
                  <a:pt x="21938" y="8781"/>
                </a:cubicBezTo>
                <a:cubicBezTo>
                  <a:pt x="21969" y="8969"/>
                  <a:pt x="22063" y="9062"/>
                  <a:pt x="22282" y="8969"/>
                </a:cubicBezTo>
                <a:close/>
                <a:moveTo>
                  <a:pt x="21938" y="8781"/>
                </a:moveTo>
                <a:cubicBezTo>
                  <a:pt x="22000" y="8719"/>
                  <a:pt x="22032" y="8687"/>
                  <a:pt x="22063" y="8625"/>
                </a:cubicBezTo>
                <a:cubicBezTo>
                  <a:pt x="22063" y="8594"/>
                  <a:pt x="22032" y="8562"/>
                  <a:pt x="22032" y="8531"/>
                </a:cubicBezTo>
                <a:cubicBezTo>
                  <a:pt x="22032" y="8562"/>
                  <a:pt x="22063" y="8594"/>
                  <a:pt x="22063" y="8625"/>
                </a:cubicBezTo>
                <a:cubicBezTo>
                  <a:pt x="22125" y="8625"/>
                  <a:pt x="22157" y="8656"/>
                  <a:pt x="22188" y="8656"/>
                </a:cubicBezTo>
                <a:cubicBezTo>
                  <a:pt x="22344" y="8750"/>
                  <a:pt x="22563" y="8687"/>
                  <a:pt x="22657" y="8875"/>
                </a:cubicBezTo>
                <a:cubicBezTo>
                  <a:pt x="22657" y="8875"/>
                  <a:pt x="22657" y="8875"/>
                  <a:pt x="22657" y="8875"/>
                </a:cubicBezTo>
                <a:cubicBezTo>
                  <a:pt x="22688" y="8906"/>
                  <a:pt x="22719" y="8937"/>
                  <a:pt x="22750" y="8969"/>
                </a:cubicBezTo>
                <a:cubicBezTo>
                  <a:pt x="22750" y="8969"/>
                  <a:pt x="22750" y="8969"/>
                  <a:pt x="22750" y="8969"/>
                </a:cubicBezTo>
                <a:cubicBezTo>
                  <a:pt x="22782" y="9000"/>
                  <a:pt x="22782" y="9000"/>
                  <a:pt x="22813" y="9000"/>
                </a:cubicBezTo>
                <a:cubicBezTo>
                  <a:pt x="22782" y="8969"/>
                  <a:pt x="22782" y="8969"/>
                  <a:pt x="22782" y="8937"/>
                </a:cubicBezTo>
                <a:cubicBezTo>
                  <a:pt x="22750" y="8906"/>
                  <a:pt x="22750" y="8875"/>
                  <a:pt x="22719" y="8812"/>
                </a:cubicBezTo>
                <a:cubicBezTo>
                  <a:pt x="22719" y="8750"/>
                  <a:pt x="22782" y="8781"/>
                  <a:pt x="22813" y="8750"/>
                </a:cubicBezTo>
                <a:cubicBezTo>
                  <a:pt x="22907" y="8750"/>
                  <a:pt x="23032" y="8875"/>
                  <a:pt x="23063" y="8750"/>
                </a:cubicBezTo>
                <a:cubicBezTo>
                  <a:pt x="23094" y="8656"/>
                  <a:pt x="23125" y="8531"/>
                  <a:pt x="22969" y="8469"/>
                </a:cubicBezTo>
                <a:cubicBezTo>
                  <a:pt x="23000" y="8406"/>
                  <a:pt x="23000" y="8375"/>
                  <a:pt x="23000" y="8344"/>
                </a:cubicBezTo>
                <a:cubicBezTo>
                  <a:pt x="22938" y="8281"/>
                  <a:pt x="22938" y="8219"/>
                  <a:pt x="22938" y="8187"/>
                </a:cubicBezTo>
                <a:cubicBezTo>
                  <a:pt x="22938" y="8219"/>
                  <a:pt x="22938" y="8281"/>
                  <a:pt x="23000" y="8344"/>
                </a:cubicBezTo>
                <a:cubicBezTo>
                  <a:pt x="23094" y="8344"/>
                  <a:pt x="23157" y="8375"/>
                  <a:pt x="23219" y="8469"/>
                </a:cubicBezTo>
                <a:cubicBezTo>
                  <a:pt x="23282" y="8594"/>
                  <a:pt x="23344" y="8500"/>
                  <a:pt x="23375" y="8437"/>
                </a:cubicBezTo>
                <a:cubicBezTo>
                  <a:pt x="23375" y="8594"/>
                  <a:pt x="23594" y="8562"/>
                  <a:pt x="23625" y="8719"/>
                </a:cubicBezTo>
                <a:cubicBezTo>
                  <a:pt x="23625" y="8719"/>
                  <a:pt x="23625" y="8719"/>
                  <a:pt x="23625" y="8719"/>
                </a:cubicBezTo>
                <a:cubicBezTo>
                  <a:pt x="23625" y="8750"/>
                  <a:pt x="23625" y="8812"/>
                  <a:pt x="23688" y="8812"/>
                </a:cubicBezTo>
                <a:cubicBezTo>
                  <a:pt x="23688" y="8812"/>
                  <a:pt x="23719" y="8781"/>
                  <a:pt x="23719" y="8781"/>
                </a:cubicBezTo>
                <a:cubicBezTo>
                  <a:pt x="23750" y="8750"/>
                  <a:pt x="23750" y="8719"/>
                  <a:pt x="23750" y="8687"/>
                </a:cubicBezTo>
                <a:cubicBezTo>
                  <a:pt x="23750" y="8687"/>
                  <a:pt x="23750" y="8687"/>
                  <a:pt x="23750" y="8687"/>
                </a:cubicBezTo>
                <a:cubicBezTo>
                  <a:pt x="23875" y="8656"/>
                  <a:pt x="24063" y="8781"/>
                  <a:pt x="24063" y="8500"/>
                </a:cubicBezTo>
                <a:cubicBezTo>
                  <a:pt x="24250" y="9000"/>
                  <a:pt x="23969" y="9656"/>
                  <a:pt x="23500" y="9812"/>
                </a:cubicBezTo>
                <a:cubicBezTo>
                  <a:pt x="23313" y="9594"/>
                  <a:pt x="23063" y="9500"/>
                  <a:pt x="22844" y="9375"/>
                </a:cubicBezTo>
                <a:lnTo>
                  <a:pt x="22844" y="9375"/>
                </a:lnTo>
                <a:cubicBezTo>
                  <a:pt x="22782" y="9437"/>
                  <a:pt x="22719" y="9469"/>
                  <a:pt x="22688" y="9469"/>
                </a:cubicBezTo>
                <a:cubicBezTo>
                  <a:pt x="22688" y="9469"/>
                  <a:pt x="22657" y="9469"/>
                  <a:pt x="22657" y="9437"/>
                </a:cubicBezTo>
                <a:cubicBezTo>
                  <a:pt x="22657" y="9469"/>
                  <a:pt x="22688" y="9469"/>
                  <a:pt x="22688" y="9469"/>
                </a:cubicBezTo>
                <a:cubicBezTo>
                  <a:pt x="22719" y="9469"/>
                  <a:pt x="22782" y="9437"/>
                  <a:pt x="22844" y="9375"/>
                </a:cubicBezTo>
                <a:cubicBezTo>
                  <a:pt x="22750" y="9250"/>
                  <a:pt x="22625" y="9281"/>
                  <a:pt x="22500" y="9281"/>
                </a:cubicBezTo>
                <a:cubicBezTo>
                  <a:pt x="22500" y="9281"/>
                  <a:pt x="22469" y="9281"/>
                  <a:pt x="22469" y="9250"/>
                </a:cubicBezTo>
                <a:cubicBezTo>
                  <a:pt x="22375" y="9125"/>
                  <a:pt x="22219" y="9125"/>
                  <a:pt x="22125" y="9156"/>
                </a:cubicBezTo>
                <a:cubicBezTo>
                  <a:pt x="21907" y="9250"/>
                  <a:pt x="21844" y="9031"/>
                  <a:pt x="21719" y="9000"/>
                </a:cubicBezTo>
                <a:cubicBezTo>
                  <a:pt x="21657" y="9000"/>
                  <a:pt x="21688" y="8937"/>
                  <a:pt x="21688" y="8906"/>
                </a:cubicBezTo>
                <a:cubicBezTo>
                  <a:pt x="21750" y="8781"/>
                  <a:pt x="21844" y="8781"/>
                  <a:pt x="21938" y="8781"/>
                </a:cubicBezTo>
                <a:close/>
                <a:moveTo>
                  <a:pt x="18438" y="1375"/>
                </a:moveTo>
                <a:cubicBezTo>
                  <a:pt x="18438" y="1469"/>
                  <a:pt x="18407" y="1562"/>
                  <a:pt x="18500" y="1656"/>
                </a:cubicBezTo>
                <a:cubicBezTo>
                  <a:pt x="18563" y="1531"/>
                  <a:pt x="18500" y="1469"/>
                  <a:pt x="18438" y="1375"/>
                </a:cubicBezTo>
                <a:close/>
                <a:moveTo>
                  <a:pt x="9500" y="16344"/>
                </a:moveTo>
                <a:cubicBezTo>
                  <a:pt x="9500" y="16312"/>
                  <a:pt x="9500" y="16312"/>
                  <a:pt x="9500" y="16312"/>
                </a:cubicBezTo>
                <a:cubicBezTo>
                  <a:pt x="9500" y="16312"/>
                  <a:pt x="9500" y="16312"/>
                  <a:pt x="9469" y="16312"/>
                </a:cubicBezTo>
                <a:cubicBezTo>
                  <a:pt x="9469" y="16281"/>
                  <a:pt x="9500" y="16250"/>
                  <a:pt x="9563" y="16250"/>
                </a:cubicBezTo>
                <a:cubicBezTo>
                  <a:pt x="9532" y="16281"/>
                  <a:pt x="9500" y="16312"/>
                  <a:pt x="9500" y="16344"/>
                </a:cubicBezTo>
                <a:close/>
                <a:moveTo>
                  <a:pt x="9469" y="16312"/>
                </a:moveTo>
                <a:cubicBezTo>
                  <a:pt x="9469" y="16312"/>
                  <a:pt x="9469" y="16344"/>
                  <a:pt x="9469" y="16344"/>
                </a:cubicBezTo>
                <a:cubicBezTo>
                  <a:pt x="9500" y="16344"/>
                  <a:pt x="9500" y="16344"/>
                  <a:pt x="9500" y="16344"/>
                </a:cubicBezTo>
                <a:cubicBezTo>
                  <a:pt x="9438" y="16562"/>
                  <a:pt x="9219" y="16594"/>
                  <a:pt x="9032" y="16687"/>
                </a:cubicBezTo>
                <a:lnTo>
                  <a:pt x="9032" y="16687"/>
                </a:lnTo>
                <a:cubicBezTo>
                  <a:pt x="9000" y="16625"/>
                  <a:pt x="8969" y="16562"/>
                  <a:pt x="8938" y="16531"/>
                </a:cubicBezTo>
                <a:cubicBezTo>
                  <a:pt x="8969" y="16500"/>
                  <a:pt x="9000" y="16469"/>
                  <a:pt x="9063" y="16437"/>
                </a:cubicBezTo>
                <a:cubicBezTo>
                  <a:pt x="9250" y="16531"/>
                  <a:pt x="9313" y="16281"/>
                  <a:pt x="9469" y="16312"/>
                </a:cubicBezTo>
                <a:close/>
                <a:moveTo>
                  <a:pt x="17375" y="25656"/>
                </a:moveTo>
                <a:cubicBezTo>
                  <a:pt x="17375" y="25656"/>
                  <a:pt x="17375" y="25656"/>
                  <a:pt x="17375" y="25656"/>
                </a:cubicBezTo>
                <a:cubicBezTo>
                  <a:pt x="17375" y="25656"/>
                  <a:pt x="17375" y="25656"/>
                  <a:pt x="17344" y="25656"/>
                </a:cubicBezTo>
                <a:cubicBezTo>
                  <a:pt x="17344" y="25656"/>
                  <a:pt x="17375" y="25656"/>
                  <a:pt x="17375" y="25656"/>
                </a:cubicBez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6"/>
                </a:lnTo>
                <a:lnTo>
                  <a:pt x="17344" y="25656"/>
                </a:lnTo>
                <a:lnTo>
                  <a:pt x="17344" y="25656"/>
                </a:lnTo>
                <a:close/>
                <a:moveTo>
                  <a:pt x="17344" y="25656"/>
                </a:moveTo>
                <a:lnTo>
                  <a:pt x="17344" y="25655"/>
                </a:lnTo>
                <a:lnTo>
                  <a:pt x="17344" y="25656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close/>
                <a:moveTo>
                  <a:pt x="17344" y="25655"/>
                </a:moveTo>
                <a:lnTo>
                  <a:pt x="17344" y="25655"/>
                </a:lnTo>
                <a:lnTo>
                  <a:pt x="17344" y="25654"/>
                </a:lnTo>
                <a:lnTo>
                  <a:pt x="17344" y="25655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4"/>
                </a:lnTo>
                <a:lnTo>
                  <a:pt x="17344" y="25654"/>
                </a:lnTo>
                <a:lnTo>
                  <a:pt x="17344" y="25654"/>
                </a:lnTo>
                <a:close/>
                <a:moveTo>
                  <a:pt x="17344" y="25654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lnTo>
                  <a:pt x="17344" y="25654"/>
                </a:lnTo>
                <a:close/>
                <a:moveTo>
                  <a:pt x="17344" y="25653"/>
                </a:move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3"/>
                </a:lnTo>
                <a:lnTo>
                  <a:pt x="17344" y="25653"/>
                </a:lnTo>
                <a:lnTo>
                  <a:pt x="17344" y="25653"/>
                </a:lnTo>
                <a:close/>
                <a:moveTo>
                  <a:pt x="17344" y="25653"/>
                </a:moveTo>
                <a:lnTo>
                  <a:pt x="17344" y="25652"/>
                </a:lnTo>
                <a:lnTo>
                  <a:pt x="17344" y="25652"/>
                </a:lnTo>
                <a:lnTo>
                  <a:pt x="17344" y="25652"/>
                </a:lnTo>
                <a:lnTo>
                  <a:pt x="17344" y="25653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2"/>
                </a:lnTo>
                <a:close/>
                <a:moveTo>
                  <a:pt x="17344" y="25652"/>
                </a:moveTo>
                <a:lnTo>
                  <a:pt x="17344" y="25652"/>
                </a:lnTo>
                <a:lnTo>
                  <a:pt x="17344" y="25651"/>
                </a:lnTo>
                <a:lnTo>
                  <a:pt x="17344" y="25652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lnTo>
                  <a:pt x="17344" y="25651"/>
                </a:lnTo>
                <a:close/>
                <a:moveTo>
                  <a:pt x="17344" y="25651"/>
                </a:moveTo>
                <a:lnTo>
                  <a:pt x="17344" y="25650"/>
                </a:lnTo>
                <a:lnTo>
                  <a:pt x="17344" y="25650"/>
                </a:lnTo>
                <a:lnTo>
                  <a:pt x="17344" y="25650"/>
                </a:lnTo>
                <a:lnTo>
                  <a:pt x="17344" y="25651"/>
                </a:lnTo>
                <a:close/>
                <a:moveTo>
                  <a:pt x="17344" y="25650"/>
                </a:moveTo>
                <a:lnTo>
                  <a:pt x="17344" y="25650"/>
                </a:lnTo>
                <a:close/>
                <a:moveTo>
                  <a:pt x="17344" y="25650"/>
                </a:moveTo>
                <a:lnTo>
                  <a:pt x="17344" y="25650"/>
                </a:lnTo>
                <a:lnTo>
                  <a:pt x="17344" y="25649"/>
                </a:lnTo>
                <a:lnTo>
                  <a:pt x="17344" y="25649"/>
                </a:lnTo>
                <a:lnTo>
                  <a:pt x="17344" y="25650"/>
                </a:lnTo>
                <a:close/>
                <a:moveTo>
                  <a:pt x="17344" y="25649"/>
                </a:moveTo>
                <a:lnTo>
                  <a:pt x="17344" y="25649"/>
                </a:lnTo>
                <a:lnTo>
                  <a:pt x="17344" y="25649"/>
                </a:lnTo>
                <a:lnTo>
                  <a:pt x="17344" y="25649"/>
                </a:lnTo>
                <a:close/>
                <a:moveTo>
                  <a:pt x="17344" y="25649"/>
                </a:move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8"/>
                </a:lnTo>
                <a:lnTo>
                  <a:pt x="17344" y="25649"/>
                </a:lnTo>
                <a:close/>
                <a:moveTo>
                  <a:pt x="17344" y="25648"/>
                </a:moveTo>
                <a:lnTo>
                  <a:pt x="17344" y="25648"/>
                </a:lnTo>
                <a:lnTo>
                  <a:pt x="17344" y="25647"/>
                </a:lnTo>
                <a:lnTo>
                  <a:pt x="17344" y="25648"/>
                </a:lnTo>
                <a:close/>
                <a:moveTo>
                  <a:pt x="17344" y="25647"/>
                </a:move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lnTo>
                  <a:pt x="17344" y="25647"/>
                </a:lnTo>
                <a:close/>
                <a:moveTo>
                  <a:pt x="17344" y="25647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6"/>
                </a:lnTo>
                <a:lnTo>
                  <a:pt x="17344" y="25647"/>
                </a:lnTo>
                <a:close/>
                <a:moveTo>
                  <a:pt x="17344" y="25646"/>
                </a:moveTo>
                <a:lnTo>
                  <a:pt x="17344" y="25646"/>
                </a:lnTo>
                <a:lnTo>
                  <a:pt x="17344" y="25646"/>
                </a:lnTo>
                <a:lnTo>
                  <a:pt x="17344" y="25645"/>
                </a:lnTo>
                <a:lnTo>
                  <a:pt x="17344" y="25646"/>
                </a:lnTo>
                <a:close/>
                <a:moveTo>
                  <a:pt x="17344" y="25645"/>
                </a:move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lnTo>
                  <a:pt x="17344" y="25645"/>
                </a:lnTo>
                <a:close/>
                <a:moveTo>
                  <a:pt x="17344" y="25645"/>
                </a:moveTo>
                <a:lnTo>
                  <a:pt x="17344" y="25644"/>
                </a:lnTo>
                <a:lnTo>
                  <a:pt x="17344" y="25644"/>
                </a:lnTo>
                <a:lnTo>
                  <a:pt x="17344" y="25644"/>
                </a:lnTo>
                <a:lnTo>
                  <a:pt x="17344" y="25645"/>
                </a:lnTo>
                <a:close/>
                <a:moveTo>
                  <a:pt x="17344" y="25644"/>
                </a:moveTo>
                <a:lnTo>
                  <a:pt x="17344" y="25644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3"/>
                </a:lnTo>
                <a:lnTo>
                  <a:pt x="17344" y="25644"/>
                </a:lnTo>
                <a:close/>
                <a:moveTo>
                  <a:pt x="17344" y="25643"/>
                </a:moveTo>
                <a:lnTo>
                  <a:pt x="17344" y="25643"/>
                </a:lnTo>
                <a:lnTo>
                  <a:pt x="17344" y="25643"/>
                </a:lnTo>
                <a:lnTo>
                  <a:pt x="17344" y="25642"/>
                </a:lnTo>
                <a:lnTo>
                  <a:pt x="17344" y="25643"/>
                </a:lnTo>
                <a:close/>
                <a:moveTo>
                  <a:pt x="17344" y="25642"/>
                </a:moveTo>
                <a:lnTo>
                  <a:pt x="17344" y="25642"/>
                </a:lnTo>
                <a:lnTo>
                  <a:pt x="17344" y="25642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1"/>
                </a:lnTo>
                <a:lnTo>
                  <a:pt x="17344" y="25642"/>
                </a:lnTo>
                <a:close/>
                <a:moveTo>
                  <a:pt x="17344" y="25641"/>
                </a:moveTo>
                <a:lnTo>
                  <a:pt x="17344" y="25641"/>
                </a:lnTo>
                <a:lnTo>
                  <a:pt x="17344" y="25641"/>
                </a:lnTo>
                <a:lnTo>
                  <a:pt x="17344" y="25640"/>
                </a:lnTo>
                <a:lnTo>
                  <a:pt x="17344" y="25641"/>
                </a:lnTo>
                <a:close/>
                <a:moveTo>
                  <a:pt x="17344" y="25640"/>
                </a:moveTo>
                <a:lnTo>
                  <a:pt x="17344" y="25640"/>
                </a:lnTo>
                <a:lnTo>
                  <a:pt x="17344" y="25640"/>
                </a:lnTo>
                <a:lnTo>
                  <a:pt x="17344" y="25639"/>
                </a:lnTo>
                <a:lnTo>
                  <a:pt x="17344" y="25640"/>
                </a:lnTo>
                <a:close/>
                <a:moveTo>
                  <a:pt x="17344" y="25639"/>
                </a:moveTo>
                <a:lnTo>
                  <a:pt x="17344" y="25639"/>
                </a:lnTo>
                <a:lnTo>
                  <a:pt x="17344" y="25639"/>
                </a:lnTo>
                <a:lnTo>
                  <a:pt x="17344" y="25638"/>
                </a:lnTo>
                <a:lnTo>
                  <a:pt x="17344" y="25639"/>
                </a:lnTo>
                <a:close/>
                <a:moveTo>
                  <a:pt x="17344" y="25638"/>
                </a:moveTo>
                <a:lnTo>
                  <a:pt x="17344" y="25638"/>
                </a:lnTo>
                <a:lnTo>
                  <a:pt x="17344" y="25638"/>
                </a:lnTo>
                <a:lnTo>
                  <a:pt x="17344" y="25638"/>
                </a:lnTo>
                <a:lnTo>
                  <a:pt x="17344" y="25637"/>
                </a:lnTo>
                <a:lnTo>
                  <a:pt x="17344" y="25638"/>
                </a:lnTo>
                <a:lnTo>
                  <a:pt x="17344" y="25638"/>
                </a:lnTo>
                <a:close/>
                <a:moveTo>
                  <a:pt x="17344" y="25637"/>
                </a:moveTo>
                <a:lnTo>
                  <a:pt x="17344" y="25637"/>
                </a:lnTo>
                <a:lnTo>
                  <a:pt x="17344" y="25637"/>
                </a:lnTo>
                <a:lnTo>
                  <a:pt x="17344" y="25637"/>
                </a:lnTo>
                <a:lnTo>
                  <a:pt x="17344" y="25636"/>
                </a:lnTo>
                <a:lnTo>
                  <a:pt x="17344" y="25637"/>
                </a:lnTo>
                <a:close/>
                <a:moveTo>
                  <a:pt x="17344" y="25636"/>
                </a:moveTo>
                <a:lnTo>
                  <a:pt x="17344" y="25636"/>
                </a:lnTo>
                <a:lnTo>
                  <a:pt x="17344" y="25636"/>
                </a:lnTo>
                <a:lnTo>
                  <a:pt x="17344" y="25636"/>
                </a:lnTo>
                <a:lnTo>
                  <a:pt x="17344" y="25635"/>
                </a:lnTo>
                <a:lnTo>
                  <a:pt x="17344" y="25636"/>
                </a:lnTo>
                <a:lnTo>
                  <a:pt x="17344" y="25636"/>
                </a:lnTo>
                <a:close/>
                <a:moveTo>
                  <a:pt x="17344" y="25635"/>
                </a:moveTo>
                <a:lnTo>
                  <a:pt x="17344" y="25635"/>
                </a:lnTo>
                <a:lnTo>
                  <a:pt x="17344" y="25635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4"/>
                </a:lnTo>
                <a:lnTo>
                  <a:pt x="17344" y="25635"/>
                </a:lnTo>
                <a:close/>
                <a:moveTo>
                  <a:pt x="17344" y="25634"/>
                </a:moveTo>
                <a:lnTo>
                  <a:pt x="17344" y="25634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3"/>
                </a:lnTo>
                <a:lnTo>
                  <a:pt x="17344" y="25634"/>
                </a:lnTo>
                <a:close/>
                <a:moveTo>
                  <a:pt x="17344" y="25633"/>
                </a:moveTo>
                <a:lnTo>
                  <a:pt x="17344" y="25633"/>
                </a:lnTo>
                <a:lnTo>
                  <a:pt x="17344" y="25633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2"/>
                </a:lnTo>
                <a:lnTo>
                  <a:pt x="17344" y="25633"/>
                </a:lnTo>
                <a:close/>
                <a:moveTo>
                  <a:pt x="17344" y="25632"/>
                </a:moveTo>
                <a:lnTo>
                  <a:pt x="17344" y="25632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1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1"/>
                </a:lnTo>
                <a:lnTo>
                  <a:pt x="17344" y="25632"/>
                </a:lnTo>
                <a:close/>
                <a:moveTo>
                  <a:pt x="17344" y="25630"/>
                </a:move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30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29"/>
                </a:lnTo>
                <a:lnTo>
                  <a:pt x="17344" y="25630"/>
                </a:lnTo>
                <a:lnTo>
                  <a:pt x="17344" y="25630"/>
                </a:lnTo>
                <a:close/>
                <a:moveTo>
                  <a:pt x="17344" y="25629"/>
                </a:moveTo>
                <a:lnTo>
                  <a:pt x="17344" y="25629"/>
                </a:lnTo>
                <a:lnTo>
                  <a:pt x="17344" y="25629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8"/>
                </a:lnTo>
                <a:lnTo>
                  <a:pt x="17344" y="25629"/>
                </a:lnTo>
                <a:close/>
                <a:moveTo>
                  <a:pt x="17344" y="25628"/>
                </a:moveTo>
                <a:lnTo>
                  <a:pt x="17344" y="25628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7"/>
                </a:lnTo>
                <a:lnTo>
                  <a:pt x="17344" y="25628"/>
                </a:lnTo>
                <a:close/>
                <a:moveTo>
                  <a:pt x="17344" y="25626"/>
                </a:move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6"/>
                </a:lnTo>
                <a:lnTo>
                  <a:pt x="17344" y="25626"/>
                </a:lnTo>
                <a:lnTo>
                  <a:pt x="17344" y="25626"/>
                </a:lnTo>
                <a:close/>
                <a:moveTo>
                  <a:pt x="17344" y="25625"/>
                </a:move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lnTo>
                  <a:pt x="17344" y="25625"/>
                </a:lnTo>
                <a:close/>
                <a:moveTo>
                  <a:pt x="17344" y="25625"/>
                </a:moveTo>
                <a:cubicBezTo>
                  <a:pt x="17344" y="25625"/>
                  <a:pt x="17344" y="25625"/>
                  <a:pt x="17313" y="25625"/>
                </a:cubicBezTo>
                <a:lnTo>
                  <a:pt x="17313" y="25625"/>
                </a:lnTo>
                <a:cubicBezTo>
                  <a:pt x="17344" y="25625"/>
                  <a:pt x="17344" y="25625"/>
                  <a:pt x="17344" y="25625"/>
                </a:cubicBezTo>
                <a:close/>
                <a:moveTo>
                  <a:pt x="17250" y="25500"/>
                </a:moveTo>
                <a:lnTo>
                  <a:pt x="17250" y="25469"/>
                </a:lnTo>
                <a:lnTo>
                  <a:pt x="17250" y="25469"/>
                </a:lnTo>
                <a:lnTo>
                  <a:pt x="17250" y="25500"/>
                </a:lnTo>
                <a:close/>
                <a:moveTo>
                  <a:pt x="16625" y="24937"/>
                </a:moveTo>
                <a:cubicBezTo>
                  <a:pt x="16500" y="24781"/>
                  <a:pt x="16438" y="24594"/>
                  <a:pt x="16219" y="24406"/>
                </a:cubicBezTo>
                <a:cubicBezTo>
                  <a:pt x="16282" y="24687"/>
                  <a:pt x="16407" y="24844"/>
                  <a:pt x="16563" y="24969"/>
                </a:cubicBezTo>
                <a:cubicBezTo>
                  <a:pt x="16563" y="24969"/>
                  <a:pt x="16563" y="24969"/>
                  <a:pt x="16563" y="24969"/>
                </a:cubicBezTo>
                <a:cubicBezTo>
                  <a:pt x="16594" y="24969"/>
                  <a:pt x="16625" y="24969"/>
                  <a:pt x="16657" y="24969"/>
                </a:cubicBezTo>
                <a:cubicBezTo>
                  <a:pt x="16625" y="24969"/>
                  <a:pt x="16625" y="24937"/>
                  <a:pt x="16625" y="24937"/>
                </a:cubicBezTo>
                <a:close/>
                <a:moveTo>
                  <a:pt x="19282" y="24750"/>
                </a:moveTo>
                <a:cubicBezTo>
                  <a:pt x="19125" y="24812"/>
                  <a:pt x="18969" y="24906"/>
                  <a:pt x="18813" y="25094"/>
                </a:cubicBezTo>
                <a:cubicBezTo>
                  <a:pt x="19063" y="25031"/>
                  <a:pt x="19250" y="25000"/>
                  <a:pt x="19313" y="24781"/>
                </a:cubicBezTo>
                <a:cubicBezTo>
                  <a:pt x="19313" y="24781"/>
                  <a:pt x="19313" y="24781"/>
                  <a:pt x="19313" y="24781"/>
                </a:cubicBezTo>
                <a:cubicBezTo>
                  <a:pt x="19313" y="24750"/>
                  <a:pt x="19344" y="24750"/>
                  <a:pt x="19344" y="24719"/>
                </a:cubicBezTo>
                <a:cubicBezTo>
                  <a:pt x="19313" y="24719"/>
                  <a:pt x="19313" y="24750"/>
                  <a:pt x="19282" y="24750"/>
                </a:cubicBezTo>
                <a:close/>
                <a:moveTo>
                  <a:pt x="22000" y="24687"/>
                </a:moveTo>
                <a:cubicBezTo>
                  <a:pt x="21969" y="24656"/>
                  <a:pt x="21969" y="24625"/>
                  <a:pt x="21969" y="24625"/>
                </a:cubicBezTo>
                <a:cubicBezTo>
                  <a:pt x="21907" y="24406"/>
                  <a:pt x="22000" y="24187"/>
                  <a:pt x="22063" y="24000"/>
                </a:cubicBezTo>
                <a:cubicBezTo>
                  <a:pt x="22125" y="23781"/>
                  <a:pt x="22125" y="23531"/>
                  <a:pt x="22438" y="23812"/>
                </a:cubicBezTo>
                <a:cubicBezTo>
                  <a:pt x="22469" y="23844"/>
                  <a:pt x="22500" y="23750"/>
                  <a:pt x="22532" y="23719"/>
                </a:cubicBezTo>
                <a:cubicBezTo>
                  <a:pt x="22532" y="23719"/>
                  <a:pt x="22532" y="23719"/>
                  <a:pt x="22532" y="23719"/>
                </a:cubicBezTo>
                <a:cubicBezTo>
                  <a:pt x="22594" y="23687"/>
                  <a:pt x="22625" y="23656"/>
                  <a:pt x="22657" y="23562"/>
                </a:cubicBezTo>
                <a:cubicBezTo>
                  <a:pt x="22657" y="23562"/>
                  <a:pt x="22657" y="23562"/>
                  <a:pt x="22657" y="23562"/>
                </a:cubicBezTo>
                <a:cubicBezTo>
                  <a:pt x="22657" y="23562"/>
                  <a:pt x="22688" y="23531"/>
                  <a:pt x="22688" y="23531"/>
                </a:cubicBezTo>
                <a:cubicBezTo>
                  <a:pt x="22657" y="23500"/>
                  <a:pt x="22625" y="23531"/>
                  <a:pt x="22625" y="23531"/>
                </a:cubicBezTo>
                <a:lnTo>
                  <a:pt x="22625" y="23531"/>
                </a:lnTo>
                <a:cubicBezTo>
                  <a:pt x="22563" y="23562"/>
                  <a:pt x="22500" y="23594"/>
                  <a:pt x="22500" y="23656"/>
                </a:cubicBezTo>
                <a:cubicBezTo>
                  <a:pt x="22407" y="23531"/>
                  <a:pt x="22094" y="23531"/>
                  <a:pt x="22219" y="23250"/>
                </a:cubicBezTo>
                <a:cubicBezTo>
                  <a:pt x="22188" y="23156"/>
                  <a:pt x="22438" y="22969"/>
                  <a:pt x="22094" y="23000"/>
                </a:cubicBezTo>
                <a:cubicBezTo>
                  <a:pt x="21969" y="22937"/>
                  <a:pt x="21969" y="22812"/>
                  <a:pt x="21938" y="22687"/>
                </a:cubicBezTo>
                <a:cubicBezTo>
                  <a:pt x="21938" y="22594"/>
                  <a:pt x="22000" y="22531"/>
                  <a:pt x="22063" y="22594"/>
                </a:cubicBezTo>
                <a:cubicBezTo>
                  <a:pt x="22157" y="22687"/>
                  <a:pt x="22188" y="22687"/>
                  <a:pt x="22250" y="22625"/>
                </a:cubicBezTo>
                <a:cubicBezTo>
                  <a:pt x="22313" y="22500"/>
                  <a:pt x="22250" y="22500"/>
                  <a:pt x="22157" y="22469"/>
                </a:cubicBezTo>
                <a:cubicBezTo>
                  <a:pt x="21969" y="22406"/>
                  <a:pt x="21782" y="22344"/>
                  <a:pt x="21594" y="22312"/>
                </a:cubicBezTo>
                <a:cubicBezTo>
                  <a:pt x="21625" y="22219"/>
                  <a:pt x="21563" y="22187"/>
                  <a:pt x="21500" y="22219"/>
                </a:cubicBezTo>
                <a:cubicBezTo>
                  <a:pt x="21500" y="22219"/>
                  <a:pt x="21500" y="22219"/>
                  <a:pt x="21500" y="22187"/>
                </a:cubicBezTo>
                <a:cubicBezTo>
                  <a:pt x="21469" y="22187"/>
                  <a:pt x="21469" y="22187"/>
                  <a:pt x="21469" y="22187"/>
                </a:cubicBezTo>
                <a:cubicBezTo>
                  <a:pt x="21563" y="22062"/>
                  <a:pt x="21657" y="21937"/>
                  <a:pt x="21719" y="21812"/>
                </a:cubicBezTo>
                <a:cubicBezTo>
                  <a:pt x="21719" y="21812"/>
                  <a:pt x="21719" y="21812"/>
                  <a:pt x="21719" y="21812"/>
                </a:cubicBezTo>
                <a:lnTo>
                  <a:pt x="21719" y="21812"/>
                </a:lnTo>
                <a:cubicBezTo>
                  <a:pt x="21750" y="21781"/>
                  <a:pt x="21750" y="21750"/>
                  <a:pt x="21782" y="21687"/>
                </a:cubicBezTo>
                <a:cubicBezTo>
                  <a:pt x="21782" y="21687"/>
                  <a:pt x="21782" y="21687"/>
                  <a:pt x="21782" y="21687"/>
                </a:cubicBezTo>
                <a:cubicBezTo>
                  <a:pt x="21782" y="21687"/>
                  <a:pt x="21813" y="21656"/>
                  <a:pt x="21813" y="21656"/>
                </a:cubicBezTo>
                <a:cubicBezTo>
                  <a:pt x="21782" y="21625"/>
                  <a:pt x="21750" y="21625"/>
                  <a:pt x="21719" y="21656"/>
                </a:cubicBezTo>
                <a:cubicBezTo>
                  <a:pt x="21719" y="21687"/>
                  <a:pt x="21688" y="21719"/>
                  <a:pt x="21657" y="21781"/>
                </a:cubicBezTo>
                <a:cubicBezTo>
                  <a:pt x="21438" y="21687"/>
                  <a:pt x="21469" y="21906"/>
                  <a:pt x="21407" y="22000"/>
                </a:cubicBezTo>
                <a:cubicBezTo>
                  <a:pt x="21344" y="22062"/>
                  <a:pt x="21344" y="22187"/>
                  <a:pt x="21469" y="22187"/>
                </a:cubicBezTo>
                <a:cubicBezTo>
                  <a:pt x="21469" y="22187"/>
                  <a:pt x="21469" y="22219"/>
                  <a:pt x="21469" y="22219"/>
                </a:cubicBezTo>
                <a:cubicBezTo>
                  <a:pt x="21469" y="22219"/>
                  <a:pt x="21469" y="22219"/>
                  <a:pt x="21500" y="22219"/>
                </a:cubicBezTo>
                <a:cubicBezTo>
                  <a:pt x="21500" y="22312"/>
                  <a:pt x="21407" y="22406"/>
                  <a:pt x="21344" y="22500"/>
                </a:cubicBezTo>
                <a:cubicBezTo>
                  <a:pt x="21282" y="22531"/>
                  <a:pt x="21219" y="22531"/>
                  <a:pt x="21250" y="22625"/>
                </a:cubicBezTo>
                <a:cubicBezTo>
                  <a:pt x="21282" y="22687"/>
                  <a:pt x="21344" y="22687"/>
                  <a:pt x="21407" y="22656"/>
                </a:cubicBezTo>
                <a:cubicBezTo>
                  <a:pt x="21563" y="22562"/>
                  <a:pt x="21657" y="22687"/>
                  <a:pt x="21750" y="22750"/>
                </a:cubicBezTo>
                <a:cubicBezTo>
                  <a:pt x="21750" y="22719"/>
                  <a:pt x="21782" y="22719"/>
                  <a:pt x="21782" y="22687"/>
                </a:cubicBezTo>
                <a:cubicBezTo>
                  <a:pt x="21844" y="22687"/>
                  <a:pt x="21875" y="22687"/>
                  <a:pt x="21907" y="22687"/>
                </a:cubicBezTo>
                <a:cubicBezTo>
                  <a:pt x="21875" y="22750"/>
                  <a:pt x="21844" y="22750"/>
                  <a:pt x="21782" y="22687"/>
                </a:cubicBezTo>
                <a:cubicBezTo>
                  <a:pt x="21782" y="22719"/>
                  <a:pt x="21750" y="22719"/>
                  <a:pt x="21750" y="22750"/>
                </a:cubicBezTo>
                <a:cubicBezTo>
                  <a:pt x="21750" y="22781"/>
                  <a:pt x="21750" y="22844"/>
                  <a:pt x="21750" y="22875"/>
                </a:cubicBezTo>
                <a:cubicBezTo>
                  <a:pt x="21563" y="22969"/>
                  <a:pt x="21407" y="23281"/>
                  <a:pt x="21219" y="22875"/>
                </a:cubicBezTo>
                <a:cubicBezTo>
                  <a:pt x="21188" y="22781"/>
                  <a:pt x="21094" y="22844"/>
                  <a:pt x="21000" y="22812"/>
                </a:cubicBezTo>
                <a:cubicBezTo>
                  <a:pt x="20875" y="22781"/>
                  <a:pt x="20750" y="22719"/>
                  <a:pt x="20625" y="22812"/>
                </a:cubicBezTo>
                <a:cubicBezTo>
                  <a:pt x="20594" y="22875"/>
                  <a:pt x="20563" y="22937"/>
                  <a:pt x="20500" y="22812"/>
                </a:cubicBezTo>
                <a:cubicBezTo>
                  <a:pt x="20469" y="22781"/>
                  <a:pt x="20438" y="22719"/>
                  <a:pt x="20500" y="22656"/>
                </a:cubicBezTo>
                <a:cubicBezTo>
                  <a:pt x="20657" y="22469"/>
                  <a:pt x="20875" y="22312"/>
                  <a:pt x="21157" y="22219"/>
                </a:cubicBezTo>
                <a:lnTo>
                  <a:pt x="21157" y="22219"/>
                </a:lnTo>
                <a:cubicBezTo>
                  <a:pt x="21063" y="22437"/>
                  <a:pt x="20938" y="22594"/>
                  <a:pt x="21000" y="22812"/>
                </a:cubicBezTo>
                <a:cubicBezTo>
                  <a:pt x="20969" y="23094"/>
                  <a:pt x="21094" y="23344"/>
                  <a:pt x="21125" y="23625"/>
                </a:cubicBezTo>
                <a:cubicBezTo>
                  <a:pt x="21125" y="23719"/>
                  <a:pt x="20938" y="23875"/>
                  <a:pt x="21125" y="23906"/>
                </a:cubicBezTo>
                <a:cubicBezTo>
                  <a:pt x="21407" y="24031"/>
                  <a:pt x="21375" y="24250"/>
                  <a:pt x="21344" y="24469"/>
                </a:cubicBezTo>
                <a:cubicBezTo>
                  <a:pt x="21313" y="24719"/>
                  <a:pt x="21500" y="24687"/>
                  <a:pt x="21657" y="24750"/>
                </a:cubicBezTo>
                <a:cubicBezTo>
                  <a:pt x="21782" y="24781"/>
                  <a:pt x="21844" y="24719"/>
                  <a:pt x="21813" y="24594"/>
                </a:cubicBezTo>
                <a:cubicBezTo>
                  <a:pt x="21719" y="24531"/>
                  <a:pt x="21782" y="24375"/>
                  <a:pt x="21657" y="24344"/>
                </a:cubicBezTo>
                <a:cubicBezTo>
                  <a:pt x="21594" y="24312"/>
                  <a:pt x="21563" y="24250"/>
                  <a:pt x="21594" y="24187"/>
                </a:cubicBezTo>
                <a:cubicBezTo>
                  <a:pt x="21625" y="24125"/>
                  <a:pt x="21688" y="24125"/>
                  <a:pt x="21719" y="24156"/>
                </a:cubicBezTo>
                <a:cubicBezTo>
                  <a:pt x="21813" y="24187"/>
                  <a:pt x="21875" y="24219"/>
                  <a:pt x="21844" y="24312"/>
                </a:cubicBezTo>
                <a:cubicBezTo>
                  <a:pt x="21844" y="24375"/>
                  <a:pt x="21844" y="24469"/>
                  <a:pt x="21813" y="24562"/>
                </a:cubicBezTo>
                <a:cubicBezTo>
                  <a:pt x="21875" y="24594"/>
                  <a:pt x="21907" y="24625"/>
                  <a:pt x="21938" y="24656"/>
                </a:cubicBezTo>
                <a:cubicBezTo>
                  <a:pt x="21938" y="24656"/>
                  <a:pt x="21969" y="24687"/>
                  <a:pt x="22000" y="24687"/>
                </a:cubicBezTo>
                <a:close/>
                <a:moveTo>
                  <a:pt x="23750" y="24531"/>
                </a:moveTo>
                <a:cubicBezTo>
                  <a:pt x="23688" y="24562"/>
                  <a:pt x="23719" y="24562"/>
                  <a:pt x="23750" y="24594"/>
                </a:cubicBezTo>
                <a:cubicBezTo>
                  <a:pt x="23688" y="24937"/>
                  <a:pt x="24000" y="24844"/>
                  <a:pt x="24157" y="24906"/>
                </a:cubicBezTo>
                <a:cubicBezTo>
                  <a:pt x="24032" y="24812"/>
                  <a:pt x="23969" y="24594"/>
                  <a:pt x="23782" y="24562"/>
                </a:cubicBezTo>
                <a:cubicBezTo>
                  <a:pt x="23750" y="24562"/>
                  <a:pt x="23750" y="24531"/>
                  <a:pt x="23750" y="24531"/>
                </a:cubicBezTo>
                <a:close/>
                <a:moveTo>
                  <a:pt x="17719" y="12781"/>
                </a:moveTo>
                <a:lnTo>
                  <a:pt x="17688" y="12750"/>
                </a:lnTo>
                <a:lnTo>
                  <a:pt x="17688" y="12781"/>
                </a:lnTo>
                <a:lnTo>
                  <a:pt x="17719" y="12781"/>
                </a:lnTo>
                <a:close/>
                <a:moveTo>
                  <a:pt x="16469" y="12812"/>
                </a:moveTo>
                <a:cubicBezTo>
                  <a:pt x="16438" y="12812"/>
                  <a:pt x="16407" y="12812"/>
                  <a:pt x="16407" y="12875"/>
                </a:cubicBezTo>
                <a:cubicBezTo>
                  <a:pt x="16313" y="12906"/>
                  <a:pt x="16188" y="12906"/>
                  <a:pt x="16094" y="12937"/>
                </a:cubicBezTo>
                <a:cubicBezTo>
                  <a:pt x="16032" y="12844"/>
                  <a:pt x="16219" y="12781"/>
                  <a:pt x="16094" y="12687"/>
                </a:cubicBezTo>
                <a:cubicBezTo>
                  <a:pt x="16032" y="12625"/>
                  <a:pt x="15969" y="12719"/>
                  <a:pt x="15907" y="12781"/>
                </a:cubicBezTo>
                <a:cubicBezTo>
                  <a:pt x="15813" y="12812"/>
                  <a:pt x="15719" y="12750"/>
                  <a:pt x="15657" y="12844"/>
                </a:cubicBezTo>
                <a:cubicBezTo>
                  <a:pt x="15500" y="12875"/>
                  <a:pt x="15407" y="13000"/>
                  <a:pt x="15250" y="13000"/>
                </a:cubicBezTo>
                <a:cubicBezTo>
                  <a:pt x="15282" y="12875"/>
                  <a:pt x="15407" y="12812"/>
                  <a:pt x="15313" y="12656"/>
                </a:cubicBezTo>
                <a:cubicBezTo>
                  <a:pt x="15125" y="12906"/>
                  <a:pt x="14875" y="13031"/>
                  <a:pt x="14657" y="13187"/>
                </a:cubicBezTo>
                <a:cubicBezTo>
                  <a:pt x="14594" y="13187"/>
                  <a:pt x="14532" y="13156"/>
                  <a:pt x="14532" y="13250"/>
                </a:cubicBezTo>
                <a:cubicBezTo>
                  <a:pt x="14438" y="13219"/>
                  <a:pt x="14344" y="13281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282" y="13187"/>
                  <a:pt x="14282" y="13187"/>
                  <a:pt x="14282" y="13187"/>
                </a:cubicBezTo>
                <a:cubicBezTo>
                  <a:pt x="14469" y="13062"/>
                  <a:pt x="14532" y="12844"/>
                  <a:pt x="14750" y="12750"/>
                </a:cubicBezTo>
                <a:cubicBezTo>
                  <a:pt x="15000" y="12594"/>
                  <a:pt x="15250" y="12469"/>
                  <a:pt x="15500" y="12312"/>
                </a:cubicBezTo>
                <a:cubicBezTo>
                  <a:pt x="15750" y="12250"/>
                  <a:pt x="16000" y="12187"/>
                  <a:pt x="16282" y="12125"/>
                </a:cubicBezTo>
                <a:cubicBezTo>
                  <a:pt x="16157" y="12000"/>
                  <a:pt x="15719" y="12281"/>
                  <a:pt x="15969" y="11844"/>
                </a:cubicBezTo>
                <a:cubicBezTo>
                  <a:pt x="16157" y="11844"/>
                  <a:pt x="16219" y="11594"/>
                  <a:pt x="16407" y="11625"/>
                </a:cubicBezTo>
                <a:cubicBezTo>
                  <a:pt x="16407" y="11625"/>
                  <a:pt x="16407" y="11625"/>
                  <a:pt x="16407" y="11625"/>
                </a:cubicBezTo>
                <a:cubicBezTo>
                  <a:pt x="16532" y="11719"/>
                  <a:pt x="16657" y="11656"/>
                  <a:pt x="16782" y="11625"/>
                </a:cubicBezTo>
                <a:cubicBezTo>
                  <a:pt x="17032" y="11562"/>
                  <a:pt x="17250" y="11437"/>
                  <a:pt x="17500" y="11656"/>
                </a:cubicBezTo>
                <a:cubicBezTo>
                  <a:pt x="17407" y="11719"/>
                  <a:pt x="17313" y="11781"/>
                  <a:pt x="17219" y="11844"/>
                </a:cubicBezTo>
                <a:cubicBezTo>
                  <a:pt x="17125" y="11937"/>
                  <a:pt x="17063" y="12062"/>
                  <a:pt x="17282" y="12125"/>
                </a:cubicBezTo>
                <a:cubicBezTo>
                  <a:pt x="17282" y="12125"/>
                  <a:pt x="17282" y="12125"/>
                  <a:pt x="17282" y="12125"/>
                </a:cubicBezTo>
                <a:cubicBezTo>
                  <a:pt x="17407" y="12250"/>
                  <a:pt x="17625" y="12250"/>
                  <a:pt x="17688" y="12125"/>
                </a:cubicBezTo>
                <a:cubicBezTo>
                  <a:pt x="17844" y="11812"/>
                  <a:pt x="18094" y="11875"/>
                  <a:pt x="18375" y="11906"/>
                </a:cubicBezTo>
                <a:cubicBezTo>
                  <a:pt x="18000" y="11969"/>
                  <a:pt x="17813" y="12312"/>
                  <a:pt x="17469" y="12469"/>
                </a:cubicBezTo>
                <a:cubicBezTo>
                  <a:pt x="17657" y="12469"/>
                  <a:pt x="17813" y="12469"/>
                  <a:pt x="17844" y="12656"/>
                </a:cubicBezTo>
                <a:cubicBezTo>
                  <a:pt x="17844" y="12656"/>
                  <a:pt x="17844" y="12656"/>
                  <a:pt x="17844" y="12656"/>
                </a:cubicBezTo>
                <a:cubicBezTo>
                  <a:pt x="17844" y="12687"/>
                  <a:pt x="17813" y="12687"/>
                  <a:pt x="17813" y="12719"/>
                </a:cubicBezTo>
                <a:cubicBezTo>
                  <a:pt x="17844" y="12719"/>
                  <a:pt x="17844" y="12719"/>
                  <a:pt x="17875" y="12687"/>
                </a:cubicBezTo>
                <a:cubicBezTo>
                  <a:pt x="18125" y="12562"/>
                  <a:pt x="18375" y="12437"/>
                  <a:pt x="18625" y="12312"/>
                </a:cubicBezTo>
                <a:cubicBezTo>
                  <a:pt x="18688" y="12312"/>
                  <a:pt x="18813" y="12219"/>
                  <a:pt x="18844" y="12312"/>
                </a:cubicBezTo>
                <a:cubicBezTo>
                  <a:pt x="18907" y="12469"/>
                  <a:pt x="18813" y="12500"/>
                  <a:pt x="18688" y="12500"/>
                </a:cubicBezTo>
                <a:cubicBezTo>
                  <a:pt x="18375" y="12562"/>
                  <a:pt x="18125" y="12750"/>
                  <a:pt x="17875" y="12937"/>
                </a:cubicBezTo>
                <a:cubicBezTo>
                  <a:pt x="17813" y="12969"/>
                  <a:pt x="17782" y="13062"/>
                  <a:pt x="17813" y="13125"/>
                </a:cubicBezTo>
                <a:cubicBezTo>
                  <a:pt x="17875" y="13250"/>
                  <a:pt x="17938" y="13125"/>
                  <a:pt x="18000" y="13125"/>
                </a:cubicBezTo>
                <a:cubicBezTo>
                  <a:pt x="18219" y="13094"/>
                  <a:pt x="18407" y="12969"/>
                  <a:pt x="18532" y="13281"/>
                </a:cubicBezTo>
                <a:cubicBezTo>
                  <a:pt x="18563" y="13406"/>
                  <a:pt x="18657" y="13281"/>
                  <a:pt x="18719" y="13281"/>
                </a:cubicBezTo>
                <a:cubicBezTo>
                  <a:pt x="18782" y="13281"/>
                  <a:pt x="18907" y="13281"/>
                  <a:pt x="18782" y="13156"/>
                </a:cubicBezTo>
                <a:cubicBezTo>
                  <a:pt x="18719" y="13094"/>
                  <a:pt x="18938" y="13000"/>
                  <a:pt x="19063" y="12969"/>
                </a:cubicBezTo>
                <a:cubicBezTo>
                  <a:pt x="19125" y="12937"/>
                  <a:pt x="19250" y="12875"/>
                  <a:pt x="19250" y="13062"/>
                </a:cubicBezTo>
                <a:cubicBezTo>
                  <a:pt x="19219" y="13344"/>
                  <a:pt x="19438" y="13312"/>
                  <a:pt x="19625" y="13312"/>
                </a:cubicBezTo>
                <a:cubicBezTo>
                  <a:pt x="19688" y="13406"/>
                  <a:pt x="19469" y="13562"/>
                  <a:pt x="19688" y="13625"/>
                </a:cubicBezTo>
                <a:cubicBezTo>
                  <a:pt x="19813" y="13437"/>
                  <a:pt x="19969" y="13406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282" y="13344"/>
                  <a:pt x="20250" y="13156"/>
                  <a:pt x="20438" y="13125"/>
                </a:cubicBezTo>
                <a:cubicBezTo>
                  <a:pt x="20438" y="13125"/>
                  <a:pt x="20438" y="13125"/>
                  <a:pt x="20438" y="13125"/>
                </a:cubicBezTo>
                <a:cubicBezTo>
                  <a:pt x="20469" y="13125"/>
                  <a:pt x="20469" y="13125"/>
                  <a:pt x="20500" y="13094"/>
                </a:cubicBezTo>
                <a:cubicBezTo>
                  <a:pt x="20563" y="13031"/>
                  <a:pt x="20594" y="13062"/>
                  <a:pt x="20625" y="13062"/>
                </a:cubicBezTo>
                <a:cubicBezTo>
                  <a:pt x="20594" y="13062"/>
                  <a:pt x="20563" y="13031"/>
                  <a:pt x="20500" y="13094"/>
                </a:cubicBezTo>
                <a:cubicBezTo>
                  <a:pt x="20532" y="13219"/>
                  <a:pt x="20625" y="13187"/>
                  <a:pt x="20688" y="13156"/>
                </a:cubicBezTo>
                <a:cubicBezTo>
                  <a:pt x="20719" y="13125"/>
                  <a:pt x="20719" y="13125"/>
                  <a:pt x="20750" y="13125"/>
                </a:cubicBezTo>
                <a:cubicBezTo>
                  <a:pt x="20750" y="13125"/>
                  <a:pt x="20750" y="13125"/>
                  <a:pt x="20750" y="13125"/>
                </a:cubicBezTo>
                <a:cubicBezTo>
                  <a:pt x="20875" y="13094"/>
                  <a:pt x="21000" y="13062"/>
                  <a:pt x="21125" y="13062"/>
                </a:cubicBezTo>
                <a:cubicBezTo>
                  <a:pt x="21125" y="13031"/>
                  <a:pt x="21125" y="13031"/>
                  <a:pt x="21125" y="13031"/>
                </a:cubicBezTo>
                <a:cubicBezTo>
                  <a:pt x="21125" y="13000"/>
                  <a:pt x="21125" y="13000"/>
                  <a:pt x="21094" y="13000"/>
                </a:cubicBezTo>
                <a:cubicBezTo>
                  <a:pt x="21125" y="13000"/>
                  <a:pt x="21125" y="13000"/>
                  <a:pt x="21125" y="13031"/>
                </a:cubicBezTo>
                <a:cubicBezTo>
                  <a:pt x="21125" y="13031"/>
                  <a:pt x="21125" y="13031"/>
                  <a:pt x="21125" y="13062"/>
                </a:cubicBezTo>
                <a:cubicBezTo>
                  <a:pt x="21188" y="13062"/>
                  <a:pt x="21219" y="13062"/>
                  <a:pt x="21250" y="13062"/>
                </a:cubicBezTo>
                <a:cubicBezTo>
                  <a:pt x="21219" y="13125"/>
                  <a:pt x="21157" y="13187"/>
                  <a:pt x="21125" y="13250"/>
                </a:cubicBezTo>
                <a:cubicBezTo>
                  <a:pt x="20969" y="13250"/>
                  <a:pt x="20813" y="13219"/>
                  <a:pt x="20625" y="13281"/>
                </a:cubicBezTo>
                <a:cubicBezTo>
                  <a:pt x="20813" y="13469"/>
                  <a:pt x="20969" y="13312"/>
                  <a:pt x="21125" y="13312"/>
                </a:cubicBezTo>
                <a:cubicBezTo>
                  <a:pt x="21125" y="13281"/>
                  <a:pt x="21125" y="13281"/>
                  <a:pt x="21125" y="13250"/>
                </a:cubicBezTo>
                <a:cubicBezTo>
                  <a:pt x="21157" y="13250"/>
                  <a:pt x="21219" y="13250"/>
                  <a:pt x="21219" y="13281"/>
                </a:cubicBezTo>
                <a:cubicBezTo>
                  <a:pt x="21219" y="13281"/>
                  <a:pt x="21157" y="13312"/>
                  <a:pt x="21125" y="13312"/>
                </a:cubicBezTo>
                <a:cubicBezTo>
                  <a:pt x="20938" y="13531"/>
                  <a:pt x="20688" y="13437"/>
                  <a:pt x="20438" y="13469"/>
                </a:cubicBezTo>
                <a:cubicBezTo>
                  <a:pt x="20375" y="13469"/>
                  <a:pt x="20282" y="13406"/>
                  <a:pt x="20188" y="13437"/>
                </a:cubicBezTo>
                <a:lnTo>
                  <a:pt x="20188" y="13437"/>
                </a:lnTo>
                <a:cubicBezTo>
                  <a:pt x="20188" y="13437"/>
                  <a:pt x="20188" y="13437"/>
                  <a:pt x="20188" y="13437"/>
                </a:cubicBezTo>
                <a:cubicBezTo>
                  <a:pt x="20188" y="13469"/>
                  <a:pt x="20188" y="13469"/>
                  <a:pt x="20188" y="13500"/>
                </a:cubicBezTo>
                <a:cubicBezTo>
                  <a:pt x="20032" y="13562"/>
                  <a:pt x="19875" y="13656"/>
                  <a:pt x="19688" y="13625"/>
                </a:cubicBezTo>
                <a:cubicBezTo>
                  <a:pt x="19688" y="13625"/>
                  <a:pt x="19688" y="13625"/>
                  <a:pt x="19688" y="13625"/>
                </a:cubicBezTo>
                <a:lnTo>
                  <a:pt x="19688" y="13625"/>
                </a:lnTo>
                <a:cubicBezTo>
                  <a:pt x="19688" y="13625"/>
                  <a:pt x="19688" y="13625"/>
                  <a:pt x="19688" y="13625"/>
                </a:cubicBezTo>
                <a:cubicBezTo>
                  <a:pt x="19813" y="13875"/>
                  <a:pt x="20094" y="13656"/>
                  <a:pt x="20250" y="13812"/>
                </a:cubicBezTo>
                <a:cubicBezTo>
                  <a:pt x="20250" y="13875"/>
                  <a:pt x="20313" y="13969"/>
                  <a:pt x="20375" y="13906"/>
                </a:cubicBezTo>
                <a:cubicBezTo>
                  <a:pt x="20594" y="13687"/>
                  <a:pt x="20907" y="13750"/>
                  <a:pt x="21188" y="13656"/>
                </a:cubicBezTo>
                <a:cubicBezTo>
                  <a:pt x="21250" y="13625"/>
                  <a:pt x="21344" y="13500"/>
                  <a:pt x="21438" y="13594"/>
                </a:cubicBezTo>
                <a:cubicBezTo>
                  <a:pt x="21563" y="13656"/>
                  <a:pt x="21344" y="13750"/>
                  <a:pt x="21469" y="13906"/>
                </a:cubicBezTo>
                <a:cubicBezTo>
                  <a:pt x="21563" y="13656"/>
                  <a:pt x="21875" y="13906"/>
                  <a:pt x="21938" y="13625"/>
                </a:cubicBezTo>
                <a:cubicBezTo>
                  <a:pt x="21938" y="13625"/>
                  <a:pt x="21938" y="13625"/>
                  <a:pt x="21938" y="13625"/>
                </a:cubicBezTo>
                <a:cubicBezTo>
                  <a:pt x="22000" y="13625"/>
                  <a:pt x="22032" y="13625"/>
                  <a:pt x="22063" y="13625"/>
                </a:cubicBezTo>
                <a:cubicBezTo>
                  <a:pt x="22094" y="13687"/>
                  <a:pt x="22125" y="13687"/>
                  <a:pt x="22188" y="13719"/>
                </a:cubicBezTo>
                <a:cubicBezTo>
                  <a:pt x="22594" y="13812"/>
                  <a:pt x="22938" y="13656"/>
                  <a:pt x="23282" y="13469"/>
                </a:cubicBezTo>
                <a:cubicBezTo>
                  <a:pt x="23313" y="13469"/>
                  <a:pt x="23344" y="13437"/>
                  <a:pt x="23407" y="13437"/>
                </a:cubicBezTo>
                <a:cubicBezTo>
                  <a:pt x="23407" y="13406"/>
                  <a:pt x="23438" y="13344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469" y="13312"/>
                  <a:pt x="23469" y="13312"/>
                </a:cubicBezTo>
                <a:cubicBezTo>
                  <a:pt x="23469" y="13312"/>
                  <a:pt x="23500" y="13312"/>
                  <a:pt x="23500" y="13312"/>
                </a:cubicBezTo>
                <a:cubicBezTo>
                  <a:pt x="23500" y="13312"/>
                  <a:pt x="23469" y="13312"/>
                  <a:pt x="23469" y="13312"/>
                </a:cubicBezTo>
                <a:cubicBezTo>
                  <a:pt x="23438" y="13344"/>
                  <a:pt x="23407" y="13406"/>
                  <a:pt x="23407" y="13437"/>
                </a:cubicBezTo>
                <a:cubicBezTo>
                  <a:pt x="23469" y="13531"/>
                  <a:pt x="23563" y="13656"/>
                  <a:pt x="23657" y="13781"/>
                </a:cubicBezTo>
                <a:cubicBezTo>
                  <a:pt x="23469" y="13781"/>
                  <a:pt x="23344" y="13781"/>
                  <a:pt x="23313" y="14000"/>
                </a:cubicBezTo>
                <a:cubicBezTo>
                  <a:pt x="23250" y="14156"/>
                  <a:pt x="23032" y="14125"/>
                  <a:pt x="22907" y="14156"/>
                </a:cubicBezTo>
                <a:cubicBezTo>
                  <a:pt x="22782" y="14187"/>
                  <a:pt x="22844" y="14062"/>
                  <a:pt x="22813" y="14000"/>
                </a:cubicBezTo>
                <a:cubicBezTo>
                  <a:pt x="22844" y="14000"/>
                  <a:pt x="22844" y="14000"/>
                  <a:pt x="22844" y="14000"/>
                </a:cubicBezTo>
                <a:cubicBezTo>
                  <a:pt x="22844" y="14000"/>
                  <a:pt x="22844" y="13969"/>
                  <a:pt x="22844" y="13969"/>
                </a:cubicBezTo>
                <a:lnTo>
                  <a:pt x="22844" y="13969"/>
                </a:lnTo>
                <a:cubicBezTo>
                  <a:pt x="22844" y="13969"/>
                  <a:pt x="22844" y="14000"/>
                  <a:pt x="22844" y="14000"/>
                </a:cubicBezTo>
                <a:cubicBezTo>
                  <a:pt x="22844" y="14000"/>
                  <a:pt x="22813" y="14000"/>
                  <a:pt x="22813" y="14000"/>
                </a:cubicBezTo>
                <a:cubicBezTo>
                  <a:pt x="22657" y="14000"/>
                  <a:pt x="22625" y="14156"/>
                  <a:pt x="22500" y="14219"/>
                </a:cubicBezTo>
                <a:cubicBezTo>
                  <a:pt x="22469" y="14250"/>
                  <a:pt x="22313" y="14250"/>
                  <a:pt x="22407" y="14406"/>
                </a:cubicBezTo>
                <a:cubicBezTo>
                  <a:pt x="22469" y="14500"/>
                  <a:pt x="22532" y="14469"/>
                  <a:pt x="22625" y="14406"/>
                </a:cubicBezTo>
                <a:cubicBezTo>
                  <a:pt x="22688" y="14375"/>
                  <a:pt x="22782" y="14344"/>
                  <a:pt x="22875" y="14344"/>
                </a:cubicBezTo>
                <a:cubicBezTo>
                  <a:pt x="23032" y="14312"/>
                  <a:pt x="22907" y="14406"/>
                  <a:pt x="22907" y="14469"/>
                </a:cubicBezTo>
                <a:cubicBezTo>
                  <a:pt x="22907" y="14469"/>
                  <a:pt x="22907" y="14469"/>
                  <a:pt x="22907" y="14469"/>
                </a:cubicBezTo>
                <a:cubicBezTo>
                  <a:pt x="22844" y="14500"/>
                  <a:pt x="22750" y="14531"/>
                  <a:pt x="22688" y="14625"/>
                </a:cubicBezTo>
                <a:cubicBezTo>
                  <a:pt x="22813" y="14656"/>
                  <a:pt x="22907" y="14594"/>
                  <a:pt x="22969" y="14531"/>
                </a:cubicBezTo>
                <a:cubicBezTo>
                  <a:pt x="23157" y="14469"/>
                  <a:pt x="23250" y="14687"/>
                  <a:pt x="23375" y="14656"/>
                </a:cubicBezTo>
                <a:cubicBezTo>
                  <a:pt x="23625" y="14625"/>
                  <a:pt x="23844" y="14656"/>
                  <a:pt x="23938" y="14937"/>
                </a:cubicBezTo>
                <a:cubicBezTo>
                  <a:pt x="23938" y="15000"/>
                  <a:pt x="24000" y="15000"/>
                  <a:pt x="24063" y="15000"/>
                </a:cubicBezTo>
                <a:cubicBezTo>
                  <a:pt x="24157" y="14969"/>
                  <a:pt x="24094" y="14906"/>
                  <a:pt x="24063" y="14844"/>
                </a:cubicBezTo>
                <a:cubicBezTo>
                  <a:pt x="24032" y="14750"/>
                  <a:pt x="24094" y="14625"/>
                  <a:pt x="24125" y="14625"/>
                </a:cubicBezTo>
                <a:cubicBezTo>
                  <a:pt x="24375" y="14687"/>
                  <a:pt x="24407" y="14469"/>
                  <a:pt x="24532" y="14375"/>
                </a:cubicBezTo>
                <a:cubicBezTo>
                  <a:pt x="24625" y="14344"/>
                  <a:pt x="24688" y="14250"/>
                  <a:pt x="24782" y="14250"/>
                </a:cubicBezTo>
                <a:cubicBezTo>
                  <a:pt x="24813" y="14344"/>
                  <a:pt x="25063" y="14312"/>
                  <a:pt x="24938" y="14375"/>
                </a:cubicBezTo>
                <a:cubicBezTo>
                  <a:pt x="24719" y="14531"/>
                  <a:pt x="24969" y="14562"/>
                  <a:pt x="24969" y="14625"/>
                </a:cubicBezTo>
                <a:cubicBezTo>
                  <a:pt x="25032" y="14750"/>
                  <a:pt x="25125" y="14719"/>
                  <a:pt x="25219" y="14625"/>
                </a:cubicBezTo>
                <a:cubicBezTo>
                  <a:pt x="25313" y="14656"/>
                  <a:pt x="25375" y="14531"/>
                  <a:pt x="25500" y="14625"/>
                </a:cubicBezTo>
                <a:cubicBezTo>
                  <a:pt x="25375" y="14750"/>
                  <a:pt x="25157" y="14781"/>
                  <a:pt x="25094" y="14937"/>
                </a:cubicBezTo>
                <a:cubicBezTo>
                  <a:pt x="25063" y="14969"/>
                  <a:pt x="25000" y="15000"/>
                  <a:pt x="24969" y="15000"/>
                </a:cubicBezTo>
                <a:cubicBezTo>
                  <a:pt x="24844" y="14969"/>
                  <a:pt x="24625" y="15031"/>
                  <a:pt x="24594" y="15125"/>
                </a:cubicBezTo>
                <a:cubicBezTo>
                  <a:pt x="24563" y="15375"/>
                  <a:pt x="24782" y="15125"/>
                  <a:pt x="24813" y="15250"/>
                </a:cubicBezTo>
                <a:cubicBezTo>
                  <a:pt x="24813" y="15250"/>
                  <a:pt x="24813" y="15281"/>
                  <a:pt x="24813" y="15312"/>
                </a:cubicBezTo>
                <a:cubicBezTo>
                  <a:pt x="24813" y="15312"/>
                  <a:pt x="24813" y="15312"/>
                  <a:pt x="24813" y="15312"/>
                </a:cubicBezTo>
                <a:cubicBezTo>
                  <a:pt x="24782" y="15312"/>
                  <a:pt x="24782" y="15344"/>
                  <a:pt x="24750" y="15375"/>
                </a:cubicBezTo>
                <a:cubicBezTo>
                  <a:pt x="24750" y="15375"/>
                  <a:pt x="24750" y="15375"/>
                  <a:pt x="24750" y="15375"/>
                </a:cubicBezTo>
                <a:cubicBezTo>
                  <a:pt x="24750" y="15375"/>
                  <a:pt x="24719" y="15406"/>
                  <a:pt x="24750" y="15437"/>
                </a:cubicBezTo>
                <a:cubicBezTo>
                  <a:pt x="24750" y="15437"/>
                  <a:pt x="24782" y="15406"/>
                  <a:pt x="24782" y="15406"/>
                </a:cubicBezTo>
                <a:cubicBezTo>
                  <a:pt x="24782" y="15406"/>
                  <a:pt x="24782" y="15406"/>
                  <a:pt x="24782" y="15406"/>
                </a:cubicBezTo>
                <a:cubicBezTo>
                  <a:pt x="24813" y="15375"/>
                  <a:pt x="24844" y="15344"/>
                  <a:pt x="24844" y="15344"/>
                </a:cubicBezTo>
                <a:cubicBezTo>
                  <a:pt x="24938" y="15219"/>
                  <a:pt x="25219" y="15281"/>
                  <a:pt x="25094" y="15031"/>
                </a:cubicBezTo>
                <a:cubicBezTo>
                  <a:pt x="25188" y="15000"/>
                  <a:pt x="25250" y="15000"/>
                  <a:pt x="25344" y="14969"/>
                </a:cubicBezTo>
                <a:cubicBezTo>
                  <a:pt x="25407" y="15094"/>
                  <a:pt x="25500" y="15062"/>
                  <a:pt x="25594" y="15062"/>
                </a:cubicBezTo>
                <a:cubicBezTo>
                  <a:pt x="25594" y="15094"/>
                  <a:pt x="25563" y="15094"/>
                  <a:pt x="25563" y="15125"/>
                </a:cubicBezTo>
                <a:cubicBezTo>
                  <a:pt x="25532" y="15406"/>
                  <a:pt x="25563" y="15469"/>
                  <a:pt x="25782" y="15375"/>
                </a:cubicBezTo>
                <a:cubicBezTo>
                  <a:pt x="25969" y="15281"/>
                  <a:pt x="26188" y="15406"/>
                  <a:pt x="26344" y="15281"/>
                </a:cubicBezTo>
                <a:cubicBezTo>
                  <a:pt x="26407" y="15469"/>
                  <a:pt x="26344" y="15625"/>
                  <a:pt x="26344" y="15781"/>
                </a:cubicBezTo>
                <a:cubicBezTo>
                  <a:pt x="26344" y="15812"/>
                  <a:pt x="26344" y="15875"/>
                  <a:pt x="26407" y="15875"/>
                </a:cubicBezTo>
                <a:cubicBezTo>
                  <a:pt x="26469" y="15844"/>
                  <a:pt x="26532" y="15812"/>
                  <a:pt x="26625" y="15781"/>
                </a:cubicBezTo>
                <a:cubicBezTo>
                  <a:pt x="26688" y="15906"/>
                  <a:pt x="26938" y="15969"/>
                  <a:pt x="26688" y="16156"/>
                </a:cubicBezTo>
                <a:cubicBezTo>
                  <a:pt x="26688" y="16156"/>
                  <a:pt x="26657" y="16156"/>
                  <a:pt x="26657" y="16156"/>
                </a:cubicBezTo>
                <a:cubicBezTo>
                  <a:pt x="26657" y="16156"/>
                  <a:pt x="26657" y="16156"/>
                  <a:pt x="26625" y="16156"/>
                </a:cubicBezTo>
                <a:lnTo>
                  <a:pt x="26625" y="16156"/>
                </a:lnTo>
                <a:cubicBezTo>
                  <a:pt x="26657" y="16156"/>
                  <a:pt x="26657" y="16156"/>
                  <a:pt x="26657" y="16156"/>
                </a:cubicBezTo>
                <a:cubicBezTo>
                  <a:pt x="26657" y="16156"/>
                  <a:pt x="26688" y="16156"/>
                  <a:pt x="26688" y="16156"/>
                </a:cubicBezTo>
                <a:cubicBezTo>
                  <a:pt x="26688" y="16156"/>
                  <a:pt x="26688" y="16156"/>
                  <a:pt x="26688" y="16156"/>
                </a:cubicBezTo>
                <a:cubicBezTo>
                  <a:pt x="26844" y="16250"/>
                  <a:pt x="26813" y="16469"/>
                  <a:pt x="26907" y="16594"/>
                </a:cubicBezTo>
                <a:cubicBezTo>
                  <a:pt x="27094" y="16844"/>
                  <a:pt x="27157" y="17125"/>
                  <a:pt x="27469" y="17219"/>
                </a:cubicBezTo>
                <a:cubicBezTo>
                  <a:pt x="27625" y="17406"/>
                  <a:pt x="27875" y="17312"/>
                  <a:pt x="28032" y="17406"/>
                </a:cubicBezTo>
                <a:cubicBezTo>
                  <a:pt x="28094" y="17469"/>
                  <a:pt x="28157" y="17437"/>
                  <a:pt x="28219" y="17469"/>
                </a:cubicBezTo>
                <a:cubicBezTo>
                  <a:pt x="28219" y="17531"/>
                  <a:pt x="28219" y="17562"/>
                  <a:pt x="28282" y="17562"/>
                </a:cubicBezTo>
                <a:cubicBezTo>
                  <a:pt x="28282" y="17562"/>
                  <a:pt x="28313" y="17531"/>
                  <a:pt x="28313" y="17500"/>
                </a:cubicBezTo>
                <a:cubicBezTo>
                  <a:pt x="28344" y="17500"/>
                  <a:pt x="28375" y="17500"/>
                  <a:pt x="28407" y="17469"/>
                </a:cubicBezTo>
                <a:cubicBezTo>
                  <a:pt x="28407" y="17594"/>
                  <a:pt x="28375" y="17719"/>
                  <a:pt x="28375" y="17844"/>
                </a:cubicBezTo>
                <a:cubicBezTo>
                  <a:pt x="28219" y="17844"/>
                  <a:pt x="28219" y="17969"/>
                  <a:pt x="28157" y="18062"/>
                </a:cubicBezTo>
                <a:cubicBezTo>
                  <a:pt x="28094" y="18156"/>
                  <a:pt x="28000" y="18219"/>
                  <a:pt x="28000" y="18031"/>
                </a:cubicBezTo>
                <a:cubicBezTo>
                  <a:pt x="28032" y="18031"/>
                  <a:pt x="28032" y="18000"/>
                  <a:pt x="28032" y="17969"/>
                </a:cubicBezTo>
                <a:lnTo>
                  <a:pt x="28032" y="17969"/>
                </a:lnTo>
                <a:cubicBezTo>
                  <a:pt x="28032" y="17969"/>
                  <a:pt x="28000" y="17969"/>
                  <a:pt x="28000" y="17969"/>
                </a:cubicBezTo>
                <a:cubicBezTo>
                  <a:pt x="27969" y="17969"/>
                  <a:pt x="27969" y="18000"/>
                  <a:pt x="28000" y="18031"/>
                </a:cubicBezTo>
                <a:cubicBezTo>
                  <a:pt x="27844" y="18031"/>
                  <a:pt x="27844" y="18187"/>
                  <a:pt x="27782" y="18250"/>
                </a:cubicBezTo>
                <a:cubicBezTo>
                  <a:pt x="27750" y="18281"/>
                  <a:pt x="27719" y="18312"/>
                  <a:pt x="27657" y="18250"/>
                </a:cubicBezTo>
                <a:cubicBezTo>
                  <a:pt x="27625" y="18219"/>
                  <a:pt x="27657" y="18187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88" y="18156"/>
                  <a:pt x="27688" y="18156"/>
                  <a:pt x="27688" y="18156"/>
                </a:cubicBezTo>
                <a:cubicBezTo>
                  <a:pt x="27625" y="18187"/>
                  <a:pt x="27563" y="18219"/>
                  <a:pt x="27469" y="18281"/>
                </a:cubicBezTo>
                <a:cubicBezTo>
                  <a:pt x="27469" y="18062"/>
                  <a:pt x="27375" y="18031"/>
                  <a:pt x="27219" y="18187"/>
                </a:cubicBezTo>
                <a:cubicBezTo>
                  <a:pt x="27157" y="18250"/>
                  <a:pt x="27094" y="18344"/>
                  <a:pt x="26938" y="18312"/>
                </a:cubicBezTo>
                <a:cubicBezTo>
                  <a:pt x="26532" y="18281"/>
                  <a:pt x="26125" y="18312"/>
                  <a:pt x="25844" y="18687"/>
                </a:cubicBezTo>
                <a:cubicBezTo>
                  <a:pt x="25750" y="18781"/>
                  <a:pt x="25688" y="18875"/>
                  <a:pt x="25594" y="18937"/>
                </a:cubicBezTo>
                <a:cubicBezTo>
                  <a:pt x="25375" y="19094"/>
                  <a:pt x="25532" y="19250"/>
                  <a:pt x="25657" y="19250"/>
                </a:cubicBezTo>
                <a:cubicBezTo>
                  <a:pt x="26063" y="19312"/>
                  <a:pt x="26438" y="19469"/>
                  <a:pt x="26813" y="19375"/>
                </a:cubicBezTo>
                <a:cubicBezTo>
                  <a:pt x="26907" y="19344"/>
                  <a:pt x="26969" y="19375"/>
                  <a:pt x="27032" y="19375"/>
                </a:cubicBezTo>
                <a:cubicBezTo>
                  <a:pt x="27469" y="19469"/>
                  <a:pt x="27938" y="19594"/>
                  <a:pt x="28375" y="19250"/>
                </a:cubicBezTo>
                <a:cubicBezTo>
                  <a:pt x="28469" y="19281"/>
                  <a:pt x="28469" y="19156"/>
                  <a:pt x="28532" y="19156"/>
                </a:cubicBezTo>
                <a:cubicBezTo>
                  <a:pt x="28969" y="18969"/>
                  <a:pt x="29063" y="18812"/>
                  <a:pt x="29063" y="18344"/>
                </a:cubicBezTo>
                <a:cubicBezTo>
                  <a:pt x="29063" y="18312"/>
                  <a:pt x="29063" y="18312"/>
                  <a:pt x="29063" y="18281"/>
                </a:cubicBezTo>
                <a:cubicBezTo>
                  <a:pt x="29313" y="18250"/>
                  <a:pt x="29313" y="17969"/>
                  <a:pt x="29469" y="17844"/>
                </a:cubicBezTo>
                <a:cubicBezTo>
                  <a:pt x="30000" y="17625"/>
                  <a:pt x="30125" y="17062"/>
                  <a:pt x="30500" y="16687"/>
                </a:cubicBezTo>
                <a:cubicBezTo>
                  <a:pt x="30719" y="16437"/>
                  <a:pt x="30625" y="16031"/>
                  <a:pt x="30407" y="15750"/>
                </a:cubicBezTo>
                <a:cubicBezTo>
                  <a:pt x="30282" y="15594"/>
                  <a:pt x="30188" y="15406"/>
                  <a:pt x="30063" y="15250"/>
                </a:cubicBezTo>
                <a:cubicBezTo>
                  <a:pt x="30344" y="15125"/>
                  <a:pt x="30157" y="14969"/>
                  <a:pt x="30063" y="14812"/>
                </a:cubicBezTo>
                <a:cubicBezTo>
                  <a:pt x="30094" y="14625"/>
                  <a:pt x="29875" y="14344"/>
                  <a:pt x="30219" y="14219"/>
                </a:cubicBezTo>
                <a:cubicBezTo>
                  <a:pt x="30219" y="14187"/>
                  <a:pt x="30188" y="14187"/>
                  <a:pt x="30188" y="14156"/>
                </a:cubicBezTo>
                <a:cubicBezTo>
                  <a:pt x="30094" y="13969"/>
                  <a:pt x="30094" y="13750"/>
                  <a:pt x="30094" y="13562"/>
                </a:cubicBezTo>
                <a:cubicBezTo>
                  <a:pt x="30282" y="13625"/>
                  <a:pt x="30219" y="13312"/>
                  <a:pt x="30469" y="13375"/>
                </a:cubicBezTo>
                <a:cubicBezTo>
                  <a:pt x="30313" y="13281"/>
                  <a:pt x="30250" y="13219"/>
                  <a:pt x="30157" y="13250"/>
                </a:cubicBezTo>
                <a:cubicBezTo>
                  <a:pt x="30157" y="13219"/>
                  <a:pt x="30157" y="13187"/>
                  <a:pt x="30157" y="13156"/>
                </a:cubicBezTo>
                <a:cubicBezTo>
                  <a:pt x="30157" y="13156"/>
                  <a:pt x="30157" y="13156"/>
                  <a:pt x="30157" y="13156"/>
                </a:cubicBezTo>
                <a:cubicBezTo>
                  <a:pt x="30157" y="13156"/>
                  <a:pt x="30188" y="13156"/>
                  <a:pt x="30219" y="13125"/>
                </a:cubicBezTo>
                <a:cubicBezTo>
                  <a:pt x="30219" y="13156"/>
                  <a:pt x="30219" y="13156"/>
                  <a:pt x="30219" y="13156"/>
                </a:cubicBezTo>
                <a:cubicBezTo>
                  <a:pt x="30219" y="13156"/>
                  <a:pt x="30250" y="13125"/>
                  <a:pt x="30250" y="13125"/>
                </a:cubicBezTo>
                <a:cubicBezTo>
                  <a:pt x="30282" y="13125"/>
                  <a:pt x="30282" y="13125"/>
                  <a:pt x="30313" y="13125"/>
                </a:cubicBezTo>
                <a:cubicBezTo>
                  <a:pt x="30375" y="13187"/>
                  <a:pt x="30438" y="13187"/>
                  <a:pt x="30469" y="13156"/>
                </a:cubicBezTo>
                <a:cubicBezTo>
                  <a:pt x="30500" y="13094"/>
                  <a:pt x="30438" y="13062"/>
                  <a:pt x="30407" y="13062"/>
                </a:cubicBezTo>
                <a:cubicBezTo>
                  <a:pt x="30407" y="12969"/>
                  <a:pt x="30532" y="12969"/>
                  <a:pt x="30500" y="12875"/>
                </a:cubicBezTo>
                <a:cubicBezTo>
                  <a:pt x="30500" y="12687"/>
                  <a:pt x="30282" y="12469"/>
                  <a:pt x="30563" y="12312"/>
                </a:cubicBezTo>
                <a:cubicBezTo>
                  <a:pt x="30407" y="12125"/>
                  <a:pt x="30719" y="12062"/>
                  <a:pt x="30657" y="12000"/>
                </a:cubicBezTo>
                <a:cubicBezTo>
                  <a:pt x="30563" y="11844"/>
                  <a:pt x="30563" y="11656"/>
                  <a:pt x="30469" y="11531"/>
                </a:cubicBezTo>
                <a:cubicBezTo>
                  <a:pt x="30438" y="11469"/>
                  <a:pt x="30375" y="11375"/>
                  <a:pt x="30407" y="11312"/>
                </a:cubicBezTo>
                <a:cubicBezTo>
                  <a:pt x="30500" y="11281"/>
                  <a:pt x="30563" y="11344"/>
                  <a:pt x="30625" y="11375"/>
                </a:cubicBezTo>
                <a:cubicBezTo>
                  <a:pt x="30782" y="11437"/>
                  <a:pt x="30844" y="11312"/>
                  <a:pt x="30813" y="11219"/>
                </a:cubicBezTo>
                <a:cubicBezTo>
                  <a:pt x="30750" y="11062"/>
                  <a:pt x="30563" y="11156"/>
                  <a:pt x="30438" y="11125"/>
                </a:cubicBezTo>
                <a:cubicBezTo>
                  <a:pt x="30438" y="11000"/>
                  <a:pt x="30563" y="10875"/>
                  <a:pt x="30407" y="10781"/>
                </a:cubicBezTo>
                <a:cubicBezTo>
                  <a:pt x="30094" y="10625"/>
                  <a:pt x="30282" y="10562"/>
                  <a:pt x="30438" y="10500"/>
                </a:cubicBezTo>
                <a:cubicBezTo>
                  <a:pt x="30563" y="10469"/>
                  <a:pt x="30532" y="10344"/>
                  <a:pt x="30500" y="10312"/>
                </a:cubicBezTo>
                <a:cubicBezTo>
                  <a:pt x="30407" y="10094"/>
                  <a:pt x="30250" y="9875"/>
                  <a:pt x="30125" y="9656"/>
                </a:cubicBezTo>
                <a:cubicBezTo>
                  <a:pt x="30000" y="9375"/>
                  <a:pt x="29844" y="9125"/>
                  <a:pt x="29750" y="8812"/>
                </a:cubicBezTo>
                <a:cubicBezTo>
                  <a:pt x="29688" y="8500"/>
                  <a:pt x="29938" y="8344"/>
                  <a:pt x="29875" y="8094"/>
                </a:cubicBezTo>
                <a:cubicBezTo>
                  <a:pt x="29875" y="8094"/>
                  <a:pt x="29875" y="8094"/>
                  <a:pt x="29875" y="8094"/>
                </a:cubicBezTo>
                <a:cubicBezTo>
                  <a:pt x="29907" y="7937"/>
                  <a:pt x="30000" y="7812"/>
                  <a:pt x="29969" y="7687"/>
                </a:cubicBezTo>
                <a:cubicBezTo>
                  <a:pt x="29907" y="7500"/>
                  <a:pt x="30032" y="7344"/>
                  <a:pt x="29938" y="7156"/>
                </a:cubicBezTo>
                <a:cubicBezTo>
                  <a:pt x="29875" y="7000"/>
                  <a:pt x="30188" y="6937"/>
                  <a:pt x="30125" y="6719"/>
                </a:cubicBezTo>
                <a:cubicBezTo>
                  <a:pt x="30094" y="6625"/>
                  <a:pt x="30282" y="6469"/>
                  <a:pt x="30344" y="6344"/>
                </a:cubicBezTo>
                <a:cubicBezTo>
                  <a:pt x="30375" y="6312"/>
                  <a:pt x="30438" y="6250"/>
                  <a:pt x="30438" y="6250"/>
                </a:cubicBezTo>
                <a:cubicBezTo>
                  <a:pt x="30344" y="6031"/>
                  <a:pt x="30469" y="5937"/>
                  <a:pt x="30625" y="5812"/>
                </a:cubicBezTo>
                <a:cubicBezTo>
                  <a:pt x="30657" y="5781"/>
                  <a:pt x="30688" y="5750"/>
                  <a:pt x="30719" y="5656"/>
                </a:cubicBezTo>
                <a:cubicBezTo>
                  <a:pt x="30875" y="5062"/>
                  <a:pt x="31032" y="4469"/>
                  <a:pt x="31188" y="3875"/>
                </a:cubicBezTo>
                <a:cubicBezTo>
                  <a:pt x="31188" y="3875"/>
                  <a:pt x="31188" y="3875"/>
                  <a:pt x="31188" y="3844"/>
                </a:cubicBezTo>
                <a:cubicBezTo>
                  <a:pt x="31219" y="3812"/>
                  <a:pt x="31219" y="3812"/>
                  <a:pt x="31250" y="3781"/>
                </a:cubicBezTo>
                <a:cubicBezTo>
                  <a:pt x="31250" y="3781"/>
                  <a:pt x="31219" y="3781"/>
                  <a:pt x="31219" y="3750"/>
                </a:cubicBezTo>
                <a:lnTo>
                  <a:pt x="31219" y="3750"/>
                </a:lnTo>
                <a:cubicBezTo>
                  <a:pt x="31219" y="3781"/>
                  <a:pt x="31219" y="3812"/>
                  <a:pt x="31188" y="3844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1188" y="3875"/>
                  <a:pt x="31188" y="3875"/>
                  <a:pt x="31188" y="3875"/>
                </a:cubicBezTo>
                <a:cubicBezTo>
                  <a:pt x="30969" y="4062"/>
                  <a:pt x="30782" y="4312"/>
                  <a:pt x="30532" y="4531"/>
                </a:cubicBezTo>
                <a:cubicBezTo>
                  <a:pt x="30563" y="4437"/>
                  <a:pt x="30563" y="4375"/>
                  <a:pt x="30563" y="4312"/>
                </a:cubicBezTo>
                <a:cubicBezTo>
                  <a:pt x="30594" y="4281"/>
                  <a:pt x="30625" y="4219"/>
                  <a:pt x="30657" y="4187"/>
                </a:cubicBezTo>
                <a:cubicBezTo>
                  <a:pt x="30750" y="4125"/>
                  <a:pt x="30813" y="4031"/>
                  <a:pt x="30844" y="3937"/>
                </a:cubicBezTo>
                <a:cubicBezTo>
                  <a:pt x="30875" y="3875"/>
                  <a:pt x="30907" y="3812"/>
                  <a:pt x="30844" y="3781"/>
                </a:cubicBezTo>
                <a:cubicBezTo>
                  <a:pt x="30813" y="3781"/>
                  <a:pt x="30719" y="3750"/>
                  <a:pt x="30719" y="3781"/>
                </a:cubicBezTo>
                <a:cubicBezTo>
                  <a:pt x="30657" y="3875"/>
                  <a:pt x="30438" y="3875"/>
                  <a:pt x="30500" y="4062"/>
                </a:cubicBezTo>
                <a:cubicBezTo>
                  <a:pt x="30407" y="4156"/>
                  <a:pt x="30282" y="4187"/>
                  <a:pt x="30188" y="4312"/>
                </a:cubicBezTo>
                <a:cubicBezTo>
                  <a:pt x="30032" y="4531"/>
                  <a:pt x="29844" y="4750"/>
                  <a:pt x="29594" y="4875"/>
                </a:cubicBezTo>
                <a:cubicBezTo>
                  <a:pt x="29500" y="4906"/>
                  <a:pt x="29407" y="4875"/>
                  <a:pt x="29344" y="4969"/>
                </a:cubicBezTo>
                <a:cubicBezTo>
                  <a:pt x="29407" y="5062"/>
                  <a:pt x="29500" y="4937"/>
                  <a:pt x="29563" y="5062"/>
                </a:cubicBezTo>
                <a:cubicBezTo>
                  <a:pt x="29375" y="5219"/>
                  <a:pt x="29188" y="5375"/>
                  <a:pt x="29000" y="5562"/>
                </a:cubicBezTo>
                <a:cubicBezTo>
                  <a:pt x="29094" y="5562"/>
                  <a:pt x="29157" y="5594"/>
                  <a:pt x="29219" y="5594"/>
                </a:cubicBezTo>
                <a:cubicBezTo>
                  <a:pt x="29094" y="5812"/>
                  <a:pt x="28844" y="5687"/>
                  <a:pt x="28688" y="5812"/>
                </a:cubicBezTo>
                <a:cubicBezTo>
                  <a:pt x="28594" y="5875"/>
                  <a:pt x="28563" y="5906"/>
                  <a:pt x="28563" y="6000"/>
                </a:cubicBezTo>
                <a:cubicBezTo>
                  <a:pt x="28500" y="6000"/>
                  <a:pt x="28438" y="6000"/>
                  <a:pt x="28375" y="6000"/>
                </a:cubicBezTo>
                <a:cubicBezTo>
                  <a:pt x="28282" y="6031"/>
                  <a:pt x="28188" y="6031"/>
                  <a:pt x="28094" y="6031"/>
                </a:cubicBezTo>
                <a:cubicBezTo>
                  <a:pt x="28157" y="5844"/>
                  <a:pt x="28344" y="5875"/>
                  <a:pt x="28469" y="5750"/>
                </a:cubicBezTo>
                <a:cubicBezTo>
                  <a:pt x="28344" y="5719"/>
                  <a:pt x="28219" y="5844"/>
                  <a:pt x="28125" y="5719"/>
                </a:cubicBezTo>
                <a:cubicBezTo>
                  <a:pt x="28063" y="5656"/>
                  <a:pt x="28125" y="5531"/>
                  <a:pt x="28157" y="5500"/>
                </a:cubicBezTo>
                <a:cubicBezTo>
                  <a:pt x="28375" y="5281"/>
                  <a:pt x="28500" y="4906"/>
                  <a:pt x="28907" y="4844"/>
                </a:cubicBezTo>
                <a:cubicBezTo>
                  <a:pt x="28969" y="4812"/>
                  <a:pt x="29063" y="4781"/>
                  <a:pt x="29125" y="4719"/>
                </a:cubicBezTo>
                <a:cubicBezTo>
                  <a:pt x="29032" y="4656"/>
                  <a:pt x="28875" y="4750"/>
                  <a:pt x="28782" y="4625"/>
                </a:cubicBezTo>
                <a:cubicBezTo>
                  <a:pt x="28782" y="4625"/>
                  <a:pt x="28750" y="4656"/>
                  <a:pt x="28750" y="4656"/>
                </a:cubicBezTo>
                <a:cubicBezTo>
                  <a:pt x="28750" y="4656"/>
                  <a:pt x="28782" y="4625"/>
                  <a:pt x="28782" y="4625"/>
                </a:cubicBezTo>
                <a:cubicBezTo>
                  <a:pt x="28782" y="4594"/>
                  <a:pt x="28813" y="4594"/>
                  <a:pt x="28813" y="4562"/>
                </a:cubicBezTo>
                <a:cubicBezTo>
                  <a:pt x="28969" y="4562"/>
                  <a:pt x="29125" y="4594"/>
                  <a:pt x="29188" y="4375"/>
                </a:cubicBezTo>
                <a:cubicBezTo>
                  <a:pt x="29094" y="4281"/>
                  <a:pt x="28907" y="4500"/>
                  <a:pt x="28875" y="4250"/>
                </a:cubicBezTo>
                <a:cubicBezTo>
                  <a:pt x="29063" y="4281"/>
                  <a:pt x="29188" y="4062"/>
                  <a:pt x="29188" y="3969"/>
                </a:cubicBezTo>
                <a:cubicBezTo>
                  <a:pt x="29219" y="3719"/>
                  <a:pt x="29375" y="3687"/>
                  <a:pt x="29563" y="3625"/>
                </a:cubicBezTo>
                <a:cubicBezTo>
                  <a:pt x="29750" y="3562"/>
                  <a:pt x="29907" y="3469"/>
                  <a:pt x="30063" y="3312"/>
                </a:cubicBezTo>
                <a:cubicBezTo>
                  <a:pt x="30063" y="3312"/>
                  <a:pt x="30094" y="3281"/>
                  <a:pt x="30094" y="3281"/>
                </a:cubicBezTo>
                <a:cubicBezTo>
                  <a:pt x="30094" y="3281"/>
                  <a:pt x="30094" y="3281"/>
                  <a:pt x="30094" y="3281"/>
                </a:cubicBezTo>
                <a:lnTo>
                  <a:pt x="30094" y="3281"/>
                </a:lnTo>
                <a:cubicBezTo>
                  <a:pt x="30094" y="3281"/>
                  <a:pt x="30063" y="3281"/>
                  <a:pt x="30063" y="3312"/>
                </a:cubicBezTo>
                <a:cubicBezTo>
                  <a:pt x="30000" y="3312"/>
                  <a:pt x="29938" y="3281"/>
                  <a:pt x="29844" y="3281"/>
                </a:cubicBezTo>
                <a:cubicBezTo>
                  <a:pt x="29969" y="3187"/>
                  <a:pt x="30032" y="3062"/>
                  <a:pt x="29938" y="2937"/>
                </a:cubicBezTo>
                <a:cubicBezTo>
                  <a:pt x="30063" y="2937"/>
                  <a:pt x="30125" y="2875"/>
                  <a:pt x="30219" y="2812"/>
                </a:cubicBezTo>
                <a:cubicBezTo>
                  <a:pt x="30313" y="2719"/>
                  <a:pt x="30500" y="2562"/>
                  <a:pt x="30532" y="2594"/>
                </a:cubicBezTo>
                <a:cubicBezTo>
                  <a:pt x="30813" y="2750"/>
                  <a:pt x="31063" y="2562"/>
                  <a:pt x="31313" y="2594"/>
                </a:cubicBezTo>
                <a:cubicBezTo>
                  <a:pt x="31657" y="2625"/>
                  <a:pt x="31750" y="2469"/>
                  <a:pt x="31594" y="2156"/>
                </a:cubicBezTo>
                <a:lnTo>
                  <a:pt x="31594" y="2156"/>
                </a:lnTo>
                <a:cubicBezTo>
                  <a:pt x="31532" y="2031"/>
                  <a:pt x="31563" y="1937"/>
                  <a:pt x="31657" y="1812"/>
                </a:cubicBezTo>
                <a:cubicBezTo>
                  <a:pt x="31469" y="1844"/>
                  <a:pt x="31344" y="1656"/>
                  <a:pt x="31188" y="1781"/>
                </a:cubicBezTo>
                <a:cubicBezTo>
                  <a:pt x="30875" y="1844"/>
                  <a:pt x="30500" y="1812"/>
                  <a:pt x="30250" y="2000"/>
                </a:cubicBezTo>
                <a:cubicBezTo>
                  <a:pt x="29657" y="2437"/>
                  <a:pt x="28969" y="2719"/>
                  <a:pt x="28344" y="3125"/>
                </a:cubicBezTo>
                <a:cubicBezTo>
                  <a:pt x="28344" y="2906"/>
                  <a:pt x="28250" y="3031"/>
                  <a:pt x="28157" y="3062"/>
                </a:cubicBezTo>
                <a:cubicBezTo>
                  <a:pt x="27907" y="3187"/>
                  <a:pt x="27657" y="3344"/>
                  <a:pt x="27375" y="3437"/>
                </a:cubicBezTo>
                <a:cubicBezTo>
                  <a:pt x="27188" y="3500"/>
                  <a:pt x="27188" y="3594"/>
                  <a:pt x="27157" y="3750"/>
                </a:cubicBezTo>
                <a:cubicBezTo>
                  <a:pt x="27063" y="3750"/>
                  <a:pt x="27000" y="3844"/>
                  <a:pt x="26938" y="3875"/>
                </a:cubicBezTo>
                <a:cubicBezTo>
                  <a:pt x="26719" y="3906"/>
                  <a:pt x="26594" y="4062"/>
                  <a:pt x="26438" y="4156"/>
                </a:cubicBezTo>
                <a:cubicBezTo>
                  <a:pt x="26157" y="4281"/>
                  <a:pt x="25844" y="4000"/>
                  <a:pt x="25625" y="4312"/>
                </a:cubicBezTo>
                <a:cubicBezTo>
                  <a:pt x="25532" y="4156"/>
                  <a:pt x="25532" y="4062"/>
                  <a:pt x="25500" y="3937"/>
                </a:cubicBezTo>
                <a:cubicBezTo>
                  <a:pt x="25344" y="4062"/>
                  <a:pt x="25250" y="4250"/>
                  <a:pt x="25032" y="4312"/>
                </a:cubicBezTo>
                <a:cubicBezTo>
                  <a:pt x="24875" y="4375"/>
                  <a:pt x="24750" y="4312"/>
                  <a:pt x="24594" y="4312"/>
                </a:cubicBezTo>
                <a:cubicBezTo>
                  <a:pt x="24375" y="4344"/>
                  <a:pt x="24188" y="4312"/>
                  <a:pt x="24063" y="4125"/>
                </a:cubicBezTo>
                <a:cubicBezTo>
                  <a:pt x="24063" y="4187"/>
                  <a:pt x="24094" y="4281"/>
                  <a:pt x="24000" y="4344"/>
                </a:cubicBezTo>
                <a:cubicBezTo>
                  <a:pt x="23875" y="4312"/>
                  <a:pt x="24000" y="4094"/>
                  <a:pt x="23844" y="4125"/>
                </a:cubicBezTo>
                <a:cubicBezTo>
                  <a:pt x="23688" y="4125"/>
                  <a:pt x="23719" y="4344"/>
                  <a:pt x="23594" y="4406"/>
                </a:cubicBezTo>
                <a:cubicBezTo>
                  <a:pt x="23594" y="4219"/>
                  <a:pt x="23344" y="4281"/>
                  <a:pt x="23313" y="4094"/>
                </a:cubicBezTo>
                <a:cubicBezTo>
                  <a:pt x="23125" y="4156"/>
                  <a:pt x="23063" y="3969"/>
                  <a:pt x="22938" y="3906"/>
                </a:cubicBezTo>
                <a:cubicBezTo>
                  <a:pt x="22844" y="4094"/>
                  <a:pt x="22594" y="3687"/>
                  <a:pt x="22532" y="4000"/>
                </a:cubicBezTo>
                <a:cubicBezTo>
                  <a:pt x="22532" y="4031"/>
                  <a:pt x="22438" y="3906"/>
                  <a:pt x="22375" y="3844"/>
                </a:cubicBezTo>
                <a:cubicBezTo>
                  <a:pt x="22344" y="3781"/>
                  <a:pt x="22344" y="3625"/>
                  <a:pt x="22250" y="3719"/>
                </a:cubicBezTo>
                <a:cubicBezTo>
                  <a:pt x="22032" y="3844"/>
                  <a:pt x="22000" y="3656"/>
                  <a:pt x="21938" y="3562"/>
                </a:cubicBezTo>
                <a:cubicBezTo>
                  <a:pt x="21844" y="3312"/>
                  <a:pt x="21813" y="3500"/>
                  <a:pt x="21719" y="3562"/>
                </a:cubicBezTo>
                <a:cubicBezTo>
                  <a:pt x="21469" y="3406"/>
                  <a:pt x="21282" y="3187"/>
                  <a:pt x="21125" y="2906"/>
                </a:cubicBezTo>
                <a:cubicBezTo>
                  <a:pt x="21000" y="2594"/>
                  <a:pt x="20844" y="2312"/>
                  <a:pt x="20688" y="2031"/>
                </a:cubicBezTo>
                <a:cubicBezTo>
                  <a:pt x="20532" y="1812"/>
                  <a:pt x="20407" y="1562"/>
                  <a:pt x="20219" y="1375"/>
                </a:cubicBezTo>
                <a:cubicBezTo>
                  <a:pt x="20188" y="1344"/>
                  <a:pt x="20157" y="1312"/>
                  <a:pt x="20157" y="1281"/>
                </a:cubicBezTo>
                <a:cubicBezTo>
                  <a:pt x="19969" y="1000"/>
                  <a:pt x="19782" y="719"/>
                  <a:pt x="19594" y="437"/>
                </a:cubicBezTo>
                <a:cubicBezTo>
                  <a:pt x="19469" y="562"/>
                  <a:pt x="19688" y="625"/>
                  <a:pt x="19594" y="781"/>
                </a:cubicBezTo>
                <a:cubicBezTo>
                  <a:pt x="19438" y="562"/>
                  <a:pt x="19250" y="437"/>
                  <a:pt x="19188" y="188"/>
                </a:cubicBezTo>
                <a:cubicBezTo>
                  <a:pt x="19157" y="125"/>
                  <a:pt x="19157" y="94"/>
                  <a:pt x="19063" y="63"/>
                </a:cubicBezTo>
                <a:cubicBezTo>
                  <a:pt x="18813" y="0"/>
                  <a:pt x="18563" y="0"/>
                  <a:pt x="18344" y="125"/>
                </a:cubicBezTo>
                <a:cubicBezTo>
                  <a:pt x="17657" y="594"/>
                  <a:pt x="17063" y="1125"/>
                  <a:pt x="16719" y="1906"/>
                </a:cubicBezTo>
                <a:cubicBezTo>
                  <a:pt x="16625" y="1969"/>
                  <a:pt x="16563" y="1937"/>
                  <a:pt x="16500" y="1844"/>
                </a:cubicBezTo>
                <a:cubicBezTo>
                  <a:pt x="16407" y="2125"/>
                  <a:pt x="16219" y="2344"/>
                  <a:pt x="16219" y="2625"/>
                </a:cubicBezTo>
                <a:cubicBezTo>
                  <a:pt x="16219" y="2625"/>
                  <a:pt x="16219" y="2625"/>
                  <a:pt x="16219" y="2625"/>
                </a:cubicBezTo>
                <a:cubicBezTo>
                  <a:pt x="16188" y="2594"/>
                  <a:pt x="16157" y="2594"/>
                  <a:pt x="16125" y="2562"/>
                </a:cubicBezTo>
                <a:cubicBezTo>
                  <a:pt x="16157" y="2750"/>
                  <a:pt x="16000" y="2906"/>
                  <a:pt x="16032" y="3094"/>
                </a:cubicBezTo>
                <a:cubicBezTo>
                  <a:pt x="15782" y="3500"/>
                  <a:pt x="15688" y="4000"/>
                  <a:pt x="15469" y="4437"/>
                </a:cubicBezTo>
                <a:cubicBezTo>
                  <a:pt x="15282" y="4562"/>
                  <a:pt x="15219" y="4906"/>
                  <a:pt x="14907" y="4875"/>
                </a:cubicBezTo>
                <a:cubicBezTo>
                  <a:pt x="14969" y="4969"/>
                  <a:pt x="15000" y="5031"/>
                  <a:pt x="15063" y="5125"/>
                </a:cubicBezTo>
                <a:cubicBezTo>
                  <a:pt x="15063" y="5187"/>
                  <a:pt x="15063" y="5250"/>
                  <a:pt x="14969" y="5250"/>
                </a:cubicBezTo>
                <a:cubicBezTo>
                  <a:pt x="14907" y="5187"/>
                  <a:pt x="14875" y="5156"/>
                  <a:pt x="14813" y="5219"/>
                </a:cubicBezTo>
                <a:cubicBezTo>
                  <a:pt x="14688" y="5312"/>
                  <a:pt x="14844" y="5375"/>
                  <a:pt x="14844" y="5469"/>
                </a:cubicBezTo>
                <a:cubicBezTo>
                  <a:pt x="14844" y="5469"/>
                  <a:pt x="14844" y="5469"/>
                  <a:pt x="14844" y="5469"/>
                </a:cubicBezTo>
                <a:cubicBezTo>
                  <a:pt x="14782" y="5469"/>
                  <a:pt x="14750" y="5531"/>
                  <a:pt x="14688" y="5531"/>
                </a:cubicBezTo>
                <a:cubicBezTo>
                  <a:pt x="14438" y="5625"/>
                  <a:pt x="14563" y="5937"/>
                  <a:pt x="14375" y="6031"/>
                </a:cubicBezTo>
                <a:cubicBezTo>
                  <a:pt x="14188" y="6125"/>
                  <a:pt x="14344" y="6156"/>
                  <a:pt x="14344" y="6219"/>
                </a:cubicBezTo>
                <a:cubicBezTo>
                  <a:pt x="14282" y="6406"/>
                  <a:pt x="14094" y="6469"/>
                  <a:pt x="13969" y="6562"/>
                </a:cubicBezTo>
                <a:cubicBezTo>
                  <a:pt x="13907" y="6594"/>
                  <a:pt x="14000" y="6719"/>
                  <a:pt x="13907" y="6781"/>
                </a:cubicBezTo>
                <a:cubicBezTo>
                  <a:pt x="13875" y="6781"/>
                  <a:pt x="13875" y="6781"/>
                  <a:pt x="13844" y="6812"/>
                </a:cubicBezTo>
                <a:cubicBezTo>
                  <a:pt x="13844" y="6812"/>
                  <a:pt x="13844" y="6812"/>
                  <a:pt x="13844" y="6844"/>
                </a:cubicBezTo>
                <a:cubicBezTo>
                  <a:pt x="13813" y="6937"/>
                  <a:pt x="13657" y="6937"/>
                  <a:pt x="13594" y="7031"/>
                </a:cubicBezTo>
                <a:cubicBezTo>
                  <a:pt x="13313" y="7094"/>
                  <a:pt x="13313" y="7312"/>
                  <a:pt x="13282" y="7531"/>
                </a:cubicBezTo>
                <a:cubicBezTo>
                  <a:pt x="13157" y="7719"/>
                  <a:pt x="13094" y="7937"/>
                  <a:pt x="12875" y="8031"/>
                </a:cubicBezTo>
                <a:cubicBezTo>
                  <a:pt x="12657" y="8031"/>
                  <a:pt x="12594" y="8094"/>
                  <a:pt x="12750" y="8281"/>
                </a:cubicBezTo>
                <a:cubicBezTo>
                  <a:pt x="12719" y="8344"/>
                  <a:pt x="12657" y="8437"/>
                  <a:pt x="12625" y="8437"/>
                </a:cubicBezTo>
                <a:cubicBezTo>
                  <a:pt x="12375" y="8312"/>
                  <a:pt x="12344" y="8562"/>
                  <a:pt x="12250" y="8656"/>
                </a:cubicBezTo>
                <a:cubicBezTo>
                  <a:pt x="12125" y="8781"/>
                  <a:pt x="12063" y="8906"/>
                  <a:pt x="11907" y="8969"/>
                </a:cubicBezTo>
                <a:cubicBezTo>
                  <a:pt x="11907" y="9062"/>
                  <a:pt x="12063" y="9000"/>
                  <a:pt x="12000" y="9094"/>
                </a:cubicBezTo>
                <a:cubicBezTo>
                  <a:pt x="11844" y="9281"/>
                  <a:pt x="11688" y="9437"/>
                  <a:pt x="11469" y="9562"/>
                </a:cubicBezTo>
                <a:cubicBezTo>
                  <a:pt x="11313" y="9656"/>
                  <a:pt x="11313" y="9719"/>
                  <a:pt x="11375" y="9844"/>
                </a:cubicBezTo>
                <a:cubicBezTo>
                  <a:pt x="11344" y="9844"/>
                  <a:pt x="11282" y="9844"/>
                  <a:pt x="11250" y="9875"/>
                </a:cubicBezTo>
                <a:cubicBezTo>
                  <a:pt x="11157" y="9875"/>
                  <a:pt x="10969" y="9875"/>
                  <a:pt x="11032" y="10000"/>
                </a:cubicBezTo>
                <a:cubicBezTo>
                  <a:pt x="11125" y="10219"/>
                  <a:pt x="10969" y="10219"/>
                  <a:pt x="10844" y="10281"/>
                </a:cubicBezTo>
                <a:cubicBezTo>
                  <a:pt x="10625" y="10344"/>
                  <a:pt x="10407" y="10375"/>
                  <a:pt x="10313" y="10625"/>
                </a:cubicBezTo>
                <a:cubicBezTo>
                  <a:pt x="10219" y="10656"/>
                  <a:pt x="10125" y="10687"/>
                  <a:pt x="10032" y="10781"/>
                </a:cubicBezTo>
                <a:cubicBezTo>
                  <a:pt x="9938" y="10875"/>
                  <a:pt x="9938" y="10937"/>
                  <a:pt x="10063" y="10969"/>
                </a:cubicBezTo>
                <a:cubicBezTo>
                  <a:pt x="10125" y="11219"/>
                  <a:pt x="9938" y="11281"/>
                  <a:pt x="9782" y="11281"/>
                </a:cubicBezTo>
                <a:cubicBezTo>
                  <a:pt x="9657" y="11281"/>
                  <a:pt x="9625" y="11312"/>
                  <a:pt x="9625" y="11437"/>
                </a:cubicBezTo>
                <a:cubicBezTo>
                  <a:pt x="9407" y="11406"/>
                  <a:pt x="9094" y="11312"/>
                  <a:pt x="9250" y="11750"/>
                </a:cubicBezTo>
                <a:cubicBezTo>
                  <a:pt x="9282" y="11781"/>
                  <a:pt x="9188" y="11812"/>
                  <a:pt x="9157" y="11812"/>
                </a:cubicBezTo>
                <a:cubicBezTo>
                  <a:pt x="9000" y="11687"/>
                  <a:pt x="8875" y="11812"/>
                  <a:pt x="8719" y="11812"/>
                </a:cubicBezTo>
                <a:cubicBezTo>
                  <a:pt x="8750" y="11844"/>
                  <a:pt x="8750" y="11875"/>
                  <a:pt x="8782" y="11906"/>
                </a:cubicBezTo>
                <a:cubicBezTo>
                  <a:pt x="8844" y="12000"/>
                  <a:pt x="8969" y="12062"/>
                  <a:pt x="8875" y="12187"/>
                </a:cubicBezTo>
                <a:cubicBezTo>
                  <a:pt x="8782" y="12281"/>
                  <a:pt x="8719" y="12125"/>
                  <a:pt x="8657" y="12156"/>
                </a:cubicBezTo>
                <a:cubicBezTo>
                  <a:pt x="8563" y="12156"/>
                  <a:pt x="8375" y="12031"/>
                  <a:pt x="8500" y="12281"/>
                </a:cubicBezTo>
                <a:cubicBezTo>
                  <a:pt x="8532" y="12375"/>
                  <a:pt x="8469" y="12469"/>
                  <a:pt x="8375" y="12469"/>
                </a:cubicBezTo>
                <a:cubicBezTo>
                  <a:pt x="8094" y="12437"/>
                  <a:pt x="8125" y="12781"/>
                  <a:pt x="7907" y="12812"/>
                </a:cubicBezTo>
                <a:cubicBezTo>
                  <a:pt x="8063" y="13281"/>
                  <a:pt x="7375" y="13000"/>
                  <a:pt x="7469" y="13375"/>
                </a:cubicBezTo>
                <a:cubicBezTo>
                  <a:pt x="7219" y="13312"/>
                  <a:pt x="7032" y="13594"/>
                  <a:pt x="6688" y="13437"/>
                </a:cubicBezTo>
                <a:cubicBezTo>
                  <a:pt x="6844" y="13594"/>
                  <a:pt x="7000" y="13531"/>
                  <a:pt x="7063" y="13719"/>
                </a:cubicBezTo>
                <a:cubicBezTo>
                  <a:pt x="6500" y="13750"/>
                  <a:pt x="6063" y="14062"/>
                  <a:pt x="5532" y="14156"/>
                </a:cubicBezTo>
                <a:cubicBezTo>
                  <a:pt x="5625" y="14344"/>
                  <a:pt x="5938" y="14094"/>
                  <a:pt x="5969" y="14437"/>
                </a:cubicBezTo>
                <a:cubicBezTo>
                  <a:pt x="5844" y="14437"/>
                  <a:pt x="5782" y="14531"/>
                  <a:pt x="5657" y="14531"/>
                </a:cubicBezTo>
                <a:cubicBezTo>
                  <a:pt x="5532" y="14312"/>
                  <a:pt x="5407" y="14437"/>
                  <a:pt x="5282" y="14531"/>
                </a:cubicBezTo>
                <a:cubicBezTo>
                  <a:pt x="5125" y="14687"/>
                  <a:pt x="5344" y="14719"/>
                  <a:pt x="5407" y="14812"/>
                </a:cubicBezTo>
                <a:cubicBezTo>
                  <a:pt x="5219" y="14937"/>
                  <a:pt x="5063" y="14750"/>
                  <a:pt x="4907" y="14750"/>
                </a:cubicBezTo>
                <a:cubicBezTo>
                  <a:pt x="4844" y="14750"/>
                  <a:pt x="4782" y="14719"/>
                  <a:pt x="4782" y="14812"/>
                </a:cubicBezTo>
                <a:cubicBezTo>
                  <a:pt x="4750" y="14875"/>
                  <a:pt x="4750" y="14906"/>
                  <a:pt x="4750" y="14937"/>
                </a:cubicBezTo>
                <a:cubicBezTo>
                  <a:pt x="4625" y="14937"/>
                  <a:pt x="4469" y="14969"/>
                  <a:pt x="4407" y="15000"/>
                </a:cubicBezTo>
                <a:cubicBezTo>
                  <a:pt x="4125" y="15094"/>
                  <a:pt x="3907" y="15312"/>
                  <a:pt x="3719" y="15562"/>
                </a:cubicBezTo>
                <a:cubicBezTo>
                  <a:pt x="3563" y="15719"/>
                  <a:pt x="3407" y="15812"/>
                  <a:pt x="3188" y="15687"/>
                </a:cubicBezTo>
                <a:cubicBezTo>
                  <a:pt x="3188" y="15687"/>
                  <a:pt x="3188" y="15687"/>
                  <a:pt x="3188" y="15687"/>
                </a:cubicBezTo>
                <a:cubicBezTo>
                  <a:pt x="3282" y="15844"/>
                  <a:pt x="3469" y="15969"/>
                  <a:pt x="3125" y="16000"/>
                </a:cubicBezTo>
                <a:cubicBezTo>
                  <a:pt x="3063" y="16000"/>
                  <a:pt x="3032" y="16094"/>
                  <a:pt x="3032" y="16156"/>
                </a:cubicBezTo>
                <a:cubicBezTo>
                  <a:pt x="2969" y="16375"/>
                  <a:pt x="2782" y="16375"/>
                  <a:pt x="2625" y="16375"/>
                </a:cubicBezTo>
                <a:cubicBezTo>
                  <a:pt x="2719" y="16437"/>
                  <a:pt x="2782" y="16531"/>
                  <a:pt x="2657" y="16656"/>
                </a:cubicBezTo>
                <a:cubicBezTo>
                  <a:pt x="2532" y="16750"/>
                  <a:pt x="2594" y="16875"/>
                  <a:pt x="2563" y="16969"/>
                </a:cubicBezTo>
                <a:cubicBezTo>
                  <a:pt x="2500" y="17000"/>
                  <a:pt x="2438" y="16937"/>
                  <a:pt x="2375" y="17031"/>
                </a:cubicBezTo>
                <a:cubicBezTo>
                  <a:pt x="2188" y="17219"/>
                  <a:pt x="1938" y="17437"/>
                  <a:pt x="2032" y="17687"/>
                </a:cubicBezTo>
                <a:cubicBezTo>
                  <a:pt x="2094" y="17844"/>
                  <a:pt x="1782" y="18062"/>
                  <a:pt x="2094" y="18125"/>
                </a:cubicBezTo>
                <a:cubicBezTo>
                  <a:pt x="2063" y="18187"/>
                  <a:pt x="2032" y="18250"/>
                  <a:pt x="1938" y="18219"/>
                </a:cubicBezTo>
                <a:cubicBezTo>
                  <a:pt x="1875" y="18156"/>
                  <a:pt x="1813" y="18094"/>
                  <a:pt x="1719" y="18062"/>
                </a:cubicBezTo>
                <a:cubicBezTo>
                  <a:pt x="1688" y="18125"/>
                  <a:pt x="1625" y="18187"/>
                  <a:pt x="1594" y="18250"/>
                </a:cubicBezTo>
                <a:cubicBezTo>
                  <a:pt x="1469" y="18437"/>
                  <a:pt x="1438" y="18594"/>
                  <a:pt x="1625" y="18719"/>
                </a:cubicBezTo>
                <a:cubicBezTo>
                  <a:pt x="1875" y="18844"/>
                  <a:pt x="1969" y="19094"/>
                  <a:pt x="2188" y="19219"/>
                </a:cubicBezTo>
                <a:cubicBezTo>
                  <a:pt x="2344" y="19344"/>
                  <a:pt x="2500" y="19500"/>
                  <a:pt x="2750" y="19500"/>
                </a:cubicBezTo>
                <a:cubicBezTo>
                  <a:pt x="2688" y="19344"/>
                  <a:pt x="2719" y="19156"/>
                  <a:pt x="2594" y="19031"/>
                </a:cubicBezTo>
                <a:cubicBezTo>
                  <a:pt x="2907" y="18875"/>
                  <a:pt x="2719" y="18656"/>
                  <a:pt x="2625" y="18469"/>
                </a:cubicBezTo>
                <a:cubicBezTo>
                  <a:pt x="2907" y="18312"/>
                  <a:pt x="3125" y="18500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ubicBezTo>
                  <a:pt x="3407" y="18656"/>
                  <a:pt x="3438" y="18656"/>
                  <a:pt x="3500" y="18687"/>
                </a:cubicBezTo>
                <a:cubicBezTo>
                  <a:pt x="3500" y="18687"/>
                  <a:pt x="3500" y="18687"/>
                  <a:pt x="3500" y="18687"/>
                </a:cubicBezTo>
                <a:cubicBezTo>
                  <a:pt x="3532" y="18687"/>
                  <a:pt x="3563" y="18687"/>
                  <a:pt x="3594" y="18687"/>
                </a:cubicBezTo>
                <a:cubicBezTo>
                  <a:pt x="3594" y="18656"/>
                  <a:pt x="3532" y="18656"/>
                  <a:pt x="3532" y="18656"/>
                </a:cubicBezTo>
                <a:cubicBezTo>
                  <a:pt x="3469" y="18625"/>
                  <a:pt x="3438" y="18594"/>
                  <a:pt x="3407" y="18594"/>
                </a:cubicBezTo>
                <a:cubicBezTo>
                  <a:pt x="3407" y="18437"/>
                  <a:pt x="3625" y="18594"/>
                  <a:pt x="3594" y="18437"/>
                </a:cubicBezTo>
                <a:cubicBezTo>
                  <a:pt x="3313" y="18375"/>
                  <a:pt x="3094" y="18250"/>
                  <a:pt x="2844" y="18062"/>
                </a:cubicBezTo>
                <a:cubicBezTo>
                  <a:pt x="3125" y="18156"/>
                  <a:pt x="3157" y="17844"/>
                  <a:pt x="3407" y="17781"/>
                </a:cubicBezTo>
                <a:cubicBezTo>
                  <a:pt x="3219" y="17687"/>
                  <a:pt x="3094" y="17812"/>
                  <a:pt x="3000" y="17875"/>
                </a:cubicBezTo>
                <a:cubicBezTo>
                  <a:pt x="3000" y="17781"/>
                  <a:pt x="3000" y="17687"/>
                  <a:pt x="3000" y="17625"/>
                </a:cubicBezTo>
                <a:cubicBezTo>
                  <a:pt x="3063" y="17625"/>
                  <a:pt x="3125" y="17656"/>
                  <a:pt x="3188" y="17656"/>
                </a:cubicBezTo>
                <a:cubicBezTo>
                  <a:pt x="3157" y="17594"/>
                  <a:pt x="3157" y="17562"/>
                  <a:pt x="3125" y="17500"/>
                </a:cubicBezTo>
                <a:cubicBezTo>
                  <a:pt x="3125" y="17469"/>
                  <a:pt x="3125" y="17437"/>
                  <a:pt x="3094" y="17406"/>
                </a:cubicBezTo>
                <a:cubicBezTo>
                  <a:pt x="3125" y="17437"/>
                  <a:pt x="3125" y="17469"/>
                  <a:pt x="3125" y="17500"/>
                </a:cubicBezTo>
                <a:cubicBezTo>
                  <a:pt x="3157" y="17562"/>
                  <a:pt x="3157" y="17594"/>
                  <a:pt x="3188" y="17656"/>
                </a:cubicBezTo>
                <a:cubicBezTo>
                  <a:pt x="3375" y="17656"/>
                  <a:pt x="3563" y="17656"/>
                  <a:pt x="3750" y="17719"/>
                </a:cubicBezTo>
                <a:cubicBezTo>
                  <a:pt x="3750" y="17719"/>
                  <a:pt x="3750" y="17719"/>
                  <a:pt x="3750" y="17719"/>
                </a:cubicBezTo>
                <a:cubicBezTo>
                  <a:pt x="3782" y="17719"/>
                  <a:pt x="3782" y="17719"/>
                  <a:pt x="3782" y="17750"/>
                </a:cubicBezTo>
                <a:cubicBezTo>
                  <a:pt x="3782" y="17750"/>
                  <a:pt x="3782" y="17719"/>
                  <a:pt x="3782" y="17719"/>
                </a:cubicBezTo>
                <a:cubicBezTo>
                  <a:pt x="3782" y="17719"/>
                  <a:pt x="3782" y="17719"/>
                  <a:pt x="3750" y="17719"/>
                </a:cubicBezTo>
                <a:cubicBezTo>
                  <a:pt x="3907" y="17562"/>
                  <a:pt x="4032" y="17750"/>
                  <a:pt x="4157" y="17750"/>
                </a:cubicBezTo>
                <a:cubicBezTo>
                  <a:pt x="4219" y="17750"/>
                  <a:pt x="4344" y="17781"/>
                  <a:pt x="4313" y="17719"/>
                </a:cubicBezTo>
                <a:cubicBezTo>
                  <a:pt x="4219" y="17469"/>
                  <a:pt x="4438" y="17656"/>
                  <a:pt x="4469" y="17562"/>
                </a:cubicBezTo>
                <a:cubicBezTo>
                  <a:pt x="4563" y="17594"/>
                  <a:pt x="4688" y="17562"/>
                  <a:pt x="4719" y="17719"/>
                </a:cubicBezTo>
                <a:cubicBezTo>
                  <a:pt x="4657" y="17781"/>
                  <a:pt x="4438" y="17719"/>
                  <a:pt x="4469" y="17906"/>
                </a:cubicBezTo>
                <a:cubicBezTo>
                  <a:pt x="4500" y="18031"/>
                  <a:pt x="4532" y="18156"/>
                  <a:pt x="4688" y="18219"/>
                </a:cubicBezTo>
                <a:cubicBezTo>
                  <a:pt x="4750" y="18250"/>
                  <a:pt x="4844" y="18312"/>
                  <a:pt x="4907" y="18344"/>
                </a:cubicBezTo>
                <a:cubicBezTo>
                  <a:pt x="4907" y="18344"/>
                  <a:pt x="4907" y="18344"/>
                  <a:pt x="4907" y="18344"/>
                </a:cubicBezTo>
                <a:cubicBezTo>
                  <a:pt x="4907" y="18375"/>
                  <a:pt x="4907" y="18437"/>
                  <a:pt x="4907" y="18469"/>
                </a:cubicBezTo>
                <a:cubicBezTo>
                  <a:pt x="4657" y="18594"/>
                  <a:pt x="4344" y="18500"/>
                  <a:pt x="3969" y="18625"/>
                </a:cubicBezTo>
                <a:cubicBezTo>
                  <a:pt x="4219" y="18687"/>
                  <a:pt x="4344" y="18719"/>
                  <a:pt x="4500" y="18750"/>
                </a:cubicBezTo>
                <a:cubicBezTo>
                  <a:pt x="4532" y="18875"/>
                  <a:pt x="4344" y="18844"/>
                  <a:pt x="4375" y="18937"/>
                </a:cubicBezTo>
                <a:cubicBezTo>
                  <a:pt x="4407" y="19031"/>
                  <a:pt x="4500" y="19031"/>
                  <a:pt x="4594" y="19031"/>
                </a:cubicBezTo>
                <a:cubicBezTo>
                  <a:pt x="4688" y="19031"/>
                  <a:pt x="4782" y="19031"/>
                  <a:pt x="4875" y="19125"/>
                </a:cubicBezTo>
                <a:cubicBezTo>
                  <a:pt x="4657" y="19219"/>
                  <a:pt x="4625" y="19375"/>
                  <a:pt x="4782" y="19500"/>
                </a:cubicBezTo>
                <a:cubicBezTo>
                  <a:pt x="4938" y="19656"/>
                  <a:pt x="4969" y="19437"/>
                  <a:pt x="5063" y="19375"/>
                </a:cubicBezTo>
                <a:cubicBezTo>
                  <a:pt x="5250" y="19312"/>
                  <a:pt x="5250" y="19062"/>
                  <a:pt x="5469" y="19031"/>
                </a:cubicBezTo>
                <a:cubicBezTo>
                  <a:pt x="5532" y="19031"/>
                  <a:pt x="5594" y="18906"/>
                  <a:pt x="5625" y="19000"/>
                </a:cubicBezTo>
                <a:cubicBezTo>
                  <a:pt x="5688" y="19094"/>
                  <a:pt x="5625" y="19156"/>
                  <a:pt x="5563" y="19187"/>
                </a:cubicBezTo>
                <a:cubicBezTo>
                  <a:pt x="5438" y="19312"/>
                  <a:pt x="5282" y="19406"/>
                  <a:pt x="5125" y="19531"/>
                </a:cubicBezTo>
                <a:cubicBezTo>
                  <a:pt x="5625" y="19531"/>
                  <a:pt x="5657" y="19531"/>
                  <a:pt x="6094" y="19000"/>
                </a:cubicBezTo>
                <a:cubicBezTo>
                  <a:pt x="6032" y="18781"/>
                  <a:pt x="5844" y="19187"/>
                  <a:pt x="5813" y="18937"/>
                </a:cubicBezTo>
                <a:cubicBezTo>
                  <a:pt x="5782" y="18750"/>
                  <a:pt x="5625" y="18750"/>
                  <a:pt x="5500" y="18687"/>
                </a:cubicBezTo>
                <a:cubicBezTo>
                  <a:pt x="5594" y="18594"/>
                  <a:pt x="5657" y="18469"/>
                  <a:pt x="5750" y="18469"/>
                </a:cubicBezTo>
                <a:cubicBezTo>
                  <a:pt x="5969" y="18500"/>
                  <a:pt x="5938" y="18344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ubicBezTo>
                  <a:pt x="5750" y="18375"/>
                  <a:pt x="5657" y="18281"/>
                  <a:pt x="5563" y="18094"/>
                </a:cubicBezTo>
                <a:cubicBezTo>
                  <a:pt x="5438" y="18094"/>
                  <a:pt x="5344" y="18156"/>
                  <a:pt x="5282" y="18250"/>
                </a:cubicBezTo>
                <a:cubicBezTo>
                  <a:pt x="5344" y="18156"/>
                  <a:pt x="5438" y="18094"/>
                  <a:pt x="5563" y="18094"/>
                </a:cubicBezTo>
                <a:cubicBezTo>
                  <a:pt x="5594" y="18062"/>
                  <a:pt x="5563" y="17969"/>
                  <a:pt x="5657" y="17969"/>
                </a:cubicBezTo>
                <a:cubicBezTo>
                  <a:pt x="5719" y="18094"/>
                  <a:pt x="5969" y="17969"/>
                  <a:pt x="5969" y="18219"/>
                </a:cubicBezTo>
                <a:lnTo>
                  <a:pt x="5969" y="18219"/>
                </a:lnTo>
                <a:cubicBezTo>
                  <a:pt x="5969" y="18219"/>
                  <a:pt x="5969" y="18219"/>
                  <a:pt x="5969" y="18219"/>
                </a:cubicBezTo>
                <a:cubicBezTo>
                  <a:pt x="6250" y="18062"/>
                  <a:pt x="6500" y="18219"/>
                  <a:pt x="6782" y="18281"/>
                </a:cubicBezTo>
                <a:cubicBezTo>
                  <a:pt x="6782" y="18375"/>
                  <a:pt x="6782" y="18437"/>
                  <a:pt x="6813" y="18531"/>
                </a:cubicBezTo>
                <a:cubicBezTo>
                  <a:pt x="6875" y="18781"/>
                  <a:pt x="6594" y="18781"/>
                  <a:pt x="6500" y="18906"/>
                </a:cubicBezTo>
                <a:cubicBezTo>
                  <a:pt x="6188" y="19344"/>
                  <a:pt x="5844" y="19750"/>
                  <a:pt x="5438" y="20094"/>
                </a:cubicBezTo>
                <a:cubicBezTo>
                  <a:pt x="5344" y="20156"/>
                  <a:pt x="5188" y="20187"/>
                  <a:pt x="5250" y="20406"/>
                </a:cubicBezTo>
                <a:cubicBezTo>
                  <a:pt x="5469" y="20187"/>
                  <a:pt x="5688" y="20031"/>
                  <a:pt x="5907" y="19812"/>
                </a:cubicBezTo>
                <a:cubicBezTo>
                  <a:pt x="6094" y="19625"/>
                  <a:pt x="6500" y="19562"/>
                  <a:pt x="6688" y="19719"/>
                </a:cubicBezTo>
                <a:cubicBezTo>
                  <a:pt x="6875" y="19844"/>
                  <a:pt x="7063" y="19969"/>
                  <a:pt x="7219" y="20156"/>
                </a:cubicBezTo>
                <a:cubicBezTo>
                  <a:pt x="7219" y="20156"/>
                  <a:pt x="7219" y="20156"/>
                  <a:pt x="7219" y="20156"/>
                </a:cubicBezTo>
                <a:cubicBezTo>
                  <a:pt x="7157" y="20250"/>
                  <a:pt x="7125" y="20344"/>
                  <a:pt x="7063" y="20406"/>
                </a:cubicBezTo>
                <a:cubicBezTo>
                  <a:pt x="6750" y="20562"/>
                  <a:pt x="6594" y="20906"/>
                  <a:pt x="6219" y="21000"/>
                </a:cubicBezTo>
                <a:cubicBezTo>
                  <a:pt x="6532" y="21094"/>
                  <a:pt x="6688" y="20906"/>
                  <a:pt x="6875" y="20781"/>
                </a:cubicBezTo>
                <a:cubicBezTo>
                  <a:pt x="7125" y="20594"/>
                  <a:pt x="7219" y="20656"/>
                  <a:pt x="7219" y="21000"/>
                </a:cubicBezTo>
                <a:cubicBezTo>
                  <a:pt x="7250" y="20969"/>
                  <a:pt x="7313" y="20969"/>
                  <a:pt x="7313" y="21000"/>
                </a:cubicBezTo>
                <a:cubicBezTo>
                  <a:pt x="7313" y="21062"/>
                  <a:pt x="7282" y="21062"/>
                  <a:pt x="7219" y="21062"/>
                </a:cubicBezTo>
                <a:cubicBezTo>
                  <a:pt x="7219" y="21062"/>
                  <a:pt x="7219" y="21031"/>
                  <a:pt x="7219" y="21031"/>
                </a:cubicBezTo>
                <a:cubicBezTo>
                  <a:pt x="7219" y="21031"/>
                  <a:pt x="7219" y="21000"/>
                  <a:pt x="7219" y="21000"/>
                </a:cubicBezTo>
                <a:cubicBezTo>
                  <a:pt x="7219" y="21000"/>
                  <a:pt x="7188" y="21000"/>
                  <a:pt x="7188" y="21000"/>
                </a:cubicBezTo>
                <a:lnTo>
                  <a:pt x="7188" y="21000"/>
                </a:lnTo>
                <a:cubicBezTo>
                  <a:pt x="7219" y="21031"/>
                  <a:pt x="7219" y="21031"/>
                  <a:pt x="7219" y="21031"/>
                </a:cubicBezTo>
                <a:cubicBezTo>
                  <a:pt x="7219" y="21031"/>
                  <a:pt x="7219" y="21062"/>
                  <a:pt x="7219" y="21062"/>
                </a:cubicBezTo>
                <a:cubicBezTo>
                  <a:pt x="7250" y="21125"/>
                  <a:pt x="7219" y="21250"/>
                  <a:pt x="7375" y="21187"/>
                </a:cubicBezTo>
                <a:cubicBezTo>
                  <a:pt x="7469" y="21125"/>
                  <a:pt x="7625" y="21156"/>
                  <a:pt x="7594" y="21250"/>
                </a:cubicBezTo>
                <a:cubicBezTo>
                  <a:pt x="7500" y="21469"/>
                  <a:pt x="7657" y="21406"/>
                  <a:pt x="7750" y="21469"/>
                </a:cubicBezTo>
                <a:cubicBezTo>
                  <a:pt x="7813" y="21500"/>
                  <a:pt x="7907" y="21531"/>
                  <a:pt x="7907" y="21594"/>
                </a:cubicBezTo>
                <a:cubicBezTo>
                  <a:pt x="7907" y="21594"/>
                  <a:pt x="7907" y="21594"/>
                  <a:pt x="7907" y="21594"/>
                </a:cubicBezTo>
                <a:cubicBezTo>
                  <a:pt x="7907" y="21625"/>
                  <a:pt x="7875" y="21656"/>
                  <a:pt x="7875" y="21656"/>
                </a:cubicBezTo>
                <a:cubicBezTo>
                  <a:pt x="7907" y="21687"/>
                  <a:pt x="7907" y="21687"/>
                  <a:pt x="7938" y="21656"/>
                </a:cubicBezTo>
                <a:cubicBezTo>
                  <a:pt x="8407" y="21344"/>
                  <a:pt x="8407" y="21344"/>
                  <a:pt x="8688" y="21625"/>
                </a:cubicBezTo>
                <a:cubicBezTo>
                  <a:pt x="8625" y="21687"/>
                  <a:pt x="8563" y="21750"/>
                  <a:pt x="8500" y="21812"/>
                </a:cubicBezTo>
                <a:cubicBezTo>
                  <a:pt x="8438" y="21875"/>
                  <a:pt x="8313" y="21937"/>
                  <a:pt x="8375" y="22031"/>
                </a:cubicBezTo>
                <a:cubicBezTo>
                  <a:pt x="8438" y="22094"/>
                  <a:pt x="8594" y="22094"/>
                  <a:pt x="8657" y="22094"/>
                </a:cubicBezTo>
                <a:cubicBezTo>
                  <a:pt x="8813" y="22031"/>
                  <a:pt x="8938" y="21969"/>
                  <a:pt x="9032" y="21875"/>
                </a:cubicBezTo>
                <a:cubicBezTo>
                  <a:pt x="9094" y="21844"/>
                  <a:pt x="9157" y="21719"/>
                  <a:pt x="9000" y="21687"/>
                </a:cubicBezTo>
                <a:cubicBezTo>
                  <a:pt x="8969" y="21531"/>
                  <a:pt x="9094" y="21500"/>
                  <a:pt x="9125" y="21406"/>
                </a:cubicBezTo>
                <a:cubicBezTo>
                  <a:pt x="9125" y="21406"/>
                  <a:pt x="9125" y="21406"/>
                  <a:pt x="9125" y="21406"/>
                </a:cubicBezTo>
                <a:cubicBezTo>
                  <a:pt x="9219" y="21375"/>
                  <a:pt x="9282" y="21344"/>
                  <a:pt x="9313" y="21250"/>
                </a:cubicBezTo>
                <a:cubicBezTo>
                  <a:pt x="9438" y="21219"/>
                  <a:pt x="9500" y="21156"/>
                  <a:pt x="9563" y="21062"/>
                </a:cubicBezTo>
                <a:cubicBezTo>
                  <a:pt x="9563" y="21062"/>
                  <a:pt x="9563" y="21062"/>
                  <a:pt x="9563" y="21062"/>
                </a:cubicBezTo>
                <a:cubicBezTo>
                  <a:pt x="9563" y="21062"/>
                  <a:pt x="9563" y="21031"/>
                  <a:pt x="9594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563" y="21031"/>
                  <a:pt x="9563" y="21062"/>
                  <a:pt x="9563" y="21062"/>
                </a:cubicBezTo>
                <a:cubicBezTo>
                  <a:pt x="9563" y="21031"/>
                  <a:pt x="9563" y="21031"/>
                  <a:pt x="9563" y="21031"/>
                </a:cubicBezTo>
                <a:cubicBezTo>
                  <a:pt x="9469" y="21031"/>
                  <a:pt x="9313" y="21031"/>
                  <a:pt x="9344" y="21000"/>
                </a:cubicBezTo>
                <a:cubicBezTo>
                  <a:pt x="9532" y="20844"/>
                  <a:pt x="9219" y="20875"/>
                  <a:pt x="9250" y="20781"/>
                </a:cubicBezTo>
                <a:cubicBezTo>
                  <a:pt x="9250" y="20781"/>
                  <a:pt x="9250" y="20781"/>
                  <a:pt x="9250" y="20781"/>
                </a:cubicBezTo>
                <a:cubicBezTo>
                  <a:pt x="9313" y="20750"/>
                  <a:pt x="9344" y="20719"/>
                  <a:pt x="9375" y="20687"/>
                </a:cubicBezTo>
                <a:cubicBezTo>
                  <a:pt x="9375" y="20687"/>
                  <a:pt x="9375" y="20687"/>
                  <a:pt x="9375" y="20687"/>
                </a:cubicBezTo>
                <a:cubicBezTo>
                  <a:pt x="9407" y="20656"/>
                  <a:pt x="9407" y="20656"/>
                  <a:pt x="9407" y="20625"/>
                </a:cubicBezTo>
                <a:cubicBezTo>
                  <a:pt x="9375" y="20625"/>
                  <a:pt x="9375" y="20625"/>
                  <a:pt x="9344" y="20625"/>
                </a:cubicBezTo>
                <a:cubicBezTo>
                  <a:pt x="9313" y="20656"/>
                  <a:pt x="9250" y="20687"/>
                  <a:pt x="9219" y="20719"/>
                </a:cubicBezTo>
                <a:cubicBezTo>
                  <a:pt x="9125" y="20812"/>
                  <a:pt x="9032" y="20906"/>
                  <a:pt x="8907" y="20875"/>
                </a:cubicBezTo>
                <a:cubicBezTo>
                  <a:pt x="8813" y="20844"/>
                  <a:pt x="8719" y="21031"/>
                  <a:pt x="8657" y="20875"/>
                </a:cubicBezTo>
                <a:cubicBezTo>
                  <a:pt x="8594" y="20719"/>
                  <a:pt x="8532" y="20719"/>
                  <a:pt x="8375" y="20750"/>
                </a:cubicBezTo>
                <a:cubicBezTo>
                  <a:pt x="8282" y="20750"/>
                  <a:pt x="8157" y="20656"/>
                  <a:pt x="8157" y="20531"/>
                </a:cubicBezTo>
                <a:cubicBezTo>
                  <a:pt x="8157" y="20531"/>
                  <a:pt x="8157" y="20531"/>
                  <a:pt x="8157" y="20531"/>
                </a:cubicBezTo>
                <a:cubicBezTo>
                  <a:pt x="8188" y="20500"/>
                  <a:pt x="8282" y="20500"/>
                  <a:pt x="8250" y="20437"/>
                </a:cubicBezTo>
                <a:cubicBezTo>
                  <a:pt x="8219" y="20375"/>
                  <a:pt x="8125" y="20406"/>
                  <a:pt x="8094" y="20469"/>
                </a:cubicBezTo>
                <a:cubicBezTo>
                  <a:pt x="7969" y="20500"/>
                  <a:pt x="7844" y="20531"/>
                  <a:pt x="7719" y="20531"/>
                </a:cubicBezTo>
                <a:cubicBezTo>
                  <a:pt x="7719" y="20531"/>
                  <a:pt x="7688" y="20531"/>
                  <a:pt x="7657" y="20531"/>
                </a:cubicBezTo>
                <a:cubicBezTo>
                  <a:pt x="7625" y="20312"/>
                  <a:pt x="7657" y="20187"/>
                  <a:pt x="7938" y="20281"/>
                </a:cubicBezTo>
                <a:cubicBezTo>
                  <a:pt x="8032" y="20312"/>
                  <a:pt x="8125" y="20281"/>
                  <a:pt x="8219" y="20281"/>
                </a:cubicBezTo>
                <a:cubicBezTo>
                  <a:pt x="8250" y="20406"/>
                  <a:pt x="8344" y="20375"/>
                  <a:pt x="8407" y="20344"/>
                </a:cubicBezTo>
                <a:cubicBezTo>
                  <a:pt x="8532" y="20281"/>
                  <a:pt x="8625" y="20281"/>
                  <a:pt x="8688" y="20437"/>
                </a:cubicBezTo>
                <a:cubicBezTo>
                  <a:pt x="8688" y="20500"/>
                  <a:pt x="8625" y="20594"/>
                  <a:pt x="8719" y="20594"/>
                </a:cubicBezTo>
                <a:cubicBezTo>
                  <a:pt x="8844" y="20625"/>
                  <a:pt x="8938" y="20562"/>
                  <a:pt x="9000" y="20437"/>
                </a:cubicBezTo>
                <a:cubicBezTo>
                  <a:pt x="9125" y="20437"/>
                  <a:pt x="9157" y="20312"/>
                  <a:pt x="9313" y="20250"/>
                </a:cubicBezTo>
                <a:cubicBezTo>
                  <a:pt x="9188" y="20219"/>
                  <a:pt x="9125" y="20187"/>
                  <a:pt x="9063" y="20156"/>
                </a:cubicBezTo>
                <a:cubicBezTo>
                  <a:pt x="9063" y="20094"/>
                  <a:pt x="9157" y="20000"/>
                  <a:pt x="9000" y="20031"/>
                </a:cubicBezTo>
                <a:cubicBezTo>
                  <a:pt x="8844" y="20062"/>
                  <a:pt x="8688" y="20062"/>
                  <a:pt x="8563" y="20094"/>
                </a:cubicBezTo>
                <a:cubicBezTo>
                  <a:pt x="8375" y="20125"/>
                  <a:pt x="8313" y="20062"/>
                  <a:pt x="8313" y="19906"/>
                </a:cubicBezTo>
                <a:cubicBezTo>
                  <a:pt x="8344" y="19937"/>
                  <a:pt x="8407" y="19937"/>
                  <a:pt x="8407" y="19844"/>
                </a:cubicBezTo>
                <a:cubicBezTo>
                  <a:pt x="8500" y="19812"/>
                  <a:pt x="8594" y="19812"/>
                  <a:pt x="8719" y="19812"/>
                </a:cubicBezTo>
                <a:cubicBezTo>
                  <a:pt x="8969" y="19875"/>
                  <a:pt x="9250" y="20062"/>
                  <a:pt x="9500" y="19812"/>
                </a:cubicBezTo>
                <a:cubicBezTo>
                  <a:pt x="9532" y="19781"/>
                  <a:pt x="9594" y="19719"/>
                  <a:pt x="9657" y="19812"/>
                </a:cubicBezTo>
                <a:cubicBezTo>
                  <a:pt x="9563" y="19875"/>
                  <a:pt x="9469" y="19937"/>
                  <a:pt x="9375" y="20031"/>
                </a:cubicBezTo>
                <a:cubicBezTo>
                  <a:pt x="9375" y="20062"/>
                  <a:pt x="9344" y="20187"/>
                  <a:pt x="9407" y="20156"/>
                </a:cubicBezTo>
                <a:cubicBezTo>
                  <a:pt x="9657" y="20094"/>
                  <a:pt x="9532" y="20219"/>
                  <a:pt x="9500" y="20312"/>
                </a:cubicBezTo>
                <a:cubicBezTo>
                  <a:pt x="9500" y="20500"/>
                  <a:pt x="9500" y="20687"/>
                  <a:pt x="9469" y="20875"/>
                </a:cubicBezTo>
                <a:cubicBezTo>
                  <a:pt x="9782" y="20750"/>
                  <a:pt x="9844" y="20562"/>
                  <a:pt x="9782" y="20312"/>
                </a:cubicBezTo>
                <a:cubicBezTo>
                  <a:pt x="9750" y="20219"/>
                  <a:pt x="9782" y="20094"/>
                  <a:pt x="9938" y="20125"/>
                </a:cubicBezTo>
                <a:cubicBezTo>
                  <a:pt x="10219" y="20219"/>
                  <a:pt x="10250" y="20375"/>
                  <a:pt x="10032" y="20594"/>
                </a:cubicBezTo>
                <a:cubicBezTo>
                  <a:pt x="10000" y="20656"/>
                  <a:pt x="9907" y="20687"/>
                  <a:pt x="9938" y="20750"/>
                </a:cubicBezTo>
                <a:cubicBezTo>
                  <a:pt x="9969" y="20781"/>
                  <a:pt x="10032" y="20812"/>
                  <a:pt x="10063" y="20812"/>
                </a:cubicBezTo>
                <a:cubicBezTo>
                  <a:pt x="10188" y="20875"/>
                  <a:pt x="10188" y="20781"/>
                  <a:pt x="10219" y="20719"/>
                </a:cubicBezTo>
                <a:cubicBezTo>
                  <a:pt x="10407" y="20562"/>
                  <a:pt x="10313" y="20250"/>
                  <a:pt x="10500" y="20094"/>
                </a:cubicBezTo>
                <a:cubicBezTo>
                  <a:pt x="10532" y="20062"/>
                  <a:pt x="10563" y="20000"/>
                  <a:pt x="10625" y="20000"/>
                </a:cubicBezTo>
                <a:cubicBezTo>
                  <a:pt x="10688" y="20031"/>
                  <a:pt x="10657" y="20094"/>
                  <a:pt x="10657" y="20156"/>
                </a:cubicBezTo>
                <a:cubicBezTo>
                  <a:pt x="10625" y="20375"/>
                  <a:pt x="10469" y="20531"/>
                  <a:pt x="10375" y="20750"/>
                </a:cubicBezTo>
                <a:cubicBezTo>
                  <a:pt x="10782" y="20750"/>
                  <a:pt x="10782" y="20406"/>
                  <a:pt x="10938" y="20156"/>
                </a:cubicBezTo>
                <a:cubicBezTo>
                  <a:pt x="11094" y="20062"/>
                  <a:pt x="11188" y="19844"/>
                  <a:pt x="11407" y="19875"/>
                </a:cubicBezTo>
                <a:cubicBezTo>
                  <a:pt x="11469" y="19875"/>
                  <a:pt x="11500" y="19906"/>
                  <a:pt x="11532" y="19844"/>
                </a:cubicBezTo>
                <a:cubicBezTo>
                  <a:pt x="11563" y="19781"/>
                  <a:pt x="11532" y="19750"/>
                  <a:pt x="11500" y="19719"/>
                </a:cubicBezTo>
                <a:cubicBezTo>
                  <a:pt x="11469" y="19656"/>
                  <a:pt x="11407" y="19687"/>
                  <a:pt x="11375" y="19687"/>
                </a:cubicBezTo>
                <a:cubicBezTo>
                  <a:pt x="11313" y="19719"/>
                  <a:pt x="11250" y="19781"/>
                  <a:pt x="11157" y="19750"/>
                </a:cubicBezTo>
                <a:cubicBezTo>
                  <a:pt x="11157" y="19625"/>
                  <a:pt x="11094" y="19500"/>
                  <a:pt x="11250" y="19406"/>
                </a:cubicBezTo>
                <a:cubicBezTo>
                  <a:pt x="11375" y="19344"/>
                  <a:pt x="11500" y="19406"/>
                  <a:pt x="11625" y="19469"/>
                </a:cubicBezTo>
                <a:cubicBezTo>
                  <a:pt x="11594" y="19594"/>
                  <a:pt x="11625" y="19656"/>
                  <a:pt x="11750" y="19687"/>
                </a:cubicBezTo>
                <a:cubicBezTo>
                  <a:pt x="11719" y="19781"/>
                  <a:pt x="11875" y="19812"/>
                  <a:pt x="11782" y="19969"/>
                </a:cubicBezTo>
                <a:cubicBezTo>
                  <a:pt x="11688" y="20062"/>
                  <a:pt x="11969" y="20219"/>
                  <a:pt x="11875" y="20406"/>
                </a:cubicBezTo>
                <a:cubicBezTo>
                  <a:pt x="11907" y="20406"/>
                  <a:pt x="11938" y="20437"/>
                  <a:pt x="11938" y="20437"/>
                </a:cubicBezTo>
                <a:cubicBezTo>
                  <a:pt x="11969" y="20281"/>
                  <a:pt x="12188" y="20219"/>
                  <a:pt x="12157" y="20031"/>
                </a:cubicBezTo>
                <a:cubicBezTo>
                  <a:pt x="12188" y="19844"/>
                  <a:pt x="12219" y="19687"/>
                  <a:pt x="12282" y="19500"/>
                </a:cubicBezTo>
                <a:cubicBezTo>
                  <a:pt x="12282" y="19500"/>
                  <a:pt x="12344" y="19562"/>
                  <a:pt x="12344" y="19562"/>
                </a:cubicBezTo>
                <a:cubicBezTo>
                  <a:pt x="12407" y="19531"/>
                  <a:pt x="12375" y="19469"/>
                  <a:pt x="12375" y="19406"/>
                </a:cubicBezTo>
                <a:cubicBezTo>
                  <a:pt x="12438" y="19344"/>
                  <a:pt x="12469" y="19281"/>
                  <a:pt x="12563" y="19281"/>
                </a:cubicBezTo>
                <a:cubicBezTo>
                  <a:pt x="12594" y="19281"/>
                  <a:pt x="12594" y="19250"/>
                  <a:pt x="12625" y="19250"/>
                </a:cubicBezTo>
                <a:cubicBezTo>
                  <a:pt x="12594" y="19250"/>
                  <a:pt x="12594" y="19281"/>
                  <a:pt x="12563" y="19281"/>
                </a:cubicBezTo>
                <a:cubicBezTo>
                  <a:pt x="12532" y="19375"/>
                  <a:pt x="12688" y="19469"/>
                  <a:pt x="12563" y="19531"/>
                </a:cubicBezTo>
                <a:cubicBezTo>
                  <a:pt x="12563" y="19500"/>
                  <a:pt x="12563" y="19500"/>
                  <a:pt x="12532" y="19500"/>
                </a:cubicBezTo>
                <a:lnTo>
                  <a:pt x="12532" y="19500"/>
                </a:lnTo>
                <a:cubicBezTo>
                  <a:pt x="12563" y="19531"/>
                  <a:pt x="12563" y="19531"/>
                  <a:pt x="12563" y="19531"/>
                </a:cubicBezTo>
                <a:cubicBezTo>
                  <a:pt x="12594" y="19562"/>
                  <a:pt x="12594" y="19625"/>
                  <a:pt x="12625" y="19656"/>
                </a:cubicBezTo>
                <a:cubicBezTo>
                  <a:pt x="12594" y="19687"/>
                  <a:pt x="12563" y="19719"/>
                  <a:pt x="12594" y="19750"/>
                </a:cubicBezTo>
                <a:lnTo>
                  <a:pt x="12594" y="19750"/>
                </a:lnTo>
                <a:cubicBezTo>
                  <a:pt x="12657" y="19781"/>
                  <a:pt x="12657" y="19719"/>
                  <a:pt x="12657" y="19687"/>
                </a:cubicBezTo>
                <a:cubicBezTo>
                  <a:pt x="12688" y="19562"/>
                  <a:pt x="12813" y="19531"/>
                  <a:pt x="12907" y="19437"/>
                </a:cubicBezTo>
                <a:cubicBezTo>
                  <a:pt x="12907" y="19437"/>
                  <a:pt x="12907" y="19437"/>
                  <a:pt x="12907" y="19437"/>
                </a:cubicBezTo>
                <a:cubicBezTo>
                  <a:pt x="12938" y="19406"/>
                  <a:pt x="12938" y="19375"/>
                  <a:pt x="12938" y="19344"/>
                </a:cubicBezTo>
                <a:cubicBezTo>
                  <a:pt x="13094" y="19469"/>
                  <a:pt x="13000" y="19594"/>
                  <a:pt x="12969" y="19687"/>
                </a:cubicBezTo>
                <a:cubicBezTo>
                  <a:pt x="12907" y="19812"/>
                  <a:pt x="12875" y="19906"/>
                  <a:pt x="12907" y="20062"/>
                </a:cubicBezTo>
                <a:cubicBezTo>
                  <a:pt x="12844" y="20250"/>
                  <a:pt x="12782" y="20312"/>
                  <a:pt x="12688" y="20062"/>
                </a:cubicBezTo>
                <a:cubicBezTo>
                  <a:pt x="12625" y="20000"/>
                  <a:pt x="12594" y="19906"/>
                  <a:pt x="12469" y="19969"/>
                </a:cubicBezTo>
                <a:cubicBezTo>
                  <a:pt x="12563" y="20094"/>
                  <a:pt x="12125" y="20125"/>
                  <a:pt x="12407" y="20312"/>
                </a:cubicBezTo>
                <a:cubicBezTo>
                  <a:pt x="12532" y="20406"/>
                  <a:pt x="12375" y="20406"/>
                  <a:pt x="12313" y="20406"/>
                </a:cubicBezTo>
                <a:cubicBezTo>
                  <a:pt x="12313" y="20406"/>
                  <a:pt x="12313" y="20406"/>
                  <a:pt x="12282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06"/>
                  <a:pt x="12313" y="20406"/>
                  <a:pt x="12313" y="20406"/>
                </a:cubicBezTo>
                <a:cubicBezTo>
                  <a:pt x="12313" y="20469"/>
                  <a:pt x="12313" y="20531"/>
                  <a:pt x="12313" y="20594"/>
                </a:cubicBezTo>
                <a:cubicBezTo>
                  <a:pt x="12313" y="20656"/>
                  <a:pt x="12219" y="20750"/>
                  <a:pt x="12375" y="20781"/>
                </a:cubicBezTo>
                <a:cubicBezTo>
                  <a:pt x="12469" y="20812"/>
                  <a:pt x="12532" y="20750"/>
                  <a:pt x="12500" y="20625"/>
                </a:cubicBezTo>
                <a:cubicBezTo>
                  <a:pt x="12500" y="20562"/>
                  <a:pt x="12532" y="20531"/>
                  <a:pt x="12625" y="20500"/>
                </a:cubicBezTo>
                <a:cubicBezTo>
                  <a:pt x="12782" y="20469"/>
                  <a:pt x="12875" y="20469"/>
                  <a:pt x="12875" y="20719"/>
                </a:cubicBezTo>
                <a:cubicBezTo>
                  <a:pt x="12907" y="20937"/>
                  <a:pt x="12719" y="21187"/>
                  <a:pt x="12938" y="21437"/>
                </a:cubicBezTo>
                <a:cubicBezTo>
                  <a:pt x="12938" y="21437"/>
                  <a:pt x="12938" y="21437"/>
                  <a:pt x="12938" y="21437"/>
                </a:cubicBezTo>
                <a:cubicBezTo>
                  <a:pt x="13063" y="21562"/>
                  <a:pt x="13125" y="21719"/>
                  <a:pt x="12907" y="21844"/>
                </a:cubicBezTo>
                <a:cubicBezTo>
                  <a:pt x="12969" y="21812"/>
                  <a:pt x="13032" y="21812"/>
                  <a:pt x="13063" y="21781"/>
                </a:cubicBezTo>
                <a:cubicBezTo>
                  <a:pt x="13250" y="21719"/>
                  <a:pt x="13344" y="21719"/>
                  <a:pt x="13219" y="21937"/>
                </a:cubicBezTo>
                <a:cubicBezTo>
                  <a:pt x="13219" y="21937"/>
                  <a:pt x="13188" y="21937"/>
                  <a:pt x="13188" y="21937"/>
                </a:cubicBezTo>
                <a:cubicBezTo>
                  <a:pt x="13157" y="21937"/>
                  <a:pt x="13094" y="21969"/>
                  <a:pt x="13094" y="22031"/>
                </a:cubicBezTo>
                <a:lnTo>
                  <a:pt x="13094" y="22031"/>
                </a:lnTo>
                <a:cubicBezTo>
                  <a:pt x="13094" y="22031"/>
                  <a:pt x="13125" y="22031"/>
                  <a:pt x="13125" y="22031"/>
                </a:cubicBezTo>
                <a:cubicBezTo>
                  <a:pt x="13188" y="22031"/>
                  <a:pt x="13188" y="22000"/>
                  <a:pt x="13188" y="21937"/>
                </a:cubicBezTo>
                <a:cubicBezTo>
                  <a:pt x="13219" y="21937"/>
                  <a:pt x="13219" y="21937"/>
                  <a:pt x="13219" y="21937"/>
                </a:cubicBezTo>
                <a:cubicBezTo>
                  <a:pt x="13375" y="21875"/>
                  <a:pt x="13594" y="22031"/>
                  <a:pt x="13719" y="21781"/>
                </a:cubicBezTo>
                <a:cubicBezTo>
                  <a:pt x="13719" y="21781"/>
                  <a:pt x="13719" y="21781"/>
                  <a:pt x="13719" y="21781"/>
                </a:cubicBezTo>
                <a:cubicBezTo>
                  <a:pt x="13844" y="21687"/>
                  <a:pt x="13844" y="21562"/>
                  <a:pt x="13813" y="21437"/>
                </a:cubicBezTo>
                <a:cubicBezTo>
                  <a:pt x="13844" y="21406"/>
                  <a:pt x="13875" y="21375"/>
                  <a:pt x="13907" y="21344"/>
                </a:cubicBezTo>
                <a:cubicBezTo>
                  <a:pt x="13938" y="21312"/>
                  <a:pt x="13969" y="21219"/>
                  <a:pt x="13907" y="21187"/>
                </a:cubicBezTo>
                <a:cubicBezTo>
                  <a:pt x="13782" y="21125"/>
                  <a:pt x="13750" y="21250"/>
                  <a:pt x="13719" y="21312"/>
                </a:cubicBezTo>
                <a:cubicBezTo>
                  <a:pt x="13594" y="21406"/>
                  <a:pt x="13719" y="21406"/>
                  <a:pt x="13782" y="21437"/>
                </a:cubicBezTo>
                <a:cubicBezTo>
                  <a:pt x="13813" y="21562"/>
                  <a:pt x="13657" y="21562"/>
                  <a:pt x="13657" y="21687"/>
                </a:cubicBezTo>
                <a:cubicBezTo>
                  <a:pt x="13594" y="21469"/>
                  <a:pt x="13438" y="21281"/>
                  <a:pt x="13438" y="21031"/>
                </a:cubicBezTo>
                <a:cubicBezTo>
                  <a:pt x="13532" y="20969"/>
                  <a:pt x="13657" y="20937"/>
                  <a:pt x="13625" y="20812"/>
                </a:cubicBezTo>
                <a:cubicBezTo>
                  <a:pt x="13563" y="20625"/>
                  <a:pt x="13657" y="20500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719" y="20375"/>
                  <a:pt x="13719" y="20375"/>
                  <a:pt x="13719" y="20375"/>
                </a:cubicBezTo>
                <a:cubicBezTo>
                  <a:pt x="13907" y="20344"/>
                  <a:pt x="14063" y="20375"/>
                  <a:pt x="14250" y="20437"/>
                </a:cubicBezTo>
                <a:cubicBezTo>
                  <a:pt x="14250" y="20531"/>
                  <a:pt x="14250" y="20594"/>
                  <a:pt x="14375" y="20625"/>
                </a:cubicBezTo>
                <a:cubicBezTo>
                  <a:pt x="14469" y="20656"/>
                  <a:pt x="14563" y="20719"/>
                  <a:pt x="14469" y="20875"/>
                </a:cubicBezTo>
                <a:cubicBezTo>
                  <a:pt x="14438" y="20969"/>
                  <a:pt x="14469" y="21062"/>
                  <a:pt x="14438" y="21156"/>
                </a:cubicBezTo>
                <a:cubicBezTo>
                  <a:pt x="14438" y="21187"/>
                  <a:pt x="14469" y="21187"/>
                  <a:pt x="14469" y="21187"/>
                </a:cubicBezTo>
                <a:cubicBezTo>
                  <a:pt x="14375" y="21219"/>
                  <a:pt x="14407" y="21250"/>
                  <a:pt x="14469" y="21281"/>
                </a:cubicBezTo>
                <a:cubicBezTo>
                  <a:pt x="14438" y="21312"/>
                  <a:pt x="14469" y="21344"/>
                  <a:pt x="14500" y="21375"/>
                </a:cubicBezTo>
                <a:cubicBezTo>
                  <a:pt x="14532" y="21437"/>
                  <a:pt x="14500" y="21531"/>
                  <a:pt x="14594" y="21594"/>
                </a:cubicBezTo>
                <a:cubicBezTo>
                  <a:pt x="14657" y="21750"/>
                  <a:pt x="14563" y="21969"/>
                  <a:pt x="14813" y="22062"/>
                </a:cubicBezTo>
                <a:cubicBezTo>
                  <a:pt x="14750" y="22156"/>
                  <a:pt x="14500" y="22094"/>
                  <a:pt x="14657" y="22281"/>
                </a:cubicBezTo>
                <a:cubicBezTo>
                  <a:pt x="14719" y="22375"/>
                  <a:pt x="14844" y="22469"/>
                  <a:pt x="14657" y="22594"/>
                </a:cubicBezTo>
                <a:cubicBezTo>
                  <a:pt x="14625" y="22594"/>
                  <a:pt x="14625" y="22687"/>
                  <a:pt x="14657" y="22719"/>
                </a:cubicBezTo>
                <a:cubicBezTo>
                  <a:pt x="14750" y="22875"/>
                  <a:pt x="14875" y="23031"/>
                  <a:pt x="15032" y="23000"/>
                </a:cubicBezTo>
                <a:cubicBezTo>
                  <a:pt x="15157" y="23000"/>
                  <a:pt x="15219" y="22875"/>
                  <a:pt x="15219" y="22687"/>
                </a:cubicBezTo>
                <a:cubicBezTo>
                  <a:pt x="15219" y="22625"/>
                  <a:pt x="15250" y="22531"/>
                  <a:pt x="15282" y="22469"/>
                </a:cubicBezTo>
                <a:cubicBezTo>
                  <a:pt x="15344" y="22469"/>
                  <a:pt x="15407" y="22469"/>
                  <a:pt x="15469" y="22500"/>
                </a:cubicBezTo>
                <a:cubicBezTo>
                  <a:pt x="15563" y="22656"/>
                  <a:pt x="15657" y="22656"/>
                  <a:pt x="15719" y="22469"/>
                </a:cubicBezTo>
                <a:cubicBezTo>
                  <a:pt x="15782" y="22500"/>
                  <a:pt x="15875" y="22531"/>
                  <a:pt x="15938" y="22531"/>
                </a:cubicBezTo>
                <a:cubicBezTo>
                  <a:pt x="15969" y="22594"/>
                  <a:pt x="15844" y="22656"/>
                  <a:pt x="15969" y="22656"/>
                </a:cubicBezTo>
                <a:cubicBezTo>
                  <a:pt x="16063" y="22687"/>
                  <a:pt x="16125" y="22500"/>
                  <a:pt x="16219" y="22625"/>
                </a:cubicBezTo>
                <a:cubicBezTo>
                  <a:pt x="16282" y="22750"/>
                  <a:pt x="16219" y="22844"/>
                  <a:pt x="16157" y="22937"/>
                </a:cubicBezTo>
                <a:cubicBezTo>
                  <a:pt x="16157" y="22969"/>
                  <a:pt x="16125" y="22969"/>
                  <a:pt x="16125" y="23000"/>
                </a:cubicBezTo>
                <a:cubicBezTo>
                  <a:pt x="16125" y="23000"/>
                  <a:pt x="16157" y="23000"/>
                  <a:pt x="16157" y="23000"/>
                </a:cubicBezTo>
                <a:cubicBezTo>
                  <a:pt x="16250" y="23000"/>
                  <a:pt x="16407" y="22906"/>
                  <a:pt x="16344" y="23125"/>
                </a:cubicBezTo>
                <a:cubicBezTo>
                  <a:pt x="16344" y="23125"/>
                  <a:pt x="16375" y="23125"/>
                  <a:pt x="16407" y="23125"/>
                </a:cubicBezTo>
                <a:cubicBezTo>
                  <a:pt x="16407" y="23125"/>
                  <a:pt x="16407" y="23125"/>
                  <a:pt x="16407" y="23125"/>
                </a:cubicBezTo>
                <a:cubicBezTo>
                  <a:pt x="16375" y="23125"/>
                  <a:pt x="16344" y="23125"/>
                  <a:pt x="16344" y="23125"/>
                </a:cubicBezTo>
                <a:cubicBezTo>
                  <a:pt x="16313" y="23125"/>
                  <a:pt x="16282" y="23125"/>
                  <a:pt x="16282" y="23125"/>
                </a:cubicBezTo>
                <a:cubicBezTo>
                  <a:pt x="16250" y="23156"/>
                  <a:pt x="16219" y="23219"/>
                  <a:pt x="16188" y="23250"/>
                </a:cubicBezTo>
                <a:cubicBezTo>
                  <a:pt x="16094" y="23344"/>
                  <a:pt x="16188" y="23469"/>
                  <a:pt x="16157" y="23594"/>
                </a:cubicBezTo>
                <a:cubicBezTo>
                  <a:pt x="16157" y="23687"/>
                  <a:pt x="16188" y="23844"/>
                  <a:pt x="16063" y="23906"/>
                </a:cubicBezTo>
                <a:cubicBezTo>
                  <a:pt x="16000" y="23906"/>
                  <a:pt x="15969" y="24031"/>
                  <a:pt x="15938" y="23937"/>
                </a:cubicBezTo>
                <a:cubicBezTo>
                  <a:pt x="15907" y="23906"/>
                  <a:pt x="15969" y="23875"/>
                  <a:pt x="16000" y="23844"/>
                </a:cubicBezTo>
                <a:cubicBezTo>
                  <a:pt x="16063" y="23719"/>
                  <a:pt x="15844" y="23594"/>
                  <a:pt x="15969" y="23437"/>
                </a:cubicBezTo>
                <a:cubicBezTo>
                  <a:pt x="16125" y="23187"/>
                  <a:pt x="16032" y="23000"/>
                  <a:pt x="15782" y="22906"/>
                </a:cubicBezTo>
                <a:cubicBezTo>
                  <a:pt x="15688" y="23062"/>
                  <a:pt x="15750" y="23219"/>
                  <a:pt x="15782" y="23375"/>
                </a:cubicBezTo>
                <a:cubicBezTo>
                  <a:pt x="15782" y="23375"/>
                  <a:pt x="15782" y="23375"/>
                  <a:pt x="15782" y="23375"/>
                </a:cubicBezTo>
                <a:cubicBezTo>
                  <a:pt x="15688" y="23375"/>
                  <a:pt x="15532" y="23375"/>
                  <a:pt x="15625" y="23500"/>
                </a:cubicBezTo>
                <a:cubicBezTo>
                  <a:pt x="15782" y="23687"/>
                  <a:pt x="15782" y="23875"/>
                  <a:pt x="15782" y="24094"/>
                </a:cubicBezTo>
                <a:cubicBezTo>
                  <a:pt x="15782" y="24219"/>
                  <a:pt x="15719" y="24281"/>
                  <a:pt x="15594" y="24250"/>
                </a:cubicBezTo>
                <a:cubicBezTo>
                  <a:pt x="15594" y="24250"/>
                  <a:pt x="15563" y="24219"/>
                  <a:pt x="15563" y="24187"/>
                </a:cubicBezTo>
                <a:cubicBezTo>
                  <a:pt x="15563" y="24062"/>
                  <a:pt x="15657" y="23937"/>
                  <a:pt x="15625" y="23781"/>
                </a:cubicBezTo>
                <a:lnTo>
                  <a:pt x="15625" y="23781"/>
                </a:lnTo>
                <a:cubicBezTo>
                  <a:pt x="15532" y="23937"/>
                  <a:pt x="15532" y="24062"/>
                  <a:pt x="15563" y="24187"/>
                </a:cubicBezTo>
                <a:cubicBezTo>
                  <a:pt x="15563" y="24219"/>
                  <a:pt x="15563" y="24250"/>
                  <a:pt x="15594" y="24250"/>
                </a:cubicBezTo>
                <a:cubicBezTo>
                  <a:pt x="15594" y="24250"/>
                  <a:pt x="15594" y="24250"/>
                  <a:pt x="15594" y="24250"/>
                </a:cubicBezTo>
                <a:cubicBezTo>
                  <a:pt x="15688" y="24406"/>
                  <a:pt x="15907" y="24469"/>
                  <a:pt x="15907" y="24687"/>
                </a:cubicBezTo>
                <a:cubicBezTo>
                  <a:pt x="15938" y="24531"/>
                  <a:pt x="15875" y="24406"/>
                  <a:pt x="15907" y="24281"/>
                </a:cubicBezTo>
                <a:cubicBezTo>
                  <a:pt x="15938" y="23937"/>
                  <a:pt x="16063" y="24031"/>
                  <a:pt x="16188" y="24219"/>
                </a:cubicBezTo>
                <a:cubicBezTo>
                  <a:pt x="16438" y="24156"/>
                  <a:pt x="16282" y="23937"/>
                  <a:pt x="16313" y="23781"/>
                </a:cubicBezTo>
                <a:cubicBezTo>
                  <a:pt x="16407" y="23875"/>
                  <a:pt x="16344" y="24062"/>
                  <a:pt x="16500" y="24031"/>
                </a:cubicBezTo>
                <a:cubicBezTo>
                  <a:pt x="16625" y="24000"/>
                  <a:pt x="16688" y="23906"/>
                  <a:pt x="16657" y="23750"/>
                </a:cubicBezTo>
                <a:cubicBezTo>
                  <a:pt x="16625" y="23625"/>
                  <a:pt x="16688" y="23500"/>
                  <a:pt x="16813" y="23469"/>
                </a:cubicBezTo>
                <a:cubicBezTo>
                  <a:pt x="16938" y="23437"/>
                  <a:pt x="17000" y="23500"/>
                  <a:pt x="17094" y="23562"/>
                </a:cubicBezTo>
                <a:cubicBezTo>
                  <a:pt x="17094" y="23594"/>
                  <a:pt x="17032" y="23656"/>
                  <a:pt x="17094" y="23687"/>
                </a:cubicBezTo>
                <a:cubicBezTo>
                  <a:pt x="17157" y="23687"/>
                  <a:pt x="17157" y="23625"/>
                  <a:pt x="17188" y="23594"/>
                </a:cubicBezTo>
                <a:cubicBezTo>
                  <a:pt x="17188" y="23469"/>
                  <a:pt x="17219" y="23344"/>
                  <a:pt x="17344" y="23250"/>
                </a:cubicBezTo>
                <a:cubicBezTo>
                  <a:pt x="17375" y="23250"/>
                  <a:pt x="17375" y="23219"/>
                  <a:pt x="17407" y="23219"/>
                </a:cubicBezTo>
                <a:cubicBezTo>
                  <a:pt x="17375" y="23187"/>
                  <a:pt x="17375" y="23187"/>
                  <a:pt x="17344" y="23187"/>
                </a:cubicBezTo>
                <a:cubicBezTo>
                  <a:pt x="17282" y="23062"/>
                  <a:pt x="17250" y="22906"/>
                  <a:pt x="17313" y="22781"/>
                </a:cubicBezTo>
                <a:cubicBezTo>
                  <a:pt x="17500" y="22844"/>
                  <a:pt x="17500" y="23031"/>
                  <a:pt x="17563" y="23187"/>
                </a:cubicBezTo>
                <a:cubicBezTo>
                  <a:pt x="17657" y="23406"/>
                  <a:pt x="17407" y="23500"/>
                  <a:pt x="17407" y="23656"/>
                </a:cubicBezTo>
                <a:cubicBezTo>
                  <a:pt x="17500" y="23687"/>
                  <a:pt x="17500" y="23625"/>
                  <a:pt x="17532" y="23562"/>
                </a:cubicBezTo>
                <a:cubicBezTo>
                  <a:pt x="17594" y="23500"/>
                  <a:pt x="17688" y="23406"/>
                  <a:pt x="17750" y="23469"/>
                </a:cubicBezTo>
                <a:cubicBezTo>
                  <a:pt x="17875" y="23562"/>
                  <a:pt x="17969" y="23687"/>
                  <a:pt x="18032" y="23812"/>
                </a:cubicBezTo>
                <a:cubicBezTo>
                  <a:pt x="18063" y="23906"/>
                  <a:pt x="17938" y="23937"/>
                  <a:pt x="17875" y="23937"/>
                </a:cubicBezTo>
                <a:cubicBezTo>
                  <a:pt x="17813" y="23969"/>
                  <a:pt x="17750" y="23969"/>
                  <a:pt x="17782" y="24062"/>
                </a:cubicBezTo>
                <a:cubicBezTo>
                  <a:pt x="17813" y="24094"/>
                  <a:pt x="17813" y="24156"/>
                  <a:pt x="17875" y="24156"/>
                </a:cubicBezTo>
                <a:cubicBezTo>
                  <a:pt x="18063" y="24156"/>
                  <a:pt x="18313" y="24312"/>
                  <a:pt x="18375" y="24000"/>
                </a:cubicBezTo>
                <a:cubicBezTo>
                  <a:pt x="18375" y="23906"/>
                  <a:pt x="18438" y="23875"/>
                  <a:pt x="18500" y="23875"/>
                </a:cubicBezTo>
                <a:cubicBezTo>
                  <a:pt x="18563" y="23812"/>
                  <a:pt x="18657" y="23750"/>
                  <a:pt x="18688" y="23937"/>
                </a:cubicBezTo>
                <a:cubicBezTo>
                  <a:pt x="18688" y="24031"/>
                  <a:pt x="18594" y="24156"/>
                  <a:pt x="18688" y="24281"/>
                </a:cubicBezTo>
                <a:cubicBezTo>
                  <a:pt x="18688" y="24312"/>
                  <a:pt x="18688" y="24375"/>
                  <a:pt x="18719" y="24375"/>
                </a:cubicBezTo>
                <a:cubicBezTo>
                  <a:pt x="18813" y="24375"/>
                  <a:pt x="18782" y="24312"/>
                  <a:pt x="18782" y="24281"/>
                </a:cubicBezTo>
                <a:cubicBezTo>
                  <a:pt x="18907" y="24000"/>
                  <a:pt x="19188" y="24031"/>
                  <a:pt x="19375" y="23906"/>
                </a:cubicBezTo>
                <a:cubicBezTo>
                  <a:pt x="19438" y="23875"/>
                  <a:pt x="19500" y="23969"/>
                  <a:pt x="19532" y="24031"/>
                </a:cubicBezTo>
                <a:cubicBezTo>
                  <a:pt x="19563" y="24062"/>
                  <a:pt x="19532" y="24125"/>
                  <a:pt x="19500" y="24156"/>
                </a:cubicBezTo>
                <a:cubicBezTo>
                  <a:pt x="19282" y="24250"/>
                  <a:pt x="19125" y="24469"/>
                  <a:pt x="18875" y="24500"/>
                </a:cubicBezTo>
                <a:cubicBezTo>
                  <a:pt x="18875" y="24500"/>
                  <a:pt x="18875" y="24500"/>
                  <a:pt x="18875" y="24500"/>
                </a:cubicBezTo>
                <a:cubicBezTo>
                  <a:pt x="18782" y="24437"/>
                  <a:pt x="18688" y="24406"/>
                  <a:pt x="18563" y="24500"/>
                </a:cubicBezTo>
                <a:cubicBezTo>
                  <a:pt x="18657" y="24594"/>
                  <a:pt x="18750" y="24500"/>
                  <a:pt x="18813" y="24531"/>
                </a:cubicBezTo>
                <a:cubicBezTo>
                  <a:pt x="18875" y="24687"/>
                  <a:pt x="18969" y="24656"/>
                  <a:pt x="19063" y="24594"/>
                </a:cubicBezTo>
                <a:cubicBezTo>
                  <a:pt x="19188" y="24500"/>
                  <a:pt x="19313" y="24469"/>
                  <a:pt x="19469" y="24437"/>
                </a:cubicBezTo>
                <a:cubicBezTo>
                  <a:pt x="19469" y="24531"/>
                  <a:pt x="19438" y="24625"/>
                  <a:pt x="19469" y="24687"/>
                </a:cubicBezTo>
                <a:cubicBezTo>
                  <a:pt x="19532" y="24844"/>
                  <a:pt x="19657" y="24937"/>
                  <a:pt x="19782" y="24937"/>
                </a:cubicBezTo>
                <a:cubicBezTo>
                  <a:pt x="19969" y="24937"/>
                  <a:pt x="19938" y="24719"/>
                  <a:pt x="19907" y="24656"/>
                </a:cubicBezTo>
                <a:cubicBezTo>
                  <a:pt x="19813" y="24469"/>
                  <a:pt x="19688" y="24281"/>
                  <a:pt x="19938" y="24125"/>
                </a:cubicBezTo>
                <a:cubicBezTo>
                  <a:pt x="19938" y="24094"/>
                  <a:pt x="19875" y="24094"/>
                  <a:pt x="19875" y="24062"/>
                </a:cubicBezTo>
                <a:cubicBezTo>
                  <a:pt x="19875" y="23656"/>
                  <a:pt x="19532" y="23844"/>
                  <a:pt x="19344" y="23781"/>
                </a:cubicBezTo>
                <a:cubicBezTo>
                  <a:pt x="19407" y="23687"/>
                  <a:pt x="19500" y="23656"/>
                  <a:pt x="19532" y="23531"/>
                </a:cubicBezTo>
                <a:cubicBezTo>
                  <a:pt x="19563" y="23500"/>
                  <a:pt x="19594" y="23437"/>
                  <a:pt x="19532" y="23406"/>
                </a:cubicBezTo>
                <a:cubicBezTo>
                  <a:pt x="19500" y="23375"/>
                  <a:pt x="19438" y="23406"/>
                  <a:pt x="19438" y="23437"/>
                </a:cubicBezTo>
                <a:cubicBezTo>
                  <a:pt x="19407" y="23562"/>
                  <a:pt x="19219" y="23531"/>
                  <a:pt x="19219" y="23687"/>
                </a:cubicBezTo>
                <a:cubicBezTo>
                  <a:pt x="19250" y="23844"/>
                  <a:pt x="19157" y="23937"/>
                  <a:pt x="19032" y="23906"/>
                </a:cubicBezTo>
                <a:cubicBezTo>
                  <a:pt x="18938" y="23875"/>
                  <a:pt x="18907" y="23750"/>
                  <a:pt x="18938" y="23625"/>
                </a:cubicBezTo>
                <a:cubicBezTo>
                  <a:pt x="18969" y="23469"/>
                  <a:pt x="19125" y="23312"/>
                  <a:pt x="18907" y="23187"/>
                </a:cubicBezTo>
                <a:cubicBezTo>
                  <a:pt x="18750" y="23062"/>
                  <a:pt x="18782" y="22844"/>
                  <a:pt x="18594" y="22750"/>
                </a:cubicBezTo>
                <a:cubicBezTo>
                  <a:pt x="18313" y="22625"/>
                  <a:pt x="18313" y="22500"/>
                  <a:pt x="18532" y="22250"/>
                </a:cubicBezTo>
                <a:cubicBezTo>
                  <a:pt x="18563" y="22187"/>
                  <a:pt x="18657" y="22156"/>
                  <a:pt x="18594" y="22062"/>
                </a:cubicBezTo>
                <a:cubicBezTo>
                  <a:pt x="18500" y="21969"/>
                  <a:pt x="18438" y="22000"/>
                  <a:pt x="18375" y="22094"/>
                </a:cubicBezTo>
                <a:cubicBezTo>
                  <a:pt x="18250" y="22281"/>
                  <a:pt x="18094" y="22250"/>
                  <a:pt x="17938" y="22125"/>
                </a:cubicBezTo>
                <a:cubicBezTo>
                  <a:pt x="17782" y="22000"/>
                  <a:pt x="17750" y="22187"/>
                  <a:pt x="17657" y="22281"/>
                </a:cubicBezTo>
                <a:cubicBezTo>
                  <a:pt x="17750" y="22000"/>
                  <a:pt x="17625" y="21812"/>
                  <a:pt x="17438" y="21656"/>
                </a:cubicBezTo>
                <a:cubicBezTo>
                  <a:pt x="17219" y="21500"/>
                  <a:pt x="17219" y="21250"/>
                  <a:pt x="17125" y="21031"/>
                </a:cubicBezTo>
                <a:cubicBezTo>
                  <a:pt x="17188" y="21156"/>
                  <a:pt x="17188" y="21250"/>
                  <a:pt x="17125" y="21375"/>
                </a:cubicBezTo>
                <a:cubicBezTo>
                  <a:pt x="17063" y="21531"/>
                  <a:pt x="17125" y="21656"/>
                  <a:pt x="17219" y="21750"/>
                </a:cubicBezTo>
                <a:cubicBezTo>
                  <a:pt x="17532" y="22062"/>
                  <a:pt x="17563" y="22062"/>
                  <a:pt x="17157" y="22250"/>
                </a:cubicBezTo>
                <a:cubicBezTo>
                  <a:pt x="17032" y="22156"/>
                  <a:pt x="16907" y="22094"/>
                  <a:pt x="16844" y="21937"/>
                </a:cubicBezTo>
                <a:cubicBezTo>
                  <a:pt x="16782" y="21812"/>
                  <a:pt x="16813" y="21687"/>
                  <a:pt x="16844" y="21562"/>
                </a:cubicBezTo>
                <a:cubicBezTo>
                  <a:pt x="16938" y="21312"/>
                  <a:pt x="16844" y="21156"/>
                  <a:pt x="16594" y="21062"/>
                </a:cubicBezTo>
                <a:cubicBezTo>
                  <a:pt x="16688" y="20906"/>
                  <a:pt x="16407" y="20844"/>
                  <a:pt x="16532" y="20656"/>
                </a:cubicBezTo>
                <a:cubicBezTo>
                  <a:pt x="16282" y="20750"/>
                  <a:pt x="16563" y="20906"/>
                  <a:pt x="16407" y="21000"/>
                </a:cubicBezTo>
                <a:cubicBezTo>
                  <a:pt x="16219" y="20906"/>
                  <a:pt x="16000" y="20812"/>
                  <a:pt x="16094" y="20469"/>
                </a:cubicBezTo>
                <a:cubicBezTo>
                  <a:pt x="16125" y="20250"/>
                  <a:pt x="15875" y="20187"/>
                  <a:pt x="15719" y="20094"/>
                </a:cubicBezTo>
                <a:cubicBezTo>
                  <a:pt x="15532" y="19969"/>
                  <a:pt x="15594" y="20250"/>
                  <a:pt x="15469" y="20219"/>
                </a:cubicBezTo>
                <a:cubicBezTo>
                  <a:pt x="15469" y="20156"/>
                  <a:pt x="15469" y="20094"/>
                  <a:pt x="15438" y="20031"/>
                </a:cubicBezTo>
                <a:cubicBezTo>
                  <a:pt x="15469" y="19875"/>
                  <a:pt x="15344" y="19781"/>
                  <a:pt x="15282" y="19687"/>
                </a:cubicBezTo>
                <a:cubicBezTo>
                  <a:pt x="15469" y="19625"/>
                  <a:pt x="15344" y="19437"/>
                  <a:pt x="15407" y="19344"/>
                </a:cubicBezTo>
                <a:cubicBezTo>
                  <a:pt x="15407" y="19344"/>
                  <a:pt x="15407" y="19344"/>
                  <a:pt x="15407" y="19344"/>
                </a:cubicBezTo>
                <a:cubicBezTo>
                  <a:pt x="15500" y="19094"/>
                  <a:pt x="15469" y="19062"/>
                  <a:pt x="15344" y="19094"/>
                </a:cubicBezTo>
                <a:cubicBezTo>
                  <a:pt x="15063" y="19156"/>
                  <a:pt x="14969" y="19062"/>
                  <a:pt x="15063" y="18781"/>
                </a:cubicBezTo>
                <a:cubicBezTo>
                  <a:pt x="15094" y="18719"/>
                  <a:pt x="15157" y="18594"/>
                  <a:pt x="15032" y="18562"/>
                </a:cubicBezTo>
                <a:cubicBezTo>
                  <a:pt x="14938" y="18562"/>
                  <a:pt x="14907" y="18656"/>
                  <a:pt x="14938" y="18750"/>
                </a:cubicBezTo>
                <a:cubicBezTo>
                  <a:pt x="14938" y="18906"/>
                  <a:pt x="14875" y="19062"/>
                  <a:pt x="14688" y="19125"/>
                </a:cubicBezTo>
                <a:cubicBezTo>
                  <a:pt x="14500" y="19219"/>
                  <a:pt x="14375" y="19375"/>
                  <a:pt x="14532" y="19594"/>
                </a:cubicBezTo>
                <a:cubicBezTo>
                  <a:pt x="14438" y="19687"/>
                  <a:pt x="14500" y="19875"/>
                  <a:pt x="14344" y="19906"/>
                </a:cubicBezTo>
                <a:cubicBezTo>
                  <a:pt x="14344" y="19719"/>
                  <a:pt x="14188" y="19844"/>
                  <a:pt x="14157" y="19781"/>
                </a:cubicBezTo>
                <a:cubicBezTo>
                  <a:pt x="14157" y="19687"/>
                  <a:pt x="14157" y="19594"/>
                  <a:pt x="14157" y="19500"/>
                </a:cubicBezTo>
                <a:cubicBezTo>
                  <a:pt x="14219" y="19469"/>
                  <a:pt x="14313" y="19500"/>
                  <a:pt x="14313" y="19406"/>
                </a:cubicBezTo>
                <a:cubicBezTo>
                  <a:pt x="14313" y="19344"/>
                  <a:pt x="14219" y="19375"/>
                  <a:pt x="14157" y="19344"/>
                </a:cubicBezTo>
                <a:cubicBezTo>
                  <a:pt x="14157" y="19312"/>
                  <a:pt x="14157" y="19281"/>
                  <a:pt x="14157" y="19219"/>
                </a:cubicBezTo>
                <a:cubicBezTo>
                  <a:pt x="14282" y="19219"/>
                  <a:pt x="14407" y="19219"/>
                  <a:pt x="14375" y="19031"/>
                </a:cubicBezTo>
                <a:cubicBezTo>
                  <a:pt x="14344" y="18969"/>
                  <a:pt x="14438" y="18875"/>
                  <a:pt x="14469" y="18812"/>
                </a:cubicBezTo>
                <a:cubicBezTo>
                  <a:pt x="14625" y="18656"/>
                  <a:pt x="14563" y="18594"/>
                  <a:pt x="14407" y="18531"/>
                </a:cubicBezTo>
                <a:cubicBezTo>
                  <a:pt x="14188" y="18531"/>
                  <a:pt x="14063" y="18500"/>
                  <a:pt x="14250" y="18281"/>
                </a:cubicBezTo>
                <a:cubicBezTo>
                  <a:pt x="14282" y="18250"/>
                  <a:pt x="14282" y="18156"/>
                  <a:pt x="14282" y="18094"/>
                </a:cubicBezTo>
                <a:cubicBezTo>
                  <a:pt x="14313" y="18125"/>
                  <a:pt x="14313" y="18125"/>
                  <a:pt x="14344" y="18094"/>
                </a:cubicBezTo>
                <a:cubicBezTo>
                  <a:pt x="14407" y="17969"/>
                  <a:pt x="14375" y="17781"/>
                  <a:pt x="14438" y="17656"/>
                </a:cubicBezTo>
                <a:cubicBezTo>
                  <a:pt x="14469" y="17562"/>
                  <a:pt x="14344" y="17625"/>
                  <a:pt x="14313" y="17625"/>
                </a:cubicBezTo>
                <a:cubicBezTo>
                  <a:pt x="14282" y="17625"/>
                  <a:pt x="14282" y="17719"/>
                  <a:pt x="14219" y="17687"/>
                </a:cubicBezTo>
                <a:cubicBezTo>
                  <a:pt x="14219" y="17656"/>
                  <a:pt x="14250" y="17594"/>
                  <a:pt x="14250" y="17562"/>
                </a:cubicBezTo>
                <a:cubicBezTo>
                  <a:pt x="14157" y="17375"/>
                  <a:pt x="14188" y="17187"/>
                  <a:pt x="14188" y="16937"/>
                </a:cubicBezTo>
                <a:cubicBezTo>
                  <a:pt x="13938" y="17031"/>
                  <a:pt x="13938" y="17312"/>
                  <a:pt x="13782" y="17469"/>
                </a:cubicBezTo>
                <a:cubicBezTo>
                  <a:pt x="14125" y="17687"/>
                  <a:pt x="13813" y="17906"/>
                  <a:pt x="13813" y="18156"/>
                </a:cubicBezTo>
                <a:cubicBezTo>
                  <a:pt x="13719" y="18156"/>
                  <a:pt x="13657" y="18156"/>
                  <a:pt x="13657" y="18281"/>
                </a:cubicBezTo>
                <a:cubicBezTo>
                  <a:pt x="13657" y="18344"/>
                  <a:pt x="13625" y="18375"/>
                  <a:pt x="13563" y="18375"/>
                </a:cubicBezTo>
                <a:cubicBezTo>
                  <a:pt x="13532" y="18344"/>
                  <a:pt x="13469" y="18312"/>
                  <a:pt x="13469" y="18281"/>
                </a:cubicBezTo>
                <a:cubicBezTo>
                  <a:pt x="13532" y="18062"/>
                  <a:pt x="13344" y="17844"/>
                  <a:pt x="13438" y="17625"/>
                </a:cubicBezTo>
                <a:cubicBezTo>
                  <a:pt x="13469" y="17531"/>
                  <a:pt x="13469" y="17437"/>
                  <a:pt x="13344" y="17406"/>
                </a:cubicBezTo>
                <a:cubicBezTo>
                  <a:pt x="13250" y="17375"/>
                  <a:pt x="13250" y="17281"/>
                  <a:pt x="13282" y="17219"/>
                </a:cubicBezTo>
                <a:cubicBezTo>
                  <a:pt x="13375" y="17250"/>
                  <a:pt x="13438" y="17406"/>
                  <a:pt x="13563" y="17281"/>
                </a:cubicBezTo>
                <a:cubicBezTo>
                  <a:pt x="13688" y="17187"/>
                  <a:pt x="13594" y="17094"/>
                  <a:pt x="13532" y="17031"/>
                </a:cubicBezTo>
                <a:cubicBezTo>
                  <a:pt x="13438" y="16937"/>
                  <a:pt x="13407" y="16844"/>
                  <a:pt x="13375" y="16719"/>
                </a:cubicBezTo>
                <a:cubicBezTo>
                  <a:pt x="13219" y="16844"/>
                  <a:pt x="13188" y="17094"/>
                  <a:pt x="12938" y="17000"/>
                </a:cubicBezTo>
                <a:cubicBezTo>
                  <a:pt x="12969" y="16969"/>
                  <a:pt x="12969" y="16937"/>
                  <a:pt x="13000" y="16906"/>
                </a:cubicBezTo>
                <a:cubicBezTo>
                  <a:pt x="13094" y="16844"/>
                  <a:pt x="13157" y="16750"/>
                  <a:pt x="13188" y="16625"/>
                </a:cubicBezTo>
                <a:cubicBezTo>
                  <a:pt x="13188" y="16594"/>
                  <a:pt x="13219" y="16500"/>
                  <a:pt x="13157" y="16469"/>
                </a:cubicBezTo>
                <a:cubicBezTo>
                  <a:pt x="13063" y="16437"/>
                  <a:pt x="13063" y="16562"/>
                  <a:pt x="13000" y="16562"/>
                </a:cubicBezTo>
                <a:cubicBezTo>
                  <a:pt x="13094" y="16250"/>
                  <a:pt x="12750" y="16406"/>
                  <a:pt x="12688" y="16250"/>
                </a:cubicBezTo>
                <a:cubicBezTo>
                  <a:pt x="12688" y="16219"/>
                  <a:pt x="12719" y="16187"/>
                  <a:pt x="12719" y="16156"/>
                </a:cubicBezTo>
                <a:cubicBezTo>
                  <a:pt x="12719" y="16156"/>
                  <a:pt x="12719" y="16156"/>
                  <a:pt x="12719" y="16156"/>
                </a:cubicBezTo>
                <a:cubicBezTo>
                  <a:pt x="12969" y="16062"/>
                  <a:pt x="13157" y="15844"/>
                  <a:pt x="13344" y="15719"/>
                </a:cubicBezTo>
                <a:cubicBezTo>
                  <a:pt x="13563" y="15562"/>
                  <a:pt x="13188" y="15531"/>
                  <a:pt x="13250" y="15375"/>
                </a:cubicBezTo>
                <a:cubicBezTo>
                  <a:pt x="13250" y="15344"/>
                  <a:pt x="13188" y="15281"/>
                  <a:pt x="13125" y="15281"/>
                </a:cubicBezTo>
                <a:cubicBezTo>
                  <a:pt x="13032" y="15281"/>
                  <a:pt x="13094" y="15437"/>
                  <a:pt x="13032" y="15469"/>
                </a:cubicBezTo>
                <a:cubicBezTo>
                  <a:pt x="13000" y="15406"/>
                  <a:pt x="13032" y="15312"/>
                  <a:pt x="13000" y="15312"/>
                </a:cubicBezTo>
                <a:cubicBezTo>
                  <a:pt x="12657" y="15156"/>
                  <a:pt x="12938" y="14969"/>
                  <a:pt x="13000" y="14937"/>
                </a:cubicBezTo>
                <a:cubicBezTo>
                  <a:pt x="13282" y="14844"/>
                  <a:pt x="13313" y="14625"/>
                  <a:pt x="13375" y="14406"/>
                </a:cubicBezTo>
                <a:cubicBezTo>
                  <a:pt x="13563" y="14281"/>
                  <a:pt x="13750" y="14156"/>
                  <a:pt x="13938" y="14062"/>
                </a:cubicBezTo>
                <a:cubicBezTo>
                  <a:pt x="13938" y="14000"/>
                  <a:pt x="13938" y="13969"/>
                  <a:pt x="13969" y="13906"/>
                </a:cubicBezTo>
                <a:cubicBezTo>
                  <a:pt x="13750" y="13906"/>
                  <a:pt x="13657" y="14125"/>
                  <a:pt x="13469" y="14156"/>
                </a:cubicBezTo>
                <a:cubicBezTo>
                  <a:pt x="13469" y="14156"/>
                  <a:pt x="13469" y="14156"/>
                  <a:pt x="13469" y="14156"/>
                </a:cubicBezTo>
                <a:cubicBezTo>
                  <a:pt x="13157" y="14000"/>
                  <a:pt x="12907" y="14000"/>
                  <a:pt x="12750" y="14250"/>
                </a:cubicBezTo>
                <a:cubicBezTo>
                  <a:pt x="12750" y="14250"/>
                  <a:pt x="12750" y="14250"/>
                  <a:pt x="12750" y="14281"/>
                </a:cubicBezTo>
                <a:cubicBezTo>
                  <a:pt x="12750" y="14250"/>
                  <a:pt x="12750" y="14250"/>
                  <a:pt x="12750" y="14250"/>
                </a:cubicBezTo>
                <a:cubicBezTo>
                  <a:pt x="12688" y="14219"/>
                  <a:pt x="12594" y="14281"/>
                  <a:pt x="12563" y="14219"/>
                </a:cubicBezTo>
                <a:cubicBezTo>
                  <a:pt x="12532" y="14125"/>
                  <a:pt x="12625" y="14094"/>
                  <a:pt x="12688" y="14062"/>
                </a:cubicBezTo>
                <a:cubicBezTo>
                  <a:pt x="12969" y="13969"/>
                  <a:pt x="13282" y="13937"/>
                  <a:pt x="13532" y="13719"/>
                </a:cubicBezTo>
                <a:cubicBezTo>
                  <a:pt x="13625" y="13687"/>
                  <a:pt x="13657" y="13656"/>
                  <a:pt x="13657" y="13562"/>
                </a:cubicBezTo>
                <a:cubicBezTo>
                  <a:pt x="13938" y="13500"/>
                  <a:pt x="14188" y="13281"/>
                  <a:pt x="14532" y="13281"/>
                </a:cubicBezTo>
                <a:cubicBezTo>
                  <a:pt x="14625" y="13406"/>
                  <a:pt x="14750" y="13437"/>
                  <a:pt x="14907" y="13375"/>
                </a:cubicBezTo>
                <a:cubicBezTo>
                  <a:pt x="15032" y="13312"/>
                  <a:pt x="15094" y="13406"/>
                  <a:pt x="15094" y="13562"/>
                </a:cubicBezTo>
                <a:cubicBezTo>
                  <a:pt x="15032" y="13594"/>
                  <a:pt x="15000" y="13625"/>
                  <a:pt x="14969" y="13625"/>
                </a:cubicBezTo>
                <a:cubicBezTo>
                  <a:pt x="14719" y="13656"/>
                  <a:pt x="14594" y="13969"/>
                  <a:pt x="14313" y="13906"/>
                </a:cubicBezTo>
                <a:cubicBezTo>
                  <a:pt x="14344" y="13781"/>
                  <a:pt x="14532" y="13812"/>
                  <a:pt x="14532" y="13656"/>
                </a:cubicBezTo>
                <a:cubicBezTo>
                  <a:pt x="14282" y="13656"/>
                  <a:pt x="14125" y="13812"/>
                  <a:pt x="13969" y="13906"/>
                </a:cubicBezTo>
                <a:cubicBezTo>
                  <a:pt x="13938" y="13969"/>
                  <a:pt x="13938" y="14000"/>
                  <a:pt x="13938" y="14062"/>
                </a:cubicBezTo>
                <a:cubicBezTo>
                  <a:pt x="14000" y="14156"/>
                  <a:pt x="14157" y="14031"/>
                  <a:pt x="14188" y="14062"/>
                </a:cubicBezTo>
                <a:cubicBezTo>
                  <a:pt x="14219" y="14375"/>
                  <a:pt x="14094" y="14531"/>
                  <a:pt x="13844" y="14594"/>
                </a:cubicBezTo>
                <a:cubicBezTo>
                  <a:pt x="13563" y="14625"/>
                  <a:pt x="13657" y="14875"/>
                  <a:pt x="13594" y="15031"/>
                </a:cubicBezTo>
                <a:cubicBezTo>
                  <a:pt x="13907" y="14656"/>
                  <a:pt x="14313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cubicBezTo>
                  <a:pt x="14813" y="14562"/>
                  <a:pt x="14813" y="14531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469"/>
                  <a:pt x="14844" y="14469"/>
                  <a:pt x="14813" y="14437"/>
                </a:cubicBezTo>
                <a:cubicBezTo>
                  <a:pt x="14875" y="14406"/>
                  <a:pt x="14907" y="14281"/>
                  <a:pt x="14969" y="14375"/>
                </a:cubicBezTo>
                <a:cubicBezTo>
                  <a:pt x="15032" y="14437"/>
                  <a:pt x="14907" y="14500"/>
                  <a:pt x="14844" y="14500"/>
                </a:cubicBezTo>
                <a:lnTo>
                  <a:pt x="14844" y="14500"/>
                </a:lnTo>
                <a:cubicBezTo>
                  <a:pt x="14844" y="14500"/>
                  <a:pt x="14844" y="14500"/>
                  <a:pt x="14844" y="14500"/>
                </a:cubicBezTo>
                <a:cubicBezTo>
                  <a:pt x="14844" y="14562"/>
                  <a:pt x="14844" y="14594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ubicBezTo>
                  <a:pt x="14750" y="14781"/>
                  <a:pt x="14907" y="14781"/>
                  <a:pt x="15032" y="14812"/>
                </a:cubicBezTo>
                <a:cubicBezTo>
                  <a:pt x="15000" y="14844"/>
                  <a:pt x="14969" y="14875"/>
                  <a:pt x="14938" y="14875"/>
                </a:cubicBezTo>
                <a:cubicBezTo>
                  <a:pt x="14688" y="15094"/>
                  <a:pt x="14625" y="15344"/>
                  <a:pt x="14782" y="15531"/>
                </a:cubicBezTo>
                <a:cubicBezTo>
                  <a:pt x="14782" y="15531"/>
                  <a:pt x="14782" y="15562"/>
                  <a:pt x="14782" y="15562"/>
                </a:cubicBezTo>
                <a:cubicBezTo>
                  <a:pt x="14813" y="15594"/>
                  <a:pt x="14813" y="15594"/>
                  <a:pt x="14844" y="15625"/>
                </a:cubicBezTo>
                <a:cubicBezTo>
                  <a:pt x="14813" y="15594"/>
                  <a:pt x="14813" y="15594"/>
                  <a:pt x="14782" y="15562"/>
                </a:cubicBezTo>
                <a:cubicBezTo>
                  <a:pt x="14625" y="15562"/>
                  <a:pt x="14657" y="15687"/>
                  <a:pt x="14657" y="15750"/>
                </a:cubicBezTo>
                <a:cubicBezTo>
                  <a:pt x="14594" y="15781"/>
                  <a:pt x="14563" y="15812"/>
                  <a:pt x="14532" y="15875"/>
                </a:cubicBezTo>
                <a:cubicBezTo>
                  <a:pt x="14719" y="16094"/>
                  <a:pt x="14313" y="16406"/>
                  <a:pt x="14688" y="16594"/>
                </a:cubicBezTo>
                <a:cubicBezTo>
                  <a:pt x="14282" y="16656"/>
                  <a:pt x="14594" y="16906"/>
                  <a:pt x="14532" y="17062"/>
                </a:cubicBezTo>
                <a:cubicBezTo>
                  <a:pt x="14625" y="16969"/>
                  <a:pt x="14688" y="16875"/>
                  <a:pt x="14782" y="16750"/>
                </a:cubicBezTo>
                <a:cubicBezTo>
                  <a:pt x="14844" y="16781"/>
                  <a:pt x="14813" y="16625"/>
                  <a:pt x="14907" y="16656"/>
                </a:cubicBezTo>
                <a:cubicBezTo>
                  <a:pt x="14969" y="16687"/>
                  <a:pt x="14969" y="16750"/>
                  <a:pt x="14969" y="16812"/>
                </a:cubicBezTo>
                <a:cubicBezTo>
                  <a:pt x="14969" y="17031"/>
                  <a:pt x="15188" y="17219"/>
                  <a:pt x="15125" y="17469"/>
                </a:cubicBezTo>
                <a:cubicBezTo>
                  <a:pt x="15094" y="17469"/>
                  <a:pt x="15125" y="17531"/>
                  <a:pt x="15125" y="17531"/>
                </a:cubicBezTo>
                <a:cubicBezTo>
                  <a:pt x="15375" y="17406"/>
                  <a:pt x="15344" y="17625"/>
                  <a:pt x="15375" y="17719"/>
                </a:cubicBezTo>
                <a:cubicBezTo>
                  <a:pt x="15407" y="17875"/>
                  <a:pt x="15500" y="17781"/>
                  <a:pt x="15594" y="17781"/>
                </a:cubicBezTo>
                <a:cubicBezTo>
                  <a:pt x="15625" y="17719"/>
                  <a:pt x="15719" y="17719"/>
                  <a:pt x="15719" y="17656"/>
                </a:cubicBezTo>
                <a:cubicBezTo>
                  <a:pt x="15750" y="17531"/>
                  <a:pt x="15782" y="17437"/>
                  <a:pt x="15813" y="17344"/>
                </a:cubicBezTo>
                <a:cubicBezTo>
                  <a:pt x="15813" y="17344"/>
                  <a:pt x="15813" y="17344"/>
                  <a:pt x="15813" y="17344"/>
                </a:cubicBezTo>
                <a:cubicBezTo>
                  <a:pt x="15844" y="17344"/>
                  <a:pt x="15907" y="17344"/>
                  <a:pt x="15969" y="17312"/>
                </a:cubicBezTo>
                <a:cubicBezTo>
                  <a:pt x="15969" y="17500"/>
                  <a:pt x="15719" y="17656"/>
                  <a:pt x="15907" y="17844"/>
                </a:cubicBezTo>
                <a:cubicBezTo>
                  <a:pt x="15907" y="17875"/>
                  <a:pt x="15844" y="17937"/>
                  <a:pt x="15938" y="17969"/>
                </a:cubicBezTo>
                <a:cubicBezTo>
                  <a:pt x="16032" y="17969"/>
                  <a:pt x="16094" y="17969"/>
                  <a:pt x="16157" y="17875"/>
                </a:cubicBezTo>
                <a:cubicBezTo>
                  <a:pt x="16219" y="17906"/>
                  <a:pt x="16219" y="17969"/>
                  <a:pt x="16219" y="18031"/>
                </a:cubicBezTo>
                <a:cubicBezTo>
                  <a:pt x="16188" y="18031"/>
                  <a:pt x="16125" y="18062"/>
                  <a:pt x="16094" y="18062"/>
                </a:cubicBezTo>
                <a:cubicBezTo>
                  <a:pt x="16125" y="18187"/>
                  <a:pt x="16188" y="18062"/>
                  <a:pt x="16219" y="18062"/>
                </a:cubicBezTo>
                <a:cubicBezTo>
                  <a:pt x="16282" y="18125"/>
                  <a:pt x="16250" y="18250"/>
                  <a:pt x="16344" y="18281"/>
                </a:cubicBezTo>
                <a:cubicBezTo>
                  <a:pt x="16344" y="18312"/>
                  <a:pt x="16313" y="18406"/>
                  <a:pt x="16375" y="18437"/>
                </a:cubicBezTo>
                <a:cubicBezTo>
                  <a:pt x="16438" y="18469"/>
                  <a:pt x="16438" y="18437"/>
                  <a:pt x="16469" y="18375"/>
                </a:cubicBezTo>
                <a:cubicBezTo>
                  <a:pt x="16532" y="18281"/>
                  <a:pt x="16438" y="18312"/>
                  <a:pt x="16375" y="18281"/>
                </a:cubicBezTo>
                <a:cubicBezTo>
                  <a:pt x="16532" y="18125"/>
                  <a:pt x="16469" y="17906"/>
                  <a:pt x="16563" y="17719"/>
                </a:cubicBezTo>
                <a:cubicBezTo>
                  <a:pt x="16500" y="17594"/>
                  <a:pt x="16844" y="17437"/>
                  <a:pt x="16500" y="17344"/>
                </a:cubicBezTo>
                <a:cubicBezTo>
                  <a:pt x="16625" y="17281"/>
                  <a:pt x="16688" y="17281"/>
                  <a:pt x="16782" y="17312"/>
                </a:cubicBezTo>
                <a:cubicBezTo>
                  <a:pt x="16844" y="17312"/>
                  <a:pt x="16844" y="17312"/>
                  <a:pt x="16813" y="17187"/>
                </a:cubicBezTo>
                <a:cubicBezTo>
                  <a:pt x="16813" y="17187"/>
                  <a:pt x="16813" y="17156"/>
                  <a:pt x="16813" y="17156"/>
                </a:cubicBezTo>
                <a:cubicBezTo>
                  <a:pt x="16875" y="17031"/>
                  <a:pt x="17407" y="16750"/>
                  <a:pt x="17532" y="16750"/>
                </a:cubicBezTo>
                <a:cubicBezTo>
                  <a:pt x="17875" y="16750"/>
                  <a:pt x="18000" y="16562"/>
                  <a:pt x="18063" y="16250"/>
                </a:cubicBezTo>
                <a:cubicBezTo>
                  <a:pt x="18063" y="16250"/>
                  <a:pt x="18094" y="16219"/>
                  <a:pt x="18094" y="16219"/>
                </a:cubicBezTo>
                <a:cubicBezTo>
                  <a:pt x="18063" y="16219"/>
                  <a:pt x="18032" y="16219"/>
                  <a:pt x="18032" y="16281"/>
                </a:cubicBezTo>
                <a:cubicBezTo>
                  <a:pt x="17844" y="16375"/>
                  <a:pt x="17657" y="16469"/>
                  <a:pt x="17469" y="16562"/>
                </a:cubicBezTo>
                <a:cubicBezTo>
                  <a:pt x="17438" y="16562"/>
                  <a:pt x="17407" y="16562"/>
                  <a:pt x="17407" y="16562"/>
                </a:cubicBezTo>
                <a:cubicBezTo>
                  <a:pt x="17407" y="16562"/>
                  <a:pt x="17438" y="16562"/>
                  <a:pt x="17469" y="16562"/>
                </a:cubicBezTo>
                <a:cubicBezTo>
                  <a:pt x="17500" y="16437"/>
                  <a:pt x="17532" y="16344"/>
                  <a:pt x="17532" y="16250"/>
                </a:cubicBezTo>
                <a:cubicBezTo>
                  <a:pt x="17625" y="16187"/>
                  <a:pt x="17594" y="16094"/>
                  <a:pt x="17625" y="16031"/>
                </a:cubicBezTo>
                <a:cubicBezTo>
                  <a:pt x="17657" y="16000"/>
                  <a:pt x="17719" y="15969"/>
                  <a:pt x="17688" y="15906"/>
                </a:cubicBezTo>
                <a:cubicBezTo>
                  <a:pt x="17782" y="15906"/>
                  <a:pt x="17782" y="15844"/>
                  <a:pt x="17844" y="15750"/>
                </a:cubicBezTo>
                <a:cubicBezTo>
                  <a:pt x="18063" y="15781"/>
                  <a:pt x="18125" y="15437"/>
                  <a:pt x="18344" y="15500"/>
                </a:cubicBezTo>
                <a:cubicBezTo>
                  <a:pt x="18375" y="15500"/>
                  <a:pt x="18375" y="15500"/>
                  <a:pt x="18375" y="15500"/>
                </a:cubicBezTo>
                <a:cubicBezTo>
                  <a:pt x="18500" y="15500"/>
                  <a:pt x="18688" y="15594"/>
                  <a:pt x="18657" y="15312"/>
                </a:cubicBezTo>
                <a:cubicBezTo>
                  <a:pt x="18625" y="15250"/>
                  <a:pt x="18782" y="15281"/>
                  <a:pt x="18875" y="15250"/>
                </a:cubicBezTo>
                <a:cubicBezTo>
                  <a:pt x="18719" y="15625"/>
                  <a:pt x="18532" y="15750"/>
                  <a:pt x="18188" y="15750"/>
                </a:cubicBezTo>
                <a:lnTo>
                  <a:pt x="18188" y="15750"/>
                </a:lnTo>
                <a:cubicBezTo>
                  <a:pt x="18188" y="15625"/>
                  <a:pt x="18407" y="15656"/>
                  <a:pt x="18375" y="15500"/>
                </a:cubicBezTo>
                <a:cubicBezTo>
                  <a:pt x="18375" y="15500"/>
                  <a:pt x="18375" y="15500"/>
                  <a:pt x="18344" y="15500"/>
                </a:cubicBezTo>
                <a:cubicBezTo>
                  <a:pt x="18344" y="15437"/>
                  <a:pt x="18407" y="15375"/>
                  <a:pt x="18344" y="15344"/>
                </a:cubicBezTo>
                <a:cubicBezTo>
                  <a:pt x="18063" y="15281"/>
                  <a:pt x="18282" y="15187"/>
                  <a:pt x="18313" y="15094"/>
                </a:cubicBezTo>
                <a:cubicBezTo>
                  <a:pt x="18313" y="15094"/>
                  <a:pt x="18313" y="15094"/>
                  <a:pt x="18313" y="15094"/>
                </a:cubicBezTo>
                <a:cubicBezTo>
                  <a:pt x="18438" y="15000"/>
                  <a:pt x="18657" y="15156"/>
                  <a:pt x="18750" y="14937"/>
                </a:cubicBezTo>
                <a:cubicBezTo>
                  <a:pt x="18594" y="14937"/>
                  <a:pt x="18407" y="14875"/>
                  <a:pt x="18282" y="15062"/>
                </a:cubicBezTo>
                <a:cubicBezTo>
                  <a:pt x="18219" y="15062"/>
                  <a:pt x="18157" y="15031"/>
                  <a:pt x="18094" y="15000"/>
                </a:cubicBezTo>
                <a:lnTo>
                  <a:pt x="18094" y="15000"/>
                </a:lnTo>
                <a:lnTo>
                  <a:pt x="18094" y="15000"/>
                </a:lnTo>
                <a:lnTo>
                  <a:pt x="18094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5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6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7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8" y="15000"/>
                </a:lnTo>
                <a:lnTo>
                  <a:pt x="18099" y="15000"/>
                </a:lnTo>
                <a:lnTo>
                  <a:pt x="18099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0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1" y="15000"/>
                </a:lnTo>
                <a:lnTo>
                  <a:pt x="18102" y="15000"/>
                </a:lnTo>
                <a:lnTo>
                  <a:pt x="18102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3" y="15000"/>
                </a:lnTo>
                <a:lnTo>
                  <a:pt x="18104" y="15000"/>
                </a:lnTo>
                <a:lnTo>
                  <a:pt x="18104" y="15000"/>
                </a:lnTo>
                <a:lnTo>
                  <a:pt x="18105" y="15000"/>
                </a:lnTo>
                <a:lnTo>
                  <a:pt x="18105" y="15000"/>
                </a:lnTo>
                <a:lnTo>
                  <a:pt x="18106" y="15000"/>
                </a:lnTo>
                <a:lnTo>
                  <a:pt x="18106" y="15000"/>
                </a:lnTo>
                <a:lnTo>
                  <a:pt x="18107" y="15000"/>
                </a:lnTo>
                <a:lnTo>
                  <a:pt x="18107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8" y="15000"/>
                </a:lnTo>
                <a:lnTo>
                  <a:pt x="18109" y="15000"/>
                </a:lnTo>
                <a:lnTo>
                  <a:pt x="18109" y="15000"/>
                </a:lnTo>
                <a:lnTo>
                  <a:pt x="18110" y="15000"/>
                </a:lnTo>
                <a:lnTo>
                  <a:pt x="18110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1" y="15000"/>
                </a:lnTo>
                <a:lnTo>
                  <a:pt x="18112" y="15000"/>
                </a:lnTo>
                <a:lnTo>
                  <a:pt x="18112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3" y="15000"/>
                </a:lnTo>
                <a:lnTo>
                  <a:pt x="18114" y="15000"/>
                </a:lnTo>
                <a:lnTo>
                  <a:pt x="18114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5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6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7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8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19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0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1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2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3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4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125" y="15000"/>
                </a:lnTo>
                <a:lnTo>
                  <a:pt x="18094" y="15000"/>
                </a:lnTo>
                <a:cubicBezTo>
                  <a:pt x="18032" y="15000"/>
                  <a:pt x="18000" y="15000"/>
                  <a:pt x="17969" y="15062"/>
                </a:cubicBezTo>
                <a:cubicBezTo>
                  <a:pt x="17813" y="15031"/>
                  <a:pt x="17719" y="15187"/>
                  <a:pt x="17563" y="15156"/>
                </a:cubicBezTo>
                <a:cubicBezTo>
                  <a:pt x="17469" y="15219"/>
                  <a:pt x="17375" y="15219"/>
                  <a:pt x="17250" y="15187"/>
                </a:cubicBezTo>
                <a:cubicBezTo>
                  <a:pt x="17344" y="15094"/>
                  <a:pt x="17438" y="15156"/>
                  <a:pt x="17532" y="15094"/>
                </a:cubicBezTo>
                <a:cubicBezTo>
                  <a:pt x="17532" y="15094"/>
                  <a:pt x="17532" y="15094"/>
                  <a:pt x="17532" y="15094"/>
                </a:cubicBezTo>
                <a:cubicBezTo>
                  <a:pt x="17750" y="14969"/>
                  <a:pt x="17938" y="14750"/>
                  <a:pt x="18219" y="14656"/>
                </a:cubicBezTo>
                <a:cubicBezTo>
                  <a:pt x="18219" y="14656"/>
                  <a:pt x="18250" y="14625"/>
                  <a:pt x="18282" y="14656"/>
                </a:cubicBezTo>
                <a:lnTo>
                  <a:pt x="18282" y="14656"/>
                </a:lnTo>
                <a:cubicBezTo>
                  <a:pt x="18282" y="14656"/>
                  <a:pt x="18250" y="14687"/>
                  <a:pt x="18250" y="14719"/>
                </a:cubicBezTo>
                <a:cubicBezTo>
                  <a:pt x="18250" y="14844"/>
                  <a:pt x="18094" y="14875"/>
                  <a:pt x="18094" y="15000"/>
                </a:cubicBezTo>
                <a:cubicBezTo>
                  <a:pt x="18094" y="15062"/>
                  <a:pt x="18032" y="15094"/>
                  <a:pt x="17969" y="15062"/>
                </a:cubicBezTo>
                <a:cubicBezTo>
                  <a:pt x="17750" y="15344"/>
                  <a:pt x="17438" y="15562"/>
                  <a:pt x="17094" y="15625"/>
                </a:cubicBezTo>
                <a:cubicBezTo>
                  <a:pt x="16875" y="15656"/>
                  <a:pt x="16875" y="15719"/>
                  <a:pt x="16907" y="15875"/>
                </a:cubicBezTo>
                <a:cubicBezTo>
                  <a:pt x="16907" y="15875"/>
                  <a:pt x="16907" y="15875"/>
                  <a:pt x="16907" y="15875"/>
                </a:cubicBezTo>
                <a:cubicBezTo>
                  <a:pt x="16844" y="15844"/>
                  <a:pt x="16813" y="15844"/>
                  <a:pt x="16750" y="15812"/>
                </a:cubicBezTo>
                <a:cubicBezTo>
                  <a:pt x="16719" y="15781"/>
                  <a:pt x="16688" y="15719"/>
                  <a:pt x="16657" y="15687"/>
                </a:cubicBezTo>
                <a:cubicBezTo>
                  <a:pt x="16688" y="15687"/>
                  <a:pt x="16657" y="15656"/>
                  <a:pt x="16657" y="15656"/>
                </a:cubicBezTo>
                <a:cubicBezTo>
                  <a:pt x="16719" y="15625"/>
                  <a:pt x="16782" y="15656"/>
                  <a:pt x="16782" y="15594"/>
                </a:cubicBezTo>
                <a:cubicBezTo>
                  <a:pt x="16844" y="15562"/>
                  <a:pt x="16875" y="15562"/>
                  <a:pt x="16875" y="15500"/>
                </a:cubicBezTo>
                <a:cubicBezTo>
                  <a:pt x="16938" y="15344"/>
                  <a:pt x="17219" y="15312"/>
                  <a:pt x="17157" y="15062"/>
                </a:cubicBezTo>
                <a:cubicBezTo>
                  <a:pt x="17188" y="14937"/>
                  <a:pt x="17188" y="14812"/>
                  <a:pt x="17000" y="14906"/>
                </a:cubicBezTo>
                <a:cubicBezTo>
                  <a:pt x="16938" y="14969"/>
                  <a:pt x="16875" y="15000"/>
                  <a:pt x="16813" y="15062"/>
                </a:cubicBezTo>
                <a:cubicBezTo>
                  <a:pt x="16688" y="15000"/>
                  <a:pt x="16594" y="15094"/>
                  <a:pt x="16500" y="15125"/>
                </a:cubicBezTo>
                <a:cubicBezTo>
                  <a:pt x="16438" y="15156"/>
                  <a:pt x="16344" y="15219"/>
                  <a:pt x="16375" y="15281"/>
                </a:cubicBezTo>
                <a:cubicBezTo>
                  <a:pt x="16438" y="15375"/>
                  <a:pt x="16500" y="15250"/>
                  <a:pt x="16594" y="15281"/>
                </a:cubicBezTo>
                <a:cubicBezTo>
                  <a:pt x="16563" y="15375"/>
                  <a:pt x="16532" y="15437"/>
                  <a:pt x="16500" y="15562"/>
                </a:cubicBezTo>
                <a:cubicBezTo>
                  <a:pt x="16438" y="15469"/>
                  <a:pt x="16344" y="15406"/>
                  <a:pt x="16250" y="15375"/>
                </a:cubicBezTo>
                <a:cubicBezTo>
                  <a:pt x="16250" y="15312"/>
                  <a:pt x="16094" y="15312"/>
                  <a:pt x="16219" y="15187"/>
                </a:cubicBezTo>
                <a:cubicBezTo>
                  <a:pt x="16407" y="15000"/>
                  <a:pt x="16219" y="15031"/>
                  <a:pt x="16094" y="15031"/>
                </a:cubicBezTo>
                <a:cubicBezTo>
                  <a:pt x="16094" y="14906"/>
                  <a:pt x="16094" y="14781"/>
                  <a:pt x="16094" y="14625"/>
                </a:cubicBezTo>
                <a:cubicBezTo>
                  <a:pt x="15969" y="14656"/>
                  <a:pt x="15875" y="14687"/>
                  <a:pt x="15750" y="14719"/>
                </a:cubicBezTo>
                <a:cubicBezTo>
                  <a:pt x="15875" y="14687"/>
                  <a:pt x="15969" y="14656"/>
                  <a:pt x="16094" y="14625"/>
                </a:cubicBezTo>
                <a:cubicBezTo>
                  <a:pt x="16125" y="14625"/>
                  <a:pt x="16125" y="14625"/>
                  <a:pt x="16157" y="14625"/>
                </a:cubicBezTo>
                <a:cubicBezTo>
                  <a:pt x="16157" y="14719"/>
                  <a:pt x="16125" y="14812"/>
                  <a:pt x="16219" y="14875"/>
                </a:cubicBezTo>
                <a:cubicBezTo>
                  <a:pt x="16344" y="14969"/>
                  <a:pt x="16375" y="14750"/>
                  <a:pt x="16438" y="14781"/>
                </a:cubicBezTo>
                <a:cubicBezTo>
                  <a:pt x="16625" y="14844"/>
                  <a:pt x="16532" y="14469"/>
                  <a:pt x="16688" y="14625"/>
                </a:cubicBezTo>
                <a:cubicBezTo>
                  <a:pt x="16875" y="14750"/>
                  <a:pt x="17157" y="14469"/>
                  <a:pt x="17282" y="14812"/>
                </a:cubicBezTo>
                <a:cubicBezTo>
                  <a:pt x="17313" y="14844"/>
                  <a:pt x="17532" y="14687"/>
                  <a:pt x="17563" y="14594"/>
                </a:cubicBezTo>
                <a:cubicBezTo>
                  <a:pt x="17594" y="14437"/>
                  <a:pt x="17750" y="14281"/>
                  <a:pt x="17625" y="14125"/>
                </a:cubicBezTo>
                <a:cubicBezTo>
                  <a:pt x="17469" y="13906"/>
                  <a:pt x="17282" y="13969"/>
                  <a:pt x="17157" y="14219"/>
                </a:cubicBezTo>
                <a:cubicBezTo>
                  <a:pt x="17125" y="14312"/>
                  <a:pt x="17094" y="14312"/>
                  <a:pt x="16969" y="14312"/>
                </a:cubicBezTo>
                <a:cubicBezTo>
                  <a:pt x="16719" y="14344"/>
                  <a:pt x="16469" y="14219"/>
                  <a:pt x="16250" y="14437"/>
                </a:cubicBezTo>
                <a:cubicBezTo>
                  <a:pt x="16125" y="14437"/>
                  <a:pt x="16032" y="14562"/>
                  <a:pt x="15907" y="14500"/>
                </a:cubicBezTo>
                <a:cubicBezTo>
                  <a:pt x="16094" y="14281"/>
                  <a:pt x="16375" y="14156"/>
                  <a:pt x="16469" y="13875"/>
                </a:cubicBezTo>
                <a:cubicBezTo>
                  <a:pt x="16657" y="13969"/>
                  <a:pt x="16657" y="13625"/>
                  <a:pt x="16844" y="13719"/>
                </a:cubicBezTo>
                <a:cubicBezTo>
                  <a:pt x="16907" y="13750"/>
                  <a:pt x="16969" y="13719"/>
                  <a:pt x="16969" y="13687"/>
                </a:cubicBezTo>
                <a:cubicBezTo>
                  <a:pt x="17000" y="13625"/>
                  <a:pt x="16969" y="13531"/>
                  <a:pt x="16907" y="13500"/>
                </a:cubicBezTo>
                <a:cubicBezTo>
                  <a:pt x="16875" y="13437"/>
                  <a:pt x="16844" y="13500"/>
                  <a:pt x="16813" y="13531"/>
                </a:cubicBezTo>
                <a:cubicBezTo>
                  <a:pt x="16625" y="13594"/>
                  <a:pt x="16438" y="13625"/>
                  <a:pt x="16250" y="13625"/>
                </a:cubicBezTo>
                <a:cubicBezTo>
                  <a:pt x="16125" y="13625"/>
                  <a:pt x="16032" y="13687"/>
                  <a:pt x="16032" y="13812"/>
                </a:cubicBezTo>
                <a:cubicBezTo>
                  <a:pt x="15938" y="13812"/>
                  <a:pt x="15875" y="13812"/>
                  <a:pt x="15782" y="13812"/>
                </a:cubicBezTo>
                <a:cubicBezTo>
                  <a:pt x="15813" y="13594"/>
                  <a:pt x="15969" y="13469"/>
                  <a:pt x="16157" y="13375"/>
                </a:cubicBezTo>
                <a:cubicBezTo>
                  <a:pt x="16344" y="13312"/>
                  <a:pt x="16532" y="13250"/>
                  <a:pt x="16719" y="13156"/>
                </a:cubicBezTo>
                <a:cubicBezTo>
                  <a:pt x="16782" y="13125"/>
                  <a:pt x="16844" y="13125"/>
                  <a:pt x="16813" y="13031"/>
                </a:cubicBezTo>
                <a:cubicBezTo>
                  <a:pt x="16782" y="12937"/>
                  <a:pt x="16750" y="13000"/>
                  <a:pt x="16688" y="13000"/>
                </a:cubicBezTo>
                <a:cubicBezTo>
                  <a:pt x="16563" y="13031"/>
                  <a:pt x="16500" y="12937"/>
                  <a:pt x="16407" y="12875"/>
                </a:cubicBezTo>
                <a:cubicBezTo>
                  <a:pt x="16438" y="12875"/>
                  <a:pt x="16469" y="12844"/>
                  <a:pt x="16469" y="12812"/>
                </a:cubicBezTo>
                <a:cubicBezTo>
                  <a:pt x="16500" y="12812"/>
                  <a:pt x="16532" y="12781"/>
                  <a:pt x="16563" y="12781"/>
                </a:cubicBezTo>
                <a:cubicBezTo>
                  <a:pt x="16532" y="12781"/>
                  <a:pt x="16532" y="12781"/>
                  <a:pt x="16532" y="12750"/>
                </a:cubicBezTo>
                <a:lnTo>
                  <a:pt x="16532" y="12750"/>
                </a:lnTo>
                <a:cubicBezTo>
                  <a:pt x="16500" y="12781"/>
                  <a:pt x="16500" y="12781"/>
                  <a:pt x="16469" y="12812"/>
                </a:cubicBezTo>
                <a:close/>
                <a:moveTo>
                  <a:pt x="15125" y="23656"/>
                </a:moveTo>
                <a:cubicBezTo>
                  <a:pt x="15125" y="23656"/>
                  <a:pt x="15125" y="23656"/>
                  <a:pt x="15125" y="23687"/>
                </a:cubicBezTo>
                <a:cubicBezTo>
                  <a:pt x="15125" y="23687"/>
                  <a:pt x="15125" y="23687"/>
                  <a:pt x="15125" y="23687"/>
                </a:cubicBezTo>
                <a:cubicBezTo>
                  <a:pt x="15125" y="23656"/>
                  <a:pt x="15125" y="23656"/>
                  <a:pt x="15125" y="23656"/>
                </a:cubicBezTo>
                <a:cubicBezTo>
                  <a:pt x="15125" y="23656"/>
                  <a:pt x="15125" y="23656"/>
                  <a:pt x="15125" y="23656"/>
                </a:cubicBezTo>
                <a:close/>
                <a:moveTo>
                  <a:pt x="30344" y="13594"/>
                </a:moveTo>
                <a:lnTo>
                  <a:pt x="30344" y="13594"/>
                </a:lnTo>
                <a:lnTo>
                  <a:pt x="30344" y="13594"/>
                </a:lnTo>
                <a:close/>
                <a:moveTo>
                  <a:pt x="21844" y="22531"/>
                </a:moveTo>
                <a:cubicBezTo>
                  <a:pt x="21844" y="22500"/>
                  <a:pt x="21844" y="22500"/>
                  <a:pt x="21844" y="22469"/>
                </a:cubicBezTo>
                <a:cubicBezTo>
                  <a:pt x="21844" y="22469"/>
                  <a:pt x="21875" y="22500"/>
                  <a:pt x="21875" y="22500"/>
                </a:cubicBezTo>
                <a:cubicBezTo>
                  <a:pt x="21875" y="22500"/>
                  <a:pt x="21844" y="22500"/>
                  <a:pt x="21844" y="22531"/>
                </a:cubicBezTo>
                <a:close/>
                <a:moveTo>
                  <a:pt x="21563" y="24031"/>
                </a:moveTo>
                <a:cubicBezTo>
                  <a:pt x="21469" y="23906"/>
                  <a:pt x="21407" y="23781"/>
                  <a:pt x="21500" y="23656"/>
                </a:cubicBezTo>
                <a:cubicBezTo>
                  <a:pt x="21500" y="23625"/>
                  <a:pt x="21594" y="23625"/>
                  <a:pt x="21625" y="23656"/>
                </a:cubicBezTo>
                <a:cubicBezTo>
                  <a:pt x="21750" y="23781"/>
                  <a:pt x="21594" y="23906"/>
                  <a:pt x="21563" y="24031"/>
                </a:cubicBezTo>
                <a:close/>
                <a:moveTo>
                  <a:pt x="22000" y="23219"/>
                </a:moveTo>
                <a:cubicBezTo>
                  <a:pt x="21969" y="23344"/>
                  <a:pt x="21875" y="23406"/>
                  <a:pt x="21782" y="23437"/>
                </a:cubicBezTo>
                <a:cubicBezTo>
                  <a:pt x="21782" y="23437"/>
                  <a:pt x="21750" y="23406"/>
                  <a:pt x="21719" y="23344"/>
                </a:cubicBezTo>
                <a:cubicBezTo>
                  <a:pt x="21657" y="23219"/>
                  <a:pt x="21782" y="23187"/>
                  <a:pt x="21875" y="23125"/>
                </a:cubicBezTo>
                <a:cubicBezTo>
                  <a:pt x="21875" y="23125"/>
                  <a:pt x="21875" y="23094"/>
                  <a:pt x="21875" y="23062"/>
                </a:cubicBezTo>
                <a:cubicBezTo>
                  <a:pt x="21938" y="23062"/>
                  <a:pt x="21969" y="23094"/>
                  <a:pt x="22000" y="23125"/>
                </a:cubicBezTo>
                <a:cubicBezTo>
                  <a:pt x="22032" y="23094"/>
                  <a:pt x="22032" y="23094"/>
                  <a:pt x="22063" y="23062"/>
                </a:cubicBezTo>
                <a:cubicBezTo>
                  <a:pt x="22032" y="23094"/>
                  <a:pt x="22032" y="23094"/>
                  <a:pt x="22000" y="23125"/>
                </a:cubicBezTo>
                <a:cubicBezTo>
                  <a:pt x="22000" y="23156"/>
                  <a:pt x="22000" y="23187"/>
                  <a:pt x="22000" y="23219"/>
                </a:cubicBezTo>
                <a:close/>
                <a:moveTo>
                  <a:pt x="30532" y="13656"/>
                </a:moveTo>
                <a:lnTo>
                  <a:pt x="30532" y="13656"/>
                </a:lnTo>
                <a:lnTo>
                  <a:pt x="30532" y="13656"/>
                </a:lnTo>
                <a:close/>
                <a:moveTo>
                  <a:pt x="11688" y="23437"/>
                </a:moveTo>
                <a:cubicBezTo>
                  <a:pt x="11688" y="23437"/>
                  <a:pt x="11688" y="23469"/>
                  <a:pt x="11688" y="23469"/>
                </a:cubicBezTo>
                <a:cubicBezTo>
                  <a:pt x="11688" y="23469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688" y="23437"/>
                </a:cubicBezTo>
                <a:cubicBezTo>
                  <a:pt x="11688" y="23437"/>
                  <a:pt x="11688" y="23437"/>
                  <a:pt x="11719" y="23406"/>
                </a:cubicBezTo>
                <a:lnTo>
                  <a:pt x="11719" y="23406"/>
                </a:lnTo>
                <a:cubicBezTo>
                  <a:pt x="11688" y="23437"/>
                  <a:pt x="11688" y="23437"/>
                  <a:pt x="11688" y="23437"/>
                </a:cubicBezTo>
                <a:close/>
                <a:moveTo>
                  <a:pt x="23094" y="13812"/>
                </a:moveTo>
                <a:cubicBezTo>
                  <a:pt x="23094" y="13812"/>
                  <a:pt x="23094" y="13812"/>
                  <a:pt x="23094" y="13781"/>
                </a:cubicBezTo>
                <a:cubicBezTo>
                  <a:pt x="23094" y="13811"/>
                  <a:pt x="23094" y="13812"/>
                  <a:pt x="23068" y="13812"/>
                </a:cubicBezTo>
                <a:lnTo>
                  <a:pt x="23094" y="13812"/>
                </a:lnTo>
                <a:close/>
                <a:moveTo>
                  <a:pt x="23063" y="13812"/>
                </a:move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3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4" y="13812"/>
                </a:lnTo>
                <a:lnTo>
                  <a:pt x="23063" y="13812"/>
                </a:lnTo>
                <a:cubicBezTo>
                  <a:pt x="23063" y="13844"/>
                  <a:pt x="23032" y="13844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ubicBezTo>
                  <a:pt x="23000" y="13875"/>
                  <a:pt x="23000" y="13906"/>
                  <a:pt x="23000" y="13906"/>
                </a:cubicBezTo>
                <a:lnTo>
                  <a:pt x="23000" y="13906"/>
                </a:lnTo>
                <a:cubicBezTo>
                  <a:pt x="23000" y="13906"/>
                  <a:pt x="23000" y="13875"/>
                  <a:pt x="23000" y="13875"/>
                </a:cubicBezTo>
                <a:cubicBezTo>
                  <a:pt x="23032" y="13875"/>
                  <a:pt x="23032" y="13875"/>
                  <a:pt x="23032" y="13875"/>
                </a:cubicBezTo>
                <a:cubicBezTo>
                  <a:pt x="23063" y="13875"/>
                  <a:pt x="23063" y="13844"/>
                  <a:pt x="23063" y="13812"/>
                </a:cubicBezTo>
                <a:close/>
                <a:moveTo>
                  <a:pt x="23064" y="13812"/>
                </a:moveTo>
                <a:lnTo>
                  <a:pt x="23065" y="13812"/>
                </a:lnTo>
                <a:lnTo>
                  <a:pt x="23065" y="13812"/>
                </a:lnTo>
                <a:lnTo>
                  <a:pt x="23065" y="13812"/>
                </a:lnTo>
                <a:lnTo>
                  <a:pt x="23066" y="13812"/>
                </a:lnTo>
                <a:lnTo>
                  <a:pt x="23064" y="13812"/>
                </a:lnTo>
                <a:close/>
                <a:moveTo>
                  <a:pt x="23066" y="13812"/>
                </a:moveTo>
                <a:lnTo>
                  <a:pt x="23066" y="13812"/>
                </a:lnTo>
                <a:lnTo>
                  <a:pt x="23066" y="13812"/>
                </a:lnTo>
                <a:lnTo>
                  <a:pt x="23067" y="13812"/>
                </a:lnTo>
                <a:lnTo>
                  <a:pt x="23067" y="13812"/>
                </a:lnTo>
                <a:lnTo>
                  <a:pt x="23066" y="13812"/>
                </a:lnTo>
                <a:close/>
                <a:moveTo>
                  <a:pt x="23067" y="13812"/>
                </a:moveTo>
                <a:lnTo>
                  <a:pt x="23067" y="13812"/>
                </a:lnTo>
                <a:lnTo>
                  <a:pt x="23068" y="13812"/>
                </a:lnTo>
                <a:lnTo>
                  <a:pt x="23068" y="13812"/>
                </a:lnTo>
                <a:moveTo>
                  <a:pt x="23094" y="13812"/>
                </a:moveTo>
                <a:lnTo>
                  <a:pt x="23067" y="13812"/>
                </a:lnTo>
                <a:moveTo>
                  <a:pt x="23000" y="13875"/>
                </a:moveTo>
                <a:cubicBezTo>
                  <a:pt x="23000" y="13875"/>
                  <a:pt x="23000" y="13875"/>
                  <a:pt x="23032" y="13875"/>
                </a:cubicBezTo>
                <a:cubicBezTo>
                  <a:pt x="23000" y="13875"/>
                  <a:pt x="23000" y="13875"/>
                  <a:pt x="23000" y="13875"/>
                </a:cubicBezTo>
                <a:close/>
                <a:moveTo>
                  <a:pt x="11938" y="23250"/>
                </a:moveTo>
                <a:cubicBezTo>
                  <a:pt x="11969" y="23250"/>
                  <a:pt x="12000" y="23219"/>
                  <a:pt x="12000" y="23187"/>
                </a:cubicBezTo>
                <a:cubicBezTo>
                  <a:pt x="11969" y="23187"/>
                  <a:pt x="11938" y="23219"/>
                  <a:pt x="11938" y="23250"/>
                </a:cubicBezTo>
                <a:cubicBezTo>
                  <a:pt x="11907" y="23250"/>
                  <a:pt x="11875" y="23281"/>
                  <a:pt x="11875" y="23281"/>
                </a:cubicBezTo>
                <a:cubicBezTo>
                  <a:pt x="11875" y="23281"/>
                  <a:pt x="11875" y="23281"/>
                  <a:pt x="11875" y="23312"/>
                </a:cubicBezTo>
                <a:lnTo>
                  <a:pt x="11875" y="23312"/>
                </a:lnTo>
                <a:cubicBezTo>
                  <a:pt x="11907" y="23281"/>
                  <a:pt x="11907" y="23281"/>
                  <a:pt x="11938" y="23250"/>
                </a:cubicBezTo>
                <a:close/>
                <a:moveTo>
                  <a:pt x="12000" y="23187"/>
                </a:moveTo>
                <a:cubicBezTo>
                  <a:pt x="12032" y="23156"/>
                  <a:pt x="12063" y="23156"/>
                  <a:pt x="12063" y="23125"/>
                </a:cubicBezTo>
                <a:cubicBezTo>
                  <a:pt x="12063" y="23125"/>
                  <a:pt x="12094" y="23125"/>
                  <a:pt x="12094" y="23094"/>
                </a:cubicBezTo>
                <a:lnTo>
                  <a:pt x="12094" y="23094"/>
                </a:lnTo>
                <a:cubicBezTo>
                  <a:pt x="12094" y="23125"/>
                  <a:pt x="12063" y="23125"/>
                  <a:pt x="12063" y="23125"/>
                </a:cubicBezTo>
                <a:cubicBezTo>
                  <a:pt x="12032" y="23156"/>
                  <a:pt x="12032" y="23156"/>
                  <a:pt x="12000" y="23187"/>
                </a:cubicBezTo>
                <a:close/>
                <a:moveTo>
                  <a:pt x="10594" y="23094"/>
                </a:moveTo>
                <a:cubicBezTo>
                  <a:pt x="10594" y="23094"/>
                  <a:pt x="10594" y="23062"/>
                  <a:pt x="10625" y="23062"/>
                </a:cubicBezTo>
                <a:cubicBezTo>
                  <a:pt x="10594" y="23062"/>
                  <a:pt x="10594" y="23062"/>
                  <a:pt x="10594" y="23062"/>
                </a:cubicBezTo>
                <a:cubicBezTo>
                  <a:pt x="10594" y="23094"/>
                  <a:pt x="10594" y="23094"/>
                  <a:pt x="10594" y="23094"/>
                </a:cubicBezTo>
                <a:close/>
                <a:moveTo>
                  <a:pt x="10625" y="23062"/>
                </a:moveTo>
                <a:cubicBezTo>
                  <a:pt x="10782" y="23062"/>
                  <a:pt x="10907" y="23000"/>
                  <a:pt x="10938" y="22812"/>
                </a:cubicBezTo>
                <a:cubicBezTo>
                  <a:pt x="10969" y="22781"/>
                  <a:pt x="11000" y="22781"/>
                  <a:pt x="11000" y="22781"/>
                </a:cubicBezTo>
                <a:cubicBezTo>
                  <a:pt x="11000" y="22844"/>
                  <a:pt x="10969" y="22812"/>
                  <a:pt x="10938" y="22812"/>
                </a:cubicBezTo>
                <a:cubicBezTo>
                  <a:pt x="10782" y="22844"/>
                  <a:pt x="10719" y="22969"/>
                  <a:pt x="10625" y="23062"/>
                </a:cubicBezTo>
                <a:close/>
                <a:moveTo>
                  <a:pt x="22344" y="14531"/>
                </a:moveTo>
                <a:lnTo>
                  <a:pt x="22375" y="14531"/>
                </a:lnTo>
                <a:lnTo>
                  <a:pt x="22344" y="14531"/>
                </a:lnTo>
                <a:close/>
                <a:moveTo>
                  <a:pt x="12250" y="23000"/>
                </a:moveTo>
                <a:cubicBezTo>
                  <a:pt x="12250" y="23000"/>
                  <a:pt x="12250" y="23000"/>
                  <a:pt x="12250" y="23031"/>
                </a:cubicBezTo>
                <a:cubicBezTo>
                  <a:pt x="12250" y="23031"/>
                  <a:pt x="12250" y="23000"/>
                  <a:pt x="12250" y="23000"/>
                </a:cubicBezTo>
                <a:cubicBezTo>
                  <a:pt x="12282" y="22969"/>
                  <a:pt x="12313" y="22969"/>
                  <a:pt x="12313" y="22937"/>
                </a:cubicBezTo>
                <a:cubicBezTo>
                  <a:pt x="12563" y="22719"/>
                  <a:pt x="12938" y="22625"/>
                  <a:pt x="13125" y="22250"/>
                </a:cubicBezTo>
                <a:cubicBezTo>
                  <a:pt x="12782" y="22375"/>
                  <a:pt x="12500" y="22531"/>
                  <a:pt x="12188" y="22625"/>
                </a:cubicBezTo>
                <a:cubicBezTo>
                  <a:pt x="11969" y="22656"/>
                  <a:pt x="12032" y="22812"/>
                  <a:pt x="12032" y="22875"/>
                </a:cubicBezTo>
                <a:lnTo>
                  <a:pt x="12032" y="22875"/>
                </a:lnTo>
                <a:cubicBezTo>
                  <a:pt x="12063" y="22969"/>
                  <a:pt x="12125" y="22844"/>
                  <a:pt x="12219" y="22844"/>
                </a:cubicBezTo>
                <a:cubicBezTo>
                  <a:pt x="12250" y="22875"/>
                  <a:pt x="12313" y="22875"/>
                  <a:pt x="12313" y="22937"/>
                </a:cubicBezTo>
                <a:cubicBezTo>
                  <a:pt x="12313" y="22969"/>
                  <a:pt x="12282" y="22969"/>
                  <a:pt x="12250" y="23000"/>
                </a:cubicBezTo>
                <a:close/>
                <a:moveTo>
                  <a:pt x="18875" y="22969"/>
                </a:moveTo>
                <a:cubicBezTo>
                  <a:pt x="18875" y="22969"/>
                  <a:pt x="18875" y="22969"/>
                  <a:pt x="18875" y="23000"/>
                </a:cubicBezTo>
                <a:cubicBezTo>
                  <a:pt x="18907" y="22969"/>
                  <a:pt x="18907" y="22969"/>
                  <a:pt x="18907" y="22969"/>
                </a:cubicBezTo>
                <a:cubicBezTo>
                  <a:pt x="18907" y="22969"/>
                  <a:pt x="18907" y="22969"/>
                  <a:pt x="18907" y="22937"/>
                </a:cubicBezTo>
                <a:cubicBezTo>
                  <a:pt x="18875" y="22969"/>
                  <a:pt x="18875" y="22969"/>
                  <a:pt x="18875" y="22969"/>
                </a:cubicBezTo>
                <a:close/>
                <a:moveTo>
                  <a:pt x="18969" y="22844"/>
                </a:moveTo>
                <a:lnTo>
                  <a:pt x="18938" y="22844"/>
                </a:lnTo>
                <a:lnTo>
                  <a:pt x="18969" y="22844"/>
                </a:lnTo>
                <a:close/>
                <a:moveTo>
                  <a:pt x="24157" y="14781"/>
                </a:moveTo>
                <a:lnTo>
                  <a:pt x="24188" y="14781"/>
                </a:lnTo>
                <a:lnTo>
                  <a:pt x="24188" y="14781"/>
                </a:lnTo>
                <a:lnTo>
                  <a:pt x="24157" y="14781"/>
                </a:lnTo>
                <a:close/>
                <a:moveTo>
                  <a:pt x="24875" y="14750"/>
                </a:moveTo>
                <a:cubicBezTo>
                  <a:pt x="24875" y="14750"/>
                  <a:pt x="24844" y="14781"/>
                  <a:pt x="24844" y="14781"/>
                </a:cubicBezTo>
                <a:cubicBezTo>
                  <a:pt x="24844" y="14781"/>
                  <a:pt x="24875" y="14781"/>
                  <a:pt x="24875" y="14812"/>
                </a:cubicBezTo>
                <a:cubicBezTo>
                  <a:pt x="24875" y="14781"/>
                  <a:pt x="24875" y="14781"/>
                  <a:pt x="24875" y="14781"/>
                </a:cubicBezTo>
                <a:cubicBezTo>
                  <a:pt x="24875" y="14781"/>
                  <a:pt x="24875" y="14750"/>
                  <a:pt x="24875" y="14750"/>
                </a:cubicBezTo>
                <a:close/>
                <a:moveTo>
                  <a:pt x="19844" y="22469"/>
                </a:moveTo>
                <a:lnTo>
                  <a:pt x="19844" y="22437"/>
                </a:lnTo>
                <a:lnTo>
                  <a:pt x="19813" y="22469"/>
                </a:lnTo>
                <a:lnTo>
                  <a:pt x="19844" y="22469"/>
                </a:lnTo>
                <a:close/>
                <a:moveTo>
                  <a:pt x="18719" y="22281"/>
                </a:moveTo>
                <a:lnTo>
                  <a:pt x="18688" y="22281"/>
                </a:lnTo>
                <a:lnTo>
                  <a:pt x="18688" y="22281"/>
                </a:lnTo>
                <a:lnTo>
                  <a:pt x="18719" y="22281"/>
                </a:lnTo>
                <a:close/>
                <a:moveTo>
                  <a:pt x="13969" y="22281"/>
                </a:moveTo>
                <a:cubicBezTo>
                  <a:pt x="14000" y="22312"/>
                  <a:pt x="14000" y="22281"/>
                  <a:pt x="14032" y="22250"/>
                </a:cubicBezTo>
                <a:cubicBezTo>
                  <a:pt x="14125" y="22250"/>
                  <a:pt x="14157" y="22156"/>
                  <a:pt x="14157" y="22062"/>
                </a:cubicBezTo>
                <a:cubicBezTo>
                  <a:pt x="14157" y="22062"/>
                  <a:pt x="14157" y="22062"/>
                  <a:pt x="14157" y="22062"/>
                </a:cubicBezTo>
                <a:cubicBezTo>
                  <a:pt x="14188" y="22062"/>
                  <a:pt x="14188" y="22031"/>
                  <a:pt x="14188" y="22000"/>
                </a:cubicBezTo>
                <a:cubicBezTo>
                  <a:pt x="14157" y="22031"/>
                  <a:pt x="14157" y="22031"/>
                  <a:pt x="14125" y="22031"/>
                </a:cubicBezTo>
                <a:cubicBezTo>
                  <a:pt x="14000" y="22062"/>
                  <a:pt x="14000" y="22125"/>
                  <a:pt x="14000" y="22219"/>
                </a:cubicBezTo>
                <a:cubicBezTo>
                  <a:pt x="14000" y="22250"/>
                  <a:pt x="13969" y="22250"/>
                  <a:pt x="13969" y="22281"/>
                </a:cubicBezTo>
                <a:close/>
                <a:moveTo>
                  <a:pt x="14282" y="21937"/>
                </a:moveTo>
                <a:cubicBezTo>
                  <a:pt x="14250" y="21937"/>
                  <a:pt x="14250" y="21906"/>
                  <a:pt x="14250" y="21906"/>
                </a:cubicBezTo>
                <a:cubicBezTo>
                  <a:pt x="14250" y="21906"/>
                  <a:pt x="14250" y="21937"/>
                  <a:pt x="14282" y="21937"/>
                </a:cubicBezTo>
                <a:cubicBezTo>
                  <a:pt x="14282" y="21937"/>
                  <a:pt x="14282" y="21937"/>
                  <a:pt x="14282" y="21937"/>
                </a:cubicBezTo>
                <a:cubicBezTo>
                  <a:pt x="14313" y="22031"/>
                  <a:pt x="14344" y="22125"/>
                  <a:pt x="14407" y="22250"/>
                </a:cubicBezTo>
                <a:cubicBezTo>
                  <a:pt x="14438" y="22156"/>
                  <a:pt x="14469" y="22094"/>
                  <a:pt x="14500" y="22031"/>
                </a:cubicBezTo>
                <a:cubicBezTo>
                  <a:pt x="14532" y="21969"/>
                  <a:pt x="14625" y="21937"/>
                  <a:pt x="14563" y="21844"/>
                </a:cubicBezTo>
                <a:cubicBezTo>
                  <a:pt x="14469" y="21750"/>
                  <a:pt x="14407" y="21844"/>
                  <a:pt x="14344" y="21906"/>
                </a:cubicBezTo>
                <a:lnTo>
                  <a:pt x="14344" y="21906"/>
                </a:lnTo>
                <a:cubicBezTo>
                  <a:pt x="14344" y="21906"/>
                  <a:pt x="14313" y="21937"/>
                  <a:pt x="14282" y="21937"/>
                </a:cubicBezTo>
                <a:close/>
                <a:moveTo>
                  <a:pt x="18844" y="17000"/>
                </a:moveTo>
                <a:cubicBezTo>
                  <a:pt x="18844" y="16969"/>
                  <a:pt x="18844" y="16937"/>
                  <a:pt x="18844" y="16906"/>
                </a:cubicBezTo>
                <a:cubicBezTo>
                  <a:pt x="18813" y="16906"/>
                  <a:pt x="18813" y="16937"/>
                  <a:pt x="18782" y="16937"/>
                </a:cubicBezTo>
                <a:cubicBezTo>
                  <a:pt x="18813" y="16937"/>
                  <a:pt x="18813" y="16969"/>
                  <a:pt x="18844" y="17000"/>
                </a:cubicBezTo>
                <a:close/>
                <a:moveTo>
                  <a:pt x="19094" y="21469"/>
                </a:moveTo>
                <a:cubicBezTo>
                  <a:pt x="19094" y="21469"/>
                  <a:pt x="19094" y="21469"/>
                  <a:pt x="19125" y="21500"/>
                </a:cubicBezTo>
                <a:cubicBezTo>
                  <a:pt x="19125" y="21469"/>
                  <a:pt x="19125" y="21469"/>
                  <a:pt x="19094" y="21469"/>
                </a:cubicBezTo>
                <a:cubicBezTo>
                  <a:pt x="19094" y="21469"/>
                  <a:pt x="19094" y="21469"/>
                  <a:pt x="19094" y="21469"/>
                </a:cubicBezTo>
                <a:close/>
                <a:moveTo>
                  <a:pt x="22063" y="21375"/>
                </a:moveTo>
                <a:cubicBezTo>
                  <a:pt x="22063" y="21375"/>
                  <a:pt x="22063" y="21375"/>
                  <a:pt x="22032" y="21375"/>
                </a:cubicBezTo>
                <a:cubicBezTo>
                  <a:pt x="22063" y="21375"/>
                  <a:pt x="22063" y="21375"/>
                  <a:pt x="22063" y="21375"/>
                </a:cubicBezTo>
                <a:cubicBezTo>
                  <a:pt x="22094" y="21344"/>
                  <a:pt x="22094" y="21344"/>
                  <a:pt x="22125" y="21344"/>
                </a:cubicBezTo>
                <a:cubicBezTo>
                  <a:pt x="22125" y="21344"/>
                  <a:pt x="22157" y="21312"/>
                  <a:pt x="22157" y="21312"/>
                </a:cubicBezTo>
                <a:lnTo>
                  <a:pt x="22157" y="21312"/>
                </a:lnTo>
                <a:cubicBezTo>
                  <a:pt x="22188" y="21344"/>
                  <a:pt x="22188" y="21375"/>
                  <a:pt x="22157" y="21375"/>
                </a:cubicBezTo>
                <a:cubicBezTo>
                  <a:pt x="22157" y="21437"/>
                  <a:pt x="22157" y="21469"/>
                  <a:pt x="22157" y="21500"/>
                </a:cubicBezTo>
                <a:cubicBezTo>
                  <a:pt x="22188" y="21562"/>
                  <a:pt x="22219" y="21531"/>
                  <a:pt x="22250" y="21500"/>
                </a:cubicBezTo>
                <a:cubicBezTo>
                  <a:pt x="22438" y="21281"/>
                  <a:pt x="22438" y="21000"/>
                  <a:pt x="22563" y="20781"/>
                </a:cubicBezTo>
                <a:cubicBezTo>
                  <a:pt x="22625" y="20687"/>
                  <a:pt x="22500" y="20656"/>
                  <a:pt x="22469" y="20687"/>
                </a:cubicBezTo>
                <a:cubicBezTo>
                  <a:pt x="22375" y="20719"/>
                  <a:pt x="22250" y="20531"/>
                  <a:pt x="22250" y="20656"/>
                </a:cubicBezTo>
                <a:cubicBezTo>
                  <a:pt x="22219" y="20906"/>
                  <a:pt x="22000" y="21094"/>
                  <a:pt x="22063" y="21375"/>
                </a:cubicBezTo>
                <a:close/>
                <a:moveTo>
                  <a:pt x="21907" y="21375"/>
                </a:moveTo>
                <a:cubicBezTo>
                  <a:pt x="21907" y="21375"/>
                  <a:pt x="21907" y="21344"/>
                  <a:pt x="21938" y="21312"/>
                </a:cubicBezTo>
                <a:cubicBezTo>
                  <a:pt x="21907" y="21312"/>
                  <a:pt x="21875" y="21344"/>
                  <a:pt x="21844" y="21344"/>
                </a:cubicBezTo>
                <a:cubicBezTo>
                  <a:pt x="21844" y="21344"/>
                  <a:pt x="21844" y="21344"/>
                  <a:pt x="21844" y="21344"/>
                </a:cubicBezTo>
                <a:cubicBezTo>
                  <a:pt x="21844" y="21375"/>
                  <a:pt x="21844" y="21375"/>
                  <a:pt x="21844" y="21406"/>
                </a:cubicBezTo>
                <a:cubicBezTo>
                  <a:pt x="21875" y="21406"/>
                  <a:pt x="21875" y="21406"/>
                  <a:pt x="21907" y="21375"/>
                </a:cubicBezTo>
                <a:close/>
                <a:moveTo>
                  <a:pt x="20000" y="20500"/>
                </a:moveTo>
                <a:cubicBezTo>
                  <a:pt x="20000" y="20500"/>
                  <a:pt x="19969" y="20500"/>
                  <a:pt x="19969" y="20500"/>
                </a:cubicBezTo>
                <a:cubicBezTo>
                  <a:pt x="19969" y="20500"/>
                  <a:pt x="19969" y="20500"/>
                  <a:pt x="20000" y="20500"/>
                </a:cubicBezTo>
                <a:cubicBezTo>
                  <a:pt x="20000" y="20500"/>
                  <a:pt x="20000" y="20469"/>
                  <a:pt x="20000" y="20469"/>
                </a:cubicBezTo>
                <a:cubicBezTo>
                  <a:pt x="20063" y="20437"/>
                  <a:pt x="20125" y="20437"/>
                  <a:pt x="20125" y="20562"/>
                </a:cubicBezTo>
                <a:cubicBezTo>
                  <a:pt x="20125" y="20687"/>
                  <a:pt x="20125" y="20844"/>
                  <a:pt x="20125" y="20969"/>
                </a:cubicBezTo>
                <a:cubicBezTo>
                  <a:pt x="20125" y="21031"/>
                  <a:pt x="20125" y="21125"/>
                  <a:pt x="20188" y="21156"/>
                </a:cubicBezTo>
                <a:cubicBezTo>
                  <a:pt x="20282" y="21187"/>
                  <a:pt x="20282" y="21094"/>
                  <a:pt x="20313" y="21031"/>
                </a:cubicBezTo>
                <a:cubicBezTo>
                  <a:pt x="20375" y="20969"/>
                  <a:pt x="20344" y="20812"/>
                  <a:pt x="20500" y="20781"/>
                </a:cubicBezTo>
                <a:cubicBezTo>
                  <a:pt x="20594" y="20781"/>
                  <a:pt x="20563" y="20594"/>
                  <a:pt x="20532" y="20500"/>
                </a:cubicBezTo>
                <a:cubicBezTo>
                  <a:pt x="20500" y="20375"/>
                  <a:pt x="20438" y="20437"/>
                  <a:pt x="20375" y="20437"/>
                </a:cubicBezTo>
                <a:cubicBezTo>
                  <a:pt x="20188" y="20500"/>
                  <a:pt x="20219" y="20344"/>
                  <a:pt x="20219" y="20250"/>
                </a:cubicBezTo>
                <a:cubicBezTo>
                  <a:pt x="20219" y="20125"/>
                  <a:pt x="20250" y="20031"/>
                  <a:pt x="20375" y="20156"/>
                </a:cubicBezTo>
                <a:cubicBezTo>
                  <a:pt x="20375" y="20156"/>
                  <a:pt x="20375" y="20156"/>
                  <a:pt x="20375" y="20156"/>
                </a:cubicBezTo>
                <a:cubicBezTo>
                  <a:pt x="20375" y="20187"/>
                  <a:pt x="20375" y="20187"/>
                  <a:pt x="20375" y="20187"/>
                </a:cubicBezTo>
                <a:cubicBezTo>
                  <a:pt x="20375" y="20187"/>
                  <a:pt x="20375" y="20156"/>
                  <a:pt x="20375" y="20156"/>
                </a:cubicBezTo>
                <a:cubicBezTo>
                  <a:pt x="20563" y="20375"/>
                  <a:pt x="20719" y="20094"/>
                  <a:pt x="20875" y="20094"/>
                </a:cubicBezTo>
                <a:cubicBezTo>
                  <a:pt x="20938" y="20281"/>
                  <a:pt x="20657" y="20406"/>
                  <a:pt x="20782" y="20625"/>
                </a:cubicBezTo>
                <a:cubicBezTo>
                  <a:pt x="20875" y="20469"/>
                  <a:pt x="21094" y="20375"/>
                  <a:pt x="21032" y="20125"/>
                </a:cubicBezTo>
                <a:cubicBezTo>
                  <a:pt x="21032" y="20125"/>
                  <a:pt x="21032" y="20125"/>
                  <a:pt x="21032" y="20125"/>
                </a:cubicBezTo>
                <a:cubicBezTo>
                  <a:pt x="21063" y="20125"/>
                  <a:pt x="21063" y="20094"/>
                  <a:pt x="21094" y="20062"/>
                </a:cubicBezTo>
                <a:cubicBezTo>
                  <a:pt x="21094" y="20062"/>
                  <a:pt x="21094" y="20062"/>
                  <a:pt x="21094" y="20062"/>
                </a:cubicBezTo>
                <a:cubicBezTo>
                  <a:pt x="21094" y="20062"/>
                  <a:pt x="21125" y="20031"/>
                  <a:pt x="21125" y="20031"/>
                </a:cubicBezTo>
                <a:cubicBezTo>
                  <a:pt x="21094" y="19969"/>
                  <a:pt x="21063" y="20000"/>
                  <a:pt x="21032" y="20031"/>
                </a:cubicBezTo>
                <a:cubicBezTo>
                  <a:pt x="21032" y="20031"/>
                  <a:pt x="21063" y="20031"/>
                  <a:pt x="21063" y="20031"/>
                </a:cubicBezTo>
                <a:cubicBezTo>
                  <a:pt x="21063" y="20031"/>
                  <a:pt x="21032" y="20031"/>
                  <a:pt x="21032" y="20031"/>
                </a:cubicBezTo>
                <a:cubicBezTo>
                  <a:pt x="21032" y="20031"/>
                  <a:pt x="21000" y="20062"/>
                  <a:pt x="20969" y="20094"/>
                </a:cubicBezTo>
                <a:cubicBezTo>
                  <a:pt x="20969" y="20094"/>
                  <a:pt x="20969" y="20094"/>
                  <a:pt x="20969" y="20094"/>
                </a:cubicBezTo>
                <a:cubicBezTo>
                  <a:pt x="20938" y="20094"/>
                  <a:pt x="20907" y="20094"/>
                  <a:pt x="20875" y="20094"/>
                </a:cubicBezTo>
                <a:cubicBezTo>
                  <a:pt x="20844" y="20031"/>
                  <a:pt x="20875" y="19875"/>
                  <a:pt x="20719" y="19969"/>
                </a:cubicBezTo>
                <a:cubicBezTo>
                  <a:pt x="20657" y="20000"/>
                  <a:pt x="20594" y="19969"/>
                  <a:pt x="20532" y="19937"/>
                </a:cubicBezTo>
                <a:cubicBezTo>
                  <a:pt x="20313" y="19844"/>
                  <a:pt x="20188" y="20062"/>
                  <a:pt x="19969" y="20062"/>
                </a:cubicBezTo>
                <a:lnTo>
                  <a:pt x="19969" y="20062"/>
                </a:lnTo>
                <a:cubicBezTo>
                  <a:pt x="19938" y="20062"/>
                  <a:pt x="19938" y="20156"/>
                  <a:pt x="20000" y="20187"/>
                </a:cubicBezTo>
                <a:cubicBezTo>
                  <a:pt x="20219" y="20281"/>
                  <a:pt x="19969" y="20375"/>
                  <a:pt x="20000" y="20469"/>
                </a:cubicBezTo>
                <a:cubicBezTo>
                  <a:pt x="20000" y="20469"/>
                  <a:pt x="20000" y="20469"/>
                  <a:pt x="20000" y="20500"/>
                </a:cubicBezTo>
                <a:close/>
                <a:moveTo>
                  <a:pt x="11657" y="20062"/>
                </a:moveTo>
                <a:lnTo>
                  <a:pt x="11657" y="20094"/>
                </a:lnTo>
                <a:lnTo>
                  <a:pt x="11688" y="20062"/>
                </a:lnTo>
                <a:lnTo>
                  <a:pt x="11657" y="20062"/>
                </a:lnTo>
                <a:close/>
                <a:moveTo>
                  <a:pt x="8594" y="19969"/>
                </a:moveTo>
                <a:cubicBezTo>
                  <a:pt x="8594" y="19969"/>
                  <a:pt x="8625" y="19969"/>
                  <a:pt x="8625" y="19969"/>
                </a:cubicBezTo>
                <a:cubicBezTo>
                  <a:pt x="8625" y="19937"/>
                  <a:pt x="8625" y="19937"/>
                  <a:pt x="8625" y="19937"/>
                </a:cubicBezTo>
                <a:cubicBezTo>
                  <a:pt x="8625" y="19937"/>
                  <a:pt x="8594" y="19937"/>
                  <a:pt x="8594" y="19937"/>
                </a:cubicBezTo>
                <a:cubicBezTo>
                  <a:pt x="8594" y="19937"/>
                  <a:pt x="8594" y="19969"/>
                  <a:pt x="8594" y="19969"/>
                </a:cubicBezTo>
                <a:close/>
                <a:moveTo>
                  <a:pt x="21063" y="14094"/>
                </a:moveTo>
                <a:lnTo>
                  <a:pt x="21032" y="14094"/>
                </a:lnTo>
                <a:lnTo>
                  <a:pt x="21063" y="14094"/>
                </a:lnTo>
                <a:close/>
                <a:moveTo>
                  <a:pt x="11000" y="21281"/>
                </a:moveTo>
                <a:cubicBezTo>
                  <a:pt x="11000" y="21281"/>
                  <a:pt x="10969" y="21281"/>
                  <a:pt x="10969" y="21281"/>
                </a:cubicBezTo>
                <a:cubicBezTo>
                  <a:pt x="10969" y="21312"/>
                  <a:pt x="10938" y="21344"/>
                  <a:pt x="10938" y="21344"/>
                </a:cubicBezTo>
                <a:cubicBezTo>
                  <a:pt x="10688" y="21437"/>
                  <a:pt x="10563" y="21500"/>
                  <a:pt x="10500" y="21656"/>
                </a:cubicBezTo>
                <a:cubicBezTo>
                  <a:pt x="10844" y="21500"/>
                  <a:pt x="10844" y="21500"/>
                  <a:pt x="10938" y="21375"/>
                </a:cubicBezTo>
                <a:cubicBezTo>
                  <a:pt x="10938" y="21375"/>
                  <a:pt x="10938" y="21375"/>
                  <a:pt x="10938" y="21375"/>
                </a:cubicBezTo>
                <a:cubicBezTo>
                  <a:pt x="10969" y="21344"/>
                  <a:pt x="11000" y="21344"/>
                  <a:pt x="11000" y="21281"/>
                </a:cubicBezTo>
                <a:close/>
                <a:moveTo>
                  <a:pt x="21938" y="21656"/>
                </a:moveTo>
                <a:cubicBezTo>
                  <a:pt x="21938" y="21625"/>
                  <a:pt x="21938" y="21594"/>
                  <a:pt x="21938" y="21594"/>
                </a:cubicBezTo>
                <a:cubicBezTo>
                  <a:pt x="21938" y="21594"/>
                  <a:pt x="21907" y="21562"/>
                  <a:pt x="21907" y="21562"/>
                </a:cubicBezTo>
                <a:cubicBezTo>
                  <a:pt x="21907" y="21594"/>
                  <a:pt x="21875" y="21594"/>
                  <a:pt x="21907" y="21625"/>
                </a:cubicBezTo>
                <a:cubicBezTo>
                  <a:pt x="21907" y="21625"/>
                  <a:pt x="21907" y="21625"/>
                  <a:pt x="21938" y="21656"/>
                </a:cubicBezTo>
                <a:close/>
                <a:moveTo>
                  <a:pt x="13813" y="22875"/>
                </a:moveTo>
                <a:cubicBezTo>
                  <a:pt x="13813" y="22875"/>
                  <a:pt x="13844" y="22875"/>
                  <a:pt x="13844" y="22875"/>
                </a:cubicBezTo>
                <a:cubicBezTo>
                  <a:pt x="13875" y="22875"/>
                  <a:pt x="13907" y="22844"/>
                  <a:pt x="13938" y="22844"/>
                </a:cubicBezTo>
                <a:cubicBezTo>
                  <a:pt x="14032" y="22844"/>
                  <a:pt x="14157" y="22906"/>
                  <a:pt x="14125" y="22750"/>
                </a:cubicBezTo>
                <a:cubicBezTo>
                  <a:pt x="14125" y="22562"/>
                  <a:pt x="13969" y="22625"/>
                  <a:pt x="13938" y="22625"/>
                </a:cubicBezTo>
                <a:lnTo>
                  <a:pt x="13938" y="22625"/>
                </a:lnTo>
                <a:cubicBezTo>
                  <a:pt x="13750" y="22625"/>
                  <a:pt x="13907" y="22812"/>
                  <a:pt x="13844" y="22875"/>
                </a:cubicBezTo>
                <a:cubicBezTo>
                  <a:pt x="13813" y="22875"/>
                  <a:pt x="13813" y="22875"/>
                  <a:pt x="13813" y="22875"/>
                </a:cubicBezTo>
                <a:cubicBezTo>
                  <a:pt x="13813" y="22875"/>
                  <a:pt x="13782" y="22875"/>
                  <a:pt x="13782" y="22875"/>
                </a:cubicBezTo>
                <a:cubicBezTo>
                  <a:pt x="13782" y="22906"/>
                  <a:pt x="13782" y="22906"/>
                  <a:pt x="13782" y="22906"/>
                </a:cubicBezTo>
                <a:lnTo>
                  <a:pt x="13782" y="22906"/>
                </a:lnTo>
                <a:cubicBezTo>
                  <a:pt x="13813" y="22906"/>
                  <a:pt x="13813" y="22875"/>
                  <a:pt x="13813" y="22875"/>
                </a:cubicBezTo>
                <a:close/>
                <a:moveTo>
                  <a:pt x="24657" y="22844"/>
                </a:moveTo>
                <a:cubicBezTo>
                  <a:pt x="24657" y="22844"/>
                  <a:pt x="24657" y="22875"/>
                  <a:pt x="24657" y="22875"/>
                </a:cubicBezTo>
                <a:cubicBezTo>
                  <a:pt x="24688" y="22875"/>
                  <a:pt x="24688" y="22875"/>
                  <a:pt x="24719" y="22875"/>
                </a:cubicBezTo>
                <a:cubicBezTo>
                  <a:pt x="24688" y="22844"/>
                  <a:pt x="24688" y="22844"/>
                  <a:pt x="24688" y="22812"/>
                </a:cubicBezTo>
                <a:cubicBezTo>
                  <a:pt x="24688" y="22844"/>
                  <a:pt x="24657" y="22844"/>
                  <a:pt x="24657" y="22844"/>
                </a:cubicBezTo>
                <a:close/>
                <a:moveTo>
                  <a:pt x="14250" y="14781"/>
                </a:moveTo>
                <a:cubicBezTo>
                  <a:pt x="14250" y="14781"/>
                  <a:pt x="14250" y="14812"/>
                  <a:pt x="14250" y="14812"/>
                </a:cubicBezTo>
                <a:cubicBezTo>
                  <a:pt x="14282" y="14812"/>
                  <a:pt x="14282" y="14781"/>
                  <a:pt x="14313" y="14781"/>
                </a:cubicBezTo>
                <a:cubicBezTo>
                  <a:pt x="14313" y="14781"/>
                  <a:pt x="14282" y="14750"/>
                  <a:pt x="14282" y="14750"/>
                </a:cubicBezTo>
                <a:cubicBezTo>
                  <a:pt x="14282" y="14781"/>
                  <a:pt x="14250" y="14781"/>
                  <a:pt x="14250" y="14781"/>
                </a:cubicBezTo>
                <a:close/>
                <a:moveTo>
                  <a:pt x="15625" y="22844"/>
                </a:moveTo>
                <a:cubicBezTo>
                  <a:pt x="15625" y="22812"/>
                  <a:pt x="15625" y="22812"/>
                  <a:pt x="15625" y="22781"/>
                </a:cubicBezTo>
                <a:cubicBezTo>
                  <a:pt x="15625" y="22781"/>
                  <a:pt x="15594" y="22781"/>
                  <a:pt x="15594" y="22812"/>
                </a:cubicBezTo>
                <a:cubicBezTo>
                  <a:pt x="15594" y="22812"/>
                  <a:pt x="15625" y="22844"/>
                  <a:pt x="15625" y="22844"/>
                </a:cubicBezTo>
                <a:cubicBezTo>
                  <a:pt x="15625" y="22844"/>
                  <a:pt x="15625" y="22844"/>
                  <a:pt x="15625" y="22844"/>
                </a:cubicBezTo>
                <a:close/>
                <a:moveTo>
                  <a:pt x="18875" y="14875"/>
                </a:moveTo>
                <a:cubicBezTo>
                  <a:pt x="18813" y="14875"/>
                  <a:pt x="18750" y="14875"/>
                  <a:pt x="18750" y="14937"/>
                </a:cubicBezTo>
                <a:cubicBezTo>
                  <a:pt x="18782" y="14937"/>
                  <a:pt x="18844" y="14937"/>
                  <a:pt x="18875" y="14875"/>
                </a:cubicBez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18875" y="14875"/>
                </a:moveTo>
                <a:cubicBezTo>
                  <a:pt x="18875" y="14875"/>
                  <a:pt x="18875" y="14875"/>
                  <a:pt x="18875" y="14875"/>
                </a:cubicBezTo>
                <a:close/>
                <a:moveTo>
                  <a:pt x="21000" y="24812"/>
                </a:moveTo>
                <a:cubicBezTo>
                  <a:pt x="21000" y="24812"/>
                  <a:pt x="21032" y="24812"/>
                  <a:pt x="21063" y="24812"/>
                </a:cubicBezTo>
                <a:cubicBezTo>
                  <a:pt x="21063" y="24937"/>
                  <a:pt x="21125" y="24969"/>
                  <a:pt x="21219" y="24937"/>
                </a:cubicBezTo>
                <a:cubicBezTo>
                  <a:pt x="21125" y="24937"/>
                  <a:pt x="21250" y="24687"/>
                  <a:pt x="21063" y="24812"/>
                </a:cubicBezTo>
                <a:cubicBezTo>
                  <a:pt x="21032" y="24812"/>
                  <a:pt x="21032" y="24750"/>
                  <a:pt x="21000" y="24812"/>
                </a:cubicBezTo>
                <a:close/>
                <a:moveTo>
                  <a:pt x="12688" y="21687"/>
                </a:moveTo>
                <a:lnTo>
                  <a:pt x="12657" y="21719"/>
                </a:lnTo>
                <a:lnTo>
                  <a:pt x="12688" y="21719"/>
                </a:lnTo>
                <a:lnTo>
                  <a:pt x="12688" y="21687"/>
                </a:lnTo>
                <a:close/>
                <a:moveTo>
                  <a:pt x="3782" y="18750"/>
                </a:moveTo>
                <a:cubicBezTo>
                  <a:pt x="3782" y="18750"/>
                  <a:pt x="3782" y="18750"/>
                  <a:pt x="3782" y="18750"/>
                </a:cubicBezTo>
                <a:cubicBezTo>
                  <a:pt x="3782" y="18750"/>
                  <a:pt x="3750" y="18750"/>
                  <a:pt x="3750" y="18750"/>
                </a:cubicBezTo>
                <a:cubicBezTo>
                  <a:pt x="3750" y="18750"/>
                  <a:pt x="3750" y="18750"/>
                  <a:pt x="3782" y="18781"/>
                </a:cubicBezTo>
                <a:cubicBezTo>
                  <a:pt x="3782" y="18781"/>
                  <a:pt x="3782" y="18750"/>
                  <a:pt x="3782" y="18750"/>
                </a:cubicBezTo>
                <a:close/>
                <a:moveTo>
                  <a:pt x="23969" y="22437"/>
                </a:moveTo>
                <a:cubicBezTo>
                  <a:pt x="23969" y="22437"/>
                  <a:pt x="23969" y="22437"/>
                  <a:pt x="24000" y="22469"/>
                </a:cubicBezTo>
                <a:cubicBezTo>
                  <a:pt x="24000" y="22437"/>
                  <a:pt x="24000" y="22437"/>
                  <a:pt x="24000" y="22437"/>
                </a:cubicBezTo>
                <a:cubicBezTo>
                  <a:pt x="24000" y="22406"/>
                  <a:pt x="24000" y="22406"/>
                  <a:pt x="24000" y="22406"/>
                </a:cubicBezTo>
                <a:cubicBezTo>
                  <a:pt x="23969" y="22406"/>
                  <a:pt x="23969" y="22437"/>
                  <a:pt x="23969" y="22437"/>
                </a:cubicBezTo>
                <a:close/>
                <a:moveTo>
                  <a:pt x="19782" y="15969"/>
                </a:moveTo>
                <a:cubicBezTo>
                  <a:pt x="19782" y="15937"/>
                  <a:pt x="19782" y="15937"/>
                  <a:pt x="19782" y="15937"/>
                </a:cubicBezTo>
                <a:cubicBezTo>
                  <a:pt x="19782" y="15937"/>
                  <a:pt x="19782" y="15969"/>
                  <a:pt x="19782" y="15969"/>
                </a:cubicBezTo>
                <a:cubicBezTo>
                  <a:pt x="19782" y="15969"/>
                  <a:pt x="19782" y="15969"/>
                  <a:pt x="19782" y="15969"/>
                </a:cubicBezTo>
                <a:close/>
                <a:moveTo>
                  <a:pt x="15500" y="18312"/>
                </a:moveTo>
                <a:cubicBezTo>
                  <a:pt x="15500" y="18281"/>
                  <a:pt x="15532" y="18281"/>
                  <a:pt x="15532" y="18281"/>
                </a:cubicBezTo>
                <a:cubicBezTo>
                  <a:pt x="15532" y="18281"/>
                  <a:pt x="15500" y="18281"/>
                  <a:pt x="15500" y="18250"/>
                </a:cubicBezTo>
                <a:cubicBezTo>
                  <a:pt x="15500" y="18281"/>
                  <a:pt x="15500" y="18281"/>
                  <a:pt x="15500" y="18281"/>
                </a:cubicBezTo>
                <a:cubicBezTo>
                  <a:pt x="15500" y="18281"/>
                  <a:pt x="15500" y="18281"/>
                  <a:pt x="15500" y="18312"/>
                </a:cubicBezTo>
                <a:close/>
                <a:moveTo>
                  <a:pt x="12438" y="21031"/>
                </a:moveTo>
                <a:cubicBezTo>
                  <a:pt x="12438" y="21031"/>
                  <a:pt x="12407" y="21031"/>
                  <a:pt x="12407" y="21000"/>
                </a:cubicBezTo>
                <a:cubicBezTo>
                  <a:pt x="12407" y="21031"/>
                  <a:pt x="12375" y="21031"/>
                  <a:pt x="12375" y="21062"/>
                </a:cubicBezTo>
                <a:cubicBezTo>
                  <a:pt x="12375" y="21062"/>
                  <a:pt x="12407" y="21062"/>
                  <a:pt x="12407" y="21094"/>
                </a:cubicBezTo>
                <a:cubicBezTo>
                  <a:pt x="12407" y="21062"/>
                  <a:pt x="12438" y="21062"/>
                  <a:pt x="12438" y="21031"/>
                </a:cubicBezTo>
                <a:close/>
                <a:moveTo>
                  <a:pt x="20844" y="24687"/>
                </a:moveTo>
                <a:cubicBezTo>
                  <a:pt x="20844" y="24687"/>
                  <a:pt x="20844" y="24719"/>
                  <a:pt x="20844" y="24719"/>
                </a:cubicBezTo>
                <a:cubicBezTo>
                  <a:pt x="20844" y="24719"/>
                  <a:pt x="20875" y="24719"/>
                  <a:pt x="20875" y="24687"/>
                </a:cubicBezTo>
                <a:cubicBezTo>
                  <a:pt x="20844" y="24687"/>
                  <a:pt x="20844" y="24687"/>
                  <a:pt x="20844" y="24687"/>
                </a:cubicBezTo>
                <a:cubicBezTo>
                  <a:pt x="20844" y="24687"/>
                  <a:pt x="20844" y="24687"/>
                  <a:pt x="20844" y="24687"/>
                </a:cubicBezTo>
                <a:close/>
                <a:moveTo>
                  <a:pt x="18657" y="16781"/>
                </a:moveTo>
                <a:cubicBezTo>
                  <a:pt x="18625" y="16750"/>
                  <a:pt x="18563" y="16781"/>
                  <a:pt x="18532" y="16812"/>
                </a:cubicBezTo>
                <a:cubicBezTo>
                  <a:pt x="18563" y="16844"/>
                  <a:pt x="18563" y="16844"/>
                  <a:pt x="18594" y="16875"/>
                </a:cubicBezTo>
                <a:cubicBezTo>
                  <a:pt x="18625" y="16844"/>
                  <a:pt x="18688" y="16844"/>
                  <a:pt x="18657" y="16781"/>
                </a:cubicBezTo>
                <a:close/>
                <a:moveTo>
                  <a:pt x="10875" y="22031"/>
                </a:moveTo>
                <a:cubicBezTo>
                  <a:pt x="10875" y="22031"/>
                  <a:pt x="10875" y="22031"/>
                  <a:pt x="10875" y="22031"/>
                </a:cubicBezTo>
                <a:cubicBezTo>
                  <a:pt x="10907" y="22031"/>
                  <a:pt x="10907" y="22031"/>
                  <a:pt x="10938" y="22031"/>
                </a:cubicBezTo>
                <a:cubicBezTo>
                  <a:pt x="10938" y="22031"/>
                  <a:pt x="10938" y="22000"/>
                  <a:pt x="10938" y="22000"/>
                </a:cubicBezTo>
                <a:cubicBezTo>
                  <a:pt x="10907" y="22000"/>
                  <a:pt x="10875" y="22031"/>
                  <a:pt x="10875" y="22031"/>
                </a:cubicBezTo>
                <a:close/>
                <a:moveTo>
                  <a:pt x="16219" y="18656"/>
                </a:moveTo>
                <a:cubicBezTo>
                  <a:pt x="16219" y="18625"/>
                  <a:pt x="16219" y="18625"/>
                  <a:pt x="16219" y="18625"/>
                </a:cubicBezTo>
                <a:cubicBezTo>
                  <a:pt x="16219" y="18625"/>
                  <a:pt x="16188" y="18625"/>
                  <a:pt x="16188" y="18656"/>
                </a:cubicBezTo>
                <a:cubicBezTo>
                  <a:pt x="16188" y="18656"/>
                  <a:pt x="16188" y="18656"/>
                  <a:pt x="16188" y="18656"/>
                </a:cubicBezTo>
                <a:cubicBezTo>
                  <a:pt x="16219" y="18656"/>
                  <a:pt x="16219" y="18656"/>
                  <a:pt x="16219" y="18656"/>
                </a:cubicBezTo>
                <a:close/>
                <a:moveTo>
                  <a:pt x="4063" y="18812"/>
                </a:moveTo>
                <a:cubicBezTo>
                  <a:pt x="4000" y="18812"/>
                  <a:pt x="4000" y="18781"/>
                  <a:pt x="3969" y="18781"/>
                </a:cubicBezTo>
                <a:cubicBezTo>
                  <a:pt x="3938" y="18781"/>
                  <a:pt x="3938" y="18812"/>
                  <a:pt x="3907" y="18812"/>
                </a:cubicBezTo>
                <a:cubicBezTo>
                  <a:pt x="3938" y="18844"/>
                  <a:pt x="3969" y="18844"/>
                  <a:pt x="4000" y="18844"/>
                </a:cubicBezTo>
                <a:cubicBezTo>
                  <a:pt x="4032" y="18844"/>
                  <a:pt x="4032" y="18812"/>
                  <a:pt x="4063" y="18812"/>
                </a:cubicBezTo>
                <a:close/>
                <a:moveTo>
                  <a:pt x="24594" y="20875"/>
                </a:moveTo>
                <a:cubicBezTo>
                  <a:pt x="24594" y="20906"/>
                  <a:pt x="24625" y="20906"/>
                  <a:pt x="24657" y="20906"/>
                </a:cubicBezTo>
                <a:cubicBezTo>
                  <a:pt x="24657" y="20906"/>
                  <a:pt x="24657" y="20937"/>
                  <a:pt x="24657" y="20937"/>
                </a:cubicBezTo>
                <a:cubicBezTo>
                  <a:pt x="24750" y="20937"/>
                  <a:pt x="24782" y="21031"/>
                  <a:pt x="24782" y="21125"/>
                </a:cubicBezTo>
                <a:cubicBezTo>
                  <a:pt x="24844" y="21125"/>
                  <a:pt x="24875" y="21125"/>
                  <a:pt x="24938" y="21156"/>
                </a:cubicBezTo>
                <a:cubicBezTo>
                  <a:pt x="24907" y="21156"/>
                  <a:pt x="24907" y="21187"/>
                  <a:pt x="24875" y="21219"/>
                </a:cubicBezTo>
                <a:lnTo>
                  <a:pt x="24875" y="21219"/>
                </a:lnTo>
                <a:cubicBezTo>
                  <a:pt x="24813" y="21219"/>
                  <a:pt x="24782" y="21156"/>
                  <a:pt x="24782" y="21125"/>
                </a:cubicBezTo>
                <a:cubicBezTo>
                  <a:pt x="24625" y="21062"/>
                  <a:pt x="24438" y="21281"/>
                  <a:pt x="24313" y="21062"/>
                </a:cubicBezTo>
                <a:cubicBezTo>
                  <a:pt x="24375" y="20906"/>
                  <a:pt x="24563" y="21062"/>
                  <a:pt x="24657" y="20937"/>
                </a:cubicBezTo>
                <a:cubicBezTo>
                  <a:pt x="24657" y="20906"/>
                  <a:pt x="24657" y="20906"/>
                  <a:pt x="24657" y="20906"/>
                </a:cubicBezTo>
                <a:cubicBezTo>
                  <a:pt x="24625" y="20906"/>
                  <a:pt x="24625" y="20875"/>
                  <a:pt x="24625" y="20844"/>
                </a:cubicBezTo>
                <a:cubicBezTo>
                  <a:pt x="24594" y="20875"/>
                  <a:pt x="24594" y="20875"/>
                  <a:pt x="24594" y="20875"/>
                </a:cubicBezTo>
                <a:close/>
                <a:moveTo>
                  <a:pt x="16000" y="19062"/>
                </a:moveTo>
                <a:cubicBezTo>
                  <a:pt x="16000" y="19062"/>
                  <a:pt x="16032" y="19031"/>
                  <a:pt x="16032" y="19031"/>
                </a:cubicBezTo>
                <a:cubicBezTo>
                  <a:pt x="16032" y="19000"/>
                  <a:pt x="16000" y="18969"/>
                  <a:pt x="16000" y="18969"/>
                </a:cubicBezTo>
                <a:cubicBezTo>
                  <a:pt x="16000" y="18969"/>
                  <a:pt x="15969" y="19000"/>
                  <a:pt x="15969" y="19000"/>
                </a:cubicBezTo>
                <a:cubicBezTo>
                  <a:pt x="15969" y="19031"/>
                  <a:pt x="16000" y="19062"/>
                  <a:pt x="16000" y="19062"/>
                </a:cubicBezTo>
                <a:close/>
                <a:moveTo>
                  <a:pt x="16688" y="12687"/>
                </a:moveTo>
                <a:cubicBezTo>
                  <a:pt x="16688" y="12687"/>
                  <a:pt x="16688" y="12719"/>
                  <a:pt x="16719" y="12719"/>
                </a:cubicBezTo>
                <a:cubicBezTo>
                  <a:pt x="16719" y="12719"/>
                  <a:pt x="16719" y="12719"/>
                  <a:pt x="16750" y="12719"/>
                </a:cubicBezTo>
                <a:cubicBezTo>
                  <a:pt x="16719" y="12687"/>
                  <a:pt x="16719" y="12687"/>
                  <a:pt x="16719" y="12687"/>
                </a:cubicBezTo>
                <a:cubicBezTo>
                  <a:pt x="16688" y="12656"/>
                  <a:pt x="16688" y="12656"/>
                  <a:pt x="16688" y="12687"/>
                </a:cubicBezTo>
                <a:close/>
                <a:moveTo>
                  <a:pt x="11719" y="20594"/>
                </a:moveTo>
                <a:cubicBezTo>
                  <a:pt x="11719" y="20594"/>
                  <a:pt x="11750" y="20562"/>
                  <a:pt x="11782" y="20531"/>
                </a:cubicBezTo>
                <a:cubicBezTo>
                  <a:pt x="11750" y="20531"/>
                  <a:pt x="11719" y="20500"/>
                  <a:pt x="11719" y="20500"/>
                </a:cubicBezTo>
                <a:cubicBezTo>
                  <a:pt x="11688" y="20531"/>
                  <a:pt x="11657" y="20531"/>
                  <a:pt x="11657" y="20562"/>
                </a:cubicBezTo>
                <a:cubicBezTo>
                  <a:pt x="11625" y="20594"/>
                  <a:pt x="11688" y="20594"/>
                  <a:pt x="11719" y="20594"/>
                </a:cubicBezTo>
                <a:close/>
                <a:moveTo>
                  <a:pt x="1032" y="20531"/>
                </a:moveTo>
                <a:cubicBezTo>
                  <a:pt x="1000" y="20500"/>
                  <a:pt x="969" y="20500"/>
                  <a:pt x="938" y="20500"/>
                </a:cubicBezTo>
                <a:cubicBezTo>
                  <a:pt x="938" y="20500"/>
                  <a:pt x="938" y="20469"/>
                  <a:pt x="938" y="20469"/>
                </a:cubicBezTo>
                <a:cubicBezTo>
                  <a:pt x="907" y="20375"/>
                  <a:pt x="750" y="20406"/>
                  <a:pt x="782" y="20281"/>
                </a:cubicBezTo>
                <a:cubicBezTo>
                  <a:pt x="844" y="20250"/>
                  <a:pt x="938" y="20344"/>
                  <a:pt x="1000" y="20250"/>
                </a:cubicBezTo>
                <a:cubicBezTo>
                  <a:pt x="907" y="20187"/>
                  <a:pt x="782" y="20187"/>
                  <a:pt x="719" y="20062"/>
                </a:cubicBezTo>
                <a:cubicBezTo>
                  <a:pt x="719" y="20000"/>
                  <a:pt x="688" y="20031"/>
                  <a:pt x="657" y="20031"/>
                </a:cubicBezTo>
                <a:cubicBezTo>
                  <a:pt x="625" y="20062"/>
                  <a:pt x="625" y="20094"/>
                  <a:pt x="625" y="20094"/>
                </a:cubicBezTo>
                <a:cubicBezTo>
                  <a:pt x="719" y="20250"/>
                  <a:pt x="657" y="20500"/>
                  <a:pt x="938" y="20469"/>
                </a:cubicBezTo>
                <a:cubicBezTo>
                  <a:pt x="938" y="20469"/>
                  <a:pt x="938" y="20469"/>
                  <a:pt x="938" y="20500"/>
                </a:cubicBezTo>
                <a:cubicBezTo>
                  <a:pt x="969" y="20500"/>
                  <a:pt x="1000" y="20531"/>
                  <a:pt x="1000" y="20562"/>
                </a:cubicBezTo>
                <a:cubicBezTo>
                  <a:pt x="1032" y="20562"/>
                  <a:pt x="1032" y="20531"/>
                  <a:pt x="1032" y="20531"/>
                </a:cubicBezTo>
                <a:close/>
                <a:moveTo>
                  <a:pt x="24594" y="23250"/>
                </a:moveTo>
                <a:cubicBezTo>
                  <a:pt x="24625" y="23219"/>
                  <a:pt x="24625" y="23219"/>
                  <a:pt x="24625" y="23219"/>
                </a:cubicBezTo>
                <a:cubicBezTo>
                  <a:pt x="24625" y="23187"/>
                  <a:pt x="24594" y="23156"/>
                  <a:pt x="24594" y="23125"/>
                </a:cubicBezTo>
                <a:cubicBezTo>
                  <a:pt x="24563" y="22906"/>
                  <a:pt x="24438" y="22750"/>
                  <a:pt x="24250" y="22656"/>
                </a:cubicBezTo>
                <a:lnTo>
                  <a:pt x="24250" y="22656"/>
                </a:lnTo>
                <a:cubicBezTo>
                  <a:pt x="24313" y="22875"/>
                  <a:pt x="24313" y="22875"/>
                  <a:pt x="24594" y="23125"/>
                </a:cubicBezTo>
                <a:cubicBezTo>
                  <a:pt x="24594" y="23156"/>
                  <a:pt x="24594" y="23219"/>
                  <a:pt x="24594" y="23250"/>
                </a:cubicBezTo>
                <a:close/>
                <a:moveTo>
                  <a:pt x="22875" y="20781"/>
                </a:moveTo>
                <a:cubicBezTo>
                  <a:pt x="22875" y="20781"/>
                  <a:pt x="22875" y="20781"/>
                  <a:pt x="22875" y="20781"/>
                </a:cubicBezTo>
                <a:cubicBezTo>
                  <a:pt x="22844" y="20812"/>
                  <a:pt x="22813" y="20844"/>
                  <a:pt x="22844" y="20875"/>
                </a:cubicBezTo>
                <a:cubicBezTo>
                  <a:pt x="22875" y="20875"/>
                  <a:pt x="22907" y="20844"/>
                  <a:pt x="22907" y="20812"/>
                </a:cubicBezTo>
                <a:cubicBezTo>
                  <a:pt x="22938" y="20781"/>
                  <a:pt x="22969" y="20750"/>
                  <a:pt x="23000" y="20750"/>
                </a:cubicBezTo>
                <a:cubicBezTo>
                  <a:pt x="23000" y="20719"/>
                  <a:pt x="23000" y="20687"/>
                  <a:pt x="22969" y="20656"/>
                </a:cubicBezTo>
                <a:cubicBezTo>
                  <a:pt x="22938" y="20687"/>
                  <a:pt x="22907" y="20719"/>
                  <a:pt x="22875" y="20781"/>
                </a:cubicBezTo>
                <a:close/>
                <a:moveTo>
                  <a:pt x="23000" y="20750"/>
                </a:moveTo>
                <a:cubicBezTo>
                  <a:pt x="23000" y="20750"/>
                  <a:pt x="23032" y="20750"/>
                  <a:pt x="23032" y="20750"/>
                </a:cubicBezTo>
                <a:cubicBezTo>
                  <a:pt x="22938" y="21281"/>
                  <a:pt x="22844" y="21437"/>
                  <a:pt x="22625" y="21437"/>
                </a:cubicBezTo>
                <a:cubicBezTo>
                  <a:pt x="22719" y="21281"/>
                  <a:pt x="22782" y="21125"/>
                  <a:pt x="22782" y="20937"/>
                </a:cubicBezTo>
                <a:cubicBezTo>
                  <a:pt x="22532" y="21281"/>
                  <a:pt x="22438" y="21719"/>
                  <a:pt x="22313" y="22156"/>
                </a:cubicBezTo>
                <a:cubicBezTo>
                  <a:pt x="22313" y="22156"/>
                  <a:pt x="22313" y="22187"/>
                  <a:pt x="22344" y="22187"/>
                </a:cubicBezTo>
                <a:cubicBezTo>
                  <a:pt x="22344" y="22187"/>
                  <a:pt x="22344" y="22187"/>
                  <a:pt x="22344" y="22187"/>
                </a:cubicBezTo>
                <a:cubicBezTo>
                  <a:pt x="22313" y="22219"/>
                  <a:pt x="22313" y="22281"/>
                  <a:pt x="22375" y="22281"/>
                </a:cubicBezTo>
                <a:cubicBezTo>
                  <a:pt x="22688" y="22500"/>
                  <a:pt x="22688" y="22500"/>
                  <a:pt x="23032" y="22062"/>
                </a:cubicBezTo>
                <a:cubicBezTo>
                  <a:pt x="22938" y="22062"/>
                  <a:pt x="22813" y="21969"/>
                  <a:pt x="22750" y="22156"/>
                </a:cubicBezTo>
                <a:cubicBezTo>
                  <a:pt x="22719" y="22312"/>
                  <a:pt x="22594" y="22219"/>
                  <a:pt x="22500" y="22187"/>
                </a:cubicBezTo>
                <a:cubicBezTo>
                  <a:pt x="22500" y="22156"/>
                  <a:pt x="22500" y="22125"/>
                  <a:pt x="22500" y="22125"/>
                </a:cubicBezTo>
                <a:cubicBezTo>
                  <a:pt x="22688" y="22031"/>
                  <a:pt x="22813" y="21875"/>
                  <a:pt x="22907" y="21656"/>
                </a:cubicBezTo>
                <a:cubicBezTo>
                  <a:pt x="22938" y="21500"/>
                  <a:pt x="22907" y="21281"/>
                  <a:pt x="23157" y="21219"/>
                </a:cubicBezTo>
                <a:cubicBezTo>
                  <a:pt x="23188" y="21219"/>
                  <a:pt x="23219" y="21156"/>
                  <a:pt x="23188" y="21125"/>
                </a:cubicBezTo>
                <a:cubicBezTo>
                  <a:pt x="22969" y="20969"/>
                  <a:pt x="23157" y="20875"/>
                  <a:pt x="23219" y="20750"/>
                </a:cubicBezTo>
                <a:cubicBezTo>
                  <a:pt x="23313" y="20625"/>
                  <a:pt x="23407" y="20469"/>
                  <a:pt x="23188" y="20375"/>
                </a:cubicBezTo>
                <a:lnTo>
                  <a:pt x="23188" y="20375"/>
                </a:lnTo>
                <a:cubicBezTo>
                  <a:pt x="23063" y="20469"/>
                  <a:pt x="23219" y="20687"/>
                  <a:pt x="23032" y="20750"/>
                </a:cubicBezTo>
                <a:cubicBezTo>
                  <a:pt x="23032" y="20750"/>
                  <a:pt x="23000" y="20750"/>
                  <a:pt x="23000" y="20750"/>
                </a:cubicBezTo>
                <a:cubicBezTo>
                  <a:pt x="23032" y="20750"/>
                  <a:pt x="23032" y="20750"/>
                  <a:pt x="23032" y="20750"/>
                </a:cubicBezTo>
                <a:cubicBezTo>
                  <a:pt x="23032" y="20750"/>
                  <a:pt x="23032" y="20719"/>
                  <a:pt x="23032" y="20719"/>
                </a:cubicBezTo>
                <a:cubicBezTo>
                  <a:pt x="23032" y="20719"/>
                  <a:pt x="23032" y="20750"/>
                  <a:pt x="23000" y="20750"/>
                </a:cubicBezTo>
                <a:close/>
                <a:moveTo>
                  <a:pt x="14125" y="23031"/>
                </a:moveTo>
                <a:cubicBezTo>
                  <a:pt x="14125" y="23062"/>
                  <a:pt x="14125" y="23062"/>
                  <a:pt x="14157" y="23094"/>
                </a:cubicBezTo>
                <a:cubicBezTo>
                  <a:pt x="14157" y="23094"/>
                  <a:pt x="14157" y="23062"/>
                  <a:pt x="14157" y="23062"/>
                </a:cubicBezTo>
                <a:cubicBezTo>
                  <a:pt x="14157" y="23062"/>
                  <a:pt x="14157" y="23031"/>
                  <a:pt x="14125" y="23031"/>
                </a:cubicBezTo>
                <a:cubicBezTo>
                  <a:pt x="14125" y="23031"/>
                  <a:pt x="14125" y="23031"/>
                  <a:pt x="14125" y="23031"/>
                </a:cubicBezTo>
                <a:close/>
                <a:moveTo>
                  <a:pt x="13938" y="22062"/>
                </a:moveTo>
                <a:cubicBezTo>
                  <a:pt x="13938" y="22031"/>
                  <a:pt x="13907" y="22031"/>
                  <a:pt x="13907" y="22000"/>
                </a:cubicBezTo>
                <a:cubicBezTo>
                  <a:pt x="13875" y="22031"/>
                  <a:pt x="13875" y="22062"/>
                  <a:pt x="13844" y="22062"/>
                </a:cubicBezTo>
                <a:cubicBezTo>
                  <a:pt x="13844" y="22094"/>
                  <a:pt x="13875" y="22094"/>
                  <a:pt x="13875" y="22094"/>
                </a:cubicBezTo>
                <a:cubicBezTo>
                  <a:pt x="13907" y="22094"/>
                  <a:pt x="13938" y="22094"/>
                  <a:pt x="13938" y="22062"/>
                </a:cubicBezTo>
                <a:close/>
                <a:moveTo>
                  <a:pt x="15375" y="4187"/>
                </a:moveTo>
                <a:cubicBezTo>
                  <a:pt x="15375" y="4187"/>
                  <a:pt x="15344" y="4156"/>
                  <a:pt x="15344" y="4156"/>
                </a:cubicBezTo>
                <a:cubicBezTo>
                  <a:pt x="15344" y="4156"/>
                  <a:pt x="15313" y="4156"/>
                  <a:pt x="15313" y="4156"/>
                </a:cubicBezTo>
                <a:cubicBezTo>
                  <a:pt x="15344" y="4187"/>
                  <a:pt x="15344" y="4187"/>
                  <a:pt x="15344" y="4219"/>
                </a:cubicBezTo>
                <a:cubicBezTo>
                  <a:pt x="15344" y="4219"/>
                  <a:pt x="15375" y="4187"/>
                  <a:pt x="15375" y="4187"/>
                </a:cubicBezTo>
                <a:close/>
                <a:moveTo>
                  <a:pt x="7063" y="21344"/>
                </a:moveTo>
                <a:cubicBezTo>
                  <a:pt x="7063" y="21375"/>
                  <a:pt x="7063" y="21375"/>
                  <a:pt x="7094" y="21406"/>
                </a:cubicBezTo>
                <a:cubicBezTo>
                  <a:pt x="7094" y="21406"/>
                  <a:pt x="7125" y="21375"/>
                  <a:pt x="7125" y="21375"/>
                </a:cubicBezTo>
                <a:cubicBezTo>
                  <a:pt x="7125" y="21375"/>
                  <a:pt x="7125" y="21344"/>
                  <a:pt x="7125" y="21312"/>
                </a:cubicBezTo>
                <a:cubicBezTo>
                  <a:pt x="7094" y="21344"/>
                  <a:pt x="7063" y="21344"/>
                  <a:pt x="7063" y="21344"/>
                </a:cubicBezTo>
                <a:close/>
                <a:moveTo>
                  <a:pt x="12469" y="21750"/>
                </a:moveTo>
                <a:cubicBezTo>
                  <a:pt x="12469" y="21719"/>
                  <a:pt x="12469" y="21719"/>
                  <a:pt x="12469" y="21719"/>
                </a:cubicBezTo>
                <a:cubicBezTo>
                  <a:pt x="12407" y="21719"/>
                  <a:pt x="12344" y="21750"/>
                  <a:pt x="12313" y="21812"/>
                </a:cubicBezTo>
                <a:cubicBezTo>
                  <a:pt x="12094" y="21781"/>
                  <a:pt x="12094" y="21781"/>
                  <a:pt x="12125" y="21969"/>
                </a:cubicBezTo>
                <a:lnTo>
                  <a:pt x="12125" y="21969"/>
                </a:lnTo>
                <a:cubicBezTo>
                  <a:pt x="12219" y="21937"/>
                  <a:pt x="12282" y="21875"/>
                  <a:pt x="12313" y="21812"/>
                </a:cubicBezTo>
                <a:cubicBezTo>
                  <a:pt x="12375" y="21781"/>
                  <a:pt x="12438" y="21812"/>
                  <a:pt x="12469" y="21750"/>
                </a:cubicBezTo>
                <a:close/>
                <a:moveTo>
                  <a:pt x="875" y="19531"/>
                </a:moveTo>
                <a:cubicBezTo>
                  <a:pt x="875" y="19531"/>
                  <a:pt x="907" y="19531"/>
                  <a:pt x="938" y="19500"/>
                </a:cubicBezTo>
                <a:cubicBezTo>
                  <a:pt x="938" y="19500"/>
                  <a:pt x="938" y="19469"/>
                  <a:pt x="938" y="19469"/>
                </a:cubicBezTo>
                <a:cubicBezTo>
                  <a:pt x="907" y="19469"/>
                  <a:pt x="875" y="19469"/>
                  <a:pt x="844" y="19500"/>
                </a:cubicBezTo>
                <a:cubicBezTo>
                  <a:pt x="813" y="19500"/>
                  <a:pt x="844" y="19531"/>
                  <a:pt x="875" y="19531"/>
                </a:cubicBezTo>
                <a:close/>
                <a:moveTo>
                  <a:pt x="20875" y="14219"/>
                </a:moveTo>
                <a:cubicBezTo>
                  <a:pt x="20875" y="14219"/>
                  <a:pt x="20907" y="14187"/>
                  <a:pt x="20907" y="14187"/>
                </a:cubicBezTo>
                <a:cubicBezTo>
                  <a:pt x="20875" y="14125"/>
                  <a:pt x="20813" y="14156"/>
                  <a:pt x="20750" y="14125"/>
                </a:cubicBezTo>
                <a:cubicBezTo>
                  <a:pt x="20782" y="14187"/>
                  <a:pt x="20782" y="14250"/>
                  <a:pt x="20875" y="14219"/>
                </a:cubicBezTo>
                <a:close/>
                <a:moveTo>
                  <a:pt x="20750" y="14125"/>
                </a:moveTo>
                <a:cubicBezTo>
                  <a:pt x="20625" y="14094"/>
                  <a:pt x="20500" y="14250"/>
                  <a:pt x="20344" y="14156"/>
                </a:cubicBezTo>
                <a:cubicBezTo>
                  <a:pt x="20469" y="13937"/>
                  <a:pt x="20719" y="14000"/>
                  <a:pt x="20907" y="13906"/>
                </a:cubicBezTo>
                <a:cubicBezTo>
                  <a:pt x="21032" y="13812"/>
                  <a:pt x="21157" y="13781"/>
                  <a:pt x="21313" y="13844"/>
                </a:cubicBezTo>
                <a:lnTo>
                  <a:pt x="21313" y="13844"/>
                </a:lnTo>
                <a:cubicBezTo>
                  <a:pt x="21219" y="14000"/>
                  <a:pt x="21063" y="13937"/>
                  <a:pt x="20969" y="13969"/>
                </a:cubicBezTo>
                <a:cubicBezTo>
                  <a:pt x="20969" y="13969"/>
                  <a:pt x="20969" y="13969"/>
                  <a:pt x="20969" y="13969"/>
                </a:cubicBezTo>
                <a:cubicBezTo>
                  <a:pt x="20907" y="14031"/>
                  <a:pt x="20813" y="14031"/>
                  <a:pt x="20750" y="14125"/>
                </a:cubicBezTo>
                <a:close/>
                <a:moveTo>
                  <a:pt x="19000" y="21312"/>
                </a:moveTo>
                <a:cubicBezTo>
                  <a:pt x="19032" y="21250"/>
                  <a:pt x="19032" y="21187"/>
                  <a:pt x="18969" y="21156"/>
                </a:cubicBezTo>
                <a:cubicBezTo>
                  <a:pt x="18907" y="21219"/>
                  <a:pt x="18969" y="21281"/>
                  <a:pt x="19000" y="21312"/>
                </a:cubicBezTo>
                <a:close/>
                <a:moveTo>
                  <a:pt x="14157" y="20625"/>
                </a:moveTo>
                <a:cubicBezTo>
                  <a:pt x="14157" y="20562"/>
                  <a:pt x="14125" y="20531"/>
                  <a:pt x="14063" y="20562"/>
                </a:cubicBezTo>
                <a:cubicBezTo>
                  <a:pt x="14032" y="20594"/>
                  <a:pt x="14032" y="20656"/>
                  <a:pt x="14000" y="20687"/>
                </a:cubicBezTo>
                <a:cubicBezTo>
                  <a:pt x="14032" y="20719"/>
                  <a:pt x="14063" y="20750"/>
                  <a:pt x="14063" y="20719"/>
                </a:cubicBezTo>
                <a:cubicBezTo>
                  <a:pt x="14125" y="20719"/>
                  <a:pt x="14157" y="20687"/>
                  <a:pt x="14157" y="20625"/>
                </a:cubicBezTo>
                <a:close/>
                <a:moveTo>
                  <a:pt x="29500" y="4281"/>
                </a:moveTo>
                <a:cubicBezTo>
                  <a:pt x="29407" y="4250"/>
                  <a:pt x="29344" y="4250"/>
                  <a:pt x="29250" y="4312"/>
                </a:cubicBezTo>
                <a:cubicBezTo>
                  <a:pt x="29375" y="4375"/>
                  <a:pt x="29438" y="4312"/>
                  <a:pt x="29500" y="4281"/>
                </a:cubicBezTo>
                <a:close/>
                <a:moveTo>
                  <a:pt x="12657" y="21906"/>
                </a:moveTo>
                <a:cubicBezTo>
                  <a:pt x="12657" y="21937"/>
                  <a:pt x="12657" y="22000"/>
                  <a:pt x="12719" y="22000"/>
                </a:cubicBezTo>
                <a:cubicBezTo>
                  <a:pt x="12750" y="21969"/>
                  <a:pt x="12750" y="21969"/>
                  <a:pt x="12782" y="21937"/>
                </a:cubicBezTo>
                <a:cubicBezTo>
                  <a:pt x="12782" y="21875"/>
                  <a:pt x="12719" y="21875"/>
                  <a:pt x="12688" y="21875"/>
                </a:cubicBezTo>
                <a:cubicBezTo>
                  <a:pt x="12657" y="21844"/>
                  <a:pt x="12625" y="21875"/>
                  <a:pt x="12657" y="21906"/>
                </a:cubicBezTo>
                <a:close/>
                <a:moveTo>
                  <a:pt x="11407" y="20594"/>
                </a:moveTo>
                <a:cubicBezTo>
                  <a:pt x="11282" y="20656"/>
                  <a:pt x="11188" y="20656"/>
                  <a:pt x="11094" y="20812"/>
                </a:cubicBezTo>
                <a:cubicBezTo>
                  <a:pt x="11250" y="20781"/>
                  <a:pt x="11344" y="20750"/>
                  <a:pt x="11407" y="20594"/>
                </a:cubicBezTo>
                <a:close/>
                <a:moveTo>
                  <a:pt x="19157" y="22531"/>
                </a:moveTo>
                <a:cubicBezTo>
                  <a:pt x="19157" y="22500"/>
                  <a:pt x="19094" y="22500"/>
                  <a:pt x="19063" y="22500"/>
                </a:cubicBezTo>
                <a:cubicBezTo>
                  <a:pt x="18969" y="22531"/>
                  <a:pt x="19000" y="22625"/>
                  <a:pt x="19000" y="22781"/>
                </a:cubicBezTo>
                <a:cubicBezTo>
                  <a:pt x="19063" y="22656"/>
                  <a:pt x="19188" y="22625"/>
                  <a:pt x="19157" y="22531"/>
                </a:cubicBezTo>
                <a:close/>
                <a:moveTo>
                  <a:pt x="13188" y="21937"/>
                </a:moveTo>
                <a:close/>
                <a:moveTo>
                  <a:pt x="19625" y="16031"/>
                </a:moveTo>
                <a:cubicBezTo>
                  <a:pt x="19469" y="16000"/>
                  <a:pt x="19375" y="16094"/>
                  <a:pt x="19282" y="16187"/>
                </a:cubicBezTo>
                <a:cubicBezTo>
                  <a:pt x="19125" y="16219"/>
                  <a:pt x="18969" y="16250"/>
                  <a:pt x="18844" y="16375"/>
                </a:cubicBezTo>
                <a:lnTo>
                  <a:pt x="18844" y="16375"/>
                </a:lnTo>
                <a:cubicBezTo>
                  <a:pt x="18875" y="16375"/>
                  <a:pt x="18875" y="16406"/>
                  <a:pt x="18875" y="16437"/>
                </a:cubicBezTo>
                <a:cubicBezTo>
                  <a:pt x="19032" y="16344"/>
                  <a:pt x="19219" y="16344"/>
                  <a:pt x="19313" y="16219"/>
                </a:cubicBezTo>
                <a:cubicBezTo>
                  <a:pt x="19438" y="16187"/>
                  <a:pt x="19563" y="16125"/>
                  <a:pt x="19625" y="16031"/>
                </a:cubicBezTo>
                <a:close/>
                <a:moveTo>
                  <a:pt x="23938" y="22719"/>
                </a:moveTo>
                <a:cubicBezTo>
                  <a:pt x="23907" y="22687"/>
                  <a:pt x="23875" y="22687"/>
                  <a:pt x="23844" y="22656"/>
                </a:cubicBezTo>
                <a:cubicBezTo>
                  <a:pt x="23782" y="22531"/>
                  <a:pt x="23907" y="22312"/>
                  <a:pt x="23688" y="22187"/>
                </a:cubicBezTo>
                <a:cubicBezTo>
                  <a:pt x="23625" y="22344"/>
                  <a:pt x="23782" y="22469"/>
                  <a:pt x="23750" y="22594"/>
                </a:cubicBezTo>
                <a:cubicBezTo>
                  <a:pt x="23532" y="22594"/>
                  <a:pt x="23563" y="22344"/>
                  <a:pt x="23438" y="22281"/>
                </a:cubicBezTo>
                <a:cubicBezTo>
                  <a:pt x="23438" y="22281"/>
                  <a:pt x="23438" y="22281"/>
                  <a:pt x="23438" y="22281"/>
                </a:cubicBezTo>
                <a:cubicBezTo>
                  <a:pt x="23407" y="22250"/>
                  <a:pt x="23375" y="22187"/>
                  <a:pt x="23344" y="22219"/>
                </a:cubicBezTo>
                <a:cubicBezTo>
                  <a:pt x="23282" y="22250"/>
                  <a:pt x="23313" y="22281"/>
                  <a:pt x="23375" y="22344"/>
                </a:cubicBezTo>
                <a:cubicBezTo>
                  <a:pt x="23375" y="22406"/>
                  <a:pt x="23407" y="22469"/>
                  <a:pt x="23313" y="22469"/>
                </a:cubicBezTo>
                <a:cubicBezTo>
                  <a:pt x="23063" y="22531"/>
                  <a:pt x="23032" y="22719"/>
                  <a:pt x="23094" y="22906"/>
                </a:cubicBezTo>
                <a:cubicBezTo>
                  <a:pt x="23125" y="23094"/>
                  <a:pt x="23063" y="23219"/>
                  <a:pt x="23000" y="23344"/>
                </a:cubicBezTo>
                <a:cubicBezTo>
                  <a:pt x="22813" y="23625"/>
                  <a:pt x="23032" y="23750"/>
                  <a:pt x="23219" y="24000"/>
                </a:cubicBezTo>
                <a:cubicBezTo>
                  <a:pt x="23219" y="23625"/>
                  <a:pt x="23125" y="23281"/>
                  <a:pt x="23500" y="23125"/>
                </a:cubicBezTo>
                <a:cubicBezTo>
                  <a:pt x="23563" y="23125"/>
                  <a:pt x="23563" y="23000"/>
                  <a:pt x="23563" y="22937"/>
                </a:cubicBezTo>
                <a:cubicBezTo>
                  <a:pt x="23532" y="22719"/>
                  <a:pt x="23532" y="22719"/>
                  <a:pt x="23813" y="22719"/>
                </a:cubicBezTo>
                <a:cubicBezTo>
                  <a:pt x="23813" y="22719"/>
                  <a:pt x="23813" y="22719"/>
                  <a:pt x="23813" y="22719"/>
                </a:cubicBezTo>
                <a:cubicBezTo>
                  <a:pt x="23813" y="22750"/>
                  <a:pt x="23813" y="22781"/>
                  <a:pt x="23844" y="22812"/>
                </a:cubicBezTo>
                <a:cubicBezTo>
                  <a:pt x="23938" y="22875"/>
                  <a:pt x="24032" y="22937"/>
                  <a:pt x="24157" y="22875"/>
                </a:cubicBezTo>
                <a:cubicBezTo>
                  <a:pt x="24157" y="22875"/>
                  <a:pt x="24188" y="22844"/>
                  <a:pt x="24188" y="22812"/>
                </a:cubicBezTo>
                <a:cubicBezTo>
                  <a:pt x="24125" y="22687"/>
                  <a:pt x="24000" y="22750"/>
                  <a:pt x="23938" y="22719"/>
                </a:cubicBezTo>
                <a:close/>
                <a:moveTo>
                  <a:pt x="17219" y="25375"/>
                </a:moveTo>
                <a:cubicBezTo>
                  <a:pt x="17188" y="25250"/>
                  <a:pt x="17157" y="25156"/>
                  <a:pt x="17125" y="25062"/>
                </a:cubicBezTo>
                <a:cubicBezTo>
                  <a:pt x="17094" y="25187"/>
                  <a:pt x="17094" y="25281"/>
                  <a:pt x="17219" y="25375"/>
                </a:cubicBezTo>
                <a:close/>
                <a:moveTo>
                  <a:pt x="20875" y="23656"/>
                </a:moveTo>
                <a:cubicBezTo>
                  <a:pt x="20875" y="23687"/>
                  <a:pt x="20907" y="23687"/>
                  <a:pt x="20938" y="23687"/>
                </a:cubicBezTo>
                <a:cubicBezTo>
                  <a:pt x="21032" y="23594"/>
                  <a:pt x="21000" y="23531"/>
                  <a:pt x="20938" y="23406"/>
                </a:cubicBezTo>
                <a:cubicBezTo>
                  <a:pt x="20969" y="23531"/>
                  <a:pt x="20782" y="23562"/>
                  <a:pt x="20875" y="23656"/>
                </a:cubicBezTo>
                <a:close/>
                <a:moveTo>
                  <a:pt x="20657" y="14312"/>
                </a:moveTo>
                <a:cubicBezTo>
                  <a:pt x="20563" y="14312"/>
                  <a:pt x="20438" y="14312"/>
                  <a:pt x="20375" y="14469"/>
                </a:cubicBezTo>
                <a:cubicBezTo>
                  <a:pt x="20532" y="14469"/>
                  <a:pt x="20594" y="14406"/>
                  <a:pt x="20657" y="14312"/>
                </a:cubicBezTo>
                <a:close/>
                <a:moveTo>
                  <a:pt x="10938" y="22812"/>
                </a:moveTo>
                <a:cubicBezTo>
                  <a:pt x="10938" y="22812"/>
                  <a:pt x="10938" y="22812"/>
                  <a:pt x="10938" y="22812"/>
                </a:cubicBezTo>
                <a:cubicBezTo>
                  <a:pt x="10938" y="22812"/>
                  <a:pt x="10938" y="22812"/>
                  <a:pt x="10938" y="22812"/>
                </a:cubicBezTo>
                <a:close/>
                <a:moveTo>
                  <a:pt x="15688" y="18187"/>
                </a:moveTo>
                <a:cubicBezTo>
                  <a:pt x="15688" y="18000"/>
                  <a:pt x="15813" y="17844"/>
                  <a:pt x="15594" y="17781"/>
                </a:cubicBezTo>
                <a:cubicBezTo>
                  <a:pt x="15625" y="17906"/>
                  <a:pt x="15532" y="18031"/>
                  <a:pt x="15688" y="18187"/>
                </a:cubicBezTo>
                <a:close/>
                <a:moveTo>
                  <a:pt x="10750" y="21094"/>
                </a:moveTo>
                <a:cubicBezTo>
                  <a:pt x="10907" y="21031"/>
                  <a:pt x="11094" y="21031"/>
                  <a:pt x="10969" y="20781"/>
                </a:cubicBezTo>
                <a:cubicBezTo>
                  <a:pt x="10875" y="20875"/>
                  <a:pt x="10782" y="20937"/>
                  <a:pt x="10750" y="21094"/>
                </a:cubicBezTo>
                <a:close/>
                <a:moveTo>
                  <a:pt x="15219" y="23750"/>
                </a:moveTo>
                <a:cubicBezTo>
                  <a:pt x="15125" y="23812"/>
                  <a:pt x="15219" y="23844"/>
                  <a:pt x="15250" y="23844"/>
                </a:cubicBezTo>
                <a:cubicBezTo>
                  <a:pt x="15344" y="23937"/>
                  <a:pt x="15313" y="24094"/>
                  <a:pt x="15407" y="24187"/>
                </a:cubicBezTo>
                <a:cubicBezTo>
                  <a:pt x="15407" y="24062"/>
                  <a:pt x="15407" y="23937"/>
                  <a:pt x="15375" y="23812"/>
                </a:cubicBezTo>
                <a:cubicBezTo>
                  <a:pt x="15375" y="23719"/>
                  <a:pt x="15282" y="23719"/>
                  <a:pt x="15219" y="23750"/>
                </a:cubicBezTo>
                <a:close/>
                <a:moveTo>
                  <a:pt x="20063" y="22031"/>
                </a:moveTo>
                <a:cubicBezTo>
                  <a:pt x="19969" y="22031"/>
                  <a:pt x="19907" y="22094"/>
                  <a:pt x="19907" y="22187"/>
                </a:cubicBezTo>
                <a:cubicBezTo>
                  <a:pt x="19907" y="22250"/>
                  <a:pt x="19907" y="22312"/>
                  <a:pt x="19969" y="22312"/>
                </a:cubicBezTo>
                <a:cubicBezTo>
                  <a:pt x="20063" y="22281"/>
                  <a:pt x="20094" y="22187"/>
                  <a:pt x="20125" y="22125"/>
                </a:cubicBezTo>
                <a:cubicBezTo>
                  <a:pt x="20125" y="22062"/>
                  <a:pt x="20094" y="22000"/>
                  <a:pt x="20063" y="22031"/>
                </a:cubicBezTo>
                <a:close/>
                <a:moveTo>
                  <a:pt x="16219" y="18406"/>
                </a:moveTo>
                <a:cubicBezTo>
                  <a:pt x="16219" y="18312"/>
                  <a:pt x="16188" y="18250"/>
                  <a:pt x="16125" y="18219"/>
                </a:cubicBezTo>
                <a:cubicBezTo>
                  <a:pt x="16063" y="18219"/>
                  <a:pt x="16000" y="18250"/>
                  <a:pt x="16000" y="18312"/>
                </a:cubicBezTo>
                <a:cubicBezTo>
                  <a:pt x="15969" y="18406"/>
                  <a:pt x="16032" y="18469"/>
                  <a:pt x="16094" y="18500"/>
                </a:cubicBezTo>
                <a:cubicBezTo>
                  <a:pt x="16157" y="18500"/>
                  <a:pt x="16188" y="18469"/>
                  <a:pt x="16219" y="18406"/>
                </a:cubicBezTo>
                <a:close/>
                <a:moveTo>
                  <a:pt x="30594" y="3562"/>
                </a:moveTo>
                <a:cubicBezTo>
                  <a:pt x="30563" y="3625"/>
                  <a:pt x="30688" y="3656"/>
                  <a:pt x="30750" y="3656"/>
                </a:cubicBezTo>
                <a:cubicBezTo>
                  <a:pt x="30907" y="3656"/>
                  <a:pt x="30844" y="3500"/>
                  <a:pt x="30875" y="3375"/>
                </a:cubicBezTo>
                <a:cubicBezTo>
                  <a:pt x="30750" y="3406"/>
                  <a:pt x="30625" y="3406"/>
                  <a:pt x="30594" y="3562"/>
                </a:cubicBezTo>
                <a:close/>
                <a:moveTo>
                  <a:pt x="844" y="20969"/>
                </a:moveTo>
                <a:cubicBezTo>
                  <a:pt x="844" y="20969"/>
                  <a:pt x="844" y="21000"/>
                  <a:pt x="844" y="21031"/>
                </a:cubicBezTo>
                <a:cubicBezTo>
                  <a:pt x="875" y="21187"/>
                  <a:pt x="1000" y="21062"/>
                  <a:pt x="1063" y="21094"/>
                </a:cubicBezTo>
                <a:cubicBezTo>
                  <a:pt x="1125" y="21125"/>
                  <a:pt x="1188" y="21156"/>
                  <a:pt x="1250" y="21156"/>
                </a:cubicBezTo>
                <a:cubicBezTo>
                  <a:pt x="1250" y="21156"/>
                  <a:pt x="1250" y="21125"/>
                  <a:pt x="1250" y="21125"/>
                </a:cubicBezTo>
                <a:cubicBezTo>
                  <a:pt x="1219" y="21094"/>
                  <a:pt x="1157" y="21062"/>
                  <a:pt x="1094" y="21031"/>
                </a:cubicBezTo>
                <a:cubicBezTo>
                  <a:pt x="1032" y="21000"/>
                  <a:pt x="938" y="20906"/>
                  <a:pt x="844" y="20969"/>
                </a:cubicBezTo>
                <a:close/>
                <a:moveTo>
                  <a:pt x="14282" y="21937"/>
                </a:moveTo>
                <a:cubicBezTo>
                  <a:pt x="14282" y="21937"/>
                  <a:pt x="14282" y="21937"/>
                  <a:pt x="14282" y="21937"/>
                </a:cubicBezTo>
                <a:close/>
                <a:moveTo>
                  <a:pt x="14719" y="18500"/>
                </a:moveTo>
                <a:cubicBezTo>
                  <a:pt x="14875" y="18219"/>
                  <a:pt x="14875" y="18219"/>
                  <a:pt x="14657" y="18062"/>
                </a:cubicBezTo>
                <a:cubicBezTo>
                  <a:pt x="14688" y="18219"/>
                  <a:pt x="14625" y="18344"/>
                  <a:pt x="14719" y="18500"/>
                </a:cubicBezTo>
                <a:close/>
                <a:moveTo>
                  <a:pt x="24000" y="20344"/>
                </a:moveTo>
                <a:cubicBezTo>
                  <a:pt x="24157" y="20344"/>
                  <a:pt x="24313" y="20344"/>
                  <a:pt x="24438" y="20344"/>
                </a:cubicBezTo>
                <a:cubicBezTo>
                  <a:pt x="24469" y="20375"/>
                  <a:pt x="24500" y="20375"/>
                  <a:pt x="24500" y="20344"/>
                </a:cubicBezTo>
                <a:lnTo>
                  <a:pt x="24500" y="20344"/>
                </a:lnTo>
                <a:cubicBezTo>
                  <a:pt x="24500" y="20344"/>
                  <a:pt x="24469" y="20344"/>
                  <a:pt x="24438" y="20344"/>
                </a:cubicBezTo>
                <a:cubicBezTo>
                  <a:pt x="24313" y="20312"/>
                  <a:pt x="24125" y="20094"/>
                  <a:pt x="24000" y="20344"/>
                </a:cubicBezTo>
                <a:close/>
                <a:moveTo>
                  <a:pt x="11188" y="21094"/>
                </a:moveTo>
                <a:cubicBezTo>
                  <a:pt x="11500" y="21094"/>
                  <a:pt x="11657" y="20937"/>
                  <a:pt x="11844" y="20812"/>
                </a:cubicBezTo>
                <a:cubicBezTo>
                  <a:pt x="11625" y="20844"/>
                  <a:pt x="11407" y="20906"/>
                  <a:pt x="11188" y="21094"/>
                </a:cubicBezTo>
                <a:close/>
                <a:moveTo>
                  <a:pt x="20750" y="14125"/>
                </a:moveTo>
                <a:cubicBezTo>
                  <a:pt x="20750" y="14125"/>
                  <a:pt x="20750" y="14125"/>
                  <a:pt x="20750" y="14125"/>
                </a:cubicBezTo>
                <a:close/>
                <a:moveTo>
                  <a:pt x="14375" y="15594"/>
                </a:moveTo>
                <a:cubicBezTo>
                  <a:pt x="14375" y="15406"/>
                  <a:pt x="14625" y="15312"/>
                  <a:pt x="14625" y="15094"/>
                </a:cubicBezTo>
                <a:cubicBezTo>
                  <a:pt x="14282" y="15156"/>
                  <a:pt x="14282" y="15344"/>
                  <a:pt x="14375" y="15594"/>
                </a:cubicBezTo>
                <a:close/>
                <a:moveTo>
                  <a:pt x="24782" y="21125"/>
                </a:moveTo>
                <a:cubicBezTo>
                  <a:pt x="24782" y="21125"/>
                  <a:pt x="24782" y="21125"/>
                  <a:pt x="24782" y="21125"/>
                </a:cubicBezTo>
                <a:cubicBezTo>
                  <a:pt x="24782" y="21125"/>
                  <a:pt x="24782" y="21125"/>
                  <a:pt x="24782" y="21125"/>
                </a:cubicBezTo>
                <a:close/>
                <a:moveTo>
                  <a:pt x="2188" y="20719"/>
                </a:moveTo>
                <a:cubicBezTo>
                  <a:pt x="1969" y="20656"/>
                  <a:pt x="1750" y="20594"/>
                  <a:pt x="1532" y="20531"/>
                </a:cubicBezTo>
                <a:cubicBezTo>
                  <a:pt x="1719" y="20656"/>
                  <a:pt x="1938" y="20719"/>
                  <a:pt x="2188" y="20719"/>
                </a:cubicBezTo>
                <a:close/>
                <a:moveTo>
                  <a:pt x="22282" y="17062"/>
                </a:moveTo>
                <a:cubicBezTo>
                  <a:pt x="22219" y="17094"/>
                  <a:pt x="22219" y="17187"/>
                  <a:pt x="22219" y="17281"/>
                </a:cubicBezTo>
                <a:cubicBezTo>
                  <a:pt x="22219" y="17375"/>
                  <a:pt x="22313" y="17344"/>
                  <a:pt x="22407" y="17344"/>
                </a:cubicBezTo>
                <a:cubicBezTo>
                  <a:pt x="22719" y="17812"/>
                  <a:pt x="22969" y="18406"/>
                  <a:pt x="23719" y="18344"/>
                </a:cubicBezTo>
                <a:cubicBezTo>
                  <a:pt x="23907" y="18562"/>
                  <a:pt x="24125" y="18531"/>
                  <a:pt x="24375" y="18437"/>
                </a:cubicBezTo>
                <a:cubicBezTo>
                  <a:pt x="24344" y="18437"/>
                  <a:pt x="24282" y="18406"/>
                  <a:pt x="24313" y="18375"/>
                </a:cubicBezTo>
                <a:cubicBezTo>
                  <a:pt x="24344" y="18312"/>
                  <a:pt x="24375" y="18344"/>
                  <a:pt x="24438" y="18375"/>
                </a:cubicBezTo>
                <a:cubicBezTo>
                  <a:pt x="24688" y="18500"/>
                  <a:pt x="24688" y="18500"/>
                  <a:pt x="24875" y="18281"/>
                </a:cubicBezTo>
                <a:cubicBezTo>
                  <a:pt x="24500" y="18312"/>
                  <a:pt x="24125" y="18312"/>
                  <a:pt x="23782" y="18219"/>
                </a:cubicBezTo>
                <a:cubicBezTo>
                  <a:pt x="23750" y="18187"/>
                  <a:pt x="23750" y="18156"/>
                  <a:pt x="23750" y="18156"/>
                </a:cubicBezTo>
                <a:cubicBezTo>
                  <a:pt x="23719" y="18125"/>
                  <a:pt x="23719" y="18187"/>
                  <a:pt x="23719" y="18187"/>
                </a:cubicBezTo>
                <a:cubicBezTo>
                  <a:pt x="23219" y="18062"/>
                  <a:pt x="22969" y="17656"/>
                  <a:pt x="22625" y="17312"/>
                </a:cubicBezTo>
                <a:cubicBezTo>
                  <a:pt x="22657" y="17312"/>
                  <a:pt x="22657" y="17312"/>
                  <a:pt x="22688" y="17312"/>
                </a:cubicBezTo>
                <a:cubicBezTo>
                  <a:pt x="22657" y="17312"/>
                  <a:pt x="22657" y="17312"/>
                  <a:pt x="22625" y="17312"/>
                </a:cubicBezTo>
                <a:cubicBezTo>
                  <a:pt x="22594" y="17281"/>
                  <a:pt x="22594" y="17281"/>
                  <a:pt x="22594" y="17281"/>
                </a:cubicBezTo>
                <a:cubicBezTo>
                  <a:pt x="22563" y="17187"/>
                  <a:pt x="22532" y="17125"/>
                  <a:pt x="22469" y="17094"/>
                </a:cubicBezTo>
                <a:cubicBezTo>
                  <a:pt x="22407" y="17062"/>
                  <a:pt x="22344" y="17000"/>
                  <a:pt x="22282" y="17062"/>
                </a:cubicBezTo>
                <a:close/>
                <a:moveTo>
                  <a:pt x="8813" y="22656"/>
                </a:moveTo>
                <a:cubicBezTo>
                  <a:pt x="8719" y="22656"/>
                  <a:pt x="8688" y="22687"/>
                  <a:pt x="8719" y="22750"/>
                </a:cubicBezTo>
                <a:cubicBezTo>
                  <a:pt x="8750" y="22812"/>
                  <a:pt x="8688" y="22969"/>
                  <a:pt x="8844" y="22969"/>
                </a:cubicBezTo>
                <a:cubicBezTo>
                  <a:pt x="8907" y="22969"/>
                  <a:pt x="8969" y="22875"/>
                  <a:pt x="8969" y="22781"/>
                </a:cubicBezTo>
                <a:cubicBezTo>
                  <a:pt x="8969" y="22687"/>
                  <a:pt x="8907" y="22656"/>
                  <a:pt x="8813" y="22656"/>
                </a:cubicBezTo>
                <a:close/>
                <a:moveTo>
                  <a:pt x="15782" y="19156"/>
                </a:moveTo>
                <a:cubicBezTo>
                  <a:pt x="15719" y="19187"/>
                  <a:pt x="15594" y="19156"/>
                  <a:pt x="15594" y="19281"/>
                </a:cubicBezTo>
                <a:cubicBezTo>
                  <a:pt x="15594" y="19437"/>
                  <a:pt x="15719" y="19437"/>
                  <a:pt x="15813" y="19437"/>
                </a:cubicBezTo>
                <a:cubicBezTo>
                  <a:pt x="15938" y="19469"/>
                  <a:pt x="15907" y="19375"/>
                  <a:pt x="15907" y="19312"/>
                </a:cubicBezTo>
                <a:cubicBezTo>
                  <a:pt x="15875" y="19219"/>
                  <a:pt x="15938" y="19094"/>
                  <a:pt x="15782" y="19156"/>
                </a:cubicBezTo>
                <a:close/>
                <a:moveTo>
                  <a:pt x="16063" y="20156"/>
                </a:moveTo>
                <a:cubicBezTo>
                  <a:pt x="16094" y="19844"/>
                  <a:pt x="16188" y="19531"/>
                  <a:pt x="16125" y="19219"/>
                </a:cubicBezTo>
                <a:cubicBezTo>
                  <a:pt x="16000" y="19531"/>
                  <a:pt x="16063" y="19844"/>
                  <a:pt x="16063" y="20156"/>
                </a:cubicBezTo>
                <a:close/>
                <a:moveTo>
                  <a:pt x="3657" y="20219"/>
                </a:moveTo>
                <a:cubicBezTo>
                  <a:pt x="3688" y="20344"/>
                  <a:pt x="3750" y="20281"/>
                  <a:pt x="3813" y="20250"/>
                </a:cubicBezTo>
                <a:cubicBezTo>
                  <a:pt x="3969" y="20219"/>
                  <a:pt x="4125" y="20187"/>
                  <a:pt x="4282" y="20031"/>
                </a:cubicBezTo>
                <a:cubicBezTo>
                  <a:pt x="4094" y="20062"/>
                  <a:pt x="3907" y="20094"/>
                  <a:pt x="3750" y="20125"/>
                </a:cubicBezTo>
                <a:cubicBezTo>
                  <a:pt x="3688" y="20125"/>
                  <a:pt x="3657" y="20156"/>
                  <a:pt x="3657" y="20219"/>
                </a:cubicBezTo>
                <a:close/>
                <a:moveTo>
                  <a:pt x="17063" y="24187"/>
                </a:moveTo>
                <a:cubicBezTo>
                  <a:pt x="17032" y="24156"/>
                  <a:pt x="17032" y="24062"/>
                  <a:pt x="16969" y="24094"/>
                </a:cubicBezTo>
                <a:cubicBezTo>
                  <a:pt x="16875" y="24125"/>
                  <a:pt x="16907" y="24187"/>
                  <a:pt x="16907" y="24250"/>
                </a:cubicBezTo>
                <a:cubicBezTo>
                  <a:pt x="16907" y="24344"/>
                  <a:pt x="16907" y="24437"/>
                  <a:pt x="16875" y="24500"/>
                </a:cubicBezTo>
                <a:cubicBezTo>
                  <a:pt x="16844" y="24625"/>
                  <a:pt x="16907" y="24625"/>
                  <a:pt x="17000" y="24594"/>
                </a:cubicBezTo>
                <a:cubicBezTo>
                  <a:pt x="17094" y="24562"/>
                  <a:pt x="17188" y="24500"/>
                  <a:pt x="17219" y="24406"/>
                </a:cubicBezTo>
                <a:cubicBezTo>
                  <a:pt x="17250" y="24312"/>
                  <a:pt x="17188" y="24187"/>
                  <a:pt x="17063" y="24187"/>
                </a:cubicBezTo>
                <a:close/>
                <a:moveTo>
                  <a:pt x="10750" y="22156"/>
                </a:moveTo>
                <a:cubicBezTo>
                  <a:pt x="10688" y="22031"/>
                  <a:pt x="10657" y="21969"/>
                  <a:pt x="10594" y="21937"/>
                </a:cubicBezTo>
                <a:cubicBezTo>
                  <a:pt x="10500" y="22281"/>
                  <a:pt x="10125" y="22094"/>
                  <a:pt x="9938" y="22281"/>
                </a:cubicBezTo>
                <a:cubicBezTo>
                  <a:pt x="10250" y="22469"/>
                  <a:pt x="10438" y="22125"/>
                  <a:pt x="10750" y="22156"/>
                </a:cubicBezTo>
                <a:close/>
                <a:moveTo>
                  <a:pt x="16344" y="19875"/>
                </a:moveTo>
                <a:cubicBezTo>
                  <a:pt x="16344" y="19844"/>
                  <a:pt x="16313" y="19812"/>
                  <a:pt x="16313" y="19812"/>
                </a:cubicBezTo>
                <a:cubicBezTo>
                  <a:pt x="16313" y="19656"/>
                  <a:pt x="16750" y="19469"/>
                  <a:pt x="16438" y="19281"/>
                </a:cubicBezTo>
                <a:lnTo>
                  <a:pt x="16438" y="19281"/>
                </a:lnTo>
                <a:cubicBezTo>
                  <a:pt x="16250" y="19562"/>
                  <a:pt x="16250" y="19625"/>
                  <a:pt x="16313" y="19812"/>
                </a:cubicBezTo>
                <a:cubicBezTo>
                  <a:pt x="16313" y="19812"/>
                  <a:pt x="16313" y="19844"/>
                  <a:pt x="16344" y="19875"/>
                </a:cubicBezTo>
                <a:close/>
                <a:moveTo>
                  <a:pt x="22657" y="22594"/>
                </a:moveTo>
                <a:cubicBezTo>
                  <a:pt x="22344" y="22500"/>
                  <a:pt x="22594" y="22875"/>
                  <a:pt x="22438" y="22937"/>
                </a:cubicBezTo>
                <a:cubicBezTo>
                  <a:pt x="22625" y="22906"/>
                  <a:pt x="22907" y="23094"/>
                  <a:pt x="22938" y="22750"/>
                </a:cubicBezTo>
                <a:cubicBezTo>
                  <a:pt x="22938" y="22594"/>
                  <a:pt x="22719" y="22594"/>
                  <a:pt x="22657" y="22594"/>
                </a:cubicBezTo>
                <a:close/>
                <a:moveTo>
                  <a:pt x="25719" y="15531"/>
                </a:moveTo>
                <a:cubicBezTo>
                  <a:pt x="25594" y="15500"/>
                  <a:pt x="25438" y="15562"/>
                  <a:pt x="25344" y="15687"/>
                </a:cubicBezTo>
                <a:cubicBezTo>
                  <a:pt x="25313" y="15719"/>
                  <a:pt x="25219" y="15750"/>
                  <a:pt x="25188" y="15844"/>
                </a:cubicBezTo>
                <a:cubicBezTo>
                  <a:pt x="25344" y="15875"/>
                  <a:pt x="25469" y="15656"/>
                  <a:pt x="25625" y="15812"/>
                </a:cubicBezTo>
                <a:cubicBezTo>
                  <a:pt x="25500" y="15906"/>
                  <a:pt x="25407" y="15969"/>
                  <a:pt x="25282" y="16062"/>
                </a:cubicBezTo>
                <a:cubicBezTo>
                  <a:pt x="25407" y="16062"/>
                  <a:pt x="25469" y="16094"/>
                  <a:pt x="25532" y="16062"/>
                </a:cubicBezTo>
                <a:cubicBezTo>
                  <a:pt x="25625" y="16031"/>
                  <a:pt x="25813" y="15906"/>
                  <a:pt x="25782" y="15844"/>
                </a:cubicBezTo>
                <a:cubicBezTo>
                  <a:pt x="25657" y="15750"/>
                  <a:pt x="25907" y="15594"/>
                  <a:pt x="25719" y="15531"/>
                </a:cubicBezTo>
                <a:close/>
                <a:moveTo>
                  <a:pt x="25032" y="20594"/>
                </a:moveTo>
                <a:cubicBezTo>
                  <a:pt x="25000" y="20719"/>
                  <a:pt x="25094" y="20719"/>
                  <a:pt x="25188" y="20781"/>
                </a:cubicBezTo>
                <a:cubicBezTo>
                  <a:pt x="25469" y="20969"/>
                  <a:pt x="25625" y="20781"/>
                  <a:pt x="25875" y="20625"/>
                </a:cubicBezTo>
                <a:cubicBezTo>
                  <a:pt x="25625" y="20594"/>
                  <a:pt x="25438" y="20562"/>
                  <a:pt x="25250" y="20531"/>
                </a:cubicBezTo>
                <a:cubicBezTo>
                  <a:pt x="25157" y="20531"/>
                  <a:pt x="25063" y="20469"/>
                  <a:pt x="25032" y="20594"/>
                </a:cubicBezTo>
                <a:close/>
                <a:moveTo>
                  <a:pt x="19500" y="19812"/>
                </a:moveTo>
                <a:cubicBezTo>
                  <a:pt x="19532" y="19625"/>
                  <a:pt x="19500" y="19562"/>
                  <a:pt x="19407" y="19500"/>
                </a:cubicBezTo>
                <a:cubicBezTo>
                  <a:pt x="19250" y="19375"/>
                  <a:pt x="19094" y="19406"/>
                  <a:pt x="19000" y="19594"/>
                </a:cubicBezTo>
                <a:cubicBezTo>
                  <a:pt x="18907" y="19437"/>
                  <a:pt x="18875" y="19250"/>
                  <a:pt x="18657" y="19469"/>
                </a:cubicBezTo>
                <a:cubicBezTo>
                  <a:pt x="18657" y="19437"/>
                  <a:pt x="18625" y="19437"/>
                  <a:pt x="18625" y="19406"/>
                </a:cubicBezTo>
                <a:cubicBezTo>
                  <a:pt x="18469" y="19250"/>
                  <a:pt x="18594" y="19031"/>
                  <a:pt x="18469" y="18781"/>
                </a:cubicBezTo>
                <a:cubicBezTo>
                  <a:pt x="18469" y="19000"/>
                  <a:pt x="18250" y="18844"/>
                  <a:pt x="18219" y="19031"/>
                </a:cubicBezTo>
                <a:cubicBezTo>
                  <a:pt x="18188" y="19031"/>
                  <a:pt x="18125" y="19156"/>
                  <a:pt x="18125" y="19031"/>
                </a:cubicBezTo>
                <a:cubicBezTo>
                  <a:pt x="18094" y="18812"/>
                  <a:pt x="18000" y="18594"/>
                  <a:pt x="18157" y="18406"/>
                </a:cubicBezTo>
                <a:cubicBezTo>
                  <a:pt x="18000" y="18469"/>
                  <a:pt x="17907" y="18375"/>
                  <a:pt x="17813" y="18250"/>
                </a:cubicBezTo>
                <a:cubicBezTo>
                  <a:pt x="17907" y="18187"/>
                  <a:pt x="18032" y="18187"/>
                  <a:pt x="18063" y="18031"/>
                </a:cubicBezTo>
                <a:cubicBezTo>
                  <a:pt x="17813" y="18219"/>
                  <a:pt x="17469" y="18094"/>
                  <a:pt x="17219" y="18312"/>
                </a:cubicBezTo>
                <a:cubicBezTo>
                  <a:pt x="17219" y="18312"/>
                  <a:pt x="17219" y="18344"/>
                  <a:pt x="17219" y="18375"/>
                </a:cubicBezTo>
                <a:cubicBezTo>
                  <a:pt x="17282" y="18375"/>
                  <a:pt x="17344" y="18375"/>
                  <a:pt x="17500" y="18344"/>
                </a:cubicBezTo>
                <a:cubicBezTo>
                  <a:pt x="17219" y="18531"/>
                  <a:pt x="17438" y="18625"/>
                  <a:pt x="17469" y="18750"/>
                </a:cubicBezTo>
                <a:cubicBezTo>
                  <a:pt x="17532" y="18750"/>
                  <a:pt x="17563" y="18750"/>
                  <a:pt x="17594" y="18719"/>
                </a:cubicBezTo>
                <a:cubicBezTo>
                  <a:pt x="17625" y="18781"/>
                  <a:pt x="17657" y="18812"/>
                  <a:pt x="17688" y="18781"/>
                </a:cubicBezTo>
                <a:cubicBezTo>
                  <a:pt x="17594" y="19062"/>
                  <a:pt x="17719" y="19250"/>
                  <a:pt x="17907" y="19437"/>
                </a:cubicBezTo>
                <a:cubicBezTo>
                  <a:pt x="17969" y="19531"/>
                  <a:pt x="18000" y="19656"/>
                  <a:pt x="18000" y="19781"/>
                </a:cubicBezTo>
                <a:cubicBezTo>
                  <a:pt x="18063" y="19719"/>
                  <a:pt x="18094" y="19625"/>
                  <a:pt x="18125" y="19562"/>
                </a:cubicBezTo>
                <a:cubicBezTo>
                  <a:pt x="18094" y="19625"/>
                  <a:pt x="18063" y="19719"/>
                  <a:pt x="18000" y="19781"/>
                </a:cubicBezTo>
                <a:cubicBezTo>
                  <a:pt x="18000" y="19844"/>
                  <a:pt x="17907" y="19937"/>
                  <a:pt x="18032" y="20062"/>
                </a:cubicBezTo>
                <a:cubicBezTo>
                  <a:pt x="18063" y="19906"/>
                  <a:pt x="18094" y="19781"/>
                  <a:pt x="18250" y="19844"/>
                </a:cubicBezTo>
                <a:cubicBezTo>
                  <a:pt x="18375" y="19937"/>
                  <a:pt x="18657" y="19781"/>
                  <a:pt x="18625" y="20094"/>
                </a:cubicBezTo>
                <a:cubicBezTo>
                  <a:pt x="18594" y="20437"/>
                  <a:pt x="18719" y="20719"/>
                  <a:pt x="18844" y="21031"/>
                </a:cubicBezTo>
                <a:cubicBezTo>
                  <a:pt x="19094" y="20906"/>
                  <a:pt x="19063" y="20750"/>
                  <a:pt x="18844" y="20594"/>
                </a:cubicBezTo>
                <a:cubicBezTo>
                  <a:pt x="18969" y="20594"/>
                  <a:pt x="19000" y="20594"/>
                  <a:pt x="19063" y="20594"/>
                </a:cubicBezTo>
                <a:cubicBezTo>
                  <a:pt x="19250" y="20437"/>
                  <a:pt x="19094" y="20187"/>
                  <a:pt x="19157" y="20000"/>
                </a:cubicBezTo>
                <a:cubicBezTo>
                  <a:pt x="19282" y="19969"/>
                  <a:pt x="19469" y="20031"/>
                  <a:pt x="19500" y="19812"/>
                </a:cubicBezTo>
                <a:close/>
                <a:moveTo>
                  <a:pt x="844" y="19875"/>
                </a:moveTo>
                <a:cubicBezTo>
                  <a:pt x="844" y="19937"/>
                  <a:pt x="907" y="20000"/>
                  <a:pt x="1032" y="19969"/>
                </a:cubicBezTo>
                <a:cubicBezTo>
                  <a:pt x="1094" y="19969"/>
                  <a:pt x="1188" y="20031"/>
                  <a:pt x="1250" y="20094"/>
                </a:cubicBezTo>
                <a:cubicBezTo>
                  <a:pt x="1282" y="20125"/>
                  <a:pt x="1375" y="20187"/>
                  <a:pt x="1375" y="20156"/>
                </a:cubicBezTo>
                <a:cubicBezTo>
                  <a:pt x="1375" y="19906"/>
                  <a:pt x="1657" y="20000"/>
                  <a:pt x="1719" y="19844"/>
                </a:cubicBezTo>
                <a:cubicBezTo>
                  <a:pt x="1500" y="19594"/>
                  <a:pt x="1250" y="19812"/>
                  <a:pt x="1032" y="19719"/>
                </a:cubicBezTo>
                <a:cubicBezTo>
                  <a:pt x="969" y="19687"/>
                  <a:pt x="844" y="19750"/>
                  <a:pt x="844" y="19875"/>
                </a:cubicBezTo>
                <a:close/>
                <a:moveTo>
                  <a:pt x="19688" y="20875"/>
                </a:moveTo>
                <a:cubicBezTo>
                  <a:pt x="19750" y="20687"/>
                  <a:pt x="19750" y="20500"/>
                  <a:pt x="19750" y="20312"/>
                </a:cubicBezTo>
                <a:cubicBezTo>
                  <a:pt x="19719" y="20687"/>
                  <a:pt x="19063" y="20500"/>
                  <a:pt x="19219" y="21094"/>
                </a:cubicBezTo>
                <a:cubicBezTo>
                  <a:pt x="19313" y="20687"/>
                  <a:pt x="19594" y="21156"/>
                  <a:pt x="19688" y="20875"/>
                </a:cubicBezTo>
                <a:close/>
                <a:moveTo>
                  <a:pt x="17094" y="18531"/>
                </a:moveTo>
                <a:cubicBezTo>
                  <a:pt x="17094" y="18375"/>
                  <a:pt x="17094" y="18250"/>
                  <a:pt x="17063" y="18094"/>
                </a:cubicBezTo>
                <a:cubicBezTo>
                  <a:pt x="17032" y="18031"/>
                  <a:pt x="17032" y="17937"/>
                  <a:pt x="16907" y="18000"/>
                </a:cubicBezTo>
                <a:cubicBezTo>
                  <a:pt x="16844" y="18031"/>
                  <a:pt x="16719" y="18000"/>
                  <a:pt x="16782" y="18156"/>
                </a:cubicBezTo>
                <a:cubicBezTo>
                  <a:pt x="16875" y="18281"/>
                  <a:pt x="16750" y="18281"/>
                  <a:pt x="16688" y="18281"/>
                </a:cubicBezTo>
                <a:cubicBezTo>
                  <a:pt x="16782" y="18469"/>
                  <a:pt x="16657" y="18719"/>
                  <a:pt x="16719" y="18906"/>
                </a:cubicBezTo>
                <a:cubicBezTo>
                  <a:pt x="16875" y="18844"/>
                  <a:pt x="16907" y="18750"/>
                  <a:pt x="16875" y="18656"/>
                </a:cubicBezTo>
                <a:cubicBezTo>
                  <a:pt x="16813" y="18312"/>
                  <a:pt x="17000" y="18500"/>
                  <a:pt x="17094" y="18531"/>
                </a:cubicBezTo>
                <a:close/>
                <a:moveTo>
                  <a:pt x="21000" y="22812"/>
                </a:move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lnTo>
                  <a:pt x="21000" y="22812"/>
                </a:lnTo>
                <a:cubicBezTo>
                  <a:pt x="21000" y="22812"/>
                  <a:pt x="21000" y="22812"/>
                  <a:pt x="21000" y="22812"/>
                </a:cubicBezTo>
                <a:cubicBezTo>
                  <a:pt x="21000" y="22812"/>
                  <a:pt x="21000" y="22812"/>
                  <a:pt x="21000" y="22812"/>
                </a:cubicBezTo>
                <a:close/>
                <a:moveTo>
                  <a:pt x="11969" y="21562"/>
                </a:moveTo>
                <a:cubicBezTo>
                  <a:pt x="12000" y="21562"/>
                  <a:pt x="12032" y="21625"/>
                  <a:pt x="12063" y="21594"/>
                </a:cubicBezTo>
                <a:cubicBezTo>
                  <a:pt x="12250" y="21562"/>
                  <a:pt x="12438" y="21594"/>
                  <a:pt x="12594" y="21469"/>
                </a:cubicBezTo>
                <a:cubicBezTo>
                  <a:pt x="12657" y="21375"/>
                  <a:pt x="12563" y="21281"/>
                  <a:pt x="12500" y="21187"/>
                </a:cubicBezTo>
                <a:cubicBezTo>
                  <a:pt x="12438" y="21281"/>
                  <a:pt x="12563" y="21437"/>
                  <a:pt x="12375" y="21406"/>
                </a:cubicBezTo>
                <a:cubicBezTo>
                  <a:pt x="12313" y="21406"/>
                  <a:pt x="12344" y="21406"/>
                  <a:pt x="12344" y="21344"/>
                </a:cubicBezTo>
                <a:cubicBezTo>
                  <a:pt x="12407" y="21125"/>
                  <a:pt x="12282" y="21156"/>
                  <a:pt x="12157" y="21250"/>
                </a:cubicBezTo>
                <a:cubicBezTo>
                  <a:pt x="12094" y="21281"/>
                  <a:pt x="12032" y="21344"/>
                  <a:pt x="11938" y="21344"/>
                </a:cubicBezTo>
                <a:cubicBezTo>
                  <a:pt x="11844" y="21344"/>
                  <a:pt x="11688" y="21250"/>
                  <a:pt x="11688" y="21437"/>
                </a:cubicBezTo>
                <a:cubicBezTo>
                  <a:pt x="11657" y="21625"/>
                  <a:pt x="11844" y="21531"/>
                  <a:pt x="11969" y="21562"/>
                </a:cubicBezTo>
                <a:close/>
                <a:moveTo>
                  <a:pt x="3375" y="18594"/>
                </a:moveTo>
                <a:cubicBezTo>
                  <a:pt x="3375" y="18594"/>
                  <a:pt x="3375" y="18594"/>
                  <a:pt x="3375" y="18594"/>
                </a:cubicBezTo>
                <a:cubicBezTo>
                  <a:pt x="3375" y="18594"/>
                  <a:pt x="3375" y="18594"/>
                  <a:pt x="3375" y="18594"/>
                </a:cubicBezTo>
                <a:close/>
                <a:moveTo>
                  <a:pt x="2188" y="18375"/>
                </a:moveTo>
                <a:cubicBezTo>
                  <a:pt x="2250" y="18219"/>
                  <a:pt x="2375" y="18375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07" y="18406"/>
                  <a:pt x="2375" y="18469"/>
                  <a:pt x="2282" y="18469"/>
                </a:cubicBezTo>
                <a:cubicBezTo>
                  <a:pt x="2282" y="18469"/>
                  <a:pt x="2282" y="18469"/>
                  <a:pt x="2282" y="18469"/>
                </a:cubicBezTo>
                <a:cubicBezTo>
                  <a:pt x="2250" y="18437"/>
                  <a:pt x="2219" y="18406"/>
                  <a:pt x="2188" y="18375"/>
                </a:cubicBezTo>
                <a:close/>
                <a:moveTo>
                  <a:pt x="2375" y="18562"/>
                </a:moveTo>
                <a:cubicBezTo>
                  <a:pt x="2375" y="18562"/>
                  <a:pt x="2407" y="18562"/>
                  <a:pt x="2407" y="18562"/>
                </a:cubicBezTo>
                <a:cubicBezTo>
                  <a:pt x="2407" y="18562"/>
                  <a:pt x="2375" y="18562"/>
                  <a:pt x="2375" y="18562"/>
                </a:cubicBezTo>
                <a:close/>
                <a:moveTo>
                  <a:pt x="2532" y="18406"/>
                </a:moveTo>
                <a:cubicBezTo>
                  <a:pt x="2500" y="18406"/>
                  <a:pt x="2469" y="18469"/>
                  <a:pt x="2438" y="18500"/>
                </a:cubicBezTo>
                <a:cubicBezTo>
                  <a:pt x="2469" y="18469"/>
                  <a:pt x="2500" y="18406"/>
                  <a:pt x="2532" y="18406"/>
                </a:cubicBezTo>
                <a:cubicBezTo>
                  <a:pt x="2500" y="18375"/>
                  <a:pt x="2500" y="18375"/>
                  <a:pt x="2500" y="18344"/>
                </a:cubicBezTo>
                <a:cubicBezTo>
                  <a:pt x="2500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469" y="18344"/>
                  <a:pt x="2469" y="18344"/>
                </a:cubicBezTo>
                <a:cubicBezTo>
                  <a:pt x="2469" y="18344"/>
                  <a:pt x="2500" y="18344"/>
                  <a:pt x="2500" y="18344"/>
                </a:cubicBezTo>
                <a:cubicBezTo>
                  <a:pt x="2657" y="18250"/>
                  <a:pt x="2625" y="18375"/>
                  <a:pt x="2625" y="18469"/>
                </a:cubicBezTo>
                <a:cubicBezTo>
                  <a:pt x="2594" y="18437"/>
                  <a:pt x="2563" y="18406"/>
                  <a:pt x="2532" y="18406"/>
                </a:cubicBezTo>
                <a:close/>
                <a:moveTo>
                  <a:pt x="2969" y="16906"/>
                </a:moveTo>
                <a:cubicBezTo>
                  <a:pt x="3000" y="16906"/>
                  <a:pt x="3063" y="16906"/>
                  <a:pt x="3063" y="16969"/>
                </a:cubicBezTo>
                <a:cubicBezTo>
                  <a:pt x="3063" y="17031"/>
                  <a:pt x="3000" y="17031"/>
                  <a:pt x="2938" y="17031"/>
                </a:cubicBezTo>
                <a:cubicBezTo>
                  <a:pt x="2938" y="17000"/>
                  <a:pt x="2907" y="17000"/>
                  <a:pt x="2875" y="16969"/>
                </a:cubicBezTo>
                <a:cubicBezTo>
                  <a:pt x="2875" y="16969"/>
                  <a:pt x="2875" y="16969"/>
                  <a:pt x="2875" y="16969"/>
                </a:cubicBezTo>
                <a:cubicBezTo>
                  <a:pt x="2907" y="16906"/>
                  <a:pt x="2875" y="16875"/>
                  <a:pt x="2969" y="16906"/>
                </a:cubicBezTo>
                <a:close/>
                <a:moveTo>
                  <a:pt x="5250" y="17812"/>
                </a:moveTo>
                <a:cubicBezTo>
                  <a:pt x="5219" y="17906"/>
                  <a:pt x="5188" y="17969"/>
                  <a:pt x="5157" y="18031"/>
                </a:cubicBezTo>
                <a:cubicBezTo>
                  <a:pt x="5094" y="18031"/>
                  <a:pt x="5032" y="18031"/>
                  <a:pt x="4969" y="18031"/>
                </a:cubicBezTo>
                <a:cubicBezTo>
                  <a:pt x="4969" y="18031"/>
                  <a:pt x="4969" y="18031"/>
                  <a:pt x="4969" y="18031"/>
                </a:cubicBezTo>
                <a:cubicBezTo>
                  <a:pt x="5000" y="17875"/>
                  <a:pt x="5094" y="17844"/>
                  <a:pt x="5250" y="17812"/>
                </a:cubicBezTo>
                <a:close/>
                <a:moveTo>
                  <a:pt x="3563" y="16250"/>
                </a:moveTo>
                <a:cubicBezTo>
                  <a:pt x="3563" y="16250"/>
                  <a:pt x="3594" y="16250"/>
                  <a:pt x="3594" y="16250"/>
                </a:cubicBezTo>
                <a:cubicBezTo>
                  <a:pt x="3594" y="16250"/>
                  <a:pt x="3563" y="16250"/>
                  <a:pt x="3563" y="16250"/>
                </a:cubicBezTo>
                <a:close/>
                <a:moveTo>
                  <a:pt x="3625" y="16344"/>
                </a:moveTo>
                <a:cubicBezTo>
                  <a:pt x="3625" y="16312"/>
                  <a:pt x="3625" y="16312"/>
                  <a:pt x="3625" y="16281"/>
                </a:cubicBezTo>
                <a:cubicBezTo>
                  <a:pt x="3625" y="16312"/>
                  <a:pt x="3625" y="16312"/>
                  <a:pt x="3625" y="16344"/>
                </a:cubicBezTo>
                <a:close/>
                <a:moveTo>
                  <a:pt x="4907" y="15187"/>
                </a:moveTo>
                <a:cubicBezTo>
                  <a:pt x="4875" y="15187"/>
                  <a:pt x="4875" y="15156"/>
                  <a:pt x="4875" y="15125"/>
                </a:cubicBezTo>
                <a:cubicBezTo>
                  <a:pt x="4875" y="15156"/>
                  <a:pt x="4875" y="15187"/>
                  <a:pt x="4907" y="15187"/>
                </a:cubicBezTo>
                <a:close/>
                <a:moveTo>
                  <a:pt x="3938" y="17156"/>
                </a:moveTo>
                <a:cubicBezTo>
                  <a:pt x="3907" y="17094"/>
                  <a:pt x="3875" y="17062"/>
                  <a:pt x="3813" y="17062"/>
                </a:cubicBezTo>
                <a:cubicBezTo>
                  <a:pt x="3875" y="17062"/>
                  <a:pt x="3907" y="17094"/>
                  <a:pt x="3938" y="17156"/>
                </a:cubicBezTo>
                <a:cubicBezTo>
                  <a:pt x="3969" y="17156"/>
                  <a:pt x="4000" y="17156"/>
                  <a:pt x="4000" y="17156"/>
                </a:cubicBezTo>
                <a:cubicBezTo>
                  <a:pt x="4000" y="17156"/>
                  <a:pt x="3969" y="17156"/>
                  <a:pt x="3938" y="17156"/>
                </a:cubicBezTo>
                <a:close/>
                <a:moveTo>
                  <a:pt x="4407" y="17187"/>
                </a:moveTo>
                <a:cubicBezTo>
                  <a:pt x="4188" y="17312"/>
                  <a:pt x="4125" y="17250"/>
                  <a:pt x="4063" y="17062"/>
                </a:cubicBezTo>
                <a:cubicBezTo>
                  <a:pt x="4063" y="17062"/>
                  <a:pt x="4063" y="17062"/>
                  <a:pt x="4063" y="17062"/>
                </a:cubicBezTo>
                <a:cubicBezTo>
                  <a:pt x="4063" y="17062"/>
                  <a:pt x="4063" y="17031"/>
                  <a:pt x="4063" y="17031"/>
                </a:cubicBezTo>
                <a:cubicBezTo>
                  <a:pt x="4250" y="16937"/>
                  <a:pt x="4469" y="16937"/>
                  <a:pt x="4688" y="16969"/>
                </a:cubicBezTo>
                <a:cubicBezTo>
                  <a:pt x="4532" y="16937"/>
                  <a:pt x="4500" y="17125"/>
                  <a:pt x="4407" y="17187"/>
                </a:cubicBezTo>
                <a:close/>
                <a:moveTo>
                  <a:pt x="5282" y="18562"/>
                </a:moveTo>
                <a:cubicBezTo>
                  <a:pt x="5250" y="18594"/>
                  <a:pt x="5250" y="18656"/>
                  <a:pt x="5188" y="18656"/>
                </a:cubicBezTo>
                <a:cubicBezTo>
                  <a:pt x="5063" y="18656"/>
                  <a:pt x="5000" y="18562"/>
                  <a:pt x="4938" y="18469"/>
                </a:cubicBezTo>
                <a:cubicBezTo>
                  <a:pt x="5000" y="18375"/>
                  <a:pt x="5063" y="18406"/>
                  <a:pt x="5125" y="18375"/>
                </a:cubicBezTo>
                <a:cubicBezTo>
                  <a:pt x="5219" y="18406"/>
                  <a:pt x="5313" y="18406"/>
                  <a:pt x="5282" y="18562"/>
                </a:cubicBezTo>
                <a:close/>
                <a:moveTo>
                  <a:pt x="5219" y="18312"/>
                </a:moveTo>
                <a:cubicBezTo>
                  <a:pt x="5219" y="18312"/>
                  <a:pt x="5250" y="18281"/>
                  <a:pt x="5250" y="18281"/>
                </a:cubicBezTo>
                <a:cubicBezTo>
                  <a:pt x="5250" y="18281"/>
                  <a:pt x="5219" y="18312"/>
                  <a:pt x="5219" y="18312"/>
                </a:cubicBezTo>
                <a:close/>
                <a:moveTo>
                  <a:pt x="8907" y="20937"/>
                </a:moveTo>
                <a:cubicBezTo>
                  <a:pt x="8938" y="20937"/>
                  <a:pt x="8969" y="20937"/>
                  <a:pt x="9000" y="20937"/>
                </a:cubicBezTo>
                <a:cubicBezTo>
                  <a:pt x="8969" y="20969"/>
                  <a:pt x="8969" y="21000"/>
                  <a:pt x="8938" y="21000"/>
                </a:cubicBezTo>
                <a:cubicBezTo>
                  <a:pt x="8907" y="21031"/>
                  <a:pt x="8875" y="21000"/>
                  <a:pt x="8875" y="20969"/>
                </a:cubicBezTo>
                <a:cubicBezTo>
                  <a:pt x="8875" y="20969"/>
                  <a:pt x="8907" y="20937"/>
                  <a:pt x="8907" y="20937"/>
                </a:cubicBezTo>
                <a:close/>
                <a:moveTo>
                  <a:pt x="8688" y="21094"/>
                </a:moveTo>
                <a:cubicBezTo>
                  <a:pt x="8688" y="21094"/>
                  <a:pt x="8719" y="21094"/>
                  <a:pt x="8719" y="21094"/>
                </a:cubicBezTo>
                <a:cubicBezTo>
                  <a:pt x="8719" y="21094"/>
                  <a:pt x="8688" y="21125"/>
                  <a:pt x="8688" y="21125"/>
                </a:cubicBezTo>
                <a:cubicBezTo>
                  <a:pt x="8688" y="21125"/>
                  <a:pt x="8688" y="21094"/>
                  <a:pt x="8688" y="21094"/>
                </a:cubicBezTo>
                <a:close/>
                <a:moveTo>
                  <a:pt x="9063" y="21125"/>
                </a:moveTo>
                <a:cubicBezTo>
                  <a:pt x="9157" y="21094"/>
                  <a:pt x="9282" y="21031"/>
                  <a:pt x="9282" y="21219"/>
                </a:cubicBezTo>
                <a:cubicBezTo>
                  <a:pt x="9219" y="21281"/>
                  <a:pt x="9157" y="21312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9094" y="21344"/>
                  <a:pt x="9094" y="21344"/>
                  <a:pt x="9094" y="21344"/>
                </a:cubicBezTo>
                <a:cubicBezTo>
                  <a:pt x="8969" y="21375"/>
                  <a:pt x="8875" y="21531"/>
                  <a:pt x="8657" y="21406"/>
                </a:cubicBezTo>
                <a:cubicBezTo>
                  <a:pt x="8813" y="21312"/>
                  <a:pt x="8938" y="21219"/>
                  <a:pt x="9063" y="21125"/>
                </a:cubicBezTo>
                <a:close/>
                <a:moveTo>
                  <a:pt x="16375" y="23469"/>
                </a:moveTo>
                <a:cubicBezTo>
                  <a:pt x="16344" y="23437"/>
                  <a:pt x="16344" y="23406"/>
                  <a:pt x="16344" y="23375"/>
                </a:cubicBezTo>
                <a:cubicBezTo>
                  <a:pt x="16344" y="23375"/>
                  <a:pt x="16375" y="23344"/>
                  <a:pt x="16375" y="23344"/>
                </a:cubicBezTo>
                <a:cubicBezTo>
                  <a:pt x="16375" y="23375"/>
                  <a:pt x="16407" y="23406"/>
                  <a:pt x="16407" y="23437"/>
                </a:cubicBezTo>
                <a:cubicBezTo>
                  <a:pt x="16407" y="23469"/>
                  <a:pt x="16407" y="23469"/>
                  <a:pt x="16375" y="23469"/>
                </a:cubicBezTo>
                <a:close/>
                <a:moveTo>
                  <a:pt x="19594" y="24562"/>
                </a:moveTo>
                <a:cubicBezTo>
                  <a:pt x="19625" y="24562"/>
                  <a:pt x="19657" y="24531"/>
                  <a:pt x="19657" y="24531"/>
                </a:cubicBezTo>
                <a:cubicBezTo>
                  <a:pt x="19657" y="24562"/>
                  <a:pt x="19688" y="24562"/>
                  <a:pt x="19688" y="24594"/>
                </a:cubicBezTo>
                <a:cubicBezTo>
                  <a:pt x="19657" y="24594"/>
                  <a:pt x="19625" y="24625"/>
                  <a:pt x="19594" y="24625"/>
                </a:cubicBezTo>
                <a:cubicBezTo>
                  <a:pt x="19594" y="24594"/>
                  <a:pt x="19594" y="24594"/>
                  <a:pt x="19594" y="24562"/>
                </a:cubicBezTo>
                <a:close/>
                <a:moveTo>
                  <a:pt x="18469" y="23187"/>
                </a:moveTo>
                <a:cubicBezTo>
                  <a:pt x="18500" y="23156"/>
                  <a:pt x="18532" y="23125"/>
                  <a:pt x="18563" y="23187"/>
                </a:cubicBezTo>
                <a:cubicBezTo>
                  <a:pt x="18657" y="23281"/>
                  <a:pt x="18657" y="23375"/>
                  <a:pt x="18563" y="23531"/>
                </a:cubicBezTo>
                <a:cubicBezTo>
                  <a:pt x="18469" y="23406"/>
                  <a:pt x="18407" y="23312"/>
                  <a:pt x="18469" y="23187"/>
                </a:cubicBezTo>
                <a:close/>
                <a:moveTo>
                  <a:pt x="18000" y="22781"/>
                </a:moveTo>
                <a:cubicBezTo>
                  <a:pt x="18063" y="22812"/>
                  <a:pt x="18219" y="22812"/>
                  <a:pt x="18188" y="22969"/>
                </a:cubicBezTo>
                <a:cubicBezTo>
                  <a:pt x="18188" y="23031"/>
                  <a:pt x="18188" y="23125"/>
                  <a:pt x="18094" y="23125"/>
                </a:cubicBezTo>
                <a:cubicBezTo>
                  <a:pt x="17969" y="23094"/>
                  <a:pt x="17875" y="23031"/>
                  <a:pt x="17844" y="22906"/>
                </a:cubicBezTo>
                <a:cubicBezTo>
                  <a:pt x="17844" y="22844"/>
                  <a:pt x="17938" y="22719"/>
                  <a:pt x="18000" y="22781"/>
                </a:cubicBezTo>
                <a:close/>
                <a:moveTo>
                  <a:pt x="17032" y="22781"/>
                </a:moveTo>
                <a:cubicBezTo>
                  <a:pt x="17000" y="22812"/>
                  <a:pt x="16969" y="22875"/>
                  <a:pt x="16969" y="22875"/>
                </a:cubicBezTo>
                <a:cubicBezTo>
                  <a:pt x="16813" y="22812"/>
                  <a:pt x="16782" y="22687"/>
                  <a:pt x="16719" y="22562"/>
                </a:cubicBezTo>
                <a:cubicBezTo>
                  <a:pt x="16719" y="22500"/>
                  <a:pt x="16563" y="22406"/>
                  <a:pt x="16750" y="22375"/>
                </a:cubicBezTo>
                <a:cubicBezTo>
                  <a:pt x="16782" y="22344"/>
                  <a:pt x="16844" y="22312"/>
                  <a:pt x="16844" y="22344"/>
                </a:cubicBezTo>
                <a:cubicBezTo>
                  <a:pt x="16813" y="22531"/>
                  <a:pt x="16969" y="22625"/>
                  <a:pt x="17032" y="22781"/>
                </a:cubicBezTo>
                <a:close/>
                <a:moveTo>
                  <a:pt x="16188" y="21156"/>
                </a:moveTo>
                <a:cubicBezTo>
                  <a:pt x="16250" y="21062"/>
                  <a:pt x="16250" y="21125"/>
                  <a:pt x="16282" y="21187"/>
                </a:cubicBezTo>
                <a:cubicBezTo>
                  <a:pt x="16282" y="21187"/>
                  <a:pt x="16282" y="21219"/>
                  <a:pt x="16282" y="21219"/>
                </a:cubicBezTo>
                <a:cubicBezTo>
                  <a:pt x="16313" y="21344"/>
                  <a:pt x="16188" y="21500"/>
                  <a:pt x="16407" y="21562"/>
                </a:cubicBezTo>
                <a:cubicBezTo>
                  <a:pt x="16375" y="21625"/>
                  <a:pt x="16375" y="21719"/>
                  <a:pt x="16344" y="21812"/>
                </a:cubicBezTo>
                <a:cubicBezTo>
                  <a:pt x="16219" y="21781"/>
                  <a:pt x="16250" y="21625"/>
                  <a:pt x="16157" y="21625"/>
                </a:cubicBezTo>
                <a:cubicBezTo>
                  <a:pt x="16157" y="21469"/>
                  <a:pt x="16125" y="21312"/>
                  <a:pt x="16188" y="21156"/>
                </a:cubicBezTo>
                <a:close/>
                <a:moveTo>
                  <a:pt x="15563" y="20562"/>
                </a:moveTo>
                <a:cubicBezTo>
                  <a:pt x="15594" y="20469"/>
                  <a:pt x="15532" y="20312"/>
                  <a:pt x="15719" y="20312"/>
                </a:cubicBezTo>
                <a:cubicBezTo>
                  <a:pt x="15844" y="20281"/>
                  <a:pt x="15875" y="20437"/>
                  <a:pt x="15938" y="20531"/>
                </a:cubicBezTo>
                <a:cubicBezTo>
                  <a:pt x="15938" y="20531"/>
                  <a:pt x="15969" y="20562"/>
                  <a:pt x="15938" y="20594"/>
                </a:cubicBezTo>
                <a:cubicBezTo>
                  <a:pt x="15938" y="20594"/>
                  <a:pt x="15907" y="20562"/>
                  <a:pt x="15907" y="20562"/>
                </a:cubicBezTo>
                <a:cubicBezTo>
                  <a:pt x="15844" y="20562"/>
                  <a:pt x="15657" y="20437"/>
                  <a:pt x="15688" y="20594"/>
                </a:cubicBezTo>
                <a:cubicBezTo>
                  <a:pt x="15782" y="21031"/>
                  <a:pt x="15594" y="20937"/>
                  <a:pt x="15344" y="20781"/>
                </a:cubicBezTo>
                <a:cubicBezTo>
                  <a:pt x="15344" y="20781"/>
                  <a:pt x="15344" y="20750"/>
                  <a:pt x="15344" y="20750"/>
                </a:cubicBezTo>
                <a:cubicBezTo>
                  <a:pt x="15469" y="20719"/>
                  <a:pt x="15532" y="20656"/>
                  <a:pt x="15563" y="20562"/>
                </a:cubicBezTo>
                <a:close/>
                <a:moveTo>
                  <a:pt x="16188" y="13844"/>
                </a:moveTo>
                <a:cubicBezTo>
                  <a:pt x="16313" y="13750"/>
                  <a:pt x="16407" y="13687"/>
                  <a:pt x="16469" y="13875"/>
                </a:cubicBezTo>
                <a:cubicBezTo>
                  <a:pt x="16407" y="13875"/>
                  <a:pt x="16313" y="13875"/>
                  <a:pt x="16250" y="13906"/>
                </a:cubicBezTo>
                <a:cubicBezTo>
                  <a:pt x="16219" y="13906"/>
                  <a:pt x="16157" y="13969"/>
                  <a:pt x="16125" y="13906"/>
                </a:cubicBezTo>
                <a:cubicBezTo>
                  <a:pt x="16094" y="13875"/>
                  <a:pt x="16188" y="13875"/>
                  <a:pt x="16188" y="13844"/>
                </a:cubicBezTo>
                <a:close/>
                <a:moveTo>
                  <a:pt x="15407" y="13562"/>
                </a:moveTo>
                <a:cubicBezTo>
                  <a:pt x="15219" y="13687"/>
                  <a:pt x="15157" y="13750"/>
                  <a:pt x="15094" y="13750"/>
                </a:cubicBezTo>
                <a:cubicBezTo>
                  <a:pt x="15157" y="13750"/>
                  <a:pt x="15219" y="13687"/>
                  <a:pt x="15407" y="13562"/>
                </a:cubicBezTo>
                <a:cubicBezTo>
                  <a:pt x="15407" y="13562"/>
                  <a:pt x="15407" y="13562"/>
                  <a:pt x="15407" y="13562"/>
                </a:cubicBezTo>
                <a:close/>
                <a:moveTo>
                  <a:pt x="14750" y="14375"/>
                </a:moveTo>
                <a:cubicBezTo>
                  <a:pt x="14750" y="14375"/>
                  <a:pt x="14750" y="14375"/>
                  <a:pt x="14750" y="14375"/>
                </a:cubicBezTo>
                <a:cubicBezTo>
                  <a:pt x="14750" y="14375"/>
                  <a:pt x="14750" y="14375"/>
                  <a:pt x="14750" y="14375"/>
                </a:cubicBezTo>
                <a:close/>
                <a:moveTo>
                  <a:pt x="14907" y="15937"/>
                </a:moveTo>
                <a:cubicBezTo>
                  <a:pt x="14844" y="15937"/>
                  <a:pt x="14813" y="15937"/>
                  <a:pt x="14782" y="15937"/>
                </a:cubicBezTo>
                <a:cubicBezTo>
                  <a:pt x="14750" y="16000"/>
                  <a:pt x="14719" y="15969"/>
                  <a:pt x="14688" y="15937"/>
                </a:cubicBezTo>
                <a:cubicBezTo>
                  <a:pt x="14719" y="15937"/>
                  <a:pt x="14750" y="15937"/>
                  <a:pt x="14782" y="15937"/>
                </a:cubicBezTo>
                <a:cubicBezTo>
                  <a:pt x="14750" y="15844"/>
                  <a:pt x="14875" y="15812"/>
                  <a:pt x="14875" y="15750"/>
                </a:cubicBezTo>
                <a:cubicBezTo>
                  <a:pt x="14969" y="15687"/>
                  <a:pt x="14969" y="15594"/>
                  <a:pt x="15000" y="15531"/>
                </a:cubicBezTo>
                <a:cubicBezTo>
                  <a:pt x="15032" y="15844"/>
                  <a:pt x="15032" y="15844"/>
                  <a:pt x="14907" y="15937"/>
                </a:cubicBezTo>
                <a:close/>
                <a:moveTo>
                  <a:pt x="17313" y="16500"/>
                </a:moveTo>
                <a:cubicBezTo>
                  <a:pt x="17313" y="16469"/>
                  <a:pt x="17313" y="16469"/>
                  <a:pt x="17282" y="16437"/>
                </a:cubicBezTo>
                <a:cubicBezTo>
                  <a:pt x="17313" y="16469"/>
                  <a:pt x="17313" y="16469"/>
                  <a:pt x="17313" y="16500"/>
                </a:cubicBezTo>
                <a:close/>
                <a:moveTo>
                  <a:pt x="17125" y="16125"/>
                </a:moveTo>
                <a:cubicBezTo>
                  <a:pt x="17157" y="16062"/>
                  <a:pt x="17219" y="15906"/>
                  <a:pt x="17344" y="16062"/>
                </a:cubicBezTo>
                <a:cubicBezTo>
                  <a:pt x="17313" y="16125"/>
                  <a:pt x="17188" y="16125"/>
                  <a:pt x="17282" y="16219"/>
                </a:cubicBezTo>
                <a:cubicBezTo>
                  <a:pt x="17282" y="16281"/>
                  <a:pt x="17282" y="16344"/>
                  <a:pt x="17282" y="16375"/>
                </a:cubicBezTo>
                <a:cubicBezTo>
                  <a:pt x="17282" y="16406"/>
                  <a:pt x="17282" y="16406"/>
                  <a:pt x="17282" y="16437"/>
                </a:cubicBezTo>
                <a:cubicBezTo>
                  <a:pt x="17282" y="16406"/>
                  <a:pt x="17282" y="16406"/>
                  <a:pt x="17282" y="16375"/>
                </a:cubicBezTo>
                <a:cubicBezTo>
                  <a:pt x="17250" y="16375"/>
                  <a:pt x="17250" y="16375"/>
                  <a:pt x="17250" y="16375"/>
                </a:cubicBezTo>
                <a:cubicBezTo>
                  <a:pt x="17219" y="16406"/>
                  <a:pt x="17219" y="16406"/>
                  <a:pt x="17219" y="16406"/>
                </a:cubicBezTo>
                <a:cubicBezTo>
                  <a:pt x="17188" y="16500"/>
                  <a:pt x="17188" y="16562"/>
                  <a:pt x="17157" y="16594"/>
                </a:cubicBezTo>
                <a:cubicBezTo>
                  <a:pt x="17188" y="16562"/>
                  <a:pt x="17188" y="16500"/>
                  <a:pt x="17219" y="16406"/>
                </a:cubicBezTo>
                <a:cubicBezTo>
                  <a:pt x="17188" y="16406"/>
                  <a:pt x="17125" y="16406"/>
                  <a:pt x="17094" y="16406"/>
                </a:cubicBezTo>
                <a:cubicBezTo>
                  <a:pt x="16813" y="16406"/>
                  <a:pt x="16813" y="16406"/>
                  <a:pt x="16844" y="16281"/>
                </a:cubicBezTo>
                <a:cubicBezTo>
                  <a:pt x="16844" y="16219"/>
                  <a:pt x="16844" y="16156"/>
                  <a:pt x="16844" y="16094"/>
                </a:cubicBezTo>
                <a:cubicBezTo>
                  <a:pt x="16844" y="16094"/>
                  <a:pt x="16844" y="16094"/>
                  <a:pt x="16844" y="16094"/>
                </a:cubicBezTo>
                <a:cubicBezTo>
                  <a:pt x="16844" y="16156"/>
                  <a:pt x="16844" y="16219"/>
                  <a:pt x="16844" y="16281"/>
                </a:cubicBezTo>
                <a:cubicBezTo>
                  <a:pt x="17000" y="16312"/>
                  <a:pt x="17063" y="16219"/>
                  <a:pt x="17125" y="16125"/>
                </a:cubicBezTo>
                <a:close/>
                <a:moveTo>
                  <a:pt x="16938" y="15906"/>
                </a:moveTo>
                <a:cubicBezTo>
                  <a:pt x="16938" y="15906"/>
                  <a:pt x="16938" y="15906"/>
                  <a:pt x="16938" y="15906"/>
                </a:cubicBezTo>
                <a:cubicBezTo>
                  <a:pt x="16907" y="15906"/>
                  <a:pt x="16907" y="15906"/>
                  <a:pt x="16907" y="15906"/>
                </a:cubicBezTo>
                <a:cubicBezTo>
                  <a:pt x="16907" y="15906"/>
                  <a:pt x="16907" y="15906"/>
                  <a:pt x="16938" y="15906"/>
                </a:cubicBezTo>
                <a:close/>
                <a:moveTo>
                  <a:pt x="16844" y="16062"/>
                </a:moveTo>
                <a:cubicBezTo>
                  <a:pt x="16844" y="16062"/>
                  <a:pt x="16844" y="16062"/>
                  <a:pt x="16844" y="16062"/>
                </a:cubicBezTo>
                <a:cubicBezTo>
                  <a:pt x="16844" y="16062"/>
                  <a:pt x="16813" y="16062"/>
                  <a:pt x="16813" y="16062"/>
                </a:cubicBezTo>
                <a:cubicBezTo>
                  <a:pt x="16813" y="16062"/>
                  <a:pt x="16844" y="16062"/>
                  <a:pt x="16844" y="16062"/>
                </a:cubicBezTo>
                <a:close/>
                <a:moveTo>
                  <a:pt x="16719" y="15187"/>
                </a:moveTo>
                <a:cubicBezTo>
                  <a:pt x="16750" y="15187"/>
                  <a:pt x="16782" y="15187"/>
                  <a:pt x="16782" y="15187"/>
                </a:cubicBezTo>
                <a:cubicBezTo>
                  <a:pt x="16782" y="15187"/>
                  <a:pt x="16750" y="15187"/>
                  <a:pt x="16719" y="15187"/>
                </a:cubicBezTo>
                <a:cubicBezTo>
                  <a:pt x="16719" y="15187"/>
                  <a:pt x="16719" y="15187"/>
                  <a:pt x="16719" y="15187"/>
                </a:cubicBezTo>
                <a:close/>
                <a:moveTo>
                  <a:pt x="16719" y="15187"/>
                </a:moveTo>
                <a:cubicBezTo>
                  <a:pt x="16719" y="15187"/>
                  <a:pt x="16719" y="15187"/>
                  <a:pt x="16719" y="15187"/>
                </a:cubicBezTo>
                <a:cubicBezTo>
                  <a:pt x="16688" y="15219"/>
                  <a:pt x="16657" y="15219"/>
                  <a:pt x="16625" y="15250"/>
                </a:cubicBezTo>
                <a:cubicBezTo>
                  <a:pt x="16657" y="15219"/>
                  <a:pt x="16688" y="15219"/>
                  <a:pt x="16719" y="15187"/>
                </a:cubicBezTo>
                <a:close/>
                <a:moveTo>
                  <a:pt x="16000" y="15125"/>
                </a:moveTo>
                <a:cubicBezTo>
                  <a:pt x="15938" y="15250"/>
                  <a:pt x="15813" y="15250"/>
                  <a:pt x="15719" y="15312"/>
                </a:cubicBezTo>
                <a:cubicBezTo>
                  <a:pt x="15719" y="15125"/>
                  <a:pt x="15813" y="15062"/>
                  <a:pt x="16000" y="15125"/>
                </a:cubicBezTo>
                <a:close/>
                <a:moveTo>
                  <a:pt x="7782" y="19156"/>
                </a:moveTo>
                <a:cubicBezTo>
                  <a:pt x="7782" y="19000"/>
                  <a:pt x="7907" y="19031"/>
                  <a:pt x="8000" y="19031"/>
                </a:cubicBezTo>
                <a:cubicBezTo>
                  <a:pt x="7969" y="19125"/>
                  <a:pt x="7875" y="19187"/>
                  <a:pt x="7782" y="19156"/>
                </a:cubicBezTo>
                <a:close/>
                <a:moveTo>
                  <a:pt x="7969" y="18844"/>
                </a:moveTo>
                <a:cubicBezTo>
                  <a:pt x="7938" y="18844"/>
                  <a:pt x="7938" y="18844"/>
                  <a:pt x="7907" y="18844"/>
                </a:cubicBezTo>
                <a:cubicBezTo>
                  <a:pt x="7907" y="18844"/>
                  <a:pt x="7907" y="18844"/>
                  <a:pt x="7907" y="18844"/>
                </a:cubicBezTo>
                <a:cubicBezTo>
                  <a:pt x="7938" y="18844"/>
                  <a:pt x="7938" y="18844"/>
                  <a:pt x="7969" y="18844"/>
                </a:cubicBezTo>
                <a:close/>
                <a:moveTo>
                  <a:pt x="7969" y="18625"/>
                </a:moveTo>
                <a:cubicBezTo>
                  <a:pt x="7969" y="18625"/>
                  <a:pt x="7969" y="18625"/>
                  <a:pt x="7969" y="18625"/>
                </a:cubicBezTo>
                <a:cubicBezTo>
                  <a:pt x="7907" y="18625"/>
                  <a:pt x="7844" y="18656"/>
                  <a:pt x="7782" y="18656"/>
                </a:cubicBezTo>
                <a:cubicBezTo>
                  <a:pt x="7782" y="18437"/>
                  <a:pt x="7875" y="18531"/>
                  <a:pt x="7969" y="18594"/>
                </a:cubicBezTo>
                <a:cubicBezTo>
                  <a:pt x="7969" y="18594"/>
                  <a:pt x="7969" y="18625"/>
                  <a:pt x="7969" y="18625"/>
                </a:cubicBezTo>
                <a:close/>
                <a:moveTo>
                  <a:pt x="6844" y="18187"/>
                </a:moveTo>
                <a:cubicBezTo>
                  <a:pt x="6750" y="17781"/>
                  <a:pt x="7063" y="17906"/>
                  <a:pt x="7250" y="17844"/>
                </a:cubicBezTo>
                <a:cubicBezTo>
                  <a:pt x="7250" y="17844"/>
                  <a:pt x="7282" y="17844"/>
                  <a:pt x="7282" y="17875"/>
                </a:cubicBezTo>
                <a:cubicBezTo>
                  <a:pt x="7282" y="17844"/>
                  <a:pt x="7250" y="17844"/>
                  <a:pt x="7250" y="17844"/>
                </a:cubicBezTo>
                <a:cubicBezTo>
                  <a:pt x="7125" y="17969"/>
                  <a:pt x="7000" y="18094"/>
                  <a:pt x="6844" y="18187"/>
                </a:cubicBezTo>
                <a:close/>
                <a:moveTo>
                  <a:pt x="6250" y="17437"/>
                </a:moveTo>
                <a:cubicBezTo>
                  <a:pt x="6250" y="17437"/>
                  <a:pt x="6250" y="17437"/>
                  <a:pt x="6250" y="17437"/>
                </a:cubicBezTo>
                <a:cubicBezTo>
                  <a:pt x="6219" y="17437"/>
                  <a:pt x="6219" y="17437"/>
                  <a:pt x="6219" y="17437"/>
                </a:cubicBezTo>
                <a:lnTo>
                  <a:pt x="6250" y="17437"/>
                </a:lnTo>
                <a:close/>
                <a:moveTo>
                  <a:pt x="6407" y="16094"/>
                </a:moveTo>
                <a:cubicBezTo>
                  <a:pt x="6375" y="16156"/>
                  <a:pt x="6313" y="16156"/>
                  <a:pt x="6282" y="16125"/>
                </a:cubicBezTo>
                <a:cubicBezTo>
                  <a:pt x="6250" y="16094"/>
                  <a:pt x="6313" y="16094"/>
                  <a:pt x="6344" y="16062"/>
                </a:cubicBezTo>
                <a:cubicBezTo>
                  <a:pt x="6344" y="16094"/>
                  <a:pt x="6375" y="16094"/>
                  <a:pt x="6407" y="16094"/>
                </a:cubicBezTo>
                <a:close/>
                <a:moveTo>
                  <a:pt x="7282" y="17344"/>
                </a:moveTo>
                <a:cubicBezTo>
                  <a:pt x="7282" y="17344"/>
                  <a:pt x="7282" y="17344"/>
                  <a:pt x="7282" y="17344"/>
                </a:cubicBezTo>
                <a:cubicBezTo>
                  <a:pt x="7282" y="17406"/>
                  <a:pt x="7282" y="17469"/>
                  <a:pt x="7313" y="17531"/>
                </a:cubicBezTo>
                <a:cubicBezTo>
                  <a:pt x="7282" y="17469"/>
                  <a:pt x="7282" y="17406"/>
                  <a:pt x="7282" y="17344"/>
                </a:cubicBezTo>
                <a:close/>
                <a:moveTo>
                  <a:pt x="7344" y="17125"/>
                </a:moveTo>
                <a:cubicBezTo>
                  <a:pt x="7344" y="17125"/>
                  <a:pt x="7344" y="17125"/>
                  <a:pt x="7344" y="17125"/>
                </a:cubicBezTo>
                <a:cubicBezTo>
                  <a:pt x="7344" y="17094"/>
                  <a:pt x="7313" y="17062"/>
                  <a:pt x="7282" y="17031"/>
                </a:cubicBezTo>
                <a:cubicBezTo>
                  <a:pt x="7282" y="17000"/>
                  <a:pt x="7282" y="17000"/>
                  <a:pt x="7282" y="17000"/>
                </a:cubicBezTo>
                <a:cubicBezTo>
                  <a:pt x="7282" y="17000"/>
                  <a:pt x="7282" y="17000"/>
                  <a:pt x="7282" y="17031"/>
                </a:cubicBezTo>
                <a:cubicBezTo>
                  <a:pt x="7282" y="16937"/>
                  <a:pt x="7344" y="16906"/>
                  <a:pt x="7407" y="16906"/>
                </a:cubicBezTo>
                <a:cubicBezTo>
                  <a:pt x="7438" y="16937"/>
                  <a:pt x="7469" y="17000"/>
                  <a:pt x="7469" y="17031"/>
                </a:cubicBezTo>
                <a:cubicBezTo>
                  <a:pt x="7438" y="17062"/>
                  <a:pt x="7407" y="17094"/>
                  <a:pt x="7344" y="17125"/>
                </a:cubicBezTo>
                <a:close/>
                <a:moveTo>
                  <a:pt x="7407" y="16844"/>
                </a:moveTo>
                <a:cubicBezTo>
                  <a:pt x="7438" y="16844"/>
                  <a:pt x="7469" y="16844"/>
                  <a:pt x="7500" y="16844"/>
                </a:cubicBezTo>
                <a:cubicBezTo>
                  <a:pt x="7469" y="16844"/>
                  <a:pt x="7438" y="16844"/>
                  <a:pt x="7407" y="16844"/>
                </a:cubicBezTo>
                <a:close/>
                <a:moveTo>
                  <a:pt x="7563" y="15656"/>
                </a:moveTo>
                <a:cubicBezTo>
                  <a:pt x="7594" y="15687"/>
                  <a:pt x="7625" y="15687"/>
                  <a:pt x="7688" y="15719"/>
                </a:cubicBezTo>
                <a:cubicBezTo>
                  <a:pt x="7625" y="15687"/>
                  <a:pt x="7594" y="15687"/>
                  <a:pt x="7563" y="15656"/>
                </a:cubicBezTo>
                <a:close/>
                <a:moveTo>
                  <a:pt x="7532" y="15625"/>
                </a:moveTo>
                <a:cubicBezTo>
                  <a:pt x="7532" y="15625"/>
                  <a:pt x="7532" y="15625"/>
                  <a:pt x="7532" y="15625"/>
                </a:cubicBezTo>
                <a:cubicBezTo>
                  <a:pt x="7532" y="15625"/>
                  <a:pt x="7500" y="15625"/>
                  <a:pt x="7469" y="15625"/>
                </a:cubicBezTo>
                <a:cubicBezTo>
                  <a:pt x="7469" y="15687"/>
                  <a:pt x="7469" y="15719"/>
                  <a:pt x="7469" y="15750"/>
                </a:cubicBezTo>
                <a:cubicBezTo>
                  <a:pt x="7469" y="15750"/>
                  <a:pt x="7469" y="15750"/>
                  <a:pt x="7469" y="15750"/>
                </a:cubicBezTo>
                <a:cubicBezTo>
                  <a:pt x="7407" y="15719"/>
                  <a:pt x="7344" y="15719"/>
                  <a:pt x="7250" y="15719"/>
                </a:cubicBezTo>
                <a:cubicBezTo>
                  <a:pt x="7188" y="15719"/>
                  <a:pt x="7094" y="15750"/>
                  <a:pt x="7094" y="15656"/>
                </a:cubicBezTo>
                <a:cubicBezTo>
                  <a:pt x="7094" y="15531"/>
                  <a:pt x="7219" y="15594"/>
                  <a:pt x="7282" y="15594"/>
                </a:cubicBezTo>
                <a:cubicBezTo>
                  <a:pt x="7344" y="15656"/>
                  <a:pt x="7407" y="15625"/>
                  <a:pt x="7469" y="15625"/>
                </a:cubicBezTo>
                <a:cubicBezTo>
                  <a:pt x="7500" y="15625"/>
                  <a:pt x="7532" y="15625"/>
                  <a:pt x="7532" y="15625"/>
                </a:cubicBezTo>
                <a:close/>
                <a:moveTo>
                  <a:pt x="7500" y="15781"/>
                </a:moveTo>
                <a:cubicBezTo>
                  <a:pt x="7500" y="15781"/>
                  <a:pt x="7500" y="15750"/>
                  <a:pt x="7469" y="15750"/>
                </a:cubicBezTo>
                <a:cubicBezTo>
                  <a:pt x="7500" y="15750"/>
                  <a:pt x="7500" y="15781"/>
                  <a:pt x="7500" y="15781"/>
                </a:cubicBezTo>
                <a:close/>
                <a:moveTo>
                  <a:pt x="7344" y="17906"/>
                </a:moveTo>
                <a:cubicBezTo>
                  <a:pt x="7344" y="17875"/>
                  <a:pt x="7344" y="17875"/>
                  <a:pt x="7313" y="17875"/>
                </a:cubicBezTo>
                <a:cubicBezTo>
                  <a:pt x="7344" y="17875"/>
                  <a:pt x="7344" y="17875"/>
                  <a:pt x="7344" y="17906"/>
                </a:cubicBezTo>
                <a:close/>
                <a:moveTo>
                  <a:pt x="7407" y="17906"/>
                </a:moveTo>
                <a:cubicBezTo>
                  <a:pt x="7407" y="17906"/>
                  <a:pt x="7438" y="17937"/>
                  <a:pt x="7469" y="17937"/>
                </a:cubicBezTo>
                <a:cubicBezTo>
                  <a:pt x="7438" y="17937"/>
                  <a:pt x="7407" y="17906"/>
                  <a:pt x="7407" y="17906"/>
                </a:cubicBezTo>
                <a:close/>
                <a:moveTo>
                  <a:pt x="7563" y="15844"/>
                </a:moveTo>
                <a:cubicBezTo>
                  <a:pt x="7594" y="15844"/>
                  <a:pt x="7594" y="15844"/>
                  <a:pt x="7625" y="15812"/>
                </a:cubicBezTo>
                <a:cubicBezTo>
                  <a:pt x="7594" y="15844"/>
                  <a:pt x="7594" y="15844"/>
                  <a:pt x="7563" y="15844"/>
                </a:cubicBezTo>
                <a:close/>
                <a:moveTo>
                  <a:pt x="7688" y="15719"/>
                </a:moveTo>
                <a:cubicBezTo>
                  <a:pt x="7719" y="15719"/>
                  <a:pt x="7719" y="15719"/>
                  <a:pt x="7750" y="15750"/>
                </a:cubicBezTo>
                <a:cubicBezTo>
                  <a:pt x="7719" y="15719"/>
                  <a:pt x="7719" y="15719"/>
                  <a:pt x="7688" y="15719"/>
                </a:cubicBezTo>
                <a:close/>
                <a:moveTo>
                  <a:pt x="7532" y="15312"/>
                </a:moveTo>
                <a:cubicBezTo>
                  <a:pt x="7469" y="15406"/>
                  <a:pt x="7375" y="15500"/>
                  <a:pt x="7282" y="15562"/>
                </a:cubicBezTo>
                <a:cubicBezTo>
                  <a:pt x="7282" y="15562"/>
                  <a:pt x="7282" y="15562"/>
                  <a:pt x="7282" y="15562"/>
                </a:cubicBezTo>
                <a:cubicBezTo>
                  <a:pt x="7375" y="15500"/>
                  <a:pt x="7469" y="15406"/>
                  <a:pt x="7532" y="15312"/>
                </a:cubicBezTo>
                <a:cubicBezTo>
                  <a:pt x="7594" y="15281"/>
                  <a:pt x="7625" y="15250"/>
                  <a:pt x="7688" y="15219"/>
                </a:cubicBezTo>
                <a:cubicBezTo>
                  <a:pt x="7625" y="15250"/>
                  <a:pt x="7594" y="15281"/>
                  <a:pt x="7532" y="15312"/>
                </a:cubicBezTo>
                <a:close/>
                <a:moveTo>
                  <a:pt x="6563" y="15375"/>
                </a:moveTo>
                <a:cubicBezTo>
                  <a:pt x="6625" y="15375"/>
                  <a:pt x="6719" y="15375"/>
                  <a:pt x="6750" y="15375"/>
                </a:cubicBezTo>
                <a:cubicBezTo>
                  <a:pt x="6719" y="15375"/>
                  <a:pt x="6625" y="15375"/>
                  <a:pt x="6563" y="15375"/>
                </a:cubicBezTo>
                <a:cubicBezTo>
                  <a:pt x="6563" y="15375"/>
                  <a:pt x="6563" y="15375"/>
                  <a:pt x="6563" y="15375"/>
                </a:cubicBezTo>
                <a:close/>
                <a:moveTo>
                  <a:pt x="7532" y="18656"/>
                </a:moveTo>
                <a:cubicBezTo>
                  <a:pt x="7500" y="18625"/>
                  <a:pt x="7500" y="18594"/>
                  <a:pt x="7500" y="18562"/>
                </a:cubicBezTo>
                <a:cubicBezTo>
                  <a:pt x="7500" y="18562"/>
                  <a:pt x="7500" y="18562"/>
                  <a:pt x="7500" y="18562"/>
                </a:cubicBezTo>
                <a:cubicBezTo>
                  <a:pt x="7532" y="18594"/>
                  <a:pt x="7563" y="18594"/>
                  <a:pt x="7532" y="18656"/>
                </a:cubicBezTo>
                <a:close/>
                <a:moveTo>
                  <a:pt x="8000" y="18406"/>
                </a:moveTo>
                <a:cubicBezTo>
                  <a:pt x="8063" y="18406"/>
                  <a:pt x="8125" y="18375"/>
                  <a:pt x="8157" y="18469"/>
                </a:cubicBezTo>
                <a:cubicBezTo>
                  <a:pt x="8094" y="18469"/>
                  <a:pt x="8032" y="18500"/>
                  <a:pt x="8000" y="18406"/>
                </a:cubicBezTo>
                <a:close/>
                <a:moveTo>
                  <a:pt x="9532" y="16844"/>
                </a:moveTo>
                <a:cubicBezTo>
                  <a:pt x="9532" y="16844"/>
                  <a:pt x="9532" y="16812"/>
                  <a:pt x="9532" y="16812"/>
                </a:cubicBezTo>
                <a:cubicBezTo>
                  <a:pt x="9594" y="16750"/>
                  <a:pt x="9657" y="16781"/>
                  <a:pt x="9688" y="16844"/>
                </a:cubicBezTo>
                <a:cubicBezTo>
                  <a:pt x="9688" y="16844"/>
                  <a:pt x="9688" y="16844"/>
                  <a:pt x="9688" y="16844"/>
                </a:cubicBezTo>
                <a:cubicBezTo>
                  <a:pt x="9625" y="16812"/>
                  <a:pt x="9594" y="16906"/>
                  <a:pt x="9532" y="16844"/>
                </a:cubicBezTo>
                <a:close/>
                <a:moveTo>
                  <a:pt x="8938" y="16875"/>
                </a:moveTo>
                <a:cubicBezTo>
                  <a:pt x="8938" y="16875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44"/>
                  <a:pt x="8938" y="16844"/>
                </a:cubicBezTo>
                <a:cubicBezTo>
                  <a:pt x="8938" y="16844"/>
                  <a:pt x="8938" y="16875"/>
                  <a:pt x="8938" y="16875"/>
                </a:cubicBezTo>
                <a:close/>
                <a:moveTo>
                  <a:pt x="9532" y="15875"/>
                </a:moveTo>
                <a:cubicBezTo>
                  <a:pt x="9532" y="15875"/>
                  <a:pt x="9500" y="15875"/>
                  <a:pt x="9500" y="15875"/>
                </a:cubicBezTo>
                <a:cubicBezTo>
                  <a:pt x="9500" y="15875"/>
                  <a:pt x="9532" y="15875"/>
                  <a:pt x="9532" y="15875"/>
                </a:cubicBezTo>
                <a:close/>
                <a:moveTo>
                  <a:pt x="10250" y="15937"/>
                </a:moveTo>
                <a:cubicBezTo>
                  <a:pt x="10250" y="15937"/>
                  <a:pt x="10250" y="15937"/>
                  <a:pt x="10250" y="15937"/>
                </a:cubicBezTo>
                <a:cubicBezTo>
                  <a:pt x="10250" y="15969"/>
                  <a:pt x="10250" y="15969"/>
                  <a:pt x="10250" y="15969"/>
                </a:cubicBezTo>
                <a:cubicBezTo>
                  <a:pt x="10250" y="15969"/>
                  <a:pt x="10250" y="15969"/>
                  <a:pt x="10250" y="15937"/>
                </a:cubicBezTo>
                <a:close/>
                <a:moveTo>
                  <a:pt x="10219" y="16156"/>
                </a:moveTo>
                <a:cubicBezTo>
                  <a:pt x="10219" y="16156"/>
                  <a:pt x="10219" y="16125"/>
                  <a:pt x="10219" y="16125"/>
                </a:cubicBezTo>
                <a:cubicBezTo>
                  <a:pt x="10219" y="16125"/>
                  <a:pt x="10219" y="16156"/>
                  <a:pt x="10219" y="16156"/>
                </a:cubicBezTo>
                <a:close/>
                <a:moveTo>
                  <a:pt x="10313" y="15906"/>
                </a:moveTo>
                <a:cubicBezTo>
                  <a:pt x="10313" y="15906"/>
                  <a:pt x="10313" y="15906"/>
                  <a:pt x="10313" y="15906"/>
                </a:cubicBezTo>
                <a:cubicBezTo>
                  <a:pt x="10313" y="15875"/>
                  <a:pt x="10344" y="15875"/>
                  <a:pt x="10375" y="15875"/>
                </a:cubicBezTo>
                <a:cubicBezTo>
                  <a:pt x="10344" y="15875"/>
                  <a:pt x="10313" y="15875"/>
                  <a:pt x="10313" y="15906"/>
                </a:cubicBezTo>
                <a:close/>
                <a:moveTo>
                  <a:pt x="10469" y="15844"/>
                </a:moveTo>
                <a:cubicBezTo>
                  <a:pt x="10438" y="15875"/>
                  <a:pt x="10438" y="15875"/>
                  <a:pt x="10407" y="15875"/>
                </a:cubicBezTo>
                <a:cubicBezTo>
                  <a:pt x="10438" y="15875"/>
                  <a:pt x="10438" y="15875"/>
                  <a:pt x="10469" y="15844"/>
                </a:cubicBezTo>
                <a:close/>
                <a:moveTo>
                  <a:pt x="10407" y="15875"/>
                </a:moveTo>
                <a:cubicBezTo>
                  <a:pt x="10407" y="15875"/>
                  <a:pt x="10375" y="15875"/>
                  <a:pt x="10375" y="15875"/>
                </a:cubicBezTo>
                <a:cubicBezTo>
                  <a:pt x="10375" y="15875"/>
                  <a:pt x="10407" y="15875"/>
                  <a:pt x="10407" y="15875"/>
                </a:cubicBezTo>
                <a:close/>
                <a:moveTo>
                  <a:pt x="10063" y="16250"/>
                </a:moveTo>
                <a:cubicBezTo>
                  <a:pt x="10063" y="16281"/>
                  <a:pt x="10063" y="16281"/>
                  <a:pt x="10032" y="16281"/>
                </a:cubicBezTo>
                <a:cubicBezTo>
                  <a:pt x="10063" y="16281"/>
                  <a:pt x="10063" y="16281"/>
                  <a:pt x="10063" y="16250"/>
                </a:cubicBezTo>
                <a:close/>
                <a:moveTo>
                  <a:pt x="10250" y="16219"/>
                </a:moveTo>
                <a:cubicBezTo>
                  <a:pt x="10250" y="16219"/>
                  <a:pt x="10250" y="16219"/>
                  <a:pt x="10250" y="16219"/>
                </a:cubicBezTo>
                <a:cubicBezTo>
                  <a:pt x="10219" y="16187"/>
                  <a:pt x="10188" y="16187"/>
                  <a:pt x="10157" y="16187"/>
                </a:cubicBezTo>
                <a:cubicBezTo>
                  <a:pt x="10188" y="16187"/>
                  <a:pt x="10219" y="16187"/>
                  <a:pt x="10250" y="16219"/>
                </a:cubicBezTo>
                <a:close/>
                <a:moveTo>
                  <a:pt x="10532" y="15812"/>
                </a:moveTo>
                <a:cubicBezTo>
                  <a:pt x="10563" y="15812"/>
                  <a:pt x="10594" y="15781"/>
                  <a:pt x="10594" y="15781"/>
                </a:cubicBezTo>
                <a:cubicBezTo>
                  <a:pt x="10594" y="15781"/>
                  <a:pt x="10563" y="15812"/>
                  <a:pt x="10532" y="15812"/>
                </a:cubicBezTo>
                <a:close/>
                <a:moveTo>
                  <a:pt x="10469" y="15406"/>
                </a:moveTo>
                <a:cubicBezTo>
                  <a:pt x="10438" y="15406"/>
                  <a:pt x="10438" y="15437"/>
                  <a:pt x="10469" y="15469"/>
                </a:cubicBezTo>
                <a:cubicBezTo>
                  <a:pt x="10438" y="15437"/>
                  <a:pt x="10438" y="15406"/>
                  <a:pt x="10469" y="15406"/>
                </a:cubicBezTo>
                <a:cubicBezTo>
                  <a:pt x="10469" y="15406"/>
                  <a:pt x="10500" y="15406"/>
                  <a:pt x="10500" y="15406"/>
                </a:cubicBezTo>
                <a:cubicBezTo>
                  <a:pt x="10500" y="15406"/>
                  <a:pt x="10469" y="15406"/>
                  <a:pt x="10469" y="15406"/>
                </a:cubicBezTo>
                <a:close/>
                <a:moveTo>
                  <a:pt x="8782" y="17094"/>
                </a:moveTo>
                <a:cubicBezTo>
                  <a:pt x="9063" y="17156"/>
                  <a:pt x="9313" y="17125"/>
                  <a:pt x="9594" y="17031"/>
                </a:cubicBezTo>
                <a:cubicBezTo>
                  <a:pt x="9594" y="17031"/>
                  <a:pt x="9594" y="17031"/>
                  <a:pt x="9594" y="17031"/>
                </a:cubicBezTo>
                <a:cubicBezTo>
                  <a:pt x="9625" y="17125"/>
                  <a:pt x="9469" y="17156"/>
                  <a:pt x="9532" y="17250"/>
                </a:cubicBezTo>
                <a:cubicBezTo>
                  <a:pt x="9469" y="17250"/>
                  <a:pt x="9469" y="17312"/>
                  <a:pt x="9469" y="17344"/>
                </a:cubicBezTo>
                <a:cubicBezTo>
                  <a:pt x="9500" y="17312"/>
                  <a:pt x="9532" y="17281"/>
                  <a:pt x="9532" y="17281"/>
                </a:cubicBezTo>
                <a:cubicBezTo>
                  <a:pt x="9532" y="17281"/>
                  <a:pt x="9532" y="17281"/>
                  <a:pt x="9532" y="17281"/>
                </a:cubicBezTo>
                <a:cubicBezTo>
                  <a:pt x="9532" y="17281"/>
                  <a:pt x="9500" y="17312"/>
                  <a:pt x="9469" y="17344"/>
                </a:cubicBezTo>
                <a:cubicBezTo>
                  <a:pt x="9375" y="17312"/>
                  <a:pt x="9344" y="17344"/>
                  <a:pt x="9282" y="17406"/>
                </a:cubicBezTo>
                <a:cubicBezTo>
                  <a:pt x="9250" y="17531"/>
                  <a:pt x="9157" y="17469"/>
                  <a:pt x="9125" y="17406"/>
                </a:cubicBezTo>
                <a:cubicBezTo>
                  <a:pt x="9063" y="17312"/>
                  <a:pt x="9063" y="17344"/>
                  <a:pt x="8969" y="17312"/>
                </a:cubicBezTo>
                <a:cubicBezTo>
                  <a:pt x="8844" y="17281"/>
                  <a:pt x="8750" y="17219"/>
                  <a:pt x="8594" y="17281"/>
                </a:cubicBezTo>
                <a:cubicBezTo>
                  <a:pt x="8532" y="17094"/>
                  <a:pt x="8750" y="17187"/>
                  <a:pt x="8782" y="17094"/>
                </a:cubicBezTo>
                <a:close/>
                <a:moveTo>
                  <a:pt x="9313" y="18125"/>
                </a:moveTo>
                <a:cubicBezTo>
                  <a:pt x="9313" y="18125"/>
                  <a:pt x="9313" y="18156"/>
                  <a:pt x="9313" y="18156"/>
                </a:cubicBezTo>
                <a:cubicBezTo>
                  <a:pt x="9313" y="18156"/>
                  <a:pt x="9313" y="18156"/>
                  <a:pt x="9313" y="18156"/>
                </a:cubicBezTo>
                <a:cubicBezTo>
                  <a:pt x="9313" y="18156"/>
                  <a:pt x="9313" y="18125"/>
                  <a:pt x="9313" y="18125"/>
                </a:cubicBezTo>
                <a:close/>
                <a:moveTo>
                  <a:pt x="10188" y="17281"/>
                </a:moveTo>
                <a:cubicBezTo>
                  <a:pt x="10188" y="17312"/>
                  <a:pt x="10157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75"/>
                  <a:pt x="10125" y="17375"/>
                  <a:pt x="10125" y="17406"/>
                </a:cubicBezTo>
                <a:cubicBezTo>
                  <a:pt x="10063" y="17406"/>
                  <a:pt x="9969" y="17437"/>
                  <a:pt x="9875" y="17469"/>
                </a:cubicBezTo>
                <a:cubicBezTo>
                  <a:pt x="9938" y="17344"/>
                  <a:pt x="10032" y="17312"/>
                  <a:pt x="10125" y="17344"/>
                </a:cubicBezTo>
                <a:lnTo>
                  <a:pt x="10125" y="17344"/>
                </a:lnTo>
                <a:cubicBezTo>
                  <a:pt x="10125" y="17344"/>
                  <a:pt x="10125" y="17344"/>
                  <a:pt x="10125" y="17344"/>
                </a:cubicBezTo>
                <a:cubicBezTo>
                  <a:pt x="10125" y="17281"/>
                  <a:pt x="10157" y="17281"/>
                  <a:pt x="10188" y="17281"/>
                </a:cubicBezTo>
                <a:close/>
                <a:moveTo>
                  <a:pt x="10344" y="17812"/>
                </a:moveTo>
                <a:cubicBezTo>
                  <a:pt x="10344" y="17781"/>
                  <a:pt x="10375" y="17812"/>
                  <a:pt x="10407" y="17812"/>
                </a:cubicBezTo>
                <a:cubicBezTo>
                  <a:pt x="10375" y="17844"/>
                  <a:pt x="10375" y="17875"/>
                  <a:pt x="10344" y="17875"/>
                </a:cubicBezTo>
                <a:cubicBezTo>
                  <a:pt x="10313" y="17875"/>
                  <a:pt x="10313" y="17875"/>
                  <a:pt x="10282" y="17875"/>
                </a:cubicBezTo>
                <a:cubicBezTo>
                  <a:pt x="10313" y="17844"/>
                  <a:pt x="10313" y="17812"/>
                  <a:pt x="10344" y="17812"/>
                </a:cubicBezTo>
                <a:close/>
                <a:moveTo>
                  <a:pt x="11782" y="18625"/>
                </a:moveTo>
                <a:cubicBezTo>
                  <a:pt x="11782" y="18656"/>
                  <a:pt x="11750" y="18656"/>
                  <a:pt x="11750" y="18687"/>
                </a:cubicBezTo>
                <a:cubicBezTo>
                  <a:pt x="11750" y="18656"/>
                  <a:pt x="11782" y="18656"/>
                  <a:pt x="11782" y="18625"/>
                </a:cubicBezTo>
                <a:cubicBezTo>
                  <a:pt x="11782" y="18625"/>
                  <a:pt x="11782" y="18625"/>
                  <a:pt x="11782" y="18625"/>
                </a:cubicBezTo>
                <a:cubicBezTo>
                  <a:pt x="11813" y="18656"/>
                  <a:pt x="11844" y="18687"/>
                  <a:pt x="11844" y="18687"/>
                </a:cubicBezTo>
                <a:cubicBezTo>
                  <a:pt x="11844" y="18687"/>
                  <a:pt x="11813" y="18656"/>
                  <a:pt x="11782" y="18625"/>
                </a:cubicBezTo>
                <a:close/>
                <a:moveTo>
                  <a:pt x="12563" y="11250"/>
                </a:moveTo>
                <a:cubicBezTo>
                  <a:pt x="12532" y="11250"/>
                  <a:pt x="12532" y="11250"/>
                  <a:pt x="12500" y="11250"/>
                </a:cubicBezTo>
                <a:cubicBezTo>
                  <a:pt x="12532" y="11250"/>
                  <a:pt x="12532" y="11250"/>
                  <a:pt x="12563" y="11250"/>
                </a:cubicBezTo>
                <a:close/>
                <a:moveTo>
                  <a:pt x="12500" y="11250"/>
                </a:moveTo>
                <a:cubicBezTo>
                  <a:pt x="12500" y="11219"/>
                  <a:pt x="12500" y="11219"/>
                  <a:pt x="12500" y="11219"/>
                </a:cubicBezTo>
                <a:cubicBezTo>
                  <a:pt x="12500" y="11219"/>
                  <a:pt x="12500" y="11219"/>
                  <a:pt x="12500" y="11250"/>
                </a:cubicBezTo>
                <a:close/>
                <a:moveTo>
                  <a:pt x="13813" y="12469"/>
                </a:moveTo>
                <a:cubicBezTo>
                  <a:pt x="13782" y="12469"/>
                  <a:pt x="13719" y="12500"/>
                  <a:pt x="13688" y="12500"/>
                </a:cubicBezTo>
                <a:cubicBezTo>
                  <a:pt x="13688" y="12531"/>
                  <a:pt x="13657" y="12531"/>
                  <a:pt x="13657" y="12500"/>
                </a:cubicBezTo>
                <a:cubicBezTo>
                  <a:pt x="13657" y="12500"/>
                  <a:pt x="13657" y="12500"/>
                  <a:pt x="13657" y="12500"/>
                </a:cubicBezTo>
                <a:cubicBezTo>
                  <a:pt x="13657" y="12500"/>
                  <a:pt x="13688" y="12500"/>
                  <a:pt x="13688" y="12500"/>
                </a:cubicBezTo>
                <a:cubicBezTo>
                  <a:pt x="13719" y="12500"/>
                  <a:pt x="13782" y="12469"/>
                  <a:pt x="13813" y="12469"/>
                </a:cubicBezTo>
                <a:cubicBezTo>
                  <a:pt x="13875" y="12375"/>
                  <a:pt x="13969" y="12344"/>
                  <a:pt x="14094" y="12312"/>
                </a:cubicBezTo>
                <a:cubicBezTo>
                  <a:pt x="14094" y="12344"/>
                  <a:pt x="14094" y="12406"/>
                  <a:pt x="14063" y="12437"/>
                </a:cubicBezTo>
                <a:cubicBezTo>
                  <a:pt x="14032" y="12500"/>
                  <a:pt x="14188" y="12625"/>
                  <a:pt x="14032" y="12687"/>
                </a:cubicBezTo>
                <a:cubicBezTo>
                  <a:pt x="13875" y="12719"/>
                  <a:pt x="13813" y="12594"/>
                  <a:pt x="13813" y="12469"/>
                </a:cubicBezTo>
                <a:close/>
                <a:moveTo>
                  <a:pt x="14282" y="12250"/>
                </a:moveTo>
                <a:cubicBezTo>
                  <a:pt x="14282" y="12250"/>
                  <a:pt x="14282" y="12281"/>
                  <a:pt x="14282" y="12281"/>
                </a:cubicBezTo>
                <a:cubicBezTo>
                  <a:pt x="14282" y="12281"/>
                  <a:pt x="14282" y="12250"/>
                  <a:pt x="14282" y="12250"/>
                </a:cubicBezTo>
                <a:close/>
                <a:moveTo>
                  <a:pt x="14219" y="10281"/>
                </a:moveTo>
                <a:cubicBezTo>
                  <a:pt x="14219" y="10219"/>
                  <a:pt x="14282" y="10094"/>
                  <a:pt x="14375" y="10250"/>
                </a:cubicBezTo>
                <a:cubicBezTo>
                  <a:pt x="14375" y="10250"/>
                  <a:pt x="14375" y="10250"/>
                  <a:pt x="14375" y="10250"/>
                </a:cubicBezTo>
                <a:cubicBezTo>
                  <a:pt x="14375" y="10281"/>
                  <a:pt x="14375" y="10312"/>
                  <a:pt x="14375" y="10344"/>
                </a:cubicBezTo>
                <a:cubicBezTo>
                  <a:pt x="14375" y="10312"/>
                  <a:pt x="14375" y="10312"/>
                  <a:pt x="14407" y="10281"/>
                </a:cubicBezTo>
                <a:cubicBezTo>
                  <a:pt x="14500" y="10312"/>
                  <a:pt x="14594" y="10344"/>
                  <a:pt x="14594" y="10469"/>
                </a:cubicBezTo>
                <a:cubicBezTo>
                  <a:pt x="14563" y="10562"/>
                  <a:pt x="14532" y="10625"/>
                  <a:pt x="14407" y="10625"/>
                </a:cubicBezTo>
                <a:cubicBezTo>
                  <a:pt x="14375" y="10656"/>
                  <a:pt x="14375" y="10719"/>
                  <a:pt x="14344" y="10719"/>
                </a:cubicBezTo>
                <a:cubicBezTo>
                  <a:pt x="14375" y="10719"/>
                  <a:pt x="14375" y="10656"/>
                  <a:pt x="14407" y="10625"/>
                </a:cubicBezTo>
                <a:cubicBezTo>
                  <a:pt x="14344" y="10625"/>
                  <a:pt x="14282" y="10594"/>
                  <a:pt x="14219" y="10594"/>
                </a:cubicBezTo>
                <a:cubicBezTo>
                  <a:pt x="14219" y="10500"/>
                  <a:pt x="14188" y="10375"/>
                  <a:pt x="14219" y="10281"/>
                </a:cubicBezTo>
                <a:close/>
                <a:moveTo>
                  <a:pt x="12313" y="10844"/>
                </a:moveTo>
                <a:cubicBezTo>
                  <a:pt x="12344" y="10844"/>
                  <a:pt x="12344" y="10812"/>
                  <a:pt x="12375" y="10781"/>
                </a:cubicBezTo>
                <a:cubicBezTo>
                  <a:pt x="12438" y="10906"/>
                  <a:pt x="12344" y="10844"/>
                  <a:pt x="12313" y="10844"/>
                </a:cubicBezTo>
                <a:cubicBezTo>
                  <a:pt x="12313" y="10875"/>
                  <a:pt x="12313" y="10906"/>
                  <a:pt x="12313" y="10937"/>
                </a:cubicBezTo>
                <a:cubicBezTo>
                  <a:pt x="12313" y="10937"/>
                  <a:pt x="12344" y="10969"/>
                  <a:pt x="12344" y="11000"/>
                </a:cubicBezTo>
                <a:cubicBezTo>
                  <a:pt x="12469" y="11000"/>
                  <a:pt x="12438" y="11125"/>
                  <a:pt x="12469" y="11187"/>
                </a:cubicBezTo>
                <a:cubicBezTo>
                  <a:pt x="12469" y="11187"/>
                  <a:pt x="12469" y="11187"/>
                  <a:pt x="12469" y="11187"/>
                </a:cubicBezTo>
                <a:cubicBezTo>
                  <a:pt x="12188" y="11250"/>
                  <a:pt x="12344" y="11062"/>
                  <a:pt x="12344" y="11000"/>
                </a:cubicBezTo>
                <a:cubicBezTo>
                  <a:pt x="12344" y="10969"/>
                  <a:pt x="12313" y="10937"/>
                  <a:pt x="12313" y="10937"/>
                </a:cubicBezTo>
                <a:cubicBezTo>
                  <a:pt x="12282" y="10906"/>
                  <a:pt x="12250" y="10875"/>
                  <a:pt x="12313" y="10844"/>
                </a:cubicBezTo>
                <a:close/>
                <a:moveTo>
                  <a:pt x="11063" y="16250"/>
                </a:moveTo>
                <a:cubicBezTo>
                  <a:pt x="11063" y="16344"/>
                  <a:pt x="11000" y="16469"/>
                  <a:pt x="11157" y="16469"/>
                </a:cubicBezTo>
                <a:cubicBezTo>
                  <a:pt x="11188" y="16469"/>
                  <a:pt x="11188" y="16500"/>
                  <a:pt x="11188" y="16500"/>
                </a:cubicBezTo>
                <a:cubicBezTo>
                  <a:pt x="11188" y="16531"/>
                  <a:pt x="11188" y="16531"/>
                  <a:pt x="11188" y="16562"/>
                </a:cubicBezTo>
                <a:cubicBezTo>
                  <a:pt x="11188" y="16531"/>
                  <a:pt x="11188" y="16531"/>
                  <a:pt x="11188" y="16500"/>
                </a:cubicBezTo>
                <a:cubicBezTo>
                  <a:pt x="11032" y="16594"/>
                  <a:pt x="10782" y="16594"/>
                  <a:pt x="10813" y="16844"/>
                </a:cubicBezTo>
                <a:cubicBezTo>
                  <a:pt x="10813" y="16906"/>
                  <a:pt x="10782" y="16937"/>
                  <a:pt x="10750" y="16969"/>
                </a:cubicBezTo>
                <a:cubicBezTo>
                  <a:pt x="10750" y="16969"/>
                  <a:pt x="10750" y="16969"/>
                  <a:pt x="10750" y="16969"/>
                </a:cubicBezTo>
                <a:cubicBezTo>
                  <a:pt x="10657" y="16719"/>
                  <a:pt x="10532" y="16844"/>
                  <a:pt x="10344" y="16906"/>
                </a:cubicBezTo>
                <a:cubicBezTo>
                  <a:pt x="10125" y="16937"/>
                  <a:pt x="10063" y="17062"/>
                  <a:pt x="10000" y="17219"/>
                </a:cubicBezTo>
                <a:cubicBezTo>
                  <a:pt x="10000" y="17219"/>
                  <a:pt x="10000" y="17219"/>
                  <a:pt x="10000" y="17219"/>
                </a:cubicBezTo>
                <a:cubicBezTo>
                  <a:pt x="9969" y="17187"/>
                  <a:pt x="9969" y="17156"/>
                  <a:pt x="9938" y="17156"/>
                </a:cubicBezTo>
                <a:cubicBezTo>
                  <a:pt x="9938" y="17156"/>
                  <a:pt x="9938" y="17156"/>
                  <a:pt x="9907" y="17187"/>
                </a:cubicBezTo>
                <a:cubicBezTo>
                  <a:pt x="9938" y="17187"/>
                  <a:pt x="9969" y="17219"/>
                  <a:pt x="9969" y="17219"/>
                </a:cubicBezTo>
                <a:cubicBezTo>
                  <a:pt x="9969" y="17219"/>
                  <a:pt x="10000" y="17219"/>
                  <a:pt x="10000" y="17219"/>
                </a:cubicBezTo>
                <a:cubicBezTo>
                  <a:pt x="9969" y="17219"/>
                  <a:pt x="9969" y="17219"/>
                  <a:pt x="9969" y="17219"/>
                </a:cubicBezTo>
                <a:cubicBezTo>
                  <a:pt x="9844" y="17125"/>
                  <a:pt x="9782" y="17437"/>
                  <a:pt x="9625" y="17281"/>
                </a:cubicBezTo>
                <a:cubicBezTo>
                  <a:pt x="9750" y="17094"/>
                  <a:pt x="9969" y="17000"/>
                  <a:pt x="10125" y="16844"/>
                </a:cubicBezTo>
                <a:cubicBezTo>
                  <a:pt x="10407" y="16781"/>
                  <a:pt x="10563" y="16531"/>
                  <a:pt x="10875" y="16469"/>
                </a:cubicBezTo>
                <a:cubicBezTo>
                  <a:pt x="11063" y="16437"/>
                  <a:pt x="10844" y="16219"/>
                  <a:pt x="10875" y="16062"/>
                </a:cubicBezTo>
                <a:cubicBezTo>
                  <a:pt x="11094" y="15937"/>
                  <a:pt x="11000" y="16187"/>
                  <a:pt x="11063" y="16250"/>
                </a:cubicBezTo>
                <a:close/>
                <a:moveTo>
                  <a:pt x="5688" y="17875"/>
                </a:moveTo>
                <a:cubicBezTo>
                  <a:pt x="5719" y="17875"/>
                  <a:pt x="5719" y="17844"/>
                  <a:pt x="5719" y="17844"/>
                </a:cubicBezTo>
                <a:cubicBezTo>
                  <a:pt x="5719" y="17844"/>
                  <a:pt x="5719" y="17875"/>
                  <a:pt x="5688" y="17875"/>
                </a:cubicBezTo>
                <a:close/>
                <a:moveTo>
                  <a:pt x="5719" y="17781"/>
                </a:moveTo>
                <a:cubicBezTo>
                  <a:pt x="5719" y="17781"/>
                  <a:pt x="5719" y="17781"/>
                  <a:pt x="5719" y="17781"/>
                </a:cubicBezTo>
                <a:cubicBezTo>
                  <a:pt x="5657" y="17844"/>
                  <a:pt x="5594" y="17875"/>
                  <a:pt x="5500" y="17844"/>
                </a:cubicBezTo>
                <a:cubicBezTo>
                  <a:pt x="5500" y="17781"/>
                  <a:pt x="5469" y="17750"/>
                  <a:pt x="5438" y="17656"/>
                </a:cubicBezTo>
                <a:cubicBezTo>
                  <a:pt x="5469" y="17750"/>
                  <a:pt x="5500" y="17781"/>
                  <a:pt x="5500" y="17844"/>
                </a:cubicBezTo>
                <a:cubicBezTo>
                  <a:pt x="5500" y="17812"/>
                  <a:pt x="5532" y="17781"/>
                  <a:pt x="5532" y="17750"/>
                </a:cubicBezTo>
                <a:cubicBezTo>
                  <a:pt x="5594" y="17719"/>
                  <a:pt x="5657" y="17656"/>
                  <a:pt x="5719" y="17781"/>
                </a:cubicBezTo>
                <a:cubicBezTo>
                  <a:pt x="5719" y="17781"/>
                  <a:pt x="5719" y="17781"/>
                  <a:pt x="5719" y="17781"/>
                </a:cubicBezTo>
                <a:close/>
                <a:moveTo>
                  <a:pt x="5969" y="17969"/>
                </a:moveTo>
                <a:cubicBezTo>
                  <a:pt x="5875" y="17969"/>
                  <a:pt x="5813" y="17906"/>
                  <a:pt x="5782" y="17844"/>
                </a:cubicBezTo>
                <a:cubicBezTo>
                  <a:pt x="5844" y="17781"/>
                  <a:pt x="5938" y="17844"/>
                  <a:pt x="6032" y="17812"/>
                </a:cubicBezTo>
                <a:cubicBezTo>
                  <a:pt x="6000" y="17844"/>
                  <a:pt x="6063" y="17937"/>
                  <a:pt x="5969" y="17969"/>
                </a:cubicBezTo>
                <a:close/>
                <a:moveTo>
                  <a:pt x="6500" y="17687"/>
                </a:moveTo>
                <a:cubicBezTo>
                  <a:pt x="6375" y="17906"/>
                  <a:pt x="6219" y="17875"/>
                  <a:pt x="6094" y="17719"/>
                </a:cubicBezTo>
                <a:cubicBezTo>
                  <a:pt x="5969" y="17562"/>
                  <a:pt x="5750" y="17625"/>
                  <a:pt x="5688" y="17469"/>
                </a:cubicBezTo>
                <a:cubicBezTo>
                  <a:pt x="5688" y="17469"/>
                  <a:pt x="5688" y="17469"/>
                  <a:pt x="5688" y="17469"/>
                </a:cubicBezTo>
                <a:cubicBezTo>
                  <a:pt x="6000" y="17281"/>
                  <a:pt x="6219" y="17531"/>
                  <a:pt x="6438" y="17625"/>
                </a:cubicBezTo>
                <a:cubicBezTo>
                  <a:pt x="6469" y="17594"/>
                  <a:pt x="6469" y="17594"/>
                  <a:pt x="6469" y="17562"/>
                </a:cubicBezTo>
                <a:cubicBezTo>
                  <a:pt x="6500" y="17219"/>
                  <a:pt x="6532" y="17187"/>
                  <a:pt x="6938" y="17375"/>
                </a:cubicBezTo>
                <a:cubicBezTo>
                  <a:pt x="6844" y="17531"/>
                  <a:pt x="6657" y="17594"/>
                  <a:pt x="6500" y="17687"/>
                </a:cubicBezTo>
                <a:close/>
                <a:moveTo>
                  <a:pt x="6938" y="19719"/>
                </a:moveTo>
                <a:cubicBezTo>
                  <a:pt x="6907" y="19719"/>
                  <a:pt x="6907" y="19719"/>
                  <a:pt x="6907" y="19719"/>
                </a:cubicBezTo>
                <a:cubicBezTo>
                  <a:pt x="6875" y="19687"/>
                  <a:pt x="6875" y="19687"/>
                  <a:pt x="6907" y="19687"/>
                </a:cubicBezTo>
                <a:cubicBezTo>
                  <a:pt x="6907" y="19687"/>
                  <a:pt x="6907" y="19687"/>
                  <a:pt x="6938" y="19687"/>
                </a:cubicBezTo>
                <a:cubicBezTo>
                  <a:pt x="6938" y="19687"/>
                  <a:pt x="6938" y="19719"/>
                  <a:pt x="6938" y="19719"/>
                </a:cubicBezTo>
                <a:close/>
                <a:moveTo>
                  <a:pt x="6969" y="19219"/>
                </a:moveTo>
                <a:cubicBezTo>
                  <a:pt x="6938" y="19375"/>
                  <a:pt x="6782" y="19375"/>
                  <a:pt x="6719" y="19469"/>
                </a:cubicBezTo>
                <a:cubicBezTo>
                  <a:pt x="6657" y="19500"/>
                  <a:pt x="6563" y="19562"/>
                  <a:pt x="6532" y="19437"/>
                </a:cubicBezTo>
                <a:cubicBezTo>
                  <a:pt x="6532" y="19375"/>
                  <a:pt x="6532" y="19219"/>
                  <a:pt x="6594" y="19219"/>
                </a:cubicBezTo>
                <a:cubicBezTo>
                  <a:pt x="6719" y="19250"/>
                  <a:pt x="6844" y="19125"/>
                  <a:pt x="6969" y="19219"/>
                </a:cubicBezTo>
                <a:cubicBezTo>
                  <a:pt x="7063" y="19125"/>
                  <a:pt x="6907" y="19062"/>
                  <a:pt x="6907" y="18969"/>
                </a:cubicBezTo>
                <a:cubicBezTo>
                  <a:pt x="7094" y="18875"/>
                  <a:pt x="7250" y="18750"/>
                  <a:pt x="7469" y="18844"/>
                </a:cubicBezTo>
                <a:cubicBezTo>
                  <a:pt x="7500" y="18844"/>
                  <a:pt x="7563" y="18812"/>
                  <a:pt x="7563" y="18719"/>
                </a:cubicBezTo>
                <a:cubicBezTo>
                  <a:pt x="7563" y="18719"/>
                  <a:pt x="7563" y="18719"/>
                  <a:pt x="7563" y="18719"/>
                </a:cubicBezTo>
                <a:cubicBezTo>
                  <a:pt x="7594" y="18625"/>
                  <a:pt x="7719" y="18750"/>
                  <a:pt x="7782" y="18687"/>
                </a:cubicBezTo>
                <a:cubicBezTo>
                  <a:pt x="7719" y="18812"/>
                  <a:pt x="7813" y="18844"/>
                  <a:pt x="7907" y="18844"/>
                </a:cubicBezTo>
                <a:cubicBezTo>
                  <a:pt x="7875" y="19062"/>
                  <a:pt x="7750" y="18875"/>
                  <a:pt x="7657" y="18906"/>
                </a:cubicBezTo>
                <a:cubicBezTo>
                  <a:pt x="7594" y="18875"/>
                  <a:pt x="7532" y="18875"/>
                  <a:pt x="7500" y="18937"/>
                </a:cubicBezTo>
                <a:cubicBezTo>
                  <a:pt x="7500" y="18969"/>
                  <a:pt x="7532" y="19000"/>
                  <a:pt x="7594" y="18969"/>
                </a:cubicBezTo>
                <a:cubicBezTo>
                  <a:pt x="7594" y="19000"/>
                  <a:pt x="7563" y="19062"/>
                  <a:pt x="7563" y="19094"/>
                </a:cubicBezTo>
                <a:cubicBezTo>
                  <a:pt x="7563" y="19094"/>
                  <a:pt x="7532" y="19094"/>
                  <a:pt x="7532" y="19094"/>
                </a:cubicBezTo>
                <a:cubicBezTo>
                  <a:pt x="7532" y="19125"/>
                  <a:pt x="7532" y="19125"/>
                  <a:pt x="7500" y="19125"/>
                </a:cubicBezTo>
                <a:cubicBezTo>
                  <a:pt x="7532" y="19125"/>
                  <a:pt x="7532" y="19125"/>
                  <a:pt x="7532" y="19094"/>
                </a:cubicBezTo>
                <a:cubicBezTo>
                  <a:pt x="7500" y="19094"/>
                  <a:pt x="7438" y="19094"/>
                  <a:pt x="7375" y="19094"/>
                </a:cubicBezTo>
                <a:cubicBezTo>
                  <a:pt x="7219" y="19031"/>
                  <a:pt x="7157" y="19312"/>
                  <a:pt x="6969" y="19219"/>
                </a:cubicBezTo>
                <a:close/>
                <a:moveTo>
                  <a:pt x="7375" y="20750"/>
                </a:moveTo>
                <a:cubicBezTo>
                  <a:pt x="7313" y="20625"/>
                  <a:pt x="7063" y="20656"/>
                  <a:pt x="7094" y="20406"/>
                </a:cubicBezTo>
                <a:cubicBezTo>
                  <a:pt x="7250" y="20406"/>
                  <a:pt x="7375" y="20437"/>
                  <a:pt x="7500" y="20531"/>
                </a:cubicBezTo>
                <a:cubicBezTo>
                  <a:pt x="7500" y="20531"/>
                  <a:pt x="7500" y="20531"/>
                  <a:pt x="7500" y="20531"/>
                </a:cubicBezTo>
                <a:cubicBezTo>
                  <a:pt x="7500" y="20625"/>
                  <a:pt x="7469" y="20719"/>
                  <a:pt x="7375" y="20750"/>
                </a:cubicBezTo>
                <a:close/>
                <a:moveTo>
                  <a:pt x="8157" y="20937"/>
                </a:moveTo>
                <a:cubicBezTo>
                  <a:pt x="8000" y="21125"/>
                  <a:pt x="7782" y="21000"/>
                  <a:pt x="7563" y="21125"/>
                </a:cubicBezTo>
                <a:cubicBezTo>
                  <a:pt x="7750" y="20750"/>
                  <a:pt x="7938" y="20875"/>
                  <a:pt x="8157" y="20937"/>
                </a:cubicBezTo>
                <a:close/>
                <a:moveTo>
                  <a:pt x="7657" y="20531"/>
                </a:moveTo>
                <a:cubicBezTo>
                  <a:pt x="7657" y="20531"/>
                  <a:pt x="7657" y="20531"/>
                  <a:pt x="7657" y="20531"/>
                </a:cubicBezTo>
                <a:cubicBezTo>
                  <a:pt x="7625" y="20531"/>
                  <a:pt x="7625" y="20531"/>
                  <a:pt x="7594" y="20531"/>
                </a:cubicBezTo>
                <a:cubicBezTo>
                  <a:pt x="7625" y="20531"/>
                  <a:pt x="7625" y="20531"/>
                  <a:pt x="7657" y="20531"/>
                </a:cubicBezTo>
                <a:close/>
                <a:moveTo>
                  <a:pt x="7813" y="20031"/>
                </a:moveTo>
                <a:cubicBezTo>
                  <a:pt x="7782" y="20031"/>
                  <a:pt x="7782" y="20031"/>
                  <a:pt x="7750" y="20031"/>
                </a:cubicBezTo>
                <a:cubicBezTo>
                  <a:pt x="7782" y="20031"/>
                  <a:pt x="7782" y="20031"/>
                  <a:pt x="7813" y="20031"/>
                </a:cubicBezTo>
                <a:close/>
                <a:moveTo>
                  <a:pt x="7844" y="20031"/>
                </a:moveTo>
                <a:cubicBezTo>
                  <a:pt x="7844" y="20031"/>
                  <a:pt x="7844" y="20031"/>
                  <a:pt x="7844" y="20031"/>
                </a:cubicBezTo>
                <a:cubicBezTo>
                  <a:pt x="8000" y="20094"/>
                  <a:pt x="8188" y="19937"/>
                  <a:pt x="8219" y="20219"/>
                </a:cubicBezTo>
                <a:cubicBezTo>
                  <a:pt x="8094" y="20187"/>
                  <a:pt x="7938" y="20219"/>
                  <a:pt x="7844" y="20031"/>
                </a:cubicBezTo>
                <a:close/>
                <a:moveTo>
                  <a:pt x="8438" y="18906"/>
                </a:moveTo>
                <a:cubicBezTo>
                  <a:pt x="8594" y="18781"/>
                  <a:pt x="8719" y="18656"/>
                  <a:pt x="8500" y="18469"/>
                </a:cubicBezTo>
                <a:cubicBezTo>
                  <a:pt x="8438" y="18469"/>
                  <a:pt x="8375" y="18469"/>
                  <a:pt x="8375" y="18406"/>
                </a:cubicBezTo>
                <a:cubicBezTo>
                  <a:pt x="8375" y="18469"/>
                  <a:pt x="8438" y="18469"/>
                  <a:pt x="8500" y="18469"/>
                </a:cubicBezTo>
                <a:cubicBezTo>
                  <a:pt x="8500" y="18437"/>
                  <a:pt x="8563" y="18375"/>
                  <a:pt x="8500" y="18344"/>
                </a:cubicBezTo>
                <a:cubicBezTo>
                  <a:pt x="8750" y="18375"/>
                  <a:pt x="8844" y="18250"/>
                  <a:pt x="8938" y="18031"/>
                </a:cubicBezTo>
                <a:cubicBezTo>
                  <a:pt x="8625" y="17937"/>
                  <a:pt x="8657" y="18281"/>
                  <a:pt x="8469" y="18344"/>
                </a:cubicBezTo>
                <a:cubicBezTo>
                  <a:pt x="8469" y="18344"/>
                  <a:pt x="8469" y="18344"/>
                  <a:pt x="8469" y="18344"/>
                </a:cubicBezTo>
                <a:cubicBezTo>
                  <a:pt x="8438" y="18344"/>
                  <a:pt x="8407" y="18344"/>
                  <a:pt x="8344" y="18344"/>
                </a:cubicBezTo>
                <a:cubicBezTo>
                  <a:pt x="8375" y="18312"/>
                  <a:pt x="8407" y="18250"/>
                  <a:pt x="8438" y="18219"/>
                </a:cubicBezTo>
                <a:cubicBezTo>
                  <a:pt x="8438" y="18219"/>
                  <a:pt x="8438" y="18219"/>
                  <a:pt x="8438" y="18219"/>
                </a:cubicBezTo>
                <a:cubicBezTo>
                  <a:pt x="8500" y="18062"/>
                  <a:pt x="8282" y="17937"/>
                  <a:pt x="8375" y="17781"/>
                </a:cubicBezTo>
                <a:cubicBezTo>
                  <a:pt x="8500" y="17812"/>
                  <a:pt x="8625" y="17844"/>
                  <a:pt x="8688" y="17656"/>
                </a:cubicBezTo>
                <a:cubicBezTo>
                  <a:pt x="8750" y="17500"/>
                  <a:pt x="8907" y="17562"/>
                  <a:pt x="9032" y="17531"/>
                </a:cubicBezTo>
                <a:cubicBezTo>
                  <a:pt x="8969" y="17687"/>
                  <a:pt x="8875" y="17844"/>
                  <a:pt x="8938" y="18031"/>
                </a:cubicBezTo>
                <a:cubicBezTo>
                  <a:pt x="9000" y="18000"/>
                  <a:pt x="9094" y="17969"/>
                  <a:pt x="9188" y="17937"/>
                </a:cubicBezTo>
                <a:cubicBezTo>
                  <a:pt x="9032" y="18125"/>
                  <a:pt x="9094" y="18187"/>
                  <a:pt x="9313" y="18156"/>
                </a:cubicBezTo>
                <a:cubicBezTo>
                  <a:pt x="9282" y="18219"/>
                  <a:pt x="9282" y="18281"/>
                  <a:pt x="9282" y="18344"/>
                </a:cubicBezTo>
                <a:cubicBezTo>
                  <a:pt x="9125" y="18406"/>
                  <a:pt x="8969" y="18437"/>
                  <a:pt x="8844" y="18594"/>
                </a:cubicBezTo>
                <a:cubicBezTo>
                  <a:pt x="8750" y="18719"/>
                  <a:pt x="8844" y="18719"/>
                  <a:pt x="8938" y="18719"/>
                </a:cubicBezTo>
                <a:cubicBezTo>
                  <a:pt x="8813" y="18875"/>
                  <a:pt x="8719" y="19125"/>
                  <a:pt x="8438" y="18906"/>
                </a:cubicBezTo>
                <a:close/>
                <a:moveTo>
                  <a:pt x="10000" y="20031"/>
                </a:moveTo>
                <a:cubicBezTo>
                  <a:pt x="9969" y="20031"/>
                  <a:pt x="9969" y="20031"/>
                  <a:pt x="9938" y="20031"/>
                </a:cubicBezTo>
                <a:cubicBezTo>
                  <a:pt x="9938" y="20031"/>
                  <a:pt x="9938" y="20000"/>
                  <a:pt x="9938" y="20000"/>
                </a:cubicBezTo>
                <a:cubicBezTo>
                  <a:pt x="9969" y="20000"/>
                  <a:pt x="9969" y="20000"/>
                  <a:pt x="10000" y="20000"/>
                </a:cubicBezTo>
                <a:cubicBezTo>
                  <a:pt x="10000" y="20000"/>
                  <a:pt x="10000" y="20031"/>
                  <a:pt x="10000" y="20031"/>
                </a:cubicBezTo>
                <a:close/>
                <a:moveTo>
                  <a:pt x="10844" y="20094"/>
                </a:moveTo>
                <a:cubicBezTo>
                  <a:pt x="10844" y="20094"/>
                  <a:pt x="10844" y="20094"/>
                  <a:pt x="10875" y="20094"/>
                </a:cubicBezTo>
                <a:cubicBezTo>
                  <a:pt x="10938" y="20094"/>
                  <a:pt x="10907" y="20125"/>
                  <a:pt x="10938" y="20156"/>
                </a:cubicBezTo>
                <a:cubicBezTo>
                  <a:pt x="10907" y="20156"/>
                  <a:pt x="10844" y="20156"/>
                  <a:pt x="10844" y="20094"/>
                </a:cubicBezTo>
                <a:close/>
                <a:moveTo>
                  <a:pt x="10375" y="19875"/>
                </a:moveTo>
                <a:cubicBezTo>
                  <a:pt x="10250" y="19906"/>
                  <a:pt x="10125" y="19969"/>
                  <a:pt x="10032" y="19812"/>
                </a:cubicBezTo>
                <a:cubicBezTo>
                  <a:pt x="9969" y="19656"/>
                  <a:pt x="9875" y="19531"/>
                  <a:pt x="10032" y="19375"/>
                </a:cubicBezTo>
                <a:cubicBezTo>
                  <a:pt x="10032" y="19344"/>
                  <a:pt x="10063" y="19312"/>
                  <a:pt x="10063" y="19281"/>
                </a:cubicBezTo>
                <a:cubicBezTo>
                  <a:pt x="10063" y="19156"/>
                  <a:pt x="10188" y="19156"/>
                  <a:pt x="10250" y="19156"/>
                </a:cubicBezTo>
                <a:cubicBezTo>
                  <a:pt x="10313" y="19156"/>
                  <a:pt x="10313" y="19187"/>
                  <a:pt x="10313" y="19250"/>
                </a:cubicBezTo>
                <a:cubicBezTo>
                  <a:pt x="10344" y="19344"/>
                  <a:pt x="10313" y="19406"/>
                  <a:pt x="10188" y="19406"/>
                </a:cubicBezTo>
                <a:cubicBezTo>
                  <a:pt x="10157" y="19437"/>
                  <a:pt x="10125" y="19437"/>
                  <a:pt x="10063" y="19437"/>
                </a:cubicBezTo>
                <a:cubicBezTo>
                  <a:pt x="10063" y="19562"/>
                  <a:pt x="10125" y="19625"/>
                  <a:pt x="10250" y="19594"/>
                </a:cubicBezTo>
                <a:cubicBezTo>
                  <a:pt x="10344" y="19594"/>
                  <a:pt x="10438" y="19625"/>
                  <a:pt x="10438" y="19437"/>
                </a:cubicBezTo>
                <a:cubicBezTo>
                  <a:pt x="10407" y="19281"/>
                  <a:pt x="10688" y="19250"/>
                  <a:pt x="10688" y="19062"/>
                </a:cubicBezTo>
                <a:cubicBezTo>
                  <a:pt x="10782" y="19094"/>
                  <a:pt x="10844" y="19156"/>
                  <a:pt x="10907" y="19187"/>
                </a:cubicBezTo>
                <a:cubicBezTo>
                  <a:pt x="11000" y="19219"/>
                  <a:pt x="10969" y="19312"/>
                  <a:pt x="10969" y="19375"/>
                </a:cubicBezTo>
                <a:cubicBezTo>
                  <a:pt x="11063" y="19937"/>
                  <a:pt x="10625" y="19812"/>
                  <a:pt x="10375" y="19875"/>
                </a:cubicBezTo>
                <a:close/>
                <a:moveTo>
                  <a:pt x="12782" y="15844"/>
                </a:moveTo>
                <a:cubicBezTo>
                  <a:pt x="12750" y="15812"/>
                  <a:pt x="12750" y="15812"/>
                  <a:pt x="12719" y="15781"/>
                </a:cubicBezTo>
                <a:cubicBezTo>
                  <a:pt x="12750" y="15812"/>
                  <a:pt x="12750" y="15812"/>
                  <a:pt x="12782" y="15844"/>
                </a:cubicBezTo>
                <a:close/>
                <a:moveTo>
                  <a:pt x="13157" y="18469"/>
                </a:moveTo>
                <a:cubicBezTo>
                  <a:pt x="13157" y="18469"/>
                  <a:pt x="13157" y="18469"/>
                  <a:pt x="13157" y="18469"/>
                </a:cubicBezTo>
                <a:cubicBezTo>
                  <a:pt x="13157" y="18469"/>
                  <a:pt x="13157" y="18469"/>
                  <a:pt x="13157" y="18469"/>
                </a:cubicBezTo>
                <a:close/>
                <a:moveTo>
                  <a:pt x="12750" y="17437"/>
                </a:moveTo>
                <a:cubicBezTo>
                  <a:pt x="12750" y="17437"/>
                  <a:pt x="12750" y="17437"/>
                  <a:pt x="12750" y="17437"/>
                </a:cubicBezTo>
                <a:cubicBezTo>
                  <a:pt x="12750" y="17469"/>
                  <a:pt x="12782" y="17469"/>
                  <a:pt x="12782" y="17500"/>
                </a:cubicBezTo>
                <a:cubicBezTo>
                  <a:pt x="12782" y="17469"/>
                  <a:pt x="12750" y="17469"/>
                  <a:pt x="12750" y="17437"/>
                </a:cubicBezTo>
                <a:close/>
                <a:moveTo>
                  <a:pt x="12938" y="19219"/>
                </a:moveTo>
                <a:cubicBezTo>
                  <a:pt x="12938" y="19250"/>
                  <a:pt x="12938" y="19312"/>
                  <a:pt x="12875" y="19281"/>
                </a:cubicBezTo>
                <a:cubicBezTo>
                  <a:pt x="12875" y="19281"/>
                  <a:pt x="12875" y="19250"/>
                  <a:pt x="12844" y="19250"/>
                </a:cubicBezTo>
                <a:cubicBezTo>
                  <a:pt x="12844" y="19250"/>
                  <a:pt x="12844" y="19219"/>
                  <a:pt x="12875" y="19187"/>
                </a:cubicBezTo>
                <a:cubicBezTo>
                  <a:pt x="12907" y="19187"/>
                  <a:pt x="12938" y="19219"/>
                  <a:pt x="12938" y="19219"/>
                </a:cubicBezTo>
                <a:cubicBezTo>
                  <a:pt x="12938" y="19219"/>
                  <a:pt x="12969" y="19219"/>
                  <a:pt x="12969" y="19219"/>
                </a:cubicBezTo>
                <a:cubicBezTo>
                  <a:pt x="12969" y="19219"/>
                  <a:pt x="12938" y="19219"/>
                  <a:pt x="12938" y="19219"/>
                </a:cubicBezTo>
                <a:close/>
                <a:moveTo>
                  <a:pt x="12875" y="19281"/>
                </a:moveTo>
                <a:cubicBezTo>
                  <a:pt x="12907" y="19312"/>
                  <a:pt x="12907" y="19312"/>
                  <a:pt x="12907" y="19344"/>
                </a:cubicBezTo>
                <a:cubicBezTo>
                  <a:pt x="12875" y="19344"/>
                  <a:pt x="12875" y="19375"/>
                  <a:pt x="12844" y="19375"/>
                </a:cubicBezTo>
                <a:cubicBezTo>
                  <a:pt x="12844" y="19375"/>
                  <a:pt x="12844" y="19375"/>
                  <a:pt x="12875" y="19406"/>
                </a:cubicBezTo>
                <a:cubicBezTo>
                  <a:pt x="12844" y="19375"/>
                  <a:pt x="12844" y="19375"/>
                  <a:pt x="12844" y="19375"/>
                </a:cubicBezTo>
                <a:cubicBezTo>
                  <a:pt x="12719" y="19437"/>
                  <a:pt x="12782" y="19312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50" y="19281"/>
                  <a:pt x="12750" y="19281"/>
                  <a:pt x="12750" y="19281"/>
                </a:cubicBezTo>
                <a:cubicBezTo>
                  <a:pt x="12782" y="19281"/>
                  <a:pt x="12813" y="19250"/>
                  <a:pt x="12844" y="19250"/>
                </a:cubicBezTo>
                <a:cubicBezTo>
                  <a:pt x="12875" y="19281"/>
                  <a:pt x="12875" y="19281"/>
                  <a:pt x="12875" y="19281"/>
                </a:cubicBezTo>
                <a:close/>
                <a:moveTo>
                  <a:pt x="12938" y="21437"/>
                </a:moveTo>
                <a:cubicBezTo>
                  <a:pt x="12969" y="21406"/>
                  <a:pt x="12969" y="21406"/>
                  <a:pt x="12969" y="21375"/>
                </a:cubicBezTo>
                <a:cubicBezTo>
                  <a:pt x="13000" y="21437"/>
                  <a:pt x="12969" y="21406"/>
                  <a:pt x="12938" y="21437"/>
                </a:cubicBezTo>
                <a:close/>
                <a:moveTo>
                  <a:pt x="13469" y="21437"/>
                </a:moveTo>
                <a:cubicBezTo>
                  <a:pt x="13532" y="21469"/>
                  <a:pt x="13407" y="21500"/>
                  <a:pt x="13375" y="21562"/>
                </a:cubicBezTo>
                <a:cubicBezTo>
                  <a:pt x="13250" y="21500"/>
                  <a:pt x="13094" y="21469"/>
                  <a:pt x="13063" y="21281"/>
                </a:cubicBezTo>
                <a:cubicBezTo>
                  <a:pt x="13063" y="21187"/>
                  <a:pt x="13125" y="21125"/>
                  <a:pt x="13188" y="21125"/>
                </a:cubicBezTo>
                <a:cubicBezTo>
                  <a:pt x="13375" y="21125"/>
                  <a:pt x="13344" y="21344"/>
                  <a:pt x="13469" y="21437"/>
                </a:cubicBezTo>
                <a:close/>
                <a:moveTo>
                  <a:pt x="14094" y="20031"/>
                </a:moveTo>
                <a:cubicBezTo>
                  <a:pt x="14063" y="19969"/>
                  <a:pt x="14094" y="19937"/>
                  <a:pt x="14157" y="19906"/>
                </a:cubicBezTo>
                <a:cubicBezTo>
                  <a:pt x="14157" y="19969"/>
                  <a:pt x="14157" y="20000"/>
                  <a:pt x="14094" y="20031"/>
                </a:cubicBezTo>
                <a:close/>
                <a:moveTo>
                  <a:pt x="14219" y="19094"/>
                </a:moveTo>
                <a:cubicBezTo>
                  <a:pt x="14219" y="19094"/>
                  <a:pt x="14157" y="19094"/>
                  <a:pt x="14094" y="19094"/>
                </a:cubicBezTo>
                <a:cubicBezTo>
                  <a:pt x="14063" y="19125"/>
                  <a:pt x="14063" y="19125"/>
                  <a:pt x="14063" y="19156"/>
                </a:cubicBezTo>
                <a:cubicBezTo>
                  <a:pt x="14063" y="19125"/>
                  <a:pt x="14063" y="19125"/>
                  <a:pt x="14094" y="19094"/>
                </a:cubicBezTo>
                <a:cubicBezTo>
                  <a:pt x="14125" y="19062"/>
                  <a:pt x="14125" y="19062"/>
                  <a:pt x="14157" y="19031"/>
                </a:cubicBezTo>
                <a:cubicBezTo>
                  <a:pt x="14188" y="19031"/>
                  <a:pt x="14219" y="19031"/>
                  <a:pt x="14219" y="19094"/>
                </a:cubicBezTo>
                <a:close/>
                <a:moveTo>
                  <a:pt x="14250" y="18969"/>
                </a:moveTo>
                <a:cubicBezTo>
                  <a:pt x="14219" y="18937"/>
                  <a:pt x="14219" y="18937"/>
                  <a:pt x="14219" y="18937"/>
                </a:cubicBezTo>
                <a:cubicBezTo>
                  <a:pt x="14250" y="18937"/>
                  <a:pt x="14250" y="18937"/>
                  <a:pt x="14250" y="18937"/>
                </a:cubicBezTo>
                <a:lnTo>
                  <a:pt x="14250" y="18969"/>
                </a:lnTo>
                <a:close/>
                <a:moveTo>
                  <a:pt x="13844" y="18187"/>
                </a:moveTo>
                <a:cubicBezTo>
                  <a:pt x="13907" y="18156"/>
                  <a:pt x="13969" y="18156"/>
                  <a:pt x="14032" y="18156"/>
                </a:cubicBezTo>
                <a:cubicBezTo>
                  <a:pt x="14063" y="18344"/>
                  <a:pt x="14000" y="18531"/>
                  <a:pt x="13907" y="18687"/>
                </a:cubicBezTo>
                <a:cubicBezTo>
                  <a:pt x="13907" y="18687"/>
                  <a:pt x="13907" y="18687"/>
                  <a:pt x="13907" y="18687"/>
                </a:cubicBezTo>
                <a:cubicBezTo>
                  <a:pt x="13844" y="18687"/>
                  <a:pt x="13782" y="18687"/>
                  <a:pt x="13719" y="18656"/>
                </a:cubicBezTo>
                <a:cubicBezTo>
                  <a:pt x="13657" y="18500"/>
                  <a:pt x="13938" y="18375"/>
                  <a:pt x="13844" y="18187"/>
                </a:cubicBezTo>
                <a:close/>
                <a:moveTo>
                  <a:pt x="13875" y="18781"/>
                </a:moveTo>
                <a:cubicBezTo>
                  <a:pt x="13875" y="18906"/>
                  <a:pt x="13813" y="18969"/>
                  <a:pt x="13688" y="19000"/>
                </a:cubicBezTo>
                <a:cubicBezTo>
                  <a:pt x="13813" y="18969"/>
                  <a:pt x="13875" y="18906"/>
                  <a:pt x="13875" y="18781"/>
                </a:cubicBezTo>
                <a:close/>
                <a:moveTo>
                  <a:pt x="13000" y="16594"/>
                </a:moveTo>
                <a:cubicBezTo>
                  <a:pt x="13000" y="16625"/>
                  <a:pt x="13000" y="16687"/>
                  <a:pt x="12938" y="16719"/>
                </a:cubicBezTo>
                <a:cubicBezTo>
                  <a:pt x="12938" y="16719"/>
                  <a:pt x="12907" y="16687"/>
                  <a:pt x="12907" y="16687"/>
                </a:cubicBezTo>
                <a:cubicBezTo>
                  <a:pt x="12907" y="16625"/>
                  <a:pt x="12938" y="16594"/>
                  <a:pt x="13000" y="16594"/>
                </a:cubicBezTo>
                <a:close/>
                <a:moveTo>
                  <a:pt x="14782" y="12125"/>
                </a:moveTo>
                <a:cubicBezTo>
                  <a:pt x="14782" y="12156"/>
                  <a:pt x="14750" y="12156"/>
                  <a:pt x="14688" y="12187"/>
                </a:cubicBezTo>
                <a:cubicBezTo>
                  <a:pt x="14688" y="12187"/>
                  <a:pt x="14625" y="12156"/>
                  <a:pt x="14657" y="12125"/>
                </a:cubicBezTo>
                <a:cubicBezTo>
                  <a:pt x="14688" y="12094"/>
                  <a:pt x="14719" y="12062"/>
                  <a:pt x="14782" y="12062"/>
                </a:cubicBezTo>
                <a:cubicBezTo>
                  <a:pt x="14782" y="12062"/>
                  <a:pt x="14844" y="12062"/>
                  <a:pt x="14782" y="12125"/>
                </a:cubicBezTo>
                <a:close/>
                <a:moveTo>
                  <a:pt x="15688" y="10000"/>
                </a:moveTo>
                <a:cubicBezTo>
                  <a:pt x="15688" y="10000"/>
                  <a:pt x="15688" y="10000"/>
                  <a:pt x="15688" y="10000"/>
                </a:cubicBezTo>
                <a:cubicBezTo>
                  <a:pt x="15688" y="10000"/>
                  <a:pt x="15688" y="10000"/>
                  <a:pt x="15688" y="10000"/>
                </a:cubicBezTo>
                <a:close/>
                <a:moveTo>
                  <a:pt x="15688" y="10250"/>
                </a:moveTo>
                <a:cubicBezTo>
                  <a:pt x="15688" y="10219"/>
                  <a:pt x="15625" y="10187"/>
                  <a:pt x="15594" y="10156"/>
                </a:cubicBezTo>
                <a:cubicBezTo>
                  <a:pt x="15625" y="10187"/>
                  <a:pt x="15688" y="10219"/>
                  <a:pt x="15688" y="10250"/>
                </a:cubicBezTo>
                <a:close/>
                <a:moveTo>
                  <a:pt x="15594" y="10062"/>
                </a:move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62"/>
                  <a:pt x="15594" y="10062"/>
                </a:cubicBezTo>
                <a:cubicBezTo>
                  <a:pt x="15594" y="10062"/>
                  <a:pt x="15594" y="10062"/>
                  <a:pt x="15594" y="10062"/>
                </a:cubicBezTo>
                <a:close/>
                <a:moveTo>
                  <a:pt x="15688" y="10250"/>
                </a:moveTo>
                <a:cubicBezTo>
                  <a:pt x="15688" y="10250"/>
                  <a:pt x="15688" y="10250"/>
                  <a:pt x="15688" y="10250"/>
                </a:cubicBezTo>
                <a:cubicBezTo>
                  <a:pt x="15688" y="10250"/>
                  <a:pt x="15688" y="10250"/>
                  <a:pt x="15688" y="10250"/>
                </a:cubicBezTo>
                <a:close/>
                <a:moveTo>
                  <a:pt x="15875" y="11562"/>
                </a:moveTo>
                <a:cubicBezTo>
                  <a:pt x="15875" y="11562"/>
                  <a:pt x="15875" y="11562"/>
                  <a:pt x="15875" y="11562"/>
                </a:cubicBezTo>
                <a:cubicBezTo>
                  <a:pt x="15875" y="11562"/>
                  <a:pt x="15875" y="11562"/>
                  <a:pt x="15875" y="11562"/>
                </a:cubicBezTo>
                <a:close/>
                <a:moveTo>
                  <a:pt x="15844" y="11562"/>
                </a:moveTo>
                <a:cubicBezTo>
                  <a:pt x="15844" y="11562"/>
                  <a:pt x="15844" y="11562"/>
                  <a:pt x="15875" y="11562"/>
                </a:cubicBezTo>
                <a:cubicBezTo>
                  <a:pt x="15844" y="11562"/>
                  <a:pt x="15844" y="11562"/>
                  <a:pt x="15844" y="11562"/>
                </a:cubicBezTo>
                <a:close/>
                <a:moveTo>
                  <a:pt x="15657" y="9562"/>
                </a:moveTo>
                <a:cubicBezTo>
                  <a:pt x="15657" y="9562"/>
                  <a:pt x="15657" y="9562"/>
                  <a:pt x="15657" y="9562"/>
                </a:cubicBezTo>
                <a:cubicBezTo>
                  <a:pt x="15657" y="9562"/>
                  <a:pt x="15657" y="9562"/>
                  <a:pt x="15657" y="9562"/>
                </a:cubicBezTo>
                <a:close/>
                <a:moveTo>
                  <a:pt x="28032" y="5781"/>
                </a:moveTo>
                <a:cubicBezTo>
                  <a:pt x="28000" y="5781"/>
                  <a:pt x="28000" y="5812"/>
                  <a:pt x="28000" y="5812"/>
                </a:cubicBezTo>
                <a:cubicBezTo>
                  <a:pt x="27969" y="5812"/>
                  <a:pt x="27969" y="5781"/>
                  <a:pt x="27969" y="5781"/>
                </a:cubicBezTo>
                <a:cubicBezTo>
                  <a:pt x="27969" y="5781"/>
                  <a:pt x="27969" y="5750"/>
                  <a:pt x="27969" y="5750"/>
                </a:cubicBezTo>
                <a:cubicBezTo>
                  <a:pt x="28000" y="5781"/>
                  <a:pt x="28000" y="5781"/>
                  <a:pt x="28032" y="5781"/>
                </a:cubicBezTo>
                <a:close/>
                <a:moveTo>
                  <a:pt x="29250" y="17031"/>
                </a:moveTo>
                <a:cubicBezTo>
                  <a:pt x="29250" y="17031"/>
                  <a:pt x="29250" y="17031"/>
                  <a:pt x="29250" y="17031"/>
                </a:cubicBezTo>
                <a:cubicBezTo>
                  <a:pt x="29250" y="17031"/>
                  <a:pt x="29250" y="17031"/>
                  <a:pt x="29219" y="17062"/>
                </a:cubicBezTo>
                <a:cubicBezTo>
                  <a:pt x="29250" y="17031"/>
                  <a:pt x="29250" y="17031"/>
                  <a:pt x="29250" y="17031"/>
                </a:cubicBezTo>
                <a:close/>
                <a:moveTo>
                  <a:pt x="29438" y="9031"/>
                </a:moveTo>
                <a:cubicBezTo>
                  <a:pt x="29438" y="9031"/>
                  <a:pt x="29469" y="9062"/>
                  <a:pt x="29500" y="9062"/>
                </a:cubicBezTo>
                <a:cubicBezTo>
                  <a:pt x="29469" y="9062"/>
                  <a:pt x="29438" y="9031"/>
                  <a:pt x="29438" y="9031"/>
                </a:cubicBezTo>
                <a:close/>
                <a:moveTo>
                  <a:pt x="29469" y="13656"/>
                </a:moveTo>
                <a:cubicBezTo>
                  <a:pt x="29469" y="13656"/>
                  <a:pt x="29469" y="13656"/>
                  <a:pt x="29438" y="13687"/>
                </a:cubicBezTo>
                <a:cubicBezTo>
                  <a:pt x="29469" y="13656"/>
                  <a:pt x="29469" y="13656"/>
                  <a:pt x="29469" y="1365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906"/>
                  <a:pt x="29375" y="16906"/>
                </a:cubicBezTo>
                <a:cubicBezTo>
                  <a:pt x="29344" y="16906"/>
                  <a:pt x="29344" y="16937"/>
                  <a:pt x="29313" y="16969"/>
                </a:cubicBezTo>
                <a:cubicBezTo>
                  <a:pt x="29313" y="16969"/>
                  <a:pt x="29313" y="16969"/>
                  <a:pt x="29313" y="16969"/>
                </a:cubicBezTo>
                <a:cubicBezTo>
                  <a:pt x="29344" y="16937"/>
                  <a:pt x="29344" y="16906"/>
                  <a:pt x="29375" y="16906"/>
                </a:cubicBezTo>
                <a:close/>
                <a:moveTo>
                  <a:pt x="29375" y="16906"/>
                </a:moveTo>
                <a:cubicBezTo>
                  <a:pt x="29375" y="16906"/>
                  <a:pt x="29375" y="16875"/>
                  <a:pt x="29407" y="16875"/>
                </a:cubicBezTo>
                <a:cubicBezTo>
                  <a:pt x="29375" y="16875"/>
                  <a:pt x="29375" y="16906"/>
                  <a:pt x="29375" y="16906"/>
                </a:cubicBezTo>
                <a:cubicBezTo>
                  <a:pt x="29375" y="16906"/>
                  <a:pt x="29375" y="16906"/>
                  <a:pt x="29375" y="16906"/>
                </a:cubicBezTo>
                <a:close/>
                <a:moveTo>
                  <a:pt x="29313" y="16969"/>
                </a:moveTo>
                <a:cubicBezTo>
                  <a:pt x="29313" y="16969"/>
                  <a:pt x="29313" y="16969"/>
                  <a:pt x="29313" y="16969"/>
                </a:cubicBezTo>
                <a:cubicBezTo>
                  <a:pt x="29313" y="17000"/>
                  <a:pt x="29282" y="17031"/>
                  <a:pt x="29250" y="17031"/>
                </a:cubicBezTo>
                <a:cubicBezTo>
                  <a:pt x="29250" y="17031"/>
                  <a:pt x="29250" y="17031"/>
                  <a:pt x="29250" y="17031"/>
                </a:cubicBezTo>
                <a:cubicBezTo>
                  <a:pt x="29282" y="17031"/>
                  <a:pt x="29313" y="17000"/>
                  <a:pt x="29313" y="16969"/>
                </a:cubicBezTo>
                <a:close/>
                <a:moveTo>
                  <a:pt x="27688" y="11500"/>
                </a:moveTo>
                <a:cubicBezTo>
                  <a:pt x="27657" y="11312"/>
                  <a:pt x="27563" y="11125"/>
                  <a:pt x="27875" y="11031"/>
                </a:cubicBezTo>
                <a:cubicBezTo>
                  <a:pt x="27969" y="11000"/>
                  <a:pt x="28032" y="10844"/>
                  <a:pt x="27907" y="10781"/>
                </a:cubicBezTo>
                <a:cubicBezTo>
                  <a:pt x="27563" y="10562"/>
                  <a:pt x="27938" y="10531"/>
                  <a:pt x="27969" y="10406"/>
                </a:cubicBezTo>
                <a:cubicBezTo>
                  <a:pt x="28188" y="10437"/>
                  <a:pt x="28219" y="10719"/>
                  <a:pt x="28438" y="10719"/>
                </a:cubicBezTo>
                <a:cubicBezTo>
                  <a:pt x="28313" y="11094"/>
                  <a:pt x="28094" y="11375"/>
                  <a:pt x="27688" y="11500"/>
                </a:cubicBezTo>
                <a:close/>
                <a:moveTo>
                  <a:pt x="28625" y="13156"/>
                </a:moveTo>
                <a:cubicBezTo>
                  <a:pt x="28625" y="13187"/>
                  <a:pt x="28625" y="13187"/>
                  <a:pt x="28625" y="13187"/>
                </a:cubicBezTo>
                <a:cubicBezTo>
                  <a:pt x="28625" y="13187"/>
                  <a:pt x="28625" y="13187"/>
                  <a:pt x="28625" y="13156"/>
                </a:cubicBezTo>
                <a:close/>
                <a:moveTo>
                  <a:pt x="28594" y="13187"/>
                </a:moveTo>
                <a:cubicBezTo>
                  <a:pt x="28594" y="13187"/>
                  <a:pt x="28594" y="13219"/>
                  <a:pt x="28594" y="13219"/>
                </a:cubicBezTo>
                <a:cubicBezTo>
                  <a:pt x="28594" y="13219"/>
                  <a:pt x="28594" y="13187"/>
                  <a:pt x="28594" y="13187"/>
                </a:cubicBezTo>
                <a:close/>
                <a:moveTo>
                  <a:pt x="28563" y="11594"/>
                </a:moveTo>
                <a:cubicBezTo>
                  <a:pt x="28563" y="11594"/>
                  <a:pt x="28563" y="11594"/>
                  <a:pt x="28594" y="11594"/>
                </a:cubicBezTo>
                <a:cubicBezTo>
                  <a:pt x="28563" y="11594"/>
                  <a:pt x="28563" y="11594"/>
                  <a:pt x="28563" y="11594"/>
                </a:cubicBezTo>
                <a:close/>
                <a:moveTo>
                  <a:pt x="28563" y="11531"/>
                </a:moveTo>
                <a:cubicBezTo>
                  <a:pt x="28563" y="11531"/>
                  <a:pt x="28563" y="11531"/>
                  <a:pt x="28563" y="11531"/>
                </a:cubicBezTo>
                <a:cubicBezTo>
                  <a:pt x="28594" y="11562"/>
                  <a:pt x="28625" y="11562"/>
                  <a:pt x="28657" y="11562"/>
                </a:cubicBezTo>
                <a:cubicBezTo>
                  <a:pt x="28625" y="11562"/>
                  <a:pt x="28594" y="11562"/>
                  <a:pt x="28563" y="11531"/>
                </a:cubicBezTo>
                <a:close/>
                <a:moveTo>
                  <a:pt x="28563" y="11562"/>
                </a:moveTo>
                <a:cubicBezTo>
                  <a:pt x="28563" y="11562"/>
                  <a:pt x="28563" y="11562"/>
                  <a:pt x="28563" y="11594"/>
                </a:cubicBezTo>
                <a:cubicBezTo>
                  <a:pt x="28563" y="11562"/>
                  <a:pt x="28563" y="11562"/>
                  <a:pt x="28563" y="11562"/>
                </a:cubicBezTo>
                <a:cubicBezTo>
                  <a:pt x="28563" y="11562"/>
                  <a:pt x="28563" y="11562"/>
                  <a:pt x="28563" y="11562"/>
                </a:cubicBezTo>
                <a:close/>
                <a:moveTo>
                  <a:pt x="28657" y="11562"/>
                </a:moveTo>
                <a:cubicBezTo>
                  <a:pt x="28657" y="11562"/>
                  <a:pt x="28657" y="11562"/>
                  <a:pt x="28657" y="11562"/>
                </a:cubicBezTo>
                <a:cubicBezTo>
                  <a:pt x="28657" y="11562"/>
                  <a:pt x="28657" y="11562"/>
                  <a:pt x="28657" y="11562"/>
                </a:cubicBezTo>
                <a:close/>
                <a:moveTo>
                  <a:pt x="28219" y="10281"/>
                </a:moveTo>
                <a:cubicBezTo>
                  <a:pt x="28157" y="10250"/>
                  <a:pt x="28094" y="10250"/>
                  <a:pt x="28000" y="10250"/>
                </a:cubicBezTo>
                <a:cubicBezTo>
                  <a:pt x="27969" y="10219"/>
                  <a:pt x="27907" y="10281"/>
                  <a:pt x="27844" y="10281"/>
                </a:cubicBezTo>
                <a:cubicBezTo>
                  <a:pt x="27907" y="10281"/>
                  <a:pt x="27969" y="10219"/>
                  <a:pt x="28000" y="10250"/>
                </a:cubicBezTo>
                <a:cubicBezTo>
                  <a:pt x="28000" y="10219"/>
                  <a:pt x="28032" y="10187"/>
                  <a:pt x="28000" y="10156"/>
                </a:cubicBezTo>
                <a:cubicBezTo>
                  <a:pt x="27938" y="9594"/>
                  <a:pt x="27969" y="9562"/>
                  <a:pt x="28469" y="9625"/>
                </a:cubicBezTo>
                <a:cubicBezTo>
                  <a:pt x="28469" y="9625"/>
                  <a:pt x="28469" y="9625"/>
                  <a:pt x="28469" y="9625"/>
                </a:cubicBezTo>
                <a:cubicBezTo>
                  <a:pt x="28500" y="9656"/>
                  <a:pt x="28563" y="9687"/>
                  <a:pt x="28594" y="9750"/>
                </a:cubicBezTo>
                <a:cubicBezTo>
                  <a:pt x="28313" y="9812"/>
                  <a:pt x="28188" y="10000"/>
                  <a:pt x="28219" y="10281"/>
                </a:cubicBezTo>
                <a:close/>
                <a:moveTo>
                  <a:pt x="27000" y="6906"/>
                </a:moveTo>
                <a:cubicBezTo>
                  <a:pt x="27032" y="6906"/>
                  <a:pt x="27032" y="6875"/>
                  <a:pt x="27063" y="6844"/>
                </a:cubicBezTo>
                <a:cubicBezTo>
                  <a:pt x="27094" y="6812"/>
                  <a:pt x="27094" y="6812"/>
                  <a:pt x="27094" y="6750"/>
                </a:cubicBezTo>
                <a:cubicBezTo>
                  <a:pt x="27125" y="6719"/>
                  <a:pt x="27157" y="6656"/>
                  <a:pt x="27188" y="6625"/>
                </a:cubicBezTo>
                <a:cubicBezTo>
                  <a:pt x="27250" y="6594"/>
                  <a:pt x="27313" y="6500"/>
                  <a:pt x="27407" y="6594"/>
                </a:cubicBezTo>
                <a:cubicBezTo>
                  <a:pt x="27469" y="6656"/>
                  <a:pt x="27375" y="6719"/>
                  <a:pt x="27313" y="6750"/>
                </a:cubicBezTo>
                <a:cubicBezTo>
                  <a:pt x="27250" y="6875"/>
                  <a:pt x="27094" y="6906"/>
                  <a:pt x="27032" y="7031"/>
                </a:cubicBezTo>
                <a:cubicBezTo>
                  <a:pt x="27032" y="7031"/>
                  <a:pt x="27032" y="7031"/>
                  <a:pt x="27032" y="7031"/>
                </a:cubicBezTo>
                <a:cubicBezTo>
                  <a:pt x="26938" y="7031"/>
                  <a:pt x="27000" y="6937"/>
                  <a:pt x="27000" y="6906"/>
                </a:cubicBezTo>
                <a:close/>
                <a:moveTo>
                  <a:pt x="27344" y="7281"/>
                </a:moveTo>
                <a:cubicBezTo>
                  <a:pt x="27344" y="7344"/>
                  <a:pt x="27313" y="7406"/>
                  <a:pt x="27282" y="7469"/>
                </a:cubicBezTo>
                <a:cubicBezTo>
                  <a:pt x="27313" y="7406"/>
                  <a:pt x="27344" y="7344"/>
                  <a:pt x="27344" y="7281"/>
                </a:cubicBezTo>
                <a:cubicBezTo>
                  <a:pt x="27344" y="7281"/>
                  <a:pt x="27344" y="7281"/>
                  <a:pt x="27344" y="7281"/>
                </a:cubicBezTo>
                <a:close/>
                <a:moveTo>
                  <a:pt x="27219" y="8750"/>
                </a:moveTo>
                <a:cubicBezTo>
                  <a:pt x="27250" y="8750"/>
                  <a:pt x="27250" y="8750"/>
                  <a:pt x="27250" y="8719"/>
                </a:cubicBezTo>
                <a:cubicBezTo>
                  <a:pt x="27250" y="8750"/>
                  <a:pt x="27250" y="8750"/>
                  <a:pt x="27219" y="8750"/>
                </a:cubicBezTo>
                <a:close/>
                <a:moveTo>
                  <a:pt x="28563" y="9500"/>
                </a:moveTo>
                <a:cubicBezTo>
                  <a:pt x="28563" y="9500"/>
                  <a:pt x="28563" y="9500"/>
                  <a:pt x="28563" y="9531"/>
                </a:cubicBezTo>
                <a:cubicBezTo>
                  <a:pt x="28563" y="9500"/>
                  <a:pt x="28563" y="9500"/>
                  <a:pt x="28563" y="9500"/>
                </a:cubicBezTo>
                <a:close/>
                <a:moveTo>
                  <a:pt x="28000" y="7781"/>
                </a:moveTo>
                <a:cubicBezTo>
                  <a:pt x="28000" y="7750"/>
                  <a:pt x="28000" y="7750"/>
                  <a:pt x="28000" y="7750"/>
                </a:cubicBezTo>
                <a:cubicBezTo>
                  <a:pt x="28000" y="7750"/>
                  <a:pt x="28000" y="7750"/>
                  <a:pt x="28000" y="7781"/>
                </a:cubicBezTo>
                <a:close/>
                <a:moveTo>
                  <a:pt x="28063" y="7719"/>
                </a:moveTo>
                <a:cubicBezTo>
                  <a:pt x="28063" y="7719"/>
                  <a:pt x="28094" y="7719"/>
                  <a:pt x="28094" y="7687"/>
                </a:cubicBezTo>
                <a:cubicBezTo>
                  <a:pt x="28094" y="7719"/>
                  <a:pt x="28063" y="7719"/>
                  <a:pt x="28063" y="7719"/>
                </a:cubicBezTo>
                <a:close/>
                <a:moveTo>
                  <a:pt x="27719" y="6687"/>
                </a:moveTo>
                <a:cubicBezTo>
                  <a:pt x="27750" y="6656"/>
                  <a:pt x="27750" y="6625"/>
                  <a:pt x="27782" y="6687"/>
                </a:cubicBezTo>
                <a:cubicBezTo>
                  <a:pt x="27782" y="6687"/>
                  <a:pt x="27750" y="6687"/>
                  <a:pt x="27750" y="6719"/>
                </a:cubicBezTo>
                <a:cubicBezTo>
                  <a:pt x="27719" y="6781"/>
                  <a:pt x="27657" y="6812"/>
                  <a:pt x="27594" y="6812"/>
                </a:cubicBezTo>
                <a:cubicBezTo>
                  <a:pt x="27594" y="6719"/>
                  <a:pt x="27657" y="6719"/>
                  <a:pt x="27719" y="6687"/>
                </a:cubicBezTo>
                <a:close/>
                <a:moveTo>
                  <a:pt x="27157" y="10094"/>
                </a:moveTo>
                <a:cubicBezTo>
                  <a:pt x="27157" y="10094"/>
                  <a:pt x="27157" y="10094"/>
                  <a:pt x="27157" y="10094"/>
                </a:cubicBezTo>
                <a:cubicBezTo>
                  <a:pt x="27157" y="10125"/>
                  <a:pt x="27157" y="10125"/>
                  <a:pt x="27157" y="10156"/>
                </a:cubicBezTo>
                <a:cubicBezTo>
                  <a:pt x="27157" y="10125"/>
                  <a:pt x="27157" y="10125"/>
                  <a:pt x="27157" y="10094"/>
                </a:cubicBezTo>
                <a:close/>
                <a:moveTo>
                  <a:pt x="27782" y="6875"/>
                </a:moveTo>
                <a:cubicBezTo>
                  <a:pt x="27782" y="6875"/>
                  <a:pt x="27782" y="6875"/>
                  <a:pt x="27782" y="6844"/>
                </a:cubicBezTo>
                <a:cubicBezTo>
                  <a:pt x="27782" y="6844"/>
                  <a:pt x="27813" y="6844"/>
                  <a:pt x="27813" y="6844"/>
                </a:cubicBezTo>
                <a:cubicBezTo>
                  <a:pt x="27813" y="6844"/>
                  <a:pt x="27813" y="6844"/>
                  <a:pt x="27844" y="6844"/>
                </a:cubicBezTo>
                <a:cubicBezTo>
                  <a:pt x="27813" y="6875"/>
                  <a:pt x="27813" y="6875"/>
                  <a:pt x="27782" y="6875"/>
                </a:cubicBezTo>
                <a:close/>
                <a:moveTo>
                  <a:pt x="25782" y="4594"/>
                </a:moveTo>
                <a:cubicBezTo>
                  <a:pt x="25719" y="4500"/>
                  <a:pt x="25625" y="4531"/>
                  <a:pt x="25563" y="4531"/>
                </a:cubicBezTo>
                <a:cubicBezTo>
                  <a:pt x="25625" y="4531"/>
                  <a:pt x="25719" y="4500"/>
                  <a:pt x="25782" y="4594"/>
                </a:cubicBezTo>
                <a:close/>
                <a:moveTo>
                  <a:pt x="18125" y="3625"/>
                </a:move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lose/>
                <a:moveTo>
                  <a:pt x="20532" y="4031"/>
                </a:moveTo>
                <a:cubicBezTo>
                  <a:pt x="20532" y="4031"/>
                  <a:pt x="20532" y="4031"/>
                  <a:pt x="20532" y="4000"/>
                </a:cubicBezTo>
                <a:cubicBezTo>
                  <a:pt x="20532" y="4031"/>
                  <a:pt x="20532" y="4031"/>
                  <a:pt x="20532" y="4031"/>
                </a:cubicBezTo>
                <a:close/>
                <a:moveTo>
                  <a:pt x="22063" y="8281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125" y="8312"/>
                  <a:pt x="22188" y="8281"/>
                  <a:pt x="22250" y="8250"/>
                </a:cubicBezTo>
                <a:cubicBezTo>
                  <a:pt x="22250" y="8250"/>
                  <a:pt x="22250" y="8250"/>
                  <a:pt x="22282" y="8250"/>
                </a:cubicBezTo>
                <a:cubicBezTo>
                  <a:pt x="22250" y="8250"/>
                  <a:pt x="22250" y="8250"/>
                  <a:pt x="22250" y="8250"/>
                </a:cubicBezTo>
                <a:cubicBezTo>
                  <a:pt x="22188" y="8281"/>
                  <a:pt x="22125" y="8312"/>
                  <a:pt x="22063" y="8281"/>
                </a:cubicBezTo>
                <a:close/>
                <a:moveTo>
                  <a:pt x="22063" y="8250"/>
                </a:move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81"/>
                </a:cubicBezTo>
                <a:cubicBezTo>
                  <a:pt x="22063" y="8281"/>
                  <a:pt x="22063" y="8281"/>
                  <a:pt x="22063" y="8250"/>
                </a:cubicBezTo>
                <a:close/>
                <a:moveTo>
                  <a:pt x="22469" y="8031"/>
                </a:moveTo>
                <a:cubicBezTo>
                  <a:pt x="22438" y="8031"/>
                  <a:pt x="22438" y="8031"/>
                  <a:pt x="22438" y="8031"/>
                </a:cubicBezTo>
                <a:cubicBezTo>
                  <a:pt x="22438" y="8031"/>
                  <a:pt x="22438" y="8031"/>
                  <a:pt x="22469" y="8031"/>
                </a:cubicBezTo>
                <a:close/>
                <a:moveTo>
                  <a:pt x="21750" y="8687"/>
                </a:moveTo>
                <a:cubicBezTo>
                  <a:pt x="21719" y="8687"/>
                  <a:pt x="21719" y="8687"/>
                  <a:pt x="21719" y="8687"/>
                </a:cubicBezTo>
                <a:cubicBezTo>
                  <a:pt x="21719" y="8656"/>
                  <a:pt x="21719" y="8656"/>
                  <a:pt x="21719" y="8656"/>
                </a:cubicBezTo>
                <a:lnTo>
                  <a:pt x="21750" y="8687"/>
                </a:lnTo>
                <a:close/>
                <a:moveTo>
                  <a:pt x="22594" y="9406"/>
                </a:moveTo>
                <a:cubicBezTo>
                  <a:pt x="22594" y="9406"/>
                  <a:pt x="22625" y="9437"/>
                  <a:pt x="22625" y="9437"/>
                </a:cubicBezTo>
                <a:cubicBezTo>
                  <a:pt x="22625" y="9437"/>
                  <a:pt x="22594" y="9406"/>
                  <a:pt x="22594" y="9406"/>
                </a:cubicBezTo>
                <a:close/>
                <a:moveTo>
                  <a:pt x="23594" y="11375"/>
                </a:moveTo>
                <a:cubicBezTo>
                  <a:pt x="23532" y="11031"/>
                  <a:pt x="23250" y="11094"/>
                  <a:pt x="23032" y="11062"/>
                </a:cubicBezTo>
                <a:cubicBezTo>
                  <a:pt x="23032" y="11062"/>
                  <a:pt x="23032" y="11062"/>
                  <a:pt x="23032" y="11062"/>
                </a:cubicBezTo>
                <a:cubicBezTo>
                  <a:pt x="23094" y="11031"/>
                  <a:pt x="23188" y="11031"/>
                  <a:pt x="23250" y="11000"/>
                </a:cubicBezTo>
                <a:cubicBezTo>
                  <a:pt x="23375" y="10906"/>
                  <a:pt x="23532" y="10781"/>
                  <a:pt x="23625" y="10906"/>
                </a:cubicBezTo>
                <a:cubicBezTo>
                  <a:pt x="23688" y="10969"/>
                  <a:pt x="23688" y="11219"/>
                  <a:pt x="23594" y="11375"/>
                </a:cubicBezTo>
                <a:close/>
                <a:moveTo>
                  <a:pt x="21063" y="12312"/>
                </a:moveTo>
                <a:cubicBezTo>
                  <a:pt x="21063" y="12312"/>
                  <a:pt x="21063" y="12312"/>
                  <a:pt x="21063" y="12312"/>
                </a:cubicBezTo>
                <a:cubicBezTo>
                  <a:pt x="21063" y="12312"/>
                  <a:pt x="21063" y="12312"/>
                  <a:pt x="21063" y="12312"/>
                </a:cubicBezTo>
                <a:close/>
                <a:moveTo>
                  <a:pt x="21032" y="8687"/>
                </a:moveTo>
                <a:cubicBezTo>
                  <a:pt x="21032" y="8687"/>
                  <a:pt x="21032" y="8656"/>
                  <a:pt x="21063" y="8656"/>
                </a:cubicBezTo>
                <a:cubicBezTo>
                  <a:pt x="21063" y="8656"/>
                  <a:pt x="21063" y="8656"/>
                  <a:pt x="21063" y="8656"/>
                </a:cubicBezTo>
                <a:cubicBezTo>
                  <a:pt x="21032" y="8656"/>
                  <a:pt x="21032" y="8687"/>
                  <a:pt x="21032" y="8687"/>
                </a:cubicBezTo>
                <a:close/>
                <a:moveTo>
                  <a:pt x="20313" y="8969"/>
                </a:moveTo>
                <a:cubicBezTo>
                  <a:pt x="20313" y="8969"/>
                  <a:pt x="20313" y="8969"/>
                  <a:pt x="20344" y="9000"/>
                </a:cubicBezTo>
                <a:cubicBezTo>
                  <a:pt x="20313" y="8969"/>
                  <a:pt x="20313" y="8969"/>
                  <a:pt x="20313" y="8969"/>
                </a:cubicBezTo>
                <a:close/>
                <a:moveTo>
                  <a:pt x="20063" y="9437"/>
                </a:moveTo>
                <a:cubicBezTo>
                  <a:pt x="20063" y="9437"/>
                  <a:pt x="20063" y="9469"/>
                  <a:pt x="20063" y="9469"/>
                </a:cubicBezTo>
                <a:cubicBezTo>
                  <a:pt x="20063" y="9469"/>
                  <a:pt x="20063" y="9437"/>
                  <a:pt x="20063" y="9437"/>
                </a:cubicBezTo>
                <a:close/>
                <a:moveTo>
                  <a:pt x="20032" y="9281"/>
                </a:moveTo>
                <a:cubicBezTo>
                  <a:pt x="20063" y="9281"/>
                  <a:pt x="20094" y="9281"/>
                  <a:pt x="20125" y="9344"/>
                </a:cubicBezTo>
                <a:cubicBezTo>
                  <a:pt x="20094" y="9281"/>
                  <a:pt x="20063" y="9281"/>
                  <a:pt x="20032" y="9281"/>
                </a:cubicBezTo>
                <a:close/>
                <a:moveTo>
                  <a:pt x="19938" y="9281"/>
                </a:moveTo>
                <a:cubicBezTo>
                  <a:pt x="19907" y="9281"/>
                  <a:pt x="19907" y="9281"/>
                  <a:pt x="19875" y="9281"/>
                </a:cubicBezTo>
                <a:cubicBezTo>
                  <a:pt x="19907" y="9281"/>
                  <a:pt x="19907" y="9281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lose/>
                <a:moveTo>
                  <a:pt x="19875" y="9312"/>
                </a:moveTo>
                <a:cubicBezTo>
                  <a:pt x="19875" y="9312"/>
                  <a:pt x="19875" y="9312"/>
                  <a:pt x="19875" y="9281"/>
                </a:cubicBezTo>
                <a:cubicBezTo>
                  <a:pt x="19875" y="9281"/>
                  <a:pt x="19875" y="9281"/>
                  <a:pt x="19875" y="9281"/>
                </a:cubicBezTo>
                <a:cubicBezTo>
                  <a:pt x="19875" y="9312"/>
                  <a:pt x="19875" y="9312"/>
                  <a:pt x="19875" y="9312"/>
                </a:cubicBezTo>
                <a:close/>
                <a:moveTo>
                  <a:pt x="21407" y="9750"/>
                </a:moveTo>
                <a:cubicBezTo>
                  <a:pt x="21438" y="9750"/>
                  <a:pt x="21469" y="9750"/>
                  <a:pt x="21532" y="9750"/>
                </a:cubicBezTo>
                <a:cubicBezTo>
                  <a:pt x="21469" y="9750"/>
                  <a:pt x="21438" y="9750"/>
                  <a:pt x="21407" y="9750"/>
                </a:cubicBezTo>
                <a:cubicBezTo>
                  <a:pt x="21375" y="9750"/>
                  <a:pt x="21375" y="9750"/>
                  <a:pt x="21375" y="9781"/>
                </a:cubicBezTo>
                <a:cubicBezTo>
                  <a:pt x="21375" y="9750"/>
                  <a:pt x="21375" y="9750"/>
                  <a:pt x="21407" y="9750"/>
                </a:cubicBezTo>
                <a:close/>
                <a:moveTo>
                  <a:pt x="21500" y="10844"/>
                </a:moveTo>
                <a:cubicBezTo>
                  <a:pt x="21469" y="10844"/>
                  <a:pt x="21438" y="10844"/>
                  <a:pt x="21438" y="10844"/>
                </a:cubicBezTo>
                <a:cubicBezTo>
                  <a:pt x="21438" y="10844"/>
                  <a:pt x="21469" y="10844"/>
                  <a:pt x="21500" y="10844"/>
                </a:cubicBezTo>
                <a:close/>
                <a:moveTo>
                  <a:pt x="22719" y="12187"/>
                </a:moveTo>
                <a:cubicBezTo>
                  <a:pt x="22688" y="12156"/>
                  <a:pt x="22688" y="12156"/>
                  <a:pt x="22688" y="12156"/>
                </a:cubicBezTo>
                <a:cubicBezTo>
                  <a:pt x="22688" y="12156"/>
                  <a:pt x="22688" y="12156"/>
                  <a:pt x="22719" y="12187"/>
                </a:cubicBezTo>
                <a:close/>
                <a:moveTo>
                  <a:pt x="22157" y="13125"/>
                </a:moveTo>
                <a:cubicBezTo>
                  <a:pt x="22250" y="13125"/>
                  <a:pt x="22375" y="13094"/>
                  <a:pt x="22500" y="13062"/>
                </a:cubicBezTo>
                <a:cubicBezTo>
                  <a:pt x="22375" y="13094"/>
                  <a:pt x="22250" y="13125"/>
                  <a:pt x="22157" y="13125"/>
                </a:cubicBezTo>
                <a:cubicBezTo>
                  <a:pt x="22157" y="13125"/>
                  <a:pt x="22157" y="13125"/>
                  <a:pt x="22157" y="13125"/>
                </a:cubicBezTo>
                <a:close/>
                <a:moveTo>
                  <a:pt x="22875" y="12500"/>
                </a:moveTo>
                <a:cubicBezTo>
                  <a:pt x="22875" y="12500"/>
                  <a:pt x="22875" y="12500"/>
                  <a:pt x="22875" y="12500"/>
                </a:cubicBezTo>
                <a:cubicBezTo>
                  <a:pt x="22875" y="12531"/>
                  <a:pt x="22844" y="12562"/>
                  <a:pt x="22813" y="12594"/>
                </a:cubicBezTo>
                <a:cubicBezTo>
                  <a:pt x="22844" y="12562"/>
                  <a:pt x="22875" y="12531"/>
                  <a:pt x="22875" y="12500"/>
                </a:cubicBezTo>
                <a:close/>
                <a:moveTo>
                  <a:pt x="22657" y="12656"/>
                </a:moveTo>
                <a:cubicBezTo>
                  <a:pt x="22688" y="12656"/>
                  <a:pt x="22719" y="12656"/>
                  <a:pt x="22750" y="12625"/>
                </a:cubicBezTo>
                <a:cubicBezTo>
                  <a:pt x="22719" y="12656"/>
                  <a:pt x="22688" y="12656"/>
                  <a:pt x="22657" y="12656"/>
                </a:cubicBezTo>
                <a:close/>
                <a:moveTo>
                  <a:pt x="23063" y="10406"/>
                </a:moveTo>
                <a:cubicBezTo>
                  <a:pt x="22969" y="10625"/>
                  <a:pt x="22782" y="10750"/>
                  <a:pt x="22500" y="10750"/>
                </a:cubicBezTo>
                <a:cubicBezTo>
                  <a:pt x="22157" y="10719"/>
                  <a:pt x="22000" y="10531"/>
                  <a:pt x="21907" y="10219"/>
                </a:cubicBezTo>
                <a:cubicBezTo>
                  <a:pt x="22063" y="10219"/>
                  <a:pt x="22219" y="10156"/>
                  <a:pt x="22344" y="10344"/>
                </a:cubicBezTo>
                <a:cubicBezTo>
                  <a:pt x="22469" y="10531"/>
                  <a:pt x="22625" y="10500"/>
                  <a:pt x="22813" y="10406"/>
                </a:cubicBezTo>
                <a:cubicBezTo>
                  <a:pt x="23032" y="10250"/>
                  <a:pt x="22938" y="10094"/>
                  <a:pt x="22813" y="9937"/>
                </a:cubicBezTo>
                <a:cubicBezTo>
                  <a:pt x="22782" y="9906"/>
                  <a:pt x="22750" y="9906"/>
                  <a:pt x="22719" y="9875"/>
                </a:cubicBezTo>
                <a:cubicBezTo>
                  <a:pt x="22782" y="9844"/>
                  <a:pt x="22813" y="9844"/>
                  <a:pt x="22844" y="9906"/>
                </a:cubicBezTo>
                <a:cubicBezTo>
                  <a:pt x="23032" y="10031"/>
                  <a:pt x="23157" y="10187"/>
                  <a:pt x="23063" y="10406"/>
                </a:cubicBezTo>
                <a:close/>
                <a:moveTo>
                  <a:pt x="22313" y="10125"/>
                </a:moveTo>
                <a:cubicBezTo>
                  <a:pt x="22250" y="10156"/>
                  <a:pt x="22188" y="10156"/>
                  <a:pt x="22125" y="10187"/>
                </a:cubicBezTo>
                <a:cubicBezTo>
                  <a:pt x="22063" y="10187"/>
                  <a:pt x="22000" y="10156"/>
                  <a:pt x="21969" y="10094"/>
                </a:cubicBezTo>
                <a:cubicBezTo>
                  <a:pt x="21938" y="10031"/>
                  <a:pt x="22032" y="10000"/>
                  <a:pt x="22063" y="9969"/>
                </a:cubicBezTo>
                <a:cubicBezTo>
                  <a:pt x="22219" y="9844"/>
                  <a:pt x="22313" y="9844"/>
                  <a:pt x="22407" y="9969"/>
                </a:cubicBezTo>
                <a:cubicBezTo>
                  <a:pt x="22344" y="10000"/>
                  <a:pt x="22313" y="10062"/>
                  <a:pt x="22313" y="10125"/>
                </a:cubicBezTo>
                <a:close/>
                <a:moveTo>
                  <a:pt x="21750" y="9656"/>
                </a:moveTo>
                <a:cubicBezTo>
                  <a:pt x="21782" y="9656"/>
                  <a:pt x="21782" y="9656"/>
                  <a:pt x="21813" y="9625"/>
                </a:cubicBezTo>
                <a:cubicBezTo>
                  <a:pt x="21782" y="9656"/>
                  <a:pt x="21782" y="9656"/>
                  <a:pt x="21750" y="9656"/>
                </a:cubicBezTo>
                <a:close/>
                <a:moveTo>
                  <a:pt x="21563" y="9719"/>
                </a:moveTo>
                <a:cubicBezTo>
                  <a:pt x="21594" y="9719"/>
                  <a:pt x="21594" y="9719"/>
                  <a:pt x="21625" y="9719"/>
                </a:cubicBezTo>
                <a:cubicBezTo>
                  <a:pt x="21594" y="9719"/>
                  <a:pt x="21594" y="9719"/>
                  <a:pt x="21563" y="9719"/>
                </a:cubicBezTo>
                <a:close/>
                <a:moveTo>
                  <a:pt x="20375" y="3812"/>
                </a:moveTo>
                <a:cubicBezTo>
                  <a:pt x="20375" y="3812"/>
                  <a:pt x="20375" y="3812"/>
                  <a:pt x="20375" y="3812"/>
                </a:cubicBezTo>
                <a:cubicBezTo>
                  <a:pt x="20375" y="3812"/>
                  <a:pt x="20375" y="3812"/>
                  <a:pt x="20375" y="3812"/>
                </a:cubicBezTo>
                <a:close/>
                <a:moveTo>
                  <a:pt x="20375" y="8844"/>
                </a:moveTo>
                <a:cubicBezTo>
                  <a:pt x="20375" y="8844"/>
                  <a:pt x="20375" y="8844"/>
                  <a:pt x="20375" y="8844"/>
                </a:cubicBezTo>
                <a:cubicBezTo>
                  <a:pt x="20375" y="8844"/>
                  <a:pt x="20375" y="8844"/>
                  <a:pt x="20375" y="8844"/>
                </a:cubicBezTo>
                <a:cubicBezTo>
                  <a:pt x="20188" y="8937"/>
                  <a:pt x="19813" y="8875"/>
                  <a:pt x="19938" y="9281"/>
                </a:cubicBezTo>
                <a:cubicBezTo>
                  <a:pt x="19938" y="9281"/>
                  <a:pt x="19938" y="9281"/>
                  <a:pt x="19938" y="9281"/>
                </a:cubicBezTo>
                <a:cubicBezTo>
                  <a:pt x="19813" y="8875"/>
                  <a:pt x="20188" y="8937"/>
                  <a:pt x="20375" y="8844"/>
                </a:cubicBezTo>
                <a:close/>
                <a:moveTo>
                  <a:pt x="19063" y="5719"/>
                </a:moveTo>
                <a:cubicBezTo>
                  <a:pt x="19063" y="5687"/>
                  <a:pt x="19063" y="5687"/>
                  <a:pt x="19063" y="5687"/>
                </a:cubicBezTo>
                <a:cubicBezTo>
                  <a:pt x="19063" y="5687"/>
                  <a:pt x="19063" y="5687"/>
                  <a:pt x="19063" y="5719"/>
                </a:cubicBezTo>
                <a:close/>
                <a:moveTo>
                  <a:pt x="19063" y="5719"/>
                </a:moveTo>
                <a:cubicBezTo>
                  <a:pt x="19063" y="5750"/>
                  <a:pt x="19063" y="5750"/>
                  <a:pt x="19063" y="5781"/>
                </a:cubicBezTo>
                <a:cubicBezTo>
                  <a:pt x="19063" y="5750"/>
                  <a:pt x="19063" y="5750"/>
                  <a:pt x="19063" y="5719"/>
                </a:cubicBezTo>
                <a:close/>
                <a:moveTo>
                  <a:pt x="19063" y="5625"/>
                </a:moveTo>
                <a:cubicBezTo>
                  <a:pt x="19063" y="5625"/>
                  <a:pt x="19063" y="5625"/>
                  <a:pt x="19063" y="5625"/>
                </a:cubicBezTo>
                <a:cubicBezTo>
                  <a:pt x="19063" y="5625"/>
                  <a:pt x="19063" y="5625"/>
                  <a:pt x="19063" y="5625"/>
                </a:cubicBezTo>
                <a:close/>
                <a:moveTo>
                  <a:pt x="18563" y="5844"/>
                </a:moveTo>
                <a:cubicBezTo>
                  <a:pt x="18563" y="5844"/>
                  <a:pt x="18563" y="5844"/>
                  <a:pt x="18594" y="5844"/>
                </a:cubicBezTo>
                <a:cubicBezTo>
                  <a:pt x="18594" y="5844"/>
                  <a:pt x="18594" y="5844"/>
                  <a:pt x="18594" y="5844"/>
                </a:cubicBezTo>
                <a:cubicBezTo>
                  <a:pt x="18563" y="5844"/>
                  <a:pt x="18563" y="5844"/>
                  <a:pt x="18563" y="5844"/>
                </a:cubicBezTo>
                <a:close/>
                <a:moveTo>
                  <a:pt x="18157" y="6406"/>
                </a:moveTo>
                <a:cubicBezTo>
                  <a:pt x="18157" y="6375"/>
                  <a:pt x="18157" y="6344"/>
                  <a:pt x="18157" y="6312"/>
                </a:cubicBezTo>
                <a:cubicBezTo>
                  <a:pt x="18219" y="6219"/>
                  <a:pt x="18063" y="6031"/>
                  <a:pt x="18188" y="6031"/>
                </a:cubicBezTo>
                <a:cubicBezTo>
                  <a:pt x="18344" y="6000"/>
                  <a:pt x="18563" y="5906"/>
                  <a:pt x="18688" y="6156"/>
                </a:cubicBezTo>
                <a:cubicBezTo>
                  <a:pt x="18688" y="6219"/>
                  <a:pt x="18657" y="6312"/>
                  <a:pt x="18719" y="6375"/>
                </a:cubicBezTo>
                <a:cubicBezTo>
                  <a:pt x="18782" y="6469"/>
                  <a:pt x="18688" y="6562"/>
                  <a:pt x="18657" y="6562"/>
                </a:cubicBezTo>
                <a:cubicBezTo>
                  <a:pt x="18532" y="6375"/>
                  <a:pt x="18282" y="6625"/>
                  <a:pt x="18157" y="6406"/>
                </a:cubicBezTo>
                <a:close/>
                <a:moveTo>
                  <a:pt x="21125" y="10781"/>
                </a:moveTo>
                <a:cubicBezTo>
                  <a:pt x="21219" y="10844"/>
                  <a:pt x="21313" y="10844"/>
                  <a:pt x="21407" y="10844"/>
                </a:cubicBezTo>
                <a:cubicBezTo>
                  <a:pt x="21313" y="10844"/>
                  <a:pt x="21219" y="10844"/>
                  <a:pt x="21125" y="10781"/>
                </a:cubicBezTo>
                <a:cubicBezTo>
                  <a:pt x="21125" y="10781"/>
                  <a:pt x="21125" y="10781"/>
                  <a:pt x="21125" y="10781"/>
                </a:cubicBezTo>
                <a:close/>
                <a:moveTo>
                  <a:pt x="21969" y="8406"/>
                </a:moveTo>
                <a:cubicBezTo>
                  <a:pt x="21969" y="8406"/>
                  <a:pt x="22000" y="8437"/>
                  <a:pt x="22000" y="8437"/>
                </a:cubicBezTo>
                <a:cubicBezTo>
                  <a:pt x="22000" y="8437"/>
                  <a:pt x="21969" y="8406"/>
                  <a:pt x="21969" y="8406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38" y="14000"/>
                </a:move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ubicBezTo>
                  <a:pt x="23938" y="14000"/>
                  <a:pt x="23938" y="14000"/>
                  <a:pt x="23938" y="14000"/>
                </a:cubicBezTo>
                <a:close/>
                <a:moveTo>
                  <a:pt x="23969" y="14000"/>
                </a:moveTo>
                <a:cubicBezTo>
                  <a:pt x="23969" y="13937"/>
                  <a:pt x="23969" y="13906"/>
                  <a:pt x="23938" y="13844"/>
                </a:cubicBezTo>
                <a:cubicBezTo>
                  <a:pt x="23969" y="13906"/>
                  <a:pt x="23969" y="13937"/>
                  <a:pt x="23969" y="14000"/>
                </a:cubicBezTo>
                <a:cubicBezTo>
                  <a:pt x="23969" y="14000"/>
                  <a:pt x="23969" y="14000"/>
                  <a:pt x="23969" y="14000"/>
                </a:cubicBezTo>
                <a:close/>
                <a:moveTo>
                  <a:pt x="25469" y="14406"/>
                </a:moveTo>
                <a:cubicBezTo>
                  <a:pt x="25469" y="14437"/>
                  <a:pt x="25469" y="14437"/>
                  <a:pt x="25469" y="14437"/>
                </a:cubicBezTo>
                <a:cubicBezTo>
                  <a:pt x="25469" y="14437"/>
                  <a:pt x="25469" y="14437"/>
                  <a:pt x="25469" y="14406"/>
                </a:cubicBezTo>
                <a:cubicBezTo>
                  <a:pt x="25469" y="14406"/>
                  <a:pt x="25469" y="14406"/>
                  <a:pt x="25469" y="14406"/>
                </a:cubicBezTo>
                <a:close/>
                <a:moveTo>
                  <a:pt x="23000" y="4000"/>
                </a:moveTo>
                <a:cubicBezTo>
                  <a:pt x="23000" y="4031"/>
                  <a:pt x="23000" y="4031"/>
                  <a:pt x="23032" y="4062"/>
                </a:cubicBezTo>
                <a:cubicBezTo>
                  <a:pt x="23000" y="4062"/>
                  <a:pt x="23000" y="4094"/>
                  <a:pt x="23000" y="4094"/>
                </a:cubicBezTo>
                <a:cubicBezTo>
                  <a:pt x="22969" y="4094"/>
                  <a:pt x="22969" y="4062"/>
                  <a:pt x="22969" y="4062"/>
                </a:cubicBezTo>
                <a:cubicBezTo>
                  <a:pt x="22969" y="4031"/>
                  <a:pt x="22969" y="4031"/>
                  <a:pt x="23000" y="4000"/>
                </a:cubicBezTo>
                <a:close/>
                <a:moveTo>
                  <a:pt x="21750" y="3562"/>
                </a:moveTo>
                <a:cubicBezTo>
                  <a:pt x="21844" y="3625"/>
                  <a:pt x="21875" y="3687"/>
                  <a:pt x="21750" y="3750"/>
                </a:cubicBezTo>
                <a:cubicBezTo>
                  <a:pt x="21750" y="3687"/>
                  <a:pt x="21625" y="3625"/>
                  <a:pt x="21750" y="3562"/>
                </a:cubicBezTo>
                <a:close/>
                <a:moveTo>
                  <a:pt x="20532" y="3969"/>
                </a:moveTo>
                <a:cubicBezTo>
                  <a:pt x="20532" y="3937"/>
                  <a:pt x="20532" y="3906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532" y="3906"/>
                  <a:pt x="20532" y="3937"/>
                  <a:pt x="20532" y="3969"/>
                </a:cubicBezTo>
                <a:close/>
                <a:moveTo>
                  <a:pt x="17000" y="2281"/>
                </a:moveTo>
                <a:cubicBezTo>
                  <a:pt x="17032" y="2250"/>
                  <a:pt x="17032" y="2250"/>
                  <a:pt x="17032" y="2219"/>
                </a:cubicBezTo>
                <a:cubicBezTo>
                  <a:pt x="17063" y="1562"/>
                  <a:pt x="17719" y="1531"/>
                  <a:pt x="18032" y="1156"/>
                </a:cubicBezTo>
                <a:cubicBezTo>
                  <a:pt x="18063" y="1094"/>
                  <a:pt x="18188" y="1125"/>
                  <a:pt x="18157" y="1219"/>
                </a:cubicBezTo>
                <a:cubicBezTo>
                  <a:pt x="18125" y="1312"/>
                  <a:pt x="18094" y="1406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8063" y="1500"/>
                  <a:pt x="18063" y="1500"/>
                  <a:pt x="18063" y="1500"/>
                </a:cubicBezTo>
                <a:cubicBezTo>
                  <a:pt x="17782" y="1375"/>
                  <a:pt x="17782" y="1656"/>
                  <a:pt x="17688" y="1781"/>
                </a:cubicBezTo>
                <a:cubicBezTo>
                  <a:pt x="17875" y="1719"/>
                  <a:pt x="18094" y="1844"/>
                  <a:pt x="18157" y="1594"/>
                </a:cubicBezTo>
                <a:cubicBezTo>
                  <a:pt x="18282" y="1406"/>
                  <a:pt x="18407" y="1219"/>
                  <a:pt x="18532" y="1031"/>
                </a:cubicBezTo>
                <a:cubicBezTo>
                  <a:pt x="18688" y="1187"/>
                  <a:pt x="18625" y="1375"/>
                  <a:pt x="18625" y="1531"/>
                </a:cubicBezTo>
                <a:cubicBezTo>
                  <a:pt x="18625" y="1531"/>
                  <a:pt x="18625" y="1500"/>
                  <a:pt x="18657" y="1500"/>
                </a:cubicBezTo>
                <a:cubicBezTo>
                  <a:pt x="18625" y="1500"/>
                  <a:pt x="18625" y="1531"/>
                  <a:pt x="18625" y="1531"/>
                </a:cubicBezTo>
                <a:cubicBezTo>
                  <a:pt x="18625" y="1625"/>
                  <a:pt x="18750" y="1656"/>
                  <a:pt x="18719" y="1781"/>
                </a:cubicBezTo>
                <a:cubicBezTo>
                  <a:pt x="18719" y="2031"/>
                  <a:pt x="18719" y="2031"/>
                  <a:pt x="18938" y="1969"/>
                </a:cubicBezTo>
                <a:cubicBezTo>
                  <a:pt x="19063" y="1937"/>
                  <a:pt x="19125" y="2000"/>
                  <a:pt x="19157" y="2094"/>
                </a:cubicBezTo>
                <a:cubicBezTo>
                  <a:pt x="19188" y="2187"/>
                  <a:pt x="19188" y="2281"/>
                  <a:pt x="19282" y="2312"/>
                </a:cubicBezTo>
                <a:cubicBezTo>
                  <a:pt x="19344" y="2375"/>
                  <a:pt x="19469" y="2344"/>
                  <a:pt x="19500" y="2406"/>
                </a:cubicBezTo>
                <a:cubicBezTo>
                  <a:pt x="19563" y="2406"/>
                  <a:pt x="19625" y="2375"/>
                  <a:pt x="19657" y="2375"/>
                </a:cubicBezTo>
                <a:cubicBezTo>
                  <a:pt x="19688" y="2375"/>
                  <a:pt x="19688" y="2375"/>
                  <a:pt x="19719" y="2406"/>
                </a:cubicBezTo>
                <a:cubicBezTo>
                  <a:pt x="19688" y="2375"/>
                  <a:pt x="19688" y="2375"/>
                  <a:pt x="19657" y="2375"/>
                </a:cubicBezTo>
                <a:cubicBezTo>
                  <a:pt x="19625" y="2375"/>
                  <a:pt x="19563" y="2406"/>
                  <a:pt x="19500" y="2406"/>
                </a:cubicBezTo>
                <a:cubicBezTo>
                  <a:pt x="19563" y="2531"/>
                  <a:pt x="19500" y="2687"/>
                  <a:pt x="19657" y="2719"/>
                </a:cubicBezTo>
                <a:cubicBezTo>
                  <a:pt x="19782" y="2906"/>
                  <a:pt x="20032" y="2969"/>
                  <a:pt x="20094" y="3187"/>
                </a:cubicBezTo>
                <a:cubicBezTo>
                  <a:pt x="20250" y="3344"/>
                  <a:pt x="20375" y="3562"/>
                  <a:pt x="20375" y="3812"/>
                </a:cubicBezTo>
                <a:cubicBezTo>
                  <a:pt x="20407" y="3812"/>
                  <a:pt x="20438" y="3844"/>
                  <a:pt x="20438" y="3875"/>
                </a:cubicBezTo>
                <a:cubicBezTo>
                  <a:pt x="20438" y="3875"/>
                  <a:pt x="20438" y="3875"/>
                  <a:pt x="20438" y="3875"/>
                </a:cubicBezTo>
                <a:cubicBezTo>
                  <a:pt x="20438" y="3844"/>
                  <a:pt x="20407" y="3812"/>
                  <a:pt x="20375" y="3812"/>
                </a:cubicBezTo>
                <a:cubicBezTo>
                  <a:pt x="20375" y="3562"/>
                  <a:pt x="20250" y="3344"/>
                  <a:pt x="20094" y="3187"/>
                </a:cubicBezTo>
                <a:cubicBezTo>
                  <a:pt x="19969" y="3344"/>
                  <a:pt x="19813" y="3531"/>
                  <a:pt x="20125" y="3687"/>
                </a:cubicBezTo>
                <a:cubicBezTo>
                  <a:pt x="20250" y="3875"/>
                  <a:pt x="20188" y="4094"/>
                  <a:pt x="20125" y="4312"/>
                </a:cubicBezTo>
                <a:cubicBezTo>
                  <a:pt x="20188" y="4312"/>
                  <a:pt x="20219" y="4344"/>
                  <a:pt x="20219" y="4375"/>
                </a:cubicBezTo>
                <a:cubicBezTo>
                  <a:pt x="20250" y="4375"/>
                  <a:pt x="20250" y="4406"/>
                  <a:pt x="20250" y="4437"/>
                </a:cubicBezTo>
                <a:cubicBezTo>
                  <a:pt x="20250" y="4406"/>
                  <a:pt x="20250" y="4375"/>
                  <a:pt x="20219" y="4375"/>
                </a:cubicBezTo>
                <a:cubicBezTo>
                  <a:pt x="20219" y="4344"/>
                  <a:pt x="20188" y="4312"/>
                  <a:pt x="20125" y="4312"/>
                </a:cubicBezTo>
                <a:cubicBezTo>
                  <a:pt x="20094" y="4375"/>
                  <a:pt x="20032" y="4437"/>
                  <a:pt x="20000" y="4500"/>
                </a:cubicBezTo>
                <a:cubicBezTo>
                  <a:pt x="19813" y="4562"/>
                  <a:pt x="19813" y="4750"/>
                  <a:pt x="19844" y="4875"/>
                </a:cubicBezTo>
                <a:cubicBezTo>
                  <a:pt x="19875" y="5062"/>
                  <a:pt x="19907" y="5187"/>
                  <a:pt x="19719" y="5312"/>
                </a:cubicBezTo>
                <a:cubicBezTo>
                  <a:pt x="19594" y="5375"/>
                  <a:pt x="19688" y="5562"/>
                  <a:pt x="19594" y="5687"/>
                </a:cubicBezTo>
                <a:cubicBezTo>
                  <a:pt x="19563" y="5625"/>
                  <a:pt x="19500" y="5562"/>
                  <a:pt x="19469" y="5500"/>
                </a:cubicBezTo>
                <a:cubicBezTo>
                  <a:pt x="19407" y="5687"/>
                  <a:pt x="19282" y="5812"/>
                  <a:pt x="19188" y="6062"/>
                </a:cubicBezTo>
                <a:cubicBezTo>
                  <a:pt x="19125" y="5812"/>
                  <a:pt x="19094" y="5656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094" y="5531"/>
                  <a:pt x="19094" y="5531"/>
                  <a:pt x="19094" y="5531"/>
                </a:cubicBezTo>
                <a:cubicBezTo>
                  <a:pt x="19219" y="5500"/>
                  <a:pt x="19407" y="5500"/>
                  <a:pt x="19344" y="5281"/>
                </a:cubicBezTo>
                <a:cubicBezTo>
                  <a:pt x="19313" y="5219"/>
                  <a:pt x="19375" y="5187"/>
                  <a:pt x="19407" y="5219"/>
                </a:cubicBezTo>
                <a:cubicBezTo>
                  <a:pt x="19532" y="5344"/>
                  <a:pt x="19500" y="5250"/>
                  <a:pt x="19500" y="5156"/>
                </a:cubicBezTo>
                <a:cubicBezTo>
                  <a:pt x="19375" y="4687"/>
                  <a:pt x="19188" y="4281"/>
                  <a:pt x="18969" y="3844"/>
                </a:cubicBezTo>
                <a:cubicBezTo>
                  <a:pt x="18938" y="3781"/>
                  <a:pt x="18844" y="3781"/>
                  <a:pt x="18813" y="3844"/>
                </a:cubicBezTo>
                <a:cubicBezTo>
                  <a:pt x="18625" y="3656"/>
                  <a:pt x="18407" y="3469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25"/>
                  <a:pt x="18125" y="3625"/>
                  <a:pt x="18125" y="3625"/>
                </a:cubicBezTo>
                <a:cubicBezTo>
                  <a:pt x="18125" y="3687"/>
                  <a:pt x="18094" y="3719"/>
                  <a:pt x="18032" y="3687"/>
                </a:cubicBezTo>
                <a:cubicBezTo>
                  <a:pt x="18063" y="3656"/>
                  <a:pt x="18094" y="3656"/>
                  <a:pt x="18125" y="3625"/>
                </a:cubicBezTo>
                <a:cubicBezTo>
                  <a:pt x="18094" y="3594"/>
                  <a:pt x="18125" y="3531"/>
                  <a:pt x="18063" y="3500"/>
                </a:cubicBezTo>
                <a:cubicBezTo>
                  <a:pt x="18032" y="3500"/>
                  <a:pt x="18032" y="3531"/>
                  <a:pt x="18000" y="3531"/>
                </a:cubicBezTo>
                <a:cubicBezTo>
                  <a:pt x="17969" y="3531"/>
                  <a:pt x="18000" y="3500"/>
                  <a:pt x="18032" y="3469"/>
                </a:cubicBezTo>
                <a:cubicBezTo>
                  <a:pt x="18188" y="3250"/>
                  <a:pt x="18032" y="3187"/>
                  <a:pt x="17844" y="3125"/>
                </a:cubicBezTo>
                <a:cubicBezTo>
                  <a:pt x="17844" y="3156"/>
                  <a:pt x="17813" y="3187"/>
                  <a:pt x="17813" y="3250"/>
                </a:cubicBezTo>
                <a:cubicBezTo>
                  <a:pt x="17813" y="3250"/>
                  <a:pt x="17782" y="3250"/>
                  <a:pt x="17782" y="3250"/>
                </a:cubicBezTo>
                <a:cubicBezTo>
                  <a:pt x="17782" y="3250"/>
                  <a:pt x="17750" y="3250"/>
                  <a:pt x="17750" y="3281"/>
                </a:cubicBezTo>
                <a:cubicBezTo>
                  <a:pt x="17750" y="3281"/>
                  <a:pt x="17719" y="3281"/>
                  <a:pt x="17719" y="3281"/>
                </a:cubicBezTo>
                <a:cubicBezTo>
                  <a:pt x="17719" y="3281"/>
                  <a:pt x="17750" y="3281"/>
                  <a:pt x="17750" y="3281"/>
                </a:cubicBezTo>
                <a:cubicBezTo>
                  <a:pt x="17750" y="3250"/>
                  <a:pt x="17782" y="3250"/>
                  <a:pt x="17782" y="3250"/>
                </a:cubicBezTo>
                <a:cubicBezTo>
                  <a:pt x="17782" y="3250"/>
                  <a:pt x="17813" y="3250"/>
                  <a:pt x="17813" y="3250"/>
                </a:cubicBezTo>
                <a:cubicBezTo>
                  <a:pt x="17813" y="3187"/>
                  <a:pt x="17782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3125"/>
                  <a:pt x="17844" y="3125"/>
                  <a:pt x="17844" y="3125"/>
                </a:cubicBezTo>
                <a:cubicBezTo>
                  <a:pt x="17844" y="2969"/>
                  <a:pt x="17844" y="2844"/>
                  <a:pt x="17844" y="2687"/>
                </a:cubicBezTo>
                <a:cubicBezTo>
                  <a:pt x="17844" y="2687"/>
                  <a:pt x="17844" y="2687"/>
                  <a:pt x="17844" y="2687"/>
                </a:cubicBezTo>
                <a:cubicBezTo>
                  <a:pt x="18250" y="2219"/>
                  <a:pt x="17563" y="2344"/>
                  <a:pt x="17563" y="2062"/>
                </a:cubicBezTo>
                <a:cubicBezTo>
                  <a:pt x="17438" y="2344"/>
                  <a:pt x="17532" y="2469"/>
                  <a:pt x="17719" y="2500"/>
                </a:cubicBezTo>
                <a:cubicBezTo>
                  <a:pt x="17719" y="2594"/>
                  <a:pt x="17594" y="2562"/>
                  <a:pt x="17563" y="2625"/>
                </a:cubicBezTo>
                <a:cubicBezTo>
                  <a:pt x="17563" y="2656"/>
                  <a:pt x="17563" y="2719"/>
                  <a:pt x="17532" y="2750"/>
                </a:cubicBezTo>
                <a:cubicBezTo>
                  <a:pt x="17532" y="2750"/>
                  <a:pt x="17532" y="2781"/>
                  <a:pt x="17500" y="2781"/>
                </a:cubicBezTo>
                <a:cubicBezTo>
                  <a:pt x="17532" y="2781"/>
                  <a:pt x="17532" y="2750"/>
                  <a:pt x="17532" y="2750"/>
                </a:cubicBezTo>
                <a:cubicBezTo>
                  <a:pt x="17563" y="2719"/>
                  <a:pt x="17563" y="2656"/>
                  <a:pt x="17563" y="2625"/>
                </a:cubicBezTo>
                <a:cubicBezTo>
                  <a:pt x="17532" y="2594"/>
                  <a:pt x="17469" y="2594"/>
                  <a:pt x="17438" y="2562"/>
                </a:cubicBezTo>
                <a:cubicBezTo>
                  <a:pt x="17407" y="2656"/>
                  <a:pt x="17407" y="2750"/>
                  <a:pt x="17438" y="2812"/>
                </a:cubicBezTo>
                <a:cubicBezTo>
                  <a:pt x="17407" y="2844"/>
                  <a:pt x="17375" y="2844"/>
                  <a:pt x="17344" y="2875"/>
                </a:cubicBezTo>
                <a:cubicBezTo>
                  <a:pt x="17219" y="2812"/>
                  <a:pt x="17344" y="2656"/>
                  <a:pt x="17250" y="2562"/>
                </a:cubicBezTo>
                <a:cubicBezTo>
                  <a:pt x="17032" y="2781"/>
                  <a:pt x="16938" y="3125"/>
                  <a:pt x="17000" y="3437"/>
                </a:cubicBezTo>
                <a:cubicBezTo>
                  <a:pt x="17032" y="3531"/>
                  <a:pt x="17032" y="3625"/>
                  <a:pt x="16969" y="3687"/>
                </a:cubicBezTo>
                <a:cubicBezTo>
                  <a:pt x="16782" y="4031"/>
                  <a:pt x="16813" y="4344"/>
                  <a:pt x="17032" y="4656"/>
                </a:cubicBezTo>
                <a:cubicBezTo>
                  <a:pt x="17094" y="4719"/>
                  <a:pt x="17125" y="4781"/>
                  <a:pt x="17157" y="4875"/>
                </a:cubicBezTo>
                <a:cubicBezTo>
                  <a:pt x="17188" y="4906"/>
                  <a:pt x="17188" y="4937"/>
                  <a:pt x="17219" y="4969"/>
                </a:cubicBezTo>
                <a:cubicBezTo>
                  <a:pt x="17188" y="4937"/>
                  <a:pt x="17188" y="4906"/>
                  <a:pt x="17157" y="4875"/>
                </a:cubicBezTo>
                <a:cubicBezTo>
                  <a:pt x="17125" y="4781"/>
                  <a:pt x="17094" y="4719"/>
                  <a:pt x="17032" y="4656"/>
                </a:cubicBezTo>
                <a:cubicBezTo>
                  <a:pt x="16969" y="4844"/>
                  <a:pt x="16688" y="4969"/>
                  <a:pt x="16907" y="5187"/>
                </a:cubicBezTo>
                <a:cubicBezTo>
                  <a:pt x="16907" y="5187"/>
                  <a:pt x="16875" y="5219"/>
                  <a:pt x="16875" y="5250"/>
                </a:cubicBezTo>
                <a:cubicBezTo>
                  <a:pt x="16688" y="5469"/>
                  <a:pt x="16782" y="5656"/>
                  <a:pt x="17063" y="5687"/>
                </a:cubicBezTo>
                <a:cubicBezTo>
                  <a:pt x="16969" y="5781"/>
                  <a:pt x="16719" y="5719"/>
                  <a:pt x="16782" y="5969"/>
                </a:cubicBezTo>
                <a:cubicBezTo>
                  <a:pt x="16782" y="6031"/>
                  <a:pt x="16719" y="6094"/>
                  <a:pt x="16657" y="6062"/>
                </a:cubicBezTo>
                <a:cubicBezTo>
                  <a:pt x="16532" y="6031"/>
                  <a:pt x="16625" y="5906"/>
                  <a:pt x="16594" y="5844"/>
                </a:cubicBezTo>
                <a:cubicBezTo>
                  <a:pt x="16563" y="5500"/>
                  <a:pt x="16438" y="5187"/>
                  <a:pt x="16532" y="4844"/>
                </a:cubicBezTo>
                <a:cubicBezTo>
                  <a:pt x="16313" y="5000"/>
                  <a:pt x="16282" y="4906"/>
                  <a:pt x="16282" y="4719"/>
                </a:cubicBezTo>
                <a:cubicBezTo>
                  <a:pt x="16282" y="4562"/>
                  <a:pt x="16344" y="4375"/>
                  <a:pt x="16157" y="4250"/>
                </a:cubicBezTo>
                <a:cubicBezTo>
                  <a:pt x="16313" y="4000"/>
                  <a:pt x="16188" y="3687"/>
                  <a:pt x="16344" y="3469"/>
                </a:cubicBezTo>
                <a:cubicBezTo>
                  <a:pt x="16563" y="3062"/>
                  <a:pt x="16625" y="2562"/>
                  <a:pt x="17000" y="2281"/>
                </a:cubicBezTo>
                <a:close/>
                <a:moveTo>
                  <a:pt x="18032" y="1531"/>
                </a:moveTo>
                <a:cubicBezTo>
                  <a:pt x="18063" y="1562"/>
                  <a:pt x="18094" y="1594"/>
                  <a:pt x="18094" y="1594"/>
                </a:cubicBezTo>
                <a:cubicBezTo>
                  <a:pt x="18094" y="1594"/>
                  <a:pt x="18063" y="1562"/>
                  <a:pt x="18032" y="1531"/>
                </a:cubicBezTo>
                <a:close/>
                <a:moveTo>
                  <a:pt x="17844" y="2594"/>
                </a:moveTo>
                <a:cubicBezTo>
                  <a:pt x="17844" y="2594"/>
                  <a:pt x="17844" y="2594"/>
                  <a:pt x="17844" y="2594"/>
                </a:cubicBezTo>
                <a:cubicBezTo>
                  <a:pt x="17844" y="2594"/>
                  <a:pt x="17844" y="2594"/>
                  <a:pt x="17844" y="2594"/>
                </a:cubicBezTo>
                <a:close/>
                <a:moveTo>
                  <a:pt x="16907" y="5406"/>
                </a:moveTo>
                <a:cubicBezTo>
                  <a:pt x="16907" y="5437"/>
                  <a:pt x="16907" y="5437"/>
                  <a:pt x="16875" y="5437"/>
                </a:cubicBezTo>
                <a:cubicBezTo>
                  <a:pt x="16875" y="5437"/>
                  <a:pt x="16875" y="5437"/>
                  <a:pt x="16875" y="5406"/>
                </a:cubicBezTo>
                <a:cubicBezTo>
                  <a:pt x="16875" y="5406"/>
                  <a:pt x="16875" y="5406"/>
                  <a:pt x="16875" y="5406"/>
                </a:cubicBezTo>
                <a:cubicBezTo>
                  <a:pt x="16907" y="5406"/>
                  <a:pt x="16907" y="5406"/>
                  <a:pt x="16907" y="5406"/>
                </a:cubicBezTo>
                <a:close/>
                <a:moveTo>
                  <a:pt x="16344" y="2500"/>
                </a:moveTo>
                <a:cubicBezTo>
                  <a:pt x="16344" y="2500"/>
                  <a:pt x="16344" y="2500"/>
                  <a:pt x="16344" y="2500"/>
                </a:cubicBezTo>
                <a:cubicBezTo>
                  <a:pt x="16344" y="2531"/>
                  <a:pt x="16344" y="2562"/>
                  <a:pt x="16313" y="2594"/>
                </a:cubicBezTo>
                <a:cubicBezTo>
                  <a:pt x="16344" y="2562"/>
                  <a:pt x="16344" y="2531"/>
                  <a:pt x="16344" y="2500"/>
                </a:cubicBezTo>
                <a:close/>
                <a:moveTo>
                  <a:pt x="17313" y="12094"/>
                </a:moveTo>
                <a:cubicBezTo>
                  <a:pt x="17407" y="12062"/>
                  <a:pt x="17500" y="12031"/>
                  <a:pt x="17688" y="12031"/>
                </a:cubicBezTo>
                <a:cubicBezTo>
                  <a:pt x="17532" y="12156"/>
                  <a:pt x="17407" y="12094"/>
                  <a:pt x="17313" y="12094"/>
                </a:cubicBezTo>
                <a:close/>
                <a:moveTo>
                  <a:pt x="18250" y="12906"/>
                </a:moveTo>
                <a:cubicBezTo>
                  <a:pt x="18532" y="12781"/>
                  <a:pt x="18844" y="12781"/>
                  <a:pt x="19094" y="12656"/>
                </a:cubicBezTo>
                <a:cubicBezTo>
                  <a:pt x="18844" y="12781"/>
                  <a:pt x="18657" y="13125"/>
                  <a:pt x="18250" y="12906"/>
                </a:cubicBezTo>
                <a:close/>
                <a:moveTo>
                  <a:pt x="21907" y="13469"/>
                </a:moveTo>
                <a:cubicBezTo>
                  <a:pt x="21907" y="13406"/>
                  <a:pt x="21938" y="13406"/>
                  <a:pt x="21969" y="13375"/>
                </a:cubicBezTo>
                <a:cubicBezTo>
                  <a:pt x="21938" y="13406"/>
                  <a:pt x="21907" y="13406"/>
                  <a:pt x="21907" y="13469"/>
                </a:cubicBezTo>
                <a:close/>
                <a:moveTo>
                  <a:pt x="23532" y="13312"/>
                </a:moveTo>
                <a:cubicBezTo>
                  <a:pt x="23625" y="13312"/>
                  <a:pt x="23688" y="13312"/>
                  <a:pt x="23782" y="13281"/>
                </a:cubicBezTo>
                <a:cubicBezTo>
                  <a:pt x="23688" y="13312"/>
                  <a:pt x="23625" y="13312"/>
                  <a:pt x="23532" y="13312"/>
                </a:cubicBezTo>
                <a:close/>
                <a:moveTo>
                  <a:pt x="23969" y="14594"/>
                </a:moveTo>
                <a:cubicBezTo>
                  <a:pt x="23969" y="14594"/>
                  <a:pt x="23938" y="14594"/>
                  <a:pt x="23938" y="14594"/>
                </a:cubicBezTo>
                <a:cubicBezTo>
                  <a:pt x="23938" y="14562"/>
                  <a:pt x="23938" y="14531"/>
                  <a:pt x="23938" y="14531"/>
                </a:cubicBezTo>
                <a:cubicBezTo>
                  <a:pt x="23969" y="14531"/>
                  <a:pt x="23969" y="14562"/>
                  <a:pt x="24000" y="14562"/>
                </a:cubicBezTo>
                <a:cubicBezTo>
                  <a:pt x="24000" y="14562"/>
                  <a:pt x="24000" y="14594"/>
                  <a:pt x="23969" y="14594"/>
                </a:cubicBezTo>
                <a:close/>
                <a:moveTo>
                  <a:pt x="25438" y="14500"/>
                </a:moveTo>
                <a:cubicBezTo>
                  <a:pt x="25438" y="14500"/>
                  <a:pt x="25469" y="14469"/>
                  <a:pt x="25469" y="14437"/>
                </a:cubicBezTo>
                <a:cubicBezTo>
                  <a:pt x="25469" y="14437"/>
                  <a:pt x="25469" y="14437"/>
                  <a:pt x="25469" y="14437"/>
                </a:cubicBezTo>
                <a:cubicBezTo>
                  <a:pt x="25469" y="14469"/>
                  <a:pt x="25438" y="14500"/>
                  <a:pt x="25438" y="14500"/>
                </a:cubicBezTo>
                <a:close/>
                <a:moveTo>
                  <a:pt x="29750" y="16906"/>
                </a:moveTo>
                <a:cubicBezTo>
                  <a:pt x="29719" y="16969"/>
                  <a:pt x="29688" y="17062"/>
                  <a:pt x="29657" y="17125"/>
                </a:cubicBezTo>
                <a:cubicBezTo>
                  <a:pt x="29688" y="17062"/>
                  <a:pt x="29719" y="16969"/>
                  <a:pt x="29750" y="16906"/>
                </a:cubicBezTo>
                <a:cubicBezTo>
                  <a:pt x="29782" y="16844"/>
                  <a:pt x="29782" y="16812"/>
                  <a:pt x="29813" y="16781"/>
                </a:cubicBezTo>
                <a:cubicBezTo>
                  <a:pt x="29813" y="16781"/>
                  <a:pt x="29813" y="16781"/>
                  <a:pt x="29813" y="16781"/>
                </a:cubicBezTo>
                <a:cubicBezTo>
                  <a:pt x="29782" y="16812"/>
                  <a:pt x="29782" y="16844"/>
                  <a:pt x="29750" y="16906"/>
                </a:cubicBezTo>
                <a:close/>
                <a:moveTo>
                  <a:pt x="29938" y="16594"/>
                </a:moveTo>
                <a:cubicBezTo>
                  <a:pt x="29938" y="16594"/>
                  <a:pt x="29938" y="16594"/>
                  <a:pt x="29938" y="16594"/>
                </a:cubicBezTo>
                <a:cubicBezTo>
                  <a:pt x="29938" y="16594"/>
                  <a:pt x="29907" y="16594"/>
                  <a:pt x="29907" y="16625"/>
                </a:cubicBezTo>
                <a:cubicBezTo>
                  <a:pt x="29907" y="16594"/>
                  <a:pt x="29938" y="16594"/>
                  <a:pt x="29938" y="16594"/>
                </a:cubicBezTo>
                <a:close/>
                <a:moveTo>
                  <a:pt x="28282" y="6344"/>
                </a:moveTo>
                <a:cubicBezTo>
                  <a:pt x="28282" y="6469"/>
                  <a:pt x="27969" y="6469"/>
                  <a:pt x="28188" y="6625"/>
                </a:cubicBezTo>
                <a:cubicBezTo>
                  <a:pt x="28125" y="6656"/>
                  <a:pt x="28094" y="6687"/>
                  <a:pt x="28063" y="6719"/>
                </a:cubicBezTo>
                <a:cubicBezTo>
                  <a:pt x="27969" y="6656"/>
                  <a:pt x="27782" y="6625"/>
                  <a:pt x="27875" y="6469"/>
                </a:cubicBezTo>
                <a:cubicBezTo>
                  <a:pt x="27938" y="6312"/>
                  <a:pt x="28094" y="6312"/>
                  <a:pt x="28282" y="6344"/>
                </a:cubicBezTo>
                <a:close/>
                <a:moveTo>
                  <a:pt x="28719" y="4687"/>
                </a:moveTo>
                <a:cubicBezTo>
                  <a:pt x="28719" y="4687"/>
                  <a:pt x="28719" y="4656"/>
                  <a:pt x="28750" y="4656"/>
                </a:cubicBezTo>
                <a:cubicBezTo>
                  <a:pt x="28719" y="4656"/>
                  <a:pt x="28719" y="4687"/>
                  <a:pt x="28719" y="4687"/>
                </a:cubicBezTo>
                <a:close/>
                <a:moveTo>
                  <a:pt x="31125" y="1906"/>
                </a:moveTo>
                <a:cubicBezTo>
                  <a:pt x="31125" y="1906"/>
                  <a:pt x="31125" y="1906"/>
                  <a:pt x="31125" y="1906"/>
                </a:cubicBezTo>
                <a:cubicBezTo>
                  <a:pt x="31125" y="1937"/>
                  <a:pt x="31157" y="1937"/>
                  <a:pt x="31157" y="1969"/>
                </a:cubicBezTo>
                <a:cubicBezTo>
                  <a:pt x="31157" y="1937"/>
                  <a:pt x="31125" y="1937"/>
                  <a:pt x="31125" y="1906"/>
                </a:cubicBezTo>
                <a:close/>
                <a:moveTo>
                  <a:pt x="500" y="23344"/>
                </a:moveTo>
                <a:cubicBezTo>
                  <a:pt x="438" y="23281"/>
                  <a:pt x="344" y="23250"/>
                  <a:pt x="282" y="23219"/>
                </a:cubicBezTo>
                <a:cubicBezTo>
                  <a:pt x="94" y="23125"/>
                  <a:pt x="125" y="23312"/>
                  <a:pt x="63" y="23375"/>
                </a:cubicBezTo>
                <a:cubicBezTo>
                  <a:pt x="32" y="23437"/>
                  <a:pt x="0" y="23531"/>
                  <a:pt x="125" y="23531"/>
                </a:cubicBezTo>
                <a:cubicBezTo>
                  <a:pt x="688" y="23562"/>
                  <a:pt x="1250" y="23531"/>
                  <a:pt x="1750" y="23250"/>
                </a:cubicBezTo>
                <a:cubicBezTo>
                  <a:pt x="1500" y="23312"/>
                  <a:pt x="1250" y="23219"/>
                  <a:pt x="1000" y="23406"/>
                </a:cubicBezTo>
                <a:cubicBezTo>
                  <a:pt x="875" y="23500"/>
                  <a:pt x="657" y="23500"/>
                  <a:pt x="500" y="23344"/>
                </a:cubicBezTo>
                <a:close/>
                <a:moveTo>
                  <a:pt x="20719" y="23781"/>
                </a:moveTo>
                <a:cubicBezTo>
                  <a:pt x="20719" y="23719"/>
                  <a:pt x="20625" y="23687"/>
                  <a:pt x="20532" y="23687"/>
                </a:cubicBezTo>
                <a:cubicBezTo>
                  <a:pt x="20469" y="23687"/>
                  <a:pt x="20407" y="23656"/>
                  <a:pt x="20375" y="23562"/>
                </a:cubicBezTo>
                <a:cubicBezTo>
                  <a:pt x="20313" y="23469"/>
                  <a:pt x="20219" y="23312"/>
                  <a:pt x="20094" y="23406"/>
                </a:cubicBezTo>
                <a:cubicBezTo>
                  <a:pt x="20000" y="23500"/>
                  <a:pt x="20125" y="23656"/>
                  <a:pt x="20188" y="23719"/>
                </a:cubicBezTo>
                <a:cubicBezTo>
                  <a:pt x="20313" y="23844"/>
                  <a:pt x="20438" y="23906"/>
                  <a:pt x="20563" y="24000"/>
                </a:cubicBezTo>
                <a:cubicBezTo>
                  <a:pt x="20625" y="24062"/>
                  <a:pt x="20719" y="24062"/>
                  <a:pt x="20688" y="24156"/>
                </a:cubicBezTo>
                <a:cubicBezTo>
                  <a:pt x="20657" y="24375"/>
                  <a:pt x="20782" y="24375"/>
                  <a:pt x="20938" y="24375"/>
                </a:cubicBezTo>
                <a:cubicBezTo>
                  <a:pt x="20938" y="24375"/>
                  <a:pt x="20969" y="24375"/>
                  <a:pt x="20969" y="24344"/>
                </a:cubicBezTo>
                <a:cubicBezTo>
                  <a:pt x="20969" y="24375"/>
                  <a:pt x="20969" y="24375"/>
                  <a:pt x="20969" y="24406"/>
                </a:cubicBezTo>
                <a:cubicBezTo>
                  <a:pt x="20969" y="24469"/>
                  <a:pt x="20938" y="24594"/>
                  <a:pt x="21032" y="24562"/>
                </a:cubicBezTo>
                <a:cubicBezTo>
                  <a:pt x="21094" y="24562"/>
                  <a:pt x="21157" y="24562"/>
                  <a:pt x="21219" y="24531"/>
                </a:cubicBezTo>
                <a:cubicBezTo>
                  <a:pt x="21250" y="24469"/>
                  <a:pt x="21219" y="24406"/>
                  <a:pt x="21157" y="24344"/>
                </a:cubicBezTo>
                <a:cubicBezTo>
                  <a:pt x="21000" y="24156"/>
                  <a:pt x="20782" y="24031"/>
                  <a:pt x="20719" y="23781"/>
                </a:cubicBezTo>
                <a:close/>
                <a:moveTo>
                  <a:pt x="15594" y="17781"/>
                </a:moveTo>
                <a:cubicBezTo>
                  <a:pt x="15594" y="17781"/>
                  <a:pt x="15594" y="17781"/>
                  <a:pt x="15594" y="17781"/>
                </a:cubicBezTo>
                <a:close/>
                <a:moveTo>
                  <a:pt x="22407" y="22156"/>
                </a:moveTo>
                <a:cubicBezTo>
                  <a:pt x="22407" y="22156"/>
                  <a:pt x="22375" y="22156"/>
                  <a:pt x="22375" y="22187"/>
                </a:cubicBezTo>
                <a:cubicBezTo>
                  <a:pt x="22375" y="22187"/>
                  <a:pt x="22375" y="22187"/>
                  <a:pt x="22375" y="22187"/>
                </a:cubicBezTo>
                <a:cubicBezTo>
                  <a:pt x="22375" y="22156"/>
                  <a:pt x="22407" y="22156"/>
                  <a:pt x="22407" y="22156"/>
                </a:cubicBezTo>
                <a:cubicBezTo>
                  <a:pt x="22407" y="22125"/>
                  <a:pt x="22407" y="22125"/>
                  <a:pt x="22438" y="22125"/>
                </a:cubicBezTo>
                <a:cubicBezTo>
                  <a:pt x="22407" y="22125"/>
                  <a:pt x="22407" y="22125"/>
                  <a:pt x="22407" y="22156"/>
                </a:cubicBezTo>
                <a:close/>
                <a:moveTo>
                  <a:pt x="14782" y="14562"/>
                </a:moveTo>
                <a:cubicBezTo>
                  <a:pt x="14782" y="14562"/>
                  <a:pt x="14782" y="14562"/>
                  <a:pt x="14782" y="14562"/>
                </a:cubicBezTo>
                <a:cubicBezTo>
                  <a:pt x="14782" y="14562"/>
                  <a:pt x="14782" y="14562"/>
                  <a:pt x="14782" y="14562"/>
                </a:cubicBezTo>
                <a:lnTo>
                  <a:pt x="14782" y="14562"/>
                </a:lnTo>
                <a:cubicBezTo>
                  <a:pt x="14782" y="14562"/>
                  <a:pt x="14782" y="14562"/>
                  <a:pt x="14782" y="14562"/>
                </a:cubicBezTo>
                <a:close/>
                <a:moveTo>
                  <a:pt x="14844" y="14500"/>
                </a:move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ubicBezTo>
                  <a:pt x="14844" y="14500"/>
                  <a:pt x="14844" y="14500"/>
                  <a:pt x="14844" y="14500"/>
                </a:cubicBezTo>
                <a:close/>
                <a:moveTo>
                  <a:pt x="12313" y="20406"/>
                </a:moveTo>
                <a:cubicBezTo>
                  <a:pt x="12313" y="20406"/>
                  <a:pt x="12313" y="20406"/>
                  <a:pt x="12313" y="20406"/>
                </a:cubicBezTo>
                <a:close/>
                <a:moveTo>
                  <a:pt x="15594" y="24250"/>
                </a:moveTo>
                <a:cubicBezTo>
                  <a:pt x="15594" y="24250"/>
                  <a:pt x="15594" y="24250"/>
                  <a:pt x="15594" y="24250"/>
                </a:cubicBezTo>
                <a:close/>
                <a:moveTo>
                  <a:pt x="31188" y="3875"/>
                </a:moveTo>
                <a:cubicBezTo>
                  <a:pt x="31188" y="3875"/>
                  <a:pt x="31188" y="3875"/>
                  <a:pt x="31188" y="3875"/>
                </a:cubicBezTo>
                <a:close/>
                <a:moveTo>
                  <a:pt x="5969" y="18219"/>
                </a:moveTo>
                <a:cubicBezTo>
                  <a:pt x="5969" y="18219"/>
                  <a:pt x="5969" y="18219"/>
                  <a:pt x="5969" y="18219"/>
                </a:cubicBezTo>
                <a:cubicBezTo>
                  <a:pt x="5969" y="18219"/>
                  <a:pt x="5969" y="18219"/>
                  <a:pt x="5969" y="18219"/>
                </a:cubicBezTo>
                <a:close/>
                <a:moveTo>
                  <a:pt x="3188" y="15687"/>
                </a:moveTo>
                <a:cubicBezTo>
                  <a:pt x="3188" y="15687"/>
                  <a:pt x="3188" y="15687"/>
                  <a:pt x="3188" y="15687"/>
                </a:cubicBezTo>
                <a:close/>
                <a:moveTo>
                  <a:pt x="18094" y="16937"/>
                </a:moveTo>
                <a:cubicBezTo>
                  <a:pt x="17969" y="16844"/>
                  <a:pt x="17875" y="16781"/>
                  <a:pt x="17813" y="16906"/>
                </a:cubicBezTo>
                <a:cubicBezTo>
                  <a:pt x="17782" y="16937"/>
                  <a:pt x="17750" y="17000"/>
                  <a:pt x="17813" y="17031"/>
                </a:cubicBezTo>
                <a:cubicBezTo>
                  <a:pt x="17907" y="17094"/>
                  <a:pt x="17969" y="16937"/>
                  <a:pt x="18094" y="16937"/>
                </a:cubicBezTo>
                <a:close/>
                <a:moveTo>
                  <a:pt x="17282" y="17719"/>
                </a:moveTo>
                <a:cubicBezTo>
                  <a:pt x="17282" y="17812"/>
                  <a:pt x="17313" y="17844"/>
                  <a:pt x="17407" y="17844"/>
                </a:cubicBezTo>
                <a:cubicBezTo>
                  <a:pt x="17438" y="17875"/>
                  <a:pt x="17469" y="17937"/>
                  <a:pt x="17532" y="17844"/>
                </a:cubicBezTo>
                <a:cubicBezTo>
                  <a:pt x="17563" y="17812"/>
                  <a:pt x="17563" y="17781"/>
                  <a:pt x="17563" y="17719"/>
                </a:cubicBezTo>
                <a:cubicBezTo>
                  <a:pt x="17532" y="17719"/>
                  <a:pt x="17469" y="17719"/>
                  <a:pt x="17438" y="17719"/>
                </a:cubicBezTo>
                <a:cubicBezTo>
                  <a:pt x="17438" y="17687"/>
                  <a:pt x="17407" y="17625"/>
                  <a:pt x="17407" y="17594"/>
                </a:cubicBezTo>
                <a:cubicBezTo>
                  <a:pt x="17875" y="17719"/>
                  <a:pt x="18032" y="17625"/>
                  <a:pt x="17969" y="17187"/>
                </a:cubicBezTo>
                <a:lnTo>
                  <a:pt x="17969" y="17187"/>
                </a:lnTo>
                <a:cubicBezTo>
                  <a:pt x="17938" y="17375"/>
                  <a:pt x="17813" y="17344"/>
                  <a:pt x="17719" y="17344"/>
                </a:cubicBezTo>
                <a:cubicBezTo>
                  <a:pt x="17563" y="17344"/>
                  <a:pt x="17438" y="17406"/>
                  <a:pt x="17407" y="17594"/>
                </a:cubicBezTo>
                <a:cubicBezTo>
                  <a:pt x="17313" y="17594"/>
                  <a:pt x="17313" y="17656"/>
                  <a:pt x="17282" y="17719"/>
                </a:cubicBezTo>
                <a:close/>
                <a:moveTo>
                  <a:pt x="20188" y="13437"/>
                </a:move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ubicBezTo>
                  <a:pt x="20188" y="13437"/>
                  <a:pt x="20188" y="13437"/>
                  <a:pt x="20188" y="13437"/>
                </a:cubicBezTo>
                <a:close/>
                <a:moveTo>
                  <a:pt x="10125" y="17344"/>
                </a:move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ubicBezTo>
                  <a:pt x="10125" y="17344"/>
                  <a:pt x="10125" y="17344"/>
                  <a:pt x="10125" y="17344"/>
                </a:cubicBezTo>
                <a:close/>
                <a:moveTo>
                  <a:pt x="26688" y="16156"/>
                </a:moveTo>
                <a:cubicBezTo>
                  <a:pt x="26688" y="16156"/>
                  <a:pt x="26688" y="16156"/>
                  <a:pt x="26688" y="161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3B0B888-8BFB-8D47-B24A-8EB5E94AEB8C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0BED0C6-D3C2-8D42-9264-10BD14714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0015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727E5293-3CD4-E94B-95D5-807336A2AF25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176363" y="2250282"/>
            <a:ext cx="11959698" cy="9931436"/>
          </a:xfrm>
          <a:custGeom>
            <a:avLst/>
            <a:gdLst>
              <a:gd name="T0" fmla="*/ 1039 w 1462"/>
              <a:gd name="T1" fmla="*/ 961 h 1485"/>
              <a:gd name="T2" fmla="*/ 913 w 1462"/>
              <a:gd name="T3" fmla="*/ 992 h 1485"/>
              <a:gd name="T4" fmla="*/ 845 w 1462"/>
              <a:gd name="T5" fmla="*/ 978 h 1485"/>
              <a:gd name="T6" fmla="*/ 974 w 1462"/>
              <a:gd name="T7" fmla="*/ 914 h 1485"/>
              <a:gd name="T8" fmla="*/ 932 w 1462"/>
              <a:gd name="T9" fmla="*/ 1347 h 1485"/>
              <a:gd name="T10" fmla="*/ 1340 w 1462"/>
              <a:gd name="T11" fmla="*/ 1387 h 1485"/>
              <a:gd name="T12" fmla="*/ 1423 w 1462"/>
              <a:gd name="T13" fmla="*/ 990 h 1485"/>
              <a:gd name="T14" fmla="*/ 1232 w 1462"/>
              <a:gd name="T15" fmla="*/ 769 h 1485"/>
              <a:gd name="T16" fmla="*/ 999 w 1462"/>
              <a:gd name="T17" fmla="*/ 475 h 1485"/>
              <a:gd name="T18" fmla="*/ 850 w 1462"/>
              <a:gd name="T19" fmla="*/ 31 h 1485"/>
              <a:gd name="T20" fmla="*/ 331 w 1462"/>
              <a:gd name="T21" fmla="*/ 324 h 1485"/>
              <a:gd name="T22" fmla="*/ 113 w 1462"/>
              <a:gd name="T23" fmla="*/ 107 h 1485"/>
              <a:gd name="T24" fmla="*/ 290 w 1462"/>
              <a:gd name="T25" fmla="*/ 1044 h 1485"/>
              <a:gd name="T26" fmla="*/ 196 w 1462"/>
              <a:gd name="T27" fmla="*/ 1100 h 1485"/>
              <a:gd name="T28" fmla="*/ 921 w 1462"/>
              <a:gd name="T29" fmla="*/ 1465 h 1485"/>
              <a:gd name="T30" fmla="*/ 930 w 1462"/>
              <a:gd name="T31" fmla="*/ 1316 h 1485"/>
              <a:gd name="T32" fmla="*/ 862 w 1462"/>
              <a:gd name="T33" fmla="*/ 1238 h 1485"/>
              <a:gd name="T34" fmla="*/ 1195 w 1462"/>
              <a:gd name="T35" fmla="*/ 1382 h 1485"/>
              <a:gd name="T36" fmla="*/ 724 w 1462"/>
              <a:gd name="T37" fmla="*/ 1289 h 1485"/>
              <a:gd name="T38" fmla="*/ 697 w 1462"/>
              <a:gd name="T39" fmla="*/ 1309 h 1485"/>
              <a:gd name="T40" fmla="*/ 1252 w 1462"/>
              <a:gd name="T41" fmla="*/ 1280 h 1485"/>
              <a:gd name="T42" fmla="*/ 1174 w 1462"/>
              <a:gd name="T43" fmla="*/ 1219 h 1485"/>
              <a:gd name="T44" fmla="*/ 1400 w 1462"/>
              <a:gd name="T45" fmla="*/ 1256 h 1485"/>
              <a:gd name="T46" fmla="*/ 1358 w 1462"/>
              <a:gd name="T47" fmla="*/ 1340 h 1485"/>
              <a:gd name="T48" fmla="*/ 988 w 1462"/>
              <a:gd name="T49" fmla="*/ 1233 h 1485"/>
              <a:gd name="T50" fmla="*/ 718 w 1462"/>
              <a:gd name="T51" fmla="*/ 1069 h 1485"/>
              <a:gd name="T52" fmla="*/ 744 w 1462"/>
              <a:gd name="T53" fmla="*/ 1108 h 1485"/>
              <a:gd name="T54" fmla="*/ 775 w 1462"/>
              <a:gd name="T55" fmla="*/ 880 h 1485"/>
              <a:gd name="T56" fmla="*/ 930 w 1462"/>
              <a:gd name="T57" fmla="*/ 713 h 1485"/>
              <a:gd name="T58" fmla="*/ 946 w 1462"/>
              <a:gd name="T59" fmla="*/ 748 h 1485"/>
              <a:gd name="T60" fmla="*/ 753 w 1462"/>
              <a:gd name="T61" fmla="*/ 720 h 1485"/>
              <a:gd name="T62" fmla="*/ 593 w 1462"/>
              <a:gd name="T63" fmla="*/ 377 h 1485"/>
              <a:gd name="T64" fmla="*/ 648 w 1462"/>
              <a:gd name="T65" fmla="*/ 1249 h 1485"/>
              <a:gd name="T66" fmla="*/ 503 w 1462"/>
              <a:gd name="T67" fmla="*/ 1178 h 1485"/>
              <a:gd name="T68" fmla="*/ 719 w 1462"/>
              <a:gd name="T69" fmla="*/ 97 h 1485"/>
              <a:gd name="T70" fmla="*/ 779 w 1462"/>
              <a:gd name="T71" fmla="*/ 807 h 1485"/>
              <a:gd name="T72" fmla="*/ 810 w 1462"/>
              <a:gd name="T73" fmla="*/ 766 h 1485"/>
              <a:gd name="T74" fmla="*/ 883 w 1462"/>
              <a:gd name="T75" fmla="*/ 391 h 1485"/>
              <a:gd name="T76" fmla="*/ 918 w 1462"/>
              <a:gd name="T77" fmla="*/ 643 h 1485"/>
              <a:gd name="T78" fmla="*/ 942 w 1462"/>
              <a:gd name="T79" fmla="*/ 409 h 1485"/>
              <a:gd name="T80" fmla="*/ 965 w 1462"/>
              <a:gd name="T81" fmla="*/ 793 h 1485"/>
              <a:gd name="T82" fmla="*/ 947 w 1462"/>
              <a:gd name="T83" fmla="*/ 853 h 1485"/>
              <a:gd name="T84" fmla="*/ 1145 w 1462"/>
              <a:gd name="T85" fmla="*/ 869 h 1485"/>
              <a:gd name="T86" fmla="*/ 1070 w 1462"/>
              <a:gd name="T87" fmla="*/ 962 h 1485"/>
              <a:gd name="T88" fmla="*/ 1139 w 1462"/>
              <a:gd name="T89" fmla="*/ 800 h 1485"/>
              <a:gd name="T90" fmla="*/ 1210 w 1462"/>
              <a:gd name="T91" fmla="*/ 907 h 1485"/>
              <a:gd name="T92" fmla="*/ 1141 w 1462"/>
              <a:gd name="T93" fmla="*/ 1011 h 1485"/>
              <a:gd name="T94" fmla="*/ 1089 w 1462"/>
              <a:gd name="T95" fmla="*/ 1012 h 1485"/>
              <a:gd name="T96" fmla="*/ 1213 w 1462"/>
              <a:gd name="T97" fmla="*/ 1109 h 1485"/>
              <a:gd name="T98" fmla="*/ 1144 w 1462"/>
              <a:gd name="T99" fmla="*/ 1179 h 1485"/>
              <a:gd name="T100" fmla="*/ 1225 w 1462"/>
              <a:gd name="T101" fmla="*/ 1153 h 1485"/>
              <a:gd name="T102" fmla="*/ 1284 w 1462"/>
              <a:gd name="T103" fmla="*/ 1030 h 1485"/>
              <a:gd name="T104" fmla="*/ 1182 w 1462"/>
              <a:gd name="T105" fmla="*/ 1046 h 1485"/>
              <a:gd name="T106" fmla="*/ 1177 w 1462"/>
              <a:gd name="T107" fmla="*/ 1040 h 1485"/>
              <a:gd name="T108" fmla="*/ 1304 w 1462"/>
              <a:gd name="T109" fmla="*/ 1058 h 1485"/>
              <a:gd name="T110" fmla="*/ 461 w 1462"/>
              <a:gd name="T111" fmla="*/ 1157 h 1485"/>
              <a:gd name="T112" fmla="*/ 448 w 1462"/>
              <a:gd name="T113" fmla="*/ 660 h 1485"/>
              <a:gd name="T114" fmla="*/ 457 w 1462"/>
              <a:gd name="T115" fmla="*/ 678 h 1485"/>
              <a:gd name="T116" fmla="*/ 319 w 1462"/>
              <a:gd name="T117" fmla="*/ 343 h 1485"/>
              <a:gd name="T118" fmla="*/ 283 w 1462"/>
              <a:gd name="T119" fmla="*/ 317 h 1485"/>
              <a:gd name="T120" fmla="*/ 70 w 1462"/>
              <a:gd name="T121" fmla="*/ 451 h 1485"/>
              <a:gd name="T122" fmla="*/ 166 w 1462"/>
              <a:gd name="T123" fmla="*/ 808 h 1485"/>
              <a:gd name="T124" fmla="*/ 79 w 1462"/>
              <a:gd name="T125" fmla="*/ 191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62" h="1485">
                <a:moveTo>
                  <a:pt x="1432" y="1173"/>
                </a:moveTo>
                <a:lnTo>
                  <a:pt x="1431" y="1175"/>
                </a:lnTo>
                <a:lnTo>
                  <a:pt x="1429" y="1177"/>
                </a:lnTo>
                <a:lnTo>
                  <a:pt x="1428" y="1177"/>
                </a:lnTo>
                <a:lnTo>
                  <a:pt x="1424" y="1175"/>
                </a:lnTo>
                <a:lnTo>
                  <a:pt x="1422" y="1173"/>
                </a:lnTo>
                <a:lnTo>
                  <a:pt x="1418" y="1171"/>
                </a:lnTo>
                <a:lnTo>
                  <a:pt x="1418" y="1170"/>
                </a:lnTo>
                <a:lnTo>
                  <a:pt x="1417" y="1168"/>
                </a:lnTo>
                <a:lnTo>
                  <a:pt x="1417" y="1166"/>
                </a:lnTo>
                <a:lnTo>
                  <a:pt x="1417" y="1164"/>
                </a:lnTo>
                <a:lnTo>
                  <a:pt x="1417" y="1159"/>
                </a:lnTo>
                <a:lnTo>
                  <a:pt x="1418" y="1154"/>
                </a:lnTo>
                <a:lnTo>
                  <a:pt x="1421" y="1151"/>
                </a:lnTo>
                <a:lnTo>
                  <a:pt x="1423" y="1146"/>
                </a:lnTo>
                <a:lnTo>
                  <a:pt x="1427" y="1145"/>
                </a:lnTo>
                <a:lnTo>
                  <a:pt x="1429" y="1144"/>
                </a:lnTo>
                <a:lnTo>
                  <a:pt x="1432" y="1147"/>
                </a:lnTo>
                <a:lnTo>
                  <a:pt x="1435" y="1152"/>
                </a:lnTo>
                <a:lnTo>
                  <a:pt x="1434" y="1163"/>
                </a:lnTo>
                <a:lnTo>
                  <a:pt x="1432" y="1173"/>
                </a:lnTo>
                <a:close/>
                <a:moveTo>
                  <a:pt x="961" y="615"/>
                </a:moveTo>
                <a:lnTo>
                  <a:pt x="959" y="612"/>
                </a:lnTo>
                <a:lnTo>
                  <a:pt x="958" y="607"/>
                </a:lnTo>
                <a:lnTo>
                  <a:pt x="955" y="608"/>
                </a:lnTo>
                <a:lnTo>
                  <a:pt x="954" y="610"/>
                </a:lnTo>
                <a:lnTo>
                  <a:pt x="955" y="613"/>
                </a:lnTo>
                <a:lnTo>
                  <a:pt x="956" y="617"/>
                </a:lnTo>
                <a:lnTo>
                  <a:pt x="959" y="615"/>
                </a:lnTo>
                <a:lnTo>
                  <a:pt x="961" y="615"/>
                </a:lnTo>
                <a:close/>
                <a:moveTo>
                  <a:pt x="1227" y="1030"/>
                </a:moveTo>
                <a:lnTo>
                  <a:pt x="1229" y="1030"/>
                </a:lnTo>
                <a:lnTo>
                  <a:pt x="1230" y="1031"/>
                </a:lnTo>
                <a:lnTo>
                  <a:pt x="1231" y="1026"/>
                </a:lnTo>
                <a:lnTo>
                  <a:pt x="1232" y="1021"/>
                </a:lnTo>
                <a:lnTo>
                  <a:pt x="1231" y="1021"/>
                </a:lnTo>
                <a:lnTo>
                  <a:pt x="1229" y="1020"/>
                </a:lnTo>
                <a:lnTo>
                  <a:pt x="1228" y="1025"/>
                </a:lnTo>
                <a:lnTo>
                  <a:pt x="1227" y="1030"/>
                </a:lnTo>
                <a:close/>
                <a:moveTo>
                  <a:pt x="1238" y="1044"/>
                </a:moveTo>
                <a:lnTo>
                  <a:pt x="1238" y="1046"/>
                </a:lnTo>
                <a:lnTo>
                  <a:pt x="1239" y="1048"/>
                </a:lnTo>
                <a:lnTo>
                  <a:pt x="1241" y="1049"/>
                </a:lnTo>
                <a:lnTo>
                  <a:pt x="1244" y="1049"/>
                </a:lnTo>
                <a:lnTo>
                  <a:pt x="1250" y="1046"/>
                </a:lnTo>
                <a:lnTo>
                  <a:pt x="1258" y="1044"/>
                </a:lnTo>
                <a:lnTo>
                  <a:pt x="1249" y="1041"/>
                </a:lnTo>
                <a:lnTo>
                  <a:pt x="1239" y="1039"/>
                </a:lnTo>
                <a:lnTo>
                  <a:pt x="1239" y="1040"/>
                </a:lnTo>
                <a:lnTo>
                  <a:pt x="1238" y="1044"/>
                </a:lnTo>
                <a:close/>
                <a:moveTo>
                  <a:pt x="1085" y="922"/>
                </a:moveTo>
                <a:lnTo>
                  <a:pt x="1085" y="920"/>
                </a:lnTo>
                <a:lnTo>
                  <a:pt x="1084" y="916"/>
                </a:lnTo>
                <a:lnTo>
                  <a:pt x="1078" y="920"/>
                </a:lnTo>
                <a:lnTo>
                  <a:pt x="1072" y="922"/>
                </a:lnTo>
                <a:lnTo>
                  <a:pt x="1075" y="927"/>
                </a:lnTo>
                <a:lnTo>
                  <a:pt x="1077" y="930"/>
                </a:lnTo>
                <a:lnTo>
                  <a:pt x="1080" y="927"/>
                </a:lnTo>
                <a:lnTo>
                  <a:pt x="1085" y="923"/>
                </a:lnTo>
                <a:lnTo>
                  <a:pt x="1085" y="927"/>
                </a:lnTo>
                <a:lnTo>
                  <a:pt x="1086" y="932"/>
                </a:lnTo>
                <a:lnTo>
                  <a:pt x="1092" y="930"/>
                </a:lnTo>
                <a:lnTo>
                  <a:pt x="1098" y="928"/>
                </a:lnTo>
                <a:lnTo>
                  <a:pt x="1096" y="922"/>
                </a:lnTo>
                <a:lnTo>
                  <a:pt x="1092" y="920"/>
                </a:lnTo>
                <a:lnTo>
                  <a:pt x="1090" y="920"/>
                </a:lnTo>
                <a:lnTo>
                  <a:pt x="1085" y="922"/>
                </a:lnTo>
                <a:close/>
                <a:moveTo>
                  <a:pt x="1031" y="958"/>
                </a:moveTo>
                <a:lnTo>
                  <a:pt x="1028" y="958"/>
                </a:lnTo>
                <a:lnTo>
                  <a:pt x="1025" y="957"/>
                </a:lnTo>
                <a:lnTo>
                  <a:pt x="1022" y="956"/>
                </a:lnTo>
                <a:lnTo>
                  <a:pt x="1020" y="955"/>
                </a:lnTo>
                <a:lnTo>
                  <a:pt x="1017" y="957"/>
                </a:lnTo>
                <a:lnTo>
                  <a:pt x="1016" y="961"/>
                </a:lnTo>
                <a:lnTo>
                  <a:pt x="1022" y="964"/>
                </a:lnTo>
                <a:lnTo>
                  <a:pt x="1029" y="967"/>
                </a:lnTo>
                <a:lnTo>
                  <a:pt x="1032" y="967"/>
                </a:lnTo>
                <a:lnTo>
                  <a:pt x="1035" y="967"/>
                </a:lnTo>
                <a:lnTo>
                  <a:pt x="1038" y="965"/>
                </a:lnTo>
                <a:lnTo>
                  <a:pt x="1042" y="963"/>
                </a:lnTo>
                <a:lnTo>
                  <a:pt x="1039" y="961"/>
                </a:lnTo>
                <a:lnTo>
                  <a:pt x="1037" y="958"/>
                </a:lnTo>
                <a:lnTo>
                  <a:pt x="1035" y="958"/>
                </a:lnTo>
                <a:lnTo>
                  <a:pt x="1031" y="958"/>
                </a:lnTo>
                <a:close/>
                <a:moveTo>
                  <a:pt x="1115" y="904"/>
                </a:moveTo>
                <a:lnTo>
                  <a:pt x="1121" y="906"/>
                </a:lnTo>
                <a:lnTo>
                  <a:pt x="1127" y="908"/>
                </a:lnTo>
                <a:lnTo>
                  <a:pt x="1126" y="904"/>
                </a:lnTo>
                <a:lnTo>
                  <a:pt x="1124" y="901"/>
                </a:lnTo>
                <a:lnTo>
                  <a:pt x="1127" y="900"/>
                </a:lnTo>
                <a:lnTo>
                  <a:pt x="1130" y="898"/>
                </a:lnTo>
                <a:lnTo>
                  <a:pt x="1127" y="895"/>
                </a:lnTo>
                <a:lnTo>
                  <a:pt x="1125" y="894"/>
                </a:lnTo>
                <a:lnTo>
                  <a:pt x="1120" y="890"/>
                </a:lnTo>
                <a:lnTo>
                  <a:pt x="1114" y="886"/>
                </a:lnTo>
                <a:lnTo>
                  <a:pt x="1112" y="888"/>
                </a:lnTo>
                <a:lnTo>
                  <a:pt x="1108" y="893"/>
                </a:lnTo>
                <a:lnTo>
                  <a:pt x="1113" y="894"/>
                </a:lnTo>
                <a:lnTo>
                  <a:pt x="1117" y="897"/>
                </a:lnTo>
                <a:lnTo>
                  <a:pt x="1118" y="898"/>
                </a:lnTo>
                <a:lnTo>
                  <a:pt x="1118" y="900"/>
                </a:lnTo>
                <a:lnTo>
                  <a:pt x="1117" y="902"/>
                </a:lnTo>
                <a:lnTo>
                  <a:pt x="1115" y="904"/>
                </a:lnTo>
                <a:close/>
                <a:moveTo>
                  <a:pt x="1134" y="1007"/>
                </a:moveTo>
                <a:lnTo>
                  <a:pt x="1134" y="1013"/>
                </a:lnTo>
                <a:lnTo>
                  <a:pt x="1134" y="1018"/>
                </a:lnTo>
                <a:lnTo>
                  <a:pt x="1135" y="1019"/>
                </a:lnTo>
                <a:lnTo>
                  <a:pt x="1139" y="1020"/>
                </a:lnTo>
                <a:lnTo>
                  <a:pt x="1139" y="1018"/>
                </a:lnTo>
                <a:lnTo>
                  <a:pt x="1140" y="1017"/>
                </a:lnTo>
                <a:lnTo>
                  <a:pt x="1138" y="1012"/>
                </a:lnTo>
                <a:lnTo>
                  <a:pt x="1137" y="1007"/>
                </a:lnTo>
                <a:lnTo>
                  <a:pt x="1135" y="1007"/>
                </a:lnTo>
                <a:lnTo>
                  <a:pt x="1134" y="1007"/>
                </a:lnTo>
                <a:close/>
                <a:moveTo>
                  <a:pt x="1068" y="1028"/>
                </a:moveTo>
                <a:lnTo>
                  <a:pt x="1068" y="1030"/>
                </a:lnTo>
                <a:lnTo>
                  <a:pt x="1069" y="1031"/>
                </a:lnTo>
                <a:lnTo>
                  <a:pt x="1072" y="1028"/>
                </a:lnTo>
                <a:lnTo>
                  <a:pt x="1075" y="1026"/>
                </a:lnTo>
                <a:lnTo>
                  <a:pt x="1078" y="1027"/>
                </a:lnTo>
                <a:lnTo>
                  <a:pt x="1080" y="1028"/>
                </a:lnTo>
                <a:lnTo>
                  <a:pt x="1082" y="1028"/>
                </a:lnTo>
                <a:lnTo>
                  <a:pt x="1083" y="1027"/>
                </a:lnTo>
                <a:lnTo>
                  <a:pt x="1079" y="1023"/>
                </a:lnTo>
                <a:lnTo>
                  <a:pt x="1077" y="1018"/>
                </a:lnTo>
                <a:lnTo>
                  <a:pt x="1071" y="1024"/>
                </a:lnTo>
                <a:lnTo>
                  <a:pt x="1068" y="1028"/>
                </a:lnTo>
                <a:close/>
                <a:moveTo>
                  <a:pt x="1111" y="1019"/>
                </a:moveTo>
                <a:lnTo>
                  <a:pt x="1111" y="1020"/>
                </a:lnTo>
                <a:lnTo>
                  <a:pt x="1112" y="1021"/>
                </a:lnTo>
                <a:lnTo>
                  <a:pt x="1117" y="1020"/>
                </a:lnTo>
                <a:lnTo>
                  <a:pt x="1121" y="1020"/>
                </a:lnTo>
                <a:lnTo>
                  <a:pt x="1124" y="1020"/>
                </a:lnTo>
                <a:lnTo>
                  <a:pt x="1127" y="1019"/>
                </a:lnTo>
                <a:lnTo>
                  <a:pt x="1128" y="1018"/>
                </a:lnTo>
                <a:lnTo>
                  <a:pt x="1131" y="1016"/>
                </a:lnTo>
                <a:lnTo>
                  <a:pt x="1126" y="1014"/>
                </a:lnTo>
                <a:lnTo>
                  <a:pt x="1122" y="1012"/>
                </a:lnTo>
                <a:lnTo>
                  <a:pt x="1117" y="1016"/>
                </a:lnTo>
                <a:lnTo>
                  <a:pt x="1111" y="1019"/>
                </a:lnTo>
                <a:close/>
                <a:moveTo>
                  <a:pt x="1187" y="957"/>
                </a:moveTo>
                <a:lnTo>
                  <a:pt x="1175" y="964"/>
                </a:lnTo>
                <a:lnTo>
                  <a:pt x="1163" y="971"/>
                </a:lnTo>
                <a:lnTo>
                  <a:pt x="1165" y="971"/>
                </a:lnTo>
                <a:lnTo>
                  <a:pt x="1165" y="972"/>
                </a:lnTo>
                <a:lnTo>
                  <a:pt x="1167" y="972"/>
                </a:lnTo>
                <a:lnTo>
                  <a:pt x="1170" y="971"/>
                </a:lnTo>
                <a:lnTo>
                  <a:pt x="1179" y="969"/>
                </a:lnTo>
                <a:lnTo>
                  <a:pt x="1188" y="965"/>
                </a:lnTo>
                <a:lnTo>
                  <a:pt x="1190" y="963"/>
                </a:lnTo>
                <a:lnTo>
                  <a:pt x="1193" y="960"/>
                </a:lnTo>
                <a:lnTo>
                  <a:pt x="1189" y="958"/>
                </a:lnTo>
                <a:lnTo>
                  <a:pt x="1187" y="957"/>
                </a:lnTo>
                <a:close/>
                <a:moveTo>
                  <a:pt x="912" y="915"/>
                </a:moveTo>
                <a:lnTo>
                  <a:pt x="907" y="918"/>
                </a:lnTo>
                <a:lnTo>
                  <a:pt x="904" y="919"/>
                </a:lnTo>
                <a:lnTo>
                  <a:pt x="907" y="921"/>
                </a:lnTo>
                <a:lnTo>
                  <a:pt x="910" y="921"/>
                </a:lnTo>
                <a:lnTo>
                  <a:pt x="911" y="920"/>
                </a:lnTo>
                <a:lnTo>
                  <a:pt x="912" y="915"/>
                </a:lnTo>
                <a:close/>
                <a:moveTo>
                  <a:pt x="907" y="996"/>
                </a:moveTo>
                <a:lnTo>
                  <a:pt x="913" y="992"/>
                </a:lnTo>
                <a:lnTo>
                  <a:pt x="919" y="990"/>
                </a:lnTo>
                <a:lnTo>
                  <a:pt x="914" y="988"/>
                </a:lnTo>
                <a:lnTo>
                  <a:pt x="911" y="989"/>
                </a:lnTo>
                <a:lnTo>
                  <a:pt x="908" y="991"/>
                </a:lnTo>
                <a:lnTo>
                  <a:pt x="907" y="996"/>
                </a:lnTo>
                <a:close/>
                <a:moveTo>
                  <a:pt x="935" y="996"/>
                </a:moveTo>
                <a:lnTo>
                  <a:pt x="932" y="993"/>
                </a:lnTo>
                <a:lnTo>
                  <a:pt x="930" y="992"/>
                </a:lnTo>
                <a:lnTo>
                  <a:pt x="928" y="992"/>
                </a:lnTo>
                <a:lnTo>
                  <a:pt x="926" y="992"/>
                </a:lnTo>
                <a:lnTo>
                  <a:pt x="925" y="996"/>
                </a:lnTo>
                <a:lnTo>
                  <a:pt x="924" y="998"/>
                </a:lnTo>
                <a:lnTo>
                  <a:pt x="924" y="1000"/>
                </a:lnTo>
                <a:lnTo>
                  <a:pt x="925" y="1003"/>
                </a:lnTo>
                <a:lnTo>
                  <a:pt x="923" y="1003"/>
                </a:lnTo>
                <a:lnTo>
                  <a:pt x="920" y="1003"/>
                </a:lnTo>
                <a:lnTo>
                  <a:pt x="917" y="1003"/>
                </a:lnTo>
                <a:lnTo>
                  <a:pt x="913" y="1004"/>
                </a:lnTo>
                <a:lnTo>
                  <a:pt x="911" y="1005"/>
                </a:lnTo>
                <a:lnTo>
                  <a:pt x="910" y="1006"/>
                </a:lnTo>
                <a:lnTo>
                  <a:pt x="911" y="1009"/>
                </a:lnTo>
                <a:lnTo>
                  <a:pt x="913" y="1011"/>
                </a:lnTo>
                <a:lnTo>
                  <a:pt x="916" y="1012"/>
                </a:lnTo>
                <a:lnTo>
                  <a:pt x="918" y="1013"/>
                </a:lnTo>
                <a:lnTo>
                  <a:pt x="914" y="1016"/>
                </a:lnTo>
                <a:lnTo>
                  <a:pt x="913" y="1016"/>
                </a:lnTo>
                <a:lnTo>
                  <a:pt x="913" y="1020"/>
                </a:lnTo>
                <a:lnTo>
                  <a:pt x="914" y="1024"/>
                </a:lnTo>
                <a:lnTo>
                  <a:pt x="910" y="1021"/>
                </a:lnTo>
                <a:lnTo>
                  <a:pt x="905" y="1020"/>
                </a:lnTo>
                <a:lnTo>
                  <a:pt x="900" y="1021"/>
                </a:lnTo>
                <a:lnTo>
                  <a:pt x="894" y="1024"/>
                </a:lnTo>
                <a:lnTo>
                  <a:pt x="894" y="1024"/>
                </a:lnTo>
                <a:lnTo>
                  <a:pt x="893" y="1028"/>
                </a:lnTo>
                <a:lnTo>
                  <a:pt x="892" y="1023"/>
                </a:lnTo>
                <a:lnTo>
                  <a:pt x="891" y="1019"/>
                </a:lnTo>
                <a:lnTo>
                  <a:pt x="884" y="1017"/>
                </a:lnTo>
                <a:lnTo>
                  <a:pt x="880" y="1014"/>
                </a:lnTo>
                <a:lnTo>
                  <a:pt x="882" y="1010"/>
                </a:lnTo>
                <a:lnTo>
                  <a:pt x="884" y="1000"/>
                </a:lnTo>
                <a:lnTo>
                  <a:pt x="878" y="997"/>
                </a:lnTo>
                <a:lnTo>
                  <a:pt x="871" y="992"/>
                </a:lnTo>
                <a:lnTo>
                  <a:pt x="873" y="997"/>
                </a:lnTo>
                <a:lnTo>
                  <a:pt x="875" y="1000"/>
                </a:lnTo>
                <a:lnTo>
                  <a:pt x="875" y="1003"/>
                </a:lnTo>
                <a:lnTo>
                  <a:pt x="875" y="1005"/>
                </a:lnTo>
                <a:lnTo>
                  <a:pt x="872" y="1004"/>
                </a:lnTo>
                <a:lnTo>
                  <a:pt x="871" y="1004"/>
                </a:lnTo>
                <a:lnTo>
                  <a:pt x="869" y="1002"/>
                </a:lnTo>
                <a:lnTo>
                  <a:pt x="868" y="1000"/>
                </a:lnTo>
                <a:lnTo>
                  <a:pt x="866" y="1000"/>
                </a:lnTo>
                <a:lnTo>
                  <a:pt x="864" y="1000"/>
                </a:lnTo>
                <a:lnTo>
                  <a:pt x="862" y="1003"/>
                </a:lnTo>
                <a:lnTo>
                  <a:pt x="858" y="1005"/>
                </a:lnTo>
                <a:lnTo>
                  <a:pt x="859" y="1007"/>
                </a:lnTo>
                <a:lnTo>
                  <a:pt x="861" y="1011"/>
                </a:lnTo>
                <a:lnTo>
                  <a:pt x="859" y="1012"/>
                </a:lnTo>
                <a:lnTo>
                  <a:pt x="857" y="1012"/>
                </a:lnTo>
                <a:lnTo>
                  <a:pt x="856" y="1011"/>
                </a:lnTo>
                <a:lnTo>
                  <a:pt x="855" y="1010"/>
                </a:lnTo>
                <a:lnTo>
                  <a:pt x="850" y="1009"/>
                </a:lnTo>
                <a:lnTo>
                  <a:pt x="845" y="1009"/>
                </a:lnTo>
                <a:lnTo>
                  <a:pt x="844" y="1011"/>
                </a:lnTo>
                <a:lnTo>
                  <a:pt x="844" y="1012"/>
                </a:lnTo>
                <a:lnTo>
                  <a:pt x="842" y="1012"/>
                </a:lnTo>
                <a:lnTo>
                  <a:pt x="839" y="1011"/>
                </a:lnTo>
                <a:lnTo>
                  <a:pt x="839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8" y="1011"/>
                </a:lnTo>
                <a:lnTo>
                  <a:pt x="836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2" y="1011"/>
                </a:lnTo>
                <a:lnTo>
                  <a:pt x="830" y="1011"/>
                </a:lnTo>
                <a:lnTo>
                  <a:pt x="828" y="1011"/>
                </a:lnTo>
                <a:lnTo>
                  <a:pt x="825" y="1011"/>
                </a:lnTo>
                <a:lnTo>
                  <a:pt x="824" y="1011"/>
                </a:lnTo>
                <a:lnTo>
                  <a:pt x="831" y="999"/>
                </a:lnTo>
                <a:lnTo>
                  <a:pt x="838" y="989"/>
                </a:lnTo>
                <a:lnTo>
                  <a:pt x="845" y="978"/>
                </a:lnTo>
                <a:lnTo>
                  <a:pt x="854" y="968"/>
                </a:lnTo>
                <a:lnTo>
                  <a:pt x="871" y="948"/>
                </a:lnTo>
                <a:lnTo>
                  <a:pt x="890" y="928"/>
                </a:lnTo>
                <a:lnTo>
                  <a:pt x="897" y="920"/>
                </a:lnTo>
                <a:lnTo>
                  <a:pt x="905" y="911"/>
                </a:lnTo>
                <a:lnTo>
                  <a:pt x="914" y="902"/>
                </a:lnTo>
                <a:lnTo>
                  <a:pt x="924" y="894"/>
                </a:lnTo>
                <a:lnTo>
                  <a:pt x="930" y="895"/>
                </a:lnTo>
                <a:lnTo>
                  <a:pt x="934" y="897"/>
                </a:lnTo>
                <a:lnTo>
                  <a:pt x="935" y="895"/>
                </a:lnTo>
                <a:lnTo>
                  <a:pt x="935" y="894"/>
                </a:lnTo>
                <a:lnTo>
                  <a:pt x="933" y="892"/>
                </a:lnTo>
                <a:lnTo>
                  <a:pt x="931" y="888"/>
                </a:lnTo>
                <a:lnTo>
                  <a:pt x="935" y="883"/>
                </a:lnTo>
                <a:lnTo>
                  <a:pt x="940" y="879"/>
                </a:lnTo>
                <a:lnTo>
                  <a:pt x="944" y="877"/>
                </a:lnTo>
                <a:lnTo>
                  <a:pt x="947" y="876"/>
                </a:lnTo>
                <a:lnTo>
                  <a:pt x="952" y="876"/>
                </a:lnTo>
                <a:lnTo>
                  <a:pt x="955" y="876"/>
                </a:lnTo>
                <a:lnTo>
                  <a:pt x="953" y="872"/>
                </a:lnTo>
                <a:lnTo>
                  <a:pt x="953" y="869"/>
                </a:lnTo>
                <a:lnTo>
                  <a:pt x="953" y="866"/>
                </a:lnTo>
                <a:lnTo>
                  <a:pt x="955" y="865"/>
                </a:lnTo>
                <a:lnTo>
                  <a:pt x="959" y="862"/>
                </a:lnTo>
                <a:lnTo>
                  <a:pt x="963" y="858"/>
                </a:lnTo>
                <a:lnTo>
                  <a:pt x="963" y="862"/>
                </a:lnTo>
                <a:lnTo>
                  <a:pt x="965" y="866"/>
                </a:lnTo>
                <a:lnTo>
                  <a:pt x="967" y="860"/>
                </a:lnTo>
                <a:lnTo>
                  <a:pt x="970" y="856"/>
                </a:lnTo>
                <a:lnTo>
                  <a:pt x="974" y="852"/>
                </a:lnTo>
                <a:lnTo>
                  <a:pt x="979" y="850"/>
                </a:lnTo>
                <a:lnTo>
                  <a:pt x="987" y="845"/>
                </a:lnTo>
                <a:lnTo>
                  <a:pt x="996" y="842"/>
                </a:lnTo>
                <a:lnTo>
                  <a:pt x="1001" y="836"/>
                </a:lnTo>
                <a:lnTo>
                  <a:pt x="1007" y="830"/>
                </a:lnTo>
                <a:lnTo>
                  <a:pt x="1009" y="829"/>
                </a:lnTo>
                <a:lnTo>
                  <a:pt x="1010" y="829"/>
                </a:lnTo>
                <a:lnTo>
                  <a:pt x="1013" y="829"/>
                </a:lnTo>
                <a:lnTo>
                  <a:pt x="1015" y="830"/>
                </a:lnTo>
                <a:lnTo>
                  <a:pt x="1022" y="831"/>
                </a:lnTo>
                <a:lnTo>
                  <a:pt x="1030" y="832"/>
                </a:lnTo>
                <a:lnTo>
                  <a:pt x="1032" y="834"/>
                </a:lnTo>
                <a:lnTo>
                  <a:pt x="1035" y="836"/>
                </a:lnTo>
                <a:lnTo>
                  <a:pt x="1039" y="835"/>
                </a:lnTo>
                <a:lnTo>
                  <a:pt x="1044" y="834"/>
                </a:lnTo>
                <a:lnTo>
                  <a:pt x="1045" y="836"/>
                </a:lnTo>
                <a:lnTo>
                  <a:pt x="1045" y="837"/>
                </a:lnTo>
                <a:lnTo>
                  <a:pt x="1050" y="838"/>
                </a:lnTo>
                <a:lnTo>
                  <a:pt x="1052" y="838"/>
                </a:lnTo>
                <a:lnTo>
                  <a:pt x="1056" y="841"/>
                </a:lnTo>
                <a:lnTo>
                  <a:pt x="1059" y="843"/>
                </a:lnTo>
                <a:lnTo>
                  <a:pt x="1064" y="844"/>
                </a:lnTo>
                <a:lnTo>
                  <a:pt x="1069" y="844"/>
                </a:lnTo>
                <a:lnTo>
                  <a:pt x="1072" y="844"/>
                </a:lnTo>
                <a:lnTo>
                  <a:pt x="1075" y="846"/>
                </a:lnTo>
                <a:lnTo>
                  <a:pt x="1076" y="849"/>
                </a:lnTo>
                <a:lnTo>
                  <a:pt x="1076" y="853"/>
                </a:lnTo>
                <a:lnTo>
                  <a:pt x="1070" y="862"/>
                </a:lnTo>
                <a:lnTo>
                  <a:pt x="1064" y="870"/>
                </a:lnTo>
                <a:lnTo>
                  <a:pt x="1063" y="877"/>
                </a:lnTo>
                <a:lnTo>
                  <a:pt x="1063" y="885"/>
                </a:lnTo>
                <a:lnTo>
                  <a:pt x="1058" y="883"/>
                </a:lnTo>
                <a:lnTo>
                  <a:pt x="1056" y="879"/>
                </a:lnTo>
                <a:lnTo>
                  <a:pt x="1055" y="874"/>
                </a:lnTo>
                <a:lnTo>
                  <a:pt x="1053" y="870"/>
                </a:lnTo>
                <a:lnTo>
                  <a:pt x="1052" y="869"/>
                </a:lnTo>
                <a:lnTo>
                  <a:pt x="1051" y="869"/>
                </a:lnTo>
                <a:lnTo>
                  <a:pt x="1037" y="879"/>
                </a:lnTo>
                <a:lnTo>
                  <a:pt x="1022" y="890"/>
                </a:lnTo>
                <a:lnTo>
                  <a:pt x="1016" y="893"/>
                </a:lnTo>
                <a:lnTo>
                  <a:pt x="1009" y="895"/>
                </a:lnTo>
                <a:lnTo>
                  <a:pt x="1003" y="897"/>
                </a:lnTo>
                <a:lnTo>
                  <a:pt x="1001" y="900"/>
                </a:lnTo>
                <a:lnTo>
                  <a:pt x="999" y="904"/>
                </a:lnTo>
                <a:lnTo>
                  <a:pt x="999" y="909"/>
                </a:lnTo>
                <a:lnTo>
                  <a:pt x="994" y="908"/>
                </a:lnTo>
                <a:lnTo>
                  <a:pt x="990" y="908"/>
                </a:lnTo>
                <a:lnTo>
                  <a:pt x="987" y="911"/>
                </a:lnTo>
                <a:lnTo>
                  <a:pt x="983" y="914"/>
                </a:lnTo>
                <a:lnTo>
                  <a:pt x="980" y="915"/>
                </a:lnTo>
                <a:lnTo>
                  <a:pt x="974" y="914"/>
                </a:lnTo>
                <a:lnTo>
                  <a:pt x="970" y="918"/>
                </a:lnTo>
                <a:lnTo>
                  <a:pt x="966" y="921"/>
                </a:lnTo>
                <a:lnTo>
                  <a:pt x="965" y="922"/>
                </a:lnTo>
                <a:lnTo>
                  <a:pt x="963" y="923"/>
                </a:lnTo>
                <a:lnTo>
                  <a:pt x="962" y="926"/>
                </a:lnTo>
                <a:lnTo>
                  <a:pt x="960" y="927"/>
                </a:lnTo>
                <a:lnTo>
                  <a:pt x="958" y="928"/>
                </a:lnTo>
                <a:lnTo>
                  <a:pt x="955" y="928"/>
                </a:lnTo>
                <a:lnTo>
                  <a:pt x="949" y="930"/>
                </a:lnTo>
                <a:lnTo>
                  <a:pt x="944" y="934"/>
                </a:lnTo>
                <a:lnTo>
                  <a:pt x="941" y="936"/>
                </a:lnTo>
                <a:lnTo>
                  <a:pt x="939" y="939"/>
                </a:lnTo>
                <a:lnTo>
                  <a:pt x="940" y="941"/>
                </a:lnTo>
                <a:lnTo>
                  <a:pt x="941" y="944"/>
                </a:lnTo>
                <a:lnTo>
                  <a:pt x="945" y="941"/>
                </a:lnTo>
                <a:lnTo>
                  <a:pt x="947" y="937"/>
                </a:lnTo>
                <a:lnTo>
                  <a:pt x="951" y="943"/>
                </a:lnTo>
                <a:lnTo>
                  <a:pt x="954" y="947"/>
                </a:lnTo>
                <a:lnTo>
                  <a:pt x="953" y="949"/>
                </a:lnTo>
                <a:lnTo>
                  <a:pt x="951" y="950"/>
                </a:lnTo>
                <a:lnTo>
                  <a:pt x="949" y="954"/>
                </a:lnTo>
                <a:lnTo>
                  <a:pt x="947" y="956"/>
                </a:lnTo>
                <a:lnTo>
                  <a:pt x="939" y="960"/>
                </a:lnTo>
                <a:lnTo>
                  <a:pt x="931" y="963"/>
                </a:lnTo>
                <a:lnTo>
                  <a:pt x="927" y="965"/>
                </a:lnTo>
                <a:lnTo>
                  <a:pt x="924" y="968"/>
                </a:lnTo>
                <a:lnTo>
                  <a:pt x="921" y="970"/>
                </a:lnTo>
                <a:lnTo>
                  <a:pt x="920" y="971"/>
                </a:lnTo>
                <a:lnTo>
                  <a:pt x="910" y="977"/>
                </a:lnTo>
                <a:lnTo>
                  <a:pt x="901" y="984"/>
                </a:lnTo>
                <a:lnTo>
                  <a:pt x="898" y="985"/>
                </a:lnTo>
                <a:lnTo>
                  <a:pt x="894" y="985"/>
                </a:lnTo>
                <a:lnTo>
                  <a:pt x="896" y="988"/>
                </a:lnTo>
                <a:lnTo>
                  <a:pt x="898" y="990"/>
                </a:lnTo>
                <a:lnTo>
                  <a:pt x="901" y="990"/>
                </a:lnTo>
                <a:lnTo>
                  <a:pt x="905" y="989"/>
                </a:lnTo>
                <a:lnTo>
                  <a:pt x="913" y="983"/>
                </a:lnTo>
                <a:lnTo>
                  <a:pt x="921" y="978"/>
                </a:lnTo>
                <a:lnTo>
                  <a:pt x="928" y="975"/>
                </a:lnTo>
                <a:lnTo>
                  <a:pt x="935" y="971"/>
                </a:lnTo>
                <a:lnTo>
                  <a:pt x="935" y="974"/>
                </a:lnTo>
                <a:lnTo>
                  <a:pt x="934" y="976"/>
                </a:lnTo>
                <a:lnTo>
                  <a:pt x="945" y="983"/>
                </a:lnTo>
                <a:lnTo>
                  <a:pt x="954" y="989"/>
                </a:lnTo>
                <a:lnTo>
                  <a:pt x="946" y="991"/>
                </a:lnTo>
                <a:lnTo>
                  <a:pt x="938" y="995"/>
                </a:lnTo>
                <a:lnTo>
                  <a:pt x="940" y="997"/>
                </a:lnTo>
                <a:lnTo>
                  <a:pt x="944" y="999"/>
                </a:lnTo>
                <a:lnTo>
                  <a:pt x="939" y="1003"/>
                </a:lnTo>
                <a:lnTo>
                  <a:pt x="934" y="1005"/>
                </a:lnTo>
                <a:lnTo>
                  <a:pt x="930" y="1005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25" y="1003"/>
                </a:lnTo>
                <a:lnTo>
                  <a:pt x="930" y="999"/>
                </a:lnTo>
                <a:lnTo>
                  <a:pt x="935" y="996"/>
                </a:lnTo>
                <a:close/>
                <a:moveTo>
                  <a:pt x="1208" y="1276"/>
                </a:moveTo>
                <a:lnTo>
                  <a:pt x="1209" y="1277"/>
                </a:lnTo>
                <a:lnTo>
                  <a:pt x="1210" y="1278"/>
                </a:lnTo>
                <a:lnTo>
                  <a:pt x="1214" y="1276"/>
                </a:lnTo>
                <a:lnTo>
                  <a:pt x="1216" y="1273"/>
                </a:lnTo>
                <a:lnTo>
                  <a:pt x="1215" y="1271"/>
                </a:lnTo>
                <a:lnTo>
                  <a:pt x="1214" y="1270"/>
                </a:lnTo>
                <a:lnTo>
                  <a:pt x="1211" y="1272"/>
                </a:lnTo>
                <a:lnTo>
                  <a:pt x="1208" y="1276"/>
                </a:lnTo>
                <a:close/>
                <a:moveTo>
                  <a:pt x="1170" y="1346"/>
                </a:moveTo>
                <a:lnTo>
                  <a:pt x="1160" y="1344"/>
                </a:lnTo>
                <a:lnTo>
                  <a:pt x="1149" y="1341"/>
                </a:lnTo>
                <a:lnTo>
                  <a:pt x="1149" y="1344"/>
                </a:lnTo>
                <a:lnTo>
                  <a:pt x="1149" y="1345"/>
                </a:lnTo>
                <a:lnTo>
                  <a:pt x="1160" y="1347"/>
                </a:lnTo>
                <a:lnTo>
                  <a:pt x="1170" y="1348"/>
                </a:lnTo>
                <a:lnTo>
                  <a:pt x="1170" y="1347"/>
                </a:lnTo>
                <a:lnTo>
                  <a:pt x="1170" y="1346"/>
                </a:lnTo>
                <a:close/>
                <a:moveTo>
                  <a:pt x="919" y="1347"/>
                </a:moveTo>
                <a:lnTo>
                  <a:pt x="932" y="1349"/>
                </a:lnTo>
                <a:lnTo>
                  <a:pt x="946" y="1353"/>
                </a:lnTo>
                <a:lnTo>
                  <a:pt x="940" y="1348"/>
                </a:lnTo>
                <a:lnTo>
                  <a:pt x="932" y="1347"/>
                </a:lnTo>
                <a:lnTo>
                  <a:pt x="925" y="1346"/>
                </a:lnTo>
                <a:lnTo>
                  <a:pt x="919" y="1347"/>
                </a:lnTo>
                <a:close/>
                <a:moveTo>
                  <a:pt x="1166" y="1373"/>
                </a:moveTo>
                <a:lnTo>
                  <a:pt x="1180" y="1377"/>
                </a:lnTo>
                <a:lnTo>
                  <a:pt x="1193" y="1382"/>
                </a:lnTo>
                <a:lnTo>
                  <a:pt x="1180" y="1375"/>
                </a:lnTo>
                <a:lnTo>
                  <a:pt x="1167" y="1369"/>
                </a:lnTo>
                <a:lnTo>
                  <a:pt x="1167" y="1372"/>
                </a:lnTo>
                <a:lnTo>
                  <a:pt x="1166" y="1373"/>
                </a:lnTo>
                <a:close/>
                <a:moveTo>
                  <a:pt x="1193" y="1382"/>
                </a:moveTo>
                <a:lnTo>
                  <a:pt x="1194" y="1382"/>
                </a:lnTo>
                <a:lnTo>
                  <a:pt x="1194" y="1382"/>
                </a:lnTo>
                <a:lnTo>
                  <a:pt x="1194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6" y="1384"/>
                </a:lnTo>
                <a:lnTo>
                  <a:pt x="1198" y="1388"/>
                </a:lnTo>
                <a:lnTo>
                  <a:pt x="1188" y="1389"/>
                </a:lnTo>
                <a:lnTo>
                  <a:pt x="1179" y="1389"/>
                </a:lnTo>
                <a:lnTo>
                  <a:pt x="1169" y="1390"/>
                </a:lnTo>
                <a:lnTo>
                  <a:pt x="1161" y="1391"/>
                </a:lnTo>
                <a:lnTo>
                  <a:pt x="1155" y="1391"/>
                </a:lnTo>
                <a:lnTo>
                  <a:pt x="1148" y="1391"/>
                </a:lnTo>
                <a:lnTo>
                  <a:pt x="1133" y="1389"/>
                </a:lnTo>
                <a:lnTo>
                  <a:pt x="1119" y="1387"/>
                </a:lnTo>
                <a:lnTo>
                  <a:pt x="1108" y="1383"/>
                </a:lnTo>
                <a:lnTo>
                  <a:pt x="1098" y="1379"/>
                </a:lnTo>
                <a:lnTo>
                  <a:pt x="1094" y="1377"/>
                </a:lnTo>
                <a:lnTo>
                  <a:pt x="1090" y="1376"/>
                </a:lnTo>
                <a:lnTo>
                  <a:pt x="1085" y="1374"/>
                </a:lnTo>
                <a:lnTo>
                  <a:pt x="1082" y="1370"/>
                </a:lnTo>
                <a:lnTo>
                  <a:pt x="1083" y="1374"/>
                </a:lnTo>
                <a:lnTo>
                  <a:pt x="1082" y="1376"/>
                </a:lnTo>
                <a:lnTo>
                  <a:pt x="1080" y="1379"/>
                </a:lnTo>
                <a:lnTo>
                  <a:pt x="1076" y="1379"/>
                </a:lnTo>
                <a:lnTo>
                  <a:pt x="1062" y="1376"/>
                </a:lnTo>
                <a:lnTo>
                  <a:pt x="1048" y="1374"/>
                </a:lnTo>
                <a:lnTo>
                  <a:pt x="1036" y="1370"/>
                </a:lnTo>
                <a:lnTo>
                  <a:pt x="1023" y="1367"/>
                </a:lnTo>
                <a:lnTo>
                  <a:pt x="1013" y="1365"/>
                </a:lnTo>
                <a:lnTo>
                  <a:pt x="1002" y="1362"/>
                </a:lnTo>
                <a:lnTo>
                  <a:pt x="993" y="1360"/>
                </a:lnTo>
                <a:lnTo>
                  <a:pt x="982" y="1358"/>
                </a:lnTo>
                <a:lnTo>
                  <a:pt x="972" y="1355"/>
                </a:lnTo>
                <a:lnTo>
                  <a:pt x="961" y="1353"/>
                </a:lnTo>
                <a:lnTo>
                  <a:pt x="961" y="1354"/>
                </a:lnTo>
                <a:lnTo>
                  <a:pt x="961" y="1355"/>
                </a:lnTo>
                <a:lnTo>
                  <a:pt x="962" y="1356"/>
                </a:lnTo>
                <a:lnTo>
                  <a:pt x="965" y="1356"/>
                </a:lnTo>
                <a:lnTo>
                  <a:pt x="977" y="1360"/>
                </a:lnTo>
                <a:lnTo>
                  <a:pt x="992" y="1363"/>
                </a:lnTo>
                <a:lnTo>
                  <a:pt x="1004" y="1366"/>
                </a:lnTo>
                <a:lnTo>
                  <a:pt x="1017" y="1369"/>
                </a:lnTo>
                <a:lnTo>
                  <a:pt x="1037" y="1374"/>
                </a:lnTo>
                <a:lnTo>
                  <a:pt x="1056" y="1379"/>
                </a:lnTo>
                <a:lnTo>
                  <a:pt x="1075" y="1383"/>
                </a:lnTo>
                <a:lnTo>
                  <a:pt x="1094" y="1388"/>
                </a:lnTo>
                <a:lnTo>
                  <a:pt x="1104" y="1390"/>
                </a:lnTo>
                <a:lnTo>
                  <a:pt x="1114" y="1393"/>
                </a:lnTo>
                <a:lnTo>
                  <a:pt x="1124" y="1394"/>
                </a:lnTo>
                <a:lnTo>
                  <a:pt x="1134" y="1395"/>
                </a:lnTo>
                <a:lnTo>
                  <a:pt x="1144" y="1396"/>
                </a:lnTo>
                <a:lnTo>
                  <a:pt x="1153" y="1396"/>
                </a:lnTo>
                <a:lnTo>
                  <a:pt x="1163" y="1397"/>
                </a:lnTo>
                <a:lnTo>
                  <a:pt x="1173" y="1397"/>
                </a:lnTo>
                <a:lnTo>
                  <a:pt x="1181" y="1398"/>
                </a:lnTo>
                <a:lnTo>
                  <a:pt x="1190" y="1400"/>
                </a:lnTo>
                <a:lnTo>
                  <a:pt x="1206" y="1400"/>
                </a:lnTo>
                <a:lnTo>
                  <a:pt x="1221" y="1401"/>
                </a:lnTo>
                <a:lnTo>
                  <a:pt x="1235" y="1403"/>
                </a:lnTo>
                <a:lnTo>
                  <a:pt x="1250" y="1407"/>
                </a:lnTo>
                <a:lnTo>
                  <a:pt x="1253" y="1408"/>
                </a:lnTo>
                <a:lnTo>
                  <a:pt x="1256" y="1408"/>
                </a:lnTo>
                <a:lnTo>
                  <a:pt x="1265" y="1404"/>
                </a:lnTo>
                <a:lnTo>
                  <a:pt x="1275" y="1402"/>
                </a:lnTo>
                <a:lnTo>
                  <a:pt x="1285" y="1400"/>
                </a:lnTo>
                <a:lnTo>
                  <a:pt x="1296" y="1398"/>
                </a:lnTo>
                <a:lnTo>
                  <a:pt x="1306" y="1396"/>
                </a:lnTo>
                <a:lnTo>
                  <a:pt x="1315" y="1393"/>
                </a:lnTo>
                <a:lnTo>
                  <a:pt x="1327" y="1389"/>
                </a:lnTo>
                <a:lnTo>
                  <a:pt x="1340" y="1387"/>
                </a:lnTo>
                <a:lnTo>
                  <a:pt x="1345" y="1383"/>
                </a:lnTo>
                <a:lnTo>
                  <a:pt x="1349" y="1380"/>
                </a:lnTo>
                <a:lnTo>
                  <a:pt x="1353" y="1376"/>
                </a:lnTo>
                <a:lnTo>
                  <a:pt x="1356" y="1374"/>
                </a:lnTo>
                <a:lnTo>
                  <a:pt x="1363" y="1370"/>
                </a:lnTo>
                <a:lnTo>
                  <a:pt x="1370" y="1367"/>
                </a:lnTo>
                <a:lnTo>
                  <a:pt x="1370" y="1366"/>
                </a:lnTo>
                <a:lnTo>
                  <a:pt x="1370" y="1365"/>
                </a:lnTo>
                <a:lnTo>
                  <a:pt x="1367" y="1365"/>
                </a:lnTo>
                <a:lnTo>
                  <a:pt x="1365" y="1363"/>
                </a:lnTo>
                <a:lnTo>
                  <a:pt x="1369" y="1358"/>
                </a:lnTo>
                <a:lnTo>
                  <a:pt x="1373" y="1352"/>
                </a:lnTo>
                <a:lnTo>
                  <a:pt x="1375" y="1348"/>
                </a:lnTo>
                <a:lnTo>
                  <a:pt x="1379" y="1346"/>
                </a:lnTo>
                <a:lnTo>
                  <a:pt x="1382" y="1345"/>
                </a:lnTo>
                <a:lnTo>
                  <a:pt x="1387" y="1345"/>
                </a:lnTo>
                <a:lnTo>
                  <a:pt x="1391" y="1344"/>
                </a:lnTo>
                <a:lnTo>
                  <a:pt x="1396" y="1340"/>
                </a:lnTo>
                <a:lnTo>
                  <a:pt x="1401" y="1339"/>
                </a:lnTo>
                <a:lnTo>
                  <a:pt x="1407" y="1337"/>
                </a:lnTo>
                <a:lnTo>
                  <a:pt x="1410" y="1335"/>
                </a:lnTo>
                <a:lnTo>
                  <a:pt x="1414" y="1333"/>
                </a:lnTo>
                <a:lnTo>
                  <a:pt x="1412" y="1332"/>
                </a:lnTo>
                <a:lnTo>
                  <a:pt x="1412" y="1331"/>
                </a:lnTo>
                <a:lnTo>
                  <a:pt x="1409" y="1331"/>
                </a:lnTo>
                <a:lnTo>
                  <a:pt x="1404" y="1330"/>
                </a:lnTo>
                <a:lnTo>
                  <a:pt x="1409" y="1321"/>
                </a:lnTo>
                <a:lnTo>
                  <a:pt x="1412" y="1313"/>
                </a:lnTo>
                <a:lnTo>
                  <a:pt x="1416" y="1311"/>
                </a:lnTo>
                <a:lnTo>
                  <a:pt x="1420" y="1310"/>
                </a:lnTo>
                <a:lnTo>
                  <a:pt x="1424" y="1310"/>
                </a:lnTo>
                <a:lnTo>
                  <a:pt x="1428" y="1307"/>
                </a:lnTo>
                <a:lnTo>
                  <a:pt x="1431" y="1305"/>
                </a:lnTo>
                <a:lnTo>
                  <a:pt x="1434" y="1302"/>
                </a:lnTo>
                <a:lnTo>
                  <a:pt x="1439" y="1291"/>
                </a:lnTo>
                <a:lnTo>
                  <a:pt x="1444" y="1280"/>
                </a:lnTo>
                <a:lnTo>
                  <a:pt x="1445" y="1277"/>
                </a:lnTo>
                <a:lnTo>
                  <a:pt x="1446" y="1275"/>
                </a:lnTo>
                <a:lnTo>
                  <a:pt x="1444" y="1273"/>
                </a:lnTo>
                <a:lnTo>
                  <a:pt x="1441" y="1272"/>
                </a:lnTo>
                <a:lnTo>
                  <a:pt x="1439" y="1270"/>
                </a:lnTo>
                <a:lnTo>
                  <a:pt x="1438" y="1266"/>
                </a:lnTo>
                <a:lnTo>
                  <a:pt x="1438" y="1263"/>
                </a:lnTo>
                <a:lnTo>
                  <a:pt x="1438" y="1259"/>
                </a:lnTo>
                <a:lnTo>
                  <a:pt x="1439" y="1244"/>
                </a:lnTo>
                <a:lnTo>
                  <a:pt x="1441" y="1230"/>
                </a:lnTo>
                <a:lnTo>
                  <a:pt x="1445" y="1230"/>
                </a:lnTo>
                <a:lnTo>
                  <a:pt x="1448" y="1230"/>
                </a:lnTo>
                <a:lnTo>
                  <a:pt x="1451" y="1223"/>
                </a:lnTo>
                <a:lnTo>
                  <a:pt x="1453" y="1216"/>
                </a:lnTo>
                <a:lnTo>
                  <a:pt x="1455" y="1206"/>
                </a:lnTo>
                <a:lnTo>
                  <a:pt x="1456" y="1198"/>
                </a:lnTo>
                <a:lnTo>
                  <a:pt x="1450" y="1192"/>
                </a:lnTo>
                <a:lnTo>
                  <a:pt x="1446" y="1187"/>
                </a:lnTo>
                <a:lnTo>
                  <a:pt x="1448" y="1177"/>
                </a:lnTo>
                <a:lnTo>
                  <a:pt x="1450" y="1166"/>
                </a:lnTo>
                <a:lnTo>
                  <a:pt x="1451" y="1154"/>
                </a:lnTo>
                <a:lnTo>
                  <a:pt x="1452" y="1144"/>
                </a:lnTo>
                <a:lnTo>
                  <a:pt x="1453" y="1139"/>
                </a:lnTo>
                <a:lnTo>
                  <a:pt x="1455" y="1136"/>
                </a:lnTo>
                <a:lnTo>
                  <a:pt x="1457" y="1133"/>
                </a:lnTo>
                <a:lnTo>
                  <a:pt x="1462" y="1131"/>
                </a:lnTo>
                <a:lnTo>
                  <a:pt x="1460" y="1118"/>
                </a:lnTo>
                <a:lnTo>
                  <a:pt x="1458" y="1104"/>
                </a:lnTo>
                <a:lnTo>
                  <a:pt x="1456" y="1091"/>
                </a:lnTo>
                <a:lnTo>
                  <a:pt x="1453" y="1077"/>
                </a:lnTo>
                <a:lnTo>
                  <a:pt x="1449" y="1075"/>
                </a:lnTo>
                <a:lnTo>
                  <a:pt x="1446" y="1073"/>
                </a:lnTo>
                <a:lnTo>
                  <a:pt x="1439" y="1061"/>
                </a:lnTo>
                <a:lnTo>
                  <a:pt x="1435" y="1049"/>
                </a:lnTo>
                <a:lnTo>
                  <a:pt x="1431" y="1038"/>
                </a:lnTo>
                <a:lnTo>
                  <a:pt x="1428" y="1025"/>
                </a:lnTo>
                <a:lnTo>
                  <a:pt x="1427" y="1023"/>
                </a:lnTo>
                <a:lnTo>
                  <a:pt x="1428" y="1019"/>
                </a:lnTo>
                <a:lnTo>
                  <a:pt x="1429" y="1014"/>
                </a:lnTo>
                <a:lnTo>
                  <a:pt x="1429" y="1006"/>
                </a:lnTo>
                <a:lnTo>
                  <a:pt x="1428" y="998"/>
                </a:lnTo>
                <a:lnTo>
                  <a:pt x="1425" y="993"/>
                </a:lnTo>
                <a:lnTo>
                  <a:pt x="1424" y="992"/>
                </a:lnTo>
                <a:lnTo>
                  <a:pt x="1421" y="993"/>
                </a:lnTo>
                <a:lnTo>
                  <a:pt x="1423" y="990"/>
                </a:lnTo>
                <a:lnTo>
                  <a:pt x="1425" y="985"/>
                </a:lnTo>
                <a:lnTo>
                  <a:pt x="1421" y="986"/>
                </a:lnTo>
                <a:lnTo>
                  <a:pt x="1418" y="985"/>
                </a:lnTo>
                <a:lnTo>
                  <a:pt x="1417" y="982"/>
                </a:lnTo>
                <a:lnTo>
                  <a:pt x="1416" y="979"/>
                </a:lnTo>
                <a:lnTo>
                  <a:pt x="1412" y="962"/>
                </a:lnTo>
                <a:lnTo>
                  <a:pt x="1409" y="946"/>
                </a:lnTo>
                <a:lnTo>
                  <a:pt x="1407" y="940"/>
                </a:lnTo>
                <a:lnTo>
                  <a:pt x="1403" y="936"/>
                </a:lnTo>
                <a:lnTo>
                  <a:pt x="1400" y="935"/>
                </a:lnTo>
                <a:lnTo>
                  <a:pt x="1397" y="933"/>
                </a:lnTo>
                <a:lnTo>
                  <a:pt x="1395" y="930"/>
                </a:lnTo>
                <a:lnTo>
                  <a:pt x="1394" y="928"/>
                </a:lnTo>
                <a:lnTo>
                  <a:pt x="1393" y="925"/>
                </a:lnTo>
                <a:lnTo>
                  <a:pt x="1394" y="921"/>
                </a:lnTo>
                <a:lnTo>
                  <a:pt x="1395" y="918"/>
                </a:lnTo>
                <a:lnTo>
                  <a:pt x="1397" y="914"/>
                </a:lnTo>
                <a:lnTo>
                  <a:pt x="1401" y="909"/>
                </a:lnTo>
                <a:lnTo>
                  <a:pt x="1404" y="905"/>
                </a:lnTo>
                <a:lnTo>
                  <a:pt x="1402" y="902"/>
                </a:lnTo>
                <a:lnTo>
                  <a:pt x="1398" y="899"/>
                </a:lnTo>
                <a:lnTo>
                  <a:pt x="1396" y="895"/>
                </a:lnTo>
                <a:lnTo>
                  <a:pt x="1395" y="891"/>
                </a:lnTo>
                <a:lnTo>
                  <a:pt x="1395" y="887"/>
                </a:lnTo>
                <a:lnTo>
                  <a:pt x="1394" y="886"/>
                </a:lnTo>
                <a:lnTo>
                  <a:pt x="1391" y="886"/>
                </a:lnTo>
                <a:lnTo>
                  <a:pt x="1388" y="887"/>
                </a:lnTo>
                <a:lnTo>
                  <a:pt x="1384" y="888"/>
                </a:lnTo>
                <a:lnTo>
                  <a:pt x="1381" y="887"/>
                </a:lnTo>
                <a:lnTo>
                  <a:pt x="1377" y="886"/>
                </a:lnTo>
                <a:lnTo>
                  <a:pt x="1375" y="884"/>
                </a:lnTo>
                <a:lnTo>
                  <a:pt x="1368" y="879"/>
                </a:lnTo>
                <a:lnTo>
                  <a:pt x="1362" y="873"/>
                </a:lnTo>
                <a:lnTo>
                  <a:pt x="1359" y="871"/>
                </a:lnTo>
                <a:lnTo>
                  <a:pt x="1356" y="867"/>
                </a:lnTo>
                <a:lnTo>
                  <a:pt x="1356" y="865"/>
                </a:lnTo>
                <a:lnTo>
                  <a:pt x="1356" y="863"/>
                </a:lnTo>
                <a:lnTo>
                  <a:pt x="1358" y="860"/>
                </a:lnTo>
                <a:lnTo>
                  <a:pt x="1360" y="858"/>
                </a:lnTo>
                <a:lnTo>
                  <a:pt x="1355" y="858"/>
                </a:lnTo>
                <a:lnTo>
                  <a:pt x="1353" y="858"/>
                </a:lnTo>
                <a:lnTo>
                  <a:pt x="1351" y="853"/>
                </a:lnTo>
                <a:lnTo>
                  <a:pt x="1348" y="850"/>
                </a:lnTo>
                <a:lnTo>
                  <a:pt x="1345" y="849"/>
                </a:lnTo>
                <a:lnTo>
                  <a:pt x="1340" y="849"/>
                </a:lnTo>
                <a:lnTo>
                  <a:pt x="1338" y="849"/>
                </a:lnTo>
                <a:lnTo>
                  <a:pt x="1336" y="846"/>
                </a:lnTo>
                <a:lnTo>
                  <a:pt x="1332" y="839"/>
                </a:lnTo>
                <a:lnTo>
                  <a:pt x="1328" y="831"/>
                </a:lnTo>
                <a:lnTo>
                  <a:pt x="1327" y="828"/>
                </a:lnTo>
                <a:lnTo>
                  <a:pt x="1326" y="823"/>
                </a:lnTo>
                <a:lnTo>
                  <a:pt x="1325" y="818"/>
                </a:lnTo>
                <a:lnTo>
                  <a:pt x="1326" y="814"/>
                </a:lnTo>
                <a:lnTo>
                  <a:pt x="1317" y="808"/>
                </a:lnTo>
                <a:lnTo>
                  <a:pt x="1307" y="801"/>
                </a:lnTo>
                <a:lnTo>
                  <a:pt x="1304" y="803"/>
                </a:lnTo>
                <a:lnTo>
                  <a:pt x="1301" y="804"/>
                </a:lnTo>
                <a:lnTo>
                  <a:pt x="1299" y="803"/>
                </a:lnTo>
                <a:lnTo>
                  <a:pt x="1298" y="800"/>
                </a:lnTo>
                <a:lnTo>
                  <a:pt x="1296" y="802"/>
                </a:lnTo>
                <a:lnTo>
                  <a:pt x="1292" y="803"/>
                </a:lnTo>
                <a:lnTo>
                  <a:pt x="1282" y="802"/>
                </a:lnTo>
                <a:lnTo>
                  <a:pt x="1270" y="801"/>
                </a:lnTo>
                <a:lnTo>
                  <a:pt x="1267" y="799"/>
                </a:lnTo>
                <a:lnTo>
                  <a:pt x="1266" y="795"/>
                </a:lnTo>
                <a:lnTo>
                  <a:pt x="1264" y="793"/>
                </a:lnTo>
                <a:lnTo>
                  <a:pt x="1262" y="790"/>
                </a:lnTo>
                <a:lnTo>
                  <a:pt x="1259" y="790"/>
                </a:lnTo>
                <a:lnTo>
                  <a:pt x="1257" y="790"/>
                </a:lnTo>
                <a:lnTo>
                  <a:pt x="1253" y="792"/>
                </a:lnTo>
                <a:lnTo>
                  <a:pt x="1251" y="792"/>
                </a:lnTo>
                <a:lnTo>
                  <a:pt x="1249" y="790"/>
                </a:lnTo>
                <a:lnTo>
                  <a:pt x="1246" y="788"/>
                </a:lnTo>
                <a:lnTo>
                  <a:pt x="1243" y="782"/>
                </a:lnTo>
                <a:lnTo>
                  <a:pt x="1239" y="776"/>
                </a:lnTo>
                <a:lnTo>
                  <a:pt x="1242" y="776"/>
                </a:lnTo>
                <a:lnTo>
                  <a:pt x="1244" y="776"/>
                </a:lnTo>
                <a:lnTo>
                  <a:pt x="1242" y="774"/>
                </a:lnTo>
                <a:lnTo>
                  <a:pt x="1239" y="772"/>
                </a:lnTo>
                <a:lnTo>
                  <a:pt x="1236" y="771"/>
                </a:lnTo>
                <a:lnTo>
                  <a:pt x="1232" y="769"/>
                </a:lnTo>
                <a:lnTo>
                  <a:pt x="1227" y="769"/>
                </a:lnTo>
                <a:lnTo>
                  <a:pt x="1220" y="767"/>
                </a:lnTo>
                <a:lnTo>
                  <a:pt x="1220" y="766"/>
                </a:lnTo>
                <a:lnTo>
                  <a:pt x="1221" y="765"/>
                </a:lnTo>
                <a:lnTo>
                  <a:pt x="1210" y="768"/>
                </a:lnTo>
                <a:lnTo>
                  <a:pt x="1201" y="772"/>
                </a:lnTo>
                <a:lnTo>
                  <a:pt x="1191" y="774"/>
                </a:lnTo>
                <a:lnTo>
                  <a:pt x="1183" y="778"/>
                </a:lnTo>
                <a:lnTo>
                  <a:pt x="1169" y="781"/>
                </a:lnTo>
                <a:lnTo>
                  <a:pt x="1154" y="785"/>
                </a:lnTo>
                <a:lnTo>
                  <a:pt x="1147" y="785"/>
                </a:lnTo>
                <a:lnTo>
                  <a:pt x="1140" y="783"/>
                </a:lnTo>
                <a:lnTo>
                  <a:pt x="1137" y="783"/>
                </a:lnTo>
                <a:lnTo>
                  <a:pt x="1133" y="783"/>
                </a:lnTo>
                <a:lnTo>
                  <a:pt x="1130" y="785"/>
                </a:lnTo>
                <a:lnTo>
                  <a:pt x="1126" y="787"/>
                </a:lnTo>
                <a:lnTo>
                  <a:pt x="1124" y="787"/>
                </a:lnTo>
                <a:lnTo>
                  <a:pt x="1121" y="787"/>
                </a:lnTo>
                <a:lnTo>
                  <a:pt x="1113" y="785"/>
                </a:lnTo>
                <a:lnTo>
                  <a:pt x="1106" y="785"/>
                </a:lnTo>
                <a:lnTo>
                  <a:pt x="1099" y="786"/>
                </a:lnTo>
                <a:lnTo>
                  <a:pt x="1092" y="787"/>
                </a:lnTo>
                <a:lnTo>
                  <a:pt x="1068" y="795"/>
                </a:lnTo>
                <a:lnTo>
                  <a:pt x="1043" y="803"/>
                </a:lnTo>
                <a:lnTo>
                  <a:pt x="1017" y="811"/>
                </a:lnTo>
                <a:lnTo>
                  <a:pt x="993" y="821"/>
                </a:lnTo>
                <a:lnTo>
                  <a:pt x="986" y="822"/>
                </a:lnTo>
                <a:lnTo>
                  <a:pt x="979" y="823"/>
                </a:lnTo>
                <a:lnTo>
                  <a:pt x="975" y="822"/>
                </a:lnTo>
                <a:lnTo>
                  <a:pt x="972" y="821"/>
                </a:lnTo>
                <a:lnTo>
                  <a:pt x="968" y="818"/>
                </a:lnTo>
                <a:lnTo>
                  <a:pt x="965" y="816"/>
                </a:lnTo>
                <a:lnTo>
                  <a:pt x="977" y="804"/>
                </a:lnTo>
                <a:lnTo>
                  <a:pt x="989" y="794"/>
                </a:lnTo>
                <a:lnTo>
                  <a:pt x="1001" y="782"/>
                </a:lnTo>
                <a:lnTo>
                  <a:pt x="1013" y="771"/>
                </a:lnTo>
                <a:lnTo>
                  <a:pt x="1024" y="759"/>
                </a:lnTo>
                <a:lnTo>
                  <a:pt x="1036" y="747"/>
                </a:lnTo>
                <a:lnTo>
                  <a:pt x="1046" y="734"/>
                </a:lnTo>
                <a:lnTo>
                  <a:pt x="1056" y="722"/>
                </a:lnTo>
                <a:lnTo>
                  <a:pt x="1064" y="706"/>
                </a:lnTo>
                <a:lnTo>
                  <a:pt x="1072" y="692"/>
                </a:lnTo>
                <a:lnTo>
                  <a:pt x="1075" y="685"/>
                </a:lnTo>
                <a:lnTo>
                  <a:pt x="1077" y="677"/>
                </a:lnTo>
                <a:lnTo>
                  <a:pt x="1078" y="670"/>
                </a:lnTo>
                <a:lnTo>
                  <a:pt x="1078" y="662"/>
                </a:lnTo>
                <a:lnTo>
                  <a:pt x="1079" y="649"/>
                </a:lnTo>
                <a:lnTo>
                  <a:pt x="1078" y="636"/>
                </a:lnTo>
                <a:lnTo>
                  <a:pt x="1077" y="626"/>
                </a:lnTo>
                <a:lnTo>
                  <a:pt x="1077" y="614"/>
                </a:lnTo>
                <a:lnTo>
                  <a:pt x="1076" y="615"/>
                </a:lnTo>
                <a:lnTo>
                  <a:pt x="1075" y="615"/>
                </a:lnTo>
                <a:lnTo>
                  <a:pt x="1072" y="614"/>
                </a:lnTo>
                <a:lnTo>
                  <a:pt x="1071" y="613"/>
                </a:lnTo>
                <a:lnTo>
                  <a:pt x="1066" y="600"/>
                </a:lnTo>
                <a:lnTo>
                  <a:pt x="1063" y="586"/>
                </a:lnTo>
                <a:lnTo>
                  <a:pt x="1062" y="583"/>
                </a:lnTo>
                <a:lnTo>
                  <a:pt x="1061" y="580"/>
                </a:lnTo>
                <a:lnTo>
                  <a:pt x="1058" y="578"/>
                </a:lnTo>
                <a:lnTo>
                  <a:pt x="1055" y="576"/>
                </a:lnTo>
                <a:lnTo>
                  <a:pt x="1056" y="573"/>
                </a:lnTo>
                <a:lnTo>
                  <a:pt x="1056" y="572"/>
                </a:lnTo>
                <a:lnTo>
                  <a:pt x="1051" y="564"/>
                </a:lnTo>
                <a:lnTo>
                  <a:pt x="1045" y="556"/>
                </a:lnTo>
                <a:lnTo>
                  <a:pt x="1041" y="548"/>
                </a:lnTo>
                <a:lnTo>
                  <a:pt x="1037" y="541"/>
                </a:lnTo>
                <a:lnTo>
                  <a:pt x="1035" y="535"/>
                </a:lnTo>
                <a:lnTo>
                  <a:pt x="1034" y="529"/>
                </a:lnTo>
                <a:lnTo>
                  <a:pt x="1025" y="516"/>
                </a:lnTo>
                <a:lnTo>
                  <a:pt x="1018" y="504"/>
                </a:lnTo>
                <a:lnTo>
                  <a:pt x="1017" y="503"/>
                </a:lnTo>
                <a:lnTo>
                  <a:pt x="1015" y="501"/>
                </a:lnTo>
                <a:lnTo>
                  <a:pt x="1011" y="500"/>
                </a:lnTo>
                <a:lnTo>
                  <a:pt x="1008" y="497"/>
                </a:lnTo>
                <a:lnTo>
                  <a:pt x="1008" y="497"/>
                </a:lnTo>
                <a:lnTo>
                  <a:pt x="1008" y="497"/>
                </a:lnTo>
                <a:lnTo>
                  <a:pt x="1009" y="495"/>
                </a:lnTo>
                <a:lnTo>
                  <a:pt x="1008" y="492"/>
                </a:lnTo>
                <a:lnTo>
                  <a:pt x="1003" y="485"/>
                </a:lnTo>
                <a:lnTo>
                  <a:pt x="1000" y="478"/>
                </a:lnTo>
                <a:lnTo>
                  <a:pt x="999" y="475"/>
                </a:lnTo>
                <a:lnTo>
                  <a:pt x="997" y="473"/>
                </a:lnTo>
                <a:lnTo>
                  <a:pt x="997" y="473"/>
                </a:lnTo>
                <a:lnTo>
                  <a:pt x="997" y="473"/>
                </a:lnTo>
                <a:lnTo>
                  <a:pt x="995" y="467"/>
                </a:lnTo>
                <a:lnTo>
                  <a:pt x="993" y="462"/>
                </a:lnTo>
                <a:lnTo>
                  <a:pt x="993" y="461"/>
                </a:lnTo>
                <a:lnTo>
                  <a:pt x="992" y="460"/>
                </a:lnTo>
                <a:lnTo>
                  <a:pt x="990" y="458"/>
                </a:lnTo>
                <a:lnTo>
                  <a:pt x="988" y="457"/>
                </a:lnTo>
                <a:lnTo>
                  <a:pt x="982" y="451"/>
                </a:lnTo>
                <a:lnTo>
                  <a:pt x="979" y="443"/>
                </a:lnTo>
                <a:lnTo>
                  <a:pt x="975" y="433"/>
                </a:lnTo>
                <a:lnTo>
                  <a:pt x="973" y="425"/>
                </a:lnTo>
                <a:lnTo>
                  <a:pt x="969" y="416"/>
                </a:lnTo>
                <a:lnTo>
                  <a:pt x="966" y="406"/>
                </a:lnTo>
                <a:lnTo>
                  <a:pt x="962" y="402"/>
                </a:lnTo>
                <a:lnTo>
                  <a:pt x="958" y="396"/>
                </a:lnTo>
                <a:lnTo>
                  <a:pt x="953" y="388"/>
                </a:lnTo>
                <a:lnTo>
                  <a:pt x="949" y="380"/>
                </a:lnTo>
                <a:lnTo>
                  <a:pt x="947" y="375"/>
                </a:lnTo>
                <a:lnTo>
                  <a:pt x="946" y="371"/>
                </a:lnTo>
                <a:lnTo>
                  <a:pt x="946" y="368"/>
                </a:lnTo>
                <a:lnTo>
                  <a:pt x="948" y="363"/>
                </a:lnTo>
                <a:lnTo>
                  <a:pt x="947" y="360"/>
                </a:lnTo>
                <a:lnTo>
                  <a:pt x="945" y="355"/>
                </a:lnTo>
                <a:lnTo>
                  <a:pt x="942" y="353"/>
                </a:lnTo>
                <a:lnTo>
                  <a:pt x="942" y="352"/>
                </a:lnTo>
                <a:lnTo>
                  <a:pt x="940" y="339"/>
                </a:lnTo>
                <a:lnTo>
                  <a:pt x="938" y="327"/>
                </a:lnTo>
                <a:lnTo>
                  <a:pt x="935" y="314"/>
                </a:lnTo>
                <a:lnTo>
                  <a:pt x="933" y="303"/>
                </a:lnTo>
                <a:lnTo>
                  <a:pt x="931" y="290"/>
                </a:lnTo>
                <a:lnTo>
                  <a:pt x="926" y="278"/>
                </a:lnTo>
                <a:lnTo>
                  <a:pt x="921" y="270"/>
                </a:lnTo>
                <a:lnTo>
                  <a:pt x="919" y="262"/>
                </a:lnTo>
                <a:lnTo>
                  <a:pt x="918" y="254"/>
                </a:lnTo>
                <a:lnTo>
                  <a:pt x="918" y="245"/>
                </a:lnTo>
                <a:lnTo>
                  <a:pt x="918" y="242"/>
                </a:lnTo>
                <a:lnTo>
                  <a:pt x="917" y="240"/>
                </a:lnTo>
                <a:lnTo>
                  <a:pt x="912" y="230"/>
                </a:lnTo>
                <a:lnTo>
                  <a:pt x="910" y="221"/>
                </a:lnTo>
                <a:lnTo>
                  <a:pt x="908" y="216"/>
                </a:lnTo>
                <a:lnTo>
                  <a:pt x="908" y="212"/>
                </a:lnTo>
                <a:lnTo>
                  <a:pt x="908" y="207"/>
                </a:lnTo>
                <a:lnTo>
                  <a:pt x="910" y="201"/>
                </a:lnTo>
                <a:lnTo>
                  <a:pt x="910" y="199"/>
                </a:lnTo>
                <a:lnTo>
                  <a:pt x="908" y="195"/>
                </a:lnTo>
                <a:lnTo>
                  <a:pt x="905" y="182"/>
                </a:lnTo>
                <a:lnTo>
                  <a:pt x="901" y="171"/>
                </a:lnTo>
                <a:lnTo>
                  <a:pt x="898" y="170"/>
                </a:lnTo>
                <a:lnTo>
                  <a:pt x="896" y="167"/>
                </a:lnTo>
                <a:lnTo>
                  <a:pt x="892" y="161"/>
                </a:lnTo>
                <a:lnTo>
                  <a:pt x="891" y="154"/>
                </a:lnTo>
                <a:lnTo>
                  <a:pt x="890" y="151"/>
                </a:lnTo>
                <a:lnTo>
                  <a:pt x="891" y="147"/>
                </a:lnTo>
                <a:lnTo>
                  <a:pt x="893" y="143"/>
                </a:lnTo>
                <a:lnTo>
                  <a:pt x="893" y="139"/>
                </a:lnTo>
                <a:lnTo>
                  <a:pt x="891" y="137"/>
                </a:lnTo>
                <a:lnTo>
                  <a:pt x="886" y="136"/>
                </a:lnTo>
                <a:lnTo>
                  <a:pt x="884" y="130"/>
                </a:lnTo>
                <a:lnTo>
                  <a:pt x="882" y="123"/>
                </a:lnTo>
                <a:lnTo>
                  <a:pt x="882" y="121"/>
                </a:lnTo>
                <a:lnTo>
                  <a:pt x="883" y="117"/>
                </a:lnTo>
                <a:lnTo>
                  <a:pt x="884" y="112"/>
                </a:lnTo>
                <a:lnTo>
                  <a:pt x="884" y="108"/>
                </a:lnTo>
                <a:lnTo>
                  <a:pt x="879" y="97"/>
                </a:lnTo>
                <a:lnTo>
                  <a:pt x="875" y="87"/>
                </a:lnTo>
                <a:lnTo>
                  <a:pt x="872" y="84"/>
                </a:lnTo>
                <a:lnTo>
                  <a:pt x="871" y="83"/>
                </a:lnTo>
                <a:lnTo>
                  <a:pt x="868" y="81"/>
                </a:lnTo>
                <a:lnTo>
                  <a:pt x="864" y="77"/>
                </a:lnTo>
                <a:lnTo>
                  <a:pt x="857" y="63"/>
                </a:lnTo>
                <a:lnTo>
                  <a:pt x="851" y="48"/>
                </a:lnTo>
                <a:lnTo>
                  <a:pt x="849" y="44"/>
                </a:lnTo>
                <a:lnTo>
                  <a:pt x="848" y="40"/>
                </a:lnTo>
                <a:lnTo>
                  <a:pt x="848" y="38"/>
                </a:lnTo>
                <a:lnTo>
                  <a:pt x="848" y="37"/>
                </a:lnTo>
                <a:lnTo>
                  <a:pt x="849" y="34"/>
                </a:lnTo>
                <a:lnTo>
                  <a:pt x="850" y="32"/>
                </a:lnTo>
                <a:lnTo>
                  <a:pt x="850" y="32"/>
                </a:lnTo>
                <a:lnTo>
                  <a:pt x="850" y="31"/>
                </a:lnTo>
                <a:lnTo>
                  <a:pt x="848" y="32"/>
                </a:lnTo>
                <a:lnTo>
                  <a:pt x="845" y="32"/>
                </a:lnTo>
                <a:lnTo>
                  <a:pt x="847" y="27"/>
                </a:lnTo>
                <a:lnTo>
                  <a:pt x="848" y="23"/>
                </a:lnTo>
                <a:lnTo>
                  <a:pt x="844" y="23"/>
                </a:lnTo>
                <a:lnTo>
                  <a:pt x="842" y="21"/>
                </a:lnTo>
                <a:lnTo>
                  <a:pt x="837" y="14"/>
                </a:lnTo>
                <a:lnTo>
                  <a:pt x="834" y="7"/>
                </a:lnTo>
                <a:lnTo>
                  <a:pt x="832" y="9"/>
                </a:lnTo>
                <a:lnTo>
                  <a:pt x="832" y="10"/>
                </a:lnTo>
                <a:lnTo>
                  <a:pt x="825" y="9"/>
                </a:lnTo>
                <a:lnTo>
                  <a:pt x="818" y="7"/>
                </a:lnTo>
                <a:lnTo>
                  <a:pt x="811" y="4"/>
                </a:lnTo>
                <a:lnTo>
                  <a:pt x="803" y="2"/>
                </a:lnTo>
                <a:lnTo>
                  <a:pt x="795" y="0"/>
                </a:lnTo>
                <a:lnTo>
                  <a:pt x="787" y="0"/>
                </a:lnTo>
                <a:lnTo>
                  <a:pt x="780" y="2"/>
                </a:lnTo>
                <a:lnTo>
                  <a:pt x="772" y="4"/>
                </a:lnTo>
                <a:lnTo>
                  <a:pt x="765" y="7"/>
                </a:lnTo>
                <a:lnTo>
                  <a:pt x="758" y="12"/>
                </a:lnTo>
                <a:lnTo>
                  <a:pt x="746" y="23"/>
                </a:lnTo>
                <a:lnTo>
                  <a:pt x="734" y="32"/>
                </a:lnTo>
                <a:lnTo>
                  <a:pt x="724" y="44"/>
                </a:lnTo>
                <a:lnTo>
                  <a:pt x="713" y="54"/>
                </a:lnTo>
                <a:lnTo>
                  <a:pt x="697" y="75"/>
                </a:lnTo>
                <a:lnTo>
                  <a:pt x="682" y="96"/>
                </a:lnTo>
                <a:lnTo>
                  <a:pt x="666" y="117"/>
                </a:lnTo>
                <a:lnTo>
                  <a:pt x="651" y="138"/>
                </a:lnTo>
                <a:lnTo>
                  <a:pt x="637" y="160"/>
                </a:lnTo>
                <a:lnTo>
                  <a:pt x="623" y="184"/>
                </a:lnTo>
                <a:lnTo>
                  <a:pt x="609" y="206"/>
                </a:lnTo>
                <a:lnTo>
                  <a:pt x="596" y="229"/>
                </a:lnTo>
                <a:lnTo>
                  <a:pt x="585" y="248"/>
                </a:lnTo>
                <a:lnTo>
                  <a:pt x="575" y="268"/>
                </a:lnTo>
                <a:lnTo>
                  <a:pt x="565" y="286"/>
                </a:lnTo>
                <a:lnTo>
                  <a:pt x="555" y="306"/>
                </a:lnTo>
                <a:lnTo>
                  <a:pt x="548" y="321"/>
                </a:lnTo>
                <a:lnTo>
                  <a:pt x="541" y="338"/>
                </a:lnTo>
                <a:lnTo>
                  <a:pt x="535" y="353"/>
                </a:lnTo>
                <a:lnTo>
                  <a:pt x="528" y="369"/>
                </a:lnTo>
                <a:lnTo>
                  <a:pt x="524" y="382"/>
                </a:lnTo>
                <a:lnTo>
                  <a:pt x="520" y="395"/>
                </a:lnTo>
                <a:lnTo>
                  <a:pt x="516" y="408"/>
                </a:lnTo>
                <a:lnTo>
                  <a:pt x="512" y="420"/>
                </a:lnTo>
                <a:lnTo>
                  <a:pt x="509" y="432"/>
                </a:lnTo>
                <a:lnTo>
                  <a:pt x="505" y="444"/>
                </a:lnTo>
                <a:lnTo>
                  <a:pt x="502" y="454"/>
                </a:lnTo>
                <a:lnTo>
                  <a:pt x="499" y="466"/>
                </a:lnTo>
                <a:lnTo>
                  <a:pt x="496" y="478"/>
                </a:lnTo>
                <a:lnTo>
                  <a:pt x="492" y="490"/>
                </a:lnTo>
                <a:lnTo>
                  <a:pt x="491" y="490"/>
                </a:lnTo>
                <a:lnTo>
                  <a:pt x="490" y="490"/>
                </a:lnTo>
                <a:lnTo>
                  <a:pt x="485" y="483"/>
                </a:lnTo>
                <a:lnTo>
                  <a:pt x="480" y="476"/>
                </a:lnTo>
                <a:lnTo>
                  <a:pt x="469" y="465"/>
                </a:lnTo>
                <a:lnTo>
                  <a:pt x="457" y="454"/>
                </a:lnTo>
                <a:lnTo>
                  <a:pt x="455" y="452"/>
                </a:lnTo>
                <a:lnTo>
                  <a:pt x="452" y="450"/>
                </a:lnTo>
                <a:lnTo>
                  <a:pt x="445" y="444"/>
                </a:lnTo>
                <a:lnTo>
                  <a:pt x="437" y="441"/>
                </a:lnTo>
                <a:lnTo>
                  <a:pt x="427" y="432"/>
                </a:lnTo>
                <a:lnTo>
                  <a:pt x="419" y="422"/>
                </a:lnTo>
                <a:lnTo>
                  <a:pt x="413" y="412"/>
                </a:lnTo>
                <a:lnTo>
                  <a:pt x="406" y="404"/>
                </a:lnTo>
                <a:lnTo>
                  <a:pt x="401" y="402"/>
                </a:lnTo>
                <a:lnTo>
                  <a:pt x="396" y="398"/>
                </a:lnTo>
                <a:lnTo>
                  <a:pt x="386" y="387"/>
                </a:lnTo>
                <a:lnTo>
                  <a:pt x="375" y="374"/>
                </a:lnTo>
                <a:lnTo>
                  <a:pt x="369" y="367"/>
                </a:lnTo>
                <a:lnTo>
                  <a:pt x="364" y="360"/>
                </a:lnTo>
                <a:lnTo>
                  <a:pt x="362" y="356"/>
                </a:lnTo>
                <a:lnTo>
                  <a:pt x="360" y="353"/>
                </a:lnTo>
                <a:lnTo>
                  <a:pt x="359" y="352"/>
                </a:lnTo>
                <a:lnTo>
                  <a:pt x="357" y="350"/>
                </a:lnTo>
                <a:lnTo>
                  <a:pt x="354" y="349"/>
                </a:lnTo>
                <a:lnTo>
                  <a:pt x="352" y="349"/>
                </a:lnTo>
                <a:lnTo>
                  <a:pt x="351" y="349"/>
                </a:lnTo>
                <a:lnTo>
                  <a:pt x="350" y="348"/>
                </a:lnTo>
                <a:lnTo>
                  <a:pt x="340" y="338"/>
                </a:lnTo>
                <a:lnTo>
                  <a:pt x="332" y="328"/>
                </a:lnTo>
                <a:lnTo>
                  <a:pt x="331" y="324"/>
                </a:lnTo>
                <a:lnTo>
                  <a:pt x="330" y="319"/>
                </a:lnTo>
                <a:lnTo>
                  <a:pt x="326" y="314"/>
                </a:lnTo>
                <a:lnTo>
                  <a:pt x="323" y="310"/>
                </a:lnTo>
                <a:lnTo>
                  <a:pt x="321" y="308"/>
                </a:lnTo>
                <a:lnTo>
                  <a:pt x="320" y="307"/>
                </a:lnTo>
                <a:lnTo>
                  <a:pt x="314" y="299"/>
                </a:lnTo>
                <a:lnTo>
                  <a:pt x="310" y="290"/>
                </a:lnTo>
                <a:lnTo>
                  <a:pt x="304" y="280"/>
                </a:lnTo>
                <a:lnTo>
                  <a:pt x="299" y="271"/>
                </a:lnTo>
                <a:lnTo>
                  <a:pt x="296" y="263"/>
                </a:lnTo>
                <a:lnTo>
                  <a:pt x="291" y="255"/>
                </a:lnTo>
                <a:lnTo>
                  <a:pt x="291" y="254"/>
                </a:lnTo>
                <a:lnTo>
                  <a:pt x="290" y="252"/>
                </a:lnTo>
                <a:lnTo>
                  <a:pt x="284" y="244"/>
                </a:lnTo>
                <a:lnTo>
                  <a:pt x="277" y="236"/>
                </a:lnTo>
                <a:lnTo>
                  <a:pt x="271" y="228"/>
                </a:lnTo>
                <a:lnTo>
                  <a:pt x="265" y="220"/>
                </a:lnTo>
                <a:lnTo>
                  <a:pt x="265" y="219"/>
                </a:lnTo>
                <a:lnTo>
                  <a:pt x="265" y="219"/>
                </a:lnTo>
                <a:lnTo>
                  <a:pt x="264" y="216"/>
                </a:lnTo>
                <a:lnTo>
                  <a:pt x="263" y="215"/>
                </a:lnTo>
                <a:lnTo>
                  <a:pt x="262" y="215"/>
                </a:lnTo>
                <a:lnTo>
                  <a:pt x="262" y="214"/>
                </a:lnTo>
                <a:lnTo>
                  <a:pt x="261" y="214"/>
                </a:lnTo>
                <a:lnTo>
                  <a:pt x="261" y="213"/>
                </a:lnTo>
                <a:lnTo>
                  <a:pt x="259" y="210"/>
                </a:lnTo>
                <a:lnTo>
                  <a:pt x="258" y="209"/>
                </a:lnTo>
                <a:lnTo>
                  <a:pt x="256" y="209"/>
                </a:lnTo>
                <a:lnTo>
                  <a:pt x="254" y="209"/>
                </a:lnTo>
                <a:lnTo>
                  <a:pt x="250" y="205"/>
                </a:lnTo>
                <a:lnTo>
                  <a:pt x="248" y="200"/>
                </a:lnTo>
                <a:lnTo>
                  <a:pt x="245" y="194"/>
                </a:lnTo>
                <a:lnTo>
                  <a:pt x="244" y="188"/>
                </a:lnTo>
                <a:lnTo>
                  <a:pt x="244" y="185"/>
                </a:lnTo>
                <a:lnTo>
                  <a:pt x="242" y="182"/>
                </a:lnTo>
                <a:lnTo>
                  <a:pt x="235" y="175"/>
                </a:lnTo>
                <a:lnTo>
                  <a:pt x="227" y="168"/>
                </a:lnTo>
                <a:lnTo>
                  <a:pt x="226" y="170"/>
                </a:lnTo>
                <a:lnTo>
                  <a:pt x="223" y="171"/>
                </a:lnTo>
                <a:lnTo>
                  <a:pt x="219" y="167"/>
                </a:lnTo>
                <a:lnTo>
                  <a:pt x="215" y="164"/>
                </a:lnTo>
                <a:lnTo>
                  <a:pt x="213" y="160"/>
                </a:lnTo>
                <a:lnTo>
                  <a:pt x="213" y="158"/>
                </a:lnTo>
                <a:lnTo>
                  <a:pt x="214" y="154"/>
                </a:lnTo>
                <a:lnTo>
                  <a:pt x="214" y="152"/>
                </a:lnTo>
                <a:lnTo>
                  <a:pt x="212" y="151"/>
                </a:lnTo>
                <a:lnTo>
                  <a:pt x="210" y="150"/>
                </a:lnTo>
                <a:lnTo>
                  <a:pt x="207" y="151"/>
                </a:lnTo>
                <a:lnTo>
                  <a:pt x="205" y="153"/>
                </a:lnTo>
                <a:lnTo>
                  <a:pt x="201" y="150"/>
                </a:lnTo>
                <a:lnTo>
                  <a:pt x="198" y="147"/>
                </a:lnTo>
                <a:lnTo>
                  <a:pt x="196" y="145"/>
                </a:lnTo>
                <a:lnTo>
                  <a:pt x="196" y="144"/>
                </a:lnTo>
                <a:lnTo>
                  <a:pt x="196" y="142"/>
                </a:lnTo>
                <a:lnTo>
                  <a:pt x="198" y="139"/>
                </a:lnTo>
                <a:lnTo>
                  <a:pt x="196" y="136"/>
                </a:lnTo>
                <a:lnTo>
                  <a:pt x="194" y="133"/>
                </a:lnTo>
                <a:lnTo>
                  <a:pt x="189" y="131"/>
                </a:lnTo>
                <a:lnTo>
                  <a:pt x="185" y="128"/>
                </a:lnTo>
                <a:lnTo>
                  <a:pt x="181" y="126"/>
                </a:lnTo>
                <a:lnTo>
                  <a:pt x="179" y="125"/>
                </a:lnTo>
                <a:lnTo>
                  <a:pt x="175" y="125"/>
                </a:lnTo>
                <a:lnTo>
                  <a:pt x="172" y="126"/>
                </a:lnTo>
                <a:lnTo>
                  <a:pt x="168" y="125"/>
                </a:lnTo>
                <a:lnTo>
                  <a:pt x="164" y="122"/>
                </a:lnTo>
                <a:lnTo>
                  <a:pt x="158" y="117"/>
                </a:lnTo>
                <a:lnTo>
                  <a:pt x="152" y="116"/>
                </a:lnTo>
                <a:lnTo>
                  <a:pt x="148" y="114"/>
                </a:lnTo>
                <a:lnTo>
                  <a:pt x="146" y="112"/>
                </a:lnTo>
                <a:lnTo>
                  <a:pt x="145" y="109"/>
                </a:lnTo>
                <a:lnTo>
                  <a:pt x="144" y="105"/>
                </a:lnTo>
                <a:lnTo>
                  <a:pt x="143" y="107"/>
                </a:lnTo>
                <a:lnTo>
                  <a:pt x="140" y="108"/>
                </a:lnTo>
                <a:lnTo>
                  <a:pt x="140" y="105"/>
                </a:lnTo>
                <a:lnTo>
                  <a:pt x="140" y="104"/>
                </a:lnTo>
                <a:lnTo>
                  <a:pt x="134" y="103"/>
                </a:lnTo>
                <a:lnTo>
                  <a:pt x="130" y="102"/>
                </a:lnTo>
                <a:lnTo>
                  <a:pt x="125" y="101"/>
                </a:lnTo>
                <a:lnTo>
                  <a:pt x="120" y="103"/>
                </a:lnTo>
                <a:lnTo>
                  <a:pt x="117" y="105"/>
                </a:lnTo>
                <a:lnTo>
                  <a:pt x="113" y="107"/>
                </a:lnTo>
                <a:lnTo>
                  <a:pt x="100" y="109"/>
                </a:lnTo>
                <a:lnTo>
                  <a:pt x="90" y="114"/>
                </a:lnTo>
                <a:lnTo>
                  <a:pt x="79" y="119"/>
                </a:lnTo>
                <a:lnTo>
                  <a:pt x="70" y="128"/>
                </a:lnTo>
                <a:lnTo>
                  <a:pt x="61" y="138"/>
                </a:lnTo>
                <a:lnTo>
                  <a:pt x="54" y="150"/>
                </a:lnTo>
                <a:lnTo>
                  <a:pt x="48" y="161"/>
                </a:lnTo>
                <a:lnTo>
                  <a:pt x="42" y="174"/>
                </a:lnTo>
                <a:lnTo>
                  <a:pt x="36" y="188"/>
                </a:lnTo>
                <a:lnTo>
                  <a:pt x="31" y="203"/>
                </a:lnTo>
                <a:lnTo>
                  <a:pt x="27" y="217"/>
                </a:lnTo>
                <a:lnTo>
                  <a:pt x="23" y="233"/>
                </a:lnTo>
                <a:lnTo>
                  <a:pt x="19" y="250"/>
                </a:lnTo>
                <a:lnTo>
                  <a:pt x="14" y="269"/>
                </a:lnTo>
                <a:lnTo>
                  <a:pt x="10" y="287"/>
                </a:lnTo>
                <a:lnTo>
                  <a:pt x="7" y="306"/>
                </a:lnTo>
                <a:lnTo>
                  <a:pt x="6" y="319"/>
                </a:lnTo>
                <a:lnTo>
                  <a:pt x="5" y="333"/>
                </a:lnTo>
                <a:lnTo>
                  <a:pt x="3" y="347"/>
                </a:lnTo>
                <a:lnTo>
                  <a:pt x="2" y="361"/>
                </a:lnTo>
                <a:lnTo>
                  <a:pt x="0" y="392"/>
                </a:lnTo>
                <a:lnTo>
                  <a:pt x="1" y="425"/>
                </a:lnTo>
                <a:lnTo>
                  <a:pt x="1" y="441"/>
                </a:lnTo>
                <a:lnTo>
                  <a:pt x="3" y="457"/>
                </a:lnTo>
                <a:lnTo>
                  <a:pt x="6" y="473"/>
                </a:lnTo>
                <a:lnTo>
                  <a:pt x="9" y="488"/>
                </a:lnTo>
                <a:lnTo>
                  <a:pt x="13" y="508"/>
                </a:lnTo>
                <a:lnTo>
                  <a:pt x="17" y="527"/>
                </a:lnTo>
                <a:lnTo>
                  <a:pt x="23" y="546"/>
                </a:lnTo>
                <a:lnTo>
                  <a:pt x="28" y="565"/>
                </a:lnTo>
                <a:lnTo>
                  <a:pt x="31" y="574"/>
                </a:lnTo>
                <a:lnTo>
                  <a:pt x="34" y="585"/>
                </a:lnTo>
                <a:lnTo>
                  <a:pt x="37" y="594"/>
                </a:lnTo>
                <a:lnTo>
                  <a:pt x="42" y="604"/>
                </a:lnTo>
                <a:lnTo>
                  <a:pt x="49" y="624"/>
                </a:lnTo>
                <a:lnTo>
                  <a:pt x="57" y="642"/>
                </a:lnTo>
                <a:lnTo>
                  <a:pt x="64" y="662"/>
                </a:lnTo>
                <a:lnTo>
                  <a:pt x="72" y="681"/>
                </a:lnTo>
                <a:lnTo>
                  <a:pt x="79" y="695"/>
                </a:lnTo>
                <a:lnTo>
                  <a:pt x="86" y="709"/>
                </a:lnTo>
                <a:lnTo>
                  <a:pt x="95" y="723"/>
                </a:lnTo>
                <a:lnTo>
                  <a:pt x="103" y="736"/>
                </a:lnTo>
                <a:lnTo>
                  <a:pt x="110" y="748"/>
                </a:lnTo>
                <a:lnTo>
                  <a:pt x="118" y="761"/>
                </a:lnTo>
                <a:lnTo>
                  <a:pt x="125" y="773"/>
                </a:lnTo>
                <a:lnTo>
                  <a:pt x="133" y="786"/>
                </a:lnTo>
                <a:lnTo>
                  <a:pt x="137" y="789"/>
                </a:lnTo>
                <a:lnTo>
                  <a:pt x="139" y="790"/>
                </a:lnTo>
                <a:lnTo>
                  <a:pt x="141" y="793"/>
                </a:lnTo>
                <a:lnTo>
                  <a:pt x="143" y="795"/>
                </a:lnTo>
                <a:lnTo>
                  <a:pt x="143" y="796"/>
                </a:lnTo>
                <a:lnTo>
                  <a:pt x="143" y="796"/>
                </a:lnTo>
                <a:lnTo>
                  <a:pt x="145" y="804"/>
                </a:lnTo>
                <a:lnTo>
                  <a:pt x="148" y="811"/>
                </a:lnTo>
                <a:lnTo>
                  <a:pt x="164" y="834"/>
                </a:lnTo>
                <a:lnTo>
                  <a:pt x="180" y="857"/>
                </a:lnTo>
                <a:lnTo>
                  <a:pt x="195" y="880"/>
                </a:lnTo>
                <a:lnTo>
                  <a:pt x="212" y="902"/>
                </a:lnTo>
                <a:lnTo>
                  <a:pt x="235" y="934"/>
                </a:lnTo>
                <a:lnTo>
                  <a:pt x="259" y="965"/>
                </a:lnTo>
                <a:lnTo>
                  <a:pt x="285" y="995"/>
                </a:lnTo>
                <a:lnTo>
                  <a:pt x="312" y="1024"/>
                </a:lnTo>
                <a:lnTo>
                  <a:pt x="334" y="1046"/>
                </a:lnTo>
                <a:lnTo>
                  <a:pt x="358" y="1067"/>
                </a:lnTo>
                <a:lnTo>
                  <a:pt x="380" y="1089"/>
                </a:lnTo>
                <a:lnTo>
                  <a:pt x="403" y="1110"/>
                </a:lnTo>
                <a:lnTo>
                  <a:pt x="413" y="1118"/>
                </a:lnTo>
                <a:lnTo>
                  <a:pt x="423" y="1126"/>
                </a:lnTo>
                <a:lnTo>
                  <a:pt x="433" y="1135"/>
                </a:lnTo>
                <a:lnTo>
                  <a:pt x="442" y="1143"/>
                </a:lnTo>
                <a:lnTo>
                  <a:pt x="438" y="1147"/>
                </a:lnTo>
                <a:lnTo>
                  <a:pt x="435" y="1152"/>
                </a:lnTo>
                <a:lnTo>
                  <a:pt x="423" y="1144"/>
                </a:lnTo>
                <a:lnTo>
                  <a:pt x="410" y="1137"/>
                </a:lnTo>
                <a:lnTo>
                  <a:pt x="399" y="1129"/>
                </a:lnTo>
                <a:lnTo>
                  <a:pt x="387" y="1121"/>
                </a:lnTo>
                <a:lnTo>
                  <a:pt x="366" y="1105"/>
                </a:lnTo>
                <a:lnTo>
                  <a:pt x="346" y="1089"/>
                </a:lnTo>
                <a:lnTo>
                  <a:pt x="326" y="1073"/>
                </a:lnTo>
                <a:lnTo>
                  <a:pt x="305" y="1058"/>
                </a:lnTo>
                <a:lnTo>
                  <a:pt x="290" y="1044"/>
                </a:lnTo>
                <a:lnTo>
                  <a:pt x="275" y="1030"/>
                </a:lnTo>
                <a:lnTo>
                  <a:pt x="268" y="1023"/>
                </a:lnTo>
                <a:lnTo>
                  <a:pt x="262" y="1014"/>
                </a:lnTo>
                <a:lnTo>
                  <a:pt x="256" y="1006"/>
                </a:lnTo>
                <a:lnTo>
                  <a:pt x="250" y="998"/>
                </a:lnTo>
                <a:lnTo>
                  <a:pt x="242" y="986"/>
                </a:lnTo>
                <a:lnTo>
                  <a:pt x="231" y="976"/>
                </a:lnTo>
                <a:lnTo>
                  <a:pt x="221" y="969"/>
                </a:lnTo>
                <a:lnTo>
                  <a:pt x="208" y="962"/>
                </a:lnTo>
                <a:lnTo>
                  <a:pt x="205" y="960"/>
                </a:lnTo>
                <a:lnTo>
                  <a:pt x="200" y="958"/>
                </a:lnTo>
                <a:lnTo>
                  <a:pt x="194" y="960"/>
                </a:lnTo>
                <a:lnTo>
                  <a:pt x="189" y="961"/>
                </a:lnTo>
                <a:lnTo>
                  <a:pt x="194" y="965"/>
                </a:lnTo>
                <a:lnTo>
                  <a:pt x="198" y="968"/>
                </a:lnTo>
                <a:lnTo>
                  <a:pt x="213" y="976"/>
                </a:lnTo>
                <a:lnTo>
                  <a:pt x="228" y="985"/>
                </a:lnTo>
                <a:lnTo>
                  <a:pt x="235" y="991"/>
                </a:lnTo>
                <a:lnTo>
                  <a:pt x="242" y="997"/>
                </a:lnTo>
                <a:lnTo>
                  <a:pt x="248" y="1003"/>
                </a:lnTo>
                <a:lnTo>
                  <a:pt x="254" y="1010"/>
                </a:lnTo>
                <a:lnTo>
                  <a:pt x="261" y="1020"/>
                </a:lnTo>
                <a:lnTo>
                  <a:pt x="269" y="1030"/>
                </a:lnTo>
                <a:lnTo>
                  <a:pt x="278" y="1038"/>
                </a:lnTo>
                <a:lnTo>
                  <a:pt x="286" y="1046"/>
                </a:lnTo>
                <a:lnTo>
                  <a:pt x="305" y="1062"/>
                </a:lnTo>
                <a:lnTo>
                  <a:pt x="325" y="1077"/>
                </a:lnTo>
                <a:lnTo>
                  <a:pt x="346" y="1095"/>
                </a:lnTo>
                <a:lnTo>
                  <a:pt x="368" y="1111"/>
                </a:lnTo>
                <a:lnTo>
                  <a:pt x="392" y="1128"/>
                </a:lnTo>
                <a:lnTo>
                  <a:pt x="416" y="1143"/>
                </a:lnTo>
                <a:lnTo>
                  <a:pt x="428" y="1151"/>
                </a:lnTo>
                <a:lnTo>
                  <a:pt x="438" y="1160"/>
                </a:lnTo>
                <a:lnTo>
                  <a:pt x="438" y="1161"/>
                </a:lnTo>
                <a:lnTo>
                  <a:pt x="437" y="1163"/>
                </a:lnTo>
                <a:lnTo>
                  <a:pt x="431" y="1158"/>
                </a:lnTo>
                <a:lnTo>
                  <a:pt x="426" y="1154"/>
                </a:lnTo>
                <a:lnTo>
                  <a:pt x="417" y="1156"/>
                </a:lnTo>
                <a:lnTo>
                  <a:pt x="409" y="1158"/>
                </a:lnTo>
                <a:lnTo>
                  <a:pt x="409" y="1159"/>
                </a:lnTo>
                <a:lnTo>
                  <a:pt x="408" y="1159"/>
                </a:lnTo>
                <a:lnTo>
                  <a:pt x="417" y="1166"/>
                </a:lnTo>
                <a:lnTo>
                  <a:pt x="427" y="1173"/>
                </a:lnTo>
                <a:lnTo>
                  <a:pt x="422" y="1174"/>
                </a:lnTo>
                <a:lnTo>
                  <a:pt x="417" y="1174"/>
                </a:lnTo>
                <a:lnTo>
                  <a:pt x="402" y="1170"/>
                </a:lnTo>
                <a:lnTo>
                  <a:pt x="388" y="1164"/>
                </a:lnTo>
                <a:lnTo>
                  <a:pt x="375" y="1157"/>
                </a:lnTo>
                <a:lnTo>
                  <a:pt x="364" y="1150"/>
                </a:lnTo>
                <a:lnTo>
                  <a:pt x="351" y="1143"/>
                </a:lnTo>
                <a:lnTo>
                  <a:pt x="338" y="1137"/>
                </a:lnTo>
                <a:lnTo>
                  <a:pt x="316" y="1129"/>
                </a:lnTo>
                <a:lnTo>
                  <a:pt x="293" y="1121"/>
                </a:lnTo>
                <a:lnTo>
                  <a:pt x="270" y="1112"/>
                </a:lnTo>
                <a:lnTo>
                  <a:pt x="248" y="1105"/>
                </a:lnTo>
                <a:lnTo>
                  <a:pt x="229" y="1100"/>
                </a:lnTo>
                <a:lnTo>
                  <a:pt x="210" y="1095"/>
                </a:lnTo>
                <a:lnTo>
                  <a:pt x="192" y="1094"/>
                </a:lnTo>
                <a:lnTo>
                  <a:pt x="172" y="1093"/>
                </a:lnTo>
                <a:lnTo>
                  <a:pt x="166" y="1093"/>
                </a:lnTo>
                <a:lnTo>
                  <a:pt x="160" y="1091"/>
                </a:lnTo>
                <a:lnTo>
                  <a:pt x="155" y="1089"/>
                </a:lnTo>
                <a:lnTo>
                  <a:pt x="151" y="1086"/>
                </a:lnTo>
                <a:lnTo>
                  <a:pt x="136" y="1075"/>
                </a:lnTo>
                <a:lnTo>
                  <a:pt x="120" y="1066"/>
                </a:lnTo>
                <a:lnTo>
                  <a:pt x="118" y="1065"/>
                </a:lnTo>
                <a:lnTo>
                  <a:pt x="113" y="1063"/>
                </a:lnTo>
                <a:lnTo>
                  <a:pt x="113" y="1068"/>
                </a:lnTo>
                <a:lnTo>
                  <a:pt x="113" y="1073"/>
                </a:lnTo>
                <a:lnTo>
                  <a:pt x="114" y="1074"/>
                </a:lnTo>
                <a:lnTo>
                  <a:pt x="117" y="1076"/>
                </a:lnTo>
                <a:lnTo>
                  <a:pt x="123" y="1083"/>
                </a:lnTo>
                <a:lnTo>
                  <a:pt x="129" y="1088"/>
                </a:lnTo>
                <a:lnTo>
                  <a:pt x="136" y="1093"/>
                </a:lnTo>
                <a:lnTo>
                  <a:pt x="143" y="1096"/>
                </a:lnTo>
                <a:lnTo>
                  <a:pt x="150" y="1100"/>
                </a:lnTo>
                <a:lnTo>
                  <a:pt x="158" y="1101"/>
                </a:lnTo>
                <a:lnTo>
                  <a:pt x="166" y="1102"/>
                </a:lnTo>
                <a:lnTo>
                  <a:pt x="174" y="1101"/>
                </a:lnTo>
                <a:lnTo>
                  <a:pt x="185" y="1100"/>
                </a:lnTo>
                <a:lnTo>
                  <a:pt x="196" y="1100"/>
                </a:lnTo>
                <a:lnTo>
                  <a:pt x="206" y="1101"/>
                </a:lnTo>
                <a:lnTo>
                  <a:pt x="216" y="1102"/>
                </a:lnTo>
                <a:lnTo>
                  <a:pt x="237" y="1107"/>
                </a:lnTo>
                <a:lnTo>
                  <a:pt x="257" y="1112"/>
                </a:lnTo>
                <a:lnTo>
                  <a:pt x="272" y="1118"/>
                </a:lnTo>
                <a:lnTo>
                  <a:pt x="286" y="1123"/>
                </a:lnTo>
                <a:lnTo>
                  <a:pt x="307" y="1130"/>
                </a:lnTo>
                <a:lnTo>
                  <a:pt x="327" y="1137"/>
                </a:lnTo>
                <a:lnTo>
                  <a:pt x="347" y="1146"/>
                </a:lnTo>
                <a:lnTo>
                  <a:pt x="367" y="1156"/>
                </a:lnTo>
                <a:lnTo>
                  <a:pt x="382" y="1164"/>
                </a:lnTo>
                <a:lnTo>
                  <a:pt x="397" y="1172"/>
                </a:lnTo>
                <a:lnTo>
                  <a:pt x="406" y="1175"/>
                </a:lnTo>
                <a:lnTo>
                  <a:pt x="415" y="1178"/>
                </a:lnTo>
                <a:lnTo>
                  <a:pt x="423" y="1179"/>
                </a:lnTo>
                <a:lnTo>
                  <a:pt x="433" y="1179"/>
                </a:lnTo>
                <a:lnTo>
                  <a:pt x="435" y="1179"/>
                </a:lnTo>
                <a:lnTo>
                  <a:pt x="437" y="1180"/>
                </a:lnTo>
                <a:lnTo>
                  <a:pt x="437" y="1182"/>
                </a:lnTo>
                <a:lnTo>
                  <a:pt x="437" y="1185"/>
                </a:lnTo>
                <a:lnTo>
                  <a:pt x="438" y="1193"/>
                </a:lnTo>
                <a:lnTo>
                  <a:pt x="440" y="1201"/>
                </a:lnTo>
                <a:lnTo>
                  <a:pt x="443" y="1206"/>
                </a:lnTo>
                <a:lnTo>
                  <a:pt x="448" y="1210"/>
                </a:lnTo>
                <a:lnTo>
                  <a:pt x="450" y="1207"/>
                </a:lnTo>
                <a:lnTo>
                  <a:pt x="451" y="1205"/>
                </a:lnTo>
                <a:lnTo>
                  <a:pt x="455" y="1210"/>
                </a:lnTo>
                <a:lnTo>
                  <a:pt x="459" y="1214"/>
                </a:lnTo>
                <a:lnTo>
                  <a:pt x="464" y="1215"/>
                </a:lnTo>
                <a:lnTo>
                  <a:pt x="466" y="1219"/>
                </a:lnTo>
                <a:lnTo>
                  <a:pt x="469" y="1222"/>
                </a:lnTo>
                <a:lnTo>
                  <a:pt x="470" y="1226"/>
                </a:lnTo>
                <a:lnTo>
                  <a:pt x="471" y="1233"/>
                </a:lnTo>
                <a:lnTo>
                  <a:pt x="475" y="1238"/>
                </a:lnTo>
                <a:lnTo>
                  <a:pt x="483" y="1248"/>
                </a:lnTo>
                <a:lnTo>
                  <a:pt x="491" y="1257"/>
                </a:lnTo>
                <a:lnTo>
                  <a:pt x="499" y="1265"/>
                </a:lnTo>
                <a:lnTo>
                  <a:pt x="509" y="1275"/>
                </a:lnTo>
                <a:lnTo>
                  <a:pt x="519" y="1284"/>
                </a:lnTo>
                <a:lnTo>
                  <a:pt x="530" y="1292"/>
                </a:lnTo>
                <a:lnTo>
                  <a:pt x="540" y="1300"/>
                </a:lnTo>
                <a:lnTo>
                  <a:pt x="552" y="1309"/>
                </a:lnTo>
                <a:lnTo>
                  <a:pt x="571" y="1320"/>
                </a:lnTo>
                <a:lnTo>
                  <a:pt x="588" y="1332"/>
                </a:lnTo>
                <a:lnTo>
                  <a:pt x="607" y="1342"/>
                </a:lnTo>
                <a:lnTo>
                  <a:pt x="626" y="1353"/>
                </a:lnTo>
                <a:lnTo>
                  <a:pt x="645" y="1363"/>
                </a:lnTo>
                <a:lnTo>
                  <a:pt x="666" y="1374"/>
                </a:lnTo>
                <a:lnTo>
                  <a:pt x="686" y="1386"/>
                </a:lnTo>
                <a:lnTo>
                  <a:pt x="707" y="1396"/>
                </a:lnTo>
                <a:lnTo>
                  <a:pt x="717" y="1400"/>
                </a:lnTo>
                <a:lnTo>
                  <a:pt x="726" y="1404"/>
                </a:lnTo>
                <a:lnTo>
                  <a:pt x="735" y="1409"/>
                </a:lnTo>
                <a:lnTo>
                  <a:pt x="745" y="1412"/>
                </a:lnTo>
                <a:lnTo>
                  <a:pt x="752" y="1418"/>
                </a:lnTo>
                <a:lnTo>
                  <a:pt x="760" y="1423"/>
                </a:lnTo>
                <a:lnTo>
                  <a:pt x="775" y="1430"/>
                </a:lnTo>
                <a:lnTo>
                  <a:pt x="790" y="1436"/>
                </a:lnTo>
                <a:lnTo>
                  <a:pt x="803" y="1442"/>
                </a:lnTo>
                <a:lnTo>
                  <a:pt x="816" y="1449"/>
                </a:lnTo>
                <a:lnTo>
                  <a:pt x="829" y="1453"/>
                </a:lnTo>
                <a:lnTo>
                  <a:pt x="843" y="1458"/>
                </a:lnTo>
                <a:lnTo>
                  <a:pt x="847" y="1460"/>
                </a:lnTo>
                <a:lnTo>
                  <a:pt x="850" y="1461"/>
                </a:lnTo>
                <a:lnTo>
                  <a:pt x="857" y="1465"/>
                </a:lnTo>
                <a:lnTo>
                  <a:pt x="863" y="1468"/>
                </a:lnTo>
                <a:lnTo>
                  <a:pt x="869" y="1471"/>
                </a:lnTo>
                <a:lnTo>
                  <a:pt x="875" y="1474"/>
                </a:lnTo>
                <a:lnTo>
                  <a:pt x="882" y="1478"/>
                </a:lnTo>
                <a:lnTo>
                  <a:pt x="889" y="1480"/>
                </a:lnTo>
                <a:lnTo>
                  <a:pt x="896" y="1481"/>
                </a:lnTo>
                <a:lnTo>
                  <a:pt x="903" y="1481"/>
                </a:lnTo>
                <a:lnTo>
                  <a:pt x="910" y="1482"/>
                </a:lnTo>
                <a:lnTo>
                  <a:pt x="917" y="1484"/>
                </a:lnTo>
                <a:lnTo>
                  <a:pt x="920" y="1485"/>
                </a:lnTo>
                <a:lnTo>
                  <a:pt x="924" y="1485"/>
                </a:lnTo>
                <a:lnTo>
                  <a:pt x="928" y="1481"/>
                </a:lnTo>
                <a:lnTo>
                  <a:pt x="933" y="1475"/>
                </a:lnTo>
                <a:lnTo>
                  <a:pt x="930" y="1472"/>
                </a:lnTo>
                <a:lnTo>
                  <a:pt x="926" y="1468"/>
                </a:lnTo>
                <a:lnTo>
                  <a:pt x="921" y="1465"/>
                </a:lnTo>
                <a:lnTo>
                  <a:pt x="918" y="1461"/>
                </a:lnTo>
                <a:lnTo>
                  <a:pt x="914" y="1457"/>
                </a:lnTo>
                <a:lnTo>
                  <a:pt x="912" y="1453"/>
                </a:lnTo>
                <a:lnTo>
                  <a:pt x="908" y="1450"/>
                </a:lnTo>
                <a:lnTo>
                  <a:pt x="903" y="1446"/>
                </a:lnTo>
                <a:lnTo>
                  <a:pt x="887" y="1436"/>
                </a:lnTo>
                <a:lnTo>
                  <a:pt x="872" y="1424"/>
                </a:lnTo>
                <a:lnTo>
                  <a:pt x="859" y="1414"/>
                </a:lnTo>
                <a:lnTo>
                  <a:pt x="845" y="1404"/>
                </a:lnTo>
                <a:lnTo>
                  <a:pt x="829" y="1397"/>
                </a:lnTo>
                <a:lnTo>
                  <a:pt x="813" y="1391"/>
                </a:lnTo>
                <a:lnTo>
                  <a:pt x="802" y="1387"/>
                </a:lnTo>
                <a:lnTo>
                  <a:pt x="790" y="1381"/>
                </a:lnTo>
                <a:lnTo>
                  <a:pt x="782" y="1376"/>
                </a:lnTo>
                <a:lnTo>
                  <a:pt x="773" y="1372"/>
                </a:lnTo>
                <a:lnTo>
                  <a:pt x="765" y="1366"/>
                </a:lnTo>
                <a:lnTo>
                  <a:pt x="755" y="1361"/>
                </a:lnTo>
                <a:lnTo>
                  <a:pt x="749" y="1358"/>
                </a:lnTo>
                <a:lnTo>
                  <a:pt x="744" y="1354"/>
                </a:lnTo>
                <a:lnTo>
                  <a:pt x="738" y="1351"/>
                </a:lnTo>
                <a:lnTo>
                  <a:pt x="733" y="1346"/>
                </a:lnTo>
                <a:lnTo>
                  <a:pt x="723" y="1335"/>
                </a:lnTo>
                <a:lnTo>
                  <a:pt x="712" y="1326"/>
                </a:lnTo>
                <a:lnTo>
                  <a:pt x="698" y="1314"/>
                </a:lnTo>
                <a:lnTo>
                  <a:pt x="685" y="1302"/>
                </a:lnTo>
                <a:lnTo>
                  <a:pt x="687" y="1300"/>
                </a:lnTo>
                <a:lnTo>
                  <a:pt x="690" y="1298"/>
                </a:lnTo>
                <a:lnTo>
                  <a:pt x="684" y="1294"/>
                </a:lnTo>
                <a:lnTo>
                  <a:pt x="678" y="1291"/>
                </a:lnTo>
                <a:lnTo>
                  <a:pt x="679" y="1285"/>
                </a:lnTo>
                <a:lnTo>
                  <a:pt x="679" y="1280"/>
                </a:lnTo>
                <a:lnTo>
                  <a:pt x="676" y="1276"/>
                </a:lnTo>
                <a:lnTo>
                  <a:pt x="669" y="1272"/>
                </a:lnTo>
                <a:lnTo>
                  <a:pt x="676" y="1270"/>
                </a:lnTo>
                <a:lnTo>
                  <a:pt x="683" y="1268"/>
                </a:lnTo>
                <a:lnTo>
                  <a:pt x="678" y="1266"/>
                </a:lnTo>
                <a:lnTo>
                  <a:pt x="675" y="1266"/>
                </a:lnTo>
                <a:lnTo>
                  <a:pt x="672" y="1266"/>
                </a:lnTo>
                <a:lnTo>
                  <a:pt x="670" y="1268"/>
                </a:lnTo>
                <a:lnTo>
                  <a:pt x="668" y="1266"/>
                </a:lnTo>
                <a:lnTo>
                  <a:pt x="668" y="1264"/>
                </a:lnTo>
                <a:lnTo>
                  <a:pt x="669" y="1258"/>
                </a:lnTo>
                <a:lnTo>
                  <a:pt x="670" y="1252"/>
                </a:lnTo>
                <a:lnTo>
                  <a:pt x="671" y="1252"/>
                </a:lnTo>
                <a:lnTo>
                  <a:pt x="672" y="1252"/>
                </a:lnTo>
                <a:lnTo>
                  <a:pt x="676" y="1254"/>
                </a:lnTo>
                <a:lnTo>
                  <a:pt x="680" y="1255"/>
                </a:lnTo>
                <a:lnTo>
                  <a:pt x="682" y="1256"/>
                </a:lnTo>
                <a:lnTo>
                  <a:pt x="682" y="1257"/>
                </a:lnTo>
                <a:lnTo>
                  <a:pt x="679" y="1257"/>
                </a:lnTo>
                <a:lnTo>
                  <a:pt x="677" y="1258"/>
                </a:lnTo>
                <a:lnTo>
                  <a:pt x="679" y="1261"/>
                </a:lnTo>
                <a:lnTo>
                  <a:pt x="682" y="1261"/>
                </a:lnTo>
                <a:lnTo>
                  <a:pt x="683" y="1258"/>
                </a:lnTo>
                <a:lnTo>
                  <a:pt x="685" y="1258"/>
                </a:lnTo>
                <a:lnTo>
                  <a:pt x="686" y="1257"/>
                </a:lnTo>
                <a:lnTo>
                  <a:pt x="689" y="1258"/>
                </a:lnTo>
                <a:lnTo>
                  <a:pt x="692" y="1259"/>
                </a:lnTo>
                <a:lnTo>
                  <a:pt x="696" y="1261"/>
                </a:lnTo>
                <a:lnTo>
                  <a:pt x="712" y="1264"/>
                </a:lnTo>
                <a:lnTo>
                  <a:pt x="727" y="1269"/>
                </a:lnTo>
                <a:lnTo>
                  <a:pt x="742" y="1272"/>
                </a:lnTo>
                <a:lnTo>
                  <a:pt x="758" y="1276"/>
                </a:lnTo>
                <a:lnTo>
                  <a:pt x="769" y="1279"/>
                </a:lnTo>
                <a:lnTo>
                  <a:pt x="781" y="1282"/>
                </a:lnTo>
                <a:lnTo>
                  <a:pt x="792" y="1284"/>
                </a:lnTo>
                <a:lnTo>
                  <a:pt x="803" y="1287"/>
                </a:lnTo>
                <a:lnTo>
                  <a:pt x="818" y="1291"/>
                </a:lnTo>
                <a:lnTo>
                  <a:pt x="832" y="1294"/>
                </a:lnTo>
                <a:lnTo>
                  <a:pt x="848" y="1298"/>
                </a:lnTo>
                <a:lnTo>
                  <a:pt x="862" y="1302"/>
                </a:lnTo>
                <a:lnTo>
                  <a:pt x="865" y="1303"/>
                </a:lnTo>
                <a:lnTo>
                  <a:pt x="870" y="1304"/>
                </a:lnTo>
                <a:lnTo>
                  <a:pt x="885" y="1307"/>
                </a:lnTo>
                <a:lnTo>
                  <a:pt x="901" y="1311"/>
                </a:lnTo>
                <a:lnTo>
                  <a:pt x="912" y="1313"/>
                </a:lnTo>
                <a:lnTo>
                  <a:pt x="921" y="1313"/>
                </a:lnTo>
                <a:lnTo>
                  <a:pt x="924" y="1313"/>
                </a:lnTo>
                <a:lnTo>
                  <a:pt x="926" y="1313"/>
                </a:lnTo>
                <a:lnTo>
                  <a:pt x="928" y="1314"/>
                </a:lnTo>
                <a:lnTo>
                  <a:pt x="930" y="1316"/>
                </a:lnTo>
                <a:lnTo>
                  <a:pt x="934" y="1320"/>
                </a:lnTo>
                <a:lnTo>
                  <a:pt x="937" y="1321"/>
                </a:lnTo>
                <a:lnTo>
                  <a:pt x="940" y="1320"/>
                </a:lnTo>
                <a:lnTo>
                  <a:pt x="945" y="1316"/>
                </a:lnTo>
                <a:lnTo>
                  <a:pt x="934" y="1312"/>
                </a:lnTo>
                <a:lnTo>
                  <a:pt x="925" y="1309"/>
                </a:lnTo>
                <a:lnTo>
                  <a:pt x="911" y="1304"/>
                </a:lnTo>
                <a:lnTo>
                  <a:pt x="898" y="1300"/>
                </a:lnTo>
                <a:lnTo>
                  <a:pt x="884" y="1297"/>
                </a:lnTo>
                <a:lnTo>
                  <a:pt x="870" y="1292"/>
                </a:lnTo>
                <a:lnTo>
                  <a:pt x="859" y="1289"/>
                </a:lnTo>
                <a:lnTo>
                  <a:pt x="848" y="1285"/>
                </a:lnTo>
                <a:lnTo>
                  <a:pt x="830" y="1282"/>
                </a:lnTo>
                <a:lnTo>
                  <a:pt x="813" y="1278"/>
                </a:lnTo>
                <a:lnTo>
                  <a:pt x="801" y="1275"/>
                </a:lnTo>
                <a:lnTo>
                  <a:pt x="789" y="1271"/>
                </a:lnTo>
                <a:lnTo>
                  <a:pt x="778" y="1268"/>
                </a:lnTo>
                <a:lnTo>
                  <a:pt x="766" y="1265"/>
                </a:lnTo>
                <a:lnTo>
                  <a:pt x="751" y="1264"/>
                </a:lnTo>
                <a:lnTo>
                  <a:pt x="734" y="1262"/>
                </a:lnTo>
                <a:lnTo>
                  <a:pt x="723" y="1257"/>
                </a:lnTo>
                <a:lnTo>
                  <a:pt x="711" y="1252"/>
                </a:lnTo>
                <a:lnTo>
                  <a:pt x="699" y="1249"/>
                </a:lnTo>
                <a:lnTo>
                  <a:pt x="687" y="1244"/>
                </a:lnTo>
                <a:lnTo>
                  <a:pt x="687" y="1243"/>
                </a:lnTo>
                <a:lnTo>
                  <a:pt x="689" y="1241"/>
                </a:lnTo>
                <a:lnTo>
                  <a:pt x="726" y="1247"/>
                </a:lnTo>
                <a:lnTo>
                  <a:pt x="763" y="1250"/>
                </a:lnTo>
                <a:lnTo>
                  <a:pt x="801" y="1255"/>
                </a:lnTo>
                <a:lnTo>
                  <a:pt x="838" y="1258"/>
                </a:lnTo>
                <a:lnTo>
                  <a:pt x="877" y="1262"/>
                </a:lnTo>
                <a:lnTo>
                  <a:pt x="914" y="1266"/>
                </a:lnTo>
                <a:lnTo>
                  <a:pt x="952" y="1273"/>
                </a:lnTo>
                <a:lnTo>
                  <a:pt x="989" y="1280"/>
                </a:lnTo>
                <a:lnTo>
                  <a:pt x="988" y="1280"/>
                </a:lnTo>
                <a:lnTo>
                  <a:pt x="988" y="1279"/>
                </a:lnTo>
                <a:lnTo>
                  <a:pt x="990" y="1280"/>
                </a:lnTo>
                <a:lnTo>
                  <a:pt x="993" y="1280"/>
                </a:lnTo>
                <a:lnTo>
                  <a:pt x="1013" y="1286"/>
                </a:lnTo>
                <a:lnTo>
                  <a:pt x="1032" y="1293"/>
                </a:lnTo>
                <a:lnTo>
                  <a:pt x="1051" y="1299"/>
                </a:lnTo>
                <a:lnTo>
                  <a:pt x="1071" y="1305"/>
                </a:lnTo>
                <a:lnTo>
                  <a:pt x="1075" y="1305"/>
                </a:lnTo>
                <a:lnTo>
                  <a:pt x="1077" y="1304"/>
                </a:lnTo>
                <a:lnTo>
                  <a:pt x="1115" y="1316"/>
                </a:lnTo>
                <a:lnTo>
                  <a:pt x="1154" y="1327"/>
                </a:lnTo>
                <a:lnTo>
                  <a:pt x="1193" y="1338"/>
                </a:lnTo>
                <a:lnTo>
                  <a:pt x="1232" y="1348"/>
                </a:lnTo>
                <a:lnTo>
                  <a:pt x="1232" y="1347"/>
                </a:lnTo>
                <a:lnTo>
                  <a:pt x="1232" y="1346"/>
                </a:lnTo>
                <a:lnTo>
                  <a:pt x="1215" y="1340"/>
                </a:lnTo>
                <a:lnTo>
                  <a:pt x="1198" y="1335"/>
                </a:lnTo>
                <a:lnTo>
                  <a:pt x="1200" y="1334"/>
                </a:lnTo>
                <a:lnTo>
                  <a:pt x="1201" y="1333"/>
                </a:lnTo>
                <a:lnTo>
                  <a:pt x="1186" y="1326"/>
                </a:lnTo>
                <a:lnTo>
                  <a:pt x="1169" y="1319"/>
                </a:lnTo>
                <a:lnTo>
                  <a:pt x="1152" y="1312"/>
                </a:lnTo>
                <a:lnTo>
                  <a:pt x="1135" y="1306"/>
                </a:lnTo>
                <a:lnTo>
                  <a:pt x="1103" y="1296"/>
                </a:lnTo>
                <a:lnTo>
                  <a:pt x="1069" y="1285"/>
                </a:lnTo>
                <a:lnTo>
                  <a:pt x="1061" y="1280"/>
                </a:lnTo>
                <a:lnTo>
                  <a:pt x="1051" y="1278"/>
                </a:lnTo>
                <a:lnTo>
                  <a:pt x="1043" y="1275"/>
                </a:lnTo>
                <a:lnTo>
                  <a:pt x="1035" y="1272"/>
                </a:lnTo>
                <a:lnTo>
                  <a:pt x="1016" y="1270"/>
                </a:lnTo>
                <a:lnTo>
                  <a:pt x="999" y="1266"/>
                </a:lnTo>
                <a:lnTo>
                  <a:pt x="999" y="1266"/>
                </a:lnTo>
                <a:lnTo>
                  <a:pt x="997" y="1266"/>
                </a:lnTo>
                <a:lnTo>
                  <a:pt x="988" y="1264"/>
                </a:lnTo>
                <a:lnTo>
                  <a:pt x="979" y="1262"/>
                </a:lnTo>
                <a:lnTo>
                  <a:pt x="973" y="1261"/>
                </a:lnTo>
                <a:lnTo>
                  <a:pt x="966" y="1259"/>
                </a:lnTo>
                <a:lnTo>
                  <a:pt x="956" y="1257"/>
                </a:lnTo>
                <a:lnTo>
                  <a:pt x="946" y="1255"/>
                </a:lnTo>
                <a:lnTo>
                  <a:pt x="937" y="1252"/>
                </a:lnTo>
                <a:lnTo>
                  <a:pt x="926" y="1250"/>
                </a:lnTo>
                <a:lnTo>
                  <a:pt x="911" y="1248"/>
                </a:lnTo>
                <a:lnTo>
                  <a:pt x="896" y="1245"/>
                </a:lnTo>
                <a:lnTo>
                  <a:pt x="880" y="1242"/>
                </a:lnTo>
                <a:lnTo>
                  <a:pt x="864" y="1240"/>
                </a:lnTo>
                <a:lnTo>
                  <a:pt x="862" y="1238"/>
                </a:lnTo>
                <a:lnTo>
                  <a:pt x="859" y="1236"/>
                </a:lnTo>
                <a:lnTo>
                  <a:pt x="861" y="1228"/>
                </a:lnTo>
                <a:lnTo>
                  <a:pt x="863" y="1221"/>
                </a:lnTo>
                <a:lnTo>
                  <a:pt x="868" y="1228"/>
                </a:lnTo>
                <a:lnTo>
                  <a:pt x="872" y="1235"/>
                </a:lnTo>
                <a:lnTo>
                  <a:pt x="878" y="1231"/>
                </a:lnTo>
                <a:lnTo>
                  <a:pt x="884" y="1229"/>
                </a:lnTo>
                <a:lnTo>
                  <a:pt x="886" y="1231"/>
                </a:lnTo>
                <a:lnTo>
                  <a:pt x="889" y="1234"/>
                </a:lnTo>
                <a:lnTo>
                  <a:pt x="890" y="1235"/>
                </a:lnTo>
                <a:lnTo>
                  <a:pt x="891" y="1235"/>
                </a:lnTo>
                <a:lnTo>
                  <a:pt x="892" y="1234"/>
                </a:lnTo>
                <a:lnTo>
                  <a:pt x="894" y="1233"/>
                </a:lnTo>
                <a:lnTo>
                  <a:pt x="896" y="1233"/>
                </a:lnTo>
                <a:lnTo>
                  <a:pt x="897" y="1234"/>
                </a:lnTo>
                <a:lnTo>
                  <a:pt x="938" y="1241"/>
                </a:lnTo>
                <a:lnTo>
                  <a:pt x="979" y="1249"/>
                </a:lnTo>
                <a:lnTo>
                  <a:pt x="1018" y="1258"/>
                </a:lnTo>
                <a:lnTo>
                  <a:pt x="1059" y="1268"/>
                </a:lnTo>
                <a:lnTo>
                  <a:pt x="1079" y="1272"/>
                </a:lnTo>
                <a:lnTo>
                  <a:pt x="1098" y="1278"/>
                </a:lnTo>
                <a:lnTo>
                  <a:pt x="1118" y="1284"/>
                </a:lnTo>
                <a:lnTo>
                  <a:pt x="1137" y="1291"/>
                </a:lnTo>
                <a:lnTo>
                  <a:pt x="1156" y="1297"/>
                </a:lnTo>
                <a:lnTo>
                  <a:pt x="1176" y="1304"/>
                </a:lnTo>
                <a:lnTo>
                  <a:pt x="1195" y="1310"/>
                </a:lnTo>
                <a:lnTo>
                  <a:pt x="1215" y="1313"/>
                </a:lnTo>
                <a:lnTo>
                  <a:pt x="1220" y="1313"/>
                </a:lnTo>
                <a:lnTo>
                  <a:pt x="1222" y="1311"/>
                </a:lnTo>
                <a:lnTo>
                  <a:pt x="1237" y="1314"/>
                </a:lnTo>
                <a:lnTo>
                  <a:pt x="1251" y="1318"/>
                </a:lnTo>
                <a:lnTo>
                  <a:pt x="1260" y="1320"/>
                </a:lnTo>
                <a:lnTo>
                  <a:pt x="1269" y="1321"/>
                </a:lnTo>
                <a:lnTo>
                  <a:pt x="1278" y="1324"/>
                </a:lnTo>
                <a:lnTo>
                  <a:pt x="1287" y="1324"/>
                </a:lnTo>
                <a:lnTo>
                  <a:pt x="1296" y="1325"/>
                </a:lnTo>
                <a:lnTo>
                  <a:pt x="1305" y="1327"/>
                </a:lnTo>
                <a:lnTo>
                  <a:pt x="1308" y="1328"/>
                </a:lnTo>
                <a:lnTo>
                  <a:pt x="1310" y="1332"/>
                </a:lnTo>
                <a:lnTo>
                  <a:pt x="1310" y="1334"/>
                </a:lnTo>
                <a:lnTo>
                  <a:pt x="1307" y="1337"/>
                </a:lnTo>
                <a:lnTo>
                  <a:pt x="1304" y="1340"/>
                </a:lnTo>
                <a:lnTo>
                  <a:pt x="1300" y="1342"/>
                </a:lnTo>
                <a:lnTo>
                  <a:pt x="1297" y="1346"/>
                </a:lnTo>
                <a:lnTo>
                  <a:pt x="1296" y="1352"/>
                </a:lnTo>
                <a:lnTo>
                  <a:pt x="1296" y="1352"/>
                </a:lnTo>
                <a:lnTo>
                  <a:pt x="1294" y="1353"/>
                </a:lnTo>
                <a:lnTo>
                  <a:pt x="1290" y="1355"/>
                </a:lnTo>
                <a:lnTo>
                  <a:pt x="1284" y="1354"/>
                </a:lnTo>
                <a:lnTo>
                  <a:pt x="1279" y="1353"/>
                </a:lnTo>
                <a:lnTo>
                  <a:pt x="1275" y="1349"/>
                </a:lnTo>
                <a:lnTo>
                  <a:pt x="1277" y="1347"/>
                </a:lnTo>
                <a:lnTo>
                  <a:pt x="1278" y="1346"/>
                </a:lnTo>
                <a:lnTo>
                  <a:pt x="1278" y="1345"/>
                </a:lnTo>
                <a:lnTo>
                  <a:pt x="1277" y="1344"/>
                </a:lnTo>
                <a:lnTo>
                  <a:pt x="1270" y="1346"/>
                </a:lnTo>
                <a:lnTo>
                  <a:pt x="1263" y="1348"/>
                </a:lnTo>
                <a:lnTo>
                  <a:pt x="1264" y="1349"/>
                </a:lnTo>
                <a:lnTo>
                  <a:pt x="1264" y="1349"/>
                </a:lnTo>
                <a:lnTo>
                  <a:pt x="1251" y="1348"/>
                </a:lnTo>
                <a:lnTo>
                  <a:pt x="1238" y="1348"/>
                </a:lnTo>
                <a:lnTo>
                  <a:pt x="1238" y="1348"/>
                </a:lnTo>
                <a:lnTo>
                  <a:pt x="1238" y="1349"/>
                </a:lnTo>
                <a:lnTo>
                  <a:pt x="1252" y="1354"/>
                </a:lnTo>
                <a:lnTo>
                  <a:pt x="1267" y="1360"/>
                </a:lnTo>
                <a:lnTo>
                  <a:pt x="1267" y="1361"/>
                </a:lnTo>
                <a:lnTo>
                  <a:pt x="1267" y="1362"/>
                </a:lnTo>
                <a:lnTo>
                  <a:pt x="1263" y="1366"/>
                </a:lnTo>
                <a:lnTo>
                  <a:pt x="1258" y="1369"/>
                </a:lnTo>
                <a:lnTo>
                  <a:pt x="1248" y="1373"/>
                </a:lnTo>
                <a:lnTo>
                  <a:pt x="1239" y="1377"/>
                </a:lnTo>
                <a:lnTo>
                  <a:pt x="1235" y="1381"/>
                </a:lnTo>
                <a:lnTo>
                  <a:pt x="1229" y="1383"/>
                </a:lnTo>
                <a:lnTo>
                  <a:pt x="1224" y="1384"/>
                </a:lnTo>
                <a:lnTo>
                  <a:pt x="1218" y="1386"/>
                </a:lnTo>
                <a:lnTo>
                  <a:pt x="1213" y="1386"/>
                </a:lnTo>
                <a:lnTo>
                  <a:pt x="1206" y="1384"/>
                </a:lnTo>
                <a:lnTo>
                  <a:pt x="1200" y="1383"/>
                </a:lnTo>
                <a:lnTo>
                  <a:pt x="1195" y="1382"/>
                </a:lnTo>
                <a:lnTo>
                  <a:pt x="1195" y="1382"/>
                </a:lnTo>
                <a:lnTo>
                  <a:pt x="1195" y="1382"/>
                </a:lnTo>
                <a:lnTo>
                  <a:pt x="1194" y="1382"/>
                </a:lnTo>
                <a:lnTo>
                  <a:pt x="1193" y="1382"/>
                </a:lnTo>
                <a:close/>
                <a:moveTo>
                  <a:pt x="1403" y="929"/>
                </a:moveTo>
                <a:lnTo>
                  <a:pt x="1407" y="926"/>
                </a:lnTo>
                <a:lnTo>
                  <a:pt x="1410" y="922"/>
                </a:lnTo>
                <a:lnTo>
                  <a:pt x="1409" y="920"/>
                </a:lnTo>
                <a:lnTo>
                  <a:pt x="1407" y="915"/>
                </a:lnTo>
                <a:lnTo>
                  <a:pt x="1402" y="920"/>
                </a:lnTo>
                <a:lnTo>
                  <a:pt x="1400" y="925"/>
                </a:lnTo>
                <a:lnTo>
                  <a:pt x="1401" y="926"/>
                </a:lnTo>
                <a:lnTo>
                  <a:pt x="1403" y="929"/>
                </a:lnTo>
                <a:close/>
                <a:moveTo>
                  <a:pt x="1211" y="1255"/>
                </a:moveTo>
                <a:lnTo>
                  <a:pt x="1208" y="1258"/>
                </a:lnTo>
                <a:lnTo>
                  <a:pt x="1206" y="1261"/>
                </a:lnTo>
                <a:lnTo>
                  <a:pt x="1203" y="1264"/>
                </a:lnTo>
                <a:lnTo>
                  <a:pt x="1201" y="1269"/>
                </a:lnTo>
                <a:lnTo>
                  <a:pt x="1207" y="1268"/>
                </a:lnTo>
                <a:lnTo>
                  <a:pt x="1210" y="1265"/>
                </a:lnTo>
                <a:lnTo>
                  <a:pt x="1213" y="1261"/>
                </a:lnTo>
                <a:lnTo>
                  <a:pt x="1211" y="1255"/>
                </a:lnTo>
                <a:close/>
                <a:moveTo>
                  <a:pt x="709" y="1275"/>
                </a:moveTo>
                <a:lnTo>
                  <a:pt x="705" y="1275"/>
                </a:lnTo>
                <a:lnTo>
                  <a:pt x="700" y="1275"/>
                </a:lnTo>
                <a:lnTo>
                  <a:pt x="702" y="1278"/>
                </a:lnTo>
                <a:lnTo>
                  <a:pt x="703" y="1280"/>
                </a:lnTo>
                <a:lnTo>
                  <a:pt x="705" y="1282"/>
                </a:lnTo>
                <a:lnTo>
                  <a:pt x="707" y="1283"/>
                </a:lnTo>
                <a:lnTo>
                  <a:pt x="712" y="1284"/>
                </a:lnTo>
                <a:lnTo>
                  <a:pt x="717" y="1284"/>
                </a:lnTo>
                <a:lnTo>
                  <a:pt x="717" y="1283"/>
                </a:lnTo>
                <a:lnTo>
                  <a:pt x="718" y="1282"/>
                </a:lnTo>
                <a:lnTo>
                  <a:pt x="711" y="1279"/>
                </a:lnTo>
                <a:lnTo>
                  <a:pt x="704" y="1277"/>
                </a:lnTo>
                <a:lnTo>
                  <a:pt x="706" y="1276"/>
                </a:lnTo>
                <a:lnTo>
                  <a:pt x="709" y="1276"/>
                </a:lnTo>
                <a:lnTo>
                  <a:pt x="709" y="1275"/>
                </a:lnTo>
                <a:lnTo>
                  <a:pt x="709" y="1275"/>
                </a:lnTo>
                <a:close/>
                <a:moveTo>
                  <a:pt x="869" y="1337"/>
                </a:moveTo>
                <a:lnTo>
                  <a:pt x="878" y="1339"/>
                </a:lnTo>
                <a:lnTo>
                  <a:pt x="889" y="1341"/>
                </a:lnTo>
                <a:lnTo>
                  <a:pt x="898" y="1344"/>
                </a:lnTo>
                <a:lnTo>
                  <a:pt x="908" y="1346"/>
                </a:lnTo>
                <a:lnTo>
                  <a:pt x="908" y="1345"/>
                </a:lnTo>
                <a:lnTo>
                  <a:pt x="908" y="1344"/>
                </a:lnTo>
                <a:lnTo>
                  <a:pt x="899" y="1341"/>
                </a:lnTo>
                <a:lnTo>
                  <a:pt x="889" y="1339"/>
                </a:lnTo>
                <a:lnTo>
                  <a:pt x="879" y="1337"/>
                </a:lnTo>
                <a:lnTo>
                  <a:pt x="869" y="1334"/>
                </a:lnTo>
                <a:lnTo>
                  <a:pt x="869" y="1335"/>
                </a:lnTo>
                <a:lnTo>
                  <a:pt x="869" y="1337"/>
                </a:lnTo>
                <a:close/>
                <a:moveTo>
                  <a:pt x="1221" y="1243"/>
                </a:moveTo>
                <a:lnTo>
                  <a:pt x="1220" y="1245"/>
                </a:lnTo>
                <a:lnTo>
                  <a:pt x="1218" y="1248"/>
                </a:lnTo>
                <a:lnTo>
                  <a:pt x="1218" y="1250"/>
                </a:lnTo>
                <a:lnTo>
                  <a:pt x="1220" y="1254"/>
                </a:lnTo>
                <a:lnTo>
                  <a:pt x="1221" y="1256"/>
                </a:lnTo>
                <a:lnTo>
                  <a:pt x="1222" y="1258"/>
                </a:lnTo>
                <a:lnTo>
                  <a:pt x="1224" y="1259"/>
                </a:lnTo>
                <a:lnTo>
                  <a:pt x="1227" y="1261"/>
                </a:lnTo>
                <a:lnTo>
                  <a:pt x="1230" y="1261"/>
                </a:lnTo>
                <a:lnTo>
                  <a:pt x="1235" y="1261"/>
                </a:lnTo>
                <a:lnTo>
                  <a:pt x="1230" y="1256"/>
                </a:lnTo>
                <a:lnTo>
                  <a:pt x="1225" y="1254"/>
                </a:lnTo>
                <a:lnTo>
                  <a:pt x="1223" y="1251"/>
                </a:lnTo>
                <a:lnTo>
                  <a:pt x="1222" y="1249"/>
                </a:lnTo>
                <a:lnTo>
                  <a:pt x="1221" y="1247"/>
                </a:lnTo>
                <a:lnTo>
                  <a:pt x="1221" y="1243"/>
                </a:lnTo>
                <a:close/>
                <a:moveTo>
                  <a:pt x="731" y="1291"/>
                </a:moveTo>
                <a:lnTo>
                  <a:pt x="738" y="1292"/>
                </a:lnTo>
                <a:lnTo>
                  <a:pt x="745" y="1292"/>
                </a:lnTo>
                <a:lnTo>
                  <a:pt x="747" y="1292"/>
                </a:lnTo>
                <a:lnTo>
                  <a:pt x="749" y="1292"/>
                </a:lnTo>
                <a:lnTo>
                  <a:pt x="749" y="1291"/>
                </a:lnTo>
                <a:lnTo>
                  <a:pt x="749" y="1290"/>
                </a:lnTo>
                <a:lnTo>
                  <a:pt x="746" y="1289"/>
                </a:lnTo>
                <a:lnTo>
                  <a:pt x="742" y="1287"/>
                </a:lnTo>
                <a:lnTo>
                  <a:pt x="734" y="1286"/>
                </a:lnTo>
                <a:lnTo>
                  <a:pt x="727" y="1286"/>
                </a:lnTo>
                <a:lnTo>
                  <a:pt x="724" y="1286"/>
                </a:lnTo>
                <a:lnTo>
                  <a:pt x="721" y="1286"/>
                </a:lnTo>
                <a:lnTo>
                  <a:pt x="724" y="1289"/>
                </a:lnTo>
                <a:lnTo>
                  <a:pt x="726" y="1291"/>
                </a:lnTo>
                <a:lnTo>
                  <a:pt x="728" y="1291"/>
                </a:lnTo>
                <a:lnTo>
                  <a:pt x="731" y="1291"/>
                </a:lnTo>
                <a:close/>
                <a:moveTo>
                  <a:pt x="1030" y="1355"/>
                </a:moveTo>
                <a:lnTo>
                  <a:pt x="1042" y="1359"/>
                </a:lnTo>
                <a:lnTo>
                  <a:pt x="1052" y="1362"/>
                </a:lnTo>
                <a:lnTo>
                  <a:pt x="1059" y="1363"/>
                </a:lnTo>
                <a:lnTo>
                  <a:pt x="1066" y="1366"/>
                </a:lnTo>
                <a:lnTo>
                  <a:pt x="1068" y="1367"/>
                </a:lnTo>
                <a:lnTo>
                  <a:pt x="1069" y="1368"/>
                </a:lnTo>
                <a:lnTo>
                  <a:pt x="1071" y="1372"/>
                </a:lnTo>
                <a:lnTo>
                  <a:pt x="1073" y="1376"/>
                </a:lnTo>
                <a:lnTo>
                  <a:pt x="1076" y="1375"/>
                </a:lnTo>
                <a:lnTo>
                  <a:pt x="1077" y="1374"/>
                </a:lnTo>
                <a:lnTo>
                  <a:pt x="1076" y="1369"/>
                </a:lnTo>
                <a:lnTo>
                  <a:pt x="1073" y="1366"/>
                </a:lnTo>
                <a:lnTo>
                  <a:pt x="1059" y="1359"/>
                </a:lnTo>
                <a:lnTo>
                  <a:pt x="1045" y="1353"/>
                </a:lnTo>
                <a:lnTo>
                  <a:pt x="1035" y="1348"/>
                </a:lnTo>
                <a:lnTo>
                  <a:pt x="1024" y="1344"/>
                </a:lnTo>
                <a:lnTo>
                  <a:pt x="1014" y="1340"/>
                </a:lnTo>
                <a:lnTo>
                  <a:pt x="1003" y="1335"/>
                </a:lnTo>
                <a:lnTo>
                  <a:pt x="999" y="1335"/>
                </a:lnTo>
                <a:lnTo>
                  <a:pt x="995" y="1335"/>
                </a:lnTo>
                <a:lnTo>
                  <a:pt x="988" y="1337"/>
                </a:lnTo>
                <a:lnTo>
                  <a:pt x="983" y="1337"/>
                </a:lnTo>
                <a:lnTo>
                  <a:pt x="979" y="1334"/>
                </a:lnTo>
                <a:lnTo>
                  <a:pt x="974" y="1328"/>
                </a:lnTo>
                <a:lnTo>
                  <a:pt x="970" y="1325"/>
                </a:lnTo>
                <a:lnTo>
                  <a:pt x="967" y="1323"/>
                </a:lnTo>
                <a:lnTo>
                  <a:pt x="966" y="1324"/>
                </a:lnTo>
                <a:lnTo>
                  <a:pt x="965" y="1325"/>
                </a:lnTo>
                <a:lnTo>
                  <a:pt x="972" y="1331"/>
                </a:lnTo>
                <a:lnTo>
                  <a:pt x="977" y="1337"/>
                </a:lnTo>
                <a:lnTo>
                  <a:pt x="987" y="1340"/>
                </a:lnTo>
                <a:lnTo>
                  <a:pt x="997" y="1344"/>
                </a:lnTo>
                <a:lnTo>
                  <a:pt x="1014" y="1349"/>
                </a:lnTo>
                <a:lnTo>
                  <a:pt x="1030" y="1355"/>
                </a:lnTo>
                <a:close/>
                <a:moveTo>
                  <a:pt x="697" y="1312"/>
                </a:moveTo>
                <a:lnTo>
                  <a:pt x="704" y="1316"/>
                </a:lnTo>
                <a:lnTo>
                  <a:pt x="711" y="1317"/>
                </a:lnTo>
                <a:lnTo>
                  <a:pt x="724" y="1318"/>
                </a:lnTo>
                <a:lnTo>
                  <a:pt x="738" y="1319"/>
                </a:lnTo>
                <a:lnTo>
                  <a:pt x="751" y="1320"/>
                </a:lnTo>
                <a:lnTo>
                  <a:pt x="763" y="1321"/>
                </a:lnTo>
                <a:lnTo>
                  <a:pt x="782" y="1324"/>
                </a:lnTo>
                <a:lnTo>
                  <a:pt x="801" y="1326"/>
                </a:lnTo>
                <a:lnTo>
                  <a:pt x="818" y="1330"/>
                </a:lnTo>
                <a:lnTo>
                  <a:pt x="837" y="1332"/>
                </a:lnTo>
                <a:lnTo>
                  <a:pt x="850" y="1334"/>
                </a:lnTo>
                <a:lnTo>
                  <a:pt x="863" y="1337"/>
                </a:lnTo>
                <a:lnTo>
                  <a:pt x="863" y="1335"/>
                </a:lnTo>
                <a:lnTo>
                  <a:pt x="863" y="1334"/>
                </a:lnTo>
                <a:lnTo>
                  <a:pt x="861" y="1333"/>
                </a:lnTo>
                <a:lnTo>
                  <a:pt x="858" y="1332"/>
                </a:lnTo>
                <a:lnTo>
                  <a:pt x="845" y="1328"/>
                </a:lnTo>
                <a:lnTo>
                  <a:pt x="831" y="1326"/>
                </a:lnTo>
                <a:lnTo>
                  <a:pt x="818" y="1324"/>
                </a:lnTo>
                <a:lnTo>
                  <a:pt x="804" y="1319"/>
                </a:lnTo>
                <a:lnTo>
                  <a:pt x="797" y="1318"/>
                </a:lnTo>
                <a:lnTo>
                  <a:pt x="790" y="1317"/>
                </a:lnTo>
                <a:lnTo>
                  <a:pt x="782" y="1318"/>
                </a:lnTo>
                <a:lnTo>
                  <a:pt x="775" y="1318"/>
                </a:lnTo>
                <a:lnTo>
                  <a:pt x="759" y="1317"/>
                </a:lnTo>
                <a:lnTo>
                  <a:pt x="744" y="1316"/>
                </a:lnTo>
                <a:lnTo>
                  <a:pt x="739" y="1314"/>
                </a:lnTo>
                <a:lnTo>
                  <a:pt x="734" y="1314"/>
                </a:lnTo>
                <a:lnTo>
                  <a:pt x="730" y="1313"/>
                </a:lnTo>
                <a:lnTo>
                  <a:pt x="725" y="1311"/>
                </a:lnTo>
                <a:lnTo>
                  <a:pt x="721" y="1311"/>
                </a:lnTo>
                <a:lnTo>
                  <a:pt x="717" y="1312"/>
                </a:lnTo>
                <a:lnTo>
                  <a:pt x="716" y="1309"/>
                </a:lnTo>
                <a:lnTo>
                  <a:pt x="714" y="1305"/>
                </a:lnTo>
                <a:lnTo>
                  <a:pt x="713" y="1305"/>
                </a:lnTo>
                <a:lnTo>
                  <a:pt x="712" y="1305"/>
                </a:lnTo>
                <a:lnTo>
                  <a:pt x="711" y="1309"/>
                </a:lnTo>
                <a:lnTo>
                  <a:pt x="710" y="1314"/>
                </a:lnTo>
                <a:lnTo>
                  <a:pt x="707" y="1310"/>
                </a:lnTo>
                <a:lnTo>
                  <a:pt x="705" y="1307"/>
                </a:lnTo>
                <a:lnTo>
                  <a:pt x="702" y="1307"/>
                </a:lnTo>
                <a:lnTo>
                  <a:pt x="697" y="1309"/>
                </a:lnTo>
                <a:lnTo>
                  <a:pt x="697" y="1311"/>
                </a:lnTo>
                <a:lnTo>
                  <a:pt x="697" y="1312"/>
                </a:lnTo>
                <a:close/>
                <a:moveTo>
                  <a:pt x="1163" y="1238"/>
                </a:moveTo>
                <a:lnTo>
                  <a:pt x="1156" y="1233"/>
                </a:lnTo>
                <a:lnTo>
                  <a:pt x="1151" y="1228"/>
                </a:lnTo>
                <a:lnTo>
                  <a:pt x="1147" y="1231"/>
                </a:lnTo>
                <a:lnTo>
                  <a:pt x="1145" y="1234"/>
                </a:lnTo>
                <a:lnTo>
                  <a:pt x="1142" y="1233"/>
                </a:lnTo>
                <a:lnTo>
                  <a:pt x="1140" y="1234"/>
                </a:lnTo>
                <a:lnTo>
                  <a:pt x="1139" y="1235"/>
                </a:lnTo>
                <a:lnTo>
                  <a:pt x="1138" y="1236"/>
                </a:lnTo>
                <a:lnTo>
                  <a:pt x="1137" y="1240"/>
                </a:lnTo>
                <a:lnTo>
                  <a:pt x="1135" y="1243"/>
                </a:lnTo>
                <a:lnTo>
                  <a:pt x="1142" y="1241"/>
                </a:lnTo>
                <a:lnTo>
                  <a:pt x="1149" y="1240"/>
                </a:lnTo>
                <a:lnTo>
                  <a:pt x="1147" y="1244"/>
                </a:lnTo>
                <a:lnTo>
                  <a:pt x="1146" y="1247"/>
                </a:lnTo>
                <a:lnTo>
                  <a:pt x="1148" y="1249"/>
                </a:lnTo>
                <a:lnTo>
                  <a:pt x="1151" y="1251"/>
                </a:lnTo>
                <a:lnTo>
                  <a:pt x="1154" y="1251"/>
                </a:lnTo>
                <a:lnTo>
                  <a:pt x="1158" y="1250"/>
                </a:lnTo>
                <a:lnTo>
                  <a:pt x="1165" y="1248"/>
                </a:lnTo>
                <a:lnTo>
                  <a:pt x="1173" y="1248"/>
                </a:lnTo>
                <a:lnTo>
                  <a:pt x="1175" y="1248"/>
                </a:lnTo>
                <a:lnTo>
                  <a:pt x="1176" y="1250"/>
                </a:lnTo>
                <a:lnTo>
                  <a:pt x="1181" y="1256"/>
                </a:lnTo>
                <a:lnTo>
                  <a:pt x="1184" y="1262"/>
                </a:lnTo>
                <a:lnTo>
                  <a:pt x="1190" y="1263"/>
                </a:lnTo>
                <a:lnTo>
                  <a:pt x="1197" y="1264"/>
                </a:lnTo>
                <a:lnTo>
                  <a:pt x="1196" y="1258"/>
                </a:lnTo>
                <a:lnTo>
                  <a:pt x="1194" y="1255"/>
                </a:lnTo>
                <a:lnTo>
                  <a:pt x="1194" y="1251"/>
                </a:lnTo>
                <a:lnTo>
                  <a:pt x="1193" y="1249"/>
                </a:lnTo>
                <a:lnTo>
                  <a:pt x="1190" y="1245"/>
                </a:lnTo>
                <a:lnTo>
                  <a:pt x="1188" y="1243"/>
                </a:lnTo>
                <a:lnTo>
                  <a:pt x="1182" y="1241"/>
                </a:lnTo>
                <a:lnTo>
                  <a:pt x="1176" y="1240"/>
                </a:lnTo>
                <a:lnTo>
                  <a:pt x="1173" y="1238"/>
                </a:lnTo>
                <a:lnTo>
                  <a:pt x="1172" y="1237"/>
                </a:lnTo>
                <a:lnTo>
                  <a:pt x="1170" y="1235"/>
                </a:lnTo>
                <a:lnTo>
                  <a:pt x="1172" y="1231"/>
                </a:lnTo>
                <a:lnTo>
                  <a:pt x="1176" y="1227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1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6" y="1224"/>
                </a:lnTo>
                <a:lnTo>
                  <a:pt x="1190" y="1226"/>
                </a:lnTo>
                <a:lnTo>
                  <a:pt x="1200" y="1229"/>
                </a:lnTo>
                <a:lnTo>
                  <a:pt x="1209" y="1233"/>
                </a:lnTo>
                <a:lnTo>
                  <a:pt x="1218" y="1234"/>
                </a:lnTo>
                <a:lnTo>
                  <a:pt x="1228" y="1237"/>
                </a:lnTo>
                <a:lnTo>
                  <a:pt x="1236" y="1241"/>
                </a:lnTo>
                <a:lnTo>
                  <a:pt x="1244" y="1244"/>
                </a:lnTo>
                <a:lnTo>
                  <a:pt x="1252" y="1248"/>
                </a:lnTo>
                <a:lnTo>
                  <a:pt x="1262" y="1249"/>
                </a:lnTo>
                <a:lnTo>
                  <a:pt x="1263" y="1249"/>
                </a:lnTo>
                <a:lnTo>
                  <a:pt x="1264" y="1249"/>
                </a:lnTo>
                <a:lnTo>
                  <a:pt x="1264" y="1256"/>
                </a:lnTo>
                <a:lnTo>
                  <a:pt x="1266" y="1261"/>
                </a:lnTo>
                <a:lnTo>
                  <a:pt x="1270" y="1264"/>
                </a:lnTo>
                <a:lnTo>
                  <a:pt x="1275" y="1268"/>
                </a:lnTo>
                <a:lnTo>
                  <a:pt x="1273" y="1269"/>
                </a:lnTo>
                <a:lnTo>
                  <a:pt x="1273" y="1270"/>
                </a:lnTo>
                <a:lnTo>
                  <a:pt x="1266" y="1269"/>
                </a:lnTo>
                <a:lnTo>
                  <a:pt x="1260" y="1269"/>
                </a:lnTo>
                <a:lnTo>
                  <a:pt x="1260" y="1269"/>
                </a:lnTo>
                <a:lnTo>
                  <a:pt x="1260" y="1270"/>
                </a:lnTo>
                <a:lnTo>
                  <a:pt x="1266" y="1273"/>
                </a:lnTo>
                <a:lnTo>
                  <a:pt x="1272" y="1277"/>
                </a:lnTo>
                <a:lnTo>
                  <a:pt x="1271" y="1278"/>
                </a:lnTo>
                <a:lnTo>
                  <a:pt x="1271" y="1280"/>
                </a:lnTo>
                <a:lnTo>
                  <a:pt x="1271" y="1283"/>
                </a:lnTo>
                <a:lnTo>
                  <a:pt x="1271" y="1286"/>
                </a:lnTo>
                <a:lnTo>
                  <a:pt x="1266" y="1286"/>
                </a:lnTo>
                <a:lnTo>
                  <a:pt x="1263" y="1285"/>
                </a:lnTo>
                <a:lnTo>
                  <a:pt x="1260" y="1284"/>
                </a:lnTo>
                <a:lnTo>
                  <a:pt x="1257" y="1283"/>
                </a:lnTo>
                <a:lnTo>
                  <a:pt x="1252" y="1280"/>
                </a:lnTo>
                <a:lnTo>
                  <a:pt x="1246" y="1278"/>
                </a:lnTo>
                <a:lnTo>
                  <a:pt x="1250" y="1275"/>
                </a:lnTo>
                <a:lnTo>
                  <a:pt x="1251" y="1271"/>
                </a:lnTo>
                <a:lnTo>
                  <a:pt x="1243" y="1271"/>
                </a:lnTo>
                <a:lnTo>
                  <a:pt x="1235" y="1271"/>
                </a:lnTo>
                <a:lnTo>
                  <a:pt x="1231" y="1271"/>
                </a:lnTo>
                <a:lnTo>
                  <a:pt x="1228" y="1270"/>
                </a:lnTo>
                <a:lnTo>
                  <a:pt x="1223" y="1268"/>
                </a:lnTo>
                <a:lnTo>
                  <a:pt x="1221" y="1264"/>
                </a:lnTo>
                <a:lnTo>
                  <a:pt x="1221" y="1269"/>
                </a:lnTo>
                <a:lnTo>
                  <a:pt x="1221" y="1272"/>
                </a:lnTo>
                <a:lnTo>
                  <a:pt x="1223" y="1275"/>
                </a:lnTo>
                <a:lnTo>
                  <a:pt x="1225" y="1276"/>
                </a:lnTo>
                <a:lnTo>
                  <a:pt x="1232" y="1278"/>
                </a:lnTo>
                <a:lnTo>
                  <a:pt x="1238" y="1282"/>
                </a:lnTo>
                <a:lnTo>
                  <a:pt x="1228" y="1287"/>
                </a:lnTo>
                <a:lnTo>
                  <a:pt x="1217" y="1292"/>
                </a:lnTo>
                <a:lnTo>
                  <a:pt x="1211" y="1293"/>
                </a:lnTo>
                <a:lnTo>
                  <a:pt x="1204" y="1293"/>
                </a:lnTo>
                <a:lnTo>
                  <a:pt x="1200" y="1293"/>
                </a:lnTo>
                <a:lnTo>
                  <a:pt x="1195" y="1293"/>
                </a:lnTo>
                <a:lnTo>
                  <a:pt x="1184" y="1291"/>
                </a:lnTo>
                <a:lnTo>
                  <a:pt x="1174" y="1287"/>
                </a:lnTo>
                <a:lnTo>
                  <a:pt x="1163" y="1284"/>
                </a:lnTo>
                <a:lnTo>
                  <a:pt x="1153" y="1280"/>
                </a:lnTo>
                <a:lnTo>
                  <a:pt x="1152" y="1277"/>
                </a:lnTo>
                <a:lnTo>
                  <a:pt x="1148" y="1275"/>
                </a:lnTo>
                <a:lnTo>
                  <a:pt x="1112" y="1261"/>
                </a:lnTo>
                <a:lnTo>
                  <a:pt x="1077" y="1248"/>
                </a:lnTo>
                <a:lnTo>
                  <a:pt x="1041" y="1235"/>
                </a:lnTo>
                <a:lnTo>
                  <a:pt x="1003" y="1222"/>
                </a:lnTo>
                <a:lnTo>
                  <a:pt x="1000" y="1221"/>
                </a:lnTo>
                <a:lnTo>
                  <a:pt x="995" y="1220"/>
                </a:lnTo>
                <a:lnTo>
                  <a:pt x="1000" y="1219"/>
                </a:lnTo>
                <a:lnTo>
                  <a:pt x="1004" y="1219"/>
                </a:lnTo>
                <a:lnTo>
                  <a:pt x="1021" y="1221"/>
                </a:lnTo>
                <a:lnTo>
                  <a:pt x="1038" y="1223"/>
                </a:lnTo>
                <a:lnTo>
                  <a:pt x="1045" y="1223"/>
                </a:lnTo>
                <a:lnTo>
                  <a:pt x="1053" y="1226"/>
                </a:lnTo>
                <a:lnTo>
                  <a:pt x="1059" y="1227"/>
                </a:lnTo>
                <a:lnTo>
                  <a:pt x="1063" y="1227"/>
                </a:lnTo>
                <a:lnTo>
                  <a:pt x="1064" y="1226"/>
                </a:lnTo>
                <a:lnTo>
                  <a:pt x="1065" y="1223"/>
                </a:lnTo>
                <a:lnTo>
                  <a:pt x="1065" y="1223"/>
                </a:lnTo>
                <a:lnTo>
                  <a:pt x="1066" y="1223"/>
                </a:lnTo>
                <a:lnTo>
                  <a:pt x="1073" y="1227"/>
                </a:lnTo>
                <a:lnTo>
                  <a:pt x="1082" y="1229"/>
                </a:lnTo>
                <a:lnTo>
                  <a:pt x="1086" y="1229"/>
                </a:lnTo>
                <a:lnTo>
                  <a:pt x="1090" y="1230"/>
                </a:lnTo>
                <a:lnTo>
                  <a:pt x="1093" y="1230"/>
                </a:lnTo>
                <a:lnTo>
                  <a:pt x="1097" y="1230"/>
                </a:lnTo>
                <a:lnTo>
                  <a:pt x="1098" y="1231"/>
                </a:lnTo>
                <a:lnTo>
                  <a:pt x="1098" y="1231"/>
                </a:lnTo>
                <a:lnTo>
                  <a:pt x="1107" y="1234"/>
                </a:lnTo>
                <a:lnTo>
                  <a:pt x="1115" y="1235"/>
                </a:lnTo>
                <a:lnTo>
                  <a:pt x="1113" y="1237"/>
                </a:lnTo>
                <a:lnTo>
                  <a:pt x="1111" y="1238"/>
                </a:lnTo>
                <a:lnTo>
                  <a:pt x="1115" y="1237"/>
                </a:lnTo>
                <a:lnTo>
                  <a:pt x="1119" y="1236"/>
                </a:lnTo>
                <a:lnTo>
                  <a:pt x="1121" y="1237"/>
                </a:lnTo>
                <a:lnTo>
                  <a:pt x="1122" y="1238"/>
                </a:lnTo>
                <a:lnTo>
                  <a:pt x="1124" y="1241"/>
                </a:lnTo>
                <a:lnTo>
                  <a:pt x="1126" y="1244"/>
                </a:lnTo>
                <a:lnTo>
                  <a:pt x="1133" y="1235"/>
                </a:lnTo>
                <a:lnTo>
                  <a:pt x="1139" y="1226"/>
                </a:lnTo>
                <a:lnTo>
                  <a:pt x="1140" y="1224"/>
                </a:lnTo>
                <a:lnTo>
                  <a:pt x="1142" y="1222"/>
                </a:lnTo>
                <a:lnTo>
                  <a:pt x="1148" y="1222"/>
                </a:lnTo>
                <a:lnTo>
                  <a:pt x="1155" y="1222"/>
                </a:lnTo>
                <a:lnTo>
                  <a:pt x="1155" y="1223"/>
                </a:lnTo>
                <a:lnTo>
                  <a:pt x="1154" y="1223"/>
                </a:lnTo>
                <a:lnTo>
                  <a:pt x="1158" y="1226"/>
                </a:lnTo>
                <a:lnTo>
                  <a:pt x="1161" y="1228"/>
                </a:lnTo>
                <a:lnTo>
                  <a:pt x="1162" y="1227"/>
                </a:lnTo>
                <a:lnTo>
                  <a:pt x="1165" y="1226"/>
                </a:lnTo>
                <a:lnTo>
                  <a:pt x="1161" y="1223"/>
                </a:lnTo>
                <a:lnTo>
                  <a:pt x="1159" y="1222"/>
                </a:lnTo>
                <a:lnTo>
                  <a:pt x="1163" y="1222"/>
                </a:lnTo>
                <a:lnTo>
                  <a:pt x="1169" y="1221"/>
                </a:lnTo>
                <a:lnTo>
                  <a:pt x="1172" y="1220"/>
                </a:lnTo>
                <a:lnTo>
                  <a:pt x="1174" y="1219"/>
                </a:lnTo>
                <a:lnTo>
                  <a:pt x="1177" y="1220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80" y="1223"/>
                </a:lnTo>
                <a:lnTo>
                  <a:pt x="1175" y="1222"/>
                </a:lnTo>
                <a:lnTo>
                  <a:pt x="1172" y="1222"/>
                </a:lnTo>
                <a:lnTo>
                  <a:pt x="1170" y="1224"/>
                </a:lnTo>
                <a:lnTo>
                  <a:pt x="1168" y="1227"/>
                </a:lnTo>
                <a:lnTo>
                  <a:pt x="1167" y="1233"/>
                </a:lnTo>
                <a:lnTo>
                  <a:pt x="1163" y="1238"/>
                </a:lnTo>
                <a:close/>
                <a:moveTo>
                  <a:pt x="1285" y="1126"/>
                </a:moveTo>
                <a:lnTo>
                  <a:pt x="1285" y="1128"/>
                </a:lnTo>
                <a:lnTo>
                  <a:pt x="1285" y="1128"/>
                </a:lnTo>
                <a:lnTo>
                  <a:pt x="1284" y="1128"/>
                </a:lnTo>
                <a:lnTo>
                  <a:pt x="1284" y="1126"/>
                </a:lnTo>
                <a:lnTo>
                  <a:pt x="1286" y="1125"/>
                </a:lnTo>
                <a:lnTo>
                  <a:pt x="1289" y="1124"/>
                </a:lnTo>
                <a:lnTo>
                  <a:pt x="1291" y="1125"/>
                </a:lnTo>
                <a:lnTo>
                  <a:pt x="1292" y="1128"/>
                </a:lnTo>
                <a:lnTo>
                  <a:pt x="1294" y="1130"/>
                </a:lnTo>
                <a:lnTo>
                  <a:pt x="1298" y="1132"/>
                </a:lnTo>
                <a:lnTo>
                  <a:pt x="1301" y="1135"/>
                </a:lnTo>
                <a:lnTo>
                  <a:pt x="1305" y="1138"/>
                </a:lnTo>
                <a:lnTo>
                  <a:pt x="1305" y="1142"/>
                </a:lnTo>
                <a:lnTo>
                  <a:pt x="1305" y="1146"/>
                </a:lnTo>
                <a:lnTo>
                  <a:pt x="1301" y="1147"/>
                </a:lnTo>
                <a:lnTo>
                  <a:pt x="1297" y="1147"/>
                </a:lnTo>
                <a:lnTo>
                  <a:pt x="1294" y="1146"/>
                </a:lnTo>
                <a:lnTo>
                  <a:pt x="1291" y="1145"/>
                </a:lnTo>
                <a:lnTo>
                  <a:pt x="1289" y="1146"/>
                </a:lnTo>
                <a:lnTo>
                  <a:pt x="1286" y="1149"/>
                </a:lnTo>
                <a:lnTo>
                  <a:pt x="1284" y="1151"/>
                </a:lnTo>
                <a:lnTo>
                  <a:pt x="1280" y="1153"/>
                </a:lnTo>
                <a:lnTo>
                  <a:pt x="1277" y="1153"/>
                </a:lnTo>
                <a:lnTo>
                  <a:pt x="1273" y="1153"/>
                </a:lnTo>
                <a:lnTo>
                  <a:pt x="1270" y="1153"/>
                </a:lnTo>
                <a:lnTo>
                  <a:pt x="1264" y="1153"/>
                </a:lnTo>
                <a:lnTo>
                  <a:pt x="1263" y="1151"/>
                </a:lnTo>
                <a:lnTo>
                  <a:pt x="1262" y="1149"/>
                </a:lnTo>
                <a:lnTo>
                  <a:pt x="1256" y="1153"/>
                </a:lnTo>
                <a:lnTo>
                  <a:pt x="1250" y="1157"/>
                </a:lnTo>
                <a:lnTo>
                  <a:pt x="1245" y="1159"/>
                </a:lnTo>
                <a:lnTo>
                  <a:pt x="1241" y="1159"/>
                </a:lnTo>
                <a:lnTo>
                  <a:pt x="1236" y="1157"/>
                </a:lnTo>
                <a:lnTo>
                  <a:pt x="1234" y="1153"/>
                </a:lnTo>
                <a:lnTo>
                  <a:pt x="1229" y="1147"/>
                </a:lnTo>
                <a:lnTo>
                  <a:pt x="1224" y="1145"/>
                </a:lnTo>
                <a:lnTo>
                  <a:pt x="1224" y="1142"/>
                </a:lnTo>
                <a:lnTo>
                  <a:pt x="1223" y="1137"/>
                </a:lnTo>
                <a:lnTo>
                  <a:pt x="1225" y="1137"/>
                </a:lnTo>
                <a:lnTo>
                  <a:pt x="1228" y="1136"/>
                </a:lnTo>
                <a:lnTo>
                  <a:pt x="1229" y="1136"/>
                </a:lnTo>
                <a:lnTo>
                  <a:pt x="1230" y="1136"/>
                </a:lnTo>
                <a:lnTo>
                  <a:pt x="1232" y="1137"/>
                </a:lnTo>
                <a:lnTo>
                  <a:pt x="1236" y="1140"/>
                </a:lnTo>
                <a:lnTo>
                  <a:pt x="1238" y="1139"/>
                </a:lnTo>
                <a:lnTo>
                  <a:pt x="1241" y="1138"/>
                </a:lnTo>
                <a:lnTo>
                  <a:pt x="1244" y="1135"/>
                </a:lnTo>
                <a:lnTo>
                  <a:pt x="1249" y="1133"/>
                </a:lnTo>
                <a:lnTo>
                  <a:pt x="1253" y="1135"/>
                </a:lnTo>
                <a:lnTo>
                  <a:pt x="1258" y="1137"/>
                </a:lnTo>
                <a:lnTo>
                  <a:pt x="1260" y="1139"/>
                </a:lnTo>
                <a:lnTo>
                  <a:pt x="1263" y="1139"/>
                </a:lnTo>
                <a:lnTo>
                  <a:pt x="1265" y="1138"/>
                </a:lnTo>
                <a:lnTo>
                  <a:pt x="1267" y="1135"/>
                </a:lnTo>
                <a:lnTo>
                  <a:pt x="1275" y="1138"/>
                </a:lnTo>
                <a:lnTo>
                  <a:pt x="1279" y="1138"/>
                </a:lnTo>
                <a:lnTo>
                  <a:pt x="1283" y="1133"/>
                </a:lnTo>
                <a:lnTo>
                  <a:pt x="1285" y="1128"/>
                </a:lnTo>
                <a:lnTo>
                  <a:pt x="1287" y="1129"/>
                </a:lnTo>
                <a:lnTo>
                  <a:pt x="1290" y="1130"/>
                </a:lnTo>
                <a:lnTo>
                  <a:pt x="1287" y="1129"/>
                </a:lnTo>
                <a:lnTo>
                  <a:pt x="1285" y="1126"/>
                </a:lnTo>
                <a:close/>
                <a:moveTo>
                  <a:pt x="1410" y="1262"/>
                </a:moveTo>
                <a:lnTo>
                  <a:pt x="1405" y="1261"/>
                </a:lnTo>
                <a:lnTo>
                  <a:pt x="1402" y="1258"/>
                </a:lnTo>
                <a:lnTo>
                  <a:pt x="1400" y="1256"/>
                </a:lnTo>
                <a:lnTo>
                  <a:pt x="1398" y="1252"/>
                </a:lnTo>
                <a:lnTo>
                  <a:pt x="1400" y="1249"/>
                </a:lnTo>
                <a:lnTo>
                  <a:pt x="1402" y="1245"/>
                </a:lnTo>
                <a:lnTo>
                  <a:pt x="1405" y="1243"/>
                </a:lnTo>
                <a:lnTo>
                  <a:pt x="1408" y="1242"/>
                </a:lnTo>
                <a:lnTo>
                  <a:pt x="1412" y="1243"/>
                </a:lnTo>
                <a:lnTo>
                  <a:pt x="1416" y="1245"/>
                </a:lnTo>
                <a:lnTo>
                  <a:pt x="1417" y="1249"/>
                </a:lnTo>
                <a:lnTo>
                  <a:pt x="1418" y="1254"/>
                </a:lnTo>
                <a:lnTo>
                  <a:pt x="1417" y="1256"/>
                </a:lnTo>
                <a:lnTo>
                  <a:pt x="1416" y="1259"/>
                </a:lnTo>
                <a:lnTo>
                  <a:pt x="1414" y="1261"/>
                </a:lnTo>
                <a:lnTo>
                  <a:pt x="1410" y="1262"/>
                </a:lnTo>
                <a:close/>
                <a:moveTo>
                  <a:pt x="1402" y="1076"/>
                </a:moveTo>
                <a:lnTo>
                  <a:pt x="1404" y="1075"/>
                </a:lnTo>
                <a:lnTo>
                  <a:pt x="1408" y="1075"/>
                </a:lnTo>
                <a:lnTo>
                  <a:pt x="1405" y="1072"/>
                </a:lnTo>
                <a:lnTo>
                  <a:pt x="1404" y="1067"/>
                </a:lnTo>
                <a:lnTo>
                  <a:pt x="1403" y="1062"/>
                </a:lnTo>
                <a:lnTo>
                  <a:pt x="1404" y="1058"/>
                </a:lnTo>
                <a:lnTo>
                  <a:pt x="1407" y="1055"/>
                </a:lnTo>
                <a:lnTo>
                  <a:pt x="1409" y="1054"/>
                </a:lnTo>
                <a:lnTo>
                  <a:pt x="1411" y="1054"/>
                </a:lnTo>
                <a:lnTo>
                  <a:pt x="1414" y="1055"/>
                </a:lnTo>
                <a:lnTo>
                  <a:pt x="1417" y="1059"/>
                </a:lnTo>
                <a:lnTo>
                  <a:pt x="1418" y="1065"/>
                </a:lnTo>
                <a:lnTo>
                  <a:pt x="1417" y="1072"/>
                </a:lnTo>
                <a:lnTo>
                  <a:pt x="1416" y="1076"/>
                </a:lnTo>
                <a:lnTo>
                  <a:pt x="1411" y="1081"/>
                </a:lnTo>
                <a:lnTo>
                  <a:pt x="1405" y="1083"/>
                </a:lnTo>
                <a:lnTo>
                  <a:pt x="1403" y="1083"/>
                </a:lnTo>
                <a:lnTo>
                  <a:pt x="1400" y="1084"/>
                </a:lnTo>
                <a:lnTo>
                  <a:pt x="1401" y="1080"/>
                </a:lnTo>
                <a:lnTo>
                  <a:pt x="1402" y="1076"/>
                </a:lnTo>
                <a:close/>
                <a:moveTo>
                  <a:pt x="1391" y="968"/>
                </a:moveTo>
                <a:lnTo>
                  <a:pt x="1390" y="962"/>
                </a:lnTo>
                <a:lnTo>
                  <a:pt x="1389" y="956"/>
                </a:lnTo>
                <a:lnTo>
                  <a:pt x="1391" y="956"/>
                </a:lnTo>
                <a:lnTo>
                  <a:pt x="1393" y="956"/>
                </a:lnTo>
                <a:lnTo>
                  <a:pt x="1394" y="961"/>
                </a:lnTo>
                <a:lnTo>
                  <a:pt x="1395" y="967"/>
                </a:lnTo>
                <a:lnTo>
                  <a:pt x="1393" y="968"/>
                </a:lnTo>
                <a:lnTo>
                  <a:pt x="1391" y="968"/>
                </a:lnTo>
                <a:close/>
                <a:moveTo>
                  <a:pt x="1369" y="1316"/>
                </a:moveTo>
                <a:lnTo>
                  <a:pt x="1368" y="1314"/>
                </a:lnTo>
                <a:lnTo>
                  <a:pt x="1367" y="1313"/>
                </a:lnTo>
                <a:lnTo>
                  <a:pt x="1367" y="1312"/>
                </a:lnTo>
                <a:lnTo>
                  <a:pt x="1368" y="1311"/>
                </a:lnTo>
                <a:lnTo>
                  <a:pt x="1369" y="1307"/>
                </a:lnTo>
                <a:lnTo>
                  <a:pt x="1370" y="1305"/>
                </a:lnTo>
                <a:lnTo>
                  <a:pt x="1373" y="1303"/>
                </a:lnTo>
                <a:lnTo>
                  <a:pt x="1377" y="1302"/>
                </a:lnTo>
                <a:lnTo>
                  <a:pt x="1381" y="1303"/>
                </a:lnTo>
                <a:lnTo>
                  <a:pt x="1384" y="1305"/>
                </a:lnTo>
                <a:lnTo>
                  <a:pt x="1386" y="1309"/>
                </a:lnTo>
                <a:lnTo>
                  <a:pt x="1388" y="1313"/>
                </a:lnTo>
                <a:lnTo>
                  <a:pt x="1383" y="1316"/>
                </a:lnTo>
                <a:lnTo>
                  <a:pt x="1379" y="1318"/>
                </a:lnTo>
                <a:lnTo>
                  <a:pt x="1374" y="1318"/>
                </a:lnTo>
                <a:lnTo>
                  <a:pt x="1369" y="1316"/>
                </a:lnTo>
                <a:close/>
                <a:moveTo>
                  <a:pt x="1349" y="1184"/>
                </a:moveTo>
                <a:lnTo>
                  <a:pt x="1354" y="1180"/>
                </a:lnTo>
                <a:lnTo>
                  <a:pt x="1360" y="1177"/>
                </a:lnTo>
                <a:lnTo>
                  <a:pt x="1366" y="1177"/>
                </a:lnTo>
                <a:lnTo>
                  <a:pt x="1372" y="1177"/>
                </a:lnTo>
                <a:lnTo>
                  <a:pt x="1367" y="1181"/>
                </a:lnTo>
                <a:lnTo>
                  <a:pt x="1362" y="1185"/>
                </a:lnTo>
                <a:lnTo>
                  <a:pt x="1359" y="1186"/>
                </a:lnTo>
                <a:lnTo>
                  <a:pt x="1356" y="1186"/>
                </a:lnTo>
                <a:lnTo>
                  <a:pt x="1353" y="1185"/>
                </a:lnTo>
                <a:lnTo>
                  <a:pt x="1349" y="1184"/>
                </a:lnTo>
                <a:close/>
                <a:moveTo>
                  <a:pt x="1360" y="1351"/>
                </a:moveTo>
                <a:lnTo>
                  <a:pt x="1353" y="1354"/>
                </a:lnTo>
                <a:lnTo>
                  <a:pt x="1347" y="1355"/>
                </a:lnTo>
                <a:lnTo>
                  <a:pt x="1345" y="1354"/>
                </a:lnTo>
                <a:lnTo>
                  <a:pt x="1342" y="1352"/>
                </a:lnTo>
                <a:lnTo>
                  <a:pt x="1343" y="1348"/>
                </a:lnTo>
                <a:lnTo>
                  <a:pt x="1346" y="1345"/>
                </a:lnTo>
                <a:lnTo>
                  <a:pt x="1348" y="1341"/>
                </a:lnTo>
                <a:lnTo>
                  <a:pt x="1353" y="1340"/>
                </a:lnTo>
                <a:lnTo>
                  <a:pt x="1358" y="1340"/>
                </a:lnTo>
                <a:lnTo>
                  <a:pt x="1361" y="1340"/>
                </a:lnTo>
                <a:lnTo>
                  <a:pt x="1362" y="1342"/>
                </a:lnTo>
                <a:lnTo>
                  <a:pt x="1363" y="1346"/>
                </a:lnTo>
                <a:lnTo>
                  <a:pt x="1362" y="1348"/>
                </a:lnTo>
                <a:lnTo>
                  <a:pt x="1360" y="1351"/>
                </a:lnTo>
                <a:close/>
                <a:moveTo>
                  <a:pt x="1336" y="1185"/>
                </a:moveTo>
                <a:lnTo>
                  <a:pt x="1333" y="1181"/>
                </a:lnTo>
                <a:lnTo>
                  <a:pt x="1331" y="1178"/>
                </a:lnTo>
                <a:lnTo>
                  <a:pt x="1332" y="1174"/>
                </a:lnTo>
                <a:lnTo>
                  <a:pt x="1334" y="1171"/>
                </a:lnTo>
                <a:lnTo>
                  <a:pt x="1338" y="1168"/>
                </a:lnTo>
                <a:lnTo>
                  <a:pt x="1341" y="1167"/>
                </a:lnTo>
                <a:lnTo>
                  <a:pt x="1345" y="1170"/>
                </a:lnTo>
                <a:lnTo>
                  <a:pt x="1349" y="1173"/>
                </a:lnTo>
                <a:lnTo>
                  <a:pt x="1343" y="1179"/>
                </a:lnTo>
                <a:lnTo>
                  <a:pt x="1336" y="1185"/>
                </a:lnTo>
                <a:close/>
                <a:moveTo>
                  <a:pt x="1318" y="1046"/>
                </a:moveTo>
                <a:lnTo>
                  <a:pt x="1317" y="1045"/>
                </a:lnTo>
                <a:lnTo>
                  <a:pt x="1314" y="1044"/>
                </a:lnTo>
                <a:lnTo>
                  <a:pt x="1315" y="1041"/>
                </a:lnTo>
                <a:lnTo>
                  <a:pt x="1318" y="1040"/>
                </a:lnTo>
                <a:lnTo>
                  <a:pt x="1321" y="1039"/>
                </a:lnTo>
                <a:lnTo>
                  <a:pt x="1322" y="1038"/>
                </a:lnTo>
                <a:lnTo>
                  <a:pt x="1325" y="1035"/>
                </a:lnTo>
                <a:lnTo>
                  <a:pt x="1325" y="1033"/>
                </a:lnTo>
                <a:lnTo>
                  <a:pt x="1327" y="1031"/>
                </a:lnTo>
                <a:lnTo>
                  <a:pt x="1329" y="1028"/>
                </a:lnTo>
                <a:lnTo>
                  <a:pt x="1332" y="1031"/>
                </a:lnTo>
                <a:lnTo>
                  <a:pt x="1332" y="1034"/>
                </a:lnTo>
                <a:lnTo>
                  <a:pt x="1331" y="1039"/>
                </a:lnTo>
                <a:lnTo>
                  <a:pt x="1328" y="1044"/>
                </a:lnTo>
                <a:lnTo>
                  <a:pt x="1324" y="1046"/>
                </a:lnTo>
                <a:lnTo>
                  <a:pt x="1318" y="1046"/>
                </a:lnTo>
                <a:close/>
                <a:moveTo>
                  <a:pt x="1315" y="1124"/>
                </a:moveTo>
                <a:lnTo>
                  <a:pt x="1320" y="1126"/>
                </a:lnTo>
                <a:lnTo>
                  <a:pt x="1324" y="1128"/>
                </a:lnTo>
                <a:lnTo>
                  <a:pt x="1324" y="1130"/>
                </a:lnTo>
                <a:lnTo>
                  <a:pt x="1324" y="1131"/>
                </a:lnTo>
                <a:lnTo>
                  <a:pt x="1319" y="1130"/>
                </a:lnTo>
                <a:lnTo>
                  <a:pt x="1315" y="1129"/>
                </a:lnTo>
                <a:lnTo>
                  <a:pt x="1315" y="1128"/>
                </a:lnTo>
                <a:lnTo>
                  <a:pt x="1315" y="1124"/>
                </a:lnTo>
                <a:close/>
                <a:moveTo>
                  <a:pt x="1321" y="1145"/>
                </a:moveTo>
                <a:lnTo>
                  <a:pt x="1315" y="1144"/>
                </a:lnTo>
                <a:lnTo>
                  <a:pt x="1310" y="1142"/>
                </a:lnTo>
                <a:lnTo>
                  <a:pt x="1310" y="1138"/>
                </a:lnTo>
                <a:lnTo>
                  <a:pt x="1311" y="1135"/>
                </a:lnTo>
                <a:lnTo>
                  <a:pt x="1312" y="1135"/>
                </a:lnTo>
                <a:lnTo>
                  <a:pt x="1313" y="1136"/>
                </a:lnTo>
                <a:lnTo>
                  <a:pt x="1317" y="1136"/>
                </a:lnTo>
                <a:lnTo>
                  <a:pt x="1320" y="1137"/>
                </a:lnTo>
                <a:lnTo>
                  <a:pt x="1324" y="1139"/>
                </a:lnTo>
                <a:lnTo>
                  <a:pt x="1325" y="1140"/>
                </a:lnTo>
                <a:lnTo>
                  <a:pt x="1324" y="1144"/>
                </a:lnTo>
                <a:lnTo>
                  <a:pt x="1321" y="1145"/>
                </a:lnTo>
                <a:close/>
                <a:moveTo>
                  <a:pt x="1305" y="1195"/>
                </a:moveTo>
                <a:lnTo>
                  <a:pt x="1305" y="1193"/>
                </a:lnTo>
                <a:lnTo>
                  <a:pt x="1305" y="1192"/>
                </a:lnTo>
                <a:lnTo>
                  <a:pt x="1308" y="1191"/>
                </a:lnTo>
                <a:lnTo>
                  <a:pt x="1312" y="1191"/>
                </a:lnTo>
                <a:lnTo>
                  <a:pt x="1312" y="1192"/>
                </a:lnTo>
                <a:lnTo>
                  <a:pt x="1313" y="1193"/>
                </a:lnTo>
                <a:lnTo>
                  <a:pt x="1310" y="1194"/>
                </a:lnTo>
                <a:lnTo>
                  <a:pt x="1305" y="1195"/>
                </a:lnTo>
                <a:close/>
                <a:moveTo>
                  <a:pt x="1296" y="1316"/>
                </a:moveTo>
                <a:lnTo>
                  <a:pt x="1305" y="1317"/>
                </a:lnTo>
                <a:lnTo>
                  <a:pt x="1313" y="1318"/>
                </a:lnTo>
                <a:lnTo>
                  <a:pt x="1308" y="1321"/>
                </a:lnTo>
                <a:lnTo>
                  <a:pt x="1304" y="1321"/>
                </a:lnTo>
                <a:lnTo>
                  <a:pt x="1299" y="1319"/>
                </a:lnTo>
                <a:lnTo>
                  <a:pt x="1296" y="1316"/>
                </a:lnTo>
                <a:close/>
                <a:moveTo>
                  <a:pt x="900" y="1219"/>
                </a:moveTo>
                <a:lnTo>
                  <a:pt x="900" y="1219"/>
                </a:lnTo>
                <a:lnTo>
                  <a:pt x="900" y="1219"/>
                </a:lnTo>
                <a:lnTo>
                  <a:pt x="910" y="1219"/>
                </a:lnTo>
                <a:lnTo>
                  <a:pt x="920" y="1217"/>
                </a:lnTo>
                <a:lnTo>
                  <a:pt x="928" y="1216"/>
                </a:lnTo>
                <a:lnTo>
                  <a:pt x="937" y="1215"/>
                </a:lnTo>
                <a:lnTo>
                  <a:pt x="953" y="1221"/>
                </a:lnTo>
                <a:lnTo>
                  <a:pt x="970" y="1227"/>
                </a:lnTo>
                <a:lnTo>
                  <a:pt x="988" y="1233"/>
                </a:lnTo>
                <a:lnTo>
                  <a:pt x="1006" y="1238"/>
                </a:lnTo>
                <a:lnTo>
                  <a:pt x="1010" y="1240"/>
                </a:lnTo>
                <a:lnTo>
                  <a:pt x="1015" y="1242"/>
                </a:lnTo>
                <a:lnTo>
                  <a:pt x="987" y="1236"/>
                </a:lnTo>
                <a:lnTo>
                  <a:pt x="958" y="1230"/>
                </a:lnTo>
                <a:lnTo>
                  <a:pt x="930" y="1224"/>
                </a:lnTo>
                <a:lnTo>
                  <a:pt x="900" y="1219"/>
                </a:lnTo>
                <a:close/>
                <a:moveTo>
                  <a:pt x="893" y="1222"/>
                </a:moveTo>
                <a:lnTo>
                  <a:pt x="886" y="1223"/>
                </a:lnTo>
                <a:lnTo>
                  <a:pt x="879" y="1223"/>
                </a:lnTo>
                <a:lnTo>
                  <a:pt x="882" y="1217"/>
                </a:lnTo>
                <a:lnTo>
                  <a:pt x="883" y="1214"/>
                </a:lnTo>
                <a:lnTo>
                  <a:pt x="885" y="1215"/>
                </a:lnTo>
                <a:lnTo>
                  <a:pt x="886" y="1215"/>
                </a:lnTo>
                <a:lnTo>
                  <a:pt x="893" y="1217"/>
                </a:lnTo>
                <a:lnTo>
                  <a:pt x="899" y="1219"/>
                </a:lnTo>
                <a:lnTo>
                  <a:pt x="896" y="1220"/>
                </a:lnTo>
                <a:lnTo>
                  <a:pt x="893" y="1222"/>
                </a:lnTo>
                <a:close/>
                <a:moveTo>
                  <a:pt x="875" y="1096"/>
                </a:moveTo>
                <a:lnTo>
                  <a:pt x="877" y="1093"/>
                </a:lnTo>
                <a:lnTo>
                  <a:pt x="879" y="1090"/>
                </a:lnTo>
                <a:lnTo>
                  <a:pt x="884" y="1089"/>
                </a:lnTo>
                <a:lnTo>
                  <a:pt x="889" y="1089"/>
                </a:lnTo>
                <a:lnTo>
                  <a:pt x="893" y="1089"/>
                </a:lnTo>
                <a:lnTo>
                  <a:pt x="898" y="1090"/>
                </a:lnTo>
                <a:lnTo>
                  <a:pt x="886" y="1094"/>
                </a:lnTo>
                <a:lnTo>
                  <a:pt x="876" y="1096"/>
                </a:lnTo>
                <a:lnTo>
                  <a:pt x="875" y="1096"/>
                </a:lnTo>
                <a:lnTo>
                  <a:pt x="875" y="1096"/>
                </a:lnTo>
                <a:close/>
                <a:moveTo>
                  <a:pt x="933" y="1081"/>
                </a:moveTo>
                <a:lnTo>
                  <a:pt x="928" y="1082"/>
                </a:lnTo>
                <a:lnTo>
                  <a:pt x="926" y="1082"/>
                </a:lnTo>
                <a:lnTo>
                  <a:pt x="924" y="1077"/>
                </a:lnTo>
                <a:lnTo>
                  <a:pt x="923" y="1074"/>
                </a:lnTo>
                <a:lnTo>
                  <a:pt x="927" y="1069"/>
                </a:lnTo>
                <a:lnTo>
                  <a:pt x="933" y="1065"/>
                </a:lnTo>
                <a:lnTo>
                  <a:pt x="934" y="1068"/>
                </a:lnTo>
                <a:lnTo>
                  <a:pt x="935" y="1070"/>
                </a:lnTo>
                <a:lnTo>
                  <a:pt x="934" y="1072"/>
                </a:lnTo>
                <a:lnTo>
                  <a:pt x="933" y="1073"/>
                </a:lnTo>
                <a:lnTo>
                  <a:pt x="930" y="1074"/>
                </a:lnTo>
                <a:lnTo>
                  <a:pt x="925" y="1074"/>
                </a:lnTo>
                <a:lnTo>
                  <a:pt x="930" y="1077"/>
                </a:lnTo>
                <a:lnTo>
                  <a:pt x="933" y="1081"/>
                </a:lnTo>
                <a:close/>
                <a:moveTo>
                  <a:pt x="839" y="1229"/>
                </a:moveTo>
                <a:lnTo>
                  <a:pt x="835" y="1226"/>
                </a:lnTo>
                <a:lnTo>
                  <a:pt x="829" y="1220"/>
                </a:lnTo>
                <a:lnTo>
                  <a:pt x="836" y="1221"/>
                </a:lnTo>
                <a:lnTo>
                  <a:pt x="839" y="1223"/>
                </a:lnTo>
                <a:lnTo>
                  <a:pt x="841" y="1226"/>
                </a:lnTo>
                <a:lnTo>
                  <a:pt x="839" y="1229"/>
                </a:lnTo>
                <a:close/>
                <a:moveTo>
                  <a:pt x="816" y="1034"/>
                </a:moveTo>
                <a:lnTo>
                  <a:pt x="813" y="1037"/>
                </a:lnTo>
                <a:lnTo>
                  <a:pt x="810" y="1039"/>
                </a:lnTo>
                <a:lnTo>
                  <a:pt x="810" y="1038"/>
                </a:lnTo>
                <a:lnTo>
                  <a:pt x="811" y="1035"/>
                </a:lnTo>
                <a:lnTo>
                  <a:pt x="813" y="1034"/>
                </a:lnTo>
                <a:lnTo>
                  <a:pt x="813" y="1032"/>
                </a:lnTo>
                <a:lnTo>
                  <a:pt x="815" y="1030"/>
                </a:lnTo>
                <a:lnTo>
                  <a:pt x="817" y="1027"/>
                </a:lnTo>
                <a:lnTo>
                  <a:pt x="818" y="1027"/>
                </a:lnTo>
                <a:lnTo>
                  <a:pt x="820" y="1028"/>
                </a:lnTo>
                <a:lnTo>
                  <a:pt x="820" y="1028"/>
                </a:lnTo>
                <a:lnTo>
                  <a:pt x="820" y="1028"/>
                </a:lnTo>
                <a:lnTo>
                  <a:pt x="816" y="1032"/>
                </a:lnTo>
                <a:lnTo>
                  <a:pt x="816" y="1034"/>
                </a:lnTo>
                <a:close/>
                <a:moveTo>
                  <a:pt x="801" y="1024"/>
                </a:moveTo>
                <a:lnTo>
                  <a:pt x="796" y="1026"/>
                </a:lnTo>
                <a:lnTo>
                  <a:pt x="793" y="1028"/>
                </a:lnTo>
                <a:lnTo>
                  <a:pt x="775" y="1040"/>
                </a:lnTo>
                <a:lnTo>
                  <a:pt x="758" y="1051"/>
                </a:lnTo>
                <a:lnTo>
                  <a:pt x="753" y="1054"/>
                </a:lnTo>
                <a:lnTo>
                  <a:pt x="747" y="1055"/>
                </a:lnTo>
                <a:lnTo>
                  <a:pt x="745" y="1055"/>
                </a:lnTo>
                <a:lnTo>
                  <a:pt x="742" y="1056"/>
                </a:lnTo>
                <a:lnTo>
                  <a:pt x="740" y="1058"/>
                </a:lnTo>
                <a:lnTo>
                  <a:pt x="740" y="1061"/>
                </a:lnTo>
                <a:lnTo>
                  <a:pt x="737" y="1063"/>
                </a:lnTo>
                <a:lnTo>
                  <a:pt x="731" y="1066"/>
                </a:lnTo>
                <a:lnTo>
                  <a:pt x="725" y="1067"/>
                </a:lnTo>
                <a:lnTo>
                  <a:pt x="718" y="1069"/>
                </a:lnTo>
                <a:lnTo>
                  <a:pt x="724" y="1063"/>
                </a:lnTo>
                <a:lnTo>
                  <a:pt x="731" y="1060"/>
                </a:lnTo>
                <a:lnTo>
                  <a:pt x="734" y="1058"/>
                </a:lnTo>
                <a:lnTo>
                  <a:pt x="737" y="1055"/>
                </a:lnTo>
                <a:lnTo>
                  <a:pt x="739" y="1052"/>
                </a:lnTo>
                <a:lnTo>
                  <a:pt x="740" y="1047"/>
                </a:lnTo>
                <a:lnTo>
                  <a:pt x="730" y="1047"/>
                </a:lnTo>
                <a:lnTo>
                  <a:pt x="718" y="1047"/>
                </a:lnTo>
                <a:lnTo>
                  <a:pt x="717" y="1045"/>
                </a:lnTo>
                <a:lnTo>
                  <a:pt x="717" y="1044"/>
                </a:lnTo>
                <a:lnTo>
                  <a:pt x="726" y="1042"/>
                </a:lnTo>
                <a:lnTo>
                  <a:pt x="734" y="1040"/>
                </a:lnTo>
                <a:lnTo>
                  <a:pt x="733" y="1039"/>
                </a:lnTo>
                <a:lnTo>
                  <a:pt x="730" y="1038"/>
                </a:lnTo>
                <a:lnTo>
                  <a:pt x="741" y="1030"/>
                </a:lnTo>
                <a:lnTo>
                  <a:pt x="752" y="1021"/>
                </a:lnTo>
                <a:lnTo>
                  <a:pt x="751" y="1020"/>
                </a:lnTo>
                <a:lnTo>
                  <a:pt x="751" y="1020"/>
                </a:lnTo>
                <a:lnTo>
                  <a:pt x="747" y="1021"/>
                </a:lnTo>
                <a:lnTo>
                  <a:pt x="742" y="1023"/>
                </a:lnTo>
                <a:lnTo>
                  <a:pt x="742" y="1023"/>
                </a:lnTo>
                <a:lnTo>
                  <a:pt x="741" y="1021"/>
                </a:lnTo>
                <a:lnTo>
                  <a:pt x="749" y="1016"/>
                </a:lnTo>
                <a:lnTo>
                  <a:pt x="756" y="1011"/>
                </a:lnTo>
                <a:lnTo>
                  <a:pt x="765" y="1004"/>
                </a:lnTo>
                <a:lnTo>
                  <a:pt x="773" y="998"/>
                </a:lnTo>
                <a:lnTo>
                  <a:pt x="780" y="990"/>
                </a:lnTo>
                <a:lnTo>
                  <a:pt x="787" y="982"/>
                </a:lnTo>
                <a:lnTo>
                  <a:pt x="796" y="971"/>
                </a:lnTo>
                <a:lnTo>
                  <a:pt x="807" y="962"/>
                </a:lnTo>
                <a:lnTo>
                  <a:pt x="810" y="958"/>
                </a:lnTo>
                <a:lnTo>
                  <a:pt x="813" y="955"/>
                </a:lnTo>
                <a:lnTo>
                  <a:pt x="820" y="949"/>
                </a:lnTo>
                <a:lnTo>
                  <a:pt x="827" y="946"/>
                </a:lnTo>
                <a:lnTo>
                  <a:pt x="830" y="944"/>
                </a:lnTo>
                <a:lnTo>
                  <a:pt x="835" y="943"/>
                </a:lnTo>
                <a:lnTo>
                  <a:pt x="837" y="943"/>
                </a:lnTo>
                <a:lnTo>
                  <a:pt x="839" y="943"/>
                </a:lnTo>
                <a:lnTo>
                  <a:pt x="842" y="944"/>
                </a:lnTo>
                <a:lnTo>
                  <a:pt x="844" y="947"/>
                </a:lnTo>
                <a:lnTo>
                  <a:pt x="847" y="947"/>
                </a:lnTo>
                <a:lnTo>
                  <a:pt x="850" y="946"/>
                </a:lnTo>
                <a:lnTo>
                  <a:pt x="854" y="944"/>
                </a:lnTo>
                <a:lnTo>
                  <a:pt x="858" y="943"/>
                </a:lnTo>
                <a:lnTo>
                  <a:pt x="858" y="944"/>
                </a:lnTo>
                <a:lnTo>
                  <a:pt x="859" y="946"/>
                </a:lnTo>
                <a:lnTo>
                  <a:pt x="855" y="954"/>
                </a:lnTo>
                <a:lnTo>
                  <a:pt x="849" y="962"/>
                </a:lnTo>
                <a:lnTo>
                  <a:pt x="838" y="975"/>
                </a:lnTo>
                <a:lnTo>
                  <a:pt x="828" y="988"/>
                </a:lnTo>
                <a:lnTo>
                  <a:pt x="821" y="998"/>
                </a:lnTo>
                <a:lnTo>
                  <a:pt x="815" y="1009"/>
                </a:lnTo>
                <a:lnTo>
                  <a:pt x="814" y="1011"/>
                </a:lnTo>
                <a:lnTo>
                  <a:pt x="813" y="1012"/>
                </a:lnTo>
                <a:lnTo>
                  <a:pt x="810" y="1013"/>
                </a:lnTo>
                <a:lnTo>
                  <a:pt x="808" y="1014"/>
                </a:lnTo>
                <a:lnTo>
                  <a:pt x="804" y="1019"/>
                </a:lnTo>
                <a:lnTo>
                  <a:pt x="801" y="1024"/>
                </a:lnTo>
                <a:close/>
                <a:moveTo>
                  <a:pt x="779" y="1243"/>
                </a:moveTo>
                <a:lnTo>
                  <a:pt x="779" y="1242"/>
                </a:lnTo>
                <a:lnTo>
                  <a:pt x="779" y="1241"/>
                </a:lnTo>
                <a:lnTo>
                  <a:pt x="782" y="1241"/>
                </a:lnTo>
                <a:lnTo>
                  <a:pt x="786" y="1241"/>
                </a:lnTo>
                <a:lnTo>
                  <a:pt x="789" y="1242"/>
                </a:lnTo>
                <a:lnTo>
                  <a:pt x="793" y="1242"/>
                </a:lnTo>
                <a:lnTo>
                  <a:pt x="793" y="1243"/>
                </a:lnTo>
                <a:lnTo>
                  <a:pt x="793" y="1244"/>
                </a:lnTo>
                <a:lnTo>
                  <a:pt x="786" y="1243"/>
                </a:lnTo>
                <a:lnTo>
                  <a:pt x="779" y="1243"/>
                </a:lnTo>
                <a:close/>
                <a:moveTo>
                  <a:pt x="767" y="1241"/>
                </a:moveTo>
                <a:lnTo>
                  <a:pt x="754" y="1240"/>
                </a:lnTo>
                <a:lnTo>
                  <a:pt x="742" y="1237"/>
                </a:lnTo>
                <a:lnTo>
                  <a:pt x="742" y="1236"/>
                </a:lnTo>
                <a:lnTo>
                  <a:pt x="742" y="1235"/>
                </a:lnTo>
                <a:lnTo>
                  <a:pt x="755" y="1235"/>
                </a:lnTo>
                <a:lnTo>
                  <a:pt x="769" y="1236"/>
                </a:lnTo>
                <a:lnTo>
                  <a:pt x="768" y="1238"/>
                </a:lnTo>
                <a:lnTo>
                  <a:pt x="767" y="1241"/>
                </a:lnTo>
                <a:close/>
                <a:moveTo>
                  <a:pt x="741" y="1109"/>
                </a:moveTo>
                <a:lnTo>
                  <a:pt x="742" y="1109"/>
                </a:lnTo>
                <a:lnTo>
                  <a:pt x="744" y="1108"/>
                </a:lnTo>
                <a:lnTo>
                  <a:pt x="742" y="1109"/>
                </a:lnTo>
                <a:lnTo>
                  <a:pt x="741" y="1110"/>
                </a:lnTo>
                <a:lnTo>
                  <a:pt x="741" y="1110"/>
                </a:lnTo>
                <a:lnTo>
                  <a:pt x="741" y="1109"/>
                </a:lnTo>
                <a:close/>
                <a:moveTo>
                  <a:pt x="868" y="939"/>
                </a:moveTo>
                <a:lnTo>
                  <a:pt x="868" y="940"/>
                </a:lnTo>
                <a:lnTo>
                  <a:pt x="868" y="941"/>
                </a:lnTo>
                <a:lnTo>
                  <a:pt x="864" y="940"/>
                </a:lnTo>
                <a:lnTo>
                  <a:pt x="859" y="940"/>
                </a:lnTo>
                <a:lnTo>
                  <a:pt x="861" y="936"/>
                </a:lnTo>
                <a:lnTo>
                  <a:pt x="862" y="935"/>
                </a:lnTo>
                <a:lnTo>
                  <a:pt x="852" y="933"/>
                </a:lnTo>
                <a:lnTo>
                  <a:pt x="843" y="930"/>
                </a:lnTo>
                <a:lnTo>
                  <a:pt x="843" y="929"/>
                </a:lnTo>
                <a:lnTo>
                  <a:pt x="843" y="928"/>
                </a:lnTo>
                <a:lnTo>
                  <a:pt x="851" y="923"/>
                </a:lnTo>
                <a:lnTo>
                  <a:pt x="858" y="918"/>
                </a:lnTo>
                <a:lnTo>
                  <a:pt x="858" y="918"/>
                </a:lnTo>
                <a:lnTo>
                  <a:pt x="858" y="916"/>
                </a:lnTo>
                <a:lnTo>
                  <a:pt x="855" y="918"/>
                </a:lnTo>
                <a:lnTo>
                  <a:pt x="851" y="919"/>
                </a:lnTo>
                <a:lnTo>
                  <a:pt x="857" y="912"/>
                </a:lnTo>
                <a:lnTo>
                  <a:pt x="863" y="906"/>
                </a:lnTo>
                <a:lnTo>
                  <a:pt x="870" y="901"/>
                </a:lnTo>
                <a:lnTo>
                  <a:pt x="878" y="899"/>
                </a:lnTo>
                <a:lnTo>
                  <a:pt x="882" y="898"/>
                </a:lnTo>
                <a:lnTo>
                  <a:pt x="883" y="898"/>
                </a:lnTo>
                <a:lnTo>
                  <a:pt x="885" y="899"/>
                </a:lnTo>
                <a:lnTo>
                  <a:pt x="887" y="901"/>
                </a:lnTo>
                <a:lnTo>
                  <a:pt x="890" y="905"/>
                </a:lnTo>
                <a:lnTo>
                  <a:pt x="892" y="908"/>
                </a:lnTo>
                <a:lnTo>
                  <a:pt x="893" y="912"/>
                </a:lnTo>
                <a:lnTo>
                  <a:pt x="892" y="915"/>
                </a:lnTo>
                <a:lnTo>
                  <a:pt x="886" y="922"/>
                </a:lnTo>
                <a:lnTo>
                  <a:pt x="879" y="928"/>
                </a:lnTo>
                <a:lnTo>
                  <a:pt x="872" y="933"/>
                </a:lnTo>
                <a:lnTo>
                  <a:pt x="865" y="936"/>
                </a:lnTo>
                <a:lnTo>
                  <a:pt x="866" y="937"/>
                </a:lnTo>
                <a:lnTo>
                  <a:pt x="868" y="939"/>
                </a:lnTo>
                <a:close/>
                <a:moveTo>
                  <a:pt x="714" y="962"/>
                </a:moveTo>
                <a:lnTo>
                  <a:pt x="717" y="961"/>
                </a:lnTo>
                <a:lnTo>
                  <a:pt x="719" y="958"/>
                </a:lnTo>
                <a:lnTo>
                  <a:pt x="723" y="957"/>
                </a:lnTo>
                <a:lnTo>
                  <a:pt x="724" y="955"/>
                </a:lnTo>
                <a:lnTo>
                  <a:pt x="724" y="953"/>
                </a:lnTo>
                <a:lnTo>
                  <a:pt x="721" y="950"/>
                </a:lnTo>
                <a:lnTo>
                  <a:pt x="720" y="948"/>
                </a:lnTo>
                <a:lnTo>
                  <a:pt x="720" y="944"/>
                </a:lnTo>
                <a:lnTo>
                  <a:pt x="720" y="942"/>
                </a:lnTo>
                <a:lnTo>
                  <a:pt x="724" y="940"/>
                </a:lnTo>
                <a:lnTo>
                  <a:pt x="726" y="936"/>
                </a:lnTo>
                <a:lnTo>
                  <a:pt x="728" y="933"/>
                </a:lnTo>
                <a:lnTo>
                  <a:pt x="731" y="934"/>
                </a:lnTo>
                <a:lnTo>
                  <a:pt x="733" y="936"/>
                </a:lnTo>
                <a:lnTo>
                  <a:pt x="734" y="930"/>
                </a:lnTo>
                <a:lnTo>
                  <a:pt x="735" y="925"/>
                </a:lnTo>
                <a:lnTo>
                  <a:pt x="740" y="923"/>
                </a:lnTo>
                <a:lnTo>
                  <a:pt x="745" y="921"/>
                </a:lnTo>
                <a:lnTo>
                  <a:pt x="748" y="919"/>
                </a:lnTo>
                <a:lnTo>
                  <a:pt x="751" y="916"/>
                </a:lnTo>
                <a:lnTo>
                  <a:pt x="753" y="913"/>
                </a:lnTo>
                <a:lnTo>
                  <a:pt x="754" y="909"/>
                </a:lnTo>
                <a:lnTo>
                  <a:pt x="754" y="905"/>
                </a:lnTo>
                <a:lnTo>
                  <a:pt x="753" y="901"/>
                </a:lnTo>
                <a:lnTo>
                  <a:pt x="758" y="904"/>
                </a:lnTo>
                <a:lnTo>
                  <a:pt x="763" y="906"/>
                </a:lnTo>
                <a:lnTo>
                  <a:pt x="763" y="900"/>
                </a:lnTo>
                <a:lnTo>
                  <a:pt x="765" y="895"/>
                </a:lnTo>
                <a:lnTo>
                  <a:pt x="765" y="892"/>
                </a:lnTo>
                <a:lnTo>
                  <a:pt x="766" y="890"/>
                </a:lnTo>
                <a:lnTo>
                  <a:pt x="769" y="888"/>
                </a:lnTo>
                <a:lnTo>
                  <a:pt x="773" y="890"/>
                </a:lnTo>
                <a:lnTo>
                  <a:pt x="771" y="892"/>
                </a:lnTo>
                <a:lnTo>
                  <a:pt x="768" y="894"/>
                </a:lnTo>
                <a:lnTo>
                  <a:pt x="773" y="898"/>
                </a:lnTo>
                <a:lnTo>
                  <a:pt x="778" y="901"/>
                </a:lnTo>
                <a:lnTo>
                  <a:pt x="775" y="892"/>
                </a:lnTo>
                <a:lnTo>
                  <a:pt x="774" y="883"/>
                </a:lnTo>
                <a:lnTo>
                  <a:pt x="773" y="883"/>
                </a:lnTo>
                <a:lnTo>
                  <a:pt x="772" y="883"/>
                </a:lnTo>
                <a:lnTo>
                  <a:pt x="775" y="880"/>
                </a:lnTo>
                <a:lnTo>
                  <a:pt x="779" y="879"/>
                </a:lnTo>
                <a:lnTo>
                  <a:pt x="783" y="876"/>
                </a:lnTo>
                <a:lnTo>
                  <a:pt x="787" y="873"/>
                </a:lnTo>
                <a:lnTo>
                  <a:pt x="785" y="870"/>
                </a:lnTo>
                <a:lnTo>
                  <a:pt x="781" y="866"/>
                </a:lnTo>
                <a:lnTo>
                  <a:pt x="786" y="864"/>
                </a:lnTo>
                <a:lnTo>
                  <a:pt x="790" y="863"/>
                </a:lnTo>
                <a:lnTo>
                  <a:pt x="786" y="859"/>
                </a:lnTo>
                <a:lnTo>
                  <a:pt x="781" y="857"/>
                </a:lnTo>
                <a:lnTo>
                  <a:pt x="786" y="857"/>
                </a:lnTo>
                <a:lnTo>
                  <a:pt x="787" y="856"/>
                </a:lnTo>
                <a:lnTo>
                  <a:pt x="792" y="856"/>
                </a:lnTo>
                <a:lnTo>
                  <a:pt x="794" y="856"/>
                </a:lnTo>
                <a:lnTo>
                  <a:pt x="797" y="853"/>
                </a:lnTo>
                <a:lnTo>
                  <a:pt x="799" y="850"/>
                </a:lnTo>
                <a:lnTo>
                  <a:pt x="802" y="845"/>
                </a:lnTo>
                <a:lnTo>
                  <a:pt x="806" y="843"/>
                </a:lnTo>
                <a:lnTo>
                  <a:pt x="808" y="844"/>
                </a:lnTo>
                <a:lnTo>
                  <a:pt x="813" y="849"/>
                </a:lnTo>
                <a:lnTo>
                  <a:pt x="814" y="850"/>
                </a:lnTo>
                <a:lnTo>
                  <a:pt x="816" y="851"/>
                </a:lnTo>
                <a:lnTo>
                  <a:pt x="816" y="849"/>
                </a:lnTo>
                <a:lnTo>
                  <a:pt x="816" y="848"/>
                </a:lnTo>
                <a:lnTo>
                  <a:pt x="814" y="844"/>
                </a:lnTo>
                <a:lnTo>
                  <a:pt x="813" y="842"/>
                </a:lnTo>
                <a:lnTo>
                  <a:pt x="816" y="839"/>
                </a:lnTo>
                <a:lnTo>
                  <a:pt x="820" y="838"/>
                </a:lnTo>
                <a:lnTo>
                  <a:pt x="824" y="836"/>
                </a:lnTo>
                <a:lnTo>
                  <a:pt x="829" y="834"/>
                </a:lnTo>
                <a:lnTo>
                  <a:pt x="831" y="831"/>
                </a:lnTo>
                <a:lnTo>
                  <a:pt x="832" y="829"/>
                </a:lnTo>
                <a:lnTo>
                  <a:pt x="831" y="827"/>
                </a:lnTo>
                <a:lnTo>
                  <a:pt x="829" y="823"/>
                </a:lnTo>
                <a:lnTo>
                  <a:pt x="823" y="816"/>
                </a:lnTo>
                <a:lnTo>
                  <a:pt x="817" y="808"/>
                </a:lnTo>
                <a:lnTo>
                  <a:pt x="818" y="807"/>
                </a:lnTo>
                <a:lnTo>
                  <a:pt x="820" y="806"/>
                </a:lnTo>
                <a:lnTo>
                  <a:pt x="822" y="808"/>
                </a:lnTo>
                <a:lnTo>
                  <a:pt x="824" y="811"/>
                </a:lnTo>
                <a:lnTo>
                  <a:pt x="828" y="814"/>
                </a:lnTo>
                <a:lnTo>
                  <a:pt x="831" y="816"/>
                </a:lnTo>
                <a:lnTo>
                  <a:pt x="834" y="814"/>
                </a:lnTo>
                <a:lnTo>
                  <a:pt x="836" y="810"/>
                </a:lnTo>
                <a:lnTo>
                  <a:pt x="839" y="808"/>
                </a:lnTo>
                <a:lnTo>
                  <a:pt x="843" y="804"/>
                </a:lnTo>
                <a:lnTo>
                  <a:pt x="849" y="800"/>
                </a:lnTo>
                <a:lnTo>
                  <a:pt x="852" y="794"/>
                </a:lnTo>
                <a:lnTo>
                  <a:pt x="855" y="787"/>
                </a:lnTo>
                <a:lnTo>
                  <a:pt x="857" y="780"/>
                </a:lnTo>
                <a:lnTo>
                  <a:pt x="858" y="778"/>
                </a:lnTo>
                <a:lnTo>
                  <a:pt x="861" y="775"/>
                </a:lnTo>
                <a:lnTo>
                  <a:pt x="862" y="774"/>
                </a:lnTo>
                <a:lnTo>
                  <a:pt x="865" y="773"/>
                </a:lnTo>
                <a:lnTo>
                  <a:pt x="868" y="772"/>
                </a:lnTo>
                <a:lnTo>
                  <a:pt x="870" y="769"/>
                </a:lnTo>
                <a:lnTo>
                  <a:pt x="866" y="768"/>
                </a:lnTo>
                <a:lnTo>
                  <a:pt x="863" y="767"/>
                </a:lnTo>
                <a:lnTo>
                  <a:pt x="865" y="764"/>
                </a:lnTo>
                <a:lnTo>
                  <a:pt x="869" y="761"/>
                </a:lnTo>
                <a:lnTo>
                  <a:pt x="871" y="759"/>
                </a:lnTo>
                <a:lnTo>
                  <a:pt x="872" y="757"/>
                </a:lnTo>
                <a:lnTo>
                  <a:pt x="875" y="752"/>
                </a:lnTo>
                <a:lnTo>
                  <a:pt x="876" y="747"/>
                </a:lnTo>
                <a:lnTo>
                  <a:pt x="879" y="754"/>
                </a:lnTo>
                <a:lnTo>
                  <a:pt x="882" y="760"/>
                </a:lnTo>
                <a:lnTo>
                  <a:pt x="883" y="760"/>
                </a:lnTo>
                <a:lnTo>
                  <a:pt x="884" y="760"/>
                </a:lnTo>
                <a:lnTo>
                  <a:pt x="884" y="758"/>
                </a:lnTo>
                <a:lnTo>
                  <a:pt x="884" y="755"/>
                </a:lnTo>
                <a:lnTo>
                  <a:pt x="883" y="752"/>
                </a:lnTo>
                <a:lnTo>
                  <a:pt x="884" y="748"/>
                </a:lnTo>
                <a:lnTo>
                  <a:pt x="886" y="745"/>
                </a:lnTo>
                <a:lnTo>
                  <a:pt x="890" y="743"/>
                </a:lnTo>
                <a:lnTo>
                  <a:pt x="899" y="736"/>
                </a:lnTo>
                <a:lnTo>
                  <a:pt x="908" y="729"/>
                </a:lnTo>
                <a:lnTo>
                  <a:pt x="913" y="723"/>
                </a:lnTo>
                <a:lnTo>
                  <a:pt x="917" y="717"/>
                </a:lnTo>
                <a:lnTo>
                  <a:pt x="919" y="716"/>
                </a:lnTo>
                <a:lnTo>
                  <a:pt x="924" y="716"/>
                </a:lnTo>
                <a:lnTo>
                  <a:pt x="926" y="715"/>
                </a:lnTo>
                <a:lnTo>
                  <a:pt x="930" y="713"/>
                </a:lnTo>
                <a:lnTo>
                  <a:pt x="932" y="709"/>
                </a:lnTo>
                <a:lnTo>
                  <a:pt x="934" y="704"/>
                </a:lnTo>
                <a:lnTo>
                  <a:pt x="935" y="702"/>
                </a:lnTo>
                <a:lnTo>
                  <a:pt x="937" y="701"/>
                </a:lnTo>
                <a:lnTo>
                  <a:pt x="940" y="699"/>
                </a:lnTo>
                <a:lnTo>
                  <a:pt x="944" y="699"/>
                </a:lnTo>
                <a:lnTo>
                  <a:pt x="948" y="697"/>
                </a:lnTo>
                <a:lnTo>
                  <a:pt x="953" y="692"/>
                </a:lnTo>
                <a:lnTo>
                  <a:pt x="953" y="685"/>
                </a:lnTo>
                <a:lnTo>
                  <a:pt x="954" y="681"/>
                </a:lnTo>
                <a:lnTo>
                  <a:pt x="956" y="678"/>
                </a:lnTo>
                <a:lnTo>
                  <a:pt x="962" y="675"/>
                </a:lnTo>
                <a:lnTo>
                  <a:pt x="969" y="669"/>
                </a:lnTo>
                <a:lnTo>
                  <a:pt x="976" y="662"/>
                </a:lnTo>
                <a:lnTo>
                  <a:pt x="986" y="654"/>
                </a:lnTo>
                <a:lnTo>
                  <a:pt x="995" y="646"/>
                </a:lnTo>
                <a:lnTo>
                  <a:pt x="1006" y="638"/>
                </a:lnTo>
                <a:lnTo>
                  <a:pt x="1015" y="629"/>
                </a:lnTo>
                <a:lnTo>
                  <a:pt x="1024" y="622"/>
                </a:lnTo>
                <a:lnTo>
                  <a:pt x="1032" y="617"/>
                </a:lnTo>
                <a:lnTo>
                  <a:pt x="1034" y="622"/>
                </a:lnTo>
                <a:lnTo>
                  <a:pt x="1036" y="628"/>
                </a:lnTo>
                <a:lnTo>
                  <a:pt x="1036" y="628"/>
                </a:lnTo>
                <a:lnTo>
                  <a:pt x="1036" y="629"/>
                </a:lnTo>
                <a:lnTo>
                  <a:pt x="1032" y="640"/>
                </a:lnTo>
                <a:lnTo>
                  <a:pt x="1028" y="649"/>
                </a:lnTo>
                <a:lnTo>
                  <a:pt x="1025" y="654"/>
                </a:lnTo>
                <a:lnTo>
                  <a:pt x="1023" y="659"/>
                </a:lnTo>
                <a:lnTo>
                  <a:pt x="1016" y="668"/>
                </a:lnTo>
                <a:lnTo>
                  <a:pt x="1008" y="677"/>
                </a:lnTo>
                <a:lnTo>
                  <a:pt x="1007" y="678"/>
                </a:lnTo>
                <a:lnTo>
                  <a:pt x="1004" y="678"/>
                </a:lnTo>
                <a:lnTo>
                  <a:pt x="999" y="678"/>
                </a:lnTo>
                <a:lnTo>
                  <a:pt x="995" y="681"/>
                </a:lnTo>
                <a:lnTo>
                  <a:pt x="994" y="683"/>
                </a:lnTo>
                <a:lnTo>
                  <a:pt x="994" y="684"/>
                </a:lnTo>
                <a:lnTo>
                  <a:pt x="995" y="688"/>
                </a:lnTo>
                <a:lnTo>
                  <a:pt x="996" y="690"/>
                </a:lnTo>
                <a:lnTo>
                  <a:pt x="987" y="689"/>
                </a:lnTo>
                <a:lnTo>
                  <a:pt x="976" y="689"/>
                </a:lnTo>
                <a:lnTo>
                  <a:pt x="977" y="695"/>
                </a:lnTo>
                <a:lnTo>
                  <a:pt x="980" y="702"/>
                </a:lnTo>
                <a:lnTo>
                  <a:pt x="980" y="706"/>
                </a:lnTo>
                <a:lnTo>
                  <a:pt x="977" y="710"/>
                </a:lnTo>
                <a:lnTo>
                  <a:pt x="974" y="713"/>
                </a:lnTo>
                <a:lnTo>
                  <a:pt x="970" y="715"/>
                </a:lnTo>
                <a:lnTo>
                  <a:pt x="968" y="713"/>
                </a:lnTo>
                <a:lnTo>
                  <a:pt x="966" y="710"/>
                </a:lnTo>
                <a:lnTo>
                  <a:pt x="966" y="708"/>
                </a:lnTo>
                <a:lnTo>
                  <a:pt x="967" y="705"/>
                </a:lnTo>
                <a:lnTo>
                  <a:pt x="961" y="708"/>
                </a:lnTo>
                <a:lnTo>
                  <a:pt x="955" y="710"/>
                </a:lnTo>
                <a:lnTo>
                  <a:pt x="956" y="712"/>
                </a:lnTo>
                <a:lnTo>
                  <a:pt x="958" y="713"/>
                </a:lnTo>
                <a:lnTo>
                  <a:pt x="960" y="716"/>
                </a:lnTo>
                <a:lnTo>
                  <a:pt x="962" y="717"/>
                </a:lnTo>
                <a:lnTo>
                  <a:pt x="965" y="718"/>
                </a:lnTo>
                <a:lnTo>
                  <a:pt x="966" y="720"/>
                </a:lnTo>
                <a:lnTo>
                  <a:pt x="967" y="723"/>
                </a:lnTo>
                <a:lnTo>
                  <a:pt x="966" y="726"/>
                </a:lnTo>
                <a:lnTo>
                  <a:pt x="963" y="723"/>
                </a:lnTo>
                <a:lnTo>
                  <a:pt x="960" y="720"/>
                </a:lnTo>
                <a:lnTo>
                  <a:pt x="956" y="718"/>
                </a:lnTo>
                <a:lnTo>
                  <a:pt x="952" y="719"/>
                </a:lnTo>
                <a:lnTo>
                  <a:pt x="953" y="723"/>
                </a:lnTo>
                <a:lnTo>
                  <a:pt x="956" y="726"/>
                </a:lnTo>
                <a:lnTo>
                  <a:pt x="958" y="727"/>
                </a:lnTo>
                <a:lnTo>
                  <a:pt x="959" y="730"/>
                </a:lnTo>
                <a:lnTo>
                  <a:pt x="959" y="732"/>
                </a:lnTo>
                <a:lnTo>
                  <a:pt x="956" y="734"/>
                </a:lnTo>
                <a:lnTo>
                  <a:pt x="954" y="731"/>
                </a:lnTo>
                <a:lnTo>
                  <a:pt x="953" y="726"/>
                </a:lnTo>
                <a:lnTo>
                  <a:pt x="952" y="727"/>
                </a:lnTo>
                <a:lnTo>
                  <a:pt x="951" y="727"/>
                </a:lnTo>
                <a:lnTo>
                  <a:pt x="951" y="732"/>
                </a:lnTo>
                <a:lnTo>
                  <a:pt x="952" y="737"/>
                </a:lnTo>
                <a:lnTo>
                  <a:pt x="953" y="739"/>
                </a:lnTo>
                <a:lnTo>
                  <a:pt x="953" y="741"/>
                </a:lnTo>
                <a:lnTo>
                  <a:pt x="952" y="744"/>
                </a:lnTo>
                <a:lnTo>
                  <a:pt x="949" y="745"/>
                </a:lnTo>
                <a:lnTo>
                  <a:pt x="946" y="748"/>
                </a:lnTo>
                <a:lnTo>
                  <a:pt x="942" y="752"/>
                </a:lnTo>
                <a:lnTo>
                  <a:pt x="937" y="755"/>
                </a:lnTo>
                <a:lnTo>
                  <a:pt x="931" y="759"/>
                </a:lnTo>
                <a:lnTo>
                  <a:pt x="927" y="765"/>
                </a:lnTo>
                <a:lnTo>
                  <a:pt x="924" y="771"/>
                </a:lnTo>
                <a:lnTo>
                  <a:pt x="921" y="771"/>
                </a:lnTo>
                <a:lnTo>
                  <a:pt x="917" y="771"/>
                </a:lnTo>
                <a:lnTo>
                  <a:pt x="917" y="774"/>
                </a:lnTo>
                <a:lnTo>
                  <a:pt x="917" y="775"/>
                </a:lnTo>
                <a:lnTo>
                  <a:pt x="912" y="781"/>
                </a:lnTo>
                <a:lnTo>
                  <a:pt x="907" y="787"/>
                </a:lnTo>
                <a:lnTo>
                  <a:pt x="905" y="789"/>
                </a:lnTo>
                <a:lnTo>
                  <a:pt x="901" y="793"/>
                </a:lnTo>
                <a:lnTo>
                  <a:pt x="898" y="795"/>
                </a:lnTo>
                <a:lnTo>
                  <a:pt x="892" y="797"/>
                </a:lnTo>
                <a:lnTo>
                  <a:pt x="889" y="801"/>
                </a:lnTo>
                <a:lnTo>
                  <a:pt x="886" y="804"/>
                </a:lnTo>
                <a:lnTo>
                  <a:pt x="880" y="811"/>
                </a:lnTo>
                <a:lnTo>
                  <a:pt x="876" y="817"/>
                </a:lnTo>
                <a:lnTo>
                  <a:pt x="872" y="816"/>
                </a:lnTo>
                <a:lnTo>
                  <a:pt x="868" y="815"/>
                </a:lnTo>
                <a:lnTo>
                  <a:pt x="868" y="818"/>
                </a:lnTo>
                <a:lnTo>
                  <a:pt x="868" y="821"/>
                </a:lnTo>
                <a:lnTo>
                  <a:pt x="868" y="823"/>
                </a:lnTo>
                <a:lnTo>
                  <a:pt x="866" y="825"/>
                </a:lnTo>
                <a:lnTo>
                  <a:pt x="862" y="828"/>
                </a:lnTo>
                <a:lnTo>
                  <a:pt x="858" y="831"/>
                </a:lnTo>
                <a:lnTo>
                  <a:pt x="856" y="834"/>
                </a:lnTo>
                <a:lnTo>
                  <a:pt x="855" y="838"/>
                </a:lnTo>
                <a:lnTo>
                  <a:pt x="847" y="841"/>
                </a:lnTo>
                <a:lnTo>
                  <a:pt x="838" y="843"/>
                </a:lnTo>
                <a:lnTo>
                  <a:pt x="839" y="848"/>
                </a:lnTo>
                <a:lnTo>
                  <a:pt x="839" y="850"/>
                </a:lnTo>
                <a:lnTo>
                  <a:pt x="838" y="853"/>
                </a:lnTo>
                <a:lnTo>
                  <a:pt x="837" y="856"/>
                </a:lnTo>
                <a:lnTo>
                  <a:pt x="831" y="859"/>
                </a:lnTo>
                <a:lnTo>
                  <a:pt x="827" y="864"/>
                </a:lnTo>
                <a:lnTo>
                  <a:pt x="818" y="871"/>
                </a:lnTo>
                <a:lnTo>
                  <a:pt x="809" y="878"/>
                </a:lnTo>
                <a:lnTo>
                  <a:pt x="808" y="880"/>
                </a:lnTo>
                <a:lnTo>
                  <a:pt x="807" y="883"/>
                </a:lnTo>
                <a:lnTo>
                  <a:pt x="806" y="887"/>
                </a:lnTo>
                <a:lnTo>
                  <a:pt x="803" y="891"/>
                </a:lnTo>
                <a:lnTo>
                  <a:pt x="800" y="893"/>
                </a:lnTo>
                <a:lnTo>
                  <a:pt x="796" y="893"/>
                </a:lnTo>
                <a:lnTo>
                  <a:pt x="790" y="900"/>
                </a:lnTo>
                <a:lnTo>
                  <a:pt x="786" y="906"/>
                </a:lnTo>
                <a:lnTo>
                  <a:pt x="776" y="918"/>
                </a:lnTo>
                <a:lnTo>
                  <a:pt x="765" y="927"/>
                </a:lnTo>
                <a:lnTo>
                  <a:pt x="761" y="933"/>
                </a:lnTo>
                <a:lnTo>
                  <a:pt x="756" y="937"/>
                </a:lnTo>
                <a:lnTo>
                  <a:pt x="751" y="942"/>
                </a:lnTo>
                <a:lnTo>
                  <a:pt x="745" y="946"/>
                </a:lnTo>
                <a:lnTo>
                  <a:pt x="731" y="955"/>
                </a:lnTo>
                <a:lnTo>
                  <a:pt x="716" y="965"/>
                </a:lnTo>
                <a:lnTo>
                  <a:pt x="716" y="964"/>
                </a:lnTo>
                <a:lnTo>
                  <a:pt x="714" y="962"/>
                </a:lnTo>
                <a:close/>
                <a:moveTo>
                  <a:pt x="765" y="820"/>
                </a:moveTo>
                <a:lnTo>
                  <a:pt x="765" y="810"/>
                </a:lnTo>
                <a:lnTo>
                  <a:pt x="765" y="802"/>
                </a:lnTo>
                <a:lnTo>
                  <a:pt x="767" y="804"/>
                </a:lnTo>
                <a:lnTo>
                  <a:pt x="768" y="807"/>
                </a:lnTo>
                <a:lnTo>
                  <a:pt x="769" y="809"/>
                </a:lnTo>
                <a:lnTo>
                  <a:pt x="769" y="811"/>
                </a:lnTo>
                <a:lnTo>
                  <a:pt x="767" y="815"/>
                </a:lnTo>
                <a:lnTo>
                  <a:pt x="765" y="820"/>
                </a:lnTo>
                <a:close/>
                <a:moveTo>
                  <a:pt x="759" y="870"/>
                </a:moveTo>
                <a:lnTo>
                  <a:pt x="763" y="867"/>
                </a:lnTo>
                <a:lnTo>
                  <a:pt x="768" y="865"/>
                </a:lnTo>
                <a:lnTo>
                  <a:pt x="765" y="871"/>
                </a:lnTo>
                <a:lnTo>
                  <a:pt x="761" y="878"/>
                </a:lnTo>
                <a:lnTo>
                  <a:pt x="760" y="872"/>
                </a:lnTo>
                <a:lnTo>
                  <a:pt x="759" y="870"/>
                </a:lnTo>
                <a:close/>
                <a:moveTo>
                  <a:pt x="758" y="730"/>
                </a:moveTo>
                <a:lnTo>
                  <a:pt x="756" y="731"/>
                </a:lnTo>
                <a:lnTo>
                  <a:pt x="755" y="732"/>
                </a:lnTo>
                <a:lnTo>
                  <a:pt x="753" y="732"/>
                </a:lnTo>
                <a:lnTo>
                  <a:pt x="752" y="731"/>
                </a:lnTo>
                <a:lnTo>
                  <a:pt x="752" y="729"/>
                </a:lnTo>
                <a:lnTo>
                  <a:pt x="752" y="726"/>
                </a:lnTo>
                <a:lnTo>
                  <a:pt x="753" y="720"/>
                </a:lnTo>
                <a:lnTo>
                  <a:pt x="754" y="713"/>
                </a:lnTo>
                <a:lnTo>
                  <a:pt x="759" y="716"/>
                </a:lnTo>
                <a:lnTo>
                  <a:pt x="765" y="719"/>
                </a:lnTo>
                <a:lnTo>
                  <a:pt x="761" y="722"/>
                </a:lnTo>
                <a:lnTo>
                  <a:pt x="758" y="724"/>
                </a:lnTo>
                <a:lnTo>
                  <a:pt x="756" y="725"/>
                </a:lnTo>
                <a:lnTo>
                  <a:pt x="756" y="726"/>
                </a:lnTo>
                <a:lnTo>
                  <a:pt x="756" y="729"/>
                </a:lnTo>
                <a:lnTo>
                  <a:pt x="758" y="730"/>
                </a:lnTo>
                <a:close/>
                <a:moveTo>
                  <a:pt x="747" y="751"/>
                </a:moveTo>
                <a:lnTo>
                  <a:pt x="755" y="744"/>
                </a:lnTo>
                <a:lnTo>
                  <a:pt x="765" y="737"/>
                </a:lnTo>
                <a:lnTo>
                  <a:pt x="761" y="743"/>
                </a:lnTo>
                <a:lnTo>
                  <a:pt x="758" y="747"/>
                </a:lnTo>
                <a:lnTo>
                  <a:pt x="753" y="751"/>
                </a:lnTo>
                <a:lnTo>
                  <a:pt x="747" y="751"/>
                </a:lnTo>
                <a:close/>
                <a:moveTo>
                  <a:pt x="747" y="897"/>
                </a:moveTo>
                <a:lnTo>
                  <a:pt x="746" y="898"/>
                </a:lnTo>
                <a:lnTo>
                  <a:pt x="746" y="899"/>
                </a:lnTo>
                <a:lnTo>
                  <a:pt x="744" y="899"/>
                </a:lnTo>
                <a:lnTo>
                  <a:pt x="741" y="900"/>
                </a:lnTo>
                <a:lnTo>
                  <a:pt x="738" y="901"/>
                </a:lnTo>
                <a:lnTo>
                  <a:pt x="734" y="901"/>
                </a:lnTo>
                <a:lnTo>
                  <a:pt x="734" y="900"/>
                </a:lnTo>
                <a:lnTo>
                  <a:pt x="734" y="898"/>
                </a:lnTo>
                <a:lnTo>
                  <a:pt x="738" y="895"/>
                </a:lnTo>
                <a:lnTo>
                  <a:pt x="741" y="894"/>
                </a:lnTo>
                <a:lnTo>
                  <a:pt x="744" y="895"/>
                </a:lnTo>
                <a:lnTo>
                  <a:pt x="747" y="897"/>
                </a:lnTo>
                <a:close/>
                <a:moveTo>
                  <a:pt x="745" y="888"/>
                </a:moveTo>
                <a:lnTo>
                  <a:pt x="745" y="887"/>
                </a:lnTo>
                <a:lnTo>
                  <a:pt x="745" y="887"/>
                </a:lnTo>
                <a:lnTo>
                  <a:pt x="751" y="886"/>
                </a:lnTo>
                <a:lnTo>
                  <a:pt x="755" y="886"/>
                </a:lnTo>
                <a:lnTo>
                  <a:pt x="756" y="887"/>
                </a:lnTo>
                <a:lnTo>
                  <a:pt x="755" y="888"/>
                </a:lnTo>
                <a:lnTo>
                  <a:pt x="753" y="890"/>
                </a:lnTo>
                <a:lnTo>
                  <a:pt x="751" y="890"/>
                </a:lnTo>
                <a:lnTo>
                  <a:pt x="748" y="890"/>
                </a:lnTo>
                <a:lnTo>
                  <a:pt x="745" y="888"/>
                </a:lnTo>
                <a:close/>
                <a:moveTo>
                  <a:pt x="678" y="425"/>
                </a:moveTo>
                <a:lnTo>
                  <a:pt x="671" y="434"/>
                </a:lnTo>
                <a:lnTo>
                  <a:pt x="664" y="444"/>
                </a:lnTo>
                <a:lnTo>
                  <a:pt x="657" y="453"/>
                </a:lnTo>
                <a:lnTo>
                  <a:pt x="650" y="462"/>
                </a:lnTo>
                <a:lnTo>
                  <a:pt x="641" y="473"/>
                </a:lnTo>
                <a:lnTo>
                  <a:pt x="630" y="482"/>
                </a:lnTo>
                <a:lnTo>
                  <a:pt x="623" y="483"/>
                </a:lnTo>
                <a:lnTo>
                  <a:pt x="615" y="485"/>
                </a:lnTo>
                <a:lnTo>
                  <a:pt x="609" y="486"/>
                </a:lnTo>
                <a:lnTo>
                  <a:pt x="602" y="487"/>
                </a:lnTo>
                <a:lnTo>
                  <a:pt x="593" y="489"/>
                </a:lnTo>
                <a:lnTo>
                  <a:pt x="585" y="489"/>
                </a:lnTo>
                <a:lnTo>
                  <a:pt x="581" y="486"/>
                </a:lnTo>
                <a:lnTo>
                  <a:pt x="576" y="479"/>
                </a:lnTo>
                <a:lnTo>
                  <a:pt x="573" y="481"/>
                </a:lnTo>
                <a:lnTo>
                  <a:pt x="568" y="483"/>
                </a:lnTo>
                <a:lnTo>
                  <a:pt x="564" y="483"/>
                </a:lnTo>
                <a:lnTo>
                  <a:pt x="560" y="482"/>
                </a:lnTo>
                <a:lnTo>
                  <a:pt x="559" y="479"/>
                </a:lnTo>
                <a:lnTo>
                  <a:pt x="559" y="474"/>
                </a:lnTo>
                <a:lnTo>
                  <a:pt x="561" y="461"/>
                </a:lnTo>
                <a:lnTo>
                  <a:pt x="565" y="448"/>
                </a:lnTo>
                <a:lnTo>
                  <a:pt x="567" y="436"/>
                </a:lnTo>
                <a:lnTo>
                  <a:pt x="571" y="424"/>
                </a:lnTo>
                <a:lnTo>
                  <a:pt x="575" y="410"/>
                </a:lnTo>
                <a:lnTo>
                  <a:pt x="582" y="396"/>
                </a:lnTo>
                <a:lnTo>
                  <a:pt x="585" y="392"/>
                </a:lnTo>
                <a:lnTo>
                  <a:pt x="588" y="389"/>
                </a:lnTo>
                <a:lnTo>
                  <a:pt x="585" y="388"/>
                </a:lnTo>
                <a:lnTo>
                  <a:pt x="582" y="387"/>
                </a:lnTo>
                <a:lnTo>
                  <a:pt x="582" y="380"/>
                </a:lnTo>
                <a:lnTo>
                  <a:pt x="583" y="375"/>
                </a:lnTo>
                <a:lnTo>
                  <a:pt x="585" y="373"/>
                </a:lnTo>
                <a:lnTo>
                  <a:pt x="587" y="371"/>
                </a:lnTo>
                <a:lnTo>
                  <a:pt x="589" y="371"/>
                </a:lnTo>
                <a:lnTo>
                  <a:pt x="592" y="371"/>
                </a:lnTo>
                <a:lnTo>
                  <a:pt x="594" y="373"/>
                </a:lnTo>
                <a:lnTo>
                  <a:pt x="597" y="374"/>
                </a:lnTo>
                <a:lnTo>
                  <a:pt x="595" y="376"/>
                </a:lnTo>
                <a:lnTo>
                  <a:pt x="593" y="377"/>
                </a:lnTo>
                <a:lnTo>
                  <a:pt x="590" y="380"/>
                </a:lnTo>
                <a:lnTo>
                  <a:pt x="588" y="381"/>
                </a:lnTo>
                <a:lnTo>
                  <a:pt x="589" y="382"/>
                </a:lnTo>
                <a:lnTo>
                  <a:pt x="589" y="383"/>
                </a:lnTo>
                <a:lnTo>
                  <a:pt x="601" y="381"/>
                </a:lnTo>
                <a:lnTo>
                  <a:pt x="611" y="378"/>
                </a:lnTo>
                <a:lnTo>
                  <a:pt x="614" y="377"/>
                </a:lnTo>
                <a:lnTo>
                  <a:pt x="616" y="378"/>
                </a:lnTo>
                <a:lnTo>
                  <a:pt x="618" y="378"/>
                </a:lnTo>
                <a:lnTo>
                  <a:pt x="620" y="381"/>
                </a:lnTo>
                <a:lnTo>
                  <a:pt x="622" y="384"/>
                </a:lnTo>
                <a:lnTo>
                  <a:pt x="623" y="390"/>
                </a:lnTo>
                <a:lnTo>
                  <a:pt x="627" y="385"/>
                </a:lnTo>
                <a:lnTo>
                  <a:pt x="630" y="382"/>
                </a:lnTo>
                <a:lnTo>
                  <a:pt x="634" y="376"/>
                </a:lnTo>
                <a:lnTo>
                  <a:pt x="638" y="370"/>
                </a:lnTo>
                <a:lnTo>
                  <a:pt x="643" y="366"/>
                </a:lnTo>
                <a:lnTo>
                  <a:pt x="648" y="361"/>
                </a:lnTo>
                <a:lnTo>
                  <a:pt x="659" y="353"/>
                </a:lnTo>
                <a:lnTo>
                  <a:pt x="672" y="347"/>
                </a:lnTo>
                <a:lnTo>
                  <a:pt x="675" y="346"/>
                </a:lnTo>
                <a:lnTo>
                  <a:pt x="677" y="346"/>
                </a:lnTo>
                <a:lnTo>
                  <a:pt x="684" y="346"/>
                </a:lnTo>
                <a:lnTo>
                  <a:pt x="690" y="345"/>
                </a:lnTo>
                <a:lnTo>
                  <a:pt x="693" y="341"/>
                </a:lnTo>
                <a:lnTo>
                  <a:pt x="696" y="335"/>
                </a:lnTo>
                <a:lnTo>
                  <a:pt x="698" y="332"/>
                </a:lnTo>
                <a:lnTo>
                  <a:pt x="700" y="331"/>
                </a:lnTo>
                <a:lnTo>
                  <a:pt x="703" y="331"/>
                </a:lnTo>
                <a:lnTo>
                  <a:pt x="706" y="332"/>
                </a:lnTo>
                <a:lnTo>
                  <a:pt x="710" y="333"/>
                </a:lnTo>
                <a:lnTo>
                  <a:pt x="713" y="334"/>
                </a:lnTo>
                <a:lnTo>
                  <a:pt x="716" y="335"/>
                </a:lnTo>
                <a:lnTo>
                  <a:pt x="717" y="338"/>
                </a:lnTo>
                <a:lnTo>
                  <a:pt x="719" y="342"/>
                </a:lnTo>
                <a:lnTo>
                  <a:pt x="719" y="349"/>
                </a:lnTo>
                <a:lnTo>
                  <a:pt x="719" y="353"/>
                </a:lnTo>
                <a:lnTo>
                  <a:pt x="721" y="355"/>
                </a:lnTo>
                <a:lnTo>
                  <a:pt x="725" y="355"/>
                </a:lnTo>
                <a:lnTo>
                  <a:pt x="730" y="355"/>
                </a:lnTo>
                <a:lnTo>
                  <a:pt x="730" y="356"/>
                </a:lnTo>
                <a:lnTo>
                  <a:pt x="730" y="359"/>
                </a:lnTo>
                <a:lnTo>
                  <a:pt x="733" y="359"/>
                </a:lnTo>
                <a:lnTo>
                  <a:pt x="735" y="357"/>
                </a:lnTo>
                <a:lnTo>
                  <a:pt x="747" y="347"/>
                </a:lnTo>
                <a:lnTo>
                  <a:pt x="758" y="335"/>
                </a:lnTo>
                <a:lnTo>
                  <a:pt x="763" y="329"/>
                </a:lnTo>
                <a:lnTo>
                  <a:pt x="769" y="325"/>
                </a:lnTo>
                <a:lnTo>
                  <a:pt x="775" y="321"/>
                </a:lnTo>
                <a:lnTo>
                  <a:pt x="782" y="318"/>
                </a:lnTo>
                <a:lnTo>
                  <a:pt x="789" y="315"/>
                </a:lnTo>
                <a:lnTo>
                  <a:pt x="796" y="313"/>
                </a:lnTo>
                <a:lnTo>
                  <a:pt x="803" y="313"/>
                </a:lnTo>
                <a:lnTo>
                  <a:pt x="811" y="313"/>
                </a:lnTo>
                <a:lnTo>
                  <a:pt x="817" y="314"/>
                </a:lnTo>
                <a:lnTo>
                  <a:pt x="822" y="315"/>
                </a:lnTo>
                <a:lnTo>
                  <a:pt x="825" y="318"/>
                </a:lnTo>
                <a:lnTo>
                  <a:pt x="829" y="320"/>
                </a:lnTo>
                <a:lnTo>
                  <a:pt x="830" y="324"/>
                </a:lnTo>
                <a:lnTo>
                  <a:pt x="831" y="328"/>
                </a:lnTo>
                <a:lnTo>
                  <a:pt x="832" y="333"/>
                </a:lnTo>
                <a:lnTo>
                  <a:pt x="832" y="339"/>
                </a:lnTo>
                <a:lnTo>
                  <a:pt x="830" y="350"/>
                </a:lnTo>
                <a:lnTo>
                  <a:pt x="825" y="362"/>
                </a:lnTo>
                <a:lnTo>
                  <a:pt x="821" y="373"/>
                </a:lnTo>
                <a:lnTo>
                  <a:pt x="813" y="382"/>
                </a:lnTo>
                <a:lnTo>
                  <a:pt x="804" y="391"/>
                </a:lnTo>
                <a:lnTo>
                  <a:pt x="796" y="401"/>
                </a:lnTo>
                <a:lnTo>
                  <a:pt x="788" y="410"/>
                </a:lnTo>
                <a:lnTo>
                  <a:pt x="779" y="419"/>
                </a:lnTo>
                <a:lnTo>
                  <a:pt x="772" y="424"/>
                </a:lnTo>
                <a:lnTo>
                  <a:pt x="765" y="427"/>
                </a:lnTo>
                <a:lnTo>
                  <a:pt x="761" y="430"/>
                </a:lnTo>
                <a:lnTo>
                  <a:pt x="758" y="431"/>
                </a:lnTo>
                <a:lnTo>
                  <a:pt x="742" y="424"/>
                </a:lnTo>
                <a:lnTo>
                  <a:pt x="727" y="418"/>
                </a:lnTo>
                <a:lnTo>
                  <a:pt x="712" y="412"/>
                </a:lnTo>
                <a:lnTo>
                  <a:pt x="696" y="404"/>
                </a:lnTo>
                <a:lnTo>
                  <a:pt x="687" y="415"/>
                </a:lnTo>
                <a:lnTo>
                  <a:pt x="678" y="425"/>
                </a:lnTo>
                <a:close/>
                <a:moveTo>
                  <a:pt x="648" y="1249"/>
                </a:moveTo>
                <a:lnTo>
                  <a:pt x="651" y="1254"/>
                </a:lnTo>
                <a:lnTo>
                  <a:pt x="652" y="1258"/>
                </a:lnTo>
                <a:lnTo>
                  <a:pt x="654" y="1263"/>
                </a:lnTo>
                <a:lnTo>
                  <a:pt x="654" y="1268"/>
                </a:lnTo>
                <a:lnTo>
                  <a:pt x="650" y="1265"/>
                </a:lnTo>
                <a:lnTo>
                  <a:pt x="648" y="1261"/>
                </a:lnTo>
                <a:lnTo>
                  <a:pt x="648" y="1256"/>
                </a:lnTo>
                <a:lnTo>
                  <a:pt x="648" y="1249"/>
                </a:lnTo>
                <a:close/>
                <a:moveTo>
                  <a:pt x="628" y="586"/>
                </a:moveTo>
                <a:lnTo>
                  <a:pt x="626" y="592"/>
                </a:lnTo>
                <a:lnTo>
                  <a:pt x="622" y="596"/>
                </a:lnTo>
                <a:lnTo>
                  <a:pt x="618" y="599"/>
                </a:lnTo>
                <a:lnTo>
                  <a:pt x="614" y="600"/>
                </a:lnTo>
                <a:lnTo>
                  <a:pt x="608" y="601"/>
                </a:lnTo>
                <a:lnTo>
                  <a:pt x="603" y="603"/>
                </a:lnTo>
                <a:lnTo>
                  <a:pt x="599" y="601"/>
                </a:lnTo>
                <a:lnTo>
                  <a:pt x="594" y="601"/>
                </a:lnTo>
                <a:lnTo>
                  <a:pt x="590" y="598"/>
                </a:lnTo>
                <a:lnTo>
                  <a:pt x="587" y="593"/>
                </a:lnTo>
                <a:lnTo>
                  <a:pt x="601" y="579"/>
                </a:lnTo>
                <a:lnTo>
                  <a:pt x="615" y="567"/>
                </a:lnTo>
                <a:lnTo>
                  <a:pt x="618" y="566"/>
                </a:lnTo>
                <a:lnTo>
                  <a:pt x="622" y="567"/>
                </a:lnTo>
                <a:lnTo>
                  <a:pt x="624" y="570"/>
                </a:lnTo>
                <a:lnTo>
                  <a:pt x="627" y="576"/>
                </a:lnTo>
                <a:lnTo>
                  <a:pt x="628" y="583"/>
                </a:lnTo>
                <a:lnTo>
                  <a:pt x="628" y="586"/>
                </a:lnTo>
                <a:close/>
                <a:moveTo>
                  <a:pt x="544" y="516"/>
                </a:moveTo>
                <a:lnTo>
                  <a:pt x="542" y="518"/>
                </a:lnTo>
                <a:lnTo>
                  <a:pt x="541" y="521"/>
                </a:lnTo>
                <a:lnTo>
                  <a:pt x="540" y="523"/>
                </a:lnTo>
                <a:lnTo>
                  <a:pt x="538" y="523"/>
                </a:lnTo>
                <a:lnTo>
                  <a:pt x="535" y="524"/>
                </a:lnTo>
                <a:lnTo>
                  <a:pt x="533" y="524"/>
                </a:lnTo>
                <a:lnTo>
                  <a:pt x="531" y="523"/>
                </a:lnTo>
                <a:lnTo>
                  <a:pt x="528" y="522"/>
                </a:lnTo>
                <a:lnTo>
                  <a:pt x="525" y="518"/>
                </a:lnTo>
                <a:lnTo>
                  <a:pt x="520" y="516"/>
                </a:lnTo>
                <a:lnTo>
                  <a:pt x="516" y="515"/>
                </a:lnTo>
                <a:lnTo>
                  <a:pt x="511" y="516"/>
                </a:lnTo>
                <a:lnTo>
                  <a:pt x="507" y="516"/>
                </a:lnTo>
                <a:lnTo>
                  <a:pt x="505" y="515"/>
                </a:lnTo>
                <a:lnTo>
                  <a:pt x="505" y="513"/>
                </a:lnTo>
                <a:lnTo>
                  <a:pt x="505" y="509"/>
                </a:lnTo>
                <a:lnTo>
                  <a:pt x="506" y="495"/>
                </a:lnTo>
                <a:lnTo>
                  <a:pt x="507" y="482"/>
                </a:lnTo>
                <a:lnTo>
                  <a:pt x="510" y="468"/>
                </a:lnTo>
                <a:lnTo>
                  <a:pt x="511" y="455"/>
                </a:lnTo>
                <a:lnTo>
                  <a:pt x="513" y="448"/>
                </a:lnTo>
                <a:lnTo>
                  <a:pt x="518" y="443"/>
                </a:lnTo>
                <a:lnTo>
                  <a:pt x="524" y="438"/>
                </a:lnTo>
                <a:lnTo>
                  <a:pt x="531" y="434"/>
                </a:lnTo>
                <a:lnTo>
                  <a:pt x="533" y="432"/>
                </a:lnTo>
                <a:lnTo>
                  <a:pt x="534" y="429"/>
                </a:lnTo>
                <a:lnTo>
                  <a:pt x="538" y="422"/>
                </a:lnTo>
                <a:lnTo>
                  <a:pt x="540" y="416"/>
                </a:lnTo>
                <a:lnTo>
                  <a:pt x="544" y="411"/>
                </a:lnTo>
                <a:lnTo>
                  <a:pt x="546" y="409"/>
                </a:lnTo>
                <a:lnTo>
                  <a:pt x="551" y="408"/>
                </a:lnTo>
                <a:lnTo>
                  <a:pt x="555" y="409"/>
                </a:lnTo>
                <a:lnTo>
                  <a:pt x="560" y="409"/>
                </a:lnTo>
                <a:lnTo>
                  <a:pt x="567" y="408"/>
                </a:lnTo>
                <a:lnTo>
                  <a:pt x="565" y="419"/>
                </a:lnTo>
                <a:lnTo>
                  <a:pt x="562" y="432"/>
                </a:lnTo>
                <a:lnTo>
                  <a:pt x="560" y="444"/>
                </a:lnTo>
                <a:lnTo>
                  <a:pt x="558" y="455"/>
                </a:lnTo>
                <a:lnTo>
                  <a:pt x="554" y="471"/>
                </a:lnTo>
                <a:lnTo>
                  <a:pt x="551" y="486"/>
                </a:lnTo>
                <a:lnTo>
                  <a:pt x="547" y="501"/>
                </a:lnTo>
                <a:lnTo>
                  <a:pt x="544" y="516"/>
                </a:lnTo>
                <a:close/>
                <a:moveTo>
                  <a:pt x="528" y="1222"/>
                </a:moveTo>
                <a:lnTo>
                  <a:pt x="519" y="1213"/>
                </a:lnTo>
                <a:lnTo>
                  <a:pt x="510" y="1203"/>
                </a:lnTo>
                <a:lnTo>
                  <a:pt x="511" y="1202"/>
                </a:lnTo>
                <a:lnTo>
                  <a:pt x="512" y="1201"/>
                </a:lnTo>
                <a:lnTo>
                  <a:pt x="521" y="1210"/>
                </a:lnTo>
                <a:lnTo>
                  <a:pt x="531" y="1220"/>
                </a:lnTo>
                <a:lnTo>
                  <a:pt x="530" y="1221"/>
                </a:lnTo>
                <a:lnTo>
                  <a:pt x="528" y="1222"/>
                </a:lnTo>
                <a:close/>
                <a:moveTo>
                  <a:pt x="504" y="1180"/>
                </a:moveTo>
                <a:lnTo>
                  <a:pt x="503" y="1178"/>
                </a:lnTo>
                <a:lnTo>
                  <a:pt x="503" y="1175"/>
                </a:lnTo>
                <a:lnTo>
                  <a:pt x="504" y="1173"/>
                </a:lnTo>
                <a:lnTo>
                  <a:pt x="506" y="1171"/>
                </a:lnTo>
                <a:lnTo>
                  <a:pt x="510" y="1171"/>
                </a:lnTo>
                <a:lnTo>
                  <a:pt x="513" y="1171"/>
                </a:lnTo>
                <a:lnTo>
                  <a:pt x="512" y="1174"/>
                </a:lnTo>
                <a:lnTo>
                  <a:pt x="511" y="1178"/>
                </a:lnTo>
                <a:lnTo>
                  <a:pt x="510" y="1179"/>
                </a:lnTo>
                <a:lnTo>
                  <a:pt x="507" y="1180"/>
                </a:lnTo>
                <a:lnTo>
                  <a:pt x="506" y="1180"/>
                </a:lnTo>
                <a:lnTo>
                  <a:pt x="504" y="1180"/>
                </a:lnTo>
                <a:close/>
                <a:moveTo>
                  <a:pt x="498" y="613"/>
                </a:moveTo>
                <a:lnTo>
                  <a:pt x="498" y="631"/>
                </a:lnTo>
                <a:lnTo>
                  <a:pt x="498" y="648"/>
                </a:lnTo>
                <a:lnTo>
                  <a:pt x="498" y="653"/>
                </a:lnTo>
                <a:lnTo>
                  <a:pt x="496" y="655"/>
                </a:lnTo>
                <a:lnTo>
                  <a:pt x="493" y="656"/>
                </a:lnTo>
                <a:lnTo>
                  <a:pt x="489" y="656"/>
                </a:lnTo>
                <a:lnTo>
                  <a:pt x="488" y="656"/>
                </a:lnTo>
                <a:lnTo>
                  <a:pt x="486" y="656"/>
                </a:lnTo>
                <a:lnTo>
                  <a:pt x="482" y="656"/>
                </a:lnTo>
                <a:lnTo>
                  <a:pt x="478" y="655"/>
                </a:lnTo>
                <a:lnTo>
                  <a:pt x="476" y="649"/>
                </a:lnTo>
                <a:lnTo>
                  <a:pt x="476" y="642"/>
                </a:lnTo>
                <a:lnTo>
                  <a:pt x="476" y="632"/>
                </a:lnTo>
                <a:lnTo>
                  <a:pt x="476" y="621"/>
                </a:lnTo>
                <a:lnTo>
                  <a:pt x="478" y="608"/>
                </a:lnTo>
                <a:lnTo>
                  <a:pt x="482" y="594"/>
                </a:lnTo>
                <a:lnTo>
                  <a:pt x="484" y="594"/>
                </a:lnTo>
                <a:lnTo>
                  <a:pt x="488" y="594"/>
                </a:lnTo>
                <a:lnTo>
                  <a:pt x="492" y="596"/>
                </a:lnTo>
                <a:lnTo>
                  <a:pt x="496" y="599"/>
                </a:lnTo>
                <a:lnTo>
                  <a:pt x="499" y="606"/>
                </a:lnTo>
                <a:lnTo>
                  <a:pt x="502" y="613"/>
                </a:lnTo>
                <a:lnTo>
                  <a:pt x="500" y="613"/>
                </a:lnTo>
                <a:lnTo>
                  <a:pt x="498" y="613"/>
                </a:lnTo>
                <a:close/>
                <a:moveTo>
                  <a:pt x="486" y="1152"/>
                </a:moveTo>
                <a:lnTo>
                  <a:pt x="493" y="1152"/>
                </a:lnTo>
                <a:lnTo>
                  <a:pt x="500" y="1152"/>
                </a:lnTo>
                <a:lnTo>
                  <a:pt x="498" y="1156"/>
                </a:lnTo>
                <a:lnTo>
                  <a:pt x="495" y="1157"/>
                </a:lnTo>
                <a:lnTo>
                  <a:pt x="491" y="1156"/>
                </a:lnTo>
                <a:lnTo>
                  <a:pt x="486" y="1152"/>
                </a:lnTo>
                <a:close/>
                <a:moveTo>
                  <a:pt x="492" y="1210"/>
                </a:moveTo>
                <a:lnTo>
                  <a:pt x="490" y="1214"/>
                </a:lnTo>
                <a:lnTo>
                  <a:pt x="486" y="1217"/>
                </a:lnTo>
                <a:lnTo>
                  <a:pt x="484" y="1220"/>
                </a:lnTo>
                <a:lnTo>
                  <a:pt x="480" y="1220"/>
                </a:lnTo>
                <a:lnTo>
                  <a:pt x="479" y="1217"/>
                </a:lnTo>
                <a:lnTo>
                  <a:pt x="477" y="1213"/>
                </a:lnTo>
                <a:lnTo>
                  <a:pt x="480" y="1208"/>
                </a:lnTo>
                <a:lnTo>
                  <a:pt x="484" y="1202"/>
                </a:lnTo>
                <a:lnTo>
                  <a:pt x="488" y="1202"/>
                </a:lnTo>
                <a:lnTo>
                  <a:pt x="492" y="1202"/>
                </a:lnTo>
                <a:lnTo>
                  <a:pt x="492" y="1206"/>
                </a:lnTo>
                <a:lnTo>
                  <a:pt x="492" y="1210"/>
                </a:lnTo>
                <a:close/>
                <a:moveTo>
                  <a:pt x="659" y="151"/>
                </a:moveTo>
                <a:lnTo>
                  <a:pt x="662" y="147"/>
                </a:lnTo>
                <a:lnTo>
                  <a:pt x="664" y="145"/>
                </a:lnTo>
                <a:lnTo>
                  <a:pt x="665" y="144"/>
                </a:lnTo>
                <a:lnTo>
                  <a:pt x="668" y="143"/>
                </a:lnTo>
                <a:lnTo>
                  <a:pt x="669" y="143"/>
                </a:lnTo>
                <a:lnTo>
                  <a:pt x="671" y="143"/>
                </a:lnTo>
                <a:lnTo>
                  <a:pt x="673" y="142"/>
                </a:lnTo>
                <a:lnTo>
                  <a:pt x="676" y="139"/>
                </a:lnTo>
                <a:lnTo>
                  <a:pt x="676" y="143"/>
                </a:lnTo>
                <a:lnTo>
                  <a:pt x="676" y="146"/>
                </a:lnTo>
                <a:lnTo>
                  <a:pt x="675" y="150"/>
                </a:lnTo>
                <a:lnTo>
                  <a:pt x="672" y="152"/>
                </a:lnTo>
                <a:lnTo>
                  <a:pt x="670" y="154"/>
                </a:lnTo>
                <a:lnTo>
                  <a:pt x="668" y="156"/>
                </a:lnTo>
                <a:lnTo>
                  <a:pt x="665" y="157"/>
                </a:lnTo>
                <a:lnTo>
                  <a:pt x="663" y="158"/>
                </a:lnTo>
                <a:lnTo>
                  <a:pt x="659" y="157"/>
                </a:lnTo>
                <a:lnTo>
                  <a:pt x="658" y="154"/>
                </a:lnTo>
                <a:lnTo>
                  <a:pt x="658" y="152"/>
                </a:lnTo>
                <a:lnTo>
                  <a:pt x="659" y="151"/>
                </a:lnTo>
                <a:close/>
                <a:moveTo>
                  <a:pt x="707" y="114"/>
                </a:moveTo>
                <a:lnTo>
                  <a:pt x="710" y="107"/>
                </a:lnTo>
                <a:lnTo>
                  <a:pt x="714" y="102"/>
                </a:lnTo>
                <a:lnTo>
                  <a:pt x="719" y="97"/>
                </a:lnTo>
                <a:lnTo>
                  <a:pt x="725" y="93"/>
                </a:lnTo>
                <a:lnTo>
                  <a:pt x="727" y="90"/>
                </a:lnTo>
                <a:lnTo>
                  <a:pt x="731" y="89"/>
                </a:lnTo>
                <a:lnTo>
                  <a:pt x="733" y="87"/>
                </a:lnTo>
                <a:lnTo>
                  <a:pt x="737" y="87"/>
                </a:lnTo>
                <a:lnTo>
                  <a:pt x="740" y="87"/>
                </a:lnTo>
                <a:lnTo>
                  <a:pt x="742" y="89"/>
                </a:lnTo>
                <a:lnTo>
                  <a:pt x="746" y="91"/>
                </a:lnTo>
                <a:lnTo>
                  <a:pt x="747" y="95"/>
                </a:lnTo>
                <a:lnTo>
                  <a:pt x="748" y="97"/>
                </a:lnTo>
                <a:lnTo>
                  <a:pt x="747" y="102"/>
                </a:lnTo>
                <a:lnTo>
                  <a:pt x="744" y="110"/>
                </a:lnTo>
                <a:lnTo>
                  <a:pt x="740" y="117"/>
                </a:lnTo>
                <a:lnTo>
                  <a:pt x="738" y="119"/>
                </a:lnTo>
                <a:lnTo>
                  <a:pt x="734" y="122"/>
                </a:lnTo>
                <a:lnTo>
                  <a:pt x="731" y="123"/>
                </a:lnTo>
                <a:lnTo>
                  <a:pt x="727" y="124"/>
                </a:lnTo>
                <a:lnTo>
                  <a:pt x="716" y="128"/>
                </a:lnTo>
                <a:lnTo>
                  <a:pt x="703" y="132"/>
                </a:lnTo>
                <a:lnTo>
                  <a:pt x="705" y="122"/>
                </a:lnTo>
                <a:lnTo>
                  <a:pt x="707" y="114"/>
                </a:lnTo>
                <a:close/>
                <a:moveTo>
                  <a:pt x="775" y="26"/>
                </a:moveTo>
                <a:lnTo>
                  <a:pt x="780" y="26"/>
                </a:lnTo>
                <a:lnTo>
                  <a:pt x="785" y="25"/>
                </a:lnTo>
                <a:lnTo>
                  <a:pt x="789" y="24"/>
                </a:lnTo>
                <a:lnTo>
                  <a:pt x="794" y="23"/>
                </a:lnTo>
                <a:lnTo>
                  <a:pt x="796" y="27"/>
                </a:lnTo>
                <a:lnTo>
                  <a:pt x="797" y="32"/>
                </a:lnTo>
                <a:lnTo>
                  <a:pt x="792" y="41"/>
                </a:lnTo>
                <a:lnTo>
                  <a:pt x="785" y="51"/>
                </a:lnTo>
                <a:lnTo>
                  <a:pt x="783" y="52"/>
                </a:lnTo>
                <a:lnTo>
                  <a:pt x="782" y="52"/>
                </a:lnTo>
                <a:lnTo>
                  <a:pt x="778" y="55"/>
                </a:lnTo>
                <a:lnTo>
                  <a:pt x="774" y="55"/>
                </a:lnTo>
                <a:lnTo>
                  <a:pt x="772" y="53"/>
                </a:lnTo>
                <a:lnTo>
                  <a:pt x="771" y="47"/>
                </a:lnTo>
                <a:lnTo>
                  <a:pt x="767" y="48"/>
                </a:lnTo>
                <a:lnTo>
                  <a:pt x="765" y="48"/>
                </a:lnTo>
                <a:lnTo>
                  <a:pt x="762" y="49"/>
                </a:lnTo>
                <a:lnTo>
                  <a:pt x="761" y="49"/>
                </a:lnTo>
                <a:lnTo>
                  <a:pt x="760" y="47"/>
                </a:lnTo>
                <a:lnTo>
                  <a:pt x="760" y="45"/>
                </a:lnTo>
                <a:lnTo>
                  <a:pt x="760" y="41"/>
                </a:lnTo>
                <a:lnTo>
                  <a:pt x="760" y="38"/>
                </a:lnTo>
                <a:lnTo>
                  <a:pt x="761" y="35"/>
                </a:lnTo>
                <a:lnTo>
                  <a:pt x="763" y="32"/>
                </a:lnTo>
                <a:lnTo>
                  <a:pt x="766" y="30"/>
                </a:lnTo>
                <a:lnTo>
                  <a:pt x="768" y="28"/>
                </a:lnTo>
                <a:lnTo>
                  <a:pt x="772" y="26"/>
                </a:lnTo>
                <a:lnTo>
                  <a:pt x="775" y="26"/>
                </a:lnTo>
                <a:close/>
                <a:moveTo>
                  <a:pt x="802" y="93"/>
                </a:moveTo>
                <a:lnTo>
                  <a:pt x="806" y="93"/>
                </a:lnTo>
                <a:lnTo>
                  <a:pt x="808" y="94"/>
                </a:lnTo>
                <a:lnTo>
                  <a:pt x="810" y="96"/>
                </a:lnTo>
                <a:lnTo>
                  <a:pt x="811" y="100"/>
                </a:lnTo>
                <a:lnTo>
                  <a:pt x="808" y="102"/>
                </a:lnTo>
                <a:lnTo>
                  <a:pt x="803" y="104"/>
                </a:lnTo>
                <a:lnTo>
                  <a:pt x="802" y="103"/>
                </a:lnTo>
                <a:lnTo>
                  <a:pt x="801" y="102"/>
                </a:lnTo>
                <a:lnTo>
                  <a:pt x="801" y="97"/>
                </a:lnTo>
                <a:lnTo>
                  <a:pt x="802" y="93"/>
                </a:lnTo>
                <a:close/>
                <a:moveTo>
                  <a:pt x="827" y="759"/>
                </a:moveTo>
                <a:lnTo>
                  <a:pt x="828" y="766"/>
                </a:lnTo>
                <a:lnTo>
                  <a:pt x="830" y="772"/>
                </a:lnTo>
                <a:lnTo>
                  <a:pt x="825" y="772"/>
                </a:lnTo>
                <a:lnTo>
                  <a:pt x="823" y="771"/>
                </a:lnTo>
                <a:lnTo>
                  <a:pt x="824" y="766"/>
                </a:lnTo>
                <a:lnTo>
                  <a:pt x="827" y="759"/>
                </a:lnTo>
                <a:close/>
                <a:moveTo>
                  <a:pt x="787" y="844"/>
                </a:moveTo>
                <a:lnTo>
                  <a:pt x="789" y="843"/>
                </a:lnTo>
                <a:lnTo>
                  <a:pt x="792" y="842"/>
                </a:lnTo>
                <a:lnTo>
                  <a:pt x="793" y="844"/>
                </a:lnTo>
                <a:lnTo>
                  <a:pt x="793" y="846"/>
                </a:lnTo>
                <a:lnTo>
                  <a:pt x="790" y="850"/>
                </a:lnTo>
                <a:lnTo>
                  <a:pt x="786" y="855"/>
                </a:lnTo>
                <a:lnTo>
                  <a:pt x="787" y="849"/>
                </a:lnTo>
                <a:lnTo>
                  <a:pt x="787" y="844"/>
                </a:lnTo>
                <a:close/>
                <a:moveTo>
                  <a:pt x="782" y="809"/>
                </a:moveTo>
                <a:lnTo>
                  <a:pt x="780" y="809"/>
                </a:lnTo>
                <a:lnTo>
                  <a:pt x="779" y="808"/>
                </a:lnTo>
                <a:lnTo>
                  <a:pt x="779" y="807"/>
                </a:lnTo>
                <a:lnTo>
                  <a:pt x="779" y="804"/>
                </a:lnTo>
                <a:lnTo>
                  <a:pt x="780" y="802"/>
                </a:lnTo>
                <a:lnTo>
                  <a:pt x="780" y="801"/>
                </a:lnTo>
                <a:lnTo>
                  <a:pt x="778" y="800"/>
                </a:lnTo>
                <a:lnTo>
                  <a:pt x="775" y="800"/>
                </a:lnTo>
                <a:lnTo>
                  <a:pt x="774" y="799"/>
                </a:lnTo>
                <a:lnTo>
                  <a:pt x="772" y="796"/>
                </a:lnTo>
                <a:lnTo>
                  <a:pt x="780" y="796"/>
                </a:lnTo>
                <a:lnTo>
                  <a:pt x="787" y="796"/>
                </a:lnTo>
                <a:lnTo>
                  <a:pt x="785" y="803"/>
                </a:lnTo>
                <a:lnTo>
                  <a:pt x="782" y="809"/>
                </a:lnTo>
                <a:close/>
                <a:moveTo>
                  <a:pt x="780" y="821"/>
                </a:moveTo>
                <a:lnTo>
                  <a:pt x="779" y="822"/>
                </a:lnTo>
                <a:lnTo>
                  <a:pt x="776" y="822"/>
                </a:lnTo>
                <a:lnTo>
                  <a:pt x="776" y="820"/>
                </a:lnTo>
                <a:lnTo>
                  <a:pt x="776" y="817"/>
                </a:lnTo>
                <a:lnTo>
                  <a:pt x="780" y="814"/>
                </a:lnTo>
                <a:lnTo>
                  <a:pt x="782" y="809"/>
                </a:lnTo>
                <a:lnTo>
                  <a:pt x="783" y="809"/>
                </a:lnTo>
                <a:lnTo>
                  <a:pt x="783" y="809"/>
                </a:lnTo>
                <a:lnTo>
                  <a:pt x="785" y="813"/>
                </a:lnTo>
                <a:lnTo>
                  <a:pt x="783" y="815"/>
                </a:lnTo>
                <a:lnTo>
                  <a:pt x="781" y="817"/>
                </a:lnTo>
                <a:lnTo>
                  <a:pt x="780" y="821"/>
                </a:lnTo>
                <a:close/>
                <a:moveTo>
                  <a:pt x="771" y="841"/>
                </a:moveTo>
                <a:lnTo>
                  <a:pt x="775" y="837"/>
                </a:lnTo>
                <a:lnTo>
                  <a:pt x="780" y="834"/>
                </a:lnTo>
                <a:lnTo>
                  <a:pt x="781" y="835"/>
                </a:lnTo>
                <a:lnTo>
                  <a:pt x="783" y="836"/>
                </a:lnTo>
                <a:lnTo>
                  <a:pt x="779" y="845"/>
                </a:lnTo>
                <a:lnTo>
                  <a:pt x="774" y="855"/>
                </a:lnTo>
                <a:lnTo>
                  <a:pt x="772" y="853"/>
                </a:lnTo>
                <a:lnTo>
                  <a:pt x="769" y="853"/>
                </a:lnTo>
                <a:lnTo>
                  <a:pt x="772" y="848"/>
                </a:lnTo>
                <a:lnTo>
                  <a:pt x="773" y="842"/>
                </a:lnTo>
                <a:lnTo>
                  <a:pt x="772" y="841"/>
                </a:lnTo>
                <a:lnTo>
                  <a:pt x="771" y="841"/>
                </a:lnTo>
                <a:close/>
                <a:moveTo>
                  <a:pt x="802" y="797"/>
                </a:moveTo>
                <a:lnTo>
                  <a:pt x="797" y="793"/>
                </a:lnTo>
                <a:lnTo>
                  <a:pt x="795" y="789"/>
                </a:lnTo>
                <a:lnTo>
                  <a:pt x="796" y="786"/>
                </a:lnTo>
                <a:lnTo>
                  <a:pt x="800" y="780"/>
                </a:lnTo>
                <a:lnTo>
                  <a:pt x="801" y="788"/>
                </a:lnTo>
                <a:lnTo>
                  <a:pt x="802" y="797"/>
                </a:lnTo>
                <a:close/>
                <a:moveTo>
                  <a:pt x="806" y="496"/>
                </a:moveTo>
                <a:lnTo>
                  <a:pt x="801" y="497"/>
                </a:lnTo>
                <a:lnTo>
                  <a:pt x="797" y="497"/>
                </a:lnTo>
                <a:lnTo>
                  <a:pt x="794" y="496"/>
                </a:lnTo>
                <a:lnTo>
                  <a:pt x="790" y="494"/>
                </a:lnTo>
                <a:lnTo>
                  <a:pt x="785" y="488"/>
                </a:lnTo>
                <a:lnTo>
                  <a:pt x="779" y="482"/>
                </a:lnTo>
                <a:lnTo>
                  <a:pt x="778" y="479"/>
                </a:lnTo>
                <a:lnTo>
                  <a:pt x="778" y="474"/>
                </a:lnTo>
                <a:lnTo>
                  <a:pt x="779" y="468"/>
                </a:lnTo>
                <a:lnTo>
                  <a:pt x="780" y="464"/>
                </a:lnTo>
                <a:lnTo>
                  <a:pt x="782" y="461"/>
                </a:lnTo>
                <a:lnTo>
                  <a:pt x="785" y="459"/>
                </a:lnTo>
                <a:lnTo>
                  <a:pt x="788" y="457"/>
                </a:lnTo>
                <a:lnTo>
                  <a:pt x="793" y="455"/>
                </a:lnTo>
                <a:lnTo>
                  <a:pt x="802" y="453"/>
                </a:lnTo>
                <a:lnTo>
                  <a:pt x="813" y="452"/>
                </a:lnTo>
                <a:lnTo>
                  <a:pt x="821" y="453"/>
                </a:lnTo>
                <a:lnTo>
                  <a:pt x="829" y="455"/>
                </a:lnTo>
                <a:lnTo>
                  <a:pt x="830" y="457"/>
                </a:lnTo>
                <a:lnTo>
                  <a:pt x="830" y="459"/>
                </a:lnTo>
                <a:lnTo>
                  <a:pt x="827" y="474"/>
                </a:lnTo>
                <a:lnTo>
                  <a:pt x="822" y="489"/>
                </a:lnTo>
                <a:lnTo>
                  <a:pt x="820" y="494"/>
                </a:lnTo>
                <a:lnTo>
                  <a:pt x="816" y="496"/>
                </a:lnTo>
                <a:lnTo>
                  <a:pt x="811" y="497"/>
                </a:lnTo>
                <a:lnTo>
                  <a:pt x="806" y="496"/>
                </a:lnTo>
                <a:close/>
                <a:moveTo>
                  <a:pt x="803" y="774"/>
                </a:moveTo>
                <a:lnTo>
                  <a:pt x="803" y="762"/>
                </a:lnTo>
                <a:lnTo>
                  <a:pt x="804" y="751"/>
                </a:lnTo>
                <a:lnTo>
                  <a:pt x="806" y="748"/>
                </a:lnTo>
                <a:lnTo>
                  <a:pt x="808" y="746"/>
                </a:lnTo>
                <a:lnTo>
                  <a:pt x="810" y="750"/>
                </a:lnTo>
                <a:lnTo>
                  <a:pt x="811" y="753"/>
                </a:lnTo>
                <a:lnTo>
                  <a:pt x="813" y="757"/>
                </a:lnTo>
                <a:lnTo>
                  <a:pt x="813" y="759"/>
                </a:lnTo>
                <a:lnTo>
                  <a:pt x="810" y="766"/>
                </a:lnTo>
                <a:lnTo>
                  <a:pt x="803" y="774"/>
                </a:lnTo>
                <a:close/>
                <a:moveTo>
                  <a:pt x="808" y="746"/>
                </a:moveTo>
                <a:lnTo>
                  <a:pt x="807" y="744"/>
                </a:lnTo>
                <a:lnTo>
                  <a:pt x="807" y="740"/>
                </a:lnTo>
                <a:lnTo>
                  <a:pt x="813" y="740"/>
                </a:lnTo>
                <a:lnTo>
                  <a:pt x="818" y="739"/>
                </a:lnTo>
                <a:lnTo>
                  <a:pt x="816" y="744"/>
                </a:lnTo>
                <a:lnTo>
                  <a:pt x="814" y="746"/>
                </a:lnTo>
                <a:lnTo>
                  <a:pt x="811" y="746"/>
                </a:lnTo>
                <a:lnTo>
                  <a:pt x="808" y="746"/>
                </a:lnTo>
                <a:close/>
                <a:moveTo>
                  <a:pt x="836" y="788"/>
                </a:moveTo>
                <a:lnTo>
                  <a:pt x="838" y="793"/>
                </a:lnTo>
                <a:lnTo>
                  <a:pt x="837" y="796"/>
                </a:lnTo>
                <a:lnTo>
                  <a:pt x="835" y="797"/>
                </a:lnTo>
                <a:lnTo>
                  <a:pt x="829" y="799"/>
                </a:lnTo>
                <a:lnTo>
                  <a:pt x="832" y="793"/>
                </a:lnTo>
                <a:lnTo>
                  <a:pt x="836" y="788"/>
                </a:lnTo>
                <a:close/>
                <a:moveTo>
                  <a:pt x="845" y="729"/>
                </a:moveTo>
                <a:lnTo>
                  <a:pt x="849" y="726"/>
                </a:lnTo>
                <a:lnTo>
                  <a:pt x="852" y="725"/>
                </a:lnTo>
                <a:lnTo>
                  <a:pt x="852" y="722"/>
                </a:lnTo>
                <a:lnTo>
                  <a:pt x="852" y="719"/>
                </a:lnTo>
                <a:lnTo>
                  <a:pt x="854" y="717"/>
                </a:lnTo>
                <a:lnTo>
                  <a:pt x="855" y="715"/>
                </a:lnTo>
                <a:lnTo>
                  <a:pt x="859" y="711"/>
                </a:lnTo>
                <a:lnTo>
                  <a:pt x="863" y="706"/>
                </a:lnTo>
                <a:lnTo>
                  <a:pt x="864" y="705"/>
                </a:lnTo>
                <a:lnTo>
                  <a:pt x="865" y="704"/>
                </a:lnTo>
                <a:lnTo>
                  <a:pt x="868" y="701"/>
                </a:lnTo>
                <a:lnTo>
                  <a:pt x="870" y="699"/>
                </a:lnTo>
                <a:lnTo>
                  <a:pt x="872" y="698"/>
                </a:lnTo>
                <a:lnTo>
                  <a:pt x="876" y="698"/>
                </a:lnTo>
                <a:lnTo>
                  <a:pt x="875" y="701"/>
                </a:lnTo>
                <a:lnTo>
                  <a:pt x="872" y="702"/>
                </a:lnTo>
                <a:lnTo>
                  <a:pt x="875" y="704"/>
                </a:lnTo>
                <a:lnTo>
                  <a:pt x="877" y="706"/>
                </a:lnTo>
                <a:lnTo>
                  <a:pt x="877" y="709"/>
                </a:lnTo>
                <a:lnTo>
                  <a:pt x="876" y="711"/>
                </a:lnTo>
                <a:lnTo>
                  <a:pt x="872" y="711"/>
                </a:lnTo>
                <a:lnTo>
                  <a:pt x="869" y="710"/>
                </a:lnTo>
                <a:lnTo>
                  <a:pt x="869" y="711"/>
                </a:lnTo>
                <a:lnTo>
                  <a:pt x="868" y="712"/>
                </a:lnTo>
                <a:lnTo>
                  <a:pt x="869" y="715"/>
                </a:lnTo>
                <a:lnTo>
                  <a:pt x="869" y="717"/>
                </a:lnTo>
                <a:lnTo>
                  <a:pt x="869" y="719"/>
                </a:lnTo>
                <a:lnTo>
                  <a:pt x="868" y="720"/>
                </a:lnTo>
                <a:lnTo>
                  <a:pt x="864" y="724"/>
                </a:lnTo>
                <a:lnTo>
                  <a:pt x="861" y="726"/>
                </a:lnTo>
                <a:lnTo>
                  <a:pt x="858" y="727"/>
                </a:lnTo>
                <a:lnTo>
                  <a:pt x="856" y="729"/>
                </a:lnTo>
                <a:lnTo>
                  <a:pt x="852" y="731"/>
                </a:lnTo>
                <a:lnTo>
                  <a:pt x="848" y="733"/>
                </a:lnTo>
                <a:lnTo>
                  <a:pt x="847" y="731"/>
                </a:lnTo>
                <a:lnTo>
                  <a:pt x="845" y="729"/>
                </a:lnTo>
                <a:close/>
                <a:moveTo>
                  <a:pt x="856" y="369"/>
                </a:moveTo>
                <a:lnTo>
                  <a:pt x="856" y="364"/>
                </a:lnTo>
                <a:lnTo>
                  <a:pt x="857" y="360"/>
                </a:lnTo>
                <a:lnTo>
                  <a:pt x="859" y="355"/>
                </a:lnTo>
                <a:lnTo>
                  <a:pt x="862" y="352"/>
                </a:lnTo>
                <a:lnTo>
                  <a:pt x="868" y="345"/>
                </a:lnTo>
                <a:lnTo>
                  <a:pt x="875" y="339"/>
                </a:lnTo>
                <a:lnTo>
                  <a:pt x="879" y="335"/>
                </a:lnTo>
                <a:lnTo>
                  <a:pt x="885" y="334"/>
                </a:lnTo>
                <a:lnTo>
                  <a:pt x="891" y="334"/>
                </a:lnTo>
                <a:lnTo>
                  <a:pt x="896" y="333"/>
                </a:lnTo>
                <a:lnTo>
                  <a:pt x="900" y="338"/>
                </a:lnTo>
                <a:lnTo>
                  <a:pt x="904" y="345"/>
                </a:lnTo>
                <a:lnTo>
                  <a:pt x="905" y="348"/>
                </a:lnTo>
                <a:lnTo>
                  <a:pt x="904" y="352"/>
                </a:lnTo>
                <a:lnTo>
                  <a:pt x="904" y="352"/>
                </a:lnTo>
                <a:lnTo>
                  <a:pt x="904" y="352"/>
                </a:lnTo>
                <a:lnTo>
                  <a:pt x="905" y="359"/>
                </a:lnTo>
                <a:lnTo>
                  <a:pt x="906" y="364"/>
                </a:lnTo>
                <a:lnTo>
                  <a:pt x="906" y="370"/>
                </a:lnTo>
                <a:lnTo>
                  <a:pt x="905" y="376"/>
                </a:lnTo>
                <a:lnTo>
                  <a:pt x="901" y="381"/>
                </a:lnTo>
                <a:lnTo>
                  <a:pt x="897" y="383"/>
                </a:lnTo>
                <a:lnTo>
                  <a:pt x="893" y="385"/>
                </a:lnTo>
                <a:lnTo>
                  <a:pt x="890" y="388"/>
                </a:lnTo>
                <a:lnTo>
                  <a:pt x="886" y="390"/>
                </a:lnTo>
                <a:lnTo>
                  <a:pt x="883" y="391"/>
                </a:lnTo>
                <a:lnTo>
                  <a:pt x="879" y="391"/>
                </a:lnTo>
                <a:lnTo>
                  <a:pt x="876" y="390"/>
                </a:lnTo>
                <a:lnTo>
                  <a:pt x="873" y="390"/>
                </a:lnTo>
                <a:lnTo>
                  <a:pt x="871" y="389"/>
                </a:lnTo>
                <a:lnTo>
                  <a:pt x="865" y="389"/>
                </a:lnTo>
                <a:lnTo>
                  <a:pt x="862" y="388"/>
                </a:lnTo>
                <a:lnTo>
                  <a:pt x="859" y="387"/>
                </a:lnTo>
                <a:lnTo>
                  <a:pt x="857" y="384"/>
                </a:lnTo>
                <a:lnTo>
                  <a:pt x="856" y="377"/>
                </a:lnTo>
                <a:lnTo>
                  <a:pt x="856" y="369"/>
                </a:lnTo>
                <a:close/>
                <a:moveTo>
                  <a:pt x="914" y="420"/>
                </a:moveTo>
                <a:lnTo>
                  <a:pt x="913" y="420"/>
                </a:lnTo>
                <a:lnTo>
                  <a:pt x="913" y="420"/>
                </a:lnTo>
                <a:lnTo>
                  <a:pt x="912" y="427"/>
                </a:lnTo>
                <a:lnTo>
                  <a:pt x="911" y="432"/>
                </a:lnTo>
                <a:lnTo>
                  <a:pt x="907" y="438"/>
                </a:lnTo>
                <a:lnTo>
                  <a:pt x="903" y="441"/>
                </a:lnTo>
                <a:lnTo>
                  <a:pt x="899" y="444"/>
                </a:lnTo>
                <a:lnTo>
                  <a:pt x="897" y="444"/>
                </a:lnTo>
                <a:lnTo>
                  <a:pt x="894" y="441"/>
                </a:lnTo>
                <a:lnTo>
                  <a:pt x="893" y="439"/>
                </a:lnTo>
                <a:lnTo>
                  <a:pt x="892" y="436"/>
                </a:lnTo>
                <a:lnTo>
                  <a:pt x="891" y="433"/>
                </a:lnTo>
                <a:lnTo>
                  <a:pt x="887" y="429"/>
                </a:lnTo>
                <a:lnTo>
                  <a:pt x="886" y="425"/>
                </a:lnTo>
                <a:lnTo>
                  <a:pt x="886" y="420"/>
                </a:lnTo>
                <a:lnTo>
                  <a:pt x="890" y="415"/>
                </a:lnTo>
                <a:lnTo>
                  <a:pt x="893" y="410"/>
                </a:lnTo>
                <a:lnTo>
                  <a:pt x="897" y="404"/>
                </a:lnTo>
                <a:lnTo>
                  <a:pt x="900" y="403"/>
                </a:lnTo>
                <a:lnTo>
                  <a:pt x="904" y="403"/>
                </a:lnTo>
                <a:lnTo>
                  <a:pt x="910" y="411"/>
                </a:lnTo>
                <a:lnTo>
                  <a:pt x="914" y="420"/>
                </a:lnTo>
                <a:close/>
                <a:moveTo>
                  <a:pt x="891" y="685"/>
                </a:moveTo>
                <a:lnTo>
                  <a:pt x="887" y="687"/>
                </a:lnTo>
                <a:lnTo>
                  <a:pt x="885" y="689"/>
                </a:lnTo>
                <a:lnTo>
                  <a:pt x="884" y="691"/>
                </a:lnTo>
                <a:lnTo>
                  <a:pt x="884" y="695"/>
                </a:lnTo>
                <a:lnTo>
                  <a:pt x="884" y="697"/>
                </a:lnTo>
                <a:lnTo>
                  <a:pt x="883" y="701"/>
                </a:lnTo>
                <a:lnTo>
                  <a:pt x="883" y="703"/>
                </a:lnTo>
                <a:lnTo>
                  <a:pt x="880" y="705"/>
                </a:lnTo>
                <a:lnTo>
                  <a:pt x="878" y="702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7" y="698"/>
                </a:lnTo>
                <a:lnTo>
                  <a:pt x="873" y="696"/>
                </a:lnTo>
                <a:lnTo>
                  <a:pt x="871" y="694"/>
                </a:lnTo>
                <a:lnTo>
                  <a:pt x="872" y="691"/>
                </a:lnTo>
                <a:lnTo>
                  <a:pt x="875" y="689"/>
                </a:lnTo>
                <a:lnTo>
                  <a:pt x="876" y="687"/>
                </a:lnTo>
                <a:lnTo>
                  <a:pt x="878" y="684"/>
                </a:lnTo>
                <a:lnTo>
                  <a:pt x="884" y="682"/>
                </a:lnTo>
                <a:lnTo>
                  <a:pt x="890" y="680"/>
                </a:lnTo>
                <a:lnTo>
                  <a:pt x="891" y="681"/>
                </a:lnTo>
                <a:lnTo>
                  <a:pt x="892" y="681"/>
                </a:lnTo>
                <a:lnTo>
                  <a:pt x="894" y="684"/>
                </a:lnTo>
                <a:lnTo>
                  <a:pt x="898" y="687"/>
                </a:lnTo>
                <a:lnTo>
                  <a:pt x="901" y="685"/>
                </a:lnTo>
                <a:lnTo>
                  <a:pt x="906" y="684"/>
                </a:lnTo>
                <a:lnTo>
                  <a:pt x="906" y="684"/>
                </a:lnTo>
                <a:lnTo>
                  <a:pt x="907" y="685"/>
                </a:lnTo>
                <a:lnTo>
                  <a:pt x="903" y="692"/>
                </a:lnTo>
                <a:lnTo>
                  <a:pt x="898" y="699"/>
                </a:lnTo>
                <a:lnTo>
                  <a:pt x="897" y="699"/>
                </a:lnTo>
                <a:lnTo>
                  <a:pt x="897" y="699"/>
                </a:lnTo>
                <a:lnTo>
                  <a:pt x="897" y="697"/>
                </a:lnTo>
                <a:lnTo>
                  <a:pt x="897" y="695"/>
                </a:lnTo>
                <a:lnTo>
                  <a:pt x="892" y="694"/>
                </a:lnTo>
                <a:lnTo>
                  <a:pt x="890" y="692"/>
                </a:lnTo>
                <a:lnTo>
                  <a:pt x="890" y="690"/>
                </a:lnTo>
                <a:lnTo>
                  <a:pt x="891" y="685"/>
                </a:lnTo>
                <a:close/>
                <a:moveTo>
                  <a:pt x="917" y="643"/>
                </a:moveTo>
                <a:lnTo>
                  <a:pt x="918" y="643"/>
                </a:lnTo>
                <a:lnTo>
                  <a:pt x="918" y="643"/>
                </a:lnTo>
                <a:lnTo>
                  <a:pt x="924" y="638"/>
                </a:lnTo>
                <a:lnTo>
                  <a:pt x="931" y="632"/>
                </a:lnTo>
                <a:lnTo>
                  <a:pt x="935" y="626"/>
                </a:lnTo>
                <a:lnTo>
                  <a:pt x="940" y="618"/>
                </a:lnTo>
                <a:lnTo>
                  <a:pt x="946" y="611"/>
                </a:lnTo>
                <a:lnTo>
                  <a:pt x="953" y="606"/>
                </a:lnTo>
                <a:lnTo>
                  <a:pt x="956" y="605"/>
                </a:lnTo>
                <a:lnTo>
                  <a:pt x="960" y="605"/>
                </a:lnTo>
                <a:lnTo>
                  <a:pt x="963" y="606"/>
                </a:lnTo>
                <a:lnTo>
                  <a:pt x="967" y="606"/>
                </a:lnTo>
                <a:lnTo>
                  <a:pt x="968" y="612"/>
                </a:lnTo>
                <a:lnTo>
                  <a:pt x="967" y="615"/>
                </a:lnTo>
                <a:lnTo>
                  <a:pt x="963" y="619"/>
                </a:lnTo>
                <a:lnTo>
                  <a:pt x="956" y="625"/>
                </a:lnTo>
                <a:lnTo>
                  <a:pt x="953" y="628"/>
                </a:lnTo>
                <a:lnTo>
                  <a:pt x="949" y="633"/>
                </a:lnTo>
                <a:lnTo>
                  <a:pt x="947" y="635"/>
                </a:lnTo>
                <a:lnTo>
                  <a:pt x="946" y="638"/>
                </a:lnTo>
                <a:lnTo>
                  <a:pt x="945" y="639"/>
                </a:lnTo>
                <a:lnTo>
                  <a:pt x="944" y="639"/>
                </a:lnTo>
                <a:lnTo>
                  <a:pt x="942" y="639"/>
                </a:lnTo>
                <a:lnTo>
                  <a:pt x="940" y="639"/>
                </a:lnTo>
                <a:lnTo>
                  <a:pt x="939" y="640"/>
                </a:lnTo>
                <a:lnTo>
                  <a:pt x="938" y="641"/>
                </a:lnTo>
                <a:lnTo>
                  <a:pt x="934" y="649"/>
                </a:lnTo>
                <a:lnTo>
                  <a:pt x="930" y="657"/>
                </a:lnTo>
                <a:lnTo>
                  <a:pt x="924" y="662"/>
                </a:lnTo>
                <a:lnTo>
                  <a:pt x="918" y="667"/>
                </a:lnTo>
                <a:lnTo>
                  <a:pt x="920" y="669"/>
                </a:lnTo>
                <a:lnTo>
                  <a:pt x="923" y="671"/>
                </a:lnTo>
                <a:lnTo>
                  <a:pt x="923" y="673"/>
                </a:lnTo>
                <a:lnTo>
                  <a:pt x="923" y="673"/>
                </a:lnTo>
                <a:lnTo>
                  <a:pt x="919" y="674"/>
                </a:lnTo>
                <a:lnTo>
                  <a:pt x="914" y="676"/>
                </a:lnTo>
                <a:lnTo>
                  <a:pt x="913" y="677"/>
                </a:lnTo>
                <a:lnTo>
                  <a:pt x="911" y="677"/>
                </a:lnTo>
                <a:lnTo>
                  <a:pt x="908" y="677"/>
                </a:lnTo>
                <a:lnTo>
                  <a:pt x="906" y="676"/>
                </a:lnTo>
                <a:lnTo>
                  <a:pt x="910" y="674"/>
                </a:lnTo>
                <a:lnTo>
                  <a:pt x="911" y="671"/>
                </a:lnTo>
                <a:lnTo>
                  <a:pt x="910" y="668"/>
                </a:lnTo>
                <a:lnTo>
                  <a:pt x="907" y="664"/>
                </a:lnTo>
                <a:lnTo>
                  <a:pt x="904" y="669"/>
                </a:lnTo>
                <a:lnTo>
                  <a:pt x="900" y="674"/>
                </a:lnTo>
                <a:lnTo>
                  <a:pt x="899" y="671"/>
                </a:lnTo>
                <a:lnTo>
                  <a:pt x="898" y="669"/>
                </a:lnTo>
                <a:lnTo>
                  <a:pt x="899" y="666"/>
                </a:lnTo>
                <a:lnTo>
                  <a:pt x="900" y="663"/>
                </a:lnTo>
                <a:lnTo>
                  <a:pt x="905" y="662"/>
                </a:lnTo>
                <a:lnTo>
                  <a:pt x="907" y="660"/>
                </a:lnTo>
                <a:lnTo>
                  <a:pt x="906" y="657"/>
                </a:lnTo>
                <a:lnTo>
                  <a:pt x="904" y="655"/>
                </a:lnTo>
                <a:lnTo>
                  <a:pt x="911" y="649"/>
                </a:lnTo>
                <a:lnTo>
                  <a:pt x="917" y="643"/>
                </a:lnTo>
                <a:close/>
                <a:moveTo>
                  <a:pt x="923" y="325"/>
                </a:moveTo>
                <a:lnTo>
                  <a:pt x="924" y="321"/>
                </a:lnTo>
                <a:lnTo>
                  <a:pt x="924" y="317"/>
                </a:lnTo>
                <a:lnTo>
                  <a:pt x="925" y="315"/>
                </a:lnTo>
                <a:lnTo>
                  <a:pt x="926" y="315"/>
                </a:lnTo>
                <a:lnTo>
                  <a:pt x="928" y="322"/>
                </a:lnTo>
                <a:lnTo>
                  <a:pt x="931" y="328"/>
                </a:lnTo>
                <a:lnTo>
                  <a:pt x="933" y="334"/>
                </a:lnTo>
                <a:lnTo>
                  <a:pt x="934" y="341"/>
                </a:lnTo>
                <a:lnTo>
                  <a:pt x="935" y="347"/>
                </a:lnTo>
                <a:lnTo>
                  <a:pt x="933" y="353"/>
                </a:lnTo>
                <a:lnTo>
                  <a:pt x="930" y="357"/>
                </a:lnTo>
                <a:lnTo>
                  <a:pt x="925" y="360"/>
                </a:lnTo>
                <a:lnTo>
                  <a:pt x="921" y="355"/>
                </a:lnTo>
                <a:lnTo>
                  <a:pt x="920" y="352"/>
                </a:lnTo>
                <a:lnTo>
                  <a:pt x="920" y="345"/>
                </a:lnTo>
                <a:lnTo>
                  <a:pt x="920" y="338"/>
                </a:lnTo>
                <a:lnTo>
                  <a:pt x="920" y="332"/>
                </a:lnTo>
                <a:lnTo>
                  <a:pt x="923" y="325"/>
                </a:lnTo>
                <a:close/>
                <a:moveTo>
                  <a:pt x="941" y="385"/>
                </a:moveTo>
                <a:lnTo>
                  <a:pt x="945" y="391"/>
                </a:lnTo>
                <a:lnTo>
                  <a:pt x="947" y="397"/>
                </a:lnTo>
                <a:lnTo>
                  <a:pt x="949" y="399"/>
                </a:lnTo>
                <a:lnTo>
                  <a:pt x="949" y="402"/>
                </a:lnTo>
                <a:lnTo>
                  <a:pt x="948" y="404"/>
                </a:lnTo>
                <a:lnTo>
                  <a:pt x="946" y="406"/>
                </a:lnTo>
                <a:lnTo>
                  <a:pt x="942" y="409"/>
                </a:lnTo>
                <a:lnTo>
                  <a:pt x="940" y="411"/>
                </a:lnTo>
                <a:lnTo>
                  <a:pt x="939" y="411"/>
                </a:lnTo>
                <a:lnTo>
                  <a:pt x="937" y="410"/>
                </a:lnTo>
                <a:lnTo>
                  <a:pt x="935" y="409"/>
                </a:lnTo>
                <a:lnTo>
                  <a:pt x="933" y="408"/>
                </a:lnTo>
                <a:lnTo>
                  <a:pt x="930" y="403"/>
                </a:lnTo>
                <a:lnTo>
                  <a:pt x="925" y="399"/>
                </a:lnTo>
                <a:lnTo>
                  <a:pt x="923" y="395"/>
                </a:lnTo>
                <a:lnTo>
                  <a:pt x="921" y="390"/>
                </a:lnTo>
                <a:lnTo>
                  <a:pt x="923" y="387"/>
                </a:lnTo>
                <a:lnTo>
                  <a:pt x="925" y="382"/>
                </a:lnTo>
                <a:lnTo>
                  <a:pt x="927" y="380"/>
                </a:lnTo>
                <a:lnTo>
                  <a:pt x="931" y="378"/>
                </a:lnTo>
                <a:lnTo>
                  <a:pt x="935" y="378"/>
                </a:lnTo>
                <a:lnTo>
                  <a:pt x="938" y="380"/>
                </a:lnTo>
                <a:lnTo>
                  <a:pt x="940" y="382"/>
                </a:lnTo>
                <a:lnTo>
                  <a:pt x="941" y="385"/>
                </a:lnTo>
                <a:close/>
                <a:moveTo>
                  <a:pt x="959" y="510"/>
                </a:moveTo>
                <a:lnTo>
                  <a:pt x="960" y="510"/>
                </a:lnTo>
                <a:lnTo>
                  <a:pt x="961" y="510"/>
                </a:lnTo>
                <a:lnTo>
                  <a:pt x="960" y="511"/>
                </a:lnTo>
                <a:lnTo>
                  <a:pt x="959" y="511"/>
                </a:lnTo>
                <a:lnTo>
                  <a:pt x="959" y="511"/>
                </a:lnTo>
                <a:lnTo>
                  <a:pt x="959" y="510"/>
                </a:lnTo>
                <a:lnTo>
                  <a:pt x="959" y="510"/>
                </a:lnTo>
                <a:lnTo>
                  <a:pt x="959" y="510"/>
                </a:lnTo>
                <a:close/>
                <a:moveTo>
                  <a:pt x="1022" y="597"/>
                </a:moveTo>
                <a:lnTo>
                  <a:pt x="1024" y="598"/>
                </a:lnTo>
                <a:lnTo>
                  <a:pt x="1025" y="600"/>
                </a:lnTo>
                <a:lnTo>
                  <a:pt x="1016" y="611"/>
                </a:lnTo>
                <a:lnTo>
                  <a:pt x="1007" y="621"/>
                </a:lnTo>
                <a:lnTo>
                  <a:pt x="996" y="627"/>
                </a:lnTo>
                <a:lnTo>
                  <a:pt x="986" y="634"/>
                </a:lnTo>
                <a:lnTo>
                  <a:pt x="986" y="633"/>
                </a:lnTo>
                <a:lnTo>
                  <a:pt x="984" y="632"/>
                </a:lnTo>
                <a:lnTo>
                  <a:pt x="994" y="624"/>
                </a:lnTo>
                <a:lnTo>
                  <a:pt x="1003" y="614"/>
                </a:lnTo>
                <a:lnTo>
                  <a:pt x="1013" y="605"/>
                </a:lnTo>
                <a:lnTo>
                  <a:pt x="1022" y="597"/>
                </a:lnTo>
                <a:close/>
                <a:moveTo>
                  <a:pt x="1046" y="704"/>
                </a:moveTo>
                <a:lnTo>
                  <a:pt x="1049" y="702"/>
                </a:lnTo>
                <a:lnTo>
                  <a:pt x="1050" y="699"/>
                </a:lnTo>
                <a:lnTo>
                  <a:pt x="1049" y="697"/>
                </a:lnTo>
                <a:lnTo>
                  <a:pt x="1046" y="695"/>
                </a:lnTo>
                <a:lnTo>
                  <a:pt x="1051" y="696"/>
                </a:lnTo>
                <a:lnTo>
                  <a:pt x="1055" y="697"/>
                </a:lnTo>
                <a:lnTo>
                  <a:pt x="1055" y="701"/>
                </a:lnTo>
                <a:lnTo>
                  <a:pt x="1053" y="704"/>
                </a:lnTo>
                <a:lnTo>
                  <a:pt x="1048" y="713"/>
                </a:lnTo>
                <a:lnTo>
                  <a:pt x="1043" y="722"/>
                </a:lnTo>
                <a:lnTo>
                  <a:pt x="1041" y="726"/>
                </a:lnTo>
                <a:lnTo>
                  <a:pt x="1038" y="731"/>
                </a:lnTo>
                <a:lnTo>
                  <a:pt x="1034" y="733"/>
                </a:lnTo>
                <a:lnTo>
                  <a:pt x="1030" y="737"/>
                </a:lnTo>
                <a:lnTo>
                  <a:pt x="1027" y="741"/>
                </a:lnTo>
                <a:lnTo>
                  <a:pt x="1023" y="750"/>
                </a:lnTo>
                <a:lnTo>
                  <a:pt x="1021" y="753"/>
                </a:lnTo>
                <a:lnTo>
                  <a:pt x="1018" y="755"/>
                </a:lnTo>
                <a:lnTo>
                  <a:pt x="1015" y="759"/>
                </a:lnTo>
                <a:lnTo>
                  <a:pt x="1011" y="762"/>
                </a:lnTo>
                <a:lnTo>
                  <a:pt x="1006" y="767"/>
                </a:lnTo>
                <a:lnTo>
                  <a:pt x="1001" y="772"/>
                </a:lnTo>
                <a:lnTo>
                  <a:pt x="997" y="778"/>
                </a:lnTo>
                <a:lnTo>
                  <a:pt x="993" y="782"/>
                </a:lnTo>
                <a:lnTo>
                  <a:pt x="989" y="785"/>
                </a:lnTo>
                <a:lnTo>
                  <a:pt x="986" y="788"/>
                </a:lnTo>
                <a:lnTo>
                  <a:pt x="984" y="789"/>
                </a:lnTo>
                <a:lnTo>
                  <a:pt x="983" y="790"/>
                </a:lnTo>
                <a:lnTo>
                  <a:pt x="980" y="793"/>
                </a:lnTo>
                <a:lnTo>
                  <a:pt x="976" y="795"/>
                </a:lnTo>
                <a:lnTo>
                  <a:pt x="974" y="797"/>
                </a:lnTo>
                <a:lnTo>
                  <a:pt x="972" y="799"/>
                </a:lnTo>
                <a:lnTo>
                  <a:pt x="968" y="804"/>
                </a:lnTo>
                <a:lnTo>
                  <a:pt x="963" y="811"/>
                </a:lnTo>
                <a:lnTo>
                  <a:pt x="960" y="807"/>
                </a:lnTo>
                <a:lnTo>
                  <a:pt x="956" y="803"/>
                </a:lnTo>
                <a:lnTo>
                  <a:pt x="960" y="801"/>
                </a:lnTo>
                <a:lnTo>
                  <a:pt x="963" y="800"/>
                </a:lnTo>
                <a:lnTo>
                  <a:pt x="962" y="797"/>
                </a:lnTo>
                <a:lnTo>
                  <a:pt x="963" y="794"/>
                </a:lnTo>
                <a:lnTo>
                  <a:pt x="965" y="793"/>
                </a:lnTo>
                <a:lnTo>
                  <a:pt x="969" y="790"/>
                </a:lnTo>
                <a:lnTo>
                  <a:pt x="968" y="789"/>
                </a:lnTo>
                <a:lnTo>
                  <a:pt x="967" y="788"/>
                </a:lnTo>
                <a:lnTo>
                  <a:pt x="962" y="789"/>
                </a:lnTo>
                <a:lnTo>
                  <a:pt x="960" y="790"/>
                </a:lnTo>
                <a:lnTo>
                  <a:pt x="955" y="796"/>
                </a:lnTo>
                <a:lnTo>
                  <a:pt x="952" y="802"/>
                </a:lnTo>
                <a:lnTo>
                  <a:pt x="952" y="802"/>
                </a:lnTo>
                <a:lnTo>
                  <a:pt x="953" y="802"/>
                </a:lnTo>
                <a:lnTo>
                  <a:pt x="945" y="808"/>
                </a:lnTo>
                <a:lnTo>
                  <a:pt x="937" y="814"/>
                </a:lnTo>
                <a:lnTo>
                  <a:pt x="938" y="816"/>
                </a:lnTo>
                <a:lnTo>
                  <a:pt x="938" y="817"/>
                </a:lnTo>
                <a:lnTo>
                  <a:pt x="948" y="814"/>
                </a:lnTo>
                <a:lnTo>
                  <a:pt x="959" y="810"/>
                </a:lnTo>
                <a:lnTo>
                  <a:pt x="954" y="815"/>
                </a:lnTo>
                <a:lnTo>
                  <a:pt x="948" y="820"/>
                </a:lnTo>
                <a:lnTo>
                  <a:pt x="941" y="821"/>
                </a:lnTo>
                <a:lnTo>
                  <a:pt x="935" y="821"/>
                </a:lnTo>
                <a:lnTo>
                  <a:pt x="932" y="818"/>
                </a:lnTo>
                <a:lnTo>
                  <a:pt x="930" y="815"/>
                </a:lnTo>
                <a:lnTo>
                  <a:pt x="931" y="811"/>
                </a:lnTo>
                <a:lnTo>
                  <a:pt x="934" y="808"/>
                </a:lnTo>
                <a:lnTo>
                  <a:pt x="937" y="806"/>
                </a:lnTo>
                <a:lnTo>
                  <a:pt x="940" y="803"/>
                </a:lnTo>
                <a:lnTo>
                  <a:pt x="944" y="799"/>
                </a:lnTo>
                <a:lnTo>
                  <a:pt x="947" y="795"/>
                </a:lnTo>
                <a:lnTo>
                  <a:pt x="952" y="792"/>
                </a:lnTo>
                <a:lnTo>
                  <a:pt x="955" y="787"/>
                </a:lnTo>
                <a:lnTo>
                  <a:pt x="961" y="775"/>
                </a:lnTo>
                <a:lnTo>
                  <a:pt x="968" y="766"/>
                </a:lnTo>
                <a:lnTo>
                  <a:pt x="976" y="755"/>
                </a:lnTo>
                <a:lnTo>
                  <a:pt x="986" y="747"/>
                </a:lnTo>
                <a:lnTo>
                  <a:pt x="995" y="737"/>
                </a:lnTo>
                <a:lnTo>
                  <a:pt x="1003" y="725"/>
                </a:lnTo>
                <a:lnTo>
                  <a:pt x="1013" y="717"/>
                </a:lnTo>
                <a:lnTo>
                  <a:pt x="1023" y="709"/>
                </a:lnTo>
                <a:lnTo>
                  <a:pt x="1024" y="713"/>
                </a:lnTo>
                <a:lnTo>
                  <a:pt x="1025" y="716"/>
                </a:lnTo>
                <a:lnTo>
                  <a:pt x="1029" y="713"/>
                </a:lnTo>
                <a:lnTo>
                  <a:pt x="1032" y="712"/>
                </a:lnTo>
                <a:lnTo>
                  <a:pt x="1032" y="715"/>
                </a:lnTo>
                <a:lnTo>
                  <a:pt x="1032" y="717"/>
                </a:lnTo>
                <a:lnTo>
                  <a:pt x="1034" y="717"/>
                </a:lnTo>
                <a:lnTo>
                  <a:pt x="1034" y="717"/>
                </a:lnTo>
                <a:lnTo>
                  <a:pt x="1036" y="713"/>
                </a:lnTo>
                <a:lnTo>
                  <a:pt x="1036" y="711"/>
                </a:lnTo>
                <a:lnTo>
                  <a:pt x="1032" y="708"/>
                </a:lnTo>
                <a:lnTo>
                  <a:pt x="1028" y="705"/>
                </a:lnTo>
                <a:lnTo>
                  <a:pt x="1030" y="705"/>
                </a:lnTo>
                <a:lnTo>
                  <a:pt x="1034" y="705"/>
                </a:lnTo>
                <a:lnTo>
                  <a:pt x="1039" y="705"/>
                </a:lnTo>
                <a:lnTo>
                  <a:pt x="1046" y="704"/>
                </a:lnTo>
                <a:close/>
                <a:moveTo>
                  <a:pt x="1062" y="605"/>
                </a:moveTo>
                <a:lnTo>
                  <a:pt x="1062" y="612"/>
                </a:lnTo>
                <a:lnTo>
                  <a:pt x="1063" y="619"/>
                </a:lnTo>
                <a:lnTo>
                  <a:pt x="1062" y="621"/>
                </a:lnTo>
                <a:lnTo>
                  <a:pt x="1059" y="622"/>
                </a:lnTo>
                <a:lnTo>
                  <a:pt x="1057" y="621"/>
                </a:lnTo>
                <a:lnTo>
                  <a:pt x="1056" y="620"/>
                </a:lnTo>
                <a:lnTo>
                  <a:pt x="1053" y="615"/>
                </a:lnTo>
                <a:lnTo>
                  <a:pt x="1053" y="612"/>
                </a:lnTo>
                <a:lnTo>
                  <a:pt x="1056" y="608"/>
                </a:lnTo>
                <a:lnTo>
                  <a:pt x="1062" y="605"/>
                </a:lnTo>
                <a:close/>
                <a:moveTo>
                  <a:pt x="921" y="837"/>
                </a:moveTo>
                <a:lnTo>
                  <a:pt x="920" y="836"/>
                </a:lnTo>
                <a:lnTo>
                  <a:pt x="920" y="835"/>
                </a:lnTo>
                <a:lnTo>
                  <a:pt x="933" y="830"/>
                </a:lnTo>
                <a:lnTo>
                  <a:pt x="946" y="824"/>
                </a:lnTo>
                <a:lnTo>
                  <a:pt x="944" y="829"/>
                </a:lnTo>
                <a:lnTo>
                  <a:pt x="940" y="831"/>
                </a:lnTo>
                <a:lnTo>
                  <a:pt x="933" y="834"/>
                </a:lnTo>
                <a:lnTo>
                  <a:pt x="921" y="837"/>
                </a:lnTo>
                <a:close/>
                <a:moveTo>
                  <a:pt x="970" y="831"/>
                </a:moveTo>
                <a:lnTo>
                  <a:pt x="972" y="832"/>
                </a:lnTo>
                <a:lnTo>
                  <a:pt x="972" y="832"/>
                </a:lnTo>
                <a:lnTo>
                  <a:pt x="962" y="841"/>
                </a:lnTo>
                <a:lnTo>
                  <a:pt x="953" y="849"/>
                </a:lnTo>
                <a:lnTo>
                  <a:pt x="953" y="850"/>
                </a:lnTo>
                <a:lnTo>
                  <a:pt x="953" y="850"/>
                </a:lnTo>
                <a:lnTo>
                  <a:pt x="947" y="853"/>
                </a:lnTo>
                <a:lnTo>
                  <a:pt x="940" y="858"/>
                </a:lnTo>
                <a:lnTo>
                  <a:pt x="942" y="856"/>
                </a:lnTo>
                <a:lnTo>
                  <a:pt x="944" y="853"/>
                </a:lnTo>
                <a:lnTo>
                  <a:pt x="940" y="855"/>
                </a:lnTo>
                <a:lnTo>
                  <a:pt x="938" y="855"/>
                </a:lnTo>
                <a:lnTo>
                  <a:pt x="937" y="852"/>
                </a:lnTo>
                <a:lnTo>
                  <a:pt x="934" y="849"/>
                </a:lnTo>
                <a:lnTo>
                  <a:pt x="942" y="842"/>
                </a:lnTo>
                <a:lnTo>
                  <a:pt x="951" y="837"/>
                </a:lnTo>
                <a:lnTo>
                  <a:pt x="961" y="834"/>
                </a:lnTo>
                <a:lnTo>
                  <a:pt x="970" y="831"/>
                </a:lnTo>
                <a:close/>
                <a:moveTo>
                  <a:pt x="1051" y="823"/>
                </a:moveTo>
                <a:lnTo>
                  <a:pt x="1055" y="827"/>
                </a:lnTo>
                <a:lnTo>
                  <a:pt x="1058" y="831"/>
                </a:lnTo>
                <a:lnTo>
                  <a:pt x="1056" y="832"/>
                </a:lnTo>
                <a:lnTo>
                  <a:pt x="1052" y="835"/>
                </a:lnTo>
                <a:lnTo>
                  <a:pt x="1050" y="829"/>
                </a:lnTo>
                <a:lnTo>
                  <a:pt x="1049" y="824"/>
                </a:lnTo>
                <a:lnTo>
                  <a:pt x="1050" y="824"/>
                </a:lnTo>
                <a:lnTo>
                  <a:pt x="1051" y="823"/>
                </a:lnTo>
                <a:close/>
                <a:moveTo>
                  <a:pt x="1100" y="797"/>
                </a:moveTo>
                <a:lnTo>
                  <a:pt x="1101" y="799"/>
                </a:lnTo>
                <a:lnTo>
                  <a:pt x="1101" y="799"/>
                </a:lnTo>
                <a:lnTo>
                  <a:pt x="1099" y="802"/>
                </a:lnTo>
                <a:lnTo>
                  <a:pt x="1097" y="804"/>
                </a:lnTo>
                <a:lnTo>
                  <a:pt x="1093" y="806"/>
                </a:lnTo>
                <a:lnTo>
                  <a:pt x="1090" y="806"/>
                </a:lnTo>
                <a:lnTo>
                  <a:pt x="1089" y="804"/>
                </a:lnTo>
                <a:lnTo>
                  <a:pt x="1089" y="803"/>
                </a:lnTo>
                <a:lnTo>
                  <a:pt x="1094" y="800"/>
                </a:lnTo>
                <a:lnTo>
                  <a:pt x="1100" y="797"/>
                </a:lnTo>
                <a:close/>
                <a:moveTo>
                  <a:pt x="1016" y="902"/>
                </a:moveTo>
                <a:lnTo>
                  <a:pt x="1023" y="899"/>
                </a:lnTo>
                <a:lnTo>
                  <a:pt x="1029" y="895"/>
                </a:lnTo>
                <a:lnTo>
                  <a:pt x="1032" y="895"/>
                </a:lnTo>
                <a:lnTo>
                  <a:pt x="1036" y="897"/>
                </a:lnTo>
                <a:lnTo>
                  <a:pt x="1036" y="901"/>
                </a:lnTo>
                <a:lnTo>
                  <a:pt x="1034" y="905"/>
                </a:lnTo>
                <a:lnTo>
                  <a:pt x="1028" y="908"/>
                </a:lnTo>
                <a:lnTo>
                  <a:pt x="1021" y="911"/>
                </a:lnTo>
                <a:lnTo>
                  <a:pt x="1007" y="916"/>
                </a:lnTo>
                <a:lnTo>
                  <a:pt x="993" y="925"/>
                </a:lnTo>
                <a:lnTo>
                  <a:pt x="992" y="923"/>
                </a:lnTo>
                <a:lnTo>
                  <a:pt x="990" y="921"/>
                </a:lnTo>
                <a:lnTo>
                  <a:pt x="990" y="916"/>
                </a:lnTo>
                <a:lnTo>
                  <a:pt x="993" y="914"/>
                </a:lnTo>
                <a:lnTo>
                  <a:pt x="995" y="912"/>
                </a:lnTo>
                <a:lnTo>
                  <a:pt x="999" y="911"/>
                </a:lnTo>
                <a:lnTo>
                  <a:pt x="999" y="911"/>
                </a:lnTo>
                <a:lnTo>
                  <a:pt x="999" y="911"/>
                </a:lnTo>
                <a:lnTo>
                  <a:pt x="1008" y="906"/>
                </a:lnTo>
                <a:lnTo>
                  <a:pt x="1016" y="902"/>
                </a:lnTo>
                <a:close/>
                <a:moveTo>
                  <a:pt x="962" y="1074"/>
                </a:moveTo>
                <a:lnTo>
                  <a:pt x="958" y="1074"/>
                </a:lnTo>
                <a:lnTo>
                  <a:pt x="954" y="1075"/>
                </a:lnTo>
                <a:lnTo>
                  <a:pt x="953" y="1074"/>
                </a:lnTo>
                <a:lnTo>
                  <a:pt x="953" y="1073"/>
                </a:lnTo>
                <a:lnTo>
                  <a:pt x="958" y="1072"/>
                </a:lnTo>
                <a:lnTo>
                  <a:pt x="961" y="1070"/>
                </a:lnTo>
                <a:lnTo>
                  <a:pt x="962" y="1072"/>
                </a:lnTo>
                <a:lnTo>
                  <a:pt x="962" y="1074"/>
                </a:lnTo>
                <a:close/>
                <a:moveTo>
                  <a:pt x="1118" y="864"/>
                </a:moveTo>
                <a:lnTo>
                  <a:pt x="1118" y="866"/>
                </a:lnTo>
                <a:lnTo>
                  <a:pt x="1119" y="869"/>
                </a:lnTo>
                <a:lnTo>
                  <a:pt x="1124" y="869"/>
                </a:lnTo>
                <a:lnTo>
                  <a:pt x="1130" y="867"/>
                </a:lnTo>
                <a:lnTo>
                  <a:pt x="1125" y="872"/>
                </a:lnTo>
                <a:lnTo>
                  <a:pt x="1122" y="876"/>
                </a:lnTo>
                <a:lnTo>
                  <a:pt x="1125" y="881"/>
                </a:lnTo>
                <a:lnTo>
                  <a:pt x="1127" y="887"/>
                </a:lnTo>
                <a:lnTo>
                  <a:pt x="1128" y="890"/>
                </a:lnTo>
                <a:lnTo>
                  <a:pt x="1132" y="891"/>
                </a:lnTo>
                <a:lnTo>
                  <a:pt x="1134" y="891"/>
                </a:lnTo>
                <a:lnTo>
                  <a:pt x="1137" y="890"/>
                </a:lnTo>
                <a:lnTo>
                  <a:pt x="1139" y="887"/>
                </a:lnTo>
                <a:lnTo>
                  <a:pt x="1140" y="886"/>
                </a:lnTo>
                <a:lnTo>
                  <a:pt x="1146" y="888"/>
                </a:lnTo>
                <a:lnTo>
                  <a:pt x="1152" y="891"/>
                </a:lnTo>
                <a:lnTo>
                  <a:pt x="1149" y="879"/>
                </a:lnTo>
                <a:lnTo>
                  <a:pt x="1148" y="869"/>
                </a:lnTo>
                <a:lnTo>
                  <a:pt x="1145" y="869"/>
                </a:lnTo>
                <a:lnTo>
                  <a:pt x="1144" y="869"/>
                </a:lnTo>
                <a:lnTo>
                  <a:pt x="1139" y="863"/>
                </a:lnTo>
                <a:lnTo>
                  <a:pt x="1134" y="858"/>
                </a:lnTo>
                <a:lnTo>
                  <a:pt x="1135" y="855"/>
                </a:lnTo>
                <a:lnTo>
                  <a:pt x="1137" y="851"/>
                </a:lnTo>
                <a:lnTo>
                  <a:pt x="1139" y="848"/>
                </a:lnTo>
                <a:lnTo>
                  <a:pt x="1144" y="846"/>
                </a:lnTo>
                <a:lnTo>
                  <a:pt x="1147" y="844"/>
                </a:lnTo>
                <a:lnTo>
                  <a:pt x="1149" y="841"/>
                </a:lnTo>
                <a:lnTo>
                  <a:pt x="1151" y="839"/>
                </a:lnTo>
                <a:lnTo>
                  <a:pt x="1154" y="837"/>
                </a:lnTo>
                <a:lnTo>
                  <a:pt x="1154" y="841"/>
                </a:lnTo>
                <a:lnTo>
                  <a:pt x="1154" y="842"/>
                </a:lnTo>
                <a:lnTo>
                  <a:pt x="1151" y="848"/>
                </a:lnTo>
                <a:lnTo>
                  <a:pt x="1149" y="852"/>
                </a:lnTo>
                <a:lnTo>
                  <a:pt x="1151" y="858"/>
                </a:lnTo>
                <a:lnTo>
                  <a:pt x="1153" y="864"/>
                </a:lnTo>
                <a:lnTo>
                  <a:pt x="1154" y="867"/>
                </a:lnTo>
                <a:lnTo>
                  <a:pt x="1154" y="871"/>
                </a:lnTo>
                <a:lnTo>
                  <a:pt x="1155" y="874"/>
                </a:lnTo>
                <a:lnTo>
                  <a:pt x="1159" y="878"/>
                </a:lnTo>
                <a:lnTo>
                  <a:pt x="1160" y="879"/>
                </a:lnTo>
                <a:lnTo>
                  <a:pt x="1163" y="880"/>
                </a:lnTo>
                <a:lnTo>
                  <a:pt x="1163" y="878"/>
                </a:lnTo>
                <a:lnTo>
                  <a:pt x="1165" y="874"/>
                </a:lnTo>
                <a:lnTo>
                  <a:pt x="1165" y="871"/>
                </a:lnTo>
                <a:lnTo>
                  <a:pt x="1165" y="866"/>
                </a:lnTo>
                <a:lnTo>
                  <a:pt x="1169" y="866"/>
                </a:lnTo>
                <a:lnTo>
                  <a:pt x="1174" y="866"/>
                </a:lnTo>
                <a:lnTo>
                  <a:pt x="1183" y="864"/>
                </a:lnTo>
                <a:lnTo>
                  <a:pt x="1193" y="862"/>
                </a:lnTo>
                <a:lnTo>
                  <a:pt x="1196" y="859"/>
                </a:lnTo>
                <a:lnTo>
                  <a:pt x="1200" y="857"/>
                </a:lnTo>
                <a:lnTo>
                  <a:pt x="1202" y="860"/>
                </a:lnTo>
                <a:lnTo>
                  <a:pt x="1206" y="864"/>
                </a:lnTo>
                <a:lnTo>
                  <a:pt x="1203" y="866"/>
                </a:lnTo>
                <a:lnTo>
                  <a:pt x="1200" y="869"/>
                </a:lnTo>
                <a:lnTo>
                  <a:pt x="1202" y="869"/>
                </a:lnTo>
                <a:lnTo>
                  <a:pt x="1206" y="870"/>
                </a:lnTo>
                <a:lnTo>
                  <a:pt x="1195" y="877"/>
                </a:lnTo>
                <a:lnTo>
                  <a:pt x="1184" y="883"/>
                </a:lnTo>
                <a:lnTo>
                  <a:pt x="1180" y="886"/>
                </a:lnTo>
                <a:lnTo>
                  <a:pt x="1175" y="890"/>
                </a:lnTo>
                <a:lnTo>
                  <a:pt x="1170" y="894"/>
                </a:lnTo>
                <a:lnTo>
                  <a:pt x="1168" y="900"/>
                </a:lnTo>
                <a:lnTo>
                  <a:pt x="1166" y="898"/>
                </a:lnTo>
                <a:lnTo>
                  <a:pt x="1165" y="897"/>
                </a:lnTo>
                <a:lnTo>
                  <a:pt x="1163" y="897"/>
                </a:lnTo>
                <a:lnTo>
                  <a:pt x="1161" y="898"/>
                </a:lnTo>
                <a:lnTo>
                  <a:pt x="1158" y="904"/>
                </a:lnTo>
                <a:lnTo>
                  <a:pt x="1151" y="913"/>
                </a:lnTo>
                <a:lnTo>
                  <a:pt x="1151" y="911"/>
                </a:lnTo>
                <a:lnTo>
                  <a:pt x="1149" y="908"/>
                </a:lnTo>
                <a:lnTo>
                  <a:pt x="1148" y="908"/>
                </a:lnTo>
                <a:lnTo>
                  <a:pt x="1147" y="909"/>
                </a:lnTo>
                <a:lnTo>
                  <a:pt x="1146" y="913"/>
                </a:lnTo>
                <a:lnTo>
                  <a:pt x="1142" y="916"/>
                </a:lnTo>
                <a:lnTo>
                  <a:pt x="1140" y="919"/>
                </a:lnTo>
                <a:lnTo>
                  <a:pt x="1137" y="920"/>
                </a:lnTo>
                <a:lnTo>
                  <a:pt x="1128" y="923"/>
                </a:lnTo>
                <a:lnTo>
                  <a:pt x="1121" y="928"/>
                </a:lnTo>
                <a:lnTo>
                  <a:pt x="1114" y="932"/>
                </a:lnTo>
                <a:lnTo>
                  <a:pt x="1107" y="936"/>
                </a:lnTo>
                <a:lnTo>
                  <a:pt x="1105" y="940"/>
                </a:lnTo>
                <a:lnTo>
                  <a:pt x="1103" y="943"/>
                </a:lnTo>
                <a:lnTo>
                  <a:pt x="1104" y="946"/>
                </a:lnTo>
                <a:lnTo>
                  <a:pt x="1105" y="947"/>
                </a:lnTo>
                <a:lnTo>
                  <a:pt x="1093" y="948"/>
                </a:lnTo>
                <a:lnTo>
                  <a:pt x="1083" y="949"/>
                </a:lnTo>
                <a:lnTo>
                  <a:pt x="1084" y="953"/>
                </a:lnTo>
                <a:lnTo>
                  <a:pt x="1085" y="955"/>
                </a:lnTo>
                <a:lnTo>
                  <a:pt x="1085" y="958"/>
                </a:lnTo>
                <a:lnTo>
                  <a:pt x="1083" y="962"/>
                </a:lnTo>
                <a:lnTo>
                  <a:pt x="1077" y="960"/>
                </a:lnTo>
                <a:lnTo>
                  <a:pt x="1071" y="958"/>
                </a:lnTo>
                <a:lnTo>
                  <a:pt x="1065" y="960"/>
                </a:lnTo>
                <a:lnTo>
                  <a:pt x="1057" y="964"/>
                </a:lnTo>
                <a:lnTo>
                  <a:pt x="1063" y="967"/>
                </a:lnTo>
                <a:lnTo>
                  <a:pt x="1066" y="969"/>
                </a:lnTo>
                <a:lnTo>
                  <a:pt x="1068" y="965"/>
                </a:lnTo>
                <a:lnTo>
                  <a:pt x="1070" y="962"/>
                </a:lnTo>
                <a:lnTo>
                  <a:pt x="1071" y="963"/>
                </a:lnTo>
                <a:lnTo>
                  <a:pt x="1075" y="964"/>
                </a:lnTo>
                <a:lnTo>
                  <a:pt x="1075" y="967"/>
                </a:lnTo>
                <a:lnTo>
                  <a:pt x="1073" y="969"/>
                </a:lnTo>
                <a:lnTo>
                  <a:pt x="1065" y="974"/>
                </a:lnTo>
                <a:lnTo>
                  <a:pt x="1056" y="981"/>
                </a:lnTo>
                <a:lnTo>
                  <a:pt x="1055" y="972"/>
                </a:lnTo>
                <a:lnTo>
                  <a:pt x="1055" y="967"/>
                </a:lnTo>
                <a:lnTo>
                  <a:pt x="1046" y="969"/>
                </a:lnTo>
                <a:lnTo>
                  <a:pt x="1037" y="972"/>
                </a:lnTo>
                <a:lnTo>
                  <a:pt x="1043" y="977"/>
                </a:lnTo>
                <a:lnTo>
                  <a:pt x="1049" y="983"/>
                </a:lnTo>
                <a:lnTo>
                  <a:pt x="1037" y="988"/>
                </a:lnTo>
                <a:lnTo>
                  <a:pt x="1024" y="993"/>
                </a:lnTo>
                <a:lnTo>
                  <a:pt x="1011" y="997"/>
                </a:lnTo>
                <a:lnTo>
                  <a:pt x="1000" y="1002"/>
                </a:lnTo>
                <a:lnTo>
                  <a:pt x="987" y="1006"/>
                </a:lnTo>
                <a:lnTo>
                  <a:pt x="975" y="1012"/>
                </a:lnTo>
                <a:lnTo>
                  <a:pt x="973" y="1013"/>
                </a:lnTo>
                <a:lnTo>
                  <a:pt x="970" y="1013"/>
                </a:lnTo>
                <a:lnTo>
                  <a:pt x="966" y="1013"/>
                </a:lnTo>
                <a:lnTo>
                  <a:pt x="960" y="1013"/>
                </a:lnTo>
                <a:lnTo>
                  <a:pt x="959" y="1009"/>
                </a:lnTo>
                <a:lnTo>
                  <a:pt x="956" y="1003"/>
                </a:lnTo>
                <a:lnTo>
                  <a:pt x="966" y="1005"/>
                </a:lnTo>
                <a:lnTo>
                  <a:pt x="974" y="1006"/>
                </a:lnTo>
                <a:lnTo>
                  <a:pt x="981" y="1004"/>
                </a:lnTo>
                <a:lnTo>
                  <a:pt x="989" y="1000"/>
                </a:lnTo>
                <a:lnTo>
                  <a:pt x="988" y="999"/>
                </a:lnTo>
                <a:lnTo>
                  <a:pt x="988" y="998"/>
                </a:lnTo>
                <a:lnTo>
                  <a:pt x="979" y="999"/>
                </a:lnTo>
                <a:lnTo>
                  <a:pt x="968" y="1002"/>
                </a:lnTo>
                <a:lnTo>
                  <a:pt x="965" y="996"/>
                </a:lnTo>
                <a:lnTo>
                  <a:pt x="963" y="992"/>
                </a:lnTo>
                <a:lnTo>
                  <a:pt x="966" y="990"/>
                </a:lnTo>
                <a:lnTo>
                  <a:pt x="970" y="986"/>
                </a:lnTo>
                <a:lnTo>
                  <a:pt x="968" y="985"/>
                </a:lnTo>
                <a:lnTo>
                  <a:pt x="966" y="984"/>
                </a:lnTo>
                <a:lnTo>
                  <a:pt x="968" y="981"/>
                </a:lnTo>
                <a:lnTo>
                  <a:pt x="972" y="978"/>
                </a:lnTo>
                <a:lnTo>
                  <a:pt x="974" y="977"/>
                </a:lnTo>
                <a:lnTo>
                  <a:pt x="975" y="975"/>
                </a:lnTo>
                <a:lnTo>
                  <a:pt x="975" y="972"/>
                </a:lnTo>
                <a:lnTo>
                  <a:pt x="973" y="969"/>
                </a:lnTo>
                <a:lnTo>
                  <a:pt x="977" y="971"/>
                </a:lnTo>
                <a:lnTo>
                  <a:pt x="981" y="974"/>
                </a:lnTo>
                <a:lnTo>
                  <a:pt x="979" y="977"/>
                </a:lnTo>
                <a:lnTo>
                  <a:pt x="977" y="981"/>
                </a:lnTo>
                <a:lnTo>
                  <a:pt x="977" y="981"/>
                </a:lnTo>
                <a:lnTo>
                  <a:pt x="979" y="981"/>
                </a:lnTo>
                <a:lnTo>
                  <a:pt x="993" y="970"/>
                </a:lnTo>
                <a:lnTo>
                  <a:pt x="1008" y="958"/>
                </a:lnTo>
                <a:lnTo>
                  <a:pt x="1006" y="955"/>
                </a:lnTo>
                <a:lnTo>
                  <a:pt x="1003" y="953"/>
                </a:lnTo>
                <a:lnTo>
                  <a:pt x="1009" y="951"/>
                </a:lnTo>
                <a:lnTo>
                  <a:pt x="1014" y="950"/>
                </a:lnTo>
                <a:lnTo>
                  <a:pt x="1018" y="947"/>
                </a:lnTo>
                <a:lnTo>
                  <a:pt x="1023" y="944"/>
                </a:lnTo>
                <a:lnTo>
                  <a:pt x="1024" y="942"/>
                </a:lnTo>
                <a:lnTo>
                  <a:pt x="1027" y="940"/>
                </a:lnTo>
                <a:lnTo>
                  <a:pt x="1028" y="937"/>
                </a:lnTo>
                <a:lnTo>
                  <a:pt x="1028" y="934"/>
                </a:lnTo>
                <a:lnTo>
                  <a:pt x="1029" y="932"/>
                </a:lnTo>
                <a:lnTo>
                  <a:pt x="1030" y="930"/>
                </a:lnTo>
                <a:lnTo>
                  <a:pt x="1045" y="922"/>
                </a:lnTo>
                <a:lnTo>
                  <a:pt x="1059" y="914"/>
                </a:lnTo>
                <a:lnTo>
                  <a:pt x="1066" y="912"/>
                </a:lnTo>
                <a:lnTo>
                  <a:pt x="1075" y="908"/>
                </a:lnTo>
                <a:lnTo>
                  <a:pt x="1077" y="905"/>
                </a:lnTo>
                <a:lnTo>
                  <a:pt x="1078" y="900"/>
                </a:lnTo>
                <a:lnTo>
                  <a:pt x="1078" y="894"/>
                </a:lnTo>
                <a:lnTo>
                  <a:pt x="1076" y="887"/>
                </a:lnTo>
                <a:lnTo>
                  <a:pt x="1085" y="884"/>
                </a:lnTo>
                <a:lnTo>
                  <a:pt x="1094" y="879"/>
                </a:lnTo>
                <a:lnTo>
                  <a:pt x="1104" y="876"/>
                </a:lnTo>
                <a:lnTo>
                  <a:pt x="1113" y="872"/>
                </a:lnTo>
                <a:lnTo>
                  <a:pt x="1111" y="871"/>
                </a:lnTo>
                <a:lnTo>
                  <a:pt x="1110" y="867"/>
                </a:lnTo>
                <a:lnTo>
                  <a:pt x="1113" y="865"/>
                </a:lnTo>
                <a:lnTo>
                  <a:pt x="1118" y="864"/>
                </a:lnTo>
                <a:close/>
                <a:moveTo>
                  <a:pt x="1139" y="800"/>
                </a:moveTo>
                <a:lnTo>
                  <a:pt x="1140" y="801"/>
                </a:lnTo>
                <a:lnTo>
                  <a:pt x="1142" y="803"/>
                </a:lnTo>
                <a:lnTo>
                  <a:pt x="1138" y="806"/>
                </a:lnTo>
                <a:lnTo>
                  <a:pt x="1134" y="809"/>
                </a:lnTo>
                <a:lnTo>
                  <a:pt x="1133" y="808"/>
                </a:lnTo>
                <a:lnTo>
                  <a:pt x="1131" y="806"/>
                </a:lnTo>
                <a:lnTo>
                  <a:pt x="1135" y="802"/>
                </a:lnTo>
                <a:lnTo>
                  <a:pt x="1139" y="800"/>
                </a:lnTo>
                <a:close/>
                <a:moveTo>
                  <a:pt x="1172" y="820"/>
                </a:moveTo>
                <a:lnTo>
                  <a:pt x="1175" y="817"/>
                </a:lnTo>
                <a:lnTo>
                  <a:pt x="1177" y="816"/>
                </a:lnTo>
                <a:lnTo>
                  <a:pt x="1181" y="817"/>
                </a:lnTo>
                <a:lnTo>
                  <a:pt x="1184" y="818"/>
                </a:lnTo>
                <a:lnTo>
                  <a:pt x="1188" y="821"/>
                </a:lnTo>
                <a:lnTo>
                  <a:pt x="1190" y="822"/>
                </a:lnTo>
                <a:lnTo>
                  <a:pt x="1195" y="830"/>
                </a:lnTo>
                <a:lnTo>
                  <a:pt x="1197" y="836"/>
                </a:lnTo>
                <a:lnTo>
                  <a:pt x="1189" y="843"/>
                </a:lnTo>
                <a:lnTo>
                  <a:pt x="1182" y="849"/>
                </a:lnTo>
                <a:lnTo>
                  <a:pt x="1181" y="849"/>
                </a:lnTo>
                <a:lnTo>
                  <a:pt x="1180" y="849"/>
                </a:lnTo>
                <a:lnTo>
                  <a:pt x="1182" y="845"/>
                </a:lnTo>
                <a:lnTo>
                  <a:pt x="1182" y="842"/>
                </a:lnTo>
                <a:lnTo>
                  <a:pt x="1181" y="839"/>
                </a:lnTo>
                <a:lnTo>
                  <a:pt x="1177" y="837"/>
                </a:lnTo>
                <a:lnTo>
                  <a:pt x="1174" y="834"/>
                </a:lnTo>
                <a:lnTo>
                  <a:pt x="1170" y="829"/>
                </a:lnTo>
                <a:lnTo>
                  <a:pt x="1169" y="827"/>
                </a:lnTo>
                <a:lnTo>
                  <a:pt x="1168" y="824"/>
                </a:lnTo>
                <a:lnTo>
                  <a:pt x="1169" y="821"/>
                </a:lnTo>
                <a:lnTo>
                  <a:pt x="1172" y="820"/>
                </a:lnTo>
                <a:close/>
                <a:moveTo>
                  <a:pt x="1022" y="1000"/>
                </a:moveTo>
                <a:lnTo>
                  <a:pt x="1027" y="1000"/>
                </a:lnTo>
                <a:lnTo>
                  <a:pt x="1031" y="999"/>
                </a:lnTo>
                <a:lnTo>
                  <a:pt x="1032" y="1002"/>
                </a:lnTo>
                <a:lnTo>
                  <a:pt x="1032" y="1004"/>
                </a:lnTo>
                <a:lnTo>
                  <a:pt x="1030" y="1006"/>
                </a:lnTo>
                <a:lnTo>
                  <a:pt x="1028" y="1006"/>
                </a:lnTo>
                <a:lnTo>
                  <a:pt x="1025" y="1005"/>
                </a:lnTo>
                <a:lnTo>
                  <a:pt x="1023" y="1004"/>
                </a:lnTo>
                <a:lnTo>
                  <a:pt x="1022" y="1002"/>
                </a:lnTo>
                <a:lnTo>
                  <a:pt x="1022" y="1000"/>
                </a:lnTo>
                <a:close/>
                <a:moveTo>
                  <a:pt x="1009" y="1058"/>
                </a:moveTo>
                <a:lnTo>
                  <a:pt x="1021" y="1052"/>
                </a:lnTo>
                <a:lnTo>
                  <a:pt x="1030" y="1047"/>
                </a:lnTo>
                <a:lnTo>
                  <a:pt x="1031" y="1049"/>
                </a:lnTo>
                <a:lnTo>
                  <a:pt x="1030" y="1051"/>
                </a:lnTo>
                <a:lnTo>
                  <a:pt x="1028" y="1053"/>
                </a:lnTo>
                <a:lnTo>
                  <a:pt x="1025" y="1054"/>
                </a:lnTo>
                <a:lnTo>
                  <a:pt x="1018" y="1056"/>
                </a:lnTo>
                <a:lnTo>
                  <a:pt x="1009" y="1058"/>
                </a:lnTo>
                <a:close/>
                <a:moveTo>
                  <a:pt x="1002" y="1116"/>
                </a:moveTo>
                <a:lnTo>
                  <a:pt x="1000" y="1117"/>
                </a:lnTo>
                <a:lnTo>
                  <a:pt x="997" y="1117"/>
                </a:lnTo>
                <a:lnTo>
                  <a:pt x="996" y="1117"/>
                </a:lnTo>
                <a:lnTo>
                  <a:pt x="994" y="1116"/>
                </a:lnTo>
                <a:lnTo>
                  <a:pt x="992" y="1114"/>
                </a:lnTo>
                <a:lnTo>
                  <a:pt x="988" y="1114"/>
                </a:lnTo>
                <a:lnTo>
                  <a:pt x="989" y="1110"/>
                </a:lnTo>
                <a:lnTo>
                  <a:pt x="990" y="1109"/>
                </a:lnTo>
                <a:lnTo>
                  <a:pt x="992" y="1109"/>
                </a:lnTo>
                <a:lnTo>
                  <a:pt x="994" y="1110"/>
                </a:lnTo>
                <a:lnTo>
                  <a:pt x="999" y="1112"/>
                </a:lnTo>
                <a:lnTo>
                  <a:pt x="1002" y="1116"/>
                </a:lnTo>
                <a:close/>
                <a:moveTo>
                  <a:pt x="999" y="1096"/>
                </a:moveTo>
                <a:lnTo>
                  <a:pt x="1000" y="1091"/>
                </a:lnTo>
                <a:lnTo>
                  <a:pt x="1001" y="1089"/>
                </a:lnTo>
                <a:lnTo>
                  <a:pt x="1004" y="1088"/>
                </a:lnTo>
                <a:lnTo>
                  <a:pt x="1009" y="1087"/>
                </a:lnTo>
                <a:lnTo>
                  <a:pt x="1009" y="1091"/>
                </a:lnTo>
                <a:lnTo>
                  <a:pt x="1010" y="1097"/>
                </a:lnTo>
                <a:lnTo>
                  <a:pt x="1004" y="1097"/>
                </a:lnTo>
                <a:lnTo>
                  <a:pt x="999" y="1096"/>
                </a:lnTo>
                <a:close/>
                <a:moveTo>
                  <a:pt x="1108" y="1170"/>
                </a:moveTo>
                <a:lnTo>
                  <a:pt x="1108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7" y="1170"/>
                </a:lnTo>
                <a:lnTo>
                  <a:pt x="1108" y="1170"/>
                </a:lnTo>
                <a:lnTo>
                  <a:pt x="1108" y="1170"/>
                </a:lnTo>
                <a:close/>
                <a:moveTo>
                  <a:pt x="1210" y="907"/>
                </a:moveTo>
                <a:lnTo>
                  <a:pt x="1214" y="905"/>
                </a:lnTo>
                <a:lnTo>
                  <a:pt x="1217" y="901"/>
                </a:lnTo>
                <a:lnTo>
                  <a:pt x="1223" y="907"/>
                </a:lnTo>
                <a:lnTo>
                  <a:pt x="1231" y="914"/>
                </a:lnTo>
                <a:lnTo>
                  <a:pt x="1232" y="919"/>
                </a:lnTo>
                <a:lnTo>
                  <a:pt x="1234" y="925"/>
                </a:lnTo>
                <a:lnTo>
                  <a:pt x="1231" y="930"/>
                </a:lnTo>
                <a:lnTo>
                  <a:pt x="1228" y="935"/>
                </a:lnTo>
                <a:lnTo>
                  <a:pt x="1224" y="939"/>
                </a:lnTo>
                <a:lnTo>
                  <a:pt x="1221" y="942"/>
                </a:lnTo>
                <a:lnTo>
                  <a:pt x="1216" y="946"/>
                </a:lnTo>
                <a:lnTo>
                  <a:pt x="1210" y="948"/>
                </a:lnTo>
                <a:lnTo>
                  <a:pt x="1207" y="949"/>
                </a:lnTo>
                <a:lnTo>
                  <a:pt x="1203" y="953"/>
                </a:lnTo>
                <a:lnTo>
                  <a:pt x="1208" y="954"/>
                </a:lnTo>
                <a:lnTo>
                  <a:pt x="1213" y="953"/>
                </a:lnTo>
                <a:lnTo>
                  <a:pt x="1217" y="951"/>
                </a:lnTo>
                <a:lnTo>
                  <a:pt x="1222" y="948"/>
                </a:lnTo>
                <a:lnTo>
                  <a:pt x="1231" y="942"/>
                </a:lnTo>
                <a:lnTo>
                  <a:pt x="1241" y="937"/>
                </a:lnTo>
                <a:lnTo>
                  <a:pt x="1250" y="934"/>
                </a:lnTo>
                <a:lnTo>
                  <a:pt x="1258" y="929"/>
                </a:lnTo>
                <a:lnTo>
                  <a:pt x="1258" y="930"/>
                </a:lnTo>
                <a:lnTo>
                  <a:pt x="1259" y="932"/>
                </a:lnTo>
                <a:lnTo>
                  <a:pt x="1257" y="933"/>
                </a:lnTo>
                <a:lnTo>
                  <a:pt x="1256" y="934"/>
                </a:lnTo>
                <a:lnTo>
                  <a:pt x="1256" y="939"/>
                </a:lnTo>
                <a:lnTo>
                  <a:pt x="1257" y="943"/>
                </a:lnTo>
                <a:lnTo>
                  <a:pt x="1256" y="943"/>
                </a:lnTo>
                <a:lnTo>
                  <a:pt x="1255" y="944"/>
                </a:lnTo>
                <a:lnTo>
                  <a:pt x="1251" y="942"/>
                </a:lnTo>
                <a:lnTo>
                  <a:pt x="1248" y="940"/>
                </a:lnTo>
                <a:lnTo>
                  <a:pt x="1246" y="944"/>
                </a:lnTo>
                <a:lnTo>
                  <a:pt x="1245" y="950"/>
                </a:lnTo>
                <a:lnTo>
                  <a:pt x="1244" y="953"/>
                </a:lnTo>
                <a:lnTo>
                  <a:pt x="1242" y="954"/>
                </a:lnTo>
                <a:lnTo>
                  <a:pt x="1241" y="955"/>
                </a:lnTo>
                <a:lnTo>
                  <a:pt x="1237" y="955"/>
                </a:lnTo>
                <a:lnTo>
                  <a:pt x="1236" y="961"/>
                </a:lnTo>
                <a:lnTo>
                  <a:pt x="1235" y="965"/>
                </a:lnTo>
                <a:lnTo>
                  <a:pt x="1234" y="967"/>
                </a:lnTo>
                <a:lnTo>
                  <a:pt x="1232" y="967"/>
                </a:lnTo>
                <a:lnTo>
                  <a:pt x="1231" y="963"/>
                </a:lnTo>
                <a:lnTo>
                  <a:pt x="1230" y="961"/>
                </a:lnTo>
                <a:lnTo>
                  <a:pt x="1224" y="967"/>
                </a:lnTo>
                <a:lnTo>
                  <a:pt x="1220" y="971"/>
                </a:lnTo>
                <a:lnTo>
                  <a:pt x="1221" y="972"/>
                </a:lnTo>
                <a:lnTo>
                  <a:pt x="1223" y="975"/>
                </a:lnTo>
                <a:lnTo>
                  <a:pt x="1220" y="977"/>
                </a:lnTo>
                <a:lnTo>
                  <a:pt x="1215" y="979"/>
                </a:lnTo>
                <a:lnTo>
                  <a:pt x="1209" y="978"/>
                </a:lnTo>
                <a:lnTo>
                  <a:pt x="1203" y="976"/>
                </a:lnTo>
                <a:lnTo>
                  <a:pt x="1203" y="979"/>
                </a:lnTo>
                <a:lnTo>
                  <a:pt x="1203" y="983"/>
                </a:lnTo>
                <a:lnTo>
                  <a:pt x="1200" y="985"/>
                </a:lnTo>
                <a:lnTo>
                  <a:pt x="1195" y="986"/>
                </a:lnTo>
                <a:lnTo>
                  <a:pt x="1194" y="986"/>
                </a:lnTo>
                <a:lnTo>
                  <a:pt x="1193" y="988"/>
                </a:lnTo>
                <a:lnTo>
                  <a:pt x="1191" y="990"/>
                </a:lnTo>
                <a:lnTo>
                  <a:pt x="1191" y="993"/>
                </a:lnTo>
                <a:lnTo>
                  <a:pt x="1184" y="990"/>
                </a:lnTo>
                <a:lnTo>
                  <a:pt x="1177" y="985"/>
                </a:lnTo>
                <a:lnTo>
                  <a:pt x="1176" y="989"/>
                </a:lnTo>
                <a:lnTo>
                  <a:pt x="1176" y="992"/>
                </a:lnTo>
                <a:lnTo>
                  <a:pt x="1173" y="990"/>
                </a:lnTo>
                <a:lnTo>
                  <a:pt x="1168" y="988"/>
                </a:lnTo>
                <a:lnTo>
                  <a:pt x="1172" y="993"/>
                </a:lnTo>
                <a:lnTo>
                  <a:pt x="1175" y="998"/>
                </a:lnTo>
                <a:lnTo>
                  <a:pt x="1170" y="998"/>
                </a:lnTo>
                <a:lnTo>
                  <a:pt x="1167" y="997"/>
                </a:lnTo>
                <a:lnTo>
                  <a:pt x="1166" y="997"/>
                </a:lnTo>
                <a:lnTo>
                  <a:pt x="1165" y="997"/>
                </a:lnTo>
                <a:lnTo>
                  <a:pt x="1165" y="999"/>
                </a:lnTo>
                <a:lnTo>
                  <a:pt x="1166" y="1003"/>
                </a:lnTo>
                <a:lnTo>
                  <a:pt x="1156" y="1003"/>
                </a:lnTo>
                <a:lnTo>
                  <a:pt x="1147" y="1003"/>
                </a:lnTo>
                <a:lnTo>
                  <a:pt x="1145" y="1003"/>
                </a:lnTo>
                <a:lnTo>
                  <a:pt x="1142" y="1004"/>
                </a:lnTo>
                <a:lnTo>
                  <a:pt x="1141" y="1005"/>
                </a:lnTo>
                <a:lnTo>
                  <a:pt x="1141" y="1009"/>
                </a:lnTo>
                <a:lnTo>
                  <a:pt x="1141" y="1011"/>
                </a:lnTo>
                <a:lnTo>
                  <a:pt x="1142" y="1013"/>
                </a:lnTo>
                <a:lnTo>
                  <a:pt x="1145" y="1014"/>
                </a:lnTo>
                <a:lnTo>
                  <a:pt x="1147" y="1014"/>
                </a:lnTo>
                <a:lnTo>
                  <a:pt x="1153" y="1013"/>
                </a:lnTo>
                <a:lnTo>
                  <a:pt x="1160" y="1012"/>
                </a:lnTo>
                <a:lnTo>
                  <a:pt x="1163" y="1012"/>
                </a:lnTo>
                <a:lnTo>
                  <a:pt x="1166" y="1012"/>
                </a:lnTo>
                <a:lnTo>
                  <a:pt x="1167" y="1013"/>
                </a:lnTo>
                <a:lnTo>
                  <a:pt x="1169" y="1016"/>
                </a:lnTo>
                <a:lnTo>
                  <a:pt x="1173" y="1013"/>
                </a:lnTo>
                <a:lnTo>
                  <a:pt x="1177" y="1011"/>
                </a:lnTo>
                <a:lnTo>
                  <a:pt x="1182" y="1009"/>
                </a:lnTo>
                <a:lnTo>
                  <a:pt x="1187" y="1007"/>
                </a:lnTo>
                <a:lnTo>
                  <a:pt x="1197" y="1006"/>
                </a:lnTo>
                <a:lnTo>
                  <a:pt x="1208" y="1006"/>
                </a:lnTo>
                <a:lnTo>
                  <a:pt x="1206" y="1002"/>
                </a:lnTo>
                <a:lnTo>
                  <a:pt x="1204" y="999"/>
                </a:lnTo>
                <a:lnTo>
                  <a:pt x="1211" y="999"/>
                </a:lnTo>
                <a:lnTo>
                  <a:pt x="1218" y="999"/>
                </a:lnTo>
                <a:lnTo>
                  <a:pt x="1222" y="999"/>
                </a:lnTo>
                <a:lnTo>
                  <a:pt x="1225" y="998"/>
                </a:lnTo>
                <a:lnTo>
                  <a:pt x="1227" y="998"/>
                </a:lnTo>
                <a:lnTo>
                  <a:pt x="1228" y="997"/>
                </a:lnTo>
                <a:lnTo>
                  <a:pt x="1229" y="995"/>
                </a:lnTo>
                <a:lnTo>
                  <a:pt x="1229" y="992"/>
                </a:lnTo>
                <a:lnTo>
                  <a:pt x="1236" y="991"/>
                </a:lnTo>
                <a:lnTo>
                  <a:pt x="1242" y="991"/>
                </a:lnTo>
                <a:lnTo>
                  <a:pt x="1242" y="991"/>
                </a:lnTo>
                <a:lnTo>
                  <a:pt x="1242" y="992"/>
                </a:lnTo>
                <a:lnTo>
                  <a:pt x="1238" y="995"/>
                </a:lnTo>
                <a:lnTo>
                  <a:pt x="1234" y="997"/>
                </a:lnTo>
                <a:lnTo>
                  <a:pt x="1224" y="1003"/>
                </a:lnTo>
                <a:lnTo>
                  <a:pt x="1215" y="1009"/>
                </a:lnTo>
                <a:lnTo>
                  <a:pt x="1204" y="1013"/>
                </a:lnTo>
                <a:lnTo>
                  <a:pt x="1195" y="1018"/>
                </a:lnTo>
                <a:lnTo>
                  <a:pt x="1184" y="1023"/>
                </a:lnTo>
                <a:lnTo>
                  <a:pt x="1174" y="1028"/>
                </a:lnTo>
                <a:lnTo>
                  <a:pt x="1168" y="1031"/>
                </a:lnTo>
                <a:lnTo>
                  <a:pt x="1163" y="1033"/>
                </a:lnTo>
                <a:lnTo>
                  <a:pt x="1159" y="1035"/>
                </a:lnTo>
                <a:lnTo>
                  <a:pt x="1153" y="1038"/>
                </a:lnTo>
                <a:lnTo>
                  <a:pt x="1148" y="1040"/>
                </a:lnTo>
                <a:lnTo>
                  <a:pt x="1144" y="1045"/>
                </a:lnTo>
                <a:lnTo>
                  <a:pt x="1142" y="1046"/>
                </a:lnTo>
                <a:lnTo>
                  <a:pt x="1141" y="1046"/>
                </a:lnTo>
                <a:lnTo>
                  <a:pt x="1131" y="1051"/>
                </a:lnTo>
                <a:lnTo>
                  <a:pt x="1119" y="1054"/>
                </a:lnTo>
                <a:lnTo>
                  <a:pt x="1113" y="1054"/>
                </a:lnTo>
                <a:lnTo>
                  <a:pt x="1106" y="1053"/>
                </a:lnTo>
                <a:lnTo>
                  <a:pt x="1093" y="1049"/>
                </a:lnTo>
                <a:lnTo>
                  <a:pt x="1082" y="1045"/>
                </a:lnTo>
                <a:lnTo>
                  <a:pt x="1073" y="1042"/>
                </a:lnTo>
                <a:lnTo>
                  <a:pt x="1065" y="1040"/>
                </a:lnTo>
                <a:lnTo>
                  <a:pt x="1065" y="1035"/>
                </a:lnTo>
                <a:lnTo>
                  <a:pt x="1063" y="1033"/>
                </a:lnTo>
                <a:lnTo>
                  <a:pt x="1061" y="1033"/>
                </a:lnTo>
                <a:lnTo>
                  <a:pt x="1056" y="1035"/>
                </a:lnTo>
                <a:lnTo>
                  <a:pt x="1050" y="1038"/>
                </a:lnTo>
                <a:lnTo>
                  <a:pt x="1044" y="1037"/>
                </a:lnTo>
                <a:lnTo>
                  <a:pt x="1038" y="1035"/>
                </a:lnTo>
                <a:lnTo>
                  <a:pt x="1034" y="1033"/>
                </a:lnTo>
                <a:lnTo>
                  <a:pt x="1034" y="1033"/>
                </a:lnTo>
                <a:lnTo>
                  <a:pt x="1035" y="1032"/>
                </a:lnTo>
                <a:lnTo>
                  <a:pt x="1031" y="1026"/>
                </a:lnTo>
                <a:lnTo>
                  <a:pt x="1028" y="1019"/>
                </a:lnTo>
                <a:lnTo>
                  <a:pt x="1031" y="1014"/>
                </a:lnTo>
                <a:lnTo>
                  <a:pt x="1036" y="1010"/>
                </a:lnTo>
                <a:lnTo>
                  <a:pt x="1039" y="1013"/>
                </a:lnTo>
                <a:lnTo>
                  <a:pt x="1043" y="1017"/>
                </a:lnTo>
                <a:lnTo>
                  <a:pt x="1042" y="1020"/>
                </a:lnTo>
                <a:lnTo>
                  <a:pt x="1041" y="1023"/>
                </a:lnTo>
                <a:lnTo>
                  <a:pt x="1046" y="1021"/>
                </a:lnTo>
                <a:lnTo>
                  <a:pt x="1051" y="1020"/>
                </a:lnTo>
                <a:lnTo>
                  <a:pt x="1053" y="1024"/>
                </a:lnTo>
                <a:lnTo>
                  <a:pt x="1056" y="1030"/>
                </a:lnTo>
                <a:lnTo>
                  <a:pt x="1057" y="1024"/>
                </a:lnTo>
                <a:lnTo>
                  <a:pt x="1059" y="1018"/>
                </a:lnTo>
                <a:lnTo>
                  <a:pt x="1063" y="1013"/>
                </a:lnTo>
                <a:lnTo>
                  <a:pt x="1066" y="1012"/>
                </a:lnTo>
                <a:lnTo>
                  <a:pt x="1078" y="1011"/>
                </a:lnTo>
                <a:lnTo>
                  <a:pt x="1089" y="1012"/>
                </a:lnTo>
                <a:lnTo>
                  <a:pt x="1086" y="1007"/>
                </a:lnTo>
                <a:lnTo>
                  <a:pt x="1084" y="1002"/>
                </a:lnTo>
                <a:lnTo>
                  <a:pt x="1089" y="1007"/>
                </a:lnTo>
                <a:lnTo>
                  <a:pt x="1093" y="1012"/>
                </a:lnTo>
                <a:lnTo>
                  <a:pt x="1094" y="1011"/>
                </a:lnTo>
                <a:lnTo>
                  <a:pt x="1096" y="1011"/>
                </a:lnTo>
                <a:lnTo>
                  <a:pt x="1098" y="1004"/>
                </a:lnTo>
                <a:lnTo>
                  <a:pt x="1100" y="997"/>
                </a:lnTo>
                <a:lnTo>
                  <a:pt x="1103" y="995"/>
                </a:lnTo>
                <a:lnTo>
                  <a:pt x="1105" y="993"/>
                </a:lnTo>
                <a:lnTo>
                  <a:pt x="1108" y="993"/>
                </a:lnTo>
                <a:lnTo>
                  <a:pt x="1113" y="993"/>
                </a:lnTo>
                <a:lnTo>
                  <a:pt x="1112" y="989"/>
                </a:lnTo>
                <a:lnTo>
                  <a:pt x="1112" y="984"/>
                </a:lnTo>
                <a:lnTo>
                  <a:pt x="1112" y="982"/>
                </a:lnTo>
                <a:lnTo>
                  <a:pt x="1113" y="981"/>
                </a:lnTo>
                <a:lnTo>
                  <a:pt x="1115" y="981"/>
                </a:lnTo>
                <a:lnTo>
                  <a:pt x="1119" y="981"/>
                </a:lnTo>
                <a:lnTo>
                  <a:pt x="1122" y="977"/>
                </a:lnTo>
                <a:lnTo>
                  <a:pt x="1125" y="974"/>
                </a:lnTo>
                <a:lnTo>
                  <a:pt x="1127" y="971"/>
                </a:lnTo>
                <a:lnTo>
                  <a:pt x="1132" y="969"/>
                </a:lnTo>
                <a:lnTo>
                  <a:pt x="1134" y="968"/>
                </a:lnTo>
                <a:lnTo>
                  <a:pt x="1135" y="967"/>
                </a:lnTo>
                <a:lnTo>
                  <a:pt x="1137" y="964"/>
                </a:lnTo>
                <a:lnTo>
                  <a:pt x="1138" y="962"/>
                </a:lnTo>
                <a:lnTo>
                  <a:pt x="1140" y="960"/>
                </a:lnTo>
                <a:lnTo>
                  <a:pt x="1144" y="960"/>
                </a:lnTo>
                <a:lnTo>
                  <a:pt x="1147" y="958"/>
                </a:lnTo>
                <a:lnTo>
                  <a:pt x="1153" y="955"/>
                </a:lnTo>
                <a:lnTo>
                  <a:pt x="1159" y="953"/>
                </a:lnTo>
                <a:lnTo>
                  <a:pt x="1161" y="950"/>
                </a:lnTo>
                <a:lnTo>
                  <a:pt x="1161" y="948"/>
                </a:lnTo>
                <a:lnTo>
                  <a:pt x="1160" y="946"/>
                </a:lnTo>
                <a:lnTo>
                  <a:pt x="1167" y="942"/>
                </a:lnTo>
                <a:lnTo>
                  <a:pt x="1173" y="939"/>
                </a:lnTo>
                <a:lnTo>
                  <a:pt x="1176" y="936"/>
                </a:lnTo>
                <a:lnTo>
                  <a:pt x="1179" y="934"/>
                </a:lnTo>
                <a:lnTo>
                  <a:pt x="1180" y="930"/>
                </a:lnTo>
                <a:lnTo>
                  <a:pt x="1181" y="928"/>
                </a:lnTo>
                <a:lnTo>
                  <a:pt x="1182" y="923"/>
                </a:lnTo>
                <a:lnTo>
                  <a:pt x="1183" y="921"/>
                </a:lnTo>
                <a:lnTo>
                  <a:pt x="1187" y="920"/>
                </a:lnTo>
                <a:lnTo>
                  <a:pt x="1189" y="919"/>
                </a:lnTo>
                <a:lnTo>
                  <a:pt x="1190" y="916"/>
                </a:lnTo>
                <a:lnTo>
                  <a:pt x="1191" y="914"/>
                </a:lnTo>
                <a:lnTo>
                  <a:pt x="1191" y="913"/>
                </a:lnTo>
                <a:lnTo>
                  <a:pt x="1193" y="913"/>
                </a:lnTo>
                <a:lnTo>
                  <a:pt x="1194" y="913"/>
                </a:lnTo>
                <a:lnTo>
                  <a:pt x="1196" y="914"/>
                </a:lnTo>
                <a:lnTo>
                  <a:pt x="1196" y="914"/>
                </a:lnTo>
                <a:lnTo>
                  <a:pt x="1197" y="913"/>
                </a:lnTo>
                <a:lnTo>
                  <a:pt x="1200" y="909"/>
                </a:lnTo>
                <a:lnTo>
                  <a:pt x="1202" y="907"/>
                </a:lnTo>
                <a:lnTo>
                  <a:pt x="1207" y="906"/>
                </a:lnTo>
                <a:lnTo>
                  <a:pt x="1210" y="907"/>
                </a:lnTo>
                <a:close/>
                <a:moveTo>
                  <a:pt x="1232" y="891"/>
                </a:moveTo>
                <a:lnTo>
                  <a:pt x="1234" y="891"/>
                </a:lnTo>
                <a:lnTo>
                  <a:pt x="1234" y="891"/>
                </a:lnTo>
                <a:lnTo>
                  <a:pt x="1232" y="898"/>
                </a:lnTo>
                <a:lnTo>
                  <a:pt x="1230" y="906"/>
                </a:lnTo>
                <a:lnTo>
                  <a:pt x="1227" y="902"/>
                </a:lnTo>
                <a:lnTo>
                  <a:pt x="1224" y="901"/>
                </a:lnTo>
                <a:lnTo>
                  <a:pt x="1224" y="900"/>
                </a:lnTo>
                <a:lnTo>
                  <a:pt x="1223" y="899"/>
                </a:lnTo>
                <a:lnTo>
                  <a:pt x="1228" y="894"/>
                </a:lnTo>
                <a:lnTo>
                  <a:pt x="1232" y="891"/>
                </a:lnTo>
                <a:close/>
                <a:moveTo>
                  <a:pt x="1218" y="1110"/>
                </a:moveTo>
                <a:lnTo>
                  <a:pt x="1220" y="1110"/>
                </a:lnTo>
                <a:lnTo>
                  <a:pt x="1221" y="1110"/>
                </a:lnTo>
                <a:lnTo>
                  <a:pt x="1220" y="1110"/>
                </a:lnTo>
                <a:lnTo>
                  <a:pt x="1218" y="1110"/>
                </a:lnTo>
                <a:lnTo>
                  <a:pt x="1218" y="1110"/>
                </a:lnTo>
                <a:lnTo>
                  <a:pt x="1218" y="1110"/>
                </a:lnTo>
                <a:close/>
                <a:moveTo>
                  <a:pt x="1213" y="1109"/>
                </a:moveTo>
                <a:lnTo>
                  <a:pt x="1211" y="1109"/>
                </a:lnTo>
                <a:lnTo>
                  <a:pt x="1210" y="1110"/>
                </a:lnTo>
                <a:lnTo>
                  <a:pt x="1210" y="1110"/>
                </a:lnTo>
                <a:lnTo>
                  <a:pt x="1209" y="1109"/>
                </a:lnTo>
                <a:lnTo>
                  <a:pt x="1211" y="1109"/>
                </a:lnTo>
                <a:lnTo>
                  <a:pt x="1213" y="1109"/>
                </a:lnTo>
                <a:close/>
                <a:moveTo>
                  <a:pt x="1201" y="1095"/>
                </a:moveTo>
                <a:lnTo>
                  <a:pt x="1200" y="1090"/>
                </a:lnTo>
                <a:lnTo>
                  <a:pt x="1200" y="1086"/>
                </a:lnTo>
                <a:lnTo>
                  <a:pt x="1200" y="1084"/>
                </a:lnTo>
                <a:lnTo>
                  <a:pt x="1201" y="1083"/>
                </a:lnTo>
                <a:lnTo>
                  <a:pt x="1203" y="1083"/>
                </a:lnTo>
                <a:lnTo>
                  <a:pt x="1206" y="1084"/>
                </a:lnTo>
                <a:lnTo>
                  <a:pt x="1207" y="1089"/>
                </a:lnTo>
                <a:lnTo>
                  <a:pt x="1210" y="1095"/>
                </a:lnTo>
                <a:lnTo>
                  <a:pt x="1206" y="1095"/>
                </a:lnTo>
                <a:lnTo>
                  <a:pt x="1201" y="1095"/>
                </a:lnTo>
                <a:close/>
                <a:moveTo>
                  <a:pt x="1179" y="1209"/>
                </a:moveTo>
                <a:lnTo>
                  <a:pt x="1184" y="1209"/>
                </a:lnTo>
                <a:lnTo>
                  <a:pt x="1189" y="1208"/>
                </a:lnTo>
                <a:lnTo>
                  <a:pt x="1191" y="1207"/>
                </a:lnTo>
                <a:lnTo>
                  <a:pt x="1194" y="1203"/>
                </a:lnTo>
                <a:lnTo>
                  <a:pt x="1194" y="1203"/>
                </a:lnTo>
                <a:lnTo>
                  <a:pt x="1195" y="1203"/>
                </a:lnTo>
                <a:lnTo>
                  <a:pt x="1196" y="1203"/>
                </a:lnTo>
                <a:lnTo>
                  <a:pt x="1197" y="1203"/>
                </a:lnTo>
                <a:lnTo>
                  <a:pt x="1201" y="1209"/>
                </a:lnTo>
                <a:lnTo>
                  <a:pt x="1204" y="1214"/>
                </a:lnTo>
                <a:lnTo>
                  <a:pt x="1204" y="1216"/>
                </a:lnTo>
                <a:lnTo>
                  <a:pt x="1204" y="1217"/>
                </a:lnTo>
                <a:lnTo>
                  <a:pt x="1203" y="1219"/>
                </a:lnTo>
                <a:lnTo>
                  <a:pt x="1201" y="1220"/>
                </a:lnTo>
                <a:lnTo>
                  <a:pt x="1189" y="1215"/>
                </a:lnTo>
                <a:lnTo>
                  <a:pt x="1179" y="1212"/>
                </a:lnTo>
                <a:lnTo>
                  <a:pt x="1179" y="1210"/>
                </a:lnTo>
                <a:lnTo>
                  <a:pt x="1179" y="1209"/>
                </a:lnTo>
                <a:close/>
                <a:moveTo>
                  <a:pt x="1187" y="1143"/>
                </a:moveTo>
                <a:lnTo>
                  <a:pt x="1184" y="1142"/>
                </a:lnTo>
                <a:lnTo>
                  <a:pt x="1181" y="1140"/>
                </a:lnTo>
                <a:lnTo>
                  <a:pt x="1180" y="1140"/>
                </a:lnTo>
                <a:lnTo>
                  <a:pt x="1180" y="1140"/>
                </a:lnTo>
                <a:lnTo>
                  <a:pt x="1181" y="1139"/>
                </a:lnTo>
                <a:lnTo>
                  <a:pt x="1182" y="1138"/>
                </a:lnTo>
                <a:lnTo>
                  <a:pt x="1184" y="1140"/>
                </a:lnTo>
                <a:lnTo>
                  <a:pt x="1187" y="1143"/>
                </a:lnTo>
                <a:close/>
                <a:moveTo>
                  <a:pt x="1188" y="1137"/>
                </a:moveTo>
                <a:lnTo>
                  <a:pt x="1187" y="1136"/>
                </a:lnTo>
                <a:lnTo>
                  <a:pt x="1186" y="1133"/>
                </a:lnTo>
                <a:lnTo>
                  <a:pt x="1186" y="1133"/>
                </a:lnTo>
                <a:lnTo>
                  <a:pt x="1187" y="1133"/>
                </a:lnTo>
                <a:lnTo>
                  <a:pt x="1187" y="1135"/>
                </a:lnTo>
                <a:lnTo>
                  <a:pt x="1188" y="1137"/>
                </a:lnTo>
                <a:close/>
                <a:moveTo>
                  <a:pt x="1187" y="1088"/>
                </a:moveTo>
                <a:lnTo>
                  <a:pt x="1186" y="1088"/>
                </a:lnTo>
                <a:lnTo>
                  <a:pt x="1184" y="1088"/>
                </a:lnTo>
                <a:lnTo>
                  <a:pt x="1183" y="1084"/>
                </a:lnTo>
                <a:lnTo>
                  <a:pt x="1183" y="1081"/>
                </a:lnTo>
                <a:lnTo>
                  <a:pt x="1186" y="1080"/>
                </a:lnTo>
                <a:lnTo>
                  <a:pt x="1189" y="1079"/>
                </a:lnTo>
                <a:lnTo>
                  <a:pt x="1189" y="1080"/>
                </a:lnTo>
                <a:lnTo>
                  <a:pt x="1190" y="1081"/>
                </a:lnTo>
                <a:lnTo>
                  <a:pt x="1189" y="1084"/>
                </a:lnTo>
                <a:lnTo>
                  <a:pt x="1187" y="1088"/>
                </a:lnTo>
                <a:close/>
                <a:moveTo>
                  <a:pt x="1125" y="1177"/>
                </a:moveTo>
                <a:lnTo>
                  <a:pt x="1122" y="1175"/>
                </a:lnTo>
                <a:lnTo>
                  <a:pt x="1121" y="1175"/>
                </a:lnTo>
                <a:lnTo>
                  <a:pt x="1120" y="1175"/>
                </a:lnTo>
                <a:lnTo>
                  <a:pt x="1119" y="1175"/>
                </a:lnTo>
                <a:lnTo>
                  <a:pt x="1121" y="1175"/>
                </a:lnTo>
                <a:lnTo>
                  <a:pt x="1124" y="1175"/>
                </a:lnTo>
                <a:lnTo>
                  <a:pt x="1124" y="1175"/>
                </a:lnTo>
                <a:lnTo>
                  <a:pt x="1125" y="1177"/>
                </a:lnTo>
                <a:close/>
                <a:moveTo>
                  <a:pt x="1122" y="1090"/>
                </a:moveTo>
                <a:lnTo>
                  <a:pt x="1121" y="1089"/>
                </a:lnTo>
                <a:lnTo>
                  <a:pt x="1120" y="1088"/>
                </a:lnTo>
                <a:lnTo>
                  <a:pt x="1125" y="1083"/>
                </a:lnTo>
                <a:lnTo>
                  <a:pt x="1130" y="1079"/>
                </a:lnTo>
                <a:lnTo>
                  <a:pt x="1132" y="1083"/>
                </a:lnTo>
                <a:lnTo>
                  <a:pt x="1133" y="1088"/>
                </a:lnTo>
                <a:lnTo>
                  <a:pt x="1128" y="1089"/>
                </a:lnTo>
                <a:lnTo>
                  <a:pt x="1122" y="1090"/>
                </a:lnTo>
                <a:close/>
                <a:moveTo>
                  <a:pt x="1144" y="1179"/>
                </a:moveTo>
                <a:lnTo>
                  <a:pt x="1144" y="1179"/>
                </a:lnTo>
                <a:lnTo>
                  <a:pt x="1142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lnTo>
                  <a:pt x="1144" y="1179"/>
                </a:lnTo>
                <a:close/>
                <a:moveTo>
                  <a:pt x="1155" y="1135"/>
                </a:moveTo>
                <a:lnTo>
                  <a:pt x="1154" y="1137"/>
                </a:lnTo>
                <a:lnTo>
                  <a:pt x="1152" y="1139"/>
                </a:lnTo>
                <a:lnTo>
                  <a:pt x="1151" y="1138"/>
                </a:lnTo>
                <a:lnTo>
                  <a:pt x="1149" y="1137"/>
                </a:lnTo>
                <a:lnTo>
                  <a:pt x="1152" y="1135"/>
                </a:lnTo>
                <a:lnTo>
                  <a:pt x="1153" y="1133"/>
                </a:lnTo>
                <a:lnTo>
                  <a:pt x="1154" y="1133"/>
                </a:lnTo>
                <a:lnTo>
                  <a:pt x="1155" y="1135"/>
                </a:lnTo>
                <a:close/>
                <a:moveTo>
                  <a:pt x="1147" y="1131"/>
                </a:moveTo>
                <a:lnTo>
                  <a:pt x="1147" y="1130"/>
                </a:lnTo>
                <a:lnTo>
                  <a:pt x="1146" y="1129"/>
                </a:lnTo>
                <a:lnTo>
                  <a:pt x="1149" y="1124"/>
                </a:lnTo>
                <a:lnTo>
                  <a:pt x="1152" y="1121"/>
                </a:lnTo>
                <a:lnTo>
                  <a:pt x="1154" y="1119"/>
                </a:lnTo>
                <a:lnTo>
                  <a:pt x="1156" y="1119"/>
                </a:lnTo>
                <a:lnTo>
                  <a:pt x="1156" y="1122"/>
                </a:lnTo>
                <a:lnTo>
                  <a:pt x="1156" y="1124"/>
                </a:lnTo>
                <a:lnTo>
                  <a:pt x="1152" y="1128"/>
                </a:lnTo>
                <a:lnTo>
                  <a:pt x="1147" y="1131"/>
                </a:lnTo>
                <a:close/>
                <a:moveTo>
                  <a:pt x="1175" y="1182"/>
                </a:moveTo>
                <a:lnTo>
                  <a:pt x="1175" y="1184"/>
                </a:lnTo>
                <a:lnTo>
                  <a:pt x="1175" y="1185"/>
                </a:lnTo>
                <a:lnTo>
                  <a:pt x="1169" y="1184"/>
                </a:lnTo>
                <a:lnTo>
                  <a:pt x="1163" y="1182"/>
                </a:lnTo>
                <a:lnTo>
                  <a:pt x="1162" y="1180"/>
                </a:lnTo>
                <a:lnTo>
                  <a:pt x="1161" y="1178"/>
                </a:lnTo>
                <a:lnTo>
                  <a:pt x="1160" y="1175"/>
                </a:lnTo>
                <a:lnTo>
                  <a:pt x="1161" y="1172"/>
                </a:lnTo>
                <a:lnTo>
                  <a:pt x="1162" y="1172"/>
                </a:lnTo>
                <a:lnTo>
                  <a:pt x="1163" y="1171"/>
                </a:lnTo>
                <a:lnTo>
                  <a:pt x="1169" y="1177"/>
                </a:lnTo>
                <a:lnTo>
                  <a:pt x="1175" y="1182"/>
                </a:lnTo>
                <a:lnTo>
                  <a:pt x="1175" y="1182"/>
                </a:lnTo>
                <a:lnTo>
                  <a:pt x="1175" y="1182"/>
                </a:lnTo>
                <a:close/>
                <a:moveTo>
                  <a:pt x="1175" y="1122"/>
                </a:moveTo>
                <a:lnTo>
                  <a:pt x="1174" y="1121"/>
                </a:lnTo>
                <a:lnTo>
                  <a:pt x="1172" y="1119"/>
                </a:lnTo>
                <a:lnTo>
                  <a:pt x="1170" y="1124"/>
                </a:lnTo>
                <a:lnTo>
                  <a:pt x="1169" y="1129"/>
                </a:lnTo>
                <a:lnTo>
                  <a:pt x="1168" y="1130"/>
                </a:lnTo>
                <a:lnTo>
                  <a:pt x="1167" y="1130"/>
                </a:lnTo>
                <a:lnTo>
                  <a:pt x="1166" y="1126"/>
                </a:lnTo>
                <a:lnTo>
                  <a:pt x="1166" y="1123"/>
                </a:lnTo>
                <a:lnTo>
                  <a:pt x="1167" y="1119"/>
                </a:lnTo>
                <a:lnTo>
                  <a:pt x="1169" y="1117"/>
                </a:lnTo>
                <a:lnTo>
                  <a:pt x="1172" y="1115"/>
                </a:lnTo>
                <a:lnTo>
                  <a:pt x="1172" y="1111"/>
                </a:lnTo>
                <a:lnTo>
                  <a:pt x="1169" y="1109"/>
                </a:lnTo>
                <a:lnTo>
                  <a:pt x="1166" y="1108"/>
                </a:lnTo>
                <a:lnTo>
                  <a:pt x="1166" y="1108"/>
                </a:lnTo>
                <a:lnTo>
                  <a:pt x="1165" y="1108"/>
                </a:lnTo>
                <a:lnTo>
                  <a:pt x="1151" y="1109"/>
                </a:lnTo>
                <a:lnTo>
                  <a:pt x="1138" y="1109"/>
                </a:lnTo>
                <a:lnTo>
                  <a:pt x="1133" y="1108"/>
                </a:lnTo>
                <a:lnTo>
                  <a:pt x="1127" y="1105"/>
                </a:lnTo>
                <a:lnTo>
                  <a:pt x="1139" y="1101"/>
                </a:lnTo>
                <a:lnTo>
                  <a:pt x="1149" y="1098"/>
                </a:lnTo>
                <a:lnTo>
                  <a:pt x="1153" y="1100"/>
                </a:lnTo>
                <a:lnTo>
                  <a:pt x="1156" y="1103"/>
                </a:lnTo>
                <a:lnTo>
                  <a:pt x="1156" y="1097"/>
                </a:lnTo>
                <a:lnTo>
                  <a:pt x="1158" y="1094"/>
                </a:lnTo>
                <a:lnTo>
                  <a:pt x="1163" y="1090"/>
                </a:lnTo>
                <a:lnTo>
                  <a:pt x="1172" y="1088"/>
                </a:lnTo>
                <a:lnTo>
                  <a:pt x="1168" y="1093"/>
                </a:lnTo>
                <a:lnTo>
                  <a:pt x="1165" y="1095"/>
                </a:lnTo>
                <a:lnTo>
                  <a:pt x="1162" y="1096"/>
                </a:lnTo>
                <a:lnTo>
                  <a:pt x="1161" y="1098"/>
                </a:lnTo>
                <a:lnTo>
                  <a:pt x="1161" y="1101"/>
                </a:lnTo>
                <a:lnTo>
                  <a:pt x="1162" y="1103"/>
                </a:lnTo>
                <a:lnTo>
                  <a:pt x="1167" y="1103"/>
                </a:lnTo>
                <a:lnTo>
                  <a:pt x="1170" y="1104"/>
                </a:lnTo>
                <a:lnTo>
                  <a:pt x="1173" y="1105"/>
                </a:lnTo>
                <a:lnTo>
                  <a:pt x="1176" y="1109"/>
                </a:lnTo>
                <a:lnTo>
                  <a:pt x="1177" y="1112"/>
                </a:lnTo>
                <a:lnTo>
                  <a:pt x="1180" y="1116"/>
                </a:lnTo>
                <a:lnTo>
                  <a:pt x="1179" y="1117"/>
                </a:lnTo>
                <a:lnTo>
                  <a:pt x="1175" y="1122"/>
                </a:lnTo>
                <a:close/>
                <a:moveTo>
                  <a:pt x="1224" y="1154"/>
                </a:moveTo>
                <a:lnTo>
                  <a:pt x="1225" y="1153"/>
                </a:lnTo>
                <a:lnTo>
                  <a:pt x="1225" y="1151"/>
                </a:lnTo>
                <a:lnTo>
                  <a:pt x="1225" y="1152"/>
                </a:lnTo>
                <a:lnTo>
                  <a:pt x="1227" y="1154"/>
                </a:lnTo>
                <a:lnTo>
                  <a:pt x="1225" y="1154"/>
                </a:lnTo>
                <a:lnTo>
                  <a:pt x="1224" y="1154"/>
                </a:lnTo>
                <a:close/>
                <a:moveTo>
                  <a:pt x="1237" y="1230"/>
                </a:moveTo>
                <a:lnTo>
                  <a:pt x="1231" y="1229"/>
                </a:lnTo>
                <a:lnTo>
                  <a:pt x="1227" y="1229"/>
                </a:lnTo>
                <a:lnTo>
                  <a:pt x="1222" y="1228"/>
                </a:lnTo>
                <a:lnTo>
                  <a:pt x="1218" y="1226"/>
                </a:lnTo>
                <a:lnTo>
                  <a:pt x="1215" y="1223"/>
                </a:lnTo>
                <a:lnTo>
                  <a:pt x="1211" y="1221"/>
                </a:lnTo>
                <a:lnTo>
                  <a:pt x="1210" y="1217"/>
                </a:lnTo>
                <a:lnTo>
                  <a:pt x="1209" y="1215"/>
                </a:lnTo>
                <a:lnTo>
                  <a:pt x="1223" y="1222"/>
                </a:lnTo>
                <a:lnTo>
                  <a:pt x="1237" y="1230"/>
                </a:lnTo>
                <a:close/>
                <a:moveTo>
                  <a:pt x="1253" y="1111"/>
                </a:moveTo>
                <a:lnTo>
                  <a:pt x="1252" y="1112"/>
                </a:lnTo>
                <a:lnTo>
                  <a:pt x="1252" y="1115"/>
                </a:lnTo>
                <a:lnTo>
                  <a:pt x="1245" y="1114"/>
                </a:lnTo>
                <a:lnTo>
                  <a:pt x="1238" y="1112"/>
                </a:lnTo>
                <a:lnTo>
                  <a:pt x="1238" y="1111"/>
                </a:lnTo>
                <a:lnTo>
                  <a:pt x="1238" y="1109"/>
                </a:lnTo>
                <a:lnTo>
                  <a:pt x="1239" y="1107"/>
                </a:lnTo>
                <a:lnTo>
                  <a:pt x="1242" y="1105"/>
                </a:lnTo>
                <a:lnTo>
                  <a:pt x="1248" y="1108"/>
                </a:lnTo>
                <a:lnTo>
                  <a:pt x="1253" y="1111"/>
                </a:lnTo>
                <a:close/>
                <a:moveTo>
                  <a:pt x="1265" y="1109"/>
                </a:moveTo>
                <a:lnTo>
                  <a:pt x="1270" y="1110"/>
                </a:lnTo>
                <a:lnTo>
                  <a:pt x="1273" y="1112"/>
                </a:lnTo>
                <a:lnTo>
                  <a:pt x="1270" y="1114"/>
                </a:lnTo>
                <a:lnTo>
                  <a:pt x="1265" y="1116"/>
                </a:lnTo>
                <a:lnTo>
                  <a:pt x="1265" y="1115"/>
                </a:lnTo>
                <a:lnTo>
                  <a:pt x="1265" y="1115"/>
                </a:lnTo>
                <a:lnTo>
                  <a:pt x="1264" y="1115"/>
                </a:lnTo>
                <a:lnTo>
                  <a:pt x="1263" y="1115"/>
                </a:lnTo>
                <a:lnTo>
                  <a:pt x="1259" y="1112"/>
                </a:lnTo>
                <a:lnTo>
                  <a:pt x="1256" y="1111"/>
                </a:lnTo>
                <a:lnTo>
                  <a:pt x="1259" y="1110"/>
                </a:lnTo>
                <a:lnTo>
                  <a:pt x="1264" y="1109"/>
                </a:lnTo>
                <a:lnTo>
                  <a:pt x="1265" y="1109"/>
                </a:lnTo>
                <a:lnTo>
                  <a:pt x="1265" y="1109"/>
                </a:lnTo>
                <a:close/>
                <a:moveTo>
                  <a:pt x="1272" y="1097"/>
                </a:moveTo>
                <a:lnTo>
                  <a:pt x="1271" y="1097"/>
                </a:lnTo>
                <a:lnTo>
                  <a:pt x="1270" y="1098"/>
                </a:lnTo>
                <a:lnTo>
                  <a:pt x="1267" y="1097"/>
                </a:lnTo>
                <a:lnTo>
                  <a:pt x="1265" y="1095"/>
                </a:lnTo>
                <a:lnTo>
                  <a:pt x="1265" y="1086"/>
                </a:lnTo>
                <a:lnTo>
                  <a:pt x="1265" y="1076"/>
                </a:lnTo>
                <a:lnTo>
                  <a:pt x="1267" y="1076"/>
                </a:lnTo>
                <a:lnTo>
                  <a:pt x="1269" y="1076"/>
                </a:lnTo>
                <a:lnTo>
                  <a:pt x="1272" y="1079"/>
                </a:lnTo>
                <a:lnTo>
                  <a:pt x="1273" y="1081"/>
                </a:lnTo>
                <a:lnTo>
                  <a:pt x="1273" y="1084"/>
                </a:lnTo>
                <a:lnTo>
                  <a:pt x="1272" y="1087"/>
                </a:lnTo>
                <a:lnTo>
                  <a:pt x="1271" y="1089"/>
                </a:lnTo>
                <a:lnTo>
                  <a:pt x="1271" y="1091"/>
                </a:lnTo>
                <a:lnTo>
                  <a:pt x="1271" y="1095"/>
                </a:lnTo>
                <a:lnTo>
                  <a:pt x="1272" y="1097"/>
                </a:lnTo>
                <a:close/>
                <a:moveTo>
                  <a:pt x="1265" y="998"/>
                </a:moveTo>
                <a:lnTo>
                  <a:pt x="1272" y="995"/>
                </a:lnTo>
                <a:lnTo>
                  <a:pt x="1279" y="992"/>
                </a:lnTo>
                <a:lnTo>
                  <a:pt x="1285" y="992"/>
                </a:lnTo>
                <a:lnTo>
                  <a:pt x="1291" y="993"/>
                </a:lnTo>
                <a:lnTo>
                  <a:pt x="1291" y="995"/>
                </a:lnTo>
                <a:lnTo>
                  <a:pt x="1291" y="997"/>
                </a:lnTo>
                <a:lnTo>
                  <a:pt x="1284" y="998"/>
                </a:lnTo>
                <a:lnTo>
                  <a:pt x="1278" y="1000"/>
                </a:lnTo>
                <a:lnTo>
                  <a:pt x="1277" y="999"/>
                </a:lnTo>
                <a:lnTo>
                  <a:pt x="1277" y="999"/>
                </a:lnTo>
                <a:lnTo>
                  <a:pt x="1275" y="1005"/>
                </a:lnTo>
                <a:lnTo>
                  <a:pt x="1272" y="1012"/>
                </a:lnTo>
                <a:lnTo>
                  <a:pt x="1282" y="1010"/>
                </a:lnTo>
                <a:lnTo>
                  <a:pt x="1291" y="1009"/>
                </a:lnTo>
                <a:lnTo>
                  <a:pt x="1280" y="1021"/>
                </a:lnTo>
                <a:lnTo>
                  <a:pt x="1271" y="1033"/>
                </a:lnTo>
                <a:lnTo>
                  <a:pt x="1271" y="1033"/>
                </a:lnTo>
                <a:lnTo>
                  <a:pt x="1272" y="1034"/>
                </a:lnTo>
                <a:lnTo>
                  <a:pt x="1278" y="1030"/>
                </a:lnTo>
                <a:lnTo>
                  <a:pt x="1285" y="1025"/>
                </a:lnTo>
                <a:lnTo>
                  <a:pt x="1284" y="1030"/>
                </a:lnTo>
                <a:lnTo>
                  <a:pt x="1284" y="1033"/>
                </a:lnTo>
                <a:lnTo>
                  <a:pt x="1289" y="1034"/>
                </a:lnTo>
                <a:lnTo>
                  <a:pt x="1298" y="1037"/>
                </a:lnTo>
                <a:lnTo>
                  <a:pt x="1291" y="1040"/>
                </a:lnTo>
                <a:lnTo>
                  <a:pt x="1285" y="1042"/>
                </a:lnTo>
                <a:lnTo>
                  <a:pt x="1279" y="1046"/>
                </a:lnTo>
                <a:lnTo>
                  <a:pt x="1273" y="1048"/>
                </a:lnTo>
                <a:lnTo>
                  <a:pt x="1270" y="1048"/>
                </a:lnTo>
                <a:lnTo>
                  <a:pt x="1265" y="1047"/>
                </a:lnTo>
                <a:lnTo>
                  <a:pt x="1265" y="1046"/>
                </a:lnTo>
                <a:lnTo>
                  <a:pt x="1264" y="1045"/>
                </a:lnTo>
                <a:lnTo>
                  <a:pt x="1260" y="1051"/>
                </a:lnTo>
                <a:lnTo>
                  <a:pt x="1256" y="1055"/>
                </a:lnTo>
                <a:lnTo>
                  <a:pt x="1253" y="1056"/>
                </a:lnTo>
                <a:lnTo>
                  <a:pt x="1251" y="1056"/>
                </a:lnTo>
                <a:lnTo>
                  <a:pt x="1250" y="1055"/>
                </a:lnTo>
                <a:lnTo>
                  <a:pt x="1248" y="1052"/>
                </a:lnTo>
                <a:lnTo>
                  <a:pt x="1245" y="1055"/>
                </a:lnTo>
                <a:lnTo>
                  <a:pt x="1244" y="1058"/>
                </a:lnTo>
                <a:lnTo>
                  <a:pt x="1244" y="1060"/>
                </a:lnTo>
                <a:lnTo>
                  <a:pt x="1246" y="1061"/>
                </a:lnTo>
                <a:lnTo>
                  <a:pt x="1250" y="1063"/>
                </a:lnTo>
                <a:lnTo>
                  <a:pt x="1251" y="1066"/>
                </a:lnTo>
                <a:lnTo>
                  <a:pt x="1251" y="1068"/>
                </a:lnTo>
                <a:lnTo>
                  <a:pt x="1249" y="1073"/>
                </a:lnTo>
                <a:lnTo>
                  <a:pt x="1255" y="1073"/>
                </a:lnTo>
                <a:lnTo>
                  <a:pt x="1260" y="1073"/>
                </a:lnTo>
                <a:lnTo>
                  <a:pt x="1260" y="1073"/>
                </a:lnTo>
                <a:lnTo>
                  <a:pt x="1262" y="1074"/>
                </a:lnTo>
                <a:lnTo>
                  <a:pt x="1259" y="1076"/>
                </a:lnTo>
                <a:lnTo>
                  <a:pt x="1257" y="1077"/>
                </a:lnTo>
                <a:lnTo>
                  <a:pt x="1253" y="1079"/>
                </a:lnTo>
                <a:lnTo>
                  <a:pt x="1250" y="1080"/>
                </a:lnTo>
                <a:lnTo>
                  <a:pt x="1251" y="1083"/>
                </a:lnTo>
                <a:lnTo>
                  <a:pt x="1253" y="1087"/>
                </a:lnTo>
                <a:lnTo>
                  <a:pt x="1250" y="1088"/>
                </a:lnTo>
                <a:lnTo>
                  <a:pt x="1248" y="1089"/>
                </a:lnTo>
                <a:lnTo>
                  <a:pt x="1245" y="1084"/>
                </a:lnTo>
                <a:lnTo>
                  <a:pt x="1243" y="1081"/>
                </a:lnTo>
                <a:lnTo>
                  <a:pt x="1244" y="1080"/>
                </a:lnTo>
                <a:lnTo>
                  <a:pt x="1245" y="1079"/>
                </a:lnTo>
                <a:lnTo>
                  <a:pt x="1237" y="1077"/>
                </a:lnTo>
                <a:lnTo>
                  <a:pt x="1230" y="1075"/>
                </a:lnTo>
                <a:lnTo>
                  <a:pt x="1231" y="1070"/>
                </a:lnTo>
                <a:lnTo>
                  <a:pt x="1232" y="1066"/>
                </a:lnTo>
                <a:lnTo>
                  <a:pt x="1235" y="1066"/>
                </a:lnTo>
                <a:lnTo>
                  <a:pt x="1237" y="1067"/>
                </a:lnTo>
                <a:lnTo>
                  <a:pt x="1239" y="1065"/>
                </a:lnTo>
                <a:lnTo>
                  <a:pt x="1239" y="1062"/>
                </a:lnTo>
                <a:lnTo>
                  <a:pt x="1239" y="1060"/>
                </a:lnTo>
                <a:lnTo>
                  <a:pt x="1239" y="1059"/>
                </a:lnTo>
                <a:lnTo>
                  <a:pt x="1236" y="1055"/>
                </a:lnTo>
                <a:lnTo>
                  <a:pt x="1229" y="1052"/>
                </a:lnTo>
                <a:lnTo>
                  <a:pt x="1227" y="1059"/>
                </a:lnTo>
                <a:lnTo>
                  <a:pt x="1224" y="1063"/>
                </a:lnTo>
                <a:lnTo>
                  <a:pt x="1218" y="1067"/>
                </a:lnTo>
                <a:lnTo>
                  <a:pt x="1210" y="1069"/>
                </a:lnTo>
                <a:lnTo>
                  <a:pt x="1217" y="1070"/>
                </a:lnTo>
                <a:lnTo>
                  <a:pt x="1222" y="1072"/>
                </a:lnTo>
                <a:lnTo>
                  <a:pt x="1222" y="1073"/>
                </a:lnTo>
                <a:lnTo>
                  <a:pt x="1223" y="1074"/>
                </a:lnTo>
                <a:lnTo>
                  <a:pt x="1216" y="1076"/>
                </a:lnTo>
                <a:lnTo>
                  <a:pt x="1209" y="1079"/>
                </a:lnTo>
                <a:lnTo>
                  <a:pt x="1207" y="1077"/>
                </a:lnTo>
                <a:lnTo>
                  <a:pt x="1204" y="1075"/>
                </a:lnTo>
                <a:lnTo>
                  <a:pt x="1204" y="1072"/>
                </a:lnTo>
                <a:lnTo>
                  <a:pt x="1206" y="1069"/>
                </a:lnTo>
                <a:lnTo>
                  <a:pt x="1213" y="1063"/>
                </a:lnTo>
                <a:lnTo>
                  <a:pt x="1218" y="1058"/>
                </a:lnTo>
                <a:lnTo>
                  <a:pt x="1217" y="1056"/>
                </a:lnTo>
                <a:lnTo>
                  <a:pt x="1217" y="1054"/>
                </a:lnTo>
                <a:lnTo>
                  <a:pt x="1211" y="1056"/>
                </a:lnTo>
                <a:lnTo>
                  <a:pt x="1207" y="1059"/>
                </a:lnTo>
                <a:lnTo>
                  <a:pt x="1202" y="1060"/>
                </a:lnTo>
                <a:lnTo>
                  <a:pt x="1198" y="1061"/>
                </a:lnTo>
                <a:lnTo>
                  <a:pt x="1196" y="1054"/>
                </a:lnTo>
                <a:lnTo>
                  <a:pt x="1195" y="1048"/>
                </a:lnTo>
                <a:lnTo>
                  <a:pt x="1195" y="1047"/>
                </a:lnTo>
                <a:lnTo>
                  <a:pt x="1195" y="1046"/>
                </a:lnTo>
                <a:lnTo>
                  <a:pt x="1189" y="1046"/>
                </a:lnTo>
                <a:lnTo>
                  <a:pt x="1182" y="1046"/>
                </a:lnTo>
                <a:lnTo>
                  <a:pt x="1187" y="1051"/>
                </a:lnTo>
                <a:lnTo>
                  <a:pt x="1190" y="1056"/>
                </a:lnTo>
                <a:lnTo>
                  <a:pt x="1193" y="1062"/>
                </a:lnTo>
                <a:lnTo>
                  <a:pt x="1194" y="1069"/>
                </a:lnTo>
                <a:lnTo>
                  <a:pt x="1190" y="1068"/>
                </a:lnTo>
                <a:lnTo>
                  <a:pt x="1188" y="1066"/>
                </a:lnTo>
                <a:lnTo>
                  <a:pt x="1187" y="1063"/>
                </a:lnTo>
                <a:lnTo>
                  <a:pt x="1187" y="1060"/>
                </a:lnTo>
                <a:lnTo>
                  <a:pt x="1186" y="1056"/>
                </a:lnTo>
                <a:lnTo>
                  <a:pt x="1184" y="1054"/>
                </a:lnTo>
                <a:lnTo>
                  <a:pt x="1181" y="1055"/>
                </a:lnTo>
                <a:lnTo>
                  <a:pt x="1177" y="1058"/>
                </a:lnTo>
                <a:lnTo>
                  <a:pt x="1181" y="1061"/>
                </a:lnTo>
                <a:lnTo>
                  <a:pt x="1184" y="1065"/>
                </a:lnTo>
                <a:lnTo>
                  <a:pt x="1179" y="1065"/>
                </a:lnTo>
                <a:lnTo>
                  <a:pt x="1174" y="1063"/>
                </a:lnTo>
                <a:lnTo>
                  <a:pt x="1174" y="1065"/>
                </a:lnTo>
                <a:lnTo>
                  <a:pt x="1174" y="1066"/>
                </a:lnTo>
                <a:lnTo>
                  <a:pt x="1176" y="1067"/>
                </a:lnTo>
                <a:lnTo>
                  <a:pt x="1177" y="1068"/>
                </a:lnTo>
                <a:lnTo>
                  <a:pt x="1180" y="1070"/>
                </a:lnTo>
                <a:lnTo>
                  <a:pt x="1181" y="1073"/>
                </a:lnTo>
                <a:lnTo>
                  <a:pt x="1177" y="1074"/>
                </a:lnTo>
                <a:lnTo>
                  <a:pt x="1175" y="1075"/>
                </a:lnTo>
                <a:lnTo>
                  <a:pt x="1170" y="1069"/>
                </a:lnTo>
                <a:lnTo>
                  <a:pt x="1166" y="1063"/>
                </a:lnTo>
                <a:lnTo>
                  <a:pt x="1161" y="1067"/>
                </a:lnTo>
                <a:lnTo>
                  <a:pt x="1154" y="1072"/>
                </a:lnTo>
                <a:lnTo>
                  <a:pt x="1158" y="1075"/>
                </a:lnTo>
                <a:lnTo>
                  <a:pt x="1160" y="1079"/>
                </a:lnTo>
                <a:lnTo>
                  <a:pt x="1163" y="1080"/>
                </a:lnTo>
                <a:lnTo>
                  <a:pt x="1167" y="1080"/>
                </a:lnTo>
                <a:lnTo>
                  <a:pt x="1173" y="1081"/>
                </a:lnTo>
                <a:lnTo>
                  <a:pt x="1177" y="1083"/>
                </a:lnTo>
                <a:lnTo>
                  <a:pt x="1180" y="1086"/>
                </a:lnTo>
                <a:lnTo>
                  <a:pt x="1181" y="1089"/>
                </a:lnTo>
                <a:lnTo>
                  <a:pt x="1180" y="1093"/>
                </a:lnTo>
                <a:lnTo>
                  <a:pt x="1179" y="1096"/>
                </a:lnTo>
                <a:lnTo>
                  <a:pt x="1176" y="1094"/>
                </a:lnTo>
                <a:lnTo>
                  <a:pt x="1175" y="1093"/>
                </a:lnTo>
                <a:lnTo>
                  <a:pt x="1173" y="1087"/>
                </a:lnTo>
                <a:lnTo>
                  <a:pt x="1170" y="1084"/>
                </a:lnTo>
                <a:lnTo>
                  <a:pt x="1167" y="1084"/>
                </a:lnTo>
                <a:lnTo>
                  <a:pt x="1161" y="1086"/>
                </a:lnTo>
                <a:lnTo>
                  <a:pt x="1156" y="1086"/>
                </a:lnTo>
                <a:lnTo>
                  <a:pt x="1152" y="1086"/>
                </a:lnTo>
                <a:lnTo>
                  <a:pt x="1149" y="1086"/>
                </a:lnTo>
                <a:lnTo>
                  <a:pt x="1147" y="1086"/>
                </a:lnTo>
                <a:lnTo>
                  <a:pt x="1144" y="1086"/>
                </a:lnTo>
                <a:lnTo>
                  <a:pt x="1140" y="1086"/>
                </a:lnTo>
                <a:lnTo>
                  <a:pt x="1140" y="1082"/>
                </a:lnTo>
                <a:lnTo>
                  <a:pt x="1140" y="1079"/>
                </a:lnTo>
                <a:lnTo>
                  <a:pt x="1141" y="1077"/>
                </a:lnTo>
                <a:lnTo>
                  <a:pt x="1141" y="1076"/>
                </a:lnTo>
                <a:lnTo>
                  <a:pt x="1132" y="1077"/>
                </a:lnTo>
                <a:lnTo>
                  <a:pt x="1124" y="1079"/>
                </a:lnTo>
                <a:lnTo>
                  <a:pt x="1121" y="1081"/>
                </a:lnTo>
                <a:lnTo>
                  <a:pt x="1119" y="1083"/>
                </a:lnTo>
                <a:lnTo>
                  <a:pt x="1115" y="1084"/>
                </a:lnTo>
                <a:lnTo>
                  <a:pt x="1112" y="1084"/>
                </a:lnTo>
                <a:lnTo>
                  <a:pt x="1111" y="1082"/>
                </a:lnTo>
                <a:lnTo>
                  <a:pt x="1111" y="1080"/>
                </a:lnTo>
                <a:lnTo>
                  <a:pt x="1111" y="1079"/>
                </a:lnTo>
                <a:lnTo>
                  <a:pt x="1112" y="1077"/>
                </a:lnTo>
                <a:lnTo>
                  <a:pt x="1111" y="1074"/>
                </a:lnTo>
                <a:lnTo>
                  <a:pt x="1111" y="1070"/>
                </a:lnTo>
                <a:lnTo>
                  <a:pt x="1112" y="1067"/>
                </a:lnTo>
                <a:lnTo>
                  <a:pt x="1114" y="1065"/>
                </a:lnTo>
                <a:lnTo>
                  <a:pt x="1119" y="1061"/>
                </a:lnTo>
                <a:lnTo>
                  <a:pt x="1125" y="1059"/>
                </a:lnTo>
                <a:lnTo>
                  <a:pt x="1131" y="1056"/>
                </a:lnTo>
                <a:lnTo>
                  <a:pt x="1137" y="1053"/>
                </a:lnTo>
                <a:lnTo>
                  <a:pt x="1142" y="1051"/>
                </a:lnTo>
                <a:lnTo>
                  <a:pt x="1148" y="1051"/>
                </a:lnTo>
                <a:lnTo>
                  <a:pt x="1152" y="1048"/>
                </a:lnTo>
                <a:lnTo>
                  <a:pt x="1154" y="1045"/>
                </a:lnTo>
                <a:lnTo>
                  <a:pt x="1166" y="1039"/>
                </a:lnTo>
                <a:lnTo>
                  <a:pt x="1176" y="1033"/>
                </a:lnTo>
                <a:lnTo>
                  <a:pt x="1179" y="1035"/>
                </a:lnTo>
                <a:lnTo>
                  <a:pt x="1179" y="1038"/>
                </a:lnTo>
                <a:lnTo>
                  <a:pt x="1177" y="1040"/>
                </a:lnTo>
                <a:lnTo>
                  <a:pt x="1175" y="1042"/>
                </a:lnTo>
                <a:lnTo>
                  <a:pt x="1173" y="1044"/>
                </a:lnTo>
                <a:lnTo>
                  <a:pt x="1173" y="1047"/>
                </a:lnTo>
                <a:lnTo>
                  <a:pt x="1177" y="1045"/>
                </a:lnTo>
                <a:lnTo>
                  <a:pt x="1183" y="1041"/>
                </a:lnTo>
                <a:lnTo>
                  <a:pt x="1186" y="1040"/>
                </a:lnTo>
                <a:lnTo>
                  <a:pt x="1187" y="1039"/>
                </a:lnTo>
                <a:lnTo>
                  <a:pt x="1187" y="1038"/>
                </a:lnTo>
                <a:lnTo>
                  <a:pt x="1187" y="1035"/>
                </a:lnTo>
                <a:lnTo>
                  <a:pt x="1186" y="1032"/>
                </a:lnTo>
                <a:lnTo>
                  <a:pt x="1184" y="1028"/>
                </a:lnTo>
                <a:lnTo>
                  <a:pt x="1198" y="1024"/>
                </a:lnTo>
                <a:lnTo>
                  <a:pt x="1211" y="1018"/>
                </a:lnTo>
                <a:lnTo>
                  <a:pt x="1215" y="1017"/>
                </a:lnTo>
                <a:lnTo>
                  <a:pt x="1217" y="1014"/>
                </a:lnTo>
                <a:lnTo>
                  <a:pt x="1221" y="1012"/>
                </a:lnTo>
                <a:lnTo>
                  <a:pt x="1224" y="1010"/>
                </a:lnTo>
                <a:lnTo>
                  <a:pt x="1232" y="1006"/>
                </a:lnTo>
                <a:lnTo>
                  <a:pt x="1239" y="1002"/>
                </a:lnTo>
                <a:lnTo>
                  <a:pt x="1248" y="998"/>
                </a:lnTo>
                <a:lnTo>
                  <a:pt x="1255" y="995"/>
                </a:lnTo>
                <a:lnTo>
                  <a:pt x="1258" y="993"/>
                </a:lnTo>
                <a:lnTo>
                  <a:pt x="1260" y="993"/>
                </a:lnTo>
                <a:lnTo>
                  <a:pt x="1263" y="995"/>
                </a:lnTo>
                <a:lnTo>
                  <a:pt x="1265" y="998"/>
                </a:lnTo>
                <a:close/>
                <a:moveTo>
                  <a:pt x="1267" y="925"/>
                </a:moveTo>
                <a:lnTo>
                  <a:pt x="1270" y="928"/>
                </a:lnTo>
                <a:lnTo>
                  <a:pt x="1272" y="930"/>
                </a:lnTo>
                <a:lnTo>
                  <a:pt x="1271" y="935"/>
                </a:lnTo>
                <a:lnTo>
                  <a:pt x="1269" y="939"/>
                </a:lnTo>
                <a:lnTo>
                  <a:pt x="1267" y="939"/>
                </a:lnTo>
                <a:lnTo>
                  <a:pt x="1266" y="939"/>
                </a:lnTo>
                <a:lnTo>
                  <a:pt x="1264" y="934"/>
                </a:lnTo>
                <a:lnTo>
                  <a:pt x="1263" y="930"/>
                </a:lnTo>
                <a:lnTo>
                  <a:pt x="1264" y="928"/>
                </a:lnTo>
                <a:lnTo>
                  <a:pt x="1267" y="925"/>
                </a:lnTo>
                <a:close/>
                <a:moveTo>
                  <a:pt x="1291" y="1105"/>
                </a:moveTo>
                <a:lnTo>
                  <a:pt x="1290" y="1103"/>
                </a:lnTo>
                <a:lnTo>
                  <a:pt x="1289" y="1101"/>
                </a:lnTo>
                <a:lnTo>
                  <a:pt x="1291" y="1100"/>
                </a:lnTo>
                <a:lnTo>
                  <a:pt x="1293" y="1100"/>
                </a:lnTo>
                <a:lnTo>
                  <a:pt x="1294" y="1100"/>
                </a:lnTo>
                <a:lnTo>
                  <a:pt x="1296" y="1102"/>
                </a:lnTo>
                <a:lnTo>
                  <a:pt x="1299" y="1104"/>
                </a:lnTo>
                <a:lnTo>
                  <a:pt x="1304" y="1105"/>
                </a:lnTo>
                <a:lnTo>
                  <a:pt x="1298" y="1110"/>
                </a:lnTo>
                <a:lnTo>
                  <a:pt x="1292" y="1114"/>
                </a:lnTo>
                <a:lnTo>
                  <a:pt x="1289" y="1114"/>
                </a:lnTo>
                <a:lnTo>
                  <a:pt x="1286" y="1115"/>
                </a:lnTo>
                <a:lnTo>
                  <a:pt x="1283" y="1114"/>
                </a:lnTo>
                <a:lnTo>
                  <a:pt x="1278" y="1112"/>
                </a:lnTo>
                <a:lnTo>
                  <a:pt x="1285" y="1109"/>
                </a:lnTo>
                <a:lnTo>
                  <a:pt x="1291" y="1105"/>
                </a:lnTo>
                <a:close/>
                <a:moveTo>
                  <a:pt x="1300" y="1083"/>
                </a:moveTo>
                <a:lnTo>
                  <a:pt x="1300" y="1084"/>
                </a:lnTo>
                <a:lnTo>
                  <a:pt x="1300" y="1086"/>
                </a:lnTo>
                <a:lnTo>
                  <a:pt x="1296" y="1086"/>
                </a:lnTo>
                <a:lnTo>
                  <a:pt x="1290" y="1087"/>
                </a:lnTo>
                <a:lnTo>
                  <a:pt x="1292" y="1089"/>
                </a:lnTo>
                <a:lnTo>
                  <a:pt x="1294" y="1090"/>
                </a:lnTo>
                <a:lnTo>
                  <a:pt x="1289" y="1094"/>
                </a:lnTo>
                <a:lnTo>
                  <a:pt x="1284" y="1097"/>
                </a:lnTo>
                <a:lnTo>
                  <a:pt x="1283" y="1097"/>
                </a:lnTo>
                <a:lnTo>
                  <a:pt x="1283" y="1096"/>
                </a:lnTo>
                <a:lnTo>
                  <a:pt x="1284" y="1094"/>
                </a:lnTo>
                <a:lnTo>
                  <a:pt x="1285" y="1091"/>
                </a:lnTo>
                <a:lnTo>
                  <a:pt x="1282" y="1091"/>
                </a:lnTo>
                <a:lnTo>
                  <a:pt x="1276" y="1090"/>
                </a:lnTo>
                <a:lnTo>
                  <a:pt x="1279" y="1081"/>
                </a:lnTo>
                <a:lnTo>
                  <a:pt x="1284" y="1073"/>
                </a:lnTo>
                <a:lnTo>
                  <a:pt x="1290" y="1073"/>
                </a:lnTo>
                <a:lnTo>
                  <a:pt x="1296" y="1073"/>
                </a:lnTo>
                <a:lnTo>
                  <a:pt x="1296" y="1074"/>
                </a:lnTo>
                <a:lnTo>
                  <a:pt x="1294" y="1076"/>
                </a:lnTo>
                <a:lnTo>
                  <a:pt x="1293" y="1077"/>
                </a:lnTo>
                <a:lnTo>
                  <a:pt x="1291" y="1081"/>
                </a:lnTo>
                <a:lnTo>
                  <a:pt x="1296" y="1082"/>
                </a:lnTo>
                <a:lnTo>
                  <a:pt x="1300" y="1083"/>
                </a:lnTo>
                <a:close/>
                <a:moveTo>
                  <a:pt x="1304" y="1055"/>
                </a:moveTo>
                <a:lnTo>
                  <a:pt x="1304" y="1056"/>
                </a:lnTo>
                <a:lnTo>
                  <a:pt x="1304" y="1058"/>
                </a:lnTo>
                <a:lnTo>
                  <a:pt x="1299" y="1059"/>
                </a:lnTo>
                <a:lnTo>
                  <a:pt x="1293" y="1061"/>
                </a:lnTo>
                <a:lnTo>
                  <a:pt x="1292" y="1055"/>
                </a:lnTo>
                <a:lnTo>
                  <a:pt x="1292" y="1051"/>
                </a:lnTo>
                <a:lnTo>
                  <a:pt x="1298" y="1053"/>
                </a:lnTo>
                <a:lnTo>
                  <a:pt x="1304" y="1055"/>
                </a:lnTo>
                <a:close/>
                <a:moveTo>
                  <a:pt x="1318" y="1011"/>
                </a:moveTo>
                <a:lnTo>
                  <a:pt x="1320" y="1012"/>
                </a:lnTo>
                <a:lnTo>
                  <a:pt x="1322" y="1014"/>
                </a:lnTo>
                <a:lnTo>
                  <a:pt x="1320" y="1016"/>
                </a:lnTo>
                <a:lnTo>
                  <a:pt x="1318" y="1018"/>
                </a:lnTo>
                <a:lnTo>
                  <a:pt x="1314" y="1021"/>
                </a:lnTo>
                <a:lnTo>
                  <a:pt x="1311" y="1025"/>
                </a:lnTo>
                <a:lnTo>
                  <a:pt x="1308" y="1026"/>
                </a:lnTo>
                <a:lnTo>
                  <a:pt x="1306" y="1028"/>
                </a:lnTo>
                <a:lnTo>
                  <a:pt x="1305" y="1026"/>
                </a:lnTo>
                <a:lnTo>
                  <a:pt x="1304" y="1024"/>
                </a:lnTo>
                <a:lnTo>
                  <a:pt x="1304" y="1020"/>
                </a:lnTo>
                <a:lnTo>
                  <a:pt x="1304" y="1018"/>
                </a:lnTo>
                <a:lnTo>
                  <a:pt x="1305" y="1016"/>
                </a:lnTo>
                <a:lnTo>
                  <a:pt x="1306" y="1014"/>
                </a:lnTo>
                <a:lnTo>
                  <a:pt x="1311" y="1011"/>
                </a:lnTo>
                <a:lnTo>
                  <a:pt x="1318" y="1011"/>
                </a:lnTo>
                <a:close/>
                <a:moveTo>
                  <a:pt x="1361" y="1159"/>
                </a:moveTo>
                <a:lnTo>
                  <a:pt x="1363" y="1161"/>
                </a:lnTo>
                <a:lnTo>
                  <a:pt x="1363" y="1165"/>
                </a:lnTo>
                <a:lnTo>
                  <a:pt x="1362" y="1167"/>
                </a:lnTo>
                <a:lnTo>
                  <a:pt x="1360" y="1171"/>
                </a:lnTo>
                <a:lnTo>
                  <a:pt x="1358" y="1172"/>
                </a:lnTo>
                <a:lnTo>
                  <a:pt x="1356" y="1173"/>
                </a:lnTo>
                <a:lnTo>
                  <a:pt x="1354" y="1172"/>
                </a:lnTo>
                <a:lnTo>
                  <a:pt x="1353" y="1170"/>
                </a:lnTo>
                <a:lnTo>
                  <a:pt x="1356" y="1165"/>
                </a:lnTo>
                <a:lnTo>
                  <a:pt x="1361" y="1159"/>
                </a:lnTo>
                <a:close/>
                <a:moveTo>
                  <a:pt x="1080" y="1299"/>
                </a:moveTo>
                <a:lnTo>
                  <a:pt x="1085" y="1298"/>
                </a:lnTo>
                <a:lnTo>
                  <a:pt x="1091" y="1299"/>
                </a:lnTo>
                <a:lnTo>
                  <a:pt x="1097" y="1303"/>
                </a:lnTo>
                <a:lnTo>
                  <a:pt x="1101" y="1306"/>
                </a:lnTo>
                <a:lnTo>
                  <a:pt x="1090" y="1303"/>
                </a:lnTo>
                <a:lnTo>
                  <a:pt x="1080" y="1299"/>
                </a:lnTo>
                <a:lnTo>
                  <a:pt x="1080" y="1299"/>
                </a:lnTo>
                <a:lnTo>
                  <a:pt x="1080" y="1299"/>
                </a:lnTo>
                <a:close/>
                <a:moveTo>
                  <a:pt x="459" y="816"/>
                </a:moveTo>
                <a:lnTo>
                  <a:pt x="458" y="813"/>
                </a:lnTo>
                <a:lnTo>
                  <a:pt x="457" y="810"/>
                </a:lnTo>
                <a:lnTo>
                  <a:pt x="458" y="793"/>
                </a:lnTo>
                <a:lnTo>
                  <a:pt x="459" y="776"/>
                </a:lnTo>
                <a:lnTo>
                  <a:pt x="461" y="772"/>
                </a:lnTo>
                <a:lnTo>
                  <a:pt x="463" y="767"/>
                </a:lnTo>
                <a:lnTo>
                  <a:pt x="466" y="764"/>
                </a:lnTo>
                <a:lnTo>
                  <a:pt x="471" y="761"/>
                </a:lnTo>
                <a:lnTo>
                  <a:pt x="473" y="767"/>
                </a:lnTo>
                <a:lnTo>
                  <a:pt x="475" y="775"/>
                </a:lnTo>
                <a:lnTo>
                  <a:pt x="475" y="783"/>
                </a:lnTo>
                <a:lnTo>
                  <a:pt x="473" y="792"/>
                </a:lnTo>
                <a:lnTo>
                  <a:pt x="471" y="800"/>
                </a:lnTo>
                <a:lnTo>
                  <a:pt x="468" y="807"/>
                </a:lnTo>
                <a:lnTo>
                  <a:pt x="464" y="813"/>
                </a:lnTo>
                <a:lnTo>
                  <a:pt x="459" y="816"/>
                </a:lnTo>
                <a:close/>
                <a:moveTo>
                  <a:pt x="464" y="1193"/>
                </a:moveTo>
                <a:lnTo>
                  <a:pt x="465" y="1194"/>
                </a:lnTo>
                <a:lnTo>
                  <a:pt x="465" y="1196"/>
                </a:lnTo>
                <a:lnTo>
                  <a:pt x="464" y="1199"/>
                </a:lnTo>
                <a:lnTo>
                  <a:pt x="464" y="1201"/>
                </a:lnTo>
                <a:lnTo>
                  <a:pt x="462" y="1199"/>
                </a:lnTo>
                <a:lnTo>
                  <a:pt x="459" y="1196"/>
                </a:lnTo>
                <a:lnTo>
                  <a:pt x="459" y="1194"/>
                </a:lnTo>
                <a:lnTo>
                  <a:pt x="461" y="1192"/>
                </a:lnTo>
                <a:lnTo>
                  <a:pt x="462" y="1189"/>
                </a:lnTo>
                <a:lnTo>
                  <a:pt x="464" y="1188"/>
                </a:lnTo>
                <a:lnTo>
                  <a:pt x="465" y="1191"/>
                </a:lnTo>
                <a:lnTo>
                  <a:pt x="465" y="1192"/>
                </a:lnTo>
                <a:lnTo>
                  <a:pt x="465" y="1192"/>
                </a:lnTo>
                <a:lnTo>
                  <a:pt x="464" y="1193"/>
                </a:lnTo>
                <a:close/>
                <a:moveTo>
                  <a:pt x="451" y="1158"/>
                </a:moveTo>
                <a:lnTo>
                  <a:pt x="454" y="1153"/>
                </a:lnTo>
                <a:lnTo>
                  <a:pt x="455" y="1150"/>
                </a:lnTo>
                <a:lnTo>
                  <a:pt x="458" y="1153"/>
                </a:lnTo>
                <a:lnTo>
                  <a:pt x="461" y="1156"/>
                </a:lnTo>
                <a:lnTo>
                  <a:pt x="461" y="1157"/>
                </a:lnTo>
                <a:lnTo>
                  <a:pt x="461" y="1158"/>
                </a:lnTo>
                <a:lnTo>
                  <a:pt x="456" y="1158"/>
                </a:lnTo>
                <a:lnTo>
                  <a:pt x="451" y="1158"/>
                </a:lnTo>
                <a:close/>
                <a:moveTo>
                  <a:pt x="448" y="708"/>
                </a:moveTo>
                <a:lnTo>
                  <a:pt x="449" y="701"/>
                </a:lnTo>
                <a:lnTo>
                  <a:pt x="450" y="695"/>
                </a:lnTo>
                <a:lnTo>
                  <a:pt x="451" y="695"/>
                </a:lnTo>
                <a:lnTo>
                  <a:pt x="452" y="695"/>
                </a:lnTo>
                <a:lnTo>
                  <a:pt x="451" y="698"/>
                </a:lnTo>
                <a:lnTo>
                  <a:pt x="450" y="701"/>
                </a:lnTo>
                <a:lnTo>
                  <a:pt x="454" y="704"/>
                </a:lnTo>
                <a:lnTo>
                  <a:pt x="457" y="709"/>
                </a:lnTo>
                <a:lnTo>
                  <a:pt x="452" y="708"/>
                </a:lnTo>
                <a:lnTo>
                  <a:pt x="448" y="708"/>
                </a:lnTo>
                <a:close/>
                <a:moveTo>
                  <a:pt x="443" y="775"/>
                </a:moveTo>
                <a:lnTo>
                  <a:pt x="440" y="769"/>
                </a:lnTo>
                <a:lnTo>
                  <a:pt x="435" y="762"/>
                </a:lnTo>
                <a:lnTo>
                  <a:pt x="438" y="762"/>
                </a:lnTo>
                <a:lnTo>
                  <a:pt x="442" y="765"/>
                </a:lnTo>
                <a:lnTo>
                  <a:pt x="445" y="772"/>
                </a:lnTo>
                <a:lnTo>
                  <a:pt x="451" y="785"/>
                </a:lnTo>
                <a:lnTo>
                  <a:pt x="449" y="785"/>
                </a:lnTo>
                <a:lnTo>
                  <a:pt x="448" y="783"/>
                </a:lnTo>
                <a:lnTo>
                  <a:pt x="447" y="781"/>
                </a:lnTo>
                <a:lnTo>
                  <a:pt x="443" y="775"/>
                </a:lnTo>
                <a:close/>
                <a:moveTo>
                  <a:pt x="433" y="780"/>
                </a:moveTo>
                <a:lnTo>
                  <a:pt x="430" y="775"/>
                </a:lnTo>
                <a:lnTo>
                  <a:pt x="427" y="771"/>
                </a:lnTo>
                <a:lnTo>
                  <a:pt x="428" y="771"/>
                </a:lnTo>
                <a:lnTo>
                  <a:pt x="429" y="769"/>
                </a:lnTo>
                <a:lnTo>
                  <a:pt x="433" y="774"/>
                </a:lnTo>
                <a:lnTo>
                  <a:pt x="436" y="779"/>
                </a:lnTo>
                <a:lnTo>
                  <a:pt x="434" y="779"/>
                </a:lnTo>
                <a:lnTo>
                  <a:pt x="433" y="780"/>
                </a:lnTo>
                <a:close/>
                <a:moveTo>
                  <a:pt x="440" y="738"/>
                </a:moveTo>
                <a:lnTo>
                  <a:pt x="431" y="726"/>
                </a:lnTo>
                <a:lnTo>
                  <a:pt x="423" y="715"/>
                </a:lnTo>
                <a:lnTo>
                  <a:pt x="427" y="716"/>
                </a:lnTo>
                <a:lnTo>
                  <a:pt x="430" y="718"/>
                </a:lnTo>
                <a:lnTo>
                  <a:pt x="434" y="720"/>
                </a:lnTo>
                <a:lnTo>
                  <a:pt x="436" y="723"/>
                </a:lnTo>
                <a:lnTo>
                  <a:pt x="438" y="726"/>
                </a:lnTo>
                <a:lnTo>
                  <a:pt x="440" y="730"/>
                </a:lnTo>
                <a:lnTo>
                  <a:pt x="440" y="734"/>
                </a:lnTo>
                <a:lnTo>
                  <a:pt x="440" y="738"/>
                </a:lnTo>
                <a:close/>
                <a:moveTo>
                  <a:pt x="423" y="704"/>
                </a:moveTo>
                <a:lnTo>
                  <a:pt x="427" y="708"/>
                </a:lnTo>
                <a:lnTo>
                  <a:pt x="431" y="710"/>
                </a:lnTo>
                <a:lnTo>
                  <a:pt x="430" y="711"/>
                </a:lnTo>
                <a:lnTo>
                  <a:pt x="430" y="712"/>
                </a:lnTo>
                <a:lnTo>
                  <a:pt x="424" y="712"/>
                </a:lnTo>
                <a:lnTo>
                  <a:pt x="417" y="712"/>
                </a:lnTo>
                <a:lnTo>
                  <a:pt x="421" y="708"/>
                </a:lnTo>
                <a:lnTo>
                  <a:pt x="423" y="704"/>
                </a:lnTo>
                <a:close/>
                <a:moveTo>
                  <a:pt x="414" y="687"/>
                </a:moveTo>
                <a:lnTo>
                  <a:pt x="415" y="682"/>
                </a:lnTo>
                <a:lnTo>
                  <a:pt x="417" y="678"/>
                </a:lnTo>
                <a:lnTo>
                  <a:pt x="419" y="678"/>
                </a:lnTo>
                <a:lnTo>
                  <a:pt x="421" y="678"/>
                </a:lnTo>
                <a:lnTo>
                  <a:pt x="419" y="683"/>
                </a:lnTo>
                <a:lnTo>
                  <a:pt x="417" y="688"/>
                </a:lnTo>
                <a:lnTo>
                  <a:pt x="415" y="688"/>
                </a:lnTo>
                <a:lnTo>
                  <a:pt x="414" y="687"/>
                </a:lnTo>
                <a:close/>
                <a:moveTo>
                  <a:pt x="426" y="443"/>
                </a:moveTo>
                <a:lnTo>
                  <a:pt x="430" y="445"/>
                </a:lnTo>
                <a:lnTo>
                  <a:pt x="434" y="447"/>
                </a:lnTo>
                <a:lnTo>
                  <a:pt x="435" y="450"/>
                </a:lnTo>
                <a:lnTo>
                  <a:pt x="435" y="454"/>
                </a:lnTo>
                <a:lnTo>
                  <a:pt x="429" y="453"/>
                </a:lnTo>
                <a:lnTo>
                  <a:pt x="427" y="451"/>
                </a:lnTo>
                <a:lnTo>
                  <a:pt x="426" y="447"/>
                </a:lnTo>
                <a:lnTo>
                  <a:pt x="426" y="443"/>
                </a:lnTo>
                <a:close/>
                <a:moveTo>
                  <a:pt x="442" y="745"/>
                </a:moveTo>
                <a:lnTo>
                  <a:pt x="445" y="751"/>
                </a:lnTo>
                <a:lnTo>
                  <a:pt x="448" y="755"/>
                </a:lnTo>
                <a:lnTo>
                  <a:pt x="443" y="754"/>
                </a:lnTo>
                <a:lnTo>
                  <a:pt x="441" y="752"/>
                </a:lnTo>
                <a:lnTo>
                  <a:pt x="441" y="750"/>
                </a:lnTo>
                <a:lnTo>
                  <a:pt x="442" y="745"/>
                </a:lnTo>
                <a:close/>
                <a:moveTo>
                  <a:pt x="443" y="659"/>
                </a:moveTo>
                <a:lnTo>
                  <a:pt x="448" y="660"/>
                </a:lnTo>
                <a:lnTo>
                  <a:pt x="450" y="660"/>
                </a:lnTo>
                <a:lnTo>
                  <a:pt x="451" y="659"/>
                </a:lnTo>
                <a:lnTo>
                  <a:pt x="451" y="657"/>
                </a:lnTo>
                <a:lnTo>
                  <a:pt x="450" y="656"/>
                </a:lnTo>
                <a:lnTo>
                  <a:pt x="449" y="656"/>
                </a:lnTo>
                <a:lnTo>
                  <a:pt x="445" y="655"/>
                </a:lnTo>
                <a:lnTo>
                  <a:pt x="443" y="655"/>
                </a:lnTo>
                <a:lnTo>
                  <a:pt x="442" y="654"/>
                </a:lnTo>
                <a:lnTo>
                  <a:pt x="442" y="652"/>
                </a:lnTo>
                <a:lnTo>
                  <a:pt x="442" y="648"/>
                </a:lnTo>
                <a:lnTo>
                  <a:pt x="443" y="643"/>
                </a:lnTo>
                <a:lnTo>
                  <a:pt x="443" y="638"/>
                </a:lnTo>
                <a:lnTo>
                  <a:pt x="442" y="632"/>
                </a:lnTo>
                <a:lnTo>
                  <a:pt x="444" y="631"/>
                </a:lnTo>
                <a:lnTo>
                  <a:pt x="445" y="628"/>
                </a:lnTo>
                <a:lnTo>
                  <a:pt x="447" y="626"/>
                </a:lnTo>
                <a:lnTo>
                  <a:pt x="444" y="622"/>
                </a:lnTo>
                <a:lnTo>
                  <a:pt x="445" y="620"/>
                </a:lnTo>
                <a:lnTo>
                  <a:pt x="448" y="615"/>
                </a:lnTo>
                <a:lnTo>
                  <a:pt x="445" y="614"/>
                </a:lnTo>
                <a:lnTo>
                  <a:pt x="442" y="612"/>
                </a:lnTo>
                <a:lnTo>
                  <a:pt x="445" y="604"/>
                </a:lnTo>
                <a:lnTo>
                  <a:pt x="448" y="597"/>
                </a:lnTo>
                <a:lnTo>
                  <a:pt x="449" y="593"/>
                </a:lnTo>
                <a:lnTo>
                  <a:pt x="450" y="589"/>
                </a:lnTo>
                <a:lnTo>
                  <a:pt x="450" y="585"/>
                </a:lnTo>
                <a:lnTo>
                  <a:pt x="449" y="580"/>
                </a:lnTo>
                <a:lnTo>
                  <a:pt x="448" y="573"/>
                </a:lnTo>
                <a:lnTo>
                  <a:pt x="449" y="566"/>
                </a:lnTo>
                <a:lnTo>
                  <a:pt x="451" y="560"/>
                </a:lnTo>
                <a:lnTo>
                  <a:pt x="455" y="553"/>
                </a:lnTo>
                <a:lnTo>
                  <a:pt x="456" y="551"/>
                </a:lnTo>
                <a:lnTo>
                  <a:pt x="457" y="549"/>
                </a:lnTo>
                <a:lnTo>
                  <a:pt x="463" y="556"/>
                </a:lnTo>
                <a:lnTo>
                  <a:pt x="468" y="565"/>
                </a:lnTo>
                <a:lnTo>
                  <a:pt x="468" y="566"/>
                </a:lnTo>
                <a:lnTo>
                  <a:pt x="466" y="569"/>
                </a:lnTo>
                <a:lnTo>
                  <a:pt x="465" y="572"/>
                </a:lnTo>
                <a:lnTo>
                  <a:pt x="464" y="576"/>
                </a:lnTo>
                <a:lnTo>
                  <a:pt x="464" y="579"/>
                </a:lnTo>
                <a:lnTo>
                  <a:pt x="464" y="583"/>
                </a:lnTo>
                <a:lnTo>
                  <a:pt x="464" y="597"/>
                </a:lnTo>
                <a:lnTo>
                  <a:pt x="462" y="610"/>
                </a:lnTo>
                <a:lnTo>
                  <a:pt x="463" y="615"/>
                </a:lnTo>
                <a:lnTo>
                  <a:pt x="464" y="621"/>
                </a:lnTo>
                <a:lnTo>
                  <a:pt x="464" y="624"/>
                </a:lnTo>
                <a:lnTo>
                  <a:pt x="464" y="627"/>
                </a:lnTo>
                <a:lnTo>
                  <a:pt x="462" y="640"/>
                </a:lnTo>
                <a:lnTo>
                  <a:pt x="461" y="654"/>
                </a:lnTo>
                <a:lnTo>
                  <a:pt x="457" y="650"/>
                </a:lnTo>
                <a:lnTo>
                  <a:pt x="454" y="646"/>
                </a:lnTo>
                <a:lnTo>
                  <a:pt x="454" y="646"/>
                </a:lnTo>
                <a:lnTo>
                  <a:pt x="454" y="646"/>
                </a:lnTo>
                <a:lnTo>
                  <a:pt x="457" y="643"/>
                </a:lnTo>
                <a:lnTo>
                  <a:pt x="458" y="641"/>
                </a:lnTo>
                <a:lnTo>
                  <a:pt x="459" y="639"/>
                </a:lnTo>
                <a:lnTo>
                  <a:pt x="461" y="636"/>
                </a:lnTo>
                <a:lnTo>
                  <a:pt x="459" y="631"/>
                </a:lnTo>
                <a:lnTo>
                  <a:pt x="457" y="626"/>
                </a:lnTo>
                <a:lnTo>
                  <a:pt x="455" y="625"/>
                </a:lnTo>
                <a:lnTo>
                  <a:pt x="452" y="624"/>
                </a:lnTo>
                <a:lnTo>
                  <a:pt x="451" y="627"/>
                </a:lnTo>
                <a:lnTo>
                  <a:pt x="449" y="629"/>
                </a:lnTo>
                <a:lnTo>
                  <a:pt x="448" y="632"/>
                </a:lnTo>
                <a:lnTo>
                  <a:pt x="448" y="633"/>
                </a:lnTo>
                <a:lnTo>
                  <a:pt x="448" y="635"/>
                </a:lnTo>
                <a:lnTo>
                  <a:pt x="449" y="638"/>
                </a:lnTo>
                <a:lnTo>
                  <a:pt x="451" y="639"/>
                </a:lnTo>
                <a:lnTo>
                  <a:pt x="451" y="641"/>
                </a:lnTo>
                <a:lnTo>
                  <a:pt x="450" y="642"/>
                </a:lnTo>
                <a:lnTo>
                  <a:pt x="449" y="645"/>
                </a:lnTo>
                <a:lnTo>
                  <a:pt x="449" y="647"/>
                </a:lnTo>
                <a:lnTo>
                  <a:pt x="449" y="648"/>
                </a:lnTo>
                <a:lnTo>
                  <a:pt x="451" y="652"/>
                </a:lnTo>
                <a:lnTo>
                  <a:pt x="454" y="655"/>
                </a:lnTo>
                <a:lnTo>
                  <a:pt x="455" y="661"/>
                </a:lnTo>
                <a:lnTo>
                  <a:pt x="455" y="668"/>
                </a:lnTo>
                <a:lnTo>
                  <a:pt x="452" y="669"/>
                </a:lnTo>
                <a:lnTo>
                  <a:pt x="449" y="669"/>
                </a:lnTo>
                <a:lnTo>
                  <a:pt x="454" y="674"/>
                </a:lnTo>
                <a:lnTo>
                  <a:pt x="457" y="678"/>
                </a:lnTo>
                <a:lnTo>
                  <a:pt x="458" y="683"/>
                </a:lnTo>
                <a:lnTo>
                  <a:pt x="457" y="689"/>
                </a:lnTo>
                <a:lnTo>
                  <a:pt x="457" y="689"/>
                </a:lnTo>
                <a:lnTo>
                  <a:pt x="457" y="689"/>
                </a:lnTo>
                <a:lnTo>
                  <a:pt x="457" y="684"/>
                </a:lnTo>
                <a:lnTo>
                  <a:pt x="456" y="678"/>
                </a:lnTo>
                <a:lnTo>
                  <a:pt x="451" y="687"/>
                </a:lnTo>
                <a:lnTo>
                  <a:pt x="445" y="694"/>
                </a:lnTo>
                <a:lnTo>
                  <a:pt x="444" y="692"/>
                </a:lnTo>
                <a:lnTo>
                  <a:pt x="442" y="691"/>
                </a:lnTo>
                <a:lnTo>
                  <a:pt x="443" y="688"/>
                </a:lnTo>
                <a:lnTo>
                  <a:pt x="445" y="684"/>
                </a:lnTo>
                <a:lnTo>
                  <a:pt x="444" y="681"/>
                </a:lnTo>
                <a:lnTo>
                  <a:pt x="443" y="678"/>
                </a:lnTo>
                <a:lnTo>
                  <a:pt x="442" y="675"/>
                </a:lnTo>
                <a:lnTo>
                  <a:pt x="442" y="671"/>
                </a:lnTo>
                <a:lnTo>
                  <a:pt x="443" y="666"/>
                </a:lnTo>
                <a:lnTo>
                  <a:pt x="443" y="659"/>
                </a:lnTo>
                <a:close/>
                <a:moveTo>
                  <a:pt x="390" y="412"/>
                </a:moveTo>
                <a:lnTo>
                  <a:pt x="386" y="412"/>
                </a:lnTo>
                <a:lnTo>
                  <a:pt x="382" y="411"/>
                </a:lnTo>
                <a:lnTo>
                  <a:pt x="378" y="406"/>
                </a:lnTo>
                <a:lnTo>
                  <a:pt x="373" y="401"/>
                </a:lnTo>
                <a:lnTo>
                  <a:pt x="372" y="397"/>
                </a:lnTo>
                <a:lnTo>
                  <a:pt x="371" y="395"/>
                </a:lnTo>
                <a:lnTo>
                  <a:pt x="371" y="390"/>
                </a:lnTo>
                <a:lnTo>
                  <a:pt x="371" y="387"/>
                </a:lnTo>
                <a:lnTo>
                  <a:pt x="374" y="388"/>
                </a:lnTo>
                <a:lnTo>
                  <a:pt x="378" y="389"/>
                </a:lnTo>
                <a:lnTo>
                  <a:pt x="381" y="391"/>
                </a:lnTo>
                <a:lnTo>
                  <a:pt x="383" y="394"/>
                </a:lnTo>
                <a:lnTo>
                  <a:pt x="388" y="399"/>
                </a:lnTo>
                <a:lnTo>
                  <a:pt x="392" y="405"/>
                </a:lnTo>
                <a:lnTo>
                  <a:pt x="392" y="409"/>
                </a:lnTo>
                <a:lnTo>
                  <a:pt x="390" y="412"/>
                </a:lnTo>
                <a:close/>
                <a:moveTo>
                  <a:pt x="386" y="731"/>
                </a:moveTo>
                <a:lnTo>
                  <a:pt x="383" y="730"/>
                </a:lnTo>
                <a:lnTo>
                  <a:pt x="381" y="730"/>
                </a:lnTo>
                <a:lnTo>
                  <a:pt x="385" y="720"/>
                </a:lnTo>
                <a:lnTo>
                  <a:pt x="387" y="712"/>
                </a:lnTo>
                <a:lnTo>
                  <a:pt x="388" y="712"/>
                </a:lnTo>
                <a:lnTo>
                  <a:pt x="389" y="713"/>
                </a:lnTo>
                <a:lnTo>
                  <a:pt x="387" y="722"/>
                </a:lnTo>
                <a:lnTo>
                  <a:pt x="386" y="731"/>
                </a:lnTo>
                <a:close/>
                <a:moveTo>
                  <a:pt x="367" y="715"/>
                </a:moveTo>
                <a:lnTo>
                  <a:pt x="369" y="710"/>
                </a:lnTo>
                <a:lnTo>
                  <a:pt x="371" y="706"/>
                </a:lnTo>
                <a:lnTo>
                  <a:pt x="368" y="703"/>
                </a:lnTo>
                <a:lnTo>
                  <a:pt x="366" y="699"/>
                </a:lnTo>
                <a:lnTo>
                  <a:pt x="368" y="697"/>
                </a:lnTo>
                <a:lnTo>
                  <a:pt x="371" y="694"/>
                </a:lnTo>
                <a:lnTo>
                  <a:pt x="373" y="703"/>
                </a:lnTo>
                <a:lnTo>
                  <a:pt x="376" y="712"/>
                </a:lnTo>
                <a:lnTo>
                  <a:pt x="372" y="713"/>
                </a:lnTo>
                <a:lnTo>
                  <a:pt x="367" y="715"/>
                </a:lnTo>
                <a:close/>
                <a:moveTo>
                  <a:pt x="355" y="617"/>
                </a:moveTo>
                <a:lnTo>
                  <a:pt x="353" y="615"/>
                </a:lnTo>
                <a:lnTo>
                  <a:pt x="351" y="614"/>
                </a:lnTo>
                <a:lnTo>
                  <a:pt x="352" y="612"/>
                </a:lnTo>
                <a:lnTo>
                  <a:pt x="354" y="611"/>
                </a:lnTo>
                <a:lnTo>
                  <a:pt x="357" y="611"/>
                </a:lnTo>
                <a:lnTo>
                  <a:pt x="359" y="608"/>
                </a:lnTo>
                <a:lnTo>
                  <a:pt x="360" y="607"/>
                </a:lnTo>
                <a:lnTo>
                  <a:pt x="360" y="604"/>
                </a:lnTo>
                <a:lnTo>
                  <a:pt x="362" y="601"/>
                </a:lnTo>
                <a:lnTo>
                  <a:pt x="366" y="598"/>
                </a:lnTo>
                <a:lnTo>
                  <a:pt x="366" y="607"/>
                </a:lnTo>
                <a:lnTo>
                  <a:pt x="365" y="613"/>
                </a:lnTo>
                <a:lnTo>
                  <a:pt x="362" y="614"/>
                </a:lnTo>
                <a:lnTo>
                  <a:pt x="361" y="615"/>
                </a:lnTo>
                <a:lnTo>
                  <a:pt x="359" y="617"/>
                </a:lnTo>
                <a:lnTo>
                  <a:pt x="355" y="617"/>
                </a:lnTo>
                <a:close/>
                <a:moveTo>
                  <a:pt x="332" y="368"/>
                </a:moveTo>
                <a:lnTo>
                  <a:pt x="327" y="366"/>
                </a:lnTo>
                <a:lnTo>
                  <a:pt x="324" y="363"/>
                </a:lnTo>
                <a:lnTo>
                  <a:pt x="321" y="362"/>
                </a:lnTo>
                <a:lnTo>
                  <a:pt x="319" y="361"/>
                </a:lnTo>
                <a:lnTo>
                  <a:pt x="318" y="359"/>
                </a:lnTo>
                <a:lnTo>
                  <a:pt x="318" y="355"/>
                </a:lnTo>
                <a:lnTo>
                  <a:pt x="318" y="349"/>
                </a:lnTo>
                <a:lnTo>
                  <a:pt x="319" y="343"/>
                </a:lnTo>
                <a:lnTo>
                  <a:pt x="320" y="341"/>
                </a:lnTo>
                <a:lnTo>
                  <a:pt x="323" y="340"/>
                </a:lnTo>
                <a:lnTo>
                  <a:pt x="326" y="340"/>
                </a:lnTo>
                <a:lnTo>
                  <a:pt x="327" y="340"/>
                </a:lnTo>
                <a:lnTo>
                  <a:pt x="337" y="347"/>
                </a:lnTo>
                <a:lnTo>
                  <a:pt x="345" y="356"/>
                </a:lnTo>
                <a:lnTo>
                  <a:pt x="345" y="359"/>
                </a:lnTo>
                <a:lnTo>
                  <a:pt x="346" y="361"/>
                </a:lnTo>
                <a:lnTo>
                  <a:pt x="345" y="363"/>
                </a:lnTo>
                <a:lnTo>
                  <a:pt x="345" y="366"/>
                </a:lnTo>
                <a:lnTo>
                  <a:pt x="344" y="368"/>
                </a:lnTo>
                <a:lnTo>
                  <a:pt x="341" y="369"/>
                </a:lnTo>
                <a:lnTo>
                  <a:pt x="340" y="370"/>
                </a:lnTo>
                <a:lnTo>
                  <a:pt x="338" y="370"/>
                </a:lnTo>
                <a:lnTo>
                  <a:pt x="335" y="370"/>
                </a:lnTo>
                <a:lnTo>
                  <a:pt x="332" y="368"/>
                </a:lnTo>
                <a:close/>
                <a:moveTo>
                  <a:pt x="327" y="405"/>
                </a:moveTo>
                <a:lnTo>
                  <a:pt x="327" y="408"/>
                </a:lnTo>
                <a:lnTo>
                  <a:pt x="327" y="410"/>
                </a:lnTo>
                <a:lnTo>
                  <a:pt x="325" y="415"/>
                </a:lnTo>
                <a:lnTo>
                  <a:pt x="323" y="418"/>
                </a:lnTo>
                <a:lnTo>
                  <a:pt x="319" y="416"/>
                </a:lnTo>
                <a:lnTo>
                  <a:pt x="316" y="413"/>
                </a:lnTo>
                <a:lnTo>
                  <a:pt x="314" y="412"/>
                </a:lnTo>
                <a:lnTo>
                  <a:pt x="312" y="411"/>
                </a:lnTo>
                <a:lnTo>
                  <a:pt x="310" y="410"/>
                </a:lnTo>
                <a:lnTo>
                  <a:pt x="307" y="409"/>
                </a:lnTo>
                <a:lnTo>
                  <a:pt x="306" y="406"/>
                </a:lnTo>
                <a:lnTo>
                  <a:pt x="305" y="405"/>
                </a:lnTo>
                <a:lnTo>
                  <a:pt x="304" y="401"/>
                </a:lnTo>
                <a:lnTo>
                  <a:pt x="304" y="396"/>
                </a:lnTo>
                <a:lnTo>
                  <a:pt x="304" y="387"/>
                </a:lnTo>
                <a:lnTo>
                  <a:pt x="305" y="376"/>
                </a:lnTo>
                <a:lnTo>
                  <a:pt x="311" y="377"/>
                </a:lnTo>
                <a:lnTo>
                  <a:pt x="316" y="380"/>
                </a:lnTo>
                <a:lnTo>
                  <a:pt x="319" y="383"/>
                </a:lnTo>
                <a:lnTo>
                  <a:pt x="323" y="388"/>
                </a:lnTo>
                <a:lnTo>
                  <a:pt x="325" y="391"/>
                </a:lnTo>
                <a:lnTo>
                  <a:pt x="327" y="396"/>
                </a:lnTo>
                <a:lnTo>
                  <a:pt x="327" y="401"/>
                </a:lnTo>
                <a:lnTo>
                  <a:pt x="327" y="405"/>
                </a:lnTo>
                <a:close/>
                <a:moveTo>
                  <a:pt x="295" y="301"/>
                </a:moveTo>
                <a:lnTo>
                  <a:pt x="293" y="292"/>
                </a:lnTo>
                <a:lnTo>
                  <a:pt x="292" y="282"/>
                </a:lnTo>
                <a:lnTo>
                  <a:pt x="293" y="282"/>
                </a:lnTo>
                <a:lnTo>
                  <a:pt x="293" y="282"/>
                </a:lnTo>
                <a:lnTo>
                  <a:pt x="300" y="289"/>
                </a:lnTo>
                <a:lnTo>
                  <a:pt x="306" y="297"/>
                </a:lnTo>
                <a:lnTo>
                  <a:pt x="310" y="300"/>
                </a:lnTo>
                <a:lnTo>
                  <a:pt x="311" y="305"/>
                </a:lnTo>
                <a:lnTo>
                  <a:pt x="312" y="310"/>
                </a:lnTo>
                <a:lnTo>
                  <a:pt x="313" y="315"/>
                </a:lnTo>
                <a:lnTo>
                  <a:pt x="311" y="320"/>
                </a:lnTo>
                <a:lnTo>
                  <a:pt x="309" y="326"/>
                </a:lnTo>
                <a:lnTo>
                  <a:pt x="304" y="321"/>
                </a:lnTo>
                <a:lnTo>
                  <a:pt x="300" y="318"/>
                </a:lnTo>
                <a:lnTo>
                  <a:pt x="297" y="310"/>
                </a:lnTo>
                <a:lnTo>
                  <a:pt x="295" y="301"/>
                </a:lnTo>
                <a:close/>
                <a:moveTo>
                  <a:pt x="288" y="374"/>
                </a:moveTo>
                <a:lnTo>
                  <a:pt x="285" y="376"/>
                </a:lnTo>
                <a:lnTo>
                  <a:pt x="282" y="377"/>
                </a:lnTo>
                <a:lnTo>
                  <a:pt x="278" y="378"/>
                </a:lnTo>
                <a:lnTo>
                  <a:pt x="275" y="378"/>
                </a:lnTo>
                <a:lnTo>
                  <a:pt x="271" y="378"/>
                </a:lnTo>
                <a:lnTo>
                  <a:pt x="268" y="377"/>
                </a:lnTo>
                <a:lnTo>
                  <a:pt x="264" y="376"/>
                </a:lnTo>
                <a:lnTo>
                  <a:pt x="263" y="375"/>
                </a:lnTo>
                <a:lnTo>
                  <a:pt x="259" y="368"/>
                </a:lnTo>
                <a:lnTo>
                  <a:pt x="257" y="362"/>
                </a:lnTo>
                <a:lnTo>
                  <a:pt x="255" y="355"/>
                </a:lnTo>
                <a:lnTo>
                  <a:pt x="255" y="348"/>
                </a:lnTo>
                <a:lnTo>
                  <a:pt x="256" y="339"/>
                </a:lnTo>
                <a:lnTo>
                  <a:pt x="259" y="331"/>
                </a:lnTo>
                <a:lnTo>
                  <a:pt x="261" y="326"/>
                </a:lnTo>
                <a:lnTo>
                  <a:pt x="263" y="322"/>
                </a:lnTo>
                <a:lnTo>
                  <a:pt x="267" y="319"/>
                </a:lnTo>
                <a:lnTo>
                  <a:pt x="270" y="315"/>
                </a:lnTo>
                <a:lnTo>
                  <a:pt x="274" y="314"/>
                </a:lnTo>
                <a:lnTo>
                  <a:pt x="277" y="313"/>
                </a:lnTo>
                <a:lnTo>
                  <a:pt x="279" y="314"/>
                </a:lnTo>
                <a:lnTo>
                  <a:pt x="283" y="317"/>
                </a:lnTo>
                <a:lnTo>
                  <a:pt x="284" y="318"/>
                </a:lnTo>
                <a:lnTo>
                  <a:pt x="285" y="320"/>
                </a:lnTo>
                <a:lnTo>
                  <a:pt x="291" y="333"/>
                </a:lnTo>
                <a:lnTo>
                  <a:pt x="298" y="346"/>
                </a:lnTo>
                <a:lnTo>
                  <a:pt x="299" y="349"/>
                </a:lnTo>
                <a:lnTo>
                  <a:pt x="299" y="353"/>
                </a:lnTo>
                <a:lnTo>
                  <a:pt x="295" y="363"/>
                </a:lnTo>
                <a:lnTo>
                  <a:pt x="288" y="374"/>
                </a:lnTo>
                <a:close/>
                <a:moveTo>
                  <a:pt x="270" y="497"/>
                </a:moveTo>
                <a:lnTo>
                  <a:pt x="262" y="496"/>
                </a:lnTo>
                <a:lnTo>
                  <a:pt x="255" y="493"/>
                </a:lnTo>
                <a:lnTo>
                  <a:pt x="252" y="490"/>
                </a:lnTo>
                <a:lnTo>
                  <a:pt x="249" y="488"/>
                </a:lnTo>
                <a:lnTo>
                  <a:pt x="247" y="485"/>
                </a:lnTo>
                <a:lnTo>
                  <a:pt x="245" y="480"/>
                </a:lnTo>
                <a:lnTo>
                  <a:pt x="244" y="474"/>
                </a:lnTo>
                <a:lnTo>
                  <a:pt x="245" y="469"/>
                </a:lnTo>
                <a:lnTo>
                  <a:pt x="248" y="466"/>
                </a:lnTo>
                <a:lnTo>
                  <a:pt x="252" y="461"/>
                </a:lnTo>
                <a:lnTo>
                  <a:pt x="257" y="458"/>
                </a:lnTo>
                <a:lnTo>
                  <a:pt x="262" y="455"/>
                </a:lnTo>
                <a:lnTo>
                  <a:pt x="268" y="453"/>
                </a:lnTo>
                <a:lnTo>
                  <a:pt x="274" y="453"/>
                </a:lnTo>
                <a:lnTo>
                  <a:pt x="277" y="453"/>
                </a:lnTo>
                <a:lnTo>
                  <a:pt x="279" y="454"/>
                </a:lnTo>
                <a:lnTo>
                  <a:pt x="284" y="469"/>
                </a:lnTo>
                <a:lnTo>
                  <a:pt x="289" y="482"/>
                </a:lnTo>
                <a:lnTo>
                  <a:pt x="288" y="487"/>
                </a:lnTo>
                <a:lnTo>
                  <a:pt x="288" y="490"/>
                </a:lnTo>
                <a:lnTo>
                  <a:pt x="285" y="493"/>
                </a:lnTo>
                <a:lnTo>
                  <a:pt x="284" y="495"/>
                </a:lnTo>
                <a:lnTo>
                  <a:pt x="281" y="497"/>
                </a:lnTo>
                <a:lnTo>
                  <a:pt x="278" y="497"/>
                </a:lnTo>
                <a:lnTo>
                  <a:pt x="274" y="499"/>
                </a:lnTo>
                <a:lnTo>
                  <a:pt x="270" y="497"/>
                </a:lnTo>
                <a:close/>
                <a:moveTo>
                  <a:pt x="231" y="390"/>
                </a:moveTo>
                <a:lnTo>
                  <a:pt x="228" y="406"/>
                </a:lnTo>
                <a:lnTo>
                  <a:pt x="224" y="423"/>
                </a:lnTo>
                <a:lnTo>
                  <a:pt x="222" y="432"/>
                </a:lnTo>
                <a:lnTo>
                  <a:pt x="219" y="441"/>
                </a:lnTo>
                <a:lnTo>
                  <a:pt x="215" y="446"/>
                </a:lnTo>
                <a:lnTo>
                  <a:pt x="212" y="452"/>
                </a:lnTo>
                <a:lnTo>
                  <a:pt x="196" y="450"/>
                </a:lnTo>
                <a:lnTo>
                  <a:pt x="182" y="450"/>
                </a:lnTo>
                <a:lnTo>
                  <a:pt x="167" y="450"/>
                </a:lnTo>
                <a:lnTo>
                  <a:pt x="152" y="447"/>
                </a:lnTo>
                <a:lnTo>
                  <a:pt x="151" y="447"/>
                </a:lnTo>
                <a:lnTo>
                  <a:pt x="150" y="450"/>
                </a:lnTo>
                <a:lnTo>
                  <a:pt x="148" y="460"/>
                </a:lnTo>
                <a:lnTo>
                  <a:pt x="147" y="471"/>
                </a:lnTo>
                <a:lnTo>
                  <a:pt x="146" y="481"/>
                </a:lnTo>
                <a:lnTo>
                  <a:pt x="145" y="493"/>
                </a:lnTo>
                <a:lnTo>
                  <a:pt x="144" y="502"/>
                </a:lnTo>
                <a:lnTo>
                  <a:pt x="143" y="510"/>
                </a:lnTo>
                <a:lnTo>
                  <a:pt x="140" y="520"/>
                </a:lnTo>
                <a:lnTo>
                  <a:pt x="138" y="529"/>
                </a:lnTo>
                <a:lnTo>
                  <a:pt x="134" y="534"/>
                </a:lnTo>
                <a:lnTo>
                  <a:pt x="127" y="537"/>
                </a:lnTo>
                <a:lnTo>
                  <a:pt x="123" y="539"/>
                </a:lnTo>
                <a:lnTo>
                  <a:pt x="118" y="542"/>
                </a:lnTo>
                <a:lnTo>
                  <a:pt x="111" y="546"/>
                </a:lnTo>
                <a:lnTo>
                  <a:pt x="105" y="549"/>
                </a:lnTo>
                <a:lnTo>
                  <a:pt x="99" y="546"/>
                </a:lnTo>
                <a:lnTo>
                  <a:pt x="92" y="542"/>
                </a:lnTo>
                <a:lnTo>
                  <a:pt x="92" y="543"/>
                </a:lnTo>
                <a:lnTo>
                  <a:pt x="91" y="544"/>
                </a:lnTo>
                <a:lnTo>
                  <a:pt x="88" y="548"/>
                </a:lnTo>
                <a:lnTo>
                  <a:pt x="84" y="549"/>
                </a:lnTo>
                <a:lnTo>
                  <a:pt x="79" y="546"/>
                </a:lnTo>
                <a:lnTo>
                  <a:pt x="76" y="542"/>
                </a:lnTo>
                <a:lnTo>
                  <a:pt x="72" y="529"/>
                </a:lnTo>
                <a:lnTo>
                  <a:pt x="68" y="516"/>
                </a:lnTo>
                <a:lnTo>
                  <a:pt x="64" y="503"/>
                </a:lnTo>
                <a:lnTo>
                  <a:pt x="61" y="490"/>
                </a:lnTo>
                <a:lnTo>
                  <a:pt x="60" y="479"/>
                </a:lnTo>
                <a:lnTo>
                  <a:pt x="58" y="467"/>
                </a:lnTo>
                <a:lnTo>
                  <a:pt x="60" y="462"/>
                </a:lnTo>
                <a:lnTo>
                  <a:pt x="61" y="459"/>
                </a:lnTo>
                <a:lnTo>
                  <a:pt x="62" y="455"/>
                </a:lnTo>
                <a:lnTo>
                  <a:pt x="64" y="453"/>
                </a:lnTo>
                <a:lnTo>
                  <a:pt x="70" y="451"/>
                </a:lnTo>
                <a:lnTo>
                  <a:pt x="76" y="448"/>
                </a:lnTo>
                <a:lnTo>
                  <a:pt x="82" y="448"/>
                </a:lnTo>
                <a:lnTo>
                  <a:pt x="90" y="452"/>
                </a:lnTo>
                <a:lnTo>
                  <a:pt x="91" y="444"/>
                </a:lnTo>
                <a:lnTo>
                  <a:pt x="92" y="434"/>
                </a:lnTo>
                <a:lnTo>
                  <a:pt x="93" y="427"/>
                </a:lnTo>
                <a:lnTo>
                  <a:pt x="96" y="422"/>
                </a:lnTo>
                <a:lnTo>
                  <a:pt x="100" y="416"/>
                </a:lnTo>
                <a:lnTo>
                  <a:pt x="104" y="411"/>
                </a:lnTo>
                <a:lnTo>
                  <a:pt x="106" y="408"/>
                </a:lnTo>
                <a:lnTo>
                  <a:pt x="109" y="404"/>
                </a:lnTo>
                <a:lnTo>
                  <a:pt x="112" y="402"/>
                </a:lnTo>
                <a:lnTo>
                  <a:pt x="117" y="401"/>
                </a:lnTo>
                <a:lnTo>
                  <a:pt x="118" y="398"/>
                </a:lnTo>
                <a:lnTo>
                  <a:pt x="120" y="394"/>
                </a:lnTo>
                <a:lnTo>
                  <a:pt x="123" y="388"/>
                </a:lnTo>
                <a:lnTo>
                  <a:pt x="125" y="384"/>
                </a:lnTo>
                <a:lnTo>
                  <a:pt x="130" y="384"/>
                </a:lnTo>
                <a:lnTo>
                  <a:pt x="134" y="383"/>
                </a:lnTo>
                <a:lnTo>
                  <a:pt x="137" y="383"/>
                </a:lnTo>
                <a:lnTo>
                  <a:pt x="139" y="384"/>
                </a:lnTo>
                <a:lnTo>
                  <a:pt x="140" y="387"/>
                </a:lnTo>
                <a:lnTo>
                  <a:pt x="143" y="389"/>
                </a:lnTo>
                <a:lnTo>
                  <a:pt x="145" y="394"/>
                </a:lnTo>
                <a:lnTo>
                  <a:pt x="148" y="397"/>
                </a:lnTo>
                <a:lnTo>
                  <a:pt x="154" y="398"/>
                </a:lnTo>
                <a:lnTo>
                  <a:pt x="160" y="397"/>
                </a:lnTo>
                <a:lnTo>
                  <a:pt x="165" y="383"/>
                </a:lnTo>
                <a:lnTo>
                  <a:pt x="169" y="368"/>
                </a:lnTo>
                <a:lnTo>
                  <a:pt x="172" y="361"/>
                </a:lnTo>
                <a:lnTo>
                  <a:pt x="174" y="355"/>
                </a:lnTo>
                <a:lnTo>
                  <a:pt x="178" y="349"/>
                </a:lnTo>
                <a:lnTo>
                  <a:pt x="181" y="345"/>
                </a:lnTo>
                <a:lnTo>
                  <a:pt x="186" y="340"/>
                </a:lnTo>
                <a:lnTo>
                  <a:pt x="190" y="336"/>
                </a:lnTo>
                <a:lnTo>
                  <a:pt x="196" y="333"/>
                </a:lnTo>
                <a:lnTo>
                  <a:pt x="203" y="331"/>
                </a:lnTo>
                <a:lnTo>
                  <a:pt x="207" y="329"/>
                </a:lnTo>
                <a:lnTo>
                  <a:pt x="210" y="329"/>
                </a:lnTo>
                <a:lnTo>
                  <a:pt x="214" y="329"/>
                </a:lnTo>
                <a:lnTo>
                  <a:pt x="217" y="331"/>
                </a:lnTo>
                <a:lnTo>
                  <a:pt x="221" y="333"/>
                </a:lnTo>
                <a:lnTo>
                  <a:pt x="223" y="335"/>
                </a:lnTo>
                <a:lnTo>
                  <a:pt x="226" y="339"/>
                </a:lnTo>
                <a:lnTo>
                  <a:pt x="227" y="342"/>
                </a:lnTo>
                <a:lnTo>
                  <a:pt x="230" y="354"/>
                </a:lnTo>
                <a:lnTo>
                  <a:pt x="231" y="366"/>
                </a:lnTo>
                <a:lnTo>
                  <a:pt x="233" y="378"/>
                </a:lnTo>
                <a:lnTo>
                  <a:pt x="231" y="390"/>
                </a:lnTo>
                <a:close/>
                <a:moveTo>
                  <a:pt x="179" y="639"/>
                </a:moveTo>
                <a:lnTo>
                  <a:pt x="174" y="640"/>
                </a:lnTo>
                <a:lnTo>
                  <a:pt x="169" y="639"/>
                </a:lnTo>
                <a:lnTo>
                  <a:pt x="166" y="638"/>
                </a:lnTo>
                <a:lnTo>
                  <a:pt x="162" y="634"/>
                </a:lnTo>
                <a:lnTo>
                  <a:pt x="162" y="629"/>
                </a:lnTo>
                <a:lnTo>
                  <a:pt x="162" y="625"/>
                </a:lnTo>
                <a:lnTo>
                  <a:pt x="166" y="615"/>
                </a:lnTo>
                <a:lnTo>
                  <a:pt x="169" y="605"/>
                </a:lnTo>
                <a:lnTo>
                  <a:pt x="174" y="606"/>
                </a:lnTo>
                <a:lnTo>
                  <a:pt x="178" y="607"/>
                </a:lnTo>
                <a:lnTo>
                  <a:pt x="181" y="608"/>
                </a:lnTo>
                <a:lnTo>
                  <a:pt x="185" y="611"/>
                </a:lnTo>
                <a:lnTo>
                  <a:pt x="188" y="614"/>
                </a:lnTo>
                <a:lnTo>
                  <a:pt x="190" y="617"/>
                </a:lnTo>
                <a:lnTo>
                  <a:pt x="192" y="620"/>
                </a:lnTo>
                <a:lnTo>
                  <a:pt x="193" y="625"/>
                </a:lnTo>
                <a:lnTo>
                  <a:pt x="192" y="628"/>
                </a:lnTo>
                <a:lnTo>
                  <a:pt x="188" y="633"/>
                </a:lnTo>
                <a:lnTo>
                  <a:pt x="183" y="638"/>
                </a:lnTo>
                <a:lnTo>
                  <a:pt x="179" y="639"/>
                </a:lnTo>
                <a:close/>
                <a:moveTo>
                  <a:pt x="179" y="843"/>
                </a:moveTo>
                <a:lnTo>
                  <a:pt x="176" y="842"/>
                </a:lnTo>
                <a:lnTo>
                  <a:pt x="174" y="841"/>
                </a:lnTo>
                <a:lnTo>
                  <a:pt x="162" y="824"/>
                </a:lnTo>
                <a:lnTo>
                  <a:pt x="152" y="807"/>
                </a:lnTo>
                <a:lnTo>
                  <a:pt x="152" y="806"/>
                </a:lnTo>
                <a:lnTo>
                  <a:pt x="152" y="804"/>
                </a:lnTo>
                <a:lnTo>
                  <a:pt x="155" y="807"/>
                </a:lnTo>
                <a:lnTo>
                  <a:pt x="159" y="809"/>
                </a:lnTo>
                <a:lnTo>
                  <a:pt x="162" y="809"/>
                </a:lnTo>
                <a:lnTo>
                  <a:pt x="166" y="808"/>
                </a:lnTo>
                <a:lnTo>
                  <a:pt x="169" y="813"/>
                </a:lnTo>
                <a:lnTo>
                  <a:pt x="172" y="816"/>
                </a:lnTo>
                <a:lnTo>
                  <a:pt x="176" y="822"/>
                </a:lnTo>
                <a:lnTo>
                  <a:pt x="179" y="828"/>
                </a:lnTo>
                <a:lnTo>
                  <a:pt x="180" y="831"/>
                </a:lnTo>
                <a:lnTo>
                  <a:pt x="181" y="835"/>
                </a:lnTo>
                <a:lnTo>
                  <a:pt x="180" y="839"/>
                </a:lnTo>
                <a:lnTo>
                  <a:pt x="179" y="843"/>
                </a:lnTo>
                <a:close/>
                <a:moveTo>
                  <a:pt x="113" y="709"/>
                </a:moveTo>
                <a:lnTo>
                  <a:pt x="105" y="709"/>
                </a:lnTo>
                <a:lnTo>
                  <a:pt x="100" y="708"/>
                </a:lnTo>
                <a:lnTo>
                  <a:pt x="97" y="704"/>
                </a:lnTo>
                <a:lnTo>
                  <a:pt x="93" y="697"/>
                </a:lnTo>
                <a:lnTo>
                  <a:pt x="86" y="687"/>
                </a:lnTo>
                <a:lnTo>
                  <a:pt x="79" y="675"/>
                </a:lnTo>
                <a:lnTo>
                  <a:pt x="76" y="667"/>
                </a:lnTo>
                <a:lnTo>
                  <a:pt x="72" y="659"/>
                </a:lnTo>
                <a:lnTo>
                  <a:pt x="76" y="657"/>
                </a:lnTo>
                <a:lnTo>
                  <a:pt x="79" y="657"/>
                </a:lnTo>
                <a:lnTo>
                  <a:pt x="84" y="659"/>
                </a:lnTo>
                <a:lnTo>
                  <a:pt x="88" y="659"/>
                </a:lnTo>
                <a:lnTo>
                  <a:pt x="93" y="663"/>
                </a:lnTo>
                <a:lnTo>
                  <a:pt x="98" y="668"/>
                </a:lnTo>
                <a:lnTo>
                  <a:pt x="107" y="684"/>
                </a:lnTo>
                <a:lnTo>
                  <a:pt x="117" y="699"/>
                </a:lnTo>
                <a:lnTo>
                  <a:pt x="119" y="703"/>
                </a:lnTo>
                <a:lnTo>
                  <a:pt x="119" y="705"/>
                </a:lnTo>
                <a:lnTo>
                  <a:pt x="117" y="708"/>
                </a:lnTo>
                <a:lnTo>
                  <a:pt x="113" y="709"/>
                </a:lnTo>
                <a:close/>
                <a:moveTo>
                  <a:pt x="56" y="589"/>
                </a:moveTo>
                <a:lnTo>
                  <a:pt x="53" y="587"/>
                </a:lnTo>
                <a:lnTo>
                  <a:pt x="50" y="585"/>
                </a:lnTo>
                <a:lnTo>
                  <a:pt x="44" y="573"/>
                </a:lnTo>
                <a:lnTo>
                  <a:pt x="38" y="562"/>
                </a:lnTo>
                <a:lnTo>
                  <a:pt x="34" y="550"/>
                </a:lnTo>
                <a:lnTo>
                  <a:pt x="28" y="538"/>
                </a:lnTo>
                <a:lnTo>
                  <a:pt x="27" y="532"/>
                </a:lnTo>
                <a:lnTo>
                  <a:pt x="28" y="528"/>
                </a:lnTo>
                <a:lnTo>
                  <a:pt x="30" y="523"/>
                </a:lnTo>
                <a:lnTo>
                  <a:pt x="33" y="518"/>
                </a:lnTo>
                <a:lnTo>
                  <a:pt x="34" y="514"/>
                </a:lnTo>
                <a:lnTo>
                  <a:pt x="35" y="508"/>
                </a:lnTo>
                <a:lnTo>
                  <a:pt x="35" y="503"/>
                </a:lnTo>
                <a:lnTo>
                  <a:pt x="34" y="499"/>
                </a:lnTo>
                <a:lnTo>
                  <a:pt x="35" y="494"/>
                </a:lnTo>
                <a:lnTo>
                  <a:pt x="37" y="490"/>
                </a:lnTo>
                <a:lnTo>
                  <a:pt x="41" y="489"/>
                </a:lnTo>
                <a:lnTo>
                  <a:pt x="45" y="489"/>
                </a:lnTo>
                <a:lnTo>
                  <a:pt x="48" y="488"/>
                </a:lnTo>
                <a:lnTo>
                  <a:pt x="53" y="486"/>
                </a:lnTo>
                <a:lnTo>
                  <a:pt x="57" y="497"/>
                </a:lnTo>
                <a:lnTo>
                  <a:pt x="62" y="510"/>
                </a:lnTo>
                <a:lnTo>
                  <a:pt x="68" y="528"/>
                </a:lnTo>
                <a:lnTo>
                  <a:pt x="74" y="545"/>
                </a:lnTo>
                <a:lnTo>
                  <a:pt x="79" y="563"/>
                </a:lnTo>
                <a:lnTo>
                  <a:pt x="85" y="580"/>
                </a:lnTo>
                <a:lnTo>
                  <a:pt x="85" y="585"/>
                </a:lnTo>
                <a:lnTo>
                  <a:pt x="85" y="587"/>
                </a:lnTo>
                <a:lnTo>
                  <a:pt x="81" y="590"/>
                </a:lnTo>
                <a:lnTo>
                  <a:pt x="76" y="590"/>
                </a:lnTo>
                <a:lnTo>
                  <a:pt x="71" y="587"/>
                </a:lnTo>
                <a:lnTo>
                  <a:pt x="67" y="586"/>
                </a:lnTo>
                <a:lnTo>
                  <a:pt x="61" y="587"/>
                </a:lnTo>
                <a:lnTo>
                  <a:pt x="56" y="589"/>
                </a:lnTo>
                <a:close/>
                <a:moveTo>
                  <a:pt x="37" y="243"/>
                </a:moveTo>
                <a:lnTo>
                  <a:pt x="38" y="248"/>
                </a:lnTo>
                <a:lnTo>
                  <a:pt x="38" y="252"/>
                </a:lnTo>
                <a:lnTo>
                  <a:pt x="37" y="256"/>
                </a:lnTo>
                <a:lnTo>
                  <a:pt x="35" y="258"/>
                </a:lnTo>
                <a:lnTo>
                  <a:pt x="31" y="259"/>
                </a:lnTo>
                <a:lnTo>
                  <a:pt x="28" y="261"/>
                </a:lnTo>
                <a:lnTo>
                  <a:pt x="27" y="258"/>
                </a:lnTo>
                <a:lnTo>
                  <a:pt x="27" y="257"/>
                </a:lnTo>
                <a:lnTo>
                  <a:pt x="31" y="250"/>
                </a:lnTo>
                <a:lnTo>
                  <a:pt x="37" y="243"/>
                </a:lnTo>
                <a:close/>
                <a:moveTo>
                  <a:pt x="61" y="195"/>
                </a:moveTo>
                <a:lnTo>
                  <a:pt x="63" y="192"/>
                </a:lnTo>
                <a:lnTo>
                  <a:pt x="67" y="189"/>
                </a:lnTo>
                <a:lnTo>
                  <a:pt x="72" y="187"/>
                </a:lnTo>
                <a:lnTo>
                  <a:pt x="78" y="188"/>
                </a:lnTo>
                <a:lnTo>
                  <a:pt x="79" y="191"/>
                </a:lnTo>
                <a:lnTo>
                  <a:pt x="81" y="196"/>
                </a:lnTo>
                <a:lnTo>
                  <a:pt x="81" y="196"/>
                </a:lnTo>
                <a:lnTo>
                  <a:pt x="79" y="198"/>
                </a:lnTo>
                <a:lnTo>
                  <a:pt x="81" y="202"/>
                </a:lnTo>
                <a:lnTo>
                  <a:pt x="81" y="207"/>
                </a:lnTo>
                <a:lnTo>
                  <a:pt x="78" y="210"/>
                </a:lnTo>
                <a:lnTo>
                  <a:pt x="76" y="213"/>
                </a:lnTo>
                <a:lnTo>
                  <a:pt x="70" y="219"/>
                </a:lnTo>
                <a:lnTo>
                  <a:pt x="63" y="223"/>
                </a:lnTo>
                <a:lnTo>
                  <a:pt x="61" y="226"/>
                </a:lnTo>
                <a:lnTo>
                  <a:pt x="58" y="229"/>
                </a:lnTo>
                <a:lnTo>
                  <a:pt x="56" y="224"/>
                </a:lnTo>
                <a:lnTo>
                  <a:pt x="55" y="220"/>
                </a:lnTo>
                <a:lnTo>
                  <a:pt x="54" y="216"/>
                </a:lnTo>
                <a:lnTo>
                  <a:pt x="54" y="212"/>
                </a:lnTo>
                <a:lnTo>
                  <a:pt x="55" y="207"/>
                </a:lnTo>
                <a:lnTo>
                  <a:pt x="56" y="203"/>
                </a:lnTo>
                <a:lnTo>
                  <a:pt x="58" y="200"/>
                </a:lnTo>
                <a:lnTo>
                  <a:pt x="61" y="195"/>
                </a:lnTo>
                <a:close/>
                <a:moveTo>
                  <a:pt x="75" y="142"/>
                </a:moveTo>
                <a:lnTo>
                  <a:pt x="79" y="137"/>
                </a:lnTo>
                <a:lnTo>
                  <a:pt x="85" y="132"/>
                </a:lnTo>
                <a:lnTo>
                  <a:pt x="92" y="128"/>
                </a:lnTo>
                <a:lnTo>
                  <a:pt x="102" y="124"/>
                </a:lnTo>
                <a:lnTo>
                  <a:pt x="102" y="132"/>
                </a:lnTo>
                <a:lnTo>
                  <a:pt x="99" y="139"/>
                </a:lnTo>
                <a:lnTo>
                  <a:pt x="96" y="146"/>
                </a:lnTo>
                <a:lnTo>
                  <a:pt x="92" y="151"/>
                </a:lnTo>
                <a:lnTo>
                  <a:pt x="89" y="152"/>
                </a:lnTo>
                <a:lnTo>
                  <a:pt x="83" y="152"/>
                </a:lnTo>
                <a:lnTo>
                  <a:pt x="79" y="152"/>
                </a:lnTo>
                <a:lnTo>
                  <a:pt x="75" y="153"/>
                </a:lnTo>
                <a:lnTo>
                  <a:pt x="75" y="147"/>
                </a:lnTo>
                <a:lnTo>
                  <a:pt x="75" y="142"/>
                </a:lnTo>
                <a:close/>
                <a:moveTo>
                  <a:pt x="112" y="374"/>
                </a:moveTo>
                <a:lnTo>
                  <a:pt x="113" y="375"/>
                </a:lnTo>
                <a:lnTo>
                  <a:pt x="116" y="376"/>
                </a:lnTo>
                <a:lnTo>
                  <a:pt x="113" y="378"/>
                </a:lnTo>
                <a:lnTo>
                  <a:pt x="112" y="380"/>
                </a:lnTo>
                <a:lnTo>
                  <a:pt x="110" y="381"/>
                </a:lnTo>
                <a:lnTo>
                  <a:pt x="107" y="382"/>
                </a:lnTo>
                <a:lnTo>
                  <a:pt x="106" y="383"/>
                </a:lnTo>
                <a:lnTo>
                  <a:pt x="105" y="387"/>
                </a:lnTo>
                <a:lnTo>
                  <a:pt x="104" y="389"/>
                </a:lnTo>
                <a:lnTo>
                  <a:pt x="103" y="390"/>
                </a:lnTo>
                <a:lnTo>
                  <a:pt x="100" y="389"/>
                </a:lnTo>
                <a:lnTo>
                  <a:pt x="99" y="387"/>
                </a:lnTo>
                <a:lnTo>
                  <a:pt x="100" y="381"/>
                </a:lnTo>
                <a:lnTo>
                  <a:pt x="103" y="376"/>
                </a:lnTo>
                <a:lnTo>
                  <a:pt x="106" y="374"/>
                </a:lnTo>
                <a:lnTo>
                  <a:pt x="112" y="374"/>
                </a:lnTo>
                <a:close/>
                <a:moveTo>
                  <a:pt x="132" y="165"/>
                </a:moveTo>
                <a:lnTo>
                  <a:pt x="129" y="168"/>
                </a:lnTo>
                <a:lnTo>
                  <a:pt x="126" y="173"/>
                </a:lnTo>
                <a:lnTo>
                  <a:pt x="125" y="173"/>
                </a:lnTo>
                <a:lnTo>
                  <a:pt x="124" y="172"/>
                </a:lnTo>
                <a:lnTo>
                  <a:pt x="123" y="168"/>
                </a:lnTo>
                <a:lnTo>
                  <a:pt x="123" y="165"/>
                </a:lnTo>
                <a:lnTo>
                  <a:pt x="127" y="165"/>
                </a:lnTo>
                <a:lnTo>
                  <a:pt x="132" y="16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300" b="1" dirty="0"/>
            </a:lvl1pPr>
          </a:lstStyle>
          <a:p>
            <a:pPr lvl="0" algn="ctr"/>
            <a:endParaRPr lang="en-US" sz="960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2DA14CC-F5F5-2340-A477-980C6AD572F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141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9CB2EBB5-8607-DE48-857B-E8000EDFD97A}"/>
              </a:ext>
            </a:extLst>
          </p:cNvPr>
          <p:cNvSpPr>
            <a:spLocks/>
          </p:cNvSpPr>
          <p:nvPr userDrawn="1"/>
        </p:nvSpPr>
        <p:spPr bwMode="auto">
          <a:xfrm>
            <a:off x="-1271909" y="-269998"/>
            <a:ext cx="14185576" cy="11278833"/>
          </a:xfrm>
          <a:custGeom>
            <a:avLst/>
            <a:gdLst>
              <a:gd name="T0" fmla="*/ 2419 w 2641"/>
              <a:gd name="T1" fmla="*/ 1697 h 2100"/>
              <a:gd name="T2" fmla="*/ 1449 w 2641"/>
              <a:gd name="T3" fmla="*/ 2009 h 2100"/>
              <a:gd name="T4" fmla="*/ 755 w 2641"/>
              <a:gd name="T5" fmla="*/ 1600 h 2100"/>
              <a:gd name="T6" fmla="*/ 538 w 2641"/>
              <a:gd name="T7" fmla="*/ 441 h 2100"/>
              <a:gd name="T8" fmla="*/ 1674 w 2641"/>
              <a:gd name="T9" fmla="*/ 397 h 2100"/>
              <a:gd name="T10" fmla="*/ 2620 w 2641"/>
              <a:gd name="T11" fmla="*/ 922 h 2100"/>
              <a:gd name="T12" fmla="*/ 2419 w 2641"/>
              <a:gd name="T13" fmla="*/ 169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41" h="2100">
                <a:moveTo>
                  <a:pt x="2419" y="1697"/>
                </a:moveTo>
                <a:cubicBezTo>
                  <a:pt x="2184" y="1979"/>
                  <a:pt x="1805" y="2100"/>
                  <a:pt x="1449" y="2009"/>
                </a:cubicBezTo>
                <a:cubicBezTo>
                  <a:pt x="1247" y="1958"/>
                  <a:pt x="1009" y="1839"/>
                  <a:pt x="755" y="1600"/>
                </a:cubicBezTo>
                <a:cubicBezTo>
                  <a:pt x="0" y="890"/>
                  <a:pt x="276" y="598"/>
                  <a:pt x="538" y="441"/>
                </a:cubicBezTo>
                <a:cubicBezTo>
                  <a:pt x="897" y="226"/>
                  <a:pt x="1323" y="793"/>
                  <a:pt x="1674" y="397"/>
                </a:cubicBezTo>
                <a:cubicBezTo>
                  <a:pt x="2025" y="0"/>
                  <a:pt x="2587" y="318"/>
                  <a:pt x="2620" y="922"/>
                </a:cubicBezTo>
                <a:cubicBezTo>
                  <a:pt x="2641" y="1299"/>
                  <a:pt x="2560" y="1528"/>
                  <a:pt x="2419" y="1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17341C5B-ED7B-0540-95B7-B22DAD3885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464395" y="2898354"/>
            <a:ext cx="10867577" cy="9769211"/>
          </a:xfrm>
          <a:custGeom>
            <a:avLst/>
            <a:gdLst>
              <a:gd name="connsiteX0" fmla="*/ 6495245 w 10867577"/>
              <a:gd name="connsiteY0" fmla="*/ 178 h 9769211"/>
              <a:gd name="connsiteX1" fmla="*/ 10738510 w 10867577"/>
              <a:gd name="connsiteY1" fmla="*/ 3224348 h 9769211"/>
              <a:gd name="connsiteX2" fmla="*/ 7007275 w 10867577"/>
              <a:gd name="connsiteY2" fmla="*/ 7256632 h 9769211"/>
              <a:gd name="connsiteX3" fmla="*/ 1980741 w 10867577"/>
              <a:gd name="connsiteY3" fmla="*/ 8695698 h 9769211"/>
              <a:gd name="connsiteX4" fmla="*/ 18460 w 10867577"/>
              <a:gd name="connsiteY4" fmla="*/ 5358803 h 9769211"/>
              <a:gd name="connsiteX5" fmla="*/ 2265900 w 10867577"/>
              <a:gd name="connsiteY5" fmla="*/ 983654 h 9769211"/>
              <a:gd name="connsiteX6" fmla="*/ 6040634 w 10867577"/>
              <a:gd name="connsiteY6" fmla="*/ 8180 h 9769211"/>
              <a:gd name="connsiteX7" fmla="*/ 6495245 w 10867577"/>
              <a:gd name="connsiteY7" fmla="*/ 178 h 9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67577" h="9769211">
                <a:moveTo>
                  <a:pt x="6495245" y="178"/>
                </a:moveTo>
                <a:cubicBezTo>
                  <a:pt x="11045924" y="-20988"/>
                  <a:pt x="11084990" y="1839609"/>
                  <a:pt x="10738510" y="3224348"/>
                </a:cubicBezTo>
                <a:cubicBezTo>
                  <a:pt x="10245523" y="5184956"/>
                  <a:pt x="6857445" y="4706877"/>
                  <a:pt x="7007275" y="7256632"/>
                </a:cubicBezTo>
                <a:cubicBezTo>
                  <a:pt x="7161937" y="9811216"/>
                  <a:pt x="4155684" y="10641818"/>
                  <a:pt x="1980741" y="8695698"/>
                </a:cubicBezTo>
                <a:cubicBezTo>
                  <a:pt x="617777" y="7473940"/>
                  <a:pt x="110291" y="6421200"/>
                  <a:pt x="18460" y="5358803"/>
                </a:cubicBezTo>
                <a:cubicBezTo>
                  <a:pt x="-141036" y="3596188"/>
                  <a:pt x="743441" y="1886692"/>
                  <a:pt x="2265900" y="983654"/>
                </a:cubicBezTo>
                <a:cubicBezTo>
                  <a:pt x="3135877" y="466942"/>
                  <a:pt x="4349012" y="61300"/>
                  <a:pt x="6040634" y="8180"/>
                </a:cubicBezTo>
                <a:cubicBezTo>
                  <a:pt x="6196958" y="3501"/>
                  <a:pt x="6348449" y="860"/>
                  <a:pt x="6495245" y="17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18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1CB22A2F-A2AF-D74D-A8B2-FF8D2165C3C0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11329491" y="1818233"/>
            <a:ext cx="13041139" cy="11899355"/>
          </a:xfrm>
          <a:custGeom>
            <a:avLst/>
            <a:gdLst>
              <a:gd name="T0" fmla="*/ 1944 w 1974"/>
              <a:gd name="T1" fmla="*/ 1110 h 1432"/>
              <a:gd name="T2" fmla="*/ 1934 w 1974"/>
              <a:gd name="T3" fmla="*/ 1084 h 1432"/>
              <a:gd name="T4" fmla="*/ 1898 w 1974"/>
              <a:gd name="T5" fmla="*/ 1098 h 1432"/>
              <a:gd name="T6" fmla="*/ 1865 w 1974"/>
              <a:gd name="T7" fmla="*/ 1117 h 1432"/>
              <a:gd name="T8" fmla="*/ 1803 w 1974"/>
              <a:gd name="T9" fmla="*/ 1095 h 1432"/>
              <a:gd name="T10" fmla="*/ 1571 w 1974"/>
              <a:gd name="T11" fmla="*/ 878 h 1432"/>
              <a:gd name="T12" fmla="*/ 1349 w 1974"/>
              <a:gd name="T13" fmla="*/ 688 h 1432"/>
              <a:gd name="T14" fmla="*/ 1327 w 1974"/>
              <a:gd name="T15" fmla="*/ 663 h 1432"/>
              <a:gd name="T16" fmla="*/ 1273 w 1974"/>
              <a:gd name="T17" fmla="*/ 780 h 1432"/>
              <a:gd name="T18" fmla="*/ 1242 w 1974"/>
              <a:gd name="T19" fmla="*/ 520 h 1432"/>
              <a:gd name="T20" fmla="*/ 1210 w 1974"/>
              <a:gd name="T21" fmla="*/ 887 h 1432"/>
              <a:gd name="T22" fmla="*/ 1085 w 1974"/>
              <a:gd name="T23" fmla="*/ 360 h 1432"/>
              <a:gd name="T24" fmla="*/ 1097 w 1974"/>
              <a:gd name="T25" fmla="*/ 817 h 1432"/>
              <a:gd name="T26" fmla="*/ 1063 w 1974"/>
              <a:gd name="T27" fmla="*/ 862 h 1432"/>
              <a:gd name="T28" fmla="*/ 921 w 1974"/>
              <a:gd name="T29" fmla="*/ 613 h 1432"/>
              <a:gd name="T30" fmla="*/ 970 w 1974"/>
              <a:gd name="T31" fmla="*/ 897 h 1432"/>
              <a:gd name="T32" fmla="*/ 918 w 1974"/>
              <a:gd name="T33" fmla="*/ 1019 h 1432"/>
              <a:gd name="T34" fmla="*/ 867 w 1974"/>
              <a:gd name="T35" fmla="*/ 585 h 1432"/>
              <a:gd name="T36" fmla="*/ 807 w 1974"/>
              <a:gd name="T37" fmla="*/ 531 h 1432"/>
              <a:gd name="T38" fmla="*/ 872 w 1974"/>
              <a:gd name="T39" fmla="*/ 883 h 1432"/>
              <a:gd name="T40" fmla="*/ 804 w 1974"/>
              <a:gd name="T41" fmla="*/ 766 h 1432"/>
              <a:gd name="T42" fmla="*/ 756 w 1974"/>
              <a:gd name="T43" fmla="*/ 646 h 1432"/>
              <a:gd name="T44" fmla="*/ 666 w 1974"/>
              <a:gd name="T45" fmla="*/ 90 h 1432"/>
              <a:gd name="T46" fmla="*/ 677 w 1974"/>
              <a:gd name="T47" fmla="*/ 189 h 1432"/>
              <a:gd name="T48" fmla="*/ 629 w 1974"/>
              <a:gd name="T49" fmla="*/ 104 h 1432"/>
              <a:gd name="T50" fmla="*/ 649 w 1974"/>
              <a:gd name="T51" fmla="*/ 147 h 1432"/>
              <a:gd name="T52" fmla="*/ 572 w 1974"/>
              <a:gd name="T53" fmla="*/ 205 h 1432"/>
              <a:gd name="T54" fmla="*/ 648 w 1974"/>
              <a:gd name="T55" fmla="*/ 193 h 1432"/>
              <a:gd name="T56" fmla="*/ 608 w 1974"/>
              <a:gd name="T57" fmla="*/ 227 h 1432"/>
              <a:gd name="T58" fmla="*/ 614 w 1974"/>
              <a:gd name="T59" fmla="*/ 166 h 1432"/>
              <a:gd name="T60" fmla="*/ 583 w 1974"/>
              <a:gd name="T61" fmla="*/ 348 h 1432"/>
              <a:gd name="T62" fmla="*/ 522 w 1974"/>
              <a:gd name="T63" fmla="*/ 221 h 1432"/>
              <a:gd name="T64" fmla="*/ 787 w 1974"/>
              <a:gd name="T65" fmla="*/ 160 h 1432"/>
              <a:gd name="T66" fmla="*/ 482 w 1974"/>
              <a:gd name="T67" fmla="*/ 319 h 1432"/>
              <a:gd name="T68" fmla="*/ 466 w 1974"/>
              <a:gd name="T69" fmla="*/ 263 h 1432"/>
              <a:gd name="T70" fmla="*/ 423 w 1974"/>
              <a:gd name="T71" fmla="*/ 294 h 1432"/>
              <a:gd name="T72" fmla="*/ 408 w 1974"/>
              <a:gd name="T73" fmla="*/ 256 h 1432"/>
              <a:gd name="T74" fmla="*/ 325 w 1974"/>
              <a:gd name="T75" fmla="*/ 164 h 1432"/>
              <a:gd name="T76" fmla="*/ 199 w 1974"/>
              <a:gd name="T77" fmla="*/ 336 h 1432"/>
              <a:gd name="T78" fmla="*/ 217 w 1974"/>
              <a:gd name="T79" fmla="*/ 142 h 1432"/>
              <a:gd name="T80" fmla="*/ 213 w 1974"/>
              <a:gd name="T81" fmla="*/ 186 h 1432"/>
              <a:gd name="T82" fmla="*/ 56 w 1974"/>
              <a:gd name="T83" fmla="*/ 209 h 1432"/>
              <a:gd name="T84" fmla="*/ 1722 w 1974"/>
              <a:gd name="T85" fmla="*/ 873 h 1432"/>
              <a:gd name="T86" fmla="*/ 1382 w 1974"/>
              <a:gd name="T87" fmla="*/ 692 h 1432"/>
              <a:gd name="T88" fmla="*/ 1313 w 1974"/>
              <a:gd name="T89" fmla="*/ 531 h 1432"/>
              <a:gd name="T90" fmla="*/ 1251 w 1974"/>
              <a:gd name="T91" fmla="*/ 412 h 1432"/>
              <a:gd name="T92" fmla="*/ 1161 w 1974"/>
              <a:gd name="T93" fmla="*/ 319 h 1432"/>
              <a:gd name="T94" fmla="*/ 1086 w 1974"/>
              <a:gd name="T95" fmla="*/ 277 h 1432"/>
              <a:gd name="T96" fmla="*/ 924 w 1974"/>
              <a:gd name="T97" fmla="*/ 277 h 1432"/>
              <a:gd name="T98" fmla="*/ 1105 w 1974"/>
              <a:gd name="T99" fmla="*/ 256 h 1432"/>
              <a:gd name="T100" fmla="*/ 919 w 1974"/>
              <a:gd name="T101" fmla="*/ 213 h 1432"/>
              <a:gd name="T102" fmla="*/ 1043 w 1974"/>
              <a:gd name="T103" fmla="*/ 174 h 1432"/>
              <a:gd name="T104" fmla="*/ 1007 w 1974"/>
              <a:gd name="T105" fmla="*/ 147 h 1432"/>
              <a:gd name="T106" fmla="*/ 908 w 1974"/>
              <a:gd name="T107" fmla="*/ 82 h 1432"/>
              <a:gd name="T108" fmla="*/ 682 w 1974"/>
              <a:gd name="T109" fmla="*/ 11 h 1432"/>
              <a:gd name="T110" fmla="*/ 252 w 1974"/>
              <a:gd name="T111" fmla="*/ 94 h 1432"/>
              <a:gd name="T112" fmla="*/ 50 w 1974"/>
              <a:gd name="T113" fmla="*/ 209 h 1432"/>
              <a:gd name="T114" fmla="*/ 45 w 1974"/>
              <a:gd name="T115" fmla="*/ 459 h 1432"/>
              <a:gd name="T116" fmla="*/ 400 w 1974"/>
              <a:gd name="T117" fmla="*/ 485 h 1432"/>
              <a:gd name="T118" fmla="*/ 507 w 1974"/>
              <a:gd name="T119" fmla="*/ 786 h 1432"/>
              <a:gd name="T120" fmla="*/ 439 w 1974"/>
              <a:gd name="T121" fmla="*/ 1179 h 1432"/>
              <a:gd name="T122" fmla="*/ 1974 w 1974"/>
              <a:gd name="T123" fmla="*/ 1224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74" h="1432">
                <a:moveTo>
                  <a:pt x="1968" y="1090"/>
                </a:moveTo>
                <a:lnTo>
                  <a:pt x="1969" y="1091"/>
                </a:lnTo>
                <a:lnTo>
                  <a:pt x="1970" y="1091"/>
                </a:lnTo>
                <a:lnTo>
                  <a:pt x="1969" y="1091"/>
                </a:lnTo>
                <a:lnTo>
                  <a:pt x="1968" y="1090"/>
                </a:lnTo>
                <a:close/>
                <a:moveTo>
                  <a:pt x="1957" y="1084"/>
                </a:moveTo>
                <a:lnTo>
                  <a:pt x="1950" y="1081"/>
                </a:lnTo>
                <a:lnTo>
                  <a:pt x="1943" y="1077"/>
                </a:lnTo>
                <a:lnTo>
                  <a:pt x="1950" y="1081"/>
                </a:lnTo>
                <a:lnTo>
                  <a:pt x="1957" y="1084"/>
                </a:lnTo>
                <a:lnTo>
                  <a:pt x="1961" y="1086"/>
                </a:lnTo>
                <a:lnTo>
                  <a:pt x="1964" y="1088"/>
                </a:lnTo>
                <a:lnTo>
                  <a:pt x="1961" y="1086"/>
                </a:lnTo>
                <a:lnTo>
                  <a:pt x="1957" y="1084"/>
                </a:lnTo>
                <a:close/>
                <a:moveTo>
                  <a:pt x="1951" y="1361"/>
                </a:moveTo>
                <a:lnTo>
                  <a:pt x="1950" y="1361"/>
                </a:lnTo>
                <a:lnTo>
                  <a:pt x="1948" y="1361"/>
                </a:lnTo>
                <a:lnTo>
                  <a:pt x="1950" y="1361"/>
                </a:lnTo>
                <a:lnTo>
                  <a:pt x="1951" y="1361"/>
                </a:lnTo>
                <a:lnTo>
                  <a:pt x="1955" y="1360"/>
                </a:lnTo>
                <a:lnTo>
                  <a:pt x="1957" y="1358"/>
                </a:lnTo>
                <a:lnTo>
                  <a:pt x="1958" y="1356"/>
                </a:lnTo>
                <a:lnTo>
                  <a:pt x="1961" y="1354"/>
                </a:lnTo>
                <a:lnTo>
                  <a:pt x="1958" y="1356"/>
                </a:lnTo>
                <a:lnTo>
                  <a:pt x="1957" y="1358"/>
                </a:lnTo>
                <a:lnTo>
                  <a:pt x="1955" y="1360"/>
                </a:lnTo>
                <a:lnTo>
                  <a:pt x="1951" y="1361"/>
                </a:lnTo>
                <a:close/>
                <a:moveTo>
                  <a:pt x="1958" y="1145"/>
                </a:moveTo>
                <a:lnTo>
                  <a:pt x="1957" y="1145"/>
                </a:lnTo>
                <a:lnTo>
                  <a:pt x="1956" y="1145"/>
                </a:lnTo>
                <a:lnTo>
                  <a:pt x="1957" y="1145"/>
                </a:lnTo>
                <a:lnTo>
                  <a:pt x="1958" y="1145"/>
                </a:lnTo>
                <a:close/>
                <a:moveTo>
                  <a:pt x="1954" y="1112"/>
                </a:moveTo>
                <a:lnTo>
                  <a:pt x="1954" y="1112"/>
                </a:lnTo>
                <a:lnTo>
                  <a:pt x="1955" y="1112"/>
                </a:lnTo>
                <a:lnTo>
                  <a:pt x="1957" y="1112"/>
                </a:lnTo>
                <a:lnTo>
                  <a:pt x="1955" y="1112"/>
                </a:lnTo>
                <a:lnTo>
                  <a:pt x="1954" y="1112"/>
                </a:lnTo>
                <a:close/>
                <a:moveTo>
                  <a:pt x="1944" y="1110"/>
                </a:moveTo>
                <a:lnTo>
                  <a:pt x="1947" y="1110"/>
                </a:lnTo>
                <a:lnTo>
                  <a:pt x="1950" y="1110"/>
                </a:lnTo>
                <a:lnTo>
                  <a:pt x="1947" y="1110"/>
                </a:lnTo>
                <a:lnTo>
                  <a:pt x="1944" y="1110"/>
                </a:lnTo>
                <a:lnTo>
                  <a:pt x="1944" y="1110"/>
                </a:lnTo>
                <a:close/>
                <a:moveTo>
                  <a:pt x="1947" y="1116"/>
                </a:moveTo>
                <a:lnTo>
                  <a:pt x="1947" y="1116"/>
                </a:lnTo>
                <a:lnTo>
                  <a:pt x="1946" y="1116"/>
                </a:lnTo>
                <a:lnTo>
                  <a:pt x="1943" y="1116"/>
                </a:lnTo>
                <a:lnTo>
                  <a:pt x="1946" y="1116"/>
                </a:lnTo>
                <a:lnTo>
                  <a:pt x="1947" y="1116"/>
                </a:lnTo>
                <a:close/>
                <a:moveTo>
                  <a:pt x="1941" y="1147"/>
                </a:moveTo>
                <a:lnTo>
                  <a:pt x="1942" y="1145"/>
                </a:lnTo>
                <a:lnTo>
                  <a:pt x="1943" y="1143"/>
                </a:lnTo>
                <a:lnTo>
                  <a:pt x="1942" y="1145"/>
                </a:lnTo>
                <a:lnTo>
                  <a:pt x="1941" y="1147"/>
                </a:lnTo>
                <a:close/>
                <a:moveTo>
                  <a:pt x="1937" y="1150"/>
                </a:moveTo>
                <a:lnTo>
                  <a:pt x="1940" y="1150"/>
                </a:lnTo>
                <a:lnTo>
                  <a:pt x="1941" y="1150"/>
                </a:lnTo>
                <a:lnTo>
                  <a:pt x="1947" y="1150"/>
                </a:lnTo>
                <a:lnTo>
                  <a:pt x="1954" y="1150"/>
                </a:lnTo>
                <a:lnTo>
                  <a:pt x="1947" y="1150"/>
                </a:lnTo>
                <a:lnTo>
                  <a:pt x="1941" y="1150"/>
                </a:lnTo>
                <a:lnTo>
                  <a:pt x="1940" y="1150"/>
                </a:lnTo>
                <a:lnTo>
                  <a:pt x="1937" y="1150"/>
                </a:lnTo>
                <a:close/>
                <a:moveTo>
                  <a:pt x="1939" y="1355"/>
                </a:moveTo>
                <a:lnTo>
                  <a:pt x="1939" y="1355"/>
                </a:lnTo>
                <a:lnTo>
                  <a:pt x="1936" y="1356"/>
                </a:lnTo>
                <a:lnTo>
                  <a:pt x="1935" y="1356"/>
                </a:lnTo>
                <a:lnTo>
                  <a:pt x="1936" y="1356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5"/>
                </a:lnTo>
                <a:lnTo>
                  <a:pt x="1939" y="1354"/>
                </a:lnTo>
                <a:lnTo>
                  <a:pt x="1939" y="1355"/>
                </a:lnTo>
                <a:lnTo>
                  <a:pt x="1939" y="1355"/>
                </a:lnTo>
                <a:close/>
                <a:moveTo>
                  <a:pt x="1941" y="1105"/>
                </a:moveTo>
                <a:lnTo>
                  <a:pt x="1939" y="1103"/>
                </a:lnTo>
                <a:lnTo>
                  <a:pt x="1936" y="1102"/>
                </a:lnTo>
                <a:lnTo>
                  <a:pt x="1939" y="1103"/>
                </a:lnTo>
                <a:lnTo>
                  <a:pt x="1941" y="1105"/>
                </a:lnTo>
                <a:close/>
                <a:moveTo>
                  <a:pt x="1934" y="1084"/>
                </a:moveTo>
                <a:lnTo>
                  <a:pt x="1936" y="1084"/>
                </a:lnTo>
                <a:lnTo>
                  <a:pt x="1940" y="1086"/>
                </a:lnTo>
                <a:lnTo>
                  <a:pt x="1936" y="1084"/>
                </a:lnTo>
                <a:lnTo>
                  <a:pt x="1934" y="1084"/>
                </a:lnTo>
                <a:lnTo>
                  <a:pt x="1934" y="1084"/>
                </a:lnTo>
                <a:close/>
                <a:moveTo>
                  <a:pt x="1929" y="1081"/>
                </a:move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9" y="1081"/>
                </a:lnTo>
                <a:lnTo>
                  <a:pt x="1928" y="1077"/>
                </a:lnTo>
                <a:lnTo>
                  <a:pt x="1925" y="1076"/>
                </a:lnTo>
                <a:lnTo>
                  <a:pt x="1922" y="1076"/>
                </a:lnTo>
                <a:lnTo>
                  <a:pt x="1920" y="1076"/>
                </a:lnTo>
                <a:lnTo>
                  <a:pt x="1919" y="1074"/>
                </a:lnTo>
                <a:lnTo>
                  <a:pt x="1916" y="1072"/>
                </a:lnTo>
                <a:lnTo>
                  <a:pt x="1919" y="1074"/>
                </a:lnTo>
                <a:lnTo>
                  <a:pt x="1920" y="1076"/>
                </a:lnTo>
                <a:lnTo>
                  <a:pt x="1922" y="1076"/>
                </a:lnTo>
                <a:lnTo>
                  <a:pt x="1925" y="1076"/>
                </a:lnTo>
                <a:lnTo>
                  <a:pt x="1928" y="1077"/>
                </a:lnTo>
                <a:lnTo>
                  <a:pt x="1929" y="1081"/>
                </a:lnTo>
                <a:lnTo>
                  <a:pt x="1932" y="1081"/>
                </a:lnTo>
                <a:lnTo>
                  <a:pt x="1933" y="1081"/>
                </a:lnTo>
                <a:lnTo>
                  <a:pt x="1932" y="1081"/>
                </a:lnTo>
                <a:lnTo>
                  <a:pt x="1929" y="1081"/>
                </a:lnTo>
                <a:close/>
                <a:moveTo>
                  <a:pt x="1919" y="1076"/>
                </a:move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lnTo>
                  <a:pt x="1919" y="1076"/>
                </a:lnTo>
                <a:close/>
                <a:moveTo>
                  <a:pt x="1923" y="1121"/>
                </a:moveTo>
                <a:lnTo>
                  <a:pt x="1921" y="1121"/>
                </a:lnTo>
                <a:lnTo>
                  <a:pt x="1918" y="1121"/>
                </a:lnTo>
                <a:lnTo>
                  <a:pt x="1921" y="1121"/>
                </a:lnTo>
                <a:lnTo>
                  <a:pt x="1923" y="1121"/>
                </a:lnTo>
                <a:lnTo>
                  <a:pt x="1925" y="1122"/>
                </a:lnTo>
                <a:lnTo>
                  <a:pt x="1926" y="1123"/>
                </a:lnTo>
                <a:lnTo>
                  <a:pt x="1925" y="1122"/>
                </a:lnTo>
                <a:lnTo>
                  <a:pt x="1923" y="1121"/>
                </a:lnTo>
                <a:close/>
                <a:moveTo>
                  <a:pt x="1918" y="1257"/>
                </a:moveTo>
                <a:lnTo>
                  <a:pt x="1918" y="1257"/>
                </a:lnTo>
                <a:lnTo>
                  <a:pt x="1916" y="1258"/>
                </a:lnTo>
                <a:lnTo>
                  <a:pt x="1918" y="1257"/>
                </a:lnTo>
                <a:lnTo>
                  <a:pt x="1918" y="1257"/>
                </a:lnTo>
                <a:close/>
                <a:moveTo>
                  <a:pt x="1909" y="1101"/>
                </a:moveTo>
                <a:lnTo>
                  <a:pt x="1904" y="1101"/>
                </a:lnTo>
                <a:lnTo>
                  <a:pt x="1898" y="1098"/>
                </a:lnTo>
                <a:lnTo>
                  <a:pt x="1904" y="1101"/>
                </a:lnTo>
                <a:lnTo>
                  <a:pt x="1909" y="1101"/>
                </a:lnTo>
                <a:lnTo>
                  <a:pt x="1912" y="1105"/>
                </a:lnTo>
                <a:lnTo>
                  <a:pt x="1916" y="1108"/>
                </a:lnTo>
                <a:lnTo>
                  <a:pt x="1912" y="1105"/>
                </a:lnTo>
                <a:lnTo>
                  <a:pt x="1909" y="1101"/>
                </a:lnTo>
                <a:close/>
                <a:moveTo>
                  <a:pt x="1893" y="1313"/>
                </a:moveTo>
                <a:lnTo>
                  <a:pt x="1891" y="1312"/>
                </a:lnTo>
                <a:lnTo>
                  <a:pt x="1889" y="1311"/>
                </a:lnTo>
                <a:lnTo>
                  <a:pt x="1891" y="1312"/>
                </a:lnTo>
                <a:lnTo>
                  <a:pt x="1893" y="1313"/>
                </a:lnTo>
                <a:lnTo>
                  <a:pt x="1893" y="1313"/>
                </a:lnTo>
                <a:lnTo>
                  <a:pt x="1893" y="1313"/>
                </a:lnTo>
                <a:close/>
                <a:moveTo>
                  <a:pt x="1881" y="1313"/>
                </a:moveTo>
                <a:lnTo>
                  <a:pt x="1886" y="1311"/>
                </a:lnTo>
                <a:lnTo>
                  <a:pt x="1889" y="1308"/>
                </a:lnTo>
                <a:lnTo>
                  <a:pt x="1886" y="1311"/>
                </a:lnTo>
                <a:lnTo>
                  <a:pt x="1881" y="1313"/>
                </a:lnTo>
                <a:close/>
                <a:moveTo>
                  <a:pt x="1880" y="1059"/>
                </a:moveTo>
                <a:lnTo>
                  <a:pt x="1881" y="1059"/>
                </a:lnTo>
                <a:lnTo>
                  <a:pt x="1884" y="1059"/>
                </a:lnTo>
                <a:lnTo>
                  <a:pt x="1881" y="1059"/>
                </a:lnTo>
                <a:lnTo>
                  <a:pt x="1880" y="1059"/>
                </a:lnTo>
                <a:lnTo>
                  <a:pt x="1880" y="1059"/>
                </a:lnTo>
                <a:close/>
                <a:moveTo>
                  <a:pt x="1866" y="1114"/>
                </a:moveTo>
                <a:lnTo>
                  <a:pt x="1872" y="1116"/>
                </a:lnTo>
                <a:lnTo>
                  <a:pt x="1877" y="1117"/>
                </a:lnTo>
                <a:lnTo>
                  <a:pt x="1872" y="1116"/>
                </a:lnTo>
                <a:lnTo>
                  <a:pt x="1866" y="1114"/>
                </a:lnTo>
                <a:close/>
                <a:moveTo>
                  <a:pt x="1861" y="1270"/>
                </a:moveTo>
                <a:lnTo>
                  <a:pt x="1866" y="1268"/>
                </a:lnTo>
                <a:lnTo>
                  <a:pt x="1871" y="1265"/>
                </a:lnTo>
                <a:lnTo>
                  <a:pt x="1870" y="1265"/>
                </a:lnTo>
                <a:lnTo>
                  <a:pt x="1870" y="1264"/>
                </a:lnTo>
                <a:lnTo>
                  <a:pt x="1870" y="1265"/>
                </a:lnTo>
                <a:lnTo>
                  <a:pt x="1871" y="1265"/>
                </a:lnTo>
                <a:lnTo>
                  <a:pt x="1866" y="1268"/>
                </a:lnTo>
                <a:lnTo>
                  <a:pt x="1861" y="1270"/>
                </a:lnTo>
                <a:close/>
                <a:moveTo>
                  <a:pt x="1865" y="1117"/>
                </a:moveTo>
                <a:lnTo>
                  <a:pt x="1863" y="1117"/>
                </a:lnTo>
                <a:lnTo>
                  <a:pt x="1860" y="1117"/>
                </a:lnTo>
                <a:lnTo>
                  <a:pt x="1863" y="1117"/>
                </a:lnTo>
                <a:lnTo>
                  <a:pt x="1865" y="1117"/>
                </a:lnTo>
                <a:close/>
                <a:moveTo>
                  <a:pt x="1852" y="1130"/>
                </a:moveTo>
                <a:lnTo>
                  <a:pt x="1853" y="1130"/>
                </a:lnTo>
                <a:lnTo>
                  <a:pt x="1853" y="1129"/>
                </a:lnTo>
                <a:lnTo>
                  <a:pt x="1853" y="1130"/>
                </a:lnTo>
                <a:lnTo>
                  <a:pt x="1852" y="1130"/>
                </a:lnTo>
                <a:close/>
                <a:moveTo>
                  <a:pt x="1901" y="1059"/>
                </a:moveTo>
                <a:lnTo>
                  <a:pt x="1901" y="1058"/>
                </a:lnTo>
                <a:lnTo>
                  <a:pt x="1901" y="1056"/>
                </a:lnTo>
                <a:lnTo>
                  <a:pt x="1901" y="1058"/>
                </a:lnTo>
                <a:lnTo>
                  <a:pt x="1901" y="1059"/>
                </a:lnTo>
                <a:close/>
                <a:moveTo>
                  <a:pt x="1909" y="1101"/>
                </a:moveTo>
                <a:lnTo>
                  <a:pt x="1908" y="1100"/>
                </a:lnTo>
                <a:lnTo>
                  <a:pt x="1907" y="1098"/>
                </a:lnTo>
                <a:lnTo>
                  <a:pt x="1908" y="1100"/>
                </a:lnTo>
                <a:lnTo>
                  <a:pt x="1909" y="1101"/>
                </a:lnTo>
                <a:close/>
                <a:moveTo>
                  <a:pt x="1921" y="1038"/>
                </a:moveTo>
                <a:lnTo>
                  <a:pt x="1914" y="1033"/>
                </a:lnTo>
                <a:lnTo>
                  <a:pt x="1908" y="1027"/>
                </a:lnTo>
                <a:lnTo>
                  <a:pt x="1914" y="1033"/>
                </a:lnTo>
                <a:lnTo>
                  <a:pt x="1921" y="1038"/>
                </a:lnTo>
                <a:close/>
                <a:moveTo>
                  <a:pt x="1950" y="1067"/>
                </a:moveTo>
                <a:lnTo>
                  <a:pt x="1950" y="1066"/>
                </a:lnTo>
                <a:lnTo>
                  <a:pt x="1950" y="1067"/>
                </a:lnTo>
                <a:lnTo>
                  <a:pt x="1950" y="1067"/>
                </a:lnTo>
                <a:close/>
                <a:moveTo>
                  <a:pt x="1849" y="1130"/>
                </a:moveTo>
                <a:lnTo>
                  <a:pt x="1846" y="1128"/>
                </a:lnTo>
                <a:lnTo>
                  <a:pt x="1845" y="1125"/>
                </a:lnTo>
                <a:lnTo>
                  <a:pt x="1846" y="1128"/>
                </a:lnTo>
                <a:lnTo>
                  <a:pt x="1849" y="1130"/>
                </a:lnTo>
                <a:close/>
                <a:moveTo>
                  <a:pt x="1816" y="1084"/>
                </a:moveTo>
                <a:lnTo>
                  <a:pt x="1828" y="1076"/>
                </a:lnTo>
                <a:lnTo>
                  <a:pt x="1840" y="1070"/>
                </a:lnTo>
                <a:lnTo>
                  <a:pt x="1828" y="1076"/>
                </a:lnTo>
                <a:lnTo>
                  <a:pt x="1816" y="1084"/>
                </a:lnTo>
                <a:close/>
                <a:moveTo>
                  <a:pt x="1818" y="1087"/>
                </a:moveTo>
                <a:lnTo>
                  <a:pt x="1818" y="1086"/>
                </a:lnTo>
                <a:lnTo>
                  <a:pt x="1817" y="1086"/>
                </a:lnTo>
                <a:lnTo>
                  <a:pt x="1818" y="1086"/>
                </a:lnTo>
                <a:lnTo>
                  <a:pt x="1818" y="1087"/>
                </a:lnTo>
                <a:close/>
                <a:moveTo>
                  <a:pt x="1801" y="1098"/>
                </a:moveTo>
                <a:lnTo>
                  <a:pt x="1803" y="1095"/>
                </a:lnTo>
                <a:lnTo>
                  <a:pt x="1806" y="1094"/>
                </a:lnTo>
                <a:lnTo>
                  <a:pt x="1803" y="1095"/>
                </a:lnTo>
                <a:lnTo>
                  <a:pt x="1801" y="1098"/>
                </a:lnTo>
                <a:close/>
                <a:moveTo>
                  <a:pt x="1798" y="1215"/>
                </a:moveTo>
                <a:lnTo>
                  <a:pt x="1798" y="1219"/>
                </a:lnTo>
                <a:lnTo>
                  <a:pt x="1799" y="1221"/>
                </a:lnTo>
                <a:lnTo>
                  <a:pt x="1798" y="1219"/>
                </a:lnTo>
                <a:lnTo>
                  <a:pt x="1798" y="1215"/>
                </a:lnTo>
                <a:lnTo>
                  <a:pt x="1798" y="1210"/>
                </a:lnTo>
                <a:lnTo>
                  <a:pt x="1801" y="1207"/>
                </a:lnTo>
                <a:lnTo>
                  <a:pt x="1798" y="1210"/>
                </a:lnTo>
                <a:lnTo>
                  <a:pt x="1798" y="1215"/>
                </a:lnTo>
                <a:close/>
                <a:moveTo>
                  <a:pt x="1778" y="1297"/>
                </a:moveTo>
                <a:lnTo>
                  <a:pt x="1780" y="1296"/>
                </a:lnTo>
                <a:lnTo>
                  <a:pt x="1781" y="1296"/>
                </a:lnTo>
                <a:lnTo>
                  <a:pt x="1780" y="1296"/>
                </a:lnTo>
                <a:lnTo>
                  <a:pt x="1778" y="1297"/>
                </a:lnTo>
                <a:close/>
                <a:moveTo>
                  <a:pt x="1762" y="1164"/>
                </a:moveTo>
                <a:lnTo>
                  <a:pt x="1762" y="1164"/>
                </a:lnTo>
                <a:lnTo>
                  <a:pt x="1762" y="1165"/>
                </a:lnTo>
                <a:lnTo>
                  <a:pt x="1762" y="1164"/>
                </a:lnTo>
                <a:close/>
                <a:moveTo>
                  <a:pt x="1610" y="1199"/>
                </a:moveTo>
                <a:lnTo>
                  <a:pt x="1612" y="1199"/>
                </a:lnTo>
                <a:lnTo>
                  <a:pt x="1616" y="1199"/>
                </a:lnTo>
                <a:lnTo>
                  <a:pt x="1612" y="1199"/>
                </a:lnTo>
                <a:lnTo>
                  <a:pt x="1610" y="1199"/>
                </a:lnTo>
                <a:close/>
                <a:moveTo>
                  <a:pt x="1604" y="894"/>
                </a:moveTo>
                <a:lnTo>
                  <a:pt x="1604" y="892"/>
                </a:lnTo>
                <a:lnTo>
                  <a:pt x="1604" y="890"/>
                </a:lnTo>
                <a:lnTo>
                  <a:pt x="1604" y="890"/>
                </a:lnTo>
                <a:lnTo>
                  <a:pt x="1604" y="892"/>
                </a:lnTo>
                <a:lnTo>
                  <a:pt x="1604" y="894"/>
                </a:lnTo>
                <a:close/>
                <a:moveTo>
                  <a:pt x="1598" y="905"/>
                </a:moveTo>
                <a:lnTo>
                  <a:pt x="1598" y="906"/>
                </a:lnTo>
                <a:lnTo>
                  <a:pt x="1598" y="907"/>
                </a:lnTo>
                <a:lnTo>
                  <a:pt x="1598" y="906"/>
                </a:lnTo>
                <a:lnTo>
                  <a:pt x="1598" y="905"/>
                </a:lnTo>
                <a:close/>
                <a:moveTo>
                  <a:pt x="1577" y="886"/>
                </a:moveTo>
                <a:lnTo>
                  <a:pt x="1578" y="884"/>
                </a:lnTo>
                <a:lnTo>
                  <a:pt x="1580" y="881"/>
                </a:lnTo>
                <a:lnTo>
                  <a:pt x="1578" y="884"/>
                </a:lnTo>
                <a:lnTo>
                  <a:pt x="1577" y="886"/>
                </a:lnTo>
                <a:close/>
                <a:moveTo>
                  <a:pt x="1570" y="884"/>
                </a:moveTo>
                <a:lnTo>
                  <a:pt x="1571" y="881"/>
                </a:lnTo>
                <a:lnTo>
                  <a:pt x="1571" y="878"/>
                </a:lnTo>
                <a:lnTo>
                  <a:pt x="1567" y="878"/>
                </a:lnTo>
                <a:lnTo>
                  <a:pt x="1564" y="876"/>
                </a:lnTo>
                <a:lnTo>
                  <a:pt x="1567" y="878"/>
                </a:lnTo>
                <a:lnTo>
                  <a:pt x="1571" y="878"/>
                </a:lnTo>
                <a:lnTo>
                  <a:pt x="1571" y="881"/>
                </a:lnTo>
                <a:lnTo>
                  <a:pt x="1570" y="884"/>
                </a:lnTo>
                <a:close/>
                <a:moveTo>
                  <a:pt x="1421" y="741"/>
                </a:moveTo>
                <a:lnTo>
                  <a:pt x="1415" y="730"/>
                </a:lnTo>
                <a:lnTo>
                  <a:pt x="1410" y="718"/>
                </a:lnTo>
                <a:lnTo>
                  <a:pt x="1404" y="705"/>
                </a:lnTo>
                <a:lnTo>
                  <a:pt x="1400" y="694"/>
                </a:lnTo>
                <a:lnTo>
                  <a:pt x="1404" y="705"/>
                </a:lnTo>
                <a:lnTo>
                  <a:pt x="1410" y="718"/>
                </a:lnTo>
                <a:lnTo>
                  <a:pt x="1415" y="730"/>
                </a:lnTo>
                <a:lnTo>
                  <a:pt x="1421" y="741"/>
                </a:lnTo>
                <a:lnTo>
                  <a:pt x="1423" y="748"/>
                </a:lnTo>
                <a:lnTo>
                  <a:pt x="1424" y="755"/>
                </a:lnTo>
                <a:lnTo>
                  <a:pt x="1423" y="748"/>
                </a:lnTo>
                <a:lnTo>
                  <a:pt x="1421" y="741"/>
                </a:lnTo>
                <a:close/>
                <a:moveTo>
                  <a:pt x="1390" y="690"/>
                </a:moveTo>
                <a:lnTo>
                  <a:pt x="1393" y="689"/>
                </a:lnTo>
                <a:lnTo>
                  <a:pt x="1394" y="688"/>
                </a:lnTo>
                <a:lnTo>
                  <a:pt x="1393" y="689"/>
                </a:lnTo>
                <a:lnTo>
                  <a:pt x="1390" y="690"/>
                </a:lnTo>
                <a:close/>
                <a:moveTo>
                  <a:pt x="1393" y="758"/>
                </a:move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3" y="758"/>
                </a:lnTo>
                <a:lnTo>
                  <a:pt x="1394" y="755"/>
                </a:lnTo>
                <a:lnTo>
                  <a:pt x="1394" y="752"/>
                </a:lnTo>
                <a:lnTo>
                  <a:pt x="1394" y="755"/>
                </a:lnTo>
                <a:lnTo>
                  <a:pt x="1393" y="758"/>
                </a:lnTo>
                <a:close/>
                <a:moveTo>
                  <a:pt x="1374" y="744"/>
                </a:moveTo>
                <a:lnTo>
                  <a:pt x="1373" y="744"/>
                </a:lnTo>
                <a:lnTo>
                  <a:pt x="1371" y="743"/>
                </a:lnTo>
                <a:lnTo>
                  <a:pt x="1373" y="744"/>
                </a:lnTo>
                <a:lnTo>
                  <a:pt x="1374" y="744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5"/>
                </a:lnTo>
                <a:lnTo>
                  <a:pt x="1374" y="744"/>
                </a:lnTo>
                <a:close/>
                <a:moveTo>
                  <a:pt x="1349" y="688"/>
                </a:moveTo>
                <a:lnTo>
                  <a:pt x="1347" y="685"/>
                </a:lnTo>
                <a:lnTo>
                  <a:pt x="1346" y="682"/>
                </a:lnTo>
                <a:lnTo>
                  <a:pt x="1345" y="680"/>
                </a:lnTo>
                <a:lnTo>
                  <a:pt x="1345" y="676"/>
                </a:lnTo>
                <a:lnTo>
                  <a:pt x="1345" y="680"/>
                </a:lnTo>
                <a:lnTo>
                  <a:pt x="1346" y="682"/>
                </a:lnTo>
                <a:lnTo>
                  <a:pt x="1347" y="685"/>
                </a:lnTo>
                <a:lnTo>
                  <a:pt x="1349" y="688"/>
                </a:lnTo>
                <a:lnTo>
                  <a:pt x="1352" y="689"/>
                </a:lnTo>
                <a:lnTo>
                  <a:pt x="1353" y="689"/>
                </a:lnTo>
                <a:lnTo>
                  <a:pt x="1354" y="690"/>
                </a:lnTo>
                <a:lnTo>
                  <a:pt x="1354" y="692"/>
                </a:lnTo>
                <a:lnTo>
                  <a:pt x="1354" y="690"/>
                </a:lnTo>
                <a:lnTo>
                  <a:pt x="1353" y="689"/>
                </a:lnTo>
                <a:lnTo>
                  <a:pt x="1352" y="689"/>
                </a:lnTo>
                <a:lnTo>
                  <a:pt x="1349" y="688"/>
                </a:lnTo>
                <a:close/>
                <a:moveTo>
                  <a:pt x="1349" y="689"/>
                </a:moveTo>
                <a:lnTo>
                  <a:pt x="1349" y="689"/>
                </a:lnTo>
                <a:lnTo>
                  <a:pt x="1349" y="688"/>
                </a:lnTo>
                <a:lnTo>
                  <a:pt x="1349" y="689"/>
                </a:lnTo>
                <a:lnTo>
                  <a:pt x="1349" y="689"/>
                </a:lnTo>
                <a:close/>
                <a:moveTo>
                  <a:pt x="1335" y="678"/>
                </a:moveTo>
                <a:lnTo>
                  <a:pt x="1332" y="678"/>
                </a:lnTo>
                <a:lnTo>
                  <a:pt x="1328" y="678"/>
                </a:lnTo>
                <a:lnTo>
                  <a:pt x="1332" y="678"/>
                </a:lnTo>
                <a:lnTo>
                  <a:pt x="1335" y="678"/>
                </a:lnTo>
                <a:lnTo>
                  <a:pt x="1338" y="682"/>
                </a:lnTo>
                <a:lnTo>
                  <a:pt x="1340" y="684"/>
                </a:lnTo>
                <a:lnTo>
                  <a:pt x="1338" y="682"/>
                </a:lnTo>
                <a:lnTo>
                  <a:pt x="1335" y="678"/>
                </a:lnTo>
                <a:close/>
                <a:moveTo>
                  <a:pt x="1333" y="729"/>
                </a:moveTo>
                <a:lnTo>
                  <a:pt x="1333" y="727"/>
                </a:lnTo>
                <a:lnTo>
                  <a:pt x="1332" y="725"/>
                </a:lnTo>
                <a:lnTo>
                  <a:pt x="1333" y="727"/>
                </a:lnTo>
                <a:lnTo>
                  <a:pt x="1333" y="729"/>
                </a:lnTo>
                <a:lnTo>
                  <a:pt x="1334" y="730"/>
                </a:lnTo>
                <a:lnTo>
                  <a:pt x="1334" y="730"/>
                </a:lnTo>
                <a:lnTo>
                  <a:pt x="1334" y="730"/>
                </a:lnTo>
                <a:lnTo>
                  <a:pt x="1333" y="729"/>
                </a:lnTo>
                <a:close/>
                <a:moveTo>
                  <a:pt x="1322" y="667"/>
                </a:moveTo>
                <a:lnTo>
                  <a:pt x="1327" y="663"/>
                </a:lnTo>
                <a:lnTo>
                  <a:pt x="1331" y="660"/>
                </a:lnTo>
                <a:lnTo>
                  <a:pt x="1327" y="663"/>
                </a:lnTo>
                <a:lnTo>
                  <a:pt x="1322" y="667"/>
                </a:lnTo>
                <a:close/>
                <a:moveTo>
                  <a:pt x="1320" y="772"/>
                </a:moveTo>
                <a:lnTo>
                  <a:pt x="1316" y="765"/>
                </a:lnTo>
                <a:lnTo>
                  <a:pt x="1313" y="758"/>
                </a:lnTo>
                <a:lnTo>
                  <a:pt x="1316" y="765"/>
                </a:lnTo>
                <a:lnTo>
                  <a:pt x="1320" y="772"/>
                </a:lnTo>
                <a:lnTo>
                  <a:pt x="1321" y="773"/>
                </a:lnTo>
                <a:lnTo>
                  <a:pt x="1322" y="775"/>
                </a:lnTo>
                <a:lnTo>
                  <a:pt x="1321" y="773"/>
                </a:lnTo>
                <a:lnTo>
                  <a:pt x="1320" y="772"/>
                </a:lnTo>
                <a:close/>
                <a:moveTo>
                  <a:pt x="1307" y="776"/>
                </a:move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6" y="774"/>
                </a:lnTo>
                <a:lnTo>
                  <a:pt x="1307" y="775"/>
                </a:lnTo>
                <a:lnTo>
                  <a:pt x="1308" y="775"/>
                </a:lnTo>
                <a:lnTo>
                  <a:pt x="1307" y="775"/>
                </a:lnTo>
                <a:lnTo>
                  <a:pt x="1307" y="776"/>
                </a:lnTo>
                <a:close/>
                <a:moveTo>
                  <a:pt x="1299" y="762"/>
                </a:moveTo>
                <a:lnTo>
                  <a:pt x="1297" y="762"/>
                </a:lnTo>
                <a:lnTo>
                  <a:pt x="1295" y="764"/>
                </a:lnTo>
                <a:lnTo>
                  <a:pt x="1297" y="762"/>
                </a:lnTo>
                <a:lnTo>
                  <a:pt x="1299" y="762"/>
                </a:lnTo>
                <a:lnTo>
                  <a:pt x="1299" y="762"/>
                </a:lnTo>
                <a:lnTo>
                  <a:pt x="1300" y="762"/>
                </a:lnTo>
                <a:lnTo>
                  <a:pt x="1299" y="762"/>
                </a:lnTo>
                <a:lnTo>
                  <a:pt x="1299" y="762"/>
                </a:lnTo>
                <a:close/>
                <a:moveTo>
                  <a:pt x="1295" y="767"/>
                </a:moveTo>
                <a:lnTo>
                  <a:pt x="1295" y="767"/>
                </a:lnTo>
                <a:lnTo>
                  <a:pt x="1294" y="768"/>
                </a:lnTo>
                <a:lnTo>
                  <a:pt x="1295" y="767"/>
                </a:lnTo>
                <a:lnTo>
                  <a:pt x="1295" y="767"/>
                </a:lnTo>
                <a:close/>
                <a:moveTo>
                  <a:pt x="1276" y="783"/>
                </a:moveTo>
                <a:lnTo>
                  <a:pt x="1277" y="783"/>
                </a:lnTo>
                <a:lnTo>
                  <a:pt x="1278" y="785"/>
                </a:lnTo>
                <a:lnTo>
                  <a:pt x="1277" y="783"/>
                </a:lnTo>
                <a:lnTo>
                  <a:pt x="1276" y="783"/>
                </a:lnTo>
                <a:close/>
                <a:moveTo>
                  <a:pt x="1273" y="780"/>
                </a:moveTo>
                <a:lnTo>
                  <a:pt x="1271" y="780"/>
                </a:lnTo>
                <a:lnTo>
                  <a:pt x="1267" y="780"/>
                </a:lnTo>
                <a:lnTo>
                  <a:pt x="1271" y="780"/>
                </a:lnTo>
                <a:lnTo>
                  <a:pt x="1273" y="780"/>
                </a:lnTo>
                <a:lnTo>
                  <a:pt x="1274" y="781"/>
                </a:lnTo>
                <a:lnTo>
                  <a:pt x="1276" y="782"/>
                </a:lnTo>
                <a:lnTo>
                  <a:pt x="1274" y="781"/>
                </a:lnTo>
                <a:lnTo>
                  <a:pt x="1273" y="780"/>
                </a:lnTo>
                <a:close/>
                <a:moveTo>
                  <a:pt x="1250" y="549"/>
                </a:moveTo>
                <a:lnTo>
                  <a:pt x="1243" y="541"/>
                </a:lnTo>
                <a:lnTo>
                  <a:pt x="1235" y="535"/>
                </a:lnTo>
                <a:lnTo>
                  <a:pt x="1229" y="531"/>
                </a:lnTo>
                <a:lnTo>
                  <a:pt x="1225" y="525"/>
                </a:lnTo>
                <a:lnTo>
                  <a:pt x="1221" y="520"/>
                </a:lnTo>
                <a:lnTo>
                  <a:pt x="1217" y="514"/>
                </a:lnTo>
                <a:lnTo>
                  <a:pt x="1216" y="513"/>
                </a:lnTo>
                <a:lnTo>
                  <a:pt x="1217" y="511"/>
                </a:lnTo>
                <a:lnTo>
                  <a:pt x="1217" y="510"/>
                </a:lnTo>
                <a:lnTo>
                  <a:pt x="1219" y="510"/>
                </a:lnTo>
                <a:lnTo>
                  <a:pt x="1222" y="511"/>
                </a:lnTo>
                <a:lnTo>
                  <a:pt x="1225" y="510"/>
                </a:lnTo>
                <a:lnTo>
                  <a:pt x="1221" y="503"/>
                </a:lnTo>
                <a:lnTo>
                  <a:pt x="1215" y="497"/>
                </a:lnTo>
                <a:lnTo>
                  <a:pt x="1197" y="486"/>
                </a:lnTo>
                <a:lnTo>
                  <a:pt x="1181" y="473"/>
                </a:lnTo>
                <a:lnTo>
                  <a:pt x="1167" y="458"/>
                </a:lnTo>
                <a:lnTo>
                  <a:pt x="1154" y="441"/>
                </a:lnTo>
                <a:lnTo>
                  <a:pt x="1152" y="439"/>
                </a:lnTo>
                <a:lnTo>
                  <a:pt x="1152" y="436"/>
                </a:lnTo>
                <a:lnTo>
                  <a:pt x="1153" y="436"/>
                </a:lnTo>
                <a:lnTo>
                  <a:pt x="1155" y="436"/>
                </a:lnTo>
                <a:lnTo>
                  <a:pt x="1156" y="436"/>
                </a:lnTo>
                <a:lnTo>
                  <a:pt x="1159" y="437"/>
                </a:lnTo>
                <a:lnTo>
                  <a:pt x="1170" y="443"/>
                </a:lnTo>
                <a:lnTo>
                  <a:pt x="1183" y="448"/>
                </a:lnTo>
                <a:lnTo>
                  <a:pt x="1196" y="454"/>
                </a:lnTo>
                <a:lnTo>
                  <a:pt x="1208" y="462"/>
                </a:lnTo>
                <a:lnTo>
                  <a:pt x="1219" y="474"/>
                </a:lnTo>
                <a:lnTo>
                  <a:pt x="1229" y="487"/>
                </a:lnTo>
                <a:lnTo>
                  <a:pt x="1236" y="496"/>
                </a:lnTo>
                <a:lnTo>
                  <a:pt x="1243" y="507"/>
                </a:lnTo>
                <a:lnTo>
                  <a:pt x="1249" y="517"/>
                </a:lnTo>
                <a:lnTo>
                  <a:pt x="1258" y="527"/>
                </a:lnTo>
                <a:lnTo>
                  <a:pt x="1252" y="527"/>
                </a:lnTo>
                <a:lnTo>
                  <a:pt x="1248" y="524"/>
                </a:lnTo>
                <a:lnTo>
                  <a:pt x="1244" y="522"/>
                </a:lnTo>
                <a:lnTo>
                  <a:pt x="1242" y="520"/>
                </a:lnTo>
                <a:lnTo>
                  <a:pt x="1238" y="517"/>
                </a:lnTo>
                <a:lnTo>
                  <a:pt x="1235" y="517"/>
                </a:lnTo>
                <a:lnTo>
                  <a:pt x="1237" y="521"/>
                </a:lnTo>
                <a:lnTo>
                  <a:pt x="1239" y="523"/>
                </a:lnTo>
                <a:lnTo>
                  <a:pt x="1243" y="525"/>
                </a:lnTo>
                <a:lnTo>
                  <a:pt x="1246" y="528"/>
                </a:lnTo>
                <a:lnTo>
                  <a:pt x="1255" y="536"/>
                </a:lnTo>
                <a:lnTo>
                  <a:pt x="1262" y="544"/>
                </a:lnTo>
                <a:lnTo>
                  <a:pt x="1266" y="555"/>
                </a:lnTo>
                <a:lnTo>
                  <a:pt x="1271" y="565"/>
                </a:lnTo>
                <a:lnTo>
                  <a:pt x="1260" y="557"/>
                </a:lnTo>
                <a:lnTo>
                  <a:pt x="1250" y="549"/>
                </a:lnTo>
                <a:close/>
                <a:moveTo>
                  <a:pt x="1245" y="758"/>
                </a:moveTo>
                <a:lnTo>
                  <a:pt x="1245" y="758"/>
                </a:lnTo>
                <a:lnTo>
                  <a:pt x="1245" y="757"/>
                </a:lnTo>
                <a:lnTo>
                  <a:pt x="1245" y="758"/>
                </a:lnTo>
                <a:close/>
                <a:moveTo>
                  <a:pt x="1225" y="857"/>
                </a:moveTo>
                <a:lnTo>
                  <a:pt x="1219" y="856"/>
                </a:lnTo>
                <a:lnTo>
                  <a:pt x="1214" y="853"/>
                </a:lnTo>
                <a:lnTo>
                  <a:pt x="1219" y="856"/>
                </a:lnTo>
                <a:lnTo>
                  <a:pt x="1225" y="857"/>
                </a:lnTo>
                <a:close/>
                <a:moveTo>
                  <a:pt x="1222" y="815"/>
                </a:moveTo>
                <a:lnTo>
                  <a:pt x="1223" y="813"/>
                </a:lnTo>
                <a:lnTo>
                  <a:pt x="1223" y="809"/>
                </a:lnTo>
                <a:lnTo>
                  <a:pt x="1223" y="809"/>
                </a:lnTo>
                <a:lnTo>
                  <a:pt x="1223" y="813"/>
                </a:lnTo>
                <a:lnTo>
                  <a:pt x="1222" y="815"/>
                </a:lnTo>
                <a:close/>
                <a:moveTo>
                  <a:pt x="1225" y="793"/>
                </a:moveTo>
                <a:lnTo>
                  <a:pt x="1225" y="795"/>
                </a:lnTo>
                <a:lnTo>
                  <a:pt x="1226" y="797"/>
                </a:lnTo>
                <a:lnTo>
                  <a:pt x="1225" y="795"/>
                </a:lnTo>
                <a:lnTo>
                  <a:pt x="1225" y="793"/>
                </a:lnTo>
                <a:close/>
                <a:moveTo>
                  <a:pt x="1225" y="857"/>
                </a:moveTo>
                <a:lnTo>
                  <a:pt x="1225" y="853"/>
                </a:lnTo>
                <a:lnTo>
                  <a:pt x="1225" y="850"/>
                </a:lnTo>
                <a:lnTo>
                  <a:pt x="1223" y="848"/>
                </a:lnTo>
                <a:lnTo>
                  <a:pt x="1222" y="844"/>
                </a:lnTo>
                <a:lnTo>
                  <a:pt x="1223" y="848"/>
                </a:lnTo>
                <a:lnTo>
                  <a:pt x="1225" y="850"/>
                </a:lnTo>
                <a:lnTo>
                  <a:pt x="1225" y="853"/>
                </a:lnTo>
                <a:lnTo>
                  <a:pt x="1225" y="857"/>
                </a:lnTo>
                <a:close/>
                <a:moveTo>
                  <a:pt x="1210" y="887"/>
                </a:moveTo>
                <a:lnTo>
                  <a:pt x="1210" y="887"/>
                </a:lnTo>
                <a:lnTo>
                  <a:pt x="1219" y="893"/>
                </a:lnTo>
                <a:lnTo>
                  <a:pt x="1228" y="900"/>
                </a:lnTo>
                <a:lnTo>
                  <a:pt x="1219" y="893"/>
                </a:lnTo>
                <a:lnTo>
                  <a:pt x="1210" y="887"/>
                </a:lnTo>
                <a:close/>
                <a:moveTo>
                  <a:pt x="1207" y="884"/>
                </a:moveTo>
                <a:lnTo>
                  <a:pt x="1208" y="884"/>
                </a:lnTo>
                <a:lnTo>
                  <a:pt x="1208" y="884"/>
                </a:lnTo>
                <a:lnTo>
                  <a:pt x="1208" y="884"/>
                </a:lnTo>
                <a:lnTo>
                  <a:pt x="1207" y="884"/>
                </a:lnTo>
                <a:close/>
                <a:moveTo>
                  <a:pt x="1152" y="876"/>
                </a:moveTo>
                <a:lnTo>
                  <a:pt x="1152" y="874"/>
                </a:lnTo>
                <a:lnTo>
                  <a:pt x="1152" y="874"/>
                </a:lnTo>
                <a:lnTo>
                  <a:pt x="1152" y="874"/>
                </a:lnTo>
                <a:lnTo>
                  <a:pt x="1152" y="876"/>
                </a:lnTo>
                <a:close/>
                <a:moveTo>
                  <a:pt x="1148" y="894"/>
                </a:moveTo>
                <a:lnTo>
                  <a:pt x="1148" y="894"/>
                </a:lnTo>
                <a:lnTo>
                  <a:pt x="1148" y="894"/>
                </a:lnTo>
                <a:lnTo>
                  <a:pt x="1148" y="894"/>
                </a:lnTo>
                <a:close/>
                <a:moveTo>
                  <a:pt x="1099" y="387"/>
                </a:moveTo>
                <a:lnTo>
                  <a:pt x="1094" y="387"/>
                </a:lnTo>
                <a:lnTo>
                  <a:pt x="1090" y="384"/>
                </a:lnTo>
                <a:lnTo>
                  <a:pt x="1083" y="382"/>
                </a:lnTo>
                <a:lnTo>
                  <a:pt x="1079" y="378"/>
                </a:lnTo>
                <a:lnTo>
                  <a:pt x="1077" y="376"/>
                </a:lnTo>
                <a:lnTo>
                  <a:pt x="1074" y="374"/>
                </a:lnTo>
                <a:lnTo>
                  <a:pt x="1072" y="373"/>
                </a:lnTo>
                <a:lnTo>
                  <a:pt x="1070" y="371"/>
                </a:lnTo>
                <a:lnTo>
                  <a:pt x="1065" y="371"/>
                </a:lnTo>
                <a:lnTo>
                  <a:pt x="1059" y="374"/>
                </a:lnTo>
                <a:lnTo>
                  <a:pt x="1056" y="373"/>
                </a:lnTo>
                <a:lnTo>
                  <a:pt x="1050" y="368"/>
                </a:lnTo>
                <a:lnTo>
                  <a:pt x="1053" y="366"/>
                </a:lnTo>
                <a:lnTo>
                  <a:pt x="1057" y="363"/>
                </a:lnTo>
                <a:lnTo>
                  <a:pt x="1059" y="361"/>
                </a:lnTo>
                <a:lnTo>
                  <a:pt x="1062" y="357"/>
                </a:lnTo>
                <a:lnTo>
                  <a:pt x="1063" y="356"/>
                </a:lnTo>
                <a:lnTo>
                  <a:pt x="1065" y="354"/>
                </a:lnTo>
                <a:lnTo>
                  <a:pt x="1067" y="354"/>
                </a:lnTo>
                <a:lnTo>
                  <a:pt x="1070" y="353"/>
                </a:lnTo>
                <a:lnTo>
                  <a:pt x="1077" y="354"/>
                </a:lnTo>
                <a:lnTo>
                  <a:pt x="1081" y="356"/>
                </a:lnTo>
                <a:lnTo>
                  <a:pt x="1083" y="359"/>
                </a:lnTo>
                <a:lnTo>
                  <a:pt x="1085" y="360"/>
                </a:lnTo>
                <a:lnTo>
                  <a:pt x="1095" y="360"/>
                </a:lnTo>
                <a:lnTo>
                  <a:pt x="1106" y="361"/>
                </a:lnTo>
                <a:lnTo>
                  <a:pt x="1117" y="364"/>
                </a:lnTo>
                <a:lnTo>
                  <a:pt x="1126" y="368"/>
                </a:lnTo>
                <a:lnTo>
                  <a:pt x="1132" y="370"/>
                </a:lnTo>
                <a:lnTo>
                  <a:pt x="1138" y="373"/>
                </a:lnTo>
                <a:lnTo>
                  <a:pt x="1145" y="374"/>
                </a:lnTo>
                <a:lnTo>
                  <a:pt x="1150" y="375"/>
                </a:lnTo>
                <a:lnTo>
                  <a:pt x="1156" y="375"/>
                </a:lnTo>
                <a:lnTo>
                  <a:pt x="1160" y="377"/>
                </a:lnTo>
                <a:lnTo>
                  <a:pt x="1163" y="381"/>
                </a:lnTo>
                <a:lnTo>
                  <a:pt x="1166" y="384"/>
                </a:lnTo>
                <a:lnTo>
                  <a:pt x="1171" y="392"/>
                </a:lnTo>
                <a:lnTo>
                  <a:pt x="1177" y="399"/>
                </a:lnTo>
                <a:lnTo>
                  <a:pt x="1184" y="405"/>
                </a:lnTo>
                <a:lnTo>
                  <a:pt x="1193" y="411"/>
                </a:lnTo>
                <a:lnTo>
                  <a:pt x="1202" y="422"/>
                </a:lnTo>
                <a:lnTo>
                  <a:pt x="1210" y="433"/>
                </a:lnTo>
                <a:lnTo>
                  <a:pt x="1221" y="447"/>
                </a:lnTo>
                <a:lnTo>
                  <a:pt x="1230" y="461"/>
                </a:lnTo>
                <a:lnTo>
                  <a:pt x="1230" y="462"/>
                </a:lnTo>
                <a:lnTo>
                  <a:pt x="1231" y="464"/>
                </a:lnTo>
                <a:lnTo>
                  <a:pt x="1231" y="466"/>
                </a:lnTo>
                <a:lnTo>
                  <a:pt x="1232" y="467"/>
                </a:lnTo>
                <a:lnTo>
                  <a:pt x="1232" y="468"/>
                </a:lnTo>
                <a:lnTo>
                  <a:pt x="1231" y="471"/>
                </a:lnTo>
                <a:lnTo>
                  <a:pt x="1228" y="471"/>
                </a:lnTo>
                <a:lnTo>
                  <a:pt x="1225" y="468"/>
                </a:lnTo>
                <a:lnTo>
                  <a:pt x="1209" y="457"/>
                </a:lnTo>
                <a:lnTo>
                  <a:pt x="1195" y="443"/>
                </a:lnTo>
                <a:lnTo>
                  <a:pt x="1183" y="432"/>
                </a:lnTo>
                <a:lnTo>
                  <a:pt x="1169" y="423"/>
                </a:lnTo>
                <a:lnTo>
                  <a:pt x="1157" y="415"/>
                </a:lnTo>
                <a:lnTo>
                  <a:pt x="1146" y="408"/>
                </a:lnTo>
                <a:lnTo>
                  <a:pt x="1134" y="401"/>
                </a:lnTo>
                <a:lnTo>
                  <a:pt x="1122" y="392"/>
                </a:lnTo>
                <a:lnTo>
                  <a:pt x="1118" y="388"/>
                </a:lnTo>
                <a:lnTo>
                  <a:pt x="1112" y="385"/>
                </a:lnTo>
                <a:lnTo>
                  <a:pt x="1110" y="384"/>
                </a:lnTo>
                <a:lnTo>
                  <a:pt x="1106" y="384"/>
                </a:lnTo>
                <a:lnTo>
                  <a:pt x="1103" y="385"/>
                </a:lnTo>
                <a:lnTo>
                  <a:pt x="1099" y="387"/>
                </a:lnTo>
                <a:close/>
                <a:moveTo>
                  <a:pt x="1097" y="817"/>
                </a:moveTo>
                <a:lnTo>
                  <a:pt x="1098" y="817"/>
                </a:lnTo>
                <a:lnTo>
                  <a:pt x="1098" y="816"/>
                </a:lnTo>
                <a:lnTo>
                  <a:pt x="1098" y="817"/>
                </a:lnTo>
                <a:lnTo>
                  <a:pt x="1097" y="817"/>
                </a:lnTo>
                <a:close/>
                <a:moveTo>
                  <a:pt x="1076" y="856"/>
                </a:moveTo>
                <a:lnTo>
                  <a:pt x="1077" y="857"/>
                </a:lnTo>
                <a:lnTo>
                  <a:pt x="1078" y="859"/>
                </a:lnTo>
                <a:lnTo>
                  <a:pt x="1077" y="857"/>
                </a:lnTo>
                <a:lnTo>
                  <a:pt x="1076" y="856"/>
                </a:lnTo>
                <a:close/>
                <a:moveTo>
                  <a:pt x="1070" y="850"/>
                </a:moveTo>
                <a:lnTo>
                  <a:pt x="1072" y="852"/>
                </a:lnTo>
                <a:lnTo>
                  <a:pt x="1074" y="853"/>
                </a:lnTo>
                <a:lnTo>
                  <a:pt x="1072" y="852"/>
                </a:lnTo>
                <a:lnTo>
                  <a:pt x="1070" y="850"/>
                </a:lnTo>
                <a:close/>
                <a:moveTo>
                  <a:pt x="1080" y="865"/>
                </a:moveTo>
                <a:lnTo>
                  <a:pt x="1078" y="865"/>
                </a:lnTo>
                <a:lnTo>
                  <a:pt x="1076" y="866"/>
                </a:lnTo>
                <a:lnTo>
                  <a:pt x="1074" y="869"/>
                </a:lnTo>
                <a:lnTo>
                  <a:pt x="1072" y="871"/>
                </a:lnTo>
                <a:lnTo>
                  <a:pt x="1070" y="871"/>
                </a:lnTo>
                <a:lnTo>
                  <a:pt x="1067" y="872"/>
                </a:lnTo>
                <a:lnTo>
                  <a:pt x="1070" y="871"/>
                </a:lnTo>
                <a:lnTo>
                  <a:pt x="1072" y="871"/>
                </a:lnTo>
                <a:lnTo>
                  <a:pt x="1074" y="869"/>
                </a:lnTo>
                <a:lnTo>
                  <a:pt x="1076" y="866"/>
                </a:lnTo>
                <a:lnTo>
                  <a:pt x="1078" y="865"/>
                </a:lnTo>
                <a:lnTo>
                  <a:pt x="1080" y="865"/>
                </a:lnTo>
                <a:lnTo>
                  <a:pt x="1083" y="864"/>
                </a:lnTo>
                <a:lnTo>
                  <a:pt x="1084" y="863"/>
                </a:lnTo>
                <a:lnTo>
                  <a:pt x="1083" y="864"/>
                </a:lnTo>
                <a:lnTo>
                  <a:pt x="1080" y="865"/>
                </a:lnTo>
                <a:close/>
                <a:moveTo>
                  <a:pt x="1064" y="872"/>
                </a:moveTo>
                <a:lnTo>
                  <a:pt x="1064" y="871"/>
                </a:lnTo>
                <a:lnTo>
                  <a:pt x="1063" y="871"/>
                </a:lnTo>
                <a:lnTo>
                  <a:pt x="1064" y="871"/>
                </a:lnTo>
                <a:lnTo>
                  <a:pt x="1064" y="872"/>
                </a:lnTo>
                <a:lnTo>
                  <a:pt x="1064" y="873"/>
                </a:lnTo>
                <a:lnTo>
                  <a:pt x="1065" y="873"/>
                </a:lnTo>
                <a:lnTo>
                  <a:pt x="1064" y="873"/>
                </a:lnTo>
                <a:lnTo>
                  <a:pt x="1064" y="872"/>
                </a:lnTo>
                <a:close/>
                <a:moveTo>
                  <a:pt x="1060" y="864"/>
                </a:moveTo>
                <a:lnTo>
                  <a:pt x="1062" y="863"/>
                </a:lnTo>
                <a:lnTo>
                  <a:pt x="1063" y="862"/>
                </a:lnTo>
                <a:lnTo>
                  <a:pt x="1062" y="863"/>
                </a:lnTo>
                <a:lnTo>
                  <a:pt x="1060" y="864"/>
                </a:lnTo>
                <a:close/>
                <a:moveTo>
                  <a:pt x="1057" y="844"/>
                </a:moveTo>
                <a:lnTo>
                  <a:pt x="1059" y="845"/>
                </a:lnTo>
                <a:lnTo>
                  <a:pt x="1062" y="848"/>
                </a:lnTo>
                <a:lnTo>
                  <a:pt x="1062" y="848"/>
                </a:lnTo>
                <a:lnTo>
                  <a:pt x="1059" y="845"/>
                </a:lnTo>
                <a:lnTo>
                  <a:pt x="1057" y="844"/>
                </a:lnTo>
                <a:close/>
                <a:moveTo>
                  <a:pt x="1038" y="856"/>
                </a:moveTo>
                <a:lnTo>
                  <a:pt x="1041" y="855"/>
                </a:lnTo>
                <a:lnTo>
                  <a:pt x="1043" y="855"/>
                </a:lnTo>
                <a:lnTo>
                  <a:pt x="1045" y="856"/>
                </a:lnTo>
                <a:lnTo>
                  <a:pt x="1048" y="857"/>
                </a:lnTo>
                <a:lnTo>
                  <a:pt x="1045" y="856"/>
                </a:lnTo>
                <a:lnTo>
                  <a:pt x="1043" y="855"/>
                </a:lnTo>
                <a:lnTo>
                  <a:pt x="1041" y="855"/>
                </a:lnTo>
                <a:lnTo>
                  <a:pt x="1038" y="856"/>
                </a:lnTo>
                <a:close/>
                <a:moveTo>
                  <a:pt x="1003" y="683"/>
                </a:moveTo>
                <a:lnTo>
                  <a:pt x="1003" y="685"/>
                </a:lnTo>
                <a:lnTo>
                  <a:pt x="1002" y="685"/>
                </a:lnTo>
                <a:lnTo>
                  <a:pt x="1001" y="685"/>
                </a:lnTo>
                <a:lnTo>
                  <a:pt x="998" y="685"/>
                </a:lnTo>
                <a:lnTo>
                  <a:pt x="987" y="680"/>
                </a:lnTo>
                <a:lnTo>
                  <a:pt x="975" y="671"/>
                </a:lnTo>
                <a:lnTo>
                  <a:pt x="974" y="670"/>
                </a:lnTo>
                <a:lnTo>
                  <a:pt x="973" y="669"/>
                </a:lnTo>
                <a:lnTo>
                  <a:pt x="968" y="669"/>
                </a:lnTo>
                <a:lnTo>
                  <a:pt x="965" y="668"/>
                </a:lnTo>
                <a:lnTo>
                  <a:pt x="962" y="666"/>
                </a:lnTo>
                <a:lnTo>
                  <a:pt x="961" y="663"/>
                </a:lnTo>
                <a:lnTo>
                  <a:pt x="957" y="657"/>
                </a:lnTo>
                <a:lnTo>
                  <a:pt x="954" y="653"/>
                </a:lnTo>
                <a:lnTo>
                  <a:pt x="947" y="643"/>
                </a:lnTo>
                <a:lnTo>
                  <a:pt x="940" y="634"/>
                </a:lnTo>
                <a:lnTo>
                  <a:pt x="935" y="629"/>
                </a:lnTo>
                <a:lnTo>
                  <a:pt x="932" y="626"/>
                </a:lnTo>
                <a:lnTo>
                  <a:pt x="927" y="622"/>
                </a:lnTo>
                <a:lnTo>
                  <a:pt x="921" y="620"/>
                </a:lnTo>
                <a:lnTo>
                  <a:pt x="919" y="619"/>
                </a:lnTo>
                <a:lnTo>
                  <a:pt x="919" y="616"/>
                </a:lnTo>
                <a:lnTo>
                  <a:pt x="919" y="615"/>
                </a:lnTo>
                <a:lnTo>
                  <a:pt x="920" y="614"/>
                </a:lnTo>
                <a:lnTo>
                  <a:pt x="921" y="613"/>
                </a:lnTo>
                <a:lnTo>
                  <a:pt x="924" y="613"/>
                </a:lnTo>
                <a:lnTo>
                  <a:pt x="929" y="614"/>
                </a:lnTo>
                <a:lnTo>
                  <a:pt x="936" y="614"/>
                </a:lnTo>
                <a:lnTo>
                  <a:pt x="936" y="613"/>
                </a:lnTo>
                <a:lnTo>
                  <a:pt x="935" y="612"/>
                </a:lnTo>
                <a:lnTo>
                  <a:pt x="934" y="609"/>
                </a:lnTo>
                <a:lnTo>
                  <a:pt x="932" y="607"/>
                </a:lnTo>
                <a:lnTo>
                  <a:pt x="932" y="606"/>
                </a:lnTo>
                <a:lnTo>
                  <a:pt x="932" y="605"/>
                </a:lnTo>
                <a:lnTo>
                  <a:pt x="932" y="604"/>
                </a:lnTo>
                <a:lnTo>
                  <a:pt x="933" y="602"/>
                </a:lnTo>
                <a:lnTo>
                  <a:pt x="936" y="600"/>
                </a:lnTo>
                <a:lnTo>
                  <a:pt x="940" y="599"/>
                </a:lnTo>
                <a:lnTo>
                  <a:pt x="943" y="600"/>
                </a:lnTo>
                <a:lnTo>
                  <a:pt x="947" y="601"/>
                </a:lnTo>
                <a:lnTo>
                  <a:pt x="952" y="607"/>
                </a:lnTo>
                <a:lnTo>
                  <a:pt x="955" y="613"/>
                </a:lnTo>
                <a:lnTo>
                  <a:pt x="957" y="619"/>
                </a:lnTo>
                <a:lnTo>
                  <a:pt x="960" y="625"/>
                </a:lnTo>
                <a:lnTo>
                  <a:pt x="963" y="629"/>
                </a:lnTo>
                <a:lnTo>
                  <a:pt x="967" y="633"/>
                </a:lnTo>
                <a:lnTo>
                  <a:pt x="969" y="634"/>
                </a:lnTo>
                <a:lnTo>
                  <a:pt x="970" y="638"/>
                </a:lnTo>
                <a:lnTo>
                  <a:pt x="970" y="640"/>
                </a:lnTo>
                <a:lnTo>
                  <a:pt x="970" y="643"/>
                </a:lnTo>
                <a:lnTo>
                  <a:pt x="970" y="645"/>
                </a:lnTo>
                <a:lnTo>
                  <a:pt x="972" y="645"/>
                </a:lnTo>
                <a:lnTo>
                  <a:pt x="974" y="645"/>
                </a:lnTo>
                <a:lnTo>
                  <a:pt x="976" y="642"/>
                </a:lnTo>
                <a:lnTo>
                  <a:pt x="980" y="649"/>
                </a:lnTo>
                <a:lnTo>
                  <a:pt x="984" y="655"/>
                </a:lnTo>
                <a:lnTo>
                  <a:pt x="987" y="659"/>
                </a:lnTo>
                <a:lnTo>
                  <a:pt x="988" y="661"/>
                </a:lnTo>
                <a:lnTo>
                  <a:pt x="990" y="663"/>
                </a:lnTo>
                <a:lnTo>
                  <a:pt x="994" y="664"/>
                </a:lnTo>
                <a:lnTo>
                  <a:pt x="997" y="668"/>
                </a:lnTo>
                <a:lnTo>
                  <a:pt x="1001" y="673"/>
                </a:lnTo>
                <a:lnTo>
                  <a:pt x="1003" y="678"/>
                </a:lnTo>
                <a:lnTo>
                  <a:pt x="1003" y="683"/>
                </a:lnTo>
                <a:close/>
                <a:moveTo>
                  <a:pt x="970" y="894"/>
                </a:moveTo>
                <a:lnTo>
                  <a:pt x="970" y="897"/>
                </a:lnTo>
                <a:lnTo>
                  <a:pt x="970" y="899"/>
                </a:lnTo>
                <a:lnTo>
                  <a:pt x="970" y="897"/>
                </a:lnTo>
                <a:lnTo>
                  <a:pt x="970" y="894"/>
                </a:lnTo>
                <a:lnTo>
                  <a:pt x="973" y="894"/>
                </a:lnTo>
                <a:lnTo>
                  <a:pt x="974" y="894"/>
                </a:lnTo>
                <a:lnTo>
                  <a:pt x="973" y="894"/>
                </a:lnTo>
                <a:lnTo>
                  <a:pt x="970" y="894"/>
                </a:lnTo>
                <a:close/>
                <a:moveTo>
                  <a:pt x="966" y="894"/>
                </a:move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lnTo>
                  <a:pt x="966" y="894"/>
                </a:lnTo>
                <a:close/>
                <a:moveTo>
                  <a:pt x="961" y="929"/>
                </a:moveTo>
                <a:lnTo>
                  <a:pt x="961" y="929"/>
                </a:lnTo>
                <a:lnTo>
                  <a:pt x="961" y="928"/>
                </a:lnTo>
                <a:lnTo>
                  <a:pt x="961" y="929"/>
                </a:lnTo>
                <a:lnTo>
                  <a:pt x="961" y="929"/>
                </a:lnTo>
                <a:lnTo>
                  <a:pt x="961" y="932"/>
                </a:lnTo>
                <a:lnTo>
                  <a:pt x="962" y="932"/>
                </a:lnTo>
                <a:lnTo>
                  <a:pt x="961" y="932"/>
                </a:lnTo>
                <a:lnTo>
                  <a:pt x="961" y="929"/>
                </a:lnTo>
                <a:close/>
                <a:moveTo>
                  <a:pt x="941" y="957"/>
                </a:moveTo>
                <a:lnTo>
                  <a:pt x="942" y="956"/>
                </a:lnTo>
                <a:lnTo>
                  <a:pt x="942" y="956"/>
                </a:lnTo>
                <a:lnTo>
                  <a:pt x="942" y="956"/>
                </a:lnTo>
                <a:lnTo>
                  <a:pt x="941" y="957"/>
                </a:lnTo>
                <a:close/>
                <a:moveTo>
                  <a:pt x="941" y="956"/>
                </a:moveTo>
                <a:lnTo>
                  <a:pt x="941" y="956"/>
                </a:lnTo>
                <a:lnTo>
                  <a:pt x="940" y="956"/>
                </a:lnTo>
                <a:lnTo>
                  <a:pt x="941" y="956"/>
                </a:lnTo>
                <a:lnTo>
                  <a:pt x="941" y="956"/>
                </a:lnTo>
                <a:close/>
                <a:moveTo>
                  <a:pt x="940" y="967"/>
                </a:moveTo>
                <a:lnTo>
                  <a:pt x="940" y="967"/>
                </a:lnTo>
                <a:lnTo>
                  <a:pt x="940" y="968"/>
                </a:lnTo>
                <a:lnTo>
                  <a:pt x="940" y="969"/>
                </a:lnTo>
                <a:lnTo>
                  <a:pt x="940" y="968"/>
                </a:lnTo>
                <a:lnTo>
                  <a:pt x="940" y="967"/>
                </a:lnTo>
                <a:close/>
                <a:moveTo>
                  <a:pt x="915" y="1007"/>
                </a:moveTo>
                <a:lnTo>
                  <a:pt x="915" y="1007"/>
                </a:lnTo>
                <a:lnTo>
                  <a:pt x="917" y="1013"/>
                </a:lnTo>
                <a:lnTo>
                  <a:pt x="918" y="1019"/>
                </a:lnTo>
                <a:lnTo>
                  <a:pt x="921" y="1025"/>
                </a:lnTo>
                <a:lnTo>
                  <a:pt x="925" y="1028"/>
                </a:lnTo>
                <a:lnTo>
                  <a:pt x="921" y="1025"/>
                </a:lnTo>
                <a:lnTo>
                  <a:pt x="918" y="1019"/>
                </a:lnTo>
                <a:lnTo>
                  <a:pt x="917" y="1013"/>
                </a:lnTo>
                <a:lnTo>
                  <a:pt x="915" y="1007"/>
                </a:lnTo>
                <a:close/>
                <a:moveTo>
                  <a:pt x="913" y="694"/>
                </a:moveTo>
                <a:lnTo>
                  <a:pt x="914" y="694"/>
                </a:lnTo>
                <a:lnTo>
                  <a:pt x="915" y="692"/>
                </a:lnTo>
                <a:lnTo>
                  <a:pt x="914" y="694"/>
                </a:lnTo>
                <a:lnTo>
                  <a:pt x="913" y="694"/>
                </a:lnTo>
                <a:close/>
                <a:moveTo>
                  <a:pt x="911" y="689"/>
                </a:moveTo>
                <a:lnTo>
                  <a:pt x="905" y="687"/>
                </a:lnTo>
                <a:lnTo>
                  <a:pt x="900" y="683"/>
                </a:lnTo>
                <a:lnTo>
                  <a:pt x="905" y="687"/>
                </a:lnTo>
                <a:lnTo>
                  <a:pt x="911" y="689"/>
                </a:lnTo>
                <a:lnTo>
                  <a:pt x="911" y="690"/>
                </a:lnTo>
                <a:lnTo>
                  <a:pt x="912" y="692"/>
                </a:lnTo>
                <a:lnTo>
                  <a:pt x="911" y="690"/>
                </a:lnTo>
                <a:lnTo>
                  <a:pt x="911" y="689"/>
                </a:lnTo>
                <a:close/>
                <a:moveTo>
                  <a:pt x="867" y="558"/>
                </a:moveTo>
                <a:lnTo>
                  <a:pt x="864" y="557"/>
                </a:lnTo>
                <a:lnTo>
                  <a:pt x="862" y="558"/>
                </a:lnTo>
                <a:lnTo>
                  <a:pt x="858" y="559"/>
                </a:lnTo>
                <a:lnTo>
                  <a:pt x="857" y="563"/>
                </a:lnTo>
                <a:lnTo>
                  <a:pt x="857" y="564"/>
                </a:lnTo>
                <a:lnTo>
                  <a:pt x="857" y="565"/>
                </a:lnTo>
                <a:lnTo>
                  <a:pt x="858" y="565"/>
                </a:lnTo>
                <a:lnTo>
                  <a:pt x="860" y="565"/>
                </a:lnTo>
                <a:lnTo>
                  <a:pt x="865" y="564"/>
                </a:lnTo>
                <a:lnTo>
                  <a:pt x="870" y="565"/>
                </a:lnTo>
                <a:lnTo>
                  <a:pt x="873" y="566"/>
                </a:lnTo>
                <a:lnTo>
                  <a:pt x="878" y="569"/>
                </a:lnTo>
                <a:lnTo>
                  <a:pt x="880" y="571"/>
                </a:lnTo>
                <a:lnTo>
                  <a:pt x="881" y="573"/>
                </a:lnTo>
                <a:lnTo>
                  <a:pt x="881" y="576"/>
                </a:lnTo>
                <a:lnTo>
                  <a:pt x="880" y="578"/>
                </a:lnTo>
                <a:lnTo>
                  <a:pt x="878" y="580"/>
                </a:lnTo>
                <a:lnTo>
                  <a:pt x="877" y="579"/>
                </a:lnTo>
                <a:lnTo>
                  <a:pt x="874" y="579"/>
                </a:lnTo>
                <a:lnTo>
                  <a:pt x="873" y="578"/>
                </a:lnTo>
                <a:lnTo>
                  <a:pt x="871" y="578"/>
                </a:lnTo>
                <a:lnTo>
                  <a:pt x="869" y="577"/>
                </a:lnTo>
                <a:lnTo>
                  <a:pt x="869" y="578"/>
                </a:lnTo>
                <a:lnTo>
                  <a:pt x="869" y="581"/>
                </a:lnTo>
                <a:lnTo>
                  <a:pt x="870" y="585"/>
                </a:lnTo>
                <a:lnTo>
                  <a:pt x="867" y="585"/>
                </a:lnTo>
                <a:lnTo>
                  <a:pt x="866" y="585"/>
                </a:lnTo>
                <a:lnTo>
                  <a:pt x="864" y="585"/>
                </a:lnTo>
                <a:lnTo>
                  <a:pt x="849" y="578"/>
                </a:lnTo>
                <a:lnTo>
                  <a:pt x="834" y="569"/>
                </a:lnTo>
                <a:lnTo>
                  <a:pt x="831" y="567"/>
                </a:lnTo>
                <a:lnTo>
                  <a:pt x="830" y="566"/>
                </a:lnTo>
                <a:lnTo>
                  <a:pt x="824" y="566"/>
                </a:lnTo>
                <a:lnTo>
                  <a:pt x="820" y="565"/>
                </a:lnTo>
                <a:lnTo>
                  <a:pt x="816" y="563"/>
                </a:lnTo>
                <a:lnTo>
                  <a:pt x="812" y="559"/>
                </a:lnTo>
                <a:lnTo>
                  <a:pt x="801" y="552"/>
                </a:lnTo>
                <a:lnTo>
                  <a:pt x="789" y="545"/>
                </a:lnTo>
                <a:lnTo>
                  <a:pt x="787" y="545"/>
                </a:lnTo>
                <a:lnTo>
                  <a:pt x="784" y="546"/>
                </a:lnTo>
                <a:lnTo>
                  <a:pt x="781" y="548"/>
                </a:lnTo>
                <a:lnTo>
                  <a:pt x="777" y="548"/>
                </a:lnTo>
                <a:lnTo>
                  <a:pt x="774" y="545"/>
                </a:lnTo>
                <a:lnTo>
                  <a:pt x="773" y="542"/>
                </a:lnTo>
                <a:lnTo>
                  <a:pt x="772" y="539"/>
                </a:lnTo>
                <a:lnTo>
                  <a:pt x="770" y="537"/>
                </a:lnTo>
                <a:lnTo>
                  <a:pt x="768" y="536"/>
                </a:lnTo>
                <a:lnTo>
                  <a:pt x="766" y="535"/>
                </a:lnTo>
                <a:lnTo>
                  <a:pt x="763" y="534"/>
                </a:lnTo>
                <a:lnTo>
                  <a:pt x="763" y="531"/>
                </a:lnTo>
                <a:lnTo>
                  <a:pt x="765" y="530"/>
                </a:lnTo>
                <a:lnTo>
                  <a:pt x="767" y="530"/>
                </a:lnTo>
                <a:lnTo>
                  <a:pt x="772" y="531"/>
                </a:lnTo>
                <a:lnTo>
                  <a:pt x="775" y="534"/>
                </a:lnTo>
                <a:lnTo>
                  <a:pt x="779" y="535"/>
                </a:lnTo>
                <a:lnTo>
                  <a:pt x="782" y="534"/>
                </a:lnTo>
                <a:lnTo>
                  <a:pt x="784" y="532"/>
                </a:lnTo>
                <a:lnTo>
                  <a:pt x="787" y="530"/>
                </a:lnTo>
                <a:lnTo>
                  <a:pt x="788" y="528"/>
                </a:lnTo>
                <a:lnTo>
                  <a:pt x="787" y="527"/>
                </a:lnTo>
                <a:lnTo>
                  <a:pt x="786" y="524"/>
                </a:lnTo>
                <a:lnTo>
                  <a:pt x="784" y="523"/>
                </a:lnTo>
                <a:lnTo>
                  <a:pt x="786" y="522"/>
                </a:lnTo>
                <a:lnTo>
                  <a:pt x="788" y="522"/>
                </a:lnTo>
                <a:lnTo>
                  <a:pt x="789" y="523"/>
                </a:lnTo>
                <a:lnTo>
                  <a:pt x="790" y="524"/>
                </a:lnTo>
                <a:lnTo>
                  <a:pt x="795" y="529"/>
                </a:lnTo>
                <a:lnTo>
                  <a:pt x="801" y="531"/>
                </a:lnTo>
                <a:lnTo>
                  <a:pt x="807" y="531"/>
                </a:lnTo>
                <a:lnTo>
                  <a:pt x="814" y="529"/>
                </a:lnTo>
                <a:lnTo>
                  <a:pt x="816" y="528"/>
                </a:lnTo>
                <a:lnTo>
                  <a:pt x="820" y="528"/>
                </a:lnTo>
                <a:lnTo>
                  <a:pt x="822" y="529"/>
                </a:lnTo>
                <a:lnTo>
                  <a:pt x="823" y="530"/>
                </a:lnTo>
                <a:lnTo>
                  <a:pt x="831" y="535"/>
                </a:lnTo>
                <a:lnTo>
                  <a:pt x="838" y="539"/>
                </a:lnTo>
                <a:lnTo>
                  <a:pt x="839" y="541"/>
                </a:lnTo>
                <a:lnTo>
                  <a:pt x="841" y="541"/>
                </a:lnTo>
                <a:lnTo>
                  <a:pt x="855" y="541"/>
                </a:lnTo>
                <a:lnTo>
                  <a:pt x="867" y="539"/>
                </a:lnTo>
                <a:lnTo>
                  <a:pt x="869" y="541"/>
                </a:lnTo>
                <a:lnTo>
                  <a:pt x="870" y="542"/>
                </a:lnTo>
                <a:lnTo>
                  <a:pt x="871" y="545"/>
                </a:lnTo>
                <a:lnTo>
                  <a:pt x="872" y="548"/>
                </a:lnTo>
                <a:lnTo>
                  <a:pt x="874" y="549"/>
                </a:lnTo>
                <a:lnTo>
                  <a:pt x="877" y="550"/>
                </a:lnTo>
                <a:lnTo>
                  <a:pt x="883" y="552"/>
                </a:lnTo>
                <a:lnTo>
                  <a:pt x="886" y="556"/>
                </a:lnTo>
                <a:lnTo>
                  <a:pt x="887" y="556"/>
                </a:lnTo>
                <a:lnTo>
                  <a:pt x="889" y="556"/>
                </a:lnTo>
                <a:lnTo>
                  <a:pt x="893" y="555"/>
                </a:lnTo>
                <a:lnTo>
                  <a:pt x="896" y="555"/>
                </a:lnTo>
                <a:lnTo>
                  <a:pt x="899" y="560"/>
                </a:lnTo>
                <a:lnTo>
                  <a:pt x="903" y="567"/>
                </a:lnTo>
                <a:lnTo>
                  <a:pt x="903" y="569"/>
                </a:lnTo>
                <a:lnTo>
                  <a:pt x="903" y="570"/>
                </a:lnTo>
                <a:lnTo>
                  <a:pt x="901" y="571"/>
                </a:lnTo>
                <a:lnTo>
                  <a:pt x="900" y="570"/>
                </a:lnTo>
                <a:lnTo>
                  <a:pt x="884" y="565"/>
                </a:lnTo>
                <a:lnTo>
                  <a:pt x="867" y="558"/>
                </a:lnTo>
                <a:close/>
                <a:moveTo>
                  <a:pt x="897" y="750"/>
                </a:moveTo>
                <a:lnTo>
                  <a:pt x="893" y="743"/>
                </a:lnTo>
                <a:lnTo>
                  <a:pt x="891" y="737"/>
                </a:lnTo>
                <a:lnTo>
                  <a:pt x="893" y="743"/>
                </a:lnTo>
                <a:lnTo>
                  <a:pt x="897" y="750"/>
                </a:lnTo>
                <a:lnTo>
                  <a:pt x="897" y="758"/>
                </a:lnTo>
                <a:lnTo>
                  <a:pt x="898" y="765"/>
                </a:lnTo>
                <a:lnTo>
                  <a:pt x="897" y="758"/>
                </a:lnTo>
                <a:lnTo>
                  <a:pt x="897" y="750"/>
                </a:lnTo>
                <a:close/>
                <a:moveTo>
                  <a:pt x="871" y="880"/>
                </a:moveTo>
                <a:lnTo>
                  <a:pt x="872" y="881"/>
                </a:lnTo>
                <a:lnTo>
                  <a:pt x="872" y="883"/>
                </a:lnTo>
                <a:lnTo>
                  <a:pt x="872" y="881"/>
                </a:lnTo>
                <a:lnTo>
                  <a:pt x="871" y="880"/>
                </a:lnTo>
                <a:close/>
                <a:moveTo>
                  <a:pt x="870" y="878"/>
                </a:moveTo>
                <a:lnTo>
                  <a:pt x="870" y="878"/>
                </a:lnTo>
                <a:lnTo>
                  <a:pt x="870" y="878"/>
                </a:lnTo>
                <a:lnTo>
                  <a:pt x="871" y="879"/>
                </a:lnTo>
                <a:lnTo>
                  <a:pt x="871" y="880"/>
                </a:lnTo>
                <a:lnTo>
                  <a:pt x="871" y="879"/>
                </a:lnTo>
                <a:lnTo>
                  <a:pt x="870" y="878"/>
                </a:lnTo>
                <a:close/>
                <a:moveTo>
                  <a:pt x="863" y="836"/>
                </a:moveTo>
                <a:lnTo>
                  <a:pt x="863" y="836"/>
                </a:lnTo>
                <a:lnTo>
                  <a:pt x="858" y="825"/>
                </a:lnTo>
                <a:lnTo>
                  <a:pt x="853" y="816"/>
                </a:lnTo>
                <a:lnTo>
                  <a:pt x="858" y="825"/>
                </a:lnTo>
                <a:lnTo>
                  <a:pt x="863" y="836"/>
                </a:lnTo>
                <a:lnTo>
                  <a:pt x="863" y="836"/>
                </a:lnTo>
                <a:lnTo>
                  <a:pt x="864" y="836"/>
                </a:lnTo>
                <a:lnTo>
                  <a:pt x="865" y="836"/>
                </a:lnTo>
                <a:lnTo>
                  <a:pt x="864" y="836"/>
                </a:lnTo>
                <a:lnTo>
                  <a:pt x="863" y="836"/>
                </a:lnTo>
                <a:close/>
                <a:moveTo>
                  <a:pt x="851" y="888"/>
                </a:moveTo>
                <a:lnTo>
                  <a:pt x="852" y="887"/>
                </a:lnTo>
                <a:lnTo>
                  <a:pt x="850" y="886"/>
                </a:lnTo>
                <a:lnTo>
                  <a:pt x="850" y="885"/>
                </a:lnTo>
                <a:lnTo>
                  <a:pt x="850" y="884"/>
                </a:lnTo>
                <a:lnTo>
                  <a:pt x="850" y="885"/>
                </a:lnTo>
                <a:lnTo>
                  <a:pt x="850" y="886"/>
                </a:lnTo>
                <a:lnTo>
                  <a:pt x="852" y="887"/>
                </a:lnTo>
                <a:lnTo>
                  <a:pt x="851" y="888"/>
                </a:lnTo>
                <a:close/>
                <a:moveTo>
                  <a:pt x="851" y="900"/>
                </a:moveTo>
                <a:lnTo>
                  <a:pt x="851" y="900"/>
                </a:lnTo>
                <a:lnTo>
                  <a:pt x="852" y="900"/>
                </a:lnTo>
                <a:lnTo>
                  <a:pt x="851" y="900"/>
                </a:lnTo>
                <a:lnTo>
                  <a:pt x="851" y="900"/>
                </a:lnTo>
                <a:close/>
                <a:moveTo>
                  <a:pt x="815" y="727"/>
                </a:moveTo>
                <a:lnTo>
                  <a:pt x="812" y="741"/>
                </a:lnTo>
                <a:lnTo>
                  <a:pt x="812" y="757"/>
                </a:lnTo>
                <a:lnTo>
                  <a:pt x="810" y="755"/>
                </a:lnTo>
                <a:lnTo>
                  <a:pt x="807" y="753"/>
                </a:lnTo>
                <a:lnTo>
                  <a:pt x="807" y="758"/>
                </a:lnTo>
                <a:lnTo>
                  <a:pt x="804" y="761"/>
                </a:lnTo>
                <a:lnTo>
                  <a:pt x="804" y="764"/>
                </a:lnTo>
                <a:lnTo>
                  <a:pt x="804" y="766"/>
                </a:lnTo>
                <a:lnTo>
                  <a:pt x="804" y="768"/>
                </a:lnTo>
                <a:lnTo>
                  <a:pt x="805" y="771"/>
                </a:lnTo>
                <a:lnTo>
                  <a:pt x="805" y="772"/>
                </a:lnTo>
                <a:lnTo>
                  <a:pt x="804" y="773"/>
                </a:lnTo>
                <a:lnTo>
                  <a:pt x="803" y="773"/>
                </a:lnTo>
                <a:lnTo>
                  <a:pt x="802" y="773"/>
                </a:lnTo>
                <a:lnTo>
                  <a:pt x="797" y="767"/>
                </a:lnTo>
                <a:lnTo>
                  <a:pt x="790" y="764"/>
                </a:lnTo>
                <a:lnTo>
                  <a:pt x="788" y="760"/>
                </a:lnTo>
                <a:lnTo>
                  <a:pt x="787" y="755"/>
                </a:lnTo>
                <a:lnTo>
                  <a:pt x="786" y="751"/>
                </a:lnTo>
                <a:lnTo>
                  <a:pt x="786" y="747"/>
                </a:lnTo>
                <a:lnTo>
                  <a:pt x="791" y="750"/>
                </a:lnTo>
                <a:lnTo>
                  <a:pt x="796" y="750"/>
                </a:lnTo>
                <a:lnTo>
                  <a:pt x="794" y="746"/>
                </a:lnTo>
                <a:lnTo>
                  <a:pt x="790" y="743"/>
                </a:lnTo>
                <a:lnTo>
                  <a:pt x="786" y="731"/>
                </a:lnTo>
                <a:lnTo>
                  <a:pt x="779" y="720"/>
                </a:lnTo>
                <a:lnTo>
                  <a:pt x="779" y="718"/>
                </a:lnTo>
                <a:lnTo>
                  <a:pt x="780" y="715"/>
                </a:lnTo>
                <a:lnTo>
                  <a:pt x="781" y="708"/>
                </a:lnTo>
                <a:lnTo>
                  <a:pt x="781" y="701"/>
                </a:lnTo>
                <a:lnTo>
                  <a:pt x="781" y="696"/>
                </a:lnTo>
                <a:lnTo>
                  <a:pt x="783" y="691"/>
                </a:lnTo>
                <a:lnTo>
                  <a:pt x="788" y="692"/>
                </a:lnTo>
                <a:lnTo>
                  <a:pt x="794" y="695"/>
                </a:lnTo>
                <a:lnTo>
                  <a:pt x="803" y="710"/>
                </a:lnTo>
                <a:lnTo>
                  <a:pt x="814" y="724"/>
                </a:lnTo>
                <a:lnTo>
                  <a:pt x="815" y="726"/>
                </a:lnTo>
                <a:lnTo>
                  <a:pt x="815" y="727"/>
                </a:lnTo>
                <a:close/>
                <a:moveTo>
                  <a:pt x="761" y="646"/>
                </a:moveTo>
                <a:lnTo>
                  <a:pt x="761" y="646"/>
                </a:lnTo>
                <a:lnTo>
                  <a:pt x="766" y="649"/>
                </a:lnTo>
                <a:lnTo>
                  <a:pt x="770" y="652"/>
                </a:lnTo>
                <a:lnTo>
                  <a:pt x="766" y="649"/>
                </a:lnTo>
                <a:lnTo>
                  <a:pt x="761" y="646"/>
                </a:lnTo>
                <a:close/>
                <a:moveTo>
                  <a:pt x="759" y="627"/>
                </a:moveTo>
                <a:lnTo>
                  <a:pt x="759" y="625"/>
                </a:lnTo>
                <a:lnTo>
                  <a:pt x="758" y="622"/>
                </a:lnTo>
                <a:lnTo>
                  <a:pt x="759" y="625"/>
                </a:lnTo>
                <a:lnTo>
                  <a:pt x="759" y="627"/>
                </a:lnTo>
                <a:close/>
                <a:moveTo>
                  <a:pt x="755" y="645"/>
                </a:moveTo>
                <a:lnTo>
                  <a:pt x="756" y="646"/>
                </a:lnTo>
                <a:lnTo>
                  <a:pt x="758" y="646"/>
                </a:lnTo>
                <a:lnTo>
                  <a:pt x="756" y="646"/>
                </a:lnTo>
                <a:lnTo>
                  <a:pt x="755" y="645"/>
                </a:lnTo>
                <a:close/>
                <a:moveTo>
                  <a:pt x="751" y="639"/>
                </a:moveTo>
                <a:lnTo>
                  <a:pt x="752" y="640"/>
                </a:lnTo>
                <a:lnTo>
                  <a:pt x="754" y="641"/>
                </a:lnTo>
                <a:lnTo>
                  <a:pt x="754" y="635"/>
                </a:lnTo>
                <a:lnTo>
                  <a:pt x="755" y="631"/>
                </a:lnTo>
                <a:lnTo>
                  <a:pt x="754" y="635"/>
                </a:lnTo>
                <a:lnTo>
                  <a:pt x="754" y="641"/>
                </a:lnTo>
                <a:lnTo>
                  <a:pt x="752" y="640"/>
                </a:lnTo>
                <a:lnTo>
                  <a:pt x="751" y="639"/>
                </a:lnTo>
                <a:close/>
                <a:moveTo>
                  <a:pt x="751" y="615"/>
                </a:moveTo>
                <a:lnTo>
                  <a:pt x="749" y="614"/>
                </a:lnTo>
                <a:lnTo>
                  <a:pt x="747" y="614"/>
                </a:lnTo>
                <a:lnTo>
                  <a:pt x="749" y="614"/>
                </a:lnTo>
                <a:lnTo>
                  <a:pt x="751" y="615"/>
                </a:lnTo>
                <a:close/>
                <a:moveTo>
                  <a:pt x="747" y="807"/>
                </a:moveTo>
                <a:lnTo>
                  <a:pt x="745" y="806"/>
                </a:lnTo>
                <a:lnTo>
                  <a:pt x="745" y="803"/>
                </a:lnTo>
                <a:lnTo>
                  <a:pt x="745" y="806"/>
                </a:lnTo>
                <a:lnTo>
                  <a:pt x="747" y="807"/>
                </a:lnTo>
                <a:lnTo>
                  <a:pt x="747" y="813"/>
                </a:lnTo>
                <a:lnTo>
                  <a:pt x="747" y="817"/>
                </a:lnTo>
                <a:lnTo>
                  <a:pt x="747" y="813"/>
                </a:lnTo>
                <a:lnTo>
                  <a:pt x="747" y="807"/>
                </a:lnTo>
                <a:close/>
                <a:moveTo>
                  <a:pt x="744" y="797"/>
                </a:moveTo>
                <a:lnTo>
                  <a:pt x="745" y="801"/>
                </a:lnTo>
                <a:lnTo>
                  <a:pt x="745" y="803"/>
                </a:lnTo>
                <a:lnTo>
                  <a:pt x="745" y="801"/>
                </a:lnTo>
                <a:lnTo>
                  <a:pt x="744" y="797"/>
                </a:lnTo>
                <a:close/>
                <a:moveTo>
                  <a:pt x="691" y="900"/>
                </a:moveTo>
                <a:lnTo>
                  <a:pt x="690" y="897"/>
                </a:lnTo>
                <a:lnTo>
                  <a:pt x="690" y="893"/>
                </a:lnTo>
                <a:lnTo>
                  <a:pt x="689" y="887"/>
                </a:lnTo>
                <a:lnTo>
                  <a:pt x="687" y="883"/>
                </a:lnTo>
                <a:lnTo>
                  <a:pt x="689" y="887"/>
                </a:lnTo>
                <a:lnTo>
                  <a:pt x="690" y="893"/>
                </a:lnTo>
                <a:lnTo>
                  <a:pt x="690" y="897"/>
                </a:lnTo>
                <a:lnTo>
                  <a:pt x="691" y="900"/>
                </a:lnTo>
                <a:close/>
                <a:moveTo>
                  <a:pt x="673" y="93"/>
                </a:moveTo>
                <a:lnTo>
                  <a:pt x="670" y="91"/>
                </a:lnTo>
                <a:lnTo>
                  <a:pt x="666" y="90"/>
                </a:lnTo>
                <a:lnTo>
                  <a:pt x="663" y="90"/>
                </a:lnTo>
                <a:lnTo>
                  <a:pt x="658" y="93"/>
                </a:lnTo>
                <a:lnTo>
                  <a:pt x="658" y="93"/>
                </a:lnTo>
                <a:lnTo>
                  <a:pt x="652" y="91"/>
                </a:lnTo>
                <a:lnTo>
                  <a:pt x="646" y="90"/>
                </a:lnTo>
                <a:lnTo>
                  <a:pt x="646" y="91"/>
                </a:lnTo>
                <a:lnTo>
                  <a:pt x="645" y="93"/>
                </a:lnTo>
                <a:lnTo>
                  <a:pt x="646" y="91"/>
                </a:lnTo>
                <a:lnTo>
                  <a:pt x="646" y="90"/>
                </a:lnTo>
                <a:lnTo>
                  <a:pt x="644" y="88"/>
                </a:lnTo>
                <a:lnTo>
                  <a:pt x="642" y="87"/>
                </a:lnTo>
                <a:lnTo>
                  <a:pt x="639" y="86"/>
                </a:lnTo>
                <a:lnTo>
                  <a:pt x="636" y="84"/>
                </a:lnTo>
                <a:lnTo>
                  <a:pt x="630" y="83"/>
                </a:lnTo>
                <a:lnTo>
                  <a:pt x="625" y="81"/>
                </a:lnTo>
                <a:lnTo>
                  <a:pt x="620" y="81"/>
                </a:lnTo>
                <a:lnTo>
                  <a:pt x="611" y="81"/>
                </a:lnTo>
                <a:lnTo>
                  <a:pt x="609" y="80"/>
                </a:lnTo>
                <a:lnTo>
                  <a:pt x="607" y="79"/>
                </a:lnTo>
                <a:lnTo>
                  <a:pt x="622" y="77"/>
                </a:lnTo>
                <a:lnTo>
                  <a:pt x="635" y="77"/>
                </a:lnTo>
                <a:lnTo>
                  <a:pt x="646" y="79"/>
                </a:lnTo>
                <a:lnTo>
                  <a:pt x="657" y="81"/>
                </a:lnTo>
                <a:lnTo>
                  <a:pt x="666" y="83"/>
                </a:lnTo>
                <a:lnTo>
                  <a:pt x="673" y="88"/>
                </a:lnTo>
                <a:lnTo>
                  <a:pt x="680" y="91"/>
                </a:lnTo>
                <a:lnTo>
                  <a:pt x="686" y="96"/>
                </a:lnTo>
                <a:lnTo>
                  <a:pt x="680" y="95"/>
                </a:lnTo>
                <a:lnTo>
                  <a:pt x="673" y="93"/>
                </a:lnTo>
                <a:close/>
                <a:moveTo>
                  <a:pt x="672" y="159"/>
                </a:moveTo>
                <a:lnTo>
                  <a:pt x="675" y="159"/>
                </a:lnTo>
                <a:lnTo>
                  <a:pt x="677" y="159"/>
                </a:lnTo>
                <a:lnTo>
                  <a:pt x="675" y="159"/>
                </a:lnTo>
                <a:lnTo>
                  <a:pt x="672" y="159"/>
                </a:lnTo>
                <a:close/>
                <a:moveTo>
                  <a:pt x="667" y="139"/>
                </a:moveTo>
                <a:lnTo>
                  <a:pt x="670" y="142"/>
                </a:lnTo>
                <a:lnTo>
                  <a:pt x="671" y="144"/>
                </a:lnTo>
                <a:lnTo>
                  <a:pt x="671" y="144"/>
                </a:lnTo>
                <a:lnTo>
                  <a:pt x="670" y="142"/>
                </a:lnTo>
                <a:lnTo>
                  <a:pt x="667" y="139"/>
                </a:lnTo>
                <a:close/>
                <a:moveTo>
                  <a:pt x="682" y="185"/>
                </a:moveTo>
                <a:lnTo>
                  <a:pt x="680" y="188"/>
                </a:lnTo>
                <a:lnTo>
                  <a:pt x="677" y="189"/>
                </a:lnTo>
                <a:lnTo>
                  <a:pt x="673" y="195"/>
                </a:lnTo>
                <a:lnTo>
                  <a:pt x="670" y="199"/>
                </a:lnTo>
                <a:lnTo>
                  <a:pt x="673" y="195"/>
                </a:lnTo>
                <a:lnTo>
                  <a:pt x="677" y="189"/>
                </a:lnTo>
                <a:lnTo>
                  <a:pt x="680" y="188"/>
                </a:lnTo>
                <a:lnTo>
                  <a:pt x="682" y="185"/>
                </a:lnTo>
                <a:lnTo>
                  <a:pt x="680" y="184"/>
                </a:lnTo>
                <a:lnTo>
                  <a:pt x="679" y="182"/>
                </a:lnTo>
                <a:lnTo>
                  <a:pt x="680" y="184"/>
                </a:lnTo>
                <a:lnTo>
                  <a:pt x="682" y="185"/>
                </a:lnTo>
                <a:lnTo>
                  <a:pt x="683" y="185"/>
                </a:lnTo>
                <a:lnTo>
                  <a:pt x="684" y="184"/>
                </a:lnTo>
                <a:lnTo>
                  <a:pt x="683" y="185"/>
                </a:lnTo>
                <a:lnTo>
                  <a:pt x="682" y="185"/>
                </a:lnTo>
                <a:close/>
                <a:moveTo>
                  <a:pt x="665" y="201"/>
                </a:moveTo>
                <a:lnTo>
                  <a:pt x="665" y="202"/>
                </a:lnTo>
                <a:lnTo>
                  <a:pt x="665" y="202"/>
                </a:lnTo>
                <a:lnTo>
                  <a:pt x="665" y="202"/>
                </a:lnTo>
                <a:lnTo>
                  <a:pt x="665" y="201"/>
                </a:lnTo>
                <a:close/>
                <a:moveTo>
                  <a:pt x="660" y="109"/>
                </a:move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0" y="109"/>
                </a:lnTo>
                <a:lnTo>
                  <a:pt x="663" y="110"/>
                </a:lnTo>
                <a:lnTo>
                  <a:pt x="664" y="111"/>
                </a:lnTo>
                <a:lnTo>
                  <a:pt x="663" y="110"/>
                </a:lnTo>
                <a:lnTo>
                  <a:pt x="660" y="109"/>
                </a:lnTo>
                <a:close/>
                <a:moveTo>
                  <a:pt x="655" y="110"/>
                </a:moveTo>
                <a:lnTo>
                  <a:pt x="656" y="110"/>
                </a:lnTo>
                <a:lnTo>
                  <a:pt x="656" y="109"/>
                </a:lnTo>
                <a:lnTo>
                  <a:pt x="656" y="110"/>
                </a:lnTo>
                <a:lnTo>
                  <a:pt x="655" y="110"/>
                </a:lnTo>
                <a:close/>
                <a:moveTo>
                  <a:pt x="643" y="97"/>
                </a:moveTo>
                <a:lnTo>
                  <a:pt x="645" y="97"/>
                </a:lnTo>
                <a:lnTo>
                  <a:pt x="646" y="95"/>
                </a:lnTo>
                <a:lnTo>
                  <a:pt x="645" y="97"/>
                </a:lnTo>
                <a:lnTo>
                  <a:pt x="643" y="97"/>
                </a:lnTo>
                <a:close/>
                <a:moveTo>
                  <a:pt x="629" y="104"/>
                </a:moveTo>
                <a:lnTo>
                  <a:pt x="630" y="107"/>
                </a:lnTo>
                <a:lnTo>
                  <a:pt x="631" y="108"/>
                </a:lnTo>
                <a:lnTo>
                  <a:pt x="630" y="107"/>
                </a:lnTo>
                <a:lnTo>
                  <a:pt x="629" y="104"/>
                </a:lnTo>
                <a:close/>
                <a:moveTo>
                  <a:pt x="617" y="95"/>
                </a:moveTo>
                <a:lnTo>
                  <a:pt x="618" y="98"/>
                </a:lnTo>
                <a:lnTo>
                  <a:pt x="620" y="102"/>
                </a:lnTo>
                <a:lnTo>
                  <a:pt x="620" y="102"/>
                </a:lnTo>
                <a:lnTo>
                  <a:pt x="618" y="98"/>
                </a:lnTo>
                <a:lnTo>
                  <a:pt x="617" y="95"/>
                </a:lnTo>
                <a:close/>
                <a:moveTo>
                  <a:pt x="634" y="171"/>
                </a:moveTo>
                <a:lnTo>
                  <a:pt x="631" y="171"/>
                </a:lnTo>
                <a:lnTo>
                  <a:pt x="630" y="168"/>
                </a:lnTo>
                <a:lnTo>
                  <a:pt x="631" y="171"/>
                </a:lnTo>
                <a:lnTo>
                  <a:pt x="634" y="171"/>
                </a:lnTo>
                <a:lnTo>
                  <a:pt x="636" y="172"/>
                </a:lnTo>
                <a:lnTo>
                  <a:pt x="635" y="174"/>
                </a:lnTo>
                <a:lnTo>
                  <a:pt x="636" y="172"/>
                </a:lnTo>
                <a:lnTo>
                  <a:pt x="634" y="171"/>
                </a:lnTo>
                <a:close/>
                <a:moveTo>
                  <a:pt x="631" y="203"/>
                </a:moveTo>
                <a:lnTo>
                  <a:pt x="624" y="206"/>
                </a:lnTo>
                <a:lnTo>
                  <a:pt x="617" y="208"/>
                </a:lnTo>
                <a:lnTo>
                  <a:pt x="615" y="209"/>
                </a:lnTo>
                <a:lnTo>
                  <a:pt x="613" y="209"/>
                </a:lnTo>
                <a:lnTo>
                  <a:pt x="610" y="209"/>
                </a:lnTo>
                <a:lnTo>
                  <a:pt x="608" y="208"/>
                </a:lnTo>
                <a:lnTo>
                  <a:pt x="609" y="208"/>
                </a:lnTo>
                <a:lnTo>
                  <a:pt x="609" y="207"/>
                </a:lnTo>
                <a:lnTo>
                  <a:pt x="610" y="206"/>
                </a:lnTo>
                <a:lnTo>
                  <a:pt x="611" y="203"/>
                </a:lnTo>
                <a:lnTo>
                  <a:pt x="610" y="206"/>
                </a:lnTo>
                <a:lnTo>
                  <a:pt x="609" y="207"/>
                </a:lnTo>
                <a:lnTo>
                  <a:pt x="613" y="207"/>
                </a:lnTo>
                <a:lnTo>
                  <a:pt x="616" y="207"/>
                </a:lnTo>
                <a:lnTo>
                  <a:pt x="618" y="205"/>
                </a:lnTo>
                <a:lnTo>
                  <a:pt x="622" y="202"/>
                </a:lnTo>
                <a:lnTo>
                  <a:pt x="629" y="196"/>
                </a:lnTo>
                <a:lnTo>
                  <a:pt x="635" y="188"/>
                </a:lnTo>
                <a:lnTo>
                  <a:pt x="639" y="180"/>
                </a:lnTo>
                <a:lnTo>
                  <a:pt x="642" y="171"/>
                </a:lnTo>
                <a:lnTo>
                  <a:pt x="642" y="166"/>
                </a:lnTo>
                <a:lnTo>
                  <a:pt x="643" y="163"/>
                </a:lnTo>
                <a:lnTo>
                  <a:pt x="644" y="159"/>
                </a:lnTo>
                <a:lnTo>
                  <a:pt x="646" y="156"/>
                </a:lnTo>
                <a:lnTo>
                  <a:pt x="650" y="152"/>
                </a:lnTo>
                <a:lnTo>
                  <a:pt x="650" y="150"/>
                </a:lnTo>
                <a:lnTo>
                  <a:pt x="649" y="147"/>
                </a:lnTo>
                <a:lnTo>
                  <a:pt x="645" y="144"/>
                </a:lnTo>
                <a:lnTo>
                  <a:pt x="641" y="137"/>
                </a:lnTo>
                <a:lnTo>
                  <a:pt x="634" y="131"/>
                </a:lnTo>
                <a:lnTo>
                  <a:pt x="634" y="129"/>
                </a:lnTo>
                <a:lnTo>
                  <a:pt x="632" y="129"/>
                </a:lnTo>
                <a:lnTo>
                  <a:pt x="631" y="128"/>
                </a:lnTo>
                <a:lnTo>
                  <a:pt x="631" y="128"/>
                </a:lnTo>
                <a:lnTo>
                  <a:pt x="625" y="123"/>
                </a:lnTo>
                <a:lnTo>
                  <a:pt x="618" y="119"/>
                </a:lnTo>
                <a:lnTo>
                  <a:pt x="611" y="118"/>
                </a:lnTo>
                <a:lnTo>
                  <a:pt x="607" y="118"/>
                </a:lnTo>
                <a:lnTo>
                  <a:pt x="599" y="122"/>
                </a:lnTo>
                <a:lnTo>
                  <a:pt x="590" y="125"/>
                </a:lnTo>
                <a:lnTo>
                  <a:pt x="581" y="128"/>
                </a:lnTo>
                <a:lnTo>
                  <a:pt x="573" y="129"/>
                </a:lnTo>
                <a:lnTo>
                  <a:pt x="568" y="130"/>
                </a:lnTo>
                <a:lnTo>
                  <a:pt x="563" y="133"/>
                </a:lnTo>
                <a:lnTo>
                  <a:pt x="559" y="137"/>
                </a:lnTo>
                <a:lnTo>
                  <a:pt x="554" y="142"/>
                </a:lnTo>
                <a:lnTo>
                  <a:pt x="549" y="147"/>
                </a:lnTo>
                <a:lnTo>
                  <a:pt x="546" y="152"/>
                </a:lnTo>
                <a:lnTo>
                  <a:pt x="544" y="157"/>
                </a:lnTo>
                <a:lnTo>
                  <a:pt x="544" y="161"/>
                </a:lnTo>
                <a:lnTo>
                  <a:pt x="542" y="166"/>
                </a:lnTo>
                <a:lnTo>
                  <a:pt x="542" y="170"/>
                </a:lnTo>
                <a:lnTo>
                  <a:pt x="544" y="174"/>
                </a:lnTo>
                <a:lnTo>
                  <a:pt x="546" y="178"/>
                </a:lnTo>
                <a:lnTo>
                  <a:pt x="547" y="179"/>
                </a:lnTo>
                <a:lnTo>
                  <a:pt x="547" y="179"/>
                </a:lnTo>
                <a:lnTo>
                  <a:pt x="551" y="186"/>
                </a:lnTo>
                <a:lnTo>
                  <a:pt x="555" y="193"/>
                </a:lnTo>
                <a:lnTo>
                  <a:pt x="561" y="198"/>
                </a:lnTo>
                <a:lnTo>
                  <a:pt x="567" y="203"/>
                </a:lnTo>
                <a:lnTo>
                  <a:pt x="568" y="205"/>
                </a:lnTo>
                <a:lnTo>
                  <a:pt x="572" y="205"/>
                </a:lnTo>
                <a:lnTo>
                  <a:pt x="570" y="203"/>
                </a:lnTo>
                <a:lnTo>
                  <a:pt x="570" y="203"/>
                </a:lnTo>
                <a:lnTo>
                  <a:pt x="570" y="200"/>
                </a:lnTo>
                <a:lnTo>
                  <a:pt x="572" y="198"/>
                </a:lnTo>
                <a:lnTo>
                  <a:pt x="570" y="200"/>
                </a:lnTo>
                <a:lnTo>
                  <a:pt x="570" y="203"/>
                </a:lnTo>
                <a:lnTo>
                  <a:pt x="570" y="203"/>
                </a:lnTo>
                <a:lnTo>
                  <a:pt x="572" y="205"/>
                </a:lnTo>
                <a:lnTo>
                  <a:pt x="572" y="205"/>
                </a:lnTo>
                <a:lnTo>
                  <a:pt x="580" y="207"/>
                </a:lnTo>
                <a:lnTo>
                  <a:pt x="588" y="208"/>
                </a:lnTo>
                <a:lnTo>
                  <a:pt x="580" y="207"/>
                </a:lnTo>
                <a:lnTo>
                  <a:pt x="572" y="205"/>
                </a:lnTo>
                <a:lnTo>
                  <a:pt x="569" y="207"/>
                </a:lnTo>
                <a:lnTo>
                  <a:pt x="568" y="208"/>
                </a:lnTo>
                <a:lnTo>
                  <a:pt x="566" y="207"/>
                </a:lnTo>
                <a:lnTo>
                  <a:pt x="563" y="207"/>
                </a:lnTo>
                <a:lnTo>
                  <a:pt x="551" y="201"/>
                </a:lnTo>
                <a:lnTo>
                  <a:pt x="538" y="195"/>
                </a:lnTo>
                <a:lnTo>
                  <a:pt x="526" y="187"/>
                </a:lnTo>
                <a:lnTo>
                  <a:pt x="515" y="179"/>
                </a:lnTo>
                <a:lnTo>
                  <a:pt x="513" y="178"/>
                </a:lnTo>
                <a:lnTo>
                  <a:pt x="512" y="177"/>
                </a:lnTo>
                <a:lnTo>
                  <a:pt x="512" y="174"/>
                </a:lnTo>
                <a:lnTo>
                  <a:pt x="512" y="172"/>
                </a:lnTo>
                <a:lnTo>
                  <a:pt x="514" y="164"/>
                </a:lnTo>
                <a:lnTo>
                  <a:pt x="517" y="157"/>
                </a:lnTo>
                <a:lnTo>
                  <a:pt x="520" y="150"/>
                </a:lnTo>
                <a:lnTo>
                  <a:pt x="525" y="144"/>
                </a:lnTo>
                <a:lnTo>
                  <a:pt x="530" y="138"/>
                </a:lnTo>
                <a:lnTo>
                  <a:pt x="534" y="132"/>
                </a:lnTo>
                <a:lnTo>
                  <a:pt x="541" y="128"/>
                </a:lnTo>
                <a:lnTo>
                  <a:pt x="548" y="123"/>
                </a:lnTo>
                <a:lnTo>
                  <a:pt x="558" y="118"/>
                </a:lnTo>
                <a:lnTo>
                  <a:pt x="568" y="115"/>
                </a:lnTo>
                <a:lnTo>
                  <a:pt x="577" y="111"/>
                </a:lnTo>
                <a:lnTo>
                  <a:pt x="588" y="109"/>
                </a:lnTo>
                <a:lnTo>
                  <a:pt x="599" y="108"/>
                </a:lnTo>
                <a:lnTo>
                  <a:pt x="608" y="109"/>
                </a:lnTo>
                <a:lnTo>
                  <a:pt x="618" y="111"/>
                </a:lnTo>
                <a:lnTo>
                  <a:pt x="627" y="115"/>
                </a:lnTo>
                <a:lnTo>
                  <a:pt x="635" y="119"/>
                </a:lnTo>
                <a:lnTo>
                  <a:pt x="643" y="126"/>
                </a:lnTo>
                <a:lnTo>
                  <a:pt x="649" y="133"/>
                </a:lnTo>
                <a:lnTo>
                  <a:pt x="653" y="143"/>
                </a:lnTo>
                <a:lnTo>
                  <a:pt x="657" y="151"/>
                </a:lnTo>
                <a:lnTo>
                  <a:pt x="659" y="160"/>
                </a:lnTo>
                <a:lnTo>
                  <a:pt x="658" y="170"/>
                </a:lnTo>
                <a:lnTo>
                  <a:pt x="657" y="178"/>
                </a:lnTo>
                <a:lnTo>
                  <a:pt x="653" y="186"/>
                </a:lnTo>
                <a:lnTo>
                  <a:pt x="648" y="193"/>
                </a:lnTo>
                <a:lnTo>
                  <a:pt x="641" y="199"/>
                </a:lnTo>
                <a:lnTo>
                  <a:pt x="631" y="203"/>
                </a:lnTo>
                <a:close/>
                <a:moveTo>
                  <a:pt x="639" y="262"/>
                </a:moveTo>
                <a:lnTo>
                  <a:pt x="634" y="262"/>
                </a:lnTo>
                <a:lnTo>
                  <a:pt x="628" y="262"/>
                </a:lnTo>
                <a:lnTo>
                  <a:pt x="634" y="262"/>
                </a:lnTo>
                <a:lnTo>
                  <a:pt x="639" y="262"/>
                </a:lnTo>
                <a:lnTo>
                  <a:pt x="645" y="258"/>
                </a:lnTo>
                <a:lnTo>
                  <a:pt x="652" y="257"/>
                </a:lnTo>
                <a:lnTo>
                  <a:pt x="645" y="258"/>
                </a:lnTo>
                <a:lnTo>
                  <a:pt x="639" y="262"/>
                </a:lnTo>
                <a:close/>
                <a:moveTo>
                  <a:pt x="621" y="836"/>
                </a:moveTo>
                <a:lnTo>
                  <a:pt x="622" y="842"/>
                </a:lnTo>
                <a:lnTo>
                  <a:pt x="624" y="848"/>
                </a:lnTo>
                <a:lnTo>
                  <a:pt x="622" y="842"/>
                </a:lnTo>
                <a:lnTo>
                  <a:pt x="621" y="836"/>
                </a:lnTo>
                <a:close/>
                <a:moveTo>
                  <a:pt x="616" y="595"/>
                </a:moveTo>
                <a:lnTo>
                  <a:pt x="617" y="595"/>
                </a:lnTo>
                <a:lnTo>
                  <a:pt x="618" y="595"/>
                </a:lnTo>
                <a:lnTo>
                  <a:pt x="617" y="595"/>
                </a:lnTo>
                <a:lnTo>
                  <a:pt x="616" y="595"/>
                </a:lnTo>
                <a:close/>
                <a:moveTo>
                  <a:pt x="611" y="799"/>
                </a:moveTo>
                <a:lnTo>
                  <a:pt x="613" y="802"/>
                </a:lnTo>
                <a:lnTo>
                  <a:pt x="614" y="804"/>
                </a:lnTo>
                <a:lnTo>
                  <a:pt x="614" y="809"/>
                </a:lnTo>
                <a:lnTo>
                  <a:pt x="614" y="813"/>
                </a:lnTo>
                <a:lnTo>
                  <a:pt x="617" y="823"/>
                </a:lnTo>
                <a:lnTo>
                  <a:pt x="622" y="834"/>
                </a:lnTo>
                <a:lnTo>
                  <a:pt x="617" y="823"/>
                </a:lnTo>
                <a:lnTo>
                  <a:pt x="614" y="813"/>
                </a:lnTo>
                <a:lnTo>
                  <a:pt x="614" y="809"/>
                </a:lnTo>
                <a:lnTo>
                  <a:pt x="614" y="804"/>
                </a:lnTo>
                <a:lnTo>
                  <a:pt x="613" y="802"/>
                </a:lnTo>
                <a:lnTo>
                  <a:pt x="611" y="799"/>
                </a:lnTo>
                <a:close/>
                <a:moveTo>
                  <a:pt x="608" y="227"/>
                </a:moveTo>
                <a:lnTo>
                  <a:pt x="608" y="228"/>
                </a:lnTo>
                <a:lnTo>
                  <a:pt x="608" y="229"/>
                </a:lnTo>
                <a:lnTo>
                  <a:pt x="611" y="228"/>
                </a:lnTo>
                <a:lnTo>
                  <a:pt x="615" y="228"/>
                </a:lnTo>
                <a:lnTo>
                  <a:pt x="611" y="228"/>
                </a:lnTo>
                <a:lnTo>
                  <a:pt x="608" y="229"/>
                </a:lnTo>
                <a:lnTo>
                  <a:pt x="608" y="228"/>
                </a:lnTo>
                <a:lnTo>
                  <a:pt x="608" y="227"/>
                </a:lnTo>
                <a:close/>
                <a:moveTo>
                  <a:pt x="617" y="153"/>
                </a:moveTo>
                <a:lnTo>
                  <a:pt x="617" y="153"/>
                </a:lnTo>
                <a:lnTo>
                  <a:pt x="620" y="153"/>
                </a:lnTo>
                <a:lnTo>
                  <a:pt x="624" y="154"/>
                </a:lnTo>
                <a:lnTo>
                  <a:pt x="620" y="153"/>
                </a:lnTo>
                <a:lnTo>
                  <a:pt x="617" y="153"/>
                </a:lnTo>
                <a:close/>
                <a:moveTo>
                  <a:pt x="587" y="184"/>
                </a:moveTo>
                <a:lnTo>
                  <a:pt x="581" y="181"/>
                </a:lnTo>
                <a:lnTo>
                  <a:pt x="575" y="178"/>
                </a:lnTo>
                <a:lnTo>
                  <a:pt x="573" y="177"/>
                </a:lnTo>
                <a:lnTo>
                  <a:pt x="570" y="174"/>
                </a:lnTo>
                <a:lnTo>
                  <a:pt x="569" y="171"/>
                </a:lnTo>
                <a:lnTo>
                  <a:pt x="568" y="167"/>
                </a:lnTo>
                <a:lnTo>
                  <a:pt x="569" y="165"/>
                </a:lnTo>
                <a:lnTo>
                  <a:pt x="569" y="161"/>
                </a:lnTo>
                <a:lnTo>
                  <a:pt x="568" y="161"/>
                </a:lnTo>
                <a:lnTo>
                  <a:pt x="568" y="160"/>
                </a:lnTo>
                <a:lnTo>
                  <a:pt x="568" y="161"/>
                </a:lnTo>
                <a:lnTo>
                  <a:pt x="569" y="161"/>
                </a:lnTo>
                <a:lnTo>
                  <a:pt x="569" y="158"/>
                </a:lnTo>
                <a:lnTo>
                  <a:pt x="569" y="154"/>
                </a:lnTo>
                <a:lnTo>
                  <a:pt x="570" y="151"/>
                </a:lnTo>
                <a:lnTo>
                  <a:pt x="573" y="147"/>
                </a:lnTo>
                <a:lnTo>
                  <a:pt x="576" y="143"/>
                </a:lnTo>
                <a:lnTo>
                  <a:pt x="582" y="137"/>
                </a:lnTo>
                <a:lnTo>
                  <a:pt x="584" y="136"/>
                </a:lnTo>
                <a:lnTo>
                  <a:pt x="588" y="135"/>
                </a:lnTo>
                <a:lnTo>
                  <a:pt x="591" y="136"/>
                </a:lnTo>
                <a:lnTo>
                  <a:pt x="595" y="137"/>
                </a:lnTo>
                <a:lnTo>
                  <a:pt x="603" y="142"/>
                </a:lnTo>
                <a:lnTo>
                  <a:pt x="611" y="146"/>
                </a:lnTo>
                <a:lnTo>
                  <a:pt x="614" y="142"/>
                </a:lnTo>
                <a:lnTo>
                  <a:pt x="616" y="137"/>
                </a:lnTo>
                <a:lnTo>
                  <a:pt x="614" y="142"/>
                </a:lnTo>
                <a:lnTo>
                  <a:pt x="611" y="146"/>
                </a:lnTo>
                <a:lnTo>
                  <a:pt x="611" y="146"/>
                </a:lnTo>
                <a:lnTo>
                  <a:pt x="611" y="150"/>
                </a:lnTo>
                <a:lnTo>
                  <a:pt x="613" y="153"/>
                </a:lnTo>
                <a:lnTo>
                  <a:pt x="614" y="156"/>
                </a:lnTo>
                <a:lnTo>
                  <a:pt x="616" y="159"/>
                </a:lnTo>
                <a:lnTo>
                  <a:pt x="616" y="161"/>
                </a:lnTo>
                <a:lnTo>
                  <a:pt x="616" y="165"/>
                </a:lnTo>
                <a:lnTo>
                  <a:pt x="614" y="166"/>
                </a:lnTo>
                <a:lnTo>
                  <a:pt x="614" y="168"/>
                </a:lnTo>
                <a:lnTo>
                  <a:pt x="615" y="168"/>
                </a:lnTo>
                <a:lnTo>
                  <a:pt x="617" y="167"/>
                </a:lnTo>
                <a:lnTo>
                  <a:pt x="620" y="166"/>
                </a:lnTo>
                <a:lnTo>
                  <a:pt x="622" y="165"/>
                </a:lnTo>
                <a:lnTo>
                  <a:pt x="622" y="161"/>
                </a:lnTo>
                <a:lnTo>
                  <a:pt x="622" y="159"/>
                </a:lnTo>
                <a:lnTo>
                  <a:pt x="622" y="161"/>
                </a:lnTo>
                <a:lnTo>
                  <a:pt x="622" y="165"/>
                </a:lnTo>
                <a:lnTo>
                  <a:pt x="620" y="166"/>
                </a:lnTo>
                <a:lnTo>
                  <a:pt x="617" y="167"/>
                </a:lnTo>
                <a:lnTo>
                  <a:pt x="615" y="168"/>
                </a:lnTo>
                <a:lnTo>
                  <a:pt x="614" y="168"/>
                </a:lnTo>
                <a:lnTo>
                  <a:pt x="611" y="173"/>
                </a:lnTo>
                <a:lnTo>
                  <a:pt x="609" y="177"/>
                </a:lnTo>
                <a:lnTo>
                  <a:pt x="607" y="180"/>
                </a:lnTo>
                <a:lnTo>
                  <a:pt x="603" y="181"/>
                </a:lnTo>
                <a:lnTo>
                  <a:pt x="600" y="184"/>
                </a:lnTo>
                <a:lnTo>
                  <a:pt x="596" y="184"/>
                </a:lnTo>
                <a:lnTo>
                  <a:pt x="591" y="185"/>
                </a:lnTo>
                <a:lnTo>
                  <a:pt x="587" y="184"/>
                </a:lnTo>
                <a:close/>
                <a:moveTo>
                  <a:pt x="604" y="205"/>
                </a:moveTo>
                <a:lnTo>
                  <a:pt x="606" y="203"/>
                </a:lnTo>
                <a:lnTo>
                  <a:pt x="607" y="202"/>
                </a:lnTo>
                <a:lnTo>
                  <a:pt x="606" y="203"/>
                </a:lnTo>
                <a:lnTo>
                  <a:pt x="604" y="205"/>
                </a:lnTo>
                <a:close/>
                <a:moveTo>
                  <a:pt x="606" y="234"/>
                </a:moveTo>
                <a:lnTo>
                  <a:pt x="597" y="236"/>
                </a:lnTo>
                <a:lnTo>
                  <a:pt x="590" y="237"/>
                </a:lnTo>
                <a:lnTo>
                  <a:pt x="597" y="236"/>
                </a:lnTo>
                <a:lnTo>
                  <a:pt x="606" y="234"/>
                </a:lnTo>
                <a:close/>
                <a:moveTo>
                  <a:pt x="602" y="324"/>
                </a:moveTo>
                <a:lnTo>
                  <a:pt x="602" y="327"/>
                </a:lnTo>
                <a:lnTo>
                  <a:pt x="602" y="331"/>
                </a:lnTo>
                <a:lnTo>
                  <a:pt x="602" y="327"/>
                </a:lnTo>
                <a:lnTo>
                  <a:pt x="602" y="324"/>
                </a:lnTo>
                <a:lnTo>
                  <a:pt x="603" y="322"/>
                </a:lnTo>
                <a:lnTo>
                  <a:pt x="604" y="321"/>
                </a:lnTo>
                <a:lnTo>
                  <a:pt x="603" y="322"/>
                </a:lnTo>
                <a:lnTo>
                  <a:pt x="602" y="324"/>
                </a:lnTo>
                <a:close/>
                <a:moveTo>
                  <a:pt x="582" y="340"/>
                </a:moveTo>
                <a:lnTo>
                  <a:pt x="582" y="345"/>
                </a:lnTo>
                <a:lnTo>
                  <a:pt x="583" y="348"/>
                </a:lnTo>
                <a:lnTo>
                  <a:pt x="582" y="345"/>
                </a:lnTo>
                <a:lnTo>
                  <a:pt x="582" y="340"/>
                </a:lnTo>
                <a:close/>
                <a:moveTo>
                  <a:pt x="583" y="944"/>
                </a:moveTo>
                <a:lnTo>
                  <a:pt x="584" y="942"/>
                </a:lnTo>
                <a:lnTo>
                  <a:pt x="584" y="940"/>
                </a:lnTo>
                <a:lnTo>
                  <a:pt x="582" y="928"/>
                </a:lnTo>
                <a:lnTo>
                  <a:pt x="582" y="916"/>
                </a:lnTo>
                <a:lnTo>
                  <a:pt x="582" y="905"/>
                </a:lnTo>
                <a:lnTo>
                  <a:pt x="582" y="893"/>
                </a:lnTo>
                <a:lnTo>
                  <a:pt x="582" y="905"/>
                </a:lnTo>
                <a:lnTo>
                  <a:pt x="582" y="916"/>
                </a:lnTo>
                <a:lnTo>
                  <a:pt x="582" y="928"/>
                </a:lnTo>
                <a:lnTo>
                  <a:pt x="584" y="940"/>
                </a:lnTo>
                <a:lnTo>
                  <a:pt x="584" y="942"/>
                </a:lnTo>
                <a:lnTo>
                  <a:pt x="583" y="944"/>
                </a:lnTo>
                <a:close/>
                <a:moveTo>
                  <a:pt x="574" y="340"/>
                </a:moveTo>
                <a:lnTo>
                  <a:pt x="573" y="343"/>
                </a:lnTo>
                <a:lnTo>
                  <a:pt x="570" y="346"/>
                </a:lnTo>
                <a:lnTo>
                  <a:pt x="569" y="348"/>
                </a:lnTo>
                <a:lnTo>
                  <a:pt x="566" y="349"/>
                </a:lnTo>
                <a:lnTo>
                  <a:pt x="569" y="348"/>
                </a:lnTo>
                <a:lnTo>
                  <a:pt x="570" y="346"/>
                </a:lnTo>
                <a:lnTo>
                  <a:pt x="573" y="343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lnTo>
                  <a:pt x="574" y="340"/>
                </a:lnTo>
                <a:close/>
                <a:moveTo>
                  <a:pt x="538" y="645"/>
                </a:moveTo>
                <a:lnTo>
                  <a:pt x="534" y="641"/>
                </a:lnTo>
                <a:lnTo>
                  <a:pt x="532" y="639"/>
                </a:lnTo>
                <a:lnTo>
                  <a:pt x="534" y="641"/>
                </a:lnTo>
                <a:lnTo>
                  <a:pt x="538" y="645"/>
                </a:lnTo>
                <a:lnTo>
                  <a:pt x="538" y="645"/>
                </a:lnTo>
                <a:close/>
                <a:moveTo>
                  <a:pt x="522" y="221"/>
                </a:moveTo>
                <a:lnTo>
                  <a:pt x="522" y="223"/>
                </a:lnTo>
                <a:lnTo>
                  <a:pt x="522" y="224"/>
                </a:lnTo>
                <a:lnTo>
                  <a:pt x="522" y="223"/>
                </a:lnTo>
                <a:lnTo>
                  <a:pt x="522" y="221"/>
                </a:lnTo>
                <a:lnTo>
                  <a:pt x="525" y="221"/>
                </a:lnTo>
                <a:lnTo>
                  <a:pt x="527" y="222"/>
                </a:lnTo>
                <a:lnTo>
                  <a:pt x="525" y="221"/>
                </a:lnTo>
                <a:lnTo>
                  <a:pt x="522" y="221"/>
                </a:lnTo>
                <a:close/>
                <a:moveTo>
                  <a:pt x="522" y="1002"/>
                </a:moveTo>
                <a:lnTo>
                  <a:pt x="522" y="1002"/>
                </a:lnTo>
                <a:lnTo>
                  <a:pt x="521" y="1000"/>
                </a:lnTo>
                <a:lnTo>
                  <a:pt x="522" y="993"/>
                </a:lnTo>
                <a:lnTo>
                  <a:pt x="522" y="986"/>
                </a:lnTo>
                <a:lnTo>
                  <a:pt x="522" y="993"/>
                </a:lnTo>
                <a:lnTo>
                  <a:pt x="521" y="1000"/>
                </a:lnTo>
                <a:lnTo>
                  <a:pt x="522" y="1002"/>
                </a:lnTo>
                <a:lnTo>
                  <a:pt x="522" y="1002"/>
                </a:lnTo>
                <a:close/>
                <a:moveTo>
                  <a:pt x="512" y="213"/>
                </a:moveTo>
                <a:lnTo>
                  <a:pt x="514" y="213"/>
                </a:lnTo>
                <a:lnTo>
                  <a:pt x="517" y="213"/>
                </a:lnTo>
                <a:lnTo>
                  <a:pt x="515" y="209"/>
                </a:lnTo>
                <a:lnTo>
                  <a:pt x="515" y="207"/>
                </a:lnTo>
                <a:lnTo>
                  <a:pt x="515" y="209"/>
                </a:lnTo>
                <a:lnTo>
                  <a:pt x="517" y="213"/>
                </a:lnTo>
                <a:lnTo>
                  <a:pt x="514" y="213"/>
                </a:lnTo>
                <a:lnTo>
                  <a:pt x="512" y="213"/>
                </a:lnTo>
                <a:close/>
                <a:moveTo>
                  <a:pt x="765" y="158"/>
                </a:moveTo>
                <a:lnTo>
                  <a:pt x="763" y="160"/>
                </a:lnTo>
                <a:lnTo>
                  <a:pt x="763" y="161"/>
                </a:lnTo>
                <a:lnTo>
                  <a:pt x="763" y="160"/>
                </a:lnTo>
                <a:lnTo>
                  <a:pt x="765" y="158"/>
                </a:lnTo>
                <a:close/>
                <a:moveTo>
                  <a:pt x="767" y="193"/>
                </a:moveTo>
                <a:lnTo>
                  <a:pt x="768" y="195"/>
                </a:lnTo>
                <a:lnTo>
                  <a:pt x="769" y="196"/>
                </a:lnTo>
                <a:lnTo>
                  <a:pt x="768" y="195"/>
                </a:lnTo>
                <a:lnTo>
                  <a:pt x="767" y="193"/>
                </a:lnTo>
                <a:close/>
                <a:moveTo>
                  <a:pt x="768" y="173"/>
                </a:moveTo>
                <a:lnTo>
                  <a:pt x="768" y="177"/>
                </a:lnTo>
                <a:lnTo>
                  <a:pt x="768" y="179"/>
                </a:lnTo>
                <a:lnTo>
                  <a:pt x="768" y="180"/>
                </a:lnTo>
                <a:lnTo>
                  <a:pt x="769" y="181"/>
                </a:lnTo>
                <a:lnTo>
                  <a:pt x="768" y="180"/>
                </a:lnTo>
                <a:lnTo>
                  <a:pt x="768" y="179"/>
                </a:lnTo>
                <a:lnTo>
                  <a:pt x="768" y="177"/>
                </a:lnTo>
                <a:lnTo>
                  <a:pt x="768" y="173"/>
                </a:lnTo>
                <a:close/>
                <a:moveTo>
                  <a:pt x="779" y="208"/>
                </a:moveTo>
                <a:lnTo>
                  <a:pt x="777" y="209"/>
                </a:lnTo>
                <a:lnTo>
                  <a:pt x="775" y="210"/>
                </a:lnTo>
                <a:lnTo>
                  <a:pt x="777" y="209"/>
                </a:lnTo>
                <a:lnTo>
                  <a:pt x="779" y="208"/>
                </a:lnTo>
                <a:close/>
                <a:moveTo>
                  <a:pt x="787" y="160"/>
                </a:moveTo>
                <a:lnTo>
                  <a:pt x="788" y="160"/>
                </a:lnTo>
                <a:lnTo>
                  <a:pt x="788" y="161"/>
                </a:lnTo>
                <a:lnTo>
                  <a:pt x="788" y="160"/>
                </a:lnTo>
                <a:lnTo>
                  <a:pt x="787" y="160"/>
                </a:lnTo>
                <a:close/>
                <a:moveTo>
                  <a:pt x="795" y="203"/>
                </a:moveTo>
                <a:lnTo>
                  <a:pt x="795" y="203"/>
                </a:lnTo>
                <a:lnTo>
                  <a:pt x="793" y="207"/>
                </a:lnTo>
                <a:lnTo>
                  <a:pt x="790" y="210"/>
                </a:lnTo>
                <a:lnTo>
                  <a:pt x="793" y="207"/>
                </a:lnTo>
                <a:lnTo>
                  <a:pt x="795" y="203"/>
                </a:lnTo>
                <a:close/>
                <a:moveTo>
                  <a:pt x="877" y="474"/>
                </a:moveTo>
                <a:lnTo>
                  <a:pt x="872" y="472"/>
                </a:lnTo>
                <a:lnTo>
                  <a:pt x="867" y="471"/>
                </a:lnTo>
                <a:lnTo>
                  <a:pt x="872" y="472"/>
                </a:lnTo>
                <a:lnTo>
                  <a:pt x="877" y="474"/>
                </a:lnTo>
                <a:close/>
                <a:moveTo>
                  <a:pt x="879" y="146"/>
                </a:moveTo>
                <a:lnTo>
                  <a:pt x="874" y="144"/>
                </a:lnTo>
                <a:lnTo>
                  <a:pt x="870" y="143"/>
                </a:lnTo>
                <a:lnTo>
                  <a:pt x="864" y="144"/>
                </a:lnTo>
                <a:lnTo>
                  <a:pt x="859" y="145"/>
                </a:lnTo>
                <a:lnTo>
                  <a:pt x="859" y="145"/>
                </a:lnTo>
                <a:lnTo>
                  <a:pt x="864" y="144"/>
                </a:lnTo>
                <a:lnTo>
                  <a:pt x="870" y="143"/>
                </a:lnTo>
                <a:lnTo>
                  <a:pt x="874" y="144"/>
                </a:lnTo>
                <a:lnTo>
                  <a:pt x="879" y="146"/>
                </a:lnTo>
                <a:close/>
                <a:moveTo>
                  <a:pt x="471" y="1257"/>
                </a:moveTo>
                <a:lnTo>
                  <a:pt x="469" y="1258"/>
                </a:lnTo>
                <a:lnTo>
                  <a:pt x="468" y="1259"/>
                </a:lnTo>
                <a:lnTo>
                  <a:pt x="469" y="1258"/>
                </a:lnTo>
                <a:lnTo>
                  <a:pt x="471" y="1257"/>
                </a:lnTo>
                <a:close/>
                <a:moveTo>
                  <a:pt x="469" y="1175"/>
                </a:moveTo>
                <a:lnTo>
                  <a:pt x="470" y="1178"/>
                </a:lnTo>
                <a:lnTo>
                  <a:pt x="470" y="1179"/>
                </a:lnTo>
                <a:lnTo>
                  <a:pt x="470" y="1178"/>
                </a:lnTo>
                <a:lnTo>
                  <a:pt x="469" y="1175"/>
                </a:lnTo>
                <a:lnTo>
                  <a:pt x="469" y="1175"/>
                </a:lnTo>
                <a:close/>
                <a:moveTo>
                  <a:pt x="498" y="279"/>
                </a:moveTo>
                <a:lnTo>
                  <a:pt x="498" y="279"/>
                </a:lnTo>
                <a:lnTo>
                  <a:pt x="499" y="279"/>
                </a:lnTo>
                <a:lnTo>
                  <a:pt x="498" y="279"/>
                </a:lnTo>
                <a:lnTo>
                  <a:pt x="498" y="279"/>
                </a:lnTo>
                <a:close/>
                <a:moveTo>
                  <a:pt x="484" y="319"/>
                </a:moveTo>
                <a:lnTo>
                  <a:pt x="482" y="319"/>
                </a:lnTo>
                <a:lnTo>
                  <a:pt x="480" y="319"/>
                </a:lnTo>
                <a:lnTo>
                  <a:pt x="482" y="319"/>
                </a:lnTo>
                <a:lnTo>
                  <a:pt x="484" y="319"/>
                </a:lnTo>
                <a:lnTo>
                  <a:pt x="486" y="320"/>
                </a:lnTo>
                <a:lnTo>
                  <a:pt x="490" y="321"/>
                </a:lnTo>
                <a:lnTo>
                  <a:pt x="486" y="320"/>
                </a:lnTo>
                <a:lnTo>
                  <a:pt x="484" y="319"/>
                </a:lnTo>
                <a:close/>
                <a:moveTo>
                  <a:pt x="476" y="271"/>
                </a:moveTo>
                <a:lnTo>
                  <a:pt x="477" y="268"/>
                </a:lnTo>
                <a:lnTo>
                  <a:pt x="479" y="265"/>
                </a:lnTo>
                <a:lnTo>
                  <a:pt x="482" y="265"/>
                </a:lnTo>
                <a:lnTo>
                  <a:pt x="484" y="266"/>
                </a:lnTo>
                <a:lnTo>
                  <a:pt x="482" y="265"/>
                </a:lnTo>
                <a:lnTo>
                  <a:pt x="479" y="265"/>
                </a:lnTo>
                <a:lnTo>
                  <a:pt x="477" y="268"/>
                </a:lnTo>
                <a:lnTo>
                  <a:pt x="476" y="271"/>
                </a:lnTo>
                <a:close/>
                <a:moveTo>
                  <a:pt x="479" y="245"/>
                </a:moveTo>
                <a:lnTo>
                  <a:pt x="482" y="245"/>
                </a:lnTo>
                <a:lnTo>
                  <a:pt x="483" y="247"/>
                </a:lnTo>
                <a:lnTo>
                  <a:pt x="482" y="245"/>
                </a:lnTo>
                <a:lnTo>
                  <a:pt x="479" y="245"/>
                </a:lnTo>
                <a:lnTo>
                  <a:pt x="478" y="249"/>
                </a:lnTo>
                <a:lnTo>
                  <a:pt x="478" y="252"/>
                </a:lnTo>
                <a:lnTo>
                  <a:pt x="478" y="249"/>
                </a:lnTo>
                <a:lnTo>
                  <a:pt x="479" y="245"/>
                </a:lnTo>
                <a:close/>
                <a:moveTo>
                  <a:pt x="489" y="275"/>
                </a:moveTo>
                <a:lnTo>
                  <a:pt x="489" y="273"/>
                </a:lnTo>
                <a:lnTo>
                  <a:pt x="489" y="273"/>
                </a:lnTo>
                <a:lnTo>
                  <a:pt x="489" y="273"/>
                </a:lnTo>
                <a:lnTo>
                  <a:pt x="489" y="275"/>
                </a:lnTo>
                <a:close/>
                <a:moveTo>
                  <a:pt x="489" y="259"/>
                </a:moveTo>
                <a:lnTo>
                  <a:pt x="487" y="261"/>
                </a:lnTo>
                <a:lnTo>
                  <a:pt x="486" y="263"/>
                </a:lnTo>
                <a:lnTo>
                  <a:pt x="487" y="261"/>
                </a:lnTo>
                <a:lnTo>
                  <a:pt x="489" y="259"/>
                </a:lnTo>
                <a:close/>
                <a:moveTo>
                  <a:pt x="487" y="102"/>
                </a:move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lnTo>
                  <a:pt x="487" y="102"/>
                </a:lnTo>
                <a:close/>
                <a:moveTo>
                  <a:pt x="468" y="261"/>
                </a:moveTo>
                <a:lnTo>
                  <a:pt x="466" y="262"/>
                </a:lnTo>
                <a:lnTo>
                  <a:pt x="466" y="263"/>
                </a:lnTo>
                <a:lnTo>
                  <a:pt x="466" y="262"/>
                </a:lnTo>
                <a:lnTo>
                  <a:pt x="468" y="261"/>
                </a:lnTo>
                <a:lnTo>
                  <a:pt x="471" y="262"/>
                </a:lnTo>
                <a:lnTo>
                  <a:pt x="476" y="262"/>
                </a:lnTo>
                <a:lnTo>
                  <a:pt x="471" y="262"/>
                </a:lnTo>
                <a:lnTo>
                  <a:pt x="468" y="261"/>
                </a:lnTo>
                <a:close/>
                <a:moveTo>
                  <a:pt x="463" y="250"/>
                </a:moveTo>
                <a:lnTo>
                  <a:pt x="465" y="254"/>
                </a:lnTo>
                <a:lnTo>
                  <a:pt x="466" y="257"/>
                </a:lnTo>
                <a:lnTo>
                  <a:pt x="465" y="254"/>
                </a:lnTo>
                <a:lnTo>
                  <a:pt x="463" y="250"/>
                </a:lnTo>
                <a:close/>
                <a:moveTo>
                  <a:pt x="455" y="261"/>
                </a:moveTo>
                <a:lnTo>
                  <a:pt x="456" y="261"/>
                </a:lnTo>
                <a:lnTo>
                  <a:pt x="456" y="259"/>
                </a:lnTo>
                <a:lnTo>
                  <a:pt x="456" y="259"/>
                </a:lnTo>
                <a:lnTo>
                  <a:pt x="456" y="261"/>
                </a:lnTo>
                <a:lnTo>
                  <a:pt x="455" y="261"/>
                </a:lnTo>
                <a:close/>
                <a:moveTo>
                  <a:pt x="444" y="247"/>
                </a:moveTo>
                <a:lnTo>
                  <a:pt x="444" y="247"/>
                </a:lnTo>
                <a:lnTo>
                  <a:pt x="444" y="247"/>
                </a:lnTo>
                <a:lnTo>
                  <a:pt x="445" y="248"/>
                </a:lnTo>
                <a:lnTo>
                  <a:pt x="446" y="248"/>
                </a:lnTo>
                <a:lnTo>
                  <a:pt x="445" y="248"/>
                </a:lnTo>
                <a:lnTo>
                  <a:pt x="444" y="247"/>
                </a:lnTo>
                <a:close/>
                <a:moveTo>
                  <a:pt x="444" y="251"/>
                </a:move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1"/>
                </a:lnTo>
                <a:lnTo>
                  <a:pt x="444" y="252"/>
                </a:lnTo>
                <a:lnTo>
                  <a:pt x="444" y="251"/>
                </a:lnTo>
                <a:lnTo>
                  <a:pt x="444" y="251"/>
                </a:lnTo>
                <a:close/>
                <a:moveTo>
                  <a:pt x="439" y="237"/>
                </a:moveTo>
                <a:lnTo>
                  <a:pt x="438" y="237"/>
                </a:lnTo>
                <a:lnTo>
                  <a:pt x="437" y="237"/>
                </a:lnTo>
                <a:lnTo>
                  <a:pt x="438" y="237"/>
                </a:lnTo>
                <a:lnTo>
                  <a:pt x="439" y="237"/>
                </a:lnTo>
                <a:lnTo>
                  <a:pt x="439" y="236"/>
                </a:lnTo>
                <a:lnTo>
                  <a:pt x="438" y="235"/>
                </a:lnTo>
                <a:lnTo>
                  <a:pt x="439" y="236"/>
                </a:lnTo>
                <a:lnTo>
                  <a:pt x="439" y="237"/>
                </a:lnTo>
                <a:close/>
                <a:moveTo>
                  <a:pt x="424" y="294"/>
                </a:moveTo>
                <a:lnTo>
                  <a:pt x="423" y="294"/>
                </a:lnTo>
                <a:lnTo>
                  <a:pt x="422" y="294"/>
                </a:lnTo>
                <a:lnTo>
                  <a:pt x="423" y="294"/>
                </a:lnTo>
                <a:lnTo>
                  <a:pt x="424" y="294"/>
                </a:lnTo>
                <a:lnTo>
                  <a:pt x="424" y="292"/>
                </a:lnTo>
                <a:lnTo>
                  <a:pt x="424" y="289"/>
                </a:lnTo>
                <a:lnTo>
                  <a:pt x="424" y="289"/>
                </a:lnTo>
                <a:lnTo>
                  <a:pt x="424" y="292"/>
                </a:lnTo>
                <a:lnTo>
                  <a:pt x="424" y="294"/>
                </a:lnTo>
                <a:lnTo>
                  <a:pt x="425" y="296"/>
                </a:lnTo>
                <a:lnTo>
                  <a:pt x="427" y="296"/>
                </a:lnTo>
                <a:lnTo>
                  <a:pt x="425" y="296"/>
                </a:lnTo>
                <a:lnTo>
                  <a:pt x="424" y="294"/>
                </a:lnTo>
                <a:close/>
                <a:moveTo>
                  <a:pt x="422" y="290"/>
                </a:moveTo>
                <a:lnTo>
                  <a:pt x="422" y="290"/>
                </a:lnTo>
                <a:lnTo>
                  <a:pt x="421" y="290"/>
                </a:lnTo>
                <a:lnTo>
                  <a:pt x="422" y="290"/>
                </a:lnTo>
                <a:lnTo>
                  <a:pt x="422" y="290"/>
                </a:lnTo>
                <a:close/>
                <a:moveTo>
                  <a:pt x="421" y="290"/>
                </a:moveTo>
                <a:lnTo>
                  <a:pt x="413" y="290"/>
                </a:lnTo>
                <a:lnTo>
                  <a:pt x="404" y="291"/>
                </a:lnTo>
                <a:lnTo>
                  <a:pt x="413" y="290"/>
                </a:lnTo>
                <a:lnTo>
                  <a:pt x="421" y="290"/>
                </a:lnTo>
                <a:close/>
                <a:moveTo>
                  <a:pt x="400" y="229"/>
                </a:moveTo>
                <a:lnTo>
                  <a:pt x="399" y="228"/>
                </a:lnTo>
                <a:lnTo>
                  <a:pt x="399" y="228"/>
                </a:lnTo>
                <a:lnTo>
                  <a:pt x="399" y="228"/>
                </a:lnTo>
                <a:lnTo>
                  <a:pt x="400" y="229"/>
                </a:lnTo>
                <a:close/>
                <a:moveTo>
                  <a:pt x="397" y="237"/>
                </a:moveTo>
                <a:lnTo>
                  <a:pt x="399" y="238"/>
                </a:lnTo>
                <a:lnTo>
                  <a:pt x="399" y="241"/>
                </a:lnTo>
                <a:lnTo>
                  <a:pt x="399" y="238"/>
                </a:lnTo>
                <a:lnTo>
                  <a:pt x="397" y="237"/>
                </a:lnTo>
                <a:lnTo>
                  <a:pt x="400" y="234"/>
                </a:lnTo>
                <a:lnTo>
                  <a:pt x="400" y="229"/>
                </a:lnTo>
                <a:lnTo>
                  <a:pt x="400" y="234"/>
                </a:lnTo>
                <a:lnTo>
                  <a:pt x="397" y="237"/>
                </a:lnTo>
                <a:close/>
                <a:moveTo>
                  <a:pt x="410" y="257"/>
                </a:moveTo>
                <a:lnTo>
                  <a:pt x="410" y="257"/>
                </a:lnTo>
                <a:lnTo>
                  <a:pt x="410" y="257"/>
                </a:lnTo>
                <a:lnTo>
                  <a:pt x="410" y="257"/>
                </a:lnTo>
                <a:lnTo>
                  <a:pt x="408" y="256"/>
                </a:lnTo>
                <a:lnTo>
                  <a:pt x="407" y="255"/>
                </a:lnTo>
                <a:lnTo>
                  <a:pt x="408" y="256"/>
                </a:lnTo>
                <a:lnTo>
                  <a:pt x="410" y="257"/>
                </a:lnTo>
                <a:close/>
                <a:moveTo>
                  <a:pt x="416" y="266"/>
                </a:moveTo>
                <a:lnTo>
                  <a:pt x="415" y="263"/>
                </a:lnTo>
                <a:lnTo>
                  <a:pt x="415" y="261"/>
                </a:lnTo>
                <a:lnTo>
                  <a:pt x="415" y="263"/>
                </a:lnTo>
                <a:lnTo>
                  <a:pt x="416" y="266"/>
                </a:lnTo>
                <a:close/>
                <a:moveTo>
                  <a:pt x="420" y="256"/>
                </a:moveTo>
                <a:lnTo>
                  <a:pt x="420" y="257"/>
                </a:lnTo>
                <a:lnTo>
                  <a:pt x="420" y="257"/>
                </a:lnTo>
                <a:lnTo>
                  <a:pt x="420" y="257"/>
                </a:lnTo>
                <a:lnTo>
                  <a:pt x="420" y="256"/>
                </a:lnTo>
                <a:close/>
                <a:moveTo>
                  <a:pt x="418" y="254"/>
                </a:moveTo>
                <a:lnTo>
                  <a:pt x="420" y="252"/>
                </a:lnTo>
                <a:lnTo>
                  <a:pt x="421" y="251"/>
                </a:lnTo>
                <a:lnTo>
                  <a:pt x="420" y="252"/>
                </a:lnTo>
                <a:lnTo>
                  <a:pt x="418" y="254"/>
                </a:lnTo>
                <a:close/>
                <a:moveTo>
                  <a:pt x="422" y="249"/>
                </a:moveTo>
                <a:lnTo>
                  <a:pt x="422" y="249"/>
                </a:lnTo>
                <a:lnTo>
                  <a:pt x="420" y="248"/>
                </a:lnTo>
                <a:lnTo>
                  <a:pt x="418" y="247"/>
                </a:lnTo>
                <a:lnTo>
                  <a:pt x="420" y="248"/>
                </a:lnTo>
                <a:lnTo>
                  <a:pt x="422" y="249"/>
                </a:lnTo>
                <a:close/>
                <a:moveTo>
                  <a:pt x="379" y="237"/>
                </a:moveTo>
                <a:lnTo>
                  <a:pt x="376" y="237"/>
                </a:lnTo>
                <a:lnTo>
                  <a:pt x="374" y="236"/>
                </a:lnTo>
                <a:lnTo>
                  <a:pt x="376" y="237"/>
                </a:lnTo>
                <a:lnTo>
                  <a:pt x="379" y="237"/>
                </a:lnTo>
                <a:lnTo>
                  <a:pt x="379" y="241"/>
                </a:lnTo>
                <a:lnTo>
                  <a:pt x="380" y="242"/>
                </a:lnTo>
                <a:lnTo>
                  <a:pt x="379" y="241"/>
                </a:lnTo>
                <a:lnTo>
                  <a:pt x="379" y="237"/>
                </a:lnTo>
                <a:close/>
                <a:moveTo>
                  <a:pt x="351" y="222"/>
                </a:moveTo>
                <a:lnTo>
                  <a:pt x="352" y="222"/>
                </a:lnTo>
                <a:lnTo>
                  <a:pt x="352" y="223"/>
                </a:lnTo>
                <a:lnTo>
                  <a:pt x="352" y="222"/>
                </a:lnTo>
                <a:lnTo>
                  <a:pt x="351" y="222"/>
                </a:lnTo>
                <a:close/>
                <a:moveTo>
                  <a:pt x="345" y="226"/>
                </a:moveTo>
                <a:lnTo>
                  <a:pt x="347" y="226"/>
                </a:lnTo>
                <a:lnTo>
                  <a:pt x="348" y="226"/>
                </a:lnTo>
                <a:lnTo>
                  <a:pt x="347" y="226"/>
                </a:lnTo>
                <a:lnTo>
                  <a:pt x="345" y="226"/>
                </a:lnTo>
                <a:close/>
                <a:moveTo>
                  <a:pt x="325" y="164"/>
                </a:moveTo>
                <a:lnTo>
                  <a:pt x="325" y="164"/>
                </a:lnTo>
                <a:lnTo>
                  <a:pt x="325" y="164"/>
                </a:lnTo>
                <a:lnTo>
                  <a:pt x="325" y="164"/>
                </a:lnTo>
                <a:close/>
                <a:moveTo>
                  <a:pt x="306" y="150"/>
                </a:moveTo>
                <a:lnTo>
                  <a:pt x="307" y="150"/>
                </a:lnTo>
                <a:lnTo>
                  <a:pt x="307" y="149"/>
                </a:lnTo>
                <a:lnTo>
                  <a:pt x="307" y="147"/>
                </a:lnTo>
                <a:lnTo>
                  <a:pt x="306" y="146"/>
                </a:lnTo>
                <a:lnTo>
                  <a:pt x="307" y="147"/>
                </a:lnTo>
                <a:lnTo>
                  <a:pt x="307" y="149"/>
                </a:lnTo>
                <a:lnTo>
                  <a:pt x="307" y="150"/>
                </a:lnTo>
                <a:lnTo>
                  <a:pt x="306" y="150"/>
                </a:lnTo>
                <a:close/>
                <a:moveTo>
                  <a:pt x="282" y="320"/>
                </a:moveTo>
                <a:lnTo>
                  <a:pt x="268" y="324"/>
                </a:lnTo>
                <a:lnTo>
                  <a:pt x="254" y="327"/>
                </a:lnTo>
                <a:lnTo>
                  <a:pt x="241" y="331"/>
                </a:lnTo>
                <a:lnTo>
                  <a:pt x="227" y="335"/>
                </a:lnTo>
                <a:lnTo>
                  <a:pt x="209" y="340"/>
                </a:lnTo>
                <a:lnTo>
                  <a:pt x="192" y="346"/>
                </a:lnTo>
                <a:lnTo>
                  <a:pt x="185" y="347"/>
                </a:lnTo>
                <a:lnTo>
                  <a:pt x="178" y="347"/>
                </a:lnTo>
                <a:lnTo>
                  <a:pt x="169" y="346"/>
                </a:lnTo>
                <a:lnTo>
                  <a:pt x="162" y="343"/>
                </a:lnTo>
                <a:lnTo>
                  <a:pt x="154" y="341"/>
                </a:lnTo>
                <a:lnTo>
                  <a:pt x="146" y="339"/>
                </a:lnTo>
                <a:lnTo>
                  <a:pt x="137" y="339"/>
                </a:lnTo>
                <a:lnTo>
                  <a:pt x="128" y="339"/>
                </a:lnTo>
                <a:lnTo>
                  <a:pt x="119" y="341"/>
                </a:lnTo>
                <a:lnTo>
                  <a:pt x="110" y="340"/>
                </a:lnTo>
                <a:lnTo>
                  <a:pt x="118" y="334"/>
                </a:lnTo>
                <a:lnTo>
                  <a:pt x="127" y="328"/>
                </a:lnTo>
                <a:lnTo>
                  <a:pt x="132" y="327"/>
                </a:lnTo>
                <a:lnTo>
                  <a:pt x="137" y="326"/>
                </a:lnTo>
                <a:lnTo>
                  <a:pt x="142" y="325"/>
                </a:lnTo>
                <a:lnTo>
                  <a:pt x="148" y="326"/>
                </a:lnTo>
                <a:lnTo>
                  <a:pt x="154" y="327"/>
                </a:lnTo>
                <a:lnTo>
                  <a:pt x="161" y="327"/>
                </a:lnTo>
                <a:lnTo>
                  <a:pt x="167" y="326"/>
                </a:lnTo>
                <a:lnTo>
                  <a:pt x="173" y="327"/>
                </a:lnTo>
                <a:lnTo>
                  <a:pt x="179" y="328"/>
                </a:lnTo>
                <a:lnTo>
                  <a:pt x="183" y="332"/>
                </a:lnTo>
                <a:lnTo>
                  <a:pt x="190" y="334"/>
                </a:lnTo>
                <a:lnTo>
                  <a:pt x="196" y="336"/>
                </a:lnTo>
                <a:lnTo>
                  <a:pt x="199" y="336"/>
                </a:lnTo>
                <a:lnTo>
                  <a:pt x="202" y="335"/>
                </a:lnTo>
                <a:lnTo>
                  <a:pt x="204" y="334"/>
                </a:lnTo>
                <a:lnTo>
                  <a:pt x="208" y="332"/>
                </a:lnTo>
                <a:lnTo>
                  <a:pt x="211" y="332"/>
                </a:lnTo>
                <a:lnTo>
                  <a:pt x="216" y="332"/>
                </a:lnTo>
                <a:lnTo>
                  <a:pt x="220" y="331"/>
                </a:lnTo>
                <a:lnTo>
                  <a:pt x="223" y="329"/>
                </a:lnTo>
                <a:lnTo>
                  <a:pt x="230" y="326"/>
                </a:lnTo>
                <a:lnTo>
                  <a:pt x="238" y="324"/>
                </a:lnTo>
                <a:lnTo>
                  <a:pt x="255" y="322"/>
                </a:lnTo>
                <a:lnTo>
                  <a:pt x="272" y="320"/>
                </a:lnTo>
                <a:lnTo>
                  <a:pt x="289" y="317"/>
                </a:lnTo>
                <a:lnTo>
                  <a:pt x="305" y="313"/>
                </a:lnTo>
                <a:lnTo>
                  <a:pt x="306" y="313"/>
                </a:lnTo>
                <a:lnTo>
                  <a:pt x="307" y="313"/>
                </a:lnTo>
                <a:lnTo>
                  <a:pt x="294" y="318"/>
                </a:lnTo>
                <a:lnTo>
                  <a:pt x="282" y="320"/>
                </a:lnTo>
                <a:close/>
                <a:moveTo>
                  <a:pt x="168" y="152"/>
                </a:moveTo>
                <a:lnTo>
                  <a:pt x="171" y="153"/>
                </a:lnTo>
                <a:lnTo>
                  <a:pt x="173" y="154"/>
                </a:lnTo>
                <a:lnTo>
                  <a:pt x="171" y="153"/>
                </a:lnTo>
                <a:lnTo>
                  <a:pt x="168" y="152"/>
                </a:lnTo>
                <a:lnTo>
                  <a:pt x="167" y="154"/>
                </a:lnTo>
                <a:lnTo>
                  <a:pt x="167" y="157"/>
                </a:lnTo>
                <a:lnTo>
                  <a:pt x="167" y="154"/>
                </a:lnTo>
                <a:lnTo>
                  <a:pt x="168" y="152"/>
                </a:lnTo>
                <a:close/>
                <a:moveTo>
                  <a:pt x="188" y="129"/>
                </a:moveTo>
                <a:lnTo>
                  <a:pt x="186" y="130"/>
                </a:lnTo>
                <a:lnTo>
                  <a:pt x="183" y="131"/>
                </a:lnTo>
                <a:lnTo>
                  <a:pt x="186" y="130"/>
                </a:lnTo>
                <a:lnTo>
                  <a:pt x="188" y="129"/>
                </a:lnTo>
                <a:close/>
                <a:moveTo>
                  <a:pt x="194" y="128"/>
                </a:moveTo>
                <a:lnTo>
                  <a:pt x="192" y="128"/>
                </a:lnTo>
                <a:lnTo>
                  <a:pt x="189" y="129"/>
                </a:lnTo>
                <a:lnTo>
                  <a:pt x="192" y="128"/>
                </a:lnTo>
                <a:lnTo>
                  <a:pt x="194" y="128"/>
                </a:lnTo>
                <a:close/>
                <a:moveTo>
                  <a:pt x="210" y="128"/>
                </a:moveTo>
                <a:lnTo>
                  <a:pt x="207" y="128"/>
                </a:lnTo>
                <a:lnTo>
                  <a:pt x="203" y="129"/>
                </a:lnTo>
                <a:lnTo>
                  <a:pt x="207" y="128"/>
                </a:lnTo>
                <a:lnTo>
                  <a:pt x="210" y="128"/>
                </a:lnTo>
                <a:close/>
                <a:moveTo>
                  <a:pt x="214" y="142"/>
                </a:moveTo>
                <a:lnTo>
                  <a:pt x="217" y="142"/>
                </a:lnTo>
                <a:lnTo>
                  <a:pt x="222" y="142"/>
                </a:lnTo>
                <a:lnTo>
                  <a:pt x="217" y="142"/>
                </a:lnTo>
                <a:lnTo>
                  <a:pt x="214" y="142"/>
                </a:lnTo>
                <a:lnTo>
                  <a:pt x="211" y="140"/>
                </a:lnTo>
                <a:lnTo>
                  <a:pt x="209" y="138"/>
                </a:lnTo>
                <a:lnTo>
                  <a:pt x="211" y="140"/>
                </a:lnTo>
                <a:lnTo>
                  <a:pt x="214" y="142"/>
                </a:lnTo>
                <a:close/>
                <a:moveTo>
                  <a:pt x="218" y="129"/>
                </a:moveTo>
                <a:lnTo>
                  <a:pt x="222" y="126"/>
                </a:lnTo>
                <a:lnTo>
                  <a:pt x="225" y="124"/>
                </a:lnTo>
                <a:lnTo>
                  <a:pt x="222" y="126"/>
                </a:lnTo>
                <a:lnTo>
                  <a:pt x="218" y="129"/>
                </a:lnTo>
                <a:lnTo>
                  <a:pt x="218" y="129"/>
                </a:lnTo>
                <a:close/>
                <a:moveTo>
                  <a:pt x="224" y="140"/>
                </a:moveTo>
                <a:lnTo>
                  <a:pt x="224" y="140"/>
                </a:lnTo>
                <a:lnTo>
                  <a:pt x="225" y="142"/>
                </a:lnTo>
                <a:lnTo>
                  <a:pt x="224" y="140"/>
                </a:lnTo>
                <a:lnTo>
                  <a:pt x="224" y="140"/>
                </a:lnTo>
                <a:close/>
                <a:moveTo>
                  <a:pt x="229" y="230"/>
                </a:moveTo>
                <a:lnTo>
                  <a:pt x="223" y="227"/>
                </a:lnTo>
                <a:lnTo>
                  <a:pt x="218" y="223"/>
                </a:lnTo>
                <a:lnTo>
                  <a:pt x="218" y="223"/>
                </a:lnTo>
                <a:lnTo>
                  <a:pt x="223" y="227"/>
                </a:lnTo>
                <a:lnTo>
                  <a:pt x="229" y="230"/>
                </a:lnTo>
                <a:close/>
                <a:moveTo>
                  <a:pt x="238" y="178"/>
                </a:moveTo>
                <a:lnTo>
                  <a:pt x="249" y="182"/>
                </a:lnTo>
                <a:lnTo>
                  <a:pt x="258" y="187"/>
                </a:lnTo>
                <a:lnTo>
                  <a:pt x="261" y="191"/>
                </a:lnTo>
                <a:lnTo>
                  <a:pt x="263" y="193"/>
                </a:lnTo>
                <a:lnTo>
                  <a:pt x="264" y="196"/>
                </a:lnTo>
                <a:lnTo>
                  <a:pt x="265" y="200"/>
                </a:lnTo>
                <a:lnTo>
                  <a:pt x="265" y="202"/>
                </a:lnTo>
                <a:lnTo>
                  <a:pt x="264" y="202"/>
                </a:lnTo>
                <a:lnTo>
                  <a:pt x="262" y="202"/>
                </a:lnTo>
                <a:lnTo>
                  <a:pt x="261" y="203"/>
                </a:lnTo>
                <a:lnTo>
                  <a:pt x="255" y="203"/>
                </a:lnTo>
                <a:lnTo>
                  <a:pt x="249" y="201"/>
                </a:lnTo>
                <a:lnTo>
                  <a:pt x="244" y="199"/>
                </a:lnTo>
                <a:lnTo>
                  <a:pt x="238" y="198"/>
                </a:lnTo>
                <a:lnTo>
                  <a:pt x="232" y="195"/>
                </a:lnTo>
                <a:lnTo>
                  <a:pt x="225" y="193"/>
                </a:lnTo>
                <a:lnTo>
                  <a:pt x="220" y="189"/>
                </a:lnTo>
                <a:lnTo>
                  <a:pt x="213" y="186"/>
                </a:lnTo>
                <a:lnTo>
                  <a:pt x="210" y="182"/>
                </a:lnTo>
                <a:lnTo>
                  <a:pt x="209" y="178"/>
                </a:lnTo>
                <a:lnTo>
                  <a:pt x="209" y="174"/>
                </a:lnTo>
                <a:lnTo>
                  <a:pt x="210" y="171"/>
                </a:lnTo>
                <a:lnTo>
                  <a:pt x="213" y="170"/>
                </a:lnTo>
                <a:lnTo>
                  <a:pt x="214" y="168"/>
                </a:lnTo>
                <a:lnTo>
                  <a:pt x="215" y="168"/>
                </a:lnTo>
                <a:lnTo>
                  <a:pt x="216" y="170"/>
                </a:lnTo>
                <a:lnTo>
                  <a:pt x="218" y="171"/>
                </a:lnTo>
                <a:lnTo>
                  <a:pt x="222" y="173"/>
                </a:lnTo>
                <a:lnTo>
                  <a:pt x="220" y="178"/>
                </a:lnTo>
                <a:lnTo>
                  <a:pt x="221" y="181"/>
                </a:lnTo>
                <a:lnTo>
                  <a:pt x="222" y="182"/>
                </a:lnTo>
                <a:lnTo>
                  <a:pt x="225" y="182"/>
                </a:lnTo>
                <a:lnTo>
                  <a:pt x="229" y="182"/>
                </a:lnTo>
                <a:lnTo>
                  <a:pt x="232" y="181"/>
                </a:lnTo>
                <a:lnTo>
                  <a:pt x="236" y="180"/>
                </a:lnTo>
                <a:lnTo>
                  <a:pt x="238" y="178"/>
                </a:lnTo>
                <a:close/>
                <a:moveTo>
                  <a:pt x="277" y="139"/>
                </a:moveTo>
                <a:lnTo>
                  <a:pt x="277" y="137"/>
                </a:lnTo>
                <a:lnTo>
                  <a:pt x="277" y="136"/>
                </a:lnTo>
                <a:lnTo>
                  <a:pt x="277" y="137"/>
                </a:lnTo>
                <a:lnTo>
                  <a:pt x="277" y="139"/>
                </a:lnTo>
                <a:close/>
                <a:moveTo>
                  <a:pt x="284" y="150"/>
                </a:moveTo>
                <a:lnTo>
                  <a:pt x="282" y="149"/>
                </a:lnTo>
                <a:lnTo>
                  <a:pt x="280" y="146"/>
                </a:lnTo>
                <a:lnTo>
                  <a:pt x="282" y="149"/>
                </a:lnTo>
                <a:lnTo>
                  <a:pt x="284" y="150"/>
                </a:lnTo>
                <a:close/>
                <a:moveTo>
                  <a:pt x="287" y="132"/>
                </a:moveTo>
                <a:lnTo>
                  <a:pt x="289" y="132"/>
                </a:lnTo>
                <a:lnTo>
                  <a:pt x="290" y="131"/>
                </a:lnTo>
                <a:lnTo>
                  <a:pt x="289" y="132"/>
                </a:lnTo>
                <a:lnTo>
                  <a:pt x="287" y="132"/>
                </a:lnTo>
                <a:lnTo>
                  <a:pt x="287" y="135"/>
                </a:lnTo>
                <a:lnTo>
                  <a:pt x="286" y="137"/>
                </a:lnTo>
                <a:lnTo>
                  <a:pt x="287" y="135"/>
                </a:lnTo>
                <a:lnTo>
                  <a:pt x="287" y="132"/>
                </a:lnTo>
                <a:close/>
                <a:moveTo>
                  <a:pt x="56" y="209"/>
                </a:moveTo>
                <a:lnTo>
                  <a:pt x="56" y="209"/>
                </a:lnTo>
                <a:lnTo>
                  <a:pt x="56" y="208"/>
                </a:lnTo>
                <a:lnTo>
                  <a:pt x="57" y="208"/>
                </a:lnTo>
                <a:lnTo>
                  <a:pt x="56" y="208"/>
                </a:lnTo>
                <a:lnTo>
                  <a:pt x="56" y="209"/>
                </a:lnTo>
                <a:close/>
                <a:moveTo>
                  <a:pt x="54" y="213"/>
                </a:moveTo>
                <a:lnTo>
                  <a:pt x="55" y="212"/>
                </a:lnTo>
                <a:lnTo>
                  <a:pt x="56" y="212"/>
                </a:lnTo>
                <a:lnTo>
                  <a:pt x="55" y="212"/>
                </a:lnTo>
                <a:lnTo>
                  <a:pt x="54" y="213"/>
                </a:lnTo>
                <a:close/>
                <a:moveTo>
                  <a:pt x="49" y="215"/>
                </a:moveTo>
                <a:lnTo>
                  <a:pt x="51" y="214"/>
                </a:lnTo>
                <a:lnTo>
                  <a:pt x="54" y="212"/>
                </a:lnTo>
                <a:lnTo>
                  <a:pt x="51" y="214"/>
                </a:lnTo>
                <a:lnTo>
                  <a:pt x="49" y="215"/>
                </a:lnTo>
                <a:close/>
                <a:moveTo>
                  <a:pt x="48" y="217"/>
                </a:moveTo>
                <a:lnTo>
                  <a:pt x="49" y="217"/>
                </a:lnTo>
                <a:lnTo>
                  <a:pt x="49" y="216"/>
                </a:lnTo>
                <a:lnTo>
                  <a:pt x="49" y="217"/>
                </a:lnTo>
                <a:lnTo>
                  <a:pt x="48" y="217"/>
                </a:lnTo>
                <a:close/>
                <a:moveTo>
                  <a:pt x="1970" y="991"/>
                </a:moveTo>
                <a:lnTo>
                  <a:pt x="1957" y="982"/>
                </a:lnTo>
                <a:lnTo>
                  <a:pt x="1943" y="974"/>
                </a:lnTo>
                <a:lnTo>
                  <a:pt x="1930" y="965"/>
                </a:lnTo>
                <a:lnTo>
                  <a:pt x="1916" y="958"/>
                </a:lnTo>
                <a:lnTo>
                  <a:pt x="1914" y="955"/>
                </a:lnTo>
                <a:lnTo>
                  <a:pt x="1912" y="954"/>
                </a:lnTo>
                <a:lnTo>
                  <a:pt x="1899" y="947"/>
                </a:lnTo>
                <a:lnTo>
                  <a:pt x="1887" y="939"/>
                </a:lnTo>
                <a:lnTo>
                  <a:pt x="1887" y="937"/>
                </a:lnTo>
                <a:lnTo>
                  <a:pt x="1886" y="937"/>
                </a:lnTo>
                <a:lnTo>
                  <a:pt x="1886" y="936"/>
                </a:lnTo>
                <a:lnTo>
                  <a:pt x="1886" y="935"/>
                </a:lnTo>
                <a:lnTo>
                  <a:pt x="1885" y="936"/>
                </a:lnTo>
                <a:lnTo>
                  <a:pt x="1884" y="936"/>
                </a:lnTo>
                <a:lnTo>
                  <a:pt x="1882" y="936"/>
                </a:lnTo>
                <a:lnTo>
                  <a:pt x="1881" y="936"/>
                </a:lnTo>
                <a:lnTo>
                  <a:pt x="1879" y="935"/>
                </a:lnTo>
                <a:lnTo>
                  <a:pt x="1874" y="934"/>
                </a:lnTo>
                <a:lnTo>
                  <a:pt x="1863" y="928"/>
                </a:lnTo>
                <a:lnTo>
                  <a:pt x="1851" y="922"/>
                </a:lnTo>
                <a:lnTo>
                  <a:pt x="1833" y="915"/>
                </a:lnTo>
                <a:lnTo>
                  <a:pt x="1816" y="908"/>
                </a:lnTo>
                <a:lnTo>
                  <a:pt x="1798" y="901"/>
                </a:lnTo>
                <a:lnTo>
                  <a:pt x="1782" y="894"/>
                </a:lnTo>
                <a:lnTo>
                  <a:pt x="1762" y="887"/>
                </a:lnTo>
                <a:lnTo>
                  <a:pt x="1742" y="880"/>
                </a:lnTo>
                <a:lnTo>
                  <a:pt x="1722" y="873"/>
                </a:lnTo>
                <a:lnTo>
                  <a:pt x="1702" y="866"/>
                </a:lnTo>
                <a:lnTo>
                  <a:pt x="1685" y="859"/>
                </a:lnTo>
                <a:lnTo>
                  <a:pt x="1667" y="855"/>
                </a:lnTo>
                <a:lnTo>
                  <a:pt x="1667" y="855"/>
                </a:lnTo>
                <a:lnTo>
                  <a:pt x="1654" y="849"/>
                </a:lnTo>
                <a:lnTo>
                  <a:pt x="1640" y="842"/>
                </a:lnTo>
                <a:lnTo>
                  <a:pt x="1626" y="835"/>
                </a:lnTo>
                <a:lnTo>
                  <a:pt x="1614" y="829"/>
                </a:lnTo>
                <a:lnTo>
                  <a:pt x="1612" y="828"/>
                </a:lnTo>
                <a:lnTo>
                  <a:pt x="1611" y="828"/>
                </a:lnTo>
                <a:lnTo>
                  <a:pt x="1610" y="827"/>
                </a:lnTo>
                <a:lnTo>
                  <a:pt x="1609" y="827"/>
                </a:lnTo>
                <a:lnTo>
                  <a:pt x="1597" y="821"/>
                </a:lnTo>
                <a:lnTo>
                  <a:pt x="1585" y="816"/>
                </a:lnTo>
                <a:lnTo>
                  <a:pt x="1573" y="810"/>
                </a:lnTo>
                <a:lnTo>
                  <a:pt x="1561" y="806"/>
                </a:lnTo>
                <a:lnTo>
                  <a:pt x="1548" y="800"/>
                </a:lnTo>
                <a:lnTo>
                  <a:pt x="1536" y="794"/>
                </a:lnTo>
                <a:lnTo>
                  <a:pt x="1520" y="783"/>
                </a:lnTo>
                <a:lnTo>
                  <a:pt x="1504" y="773"/>
                </a:lnTo>
                <a:lnTo>
                  <a:pt x="1487" y="762"/>
                </a:lnTo>
                <a:lnTo>
                  <a:pt x="1472" y="752"/>
                </a:lnTo>
                <a:lnTo>
                  <a:pt x="1458" y="743"/>
                </a:lnTo>
                <a:lnTo>
                  <a:pt x="1444" y="732"/>
                </a:lnTo>
                <a:lnTo>
                  <a:pt x="1431" y="722"/>
                </a:lnTo>
                <a:lnTo>
                  <a:pt x="1421" y="709"/>
                </a:lnTo>
                <a:lnTo>
                  <a:pt x="1409" y="696"/>
                </a:lnTo>
                <a:lnTo>
                  <a:pt x="1398" y="683"/>
                </a:lnTo>
                <a:lnTo>
                  <a:pt x="1397" y="683"/>
                </a:lnTo>
                <a:lnTo>
                  <a:pt x="1396" y="684"/>
                </a:lnTo>
                <a:lnTo>
                  <a:pt x="1397" y="683"/>
                </a:lnTo>
                <a:lnTo>
                  <a:pt x="1398" y="683"/>
                </a:lnTo>
                <a:lnTo>
                  <a:pt x="1389" y="673"/>
                </a:lnTo>
                <a:lnTo>
                  <a:pt x="1378" y="661"/>
                </a:lnTo>
                <a:lnTo>
                  <a:pt x="1380" y="668"/>
                </a:lnTo>
                <a:lnTo>
                  <a:pt x="1382" y="674"/>
                </a:lnTo>
                <a:lnTo>
                  <a:pt x="1387" y="681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8" y="689"/>
                </a:lnTo>
                <a:lnTo>
                  <a:pt x="1385" y="691"/>
                </a:lnTo>
                <a:lnTo>
                  <a:pt x="1382" y="692"/>
                </a:lnTo>
                <a:lnTo>
                  <a:pt x="1380" y="691"/>
                </a:lnTo>
                <a:lnTo>
                  <a:pt x="1377" y="688"/>
                </a:lnTo>
                <a:lnTo>
                  <a:pt x="1376" y="687"/>
                </a:lnTo>
                <a:lnTo>
                  <a:pt x="1375" y="685"/>
                </a:lnTo>
                <a:lnTo>
                  <a:pt x="1374" y="684"/>
                </a:lnTo>
                <a:lnTo>
                  <a:pt x="1373" y="683"/>
                </a:lnTo>
                <a:lnTo>
                  <a:pt x="1371" y="682"/>
                </a:lnTo>
                <a:lnTo>
                  <a:pt x="1369" y="683"/>
                </a:lnTo>
                <a:lnTo>
                  <a:pt x="1369" y="684"/>
                </a:lnTo>
                <a:lnTo>
                  <a:pt x="1369" y="685"/>
                </a:lnTo>
                <a:lnTo>
                  <a:pt x="1370" y="687"/>
                </a:lnTo>
                <a:lnTo>
                  <a:pt x="1371" y="688"/>
                </a:lnTo>
                <a:lnTo>
                  <a:pt x="1373" y="689"/>
                </a:lnTo>
                <a:lnTo>
                  <a:pt x="1373" y="690"/>
                </a:lnTo>
                <a:lnTo>
                  <a:pt x="1373" y="691"/>
                </a:lnTo>
                <a:lnTo>
                  <a:pt x="1371" y="692"/>
                </a:lnTo>
                <a:lnTo>
                  <a:pt x="1369" y="692"/>
                </a:lnTo>
                <a:lnTo>
                  <a:pt x="1368" y="691"/>
                </a:lnTo>
                <a:lnTo>
                  <a:pt x="1360" y="682"/>
                </a:lnTo>
                <a:lnTo>
                  <a:pt x="1354" y="673"/>
                </a:lnTo>
                <a:lnTo>
                  <a:pt x="1353" y="670"/>
                </a:lnTo>
                <a:lnTo>
                  <a:pt x="1352" y="669"/>
                </a:lnTo>
                <a:lnTo>
                  <a:pt x="1349" y="668"/>
                </a:lnTo>
                <a:lnTo>
                  <a:pt x="1347" y="667"/>
                </a:lnTo>
                <a:lnTo>
                  <a:pt x="1347" y="666"/>
                </a:lnTo>
                <a:lnTo>
                  <a:pt x="1347" y="664"/>
                </a:lnTo>
                <a:lnTo>
                  <a:pt x="1348" y="662"/>
                </a:lnTo>
                <a:lnTo>
                  <a:pt x="1349" y="661"/>
                </a:lnTo>
                <a:lnTo>
                  <a:pt x="1349" y="646"/>
                </a:lnTo>
                <a:lnTo>
                  <a:pt x="1350" y="632"/>
                </a:lnTo>
                <a:lnTo>
                  <a:pt x="1350" y="628"/>
                </a:lnTo>
                <a:lnTo>
                  <a:pt x="1352" y="626"/>
                </a:lnTo>
                <a:lnTo>
                  <a:pt x="1355" y="625"/>
                </a:lnTo>
                <a:lnTo>
                  <a:pt x="1355" y="622"/>
                </a:lnTo>
                <a:lnTo>
                  <a:pt x="1355" y="620"/>
                </a:lnTo>
                <a:lnTo>
                  <a:pt x="1354" y="618"/>
                </a:lnTo>
                <a:lnTo>
                  <a:pt x="1348" y="604"/>
                </a:lnTo>
                <a:lnTo>
                  <a:pt x="1343" y="590"/>
                </a:lnTo>
                <a:lnTo>
                  <a:pt x="1338" y="576"/>
                </a:lnTo>
                <a:lnTo>
                  <a:pt x="1333" y="562"/>
                </a:lnTo>
                <a:lnTo>
                  <a:pt x="1326" y="550"/>
                </a:lnTo>
                <a:lnTo>
                  <a:pt x="1318" y="537"/>
                </a:lnTo>
                <a:lnTo>
                  <a:pt x="1313" y="531"/>
                </a:lnTo>
                <a:lnTo>
                  <a:pt x="1307" y="524"/>
                </a:lnTo>
                <a:lnTo>
                  <a:pt x="1306" y="522"/>
                </a:lnTo>
                <a:lnTo>
                  <a:pt x="1306" y="520"/>
                </a:lnTo>
                <a:lnTo>
                  <a:pt x="1309" y="517"/>
                </a:lnTo>
                <a:lnTo>
                  <a:pt x="1312" y="517"/>
                </a:lnTo>
                <a:lnTo>
                  <a:pt x="1325" y="521"/>
                </a:lnTo>
                <a:lnTo>
                  <a:pt x="1338" y="525"/>
                </a:lnTo>
                <a:lnTo>
                  <a:pt x="1341" y="527"/>
                </a:lnTo>
                <a:lnTo>
                  <a:pt x="1343" y="525"/>
                </a:lnTo>
                <a:lnTo>
                  <a:pt x="1343" y="524"/>
                </a:lnTo>
                <a:lnTo>
                  <a:pt x="1343" y="523"/>
                </a:lnTo>
                <a:lnTo>
                  <a:pt x="1342" y="522"/>
                </a:lnTo>
                <a:lnTo>
                  <a:pt x="1341" y="522"/>
                </a:lnTo>
                <a:lnTo>
                  <a:pt x="1333" y="517"/>
                </a:lnTo>
                <a:lnTo>
                  <a:pt x="1327" y="513"/>
                </a:lnTo>
                <a:lnTo>
                  <a:pt x="1322" y="506"/>
                </a:lnTo>
                <a:lnTo>
                  <a:pt x="1318" y="500"/>
                </a:lnTo>
                <a:lnTo>
                  <a:pt x="1312" y="490"/>
                </a:lnTo>
                <a:lnTo>
                  <a:pt x="1305" y="482"/>
                </a:lnTo>
                <a:lnTo>
                  <a:pt x="1294" y="474"/>
                </a:lnTo>
                <a:lnTo>
                  <a:pt x="1284" y="466"/>
                </a:lnTo>
                <a:lnTo>
                  <a:pt x="1281" y="464"/>
                </a:lnTo>
                <a:lnTo>
                  <a:pt x="1278" y="461"/>
                </a:lnTo>
                <a:lnTo>
                  <a:pt x="1278" y="460"/>
                </a:lnTo>
                <a:lnTo>
                  <a:pt x="1277" y="458"/>
                </a:lnTo>
                <a:lnTo>
                  <a:pt x="1278" y="457"/>
                </a:lnTo>
                <a:lnTo>
                  <a:pt x="1280" y="454"/>
                </a:lnTo>
                <a:lnTo>
                  <a:pt x="1279" y="453"/>
                </a:lnTo>
                <a:lnTo>
                  <a:pt x="1279" y="452"/>
                </a:lnTo>
                <a:lnTo>
                  <a:pt x="1271" y="444"/>
                </a:lnTo>
                <a:lnTo>
                  <a:pt x="1262" y="437"/>
                </a:lnTo>
                <a:lnTo>
                  <a:pt x="1257" y="436"/>
                </a:lnTo>
                <a:lnTo>
                  <a:pt x="1252" y="433"/>
                </a:lnTo>
                <a:lnTo>
                  <a:pt x="1249" y="430"/>
                </a:lnTo>
                <a:lnTo>
                  <a:pt x="1245" y="427"/>
                </a:lnTo>
                <a:lnTo>
                  <a:pt x="1238" y="420"/>
                </a:lnTo>
                <a:lnTo>
                  <a:pt x="1231" y="412"/>
                </a:lnTo>
                <a:lnTo>
                  <a:pt x="1229" y="411"/>
                </a:lnTo>
                <a:lnTo>
                  <a:pt x="1226" y="409"/>
                </a:lnTo>
                <a:lnTo>
                  <a:pt x="1225" y="406"/>
                </a:lnTo>
                <a:lnTo>
                  <a:pt x="1225" y="403"/>
                </a:lnTo>
                <a:lnTo>
                  <a:pt x="1238" y="406"/>
                </a:lnTo>
                <a:lnTo>
                  <a:pt x="1251" y="412"/>
                </a:lnTo>
                <a:lnTo>
                  <a:pt x="1263" y="418"/>
                </a:lnTo>
                <a:lnTo>
                  <a:pt x="1273" y="426"/>
                </a:lnTo>
                <a:lnTo>
                  <a:pt x="1274" y="427"/>
                </a:lnTo>
                <a:lnTo>
                  <a:pt x="1277" y="427"/>
                </a:lnTo>
                <a:lnTo>
                  <a:pt x="1278" y="429"/>
                </a:lnTo>
                <a:lnTo>
                  <a:pt x="1279" y="427"/>
                </a:lnTo>
                <a:lnTo>
                  <a:pt x="1280" y="425"/>
                </a:lnTo>
                <a:lnTo>
                  <a:pt x="1279" y="424"/>
                </a:lnTo>
                <a:lnTo>
                  <a:pt x="1278" y="423"/>
                </a:lnTo>
                <a:lnTo>
                  <a:pt x="1277" y="422"/>
                </a:lnTo>
                <a:lnTo>
                  <a:pt x="1262" y="408"/>
                </a:lnTo>
                <a:lnTo>
                  <a:pt x="1246" y="395"/>
                </a:lnTo>
                <a:lnTo>
                  <a:pt x="1242" y="394"/>
                </a:lnTo>
                <a:lnTo>
                  <a:pt x="1239" y="391"/>
                </a:lnTo>
                <a:lnTo>
                  <a:pt x="1237" y="390"/>
                </a:lnTo>
                <a:lnTo>
                  <a:pt x="1237" y="389"/>
                </a:lnTo>
                <a:lnTo>
                  <a:pt x="1236" y="388"/>
                </a:lnTo>
                <a:lnTo>
                  <a:pt x="1237" y="385"/>
                </a:lnTo>
                <a:lnTo>
                  <a:pt x="1238" y="384"/>
                </a:lnTo>
                <a:lnTo>
                  <a:pt x="1239" y="384"/>
                </a:lnTo>
                <a:lnTo>
                  <a:pt x="1240" y="384"/>
                </a:lnTo>
                <a:lnTo>
                  <a:pt x="1243" y="385"/>
                </a:lnTo>
                <a:lnTo>
                  <a:pt x="1248" y="389"/>
                </a:lnTo>
                <a:lnTo>
                  <a:pt x="1253" y="391"/>
                </a:lnTo>
                <a:lnTo>
                  <a:pt x="1256" y="392"/>
                </a:lnTo>
                <a:lnTo>
                  <a:pt x="1257" y="394"/>
                </a:lnTo>
                <a:lnTo>
                  <a:pt x="1258" y="394"/>
                </a:lnTo>
                <a:lnTo>
                  <a:pt x="1260" y="392"/>
                </a:lnTo>
                <a:lnTo>
                  <a:pt x="1260" y="389"/>
                </a:lnTo>
                <a:lnTo>
                  <a:pt x="1258" y="385"/>
                </a:lnTo>
                <a:lnTo>
                  <a:pt x="1252" y="378"/>
                </a:lnTo>
                <a:lnTo>
                  <a:pt x="1244" y="374"/>
                </a:lnTo>
                <a:lnTo>
                  <a:pt x="1237" y="369"/>
                </a:lnTo>
                <a:lnTo>
                  <a:pt x="1229" y="364"/>
                </a:lnTo>
                <a:lnTo>
                  <a:pt x="1212" y="356"/>
                </a:lnTo>
                <a:lnTo>
                  <a:pt x="1195" y="348"/>
                </a:lnTo>
                <a:lnTo>
                  <a:pt x="1187" y="343"/>
                </a:lnTo>
                <a:lnTo>
                  <a:pt x="1180" y="339"/>
                </a:lnTo>
                <a:lnTo>
                  <a:pt x="1174" y="332"/>
                </a:lnTo>
                <a:lnTo>
                  <a:pt x="1169" y="325"/>
                </a:lnTo>
                <a:lnTo>
                  <a:pt x="1167" y="322"/>
                </a:lnTo>
                <a:lnTo>
                  <a:pt x="1163" y="320"/>
                </a:lnTo>
                <a:lnTo>
                  <a:pt x="1161" y="319"/>
                </a:lnTo>
                <a:lnTo>
                  <a:pt x="1160" y="318"/>
                </a:lnTo>
                <a:lnTo>
                  <a:pt x="1160" y="317"/>
                </a:lnTo>
                <a:lnTo>
                  <a:pt x="1162" y="314"/>
                </a:lnTo>
                <a:lnTo>
                  <a:pt x="1164" y="312"/>
                </a:lnTo>
                <a:lnTo>
                  <a:pt x="1166" y="310"/>
                </a:lnTo>
                <a:lnTo>
                  <a:pt x="1167" y="307"/>
                </a:lnTo>
                <a:lnTo>
                  <a:pt x="1167" y="304"/>
                </a:lnTo>
                <a:lnTo>
                  <a:pt x="1159" y="312"/>
                </a:lnTo>
                <a:lnTo>
                  <a:pt x="1150" y="318"/>
                </a:lnTo>
                <a:lnTo>
                  <a:pt x="1148" y="319"/>
                </a:lnTo>
                <a:lnTo>
                  <a:pt x="1146" y="319"/>
                </a:lnTo>
                <a:lnTo>
                  <a:pt x="1145" y="318"/>
                </a:lnTo>
                <a:lnTo>
                  <a:pt x="1143" y="315"/>
                </a:lnTo>
                <a:lnTo>
                  <a:pt x="1142" y="314"/>
                </a:lnTo>
                <a:lnTo>
                  <a:pt x="1143" y="312"/>
                </a:lnTo>
                <a:lnTo>
                  <a:pt x="1145" y="311"/>
                </a:lnTo>
                <a:lnTo>
                  <a:pt x="1146" y="310"/>
                </a:lnTo>
                <a:lnTo>
                  <a:pt x="1149" y="307"/>
                </a:lnTo>
                <a:lnTo>
                  <a:pt x="1153" y="304"/>
                </a:lnTo>
                <a:lnTo>
                  <a:pt x="1155" y="303"/>
                </a:lnTo>
                <a:lnTo>
                  <a:pt x="1156" y="301"/>
                </a:lnTo>
                <a:lnTo>
                  <a:pt x="1157" y="299"/>
                </a:lnTo>
                <a:lnTo>
                  <a:pt x="1156" y="297"/>
                </a:lnTo>
                <a:lnTo>
                  <a:pt x="1154" y="294"/>
                </a:lnTo>
                <a:lnTo>
                  <a:pt x="1152" y="294"/>
                </a:lnTo>
                <a:lnTo>
                  <a:pt x="1149" y="294"/>
                </a:lnTo>
                <a:lnTo>
                  <a:pt x="1147" y="296"/>
                </a:lnTo>
                <a:lnTo>
                  <a:pt x="1145" y="297"/>
                </a:lnTo>
                <a:lnTo>
                  <a:pt x="1141" y="298"/>
                </a:lnTo>
                <a:lnTo>
                  <a:pt x="1138" y="299"/>
                </a:lnTo>
                <a:lnTo>
                  <a:pt x="1133" y="300"/>
                </a:lnTo>
                <a:lnTo>
                  <a:pt x="1131" y="299"/>
                </a:lnTo>
                <a:lnTo>
                  <a:pt x="1128" y="299"/>
                </a:lnTo>
                <a:lnTo>
                  <a:pt x="1127" y="298"/>
                </a:lnTo>
                <a:lnTo>
                  <a:pt x="1126" y="296"/>
                </a:lnTo>
                <a:lnTo>
                  <a:pt x="1121" y="291"/>
                </a:lnTo>
                <a:lnTo>
                  <a:pt x="1117" y="289"/>
                </a:lnTo>
                <a:lnTo>
                  <a:pt x="1112" y="287"/>
                </a:lnTo>
                <a:lnTo>
                  <a:pt x="1107" y="286"/>
                </a:lnTo>
                <a:lnTo>
                  <a:pt x="1101" y="284"/>
                </a:lnTo>
                <a:lnTo>
                  <a:pt x="1095" y="283"/>
                </a:lnTo>
                <a:lnTo>
                  <a:pt x="1090" y="280"/>
                </a:lnTo>
                <a:lnTo>
                  <a:pt x="1086" y="277"/>
                </a:lnTo>
                <a:lnTo>
                  <a:pt x="1081" y="272"/>
                </a:lnTo>
                <a:lnTo>
                  <a:pt x="1077" y="269"/>
                </a:lnTo>
                <a:lnTo>
                  <a:pt x="1071" y="266"/>
                </a:lnTo>
                <a:lnTo>
                  <a:pt x="1065" y="265"/>
                </a:lnTo>
                <a:lnTo>
                  <a:pt x="1060" y="265"/>
                </a:lnTo>
                <a:lnTo>
                  <a:pt x="1057" y="265"/>
                </a:lnTo>
                <a:lnTo>
                  <a:pt x="1048" y="268"/>
                </a:lnTo>
                <a:lnTo>
                  <a:pt x="1038" y="268"/>
                </a:lnTo>
                <a:lnTo>
                  <a:pt x="1029" y="266"/>
                </a:lnTo>
                <a:lnTo>
                  <a:pt x="1021" y="265"/>
                </a:lnTo>
                <a:lnTo>
                  <a:pt x="1011" y="264"/>
                </a:lnTo>
                <a:lnTo>
                  <a:pt x="1002" y="262"/>
                </a:lnTo>
                <a:lnTo>
                  <a:pt x="1000" y="262"/>
                </a:lnTo>
                <a:lnTo>
                  <a:pt x="998" y="262"/>
                </a:lnTo>
                <a:lnTo>
                  <a:pt x="997" y="264"/>
                </a:lnTo>
                <a:lnTo>
                  <a:pt x="998" y="266"/>
                </a:lnTo>
                <a:lnTo>
                  <a:pt x="1000" y="271"/>
                </a:lnTo>
                <a:lnTo>
                  <a:pt x="998" y="275"/>
                </a:lnTo>
                <a:lnTo>
                  <a:pt x="998" y="276"/>
                </a:lnTo>
                <a:lnTo>
                  <a:pt x="997" y="277"/>
                </a:lnTo>
                <a:lnTo>
                  <a:pt x="996" y="278"/>
                </a:lnTo>
                <a:lnTo>
                  <a:pt x="994" y="279"/>
                </a:lnTo>
                <a:lnTo>
                  <a:pt x="989" y="279"/>
                </a:lnTo>
                <a:lnTo>
                  <a:pt x="984" y="280"/>
                </a:lnTo>
                <a:lnTo>
                  <a:pt x="980" y="279"/>
                </a:lnTo>
                <a:lnTo>
                  <a:pt x="975" y="278"/>
                </a:lnTo>
                <a:lnTo>
                  <a:pt x="973" y="277"/>
                </a:lnTo>
                <a:lnTo>
                  <a:pt x="970" y="278"/>
                </a:lnTo>
                <a:lnTo>
                  <a:pt x="968" y="280"/>
                </a:lnTo>
                <a:lnTo>
                  <a:pt x="965" y="282"/>
                </a:lnTo>
                <a:lnTo>
                  <a:pt x="961" y="282"/>
                </a:lnTo>
                <a:lnTo>
                  <a:pt x="957" y="282"/>
                </a:lnTo>
                <a:lnTo>
                  <a:pt x="950" y="282"/>
                </a:lnTo>
                <a:lnTo>
                  <a:pt x="942" y="282"/>
                </a:lnTo>
                <a:lnTo>
                  <a:pt x="932" y="285"/>
                </a:lnTo>
                <a:lnTo>
                  <a:pt x="920" y="287"/>
                </a:lnTo>
                <a:lnTo>
                  <a:pt x="918" y="287"/>
                </a:lnTo>
                <a:lnTo>
                  <a:pt x="915" y="286"/>
                </a:lnTo>
                <a:lnTo>
                  <a:pt x="915" y="284"/>
                </a:lnTo>
                <a:lnTo>
                  <a:pt x="917" y="282"/>
                </a:lnTo>
                <a:lnTo>
                  <a:pt x="919" y="279"/>
                </a:lnTo>
                <a:lnTo>
                  <a:pt x="921" y="278"/>
                </a:lnTo>
                <a:lnTo>
                  <a:pt x="924" y="277"/>
                </a:lnTo>
                <a:lnTo>
                  <a:pt x="926" y="276"/>
                </a:lnTo>
                <a:lnTo>
                  <a:pt x="935" y="277"/>
                </a:lnTo>
                <a:lnTo>
                  <a:pt x="943" y="277"/>
                </a:lnTo>
                <a:lnTo>
                  <a:pt x="948" y="276"/>
                </a:lnTo>
                <a:lnTo>
                  <a:pt x="953" y="273"/>
                </a:lnTo>
                <a:lnTo>
                  <a:pt x="955" y="270"/>
                </a:lnTo>
                <a:lnTo>
                  <a:pt x="957" y="268"/>
                </a:lnTo>
                <a:lnTo>
                  <a:pt x="959" y="268"/>
                </a:lnTo>
                <a:lnTo>
                  <a:pt x="960" y="266"/>
                </a:lnTo>
                <a:lnTo>
                  <a:pt x="962" y="268"/>
                </a:lnTo>
                <a:lnTo>
                  <a:pt x="965" y="270"/>
                </a:lnTo>
                <a:lnTo>
                  <a:pt x="966" y="269"/>
                </a:lnTo>
                <a:lnTo>
                  <a:pt x="967" y="269"/>
                </a:lnTo>
                <a:lnTo>
                  <a:pt x="968" y="265"/>
                </a:lnTo>
                <a:lnTo>
                  <a:pt x="970" y="263"/>
                </a:lnTo>
                <a:lnTo>
                  <a:pt x="974" y="263"/>
                </a:lnTo>
                <a:lnTo>
                  <a:pt x="977" y="262"/>
                </a:lnTo>
                <a:lnTo>
                  <a:pt x="986" y="261"/>
                </a:lnTo>
                <a:lnTo>
                  <a:pt x="995" y="258"/>
                </a:lnTo>
                <a:lnTo>
                  <a:pt x="1003" y="257"/>
                </a:lnTo>
                <a:lnTo>
                  <a:pt x="1012" y="256"/>
                </a:lnTo>
                <a:lnTo>
                  <a:pt x="1018" y="257"/>
                </a:lnTo>
                <a:lnTo>
                  <a:pt x="1024" y="257"/>
                </a:lnTo>
                <a:lnTo>
                  <a:pt x="1029" y="256"/>
                </a:lnTo>
                <a:lnTo>
                  <a:pt x="1034" y="252"/>
                </a:lnTo>
                <a:lnTo>
                  <a:pt x="1037" y="250"/>
                </a:lnTo>
                <a:lnTo>
                  <a:pt x="1041" y="248"/>
                </a:lnTo>
                <a:lnTo>
                  <a:pt x="1044" y="247"/>
                </a:lnTo>
                <a:lnTo>
                  <a:pt x="1049" y="247"/>
                </a:lnTo>
                <a:lnTo>
                  <a:pt x="1055" y="247"/>
                </a:lnTo>
                <a:lnTo>
                  <a:pt x="1060" y="245"/>
                </a:lnTo>
                <a:lnTo>
                  <a:pt x="1065" y="247"/>
                </a:lnTo>
                <a:lnTo>
                  <a:pt x="1070" y="248"/>
                </a:lnTo>
                <a:lnTo>
                  <a:pt x="1074" y="250"/>
                </a:lnTo>
                <a:lnTo>
                  <a:pt x="1080" y="251"/>
                </a:lnTo>
                <a:lnTo>
                  <a:pt x="1085" y="251"/>
                </a:lnTo>
                <a:lnTo>
                  <a:pt x="1090" y="251"/>
                </a:lnTo>
                <a:lnTo>
                  <a:pt x="1093" y="252"/>
                </a:lnTo>
                <a:lnTo>
                  <a:pt x="1095" y="252"/>
                </a:lnTo>
                <a:lnTo>
                  <a:pt x="1099" y="254"/>
                </a:lnTo>
                <a:lnTo>
                  <a:pt x="1101" y="255"/>
                </a:lnTo>
                <a:lnTo>
                  <a:pt x="1104" y="256"/>
                </a:lnTo>
                <a:lnTo>
                  <a:pt x="1105" y="256"/>
                </a:lnTo>
                <a:lnTo>
                  <a:pt x="1106" y="254"/>
                </a:lnTo>
                <a:lnTo>
                  <a:pt x="1104" y="251"/>
                </a:lnTo>
                <a:lnTo>
                  <a:pt x="1101" y="250"/>
                </a:lnTo>
                <a:lnTo>
                  <a:pt x="1098" y="248"/>
                </a:lnTo>
                <a:lnTo>
                  <a:pt x="1095" y="247"/>
                </a:lnTo>
                <a:lnTo>
                  <a:pt x="1093" y="245"/>
                </a:lnTo>
                <a:lnTo>
                  <a:pt x="1092" y="243"/>
                </a:lnTo>
                <a:lnTo>
                  <a:pt x="1092" y="238"/>
                </a:lnTo>
                <a:lnTo>
                  <a:pt x="1093" y="236"/>
                </a:lnTo>
                <a:lnTo>
                  <a:pt x="1092" y="235"/>
                </a:lnTo>
                <a:lnTo>
                  <a:pt x="1090" y="234"/>
                </a:lnTo>
                <a:lnTo>
                  <a:pt x="1088" y="234"/>
                </a:lnTo>
                <a:lnTo>
                  <a:pt x="1083" y="234"/>
                </a:lnTo>
                <a:lnTo>
                  <a:pt x="1078" y="234"/>
                </a:lnTo>
                <a:lnTo>
                  <a:pt x="1066" y="233"/>
                </a:lnTo>
                <a:lnTo>
                  <a:pt x="1056" y="230"/>
                </a:lnTo>
                <a:lnTo>
                  <a:pt x="1050" y="227"/>
                </a:lnTo>
                <a:lnTo>
                  <a:pt x="1044" y="224"/>
                </a:lnTo>
                <a:lnTo>
                  <a:pt x="1038" y="223"/>
                </a:lnTo>
                <a:lnTo>
                  <a:pt x="1031" y="222"/>
                </a:lnTo>
                <a:lnTo>
                  <a:pt x="1023" y="222"/>
                </a:lnTo>
                <a:lnTo>
                  <a:pt x="1015" y="223"/>
                </a:lnTo>
                <a:lnTo>
                  <a:pt x="1005" y="222"/>
                </a:lnTo>
                <a:lnTo>
                  <a:pt x="997" y="220"/>
                </a:lnTo>
                <a:lnTo>
                  <a:pt x="995" y="219"/>
                </a:lnTo>
                <a:lnTo>
                  <a:pt x="994" y="220"/>
                </a:lnTo>
                <a:lnTo>
                  <a:pt x="993" y="220"/>
                </a:lnTo>
                <a:lnTo>
                  <a:pt x="991" y="222"/>
                </a:lnTo>
                <a:lnTo>
                  <a:pt x="991" y="224"/>
                </a:lnTo>
                <a:lnTo>
                  <a:pt x="989" y="226"/>
                </a:lnTo>
                <a:lnTo>
                  <a:pt x="987" y="226"/>
                </a:lnTo>
                <a:lnTo>
                  <a:pt x="986" y="226"/>
                </a:lnTo>
                <a:lnTo>
                  <a:pt x="969" y="223"/>
                </a:lnTo>
                <a:lnTo>
                  <a:pt x="952" y="222"/>
                </a:lnTo>
                <a:lnTo>
                  <a:pt x="947" y="221"/>
                </a:lnTo>
                <a:lnTo>
                  <a:pt x="942" y="220"/>
                </a:lnTo>
                <a:lnTo>
                  <a:pt x="938" y="217"/>
                </a:lnTo>
                <a:lnTo>
                  <a:pt x="933" y="215"/>
                </a:lnTo>
                <a:lnTo>
                  <a:pt x="927" y="213"/>
                </a:lnTo>
                <a:lnTo>
                  <a:pt x="922" y="213"/>
                </a:lnTo>
                <a:lnTo>
                  <a:pt x="921" y="213"/>
                </a:lnTo>
                <a:lnTo>
                  <a:pt x="920" y="213"/>
                </a:lnTo>
                <a:lnTo>
                  <a:pt x="919" y="213"/>
                </a:lnTo>
                <a:lnTo>
                  <a:pt x="918" y="212"/>
                </a:lnTo>
                <a:lnTo>
                  <a:pt x="919" y="209"/>
                </a:lnTo>
                <a:lnTo>
                  <a:pt x="919" y="208"/>
                </a:lnTo>
                <a:lnTo>
                  <a:pt x="920" y="208"/>
                </a:lnTo>
                <a:lnTo>
                  <a:pt x="922" y="208"/>
                </a:lnTo>
                <a:lnTo>
                  <a:pt x="931" y="207"/>
                </a:lnTo>
                <a:lnTo>
                  <a:pt x="940" y="205"/>
                </a:lnTo>
                <a:lnTo>
                  <a:pt x="926" y="201"/>
                </a:lnTo>
                <a:lnTo>
                  <a:pt x="912" y="196"/>
                </a:lnTo>
                <a:lnTo>
                  <a:pt x="919" y="195"/>
                </a:lnTo>
                <a:lnTo>
                  <a:pt x="925" y="194"/>
                </a:lnTo>
                <a:lnTo>
                  <a:pt x="929" y="192"/>
                </a:lnTo>
                <a:lnTo>
                  <a:pt x="934" y="189"/>
                </a:lnTo>
                <a:lnTo>
                  <a:pt x="939" y="187"/>
                </a:lnTo>
                <a:lnTo>
                  <a:pt x="943" y="186"/>
                </a:lnTo>
                <a:lnTo>
                  <a:pt x="947" y="186"/>
                </a:lnTo>
                <a:lnTo>
                  <a:pt x="952" y="187"/>
                </a:lnTo>
                <a:lnTo>
                  <a:pt x="957" y="188"/>
                </a:lnTo>
                <a:lnTo>
                  <a:pt x="963" y="187"/>
                </a:lnTo>
                <a:lnTo>
                  <a:pt x="969" y="186"/>
                </a:lnTo>
                <a:lnTo>
                  <a:pt x="974" y="182"/>
                </a:lnTo>
                <a:lnTo>
                  <a:pt x="979" y="179"/>
                </a:lnTo>
                <a:lnTo>
                  <a:pt x="983" y="178"/>
                </a:lnTo>
                <a:lnTo>
                  <a:pt x="988" y="178"/>
                </a:lnTo>
                <a:lnTo>
                  <a:pt x="993" y="179"/>
                </a:lnTo>
                <a:lnTo>
                  <a:pt x="1002" y="181"/>
                </a:lnTo>
                <a:lnTo>
                  <a:pt x="1010" y="182"/>
                </a:lnTo>
                <a:lnTo>
                  <a:pt x="1019" y="184"/>
                </a:lnTo>
                <a:lnTo>
                  <a:pt x="1028" y="184"/>
                </a:lnTo>
                <a:lnTo>
                  <a:pt x="1037" y="184"/>
                </a:lnTo>
                <a:lnTo>
                  <a:pt x="1045" y="184"/>
                </a:lnTo>
                <a:lnTo>
                  <a:pt x="1055" y="186"/>
                </a:lnTo>
                <a:lnTo>
                  <a:pt x="1063" y="188"/>
                </a:lnTo>
                <a:lnTo>
                  <a:pt x="1066" y="188"/>
                </a:lnTo>
                <a:lnTo>
                  <a:pt x="1070" y="187"/>
                </a:lnTo>
                <a:lnTo>
                  <a:pt x="1072" y="186"/>
                </a:lnTo>
                <a:lnTo>
                  <a:pt x="1073" y="181"/>
                </a:lnTo>
                <a:lnTo>
                  <a:pt x="1072" y="179"/>
                </a:lnTo>
                <a:lnTo>
                  <a:pt x="1071" y="177"/>
                </a:lnTo>
                <a:lnTo>
                  <a:pt x="1067" y="175"/>
                </a:lnTo>
                <a:lnTo>
                  <a:pt x="1065" y="175"/>
                </a:lnTo>
                <a:lnTo>
                  <a:pt x="1053" y="174"/>
                </a:lnTo>
                <a:lnTo>
                  <a:pt x="1043" y="174"/>
                </a:lnTo>
                <a:lnTo>
                  <a:pt x="1028" y="172"/>
                </a:lnTo>
                <a:lnTo>
                  <a:pt x="1011" y="171"/>
                </a:lnTo>
                <a:lnTo>
                  <a:pt x="1004" y="168"/>
                </a:lnTo>
                <a:lnTo>
                  <a:pt x="997" y="165"/>
                </a:lnTo>
                <a:lnTo>
                  <a:pt x="994" y="164"/>
                </a:lnTo>
                <a:lnTo>
                  <a:pt x="990" y="164"/>
                </a:lnTo>
                <a:lnTo>
                  <a:pt x="987" y="164"/>
                </a:lnTo>
                <a:lnTo>
                  <a:pt x="982" y="166"/>
                </a:lnTo>
                <a:lnTo>
                  <a:pt x="981" y="166"/>
                </a:lnTo>
                <a:lnTo>
                  <a:pt x="977" y="165"/>
                </a:lnTo>
                <a:lnTo>
                  <a:pt x="970" y="164"/>
                </a:lnTo>
                <a:lnTo>
                  <a:pt x="963" y="161"/>
                </a:lnTo>
                <a:lnTo>
                  <a:pt x="959" y="160"/>
                </a:lnTo>
                <a:lnTo>
                  <a:pt x="955" y="160"/>
                </a:lnTo>
                <a:lnTo>
                  <a:pt x="952" y="160"/>
                </a:lnTo>
                <a:lnTo>
                  <a:pt x="948" y="163"/>
                </a:lnTo>
                <a:lnTo>
                  <a:pt x="943" y="164"/>
                </a:lnTo>
                <a:lnTo>
                  <a:pt x="940" y="165"/>
                </a:lnTo>
                <a:lnTo>
                  <a:pt x="935" y="165"/>
                </a:lnTo>
                <a:lnTo>
                  <a:pt x="931" y="165"/>
                </a:lnTo>
                <a:lnTo>
                  <a:pt x="922" y="164"/>
                </a:lnTo>
                <a:lnTo>
                  <a:pt x="913" y="164"/>
                </a:lnTo>
                <a:lnTo>
                  <a:pt x="919" y="160"/>
                </a:lnTo>
                <a:lnTo>
                  <a:pt x="926" y="157"/>
                </a:lnTo>
                <a:lnTo>
                  <a:pt x="932" y="156"/>
                </a:lnTo>
                <a:lnTo>
                  <a:pt x="938" y="154"/>
                </a:lnTo>
                <a:lnTo>
                  <a:pt x="948" y="153"/>
                </a:lnTo>
                <a:lnTo>
                  <a:pt x="957" y="152"/>
                </a:lnTo>
                <a:lnTo>
                  <a:pt x="968" y="152"/>
                </a:lnTo>
                <a:lnTo>
                  <a:pt x="979" y="153"/>
                </a:lnTo>
                <a:lnTo>
                  <a:pt x="987" y="153"/>
                </a:lnTo>
                <a:lnTo>
                  <a:pt x="996" y="153"/>
                </a:lnTo>
                <a:lnTo>
                  <a:pt x="1000" y="153"/>
                </a:lnTo>
                <a:lnTo>
                  <a:pt x="1004" y="154"/>
                </a:lnTo>
                <a:lnTo>
                  <a:pt x="1009" y="156"/>
                </a:lnTo>
                <a:lnTo>
                  <a:pt x="1012" y="158"/>
                </a:lnTo>
                <a:lnTo>
                  <a:pt x="1016" y="159"/>
                </a:lnTo>
                <a:lnTo>
                  <a:pt x="1018" y="158"/>
                </a:lnTo>
                <a:lnTo>
                  <a:pt x="1018" y="156"/>
                </a:lnTo>
                <a:lnTo>
                  <a:pt x="1018" y="154"/>
                </a:lnTo>
                <a:lnTo>
                  <a:pt x="1016" y="153"/>
                </a:lnTo>
                <a:lnTo>
                  <a:pt x="1015" y="152"/>
                </a:lnTo>
                <a:lnTo>
                  <a:pt x="1007" y="147"/>
                </a:lnTo>
                <a:lnTo>
                  <a:pt x="1000" y="143"/>
                </a:lnTo>
                <a:lnTo>
                  <a:pt x="996" y="140"/>
                </a:lnTo>
                <a:lnTo>
                  <a:pt x="991" y="139"/>
                </a:lnTo>
                <a:lnTo>
                  <a:pt x="988" y="138"/>
                </a:lnTo>
                <a:lnTo>
                  <a:pt x="983" y="138"/>
                </a:lnTo>
                <a:lnTo>
                  <a:pt x="981" y="138"/>
                </a:lnTo>
                <a:lnTo>
                  <a:pt x="979" y="137"/>
                </a:lnTo>
                <a:lnTo>
                  <a:pt x="976" y="135"/>
                </a:lnTo>
                <a:lnTo>
                  <a:pt x="973" y="133"/>
                </a:lnTo>
                <a:lnTo>
                  <a:pt x="969" y="133"/>
                </a:lnTo>
                <a:lnTo>
                  <a:pt x="967" y="135"/>
                </a:lnTo>
                <a:lnTo>
                  <a:pt x="959" y="136"/>
                </a:lnTo>
                <a:lnTo>
                  <a:pt x="952" y="135"/>
                </a:lnTo>
                <a:lnTo>
                  <a:pt x="946" y="135"/>
                </a:lnTo>
                <a:lnTo>
                  <a:pt x="940" y="135"/>
                </a:lnTo>
                <a:lnTo>
                  <a:pt x="935" y="136"/>
                </a:lnTo>
                <a:lnTo>
                  <a:pt x="932" y="136"/>
                </a:lnTo>
                <a:lnTo>
                  <a:pt x="927" y="136"/>
                </a:lnTo>
                <a:lnTo>
                  <a:pt x="924" y="133"/>
                </a:lnTo>
                <a:lnTo>
                  <a:pt x="918" y="132"/>
                </a:lnTo>
                <a:lnTo>
                  <a:pt x="913" y="130"/>
                </a:lnTo>
                <a:lnTo>
                  <a:pt x="908" y="130"/>
                </a:lnTo>
                <a:lnTo>
                  <a:pt x="904" y="130"/>
                </a:lnTo>
                <a:lnTo>
                  <a:pt x="899" y="131"/>
                </a:lnTo>
                <a:lnTo>
                  <a:pt x="894" y="132"/>
                </a:lnTo>
                <a:lnTo>
                  <a:pt x="893" y="132"/>
                </a:lnTo>
                <a:lnTo>
                  <a:pt x="892" y="131"/>
                </a:lnTo>
                <a:lnTo>
                  <a:pt x="891" y="129"/>
                </a:lnTo>
                <a:lnTo>
                  <a:pt x="890" y="126"/>
                </a:lnTo>
                <a:lnTo>
                  <a:pt x="900" y="123"/>
                </a:lnTo>
                <a:lnTo>
                  <a:pt x="912" y="119"/>
                </a:lnTo>
                <a:lnTo>
                  <a:pt x="925" y="116"/>
                </a:lnTo>
                <a:lnTo>
                  <a:pt x="938" y="115"/>
                </a:lnTo>
                <a:lnTo>
                  <a:pt x="950" y="114"/>
                </a:lnTo>
                <a:lnTo>
                  <a:pt x="965" y="114"/>
                </a:lnTo>
                <a:lnTo>
                  <a:pt x="980" y="114"/>
                </a:lnTo>
                <a:lnTo>
                  <a:pt x="995" y="116"/>
                </a:lnTo>
                <a:lnTo>
                  <a:pt x="981" y="108"/>
                </a:lnTo>
                <a:lnTo>
                  <a:pt x="967" y="101"/>
                </a:lnTo>
                <a:lnTo>
                  <a:pt x="953" y="94"/>
                </a:lnTo>
                <a:lnTo>
                  <a:pt x="938" y="89"/>
                </a:lnTo>
                <a:lnTo>
                  <a:pt x="922" y="84"/>
                </a:lnTo>
                <a:lnTo>
                  <a:pt x="908" y="82"/>
                </a:lnTo>
                <a:lnTo>
                  <a:pt x="894" y="79"/>
                </a:lnTo>
                <a:lnTo>
                  <a:pt x="880" y="77"/>
                </a:lnTo>
                <a:lnTo>
                  <a:pt x="856" y="75"/>
                </a:lnTo>
                <a:lnTo>
                  <a:pt x="837" y="74"/>
                </a:lnTo>
                <a:lnTo>
                  <a:pt x="824" y="75"/>
                </a:lnTo>
                <a:lnTo>
                  <a:pt x="820" y="75"/>
                </a:lnTo>
                <a:lnTo>
                  <a:pt x="825" y="74"/>
                </a:lnTo>
                <a:lnTo>
                  <a:pt x="845" y="72"/>
                </a:lnTo>
                <a:lnTo>
                  <a:pt x="859" y="72"/>
                </a:lnTo>
                <a:lnTo>
                  <a:pt x="878" y="73"/>
                </a:lnTo>
                <a:lnTo>
                  <a:pt x="899" y="75"/>
                </a:lnTo>
                <a:lnTo>
                  <a:pt x="925" y="80"/>
                </a:lnTo>
                <a:lnTo>
                  <a:pt x="908" y="72"/>
                </a:lnTo>
                <a:lnTo>
                  <a:pt x="892" y="65"/>
                </a:lnTo>
                <a:lnTo>
                  <a:pt x="876" y="59"/>
                </a:lnTo>
                <a:lnTo>
                  <a:pt x="860" y="54"/>
                </a:lnTo>
                <a:lnTo>
                  <a:pt x="829" y="46"/>
                </a:lnTo>
                <a:lnTo>
                  <a:pt x="802" y="42"/>
                </a:lnTo>
                <a:lnTo>
                  <a:pt x="779" y="40"/>
                </a:lnTo>
                <a:lnTo>
                  <a:pt x="760" y="39"/>
                </a:lnTo>
                <a:lnTo>
                  <a:pt x="748" y="39"/>
                </a:lnTo>
                <a:lnTo>
                  <a:pt x="744" y="39"/>
                </a:lnTo>
                <a:lnTo>
                  <a:pt x="746" y="38"/>
                </a:lnTo>
                <a:lnTo>
                  <a:pt x="758" y="33"/>
                </a:lnTo>
                <a:lnTo>
                  <a:pt x="768" y="32"/>
                </a:lnTo>
                <a:lnTo>
                  <a:pt x="783" y="31"/>
                </a:lnTo>
                <a:lnTo>
                  <a:pt x="805" y="32"/>
                </a:lnTo>
                <a:lnTo>
                  <a:pt x="832" y="33"/>
                </a:lnTo>
                <a:lnTo>
                  <a:pt x="803" y="28"/>
                </a:lnTo>
                <a:lnTo>
                  <a:pt x="775" y="25"/>
                </a:lnTo>
                <a:lnTo>
                  <a:pt x="749" y="21"/>
                </a:lnTo>
                <a:lnTo>
                  <a:pt x="727" y="20"/>
                </a:lnTo>
                <a:lnTo>
                  <a:pt x="687" y="18"/>
                </a:lnTo>
                <a:lnTo>
                  <a:pt x="656" y="18"/>
                </a:lnTo>
                <a:lnTo>
                  <a:pt x="634" y="20"/>
                </a:lnTo>
                <a:lnTo>
                  <a:pt x="617" y="21"/>
                </a:lnTo>
                <a:lnTo>
                  <a:pt x="608" y="24"/>
                </a:lnTo>
                <a:lnTo>
                  <a:pt x="606" y="25"/>
                </a:lnTo>
                <a:lnTo>
                  <a:pt x="609" y="21"/>
                </a:lnTo>
                <a:lnTo>
                  <a:pt x="625" y="16"/>
                </a:lnTo>
                <a:lnTo>
                  <a:pt x="638" y="13"/>
                </a:lnTo>
                <a:lnTo>
                  <a:pt x="657" y="11"/>
                </a:lnTo>
                <a:lnTo>
                  <a:pt x="682" y="11"/>
                </a:lnTo>
                <a:lnTo>
                  <a:pt x="711" y="14"/>
                </a:lnTo>
                <a:lnTo>
                  <a:pt x="690" y="9"/>
                </a:lnTo>
                <a:lnTo>
                  <a:pt x="669" y="4"/>
                </a:lnTo>
                <a:lnTo>
                  <a:pt x="648" y="2"/>
                </a:lnTo>
                <a:lnTo>
                  <a:pt x="628" y="0"/>
                </a:lnTo>
                <a:lnTo>
                  <a:pt x="608" y="0"/>
                </a:lnTo>
                <a:lnTo>
                  <a:pt x="588" y="2"/>
                </a:lnTo>
                <a:lnTo>
                  <a:pt x="569" y="3"/>
                </a:lnTo>
                <a:lnTo>
                  <a:pt x="552" y="5"/>
                </a:lnTo>
                <a:lnTo>
                  <a:pt x="521" y="11"/>
                </a:lnTo>
                <a:lnTo>
                  <a:pt x="497" y="17"/>
                </a:lnTo>
                <a:lnTo>
                  <a:pt x="480" y="21"/>
                </a:lnTo>
                <a:lnTo>
                  <a:pt x="476" y="23"/>
                </a:lnTo>
                <a:lnTo>
                  <a:pt x="476" y="21"/>
                </a:lnTo>
                <a:lnTo>
                  <a:pt x="484" y="17"/>
                </a:lnTo>
                <a:lnTo>
                  <a:pt x="492" y="14"/>
                </a:lnTo>
                <a:lnTo>
                  <a:pt x="504" y="10"/>
                </a:lnTo>
                <a:lnTo>
                  <a:pt x="522" y="6"/>
                </a:lnTo>
                <a:lnTo>
                  <a:pt x="546" y="0"/>
                </a:lnTo>
                <a:lnTo>
                  <a:pt x="520" y="4"/>
                </a:lnTo>
                <a:lnTo>
                  <a:pt x="497" y="7"/>
                </a:lnTo>
                <a:lnTo>
                  <a:pt x="475" y="11"/>
                </a:lnTo>
                <a:lnTo>
                  <a:pt x="455" y="14"/>
                </a:lnTo>
                <a:lnTo>
                  <a:pt x="418" y="24"/>
                </a:lnTo>
                <a:lnTo>
                  <a:pt x="389" y="32"/>
                </a:lnTo>
                <a:lnTo>
                  <a:pt x="367" y="40"/>
                </a:lnTo>
                <a:lnTo>
                  <a:pt x="349" y="47"/>
                </a:lnTo>
                <a:lnTo>
                  <a:pt x="339" y="51"/>
                </a:lnTo>
                <a:lnTo>
                  <a:pt x="334" y="53"/>
                </a:lnTo>
                <a:lnTo>
                  <a:pt x="333" y="52"/>
                </a:lnTo>
                <a:lnTo>
                  <a:pt x="333" y="51"/>
                </a:lnTo>
                <a:lnTo>
                  <a:pt x="335" y="48"/>
                </a:lnTo>
                <a:lnTo>
                  <a:pt x="339" y="45"/>
                </a:lnTo>
                <a:lnTo>
                  <a:pt x="355" y="32"/>
                </a:lnTo>
                <a:lnTo>
                  <a:pt x="385" y="12"/>
                </a:lnTo>
                <a:lnTo>
                  <a:pt x="363" y="23"/>
                </a:lnTo>
                <a:lnTo>
                  <a:pt x="341" y="34"/>
                </a:lnTo>
                <a:lnTo>
                  <a:pt x="321" y="47"/>
                </a:lnTo>
                <a:lnTo>
                  <a:pt x="304" y="59"/>
                </a:lnTo>
                <a:lnTo>
                  <a:pt x="276" y="79"/>
                </a:lnTo>
                <a:lnTo>
                  <a:pt x="265" y="87"/>
                </a:lnTo>
                <a:lnTo>
                  <a:pt x="259" y="90"/>
                </a:lnTo>
                <a:lnTo>
                  <a:pt x="252" y="94"/>
                </a:lnTo>
                <a:lnTo>
                  <a:pt x="248" y="96"/>
                </a:lnTo>
                <a:lnTo>
                  <a:pt x="243" y="100"/>
                </a:lnTo>
                <a:lnTo>
                  <a:pt x="235" y="103"/>
                </a:lnTo>
                <a:lnTo>
                  <a:pt x="228" y="107"/>
                </a:lnTo>
                <a:lnTo>
                  <a:pt x="220" y="110"/>
                </a:lnTo>
                <a:lnTo>
                  <a:pt x="211" y="111"/>
                </a:lnTo>
                <a:lnTo>
                  <a:pt x="208" y="111"/>
                </a:lnTo>
                <a:lnTo>
                  <a:pt x="204" y="111"/>
                </a:lnTo>
                <a:lnTo>
                  <a:pt x="201" y="111"/>
                </a:lnTo>
                <a:lnTo>
                  <a:pt x="199" y="114"/>
                </a:lnTo>
                <a:lnTo>
                  <a:pt x="197" y="115"/>
                </a:lnTo>
                <a:lnTo>
                  <a:pt x="197" y="115"/>
                </a:lnTo>
                <a:lnTo>
                  <a:pt x="189" y="116"/>
                </a:lnTo>
                <a:lnTo>
                  <a:pt x="181" y="117"/>
                </a:lnTo>
                <a:lnTo>
                  <a:pt x="178" y="119"/>
                </a:lnTo>
                <a:lnTo>
                  <a:pt x="174" y="121"/>
                </a:lnTo>
                <a:lnTo>
                  <a:pt x="171" y="124"/>
                </a:lnTo>
                <a:lnTo>
                  <a:pt x="168" y="128"/>
                </a:lnTo>
                <a:lnTo>
                  <a:pt x="166" y="130"/>
                </a:lnTo>
                <a:lnTo>
                  <a:pt x="163" y="132"/>
                </a:lnTo>
                <a:lnTo>
                  <a:pt x="159" y="133"/>
                </a:lnTo>
                <a:lnTo>
                  <a:pt x="154" y="135"/>
                </a:lnTo>
                <a:lnTo>
                  <a:pt x="146" y="136"/>
                </a:lnTo>
                <a:lnTo>
                  <a:pt x="139" y="139"/>
                </a:lnTo>
                <a:lnTo>
                  <a:pt x="132" y="143"/>
                </a:lnTo>
                <a:lnTo>
                  <a:pt x="125" y="149"/>
                </a:lnTo>
                <a:lnTo>
                  <a:pt x="125" y="149"/>
                </a:lnTo>
                <a:lnTo>
                  <a:pt x="121" y="149"/>
                </a:lnTo>
                <a:lnTo>
                  <a:pt x="119" y="150"/>
                </a:lnTo>
                <a:lnTo>
                  <a:pt x="117" y="152"/>
                </a:lnTo>
                <a:lnTo>
                  <a:pt x="116" y="153"/>
                </a:lnTo>
                <a:lnTo>
                  <a:pt x="114" y="154"/>
                </a:lnTo>
                <a:lnTo>
                  <a:pt x="111" y="156"/>
                </a:lnTo>
                <a:lnTo>
                  <a:pt x="106" y="157"/>
                </a:lnTo>
                <a:lnTo>
                  <a:pt x="103" y="160"/>
                </a:lnTo>
                <a:lnTo>
                  <a:pt x="100" y="164"/>
                </a:lnTo>
                <a:lnTo>
                  <a:pt x="92" y="168"/>
                </a:lnTo>
                <a:lnTo>
                  <a:pt x="85" y="174"/>
                </a:lnTo>
                <a:lnTo>
                  <a:pt x="73" y="184"/>
                </a:lnTo>
                <a:lnTo>
                  <a:pt x="63" y="193"/>
                </a:lnTo>
                <a:lnTo>
                  <a:pt x="58" y="198"/>
                </a:lnTo>
                <a:lnTo>
                  <a:pt x="54" y="203"/>
                </a:lnTo>
                <a:lnTo>
                  <a:pt x="50" y="209"/>
                </a:lnTo>
                <a:lnTo>
                  <a:pt x="45" y="215"/>
                </a:lnTo>
                <a:lnTo>
                  <a:pt x="47" y="216"/>
                </a:lnTo>
                <a:lnTo>
                  <a:pt x="47" y="216"/>
                </a:lnTo>
                <a:lnTo>
                  <a:pt x="47" y="216"/>
                </a:lnTo>
                <a:lnTo>
                  <a:pt x="45" y="215"/>
                </a:lnTo>
                <a:lnTo>
                  <a:pt x="45" y="216"/>
                </a:lnTo>
                <a:lnTo>
                  <a:pt x="45" y="217"/>
                </a:lnTo>
                <a:lnTo>
                  <a:pt x="38" y="227"/>
                </a:lnTo>
                <a:lnTo>
                  <a:pt x="31" y="236"/>
                </a:lnTo>
                <a:lnTo>
                  <a:pt x="27" y="247"/>
                </a:lnTo>
                <a:lnTo>
                  <a:pt x="22" y="258"/>
                </a:lnTo>
                <a:lnTo>
                  <a:pt x="22" y="259"/>
                </a:lnTo>
                <a:lnTo>
                  <a:pt x="22" y="259"/>
                </a:lnTo>
                <a:lnTo>
                  <a:pt x="20" y="262"/>
                </a:lnTo>
                <a:lnTo>
                  <a:pt x="18" y="264"/>
                </a:lnTo>
                <a:lnTo>
                  <a:pt x="17" y="266"/>
                </a:lnTo>
                <a:lnTo>
                  <a:pt x="17" y="270"/>
                </a:lnTo>
                <a:lnTo>
                  <a:pt x="17" y="270"/>
                </a:lnTo>
                <a:lnTo>
                  <a:pt x="16" y="271"/>
                </a:lnTo>
                <a:lnTo>
                  <a:pt x="15" y="273"/>
                </a:lnTo>
                <a:lnTo>
                  <a:pt x="14" y="276"/>
                </a:lnTo>
                <a:lnTo>
                  <a:pt x="13" y="278"/>
                </a:lnTo>
                <a:lnTo>
                  <a:pt x="13" y="280"/>
                </a:lnTo>
                <a:lnTo>
                  <a:pt x="7" y="301"/>
                </a:lnTo>
                <a:lnTo>
                  <a:pt x="2" y="322"/>
                </a:lnTo>
                <a:lnTo>
                  <a:pt x="0" y="343"/>
                </a:lnTo>
                <a:lnTo>
                  <a:pt x="0" y="366"/>
                </a:lnTo>
                <a:lnTo>
                  <a:pt x="0" y="381"/>
                </a:lnTo>
                <a:lnTo>
                  <a:pt x="2" y="395"/>
                </a:lnTo>
                <a:lnTo>
                  <a:pt x="4" y="410"/>
                </a:lnTo>
                <a:lnTo>
                  <a:pt x="8" y="425"/>
                </a:lnTo>
                <a:lnTo>
                  <a:pt x="10" y="434"/>
                </a:lnTo>
                <a:lnTo>
                  <a:pt x="14" y="444"/>
                </a:lnTo>
                <a:lnTo>
                  <a:pt x="17" y="452"/>
                </a:lnTo>
                <a:lnTo>
                  <a:pt x="22" y="461"/>
                </a:lnTo>
                <a:lnTo>
                  <a:pt x="24" y="465"/>
                </a:lnTo>
                <a:lnTo>
                  <a:pt x="27" y="467"/>
                </a:lnTo>
                <a:lnTo>
                  <a:pt x="31" y="468"/>
                </a:lnTo>
                <a:lnTo>
                  <a:pt x="36" y="468"/>
                </a:lnTo>
                <a:lnTo>
                  <a:pt x="40" y="467"/>
                </a:lnTo>
                <a:lnTo>
                  <a:pt x="42" y="465"/>
                </a:lnTo>
                <a:lnTo>
                  <a:pt x="44" y="462"/>
                </a:lnTo>
                <a:lnTo>
                  <a:pt x="45" y="459"/>
                </a:lnTo>
                <a:lnTo>
                  <a:pt x="45" y="453"/>
                </a:lnTo>
                <a:lnTo>
                  <a:pt x="47" y="448"/>
                </a:lnTo>
                <a:lnTo>
                  <a:pt x="47" y="439"/>
                </a:lnTo>
                <a:lnTo>
                  <a:pt x="48" y="431"/>
                </a:lnTo>
                <a:lnTo>
                  <a:pt x="48" y="422"/>
                </a:lnTo>
                <a:lnTo>
                  <a:pt x="48" y="413"/>
                </a:lnTo>
                <a:lnTo>
                  <a:pt x="49" y="409"/>
                </a:lnTo>
                <a:lnTo>
                  <a:pt x="50" y="405"/>
                </a:lnTo>
                <a:lnTo>
                  <a:pt x="54" y="404"/>
                </a:lnTo>
                <a:lnTo>
                  <a:pt x="58" y="403"/>
                </a:lnTo>
                <a:lnTo>
                  <a:pt x="76" y="404"/>
                </a:lnTo>
                <a:lnTo>
                  <a:pt x="92" y="404"/>
                </a:lnTo>
                <a:lnTo>
                  <a:pt x="119" y="403"/>
                </a:lnTo>
                <a:lnTo>
                  <a:pt x="146" y="401"/>
                </a:lnTo>
                <a:lnTo>
                  <a:pt x="159" y="399"/>
                </a:lnTo>
                <a:lnTo>
                  <a:pt x="173" y="396"/>
                </a:lnTo>
                <a:lnTo>
                  <a:pt x="186" y="392"/>
                </a:lnTo>
                <a:lnTo>
                  <a:pt x="199" y="389"/>
                </a:lnTo>
                <a:lnTo>
                  <a:pt x="202" y="388"/>
                </a:lnTo>
                <a:lnTo>
                  <a:pt x="204" y="387"/>
                </a:lnTo>
                <a:lnTo>
                  <a:pt x="206" y="387"/>
                </a:lnTo>
                <a:lnTo>
                  <a:pt x="207" y="385"/>
                </a:lnTo>
                <a:lnTo>
                  <a:pt x="222" y="385"/>
                </a:lnTo>
                <a:lnTo>
                  <a:pt x="238" y="387"/>
                </a:lnTo>
                <a:lnTo>
                  <a:pt x="240" y="387"/>
                </a:lnTo>
                <a:lnTo>
                  <a:pt x="241" y="387"/>
                </a:lnTo>
                <a:lnTo>
                  <a:pt x="245" y="388"/>
                </a:lnTo>
                <a:lnTo>
                  <a:pt x="250" y="389"/>
                </a:lnTo>
                <a:lnTo>
                  <a:pt x="258" y="389"/>
                </a:lnTo>
                <a:lnTo>
                  <a:pt x="266" y="391"/>
                </a:lnTo>
                <a:lnTo>
                  <a:pt x="275" y="395"/>
                </a:lnTo>
                <a:lnTo>
                  <a:pt x="283" y="398"/>
                </a:lnTo>
                <a:lnTo>
                  <a:pt x="294" y="404"/>
                </a:lnTo>
                <a:lnTo>
                  <a:pt x="306" y="410"/>
                </a:lnTo>
                <a:lnTo>
                  <a:pt x="318" y="417"/>
                </a:lnTo>
                <a:lnTo>
                  <a:pt x="330" y="424"/>
                </a:lnTo>
                <a:lnTo>
                  <a:pt x="335" y="429"/>
                </a:lnTo>
                <a:lnTo>
                  <a:pt x="341" y="433"/>
                </a:lnTo>
                <a:lnTo>
                  <a:pt x="353" y="443"/>
                </a:lnTo>
                <a:lnTo>
                  <a:pt x="366" y="452"/>
                </a:lnTo>
                <a:lnTo>
                  <a:pt x="377" y="461"/>
                </a:lnTo>
                <a:lnTo>
                  <a:pt x="389" y="472"/>
                </a:lnTo>
                <a:lnTo>
                  <a:pt x="400" y="485"/>
                </a:lnTo>
                <a:lnTo>
                  <a:pt x="411" y="496"/>
                </a:lnTo>
                <a:lnTo>
                  <a:pt x="423" y="509"/>
                </a:lnTo>
                <a:lnTo>
                  <a:pt x="435" y="522"/>
                </a:lnTo>
                <a:lnTo>
                  <a:pt x="435" y="523"/>
                </a:lnTo>
                <a:lnTo>
                  <a:pt x="436" y="524"/>
                </a:lnTo>
                <a:lnTo>
                  <a:pt x="437" y="525"/>
                </a:lnTo>
                <a:lnTo>
                  <a:pt x="437" y="527"/>
                </a:lnTo>
                <a:lnTo>
                  <a:pt x="439" y="532"/>
                </a:lnTo>
                <a:lnTo>
                  <a:pt x="444" y="537"/>
                </a:lnTo>
                <a:lnTo>
                  <a:pt x="444" y="537"/>
                </a:lnTo>
                <a:lnTo>
                  <a:pt x="444" y="538"/>
                </a:lnTo>
                <a:lnTo>
                  <a:pt x="444" y="542"/>
                </a:lnTo>
                <a:lnTo>
                  <a:pt x="446" y="545"/>
                </a:lnTo>
                <a:lnTo>
                  <a:pt x="455" y="560"/>
                </a:lnTo>
                <a:lnTo>
                  <a:pt x="463" y="577"/>
                </a:lnTo>
                <a:lnTo>
                  <a:pt x="470" y="593"/>
                </a:lnTo>
                <a:lnTo>
                  <a:pt x="476" y="611"/>
                </a:lnTo>
                <a:lnTo>
                  <a:pt x="480" y="628"/>
                </a:lnTo>
                <a:lnTo>
                  <a:pt x="484" y="646"/>
                </a:lnTo>
                <a:lnTo>
                  <a:pt x="484" y="649"/>
                </a:lnTo>
                <a:lnTo>
                  <a:pt x="485" y="653"/>
                </a:lnTo>
                <a:lnTo>
                  <a:pt x="486" y="656"/>
                </a:lnTo>
                <a:lnTo>
                  <a:pt x="489" y="660"/>
                </a:lnTo>
                <a:lnTo>
                  <a:pt x="489" y="661"/>
                </a:lnTo>
                <a:lnTo>
                  <a:pt x="489" y="662"/>
                </a:lnTo>
                <a:lnTo>
                  <a:pt x="487" y="666"/>
                </a:lnTo>
                <a:lnTo>
                  <a:pt x="487" y="669"/>
                </a:lnTo>
                <a:lnTo>
                  <a:pt x="489" y="671"/>
                </a:lnTo>
                <a:lnTo>
                  <a:pt x="490" y="673"/>
                </a:lnTo>
                <a:lnTo>
                  <a:pt x="491" y="673"/>
                </a:lnTo>
                <a:lnTo>
                  <a:pt x="493" y="674"/>
                </a:lnTo>
                <a:lnTo>
                  <a:pt x="493" y="675"/>
                </a:lnTo>
                <a:lnTo>
                  <a:pt x="493" y="675"/>
                </a:lnTo>
                <a:lnTo>
                  <a:pt x="492" y="682"/>
                </a:lnTo>
                <a:lnTo>
                  <a:pt x="493" y="688"/>
                </a:lnTo>
                <a:lnTo>
                  <a:pt x="496" y="694"/>
                </a:lnTo>
                <a:lnTo>
                  <a:pt x="499" y="698"/>
                </a:lnTo>
                <a:lnTo>
                  <a:pt x="501" y="702"/>
                </a:lnTo>
                <a:lnTo>
                  <a:pt x="501" y="705"/>
                </a:lnTo>
                <a:lnTo>
                  <a:pt x="504" y="725"/>
                </a:lnTo>
                <a:lnTo>
                  <a:pt x="504" y="746"/>
                </a:lnTo>
                <a:lnTo>
                  <a:pt x="505" y="766"/>
                </a:lnTo>
                <a:lnTo>
                  <a:pt x="507" y="786"/>
                </a:lnTo>
                <a:lnTo>
                  <a:pt x="508" y="785"/>
                </a:lnTo>
                <a:lnTo>
                  <a:pt x="510" y="782"/>
                </a:lnTo>
                <a:lnTo>
                  <a:pt x="511" y="793"/>
                </a:lnTo>
                <a:lnTo>
                  <a:pt x="511" y="803"/>
                </a:lnTo>
                <a:lnTo>
                  <a:pt x="511" y="814"/>
                </a:lnTo>
                <a:lnTo>
                  <a:pt x="512" y="824"/>
                </a:lnTo>
                <a:lnTo>
                  <a:pt x="512" y="829"/>
                </a:lnTo>
                <a:lnTo>
                  <a:pt x="513" y="832"/>
                </a:lnTo>
                <a:lnTo>
                  <a:pt x="513" y="844"/>
                </a:lnTo>
                <a:lnTo>
                  <a:pt x="513" y="855"/>
                </a:lnTo>
                <a:lnTo>
                  <a:pt x="511" y="857"/>
                </a:lnTo>
                <a:lnTo>
                  <a:pt x="510" y="859"/>
                </a:lnTo>
                <a:lnTo>
                  <a:pt x="511" y="862"/>
                </a:lnTo>
                <a:lnTo>
                  <a:pt x="511" y="864"/>
                </a:lnTo>
                <a:lnTo>
                  <a:pt x="511" y="870"/>
                </a:lnTo>
                <a:lnTo>
                  <a:pt x="510" y="877"/>
                </a:lnTo>
                <a:lnTo>
                  <a:pt x="511" y="883"/>
                </a:lnTo>
                <a:lnTo>
                  <a:pt x="513" y="888"/>
                </a:lnTo>
                <a:lnTo>
                  <a:pt x="513" y="891"/>
                </a:lnTo>
                <a:lnTo>
                  <a:pt x="513" y="893"/>
                </a:lnTo>
                <a:lnTo>
                  <a:pt x="511" y="898"/>
                </a:lnTo>
                <a:lnTo>
                  <a:pt x="511" y="902"/>
                </a:lnTo>
                <a:lnTo>
                  <a:pt x="513" y="927"/>
                </a:lnTo>
                <a:lnTo>
                  <a:pt x="515" y="951"/>
                </a:lnTo>
                <a:lnTo>
                  <a:pt x="518" y="977"/>
                </a:lnTo>
                <a:lnTo>
                  <a:pt x="518" y="1002"/>
                </a:lnTo>
                <a:lnTo>
                  <a:pt x="519" y="1020"/>
                </a:lnTo>
                <a:lnTo>
                  <a:pt x="520" y="1038"/>
                </a:lnTo>
                <a:lnTo>
                  <a:pt x="521" y="1056"/>
                </a:lnTo>
                <a:lnTo>
                  <a:pt x="524" y="1075"/>
                </a:lnTo>
                <a:lnTo>
                  <a:pt x="524" y="1076"/>
                </a:lnTo>
                <a:lnTo>
                  <a:pt x="524" y="1079"/>
                </a:lnTo>
                <a:lnTo>
                  <a:pt x="524" y="1080"/>
                </a:lnTo>
                <a:lnTo>
                  <a:pt x="524" y="1081"/>
                </a:lnTo>
                <a:lnTo>
                  <a:pt x="517" y="1089"/>
                </a:lnTo>
                <a:lnTo>
                  <a:pt x="510" y="1096"/>
                </a:lnTo>
                <a:lnTo>
                  <a:pt x="493" y="1111"/>
                </a:lnTo>
                <a:lnTo>
                  <a:pt x="478" y="1129"/>
                </a:lnTo>
                <a:lnTo>
                  <a:pt x="471" y="1136"/>
                </a:lnTo>
                <a:lnTo>
                  <a:pt x="465" y="1144"/>
                </a:lnTo>
                <a:lnTo>
                  <a:pt x="456" y="1156"/>
                </a:lnTo>
                <a:lnTo>
                  <a:pt x="448" y="1167"/>
                </a:lnTo>
                <a:lnTo>
                  <a:pt x="439" y="1179"/>
                </a:lnTo>
                <a:lnTo>
                  <a:pt x="432" y="1191"/>
                </a:lnTo>
                <a:lnTo>
                  <a:pt x="425" y="1203"/>
                </a:lnTo>
                <a:lnTo>
                  <a:pt x="420" y="1216"/>
                </a:lnTo>
                <a:lnTo>
                  <a:pt x="415" y="1230"/>
                </a:lnTo>
                <a:lnTo>
                  <a:pt x="410" y="1243"/>
                </a:lnTo>
                <a:lnTo>
                  <a:pt x="407" y="1254"/>
                </a:lnTo>
                <a:lnTo>
                  <a:pt x="404" y="1264"/>
                </a:lnTo>
                <a:lnTo>
                  <a:pt x="401" y="1273"/>
                </a:lnTo>
                <a:lnTo>
                  <a:pt x="396" y="1283"/>
                </a:lnTo>
                <a:lnTo>
                  <a:pt x="393" y="1289"/>
                </a:lnTo>
                <a:lnTo>
                  <a:pt x="389" y="1296"/>
                </a:lnTo>
                <a:lnTo>
                  <a:pt x="387" y="1301"/>
                </a:lnTo>
                <a:lnTo>
                  <a:pt x="386" y="1308"/>
                </a:lnTo>
                <a:lnTo>
                  <a:pt x="386" y="1310"/>
                </a:lnTo>
                <a:lnTo>
                  <a:pt x="385" y="1311"/>
                </a:lnTo>
                <a:lnTo>
                  <a:pt x="383" y="1313"/>
                </a:lnTo>
                <a:lnTo>
                  <a:pt x="382" y="1314"/>
                </a:lnTo>
                <a:lnTo>
                  <a:pt x="381" y="1317"/>
                </a:lnTo>
                <a:lnTo>
                  <a:pt x="381" y="1320"/>
                </a:lnTo>
                <a:lnTo>
                  <a:pt x="375" y="1334"/>
                </a:lnTo>
                <a:lnTo>
                  <a:pt x="370" y="1349"/>
                </a:lnTo>
                <a:lnTo>
                  <a:pt x="365" y="1366"/>
                </a:lnTo>
                <a:lnTo>
                  <a:pt x="359" y="1383"/>
                </a:lnTo>
                <a:lnTo>
                  <a:pt x="354" y="1400"/>
                </a:lnTo>
                <a:lnTo>
                  <a:pt x="347" y="1417"/>
                </a:lnTo>
                <a:lnTo>
                  <a:pt x="345" y="1424"/>
                </a:lnTo>
                <a:lnTo>
                  <a:pt x="341" y="1432"/>
                </a:lnTo>
                <a:lnTo>
                  <a:pt x="1974" y="1432"/>
                </a:lnTo>
                <a:lnTo>
                  <a:pt x="1974" y="1422"/>
                </a:lnTo>
                <a:lnTo>
                  <a:pt x="1974" y="1411"/>
                </a:lnTo>
                <a:lnTo>
                  <a:pt x="1974" y="1395"/>
                </a:lnTo>
                <a:lnTo>
                  <a:pt x="1974" y="1377"/>
                </a:lnTo>
                <a:lnTo>
                  <a:pt x="1974" y="1361"/>
                </a:lnTo>
                <a:lnTo>
                  <a:pt x="1974" y="1345"/>
                </a:lnTo>
                <a:lnTo>
                  <a:pt x="1974" y="1339"/>
                </a:lnTo>
                <a:lnTo>
                  <a:pt x="1974" y="1333"/>
                </a:lnTo>
                <a:lnTo>
                  <a:pt x="1974" y="1322"/>
                </a:lnTo>
                <a:lnTo>
                  <a:pt x="1974" y="1313"/>
                </a:lnTo>
                <a:lnTo>
                  <a:pt x="1974" y="1304"/>
                </a:lnTo>
                <a:lnTo>
                  <a:pt x="1974" y="1293"/>
                </a:lnTo>
                <a:lnTo>
                  <a:pt x="1974" y="1271"/>
                </a:lnTo>
                <a:lnTo>
                  <a:pt x="1974" y="1248"/>
                </a:lnTo>
                <a:lnTo>
                  <a:pt x="1974" y="1224"/>
                </a:lnTo>
                <a:lnTo>
                  <a:pt x="1974" y="1202"/>
                </a:lnTo>
                <a:lnTo>
                  <a:pt x="1974" y="1200"/>
                </a:lnTo>
                <a:lnTo>
                  <a:pt x="1974" y="1199"/>
                </a:lnTo>
                <a:lnTo>
                  <a:pt x="1974" y="1194"/>
                </a:lnTo>
                <a:lnTo>
                  <a:pt x="1974" y="1188"/>
                </a:lnTo>
                <a:lnTo>
                  <a:pt x="1974" y="1188"/>
                </a:lnTo>
                <a:lnTo>
                  <a:pt x="1974" y="1187"/>
                </a:lnTo>
                <a:lnTo>
                  <a:pt x="1974" y="1184"/>
                </a:lnTo>
                <a:lnTo>
                  <a:pt x="1974" y="1179"/>
                </a:lnTo>
                <a:lnTo>
                  <a:pt x="1974" y="1170"/>
                </a:lnTo>
                <a:lnTo>
                  <a:pt x="1974" y="1159"/>
                </a:lnTo>
                <a:lnTo>
                  <a:pt x="1974" y="1151"/>
                </a:lnTo>
                <a:lnTo>
                  <a:pt x="1974" y="1143"/>
                </a:lnTo>
                <a:lnTo>
                  <a:pt x="1974" y="1131"/>
                </a:lnTo>
                <a:lnTo>
                  <a:pt x="1974" y="1121"/>
                </a:lnTo>
                <a:lnTo>
                  <a:pt x="1974" y="1107"/>
                </a:lnTo>
                <a:lnTo>
                  <a:pt x="1974" y="1093"/>
                </a:lnTo>
                <a:lnTo>
                  <a:pt x="1974" y="1084"/>
                </a:lnTo>
                <a:lnTo>
                  <a:pt x="1974" y="1077"/>
                </a:lnTo>
                <a:lnTo>
                  <a:pt x="1974" y="1074"/>
                </a:lnTo>
                <a:lnTo>
                  <a:pt x="1974" y="1072"/>
                </a:lnTo>
                <a:lnTo>
                  <a:pt x="1974" y="1054"/>
                </a:lnTo>
                <a:lnTo>
                  <a:pt x="1974" y="1037"/>
                </a:lnTo>
                <a:lnTo>
                  <a:pt x="1974" y="1030"/>
                </a:lnTo>
                <a:lnTo>
                  <a:pt x="1974" y="1023"/>
                </a:lnTo>
                <a:lnTo>
                  <a:pt x="1974" y="1014"/>
                </a:lnTo>
                <a:lnTo>
                  <a:pt x="1974" y="1007"/>
                </a:lnTo>
                <a:lnTo>
                  <a:pt x="1974" y="1005"/>
                </a:lnTo>
                <a:lnTo>
                  <a:pt x="1974" y="1003"/>
                </a:lnTo>
                <a:lnTo>
                  <a:pt x="1974" y="997"/>
                </a:lnTo>
                <a:lnTo>
                  <a:pt x="1974" y="991"/>
                </a:lnTo>
                <a:lnTo>
                  <a:pt x="1971" y="992"/>
                </a:lnTo>
                <a:lnTo>
                  <a:pt x="1970" y="991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 err="1"/>
              <a:t>sadsa</a:t>
            </a:r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E8B29CD-E203-1549-8B24-8AF1B97A2A2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340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1">
            <a:extLst>
              <a:ext uri="{FF2B5EF4-FFF2-40B4-BE49-F238E27FC236}">
                <a16:creationId xmlns:a16="http://schemas.microsoft.com/office/drawing/2014/main" id="{B25C1E14-A79C-1348-921F-771FBDBCB043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888331" y="4194498"/>
            <a:ext cx="12100011" cy="9163050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E4DC381-46E2-FD4F-92E0-8B6C2E4DE2AA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E8E0002-2B15-F64B-A8D2-289AFEC026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94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558FD83E-4C7C-6248-8379-5A7FC21BDCC6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10327241" y="2255335"/>
            <a:ext cx="13394281" cy="11194584"/>
          </a:xfrm>
          <a:custGeom>
            <a:avLst/>
            <a:gdLst>
              <a:gd name="T0" fmla="*/ 1186 w 1856"/>
              <a:gd name="T1" fmla="*/ 356 h 1504"/>
              <a:gd name="T2" fmla="*/ 723 w 1856"/>
              <a:gd name="T3" fmla="*/ 607 h 1504"/>
              <a:gd name="T4" fmla="*/ 647 w 1856"/>
              <a:gd name="T5" fmla="*/ 741 h 1504"/>
              <a:gd name="T6" fmla="*/ 648 w 1856"/>
              <a:gd name="T7" fmla="*/ 1231 h 1504"/>
              <a:gd name="T8" fmla="*/ 558 w 1856"/>
              <a:gd name="T9" fmla="*/ 1182 h 1504"/>
              <a:gd name="T10" fmla="*/ 361 w 1856"/>
              <a:gd name="T11" fmla="*/ 945 h 1504"/>
              <a:gd name="T12" fmla="*/ 375 w 1856"/>
              <a:gd name="T13" fmla="*/ 903 h 1504"/>
              <a:gd name="T14" fmla="*/ 254 w 1856"/>
              <a:gd name="T15" fmla="*/ 815 h 1504"/>
              <a:gd name="T16" fmla="*/ 329 w 1856"/>
              <a:gd name="T17" fmla="*/ 713 h 1504"/>
              <a:gd name="T18" fmla="*/ 540 w 1856"/>
              <a:gd name="T19" fmla="*/ 786 h 1504"/>
              <a:gd name="T20" fmla="*/ 593 w 1856"/>
              <a:gd name="T21" fmla="*/ 800 h 1504"/>
              <a:gd name="T22" fmla="*/ 689 w 1856"/>
              <a:gd name="T23" fmla="*/ 713 h 1504"/>
              <a:gd name="T24" fmla="*/ 344 w 1856"/>
              <a:gd name="T25" fmla="*/ 882 h 1504"/>
              <a:gd name="T26" fmla="*/ 1520 w 1856"/>
              <a:gd name="T27" fmla="*/ 209 h 1504"/>
              <a:gd name="T28" fmla="*/ 1740 w 1856"/>
              <a:gd name="T29" fmla="*/ 154 h 1504"/>
              <a:gd name="T30" fmla="*/ 1244 w 1856"/>
              <a:gd name="T31" fmla="*/ 696 h 1504"/>
              <a:gd name="T32" fmla="*/ 1479 w 1856"/>
              <a:gd name="T33" fmla="*/ 769 h 1504"/>
              <a:gd name="T34" fmla="*/ 1619 w 1856"/>
              <a:gd name="T35" fmla="*/ 780 h 1504"/>
              <a:gd name="T36" fmla="*/ 979 w 1856"/>
              <a:gd name="T37" fmla="*/ 735 h 1504"/>
              <a:gd name="T38" fmla="*/ 1088 w 1856"/>
              <a:gd name="T39" fmla="*/ 691 h 1504"/>
              <a:gd name="T40" fmla="*/ 1005 w 1856"/>
              <a:gd name="T41" fmla="*/ 478 h 1504"/>
              <a:gd name="T42" fmla="*/ 1133 w 1856"/>
              <a:gd name="T43" fmla="*/ 295 h 1504"/>
              <a:gd name="T44" fmla="*/ 1261 w 1856"/>
              <a:gd name="T45" fmla="*/ 518 h 1504"/>
              <a:gd name="T46" fmla="*/ 1402 w 1856"/>
              <a:gd name="T47" fmla="*/ 461 h 1504"/>
              <a:gd name="T48" fmla="*/ 1601 w 1856"/>
              <a:gd name="T49" fmla="*/ 137 h 1504"/>
              <a:gd name="T50" fmla="*/ 110 w 1856"/>
              <a:gd name="T51" fmla="*/ 704 h 1504"/>
              <a:gd name="T52" fmla="*/ 173 w 1856"/>
              <a:gd name="T53" fmla="*/ 832 h 1504"/>
              <a:gd name="T54" fmla="*/ 719 w 1856"/>
              <a:gd name="T55" fmla="*/ 1431 h 1504"/>
              <a:gd name="T56" fmla="*/ 1521 w 1856"/>
              <a:gd name="T57" fmla="*/ 555 h 1504"/>
              <a:gd name="T58" fmla="*/ 1231 w 1856"/>
              <a:gd name="T59" fmla="*/ 700 h 1504"/>
              <a:gd name="T60" fmla="*/ 974 w 1856"/>
              <a:gd name="T61" fmla="*/ 816 h 1504"/>
              <a:gd name="T62" fmla="*/ 1133 w 1856"/>
              <a:gd name="T63" fmla="*/ 737 h 1504"/>
              <a:gd name="T64" fmla="*/ 1423 w 1856"/>
              <a:gd name="T65" fmla="*/ 748 h 1504"/>
              <a:gd name="T66" fmla="*/ 1240 w 1856"/>
              <a:gd name="T67" fmla="*/ 893 h 1504"/>
              <a:gd name="T68" fmla="*/ 1724 w 1856"/>
              <a:gd name="T69" fmla="*/ 299 h 1504"/>
              <a:gd name="T70" fmla="*/ 1672 w 1856"/>
              <a:gd name="T71" fmla="*/ 102 h 1504"/>
              <a:gd name="T72" fmla="*/ 1393 w 1856"/>
              <a:gd name="T73" fmla="*/ 329 h 1504"/>
              <a:gd name="T74" fmla="*/ 1263 w 1856"/>
              <a:gd name="T75" fmla="*/ 453 h 1504"/>
              <a:gd name="T76" fmla="*/ 1160 w 1856"/>
              <a:gd name="T77" fmla="*/ 223 h 1504"/>
              <a:gd name="T78" fmla="*/ 1125 w 1856"/>
              <a:gd name="T79" fmla="*/ 415 h 1504"/>
              <a:gd name="T80" fmla="*/ 978 w 1856"/>
              <a:gd name="T81" fmla="*/ 359 h 1504"/>
              <a:gd name="T82" fmla="*/ 1050 w 1856"/>
              <a:gd name="T83" fmla="*/ 136 h 1504"/>
              <a:gd name="T84" fmla="*/ 815 w 1856"/>
              <a:gd name="T85" fmla="*/ 1315 h 1504"/>
              <a:gd name="T86" fmla="*/ 754 w 1856"/>
              <a:gd name="T87" fmla="*/ 1401 h 1504"/>
              <a:gd name="T88" fmla="*/ 596 w 1856"/>
              <a:gd name="T89" fmla="*/ 1306 h 1504"/>
              <a:gd name="T90" fmla="*/ 515 w 1856"/>
              <a:gd name="T91" fmla="*/ 1354 h 1504"/>
              <a:gd name="T92" fmla="*/ 174 w 1856"/>
              <a:gd name="T93" fmla="*/ 615 h 1504"/>
              <a:gd name="T94" fmla="*/ 290 w 1856"/>
              <a:gd name="T95" fmla="*/ 497 h 1504"/>
              <a:gd name="T96" fmla="*/ 344 w 1856"/>
              <a:gd name="T97" fmla="*/ 523 h 1504"/>
              <a:gd name="T98" fmla="*/ 643 w 1856"/>
              <a:gd name="T99" fmla="*/ 581 h 1504"/>
              <a:gd name="T100" fmla="*/ 678 w 1856"/>
              <a:gd name="T101" fmla="*/ 646 h 1504"/>
              <a:gd name="T102" fmla="*/ 689 w 1856"/>
              <a:gd name="T103" fmla="*/ 658 h 1504"/>
              <a:gd name="T104" fmla="*/ 855 w 1856"/>
              <a:gd name="T105" fmla="*/ 580 h 1504"/>
              <a:gd name="T106" fmla="*/ 710 w 1856"/>
              <a:gd name="T107" fmla="*/ 779 h 1504"/>
              <a:gd name="T108" fmla="*/ 833 w 1856"/>
              <a:gd name="T109" fmla="*/ 865 h 1504"/>
              <a:gd name="T110" fmla="*/ 864 w 1856"/>
              <a:gd name="T111" fmla="*/ 919 h 1504"/>
              <a:gd name="T112" fmla="*/ 830 w 1856"/>
              <a:gd name="T113" fmla="*/ 817 h 1504"/>
              <a:gd name="T114" fmla="*/ 697 w 1856"/>
              <a:gd name="T115" fmla="*/ 763 h 1504"/>
              <a:gd name="T116" fmla="*/ 789 w 1856"/>
              <a:gd name="T117" fmla="*/ 1170 h 1504"/>
              <a:gd name="T118" fmla="*/ 931 w 1856"/>
              <a:gd name="T119" fmla="*/ 629 h 1504"/>
              <a:gd name="T120" fmla="*/ 1083 w 1856"/>
              <a:gd name="T121" fmla="*/ 692 h 1504"/>
              <a:gd name="T122" fmla="*/ 1682 w 1856"/>
              <a:gd name="T123" fmla="*/ 893 h 1504"/>
              <a:gd name="T124" fmla="*/ 1637 w 1856"/>
              <a:gd name="T125" fmla="*/ 823 h 15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56" h="1504">
                <a:moveTo>
                  <a:pt x="1437" y="182"/>
                </a:move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6" y="181"/>
                </a:lnTo>
                <a:lnTo>
                  <a:pt x="1436" y="180"/>
                </a:lnTo>
                <a:lnTo>
                  <a:pt x="1435" y="181"/>
                </a:lnTo>
                <a:lnTo>
                  <a:pt x="1435" y="181"/>
                </a:lnTo>
                <a:lnTo>
                  <a:pt x="1435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lnTo>
                  <a:pt x="1437" y="182"/>
                </a:lnTo>
                <a:close/>
                <a:moveTo>
                  <a:pt x="501" y="1186"/>
                </a:moveTo>
                <a:lnTo>
                  <a:pt x="502" y="1187"/>
                </a:lnTo>
                <a:lnTo>
                  <a:pt x="503" y="1187"/>
                </a:lnTo>
                <a:lnTo>
                  <a:pt x="503" y="1187"/>
                </a:lnTo>
                <a:lnTo>
                  <a:pt x="504" y="1186"/>
                </a:lnTo>
                <a:lnTo>
                  <a:pt x="503" y="1185"/>
                </a:lnTo>
                <a:lnTo>
                  <a:pt x="502" y="1185"/>
                </a:lnTo>
                <a:lnTo>
                  <a:pt x="502" y="1186"/>
                </a:lnTo>
                <a:lnTo>
                  <a:pt x="501" y="1186"/>
                </a:lnTo>
                <a:close/>
                <a:moveTo>
                  <a:pt x="777" y="895"/>
                </a:moveTo>
                <a:lnTo>
                  <a:pt x="777" y="895"/>
                </a:lnTo>
                <a:lnTo>
                  <a:pt x="775" y="896"/>
                </a:lnTo>
                <a:lnTo>
                  <a:pt x="777" y="898"/>
                </a:lnTo>
                <a:lnTo>
                  <a:pt x="778" y="898"/>
                </a:lnTo>
                <a:lnTo>
                  <a:pt x="778" y="898"/>
                </a:lnTo>
                <a:lnTo>
                  <a:pt x="778" y="898"/>
                </a:lnTo>
                <a:lnTo>
                  <a:pt x="779" y="901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903"/>
                </a:lnTo>
                <a:lnTo>
                  <a:pt x="784" y="913"/>
                </a:lnTo>
                <a:lnTo>
                  <a:pt x="789" y="921"/>
                </a:lnTo>
                <a:lnTo>
                  <a:pt x="786" y="923"/>
                </a:lnTo>
                <a:lnTo>
                  <a:pt x="782" y="923"/>
                </a:lnTo>
                <a:lnTo>
                  <a:pt x="778" y="913"/>
                </a:lnTo>
                <a:lnTo>
                  <a:pt x="772" y="903"/>
                </a:lnTo>
                <a:lnTo>
                  <a:pt x="768" y="895"/>
                </a:lnTo>
                <a:lnTo>
                  <a:pt x="763" y="889"/>
                </a:lnTo>
                <a:lnTo>
                  <a:pt x="763" y="886"/>
                </a:lnTo>
                <a:lnTo>
                  <a:pt x="765" y="885"/>
                </a:lnTo>
                <a:lnTo>
                  <a:pt x="767" y="887"/>
                </a:lnTo>
                <a:lnTo>
                  <a:pt x="770" y="889"/>
                </a:lnTo>
                <a:lnTo>
                  <a:pt x="770" y="889"/>
                </a:lnTo>
                <a:lnTo>
                  <a:pt x="771" y="893"/>
                </a:lnTo>
                <a:lnTo>
                  <a:pt x="774" y="893"/>
                </a:lnTo>
                <a:lnTo>
                  <a:pt x="775" y="893"/>
                </a:lnTo>
                <a:lnTo>
                  <a:pt x="775" y="889"/>
                </a:lnTo>
                <a:lnTo>
                  <a:pt x="772" y="882"/>
                </a:lnTo>
                <a:lnTo>
                  <a:pt x="767" y="877"/>
                </a:lnTo>
                <a:lnTo>
                  <a:pt x="766" y="873"/>
                </a:lnTo>
                <a:lnTo>
                  <a:pt x="765" y="870"/>
                </a:lnTo>
                <a:lnTo>
                  <a:pt x="764" y="867"/>
                </a:lnTo>
                <a:lnTo>
                  <a:pt x="763" y="865"/>
                </a:lnTo>
                <a:lnTo>
                  <a:pt x="763" y="865"/>
                </a:lnTo>
                <a:lnTo>
                  <a:pt x="761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3" y="865"/>
                </a:lnTo>
                <a:lnTo>
                  <a:pt x="765" y="866"/>
                </a:lnTo>
                <a:lnTo>
                  <a:pt x="765" y="870"/>
                </a:lnTo>
                <a:lnTo>
                  <a:pt x="771" y="873"/>
                </a:lnTo>
                <a:lnTo>
                  <a:pt x="774" y="879"/>
                </a:lnTo>
                <a:lnTo>
                  <a:pt x="775" y="881"/>
                </a:lnTo>
                <a:lnTo>
                  <a:pt x="779" y="881"/>
                </a:lnTo>
                <a:lnTo>
                  <a:pt x="779" y="879"/>
                </a:lnTo>
                <a:lnTo>
                  <a:pt x="778" y="877"/>
                </a:lnTo>
                <a:lnTo>
                  <a:pt x="775" y="87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lnTo>
                  <a:pt x="785" y="879"/>
                </a:lnTo>
                <a:lnTo>
                  <a:pt x="793" y="894"/>
                </a:lnTo>
                <a:lnTo>
                  <a:pt x="795" y="898"/>
                </a:lnTo>
                <a:lnTo>
                  <a:pt x="799" y="899"/>
                </a:lnTo>
                <a:lnTo>
                  <a:pt x="799" y="899"/>
                </a:lnTo>
                <a:lnTo>
                  <a:pt x="799" y="900"/>
                </a:lnTo>
                <a:lnTo>
                  <a:pt x="799" y="901"/>
                </a:lnTo>
                <a:lnTo>
                  <a:pt x="800" y="901"/>
                </a:lnTo>
                <a:lnTo>
                  <a:pt x="796" y="902"/>
                </a:lnTo>
                <a:lnTo>
                  <a:pt x="794" y="902"/>
                </a:lnTo>
                <a:lnTo>
                  <a:pt x="791" y="903"/>
                </a:lnTo>
                <a:lnTo>
                  <a:pt x="791" y="906"/>
                </a:lnTo>
                <a:lnTo>
                  <a:pt x="793" y="908"/>
                </a:lnTo>
                <a:lnTo>
                  <a:pt x="791" y="910"/>
                </a:lnTo>
                <a:lnTo>
                  <a:pt x="788" y="909"/>
                </a:lnTo>
                <a:lnTo>
                  <a:pt x="787" y="907"/>
                </a:lnTo>
                <a:lnTo>
                  <a:pt x="786" y="903"/>
                </a:lnTo>
                <a:lnTo>
                  <a:pt x="782" y="903"/>
                </a:lnTo>
                <a:lnTo>
                  <a:pt x="782" y="903"/>
                </a:lnTo>
                <a:lnTo>
                  <a:pt x="782" y="899"/>
                </a:lnTo>
                <a:lnTo>
                  <a:pt x="778" y="898"/>
                </a:lnTo>
                <a:lnTo>
                  <a:pt x="778" y="896"/>
                </a:lnTo>
                <a:lnTo>
                  <a:pt x="777" y="895"/>
                </a:lnTo>
                <a:close/>
                <a:moveTo>
                  <a:pt x="738" y="793"/>
                </a:moveTo>
                <a:lnTo>
                  <a:pt x="737" y="793"/>
                </a:lnTo>
                <a:lnTo>
                  <a:pt x="736" y="795"/>
                </a:lnTo>
                <a:lnTo>
                  <a:pt x="737" y="795"/>
                </a:lnTo>
                <a:lnTo>
                  <a:pt x="737" y="796"/>
                </a:lnTo>
                <a:lnTo>
                  <a:pt x="738" y="795"/>
                </a:lnTo>
                <a:lnTo>
                  <a:pt x="738" y="795"/>
                </a:lnTo>
                <a:lnTo>
                  <a:pt x="738" y="794"/>
                </a:lnTo>
                <a:lnTo>
                  <a:pt x="738" y="793"/>
                </a:lnTo>
                <a:close/>
                <a:moveTo>
                  <a:pt x="756" y="831"/>
                </a:moveTo>
                <a:lnTo>
                  <a:pt x="754" y="831"/>
                </a:lnTo>
                <a:lnTo>
                  <a:pt x="754" y="832"/>
                </a:lnTo>
                <a:lnTo>
                  <a:pt x="754" y="833"/>
                </a:lnTo>
                <a:lnTo>
                  <a:pt x="757" y="835"/>
                </a:lnTo>
                <a:lnTo>
                  <a:pt x="758" y="833"/>
                </a:lnTo>
                <a:lnTo>
                  <a:pt x="758" y="832"/>
                </a:lnTo>
                <a:lnTo>
                  <a:pt x="757" y="831"/>
                </a:lnTo>
                <a:lnTo>
                  <a:pt x="756" y="831"/>
                </a:lnTo>
                <a:close/>
                <a:moveTo>
                  <a:pt x="1082" y="705"/>
                </a:moveTo>
                <a:lnTo>
                  <a:pt x="1082" y="700"/>
                </a:lnTo>
                <a:lnTo>
                  <a:pt x="1081" y="697"/>
                </a:lnTo>
                <a:lnTo>
                  <a:pt x="1079" y="697"/>
                </a:lnTo>
                <a:lnTo>
                  <a:pt x="1078" y="698"/>
                </a:lnTo>
                <a:lnTo>
                  <a:pt x="1078" y="702"/>
                </a:lnTo>
                <a:lnTo>
                  <a:pt x="1082" y="705"/>
                </a:lnTo>
                <a:close/>
                <a:moveTo>
                  <a:pt x="1272" y="410"/>
                </a:move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2"/>
                </a:lnTo>
                <a:lnTo>
                  <a:pt x="1274" y="413"/>
                </a:lnTo>
                <a:lnTo>
                  <a:pt x="1276" y="412"/>
                </a:lnTo>
                <a:lnTo>
                  <a:pt x="1276" y="410"/>
                </a:lnTo>
                <a:lnTo>
                  <a:pt x="1275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lnTo>
                  <a:pt x="1272" y="410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2" y="410"/>
                </a:lnTo>
                <a:lnTo>
                  <a:pt x="1271" y="409"/>
                </a:lnTo>
                <a:lnTo>
                  <a:pt x="1271" y="410"/>
                </a:lnTo>
                <a:close/>
                <a:moveTo>
                  <a:pt x="1203" y="335"/>
                </a:moveTo>
                <a:lnTo>
                  <a:pt x="1203" y="335"/>
                </a:lnTo>
                <a:lnTo>
                  <a:pt x="1203" y="336"/>
                </a:lnTo>
                <a:lnTo>
                  <a:pt x="1205" y="335"/>
                </a:lnTo>
                <a:lnTo>
                  <a:pt x="1205" y="335"/>
                </a:lnTo>
                <a:lnTo>
                  <a:pt x="1205" y="334"/>
                </a:lnTo>
                <a:lnTo>
                  <a:pt x="1203" y="334"/>
                </a:lnTo>
                <a:lnTo>
                  <a:pt x="1203" y="334"/>
                </a:lnTo>
                <a:lnTo>
                  <a:pt x="1203" y="335"/>
                </a:lnTo>
                <a:close/>
                <a:moveTo>
                  <a:pt x="1248" y="387"/>
                </a:moveTo>
                <a:lnTo>
                  <a:pt x="1248" y="387"/>
                </a:lnTo>
                <a:lnTo>
                  <a:pt x="1249" y="388"/>
                </a:lnTo>
                <a:lnTo>
                  <a:pt x="1250" y="387"/>
                </a:lnTo>
                <a:lnTo>
                  <a:pt x="1251" y="385"/>
                </a:lnTo>
                <a:lnTo>
                  <a:pt x="1251" y="384"/>
                </a:lnTo>
                <a:lnTo>
                  <a:pt x="1247" y="381"/>
                </a:lnTo>
                <a:lnTo>
                  <a:pt x="1245" y="375"/>
                </a:lnTo>
                <a:lnTo>
                  <a:pt x="1248" y="368"/>
                </a:lnTo>
                <a:lnTo>
                  <a:pt x="1247" y="362"/>
                </a:lnTo>
                <a:lnTo>
                  <a:pt x="1247" y="360"/>
                </a:lnTo>
                <a:lnTo>
                  <a:pt x="1247" y="356"/>
                </a:lnTo>
                <a:lnTo>
                  <a:pt x="1242" y="360"/>
                </a:lnTo>
                <a:lnTo>
                  <a:pt x="1238" y="355"/>
                </a:lnTo>
                <a:lnTo>
                  <a:pt x="1235" y="360"/>
                </a:lnTo>
                <a:lnTo>
                  <a:pt x="1230" y="363"/>
                </a:lnTo>
                <a:lnTo>
                  <a:pt x="1228" y="364"/>
                </a:lnTo>
                <a:lnTo>
                  <a:pt x="1226" y="362"/>
                </a:lnTo>
                <a:lnTo>
                  <a:pt x="1227" y="361"/>
                </a:lnTo>
                <a:lnTo>
                  <a:pt x="1228" y="360"/>
                </a:lnTo>
                <a:lnTo>
                  <a:pt x="1231" y="359"/>
                </a:lnTo>
                <a:lnTo>
                  <a:pt x="1233" y="356"/>
                </a:lnTo>
                <a:lnTo>
                  <a:pt x="1231" y="350"/>
                </a:lnTo>
                <a:lnTo>
                  <a:pt x="1226" y="349"/>
                </a:lnTo>
                <a:lnTo>
                  <a:pt x="1223" y="348"/>
                </a:lnTo>
                <a:lnTo>
                  <a:pt x="1222" y="346"/>
                </a:lnTo>
                <a:lnTo>
                  <a:pt x="1221" y="337"/>
                </a:lnTo>
                <a:lnTo>
                  <a:pt x="1221" y="329"/>
                </a:lnTo>
                <a:lnTo>
                  <a:pt x="1222" y="325"/>
                </a:lnTo>
                <a:lnTo>
                  <a:pt x="1216" y="323"/>
                </a:lnTo>
                <a:lnTo>
                  <a:pt x="1214" y="321"/>
                </a:lnTo>
                <a:lnTo>
                  <a:pt x="1215" y="318"/>
                </a:lnTo>
                <a:lnTo>
                  <a:pt x="1215" y="316"/>
                </a:lnTo>
                <a:lnTo>
                  <a:pt x="1216" y="315"/>
                </a:lnTo>
                <a:lnTo>
                  <a:pt x="1216" y="314"/>
                </a:lnTo>
                <a:lnTo>
                  <a:pt x="1214" y="313"/>
                </a:lnTo>
                <a:lnTo>
                  <a:pt x="1215" y="315"/>
                </a:lnTo>
                <a:lnTo>
                  <a:pt x="1216" y="315"/>
                </a:lnTo>
                <a:lnTo>
                  <a:pt x="1215" y="316"/>
                </a:lnTo>
                <a:lnTo>
                  <a:pt x="1215" y="318"/>
                </a:lnTo>
                <a:lnTo>
                  <a:pt x="1213" y="318"/>
                </a:lnTo>
                <a:lnTo>
                  <a:pt x="1210" y="319"/>
                </a:lnTo>
                <a:lnTo>
                  <a:pt x="1210" y="322"/>
                </a:lnTo>
                <a:lnTo>
                  <a:pt x="1210" y="325"/>
                </a:lnTo>
                <a:lnTo>
                  <a:pt x="1209" y="328"/>
                </a:lnTo>
                <a:lnTo>
                  <a:pt x="1206" y="329"/>
                </a:lnTo>
                <a:lnTo>
                  <a:pt x="1200" y="329"/>
                </a:lnTo>
                <a:lnTo>
                  <a:pt x="1198" y="335"/>
                </a:lnTo>
                <a:lnTo>
                  <a:pt x="1194" y="343"/>
                </a:lnTo>
                <a:lnTo>
                  <a:pt x="1188" y="349"/>
                </a:lnTo>
                <a:lnTo>
                  <a:pt x="1187" y="353"/>
                </a:lnTo>
                <a:lnTo>
                  <a:pt x="1186" y="355"/>
                </a:lnTo>
                <a:lnTo>
                  <a:pt x="1185" y="355"/>
                </a:lnTo>
                <a:lnTo>
                  <a:pt x="1185" y="356"/>
                </a:lnTo>
                <a:lnTo>
                  <a:pt x="1185" y="357"/>
                </a:lnTo>
                <a:lnTo>
                  <a:pt x="1185" y="357"/>
                </a:lnTo>
                <a:lnTo>
                  <a:pt x="1186" y="356"/>
                </a:lnTo>
                <a:lnTo>
                  <a:pt x="1186" y="355"/>
                </a:lnTo>
                <a:lnTo>
                  <a:pt x="1189" y="353"/>
                </a:lnTo>
                <a:lnTo>
                  <a:pt x="1192" y="352"/>
                </a:lnTo>
                <a:lnTo>
                  <a:pt x="1193" y="350"/>
                </a:lnTo>
                <a:lnTo>
                  <a:pt x="1193" y="349"/>
                </a:lnTo>
                <a:lnTo>
                  <a:pt x="1194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8"/>
                </a:lnTo>
                <a:lnTo>
                  <a:pt x="1195" y="349"/>
                </a:lnTo>
                <a:lnTo>
                  <a:pt x="1193" y="349"/>
                </a:lnTo>
                <a:lnTo>
                  <a:pt x="1193" y="350"/>
                </a:lnTo>
                <a:lnTo>
                  <a:pt x="1192" y="352"/>
                </a:lnTo>
                <a:lnTo>
                  <a:pt x="1192" y="352"/>
                </a:lnTo>
                <a:lnTo>
                  <a:pt x="1192" y="353"/>
                </a:lnTo>
                <a:lnTo>
                  <a:pt x="1192" y="354"/>
                </a:lnTo>
                <a:lnTo>
                  <a:pt x="1196" y="359"/>
                </a:lnTo>
                <a:lnTo>
                  <a:pt x="1193" y="363"/>
                </a:lnTo>
                <a:lnTo>
                  <a:pt x="1193" y="367"/>
                </a:lnTo>
                <a:lnTo>
                  <a:pt x="1195" y="369"/>
                </a:lnTo>
                <a:lnTo>
                  <a:pt x="1198" y="370"/>
                </a:lnTo>
                <a:lnTo>
                  <a:pt x="1199" y="368"/>
                </a:lnTo>
                <a:lnTo>
                  <a:pt x="1201" y="366"/>
                </a:lnTo>
                <a:lnTo>
                  <a:pt x="1203" y="364"/>
                </a:lnTo>
                <a:lnTo>
                  <a:pt x="1205" y="369"/>
                </a:lnTo>
                <a:lnTo>
                  <a:pt x="1205" y="374"/>
                </a:lnTo>
                <a:lnTo>
                  <a:pt x="1207" y="370"/>
                </a:lnTo>
                <a:lnTo>
                  <a:pt x="1209" y="368"/>
                </a:lnTo>
                <a:lnTo>
                  <a:pt x="1212" y="370"/>
                </a:lnTo>
                <a:lnTo>
                  <a:pt x="1212" y="374"/>
                </a:lnTo>
                <a:lnTo>
                  <a:pt x="1213" y="377"/>
                </a:lnTo>
                <a:lnTo>
                  <a:pt x="1215" y="378"/>
                </a:lnTo>
                <a:lnTo>
                  <a:pt x="1220" y="377"/>
                </a:lnTo>
                <a:lnTo>
                  <a:pt x="1221" y="373"/>
                </a:lnTo>
                <a:lnTo>
                  <a:pt x="1222" y="370"/>
                </a:lnTo>
                <a:lnTo>
                  <a:pt x="1223" y="368"/>
                </a:lnTo>
                <a:lnTo>
                  <a:pt x="1226" y="369"/>
                </a:lnTo>
                <a:lnTo>
                  <a:pt x="1228" y="371"/>
                </a:lnTo>
                <a:lnTo>
                  <a:pt x="1229" y="374"/>
                </a:lnTo>
                <a:lnTo>
                  <a:pt x="1227" y="375"/>
                </a:lnTo>
                <a:lnTo>
                  <a:pt x="1226" y="381"/>
                </a:lnTo>
                <a:lnTo>
                  <a:pt x="1227" y="387"/>
                </a:lnTo>
                <a:lnTo>
                  <a:pt x="1229" y="387"/>
                </a:lnTo>
                <a:lnTo>
                  <a:pt x="1229" y="388"/>
                </a:lnTo>
                <a:lnTo>
                  <a:pt x="1228" y="391"/>
                </a:lnTo>
                <a:lnTo>
                  <a:pt x="1224" y="392"/>
                </a:lnTo>
                <a:lnTo>
                  <a:pt x="1223" y="392"/>
                </a:lnTo>
                <a:lnTo>
                  <a:pt x="1222" y="392"/>
                </a:lnTo>
                <a:lnTo>
                  <a:pt x="1222" y="394"/>
                </a:lnTo>
                <a:lnTo>
                  <a:pt x="1222" y="396"/>
                </a:lnTo>
                <a:lnTo>
                  <a:pt x="1221" y="398"/>
                </a:lnTo>
                <a:lnTo>
                  <a:pt x="1219" y="401"/>
                </a:lnTo>
                <a:lnTo>
                  <a:pt x="1221" y="398"/>
                </a:lnTo>
                <a:lnTo>
                  <a:pt x="1222" y="396"/>
                </a:lnTo>
                <a:lnTo>
                  <a:pt x="1224" y="395"/>
                </a:lnTo>
                <a:lnTo>
                  <a:pt x="1226" y="397"/>
                </a:lnTo>
                <a:lnTo>
                  <a:pt x="1226" y="399"/>
                </a:lnTo>
                <a:lnTo>
                  <a:pt x="1223" y="402"/>
                </a:lnTo>
                <a:lnTo>
                  <a:pt x="1222" y="403"/>
                </a:lnTo>
                <a:lnTo>
                  <a:pt x="1221" y="405"/>
                </a:lnTo>
                <a:lnTo>
                  <a:pt x="1223" y="406"/>
                </a:lnTo>
                <a:lnTo>
                  <a:pt x="1226" y="405"/>
                </a:lnTo>
                <a:lnTo>
                  <a:pt x="1229" y="405"/>
                </a:lnTo>
                <a:lnTo>
                  <a:pt x="1230" y="409"/>
                </a:lnTo>
                <a:lnTo>
                  <a:pt x="1233" y="413"/>
                </a:lnTo>
                <a:lnTo>
                  <a:pt x="1238" y="415"/>
                </a:lnTo>
                <a:lnTo>
                  <a:pt x="1236" y="412"/>
                </a:lnTo>
                <a:lnTo>
                  <a:pt x="1235" y="411"/>
                </a:lnTo>
                <a:lnTo>
                  <a:pt x="1233" y="409"/>
                </a:lnTo>
                <a:lnTo>
                  <a:pt x="1234" y="405"/>
                </a:lnTo>
                <a:lnTo>
                  <a:pt x="1236" y="405"/>
                </a:lnTo>
                <a:lnTo>
                  <a:pt x="1238" y="409"/>
                </a:lnTo>
                <a:lnTo>
                  <a:pt x="1242" y="411"/>
                </a:lnTo>
                <a:lnTo>
                  <a:pt x="1244" y="408"/>
                </a:lnTo>
                <a:lnTo>
                  <a:pt x="1244" y="409"/>
                </a:lnTo>
                <a:lnTo>
                  <a:pt x="1245" y="410"/>
                </a:lnTo>
                <a:lnTo>
                  <a:pt x="1245" y="411"/>
                </a:lnTo>
                <a:lnTo>
                  <a:pt x="1245" y="413"/>
                </a:lnTo>
                <a:lnTo>
                  <a:pt x="1248" y="412"/>
                </a:lnTo>
                <a:lnTo>
                  <a:pt x="1249" y="411"/>
                </a:lnTo>
                <a:lnTo>
                  <a:pt x="1250" y="409"/>
                </a:lnTo>
                <a:lnTo>
                  <a:pt x="1248" y="409"/>
                </a:lnTo>
                <a:lnTo>
                  <a:pt x="1248" y="402"/>
                </a:lnTo>
                <a:lnTo>
                  <a:pt x="1248" y="396"/>
                </a:lnTo>
                <a:lnTo>
                  <a:pt x="1249" y="395"/>
                </a:lnTo>
                <a:lnTo>
                  <a:pt x="1250" y="395"/>
                </a:lnTo>
                <a:lnTo>
                  <a:pt x="1251" y="396"/>
                </a:lnTo>
                <a:lnTo>
                  <a:pt x="1254" y="396"/>
                </a:lnTo>
                <a:lnTo>
                  <a:pt x="1254" y="395"/>
                </a:lnTo>
                <a:lnTo>
                  <a:pt x="1252" y="394"/>
                </a:lnTo>
                <a:lnTo>
                  <a:pt x="1251" y="391"/>
                </a:lnTo>
                <a:lnTo>
                  <a:pt x="1252" y="389"/>
                </a:lnTo>
                <a:lnTo>
                  <a:pt x="1256" y="391"/>
                </a:lnTo>
                <a:lnTo>
                  <a:pt x="1257" y="395"/>
                </a:lnTo>
                <a:lnTo>
                  <a:pt x="1257" y="397"/>
                </a:lnTo>
                <a:lnTo>
                  <a:pt x="1258" y="399"/>
                </a:lnTo>
                <a:lnTo>
                  <a:pt x="1260" y="405"/>
                </a:lnTo>
                <a:lnTo>
                  <a:pt x="1257" y="411"/>
                </a:lnTo>
                <a:lnTo>
                  <a:pt x="1255" y="415"/>
                </a:lnTo>
                <a:lnTo>
                  <a:pt x="1258" y="417"/>
                </a:lnTo>
                <a:lnTo>
                  <a:pt x="1258" y="417"/>
                </a:lnTo>
                <a:lnTo>
                  <a:pt x="1258" y="418"/>
                </a:lnTo>
                <a:lnTo>
                  <a:pt x="1258" y="417"/>
                </a:lnTo>
                <a:lnTo>
                  <a:pt x="1258" y="417"/>
                </a:lnTo>
                <a:lnTo>
                  <a:pt x="1260" y="415"/>
                </a:lnTo>
                <a:lnTo>
                  <a:pt x="1262" y="417"/>
                </a:lnTo>
                <a:lnTo>
                  <a:pt x="1264" y="419"/>
                </a:lnTo>
                <a:lnTo>
                  <a:pt x="1265" y="420"/>
                </a:lnTo>
                <a:lnTo>
                  <a:pt x="1268" y="419"/>
                </a:lnTo>
                <a:lnTo>
                  <a:pt x="1268" y="422"/>
                </a:lnTo>
                <a:lnTo>
                  <a:pt x="1268" y="426"/>
                </a:lnTo>
                <a:lnTo>
                  <a:pt x="1268" y="431"/>
                </a:lnTo>
                <a:lnTo>
                  <a:pt x="1268" y="434"/>
                </a:lnTo>
                <a:lnTo>
                  <a:pt x="1267" y="437"/>
                </a:lnTo>
                <a:lnTo>
                  <a:pt x="1268" y="434"/>
                </a:lnTo>
                <a:lnTo>
                  <a:pt x="1268" y="431"/>
                </a:lnTo>
                <a:lnTo>
                  <a:pt x="1269" y="431"/>
                </a:lnTo>
                <a:lnTo>
                  <a:pt x="1269" y="431"/>
                </a:lnTo>
                <a:lnTo>
                  <a:pt x="1271" y="430"/>
                </a:lnTo>
                <a:lnTo>
                  <a:pt x="1272" y="427"/>
                </a:lnTo>
                <a:lnTo>
                  <a:pt x="1272" y="422"/>
                </a:lnTo>
                <a:lnTo>
                  <a:pt x="1274" y="418"/>
                </a:lnTo>
                <a:lnTo>
                  <a:pt x="1277" y="417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81" y="418"/>
                </a:lnTo>
                <a:lnTo>
                  <a:pt x="1278" y="420"/>
                </a:lnTo>
                <a:lnTo>
                  <a:pt x="1279" y="424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23"/>
                </a:lnTo>
                <a:lnTo>
                  <a:pt x="1281" y="418"/>
                </a:lnTo>
                <a:lnTo>
                  <a:pt x="1284" y="420"/>
                </a:lnTo>
                <a:lnTo>
                  <a:pt x="1289" y="422"/>
                </a:lnTo>
                <a:lnTo>
                  <a:pt x="1284" y="415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10"/>
                </a:lnTo>
                <a:lnTo>
                  <a:pt x="1276" y="408"/>
                </a:lnTo>
                <a:lnTo>
                  <a:pt x="1276" y="406"/>
                </a:lnTo>
                <a:lnTo>
                  <a:pt x="1278" y="404"/>
                </a:lnTo>
                <a:lnTo>
                  <a:pt x="1279" y="402"/>
                </a:lnTo>
                <a:lnTo>
                  <a:pt x="1278" y="404"/>
                </a:lnTo>
                <a:lnTo>
                  <a:pt x="1276" y="406"/>
                </a:lnTo>
                <a:lnTo>
                  <a:pt x="1271" y="402"/>
                </a:lnTo>
                <a:lnTo>
                  <a:pt x="1268" y="396"/>
                </a:lnTo>
                <a:lnTo>
                  <a:pt x="1267" y="395"/>
                </a:lnTo>
                <a:lnTo>
                  <a:pt x="1267" y="392"/>
                </a:lnTo>
                <a:lnTo>
                  <a:pt x="1268" y="391"/>
                </a:lnTo>
                <a:lnTo>
                  <a:pt x="1269" y="390"/>
                </a:lnTo>
                <a:lnTo>
                  <a:pt x="1275" y="390"/>
                </a:lnTo>
                <a:lnTo>
                  <a:pt x="1278" y="385"/>
                </a:lnTo>
                <a:lnTo>
                  <a:pt x="1275" y="385"/>
                </a:lnTo>
                <a:lnTo>
                  <a:pt x="1272" y="382"/>
                </a:lnTo>
                <a:lnTo>
                  <a:pt x="1272" y="381"/>
                </a:lnTo>
                <a:lnTo>
                  <a:pt x="1270" y="382"/>
                </a:lnTo>
                <a:lnTo>
                  <a:pt x="1261" y="385"/>
                </a:lnTo>
                <a:lnTo>
                  <a:pt x="1251" y="384"/>
                </a:lnTo>
                <a:lnTo>
                  <a:pt x="1251" y="385"/>
                </a:lnTo>
                <a:lnTo>
                  <a:pt x="1251" y="385"/>
                </a:lnTo>
                <a:lnTo>
                  <a:pt x="1249" y="385"/>
                </a:lnTo>
                <a:lnTo>
                  <a:pt x="1248" y="387"/>
                </a:lnTo>
                <a:close/>
                <a:moveTo>
                  <a:pt x="1215" y="326"/>
                </a:moveTo>
                <a:lnTo>
                  <a:pt x="1214" y="326"/>
                </a:lnTo>
                <a:lnTo>
                  <a:pt x="1213" y="328"/>
                </a:lnTo>
                <a:lnTo>
                  <a:pt x="1214" y="329"/>
                </a:lnTo>
                <a:lnTo>
                  <a:pt x="1215" y="329"/>
                </a:lnTo>
                <a:lnTo>
                  <a:pt x="1217" y="329"/>
                </a:lnTo>
                <a:lnTo>
                  <a:pt x="1219" y="327"/>
                </a:lnTo>
                <a:lnTo>
                  <a:pt x="1217" y="326"/>
                </a:lnTo>
                <a:lnTo>
                  <a:pt x="1215" y="326"/>
                </a:lnTo>
                <a:close/>
                <a:moveTo>
                  <a:pt x="1271" y="410"/>
                </a:moveTo>
                <a:lnTo>
                  <a:pt x="1271" y="410"/>
                </a:lnTo>
                <a:lnTo>
                  <a:pt x="1271" y="410"/>
                </a:lnTo>
                <a:lnTo>
                  <a:pt x="1268" y="409"/>
                </a:lnTo>
                <a:lnTo>
                  <a:pt x="1264" y="406"/>
                </a:lnTo>
                <a:lnTo>
                  <a:pt x="1264" y="410"/>
                </a:lnTo>
                <a:lnTo>
                  <a:pt x="1268" y="412"/>
                </a:lnTo>
                <a:lnTo>
                  <a:pt x="1270" y="412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lnTo>
                  <a:pt x="1271" y="410"/>
                </a:lnTo>
                <a:close/>
                <a:moveTo>
                  <a:pt x="695" y="629"/>
                </a:move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lnTo>
                  <a:pt x="691" y="633"/>
                </a:lnTo>
                <a:lnTo>
                  <a:pt x="687" y="633"/>
                </a:lnTo>
                <a:lnTo>
                  <a:pt x="687" y="634"/>
                </a:lnTo>
                <a:lnTo>
                  <a:pt x="685" y="635"/>
                </a:lnTo>
                <a:lnTo>
                  <a:pt x="687" y="634"/>
                </a:lnTo>
                <a:lnTo>
                  <a:pt x="687" y="633"/>
                </a:lnTo>
                <a:lnTo>
                  <a:pt x="687" y="633"/>
                </a:lnTo>
                <a:lnTo>
                  <a:pt x="687" y="633"/>
                </a:lnTo>
                <a:lnTo>
                  <a:pt x="690" y="630"/>
                </a:lnTo>
                <a:lnTo>
                  <a:pt x="695" y="629"/>
                </a:lnTo>
                <a:lnTo>
                  <a:pt x="698" y="623"/>
                </a:lnTo>
                <a:lnTo>
                  <a:pt x="703" y="620"/>
                </a:lnTo>
                <a:lnTo>
                  <a:pt x="709" y="618"/>
                </a:lnTo>
                <a:lnTo>
                  <a:pt x="712" y="613"/>
                </a:lnTo>
                <a:lnTo>
                  <a:pt x="723" y="607"/>
                </a:lnTo>
                <a:lnTo>
                  <a:pt x="730" y="597"/>
                </a:lnTo>
                <a:lnTo>
                  <a:pt x="734" y="591"/>
                </a:lnTo>
                <a:lnTo>
                  <a:pt x="741" y="587"/>
                </a:lnTo>
                <a:lnTo>
                  <a:pt x="738" y="592"/>
                </a:lnTo>
                <a:lnTo>
                  <a:pt x="734" y="594"/>
                </a:lnTo>
                <a:lnTo>
                  <a:pt x="732" y="597"/>
                </a:lnTo>
                <a:lnTo>
                  <a:pt x="732" y="600"/>
                </a:lnTo>
                <a:lnTo>
                  <a:pt x="732" y="602"/>
                </a:lnTo>
                <a:lnTo>
                  <a:pt x="733" y="604"/>
                </a:lnTo>
                <a:lnTo>
                  <a:pt x="737" y="604"/>
                </a:lnTo>
                <a:lnTo>
                  <a:pt x="739" y="601"/>
                </a:lnTo>
                <a:lnTo>
                  <a:pt x="741" y="599"/>
                </a:lnTo>
                <a:lnTo>
                  <a:pt x="744" y="598"/>
                </a:lnTo>
                <a:lnTo>
                  <a:pt x="744" y="598"/>
                </a:lnTo>
                <a:lnTo>
                  <a:pt x="744" y="598"/>
                </a:lnTo>
                <a:lnTo>
                  <a:pt x="741" y="604"/>
                </a:lnTo>
                <a:lnTo>
                  <a:pt x="738" y="607"/>
                </a:lnTo>
                <a:lnTo>
                  <a:pt x="736" y="608"/>
                </a:lnTo>
                <a:lnTo>
                  <a:pt x="736" y="611"/>
                </a:lnTo>
                <a:lnTo>
                  <a:pt x="738" y="611"/>
                </a:lnTo>
                <a:lnTo>
                  <a:pt x="740" y="611"/>
                </a:lnTo>
                <a:lnTo>
                  <a:pt x="743" y="608"/>
                </a:lnTo>
                <a:lnTo>
                  <a:pt x="747" y="607"/>
                </a:lnTo>
                <a:lnTo>
                  <a:pt x="747" y="608"/>
                </a:lnTo>
                <a:lnTo>
                  <a:pt x="747" y="608"/>
                </a:lnTo>
                <a:lnTo>
                  <a:pt x="744" y="611"/>
                </a:lnTo>
                <a:lnTo>
                  <a:pt x="740" y="611"/>
                </a:lnTo>
                <a:lnTo>
                  <a:pt x="732" y="615"/>
                </a:lnTo>
                <a:lnTo>
                  <a:pt x="724" y="614"/>
                </a:lnTo>
                <a:lnTo>
                  <a:pt x="726" y="612"/>
                </a:lnTo>
                <a:lnTo>
                  <a:pt x="727" y="608"/>
                </a:lnTo>
                <a:lnTo>
                  <a:pt x="719" y="613"/>
                </a:lnTo>
                <a:lnTo>
                  <a:pt x="712" y="619"/>
                </a:lnTo>
                <a:lnTo>
                  <a:pt x="710" y="620"/>
                </a:lnTo>
                <a:lnTo>
                  <a:pt x="709" y="621"/>
                </a:lnTo>
                <a:lnTo>
                  <a:pt x="708" y="621"/>
                </a:lnTo>
                <a:lnTo>
                  <a:pt x="708" y="621"/>
                </a:lnTo>
                <a:lnTo>
                  <a:pt x="706" y="622"/>
                </a:lnTo>
                <a:lnTo>
                  <a:pt x="706" y="623"/>
                </a:lnTo>
                <a:lnTo>
                  <a:pt x="705" y="623"/>
                </a:lnTo>
                <a:lnTo>
                  <a:pt x="703" y="625"/>
                </a:lnTo>
                <a:lnTo>
                  <a:pt x="699" y="627"/>
                </a:lnTo>
                <a:lnTo>
                  <a:pt x="695" y="629"/>
                </a:lnTo>
                <a:lnTo>
                  <a:pt x="695" y="629"/>
                </a:lnTo>
                <a:lnTo>
                  <a:pt x="695" y="629"/>
                </a:lnTo>
                <a:close/>
                <a:moveTo>
                  <a:pt x="26" y="1196"/>
                </a:moveTo>
                <a:lnTo>
                  <a:pt x="26" y="1195"/>
                </a:lnTo>
                <a:lnTo>
                  <a:pt x="26" y="1195"/>
                </a:lnTo>
                <a:lnTo>
                  <a:pt x="25" y="1195"/>
                </a:lnTo>
                <a:lnTo>
                  <a:pt x="25" y="1196"/>
                </a:lnTo>
                <a:lnTo>
                  <a:pt x="25" y="1196"/>
                </a:lnTo>
                <a:lnTo>
                  <a:pt x="26" y="1198"/>
                </a:lnTo>
                <a:lnTo>
                  <a:pt x="26" y="1196"/>
                </a:lnTo>
                <a:lnTo>
                  <a:pt x="26" y="1196"/>
                </a:lnTo>
                <a:close/>
                <a:moveTo>
                  <a:pt x="1733" y="402"/>
                </a:moveTo>
                <a:lnTo>
                  <a:pt x="1733" y="402"/>
                </a:lnTo>
                <a:lnTo>
                  <a:pt x="1734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lnTo>
                  <a:pt x="1733" y="402"/>
                </a:lnTo>
                <a:close/>
                <a:moveTo>
                  <a:pt x="764" y="639"/>
                </a:moveTo>
                <a:lnTo>
                  <a:pt x="754" y="643"/>
                </a:lnTo>
                <a:lnTo>
                  <a:pt x="745" y="647"/>
                </a:lnTo>
                <a:lnTo>
                  <a:pt x="753" y="647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8"/>
                </a:lnTo>
                <a:lnTo>
                  <a:pt x="761" y="649"/>
                </a:lnTo>
                <a:lnTo>
                  <a:pt x="761" y="649"/>
                </a:lnTo>
                <a:lnTo>
                  <a:pt x="748" y="651"/>
                </a:lnTo>
                <a:lnTo>
                  <a:pt x="734" y="654"/>
                </a:lnTo>
                <a:lnTo>
                  <a:pt x="733" y="655"/>
                </a:lnTo>
                <a:lnTo>
                  <a:pt x="732" y="654"/>
                </a:lnTo>
                <a:lnTo>
                  <a:pt x="732" y="653"/>
                </a:lnTo>
                <a:lnTo>
                  <a:pt x="732" y="651"/>
                </a:lnTo>
                <a:lnTo>
                  <a:pt x="747" y="642"/>
                </a:lnTo>
                <a:lnTo>
                  <a:pt x="764" y="637"/>
                </a:lnTo>
                <a:lnTo>
                  <a:pt x="767" y="640"/>
                </a:lnTo>
                <a:lnTo>
                  <a:pt x="770" y="641"/>
                </a:lnTo>
                <a:lnTo>
                  <a:pt x="767" y="640"/>
                </a:lnTo>
                <a:lnTo>
                  <a:pt x="764" y="637"/>
                </a:lnTo>
                <a:lnTo>
                  <a:pt x="764" y="639"/>
                </a:lnTo>
                <a:lnTo>
                  <a:pt x="764" y="639"/>
                </a:lnTo>
                <a:close/>
                <a:moveTo>
                  <a:pt x="761" y="646"/>
                </a:moveTo>
                <a:lnTo>
                  <a:pt x="761" y="643"/>
                </a:lnTo>
                <a:lnTo>
                  <a:pt x="764" y="642"/>
                </a:lnTo>
                <a:lnTo>
                  <a:pt x="765" y="643"/>
                </a:lnTo>
                <a:lnTo>
                  <a:pt x="765" y="644"/>
                </a:lnTo>
                <a:lnTo>
                  <a:pt x="768" y="644"/>
                </a:lnTo>
                <a:lnTo>
                  <a:pt x="771" y="643"/>
                </a:lnTo>
                <a:lnTo>
                  <a:pt x="768" y="644"/>
                </a:lnTo>
                <a:lnTo>
                  <a:pt x="765" y="644"/>
                </a:lnTo>
                <a:lnTo>
                  <a:pt x="764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lnTo>
                  <a:pt x="761" y="646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5" y="636"/>
                </a:lnTo>
                <a:lnTo>
                  <a:pt x="695" y="636"/>
                </a:lnTo>
                <a:lnTo>
                  <a:pt x="696" y="636"/>
                </a:lnTo>
                <a:lnTo>
                  <a:pt x="697" y="637"/>
                </a:lnTo>
                <a:lnTo>
                  <a:pt x="695" y="637"/>
                </a:ln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close/>
                <a:moveTo>
                  <a:pt x="694" y="637"/>
                </a:moveTo>
                <a:lnTo>
                  <a:pt x="694" y="637"/>
                </a:lnTo>
                <a:lnTo>
                  <a:pt x="694" y="637"/>
                </a:lnTo>
                <a:lnTo>
                  <a:pt x="694" y="637"/>
                </a:lnTo>
                <a:lnTo>
                  <a:pt x="692" y="640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9" y="641"/>
                </a:lnTo>
                <a:lnTo>
                  <a:pt x="687" y="644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1" y="644"/>
                </a:lnTo>
                <a:lnTo>
                  <a:pt x="683" y="643"/>
                </a:lnTo>
                <a:lnTo>
                  <a:pt x="684" y="641"/>
                </a:lnTo>
                <a:lnTo>
                  <a:pt x="684" y="641"/>
                </a:lnTo>
                <a:lnTo>
                  <a:pt x="687" y="641"/>
                </a:lnTo>
                <a:lnTo>
                  <a:pt x="689" y="641"/>
                </a:lnTo>
                <a:lnTo>
                  <a:pt x="690" y="637"/>
                </a:lnTo>
                <a:lnTo>
                  <a:pt x="694" y="637"/>
                </a:lnTo>
                <a:close/>
                <a:moveTo>
                  <a:pt x="331" y="907"/>
                </a:moveTo>
                <a:lnTo>
                  <a:pt x="330" y="907"/>
                </a:lnTo>
                <a:lnTo>
                  <a:pt x="330" y="907"/>
                </a:lnTo>
                <a:lnTo>
                  <a:pt x="323" y="906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22" y="899"/>
                </a:lnTo>
                <a:lnTo>
                  <a:pt x="315" y="901"/>
                </a:lnTo>
                <a:lnTo>
                  <a:pt x="311" y="894"/>
                </a:lnTo>
                <a:lnTo>
                  <a:pt x="311" y="894"/>
                </a:lnTo>
                <a:lnTo>
                  <a:pt x="309" y="893"/>
                </a:lnTo>
                <a:lnTo>
                  <a:pt x="309" y="896"/>
                </a:lnTo>
                <a:lnTo>
                  <a:pt x="308" y="899"/>
                </a:lnTo>
                <a:lnTo>
                  <a:pt x="309" y="900"/>
                </a:lnTo>
                <a:lnTo>
                  <a:pt x="309" y="900"/>
                </a:lnTo>
                <a:lnTo>
                  <a:pt x="309" y="901"/>
                </a:lnTo>
                <a:lnTo>
                  <a:pt x="309" y="901"/>
                </a:lnTo>
                <a:lnTo>
                  <a:pt x="308" y="900"/>
                </a:lnTo>
                <a:lnTo>
                  <a:pt x="308" y="899"/>
                </a:lnTo>
                <a:lnTo>
                  <a:pt x="301" y="894"/>
                </a:lnTo>
                <a:lnTo>
                  <a:pt x="296" y="886"/>
                </a:lnTo>
                <a:lnTo>
                  <a:pt x="302" y="892"/>
                </a:lnTo>
                <a:lnTo>
                  <a:pt x="309" y="893"/>
                </a:lnTo>
                <a:lnTo>
                  <a:pt x="309" y="892"/>
                </a:lnTo>
                <a:lnTo>
                  <a:pt x="310" y="889"/>
                </a:lnTo>
                <a:lnTo>
                  <a:pt x="312" y="885"/>
                </a:lnTo>
                <a:lnTo>
                  <a:pt x="308" y="882"/>
                </a:lnTo>
                <a:lnTo>
                  <a:pt x="306" y="882"/>
                </a:lnTo>
                <a:lnTo>
                  <a:pt x="306" y="880"/>
                </a:lnTo>
                <a:lnTo>
                  <a:pt x="306" y="879"/>
                </a:lnTo>
                <a:lnTo>
                  <a:pt x="309" y="879"/>
                </a:lnTo>
                <a:lnTo>
                  <a:pt x="312" y="877"/>
                </a:lnTo>
                <a:lnTo>
                  <a:pt x="312" y="873"/>
                </a:lnTo>
                <a:lnTo>
                  <a:pt x="311" y="872"/>
                </a:lnTo>
                <a:lnTo>
                  <a:pt x="312" y="871"/>
                </a:lnTo>
                <a:lnTo>
                  <a:pt x="318" y="872"/>
                </a:lnTo>
                <a:lnTo>
                  <a:pt x="322" y="878"/>
                </a:lnTo>
                <a:lnTo>
                  <a:pt x="323" y="881"/>
                </a:lnTo>
                <a:lnTo>
                  <a:pt x="328" y="881"/>
                </a:lnTo>
                <a:lnTo>
                  <a:pt x="332" y="881"/>
                </a:lnTo>
                <a:lnTo>
                  <a:pt x="335" y="886"/>
                </a:lnTo>
                <a:lnTo>
                  <a:pt x="333" y="889"/>
                </a:lnTo>
                <a:lnTo>
                  <a:pt x="336" y="893"/>
                </a:lnTo>
                <a:lnTo>
                  <a:pt x="337" y="896"/>
                </a:lnTo>
                <a:lnTo>
                  <a:pt x="337" y="901"/>
                </a:lnTo>
                <a:lnTo>
                  <a:pt x="331" y="899"/>
                </a:lnTo>
                <a:lnTo>
                  <a:pt x="329" y="893"/>
                </a:lnTo>
                <a:lnTo>
                  <a:pt x="326" y="888"/>
                </a:lnTo>
                <a:lnTo>
                  <a:pt x="322" y="886"/>
                </a:lnTo>
                <a:lnTo>
                  <a:pt x="319" y="885"/>
                </a:lnTo>
                <a:lnTo>
                  <a:pt x="317" y="881"/>
                </a:lnTo>
                <a:lnTo>
                  <a:pt x="317" y="880"/>
                </a:lnTo>
                <a:lnTo>
                  <a:pt x="315" y="880"/>
                </a:lnTo>
                <a:lnTo>
                  <a:pt x="313" y="882"/>
                </a:lnTo>
                <a:lnTo>
                  <a:pt x="313" y="885"/>
                </a:lnTo>
                <a:lnTo>
                  <a:pt x="317" y="888"/>
                </a:lnTo>
                <a:lnTo>
                  <a:pt x="319" y="891"/>
                </a:lnTo>
                <a:lnTo>
                  <a:pt x="322" y="889"/>
                </a:lnTo>
                <a:lnTo>
                  <a:pt x="322" y="892"/>
                </a:lnTo>
                <a:lnTo>
                  <a:pt x="322" y="895"/>
                </a:lnTo>
                <a:lnTo>
                  <a:pt x="322" y="899"/>
                </a:lnTo>
                <a:lnTo>
                  <a:pt x="328" y="901"/>
                </a:lnTo>
                <a:lnTo>
                  <a:pt x="331" y="907"/>
                </a:lnTo>
                <a:lnTo>
                  <a:pt x="331" y="907"/>
                </a:lnTo>
                <a:close/>
                <a:moveTo>
                  <a:pt x="668" y="728"/>
                </a:moveTo>
                <a:lnTo>
                  <a:pt x="668" y="728"/>
                </a:lnTo>
                <a:lnTo>
                  <a:pt x="668" y="728"/>
                </a:lnTo>
                <a:lnTo>
                  <a:pt x="662" y="735"/>
                </a:lnTo>
                <a:lnTo>
                  <a:pt x="654" y="738"/>
                </a:lnTo>
                <a:lnTo>
                  <a:pt x="650" y="739"/>
                </a:lnTo>
                <a:lnTo>
                  <a:pt x="647" y="741"/>
                </a:lnTo>
                <a:lnTo>
                  <a:pt x="647" y="745"/>
                </a:lnTo>
                <a:lnTo>
                  <a:pt x="648" y="748"/>
                </a:lnTo>
                <a:lnTo>
                  <a:pt x="651" y="753"/>
                </a:lnTo>
                <a:lnTo>
                  <a:pt x="648" y="758"/>
                </a:lnTo>
                <a:lnTo>
                  <a:pt x="647" y="755"/>
                </a:lnTo>
                <a:lnTo>
                  <a:pt x="646" y="752"/>
                </a:lnTo>
                <a:lnTo>
                  <a:pt x="644" y="755"/>
                </a:lnTo>
                <a:lnTo>
                  <a:pt x="644" y="759"/>
                </a:lnTo>
                <a:lnTo>
                  <a:pt x="642" y="765"/>
                </a:lnTo>
                <a:lnTo>
                  <a:pt x="643" y="769"/>
                </a:lnTo>
                <a:lnTo>
                  <a:pt x="651" y="795"/>
                </a:lnTo>
                <a:lnTo>
                  <a:pt x="656" y="822"/>
                </a:lnTo>
                <a:lnTo>
                  <a:pt x="657" y="824"/>
                </a:lnTo>
                <a:lnTo>
                  <a:pt x="660" y="826"/>
                </a:lnTo>
                <a:lnTo>
                  <a:pt x="660" y="824"/>
                </a:lnTo>
                <a:lnTo>
                  <a:pt x="661" y="822"/>
                </a:lnTo>
                <a:lnTo>
                  <a:pt x="660" y="824"/>
                </a:lnTo>
                <a:lnTo>
                  <a:pt x="660" y="826"/>
                </a:lnTo>
                <a:lnTo>
                  <a:pt x="668" y="863"/>
                </a:lnTo>
                <a:lnTo>
                  <a:pt x="679" y="898"/>
                </a:lnTo>
                <a:lnTo>
                  <a:pt x="684" y="909"/>
                </a:lnTo>
                <a:lnTo>
                  <a:pt x="692" y="917"/>
                </a:lnTo>
                <a:lnTo>
                  <a:pt x="691" y="919"/>
                </a:lnTo>
                <a:lnTo>
                  <a:pt x="690" y="921"/>
                </a:lnTo>
                <a:lnTo>
                  <a:pt x="694" y="929"/>
                </a:lnTo>
                <a:lnTo>
                  <a:pt x="698" y="936"/>
                </a:lnTo>
                <a:lnTo>
                  <a:pt x="699" y="936"/>
                </a:lnTo>
                <a:lnTo>
                  <a:pt x="701" y="936"/>
                </a:lnTo>
                <a:lnTo>
                  <a:pt x="709" y="933"/>
                </a:lnTo>
                <a:lnTo>
                  <a:pt x="717" y="930"/>
                </a:lnTo>
                <a:lnTo>
                  <a:pt x="724" y="930"/>
                </a:lnTo>
                <a:lnTo>
                  <a:pt x="724" y="935"/>
                </a:lnTo>
                <a:lnTo>
                  <a:pt x="718" y="936"/>
                </a:lnTo>
                <a:lnTo>
                  <a:pt x="715" y="942"/>
                </a:lnTo>
                <a:lnTo>
                  <a:pt x="715" y="949"/>
                </a:lnTo>
                <a:lnTo>
                  <a:pt x="718" y="954"/>
                </a:lnTo>
                <a:lnTo>
                  <a:pt x="723" y="950"/>
                </a:lnTo>
                <a:lnTo>
                  <a:pt x="723" y="944"/>
                </a:lnTo>
                <a:lnTo>
                  <a:pt x="725" y="944"/>
                </a:lnTo>
                <a:lnTo>
                  <a:pt x="727" y="944"/>
                </a:lnTo>
                <a:lnTo>
                  <a:pt x="730" y="951"/>
                </a:lnTo>
                <a:lnTo>
                  <a:pt x="732" y="958"/>
                </a:lnTo>
                <a:lnTo>
                  <a:pt x="732" y="963"/>
                </a:lnTo>
                <a:lnTo>
                  <a:pt x="727" y="963"/>
                </a:lnTo>
                <a:lnTo>
                  <a:pt x="724" y="962"/>
                </a:lnTo>
                <a:lnTo>
                  <a:pt x="720" y="964"/>
                </a:lnTo>
                <a:lnTo>
                  <a:pt x="726" y="965"/>
                </a:lnTo>
                <a:lnTo>
                  <a:pt x="731" y="970"/>
                </a:lnTo>
                <a:lnTo>
                  <a:pt x="733" y="973"/>
                </a:lnTo>
                <a:lnTo>
                  <a:pt x="737" y="973"/>
                </a:lnTo>
                <a:lnTo>
                  <a:pt x="740" y="970"/>
                </a:lnTo>
                <a:lnTo>
                  <a:pt x="744" y="966"/>
                </a:lnTo>
                <a:lnTo>
                  <a:pt x="745" y="959"/>
                </a:lnTo>
                <a:lnTo>
                  <a:pt x="744" y="952"/>
                </a:lnTo>
                <a:lnTo>
                  <a:pt x="743" y="943"/>
                </a:lnTo>
                <a:lnTo>
                  <a:pt x="740" y="933"/>
                </a:lnTo>
                <a:lnTo>
                  <a:pt x="739" y="922"/>
                </a:lnTo>
                <a:lnTo>
                  <a:pt x="737" y="913"/>
                </a:lnTo>
                <a:lnTo>
                  <a:pt x="736" y="909"/>
                </a:lnTo>
                <a:lnTo>
                  <a:pt x="737" y="907"/>
                </a:lnTo>
                <a:lnTo>
                  <a:pt x="741" y="919"/>
                </a:lnTo>
                <a:lnTo>
                  <a:pt x="745" y="929"/>
                </a:lnTo>
                <a:lnTo>
                  <a:pt x="750" y="956"/>
                </a:lnTo>
                <a:lnTo>
                  <a:pt x="756" y="982"/>
                </a:lnTo>
                <a:lnTo>
                  <a:pt x="756" y="983"/>
                </a:lnTo>
                <a:lnTo>
                  <a:pt x="754" y="985"/>
                </a:lnTo>
                <a:lnTo>
                  <a:pt x="754" y="987"/>
                </a:lnTo>
                <a:lnTo>
                  <a:pt x="756" y="989"/>
                </a:lnTo>
                <a:lnTo>
                  <a:pt x="758" y="989"/>
                </a:lnTo>
                <a:lnTo>
                  <a:pt x="760" y="987"/>
                </a:lnTo>
                <a:lnTo>
                  <a:pt x="761" y="990"/>
                </a:lnTo>
                <a:lnTo>
                  <a:pt x="759" y="992"/>
                </a:lnTo>
                <a:lnTo>
                  <a:pt x="757" y="994"/>
                </a:lnTo>
                <a:lnTo>
                  <a:pt x="757" y="997"/>
                </a:lnTo>
                <a:lnTo>
                  <a:pt x="756" y="1007"/>
                </a:lnTo>
                <a:lnTo>
                  <a:pt x="744" y="1011"/>
                </a:lnTo>
                <a:lnTo>
                  <a:pt x="748" y="1027"/>
                </a:lnTo>
                <a:lnTo>
                  <a:pt x="752" y="1045"/>
                </a:lnTo>
                <a:lnTo>
                  <a:pt x="756" y="1063"/>
                </a:lnTo>
                <a:lnTo>
                  <a:pt x="757" y="1083"/>
                </a:lnTo>
                <a:lnTo>
                  <a:pt x="757" y="1090"/>
                </a:lnTo>
                <a:lnTo>
                  <a:pt x="759" y="1097"/>
                </a:lnTo>
                <a:lnTo>
                  <a:pt x="759" y="1098"/>
                </a:lnTo>
                <a:lnTo>
                  <a:pt x="759" y="1100"/>
                </a:lnTo>
                <a:lnTo>
                  <a:pt x="758" y="1103"/>
                </a:lnTo>
                <a:lnTo>
                  <a:pt x="759" y="1105"/>
                </a:lnTo>
                <a:lnTo>
                  <a:pt x="759" y="1112"/>
                </a:lnTo>
                <a:lnTo>
                  <a:pt x="760" y="1111"/>
                </a:lnTo>
                <a:lnTo>
                  <a:pt x="761" y="1110"/>
                </a:lnTo>
                <a:lnTo>
                  <a:pt x="760" y="1111"/>
                </a:lnTo>
                <a:lnTo>
                  <a:pt x="759" y="1112"/>
                </a:lnTo>
                <a:lnTo>
                  <a:pt x="759" y="1115"/>
                </a:lnTo>
                <a:lnTo>
                  <a:pt x="759" y="1117"/>
                </a:lnTo>
                <a:lnTo>
                  <a:pt x="759" y="1139"/>
                </a:lnTo>
                <a:lnTo>
                  <a:pt x="760" y="1161"/>
                </a:lnTo>
                <a:lnTo>
                  <a:pt x="761" y="1182"/>
                </a:lnTo>
                <a:lnTo>
                  <a:pt x="761" y="1203"/>
                </a:lnTo>
                <a:lnTo>
                  <a:pt x="761" y="1230"/>
                </a:lnTo>
                <a:lnTo>
                  <a:pt x="759" y="1258"/>
                </a:lnTo>
                <a:lnTo>
                  <a:pt x="758" y="1265"/>
                </a:lnTo>
                <a:lnTo>
                  <a:pt x="759" y="1272"/>
                </a:lnTo>
                <a:lnTo>
                  <a:pt x="759" y="1273"/>
                </a:lnTo>
                <a:lnTo>
                  <a:pt x="759" y="1275"/>
                </a:lnTo>
                <a:lnTo>
                  <a:pt x="759" y="1279"/>
                </a:lnTo>
                <a:lnTo>
                  <a:pt x="760" y="1285"/>
                </a:lnTo>
                <a:lnTo>
                  <a:pt x="760" y="1290"/>
                </a:lnTo>
                <a:lnTo>
                  <a:pt x="760" y="1294"/>
                </a:lnTo>
                <a:lnTo>
                  <a:pt x="759" y="1301"/>
                </a:lnTo>
                <a:lnTo>
                  <a:pt x="761" y="1308"/>
                </a:lnTo>
                <a:lnTo>
                  <a:pt x="760" y="1311"/>
                </a:lnTo>
                <a:lnTo>
                  <a:pt x="760" y="1314"/>
                </a:lnTo>
                <a:lnTo>
                  <a:pt x="760" y="1315"/>
                </a:lnTo>
                <a:lnTo>
                  <a:pt x="760" y="1317"/>
                </a:lnTo>
                <a:lnTo>
                  <a:pt x="760" y="1319"/>
                </a:lnTo>
                <a:lnTo>
                  <a:pt x="760" y="1320"/>
                </a:lnTo>
                <a:lnTo>
                  <a:pt x="759" y="1321"/>
                </a:lnTo>
                <a:lnTo>
                  <a:pt x="759" y="1324"/>
                </a:lnTo>
                <a:lnTo>
                  <a:pt x="759" y="1326"/>
                </a:lnTo>
                <a:lnTo>
                  <a:pt x="759" y="1327"/>
                </a:lnTo>
                <a:lnTo>
                  <a:pt x="759" y="1328"/>
                </a:lnTo>
                <a:lnTo>
                  <a:pt x="759" y="1328"/>
                </a:lnTo>
                <a:lnTo>
                  <a:pt x="757" y="1332"/>
                </a:lnTo>
                <a:lnTo>
                  <a:pt x="758" y="1334"/>
                </a:lnTo>
                <a:lnTo>
                  <a:pt x="757" y="1338"/>
                </a:lnTo>
                <a:lnTo>
                  <a:pt x="757" y="1341"/>
                </a:lnTo>
                <a:lnTo>
                  <a:pt x="756" y="1357"/>
                </a:lnTo>
                <a:lnTo>
                  <a:pt x="750" y="1373"/>
                </a:lnTo>
                <a:lnTo>
                  <a:pt x="746" y="1383"/>
                </a:lnTo>
                <a:lnTo>
                  <a:pt x="740" y="1392"/>
                </a:lnTo>
                <a:lnTo>
                  <a:pt x="737" y="1389"/>
                </a:lnTo>
                <a:lnTo>
                  <a:pt x="732" y="1385"/>
                </a:lnTo>
                <a:lnTo>
                  <a:pt x="730" y="1382"/>
                </a:lnTo>
                <a:lnTo>
                  <a:pt x="727" y="1380"/>
                </a:lnTo>
                <a:lnTo>
                  <a:pt x="726" y="1376"/>
                </a:lnTo>
                <a:lnTo>
                  <a:pt x="724" y="1374"/>
                </a:lnTo>
                <a:lnTo>
                  <a:pt x="722" y="1369"/>
                </a:lnTo>
                <a:lnTo>
                  <a:pt x="719" y="1366"/>
                </a:lnTo>
                <a:lnTo>
                  <a:pt x="717" y="1356"/>
                </a:lnTo>
                <a:lnTo>
                  <a:pt x="712" y="1348"/>
                </a:lnTo>
                <a:lnTo>
                  <a:pt x="711" y="1345"/>
                </a:lnTo>
                <a:lnTo>
                  <a:pt x="710" y="1340"/>
                </a:lnTo>
                <a:lnTo>
                  <a:pt x="710" y="1339"/>
                </a:lnTo>
                <a:lnTo>
                  <a:pt x="709" y="1339"/>
                </a:lnTo>
                <a:lnTo>
                  <a:pt x="709" y="1339"/>
                </a:lnTo>
                <a:lnTo>
                  <a:pt x="705" y="1338"/>
                </a:lnTo>
                <a:lnTo>
                  <a:pt x="702" y="1338"/>
                </a:lnTo>
                <a:lnTo>
                  <a:pt x="705" y="1338"/>
                </a:lnTo>
                <a:lnTo>
                  <a:pt x="709" y="1339"/>
                </a:lnTo>
                <a:lnTo>
                  <a:pt x="703" y="1324"/>
                </a:lnTo>
                <a:lnTo>
                  <a:pt x="698" y="1310"/>
                </a:lnTo>
                <a:lnTo>
                  <a:pt x="697" y="1306"/>
                </a:lnTo>
                <a:lnTo>
                  <a:pt x="697" y="1304"/>
                </a:lnTo>
                <a:lnTo>
                  <a:pt x="691" y="1284"/>
                </a:lnTo>
                <a:lnTo>
                  <a:pt x="684" y="1265"/>
                </a:lnTo>
                <a:lnTo>
                  <a:pt x="683" y="1265"/>
                </a:lnTo>
                <a:lnTo>
                  <a:pt x="683" y="1264"/>
                </a:lnTo>
                <a:lnTo>
                  <a:pt x="675" y="1244"/>
                </a:lnTo>
                <a:lnTo>
                  <a:pt x="664" y="1227"/>
                </a:lnTo>
                <a:lnTo>
                  <a:pt x="661" y="1213"/>
                </a:lnTo>
                <a:lnTo>
                  <a:pt x="654" y="1202"/>
                </a:lnTo>
                <a:lnTo>
                  <a:pt x="646" y="1192"/>
                </a:lnTo>
                <a:lnTo>
                  <a:pt x="639" y="1181"/>
                </a:lnTo>
                <a:lnTo>
                  <a:pt x="639" y="1180"/>
                </a:lnTo>
                <a:lnTo>
                  <a:pt x="639" y="1179"/>
                </a:lnTo>
                <a:lnTo>
                  <a:pt x="634" y="1170"/>
                </a:lnTo>
                <a:lnTo>
                  <a:pt x="628" y="1161"/>
                </a:lnTo>
                <a:lnTo>
                  <a:pt x="625" y="1153"/>
                </a:lnTo>
                <a:lnTo>
                  <a:pt x="619" y="1146"/>
                </a:lnTo>
                <a:lnTo>
                  <a:pt x="614" y="1131"/>
                </a:lnTo>
                <a:lnTo>
                  <a:pt x="610" y="1115"/>
                </a:lnTo>
                <a:lnTo>
                  <a:pt x="610" y="1115"/>
                </a:lnTo>
                <a:lnTo>
                  <a:pt x="609" y="1114"/>
                </a:lnTo>
                <a:lnTo>
                  <a:pt x="605" y="1115"/>
                </a:lnTo>
                <a:lnTo>
                  <a:pt x="600" y="1118"/>
                </a:lnTo>
                <a:lnTo>
                  <a:pt x="598" y="1118"/>
                </a:lnTo>
                <a:lnTo>
                  <a:pt x="595" y="1119"/>
                </a:lnTo>
                <a:lnTo>
                  <a:pt x="598" y="1122"/>
                </a:lnTo>
                <a:lnTo>
                  <a:pt x="600" y="1123"/>
                </a:lnTo>
                <a:lnTo>
                  <a:pt x="602" y="1124"/>
                </a:lnTo>
                <a:lnTo>
                  <a:pt x="605" y="1125"/>
                </a:lnTo>
                <a:lnTo>
                  <a:pt x="608" y="1129"/>
                </a:lnTo>
                <a:lnTo>
                  <a:pt x="608" y="1135"/>
                </a:lnTo>
                <a:lnTo>
                  <a:pt x="606" y="1140"/>
                </a:lnTo>
                <a:lnTo>
                  <a:pt x="609" y="1146"/>
                </a:lnTo>
                <a:lnTo>
                  <a:pt x="612" y="1147"/>
                </a:lnTo>
                <a:lnTo>
                  <a:pt x="613" y="1151"/>
                </a:lnTo>
                <a:lnTo>
                  <a:pt x="612" y="1156"/>
                </a:lnTo>
                <a:lnTo>
                  <a:pt x="614" y="1158"/>
                </a:lnTo>
                <a:lnTo>
                  <a:pt x="618" y="1164"/>
                </a:lnTo>
                <a:lnTo>
                  <a:pt x="622" y="1167"/>
                </a:lnTo>
                <a:lnTo>
                  <a:pt x="622" y="1168"/>
                </a:lnTo>
                <a:lnTo>
                  <a:pt x="622" y="1170"/>
                </a:lnTo>
                <a:lnTo>
                  <a:pt x="625" y="1179"/>
                </a:lnTo>
                <a:lnTo>
                  <a:pt x="630" y="1186"/>
                </a:lnTo>
                <a:lnTo>
                  <a:pt x="632" y="1187"/>
                </a:lnTo>
                <a:lnTo>
                  <a:pt x="630" y="1188"/>
                </a:lnTo>
                <a:lnTo>
                  <a:pt x="626" y="1187"/>
                </a:lnTo>
                <a:lnTo>
                  <a:pt x="622" y="1184"/>
                </a:lnTo>
                <a:lnTo>
                  <a:pt x="615" y="1177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4"/>
                </a:lnTo>
                <a:lnTo>
                  <a:pt x="605" y="1175"/>
                </a:lnTo>
                <a:lnTo>
                  <a:pt x="605" y="1175"/>
                </a:lnTo>
                <a:lnTo>
                  <a:pt x="614" y="1188"/>
                </a:lnTo>
                <a:lnTo>
                  <a:pt x="626" y="1196"/>
                </a:lnTo>
                <a:lnTo>
                  <a:pt x="627" y="1201"/>
                </a:lnTo>
                <a:lnTo>
                  <a:pt x="628" y="1206"/>
                </a:lnTo>
                <a:lnTo>
                  <a:pt x="622" y="1203"/>
                </a:lnTo>
                <a:lnTo>
                  <a:pt x="619" y="1203"/>
                </a:lnTo>
                <a:lnTo>
                  <a:pt x="622" y="1207"/>
                </a:lnTo>
                <a:lnTo>
                  <a:pt x="628" y="1210"/>
                </a:lnTo>
                <a:lnTo>
                  <a:pt x="639" y="1221"/>
                </a:lnTo>
                <a:lnTo>
                  <a:pt x="648" y="1231"/>
                </a:lnTo>
                <a:lnTo>
                  <a:pt x="644" y="1235"/>
                </a:lnTo>
                <a:lnTo>
                  <a:pt x="641" y="1231"/>
                </a:lnTo>
                <a:lnTo>
                  <a:pt x="632" y="1223"/>
                </a:lnTo>
                <a:lnTo>
                  <a:pt x="621" y="1222"/>
                </a:lnTo>
                <a:lnTo>
                  <a:pt x="627" y="1227"/>
                </a:lnTo>
                <a:lnTo>
                  <a:pt x="630" y="1231"/>
                </a:lnTo>
                <a:lnTo>
                  <a:pt x="632" y="1233"/>
                </a:lnTo>
                <a:lnTo>
                  <a:pt x="633" y="1234"/>
                </a:lnTo>
                <a:lnTo>
                  <a:pt x="632" y="1234"/>
                </a:lnTo>
                <a:lnTo>
                  <a:pt x="632" y="1234"/>
                </a:lnTo>
                <a:lnTo>
                  <a:pt x="630" y="1234"/>
                </a:lnTo>
                <a:lnTo>
                  <a:pt x="630" y="1233"/>
                </a:lnTo>
                <a:lnTo>
                  <a:pt x="621" y="1229"/>
                </a:lnTo>
                <a:lnTo>
                  <a:pt x="615" y="1223"/>
                </a:lnTo>
                <a:lnTo>
                  <a:pt x="610" y="1219"/>
                </a:lnTo>
                <a:lnTo>
                  <a:pt x="605" y="1217"/>
                </a:lnTo>
                <a:lnTo>
                  <a:pt x="602" y="1210"/>
                </a:lnTo>
                <a:lnTo>
                  <a:pt x="595" y="1205"/>
                </a:lnTo>
                <a:lnTo>
                  <a:pt x="599" y="1213"/>
                </a:lnTo>
                <a:lnTo>
                  <a:pt x="605" y="1217"/>
                </a:lnTo>
                <a:lnTo>
                  <a:pt x="606" y="1221"/>
                </a:lnTo>
                <a:lnTo>
                  <a:pt x="607" y="1223"/>
                </a:lnTo>
                <a:lnTo>
                  <a:pt x="613" y="1229"/>
                </a:lnTo>
                <a:lnTo>
                  <a:pt x="619" y="1236"/>
                </a:lnTo>
                <a:lnTo>
                  <a:pt x="613" y="1234"/>
                </a:lnTo>
                <a:lnTo>
                  <a:pt x="606" y="1230"/>
                </a:lnTo>
                <a:lnTo>
                  <a:pt x="616" y="1243"/>
                </a:lnTo>
                <a:lnTo>
                  <a:pt x="629" y="1251"/>
                </a:lnTo>
                <a:lnTo>
                  <a:pt x="633" y="1256"/>
                </a:lnTo>
                <a:lnTo>
                  <a:pt x="635" y="1259"/>
                </a:lnTo>
                <a:lnTo>
                  <a:pt x="637" y="1265"/>
                </a:lnTo>
                <a:lnTo>
                  <a:pt x="641" y="1269"/>
                </a:lnTo>
                <a:lnTo>
                  <a:pt x="654" y="1279"/>
                </a:lnTo>
                <a:lnTo>
                  <a:pt x="663" y="1293"/>
                </a:lnTo>
                <a:lnTo>
                  <a:pt x="664" y="1296"/>
                </a:lnTo>
                <a:lnTo>
                  <a:pt x="663" y="1298"/>
                </a:lnTo>
                <a:lnTo>
                  <a:pt x="660" y="1294"/>
                </a:lnTo>
                <a:lnTo>
                  <a:pt x="656" y="1293"/>
                </a:lnTo>
                <a:lnTo>
                  <a:pt x="654" y="1287"/>
                </a:lnTo>
                <a:lnTo>
                  <a:pt x="649" y="1283"/>
                </a:lnTo>
                <a:lnTo>
                  <a:pt x="643" y="1277"/>
                </a:lnTo>
                <a:lnTo>
                  <a:pt x="635" y="1278"/>
                </a:lnTo>
                <a:lnTo>
                  <a:pt x="633" y="1279"/>
                </a:lnTo>
                <a:lnTo>
                  <a:pt x="630" y="1277"/>
                </a:lnTo>
                <a:lnTo>
                  <a:pt x="626" y="1272"/>
                </a:lnTo>
                <a:lnTo>
                  <a:pt x="620" y="1269"/>
                </a:lnTo>
                <a:lnTo>
                  <a:pt x="619" y="1270"/>
                </a:lnTo>
                <a:lnTo>
                  <a:pt x="618" y="1271"/>
                </a:lnTo>
                <a:lnTo>
                  <a:pt x="621" y="1277"/>
                </a:lnTo>
                <a:lnTo>
                  <a:pt x="626" y="1280"/>
                </a:lnTo>
                <a:lnTo>
                  <a:pt x="629" y="1282"/>
                </a:lnTo>
                <a:lnTo>
                  <a:pt x="632" y="1283"/>
                </a:lnTo>
                <a:lnTo>
                  <a:pt x="629" y="1286"/>
                </a:lnTo>
                <a:lnTo>
                  <a:pt x="627" y="1287"/>
                </a:lnTo>
                <a:lnTo>
                  <a:pt x="625" y="1289"/>
                </a:lnTo>
                <a:lnTo>
                  <a:pt x="623" y="1290"/>
                </a:lnTo>
                <a:lnTo>
                  <a:pt x="620" y="1293"/>
                </a:lnTo>
                <a:lnTo>
                  <a:pt x="620" y="1300"/>
                </a:lnTo>
                <a:lnTo>
                  <a:pt x="622" y="1305"/>
                </a:lnTo>
                <a:lnTo>
                  <a:pt x="626" y="1307"/>
                </a:lnTo>
                <a:lnTo>
                  <a:pt x="625" y="1314"/>
                </a:lnTo>
                <a:lnTo>
                  <a:pt x="628" y="1320"/>
                </a:lnTo>
                <a:lnTo>
                  <a:pt x="630" y="1326"/>
                </a:lnTo>
                <a:lnTo>
                  <a:pt x="626" y="1331"/>
                </a:lnTo>
                <a:lnTo>
                  <a:pt x="626" y="1332"/>
                </a:lnTo>
                <a:lnTo>
                  <a:pt x="626" y="1335"/>
                </a:lnTo>
                <a:lnTo>
                  <a:pt x="629" y="1333"/>
                </a:lnTo>
                <a:lnTo>
                  <a:pt x="632" y="1333"/>
                </a:lnTo>
                <a:lnTo>
                  <a:pt x="634" y="1336"/>
                </a:lnTo>
                <a:lnTo>
                  <a:pt x="636" y="1336"/>
                </a:lnTo>
                <a:lnTo>
                  <a:pt x="634" y="1340"/>
                </a:lnTo>
                <a:lnTo>
                  <a:pt x="634" y="1343"/>
                </a:lnTo>
                <a:lnTo>
                  <a:pt x="637" y="1346"/>
                </a:lnTo>
                <a:lnTo>
                  <a:pt x="642" y="1345"/>
                </a:lnTo>
                <a:lnTo>
                  <a:pt x="643" y="1345"/>
                </a:lnTo>
                <a:lnTo>
                  <a:pt x="643" y="1345"/>
                </a:lnTo>
                <a:lnTo>
                  <a:pt x="649" y="1346"/>
                </a:lnTo>
                <a:lnTo>
                  <a:pt x="654" y="1350"/>
                </a:lnTo>
                <a:lnTo>
                  <a:pt x="654" y="1352"/>
                </a:lnTo>
                <a:lnTo>
                  <a:pt x="651" y="1352"/>
                </a:lnTo>
                <a:lnTo>
                  <a:pt x="644" y="1350"/>
                </a:lnTo>
                <a:lnTo>
                  <a:pt x="636" y="1352"/>
                </a:lnTo>
                <a:lnTo>
                  <a:pt x="644" y="1353"/>
                </a:lnTo>
                <a:lnTo>
                  <a:pt x="653" y="1356"/>
                </a:lnTo>
                <a:lnTo>
                  <a:pt x="647" y="1357"/>
                </a:lnTo>
                <a:lnTo>
                  <a:pt x="642" y="1357"/>
                </a:lnTo>
                <a:lnTo>
                  <a:pt x="637" y="1359"/>
                </a:lnTo>
                <a:lnTo>
                  <a:pt x="637" y="1363"/>
                </a:lnTo>
                <a:lnTo>
                  <a:pt x="639" y="1366"/>
                </a:lnTo>
                <a:lnTo>
                  <a:pt x="637" y="1367"/>
                </a:lnTo>
                <a:lnTo>
                  <a:pt x="639" y="1369"/>
                </a:lnTo>
                <a:lnTo>
                  <a:pt x="641" y="1370"/>
                </a:lnTo>
                <a:lnTo>
                  <a:pt x="646" y="1374"/>
                </a:lnTo>
                <a:lnTo>
                  <a:pt x="643" y="1378"/>
                </a:lnTo>
                <a:lnTo>
                  <a:pt x="641" y="1378"/>
                </a:lnTo>
                <a:lnTo>
                  <a:pt x="640" y="1378"/>
                </a:lnTo>
                <a:lnTo>
                  <a:pt x="640" y="1378"/>
                </a:lnTo>
                <a:lnTo>
                  <a:pt x="640" y="1380"/>
                </a:lnTo>
                <a:lnTo>
                  <a:pt x="642" y="1380"/>
                </a:lnTo>
                <a:lnTo>
                  <a:pt x="643" y="1378"/>
                </a:lnTo>
                <a:lnTo>
                  <a:pt x="647" y="1378"/>
                </a:lnTo>
                <a:lnTo>
                  <a:pt x="650" y="1378"/>
                </a:lnTo>
                <a:lnTo>
                  <a:pt x="654" y="1378"/>
                </a:lnTo>
                <a:lnTo>
                  <a:pt x="655" y="1380"/>
                </a:lnTo>
                <a:lnTo>
                  <a:pt x="654" y="1382"/>
                </a:lnTo>
                <a:lnTo>
                  <a:pt x="650" y="1382"/>
                </a:lnTo>
                <a:lnTo>
                  <a:pt x="649" y="1382"/>
                </a:lnTo>
                <a:lnTo>
                  <a:pt x="648" y="1382"/>
                </a:lnTo>
                <a:lnTo>
                  <a:pt x="646" y="1382"/>
                </a:lnTo>
                <a:lnTo>
                  <a:pt x="644" y="1384"/>
                </a:lnTo>
                <a:lnTo>
                  <a:pt x="646" y="1385"/>
                </a:lnTo>
                <a:lnTo>
                  <a:pt x="647" y="1387"/>
                </a:lnTo>
                <a:lnTo>
                  <a:pt x="650" y="1387"/>
                </a:lnTo>
                <a:lnTo>
                  <a:pt x="651" y="1390"/>
                </a:lnTo>
                <a:lnTo>
                  <a:pt x="649" y="1392"/>
                </a:lnTo>
                <a:lnTo>
                  <a:pt x="646" y="1392"/>
                </a:lnTo>
                <a:lnTo>
                  <a:pt x="644" y="1392"/>
                </a:lnTo>
                <a:lnTo>
                  <a:pt x="642" y="1392"/>
                </a:lnTo>
                <a:lnTo>
                  <a:pt x="641" y="1391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90"/>
                </a:lnTo>
                <a:lnTo>
                  <a:pt x="639" y="1389"/>
                </a:lnTo>
                <a:lnTo>
                  <a:pt x="635" y="1383"/>
                </a:lnTo>
                <a:lnTo>
                  <a:pt x="630" y="1377"/>
                </a:lnTo>
                <a:lnTo>
                  <a:pt x="621" y="1378"/>
                </a:lnTo>
                <a:lnTo>
                  <a:pt x="612" y="1378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80"/>
                </a:lnTo>
                <a:lnTo>
                  <a:pt x="612" y="1378"/>
                </a:lnTo>
                <a:lnTo>
                  <a:pt x="621" y="1378"/>
                </a:lnTo>
                <a:lnTo>
                  <a:pt x="630" y="1377"/>
                </a:lnTo>
                <a:lnTo>
                  <a:pt x="630" y="1375"/>
                </a:lnTo>
                <a:lnTo>
                  <a:pt x="628" y="1374"/>
                </a:lnTo>
                <a:lnTo>
                  <a:pt x="628" y="1374"/>
                </a:lnTo>
                <a:lnTo>
                  <a:pt x="627" y="1374"/>
                </a:lnTo>
                <a:lnTo>
                  <a:pt x="628" y="1374"/>
                </a:lnTo>
                <a:lnTo>
                  <a:pt x="628" y="1374"/>
                </a:lnTo>
                <a:lnTo>
                  <a:pt x="623" y="1366"/>
                </a:lnTo>
                <a:lnTo>
                  <a:pt x="619" y="1359"/>
                </a:lnTo>
                <a:lnTo>
                  <a:pt x="619" y="1356"/>
                </a:lnTo>
                <a:lnTo>
                  <a:pt x="618" y="1355"/>
                </a:lnTo>
                <a:lnTo>
                  <a:pt x="618" y="1350"/>
                </a:lnTo>
                <a:lnTo>
                  <a:pt x="615" y="1347"/>
                </a:lnTo>
                <a:lnTo>
                  <a:pt x="614" y="1340"/>
                </a:lnTo>
                <a:lnTo>
                  <a:pt x="610" y="1333"/>
                </a:lnTo>
                <a:lnTo>
                  <a:pt x="610" y="1328"/>
                </a:lnTo>
                <a:lnTo>
                  <a:pt x="608" y="1324"/>
                </a:lnTo>
                <a:lnTo>
                  <a:pt x="608" y="1319"/>
                </a:lnTo>
                <a:lnTo>
                  <a:pt x="606" y="1314"/>
                </a:lnTo>
                <a:lnTo>
                  <a:pt x="606" y="1313"/>
                </a:lnTo>
                <a:lnTo>
                  <a:pt x="605" y="1312"/>
                </a:lnTo>
                <a:lnTo>
                  <a:pt x="605" y="1313"/>
                </a:lnTo>
                <a:lnTo>
                  <a:pt x="603" y="1313"/>
                </a:lnTo>
                <a:lnTo>
                  <a:pt x="603" y="1314"/>
                </a:lnTo>
                <a:lnTo>
                  <a:pt x="603" y="1314"/>
                </a:lnTo>
                <a:lnTo>
                  <a:pt x="592" y="1322"/>
                </a:lnTo>
                <a:lnTo>
                  <a:pt x="580" y="1327"/>
                </a:lnTo>
                <a:lnTo>
                  <a:pt x="572" y="1334"/>
                </a:lnTo>
                <a:lnTo>
                  <a:pt x="563" y="1338"/>
                </a:lnTo>
                <a:lnTo>
                  <a:pt x="563" y="1339"/>
                </a:lnTo>
                <a:lnTo>
                  <a:pt x="563" y="1340"/>
                </a:lnTo>
                <a:lnTo>
                  <a:pt x="560" y="1340"/>
                </a:lnTo>
                <a:lnTo>
                  <a:pt x="559" y="1340"/>
                </a:lnTo>
                <a:lnTo>
                  <a:pt x="552" y="1347"/>
                </a:lnTo>
                <a:lnTo>
                  <a:pt x="544" y="1353"/>
                </a:lnTo>
                <a:lnTo>
                  <a:pt x="532" y="1357"/>
                </a:lnTo>
                <a:lnTo>
                  <a:pt x="522" y="1362"/>
                </a:lnTo>
                <a:lnTo>
                  <a:pt x="520" y="1361"/>
                </a:lnTo>
                <a:lnTo>
                  <a:pt x="520" y="1360"/>
                </a:lnTo>
                <a:lnTo>
                  <a:pt x="527" y="1356"/>
                </a:lnTo>
                <a:lnTo>
                  <a:pt x="534" y="1353"/>
                </a:lnTo>
                <a:lnTo>
                  <a:pt x="540" y="1350"/>
                </a:lnTo>
                <a:lnTo>
                  <a:pt x="546" y="1347"/>
                </a:lnTo>
                <a:lnTo>
                  <a:pt x="552" y="1343"/>
                </a:lnTo>
                <a:lnTo>
                  <a:pt x="558" y="1340"/>
                </a:lnTo>
                <a:lnTo>
                  <a:pt x="560" y="1338"/>
                </a:lnTo>
                <a:lnTo>
                  <a:pt x="563" y="1338"/>
                </a:lnTo>
                <a:lnTo>
                  <a:pt x="571" y="1331"/>
                </a:lnTo>
                <a:lnTo>
                  <a:pt x="580" y="1327"/>
                </a:lnTo>
                <a:lnTo>
                  <a:pt x="584" y="1322"/>
                </a:lnTo>
                <a:lnTo>
                  <a:pt x="589" y="1320"/>
                </a:lnTo>
                <a:lnTo>
                  <a:pt x="593" y="1319"/>
                </a:lnTo>
                <a:lnTo>
                  <a:pt x="595" y="1315"/>
                </a:lnTo>
                <a:lnTo>
                  <a:pt x="595" y="1315"/>
                </a:lnTo>
                <a:lnTo>
                  <a:pt x="595" y="1315"/>
                </a:lnTo>
                <a:lnTo>
                  <a:pt x="596" y="1315"/>
                </a:lnTo>
                <a:lnTo>
                  <a:pt x="599" y="1315"/>
                </a:lnTo>
                <a:lnTo>
                  <a:pt x="601" y="1314"/>
                </a:lnTo>
                <a:lnTo>
                  <a:pt x="599" y="1313"/>
                </a:lnTo>
                <a:lnTo>
                  <a:pt x="598" y="1311"/>
                </a:lnTo>
                <a:lnTo>
                  <a:pt x="599" y="1313"/>
                </a:lnTo>
                <a:lnTo>
                  <a:pt x="601" y="1314"/>
                </a:lnTo>
                <a:lnTo>
                  <a:pt x="602" y="1313"/>
                </a:lnTo>
                <a:lnTo>
                  <a:pt x="603" y="1313"/>
                </a:lnTo>
                <a:lnTo>
                  <a:pt x="605" y="1313"/>
                </a:lnTo>
                <a:lnTo>
                  <a:pt x="605" y="1312"/>
                </a:lnTo>
                <a:lnTo>
                  <a:pt x="605" y="1308"/>
                </a:lnTo>
                <a:lnTo>
                  <a:pt x="603" y="1305"/>
                </a:lnTo>
                <a:lnTo>
                  <a:pt x="594" y="1278"/>
                </a:lnTo>
                <a:lnTo>
                  <a:pt x="582" y="1252"/>
                </a:lnTo>
                <a:lnTo>
                  <a:pt x="577" y="1238"/>
                </a:lnTo>
                <a:lnTo>
                  <a:pt x="571" y="1224"/>
                </a:lnTo>
                <a:lnTo>
                  <a:pt x="570" y="1223"/>
                </a:lnTo>
                <a:lnTo>
                  <a:pt x="568" y="1222"/>
                </a:lnTo>
                <a:lnTo>
                  <a:pt x="568" y="1222"/>
                </a:lnTo>
                <a:lnTo>
                  <a:pt x="558" y="1194"/>
                </a:lnTo>
                <a:lnTo>
                  <a:pt x="554" y="1193"/>
                </a:lnTo>
                <a:lnTo>
                  <a:pt x="551" y="1193"/>
                </a:lnTo>
                <a:lnTo>
                  <a:pt x="554" y="1193"/>
                </a:lnTo>
                <a:lnTo>
                  <a:pt x="558" y="1194"/>
                </a:lnTo>
                <a:lnTo>
                  <a:pt x="558" y="1188"/>
                </a:lnTo>
                <a:lnTo>
                  <a:pt x="558" y="1182"/>
                </a:lnTo>
                <a:lnTo>
                  <a:pt x="553" y="1184"/>
                </a:lnTo>
                <a:lnTo>
                  <a:pt x="552" y="1182"/>
                </a:lnTo>
                <a:lnTo>
                  <a:pt x="553" y="1184"/>
                </a:lnTo>
                <a:lnTo>
                  <a:pt x="558" y="1182"/>
                </a:lnTo>
                <a:lnTo>
                  <a:pt x="558" y="1180"/>
                </a:lnTo>
                <a:lnTo>
                  <a:pt x="558" y="1177"/>
                </a:lnTo>
                <a:lnTo>
                  <a:pt x="558" y="1177"/>
                </a:lnTo>
                <a:lnTo>
                  <a:pt x="557" y="1175"/>
                </a:lnTo>
                <a:lnTo>
                  <a:pt x="557" y="1175"/>
                </a:lnTo>
                <a:lnTo>
                  <a:pt x="557" y="1173"/>
                </a:lnTo>
                <a:lnTo>
                  <a:pt x="556" y="1171"/>
                </a:lnTo>
                <a:lnTo>
                  <a:pt x="551" y="1151"/>
                </a:lnTo>
                <a:lnTo>
                  <a:pt x="547" y="1131"/>
                </a:lnTo>
                <a:lnTo>
                  <a:pt x="549" y="1130"/>
                </a:lnTo>
                <a:lnTo>
                  <a:pt x="550" y="1130"/>
                </a:lnTo>
                <a:lnTo>
                  <a:pt x="547" y="1125"/>
                </a:lnTo>
                <a:lnTo>
                  <a:pt x="546" y="1122"/>
                </a:lnTo>
                <a:lnTo>
                  <a:pt x="545" y="1122"/>
                </a:lnTo>
                <a:lnTo>
                  <a:pt x="545" y="1122"/>
                </a:lnTo>
                <a:lnTo>
                  <a:pt x="543" y="1123"/>
                </a:lnTo>
                <a:lnTo>
                  <a:pt x="540" y="1123"/>
                </a:lnTo>
                <a:lnTo>
                  <a:pt x="534" y="1124"/>
                </a:lnTo>
                <a:lnTo>
                  <a:pt x="527" y="1126"/>
                </a:lnTo>
                <a:lnTo>
                  <a:pt x="526" y="1128"/>
                </a:lnTo>
                <a:lnTo>
                  <a:pt x="524" y="1129"/>
                </a:lnTo>
                <a:lnTo>
                  <a:pt x="524" y="1128"/>
                </a:lnTo>
                <a:lnTo>
                  <a:pt x="524" y="1128"/>
                </a:lnTo>
                <a:lnTo>
                  <a:pt x="524" y="1129"/>
                </a:lnTo>
                <a:lnTo>
                  <a:pt x="524" y="1129"/>
                </a:lnTo>
                <a:lnTo>
                  <a:pt x="520" y="1131"/>
                </a:lnTo>
                <a:lnTo>
                  <a:pt x="517" y="1135"/>
                </a:lnTo>
                <a:lnTo>
                  <a:pt x="519" y="1136"/>
                </a:lnTo>
                <a:lnTo>
                  <a:pt x="520" y="1137"/>
                </a:lnTo>
                <a:lnTo>
                  <a:pt x="520" y="1143"/>
                </a:lnTo>
                <a:lnTo>
                  <a:pt x="515" y="1147"/>
                </a:lnTo>
                <a:lnTo>
                  <a:pt x="513" y="1149"/>
                </a:lnTo>
                <a:lnTo>
                  <a:pt x="512" y="1149"/>
                </a:lnTo>
                <a:lnTo>
                  <a:pt x="509" y="1151"/>
                </a:lnTo>
                <a:lnTo>
                  <a:pt x="509" y="1154"/>
                </a:lnTo>
                <a:lnTo>
                  <a:pt x="503" y="1158"/>
                </a:lnTo>
                <a:lnTo>
                  <a:pt x="496" y="1159"/>
                </a:lnTo>
                <a:lnTo>
                  <a:pt x="491" y="1154"/>
                </a:lnTo>
                <a:lnTo>
                  <a:pt x="487" y="1150"/>
                </a:lnTo>
                <a:lnTo>
                  <a:pt x="483" y="1145"/>
                </a:lnTo>
                <a:lnTo>
                  <a:pt x="485" y="1142"/>
                </a:lnTo>
                <a:lnTo>
                  <a:pt x="488" y="1137"/>
                </a:lnTo>
                <a:lnTo>
                  <a:pt x="485" y="1132"/>
                </a:lnTo>
                <a:lnTo>
                  <a:pt x="484" y="1128"/>
                </a:lnTo>
                <a:lnTo>
                  <a:pt x="480" y="1129"/>
                </a:lnTo>
                <a:lnTo>
                  <a:pt x="469" y="1131"/>
                </a:lnTo>
                <a:lnTo>
                  <a:pt x="457" y="1131"/>
                </a:lnTo>
                <a:lnTo>
                  <a:pt x="462" y="1130"/>
                </a:lnTo>
                <a:lnTo>
                  <a:pt x="465" y="1128"/>
                </a:lnTo>
                <a:lnTo>
                  <a:pt x="455" y="1125"/>
                </a:lnTo>
                <a:lnTo>
                  <a:pt x="446" y="1121"/>
                </a:lnTo>
                <a:lnTo>
                  <a:pt x="443" y="1118"/>
                </a:lnTo>
                <a:lnTo>
                  <a:pt x="440" y="1118"/>
                </a:lnTo>
                <a:lnTo>
                  <a:pt x="437" y="1117"/>
                </a:lnTo>
                <a:lnTo>
                  <a:pt x="436" y="1114"/>
                </a:lnTo>
                <a:lnTo>
                  <a:pt x="433" y="1114"/>
                </a:lnTo>
                <a:lnTo>
                  <a:pt x="430" y="1111"/>
                </a:lnTo>
                <a:lnTo>
                  <a:pt x="434" y="1111"/>
                </a:lnTo>
                <a:lnTo>
                  <a:pt x="436" y="1114"/>
                </a:lnTo>
                <a:lnTo>
                  <a:pt x="439" y="1114"/>
                </a:lnTo>
                <a:lnTo>
                  <a:pt x="440" y="1112"/>
                </a:lnTo>
                <a:lnTo>
                  <a:pt x="441" y="1112"/>
                </a:lnTo>
                <a:lnTo>
                  <a:pt x="441" y="1112"/>
                </a:lnTo>
                <a:lnTo>
                  <a:pt x="443" y="1112"/>
                </a:lnTo>
                <a:lnTo>
                  <a:pt x="444" y="1112"/>
                </a:lnTo>
                <a:lnTo>
                  <a:pt x="447" y="1116"/>
                </a:lnTo>
                <a:lnTo>
                  <a:pt x="450" y="1117"/>
                </a:lnTo>
                <a:lnTo>
                  <a:pt x="457" y="1117"/>
                </a:lnTo>
                <a:lnTo>
                  <a:pt x="462" y="1121"/>
                </a:lnTo>
                <a:lnTo>
                  <a:pt x="464" y="1122"/>
                </a:lnTo>
                <a:lnTo>
                  <a:pt x="468" y="1122"/>
                </a:lnTo>
                <a:lnTo>
                  <a:pt x="471" y="1124"/>
                </a:lnTo>
                <a:lnTo>
                  <a:pt x="473" y="1124"/>
                </a:lnTo>
                <a:lnTo>
                  <a:pt x="481" y="1121"/>
                </a:lnTo>
                <a:lnTo>
                  <a:pt x="489" y="1122"/>
                </a:lnTo>
                <a:lnTo>
                  <a:pt x="490" y="1121"/>
                </a:lnTo>
                <a:lnTo>
                  <a:pt x="491" y="1119"/>
                </a:lnTo>
                <a:lnTo>
                  <a:pt x="492" y="1118"/>
                </a:lnTo>
                <a:lnTo>
                  <a:pt x="494" y="1117"/>
                </a:lnTo>
                <a:lnTo>
                  <a:pt x="485" y="1116"/>
                </a:lnTo>
                <a:lnTo>
                  <a:pt x="478" y="1114"/>
                </a:lnTo>
                <a:lnTo>
                  <a:pt x="468" y="1110"/>
                </a:lnTo>
                <a:lnTo>
                  <a:pt x="457" y="1109"/>
                </a:lnTo>
                <a:lnTo>
                  <a:pt x="450" y="1107"/>
                </a:lnTo>
                <a:lnTo>
                  <a:pt x="443" y="1104"/>
                </a:lnTo>
                <a:lnTo>
                  <a:pt x="442" y="1104"/>
                </a:lnTo>
                <a:lnTo>
                  <a:pt x="440" y="1104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3"/>
                </a:lnTo>
                <a:lnTo>
                  <a:pt x="440" y="1104"/>
                </a:lnTo>
                <a:lnTo>
                  <a:pt x="442" y="1104"/>
                </a:lnTo>
                <a:lnTo>
                  <a:pt x="443" y="1104"/>
                </a:lnTo>
                <a:lnTo>
                  <a:pt x="444" y="1102"/>
                </a:lnTo>
                <a:lnTo>
                  <a:pt x="448" y="1103"/>
                </a:lnTo>
                <a:lnTo>
                  <a:pt x="454" y="1105"/>
                </a:lnTo>
                <a:lnTo>
                  <a:pt x="461" y="1105"/>
                </a:lnTo>
                <a:lnTo>
                  <a:pt x="443" y="1095"/>
                </a:lnTo>
                <a:lnTo>
                  <a:pt x="423" y="1089"/>
                </a:lnTo>
                <a:lnTo>
                  <a:pt x="428" y="1088"/>
                </a:lnTo>
                <a:lnTo>
                  <a:pt x="432" y="1087"/>
                </a:lnTo>
                <a:lnTo>
                  <a:pt x="428" y="1082"/>
                </a:lnTo>
                <a:lnTo>
                  <a:pt x="421" y="1080"/>
                </a:lnTo>
                <a:lnTo>
                  <a:pt x="414" y="1077"/>
                </a:lnTo>
                <a:lnTo>
                  <a:pt x="412" y="1068"/>
                </a:lnTo>
                <a:lnTo>
                  <a:pt x="406" y="1059"/>
                </a:lnTo>
                <a:lnTo>
                  <a:pt x="398" y="1050"/>
                </a:lnTo>
                <a:lnTo>
                  <a:pt x="397" y="1050"/>
                </a:lnTo>
                <a:lnTo>
                  <a:pt x="397" y="1050"/>
                </a:lnTo>
                <a:lnTo>
                  <a:pt x="391" y="1046"/>
                </a:lnTo>
                <a:lnTo>
                  <a:pt x="388" y="1052"/>
                </a:lnTo>
                <a:lnTo>
                  <a:pt x="386" y="1049"/>
                </a:lnTo>
                <a:lnTo>
                  <a:pt x="385" y="1045"/>
                </a:lnTo>
                <a:lnTo>
                  <a:pt x="385" y="1043"/>
                </a:lnTo>
                <a:lnTo>
                  <a:pt x="385" y="1042"/>
                </a:lnTo>
                <a:lnTo>
                  <a:pt x="395" y="1042"/>
                </a:lnTo>
                <a:lnTo>
                  <a:pt x="402" y="1048"/>
                </a:lnTo>
                <a:lnTo>
                  <a:pt x="402" y="1048"/>
                </a:lnTo>
                <a:lnTo>
                  <a:pt x="402" y="1048"/>
                </a:lnTo>
                <a:lnTo>
                  <a:pt x="406" y="1052"/>
                </a:lnTo>
                <a:lnTo>
                  <a:pt x="409" y="1053"/>
                </a:lnTo>
                <a:lnTo>
                  <a:pt x="409" y="1049"/>
                </a:lnTo>
                <a:lnTo>
                  <a:pt x="407" y="1047"/>
                </a:lnTo>
                <a:lnTo>
                  <a:pt x="406" y="1040"/>
                </a:lnTo>
                <a:lnTo>
                  <a:pt x="404" y="1033"/>
                </a:lnTo>
                <a:lnTo>
                  <a:pt x="400" y="1032"/>
                </a:lnTo>
                <a:lnTo>
                  <a:pt x="397" y="1029"/>
                </a:lnTo>
                <a:lnTo>
                  <a:pt x="397" y="1031"/>
                </a:lnTo>
                <a:lnTo>
                  <a:pt x="397" y="1032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7" y="1033"/>
                </a:lnTo>
                <a:lnTo>
                  <a:pt x="393" y="1033"/>
                </a:lnTo>
                <a:lnTo>
                  <a:pt x="391" y="1031"/>
                </a:lnTo>
                <a:lnTo>
                  <a:pt x="392" y="1028"/>
                </a:lnTo>
                <a:lnTo>
                  <a:pt x="395" y="1028"/>
                </a:lnTo>
                <a:lnTo>
                  <a:pt x="391" y="1024"/>
                </a:lnTo>
                <a:lnTo>
                  <a:pt x="384" y="1024"/>
                </a:lnTo>
                <a:lnTo>
                  <a:pt x="381" y="1025"/>
                </a:lnTo>
                <a:lnTo>
                  <a:pt x="381" y="1028"/>
                </a:lnTo>
                <a:lnTo>
                  <a:pt x="382" y="1031"/>
                </a:lnTo>
                <a:lnTo>
                  <a:pt x="380" y="1032"/>
                </a:lnTo>
                <a:lnTo>
                  <a:pt x="378" y="1033"/>
                </a:lnTo>
                <a:lnTo>
                  <a:pt x="375" y="1032"/>
                </a:lnTo>
                <a:lnTo>
                  <a:pt x="364" y="1024"/>
                </a:lnTo>
                <a:lnTo>
                  <a:pt x="354" y="1014"/>
                </a:lnTo>
                <a:lnTo>
                  <a:pt x="352" y="1013"/>
                </a:lnTo>
                <a:lnTo>
                  <a:pt x="350" y="1012"/>
                </a:lnTo>
                <a:lnTo>
                  <a:pt x="347" y="1011"/>
                </a:lnTo>
                <a:lnTo>
                  <a:pt x="346" y="1008"/>
                </a:lnTo>
                <a:lnTo>
                  <a:pt x="343" y="1000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5" y="996"/>
                </a:lnTo>
                <a:lnTo>
                  <a:pt x="333" y="999"/>
                </a:lnTo>
                <a:lnTo>
                  <a:pt x="330" y="1001"/>
                </a:lnTo>
                <a:lnTo>
                  <a:pt x="330" y="997"/>
                </a:lnTo>
                <a:lnTo>
                  <a:pt x="330" y="992"/>
                </a:lnTo>
                <a:lnTo>
                  <a:pt x="329" y="987"/>
                </a:lnTo>
                <a:lnTo>
                  <a:pt x="325" y="986"/>
                </a:lnTo>
                <a:lnTo>
                  <a:pt x="322" y="983"/>
                </a:lnTo>
                <a:lnTo>
                  <a:pt x="320" y="978"/>
                </a:lnTo>
                <a:lnTo>
                  <a:pt x="323" y="976"/>
                </a:lnTo>
                <a:lnTo>
                  <a:pt x="326" y="977"/>
                </a:lnTo>
                <a:lnTo>
                  <a:pt x="330" y="982"/>
                </a:lnTo>
                <a:lnTo>
                  <a:pt x="332" y="987"/>
                </a:lnTo>
                <a:lnTo>
                  <a:pt x="337" y="991"/>
                </a:lnTo>
                <a:lnTo>
                  <a:pt x="343" y="990"/>
                </a:lnTo>
                <a:lnTo>
                  <a:pt x="344" y="986"/>
                </a:lnTo>
                <a:lnTo>
                  <a:pt x="346" y="984"/>
                </a:lnTo>
                <a:lnTo>
                  <a:pt x="347" y="987"/>
                </a:lnTo>
                <a:lnTo>
                  <a:pt x="347" y="991"/>
                </a:lnTo>
                <a:lnTo>
                  <a:pt x="345" y="991"/>
                </a:lnTo>
                <a:lnTo>
                  <a:pt x="343" y="990"/>
                </a:lnTo>
                <a:lnTo>
                  <a:pt x="344" y="996"/>
                </a:lnTo>
                <a:lnTo>
                  <a:pt x="350" y="993"/>
                </a:lnTo>
                <a:lnTo>
                  <a:pt x="352" y="992"/>
                </a:lnTo>
                <a:lnTo>
                  <a:pt x="354" y="993"/>
                </a:lnTo>
                <a:lnTo>
                  <a:pt x="360" y="992"/>
                </a:lnTo>
                <a:lnTo>
                  <a:pt x="365" y="989"/>
                </a:lnTo>
                <a:lnTo>
                  <a:pt x="365" y="989"/>
                </a:lnTo>
                <a:lnTo>
                  <a:pt x="365" y="987"/>
                </a:lnTo>
                <a:lnTo>
                  <a:pt x="358" y="979"/>
                </a:lnTo>
                <a:lnTo>
                  <a:pt x="352" y="971"/>
                </a:lnTo>
                <a:lnTo>
                  <a:pt x="352" y="970"/>
                </a:lnTo>
                <a:lnTo>
                  <a:pt x="354" y="969"/>
                </a:lnTo>
                <a:lnTo>
                  <a:pt x="353" y="965"/>
                </a:lnTo>
                <a:lnTo>
                  <a:pt x="353" y="962"/>
                </a:lnTo>
                <a:lnTo>
                  <a:pt x="350" y="961"/>
                </a:lnTo>
                <a:lnTo>
                  <a:pt x="349" y="957"/>
                </a:lnTo>
                <a:lnTo>
                  <a:pt x="343" y="951"/>
                </a:lnTo>
                <a:lnTo>
                  <a:pt x="343" y="942"/>
                </a:lnTo>
                <a:lnTo>
                  <a:pt x="344" y="941"/>
                </a:lnTo>
                <a:lnTo>
                  <a:pt x="346" y="940"/>
                </a:lnTo>
                <a:lnTo>
                  <a:pt x="349" y="940"/>
                </a:lnTo>
                <a:lnTo>
                  <a:pt x="347" y="942"/>
                </a:lnTo>
                <a:lnTo>
                  <a:pt x="349" y="943"/>
                </a:lnTo>
                <a:lnTo>
                  <a:pt x="350" y="944"/>
                </a:lnTo>
                <a:lnTo>
                  <a:pt x="354" y="944"/>
                </a:lnTo>
                <a:lnTo>
                  <a:pt x="357" y="950"/>
                </a:lnTo>
                <a:lnTo>
                  <a:pt x="360" y="955"/>
                </a:lnTo>
                <a:lnTo>
                  <a:pt x="366" y="959"/>
                </a:lnTo>
                <a:lnTo>
                  <a:pt x="366" y="955"/>
                </a:lnTo>
                <a:lnTo>
                  <a:pt x="363" y="951"/>
                </a:lnTo>
                <a:lnTo>
                  <a:pt x="361" y="949"/>
                </a:lnTo>
                <a:lnTo>
                  <a:pt x="361" y="945"/>
                </a:lnTo>
                <a:lnTo>
                  <a:pt x="364" y="944"/>
                </a:lnTo>
                <a:lnTo>
                  <a:pt x="366" y="947"/>
                </a:lnTo>
                <a:lnTo>
                  <a:pt x="373" y="954"/>
                </a:lnTo>
                <a:lnTo>
                  <a:pt x="380" y="962"/>
                </a:lnTo>
                <a:lnTo>
                  <a:pt x="382" y="963"/>
                </a:lnTo>
                <a:lnTo>
                  <a:pt x="386" y="964"/>
                </a:lnTo>
                <a:lnTo>
                  <a:pt x="385" y="959"/>
                </a:lnTo>
                <a:lnTo>
                  <a:pt x="381" y="956"/>
                </a:lnTo>
                <a:lnTo>
                  <a:pt x="377" y="951"/>
                </a:lnTo>
                <a:lnTo>
                  <a:pt x="373" y="944"/>
                </a:lnTo>
                <a:lnTo>
                  <a:pt x="373" y="942"/>
                </a:lnTo>
                <a:lnTo>
                  <a:pt x="374" y="941"/>
                </a:lnTo>
                <a:lnTo>
                  <a:pt x="375" y="941"/>
                </a:lnTo>
                <a:lnTo>
                  <a:pt x="377" y="942"/>
                </a:lnTo>
                <a:lnTo>
                  <a:pt x="381" y="949"/>
                </a:lnTo>
                <a:lnTo>
                  <a:pt x="388" y="956"/>
                </a:lnTo>
                <a:lnTo>
                  <a:pt x="389" y="959"/>
                </a:lnTo>
                <a:lnTo>
                  <a:pt x="393" y="962"/>
                </a:lnTo>
                <a:lnTo>
                  <a:pt x="394" y="963"/>
                </a:lnTo>
                <a:lnTo>
                  <a:pt x="393" y="965"/>
                </a:lnTo>
                <a:lnTo>
                  <a:pt x="391" y="966"/>
                </a:lnTo>
                <a:lnTo>
                  <a:pt x="389" y="968"/>
                </a:lnTo>
                <a:lnTo>
                  <a:pt x="392" y="970"/>
                </a:lnTo>
                <a:lnTo>
                  <a:pt x="394" y="970"/>
                </a:lnTo>
                <a:lnTo>
                  <a:pt x="397" y="969"/>
                </a:lnTo>
                <a:lnTo>
                  <a:pt x="398" y="968"/>
                </a:lnTo>
                <a:lnTo>
                  <a:pt x="399" y="964"/>
                </a:lnTo>
                <a:lnTo>
                  <a:pt x="402" y="965"/>
                </a:lnTo>
                <a:lnTo>
                  <a:pt x="408" y="968"/>
                </a:lnTo>
                <a:lnTo>
                  <a:pt x="415" y="966"/>
                </a:lnTo>
                <a:lnTo>
                  <a:pt x="420" y="968"/>
                </a:lnTo>
                <a:lnTo>
                  <a:pt x="427" y="971"/>
                </a:lnTo>
                <a:lnTo>
                  <a:pt x="422" y="964"/>
                </a:lnTo>
                <a:lnTo>
                  <a:pt x="414" y="963"/>
                </a:lnTo>
                <a:lnTo>
                  <a:pt x="408" y="962"/>
                </a:lnTo>
                <a:lnTo>
                  <a:pt x="405" y="958"/>
                </a:lnTo>
                <a:lnTo>
                  <a:pt x="404" y="956"/>
                </a:lnTo>
                <a:lnTo>
                  <a:pt x="400" y="956"/>
                </a:lnTo>
                <a:lnTo>
                  <a:pt x="397" y="956"/>
                </a:lnTo>
                <a:lnTo>
                  <a:pt x="393" y="951"/>
                </a:lnTo>
                <a:lnTo>
                  <a:pt x="389" y="944"/>
                </a:lnTo>
                <a:lnTo>
                  <a:pt x="384" y="941"/>
                </a:lnTo>
                <a:lnTo>
                  <a:pt x="386" y="938"/>
                </a:lnTo>
                <a:lnTo>
                  <a:pt x="389" y="936"/>
                </a:lnTo>
                <a:lnTo>
                  <a:pt x="393" y="941"/>
                </a:lnTo>
                <a:lnTo>
                  <a:pt x="398" y="944"/>
                </a:lnTo>
                <a:lnTo>
                  <a:pt x="404" y="949"/>
                </a:lnTo>
                <a:lnTo>
                  <a:pt x="409" y="952"/>
                </a:lnTo>
                <a:lnTo>
                  <a:pt x="414" y="954"/>
                </a:lnTo>
                <a:lnTo>
                  <a:pt x="419" y="957"/>
                </a:lnTo>
                <a:lnTo>
                  <a:pt x="419" y="957"/>
                </a:lnTo>
                <a:lnTo>
                  <a:pt x="421" y="959"/>
                </a:lnTo>
                <a:lnTo>
                  <a:pt x="423" y="962"/>
                </a:lnTo>
                <a:lnTo>
                  <a:pt x="434" y="965"/>
                </a:lnTo>
                <a:lnTo>
                  <a:pt x="444" y="970"/>
                </a:lnTo>
                <a:lnTo>
                  <a:pt x="450" y="975"/>
                </a:lnTo>
                <a:lnTo>
                  <a:pt x="456" y="978"/>
                </a:lnTo>
                <a:lnTo>
                  <a:pt x="470" y="983"/>
                </a:lnTo>
                <a:lnTo>
                  <a:pt x="485" y="985"/>
                </a:lnTo>
                <a:lnTo>
                  <a:pt x="491" y="986"/>
                </a:lnTo>
                <a:lnTo>
                  <a:pt x="498" y="985"/>
                </a:lnTo>
                <a:lnTo>
                  <a:pt x="494" y="983"/>
                </a:lnTo>
                <a:lnTo>
                  <a:pt x="489" y="983"/>
                </a:lnTo>
                <a:lnTo>
                  <a:pt x="492" y="982"/>
                </a:lnTo>
                <a:lnTo>
                  <a:pt x="494" y="979"/>
                </a:lnTo>
                <a:lnTo>
                  <a:pt x="491" y="977"/>
                </a:lnTo>
                <a:lnTo>
                  <a:pt x="488" y="978"/>
                </a:lnTo>
                <a:lnTo>
                  <a:pt x="474" y="976"/>
                </a:lnTo>
                <a:lnTo>
                  <a:pt x="461" y="970"/>
                </a:lnTo>
                <a:lnTo>
                  <a:pt x="458" y="969"/>
                </a:lnTo>
                <a:lnTo>
                  <a:pt x="457" y="966"/>
                </a:lnTo>
                <a:lnTo>
                  <a:pt x="446" y="966"/>
                </a:lnTo>
                <a:lnTo>
                  <a:pt x="450" y="964"/>
                </a:lnTo>
                <a:lnTo>
                  <a:pt x="446" y="961"/>
                </a:lnTo>
                <a:lnTo>
                  <a:pt x="441" y="958"/>
                </a:lnTo>
                <a:lnTo>
                  <a:pt x="436" y="955"/>
                </a:lnTo>
                <a:lnTo>
                  <a:pt x="427" y="948"/>
                </a:lnTo>
                <a:lnTo>
                  <a:pt x="414" y="944"/>
                </a:lnTo>
                <a:lnTo>
                  <a:pt x="408" y="940"/>
                </a:lnTo>
                <a:lnTo>
                  <a:pt x="402" y="937"/>
                </a:lnTo>
                <a:lnTo>
                  <a:pt x="406" y="934"/>
                </a:lnTo>
                <a:lnTo>
                  <a:pt x="412" y="936"/>
                </a:lnTo>
                <a:lnTo>
                  <a:pt x="427" y="945"/>
                </a:lnTo>
                <a:lnTo>
                  <a:pt x="442" y="952"/>
                </a:lnTo>
                <a:lnTo>
                  <a:pt x="446" y="952"/>
                </a:lnTo>
                <a:lnTo>
                  <a:pt x="443" y="955"/>
                </a:lnTo>
                <a:lnTo>
                  <a:pt x="444" y="956"/>
                </a:lnTo>
                <a:lnTo>
                  <a:pt x="446" y="957"/>
                </a:lnTo>
                <a:lnTo>
                  <a:pt x="453" y="961"/>
                </a:lnTo>
                <a:lnTo>
                  <a:pt x="457" y="966"/>
                </a:lnTo>
                <a:lnTo>
                  <a:pt x="460" y="966"/>
                </a:lnTo>
                <a:lnTo>
                  <a:pt x="462" y="969"/>
                </a:lnTo>
                <a:lnTo>
                  <a:pt x="469" y="969"/>
                </a:lnTo>
                <a:lnTo>
                  <a:pt x="476" y="972"/>
                </a:lnTo>
                <a:lnTo>
                  <a:pt x="483" y="975"/>
                </a:lnTo>
                <a:lnTo>
                  <a:pt x="491" y="973"/>
                </a:lnTo>
                <a:lnTo>
                  <a:pt x="488" y="971"/>
                </a:lnTo>
                <a:lnTo>
                  <a:pt x="484" y="971"/>
                </a:lnTo>
                <a:lnTo>
                  <a:pt x="480" y="969"/>
                </a:lnTo>
                <a:lnTo>
                  <a:pt x="478" y="965"/>
                </a:lnTo>
                <a:lnTo>
                  <a:pt x="478" y="961"/>
                </a:lnTo>
                <a:lnTo>
                  <a:pt x="475" y="959"/>
                </a:lnTo>
                <a:lnTo>
                  <a:pt x="471" y="956"/>
                </a:lnTo>
                <a:lnTo>
                  <a:pt x="470" y="950"/>
                </a:lnTo>
                <a:lnTo>
                  <a:pt x="467" y="943"/>
                </a:lnTo>
                <a:lnTo>
                  <a:pt x="458" y="937"/>
                </a:lnTo>
                <a:lnTo>
                  <a:pt x="450" y="933"/>
                </a:lnTo>
                <a:lnTo>
                  <a:pt x="446" y="924"/>
                </a:lnTo>
                <a:lnTo>
                  <a:pt x="443" y="921"/>
                </a:lnTo>
                <a:lnTo>
                  <a:pt x="440" y="916"/>
                </a:lnTo>
                <a:lnTo>
                  <a:pt x="439" y="915"/>
                </a:lnTo>
                <a:lnTo>
                  <a:pt x="437" y="915"/>
                </a:lnTo>
                <a:lnTo>
                  <a:pt x="436" y="912"/>
                </a:lnTo>
                <a:lnTo>
                  <a:pt x="436" y="908"/>
                </a:lnTo>
                <a:lnTo>
                  <a:pt x="437" y="908"/>
                </a:lnTo>
                <a:lnTo>
                  <a:pt x="439" y="908"/>
                </a:lnTo>
                <a:lnTo>
                  <a:pt x="440" y="910"/>
                </a:lnTo>
                <a:lnTo>
                  <a:pt x="440" y="913"/>
                </a:lnTo>
                <a:lnTo>
                  <a:pt x="440" y="914"/>
                </a:lnTo>
                <a:lnTo>
                  <a:pt x="440" y="915"/>
                </a:lnTo>
                <a:lnTo>
                  <a:pt x="444" y="917"/>
                </a:lnTo>
                <a:lnTo>
                  <a:pt x="449" y="917"/>
                </a:lnTo>
                <a:lnTo>
                  <a:pt x="447" y="914"/>
                </a:lnTo>
                <a:lnTo>
                  <a:pt x="443" y="910"/>
                </a:lnTo>
                <a:lnTo>
                  <a:pt x="433" y="900"/>
                </a:lnTo>
                <a:lnTo>
                  <a:pt x="421" y="892"/>
                </a:lnTo>
                <a:lnTo>
                  <a:pt x="412" y="885"/>
                </a:lnTo>
                <a:lnTo>
                  <a:pt x="402" y="877"/>
                </a:lnTo>
                <a:lnTo>
                  <a:pt x="398" y="873"/>
                </a:lnTo>
                <a:lnTo>
                  <a:pt x="392" y="868"/>
                </a:lnTo>
                <a:lnTo>
                  <a:pt x="391" y="867"/>
                </a:lnTo>
                <a:lnTo>
                  <a:pt x="388" y="865"/>
                </a:lnTo>
                <a:lnTo>
                  <a:pt x="385" y="859"/>
                </a:lnTo>
                <a:lnTo>
                  <a:pt x="378" y="859"/>
                </a:lnTo>
                <a:lnTo>
                  <a:pt x="368" y="857"/>
                </a:lnTo>
                <a:lnTo>
                  <a:pt x="361" y="850"/>
                </a:lnTo>
                <a:lnTo>
                  <a:pt x="368" y="852"/>
                </a:lnTo>
                <a:lnTo>
                  <a:pt x="374" y="856"/>
                </a:lnTo>
                <a:lnTo>
                  <a:pt x="375" y="857"/>
                </a:lnTo>
                <a:lnTo>
                  <a:pt x="377" y="856"/>
                </a:lnTo>
                <a:lnTo>
                  <a:pt x="378" y="854"/>
                </a:lnTo>
                <a:lnTo>
                  <a:pt x="377" y="853"/>
                </a:lnTo>
                <a:lnTo>
                  <a:pt x="370" y="845"/>
                </a:lnTo>
                <a:lnTo>
                  <a:pt x="361" y="837"/>
                </a:lnTo>
                <a:lnTo>
                  <a:pt x="359" y="835"/>
                </a:lnTo>
                <a:lnTo>
                  <a:pt x="357" y="836"/>
                </a:lnTo>
                <a:lnTo>
                  <a:pt x="357" y="838"/>
                </a:lnTo>
                <a:lnTo>
                  <a:pt x="359" y="839"/>
                </a:lnTo>
                <a:lnTo>
                  <a:pt x="360" y="840"/>
                </a:lnTo>
                <a:lnTo>
                  <a:pt x="360" y="842"/>
                </a:lnTo>
                <a:lnTo>
                  <a:pt x="351" y="839"/>
                </a:lnTo>
                <a:lnTo>
                  <a:pt x="343" y="832"/>
                </a:lnTo>
                <a:lnTo>
                  <a:pt x="346" y="832"/>
                </a:lnTo>
                <a:lnTo>
                  <a:pt x="350" y="833"/>
                </a:lnTo>
                <a:lnTo>
                  <a:pt x="343" y="828"/>
                </a:lnTo>
                <a:lnTo>
                  <a:pt x="336" y="823"/>
                </a:lnTo>
                <a:lnTo>
                  <a:pt x="329" y="819"/>
                </a:lnTo>
                <a:lnTo>
                  <a:pt x="323" y="815"/>
                </a:lnTo>
                <a:lnTo>
                  <a:pt x="322" y="819"/>
                </a:lnTo>
                <a:lnTo>
                  <a:pt x="325" y="822"/>
                </a:lnTo>
                <a:lnTo>
                  <a:pt x="329" y="824"/>
                </a:lnTo>
                <a:lnTo>
                  <a:pt x="330" y="828"/>
                </a:lnTo>
                <a:lnTo>
                  <a:pt x="320" y="829"/>
                </a:lnTo>
                <a:lnTo>
                  <a:pt x="311" y="828"/>
                </a:lnTo>
                <a:lnTo>
                  <a:pt x="309" y="826"/>
                </a:lnTo>
                <a:lnTo>
                  <a:pt x="305" y="825"/>
                </a:lnTo>
                <a:lnTo>
                  <a:pt x="303" y="825"/>
                </a:lnTo>
                <a:lnTo>
                  <a:pt x="301" y="828"/>
                </a:lnTo>
                <a:lnTo>
                  <a:pt x="301" y="830"/>
                </a:lnTo>
                <a:lnTo>
                  <a:pt x="303" y="832"/>
                </a:lnTo>
                <a:lnTo>
                  <a:pt x="310" y="836"/>
                </a:lnTo>
                <a:lnTo>
                  <a:pt x="318" y="836"/>
                </a:lnTo>
                <a:lnTo>
                  <a:pt x="319" y="835"/>
                </a:lnTo>
                <a:lnTo>
                  <a:pt x="322" y="836"/>
                </a:lnTo>
                <a:lnTo>
                  <a:pt x="319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8" y="836"/>
                </a:lnTo>
                <a:lnTo>
                  <a:pt x="317" y="839"/>
                </a:lnTo>
                <a:lnTo>
                  <a:pt x="313" y="840"/>
                </a:lnTo>
                <a:lnTo>
                  <a:pt x="322" y="845"/>
                </a:lnTo>
                <a:lnTo>
                  <a:pt x="332" y="844"/>
                </a:lnTo>
                <a:lnTo>
                  <a:pt x="340" y="852"/>
                </a:lnTo>
                <a:lnTo>
                  <a:pt x="352" y="857"/>
                </a:lnTo>
                <a:lnTo>
                  <a:pt x="353" y="858"/>
                </a:lnTo>
                <a:lnTo>
                  <a:pt x="354" y="859"/>
                </a:lnTo>
                <a:lnTo>
                  <a:pt x="361" y="860"/>
                </a:lnTo>
                <a:lnTo>
                  <a:pt x="367" y="865"/>
                </a:lnTo>
                <a:lnTo>
                  <a:pt x="360" y="864"/>
                </a:lnTo>
                <a:lnTo>
                  <a:pt x="354" y="859"/>
                </a:lnTo>
                <a:lnTo>
                  <a:pt x="347" y="859"/>
                </a:lnTo>
                <a:lnTo>
                  <a:pt x="342" y="856"/>
                </a:lnTo>
                <a:lnTo>
                  <a:pt x="335" y="852"/>
                </a:lnTo>
                <a:lnTo>
                  <a:pt x="328" y="851"/>
                </a:lnTo>
                <a:lnTo>
                  <a:pt x="332" y="856"/>
                </a:lnTo>
                <a:lnTo>
                  <a:pt x="338" y="859"/>
                </a:lnTo>
                <a:lnTo>
                  <a:pt x="349" y="868"/>
                </a:lnTo>
                <a:lnTo>
                  <a:pt x="359" y="879"/>
                </a:lnTo>
                <a:lnTo>
                  <a:pt x="364" y="885"/>
                </a:lnTo>
                <a:lnTo>
                  <a:pt x="370" y="891"/>
                </a:lnTo>
                <a:lnTo>
                  <a:pt x="367" y="895"/>
                </a:lnTo>
                <a:lnTo>
                  <a:pt x="372" y="900"/>
                </a:lnTo>
                <a:lnTo>
                  <a:pt x="374" y="901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5" y="903"/>
                </a:lnTo>
                <a:lnTo>
                  <a:pt x="377" y="905"/>
                </a:lnTo>
                <a:lnTo>
                  <a:pt x="377" y="906"/>
                </a:lnTo>
                <a:lnTo>
                  <a:pt x="382" y="909"/>
                </a:lnTo>
                <a:lnTo>
                  <a:pt x="385" y="915"/>
                </a:lnTo>
                <a:lnTo>
                  <a:pt x="379" y="912"/>
                </a:lnTo>
                <a:lnTo>
                  <a:pt x="377" y="906"/>
                </a:lnTo>
                <a:lnTo>
                  <a:pt x="377" y="906"/>
                </a:lnTo>
                <a:lnTo>
                  <a:pt x="377" y="906"/>
                </a:lnTo>
                <a:lnTo>
                  <a:pt x="375" y="905"/>
                </a:lnTo>
                <a:lnTo>
                  <a:pt x="375" y="903"/>
                </a:lnTo>
                <a:lnTo>
                  <a:pt x="370" y="902"/>
                </a:lnTo>
                <a:lnTo>
                  <a:pt x="366" y="903"/>
                </a:lnTo>
                <a:lnTo>
                  <a:pt x="368" y="907"/>
                </a:lnTo>
                <a:lnTo>
                  <a:pt x="373" y="909"/>
                </a:lnTo>
                <a:lnTo>
                  <a:pt x="374" y="912"/>
                </a:lnTo>
                <a:lnTo>
                  <a:pt x="374" y="914"/>
                </a:lnTo>
                <a:lnTo>
                  <a:pt x="372" y="914"/>
                </a:lnTo>
                <a:lnTo>
                  <a:pt x="371" y="912"/>
                </a:lnTo>
                <a:lnTo>
                  <a:pt x="357" y="903"/>
                </a:lnTo>
                <a:lnTo>
                  <a:pt x="344" y="895"/>
                </a:lnTo>
                <a:lnTo>
                  <a:pt x="342" y="895"/>
                </a:lnTo>
                <a:lnTo>
                  <a:pt x="339" y="895"/>
                </a:lnTo>
                <a:lnTo>
                  <a:pt x="339" y="898"/>
                </a:lnTo>
                <a:lnTo>
                  <a:pt x="339" y="900"/>
                </a:lnTo>
                <a:lnTo>
                  <a:pt x="340" y="901"/>
                </a:lnTo>
                <a:lnTo>
                  <a:pt x="342" y="900"/>
                </a:lnTo>
                <a:lnTo>
                  <a:pt x="347" y="902"/>
                </a:lnTo>
                <a:lnTo>
                  <a:pt x="350" y="906"/>
                </a:lnTo>
                <a:lnTo>
                  <a:pt x="347" y="906"/>
                </a:lnTo>
                <a:lnTo>
                  <a:pt x="346" y="906"/>
                </a:lnTo>
                <a:lnTo>
                  <a:pt x="339" y="907"/>
                </a:lnTo>
                <a:lnTo>
                  <a:pt x="340" y="913"/>
                </a:lnTo>
                <a:lnTo>
                  <a:pt x="339" y="917"/>
                </a:lnTo>
                <a:lnTo>
                  <a:pt x="343" y="921"/>
                </a:lnTo>
                <a:lnTo>
                  <a:pt x="342" y="922"/>
                </a:lnTo>
                <a:lnTo>
                  <a:pt x="337" y="924"/>
                </a:lnTo>
                <a:lnTo>
                  <a:pt x="337" y="923"/>
                </a:lnTo>
                <a:lnTo>
                  <a:pt x="336" y="923"/>
                </a:lnTo>
                <a:lnTo>
                  <a:pt x="336" y="923"/>
                </a:lnTo>
                <a:lnTo>
                  <a:pt x="337" y="924"/>
                </a:lnTo>
                <a:lnTo>
                  <a:pt x="337" y="924"/>
                </a:lnTo>
                <a:lnTo>
                  <a:pt x="340" y="931"/>
                </a:lnTo>
                <a:lnTo>
                  <a:pt x="346" y="936"/>
                </a:lnTo>
                <a:lnTo>
                  <a:pt x="342" y="936"/>
                </a:lnTo>
                <a:lnTo>
                  <a:pt x="338" y="934"/>
                </a:lnTo>
                <a:lnTo>
                  <a:pt x="338" y="937"/>
                </a:lnTo>
                <a:lnTo>
                  <a:pt x="339" y="941"/>
                </a:lnTo>
                <a:lnTo>
                  <a:pt x="339" y="942"/>
                </a:lnTo>
                <a:lnTo>
                  <a:pt x="340" y="943"/>
                </a:lnTo>
                <a:lnTo>
                  <a:pt x="340" y="943"/>
                </a:lnTo>
                <a:lnTo>
                  <a:pt x="339" y="943"/>
                </a:lnTo>
                <a:lnTo>
                  <a:pt x="339" y="942"/>
                </a:lnTo>
                <a:lnTo>
                  <a:pt x="339" y="941"/>
                </a:lnTo>
                <a:lnTo>
                  <a:pt x="337" y="947"/>
                </a:lnTo>
                <a:lnTo>
                  <a:pt x="338" y="952"/>
                </a:lnTo>
                <a:lnTo>
                  <a:pt x="338" y="955"/>
                </a:lnTo>
                <a:lnTo>
                  <a:pt x="337" y="956"/>
                </a:lnTo>
                <a:lnTo>
                  <a:pt x="336" y="956"/>
                </a:lnTo>
                <a:lnTo>
                  <a:pt x="335" y="954"/>
                </a:lnTo>
                <a:lnTo>
                  <a:pt x="333" y="945"/>
                </a:lnTo>
                <a:lnTo>
                  <a:pt x="329" y="940"/>
                </a:lnTo>
                <a:lnTo>
                  <a:pt x="325" y="933"/>
                </a:lnTo>
                <a:lnTo>
                  <a:pt x="319" y="926"/>
                </a:lnTo>
                <a:lnTo>
                  <a:pt x="315" y="922"/>
                </a:lnTo>
                <a:lnTo>
                  <a:pt x="306" y="920"/>
                </a:lnTo>
                <a:lnTo>
                  <a:pt x="303" y="917"/>
                </a:lnTo>
                <a:lnTo>
                  <a:pt x="301" y="913"/>
                </a:lnTo>
                <a:lnTo>
                  <a:pt x="294" y="908"/>
                </a:lnTo>
                <a:lnTo>
                  <a:pt x="287" y="908"/>
                </a:lnTo>
                <a:lnTo>
                  <a:pt x="284" y="909"/>
                </a:lnTo>
                <a:lnTo>
                  <a:pt x="283" y="908"/>
                </a:lnTo>
                <a:lnTo>
                  <a:pt x="280" y="901"/>
                </a:lnTo>
                <a:lnTo>
                  <a:pt x="276" y="894"/>
                </a:lnTo>
                <a:lnTo>
                  <a:pt x="275" y="893"/>
                </a:lnTo>
                <a:lnTo>
                  <a:pt x="276" y="892"/>
                </a:lnTo>
                <a:lnTo>
                  <a:pt x="278" y="893"/>
                </a:lnTo>
                <a:lnTo>
                  <a:pt x="280" y="891"/>
                </a:lnTo>
                <a:lnTo>
                  <a:pt x="277" y="887"/>
                </a:lnTo>
                <a:lnTo>
                  <a:pt x="274" y="887"/>
                </a:lnTo>
                <a:lnTo>
                  <a:pt x="264" y="888"/>
                </a:lnTo>
                <a:lnTo>
                  <a:pt x="260" y="880"/>
                </a:lnTo>
                <a:lnTo>
                  <a:pt x="257" y="875"/>
                </a:lnTo>
                <a:lnTo>
                  <a:pt x="253" y="871"/>
                </a:lnTo>
                <a:lnTo>
                  <a:pt x="254" y="871"/>
                </a:lnTo>
                <a:lnTo>
                  <a:pt x="255" y="870"/>
                </a:lnTo>
                <a:lnTo>
                  <a:pt x="257" y="872"/>
                </a:lnTo>
                <a:lnTo>
                  <a:pt x="261" y="873"/>
                </a:lnTo>
                <a:lnTo>
                  <a:pt x="262" y="870"/>
                </a:lnTo>
                <a:lnTo>
                  <a:pt x="261" y="866"/>
                </a:lnTo>
                <a:lnTo>
                  <a:pt x="262" y="864"/>
                </a:lnTo>
                <a:lnTo>
                  <a:pt x="262" y="861"/>
                </a:lnTo>
                <a:lnTo>
                  <a:pt x="262" y="858"/>
                </a:lnTo>
                <a:lnTo>
                  <a:pt x="259" y="856"/>
                </a:lnTo>
                <a:lnTo>
                  <a:pt x="256" y="857"/>
                </a:lnTo>
                <a:lnTo>
                  <a:pt x="255" y="860"/>
                </a:lnTo>
                <a:lnTo>
                  <a:pt x="253" y="857"/>
                </a:lnTo>
                <a:lnTo>
                  <a:pt x="248" y="856"/>
                </a:lnTo>
                <a:lnTo>
                  <a:pt x="246" y="854"/>
                </a:lnTo>
                <a:lnTo>
                  <a:pt x="248" y="851"/>
                </a:lnTo>
                <a:lnTo>
                  <a:pt x="248" y="850"/>
                </a:lnTo>
                <a:lnTo>
                  <a:pt x="247" y="847"/>
                </a:lnTo>
                <a:lnTo>
                  <a:pt x="246" y="847"/>
                </a:lnTo>
                <a:lnTo>
                  <a:pt x="244" y="849"/>
                </a:lnTo>
                <a:lnTo>
                  <a:pt x="236" y="850"/>
                </a:lnTo>
                <a:lnTo>
                  <a:pt x="229" y="847"/>
                </a:lnTo>
                <a:lnTo>
                  <a:pt x="668" y="728"/>
                </a:lnTo>
                <a:close/>
                <a:moveTo>
                  <a:pt x="229" y="847"/>
                </a:moveTo>
                <a:lnTo>
                  <a:pt x="228" y="846"/>
                </a:lnTo>
                <a:lnTo>
                  <a:pt x="227" y="845"/>
                </a:lnTo>
                <a:lnTo>
                  <a:pt x="220" y="844"/>
                </a:lnTo>
                <a:lnTo>
                  <a:pt x="219" y="850"/>
                </a:lnTo>
                <a:lnTo>
                  <a:pt x="219" y="854"/>
                </a:lnTo>
                <a:lnTo>
                  <a:pt x="218" y="860"/>
                </a:lnTo>
                <a:lnTo>
                  <a:pt x="222" y="856"/>
                </a:lnTo>
                <a:lnTo>
                  <a:pt x="221" y="849"/>
                </a:lnTo>
                <a:lnTo>
                  <a:pt x="229" y="852"/>
                </a:lnTo>
                <a:lnTo>
                  <a:pt x="239" y="853"/>
                </a:lnTo>
                <a:lnTo>
                  <a:pt x="240" y="857"/>
                </a:lnTo>
                <a:lnTo>
                  <a:pt x="239" y="863"/>
                </a:lnTo>
                <a:lnTo>
                  <a:pt x="237" y="859"/>
                </a:lnTo>
                <a:lnTo>
                  <a:pt x="236" y="857"/>
                </a:lnTo>
                <a:lnTo>
                  <a:pt x="235" y="857"/>
                </a:lnTo>
                <a:lnTo>
                  <a:pt x="234" y="858"/>
                </a:lnTo>
                <a:lnTo>
                  <a:pt x="233" y="860"/>
                </a:lnTo>
                <a:lnTo>
                  <a:pt x="234" y="864"/>
                </a:lnTo>
                <a:lnTo>
                  <a:pt x="236" y="872"/>
                </a:lnTo>
                <a:lnTo>
                  <a:pt x="229" y="879"/>
                </a:lnTo>
                <a:lnTo>
                  <a:pt x="222" y="879"/>
                </a:lnTo>
                <a:lnTo>
                  <a:pt x="218" y="877"/>
                </a:lnTo>
                <a:lnTo>
                  <a:pt x="216" y="875"/>
                </a:lnTo>
                <a:lnTo>
                  <a:pt x="218" y="874"/>
                </a:lnTo>
                <a:lnTo>
                  <a:pt x="220" y="872"/>
                </a:lnTo>
                <a:lnTo>
                  <a:pt x="218" y="870"/>
                </a:lnTo>
                <a:lnTo>
                  <a:pt x="214" y="865"/>
                </a:lnTo>
                <a:lnTo>
                  <a:pt x="215" y="858"/>
                </a:lnTo>
                <a:lnTo>
                  <a:pt x="215" y="850"/>
                </a:lnTo>
                <a:lnTo>
                  <a:pt x="211" y="843"/>
                </a:lnTo>
                <a:lnTo>
                  <a:pt x="215" y="842"/>
                </a:lnTo>
                <a:lnTo>
                  <a:pt x="215" y="837"/>
                </a:lnTo>
                <a:lnTo>
                  <a:pt x="214" y="835"/>
                </a:lnTo>
                <a:lnTo>
                  <a:pt x="211" y="836"/>
                </a:lnTo>
                <a:lnTo>
                  <a:pt x="207" y="836"/>
                </a:lnTo>
                <a:lnTo>
                  <a:pt x="206" y="833"/>
                </a:lnTo>
                <a:lnTo>
                  <a:pt x="207" y="831"/>
                </a:lnTo>
                <a:lnTo>
                  <a:pt x="209" y="831"/>
                </a:lnTo>
                <a:lnTo>
                  <a:pt x="215" y="829"/>
                </a:lnTo>
                <a:lnTo>
                  <a:pt x="222" y="830"/>
                </a:lnTo>
                <a:lnTo>
                  <a:pt x="227" y="826"/>
                </a:lnTo>
                <a:lnTo>
                  <a:pt x="229" y="821"/>
                </a:lnTo>
                <a:lnTo>
                  <a:pt x="227" y="819"/>
                </a:lnTo>
                <a:lnTo>
                  <a:pt x="225" y="819"/>
                </a:lnTo>
                <a:lnTo>
                  <a:pt x="222" y="819"/>
                </a:lnTo>
                <a:lnTo>
                  <a:pt x="223" y="822"/>
                </a:lnTo>
                <a:lnTo>
                  <a:pt x="225" y="824"/>
                </a:lnTo>
                <a:lnTo>
                  <a:pt x="222" y="826"/>
                </a:lnTo>
                <a:lnTo>
                  <a:pt x="220" y="826"/>
                </a:lnTo>
                <a:lnTo>
                  <a:pt x="219" y="823"/>
                </a:lnTo>
                <a:lnTo>
                  <a:pt x="218" y="822"/>
                </a:lnTo>
                <a:lnTo>
                  <a:pt x="216" y="822"/>
                </a:lnTo>
                <a:lnTo>
                  <a:pt x="213" y="816"/>
                </a:lnTo>
                <a:lnTo>
                  <a:pt x="207" y="815"/>
                </a:lnTo>
                <a:lnTo>
                  <a:pt x="202" y="814"/>
                </a:lnTo>
                <a:lnTo>
                  <a:pt x="200" y="808"/>
                </a:lnTo>
                <a:lnTo>
                  <a:pt x="199" y="807"/>
                </a:lnTo>
                <a:lnTo>
                  <a:pt x="195" y="807"/>
                </a:lnTo>
                <a:lnTo>
                  <a:pt x="192" y="807"/>
                </a:lnTo>
                <a:lnTo>
                  <a:pt x="191" y="804"/>
                </a:lnTo>
                <a:lnTo>
                  <a:pt x="191" y="802"/>
                </a:lnTo>
                <a:lnTo>
                  <a:pt x="194" y="801"/>
                </a:lnTo>
                <a:lnTo>
                  <a:pt x="197" y="800"/>
                </a:lnTo>
                <a:lnTo>
                  <a:pt x="194" y="797"/>
                </a:lnTo>
                <a:lnTo>
                  <a:pt x="192" y="794"/>
                </a:lnTo>
                <a:lnTo>
                  <a:pt x="197" y="793"/>
                </a:lnTo>
                <a:lnTo>
                  <a:pt x="197" y="793"/>
                </a:lnTo>
                <a:lnTo>
                  <a:pt x="198" y="793"/>
                </a:lnTo>
                <a:lnTo>
                  <a:pt x="198" y="794"/>
                </a:lnTo>
                <a:lnTo>
                  <a:pt x="198" y="793"/>
                </a:lnTo>
                <a:lnTo>
                  <a:pt x="199" y="793"/>
                </a:lnTo>
                <a:lnTo>
                  <a:pt x="198" y="793"/>
                </a:lnTo>
                <a:lnTo>
                  <a:pt x="197" y="793"/>
                </a:lnTo>
                <a:lnTo>
                  <a:pt x="195" y="789"/>
                </a:lnTo>
                <a:lnTo>
                  <a:pt x="195" y="786"/>
                </a:lnTo>
                <a:lnTo>
                  <a:pt x="200" y="790"/>
                </a:lnTo>
                <a:lnTo>
                  <a:pt x="206" y="794"/>
                </a:lnTo>
                <a:lnTo>
                  <a:pt x="205" y="791"/>
                </a:lnTo>
                <a:lnTo>
                  <a:pt x="205" y="789"/>
                </a:lnTo>
                <a:lnTo>
                  <a:pt x="206" y="789"/>
                </a:lnTo>
                <a:lnTo>
                  <a:pt x="208" y="789"/>
                </a:lnTo>
                <a:lnTo>
                  <a:pt x="211" y="789"/>
                </a:lnTo>
                <a:lnTo>
                  <a:pt x="212" y="788"/>
                </a:lnTo>
                <a:lnTo>
                  <a:pt x="211" y="786"/>
                </a:lnTo>
                <a:lnTo>
                  <a:pt x="208" y="786"/>
                </a:lnTo>
                <a:lnTo>
                  <a:pt x="206" y="784"/>
                </a:lnTo>
                <a:lnTo>
                  <a:pt x="206" y="782"/>
                </a:lnTo>
                <a:lnTo>
                  <a:pt x="208" y="780"/>
                </a:lnTo>
                <a:lnTo>
                  <a:pt x="211" y="781"/>
                </a:lnTo>
                <a:lnTo>
                  <a:pt x="215" y="784"/>
                </a:lnTo>
                <a:lnTo>
                  <a:pt x="214" y="790"/>
                </a:lnTo>
                <a:lnTo>
                  <a:pt x="215" y="793"/>
                </a:lnTo>
                <a:lnTo>
                  <a:pt x="219" y="794"/>
                </a:lnTo>
                <a:lnTo>
                  <a:pt x="226" y="793"/>
                </a:lnTo>
                <a:lnTo>
                  <a:pt x="232" y="795"/>
                </a:lnTo>
                <a:lnTo>
                  <a:pt x="247" y="803"/>
                </a:lnTo>
                <a:lnTo>
                  <a:pt x="260" y="812"/>
                </a:lnTo>
                <a:lnTo>
                  <a:pt x="262" y="814"/>
                </a:lnTo>
                <a:lnTo>
                  <a:pt x="266" y="815"/>
                </a:lnTo>
                <a:lnTo>
                  <a:pt x="263" y="816"/>
                </a:lnTo>
                <a:lnTo>
                  <a:pt x="262" y="819"/>
                </a:lnTo>
                <a:lnTo>
                  <a:pt x="262" y="821"/>
                </a:lnTo>
                <a:lnTo>
                  <a:pt x="260" y="822"/>
                </a:lnTo>
                <a:lnTo>
                  <a:pt x="257" y="821"/>
                </a:lnTo>
                <a:lnTo>
                  <a:pt x="257" y="819"/>
                </a:lnTo>
                <a:lnTo>
                  <a:pt x="254" y="815"/>
                </a:lnTo>
                <a:lnTo>
                  <a:pt x="248" y="816"/>
                </a:lnTo>
                <a:lnTo>
                  <a:pt x="250" y="819"/>
                </a:lnTo>
                <a:lnTo>
                  <a:pt x="252" y="823"/>
                </a:lnTo>
                <a:lnTo>
                  <a:pt x="229" y="847"/>
                </a:lnTo>
                <a:close/>
                <a:moveTo>
                  <a:pt x="252" y="823"/>
                </a:moveTo>
                <a:lnTo>
                  <a:pt x="261" y="825"/>
                </a:lnTo>
                <a:lnTo>
                  <a:pt x="268" y="833"/>
                </a:lnTo>
                <a:lnTo>
                  <a:pt x="266" y="833"/>
                </a:lnTo>
                <a:lnTo>
                  <a:pt x="263" y="835"/>
                </a:lnTo>
                <a:lnTo>
                  <a:pt x="269" y="837"/>
                </a:lnTo>
                <a:lnTo>
                  <a:pt x="275" y="838"/>
                </a:lnTo>
                <a:lnTo>
                  <a:pt x="282" y="840"/>
                </a:lnTo>
                <a:lnTo>
                  <a:pt x="283" y="833"/>
                </a:lnTo>
                <a:lnTo>
                  <a:pt x="284" y="832"/>
                </a:lnTo>
                <a:lnTo>
                  <a:pt x="284" y="832"/>
                </a:lnTo>
                <a:lnTo>
                  <a:pt x="284" y="830"/>
                </a:lnTo>
                <a:lnTo>
                  <a:pt x="282" y="828"/>
                </a:lnTo>
                <a:lnTo>
                  <a:pt x="280" y="829"/>
                </a:lnTo>
                <a:lnTo>
                  <a:pt x="280" y="831"/>
                </a:lnTo>
                <a:lnTo>
                  <a:pt x="278" y="835"/>
                </a:lnTo>
                <a:lnTo>
                  <a:pt x="275" y="832"/>
                </a:lnTo>
                <a:lnTo>
                  <a:pt x="268" y="824"/>
                </a:lnTo>
                <a:lnTo>
                  <a:pt x="266" y="815"/>
                </a:lnTo>
                <a:lnTo>
                  <a:pt x="269" y="815"/>
                </a:lnTo>
                <a:lnTo>
                  <a:pt x="270" y="812"/>
                </a:lnTo>
                <a:lnTo>
                  <a:pt x="270" y="811"/>
                </a:lnTo>
                <a:lnTo>
                  <a:pt x="268" y="810"/>
                </a:lnTo>
                <a:lnTo>
                  <a:pt x="266" y="807"/>
                </a:lnTo>
                <a:lnTo>
                  <a:pt x="263" y="805"/>
                </a:lnTo>
                <a:lnTo>
                  <a:pt x="262" y="805"/>
                </a:lnTo>
                <a:lnTo>
                  <a:pt x="261" y="805"/>
                </a:lnTo>
                <a:lnTo>
                  <a:pt x="260" y="804"/>
                </a:lnTo>
                <a:lnTo>
                  <a:pt x="257" y="803"/>
                </a:lnTo>
                <a:lnTo>
                  <a:pt x="257" y="803"/>
                </a:lnTo>
                <a:lnTo>
                  <a:pt x="259" y="803"/>
                </a:lnTo>
                <a:lnTo>
                  <a:pt x="260" y="803"/>
                </a:lnTo>
                <a:lnTo>
                  <a:pt x="261" y="804"/>
                </a:lnTo>
                <a:lnTo>
                  <a:pt x="262" y="804"/>
                </a:lnTo>
                <a:lnTo>
                  <a:pt x="263" y="804"/>
                </a:lnTo>
                <a:lnTo>
                  <a:pt x="259" y="797"/>
                </a:lnTo>
                <a:lnTo>
                  <a:pt x="249" y="795"/>
                </a:lnTo>
                <a:lnTo>
                  <a:pt x="247" y="794"/>
                </a:lnTo>
                <a:lnTo>
                  <a:pt x="244" y="793"/>
                </a:lnTo>
                <a:lnTo>
                  <a:pt x="250" y="789"/>
                </a:lnTo>
                <a:lnTo>
                  <a:pt x="257" y="791"/>
                </a:lnTo>
                <a:lnTo>
                  <a:pt x="261" y="794"/>
                </a:lnTo>
                <a:lnTo>
                  <a:pt x="263" y="789"/>
                </a:lnTo>
                <a:lnTo>
                  <a:pt x="261" y="789"/>
                </a:lnTo>
                <a:lnTo>
                  <a:pt x="260" y="789"/>
                </a:lnTo>
                <a:lnTo>
                  <a:pt x="260" y="788"/>
                </a:lnTo>
                <a:lnTo>
                  <a:pt x="260" y="788"/>
                </a:lnTo>
                <a:lnTo>
                  <a:pt x="262" y="788"/>
                </a:lnTo>
                <a:lnTo>
                  <a:pt x="263" y="789"/>
                </a:lnTo>
                <a:lnTo>
                  <a:pt x="270" y="793"/>
                </a:lnTo>
                <a:lnTo>
                  <a:pt x="278" y="794"/>
                </a:lnTo>
                <a:lnTo>
                  <a:pt x="280" y="795"/>
                </a:lnTo>
                <a:lnTo>
                  <a:pt x="281" y="796"/>
                </a:lnTo>
                <a:lnTo>
                  <a:pt x="280" y="797"/>
                </a:lnTo>
                <a:lnTo>
                  <a:pt x="277" y="797"/>
                </a:lnTo>
                <a:lnTo>
                  <a:pt x="274" y="797"/>
                </a:lnTo>
                <a:lnTo>
                  <a:pt x="271" y="798"/>
                </a:lnTo>
                <a:lnTo>
                  <a:pt x="274" y="801"/>
                </a:lnTo>
                <a:lnTo>
                  <a:pt x="276" y="802"/>
                </a:lnTo>
                <a:lnTo>
                  <a:pt x="284" y="807"/>
                </a:lnTo>
                <a:lnTo>
                  <a:pt x="294" y="809"/>
                </a:lnTo>
                <a:lnTo>
                  <a:pt x="301" y="812"/>
                </a:lnTo>
                <a:lnTo>
                  <a:pt x="308" y="816"/>
                </a:lnTo>
                <a:lnTo>
                  <a:pt x="310" y="817"/>
                </a:lnTo>
                <a:lnTo>
                  <a:pt x="312" y="816"/>
                </a:lnTo>
                <a:lnTo>
                  <a:pt x="312" y="814"/>
                </a:lnTo>
                <a:lnTo>
                  <a:pt x="310" y="814"/>
                </a:lnTo>
                <a:lnTo>
                  <a:pt x="305" y="809"/>
                </a:lnTo>
                <a:lnTo>
                  <a:pt x="301" y="804"/>
                </a:lnTo>
                <a:lnTo>
                  <a:pt x="294" y="803"/>
                </a:lnTo>
                <a:lnTo>
                  <a:pt x="285" y="802"/>
                </a:lnTo>
                <a:lnTo>
                  <a:pt x="284" y="801"/>
                </a:lnTo>
                <a:lnTo>
                  <a:pt x="284" y="798"/>
                </a:lnTo>
                <a:lnTo>
                  <a:pt x="285" y="797"/>
                </a:lnTo>
                <a:lnTo>
                  <a:pt x="287" y="797"/>
                </a:lnTo>
                <a:lnTo>
                  <a:pt x="295" y="800"/>
                </a:lnTo>
                <a:lnTo>
                  <a:pt x="301" y="804"/>
                </a:lnTo>
                <a:lnTo>
                  <a:pt x="306" y="805"/>
                </a:lnTo>
                <a:lnTo>
                  <a:pt x="312" y="808"/>
                </a:lnTo>
                <a:lnTo>
                  <a:pt x="326" y="815"/>
                </a:lnTo>
                <a:lnTo>
                  <a:pt x="343" y="819"/>
                </a:lnTo>
                <a:lnTo>
                  <a:pt x="331" y="809"/>
                </a:lnTo>
                <a:lnTo>
                  <a:pt x="319" y="801"/>
                </a:lnTo>
                <a:lnTo>
                  <a:pt x="304" y="793"/>
                </a:lnTo>
                <a:lnTo>
                  <a:pt x="288" y="786"/>
                </a:lnTo>
                <a:lnTo>
                  <a:pt x="285" y="783"/>
                </a:lnTo>
                <a:lnTo>
                  <a:pt x="284" y="782"/>
                </a:lnTo>
                <a:lnTo>
                  <a:pt x="284" y="781"/>
                </a:lnTo>
                <a:lnTo>
                  <a:pt x="285" y="780"/>
                </a:lnTo>
                <a:lnTo>
                  <a:pt x="288" y="780"/>
                </a:lnTo>
                <a:lnTo>
                  <a:pt x="289" y="781"/>
                </a:lnTo>
                <a:lnTo>
                  <a:pt x="296" y="786"/>
                </a:lnTo>
                <a:lnTo>
                  <a:pt x="305" y="789"/>
                </a:lnTo>
                <a:lnTo>
                  <a:pt x="298" y="781"/>
                </a:lnTo>
                <a:lnTo>
                  <a:pt x="292" y="775"/>
                </a:lnTo>
                <a:lnTo>
                  <a:pt x="289" y="775"/>
                </a:lnTo>
                <a:lnTo>
                  <a:pt x="288" y="772"/>
                </a:lnTo>
                <a:lnTo>
                  <a:pt x="287" y="772"/>
                </a:lnTo>
                <a:lnTo>
                  <a:pt x="287" y="770"/>
                </a:lnTo>
                <a:lnTo>
                  <a:pt x="287" y="769"/>
                </a:lnTo>
                <a:lnTo>
                  <a:pt x="287" y="769"/>
                </a:lnTo>
                <a:lnTo>
                  <a:pt x="288" y="770"/>
                </a:lnTo>
                <a:lnTo>
                  <a:pt x="288" y="772"/>
                </a:lnTo>
                <a:lnTo>
                  <a:pt x="290" y="772"/>
                </a:lnTo>
                <a:lnTo>
                  <a:pt x="292" y="772"/>
                </a:lnTo>
                <a:lnTo>
                  <a:pt x="292" y="773"/>
                </a:lnTo>
                <a:lnTo>
                  <a:pt x="292" y="775"/>
                </a:lnTo>
                <a:lnTo>
                  <a:pt x="296" y="776"/>
                </a:lnTo>
                <a:lnTo>
                  <a:pt x="299" y="779"/>
                </a:lnTo>
                <a:lnTo>
                  <a:pt x="302" y="780"/>
                </a:lnTo>
                <a:lnTo>
                  <a:pt x="305" y="780"/>
                </a:lnTo>
                <a:lnTo>
                  <a:pt x="305" y="779"/>
                </a:lnTo>
                <a:lnTo>
                  <a:pt x="305" y="777"/>
                </a:lnTo>
                <a:lnTo>
                  <a:pt x="304" y="775"/>
                </a:lnTo>
                <a:lnTo>
                  <a:pt x="301" y="773"/>
                </a:lnTo>
                <a:lnTo>
                  <a:pt x="297" y="772"/>
                </a:lnTo>
                <a:lnTo>
                  <a:pt x="292" y="772"/>
                </a:lnTo>
                <a:lnTo>
                  <a:pt x="290" y="768"/>
                </a:lnTo>
                <a:lnTo>
                  <a:pt x="287" y="767"/>
                </a:lnTo>
                <a:lnTo>
                  <a:pt x="282" y="765"/>
                </a:lnTo>
                <a:lnTo>
                  <a:pt x="280" y="760"/>
                </a:lnTo>
                <a:lnTo>
                  <a:pt x="277" y="760"/>
                </a:lnTo>
                <a:lnTo>
                  <a:pt x="276" y="758"/>
                </a:lnTo>
                <a:lnTo>
                  <a:pt x="276" y="756"/>
                </a:lnTo>
                <a:lnTo>
                  <a:pt x="277" y="756"/>
                </a:lnTo>
                <a:lnTo>
                  <a:pt x="280" y="758"/>
                </a:lnTo>
                <a:lnTo>
                  <a:pt x="280" y="760"/>
                </a:lnTo>
                <a:lnTo>
                  <a:pt x="281" y="760"/>
                </a:lnTo>
                <a:lnTo>
                  <a:pt x="282" y="759"/>
                </a:lnTo>
                <a:lnTo>
                  <a:pt x="284" y="748"/>
                </a:lnTo>
                <a:lnTo>
                  <a:pt x="280" y="739"/>
                </a:lnTo>
                <a:lnTo>
                  <a:pt x="278" y="742"/>
                </a:lnTo>
                <a:lnTo>
                  <a:pt x="276" y="742"/>
                </a:lnTo>
                <a:lnTo>
                  <a:pt x="274" y="739"/>
                </a:lnTo>
                <a:lnTo>
                  <a:pt x="275" y="734"/>
                </a:lnTo>
                <a:lnTo>
                  <a:pt x="276" y="737"/>
                </a:lnTo>
                <a:lnTo>
                  <a:pt x="278" y="738"/>
                </a:lnTo>
                <a:lnTo>
                  <a:pt x="277" y="735"/>
                </a:lnTo>
                <a:lnTo>
                  <a:pt x="275" y="734"/>
                </a:lnTo>
                <a:lnTo>
                  <a:pt x="275" y="734"/>
                </a:lnTo>
                <a:lnTo>
                  <a:pt x="275" y="734"/>
                </a:lnTo>
                <a:lnTo>
                  <a:pt x="266" y="728"/>
                </a:lnTo>
                <a:lnTo>
                  <a:pt x="266" y="717"/>
                </a:lnTo>
                <a:lnTo>
                  <a:pt x="263" y="719"/>
                </a:lnTo>
                <a:lnTo>
                  <a:pt x="260" y="720"/>
                </a:lnTo>
                <a:lnTo>
                  <a:pt x="259" y="718"/>
                </a:lnTo>
                <a:lnTo>
                  <a:pt x="260" y="716"/>
                </a:lnTo>
                <a:lnTo>
                  <a:pt x="256" y="711"/>
                </a:lnTo>
                <a:lnTo>
                  <a:pt x="253" y="709"/>
                </a:lnTo>
                <a:lnTo>
                  <a:pt x="250" y="705"/>
                </a:lnTo>
                <a:lnTo>
                  <a:pt x="250" y="702"/>
                </a:lnTo>
                <a:lnTo>
                  <a:pt x="252" y="699"/>
                </a:lnTo>
                <a:lnTo>
                  <a:pt x="253" y="699"/>
                </a:lnTo>
                <a:lnTo>
                  <a:pt x="256" y="700"/>
                </a:lnTo>
                <a:lnTo>
                  <a:pt x="257" y="705"/>
                </a:lnTo>
                <a:lnTo>
                  <a:pt x="259" y="706"/>
                </a:lnTo>
                <a:lnTo>
                  <a:pt x="261" y="709"/>
                </a:lnTo>
                <a:lnTo>
                  <a:pt x="261" y="700"/>
                </a:lnTo>
                <a:lnTo>
                  <a:pt x="259" y="700"/>
                </a:lnTo>
                <a:lnTo>
                  <a:pt x="257" y="698"/>
                </a:lnTo>
                <a:lnTo>
                  <a:pt x="257" y="697"/>
                </a:lnTo>
                <a:lnTo>
                  <a:pt x="259" y="697"/>
                </a:lnTo>
                <a:lnTo>
                  <a:pt x="261" y="698"/>
                </a:lnTo>
                <a:lnTo>
                  <a:pt x="262" y="700"/>
                </a:lnTo>
                <a:lnTo>
                  <a:pt x="266" y="702"/>
                </a:lnTo>
                <a:lnTo>
                  <a:pt x="267" y="697"/>
                </a:lnTo>
                <a:lnTo>
                  <a:pt x="270" y="702"/>
                </a:lnTo>
                <a:lnTo>
                  <a:pt x="270" y="709"/>
                </a:lnTo>
                <a:lnTo>
                  <a:pt x="275" y="704"/>
                </a:lnTo>
                <a:lnTo>
                  <a:pt x="276" y="698"/>
                </a:lnTo>
                <a:lnTo>
                  <a:pt x="274" y="693"/>
                </a:lnTo>
                <a:lnTo>
                  <a:pt x="269" y="692"/>
                </a:lnTo>
                <a:lnTo>
                  <a:pt x="264" y="691"/>
                </a:lnTo>
                <a:lnTo>
                  <a:pt x="263" y="685"/>
                </a:lnTo>
                <a:lnTo>
                  <a:pt x="267" y="688"/>
                </a:lnTo>
                <a:lnTo>
                  <a:pt x="270" y="688"/>
                </a:lnTo>
                <a:lnTo>
                  <a:pt x="276" y="688"/>
                </a:lnTo>
                <a:lnTo>
                  <a:pt x="280" y="693"/>
                </a:lnTo>
                <a:lnTo>
                  <a:pt x="282" y="693"/>
                </a:lnTo>
                <a:lnTo>
                  <a:pt x="284" y="692"/>
                </a:lnTo>
                <a:lnTo>
                  <a:pt x="284" y="689"/>
                </a:lnTo>
                <a:lnTo>
                  <a:pt x="288" y="686"/>
                </a:lnTo>
                <a:lnTo>
                  <a:pt x="290" y="685"/>
                </a:lnTo>
                <a:lnTo>
                  <a:pt x="292" y="683"/>
                </a:lnTo>
                <a:lnTo>
                  <a:pt x="292" y="686"/>
                </a:lnTo>
                <a:lnTo>
                  <a:pt x="291" y="689"/>
                </a:lnTo>
                <a:lnTo>
                  <a:pt x="292" y="692"/>
                </a:lnTo>
                <a:lnTo>
                  <a:pt x="295" y="692"/>
                </a:lnTo>
                <a:lnTo>
                  <a:pt x="296" y="695"/>
                </a:lnTo>
                <a:lnTo>
                  <a:pt x="298" y="697"/>
                </a:lnTo>
                <a:lnTo>
                  <a:pt x="298" y="696"/>
                </a:lnTo>
                <a:lnTo>
                  <a:pt x="298" y="695"/>
                </a:lnTo>
                <a:lnTo>
                  <a:pt x="298" y="696"/>
                </a:lnTo>
                <a:lnTo>
                  <a:pt x="298" y="697"/>
                </a:lnTo>
                <a:lnTo>
                  <a:pt x="302" y="697"/>
                </a:lnTo>
                <a:lnTo>
                  <a:pt x="305" y="698"/>
                </a:lnTo>
                <a:lnTo>
                  <a:pt x="309" y="699"/>
                </a:lnTo>
                <a:lnTo>
                  <a:pt x="309" y="696"/>
                </a:lnTo>
                <a:lnTo>
                  <a:pt x="313" y="693"/>
                </a:lnTo>
                <a:lnTo>
                  <a:pt x="316" y="689"/>
                </a:lnTo>
                <a:lnTo>
                  <a:pt x="322" y="690"/>
                </a:lnTo>
                <a:lnTo>
                  <a:pt x="328" y="691"/>
                </a:lnTo>
                <a:lnTo>
                  <a:pt x="323" y="693"/>
                </a:lnTo>
                <a:lnTo>
                  <a:pt x="317" y="693"/>
                </a:lnTo>
                <a:lnTo>
                  <a:pt x="323" y="697"/>
                </a:lnTo>
                <a:lnTo>
                  <a:pt x="329" y="699"/>
                </a:lnTo>
                <a:lnTo>
                  <a:pt x="330" y="702"/>
                </a:lnTo>
                <a:lnTo>
                  <a:pt x="329" y="703"/>
                </a:lnTo>
                <a:lnTo>
                  <a:pt x="325" y="709"/>
                </a:lnTo>
                <a:lnTo>
                  <a:pt x="329" y="713"/>
                </a:lnTo>
                <a:lnTo>
                  <a:pt x="325" y="713"/>
                </a:lnTo>
                <a:lnTo>
                  <a:pt x="322" y="716"/>
                </a:lnTo>
                <a:lnTo>
                  <a:pt x="324" y="718"/>
                </a:lnTo>
                <a:lnTo>
                  <a:pt x="328" y="719"/>
                </a:lnTo>
                <a:lnTo>
                  <a:pt x="330" y="720"/>
                </a:lnTo>
                <a:lnTo>
                  <a:pt x="331" y="721"/>
                </a:lnTo>
                <a:lnTo>
                  <a:pt x="332" y="721"/>
                </a:lnTo>
                <a:lnTo>
                  <a:pt x="333" y="721"/>
                </a:lnTo>
                <a:lnTo>
                  <a:pt x="336" y="717"/>
                </a:lnTo>
                <a:lnTo>
                  <a:pt x="339" y="718"/>
                </a:lnTo>
                <a:lnTo>
                  <a:pt x="345" y="720"/>
                </a:lnTo>
                <a:lnTo>
                  <a:pt x="350" y="723"/>
                </a:lnTo>
                <a:lnTo>
                  <a:pt x="354" y="725"/>
                </a:lnTo>
                <a:lnTo>
                  <a:pt x="358" y="728"/>
                </a:lnTo>
                <a:lnTo>
                  <a:pt x="353" y="728"/>
                </a:lnTo>
                <a:lnTo>
                  <a:pt x="349" y="726"/>
                </a:lnTo>
                <a:lnTo>
                  <a:pt x="345" y="723"/>
                </a:lnTo>
                <a:lnTo>
                  <a:pt x="339" y="723"/>
                </a:lnTo>
                <a:lnTo>
                  <a:pt x="345" y="728"/>
                </a:lnTo>
                <a:lnTo>
                  <a:pt x="347" y="735"/>
                </a:lnTo>
                <a:lnTo>
                  <a:pt x="350" y="749"/>
                </a:lnTo>
                <a:lnTo>
                  <a:pt x="361" y="758"/>
                </a:lnTo>
                <a:lnTo>
                  <a:pt x="364" y="758"/>
                </a:lnTo>
                <a:lnTo>
                  <a:pt x="364" y="754"/>
                </a:lnTo>
                <a:lnTo>
                  <a:pt x="363" y="754"/>
                </a:lnTo>
                <a:lnTo>
                  <a:pt x="361" y="753"/>
                </a:lnTo>
                <a:lnTo>
                  <a:pt x="363" y="752"/>
                </a:lnTo>
                <a:lnTo>
                  <a:pt x="363" y="752"/>
                </a:lnTo>
                <a:lnTo>
                  <a:pt x="364" y="753"/>
                </a:lnTo>
                <a:lnTo>
                  <a:pt x="364" y="754"/>
                </a:lnTo>
                <a:lnTo>
                  <a:pt x="372" y="756"/>
                </a:lnTo>
                <a:lnTo>
                  <a:pt x="378" y="762"/>
                </a:lnTo>
                <a:lnTo>
                  <a:pt x="386" y="770"/>
                </a:lnTo>
                <a:lnTo>
                  <a:pt x="394" y="779"/>
                </a:lnTo>
                <a:lnTo>
                  <a:pt x="395" y="780"/>
                </a:lnTo>
                <a:lnTo>
                  <a:pt x="397" y="779"/>
                </a:lnTo>
                <a:lnTo>
                  <a:pt x="398" y="777"/>
                </a:lnTo>
                <a:lnTo>
                  <a:pt x="397" y="776"/>
                </a:lnTo>
                <a:lnTo>
                  <a:pt x="395" y="774"/>
                </a:lnTo>
                <a:lnTo>
                  <a:pt x="395" y="772"/>
                </a:lnTo>
                <a:lnTo>
                  <a:pt x="399" y="765"/>
                </a:lnTo>
                <a:lnTo>
                  <a:pt x="393" y="760"/>
                </a:lnTo>
                <a:lnTo>
                  <a:pt x="393" y="759"/>
                </a:lnTo>
                <a:lnTo>
                  <a:pt x="393" y="759"/>
                </a:lnTo>
                <a:lnTo>
                  <a:pt x="389" y="754"/>
                </a:lnTo>
                <a:lnTo>
                  <a:pt x="384" y="752"/>
                </a:lnTo>
                <a:lnTo>
                  <a:pt x="387" y="756"/>
                </a:lnTo>
                <a:lnTo>
                  <a:pt x="388" y="761"/>
                </a:lnTo>
                <a:lnTo>
                  <a:pt x="384" y="758"/>
                </a:lnTo>
                <a:lnTo>
                  <a:pt x="378" y="755"/>
                </a:lnTo>
                <a:lnTo>
                  <a:pt x="378" y="754"/>
                </a:lnTo>
                <a:lnTo>
                  <a:pt x="378" y="753"/>
                </a:lnTo>
                <a:lnTo>
                  <a:pt x="378" y="749"/>
                </a:lnTo>
                <a:lnTo>
                  <a:pt x="374" y="747"/>
                </a:lnTo>
                <a:lnTo>
                  <a:pt x="371" y="746"/>
                </a:lnTo>
                <a:lnTo>
                  <a:pt x="368" y="744"/>
                </a:lnTo>
                <a:lnTo>
                  <a:pt x="368" y="742"/>
                </a:lnTo>
                <a:lnTo>
                  <a:pt x="367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68" y="742"/>
                </a:lnTo>
                <a:lnTo>
                  <a:pt x="372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4"/>
                </a:lnTo>
                <a:lnTo>
                  <a:pt x="375" y="745"/>
                </a:lnTo>
                <a:lnTo>
                  <a:pt x="379" y="747"/>
                </a:lnTo>
                <a:lnTo>
                  <a:pt x="384" y="747"/>
                </a:lnTo>
                <a:lnTo>
                  <a:pt x="385" y="746"/>
                </a:lnTo>
                <a:lnTo>
                  <a:pt x="385" y="745"/>
                </a:lnTo>
                <a:lnTo>
                  <a:pt x="381" y="742"/>
                </a:lnTo>
                <a:lnTo>
                  <a:pt x="378" y="742"/>
                </a:lnTo>
                <a:lnTo>
                  <a:pt x="377" y="742"/>
                </a:lnTo>
                <a:lnTo>
                  <a:pt x="375" y="742"/>
                </a:lnTo>
                <a:lnTo>
                  <a:pt x="370" y="737"/>
                </a:lnTo>
                <a:lnTo>
                  <a:pt x="361" y="732"/>
                </a:lnTo>
                <a:lnTo>
                  <a:pt x="367" y="731"/>
                </a:lnTo>
                <a:lnTo>
                  <a:pt x="373" y="733"/>
                </a:lnTo>
                <a:lnTo>
                  <a:pt x="372" y="728"/>
                </a:lnTo>
                <a:lnTo>
                  <a:pt x="377" y="726"/>
                </a:lnTo>
                <a:lnTo>
                  <a:pt x="380" y="726"/>
                </a:lnTo>
                <a:lnTo>
                  <a:pt x="385" y="727"/>
                </a:lnTo>
                <a:lnTo>
                  <a:pt x="379" y="723"/>
                </a:lnTo>
                <a:lnTo>
                  <a:pt x="372" y="724"/>
                </a:lnTo>
                <a:lnTo>
                  <a:pt x="368" y="725"/>
                </a:lnTo>
                <a:lnTo>
                  <a:pt x="365" y="723"/>
                </a:lnTo>
                <a:lnTo>
                  <a:pt x="364" y="723"/>
                </a:lnTo>
                <a:lnTo>
                  <a:pt x="365" y="720"/>
                </a:lnTo>
                <a:lnTo>
                  <a:pt x="366" y="718"/>
                </a:lnTo>
                <a:lnTo>
                  <a:pt x="364" y="717"/>
                </a:lnTo>
                <a:lnTo>
                  <a:pt x="361" y="714"/>
                </a:lnTo>
                <a:lnTo>
                  <a:pt x="360" y="712"/>
                </a:lnTo>
                <a:lnTo>
                  <a:pt x="354" y="713"/>
                </a:lnTo>
                <a:lnTo>
                  <a:pt x="350" y="710"/>
                </a:lnTo>
                <a:lnTo>
                  <a:pt x="346" y="707"/>
                </a:lnTo>
                <a:lnTo>
                  <a:pt x="343" y="711"/>
                </a:lnTo>
                <a:lnTo>
                  <a:pt x="342" y="712"/>
                </a:lnTo>
                <a:lnTo>
                  <a:pt x="339" y="711"/>
                </a:lnTo>
                <a:lnTo>
                  <a:pt x="336" y="710"/>
                </a:lnTo>
                <a:lnTo>
                  <a:pt x="330" y="709"/>
                </a:lnTo>
                <a:lnTo>
                  <a:pt x="332" y="707"/>
                </a:lnTo>
                <a:lnTo>
                  <a:pt x="335" y="706"/>
                </a:lnTo>
                <a:lnTo>
                  <a:pt x="337" y="706"/>
                </a:lnTo>
                <a:lnTo>
                  <a:pt x="338" y="704"/>
                </a:lnTo>
                <a:lnTo>
                  <a:pt x="338" y="702"/>
                </a:lnTo>
                <a:lnTo>
                  <a:pt x="336" y="700"/>
                </a:lnTo>
                <a:lnTo>
                  <a:pt x="332" y="699"/>
                </a:lnTo>
                <a:lnTo>
                  <a:pt x="329" y="699"/>
                </a:lnTo>
                <a:lnTo>
                  <a:pt x="331" y="696"/>
                </a:lnTo>
                <a:lnTo>
                  <a:pt x="336" y="697"/>
                </a:lnTo>
                <a:lnTo>
                  <a:pt x="342" y="699"/>
                </a:lnTo>
                <a:lnTo>
                  <a:pt x="344" y="695"/>
                </a:lnTo>
                <a:lnTo>
                  <a:pt x="353" y="703"/>
                </a:lnTo>
                <a:lnTo>
                  <a:pt x="360" y="712"/>
                </a:lnTo>
                <a:lnTo>
                  <a:pt x="368" y="714"/>
                </a:lnTo>
                <a:lnTo>
                  <a:pt x="378" y="719"/>
                </a:lnTo>
                <a:lnTo>
                  <a:pt x="384" y="719"/>
                </a:lnTo>
                <a:lnTo>
                  <a:pt x="389" y="720"/>
                </a:lnTo>
                <a:lnTo>
                  <a:pt x="391" y="721"/>
                </a:lnTo>
                <a:lnTo>
                  <a:pt x="392" y="723"/>
                </a:lnTo>
                <a:lnTo>
                  <a:pt x="392" y="724"/>
                </a:lnTo>
                <a:lnTo>
                  <a:pt x="391" y="725"/>
                </a:lnTo>
                <a:lnTo>
                  <a:pt x="388" y="725"/>
                </a:lnTo>
                <a:lnTo>
                  <a:pt x="388" y="726"/>
                </a:lnTo>
                <a:lnTo>
                  <a:pt x="389" y="727"/>
                </a:lnTo>
                <a:lnTo>
                  <a:pt x="392" y="728"/>
                </a:lnTo>
                <a:lnTo>
                  <a:pt x="397" y="728"/>
                </a:lnTo>
                <a:lnTo>
                  <a:pt x="402" y="728"/>
                </a:lnTo>
                <a:lnTo>
                  <a:pt x="402" y="731"/>
                </a:lnTo>
                <a:lnTo>
                  <a:pt x="401" y="732"/>
                </a:lnTo>
                <a:lnTo>
                  <a:pt x="397" y="733"/>
                </a:lnTo>
                <a:lnTo>
                  <a:pt x="394" y="735"/>
                </a:lnTo>
                <a:lnTo>
                  <a:pt x="398" y="738"/>
                </a:lnTo>
                <a:lnTo>
                  <a:pt x="401" y="740"/>
                </a:lnTo>
                <a:lnTo>
                  <a:pt x="408" y="744"/>
                </a:lnTo>
                <a:lnTo>
                  <a:pt x="415" y="740"/>
                </a:lnTo>
                <a:lnTo>
                  <a:pt x="408" y="735"/>
                </a:lnTo>
                <a:lnTo>
                  <a:pt x="402" y="728"/>
                </a:lnTo>
                <a:lnTo>
                  <a:pt x="401" y="727"/>
                </a:lnTo>
                <a:lnTo>
                  <a:pt x="400" y="725"/>
                </a:lnTo>
                <a:lnTo>
                  <a:pt x="416" y="734"/>
                </a:lnTo>
                <a:lnTo>
                  <a:pt x="423" y="752"/>
                </a:lnTo>
                <a:lnTo>
                  <a:pt x="420" y="752"/>
                </a:lnTo>
                <a:lnTo>
                  <a:pt x="421" y="755"/>
                </a:lnTo>
                <a:lnTo>
                  <a:pt x="434" y="767"/>
                </a:lnTo>
                <a:lnTo>
                  <a:pt x="446" y="780"/>
                </a:lnTo>
                <a:lnTo>
                  <a:pt x="449" y="782"/>
                </a:lnTo>
                <a:lnTo>
                  <a:pt x="448" y="786"/>
                </a:lnTo>
                <a:lnTo>
                  <a:pt x="439" y="781"/>
                </a:lnTo>
                <a:lnTo>
                  <a:pt x="428" y="787"/>
                </a:lnTo>
                <a:lnTo>
                  <a:pt x="426" y="789"/>
                </a:lnTo>
                <a:lnTo>
                  <a:pt x="427" y="791"/>
                </a:lnTo>
                <a:lnTo>
                  <a:pt x="433" y="801"/>
                </a:lnTo>
                <a:lnTo>
                  <a:pt x="439" y="809"/>
                </a:lnTo>
                <a:lnTo>
                  <a:pt x="441" y="811"/>
                </a:lnTo>
                <a:lnTo>
                  <a:pt x="443" y="811"/>
                </a:lnTo>
                <a:lnTo>
                  <a:pt x="444" y="809"/>
                </a:lnTo>
                <a:lnTo>
                  <a:pt x="443" y="807"/>
                </a:lnTo>
                <a:lnTo>
                  <a:pt x="442" y="802"/>
                </a:lnTo>
                <a:lnTo>
                  <a:pt x="446" y="798"/>
                </a:lnTo>
                <a:lnTo>
                  <a:pt x="447" y="798"/>
                </a:lnTo>
                <a:lnTo>
                  <a:pt x="448" y="796"/>
                </a:lnTo>
                <a:lnTo>
                  <a:pt x="456" y="789"/>
                </a:lnTo>
                <a:lnTo>
                  <a:pt x="465" y="783"/>
                </a:lnTo>
                <a:lnTo>
                  <a:pt x="465" y="787"/>
                </a:lnTo>
                <a:lnTo>
                  <a:pt x="467" y="787"/>
                </a:lnTo>
                <a:lnTo>
                  <a:pt x="467" y="787"/>
                </a:lnTo>
                <a:lnTo>
                  <a:pt x="467" y="784"/>
                </a:lnTo>
                <a:lnTo>
                  <a:pt x="465" y="783"/>
                </a:lnTo>
                <a:lnTo>
                  <a:pt x="467" y="783"/>
                </a:lnTo>
                <a:lnTo>
                  <a:pt x="467" y="783"/>
                </a:lnTo>
                <a:lnTo>
                  <a:pt x="467" y="783"/>
                </a:lnTo>
                <a:lnTo>
                  <a:pt x="468" y="783"/>
                </a:lnTo>
                <a:lnTo>
                  <a:pt x="467" y="783"/>
                </a:lnTo>
                <a:lnTo>
                  <a:pt x="467" y="782"/>
                </a:lnTo>
                <a:lnTo>
                  <a:pt x="467" y="782"/>
                </a:lnTo>
                <a:lnTo>
                  <a:pt x="467" y="781"/>
                </a:lnTo>
                <a:lnTo>
                  <a:pt x="470" y="783"/>
                </a:lnTo>
                <a:lnTo>
                  <a:pt x="474" y="783"/>
                </a:lnTo>
                <a:lnTo>
                  <a:pt x="474" y="780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74" y="776"/>
                </a:lnTo>
                <a:lnTo>
                  <a:pt x="482" y="776"/>
                </a:lnTo>
                <a:lnTo>
                  <a:pt x="487" y="782"/>
                </a:lnTo>
                <a:lnTo>
                  <a:pt x="489" y="783"/>
                </a:lnTo>
                <a:lnTo>
                  <a:pt x="490" y="783"/>
                </a:lnTo>
                <a:lnTo>
                  <a:pt x="491" y="780"/>
                </a:lnTo>
                <a:lnTo>
                  <a:pt x="491" y="775"/>
                </a:lnTo>
                <a:lnTo>
                  <a:pt x="490" y="770"/>
                </a:lnTo>
                <a:lnTo>
                  <a:pt x="495" y="766"/>
                </a:lnTo>
                <a:lnTo>
                  <a:pt x="494" y="772"/>
                </a:lnTo>
                <a:lnTo>
                  <a:pt x="499" y="775"/>
                </a:lnTo>
                <a:lnTo>
                  <a:pt x="504" y="781"/>
                </a:lnTo>
                <a:lnTo>
                  <a:pt x="502" y="793"/>
                </a:lnTo>
                <a:lnTo>
                  <a:pt x="513" y="789"/>
                </a:lnTo>
                <a:lnTo>
                  <a:pt x="523" y="793"/>
                </a:lnTo>
                <a:lnTo>
                  <a:pt x="525" y="793"/>
                </a:lnTo>
                <a:lnTo>
                  <a:pt x="527" y="790"/>
                </a:lnTo>
                <a:lnTo>
                  <a:pt x="531" y="788"/>
                </a:lnTo>
                <a:lnTo>
                  <a:pt x="533" y="791"/>
                </a:lnTo>
                <a:lnTo>
                  <a:pt x="534" y="793"/>
                </a:lnTo>
                <a:lnTo>
                  <a:pt x="534" y="795"/>
                </a:lnTo>
                <a:lnTo>
                  <a:pt x="537" y="796"/>
                </a:lnTo>
                <a:lnTo>
                  <a:pt x="539" y="795"/>
                </a:lnTo>
                <a:lnTo>
                  <a:pt x="540" y="794"/>
                </a:lnTo>
                <a:lnTo>
                  <a:pt x="540" y="791"/>
                </a:lnTo>
                <a:lnTo>
                  <a:pt x="538" y="789"/>
                </a:lnTo>
                <a:lnTo>
                  <a:pt x="536" y="786"/>
                </a:lnTo>
                <a:lnTo>
                  <a:pt x="540" y="786"/>
                </a:lnTo>
                <a:lnTo>
                  <a:pt x="540" y="781"/>
                </a:lnTo>
                <a:lnTo>
                  <a:pt x="538" y="772"/>
                </a:lnTo>
                <a:lnTo>
                  <a:pt x="540" y="761"/>
                </a:lnTo>
                <a:lnTo>
                  <a:pt x="542" y="762"/>
                </a:lnTo>
                <a:lnTo>
                  <a:pt x="542" y="763"/>
                </a:lnTo>
                <a:lnTo>
                  <a:pt x="542" y="767"/>
                </a:lnTo>
                <a:lnTo>
                  <a:pt x="545" y="769"/>
                </a:lnTo>
                <a:lnTo>
                  <a:pt x="549" y="767"/>
                </a:lnTo>
                <a:lnTo>
                  <a:pt x="552" y="763"/>
                </a:lnTo>
                <a:lnTo>
                  <a:pt x="552" y="760"/>
                </a:lnTo>
                <a:lnTo>
                  <a:pt x="553" y="759"/>
                </a:lnTo>
                <a:lnTo>
                  <a:pt x="556" y="760"/>
                </a:lnTo>
                <a:lnTo>
                  <a:pt x="554" y="762"/>
                </a:lnTo>
                <a:lnTo>
                  <a:pt x="556" y="763"/>
                </a:lnTo>
                <a:lnTo>
                  <a:pt x="557" y="763"/>
                </a:lnTo>
                <a:lnTo>
                  <a:pt x="558" y="763"/>
                </a:lnTo>
                <a:lnTo>
                  <a:pt x="558" y="762"/>
                </a:lnTo>
                <a:lnTo>
                  <a:pt x="561" y="756"/>
                </a:lnTo>
                <a:lnTo>
                  <a:pt x="565" y="751"/>
                </a:lnTo>
                <a:lnTo>
                  <a:pt x="565" y="747"/>
                </a:lnTo>
                <a:lnTo>
                  <a:pt x="566" y="745"/>
                </a:lnTo>
                <a:lnTo>
                  <a:pt x="567" y="741"/>
                </a:lnTo>
                <a:lnTo>
                  <a:pt x="571" y="738"/>
                </a:lnTo>
                <a:lnTo>
                  <a:pt x="570" y="745"/>
                </a:lnTo>
                <a:lnTo>
                  <a:pt x="568" y="752"/>
                </a:lnTo>
                <a:lnTo>
                  <a:pt x="567" y="759"/>
                </a:lnTo>
                <a:lnTo>
                  <a:pt x="568" y="767"/>
                </a:lnTo>
                <a:lnTo>
                  <a:pt x="570" y="762"/>
                </a:lnTo>
                <a:lnTo>
                  <a:pt x="571" y="759"/>
                </a:lnTo>
                <a:lnTo>
                  <a:pt x="572" y="756"/>
                </a:lnTo>
                <a:lnTo>
                  <a:pt x="574" y="755"/>
                </a:lnTo>
                <a:lnTo>
                  <a:pt x="575" y="758"/>
                </a:lnTo>
                <a:lnTo>
                  <a:pt x="575" y="760"/>
                </a:lnTo>
                <a:lnTo>
                  <a:pt x="575" y="760"/>
                </a:lnTo>
                <a:lnTo>
                  <a:pt x="252" y="823"/>
                </a:lnTo>
                <a:close/>
                <a:moveTo>
                  <a:pt x="575" y="760"/>
                </a:moveTo>
                <a:lnTo>
                  <a:pt x="575" y="760"/>
                </a:lnTo>
                <a:lnTo>
                  <a:pt x="575" y="760"/>
                </a:lnTo>
                <a:lnTo>
                  <a:pt x="578" y="759"/>
                </a:lnTo>
                <a:lnTo>
                  <a:pt x="579" y="759"/>
                </a:lnTo>
                <a:lnTo>
                  <a:pt x="581" y="745"/>
                </a:lnTo>
                <a:lnTo>
                  <a:pt x="587" y="731"/>
                </a:lnTo>
                <a:lnTo>
                  <a:pt x="588" y="724"/>
                </a:lnTo>
                <a:lnTo>
                  <a:pt x="591" y="717"/>
                </a:lnTo>
                <a:lnTo>
                  <a:pt x="592" y="716"/>
                </a:lnTo>
                <a:lnTo>
                  <a:pt x="592" y="716"/>
                </a:lnTo>
                <a:lnTo>
                  <a:pt x="589" y="707"/>
                </a:lnTo>
                <a:lnTo>
                  <a:pt x="589" y="700"/>
                </a:lnTo>
                <a:lnTo>
                  <a:pt x="591" y="693"/>
                </a:lnTo>
                <a:lnTo>
                  <a:pt x="591" y="685"/>
                </a:lnTo>
                <a:lnTo>
                  <a:pt x="586" y="692"/>
                </a:lnTo>
                <a:lnTo>
                  <a:pt x="586" y="699"/>
                </a:lnTo>
                <a:lnTo>
                  <a:pt x="587" y="702"/>
                </a:lnTo>
                <a:lnTo>
                  <a:pt x="587" y="703"/>
                </a:lnTo>
                <a:lnTo>
                  <a:pt x="586" y="704"/>
                </a:lnTo>
                <a:lnTo>
                  <a:pt x="585" y="703"/>
                </a:lnTo>
                <a:lnTo>
                  <a:pt x="584" y="702"/>
                </a:lnTo>
                <a:lnTo>
                  <a:pt x="584" y="699"/>
                </a:lnTo>
                <a:lnTo>
                  <a:pt x="585" y="689"/>
                </a:lnTo>
                <a:lnTo>
                  <a:pt x="588" y="678"/>
                </a:lnTo>
                <a:lnTo>
                  <a:pt x="588" y="674"/>
                </a:lnTo>
                <a:lnTo>
                  <a:pt x="587" y="671"/>
                </a:lnTo>
                <a:lnTo>
                  <a:pt x="582" y="671"/>
                </a:lnTo>
                <a:lnTo>
                  <a:pt x="580" y="675"/>
                </a:lnTo>
                <a:lnTo>
                  <a:pt x="579" y="678"/>
                </a:lnTo>
                <a:lnTo>
                  <a:pt x="575" y="678"/>
                </a:lnTo>
                <a:lnTo>
                  <a:pt x="575" y="678"/>
                </a:lnTo>
                <a:lnTo>
                  <a:pt x="574" y="679"/>
                </a:lnTo>
                <a:lnTo>
                  <a:pt x="575" y="678"/>
                </a:lnTo>
                <a:lnTo>
                  <a:pt x="575" y="678"/>
                </a:lnTo>
                <a:lnTo>
                  <a:pt x="579" y="671"/>
                </a:lnTo>
                <a:lnTo>
                  <a:pt x="584" y="664"/>
                </a:lnTo>
                <a:lnTo>
                  <a:pt x="587" y="662"/>
                </a:lnTo>
                <a:lnTo>
                  <a:pt x="588" y="665"/>
                </a:lnTo>
                <a:lnTo>
                  <a:pt x="592" y="660"/>
                </a:lnTo>
                <a:lnTo>
                  <a:pt x="591" y="654"/>
                </a:lnTo>
                <a:lnTo>
                  <a:pt x="591" y="649"/>
                </a:lnTo>
                <a:lnTo>
                  <a:pt x="593" y="646"/>
                </a:lnTo>
                <a:lnTo>
                  <a:pt x="595" y="639"/>
                </a:lnTo>
                <a:lnTo>
                  <a:pt x="593" y="630"/>
                </a:lnTo>
                <a:lnTo>
                  <a:pt x="592" y="628"/>
                </a:lnTo>
                <a:lnTo>
                  <a:pt x="594" y="625"/>
                </a:lnTo>
                <a:lnTo>
                  <a:pt x="596" y="618"/>
                </a:lnTo>
                <a:lnTo>
                  <a:pt x="598" y="609"/>
                </a:lnTo>
                <a:lnTo>
                  <a:pt x="594" y="616"/>
                </a:lnTo>
                <a:lnTo>
                  <a:pt x="588" y="621"/>
                </a:lnTo>
                <a:lnTo>
                  <a:pt x="588" y="625"/>
                </a:lnTo>
                <a:lnTo>
                  <a:pt x="585" y="628"/>
                </a:lnTo>
                <a:lnTo>
                  <a:pt x="584" y="627"/>
                </a:lnTo>
                <a:lnTo>
                  <a:pt x="582" y="627"/>
                </a:lnTo>
                <a:lnTo>
                  <a:pt x="585" y="623"/>
                </a:lnTo>
                <a:lnTo>
                  <a:pt x="588" y="621"/>
                </a:lnTo>
                <a:lnTo>
                  <a:pt x="591" y="612"/>
                </a:lnTo>
                <a:lnTo>
                  <a:pt x="595" y="604"/>
                </a:lnTo>
                <a:lnTo>
                  <a:pt x="596" y="601"/>
                </a:lnTo>
                <a:lnTo>
                  <a:pt x="595" y="599"/>
                </a:lnTo>
                <a:lnTo>
                  <a:pt x="593" y="599"/>
                </a:lnTo>
                <a:lnTo>
                  <a:pt x="593" y="601"/>
                </a:lnTo>
                <a:lnTo>
                  <a:pt x="588" y="606"/>
                </a:lnTo>
                <a:lnTo>
                  <a:pt x="584" y="611"/>
                </a:lnTo>
                <a:lnTo>
                  <a:pt x="582" y="614"/>
                </a:lnTo>
                <a:lnTo>
                  <a:pt x="580" y="616"/>
                </a:lnTo>
                <a:lnTo>
                  <a:pt x="580" y="612"/>
                </a:lnTo>
                <a:lnTo>
                  <a:pt x="584" y="611"/>
                </a:lnTo>
                <a:lnTo>
                  <a:pt x="587" y="600"/>
                </a:lnTo>
                <a:lnTo>
                  <a:pt x="594" y="592"/>
                </a:lnTo>
                <a:lnTo>
                  <a:pt x="596" y="590"/>
                </a:lnTo>
                <a:lnTo>
                  <a:pt x="596" y="586"/>
                </a:lnTo>
                <a:lnTo>
                  <a:pt x="596" y="584"/>
                </a:lnTo>
                <a:lnTo>
                  <a:pt x="598" y="583"/>
                </a:lnTo>
                <a:lnTo>
                  <a:pt x="601" y="581"/>
                </a:lnTo>
                <a:lnTo>
                  <a:pt x="600" y="579"/>
                </a:lnTo>
                <a:lnTo>
                  <a:pt x="598" y="579"/>
                </a:lnTo>
                <a:lnTo>
                  <a:pt x="595" y="583"/>
                </a:lnTo>
                <a:lnTo>
                  <a:pt x="594" y="583"/>
                </a:lnTo>
                <a:lnTo>
                  <a:pt x="593" y="583"/>
                </a:lnTo>
                <a:lnTo>
                  <a:pt x="594" y="579"/>
                </a:lnTo>
                <a:lnTo>
                  <a:pt x="596" y="576"/>
                </a:lnTo>
                <a:lnTo>
                  <a:pt x="593" y="577"/>
                </a:lnTo>
                <a:lnTo>
                  <a:pt x="591" y="579"/>
                </a:lnTo>
                <a:lnTo>
                  <a:pt x="591" y="581"/>
                </a:lnTo>
                <a:lnTo>
                  <a:pt x="589" y="583"/>
                </a:lnTo>
                <a:lnTo>
                  <a:pt x="587" y="585"/>
                </a:lnTo>
                <a:lnTo>
                  <a:pt x="584" y="585"/>
                </a:lnTo>
                <a:lnTo>
                  <a:pt x="582" y="585"/>
                </a:lnTo>
                <a:lnTo>
                  <a:pt x="582" y="584"/>
                </a:lnTo>
                <a:lnTo>
                  <a:pt x="584" y="581"/>
                </a:lnTo>
                <a:lnTo>
                  <a:pt x="587" y="581"/>
                </a:lnTo>
                <a:lnTo>
                  <a:pt x="588" y="579"/>
                </a:lnTo>
                <a:lnTo>
                  <a:pt x="591" y="579"/>
                </a:lnTo>
                <a:lnTo>
                  <a:pt x="593" y="570"/>
                </a:lnTo>
                <a:lnTo>
                  <a:pt x="599" y="562"/>
                </a:lnTo>
                <a:lnTo>
                  <a:pt x="602" y="558"/>
                </a:lnTo>
                <a:lnTo>
                  <a:pt x="603" y="552"/>
                </a:lnTo>
                <a:lnTo>
                  <a:pt x="606" y="549"/>
                </a:lnTo>
                <a:lnTo>
                  <a:pt x="609" y="551"/>
                </a:lnTo>
                <a:lnTo>
                  <a:pt x="612" y="552"/>
                </a:lnTo>
                <a:lnTo>
                  <a:pt x="614" y="552"/>
                </a:lnTo>
                <a:lnTo>
                  <a:pt x="614" y="552"/>
                </a:lnTo>
                <a:lnTo>
                  <a:pt x="615" y="552"/>
                </a:lnTo>
                <a:lnTo>
                  <a:pt x="615" y="552"/>
                </a:lnTo>
                <a:lnTo>
                  <a:pt x="609" y="559"/>
                </a:lnTo>
                <a:lnTo>
                  <a:pt x="608" y="567"/>
                </a:lnTo>
                <a:lnTo>
                  <a:pt x="610" y="566"/>
                </a:lnTo>
                <a:lnTo>
                  <a:pt x="613" y="565"/>
                </a:lnTo>
                <a:lnTo>
                  <a:pt x="613" y="569"/>
                </a:lnTo>
                <a:lnTo>
                  <a:pt x="612" y="571"/>
                </a:lnTo>
                <a:lnTo>
                  <a:pt x="609" y="574"/>
                </a:lnTo>
                <a:lnTo>
                  <a:pt x="608" y="578"/>
                </a:lnTo>
                <a:lnTo>
                  <a:pt x="607" y="591"/>
                </a:lnTo>
                <a:lnTo>
                  <a:pt x="605" y="604"/>
                </a:lnTo>
                <a:lnTo>
                  <a:pt x="607" y="602"/>
                </a:lnTo>
                <a:lnTo>
                  <a:pt x="610" y="601"/>
                </a:lnTo>
                <a:lnTo>
                  <a:pt x="609" y="605"/>
                </a:lnTo>
                <a:lnTo>
                  <a:pt x="607" y="608"/>
                </a:lnTo>
                <a:lnTo>
                  <a:pt x="605" y="613"/>
                </a:lnTo>
                <a:lnTo>
                  <a:pt x="606" y="618"/>
                </a:lnTo>
                <a:lnTo>
                  <a:pt x="607" y="621"/>
                </a:lnTo>
                <a:lnTo>
                  <a:pt x="605" y="623"/>
                </a:lnTo>
                <a:lnTo>
                  <a:pt x="601" y="627"/>
                </a:lnTo>
                <a:lnTo>
                  <a:pt x="600" y="633"/>
                </a:lnTo>
                <a:lnTo>
                  <a:pt x="600" y="639"/>
                </a:lnTo>
                <a:lnTo>
                  <a:pt x="599" y="646"/>
                </a:lnTo>
                <a:lnTo>
                  <a:pt x="605" y="646"/>
                </a:lnTo>
                <a:lnTo>
                  <a:pt x="605" y="651"/>
                </a:lnTo>
                <a:lnTo>
                  <a:pt x="602" y="660"/>
                </a:lnTo>
                <a:lnTo>
                  <a:pt x="601" y="669"/>
                </a:lnTo>
                <a:lnTo>
                  <a:pt x="600" y="696"/>
                </a:lnTo>
                <a:lnTo>
                  <a:pt x="596" y="721"/>
                </a:lnTo>
                <a:lnTo>
                  <a:pt x="595" y="724"/>
                </a:lnTo>
                <a:lnTo>
                  <a:pt x="594" y="725"/>
                </a:lnTo>
                <a:lnTo>
                  <a:pt x="592" y="727"/>
                </a:lnTo>
                <a:lnTo>
                  <a:pt x="593" y="730"/>
                </a:lnTo>
                <a:lnTo>
                  <a:pt x="594" y="728"/>
                </a:lnTo>
                <a:lnTo>
                  <a:pt x="596" y="727"/>
                </a:lnTo>
                <a:lnTo>
                  <a:pt x="596" y="742"/>
                </a:lnTo>
                <a:lnTo>
                  <a:pt x="598" y="754"/>
                </a:lnTo>
                <a:lnTo>
                  <a:pt x="596" y="763"/>
                </a:lnTo>
                <a:lnTo>
                  <a:pt x="595" y="763"/>
                </a:lnTo>
                <a:lnTo>
                  <a:pt x="595" y="763"/>
                </a:lnTo>
                <a:lnTo>
                  <a:pt x="595" y="753"/>
                </a:lnTo>
                <a:lnTo>
                  <a:pt x="596" y="744"/>
                </a:lnTo>
                <a:lnTo>
                  <a:pt x="593" y="746"/>
                </a:lnTo>
                <a:lnTo>
                  <a:pt x="591" y="749"/>
                </a:lnTo>
                <a:lnTo>
                  <a:pt x="589" y="744"/>
                </a:lnTo>
                <a:lnTo>
                  <a:pt x="592" y="739"/>
                </a:lnTo>
                <a:lnTo>
                  <a:pt x="594" y="737"/>
                </a:lnTo>
                <a:lnTo>
                  <a:pt x="594" y="734"/>
                </a:lnTo>
                <a:lnTo>
                  <a:pt x="593" y="734"/>
                </a:lnTo>
                <a:lnTo>
                  <a:pt x="591" y="734"/>
                </a:lnTo>
                <a:lnTo>
                  <a:pt x="588" y="734"/>
                </a:lnTo>
                <a:lnTo>
                  <a:pt x="588" y="737"/>
                </a:lnTo>
                <a:lnTo>
                  <a:pt x="585" y="746"/>
                </a:lnTo>
                <a:lnTo>
                  <a:pt x="584" y="755"/>
                </a:lnTo>
                <a:lnTo>
                  <a:pt x="582" y="758"/>
                </a:lnTo>
                <a:lnTo>
                  <a:pt x="580" y="759"/>
                </a:lnTo>
                <a:lnTo>
                  <a:pt x="578" y="770"/>
                </a:lnTo>
                <a:lnTo>
                  <a:pt x="577" y="782"/>
                </a:lnTo>
                <a:lnTo>
                  <a:pt x="574" y="796"/>
                </a:lnTo>
                <a:lnTo>
                  <a:pt x="578" y="811"/>
                </a:lnTo>
                <a:lnTo>
                  <a:pt x="581" y="803"/>
                </a:lnTo>
                <a:lnTo>
                  <a:pt x="580" y="795"/>
                </a:lnTo>
                <a:lnTo>
                  <a:pt x="580" y="787"/>
                </a:lnTo>
                <a:lnTo>
                  <a:pt x="581" y="779"/>
                </a:lnTo>
                <a:lnTo>
                  <a:pt x="582" y="775"/>
                </a:lnTo>
                <a:lnTo>
                  <a:pt x="586" y="773"/>
                </a:lnTo>
                <a:lnTo>
                  <a:pt x="586" y="775"/>
                </a:lnTo>
                <a:lnTo>
                  <a:pt x="586" y="777"/>
                </a:lnTo>
                <a:lnTo>
                  <a:pt x="585" y="782"/>
                </a:lnTo>
                <a:lnTo>
                  <a:pt x="586" y="784"/>
                </a:lnTo>
                <a:lnTo>
                  <a:pt x="591" y="787"/>
                </a:lnTo>
                <a:lnTo>
                  <a:pt x="589" y="793"/>
                </a:lnTo>
                <a:lnTo>
                  <a:pt x="591" y="796"/>
                </a:lnTo>
                <a:lnTo>
                  <a:pt x="593" y="800"/>
                </a:lnTo>
                <a:lnTo>
                  <a:pt x="593" y="800"/>
                </a:lnTo>
                <a:lnTo>
                  <a:pt x="594" y="800"/>
                </a:lnTo>
                <a:lnTo>
                  <a:pt x="595" y="800"/>
                </a:lnTo>
                <a:lnTo>
                  <a:pt x="595" y="797"/>
                </a:lnTo>
                <a:lnTo>
                  <a:pt x="595" y="787"/>
                </a:lnTo>
                <a:lnTo>
                  <a:pt x="596" y="775"/>
                </a:lnTo>
                <a:lnTo>
                  <a:pt x="596" y="774"/>
                </a:lnTo>
                <a:lnTo>
                  <a:pt x="595" y="773"/>
                </a:lnTo>
                <a:lnTo>
                  <a:pt x="594" y="773"/>
                </a:lnTo>
                <a:lnTo>
                  <a:pt x="594" y="770"/>
                </a:lnTo>
                <a:lnTo>
                  <a:pt x="596" y="768"/>
                </a:lnTo>
                <a:lnTo>
                  <a:pt x="600" y="766"/>
                </a:lnTo>
                <a:lnTo>
                  <a:pt x="601" y="767"/>
                </a:lnTo>
                <a:lnTo>
                  <a:pt x="602" y="769"/>
                </a:lnTo>
                <a:lnTo>
                  <a:pt x="601" y="777"/>
                </a:lnTo>
                <a:lnTo>
                  <a:pt x="600" y="784"/>
                </a:lnTo>
                <a:lnTo>
                  <a:pt x="601" y="784"/>
                </a:lnTo>
                <a:lnTo>
                  <a:pt x="602" y="783"/>
                </a:lnTo>
                <a:lnTo>
                  <a:pt x="603" y="781"/>
                </a:lnTo>
                <a:lnTo>
                  <a:pt x="606" y="780"/>
                </a:lnTo>
                <a:lnTo>
                  <a:pt x="608" y="782"/>
                </a:lnTo>
                <a:lnTo>
                  <a:pt x="608" y="784"/>
                </a:lnTo>
                <a:lnTo>
                  <a:pt x="609" y="790"/>
                </a:lnTo>
                <a:lnTo>
                  <a:pt x="612" y="795"/>
                </a:lnTo>
                <a:lnTo>
                  <a:pt x="614" y="796"/>
                </a:lnTo>
                <a:lnTo>
                  <a:pt x="616" y="794"/>
                </a:lnTo>
                <a:lnTo>
                  <a:pt x="615" y="788"/>
                </a:lnTo>
                <a:lnTo>
                  <a:pt x="613" y="783"/>
                </a:lnTo>
                <a:lnTo>
                  <a:pt x="612" y="781"/>
                </a:lnTo>
                <a:lnTo>
                  <a:pt x="612" y="779"/>
                </a:lnTo>
                <a:lnTo>
                  <a:pt x="612" y="774"/>
                </a:lnTo>
                <a:lnTo>
                  <a:pt x="609" y="772"/>
                </a:lnTo>
                <a:lnTo>
                  <a:pt x="608" y="772"/>
                </a:lnTo>
                <a:lnTo>
                  <a:pt x="608" y="772"/>
                </a:lnTo>
                <a:lnTo>
                  <a:pt x="608" y="772"/>
                </a:lnTo>
                <a:lnTo>
                  <a:pt x="609" y="772"/>
                </a:lnTo>
                <a:lnTo>
                  <a:pt x="609" y="768"/>
                </a:lnTo>
                <a:lnTo>
                  <a:pt x="609" y="765"/>
                </a:lnTo>
                <a:lnTo>
                  <a:pt x="606" y="762"/>
                </a:lnTo>
                <a:lnTo>
                  <a:pt x="606" y="759"/>
                </a:lnTo>
                <a:lnTo>
                  <a:pt x="608" y="761"/>
                </a:lnTo>
                <a:lnTo>
                  <a:pt x="609" y="763"/>
                </a:lnTo>
                <a:lnTo>
                  <a:pt x="610" y="766"/>
                </a:lnTo>
                <a:lnTo>
                  <a:pt x="613" y="766"/>
                </a:lnTo>
                <a:lnTo>
                  <a:pt x="614" y="763"/>
                </a:lnTo>
                <a:lnTo>
                  <a:pt x="613" y="761"/>
                </a:lnTo>
                <a:lnTo>
                  <a:pt x="610" y="758"/>
                </a:lnTo>
                <a:lnTo>
                  <a:pt x="608" y="753"/>
                </a:lnTo>
                <a:lnTo>
                  <a:pt x="610" y="753"/>
                </a:lnTo>
                <a:lnTo>
                  <a:pt x="613" y="752"/>
                </a:lnTo>
                <a:lnTo>
                  <a:pt x="614" y="747"/>
                </a:lnTo>
                <a:lnTo>
                  <a:pt x="612" y="742"/>
                </a:lnTo>
                <a:lnTo>
                  <a:pt x="609" y="739"/>
                </a:lnTo>
                <a:lnTo>
                  <a:pt x="609" y="734"/>
                </a:lnTo>
                <a:lnTo>
                  <a:pt x="609" y="730"/>
                </a:lnTo>
                <a:lnTo>
                  <a:pt x="608" y="725"/>
                </a:lnTo>
                <a:lnTo>
                  <a:pt x="608" y="720"/>
                </a:lnTo>
                <a:lnTo>
                  <a:pt x="610" y="716"/>
                </a:lnTo>
                <a:lnTo>
                  <a:pt x="613" y="712"/>
                </a:lnTo>
                <a:lnTo>
                  <a:pt x="609" y="709"/>
                </a:lnTo>
                <a:lnTo>
                  <a:pt x="608" y="707"/>
                </a:lnTo>
                <a:lnTo>
                  <a:pt x="609" y="706"/>
                </a:lnTo>
                <a:lnTo>
                  <a:pt x="613" y="699"/>
                </a:lnTo>
                <a:lnTo>
                  <a:pt x="609" y="692"/>
                </a:lnTo>
                <a:lnTo>
                  <a:pt x="607" y="686"/>
                </a:lnTo>
                <a:lnTo>
                  <a:pt x="609" y="682"/>
                </a:lnTo>
                <a:lnTo>
                  <a:pt x="615" y="674"/>
                </a:lnTo>
                <a:lnTo>
                  <a:pt x="619" y="665"/>
                </a:lnTo>
                <a:lnTo>
                  <a:pt x="618" y="663"/>
                </a:lnTo>
                <a:lnTo>
                  <a:pt x="615" y="663"/>
                </a:lnTo>
                <a:lnTo>
                  <a:pt x="614" y="665"/>
                </a:lnTo>
                <a:lnTo>
                  <a:pt x="613" y="667"/>
                </a:lnTo>
                <a:lnTo>
                  <a:pt x="613" y="665"/>
                </a:lnTo>
                <a:lnTo>
                  <a:pt x="612" y="665"/>
                </a:lnTo>
                <a:lnTo>
                  <a:pt x="613" y="663"/>
                </a:lnTo>
                <a:lnTo>
                  <a:pt x="614" y="663"/>
                </a:lnTo>
                <a:lnTo>
                  <a:pt x="618" y="658"/>
                </a:lnTo>
                <a:lnTo>
                  <a:pt x="621" y="656"/>
                </a:lnTo>
                <a:lnTo>
                  <a:pt x="630" y="651"/>
                </a:lnTo>
                <a:lnTo>
                  <a:pt x="635" y="642"/>
                </a:lnTo>
                <a:lnTo>
                  <a:pt x="636" y="637"/>
                </a:lnTo>
                <a:lnTo>
                  <a:pt x="640" y="636"/>
                </a:lnTo>
                <a:lnTo>
                  <a:pt x="641" y="635"/>
                </a:lnTo>
                <a:lnTo>
                  <a:pt x="642" y="634"/>
                </a:lnTo>
                <a:lnTo>
                  <a:pt x="642" y="635"/>
                </a:lnTo>
                <a:lnTo>
                  <a:pt x="642" y="635"/>
                </a:lnTo>
                <a:lnTo>
                  <a:pt x="641" y="636"/>
                </a:lnTo>
                <a:lnTo>
                  <a:pt x="640" y="636"/>
                </a:lnTo>
                <a:lnTo>
                  <a:pt x="641" y="644"/>
                </a:lnTo>
                <a:lnTo>
                  <a:pt x="637" y="649"/>
                </a:lnTo>
                <a:lnTo>
                  <a:pt x="632" y="663"/>
                </a:lnTo>
                <a:lnTo>
                  <a:pt x="628" y="676"/>
                </a:lnTo>
                <a:lnTo>
                  <a:pt x="626" y="692"/>
                </a:lnTo>
                <a:lnTo>
                  <a:pt x="627" y="709"/>
                </a:lnTo>
                <a:lnTo>
                  <a:pt x="627" y="713"/>
                </a:lnTo>
                <a:lnTo>
                  <a:pt x="629" y="718"/>
                </a:lnTo>
                <a:lnTo>
                  <a:pt x="634" y="710"/>
                </a:lnTo>
                <a:lnTo>
                  <a:pt x="641" y="704"/>
                </a:lnTo>
                <a:lnTo>
                  <a:pt x="644" y="702"/>
                </a:lnTo>
                <a:lnTo>
                  <a:pt x="647" y="705"/>
                </a:lnTo>
                <a:lnTo>
                  <a:pt x="648" y="707"/>
                </a:lnTo>
                <a:lnTo>
                  <a:pt x="650" y="709"/>
                </a:lnTo>
                <a:lnTo>
                  <a:pt x="651" y="709"/>
                </a:lnTo>
                <a:lnTo>
                  <a:pt x="651" y="707"/>
                </a:lnTo>
                <a:lnTo>
                  <a:pt x="650" y="705"/>
                </a:lnTo>
                <a:lnTo>
                  <a:pt x="649" y="704"/>
                </a:lnTo>
                <a:lnTo>
                  <a:pt x="653" y="704"/>
                </a:lnTo>
                <a:lnTo>
                  <a:pt x="655" y="703"/>
                </a:lnTo>
                <a:lnTo>
                  <a:pt x="655" y="700"/>
                </a:lnTo>
                <a:lnTo>
                  <a:pt x="653" y="699"/>
                </a:lnTo>
                <a:lnTo>
                  <a:pt x="654" y="697"/>
                </a:lnTo>
                <a:lnTo>
                  <a:pt x="655" y="696"/>
                </a:lnTo>
                <a:lnTo>
                  <a:pt x="656" y="696"/>
                </a:lnTo>
                <a:lnTo>
                  <a:pt x="657" y="695"/>
                </a:lnTo>
                <a:lnTo>
                  <a:pt x="657" y="700"/>
                </a:lnTo>
                <a:lnTo>
                  <a:pt x="658" y="698"/>
                </a:lnTo>
                <a:lnTo>
                  <a:pt x="660" y="697"/>
                </a:lnTo>
                <a:lnTo>
                  <a:pt x="662" y="697"/>
                </a:lnTo>
                <a:lnTo>
                  <a:pt x="663" y="696"/>
                </a:lnTo>
                <a:lnTo>
                  <a:pt x="670" y="693"/>
                </a:lnTo>
                <a:lnTo>
                  <a:pt x="677" y="689"/>
                </a:lnTo>
                <a:lnTo>
                  <a:pt x="683" y="684"/>
                </a:lnTo>
                <a:lnTo>
                  <a:pt x="690" y="681"/>
                </a:lnTo>
                <a:lnTo>
                  <a:pt x="709" y="669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0" y="663"/>
                </a:lnTo>
                <a:lnTo>
                  <a:pt x="737" y="658"/>
                </a:lnTo>
                <a:lnTo>
                  <a:pt x="743" y="660"/>
                </a:lnTo>
                <a:lnTo>
                  <a:pt x="744" y="661"/>
                </a:lnTo>
                <a:lnTo>
                  <a:pt x="745" y="661"/>
                </a:lnTo>
                <a:lnTo>
                  <a:pt x="744" y="661"/>
                </a:lnTo>
                <a:lnTo>
                  <a:pt x="743" y="660"/>
                </a:lnTo>
                <a:lnTo>
                  <a:pt x="741" y="663"/>
                </a:lnTo>
                <a:lnTo>
                  <a:pt x="741" y="665"/>
                </a:lnTo>
                <a:lnTo>
                  <a:pt x="740" y="665"/>
                </a:lnTo>
                <a:lnTo>
                  <a:pt x="740" y="665"/>
                </a:lnTo>
                <a:lnTo>
                  <a:pt x="736" y="662"/>
                </a:lnTo>
                <a:lnTo>
                  <a:pt x="730" y="663"/>
                </a:lnTo>
                <a:lnTo>
                  <a:pt x="730" y="664"/>
                </a:lnTo>
                <a:lnTo>
                  <a:pt x="730" y="665"/>
                </a:lnTo>
                <a:lnTo>
                  <a:pt x="706" y="675"/>
                </a:lnTo>
                <a:lnTo>
                  <a:pt x="684" y="689"/>
                </a:lnTo>
                <a:lnTo>
                  <a:pt x="701" y="684"/>
                </a:lnTo>
                <a:lnTo>
                  <a:pt x="715" y="679"/>
                </a:lnTo>
                <a:lnTo>
                  <a:pt x="709" y="684"/>
                </a:lnTo>
                <a:lnTo>
                  <a:pt x="702" y="688"/>
                </a:lnTo>
                <a:lnTo>
                  <a:pt x="702" y="689"/>
                </a:lnTo>
                <a:lnTo>
                  <a:pt x="702" y="689"/>
                </a:lnTo>
                <a:lnTo>
                  <a:pt x="702" y="689"/>
                </a:lnTo>
                <a:lnTo>
                  <a:pt x="702" y="688"/>
                </a:lnTo>
                <a:lnTo>
                  <a:pt x="698" y="689"/>
                </a:lnTo>
                <a:lnTo>
                  <a:pt x="696" y="691"/>
                </a:lnTo>
                <a:lnTo>
                  <a:pt x="683" y="696"/>
                </a:lnTo>
                <a:lnTo>
                  <a:pt x="671" y="705"/>
                </a:lnTo>
                <a:lnTo>
                  <a:pt x="683" y="702"/>
                </a:lnTo>
                <a:lnTo>
                  <a:pt x="694" y="697"/>
                </a:lnTo>
                <a:lnTo>
                  <a:pt x="695" y="693"/>
                </a:lnTo>
                <a:lnTo>
                  <a:pt x="698" y="692"/>
                </a:lnTo>
                <a:lnTo>
                  <a:pt x="698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699" y="692"/>
                </a:lnTo>
                <a:lnTo>
                  <a:pt x="701" y="691"/>
                </a:lnTo>
                <a:lnTo>
                  <a:pt x="702" y="689"/>
                </a:lnTo>
                <a:lnTo>
                  <a:pt x="704" y="689"/>
                </a:lnTo>
                <a:lnTo>
                  <a:pt x="705" y="689"/>
                </a:lnTo>
                <a:lnTo>
                  <a:pt x="705" y="690"/>
                </a:lnTo>
                <a:lnTo>
                  <a:pt x="704" y="691"/>
                </a:lnTo>
                <a:lnTo>
                  <a:pt x="702" y="692"/>
                </a:lnTo>
                <a:lnTo>
                  <a:pt x="699" y="692"/>
                </a:lnTo>
                <a:lnTo>
                  <a:pt x="698" y="695"/>
                </a:lnTo>
                <a:lnTo>
                  <a:pt x="697" y="697"/>
                </a:lnTo>
                <a:lnTo>
                  <a:pt x="698" y="697"/>
                </a:lnTo>
                <a:lnTo>
                  <a:pt x="694" y="697"/>
                </a:lnTo>
                <a:lnTo>
                  <a:pt x="575" y="760"/>
                </a:lnTo>
                <a:close/>
                <a:moveTo>
                  <a:pt x="694" y="697"/>
                </a:moveTo>
                <a:lnTo>
                  <a:pt x="691" y="703"/>
                </a:lnTo>
                <a:lnTo>
                  <a:pt x="689" y="710"/>
                </a:lnTo>
                <a:lnTo>
                  <a:pt x="685" y="710"/>
                </a:lnTo>
                <a:lnTo>
                  <a:pt x="685" y="713"/>
                </a:lnTo>
                <a:lnTo>
                  <a:pt x="683" y="713"/>
                </a:lnTo>
                <a:lnTo>
                  <a:pt x="681" y="714"/>
                </a:lnTo>
                <a:lnTo>
                  <a:pt x="681" y="716"/>
                </a:lnTo>
                <a:lnTo>
                  <a:pt x="682" y="716"/>
                </a:lnTo>
                <a:lnTo>
                  <a:pt x="684" y="716"/>
                </a:lnTo>
                <a:lnTo>
                  <a:pt x="685" y="713"/>
                </a:lnTo>
                <a:lnTo>
                  <a:pt x="689" y="713"/>
                </a:lnTo>
                <a:lnTo>
                  <a:pt x="689" y="711"/>
                </a:lnTo>
                <a:lnTo>
                  <a:pt x="689" y="710"/>
                </a:lnTo>
                <a:lnTo>
                  <a:pt x="696" y="707"/>
                </a:lnTo>
                <a:lnTo>
                  <a:pt x="702" y="705"/>
                </a:lnTo>
                <a:lnTo>
                  <a:pt x="708" y="702"/>
                </a:lnTo>
                <a:lnTo>
                  <a:pt x="715" y="698"/>
                </a:lnTo>
                <a:lnTo>
                  <a:pt x="717" y="697"/>
                </a:lnTo>
                <a:lnTo>
                  <a:pt x="718" y="698"/>
                </a:lnTo>
                <a:lnTo>
                  <a:pt x="718" y="700"/>
                </a:lnTo>
                <a:lnTo>
                  <a:pt x="716" y="700"/>
                </a:lnTo>
                <a:lnTo>
                  <a:pt x="715" y="702"/>
                </a:lnTo>
                <a:lnTo>
                  <a:pt x="715" y="704"/>
                </a:lnTo>
                <a:lnTo>
                  <a:pt x="709" y="704"/>
                </a:lnTo>
                <a:lnTo>
                  <a:pt x="702" y="705"/>
                </a:lnTo>
                <a:lnTo>
                  <a:pt x="697" y="711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9" y="713"/>
                </a:lnTo>
                <a:lnTo>
                  <a:pt x="688" y="718"/>
                </a:lnTo>
                <a:lnTo>
                  <a:pt x="682" y="720"/>
                </a:lnTo>
                <a:lnTo>
                  <a:pt x="678" y="721"/>
                </a:lnTo>
                <a:lnTo>
                  <a:pt x="677" y="725"/>
                </a:lnTo>
                <a:lnTo>
                  <a:pt x="675" y="726"/>
                </a:lnTo>
                <a:lnTo>
                  <a:pt x="672" y="726"/>
                </a:lnTo>
                <a:lnTo>
                  <a:pt x="671" y="728"/>
                </a:lnTo>
                <a:lnTo>
                  <a:pt x="668" y="728"/>
                </a:lnTo>
                <a:lnTo>
                  <a:pt x="694" y="697"/>
                </a:lnTo>
                <a:close/>
                <a:moveTo>
                  <a:pt x="522" y="1041"/>
                </a:moveTo>
                <a:lnTo>
                  <a:pt x="519" y="1041"/>
                </a:lnTo>
                <a:lnTo>
                  <a:pt x="516" y="1042"/>
                </a:lnTo>
                <a:lnTo>
                  <a:pt x="519" y="1036"/>
                </a:lnTo>
                <a:lnTo>
                  <a:pt x="524" y="1032"/>
                </a:lnTo>
                <a:lnTo>
                  <a:pt x="519" y="1031"/>
                </a:lnTo>
                <a:lnTo>
                  <a:pt x="515" y="1036"/>
                </a:lnTo>
                <a:lnTo>
                  <a:pt x="515" y="1036"/>
                </a:lnTo>
                <a:lnTo>
                  <a:pt x="515" y="1038"/>
                </a:lnTo>
                <a:lnTo>
                  <a:pt x="515" y="1036"/>
                </a:lnTo>
                <a:lnTo>
                  <a:pt x="515" y="1036"/>
                </a:lnTo>
                <a:lnTo>
                  <a:pt x="510" y="1032"/>
                </a:lnTo>
                <a:lnTo>
                  <a:pt x="505" y="1034"/>
                </a:lnTo>
                <a:lnTo>
                  <a:pt x="503" y="1036"/>
                </a:lnTo>
                <a:lnTo>
                  <a:pt x="501" y="1036"/>
                </a:lnTo>
                <a:lnTo>
                  <a:pt x="496" y="1034"/>
                </a:lnTo>
                <a:lnTo>
                  <a:pt x="491" y="1033"/>
                </a:lnTo>
                <a:lnTo>
                  <a:pt x="490" y="1031"/>
                </a:lnTo>
                <a:lnTo>
                  <a:pt x="489" y="1028"/>
                </a:lnTo>
                <a:lnTo>
                  <a:pt x="482" y="1026"/>
                </a:lnTo>
                <a:lnTo>
                  <a:pt x="478" y="1020"/>
                </a:lnTo>
                <a:lnTo>
                  <a:pt x="475" y="1017"/>
                </a:lnTo>
                <a:lnTo>
                  <a:pt x="469" y="1015"/>
                </a:lnTo>
                <a:lnTo>
                  <a:pt x="465" y="1017"/>
                </a:lnTo>
                <a:lnTo>
                  <a:pt x="461" y="1013"/>
                </a:lnTo>
                <a:lnTo>
                  <a:pt x="471" y="1012"/>
                </a:lnTo>
                <a:lnTo>
                  <a:pt x="481" y="1015"/>
                </a:lnTo>
                <a:lnTo>
                  <a:pt x="484" y="1017"/>
                </a:lnTo>
                <a:lnTo>
                  <a:pt x="488" y="1017"/>
                </a:lnTo>
                <a:lnTo>
                  <a:pt x="491" y="1017"/>
                </a:lnTo>
                <a:lnTo>
                  <a:pt x="495" y="1019"/>
                </a:lnTo>
                <a:lnTo>
                  <a:pt x="503" y="1024"/>
                </a:lnTo>
                <a:lnTo>
                  <a:pt x="512" y="1021"/>
                </a:lnTo>
                <a:lnTo>
                  <a:pt x="515" y="1021"/>
                </a:lnTo>
                <a:lnTo>
                  <a:pt x="515" y="1019"/>
                </a:lnTo>
                <a:lnTo>
                  <a:pt x="515" y="1018"/>
                </a:lnTo>
                <a:lnTo>
                  <a:pt x="512" y="1017"/>
                </a:lnTo>
                <a:lnTo>
                  <a:pt x="510" y="1018"/>
                </a:lnTo>
                <a:lnTo>
                  <a:pt x="508" y="1018"/>
                </a:lnTo>
                <a:lnTo>
                  <a:pt x="510" y="1014"/>
                </a:lnTo>
                <a:lnTo>
                  <a:pt x="508" y="1012"/>
                </a:lnTo>
                <a:lnTo>
                  <a:pt x="499" y="1012"/>
                </a:lnTo>
                <a:lnTo>
                  <a:pt x="491" y="1008"/>
                </a:lnTo>
                <a:lnTo>
                  <a:pt x="485" y="1008"/>
                </a:lnTo>
                <a:lnTo>
                  <a:pt x="480" y="1007"/>
                </a:lnTo>
                <a:lnTo>
                  <a:pt x="473" y="1003"/>
                </a:lnTo>
                <a:lnTo>
                  <a:pt x="467" y="1008"/>
                </a:lnTo>
                <a:lnTo>
                  <a:pt x="465" y="1011"/>
                </a:lnTo>
                <a:lnTo>
                  <a:pt x="463" y="1011"/>
                </a:lnTo>
                <a:lnTo>
                  <a:pt x="462" y="1010"/>
                </a:lnTo>
                <a:lnTo>
                  <a:pt x="461" y="1008"/>
                </a:lnTo>
                <a:lnTo>
                  <a:pt x="458" y="1003"/>
                </a:lnTo>
                <a:lnTo>
                  <a:pt x="453" y="1003"/>
                </a:lnTo>
                <a:lnTo>
                  <a:pt x="447" y="1004"/>
                </a:lnTo>
                <a:lnTo>
                  <a:pt x="441" y="1003"/>
                </a:lnTo>
                <a:lnTo>
                  <a:pt x="439" y="1003"/>
                </a:lnTo>
                <a:lnTo>
                  <a:pt x="439" y="1001"/>
                </a:lnTo>
                <a:lnTo>
                  <a:pt x="439" y="997"/>
                </a:lnTo>
                <a:lnTo>
                  <a:pt x="435" y="993"/>
                </a:lnTo>
                <a:lnTo>
                  <a:pt x="428" y="991"/>
                </a:lnTo>
                <a:lnTo>
                  <a:pt x="427" y="984"/>
                </a:lnTo>
                <a:lnTo>
                  <a:pt x="422" y="987"/>
                </a:lnTo>
                <a:lnTo>
                  <a:pt x="416" y="990"/>
                </a:lnTo>
                <a:lnTo>
                  <a:pt x="414" y="991"/>
                </a:lnTo>
                <a:lnTo>
                  <a:pt x="412" y="991"/>
                </a:lnTo>
                <a:lnTo>
                  <a:pt x="409" y="987"/>
                </a:lnTo>
                <a:lnTo>
                  <a:pt x="409" y="984"/>
                </a:lnTo>
                <a:lnTo>
                  <a:pt x="412" y="983"/>
                </a:lnTo>
                <a:lnTo>
                  <a:pt x="415" y="983"/>
                </a:lnTo>
                <a:lnTo>
                  <a:pt x="416" y="983"/>
                </a:lnTo>
                <a:lnTo>
                  <a:pt x="418" y="984"/>
                </a:lnTo>
                <a:lnTo>
                  <a:pt x="419" y="985"/>
                </a:lnTo>
                <a:lnTo>
                  <a:pt x="421" y="984"/>
                </a:lnTo>
                <a:lnTo>
                  <a:pt x="421" y="983"/>
                </a:lnTo>
                <a:lnTo>
                  <a:pt x="421" y="982"/>
                </a:lnTo>
                <a:lnTo>
                  <a:pt x="420" y="979"/>
                </a:lnTo>
                <a:lnTo>
                  <a:pt x="418" y="980"/>
                </a:lnTo>
                <a:lnTo>
                  <a:pt x="415" y="980"/>
                </a:lnTo>
                <a:lnTo>
                  <a:pt x="414" y="978"/>
                </a:lnTo>
                <a:lnTo>
                  <a:pt x="411" y="972"/>
                </a:lnTo>
                <a:lnTo>
                  <a:pt x="404" y="973"/>
                </a:lnTo>
                <a:lnTo>
                  <a:pt x="406" y="977"/>
                </a:lnTo>
                <a:lnTo>
                  <a:pt x="406" y="982"/>
                </a:lnTo>
                <a:lnTo>
                  <a:pt x="406" y="985"/>
                </a:lnTo>
                <a:lnTo>
                  <a:pt x="405" y="986"/>
                </a:lnTo>
                <a:lnTo>
                  <a:pt x="398" y="984"/>
                </a:lnTo>
                <a:lnTo>
                  <a:pt x="392" y="982"/>
                </a:lnTo>
                <a:lnTo>
                  <a:pt x="391" y="980"/>
                </a:lnTo>
                <a:lnTo>
                  <a:pt x="391" y="978"/>
                </a:lnTo>
                <a:lnTo>
                  <a:pt x="392" y="975"/>
                </a:lnTo>
                <a:lnTo>
                  <a:pt x="388" y="975"/>
                </a:lnTo>
                <a:lnTo>
                  <a:pt x="385" y="973"/>
                </a:lnTo>
                <a:lnTo>
                  <a:pt x="379" y="975"/>
                </a:lnTo>
                <a:lnTo>
                  <a:pt x="389" y="982"/>
                </a:lnTo>
                <a:lnTo>
                  <a:pt x="398" y="989"/>
                </a:lnTo>
                <a:lnTo>
                  <a:pt x="400" y="990"/>
                </a:lnTo>
                <a:lnTo>
                  <a:pt x="401" y="990"/>
                </a:lnTo>
                <a:lnTo>
                  <a:pt x="407" y="993"/>
                </a:lnTo>
                <a:lnTo>
                  <a:pt x="414" y="996"/>
                </a:lnTo>
                <a:lnTo>
                  <a:pt x="414" y="997"/>
                </a:lnTo>
                <a:lnTo>
                  <a:pt x="414" y="998"/>
                </a:lnTo>
                <a:lnTo>
                  <a:pt x="418" y="1004"/>
                </a:lnTo>
                <a:lnTo>
                  <a:pt x="422" y="1006"/>
                </a:lnTo>
                <a:lnTo>
                  <a:pt x="428" y="1006"/>
                </a:lnTo>
                <a:lnTo>
                  <a:pt x="432" y="1010"/>
                </a:lnTo>
                <a:lnTo>
                  <a:pt x="439" y="1017"/>
                </a:lnTo>
                <a:lnTo>
                  <a:pt x="449" y="1021"/>
                </a:lnTo>
                <a:lnTo>
                  <a:pt x="455" y="1022"/>
                </a:lnTo>
                <a:lnTo>
                  <a:pt x="460" y="1025"/>
                </a:lnTo>
                <a:lnTo>
                  <a:pt x="462" y="1028"/>
                </a:lnTo>
                <a:lnTo>
                  <a:pt x="467" y="1029"/>
                </a:lnTo>
                <a:lnTo>
                  <a:pt x="478" y="1033"/>
                </a:lnTo>
                <a:lnTo>
                  <a:pt x="491" y="1033"/>
                </a:lnTo>
                <a:lnTo>
                  <a:pt x="494" y="1039"/>
                </a:lnTo>
                <a:lnTo>
                  <a:pt x="501" y="1041"/>
                </a:lnTo>
                <a:lnTo>
                  <a:pt x="509" y="1040"/>
                </a:lnTo>
                <a:lnTo>
                  <a:pt x="516" y="1042"/>
                </a:lnTo>
                <a:lnTo>
                  <a:pt x="516" y="1042"/>
                </a:lnTo>
                <a:lnTo>
                  <a:pt x="519" y="1050"/>
                </a:lnTo>
                <a:lnTo>
                  <a:pt x="529" y="1055"/>
                </a:lnTo>
                <a:lnTo>
                  <a:pt x="529" y="1050"/>
                </a:lnTo>
                <a:lnTo>
                  <a:pt x="529" y="1047"/>
                </a:lnTo>
                <a:lnTo>
                  <a:pt x="529" y="1040"/>
                </a:lnTo>
                <a:lnTo>
                  <a:pt x="522" y="1041"/>
                </a:lnTo>
                <a:close/>
                <a:moveTo>
                  <a:pt x="301" y="850"/>
                </a:moveTo>
                <a:lnTo>
                  <a:pt x="301" y="849"/>
                </a:lnTo>
                <a:lnTo>
                  <a:pt x="298" y="849"/>
                </a:lnTo>
                <a:lnTo>
                  <a:pt x="295" y="847"/>
                </a:lnTo>
                <a:lnTo>
                  <a:pt x="295" y="844"/>
                </a:lnTo>
                <a:lnTo>
                  <a:pt x="290" y="847"/>
                </a:lnTo>
                <a:lnTo>
                  <a:pt x="287" y="851"/>
                </a:lnTo>
                <a:lnTo>
                  <a:pt x="290" y="851"/>
                </a:lnTo>
                <a:lnTo>
                  <a:pt x="294" y="851"/>
                </a:lnTo>
                <a:lnTo>
                  <a:pt x="290" y="852"/>
                </a:lnTo>
                <a:lnTo>
                  <a:pt x="287" y="851"/>
                </a:lnTo>
                <a:lnTo>
                  <a:pt x="282" y="851"/>
                </a:lnTo>
                <a:lnTo>
                  <a:pt x="277" y="849"/>
                </a:lnTo>
                <a:lnTo>
                  <a:pt x="278" y="854"/>
                </a:lnTo>
                <a:lnTo>
                  <a:pt x="284" y="856"/>
                </a:lnTo>
                <a:lnTo>
                  <a:pt x="294" y="857"/>
                </a:lnTo>
                <a:lnTo>
                  <a:pt x="299" y="865"/>
                </a:lnTo>
                <a:lnTo>
                  <a:pt x="299" y="865"/>
                </a:lnTo>
                <a:lnTo>
                  <a:pt x="294" y="871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6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297" y="877"/>
                </a:lnTo>
                <a:lnTo>
                  <a:pt x="301" y="850"/>
                </a:lnTo>
                <a:close/>
                <a:moveTo>
                  <a:pt x="297" y="877"/>
                </a:moveTo>
                <a:lnTo>
                  <a:pt x="297" y="871"/>
                </a:lnTo>
                <a:lnTo>
                  <a:pt x="299" y="865"/>
                </a:lnTo>
                <a:lnTo>
                  <a:pt x="303" y="868"/>
                </a:lnTo>
                <a:lnTo>
                  <a:pt x="308" y="867"/>
                </a:lnTo>
                <a:lnTo>
                  <a:pt x="310" y="864"/>
                </a:lnTo>
                <a:lnTo>
                  <a:pt x="310" y="859"/>
                </a:lnTo>
                <a:lnTo>
                  <a:pt x="310" y="858"/>
                </a:lnTo>
                <a:lnTo>
                  <a:pt x="309" y="857"/>
                </a:lnTo>
                <a:lnTo>
                  <a:pt x="308" y="857"/>
                </a:lnTo>
                <a:lnTo>
                  <a:pt x="306" y="858"/>
                </a:lnTo>
                <a:lnTo>
                  <a:pt x="304" y="861"/>
                </a:lnTo>
                <a:lnTo>
                  <a:pt x="302" y="857"/>
                </a:lnTo>
                <a:lnTo>
                  <a:pt x="301" y="854"/>
                </a:lnTo>
                <a:lnTo>
                  <a:pt x="301" y="850"/>
                </a:lnTo>
                <a:lnTo>
                  <a:pt x="297" y="877"/>
                </a:lnTo>
                <a:close/>
                <a:moveTo>
                  <a:pt x="434" y="1028"/>
                </a:moveTo>
                <a:lnTo>
                  <a:pt x="440" y="1028"/>
                </a:lnTo>
                <a:lnTo>
                  <a:pt x="443" y="1026"/>
                </a:lnTo>
                <a:lnTo>
                  <a:pt x="442" y="1024"/>
                </a:lnTo>
                <a:lnTo>
                  <a:pt x="437" y="1022"/>
                </a:lnTo>
                <a:lnTo>
                  <a:pt x="436" y="1022"/>
                </a:lnTo>
                <a:lnTo>
                  <a:pt x="436" y="1021"/>
                </a:lnTo>
                <a:lnTo>
                  <a:pt x="426" y="1014"/>
                </a:lnTo>
                <a:lnTo>
                  <a:pt x="416" y="1008"/>
                </a:lnTo>
                <a:lnTo>
                  <a:pt x="415" y="1008"/>
                </a:lnTo>
                <a:lnTo>
                  <a:pt x="414" y="1007"/>
                </a:lnTo>
                <a:lnTo>
                  <a:pt x="412" y="1007"/>
                </a:lnTo>
                <a:lnTo>
                  <a:pt x="409" y="1008"/>
                </a:lnTo>
                <a:lnTo>
                  <a:pt x="409" y="1011"/>
                </a:lnTo>
                <a:lnTo>
                  <a:pt x="411" y="1013"/>
                </a:lnTo>
                <a:lnTo>
                  <a:pt x="415" y="1017"/>
                </a:lnTo>
                <a:lnTo>
                  <a:pt x="420" y="1020"/>
                </a:lnTo>
                <a:lnTo>
                  <a:pt x="422" y="1021"/>
                </a:lnTo>
                <a:lnTo>
                  <a:pt x="422" y="1024"/>
                </a:lnTo>
                <a:lnTo>
                  <a:pt x="421" y="1027"/>
                </a:lnTo>
                <a:lnTo>
                  <a:pt x="426" y="1028"/>
                </a:lnTo>
                <a:lnTo>
                  <a:pt x="429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3" y="1028"/>
                </a:lnTo>
                <a:lnTo>
                  <a:pt x="434" y="1028"/>
                </a:lnTo>
                <a:close/>
                <a:moveTo>
                  <a:pt x="344" y="882"/>
                </a:moveTo>
                <a:lnTo>
                  <a:pt x="346" y="885"/>
                </a:lnTo>
                <a:lnTo>
                  <a:pt x="347" y="889"/>
                </a:lnTo>
                <a:lnTo>
                  <a:pt x="344" y="887"/>
                </a:lnTo>
                <a:lnTo>
                  <a:pt x="344" y="882"/>
                </a:lnTo>
                <a:close/>
                <a:moveTo>
                  <a:pt x="349" y="894"/>
                </a:moveTo>
                <a:lnTo>
                  <a:pt x="349" y="892"/>
                </a:lnTo>
                <a:lnTo>
                  <a:pt x="347" y="889"/>
                </a:lnTo>
                <a:lnTo>
                  <a:pt x="353" y="892"/>
                </a:lnTo>
                <a:lnTo>
                  <a:pt x="360" y="894"/>
                </a:lnTo>
                <a:lnTo>
                  <a:pt x="363" y="895"/>
                </a:lnTo>
                <a:lnTo>
                  <a:pt x="365" y="893"/>
                </a:lnTo>
                <a:lnTo>
                  <a:pt x="364" y="891"/>
                </a:lnTo>
                <a:lnTo>
                  <a:pt x="360" y="891"/>
                </a:lnTo>
                <a:lnTo>
                  <a:pt x="358" y="889"/>
                </a:lnTo>
                <a:lnTo>
                  <a:pt x="359" y="887"/>
                </a:lnTo>
                <a:lnTo>
                  <a:pt x="359" y="885"/>
                </a:lnTo>
                <a:lnTo>
                  <a:pt x="358" y="884"/>
                </a:lnTo>
                <a:lnTo>
                  <a:pt x="345" y="872"/>
                </a:lnTo>
                <a:lnTo>
                  <a:pt x="331" y="861"/>
                </a:lnTo>
                <a:lnTo>
                  <a:pt x="324" y="859"/>
                </a:lnTo>
                <a:lnTo>
                  <a:pt x="316" y="856"/>
                </a:lnTo>
                <a:lnTo>
                  <a:pt x="318" y="861"/>
                </a:lnTo>
                <a:lnTo>
                  <a:pt x="322" y="864"/>
                </a:lnTo>
                <a:lnTo>
                  <a:pt x="329" y="865"/>
                </a:lnTo>
                <a:lnTo>
                  <a:pt x="335" y="870"/>
                </a:lnTo>
                <a:lnTo>
                  <a:pt x="339" y="872"/>
                </a:lnTo>
                <a:lnTo>
                  <a:pt x="340" y="877"/>
                </a:lnTo>
                <a:lnTo>
                  <a:pt x="339" y="882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35" y="886"/>
                </a:lnTo>
                <a:lnTo>
                  <a:pt x="340" y="892"/>
                </a:lnTo>
                <a:lnTo>
                  <a:pt x="349" y="894"/>
                </a:lnTo>
                <a:close/>
                <a:moveTo>
                  <a:pt x="456" y="1039"/>
                </a:moveTo>
                <a:lnTo>
                  <a:pt x="457" y="1036"/>
                </a:lnTo>
                <a:lnTo>
                  <a:pt x="460" y="1036"/>
                </a:lnTo>
                <a:lnTo>
                  <a:pt x="463" y="1038"/>
                </a:lnTo>
                <a:lnTo>
                  <a:pt x="464" y="1040"/>
                </a:lnTo>
                <a:lnTo>
                  <a:pt x="462" y="1042"/>
                </a:lnTo>
                <a:lnTo>
                  <a:pt x="458" y="1045"/>
                </a:lnTo>
                <a:lnTo>
                  <a:pt x="456" y="1042"/>
                </a:lnTo>
                <a:lnTo>
                  <a:pt x="456" y="1039"/>
                </a:lnTo>
                <a:close/>
                <a:moveTo>
                  <a:pt x="470" y="1075"/>
                </a:moveTo>
                <a:lnTo>
                  <a:pt x="470" y="1075"/>
                </a:lnTo>
                <a:lnTo>
                  <a:pt x="471" y="1075"/>
                </a:lnTo>
                <a:lnTo>
                  <a:pt x="471" y="1075"/>
                </a:lnTo>
                <a:lnTo>
                  <a:pt x="471" y="1076"/>
                </a:lnTo>
                <a:lnTo>
                  <a:pt x="470" y="1075"/>
                </a:lnTo>
                <a:lnTo>
                  <a:pt x="469" y="1075"/>
                </a:lnTo>
                <a:lnTo>
                  <a:pt x="468" y="1075"/>
                </a:lnTo>
                <a:lnTo>
                  <a:pt x="467" y="1076"/>
                </a:lnTo>
                <a:lnTo>
                  <a:pt x="467" y="1079"/>
                </a:lnTo>
                <a:lnTo>
                  <a:pt x="469" y="1079"/>
                </a:lnTo>
                <a:lnTo>
                  <a:pt x="474" y="1080"/>
                </a:lnTo>
                <a:lnTo>
                  <a:pt x="480" y="1080"/>
                </a:lnTo>
                <a:lnTo>
                  <a:pt x="502" y="1076"/>
                </a:lnTo>
                <a:lnTo>
                  <a:pt x="524" y="1072"/>
                </a:lnTo>
                <a:lnTo>
                  <a:pt x="527" y="1067"/>
                </a:lnTo>
                <a:lnTo>
                  <a:pt x="527" y="1060"/>
                </a:lnTo>
                <a:lnTo>
                  <a:pt x="526" y="1059"/>
                </a:lnTo>
                <a:lnTo>
                  <a:pt x="525" y="1060"/>
                </a:lnTo>
                <a:lnTo>
                  <a:pt x="523" y="1062"/>
                </a:lnTo>
                <a:lnTo>
                  <a:pt x="520" y="1060"/>
                </a:lnTo>
                <a:lnTo>
                  <a:pt x="517" y="1057"/>
                </a:lnTo>
                <a:lnTo>
                  <a:pt x="512" y="1056"/>
                </a:lnTo>
                <a:lnTo>
                  <a:pt x="512" y="1059"/>
                </a:lnTo>
                <a:lnTo>
                  <a:pt x="511" y="1062"/>
                </a:lnTo>
                <a:lnTo>
                  <a:pt x="509" y="1068"/>
                </a:lnTo>
                <a:lnTo>
                  <a:pt x="503" y="1072"/>
                </a:lnTo>
                <a:lnTo>
                  <a:pt x="498" y="1072"/>
                </a:lnTo>
                <a:lnTo>
                  <a:pt x="495" y="1068"/>
                </a:lnTo>
                <a:lnTo>
                  <a:pt x="494" y="1066"/>
                </a:lnTo>
                <a:lnTo>
                  <a:pt x="491" y="1067"/>
                </a:lnTo>
                <a:lnTo>
                  <a:pt x="484" y="1070"/>
                </a:lnTo>
                <a:lnTo>
                  <a:pt x="477" y="1067"/>
                </a:lnTo>
                <a:lnTo>
                  <a:pt x="469" y="1067"/>
                </a:lnTo>
                <a:lnTo>
                  <a:pt x="461" y="1066"/>
                </a:lnTo>
                <a:lnTo>
                  <a:pt x="461" y="1063"/>
                </a:lnTo>
                <a:lnTo>
                  <a:pt x="460" y="1060"/>
                </a:lnTo>
                <a:lnTo>
                  <a:pt x="464" y="1059"/>
                </a:lnTo>
                <a:lnTo>
                  <a:pt x="468" y="1054"/>
                </a:lnTo>
                <a:lnTo>
                  <a:pt x="470" y="1050"/>
                </a:lnTo>
                <a:lnTo>
                  <a:pt x="475" y="1052"/>
                </a:lnTo>
                <a:lnTo>
                  <a:pt x="474" y="1047"/>
                </a:lnTo>
                <a:lnTo>
                  <a:pt x="474" y="1042"/>
                </a:lnTo>
                <a:lnTo>
                  <a:pt x="478" y="1041"/>
                </a:lnTo>
                <a:lnTo>
                  <a:pt x="484" y="1042"/>
                </a:lnTo>
                <a:lnTo>
                  <a:pt x="484" y="1042"/>
                </a:lnTo>
                <a:lnTo>
                  <a:pt x="484" y="1042"/>
                </a:lnTo>
                <a:lnTo>
                  <a:pt x="488" y="1041"/>
                </a:lnTo>
                <a:lnTo>
                  <a:pt x="489" y="1039"/>
                </a:lnTo>
                <a:lnTo>
                  <a:pt x="488" y="1038"/>
                </a:lnTo>
                <a:lnTo>
                  <a:pt x="484" y="1038"/>
                </a:lnTo>
                <a:lnTo>
                  <a:pt x="474" y="1038"/>
                </a:lnTo>
                <a:lnTo>
                  <a:pt x="463" y="1035"/>
                </a:lnTo>
                <a:lnTo>
                  <a:pt x="456" y="1033"/>
                </a:lnTo>
                <a:lnTo>
                  <a:pt x="447" y="1038"/>
                </a:lnTo>
                <a:lnTo>
                  <a:pt x="443" y="1041"/>
                </a:lnTo>
                <a:lnTo>
                  <a:pt x="440" y="1041"/>
                </a:lnTo>
                <a:lnTo>
                  <a:pt x="439" y="1039"/>
                </a:lnTo>
                <a:lnTo>
                  <a:pt x="440" y="1035"/>
                </a:lnTo>
                <a:lnTo>
                  <a:pt x="440" y="1034"/>
                </a:lnTo>
                <a:lnTo>
                  <a:pt x="439" y="1033"/>
                </a:lnTo>
                <a:lnTo>
                  <a:pt x="437" y="1033"/>
                </a:lnTo>
                <a:lnTo>
                  <a:pt x="437" y="1033"/>
                </a:lnTo>
                <a:lnTo>
                  <a:pt x="433" y="1038"/>
                </a:lnTo>
                <a:lnTo>
                  <a:pt x="434" y="1045"/>
                </a:lnTo>
                <a:lnTo>
                  <a:pt x="440" y="1052"/>
                </a:lnTo>
                <a:lnTo>
                  <a:pt x="446" y="1059"/>
                </a:lnTo>
                <a:lnTo>
                  <a:pt x="451" y="1065"/>
                </a:lnTo>
                <a:lnTo>
                  <a:pt x="461" y="1066"/>
                </a:lnTo>
                <a:lnTo>
                  <a:pt x="467" y="1069"/>
                </a:lnTo>
                <a:lnTo>
                  <a:pt x="470" y="1075"/>
                </a:lnTo>
                <a:close/>
                <a:moveTo>
                  <a:pt x="402" y="1011"/>
                </a:moveTo>
                <a:lnTo>
                  <a:pt x="401" y="1010"/>
                </a:lnTo>
                <a:lnTo>
                  <a:pt x="399" y="1008"/>
                </a:lnTo>
                <a:lnTo>
                  <a:pt x="386" y="999"/>
                </a:lnTo>
                <a:lnTo>
                  <a:pt x="377" y="987"/>
                </a:lnTo>
                <a:lnTo>
                  <a:pt x="368" y="977"/>
                </a:lnTo>
                <a:lnTo>
                  <a:pt x="360" y="966"/>
                </a:lnTo>
                <a:lnTo>
                  <a:pt x="359" y="970"/>
                </a:lnTo>
                <a:lnTo>
                  <a:pt x="356" y="971"/>
                </a:lnTo>
                <a:lnTo>
                  <a:pt x="363" y="978"/>
                </a:lnTo>
                <a:lnTo>
                  <a:pt x="365" y="987"/>
                </a:lnTo>
                <a:lnTo>
                  <a:pt x="371" y="992"/>
                </a:lnTo>
                <a:lnTo>
                  <a:pt x="373" y="998"/>
                </a:lnTo>
                <a:lnTo>
                  <a:pt x="370" y="997"/>
                </a:lnTo>
                <a:lnTo>
                  <a:pt x="366" y="997"/>
                </a:lnTo>
                <a:lnTo>
                  <a:pt x="364" y="994"/>
                </a:lnTo>
                <a:lnTo>
                  <a:pt x="361" y="997"/>
                </a:lnTo>
                <a:lnTo>
                  <a:pt x="360" y="1000"/>
                </a:lnTo>
                <a:lnTo>
                  <a:pt x="361" y="1003"/>
                </a:lnTo>
                <a:lnTo>
                  <a:pt x="365" y="1005"/>
                </a:lnTo>
                <a:lnTo>
                  <a:pt x="366" y="1006"/>
                </a:lnTo>
                <a:lnTo>
                  <a:pt x="367" y="1013"/>
                </a:lnTo>
                <a:lnTo>
                  <a:pt x="372" y="1015"/>
                </a:lnTo>
                <a:lnTo>
                  <a:pt x="371" y="1012"/>
                </a:lnTo>
                <a:lnTo>
                  <a:pt x="368" y="1010"/>
                </a:lnTo>
                <a:lnTo>
                  <a:pt x="374" y="1007"/>
                </a:lnTo>
                <a:lnTo>
                  <a:pt x="378" y="1003"/>
                </a:lnTo>
                <a:lnTo>
                  <a:pt x="381" y="1005"/>
                </a:lnTo>
                <a:lnTo>
                  <a:pt x="384" y="1010"/>
                </a:lnTo>
                <a:lnTo>
                  <a:pt x="395" y="1020"/>
                </a:lnTo>
                <a:lnTo>
                  <a:pt x="404" y="1032"/>
                </a:lnTo>
                <a:lnTo>
                  <a:pt x="412" y="1029"/>
                </a:lnTo>
                <a:lnTo>
                  <a:pt x="418" y="1024"/>
                </a:lnTo>
                <a:lnTo>
                  <a:pt x="406" y="1018"/>
                </a:lnTo>
                <a:lnTo>
                  <a:pt x="394" y="1011"/>
                </a:lnTo>
                <a:lnTo>
                  <a:pt x="402" y="1011"/>
                </a:lnTo>
                <a:lnTo>
                  <a:pt x="402" y="1011"/>
                </a:lnTo>
                <a:lnTo>
                  <a:pt x="402" y="1011"/>
                </a:lnTo>
                <a:close/>
                <a:moveTo>
                  <a:pt x="1751" y="164"/>
                </a:moveTo>
                <a:lnTo>
                  <a:pt x="1751" y="164"/>
                </a:lnTo>
                <a:lnTo>
                  <a:pt x="1744" y="173"/>
                </a:lnTo>
                <a:lnTo>
                  <a:pt x="1735" y="181"/>
                </a:lnTo>
                <a:lnTo>
                  <a:pt x="1744" y="192"/>
                </a:lnTo>
                <a:lnTo>
                  <a:pt x="1749" y="203"/>
                </a:lnTo>
                <a:lnTo>
                  <a:pt x="1751" y="209"/>
                </a:lnTo>
                <a:lnTo>
                  <a:pt x="1753" y="215"/>
                </a:lnTo>
                <a:lnTo>
                  <a:pt x="1753" y="217"/>
                </a:lnTo>
                <a:lnTo>
                  <a:pt x="1754" y="218"/>
                </a:lnTo>
                <a:lnTo>
                  <a:pt x="1753" y="220"/>
                </a:lnTo>
                <a:lnTo>
                  <a:pt x="1753" y="220"/>
                </a:lnTo>
                <a:lnTo>
                  <a:pt x="1751" y="223"/>
                </a:lnTo>
                <a:lnTo>
                  <a:pt x="1751" y="228"/>
                </a:lnTo>
                <a:lnTo>
                  <a:pt x="1751" y="232"/>
                </a:lnTo>
                <a:lnTo>
                  <a:pt x="1749" y="238"/>
                </a:lnTo>
                <a:lnTo>
                  <a:pt x="1744" y="251"/>
                </a:lnTo>
                <a:lnTo>
                  <a:pt x="1737" y="263"/>
                </a:lnTo>
                <a:lnTo>
                  <a:pt x="1721" y="280"/>
                </a:lnTo>
                <a:lnTo>
                  <a:pt x="1703" y="292"/>
                </a:lnTo>
                <a:lnTo>
                  <a:pt x="1693" y="295"/>
                </a:lnTo>
                <a:lnTo>
                  <a:pt x="1685" y="299"/>
                </a:lnTo>
                <a:lnTo>
                  <a:pt x="1670" y="301"/>
                </a:lnTo>
                <a:lnTo>
                  <a:pt x="1656" y="302"/>
                </a:lnTo>
                <a:lnTo>
                  <a:pt x="1649" y="302"/>
                </a:lnTo>
                <a:lnTo>
                  <a:pt x="1641" y="302"/>
                </a:lnTo>
                <a:lnTo>
                  <a:pt x="1634" y="301"/>
                </a:lnTo>
                <a:lnTo>
                  <a:pt x="1627" y="300"/>
                </a:lnTo>
                <a:lnTo>
                  <a:pt x="1627" y="300"/>
                </a:lnTo>
                <a:lnTo>
                  <a:pt x="1626" y="300"/>
                </a:lnTo>
                <a:lnTo>
                  <a:pt x="1615" y="299"/>
                </a:lnTo>
                <a:lnTo>
                  <a:pt x="1606" y="297"/>
                </a:lnTo>
                <a:lnTo>
                  <a:pt x="1604" y="293"/>
                </a:lnTo>
                <a:lnTo>
                  <a:pt x="1602" y="292"/>
                </a:lnTo>
                <a:lnTo>
                  <a:pt x="1589" y="284"/>
                </a:lnTo>
                <a:lnTo>
                  <a:pt x="1578" y="276"/>
                </a:lnTo>
                <a:lnTo>
                  <a:pt x="1572" y="271"/>
                </a:lnTo>
                <a:lnTo>
                  <a:pt x="1565" y="271"/>
                </a:lnTo>
                <a:lnTo>
                  <a:pt x="1565" y="270"/>
                </a:lnTo>
                <a:lnTo>
                  <a:pt x="1564" y="270"/>
                </a:lnTo>
                <a:lnTo>
                  <a:pt x="1564" y="270"/>
                </a:lnTo>
                <a:lnTo>
                  <a:pt x="1562" y="266"/>
                </a:lnTo>
                <a:lnTo>
                  <a:pt x="1560" y="265"/>
                </a:lnTo>
                <a:lnTo>
                  <a:pt x="1560" y="265"/>
                </a:lnTo>
                <a:lnTo>
                  <a:pt x="1559" y="260"/>
                </a:lnTo>
                <a:lnTo>
                  <a:pt x="1561" y="257"/>
                </a:lnTo>
                <a:lnTo>
                  <a:pt x="1551" y="249"/>
                </a:lnTo>
                <a:lnTo>
                  <a:pt x="1541" y="241"/>
                </a:lnTo>
                <a:lnTo>
                  <a:pt x="1539" y="237"/>
                </a:lnTo>
                <a:lnTo>
                  <a:pt x="1538" y="234"/>
                </a:lnTo>
                <a:lnTo>
                  <a:pt x="1533" y="230"/>
                </a:lnTo>
                <a:lnTo>
                  <a:pt x="1532" y="227"/>
                </a:lnTo>
                <a:lnTo>
                  <a:pt x="1526" y="225"/>
                </a:lnTo>
                <a:lnTo>
                  <a:pt x="1523" y="221"/>
                </a:lnTo>
                <a:lnTo>
                  <a:pt x="1521" y="218"/>
                </a:lnTo>
                <a:lnTo>
                  <a:pt x="1519" y="217"/>
                </a:lnTo>
                <a:lnTo>
                  <a:pt x="1514" y="213"/>
                </a:lnTo>
                <a:lnTo>
                  <a:pt x="1513" y="208"/>
                </a:lnTo>
                <a:lnTo>
                  <a:pt x="1520" y="209"/>
                </a:lnTo>
                <a:lnTo>
                  <a:pt x="1528" y="210"/>
                </a:lnTo>
                <a:lnTo>
                  <a:pt x="1531" y="213"/>
                </a:lnTo>
                <a:lnTo>
                  <a:pt x="1532" y="215"/>
                </a:lnTo>
                <a:lnTo>
                  <a:pt x="1534" y="211"/>
                </a:lnTo>
                <a:lnTo>
                  <a:pt x="1538" y="209"/>
                </a:lnTo>
                <a:lnTo>
                  <a:pt x="1540" y="207"/>
                </a:lnTo>
                <a:lnTo>
                  <a:pt x="1544" y="206"/>
                </a:lnTo>
                <a:lnTo>
                  <a:pt x="1548" y="199"/>
                </a:lnTo>
                <a:lnTo>
                  <a:pt x="1555" y="193"/>
                </a:lnTo>
                <a:lnTo>
                  <a:pt x="1555" y="200"/>
                </a:lnTo>
                <a:lnTo>
                  <a:pt x="1558" y="197"/>
                </a:lnTo>
                <a:lnTo>
                  <a:pt x="1558" y="195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4"/>
                </a:lnTo>
                <a:lnTo>
                  <a:pt x="1558" y="195"/>
                </a:lnTo>
                <a:lnTo>
                  <a:pt x="1559" y="193"/>
                </a:lnTo>
                <a:lnTo>
                  <a:pt x="1559" y="190"/>
                </a:lnTo>
                <a:lnTo>
                  <a:pt x="1558" y="190"/>
                </a:lnTo>
                <a:lnTo>
                  <a:pt x="1557" y="190"/>
                </a:lnTo>
                <a:lnTo>
                  <a:pt x="1557" y="188"/>
                </a:lnTo>
                <a:lnTo>
                  <a:pt x="1555" y="186"/>
                </a:lnTo>
                <a:lnTo>
                  <a:pt x="1557" y="188"/>
                </a:lnTo>
                <a:lnTo>
                  <a:pt x="1557" y="190"/>
                </a:lnTo>
                <a:lnTo>
                  <a:pt x="1558" y="190"/>
                </a:lnTo>
                <a:lnTo>
                  <a:pt x="1559" y="190"/>
                </a:lnTo>
                <a:lnTo>
                  <a:pt x="1561" y="188"/>
                </a:lnTo>
                <a:lnTo>
                  <a:pt x="1564" y="187"/>
                </a:lnTo>
                <a:lnTo>
                  <a:pt x="1564" y="194"/>
                </a:lnTo>
                <a:lnTo>
                  <a:pt x="1559" y="199"/>
                </a:lnTo>
                <a:lnTo>
                  <a:pt x="1558" y="200"/>
                </a:lnTo>
                <a:lnTo>
                  <a:pt x="1555" y="202"/>
                </a:lnTo>
                <a:lnTo>
                  <a:pt x="1555" y="202"/>
                </a:lnTo>
                <a:lnTo>
                  <a:pt x="1555" y="201"/>
                </a:lnTo>
                <a:lnTo>
                  <a:pt x="1555" y="200"/>
                </a:lnTo>
                <a:lnTo>
                  <a:pt x="1553" y="200"/>
                </a:lnTo>
                <a:lnTo>
                  <a:pt x="1552" y="201"/>
                </a:lnTo>
                <a:lnTo>
                  <a:pt x="1551" y="202"/>
                </a:lnTo>
                <a:lnTo>
                  <a:pt x="1551" y="203"/>
                </a:lnTo>
                <a:lnTo>
                  <a:pt x="1558" y="202"/>
                </a:lnTo>
                <a:lnTo>
                  <a:pt x="1566" y="206"/>
                </a:lnTo>
                <a:lnTo>
                  <a:pt x="1568" y="204"/>
                </a:lnTo>
                <a:lnTo>
                  <a:pt x="1571" y="206"/>
                </a:lnTo>
                <a:lnTo>
                  <a:pt x="1573" y="207"/>
                </a:lnTo>
                <a:lnTo>
                  <a:pt x="1574" y="206"/>
                </a:lnTo>
                <a:lnTo>
                  <a:pt x="1575" y="203"/>
                </a:lnTo>
                <a:lnTo>
                  <a:pt x="1574" y="201"/>
                </a:lnTo>
                <a:lnTo>
                  <a:pt x="1573" y="196"/>
                </a:lnTo>
                <a:lnTo>
                  <a:pt x="1576" y="193"/>
                </a:lnTo>
                <a:lnTo>
                  <a:pt x="1583" y="188"/>
                </a:lnTo>
                <a:lnTo>
                  <a:pt x="1590" y="185"/>
                </a:lnTo>
                <a:lnTo>
                  <a:pt x="1592" y="186"/>
                </a:lnTo>
                <a:lnTo>
                  <a:pt x="1593" y="185"/>
                </a:lnTo>
                <a:lnTo>
                  <a:pt x="1594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9" y="182"/>
                </a:lnTo>
                <a:lnTo>
                  <a:pt x="1597" y="182"/>
                </a:lnTo>
                <a:lnTo>
                  <a:pt x="1597" y="182"/>
                </a:lnTo>
                <a:lnTo>
                  <a:pt x="1596" y="185"/>
                </a:lnTo>
                <a:lnTo>
                  <a:pt x="1596" y="187"/>
                </a:lnTo>
                <a:lnTo>
                  <a:pt x="1594" y="188"/>
                </a:lnTo>
                <a:lnTo>
                  <a:pt x="1593" y="190"/>
                </a:lnTo>
                <a:lnTo>
                  <a:pt x="1592" y="193"/>
                </a:lnTo>
                <a:lnTo>
                  <a:pt x="1590" y="195"/>
                </a:lnTo>
                <a:lnTo>
                  <a:pt x="1589" y="193"/>
                </a:lnTo>
                <a:lnTo>
                  <a:pt x="1587" y="192"/>
                </a:lnTo>
                <a:lnTo>
                  <a:pt x="1586" y="193"/>
                </a:lnTo>
                <a:lnTo>
                  <a:pt x="1585" y="194"/>
                </a:lnTo>
                <a:lnTo>
                  <a:pt x="1585" y="196"/>
                </a:lnTo>
                <a:lnTo>
                  <a:pt x="1587" y="197"/>
                </a:lnTo>
                <a:lnTo>
                  <a:pt x="1587" y="200"/>
                </a:lnTo>
                <a:lnTo>
                  <a:pt x="1587" y="202"/>
                </a:lnTo>
                <a:lnTo>
                  <a:pt x="1583" y="206"/>
                </a:lnTo>
                <a:lnTo>
                  <a:pt x="1581" y="211"/>
                </a:lnTo>
                <a:lnTo>
                  <a:pt x="1581" y="214"/>
                </a:lnTo>
                <a:lnTo>
                  <a:pt x="1581" y="216"/>
                </a:lnTo>
                <a:lnTo>
                  <a:pt x="1585" y="216"/>
                </a:lnTo>
                <a:lnTo>
                  <a:pt x="1586" y="214"/>
                </a:lnTo>
                <a:lnTo>
                  <a:pt x="1595" y="207"/>
                </a:lnTo>
                <a:lnTo>
                  <a:pt x="1604" y="200"/>
                </a:lnTo>
                <a:lnTo>
                  <a:pt x="1606" y="199"/>
                </a:lnTo>
                <a:lnTo>
                  <a:pt x="1606" y="199"/>
                </a:lnTo>
                <a:lnTo>
                  <a:pt x="1608" y="195"/>
                </a:lnTo>
                <a:lnTo>
                  <a:pt x="1610" y="193"/>
                </a:lnTo>
                <a:lnTo>
                  <a:pt x="1610" y="192"/>
                </a:lnTo>
                <a:lnTo>
                  <a:pt x="1610" y="190"/>
                </a:lnTo>
                <a:lnTo>
                  <a:pt x="1615" y="190"/>
                </a:lnTo>
                <a:lnTo>
                  <a:pt x="1620" y="193"/>
                </a:lnTo>
                <a:lnTo>
                  <a:pt x="1623" y="193"/>
                </a:lnTo>
                <a:lnTo>
                  <a:pt x="1626" y="189"/>
                </a:lnTo>
                <a:lnTo>
                  <a:pt x="1626" y="188"/>
                </a:lnTo>
                <a:lnTo>
                  <a:pt x="1623" y="186"/>
                </a:lnTo>
                <a:lnTo>
                  <a:pt x="1621" y="185"/>
                </a:lnTo>
                <a:lnTo>
                  <a:pt x="1619" y="182"/>
                </a:lnTo>
                <a:lnTo>
                  <a:pt x="1619" y="182"/>
                </a:lnTo>
                <a:lnTo>
                  <a:pt x="1619" y="181"/>
                </a:lnTo>
                <a:lnTo>
                  <a:pt x="1622" y="181"/>
                </a:lnTo>
                <a:lnTo>
                  <a:pt x="1624" y="179"/>
                </a:lnTo>
                <a:lnTo>
                  <a:pt x="1623" y="178"/>
                </a:lnTo>
                <a:lnTo>
                  <a:pt x="1623" y="178"/>
                </a:lnTo>
                <a:lnTo>
                  <a:pt x="1624" y="178"/>
                </a:lnTo>
                <a:lnTo>
                  <a:pt x="1624" y="178"/>
                </a:lnTo>
                <a:lnTo>
                  <a:pt x="1630" y="180"/>
                </a:lnTo>
                <a:lnTo>
                  <a:pt x="1633" y="174"/>
                </a:lnTo>
                <a:lnTo>
                  <a:pt x="1633" y="173"/>
                </a:lnTo>
                <a:lnTo>
                  <a:pt x="1634" y="173"/>
                </a:lnTo>
                <a:lnTo>
                  <a:pt x="1640" y="171"/>
                </a:lnTo>
                <a:lnTo>
                  <a:pt x="1645" y="174"/>
                </a:lnTo>
                <a:lnTo>
                  <a:pt x="1644" y="171"/>
                </a:lnTo>
                <a:lnTo>
                  <a:pt x="1644" y="167"/>
                </a:lnTo>
                <a:lnTo>
                  <a:pt x="1648" y="166"/>
                </a:lnTo>
                <a:lnTo>
                  <a:pt x="1652" y="164"/>
                </a:lnTo>
                <a:lnTo>
                  <a:pt x="1657" y="161"/>
                </a:lnTo>
                <a:lnTo>
                  <a:pt x="1654" y="157"/>
                </a:lnTo>
                <a:lnTo>
                  <a:pt x="1654" y="155"/>
                </a:lnTo>
                <a:lnTo>
                  <a:pt x="1654" y="153"/>
                </a:lnTo>
                <a:lnTo>
                  <a:pt x="1659" y="150"/>
                </a:lnTo>
                <a:lnTo>
                  <a:pt x="1664" y="144"/>
                </a:lnTo>
                <a:lnTo>
                  <a:pt x="1657" y="145"/>
                </a:lnTo>
                <a:lnTo>
                  <a:pt x="1654" y="147"/>
                </a:lnTo>
                <a:lnTo>
                  <a:pt x="1652" y="148"/>
                </a:lnTo>
                <a:lnTo>
                  <a:pt x="1650" y="148"/>
                </a:lnTo>
                <a:lnTo>
                  <a:pt x="1643" y="148"/>
                </a:lnTo>
                <a:lnTo>
                  <a:pt x="1637" y="151"/>
                </a:lnTo>
                <a:lnTo>
                  <a:pt x="1630" y="155"/>
                </a:lnTo>
                <a:lnTo>
                  <a:pt x="1623" y="158"/>
                </a:lnTo>
                <a:lnTo>
                  <a:pt x="1621" y="160"/>
                </a:lnTo>
                <a:lnTo>
                  <a:pt x="1617" y="161"/>
                </a:lnTo>
                <a:lnTo>
                  <a:pt x="1616" y="164"/>
                </a:lnTo>
                <a:lnTo>
                  <a:pt x="1614" y="165"/>
                </a:lnTo>
                <a:lnTo>
                  <a:pt x="1614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3" y="165"/>
                </a:lnTo>
                <a:lnTo>
                  <a:pt x="1614" y="164"/>
                </a:lnTo>
                <a:lnTo>
                  <a:pt x="1615" y="162"/>
                </a:lnTo>
                <a:lnTo>
                  <a:pt x="1617" y="161"/>
                </a:lnTo>
                <a:lnTo>
                  <a:pt x="1620" y="159"/>
                </a:lnTo>
                <a:lnTo>
                  <a:pt x="1623" y="157"/>
                </a:lnTo>
                <a:lnTo>
                  <a:pt x="1624" y="154"/>
                </a:lnTo>
                <a:lnTo>
                  <a:pt x="1628" y="152"/>
                </a:lnTo>
                <a:lnTo>
                  <a:pt x="1633" y="148"/>
                </a:lnTo>
                <a:lnTo>
                  <a:pt x="1635" y="141"/>
                </a:lnTo>
                <a:lnTo>
                  <a:pt x="1636" y="141"/>
                </a:lnTo>
                <a:lnTo>
                  <a:pt x="1637" y="141"/>
                </a:lnTo>
                <a:lnTo>
                  <a:pt x="1643" y="140"/>
                </a:lnTo>
                <a:lnTo>
                  <a:pt x="1648" y="136"/>
                </a:lnTo>
                <a:lnTo>
                  <a:pt x="1651" y="136"/>
                </a:lnTo>
                <a:lnTo>
                  <a:pt x="1654" y="133"/>
                </a:lnTo>
                <a:lnTo>
                  <a:pt x="1656" y="132"/>
                </a:lnTo>
                <a:lnTo>
                  <a:pt x="1658" y="133"/>
                </a:lnTo>
                <a:lnTo>
                  <a:pt x="1659" y="136"/>
                </a:lnTo>
                <a:lnTo>
                  <a:pt x="1662" y="138"/>
                </a:lnTo>
                <a:lnTo>
                  <a:pt x="1670" y="137"/>
                </a:lnTo>
                <a:lnTo>
                  <a:pt x="1677" y="132"/>
                </a:lnTo>
                <a:lnTo>
                  <a:pt x="1691" y="132"/>
                </a:lnTo>
                <a:lnTo>
                  <a:pt x="1705" y="132"/>
                </a:lnTo>
                <a:lnTo>
                  <a:pt x="1711" y="133"/>
                </a:lnTo>
                <a:lnTo>
                  <a:pt x="1714" y="139"/>
                </a:lnTo>
                <a:lnTo>
                  <a:pt x="1716" y="136"/>
                </a:lnTo>
                <a:lnTo>
                  <a:pt x="1717" y="133"/>
                </a:lnTo>
                <a:lnTo>
                  <a:pt x="1721" y="138"/>
                </a:lnTo>
                <a:lnTo>
                  <a:pt x="1726" y="140"/>
                </a:lnTo>
                <a:lnTo>
                  <a:pt x="1737" y="140"/>
                </a:lnTo>
                <a:lnTo>
                  <a:pt x="1747" y="144"/>
                </a:lnTo>
                <a:lnTo>
                  <a:pt x="1741" y="145"/>
                </a:lnTo>
                <a:lnTo>
                  <a:pt x="1738" y="150"/>
                </a:lnTo>
                <a:lnTo>
                  <a:pt x="1744" y="148"/>
                </a:lnTo>
                <a:lnTo>
                  <a:pt x="1749" y="148"/>
                </a:lnTo>
                <a:lnTo>
                  <a:pt x="1751" y="147"/>
                </a:lnTo>
                <a:lnTo>
                  <a:pt x="1752" y="147"/>
                </a:lnTo>
                <a:lnTo>
                  <a:pt x="1752" y="147"/>
                </a:lnTo>
                <a:lnTo>
                  <a:pt x="1752" y="148"/>
                </a:lnTo>
                <a:lnTo>
                  <a:pt x="1751" y="148"/>
                </a:lnTo>
                <a:lnTo>
                  <a:pt x="1749" y="148"/>
                </a:lnTo>
                <a:lnTo>
                  <a:pt x="1752" y="153"/>
                </a:lnTo>
                <a:lnTo>
                  <a:pt x="1758" y="155"/>
                </a:lnTo>
                <a:lnTo>
                  <a:pt x="1760" y="157"/>
                </a:lnTo>
                <a:lnTo>
                  <a:pt x="1761" y="159"/>
                </a:lnTo>
                <a:lnTo>
                  <a:pt x="1761" y="162"/>
                </a:lnTo>
                <a:lnTo>
                  <a:pt x="1765" y="165"/>
                </a:lnTo>
                <a:lnTo>
                  <a:pt x="1766" y="165"/>
                </a:lnTo>
                <a:lnTo>
                  <a:pt x="1766" y="167"/>
                </a:lnTo>
                <a:lnTo>
                  <a:pt x="1765" y="168"/>
                </a:lnTo>
                <a:lnTo>
                  <a:pt x="1762" y="167"/>
                </a:lnTo>
                <a:lnTo>
                  <a:pt x="1756" y="165"/>
                </a:lnTo>
                <a:lnTo>
                  <a:pt x="1751" y="164"/>
                </a:lnTo>
                <a:lnTo>
                  <a:pt x="1751" y="164"/>
                </a:lnTo>
                <a:lnTo>
                  <a:pt x="1751" y="164"/>
                </a:lnTo>
                <a:close/>
                <a:moveTo>
                  <a:pt x="1749" y="161"/>
                </a:moveTo>
                <a:lnTo>
                  <a:pt x="1749" y="162"/>
                </a:lnTo>
                <a:lnTo>
                  <a:pt x="1751" y="164"/>
                </a:lnTo>
                <a:lnTo>
                  <a:pt x="1751" y="162"/>
                </a:lnTo>
                <a:lnTo>
                  <a:pt x="1749" y="161"/>
                </a:lnTo>
                <a:close/>
                <a:moveTo>
                  <a:pt x="1740" y="154"/>
                </a:moveTo>
                <a:lnTo>
                  <a:pt x="1738" y="153"/>
                </a:lnTo>
                <a:lnTo>
                  <a:pt x="1735" y="154"/>
                </a:lnTo>
                <a:lnTo>
                  <a:pt x="1734" y="157"/>
                </a:lnTo>
                <a:lnTo>
                  <a:pt x="1733" y="158"/>
                </a:lnTo>
                <a:lnTo>
                  <a:pt x="1738" y="161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7" y="166"/>
                </a:lnTo>
                <a:lnTo>
                  <a:pt x="1739" y="168"/>
                </a:lnTo>
                <a:lnTo>
                  <a:pt x="1744" y="167"/>
                </a:lnTo>
                <a:lnTo>
                  <a:pt x="1746" y="164"/>
                </a:lnTo>
                <a:lnTo>
                  <a:pt x="1749" y="161"/>
                </a:lnTo>
                <a:lnTo>
                  <a:pt x="1745" y="159"/>
                </a:lnTo>
                <a:lnTo>
                  <a:pt x="1740" y="154"/>
                </a:lnTo>
                <a:close/>
                <a:moveTo>
                  <a:pt x="1749" y="161"/>
                </a:move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lnTo>
                  <a:pt x="1749" y="161"/>
                </a:lnTo>
                <a:close/>
                <a:moveTo>
                  <a:pt x="1638" y="448"/>
                </a:moveTo>
                <a:lnTo>
                  <a:pt x="1640" y="448"/>
                </a:lnTo>
                <a:lnTo>
                  <a:pt x="1641" y="446"/>
                </a:lnTo>
                <a:lnTo>
                  <a:pt x="1644" y="446"/>
                </a:lnTo>
                <a:lnTo>
                  <a:pt x="1657" y="439"/>
                </a:lnTo>
                <a:lnTo>
                  <a:pt x="1672" y="432"/>
                </a:lnTo>
                <a:lnTo>
                  <a:pt x="1680" y="430"/>
                </a:lnTo>
                <a:lnTo>
                  <a:pt x="1689" y="425"/>
                </a:lnTo>
                <a:lnTo>
                  <a:pt x="1704" y="417"/>
                </a:lnTo>
                <a:lnTo>
                  <a:pt x="1720" y="409"/>
                </a:lnTo>
                <a:lnTo>
                  <a:pt x="1725" y="406"/>
                </a:lnTo>
                <a:lnTo>
                  <a:pt x="1728" y="403"/>
                </a:lnTo>
                <a:lnTo>
                  <a:pt x="1731" y="401"/>
                </a:lnTo>
                <a:lnTo>
                  <a:pt x="1734" y="402"/>
                </a:lnTo>
                <a:lnTo>
                  <a:pt x="1735" y="402"/>
                </a:lnTo>
                <a:lnTo>
                  <a:pt x="1737" y="402"/>
                </a:lnTo>
                <a:lnTo>
                  <a:pt x="1738" y="396"/>
                </a:lnTo>
                <a:lnTo>
                  <a:pt x="1742" y="394"/>
                </a:lnTo>
                <a:lnTo>
                  <a:pt x="1747" y="392"/>
                </a:lnTo>
                <a:lnTo>
                  <a:pt x="1751" y="389"/>
                </a:lnTo>
                <a:lnTo>
                  <a:pt x="1747" y="392"/>
                </a:lnTo>
                <a:lnTo>
                  <a:pt x="1742" y="394"/>
                </a:lnTo>
                <a:lnTo>
                  <a:pt x="1747" y="396"/>
                </a:lnTo>
                <a:lnTo>
                  <a:pt x="1752" y="397"/>
                </a:lnTo>
                <a:lnTo>
                  <a:pt x="1734" y="408"/>
                </a:lnTo>
                <a:lnTo>
                  <a:pt x="1718" y="419"/>
                </a:lnTo>
                <a:lnTo>
                  <a:pt x="1721" y="419"/>
                </a:lnTo>
                <a:lnTo>
                  <a:pt x="1724" y="420"/>
                </a:lnTo>
                <a:lnTo>
                  <a:pt x="1723" y="422"/>
                </a:lnTo>
                <a:lnTo>
                  <a:pt x="1720" y="423"/>
                </a:lnTo>
                <a:lnTo>
                  <a:pt x="1716" y="429"/>
                </a:lnTo>
                <a:lnTo>
                  <a:pt x="1711" y="433"/>
                </a:lnTo>
                <a:lnTo>
                  <a:pt x="1696" y="439"/>
                </a:lnTo>
                <a:lnTo>
                  <a:pt x="1679" y="444"/>
                </a:lnTo>
                <a:lnTo>
                  <a:pt x="1677" y="445"/>
                </a:lnTo>
                <a:lnTo>
                  <a:pt x="1673" y="446"/>
                </a:lnTo>
                <a:lnTo>
                  <a:pt x="1670" y="447"/>
                </a:lnTo>
                <a:lnTo>
                  <a:pt x="1668" y="446"/>
                </a:lnTo>
                <a:lnTo>
                  <a:pt x="1662" y="444"/>
                </a:lnTo>
                <a:lnTo>
                  <a:pt x="1656" y="445"/>
                </a:lnTo>
                <a:lnTo>
                  <a:pt x="1644" y="448"/>
                </a:lnTo>
                <a:lnTo>
                  <a:pt x="1633" y="452"/>
                </a:lnTo>
                <a:lnTo>
                  <a:pt x="1634" y="450"/>
                </a:lnTo>
                <a:lnTo>
                  <a:pt x="1634" y="448"/>
                </a:lnTo>
                <a:lnTo>
                  <a:pt x="1636" y="448"/>
                </a:lnTo>
                <a:lnTo>
                  <a:pt x="1638" y="448"/>
                </a:lnTo>
                <a:close/>
                <a:moveTo>
                  <a:pt x="22" y="1222"/>
                </a:moveTo>
                <a:lnTo>
                  <a:pt x="22" y="1217"/>
                </a:lnTo>
                <a:lnTo>
                  <a:pt x="22" y="1214"/>
                </a:lnTo>
                <a:lnTo>
                  <a:pt x="20" y="1217"/>
                </a:lnTo>
                <a:lnTo>
                  <a:pt x="22" y="1222"/>
                </a:lnTo>
                <a:close/>
                <a:moveTo>
                  <a:pt x="23" y="1202"/>
                </a:moveTo>
                <a:lnTo>
                  <a:pt x="20" y="1205"/>
                </a:lnTo>
                <a:lnTo>
                  <a:pt x="18" y="1209"/>
                </a:lnTo>
                <a:lnTo>
                  <a:pt x="21" y="1210"/>
                </a:lnTo>
                <a:lnTo>
                  <a:pt x="22" y="1214"/>
                </a:lnTo>
                <a:lnTo>
                  <a:pt x="23" y="1212"/>
                </a:lnTo>
                <a:lnTo>
                  <a:pt x="23" y="1209"/>
                </a:lnTo>
                <a:lnTo>
                  <a:pt x="25" y="1205"/>
                </a:lnTo>
                <a:lnTo>
                  <a:pt x="23" y="1202"/>
                </a:lnTo>
                <a:close/>
                <a:moveTo>
                  <a:pt x="123" y="880"/>
                </a:moveTo>
                <a:lnTo>
                  <a:pt x="124" y="881"/>
                </a:lnTo>
                <a:lnTo>
                  <a:pt x="125" y="881"/>
                </a:lnTo>
                <a:lnTo>
                  <a:pt x="126" y="881"/>
                </a:lnTo>
                <a:lnTo>
                  <a:pt x="128" y="880"/>
                </a:lnTo>
                <a:lnTo>
                  <a:pt x="126" y="878"/>
                </a:lnTo>
                <a:lnTo>
                  <a:pt x="124" y="878"/>
                </a:lnTo>
                <a:lnTo>
                  <a:pt x="123" y="879"/>
                </a:lnTo>
                <a:lnTo>
                  <a:pt x="123" y="880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1" y="1433"/>
                </a:lnTo>
                <a:lnTo>
                  <a:pt x="671" y="1437"/>
                </a:lnTo>
                <a:lnTo>
                  <a:pt x="670" y="1438"/>
                </a:lnTo>
                <a:lnTo>
                  <a:pt x="668" y="1438"/>
                </a:lnTo>
                <a:lnTo>
                  <a:pt x="667" y="1436"/>
                </a:lnTo>
                <a:lnTo>
                  <a:pt x="667" y="1433"/>
                </a:lnTo>
                <a:lnTo>
                  <a:pt x="668" y="1429"/>
                </a:lnTo>
                <a:lnTo>
                  <a:pt x="672" y="1429"/>
                </a:lnTo>
                <a:lnTo>
                  <a:pt x="672" y="1429"/>
                </a:lnTo>
                <a:lnTo>
                  <a:pt x="672" y="1429"/>
                </a:lnTo>
                <a:close/>
                <a:moveTo>
                  <a:pt x="672" y="1429"/>
                </a:moveTo>
                <a:lnTo>
                  <a:pt x="672" y="1429"/>
                </a:lnTo>
                <a:lnTo>
                  <a:pt x="672" y="1429"/>
                </a:lnTo>
                <a:lnTo>
                  <a:pt x="681" y="1424"/>
                </a:lnTo>
                <a:lnTo>
                  <a:pt x="689" y="1424"/>
                </a:lnTo>
                <a:lnTo>
                  <a:pt x="694" y="1425"/>
                </a:lnTo>
                <a:lnTo>
                  <a:pt x="694" y="1429"/>
                </a:lnTo>
                <a:lnTo>
                  <a:pt x="683" y="1429"/>
                </a:lnTo>
                <a:lnTo>
                  <a:pt x="672" y="1429"/>
                </a:lnTo>
                <a:close/>
                <a:moveTo>
                  <a:pt x="843" y="1142"/>
                </a:moveTo>
                <a:lnTo>
                  <a:pt x="843" y="1142"/>
                </a:lnTo>
                <a:lnTo>
                  <a:pt x="842" y="1143"/>
                </a:lnTo>
                <a:lnTo>
                  <a:pt x="842" y="1143"/>
                </a:lnTo>
                <a:lnTo>
                  <a:pt x="842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3" y="1142"/>
                </a:lnTo>
                <a:lnTo>
                  <a:pt x="848" y="1139"/>
                </a:lnTo>
                <a:lnTo>
                  <a:pt x="850" y="1133"/>
                </a:lnTo>
                <a:lnTo>
                  <a:pt x="856" y="1129"/>
                </a:lnTo>
                <a:lnTo>
                  <a:pt x="858" y="1123"/>
                </a:lnTo>
                <a:lnTo>
                  <a:pt x="858" y="1122"/>
                </a:lnTo>
                <a:lnTo>
                  <a:pt x="860" y="1121"/>
                </a:lnTo>
                <a:lnTo>
                  <a:pt x="862" y="1121"/>
                </a:lnTo>
                <a:lnTo>
                  <a:pt x="862" y="1118"/>
                </a:lnTo>
                <a:lnTo>
                  <a:pt x="861" y="1119"/>
                </a:lnTo>
                <a:lnTo>
                  <a:pt x="860" y="1121"/>
                </a:lnTo>
                <a:lnTo>
                  <a:pt x="858" y="1122"/>
                </a:lnTo>
                <a:lnTo>
                  <a:pt x="858" y="1123"/>
                </a:lnTo>
                <a:lnTo>
                  <a:pt x="857" y="1123"/>
                </a:lnTo>
                <a:lnTo>
                  <a:pt x="856" y="1123"/>
                </a:lnTo>
                <a:lnTo>
                  <a:pt x="854" y="1124"/>
                </a:lnTo>
                <a:lnTo>
                  <a:pt x="853" y="1128"/>
                </a:lnTo>
                <a:lnTo>
                  <a:pt x="850" y="1131"/>
                </a:lnTo>
                <a:lnTo>
                  <a:pt x="850" y="1131"/>
                </a:lnTo>
                <a:lnTo>
                  <a:pt x="850" y="1132"/>
                </a:lnTo>
                <a:lnTo>
                  <a:pt x="850" y="1133"/>
                </a:lnTo>
                <a:lnTo>
                  <a:pt x="848" y="1135"/>
                </a:lnTo>
                <a:lnTo>
                  <a:pt x="846" y="1136"/>
                </a:lnTo>
                <a:lnTo>
                  <a:pt x="846" y="1135"/>
                </a:lnTo>
                <a:lnTo>
                  <a:pt x="846" y="1132"/>
                </a:lnTo>
                <a:lnTo>
                  <a:pt x="846" y="1135"/>
                </a:lnTo>
                <a:lnTo>
                  <a:pt x="846" y="1136"/>
                </a:lnTo>
                <a:lnTo>
                  <a:pt x="846" y="1136"/>
                </a:lnTo>
                <a:lnTo>
                  <a:pt x="846" y="1137"/>
                </a:lnTo>
                <a:lnTo>
                  <a:pt x="844" y="1138"/>
                </a:lnTo>
                <a:lnTo>
                  <a:pt x="844" y="1138"/>
                </a:lnTo>
                <a:lnTo>
                  <a:pt x="843" y="1140"/>
                </a:lnTo>
                <a:lnTo>
                  <a:pt x="843" y="1142"/>
                </a:lnTo>
                <a:close/>
                <a:moveTo>
                  <a:pt x="774" y="851"/>
                </a:moveTo>
                <a:lnTo>
                  <a:pt x="767" y="846"/>
                </a:lnTo>
                <a:lnTo>
                  <a:pt x="765" y="838"/>
                </a:lnTo>
                <a:lnTo>
                  <a:pt x="771" y="844"/>
                </a:lnTo>
                <a:lnTo>
                  <a:pt x="774" y="851"/>
                </a:lnTo>
                <a:lnTo>
                  <a:pt x="774" y="857"/>
                </a:lnTo>
                <a:lnTo>
                  <a:pt x="778" y="859"/>
                </a:lnTo>
                <a:lnTo>
                  <a:pt x="781" y="866"/>
                </a:lnTo>
                <a:lnTo>
                  <a:pt x="787" y="871"/>
                </a:lnTo>
                <a:lnTo>
                  <a:pt x="787" y="871"/>
                </a:lnTo>
                <a:lnTo>
                  <a:pt x="786" y="867"/>
                </a:lnTo>
                <a:lnTo>
                  <a:pt x="786" y="864"/>
                </a:lnTo>
                <a:lnTo>
                  <a:pt x="786" y="863"/>
                </a:lnTo>
                <a:lnTo>
                  <a:pt x="786" y="861"/>
                </a:lnTo>
                <a:lnTo>
                  <a:pt x="784" y="861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2" y="859"/>
                </a:lnTo>
                <a:lnTo>
                  <a:pt x="780" y="859"/>
                </a:lnTo>
                <a:lnTo>
                  <a:pt x="778" y="859"/>
                </a:lnTo>
                <a:lnTo>
                  <a:pt x="778" y="856"/>
                </a:lnTo>
                <a:lnTo>
                  <a:pt x="778" y="851"/>
                </a:lnTo>
                <a:lnTo>
                  <a:pt x="778" y="851"/>
                </a:lnTo>
                <a:lnTo>
                  <a:pt x="775" y="851"/>
                </a:lnTo>
                <a:lnTo>
                  <a:pt x="774" y="851"/>
                </a:lnTo>
                <a:close/>
                <a:moveTo>
                  <a:pt x="774" y="865"/>
                </a:moveTo>
                <a:lnTo>
                  <a:pt x="774" y="865"/>
                </a:lnTo>
                <a:lnTo>
                  <a:pt x="771" y="864"/>
                </a:lnTo>
                <a:lnTo>
                  <a:pt x="770" y="861"/>
                </a:lnTo>
                <a:lnTo>
                  <a:pt x="773" y="861"/>
                </a:lnTo>
                <a:lnTo>
                  <a:pt x="774" y="865"/>
                </a:lnTo>
                <a:lnTo>
                  <a:pt x="774" y="865"/>
                </a:lnTo>
                <a:lnTo>
                  <a:pt x="774" y="865"/>
                </a:lnTo>
                <a:close/>
                <a:moveTo>
                  <a:pt x="672" y="726"/>
                </a:move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lnTo>
                  <a:pt x="672" y="726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6" y="919"/>
                </a:lnTo>
                <a:lnTo>
                  <a:pt x="385" y="915"/>
                </a:lnTo>
                <a:lnTo>
                  <a:pt x="387" y="917"/>
                </a:ln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close/>
                <a:moveTo>
                  <a:pt x="389" y="920"/>
                </a:moveTo>
                <a:lnTo>
                  <a:pt x="389" y="920"/>
                </a:lnTo>
                <a:lnTo>
                  <a:pt x="389" y="920"/>
                </a:lnTo>
                <a:lnTo>
                  <a:pt x="389" y="920"/>
                </a:lnTo>
                <a:lnTo>
                  <a:pt x="394" y="922"/>
                </a:lnTo>
                <a:lnTo>
                  <a:pt x="398" y="924"/>
                </a:lnTo>
                <a:lnTo>
                  <a:pt x="398" y="927"/>
                </a:lnTo>
                <a:lnTo>
                  <a:pt x="398" y="928"/>
                </a:lnTo>
                <a:lnTo>
                  <a:pt x="397" y="928"/>
                </a:lnTo>
                <a:lnTo>
                  <a:pt x="395" y="928"/>
                </a:lnTo>
                <a:lnTo>
                  <a:pt x="394" y="927"/>
                </a:lnTo>
                <a:lnTo>
                  <a:pt x="394" y="927"/>
                </a:lnTo>
                <a:lnTo>
                  <a:pt x="392" y="927"/>
                </a:lnTo>
                <a:lnTo>
                  <a:pt x="391" y="927"/>
                </a:lnTo>
                <a:lnTo>
                  <a:pt x="392" y="927"/>
                </a:lnTo>
                <a:lnTo>
                  <a:pt x="394" y="927"/>
                </a:lnTo>
                <a:lnTo>
                  <a:pt x="392" y="924"/>
                </a:lnTo>
                <a:lnTo>
                  <a:pt x="389" y="924"/>
                </a:lnTo>
                <a:lnTo>
                  <a:pt x="389" y="920"/>
                </a:lnTo>
                <a:close/>
                <a:moveTo>
                  <a:pt x="1242" y="692"/>
                </a:move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3" y="692"/>
                </a:lnTo>
                <a:lnTo>
                  <a:pt x="1244" y="696"/>
                </a:lnTo>
                <a:lnTo>
                  <a:pt x="1248" y="697"/>
                </a:lnTo>
                <a:lnTo>
                  <a:pt x="1248" y="699"/>
                </a:lnTo>
                <a:lnTo>
                  <a:pt x="1245" y="700"/>
                </a:lnTo>
                <a:lnTo>
                  <a:pt x="1244" y="700"/>
                </a:lnTo>
                <a:lnTo>
                  <a:pt x="1243" y="699"/>
                </a:lnTo>
                <a:lnTo>
                  <a:pt x="1241" y="703"/>
                </a:lnTo>
                <a:lnTo>
                  <a:pt x="1241" y="706"/>
                </a:lnTo>
                <a:lnTo>
                  <a:pt x="1242" y="711"/>
                </a:lnTo>
                <a:lnTo>
                  <a:pt x="1240" y="713"/>
                </a:lnTo>
                <a:lnTo>
                  <a:pt x="1229" y="723"/>
                </a:lnTo>
                <a:lnTo>
                  <a:pt x="1217" y="731"/>
                </a:lnTo>
                <a:lnTo>
                  <a:pt x="1206" y="740"/>
                </a:lnTo>
                <a:lnTo>
                  <a:pt x="1195" y="751"/>
                </a:lnTo>
                <a:lnTo>
                  <a:pt x="1186" y="758"/>
                </a:lnTo>
                <a:lnTo>
                  <a:pt x="1174" y="762"/>
                </a:lnTo>
                <a:lnTo>
                  <a:pt x="1172" y="763"/>
                </a:lnTo>
                <a:lnTo>
                  <a:pt x="1171" y="766"/>
                </a:lnTo>
                <a:lnTo>
                  <a:pt x="1172" y="768"/>
                </a:lnTo>
                <a:lnTo>
                  <a:pt x="1175" y="768"/>
                </a:lnTo>
                <a:lnTo>
                  <a:pt x="1179" y="768"/>
                </a:lnTo>
                <a:lnTo>
                  <a:pt x="1183" y="769"/>
                </a:lnTo>
                <a:lnTo>
                  <a:pt x="1179" y="772"/>
                </a:lnTo>
                <a:lnTo>
                  <a:pt x="1175" y="772"/>
                </a:lnTo>
                <a:lnTo>
                  <a:pt x="1173" y="772"/>
                </a:lnTo>
                <a:lnTo>
                  <a:pt x="1173" y="772"/>
                </a:lnTo>
                <a:lnTo>
                  <a:pt x="1173" y="776"/>
                </a:lnTo>
                <a:lnTo>
                  <a:pt x="1169" y="776"/>
                </a:lnTo>
                <a:lnTo>
                  <a:pt x="1168" y="777"/>
                </a:lnTo>
                <a:lnTo>
                  <a:pt x="1167" y="779"/>
                </a:lnTo>
                <a:lnTo>
                  <a:pt x="1168" y="781"/>
                </a:lnTo>
                <a:lnTo>
                  <a:pt x="1171" y="780"/>
                </a:lnTo>
                <a:lnTo>
                  <a:pt x="1175" y="780"/>
                </a:lnTo>
                <a:lnTo>
                  <a:pt x="1180" y="781"/>
                </a:lnTo>
                <a:lnTo>
                  <a:pt x="1182" y="781"/>
                </a:lnTo>
                <a:lnTo>
                  <a:pt x="1183" y="782"/>
                </a:lnTo>
                <a:lnTo>
                  <a:pt x="1183" y="784"/>
                </a:lnTo>
                <a:lnTo>
                  <a:pt x="1181" y="784"/>
                </a:lnTo>
                <a:lnTo>
                  <a:pt x="1179" y="786"/>
                </a:lnTo>
                <a:lnTo>
                  <a:pt x="1178" y="783"/>
                </a:lnTo>
                <a:lnTo>
                  <a:pt x="1176" y="781"/>
                </a:lnTo>
                <a:lnTo>
                  <a:pt x="1175" y="782"/>
                </a:lnTo>
                <a:lnTo>
                  <a:pt x="1171" y="786"/>
                </a:lnTo>
                <a:lnTo>
                  <a:pt x="1166" y="784"/>
                </a:lnTo>
                <a:lnTo>
                  <a:pt x="1162" y="784"/>
                </a:lnTo>
                <a:lnTo>
                  <a:pt x="1160" y="787"/>
                </a:lnTo>
                <a:lnTo>
                  <a:pt x="1166" y="788"/>
                </a:lnTo>
                <a:lnTo>
                  <a:pt x="1171" y="788"/>
                </a:lnTo>
                <a:lnTo>
                  <a:pt x="1175" y="789"/>
                </a:lnTo>
                <a:lnTo>
                  <a:pt x="1181" y="788"/>
                </a:lnTo>
                <a:lnTo>
                  <a:pt x="1186" y="788"/>
                </a:lnTo>
                <a:lnTo>
                  <a:pt x="1189" y="793"/>
                </a:lnTo>
                <a:lnTo>
                  <a:pt x="1183" y="791"/>
                </a:lnTo>
                <a:lnTo>
                  <a:pt x="1179" y="793"/>
                </a:lnTo>
                <a:lnTo>
                  <a:pt x="1173" y="795"/>
                </a:lnTo>
                <a:lnTo>
                  <a:pt x="1169" y="801"/>
                </a:lnTo>
                <a:lnTo>
                  <a:pt x="1173" y="804"/>
                </a:lnTo>
                <a:lnTo>
                  <a:pt x="1172" y="809"/>
                </a:lnTo>
                <a:lnTo>
                  <a:pt x="1173" y="808"/>
                </a:lnTo>
                <a:lnTo>
                  <a:pt x="1175" y="807"/>
                </a:lnTo>
                <a:lnTo>
                  <a:pt x="1175" y="803"/>
                </a:lnTo>
                <a:lnTo>
                  <a:pt x="1175" y="798"/>
                </a:lnTo>
                <a:lnTo>
                  <a:pt x="1175" y="797"/>
                </a:lnTo>
                <a:lnTo>
                  <a:pt x="1178" y="796"/>
                </a:lnTo>
                <a:lnTo>
                  <a:pt x="1179" y="796"/>
                </a:lnTo>
                <a:lnTo>
                  <a:pt x="1179" y="797"/>
                </a:lnTo>
                <a:lnTo>
                  <a:pt x="1180" y="801"/>
                </a:lnTo>
                <a:lnTo>
                  <a:pt x="1182" y="801"/>
                </a:lnTo>
                <a:lnTo>
                  <a:pt x="1195" y="802"/>
                </a:lnTo>
                <a:lnTo>
                  <a:pt x="1207" y="801"/>
                </a:lnTo>
                <a:lnTo>
                  <a:pt x="1213" y="800"/>
                </a:lnTo>
                <a:lnTo>
                  <a:pt x="1219" y="795"/>
                </a:lnTo>
                <a:lnTo>
                  <a:pt x="1219" y="796"/>
                </a:lnTo>
                <a:lnTo>
                  <a:pt x="1220" y="798"/>
                </a:lnTo>
                <a:lnTo>
                  <a:pt x="1219" y="801"/>
                </a:lnTo>
                <a:lnTo>
                  <a:pt x="1220" y="802"/>
                </a:lnTo>
                <a:lnTo>
                  <a:pt x="1222" y="802"/>
                </a:lnTo>
                <a:lnTo>
                  <a:pt x="1226" y="800"/>
                </a:lnTo>
                <a:lnTo>
                  <a:pt x="1226" y="798"/>
                </a:lnTo>
                <a:lnTo>
                  <a:pt x="1227" y="797"/>
                </a:lnTo>
                <a:lnTo>
                  <a:pt x="1237" y="787"/>
                </a:lnTo>
                <a:lnTo>
                  <a:pt x="1251" y="779"/>
                </a:lnTo>
                <a:lnTo>
                  <a:pt x="1257" y="775"/>
                </a:lnTo>
                <a:lnTo>
                  <a:pt x="1260" y="768"/>
                </a:lnTo>
                <a:lnTo>
                  <a:pt x="1260" y="768"/>
                </a:lnTo>
                <a:lnTo>
                  <a:pt x="1264" y="762"/>
                </a:lnTo>
                <a:lnTo>
                  <a:pt x="1264" y="755"/>
                </a:lnTo>
                <a:lnTo>
                  <a:pt x="1262" y="762"/>
                </a:lnTo>
                <a:lnTo>
                  <a:pt x="1260" y="768"/>
                </a:lnTo>
                <a:lnTo>
                  <a:pt x="1257" y="769"/>
                </a:lnTo>
                <a:lnTo>
                  <a:pt x="1256" y="769"/>
                </a:lnTo>
                <a:lnTo>
                  <a:pt x="1255" y="767"/>
                </a:lnTo>
                <a:lnTo>
                  <a:pt x="1256" y="765"/>
                </a:lnTo>
                <a:lnTo>
                  <a:pt x="1258" y="758"/>
                </a:lnTo>
                <a:lnTo>
                  <a:pt x="1260" y="749"/>
                </a:lnTo>
                <a:lnTo>
                  <a:pt x="1260" y="748"/>
                </a:lnTo>
                <a:lnTo>
                  <a:pt x="1257" y="748"/>
                </a:lnTo>
                <a:lnTo>
                  <a:pt x="1254" y="746"/>
                </a:lnTo>
                <a:lnTo>
                  <a:pt x="1255" y="742"/>
                </a:lnTo>
                <a:lnTo>
                  <a:pt x="1258" y="739"/>
                </a:lnTo>
                <a:lnTo>
                  <a:pt x="1260" y="735"/>
                </a:lnTo>
                <a:lnTo>
                  <a:pt x="1251" y="739"/>
                </a:lnTo>
                <a:lnTo>
                  <a:pt x="1243" y="744"/>
                </a:lnTo>
                <a:lnTo>
                  <a:pt x="1248" y="738"/>
                </a:lnTo>
                <a:lnTo>
                  <a:pt x="1249" y="731"/>
                </a:lnTo>
                <a:lnTo>
                  <a:pt x="1244" y="733"/>
                </a:lnTo>
                <a:lnTo>
                  <a:pt x="1240" y="734"/>
                </a:lnTo>
                <a:lnTo>
                  <a:pt x="1240" y="737"/>
                </a:lnTo>
                <a:lnTo>
                  <a:pt x="1238" y="737"/>
                </a:lnTo>
                <a:lnTo>
                  <a:pt x="1237" y="737"/>
                </a:lnTo>
                <a:lnTo>
                  <a:pt x="1237" y="737"/>
                </a:lnTo>
                <a:lnTo>
                  <a:pt x="1238" y="735"/>
                </a:lnTo>
                <a:lnTo>
                  <a:pt x="1240" y="734"/>
                </a:lnTo>
                <a:lnTo>
                  <a:pt x="1249" y="724"/>
                </a:lnTo>
                <a:lnTo>
                  <a:pt x="1258" y="713"/>
                </a:lnTo>
                <a:lnTo>
                  <a:pt x="1268" y="700"/>
                </a:lnTo>
                <a:lnTo>
                  <a:pt x="1279" y="688"/>
                </a:lnTo>
                <a:lnTo>
                  <a:pt x="1281" y="684"/>
                </a:lnTo>
                <a:lnTo>
                  <a:pt x="1284" y="683"/>
                </a:lnTo>
                <a:lnTo>
                  <a:pt x="1288" y="685"/>
                </a:lnTo>
                <a:lnTo>
                  <a:pt x="1290" y="691"/>
                </a:lnTo>
                <a:lnTo>
                  <a:pt x="1295" y="688"/>
                </a:lnTo>
                <a:lnTo>
                  <a:pt x="1299" y="689"/>
                </a:lnTo>
                <a:lnTo>
                  <a:pt x="1302" y="693"/>
                </a:lnTo>
                <a:lnTo>
                  <a:pt x="1302" y="699"/>
                </a:lnTo>
                <a:lnTo>
                  <a:pt x="1298" y="703"/>
                </a:lnTo>
                <a:lnTo>
                  <a:pt x="1299" y="706"/>
                </a:lnTo>
                <a:lnTo>
                  <a:pt x="1303" y="705"/>
                </a:lnTo>
                <a:lnTo>
                  <a:pt x="1305" y="703"/>
                </a:lnTo>
                <a:lnTo>
                  <a:pt x="1306" y="702"/>
                </a:lnTo>
                <a:lnTo>
                  <a:pt x="1307" y="703"/>
                </a:lnTo>
                <a:lnTo>
                  <a:pt x="1306" y="707"/>
                </a:lnTo>
                <a:lnTo>
                  <a:pt x="1305" y="712"/>
                </a:lnTo>
                <a:lnTo>
                  <a:pt x="1310" y="704"/>
                </a:lnTo>
                <a:lnTo>
                  <a:pt x="1318" y="699"/>
                </a:lnTo>
                <a:lnTo>
                  <a:pt x="1318" y="699"/>
                </a:lnTo>
                <a:lnTo>
                  <a:pt x="1319" y="698"/>
                </a:lnTo>
                <a:lnTo>
                  <a:pt x="1321" y="697"/>
                </a:lnTo>
                <a:lnTo>
                  <a:pt x="1324" y="697"/>
                </a:lnTo>
                <a:lnTo>
                  <a:pt x="1323" y="703"/>
                </a:lnTo>
                <a:lnTo>
                  <a:pt x="1325" y="706"/>
                </a:lnTo>
                <a:lnTo>
                  <a:pt x="1331" y="709"/>
                </a:lnTo>
                <a:lnTo>
                  <a:pt x="1337" y="705"/>
                </a:lnTo>
                <a:lnTo>
                  <a:pt x="1338" y="704"/>
                </a:lnTo>
                <a:lnTo>
                  <a:pt x="1339" y="704"/>
                </a:lnTo>
                <a:lnTo>
                  <a:pt x="1339" y="705"/>
                </a:lnTo>
                <a:lnTo>
                  <a:pt x="1339" y="706"/>
                </a:lnTo>
                <a:lnTo>
                  <a:pt x="1338" y="707"/>
                </a:lnTo>
                <a:lnTo>
                  <a:pt x="1340" y="710"/>
                </a:lnTo>
                <a:lnTo>
                  <a:pt x="1343" y="710"/>
                </a:lnTo>
                <a:lnTo>
                  <a:pt x="1344" y="707"/>
                </a:lnTo>
                <a:lnTo>
                  <a:pt x="1346" y="704"/>
                </a:lnTo>
                <a:lnTo>
                  <a:pt x="1350" y="700"/>
                </a:lnTo>
                <a:lnTo>
                  <a:pt x="1348" y="709"/>
                </a:lnTo>
                <a:lnTo>
                  <a:pt x="1347" y="717"/>
                </a:lnTo>
                <a:lnTo>
                  <a:pt x="1350" y="714"/>
                </a:lnTo>
                <a:lnTo>
                  <a:pt x="1351" y="711"/>
                </a:lnTo>
                <a:lnTo>
                  <a:pt x="1352" y="709"/>
                </a:lnTo>
                <a:lnTo>
                  <a:pt x="1355" y="709"/>
                </a:lnTo>
                <a:lnTo>
                  <a:pt x="1362" y="710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9"/>
                </a:lnTo>
                <a:lnTo>
                  <a:pt x="1368" y="713"/>
                </a:lnTo>
                <a:lnTo>
                  <a:pt x="1373" y="711"/>
                </a:lnTo>
                <a:lnTo>
                  <a:pt x="1378" y="711"/>
                </a:lnTo>
                <a:lnTo>
                  <a:pt x="1382" y="709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2"/>
                </a:lnTo>
                <a:lnTo>
                  <a:pt x="1386" y="713"/>
                </a:lnTo>
                <a:lnTo>
                  <a:pt x="1386" y="712"/>
                </a:lnTo>
                <a:lnTo>
                  <a:pt x="1386" y="712"/>
                </a:lnTo>
                <a:lnTo>
                  <a:pt x="1389" y="712"/>
                </a:lnTo>
                <a:lnTo>
                  <a:pt x="1393" y="713"/>
                </a:lnTo>
                <a:lnTo>
                  <a:pt x="1397" y="716"/>
                </a:lnTo>
                <a:lnTo>
                  <a:pt x="1402" y="714"/>
                </a:lnTo>
                <a:lnTo>
                  <a:pt x="1406" y="714"/>
                </a:lnTo>
                <a:lnTo>
                  <a:pt x="1408" y="717"/>
                </a:lnTo>
                <a:lnTo>
                  <a:pt x="1412" y="719"/>
                </a:lnTo>
                <a:lnTo>
                  <a:pt x="1415" y="717"/>
                </a:lnTo>
                <a:lnTo>
                  <a:pt x="1420" y="714"/>
                </a:lnTo>
                <a:lnTo>
                  <a:pt x="1424" y="716"/>
                </a:lnTo>
                <a:lnTo>
                  <a:pt x="1427" y="717"/>
                </a:lnTo>
                <a:lnTo>
                  <a:pt x="1428" y="718"/>
                </a:lnTo>
                <a:lnTo>
                  <a:pt x="1435" y="718"/>
                </a:lnTo>
                <a:lnTo>
                  <a:pt x="1442" y="718"/>
                </a:lnTo>
                <a:lnTo>
                  <a:pt x="1445" y="719"/>
                </a:lnTo>
                <a:lnTo>
                  <a:pt x="1450" y="717"/>
                </a:lnTo>
                <a:lnTo>
                  <a:pt x="1454" y="719"/>
                </a:lnTo>
                <a:lnTo>
                  <a:pt x="1458" y="718"/>
                </a:lnTo>
                <a:lnTo>
                  <a:pt x="1459" y="724"/>
                </a:lnTo>
                <a:lnTo>
                  <a:pt x="1462" y="728"/>
                </a:lnTo>
                <a:lnTo>
                  <a:pt x="1463" y="737"/>
                </a:lnTo>
                <a:lnTo>
                  <a:pt x="1462" y="746"/>
                </a:lnTo>
                <a:lnTo>
                  <a:pt x="1462" y="748"/>
                </a:lnTo>
                <a:lnTo>
                  <a:pt x="1463" y="749"/>
                </a:lnTo>
                <a:lnTo>
                  <a:pt x="1468" y="754"/>
                </a:lnTo>
                <a:lnTo>
                  <a:pt x="1466" y="759"/>
                </a:lnTo>
                <a:lnTo>
                  <a:pt x="1470" y="756"/>
                </a:lnTo>
                <a:lnTo>
                  <a:pt x="1471" y="753"/>
                </a:lnTo>
                <a:lnTo>
                  <a:pt x="1472" y="749"/>
                </a:lnTo>
                <a:lnTo>
                  <a:pt x="1475" y="746"/>
                </a:lnTo>
                <a:lnTo>
                  <a:pt x="1482" y="747"/>
                </a:lnTo>
                <a:lnTo>
                  <a:pt x="1488" y="749"/>
                </a:lnTo>
                <a:lnTo>
                  <a:pt x="1491" y="755"/>
                </a:lnTo>
                <a:lnTo>
                  <a:pt x="1489" y="761"/>
                </a:lnTo>
                <a:lnTo>
                  <a:pt x="1486" y="765"/>
                </a:lnTo>
                <a:lnTo>
                  <a:pt x="1485" y="769"/>
                </a:lnTo>
                <a:lnTo>
                  <a:pt x="1482" y="779"/>
                </a:lnTo>
                <a:lnTo>
                  <a:pt x="1478" y="782"/>
                </a:lnTo>
                <a:lnTo>
                  <a:pt x="1481" y="775"/>
                </a:lnTo>
                <a:lnTo>
                  <a:pt x="1479" y="767"/>
                </a:lnTo>
                <a:lnTo>
                  <a:pt x="1479" y="769"/>
                </a:lnTo>
                <a:lnTo>
                  <a:pt x="1478" y="772"/>
                </a:lnTo>
                <a:lnTo>
                  <a:pt x="1475" y="768"/>
                </a:lnTo>
                <a:lnTo>
                  <a:pt x="1471" y="768"/>
                </a:lnTo>
                <a:lnTo>
                  <a:pt x="1470" y="772"/>
                </a:lnTo>
                <a:lnTo>
                  <a:pt x="1469" y="775"/>
                </a:lnTo>
                <a:lnTo>
                  <a:pt x="1463" y="773"/>
                </a:lnTo>
                <a:lnTo>
                  <a:pt x="1457" y="775"/>
                </a:lnTo>
                <a:lnTo>
                  <a:pt x="1455" y="776"/>
                </a:lnTo>
                <a:lnTo>
                  <a:pt x="1454" y="777"/>
                </a:lnTo>
                <a:lnTo>
                  <a:pt x="1455" y="780"/>
                </a:lnTo>
                <a:lnTo>
                  <a:pt x="1456" y="781"/>
                </a:lnTo>
                <a:lnTo>
                  <a:pt x="1462" y="784"/>
                </a:lnTo>
                <a:lnTo>
                  <a:pt x="1463" y="790"/>
                </a:lnTo>
                <a:lnTo>
                  <a:pt x="1463" y="791"/>
                </a:lnTo>
                <a:lnTo>
                  <a:pt x="1464" y="791"/>
                </a:lnTo>
                <a:lnTo>
                  <a:pt x="1466" y="794"/>
                </a:lnTo>
                <a:lnTo>
                  <a:pt x="1465" y="795"/>
                </a:lnTo>
                <a:lnTo>
                  <a:pt x="1463" y="796"/>
                </a:lnTo>
                <a:lnTo>
                  <a:pt x="1462" y="795"/>
                </a:lnTo>
                <a:lnTo>
                  <a:pt x="1458" y="793"/>
                </a:lnTo>
                <a:lnTo>
                  <a:pt x="1455" y="794"/>
                </a:lnTo>
                <a:lnTo>
                  <a:pt x="1451" y="797"/>
                </a:lnTo>
                <a:lnTo>
                  <a:pt x="1450" y="801"/>
                </a:lnTo>
                <a:lnTo>
                  <a:pt x="1451" y="809"/>
                </a:lnTo>
                <a:lnTo>
                  <a:pt x="1450" y="817"/>
                </a:lnTo>
                <a:lnTo>
                  <a:pt x="1459" y="815"/>
                </a:lnTo>
                <a:lnTo>
                  <a:pt x="1466" y="811"/>
                </a:lnTo>
                <a:lnTo>
                  <a:pt x="1468" y="810"/>
                </a:lnTo>
                <a:lnTo>
                  <a:pt x="1470" y="810"/>
                </a:lnTo>
                <a:lnTo>
                  <a:pt x="1471" y="808"/>
                </a:lnTo>
                <a:lnTo>
                  <a:pt x="1475" y="805"/>
                </a:lnTo>
                <a:lnTo>
                  <a:pt x="1473" y="809"/>
                </a:lnTo>
                <a:lnTo>
                  <a:pt x="1471" y="810"/>
                </a:lnTo>
                <a:lnTo>
                  <a:pt x="1471" y="812"/>
                </a:lnTo>
                <a:lnTo>
                  <a:pt x="1471" y="815"/>
                </a:lnTo>
                <a:lnTo>
                  <a:pt x="1465" y="815"/>
                </a:lnTo>
                <a:lnTo>
                  <a:pt x="1463" y="819"/>
                </a:lnTo>
                <a:lnTo>
                  <a:pt x="1463" y="821"/>
                </a:lnTo>
                <a:lnTo>
                  <a:pt x="1464" y="822"/>
                </a:lnTo>
                <a:lnTo>
                  <a:pt x="1468" y="819"/>
                </a:lnTo>
                <a:lnTo>
                  <a:pt x="1470" y="817"/>
                </a:lnTo>
                <a:lnTo>
                  <a:pt x="1470" y="816"/>
                </a:lnTo>
                <a:lnTo>
                  <a:pt x="1471" y="815"/>
                </a:lnTo>
                <a:lnTo>
                  <a:pt x="1471" y="815"/>
                </a:lnTo>
                <a:lnTo>
                  <a:pt x="1471" y="815"/>
                </a:lnTo>
                <a:lnTo>
                  <a:pt x="1481" y="809"/>
                </a:lnTo>
                <a:lnTo>
                  <a:pt x="1490" y="804"/>
                </a:lnTo>
                <a:lnTo>
                  <a:pt x="1491" y="803"/>
                </a:lnTo>
                <a:lnTo>
                  <a:pt x="1492" y="801"/>
                </a:lnTo>
                <a:lnTo>
                  <a:pt x="1496" y="793"/>
                </a:lnTo>
                <a:lnTo>
                  <a:pt x="1499" y="784"/>
                </a:lnTo>
                <a:lnTo>
                  <a:pt x="1500" y="782"/>
                </a:lnTo>
                <a:lnTo>
                  <a:pt x="1503" y="781"/>
                </a:lnTo>
                <a:lnTo>
                  <a:pt x="1504" y="783"/>
                </a:lnTo>
                <a:lnTo>
                  <a:pt x="1504" y="786"/>
                </a:lnTo>
                <a:lnTo>
                  <a:pt x="1504" y="791"/>
                </a:lnTo>
                <a:lnTo>
                  <a:pt x="1509" y="790"/>
                </a:lnTo>
                <a:lnTo>
                  <a:pt x="1509" y="793"/>
                </a:lnTo>
                <a:lnTo>
                  <a:pt x="1509" y="795"/>
                </a:lnTo>
                <a:lnTo>
                  <a:pt x="1507" y="797"/>
                </a:lnTo>
                <a:lnTo>
                  <a:pt x="1507" y="800"/>
                </a:lnTo>
                <a:lnTo>
                  <a:pt x="1510" y="801"/>
                </a:lnTo>
                <a:lnTo>
                  <a:pt x="1513" y="798"/>
                </a:lnTo>
                <a:lnTo>
                  <a:pt x="1517" y="797"/>
                </a:lnTo>
                <a:lnTo>
                  <a:pt x="1521" y="800"/>
                </a:lnTo>
                <a:lnTo>
                  <a:pt x="1517" y="801"/>
                </a:lnTo>
                <a:lnTo>
                  <a:pt x="1513" y="804"/>
                </a:lnTo>
                <a:lnTo>
                  <a:pt x="1517" y="804"/>
                </a:lnTo>
                <a:lnTo>
                  <a:pt x="1520" y="805"/>
                </a:lnTo>
                <a:lnTo>
                  <a:pt x="1516" y="809"/>
                </a:lnTo>
                <a:lnTo>
                  <a:pt x="1513" y="814"/>
                </a:lnTo>
                <a:lnTo>
                  <a:pt x="1511" y="816"/>
                </a:lnTo>
                <a:lnTo>
                  <a:pt x="1513" y="817"/>
                </a:lnTo>
                <a:lnTo>
                  <a:pt x="1520" y="819"/>
                </a:lnTo>
                <a:lnTo>
                  <a:pt x="1527" y="819"/>
                </a:lnTo>
                <a:lnTo>
                  <a:pt x="1525" y="823"/>
                </a:lnTo>
                <a:lnTo>
                  <a:pt x="1524" y="825"/>
                </a:lnTo>
                <a:lnTo>
                  <a:pt x="1530" y="830"/>
                </a:lnTo>
                <a:lnTo>
                  <a:pt x="1527" y="838"/>
                </a:lnTo>
                <a:lnTo>
                  <a:pt x="1531" y="837"/>
                </a:lnTo>
                <a:lnTo>
                  <a:pt x="1534" y="836"/>
                </a:lnTo>
                <a:lnTo>
                  <a:pt x="1534" y="835"/>
                </a:lnTo>
                <a:lnTo>
                  <a:pt x="1535" y="835"/>
                </a:lnTo>
                <a:lnTo>
                  <a:pt x="1535" y="832"/>
                </a:lnTo>
                <a:lnTo>
                  <a:pt x="1537" y="832"/>
                </a:lnTo>
                <a:lnTo>
                  <a:pt x="1538" y="832"/>
                </a:lnTo>
                <a:lnTo>
                  <a:pt x="1538" y="832"/>
                </a:lnTo>
                <a:lnTo>
                  <a:pt x="1537" y="833"/>
                </a:lnTo>
                <a:lnTo>
                  <a:pt x="1535" y="835"/>
                </a:lnTo>
                <a:lnTo>
                  <a:pt x="1534" y="835"/>
                </a:lnTo>
                <a:lnTo>
                  <a:pt x="1534" y="836"/>
                </a:lnTo>
                <a:lnTo>
                  <a:pt x="1537" y="844"/>
                </a:lnTo>
                <a:lnTo>
                  <a:pt x="1545" y="843"/>
                </a:lnTo>
                <a:lnTo>
                  <a:pt x="1544" y="846"/>
                </a:lnTo>
                <a:lnTo>
                  <a:pt x="1541" y="851"/>
                </a:lnTo>
                <a:lnTo>
                  <a:pt x="1546" y="849"/>
                </a:lnTo>
                <a:lnTo>
                  <a:pt x="1551" y="846"/>
                </a:lnTo>
                <a:lnTo>
                  <a:pt x="1555" y="842"/>
                </a:lnTo>
                <a:lnTo>
                  <a:pt x="1562" y="838"/>
                </a:lnTo>
                <a:lnTo>
                  <a:pt x="1562" y="838"/>
                </a:lnTo>
                <a:lnTo>
                  <a:pt x="1562" y="840"/>
                </a:lnTo>
                <a:lnTo>
                  <a:pt x="1561" y="843"/>
                </a:lnTo>
                <a:lnTo>
                  <a:pt x="1554" y="845"/>
                </a:lnTo>
                <a:lnTo>
                  <a:pt x="1553" y="852"/>
                </a:lnTo>
                <a:lnTo>
                  <a:pt x="1552" y="858"/>
                </a:lnTo>
                <a:lnTo>
                  <a:pt x="1547" y="863"/>
                </a:lnTo>
                <a:lnTo>
                  <a:pt x="1551" y="877"/>
                </a:lnTo>
                <a:lnTo>
                  <a:pt x="1559" y="889"/>
                </a:lnTo>
                <a:lnTo>
                  <a:pt x="1565" y="888"/>
                </a:lnTo>
                <a:lnTo>
                  <a:pt x="1569" y="885"/>
                </a:lnTo>
                <a:lnTo>
                  <a:pt x="1573" y="882"/>
                </a:lnTo>
                <a:lnTo>
                  <a:pt x="1576" y="882"/>
                </a:lnTo>
                <a:lnTo>
                  <a:pt x="1576" y="880"/>
                </a:lnTo>
                <a:lnTo>
                  <a:pt x="1576" y="878"/>
                </a:lnTo>
                <a:lnTo>
                  <a:pt x="1579" y="878"/>
                </a:lnTo>
                <a:lnTo>
                  <a:pt x="1580" y="878"/>
                </a:lnTo>
                <a:lnTo>
                  <a:pt x="1583" y="874"/>
                </a:lnTo>
                <a:lnTo>
                  <a:pt x="1589" y="873"/>
                </a:lnTo>
                <a:lnTo>
                  <a:pt x="1592" y="872"/>
                </a:lnTo>
                <a:lnTo>
                  <a:pt x="1594" y="872"/>
                </a:lnTo>
                <a:lnTo>
                  <a:pt x="1592" y="872"/>
                </a:lnTo>
                <a:lnTo>
                  <a:pt x="1589" y="873"/>
                </a:lnTo>
                <a:lnTo>
                  <a:pt x="1583" y="874"/>
                </a:lnTo>
                <a:lnTo>
                  <a:pt x="1580" y="878"/>
                </a:lnTo>
                <a:lnTo>
                  <a:pt x="1580" y="881"/>
                </a:lnTo>
                <a:lnTo>
                  <a:pt x="1576" y="882"/>
                </a:lnTo>
                <a:lnTo>
                  <a:pt x="1572" y="888"/>
                </a:lnTo>
                <a:lnTo>
                  <a:pt x="1567" y="893"/>
                </a:lnTo>
                <a:lnTo>
                  <a:pt x="1565" y="893"/>
                </a:lnTo>
                <a:lnTo>
                  <a:pt x="1565" y="895"/>
                </a:lnTo>
                <a:lnTo>
                  <a:pt x="1567" y="896"/>
                </a:lnTo>
                <a:lnTo>
                  <a:pt x="1569" y="896"/>
                </a:lnTo>
                <a:lnTo>
                  <a:pt x="1572" y="895"/>
                </a:lnTo>
                <a:lnTo>
                  <a:pt x="1573" y="898"/>
                </a:lnTo>
                <a:lnTo>
                  <a:pt x="1572" y="902"/>
                </a:lnTo>
                <a:lnTo>
                  <a:pt x="1572" y="907"/>
                </a:lnTo>
                <a:lnTo>
                  <a:pt x="1571" y="909"/>
                </a:lnTo>
                <a:lnTo>
                  <a:pt x="1572" y="910"/>
                </a:lnTo>
                <a:lnTo>
                  <a:pt x="1572" y="912"/>
                </a:lnTo>
                <a:lnTo>
                  <a:pt x="1572" y="913"/>
                </a:lnTo>
                <a:lnTo>
                  <a:pt x="1569" y="914"/>
                </a:lnTo>
                <a:lnTo>
                  <a:pt x="1568" y="917"/>
                </a:lnTo>
                <a:lnTo>
                  <a:pt x="1569" y="919"/>
                </a:lnTo>
                <a:lnTo>
                  <a:pt x="1572" y="919"/>
                </a:lnTo>
                <a:lnTo>
                  <a:pt x="1572" y="921"/>
                </a:lnTo>
                <a:lnTo>
                  <a:pt x="1572" y="923"/>
                </a:lnTo>
                <a:lnTo>
                  <a:pt x="1569" y="924"/>
                </a:lnTo>
                <a:lnTo>
                  <a:pt x="1568" y="927"/>
                </a:lnTo>
                <a:lnTo>
                  <a:pt x="1569" y="931"/>
                </a:lnTo>
                <a:lnTo>
                  <a:pt x="1569" y="936"/>
                </a:lnTo>
                <a:lnTo>
                  <a:pt x="1574" y="954"/>
                </a:lnTo>
                <a:lnTo>
                  <a:pt x="1588" y="966"/>
                </a:lnTo>
                <a:lnTo>
                  <a:pt x="1594" y="970"/>
                </a:lnTo>
                <a:lnTo>
                  <a:pt x="1601" y="970"/>
                </a:lnTo>
                <a:lnTo>
                  <a:pt x="1628" y="962"/>
                </a:lnTo>
                <a:lnTo>
                  <a:pt x="1654" y="949"/>
                </a:lnTo>
                <a:lnTo>
                  <a:pt x="1663" y="945"/>
                </a:lnTo>
                <a:lnTo>
                  <a:pt x="1670" y="940"/>
                </a:lnTo>
                <a:lnTo>
                  <a:pt x="1691" y="927"/>
                </a:lnTo>
                <a:lnTo>
                  <a:pt x="1712" y="913"/>
                </a:lnTo>
                <a:lnTo>
                  <a:pt x="1720" y="907"/>
                </a:lnTo>
                <a:lnTo>
                  <a:pt x="1728" y="899"/>
                </a:lnTo>
                <a:lnTo>
                  <a:pt x="1728" y="899"/>
                </a:lnTo>
                <a:lnTo>
                  <a:pt x="1728" y="898"/>
                </a:lnTo>
                <a:lnTo>
                  <a:pt x="1728" y="898"/>
                </a:lnTo>
                <a:lnTo>
                  <a:pt x="1733" y="894"/>
                </a:lnTo>
                <a:lnTo>
                  <a:pt x="1737" y="891"/>
                </a:lnTo>
                <a:lnTo>
                  <a:pt x="1739" y="889"/>
                </a:lnTo>
                <a:lnTo>
                  <a:pt x="1741" y="887"/>
                </a:lnTo>
                <a:lnTo>
                  <a:pt x="1748" y="880"/>
                </a:lnTo>
                <a:lnTo>
                  <a:pt x="1755" y="872"/>
                </a:lnTo>
                <a:lnTo>
                  <a:pt x="1755" y="872"/>
                </a:lnTo>
                <a:lnTo>
                  <a:pt x="1754" y="872"/>
                </a:lnTo>
                <a:lnTo>
                  <a:pt x="1755" y="872"/>
                </a:lnTo>
                <a:lnTo>
                  <a:pt x="1755" y="872"/>
                </a:lnTo>
                <a:lnTo>
                  <a:pt x="1759" y="867"/>
                </a:lnTo>
                <a:lnTo>
                  <a:pt x="1755" y="863"/>
                </a:lnTo>
                <a:lnTo>
                  <a:pt x="1752" y="859"/>
                </a:lnTo>
                <a:lnTo>
                  <a:pt x="1749" y="856"/>
                </a:lnTo>
                <a:lnTo>
                  <a:pt x="1746" y="852"/>
                </a:lnTo>
                <a:lnTo>
                  <a:pt x="1740" y="853"/>
                </a:lnTo>
                <a:lnTo>
                  <a:pt x="1735" y="854"/>
                </a:lnTo>
                <a:lnTo>
                  <a:pt x="1733" y="851"/>
                </a:lnTo>
                <a:lnTo>
                  <a:pt x="1733" y="849"/>
                </a:lnTo>
                <a:lnTo>
                  <a:pt x="1732" y="847"/>
                </a:lnTo>
                <a:lnTo>
                  <a:pt x="1726" y="847"/>
                </a:lnTo>
                <a:lnTo>
                  <a:pt x="1721" y="847"/>
                </a:lnTo>
                <a:lnTo>
                  <a:pt x="1716" y="847"/>
                </a:lnTo>
                <a:lnTo>
                  <a:pt x="1712" y="844"/>
                </a:lnTo>
                <a:lnTo>
                  <a:pt x="1716" y="843"/>
                </a:lnTo>
                <a:lnTo>
                  <a:pt x="1718" y="840"/>
                </a:lnTo>
                <a:lnTo>
                  <a:pt x="1716" y="838"/>
                </a:lnTo>
                <a:lnTo>
                  <a:pt x="1713" y="838"/>
                </a:lnTo>
                <a:lnTo>
                  <a:pt x="1710" y="836"/>
                </a:lnTo>
                <a:lnTo>
                  <a:pt x="1706" y="835"/>
                </a:lnTo>
                <a:lnTo>
                  <a:pt x="1689" y="830"/>
                </a:lnTo>
                <a:lnTo>
                  <a:pt x="1673" y="823"/>
                </a:lnTo>
                <a:lnTo>
                  <a:pt x="1673" y="823"/>
                </a:lnTo>
                <a:lnTo>
                  <a:pt x="1673" y="823"/>
                </a:lnTo>
                <a:lnTo>
                  <a:pt x="1671" y="822"/>
                </a:lnTo>
                <a:lnTo>
                  <a:pt x="1669" y="822"/>
                </a:lnTo>
                <a:lnTo>
                  <a:pt x="1666" y="822"/>
                </a:lnTo>
                <a:lnTo>
                  <a:pt x="1665" y="822"/>
                </a:lnTo>
                <a:lnTo>
                  <a:pt x="1661" y="817"/>
                </a:lnTo>
                <a:lnTo>
                  <a:pt x="1656" y="815"/>
                </a:lnTo>
                <a:lnTo>
                  <a:pt x="1642" y="807"/>
                </a:lnTo>
                <a:lnTo>
                  <a:pt x="1631" y="796"/>
                </a:lnTo>
                <a:lnTo>
                  <a:pt x="1628" y="793"/>
                </a:lnTo>
                <a:lnTo>
                  <a:pt x="1624" y="789"/>
                </a:lnTo>
                <a:lnTo>
                  <a:pt x="1623" y="789"/>
                </a:lnTo>
                <a:lnTo>
                  <a:pt x="1622" y="788"/>
                </a:lnTo>
                <a:lnTo>
                  <a:pt x="1623" y="784"/>
                </a:lnTo>
                <a:lnTo>
                  <a:pt x="1621" y="781"/>
                </a:lnTo>
                <a:lnTo>
                  <a:pt x="1619" y="780"/>
                </a:lnTo>
                <a:lnTo>
                  <a:pt x="1616" y="776"/>
                </a:lnTo>
                <a:lnTo>
                  <a:pt x="1610" y="763"/>
                </a:lnTo>
                <a:lnTo>
                  <a:pt x="1601" y="752"/>
                </a:lnTo>
                <a:lnTo>
                  <a:pt x="1594" y="744"/>
                </a:lnTo>
                <a:lnTo>
                  <a:pt x="1585" y="738"/>
                </a:lnTo>
                <a:lnTo>
                  <a:pt x="1583" y="735"/>
                </a:lnTo>
                <a:lnTo>
                  <a:pt x="1581" y="734"/>
                </a:lnTo>
                <a:lnTo>
                  <a:pt x="1571" y="726"/>
                </a:lnTo>
                <a:lnTo>
                  <a:pt x="1559" y="718"/>
                </a:lnTo>
                <a:lnTo>
                  <a:pt x="1541" y="707"/>
                </a:lnTo>
                <a:lnTo>
                  <a:pt x="1524" y="700"/>
                </a:lnTo>
                <a:lnTo>
                  <a:pt x="1506" y="696"/>
                </a:lnTo>
                <a:lnTo>
                  <a:pt x="1488" y="693"/>
                </a:lnTo>
                <a:lnTo>
                  <a:pt x="1463" y="692"/>
                </a:lnTo>
                <a:lnTo>
                  <a:pt x="1438" y="692"/>
                </a:lnTo>
                <a:lnTo>
                  <a:pt x="1419" y="692"/>
                </a:lnTo>
                <a:lnTo>
                  <a:pt x="1399" y="691"/>
                </a:lnTo>
                <a:lnTo>
                  <a:pt x="1392" y="690"/>
                </a:lnTo>
                <a:lnTo>
                  <a:pt x="1385" y="691"/>
                </a:lnTo>
                <a:lnTo>
                  <a:pt x="1378" y="690"/>
                </a:lnTo>
                <a:lnTo>
                  <a:pt x="1369" y="689"/>
                </a:lnTo>
                <a:lnTo>
                  <a:pt x="1367" y="689"/>
                </a:lnTo>
                <a:lnTo>
                  <a:pt x="1365" y="689"/>
                </a:lnTo>
                <a:lnTo>
                  <a:pt x="1365" y="691"/>
                </a:lnTo>
                <a:lnTo>
                  <a:pt x="1365" y="692"/>
                </a:lnTo>
                <a:lnTo>
                  <a:pt x="1364" y="695"/>
                </a:lnTo>
                <a:lnTo>
                  <a:pt x="1364" y="698"/>
                </a:lnTo>
                <a:lnTo>
                  <a:pt x="1364" y="695"/>
                </a:lnTo>
                <a:lnTo>
                  <a:pt x="1365" y="692"/>
                </a:lnTo>
                <a:lnTo>
                  <a:pt x="1365" y="691"/>
                </a:lnTo>
                <a:lnTo>
                  <a:pt x="1365" y="689"/>
                </a:lnTo>
                <a:lnTo>
                  <a:pt x="1362" y="689"/>
                </a:lnTo>
                <a:lnTo>
                  <a:pt x="1361" y="689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90"/>
                </a:lnTo>
                <a:lnTo>
                  <a:pt x="1361" y="689"/>
                </a:lnTo>
                <a:lnTo>
                  <a:pt x="1352" y="685"/>
                </a:lnTo>
                <a:lnTo>
                  <a:pt x="1341" y="684"/>
                </a:lnTo>
                <a:lnTo>
                  <a:pt x="1340" y="683"/>
                </a:lnTo>
                <a:lnTo>
                  <a:pt x="1340" y="683"/>
                </a:lnTo>
                <a:lnTo>
                  <a:pt x="1338" y="677"/>
                </a:lnTo>
                <a:lnTo>
                  <a:pt x="1331" y="676"/>
                </a:lnTo>
                <a:lnTo>
                  <a:pt x="1326" y="676"/>
                </a:lnTo>
                <a:lnTo>
                  <a:pt x="1321" y="676"/>
                </a:lnTo>
                <a:lnTo>
                  <a:pt x="1321" y="676"/>
                </a:lnTo>
                <a:lnTo>
                  <a:pt x="1321" y="672"/>
                </a:lnTo>
                <a:lnTo>
                  <a:pt x="1319" y="671"/>
                </a:lnTo>
                <a:lnTo>
                  <a:pt x="1310" y="667"/>
                </a:lnTo>
                <a:lnTo>
                  <a:pt x="1303" y="660"/>
                </a:lnTo>
                <a:lnTo>
                  <a:pt x="1298" y="655"/>
                </a:lnTo>
                <a:lnTo>
                  <a:pt x="1293" y="650"/>
                </a:lnTo>
                <a:lnTo>
                  <a:pt x="1292" y="647"/>
                </a:lnTo>
                <a:lnTo>
                  <a:pt x="1289" y="646"/>
                </a:lnTo>
                <a:lnTo>
                  <a:pt x="1286" y="644"/>
                </a:lnTo>
                <a:lnTo>
                  <a:pt x="1285" y="642"/>
                </a:lnTo>
                <a:lnTo>
                  <a:pt x="1279" y="632"/>
                </a:lnTo>
                <a:lnTo>
                  <a:pt x="1272" y="622"/>
                </a:lnTo>
                <a:lnTo>
                  <a:pt x="1274" y="628"/>
                </a:lnTo>
                <a:lnTo>
                  <a:pt x="1274" y="634"/>
                </a:lnTo>
                <a:lnTo>
                  <a:pt x="1275" y="635"/>
                </a:lnTo>
                <a:lnTo>
                  <a:pt x="1275" y="636"/>
                </a:lnTo>
                <a:lnTo>
                  <a:pt x="1275" y="635"/>
                </a:lnTo>
                <a:lnTo>
                  <a:pt x="1274" y="634"/>
                </a:lnTo>
                <a:lnTo>
                  <a:pt x="1274" y="628"/>
                </a:lnTo>
                <a:lnTo>
                  <a:pt x="1272" y="622"/>
                </a:lnTo>
                <a:lnTo>
                  <a:pt x="1271" y="616"/>
                </a:lnTo>
                <a:lnTo>
                  <a:pt x="1268" y="611"/>
                </a:lnTo>
                <a:lnTo>
                  <a:pt x="1267" y="618"/>
                </a:lnTo>
                <a:lnTo>
                  <a:pt x="1268" y="623"/>
                </a:lnTo>
                <a:lnTo>
                  <a:pt x="1265" y="623"/>
                </a:lnTo>
                <a:lnTo>
                  <a:pt x="1263" y="626"/>
                </a:lnTo>
                <a:lnTo>
                  <a:pt x="1264" y="628"/>
                </a:lnTo>
                <a:lnTo>
                  <a:pt x="1268" y="628"/>
                </a:lnTo>
                <a:lnTo>
                  <a:pt x="1271" y="629"/>
                </a:lnTo>
                <a:lnTo>
                  <a:pt x="1270" y="632"/>
                </a:lnTo>
                <a:lnTo>
                  <a:pt x="1268" y="635"/>
                </a:lnTo>
                <a:lnTo>
                  <a:pt x="1264" y="632"/>
                </a:lnTo>
                <a:lnTo>
                  <a:pt x="1263" y="635"/>
                </a:lnTo>
                <a:lnTo>
                  <a:pt x="1263" y="636"/>
                </a:lnTo>
                <a:lnTo>
                  <a:pt x="1262" y="641"/>
                </a:lnTo>
                <a:lnTo>
                  <a:pt x="1267" y="642"/>
                </a:lnTo>
                <a:lnTo>
                  <a:pt x="1268" y="643"/>
                </a:lnTo>
                <a:lnTo>
                  <a:pt x="1268" y="644"/>
                </a:lnTo>
                <a:lnTo>
                  <a:pt x="1269" y="648"/>
                </a:lnTo>
                <a:lnTo>
                  <a:pt x="1267" y="653"/>
                </a:lnTo>
                <a:lnTo>
                  <a:pt x="1263" y="655"/>
                </a:lnTo>
                <a:lnTo>
                  <a:pt x="1265" y="658"/>
                </a:lnTo>
                <a:lnTo>
                  <a:pt x="1263" y="662"/>
                </a:lnTo>
                <a:lnTo>
                  <a:pt x="1265" y="665"/>
                </a:lnTo>
                <a:lnTo>
                  <a:pt x="1265" y="667"/>
                </a:lnTo>
                <a:lnTo>
                  <a:pt x="1265" y="667"/>
                </a:lnTo>
                <a:lnTo>
                  <a:pt x="1260" y="675"/>
                </a:lnTo>
                <a:lnTo>
                  <a:pt x="1258" y="683"/>
                </a:lnTo>
                <a:lnTo>
                  <a:pt x="1256" y="685"/>
                </a:lnTo>
                <a:lnTo>
                  <a:pt x="1256" y="688"/>
                </a:lnTo>
                <a:lnTo>
                  <a:pt x="1256" y="688"/>
                </a:lnTo>
                <a:lnTo>
                  <a:pt x="1251" y="688"/>
                </a:lnTo>
                <a:lnTo>
                  <a:pt x="1248" y="690"/>
                </a:lnTo>
                <a:lnTo>
                  <a:pt x="1245" y="692"/>
                </a:lnTo>
                <a:lnTo>
                  <a:pt x="1243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lnTo>
                  <a:pt x="1242" y="692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1" y="685"/>
                </a:lnTo>
                <a:lnTo>
                  <a:pt x="1091" y="689"/>
                </a:lnTo>
                <a:lnTo>
                  <a:pt x="1093" y="690"/>
                </a:lnTo>
                <a:lnTo>
                  <a:pt x="1097" y="690"/>
                </a:lnTo>
                <a:lnTo>
                  <a:pt x="1106" y="686"/>
                </a:lnTo>
                <a:lnTo>
                  <a:pt x="1117" y="685"/>
                </a:lnTo>
                <a:lnTo>
                  <a:pt x="1106" y="683"/>
                </a:lnTo>
                <a:lnTo>
                  <a:pt x="1096" y="684"/>
                </a:lnTo>
                <a:lnTo>
                  <a:pt x="1096" y="683"/>
                </a:lnTo>
                <a:lnTo>
                  <a:pt x="1095" y="684"/>
                </a:lnTo>
                <a:close/>
                <a:moveTo>
                  <a:pt x="1095" y="684"/>
                </a:moveTo>
                <a:lnTo>
                  <a:pt x="1095" y="684"/>
                </a:lnTo>
                <a:lnTo>
                  <a:pt x="1095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4"/>
                </a:lnTo>
                <a:lnTo>
                  <a:pt x="1096" y="685"/>
                </a:lnTo>
                <a:lnTo>
                  <a:pt x="1095" y="684"/>
                </a:lnTo>
                <a:close/>
                <a:moveTo>
                  <a:pt x="934" y="823"/>
                </a:move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lnTo>
                  <a:pt x="925" y="816"/>
                </a:lnTo>
                <a:lnTo>
                  <a:pt x="929" y="804"/>
                </a:lnTo>
                <a:lnTo>
                  <a:pt x="930" y="803"/>
                </a:lnTo>
                <a:lnTo>
                  <a:pt x="930" y="802"/>
                </a:lnTo>
                <a:lnTo>
                  <a:pt x="926" y="795"/>
                </a:lnTo>
                <a:lnTo>
                  <a:pt x="927" y="788"/>
                </a:lnTo>
                <a:lnTo>
                  <a:pt x="927" y="786"/>
                </a:lnTo>
                <a:lnTo>
                  <a:pt x="931" y="784"/>
                </a:lnTo>
                <a:lnTo>
                  <a:pt x="932" y="786"/>
                </a:lnTo>
                <a:lnTo>
                  <a:pt x="931" y="789"/>
                </a:lnTo>
                <a:lnTo>
                  <a:pt x="930" y="790"/>
                </a:lnTo>
                <a:lnTo>
                  <a:pt x="931" y="793"/>
                </a:lnTo>
                <a:lnTo>
                  <a:pt x="932" y="793"/>
                </a:lnTo>
                <a:lnTo>
                  <a:pt x="933" y="793"/>
                </a:lnTo>
                <a:lnTo>
                  <a:pt x="934" y="791"/>
                </a:lnTo>
                <a:lnTo>
                  <a:pt x="934" y="790"/>
                </a:lnTo>
                <a:lnTo>
                  <a:pt x="936" y="777"/>
                </a:lnTo>
                <a:lnTo>
                  <a:pt x="938" y="766"/>
                </a:lnTo>
                <a:lnTo>
                  <a:pt x="939" y="763"/>
                </a:lnTo>
                <a:lnTo>
                  <a:pt x="938" y="762"/>
                </a:lnTo>
                <a:lnTo>
                  <a:pt x="934" y="755"/>
                </a:lnTo>
                <a:lnTo>
                  <a:pt x="937" y="747"/>
                </a:lnTo>
                <a:lnTo>
                  <a:pt x="937" y="747"/>
                </a:lnTo>
                <a:lnTo>
                  <a:pt x="937" y="746"/>
                </a:lnTo>
                <a:lnTo>
                  <a:pt x="934" y="744"/>
                </a:lnTo>
                <a:lnTo>
                  <a:pt x="936" y="740"/>
                </a:lnTo>
                <a:lnTo>
                  <a:pt x="938" y="731"/>
                </a:lnTo>
                <a:lnTo>
                  <a:pt x="939" y="720"/>
                </a:lnTo>
                <a:lnTo>
                  <a:pt x="941" y="718"/>
                </a:lnTo>
                <a:lnTo>
                  <a:pt x="943" y="717"/>
                </a:lnTo>
                <a:lnTo>
                  <a:pt x="944" y="717"/>
                </a:lnTo>
                <a:lnTo>
                  <a:pt x="945" y="717"/>
                </a:lnTo>
                <a:lnTo>
                  <a:pt x="947" y="712"/>
                </a:lnTo>
                <a:lnTo>
                  <a:pt x="950" y="707"/>
                </a:lnTo>
                <a:lnTo>
                  <a:pt x="950" y="705"/>
                </a:lnTo>
                <a:lnTo>
                  <a:pt x="951" y="703"/>
                </a:lnTo>
                <a:lnTo>
                  <a:pt x="948" y="702"/>
                </a:lnTo>
                <a:lnTo>
                  <a:pt x="948" y="700"/>
                </a:lnTo>
                <a:lnTo>
                  <a:pt x="948" y="702"/>
                </a:lnTo>
                <a:lnTo>
                  <a:pt x="951" y="703"/>
                </a:lnTo>
                <a:lnTo>
                  <a:pt x="950" y="705"/>
                </a:lnTo>
                <a:lnTo>
                  <a:pt x="950" y="707"/>
                </a:lnTo>
                <a:lnTo>
                  <a:pt x="947" y="712"/>
                </a:lnTo>
                <a:lnTo>
                  <a:pt x="945" y="717"/>
                </a:lnTo>
                <a:lnTo>
                  <a:pt x="945" y="719"/>
                </a:lnTo>
                <a:lnTo>
                  <a:pt x="947" y="721"/>
                </a:lnTo>
                <a:lnTo>
                  <a:pt x="950" y="724"/>
                </a:lnTo>
                <a:lnTo>
                  <a:pt x="948" y="726"/>
                </a:lnTo>
                <a:lnTo>
                  <a:pt x="947" y="728"/>
                </a:lnTo>
                <a:lnTo>
                  <a:pt x="948" y="730"/>
                </a:lnTo>
                <a:lnTo>
                  <a:pt x="950" y="732"/>
                </a:lnTo>
                <a:lnTo>
                  <a:pt x="947" y="734"/>
                </a:lnTo>
                <a:lnTo>
                  <a:pt x="946" y="738"/>
                </a:lnTo>
                <a:lnTo>
                  <a:pt x="950" y="740"/>
                </a:lnTo>
                <a:lnTo>
                  <a:pt x="950" y="745"/>
                </a:lnTo>
                <a:lnTo>
                  <a:pt x="951" y="749"/>
                </a:lnTo>
                <a:lnTo>
                  <a:pt x="951" y="752"/>
                </a:lnTo>
                <a:lnTo>
                  <a:pt x="951" y="755"/>
                </a:lnTo>
                <a:lnTo>
                  <a:pt x="951" y="755"/>
                </a:lnTo>
                <a:lnTo>
                  <a:pt x="952" y="755"/>
                </a:lnTo>
                <a:lnTo>
                  <a:pt x="953" y="752"/>
                </a:lnTo>
                <a:lnTo>
                  <a:pt x="954" y="748"/>
                </a:lnTo>
                <a:lnTo>
                  <a:pt x="957" y="748"/>
                </a:lnTo>
                <a:lnTo>
                  <a:pt x="958" y="746"/>
                </a:lnTo>
                <a:lnTo>
                  <a:pt x="960" y="747"/>
                </a:lnTo>
                <a:lnTo>
                  <a:pt x="961" y="749"/>
                </a:lnTo>
                <a:lnTo>
                  <a:pt x="960" y="751"/>
                </a:lnTo>
                <a:lnTo>
                  <a:pt x="958" y="751"/>
                </a:lnTo>
                <a:lnTo>
                  <a:pt x="957" y="752"/>
                </a:lnTo>
                <a:lnTo>
                  <a:pt x="955" y="753"/>
                </a:lnTo>
                <a:lnTo>
                  <a:pt x="954" y="759"/>
                </a:lnTo>
                <a:lnTo>
                  <a:pt x="954" y="766"/>
                </a:lnTo>
                <a:lnTo>
                  <a:pt x="957" y="763"/>
                </a:lnTo>
                <a:lnTo>
                  <a:pt x="959" y="762"/>
                </a:lnTo>
                <a:lnTo>
                  <a:pt x="960" y="765"/>
                </a:lnTo>
                <a:lnTo>
                  <a:pt x="962" y="766"/>
                </a:lnTo>
                <a:lnTo>
                  <a:pt x="969" y="765"/>
                </a:lnTo>
                <a:lnTo>
                  <a:pt x="975" y="760"/>
                </a:lnTo>
                <a:lnTo>
                  <a:pt x="978" y="753"/>
                </a:lnTo>
                <a:lnTo>
                  <a:pt x="977" y="746"/>
                </a:lnTo>
                <a:lnTo>
                  <a:pt x="977" y="744"/>
                </a:lnTo>
                <a:lnTo>
                  <a:pt x="977" y="741"/>
                </a:lnTo>
                <a:lnTo>
                  <a:pt x="977" y="738"/>
                </a:lnTo>
                <a:lnTo>
                  <a:pt x="979" y="735"/>
                </a:lnTo>
                <a:lnTo>
                  <a:pt x="980" y="738"/>
                </a:lnTo>
                <a:lnTo>
                  <a:pt x="980" y="741"/>
                </a:lnTo>
                <a:lnTo>
                  <a:pt x="980" y="741"/>
                </a:lnTo>
                <a:lnTo>
                  <a:pt x="981" y="742"/>
                </a:lnTo>
                <a:lnTo>
                  <a:pt x="985" y="739"/>
                </a:lnTo>
                <a:lnTo>
                  <a:pt x="989" y="738"/>
                </a:lnTo>
                <a:lnTo>
                  <a:pt x="989" y="737"/>
                </a:lnTo>
                <a:lnTo>
                  <a:pt x="989" y="735"/>
                </a:lnTo>
                <a:lnTo>
                  <a:pt x="989" y="735"/>
                </a:lnTo>
                <a:lnTo>
                  <a:pt x="991" y="737"/>
                </a:lnTo>
                <a:lnTo>
                  <a:pt x="989" y="737"/>
                </a:lnTo>
                <a:lnTo>
                  <a:pt x="989" y="738"/>
                </a:lnTo>
                <a:lnTo>
                  <a:pt x="989" y="746"/>
                </a:lnTo>
                <a:lnTo>
                  <a:pt x="995" y="752"/>
                </a:lnTo>
                <a:lnTo>
                  <a:pt x="995" y="753"/>
                </a:lnTo>
                <a:lnTo>
                  <a:pt x="995" y="753"/>
                </a:lnTo>
                <a:lnTo>
                  <a:pt x="995" y="753"/>
                </a:lnTo>
                <a:lnTo>
                  <a:pt x="991" y="760"/>
                </a:lnTo>
                <a:lnTo>
                  <a:pt x="988" y="768"/>
                </a:lnTo>
                <a:lnTo>
                  <a:pt x="982" y="774"/>
                </a:lnTo>
                <a:lnTo>
                  <a:pt x="984" y="782"/>
                </a:lnTo>
                <a:lnTo>
                  <a:pt x="982" y="783"/>
                </a:lnTo>
                <a:lnTo>
                  <a:pt x="981" y="783"/>
                </a:lnTo>
                <a:lnTo>
                  <a:pt x="975" y="788"/>
                </a:lnTo>
                <a:lnTo>
                  <a:pt x="969" y="793"/>
                </a:lnTo>
                <a:lnTo>
                  <a:pt x="968" y="796"/>
                </a:lnTo>
                <a:lnTo>
                  <a:pt x="967" y="800"/>
                </a:lnTo>
                <a:lnTo>
                  <a:pt x="965" y="804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2" y="809"/>
                </a:lnTo>
                <a:lnTo>
                  <a:pt x="957" y="810"/>
                </a:lnTo>
                <a:lnTo>
                  <a:pt x="958" y="816"/>
                </a:lnTo>
                <a:lnTo>
                  <a:pt x="960" y="822"/>
                </a:lnTo>
                <a:lnTo>
                  <a:pt x="965" y="815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8" y="807"/>
                </a:lnTo>
                <a:lnTo>
                  <a:pt x="969" y="805"/>
                </a:lnTo>
                <a:lnTo>
                  <a:pt x="971" y="804"/>
                </a:lnTo>
                <a:lnTo>
                  <a:pt x="980" y="801"/>
                </a:lnTo>
                <a:lnTo>
                  <a:pt x="985" y="793"/>
                </a:lnTo>
                <a:lnTo>
                  <a:pt x="989" y="788"/>
                </a:lnTo>
                <a:lnTo>
                  <a:pt x="993" y="784"/>
                </a:lnTo>
                <a:lnTo>
                  <a:pt x="992" y="791"/>
                </a:lnTo>
                <a:lnTo>
                  <a:pt x="987" y="797"/>
                </a:lnTo>
                <a:lnTo>
                  <a:pt x="991" y="800"/>
                </a:lnTo>
                <a:lnTo>
                  <a:pt x="993" y="802"/>
                </a:lnTo>
                <a:lnTo>
                  <a:pt x="992" y="803"/>
                </a:lnTo>
                <a:lnTo>
                  <a:pt x="991" y="804"/>
                </a:lnTo>
                <a:lnTo>
                  <a:pt x="988" y="805"/>
                </a:lnTo>
                <a:lnTo>
                  <a:pt x="987" y="808"/>
                </a:lnTo>
                <a:lnTo>
                  <a:pt x="987" y="809"/>
                </a:lnTo>
                <a:lnTo>
                  <a:pt x="988" y="809"/>
                </a:lnTo>
                <a:lnTo>
                  <a:pt x="991" y="808"/>
                </a:lnTo>
                <a:lnTo>
                  <a:pt x="993" y="805"/>
                </a:lnTo>
                <a:lnTo>
                  <a:pt x="993" y="804"/>
                </a:lnTo>
                <a:lnTo>
                  <a:pt x="993" y="802"/>
                </a:lnTo>
                <a:lnTo>
                  <a:pt x="1002" y="798"/>
                </a:lnTo>
                <a:lnTo>
                  <a:pt x="1010" y="790"/>
                </a:lnTo>
                <a:lnTo>
                  <a:pt x="1003" y="790"/>
                </a:lnTo>
                <a:lnTo>
                  <a:pt x="996" y="791"/>
                </a:lnTo>
                <a:lnTo>
                  <a:pt x="1013" y="781"/>
                </a:lnTo>
                <a:lnTo>
                  <a:pt x="1029" y="772"/>
                </a:lnTo>
                <a:lnTo>
                  <a:pt x="1033" y="769"/>
                </a:lnTo>
                <a:lnTo>
                  <a:pt x="1036" y="770"/>
                </a:lnTo>
                <a:lnTo>
                  <a:pt x="1038" y="770"/>
                </a:lnTo>
                <a:lnTo>
                  <a:pt x="1040" y="770"/>
                </a:lnTo>
                <a:lnTo>
                  <a:pt x="1041" y="767"/>
                </a:lnTo>
                <a:lnTo>
                  <a:pt x="1040" y="765"/>
                </a:lnTo>
                <a:lnTo>
                  <a:pt x="1038" y="763"/>
                </a:lnTo>
                <a:lnTo>
                  <a:pt x="1037" y="765"/>
                </a:lnTo>
                <a:lnTo>
                  <a:pt x="1033" y="765"/>
                </a:lnTo>
                <a:lnTo>
                  <a:pt x="1031" y="761"/>
                </a:lnTo>
                <a:lnTo>
                  <a:pt x="1035" y="760"/>
                </a:lnTo>
                <a:lnTo>
                  <a:pt x="1037" y="759"/>
                </a:lnTo>
                <a:lnTo>
                  <a:pt x="1040" y="758"/>
                </a:lnTo>
                <a:lnTo>
                  <a:pt x="1040" y="755"/>
                </a:lnTo>
                <a:lnTo>
                  <a:pt x="1040" y="755"/>
                </a:lnTo>
                <a:lnTo>
                  <a:pt x="1042" y="755"/>
                </a:lnTo>
                <a:lnTo>
                  <a:pt x="1044" y="753"/>
                </a:lnTo>
                <a:lnTo>
                  <a:pt x="1049" y="754"/>
                </a:lnTo>
                <a:lnTo>
                  <a:pt x="1053" y="752"/>
                </a:lnTo>
                <a:lnTo>
                  <a:pt x="1055" y="751"/>
                </a:lnTo>
                <a:lnTo>
                  <a:pt x="1057" y="752"/>
                </a:lnTo>
                <a:lnTo>
                  <a:pt x="1057" y="753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57" y="754"/>
                </a:lnTo>
                <a:lnTo>
                  <a:pt x="1060" y="754"/>
                </a:lnTo>
                <a:lnTo>
                  <a:pt x="1061" y="752"/>
                </a:lnTo>
                <a:lnTo>
                  <a:pt x="1061" y="752"/>
                </a:lnTo>
                <a:lnTo>
                  <a:pt x="1061" y="752"/>
                </a:lnTo>
                <a:lnTo>
                  <a:pt x="1062" y="754"/>
                </a:lnTo>
                <a:lnTo>
                  <a:pt x="1062" y="758"/>
                </a:lnTo>
                <a:lnTo>
                  <a:pt x="1065" y="755"/>
                </a:lnTo>
                <a:lnTo>
                  <a:pt x="1069" y="754"/>
                </a:lnTo>
                <a:lnTo>
                  <a:pt x="1070" y="758"/>
                </a:lnTo>
                <a:lnTo>
                  <a:pt x="1074" y="758"/>
                </a:lnTo>
                <a:lnTo>
                  <a:pt x="1081" y="753"/>
                </a:lnTo>
                <a:lnTo>
                  <a:pt x="1086" y="744"/>
                </a:lnTo>
                <a:lnTo>
                  <a:pt x="1085" y="744"/>
                </a:lnTo>
                <a:lnTo>
                  <a:pt x="1085" y="742"/>
                </a:lnTo>
                <a:lnTo>
                  <a:pt x="1079" y="747"/>
                </a:lnTo>
                <a:lnTo>
                  <a:pt x="1072" y="746"/>
                </a:lnTo>
                <a:lnTo>
                  <a:pt x="1071" y="747"/>
                </a:lnTo>
                <a:lnTo>
                  <a:pt x="1069" y="747"/>
                </a:lnTo>
                <a:lnTo>
                  <a:pt x="1069" y="748"/>
                </a:lnTo>
                <a:lnTo>
                  <a:pt x="1069" y="749"/>
                </a:lnTo>
                <a:lnTo>
                  <a:pt x="1068" y="749"/>
                </a:lnTo>
                <a:lnTo>
                  <a:pt x="1067" y="747"/>
                </a:lnTo>
                <a:lnTo>
                  <a:pt x="1068" y="747"/>
                </a:lnTo>
                <a:lnTo>
                  <a:pt x="1069" y="747"/>
                </a:lnTo>
                <a:lnTo>
                  <a:pt x="1071" y="747"/>
                </a:lnTo>
                <a:lnTo>
                  <a:pt x="1072" y="746"/>
                </a:lnTo>
                <a:lnTo>
                  <a:pt x="1074" y="745"/>
                </a:lnTo>
                <a:lnTo>
                  <a:pt x="1074" y="744"/>
                </a:lnTo>
                <a:lnTo>
                  <a:pt x="1074" y="742"/>
                </a:lnTo>
                <a:lnTo>
                  <a:pt x="1077" y="741"/>
                </a:lnTo>
                <a:lnTo>
                  <a:pt x="1079" y="738"/>
                </a:lnTo>
                <a:lnTo>
                  <a:pt x="1081" y="738"/>
                </a:lnTo>
                <a:lnTo>
                  <a:pt x="1082" y="737"/>
                </a:lnTo>
                <a:lnTo>
                  <a:pt x="1082" y="737"/>
                </a:lnTo>
                <a:lnTo>
                  <a:pt x="1081" y="735"/>
                </a:lnTo>
                <a:lnTo>
                  <a:pt x="1085" y="734"/>
                </a:lnTo>
                <a:lnTo>
                  <a:pt x="1089" y="733"/>
                </a:lnTo>
                <a:lnTo>
                  <a:pt x="1092" y="732"/>
                </a:lnTo>
                <a:lnTo>
                  <a:pt x="1092" y="730"/>
                </a:lnTo>
                <a:lnTo>
                  <a:pt x="1090" y="726"/>
                </a:lnTo>
                <a:lnTo>
                  <a:pt x="1086" y="727"/>
                </a:lnTo>
                <a:lnTo>
                  <a:pt x="1084" y="727"/>
                </a:lnTo>
                <a:lnTo>
                  <a:pt x="1083" y="725"/>
                </a:lnTo>
                <a:lnTo>
                  <a:pt x="1082" y="725"/>
                </a:lnTo>
                <a:lnTo>
                  <a:pt x="1081" y="726"/>
                </a:lnTo>
                <a:lnTo>
                  <a:pt x="1082" y="725"/>
                </a:lnTo>
                <a:lnTo>
                  <a:pt x="1083" y="725"/>
                </a:lnTo>
                <a:lnTo>
                  <a:pt x="1084" y="724"/>
                </a:lnTo>
                <a:lnTo>
                  <a:pt x="1084" y="723"/>
                </a:lnTo>
                <a:lnTo>
                  <a:pt x="1089" y="719"/>
                </a:lnTo>
                <a:lnTo>
                  <a:pt x="1095" y="718"/>
                </a:lnTo>
                <a:lnTo>
                  <a:pt x="1097" y="720"/>
                </a:lnTo>
                <a:lnTo>
                  <a:pt x="1099" y="721"/>
                </a:lnTo>
                <a:lnTo>
                  <a:pt x="1099" y="724"/>
                </a:lnTo>
                <a:lnTo>
                  <a:pt x="1100" y="724"/>
                </a:lnTo>
                <a:lnTo>
                  <a:pt x="1102" y="724"/>
                </a:lnTo>
                <a:lnTo>
                  <a:pt x="1102" y="723"/>
                </a:lnTo>
                <a:lnTo>
                  <a:pt x="1105" y="721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09" y="720"/>
                </a:lnTo>
                <a:lnTo>
                  <a:pt x="1113" y="719"/>
                </a:lnTo>
                <a:lnTo>
                  <a:pt x="1118" y="717"/>
                </a:lnTo>
                <a:lnTo>
                  <a:pt x="1115" y="716"/>
                </a:lnTo>
                <a:lnTo>
                  <a:pt x="1113" y="713"/>
                </a:lnTo>
                <a:lnTo>
                  <a:pt x="1117" y="711"/>
                </a:lnTo>
                <a:lnTo>
                  <a:pt x="1119" y="711"/>
                </a:lnTo>
                <a:lnTo>
                  <a:pt x="1124" y="712"/>
                </a:lnTo>
                <a:lnTo>
                  <a:pt x="1127" y="712"/>
                </a:lnTo>
                <a:lnTo>
                  <a:pt x="1129" y="707"/>
                </a:lnTo>
                <a:lnTo>
                  <a:pt x="1127" y="704"/>
                </a:lnTo>
                <a:lnTo>
                  <a:pt x="1125" y="706"/>
                </a:lnTo>
                <a:lnTo>
                  <a:pt x="1123" y="706"/>
                </a:lnTo>
                <a:lnTo>
                  <a:pt x="1117" y="707"/>
                </a:lnTo>
                <a:lnTo>
                  <a:pt x="1113" y="713"/>
                </a:lnTo>
                <a:lnTo>
                  <a:pt x="1110" y="717"/>
                </a:lnTo>
                <a:lnTo>
                  <a:pt x="1109" y="720"/>
                </a:lnTo>
                <a:lnTo>
                  <a:pt x="1102" y="717"/>
                </a:lnTo>
                <a:lnTo>
                  <a:pt x="1095" y="718"/>
                </a:lnTo>
                <a:lnTo>
                  <a:pt x="1100" y="712"/>
                </a:lnTo>
                <a:lnTo>
                  <a:pt x="1107" y="709"/>
                </a:lnTo>
                <a:lnTo>
                  <a:pt x="1109" y="709"/>
                </a:lnTo>
                <a:lnTo>
                  <a:pt x="1109" y="706"/>
                </a:lnTo>
                <a:lnTo>
                  <a:pt x="1109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1" y="704"/>
                </a:lnTo>
                <a:lnTo>
                  <a:pt x="1112" y="705"/>
                </a:lnTo>
                <a:lnTo>
                  <a:pt x="1115" y="705"/>
                </a:lnTo>
                <a:lnTo>
                  <a:pt x="1115" y="705"/>
                </a:lnTo>
                <a:lnTo>
                  <a:pt x="1115" y="704"/>
                </a:lnTo>
                <a:lnTo>
                  <a:pt x="1113" y="704"/>
                </a:lnTo>
                <a:lnTo>
                  <a:pt x="1111" y="704"/>
                </a:lnTo>
                <a:lnTo>
                  <a:pt x="1112" y="702"/>
                </a:lnTo>
                <a:lnTo>
                  <a:pt x="1112" y="699"/>
                </a:lnTo>
                <a:lnTo>
                  <a:pt x="1116" y="700"/>
                </a:lnTo>
                <a:lnTo>
                  <a:pt x="1120" y="700"/>
                </a:lnTo>
                <a:lnTo>
                  <a:pt x="1123" y="700"/>
                </a:lnTo>
                <a:lnTo>
                  <a:pt x="1124" y="698"/>
                </a:lnTo>
                <a:lnTo>
                  <a:pt x="1123" y="696"/>
                </a:lnTo>
                <a:lnTo>
                  <a:pt x="1120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18" y="697"/>
                </a:lnTo>
                <a:lnTo>
                  <a:pt x="1116" y="696"/>
                </a:lnTo>
                <a:lnTo>
                  <a:pt x="1117" y="696"/>
                </a:lnTo>
                <a:lnTo>
                  <a:pt x="1119" y="696"/>
                </a:lnTo>
                <a:lnTo>
                  <a:pt x="1119" y="696"/>
                </a:lnTo>
                <a:lnTo>
                  <a:pt x="1120" y="696"/>
                </a:lnTo>
                <a:lnTo>
                  <a:pt x="1117" y="692"/>
                </a:lnTo>
                <a:lnTo>
                  <a:pt x="1112" y="696"/>
                </a:lnTo>
                <a:lnTo>
                  <a:pt x="1109" y="695"/>
                </a:lnTo>
                <a:lnTo>
                  <a:pt x="1107" y="691"/>
                </a:lnTo>
                <a:lnTo>
                  <a:pt x="1106" y="689"/>
                </a:lnTo>
                <a:lnTo>
                  <a:pt x="1104" y="689"/>
                </a:lnTo>
                <a:lnTo>
                  <a:pt x="1098" y="692"/>
                </a:lnTo>
                <a:lnTo>
                  <a:pt x="1091" y="693"/>
                </a:lnTo>
                <a:lnTo>
                  <a:pt x="1089" y="693"/>
                </a:lnTo>
                <a:lnTo>
                  <a:pt x="1088" y="691"/>
                </a:lnTo>
                <a:lnTo>
                  <a:pt x="1088" y="688"/>
                </a:lnTo>
                <a:lnTo>
                  <a:pt x="1084" y="686"/>
                </a:lnTo>
                <a:lnTo>
                  <a:pt x="1082" y="684"/>
                </a:lnTo>
                <a:lnTo>
                  <a:pt x="1078" y="681"/>
                </a:lnTo>
                <a:lnTo>
                  <a:pt x="1092" y="677"/>
                </a:lnTo>
                <a:lnTo>
                  <a:pt x="1109" y="668"/>
                </a:lnTo>
                <a:lnTo>
                  <a:pt x="1105" y="667"/>
                </a:lnTo>
                <a:lnTo>
                  <a:pt x="1103" y="667"/>
                </a:lnTo>
                <a:lnTo>
                  <a:pt x="1095" y="665"/>
                </a:lnTo>
                <a:lnTo>
                  <a:pt x="1091" y="661"/>
                </a:lnTo>
                <a:lnTo>
                  <a:pt x="1085" y="656"/>
                </a:lnTo>
                <a:lnTo>
                  <a:pt x="1082" y="662"/>
                </a:lnTo>
                <a:lnTo>
                  <a:pt x="1081" y="657"/>
                </a:lnTo>
                <a:lnTo>
                  <a:pt x="1081" y="654"/>
                </a:lnTo>
                <a:lnTo>
                  <a:pt x="1082" y="651"/>
                </a:lnTo>
                <a:lnTo>
                  <a:pt x="1081" y="650"/>
                </a:lnTo>
                <a:lnTo>
                  <a:pt x="1072" y="649"/>
                </a:lnTo>
                <a:lnTo>
                  <a:pt x="1065" y="646"/>
                </a:lnTo>
                <a:lnTo>
                  <a:pt x="1067" y="644"/>
                </a:lnTo>
                <a:lnTo>
                  <a:pt x="1068" y="642"/>
                </a:lnTo>
                <a:lnTo>
                  <a:pt x="1074" y="636"/>
                </a:lnTo>
                <a:lnTo>
                  <a:pt x="1076" y="628"/>
                </a:lnTo>
                <a:lnTo>
                  <a:pt x="1076" y="626"/>
                </a:lnTo>
                <a:lnTo>
                  <a:pt x="1074" y="626"/>
                </a:lnTo>
                <a:lnTo>
                  <a:pt x="1071" y="627"/>
                </a:lnTo>
                <a:lnTo>
                  <a:pt x="1069" y="626"/>
                </a:lnTo>
                <a:lnTo>
                  <a:pt x="1069" y="622"/>
                </a:lnTo>
                <a:lnTo>
                  <a:pt x="1074" y="621"/>
                </a:lnTo>
                <a:lnTo>
                  <a:pt x="1076" y="620"/>
                </a:lnTo>
                <a:lnTo>
                  <a:pt x="1077" y="618"/>
                </a:lnTo>
                <a:lnTo>
                  <a:pt x="1075" y="616"/>
                </a:lnTo>
                <a:lnTo>
                  <a:pt x="1072" y="616"/>
                </a:lnTo>
                <a:lnTo>
                  <a:pt x="1072" y="616"/>
                </a:lnTo>
                <a:lnTo>
                  <a:pt x="1072" y="614"/>
                </a:lnTo>
                <a:lnTo>
                  <a:pt x="1075" y="612"/>
                </a:lnTo>
                <a:lnTo>
                  <a:pt x="1083" y="609"/>
                </a:lnTo>
                <a:lnTo>
                  <a:pt x="1088" y="602"/>
                </a:lnTo>
                <a:lnTo>
                  <a:pt x="1091" y="600"/>
                </a:lnTo>
                <a:lnTo>
                  <a:pt x="1095" y="601"/>
                </a:lnTo>
                <a:lnTo>
                  <a:pt x="1096" y="602"/>
                </a:lnTo>
                <a:lnTo>
                  <a:pt x="1097" y="601"/>
                </a:lnTo>
                <a:lnTo>
                  <a:pt x="1099" y="598"/>
                </a:lnTo>
                <a:lnTo>
                  <a:pt x="1097" y="593"/>
                </a:lnTo>
                <a:lnTo>
                  <a:pt x="1095" y="590"/>
                </a:lnTo>
                <a:lnTo>
                  <a:pt x="1098" y="586"/>
                </a:lnTo>
                <a:lnTo>
                  <a:pt x="1100" y="586"/>
                </a:lnTo>
                <a:lnTo>
                  <a:pt x="1103" y="585"/>
                </a:lnTo>
                <a:lnTo>
                  <a:pt x="1100" y="583"/>
                </a:lnTo>
                <a:lnTo>
                  <a:pt x="1098" y="581"/>
                </a:lnTo>
                <a:lnTo>
                  <a:pt x="1095" y="580"/>
                </a:lnTo>
                <a:lnTo>
                  <a:pt x="1096" y="577"/>
                </a:lnTo>
                <a:lnTo>
                  <a:pt x="1096" y="574"/>
                </a:lnTo>
                <a:lnTo>
                  <a:pt x="1098" y="574"/>
                </a:lnTo>
                <a:lnTo>
                  <a:pt x="1100" y="576"/>
                </a:lnTo>
                <a:lnTo>
                  <a:pt x="1103" y="576"/>
                </a:lnTo>
                <a:lnTo>
                  <a:pt x="1099" y="570"/>
                </a:lnTo>
                <a:lnTo>
                  <a:pt x="1100" y="563"/>
                </a:lnTo>
                <a:lnTo>
                  <a:pt x="1102" y="569"/>
                </a:lnTo>
                <a:lnTo>
                  <a:pt x="1107" y="569"/>
                </a:lnTo>
                <a:lnTo>
                  <a:pt x="1109" y="569"/>
                </a:lnTo>
                <a:lnTo>
                  <a:pt x="1110" y="567"/>
                </a:lnTo>
                <a:lnTo>
                  <a:pt x="1109" y="566"/>
                </a:lnTo>
                <a:lnTo>
                  <a:pt x="1109" y="565"/>
                </a:lnTo>
                <a:lnTo>
                  <a:pt x="1104" y="564"/>
                </a:lnTo>
                <a:lnTo>
                  <a:pt x="1102" y="559"/>
                </a:lnTo>
                <a:lnTo>
                  <a:pt x="1099" y="556"/>
                </a:lnTo>
                <a:lnTo>
                  <a:pt x="1096" y="552"/>
                </a:lnTo>
                <a:lnTo>
                  <a:pt x="1096" y="564"/>
                </a:lnTo>
                <a:lnTo>
                  <a:pt x="1086" y="571"/>
                </a:lnTo>
                <a:lnTo>
                  <a:pt x="1085" y="572"/>
                </a:lnTo>
                <a:lnTo>
                  <a:pt x="1083" y="573"/>
                </a:lnTo>
                <a:lnTo>
                  <a:pt x="1084" y="579"/>
                </a:lnTo>
                <a:lnTo>
                  <a:pt x="1081" y="583"/>
                </a:lnTo>
                <a:lnTo>
                  <a:pt x="1077" y="581"/>
                </a:lnTo>
                <a:lnTo>
                  <a:pt x="1077" y="577"/>
                </a:lnTo>
                <a:lnTo>
                  <a:pt x="1077" y="576"/>
                </a:lnTo>
                <a:lnTo>
                  <a:pt x="1076" y="574"/>
                </a:lnTo>
                <a:lnTo>
                  <a:pt x="1075" y="574"/>
                </a:lnTo>
                <a:lnTo>
                  <a:pt x="1075" y="576"/>
                </a:lnTo>
                <a:lnTo>
                  <a:pt x="1071" y="579"/>
                </a:lnTo>
                <a:lnTo>
                  <a:pt x="1065" y="579"/>
                </a:lnTo>
                <a:lnTo>
                  <a:pt x="1067" y="583"/>
                </a:lnTo>
                <a:lnTo>
                  <a:pt x="1068" y="585"/>
                </a:lnTo>
                <a:lnTo>
                  <a:pt x="1069" y="591"/>
                </a:lnTo>
                <a:lnTo>
                  <a:pt x="1063" y="592"/>
                </a:lnTo>
                <a:lnTo>
                  <a:pt x="1061" y="592"/>
                </a:lnTo>
                <a:lnTo>
                  <a:pt x="1060" y="593"/>
                </a:lnTo>
                <a:lnTo>
                  <a:pt x="1056" y="597"/>
                </a:lnTo>
                <a:lnTo>
                  <a:pt x="1055" y="592"/>
                </a:lnTo>
                <a:lnTo>
                  <a:pt x="1054" y="591"/>
                </a:lnTo>
                <a:lnTo>
                  <a:pt x="1053" y="591"/>
                </a:lnTo>
                <a:lnTo>
                  <a:pt x="1048" y="594"/>
                </a:lnTo>
                <a:lnTo>
                  <a:pt x="1044" y="600"/>
                </a:lnTo>
                <a:lnTo>
                  <a:pt x="1042" y="600"/>
                </a:lnTo>
                <a:lnTo>
                  <a:pt x="1040" y="600"/>
                </a:lnTo>
                <a:lnTo>
                  <a:pt x="1038" y="595"/>
                </a:lnTo>
                <a:lnTo>
                  <a:pt x="1038" y="591"/>
                </a:lnTo>
                <a:lnTo>
                  <a:pt x="1042" y="586"/>
                </a:lnTo>
                <a:lnTo>
                  <a:pt x="1042" y="583"/>
                </a:lnTo>
                <a:lnTo>
                  <a:pt x="1041" y="578"/>
                </a:lnTo>
                <a:lnTo>
                  <a:pt x="1041" y="574"/>
                </a:lnTo>
                <a:lnTo>
                  <a:pt x="1044" y="573"/>
                </a:lnTo>
                <a:lnTo>
                  <a:pt x="1048" y="573"/>
                </a:lnTo>
                <a:lnTo>
                  <a:pt x="1049" y="574"/>
                </a:lnTo>
                <a:lnTo>
                  <a:pt x="1051" y="574"/>
                </a:lnTo>
                <a:lnTo>
                  <a:pt x="1051" y="574"/>
                </a:lnTo>
                <a:lnTo>
                  <a:pt x="1051" y="573"/>
                </a:lnTo>
                <a:lnTo>
                  <a:pt x="1050" y="573"/>
                </a:lnTo>
                <a:lnTo>
                  <a:pt x="1048" y="573"/>
                </a:lnTo>
                <a:lnTo>
                  <a:pt x="1048" y="570"/>
                </a:lnTo>
                <a:lnTo>
                  <a:pt x="1044" y="569"/>
                </a:lnTo>
                <a:lnTo>
                  <a:pt x="1041" y="571"/>
                </a:lnTo>
                <a:lnTo>
                  <a:pt x="1041" y="574"/>
                </a:lnTo>
                <a:lnTo>
                  <a:pt x="1036" y="573"/>
                </a:lnTo>
                <a:lnTo>
                  <a:pt x="1035" y="569"/>
                </a:lnTo>
                <a:lnTo>
                  <a:pt x="1036" y="563"/>
                </a:lnTo>
                <a:lnTo>
                  <a:pt x="1041" y="558"/>
                </a:lnTo>
                <a:lnTo>
                  <a:pt x="1043" y="559"/>
                </a:lnTo>
                <a:lnTo>
                  <a:pt x="1046" y="562"/>
                </a:lnTo>
                <a:lnTo>
                  <a:pt x="1047" y="558"/>
                </a:lnTo>
                <a:lnTo>
                  <a:pt x="1048" y="555"/>
                </a:lnTo>
                <a:lnTo>
                  <a:pt x="1043" y="556"/>
                </a:lnTo>
                <a:lnTo>
                  <a:pt x="1038" y="555"/>
                </a:lnTo>
                <a:lnTo>
                  <a:pt x="1034" y="552"/>
                </a:lnTo>
                <a:lnTo>
                  <a:pt x="1030" y="550"/>
                </a:lnTo>
                <a:lnTo>
                  <a:pt x="1029" y="542"/>
                </a:lnTo>
                <a:lnTo>
                  <a:pt x="1031" y="535"/>
                </a:lnTo>
                <a:lnTo>
                  <a:pt x="1031" y="534"/>
                </a:lnTo>
                <a:lnTo>
                  <a:pt x="1030" y="534"/>
                </a:lnTo>
                <a:lnTo>
                  <a:pt x="1027" y="530"/>
                </a:lnTo>
                <a:lnTo>
                  <a:pt x="1027" y="525"/>
                </a:lnTo>
                <a:lnTo>
                  <a:pt x="1020" y="523"/>
                </a:lnTo>
                <a:lnTo>
                  <a:pt x="1020" y="515"/>
                </a:lnTo>
                <a:lnTo>
                  <a:pt x="1017" y="523"/>
                </a:lnTo>
                <a:lnTo>
                  <a:pt x="1017" y="530"/>
                </a:lnTo>
                <a:lnTo>
                  <a:pt x="1015" y="525"/>
                </a:lnTo>
                <a:lnTo>
                  <a:pt x="1010" y="524"/>
                </a:lnTo>
                <a:lnTo>
                  <a:pt x="1009" y="527"/>
                </a:lnTo>
                <a:lnTo>
                  <a:pt x="1007" y="530"/>
                </a:lnTo>
                <a:lnTo>
                  <a:pt x="1006" y="525"/>
                </a:lnTo>
                <a:lnTo>
                  <a:pt x="1010" y="524"/>
                </a:lnTo>
                <a:lnTo>
                  <a:pt x="1009" y="516"/>
                </a:lnTo>
                <a:lnTo>
                  <a:pt x="1008" y="508"/>
                </a:lnTo>
                <a:lnTo>
                  <a:pt x="1003" y="511"/>
                </a:lnTo>
                <a:lnTo>
                  <a:pt x="1002" y="516"/>
                </a:lnTo>
                <a:lnTo>
                  <a:pt x="1000" y="515"/>
                </a:lnTo>
                <a:lnTo>
                  <a:pt x="999" y="514"/>
                </a:lnTo>
                <a:lnTo>
                  <a:pt x="996" y="510"/>
                </a:lnTo>
                <a:lnTo>
                  <a:pt x="994" y="507"/>
                </a:lnTo>
                <a:lnTo>
                  <a:pt x="993" y="503"/>
                </a:lnTo>
                <a:lnTo>
                  <a:pt x="994" y="500"/>
                </a:lnTo>
                <a:lnTo>
                  <a:pt x="996" y="500"/>
                </a:lnTo>
                <a:lnTo>
                  <a:pt x="999" y="502"/>
                </a:lnTo>
                <a:lnTo>
                  <a:pt x="1000" y="502"/>
                </a:lnTo>
                <a:lnTo>
                  <a:pt x="1001" y="502"/>
                </a:lnTo>
                <a:lnTo>
                  <a:pt x="1002" y="503"/>
                </a:lnTo>
                <a:lnTo>
                  <a:pt x="1002" y="504"/>
                </a:lnTo>
                <a:lnTo>
                  <a:pt x="1002" y="504"/>
                </a:lnTo>
                <a:lnTo>
                  <a:pt x="1002" y="506"/>
                </a:lnTo>
                <a:lnTo>
                  <a:pt x="1002" y="504"/>
                </a:lnTo>
                <a:lnTo>
                  <a:pt x="1002" y="504"/>
                </a:lnTo>
                <a:lnTo>
                  <a:pt x="1005" y="503"/>
                </a:lnTo>
                <a:lnTo>
                  <a:pt x="1002" y="501"/>
                </a:lnTo>
                <a:lnTo>
                  <a:pt x="1002" y="500"/>
                </a:lnTo>
                <a:lnTo>
                  <a:pt x="1003" y="497"/>
                </a:lnTo>
                <a:lnTo>
                  <a:pt x="1005" y="497"/>
                </a:lnTo>
                <a:lnTo>
                  <a:pt x="1005" y="497"/>
                </a:lnTo>
                <a:lnTo>
                  <a:pt x="1007" y="493"/>
                </a:lnTo>
                <a:lnTo>
                  <a:pt x="1010" y="495"/>
                </a:lnTo>
                <a:lnTo>
                  <a:pt x="1014" y="497"/>
                </a:lnTo>
                <a:lnTo>
                  <a:pt x="1019" y="499"/>
                </a:lnTo>
                <a:lnTo>
                  <a:pt x="1021" y="499"/>
                </a:lnTo>
                <a:lnTo>
                  <a:pt x="1023" y="496"/>
                </a:lnTo>
                <a:lnTo>
                  <a:pt x="1022" y="493"/>
                </a:lnTo>
                <a:lnTo>
                  <a:pt x="1020" y="489"/>
                </a:lnTo>
                <a:lnTo>
                  <a:pt x="1017" y="488"/>
                </a:lnTo>
                <a:lnTo>
                  <a:pt x="1015" y="490"/>
                </a:lnTo>
                <a:lnTo>
                  <a:pt x="1014" y="493"/>
                </a:lnTo>
                <a:lnTo>
                  <a:pt x="1013" y="493"/>
                </a:lnTo>
                <a:lnTo>
                  <a:pt x="1012" y="492"/>
                </a:lnTo>
                <a:lnTo>
                  <a:pt x="1012" y="489"/>
                </a:lnTo>
                <a:lnTo>
                  <a:pt x="1013" y="486"/>
                </a:lnTo>
                <a:lnTo>
                  <a:pt x="1014" y="482"/>
                </a:lnTo>
                <a:lnTo>
                  <a:pt x="1014" y="482"/>
                </a:lnTo>
                <a:lnTo>
                  <a:pt x="1014" y="482"/>
                </a:lnTo>
                <a:lnTo>
                  <a:pt x="1016" y="482"/>
                </a:lnTo>
                <a:lnTo>
                  <a:pt x="1019" y="482"/>
                </a:lnTo>
                <a:lnTo>
                  <a:pt x="1020" y="485"/>
                </a:lnTo>
                <a:lnTo>
                  <a:pt x="1022" y="486"/>
                </a:lnTo>
                <a:lnTo>
                  <a:pt x="1023" y="485"/>
                </a:lnTo>
                <a:lnTo>
                  <a:pt x="1023" y="483"/>
                </a:lnTo>
                <a:lnTo>
                  <a:pt x="1022" y="481"/>
                </a:lnTo>
                <a:lnTo>
                  <a:pt x="1019" y="481"/>
                </a:lnTo>
                <a:lnTo>
                  <a:pt x="1019" y="478"/>
                </a:lnTo>
                <a:lnTo>
                  <a:pt x="1020" y="475"/>
                </a:lnTo>
                <a:lnTo>
                  <a:pt x="1022" y="476"/>
                </a:lnTo>
                <a:lnTo>
                  <a:pt x="1024" y="479"/>
                </a:lnTo>
                <a:lnTo>
                  <a:pt x="1022" y="468"/>
                </a:lnTo>
                <a:lnTo>
                  <a:pt x="1014" y="465"/>
                </a:lnTo>
                <a:lnTo>
                  <a:pt x="1016" y="469"/>
                </a:lnTo>
                <a:lnTo>
                  <a:pt x="1019" y="473"/>
                </a:lnTo>
                <a:lnTo>
                  <a:pt x="1014" y="473"/>
                </a:lnTo>
                <a:lnTo>
                  <a:pt x="1010" y="471"/>
                </a:lnTo>
                <a:lnTo>
                  <a:pt x="1010" y="474"/>
                </a:lnTo>
                <a:lnTo>
                  <a:pt x="1012" y="475"/>
                </a:lnTo>
                <a:lnTo>
                  <a:pt x="1016" y="478"/>
                </a:lnTo>
                <a:lnTo>
                  <a:pt x="1014" y="482"/>
                </a:lnTo>
                <a:lnTo>
                  <a:pt x="1010" y="479"/>
                </a:lnTo>
                <a:lnTo>
                  <a:pt x="1006" y="478"/>
                </a:lnTo>
                <a:lnTo>
                  <a:pt x="1006" y="476"/>
                </a:lnTo>
                <a:lnTo>
                  <a:pt x="1006" y="474"/>
                </a:lnTo>
                <a:lnTo>
                  <a:pt x="1005" y="475"/>
                </a:lnTo>
                <a:lnTo>
                  <a:pt x="1003" y="475"/>
                </a:lnTo>
                <a:lnTo>
                  <a:pt x="1005" y="478"/>
                </a:lnTo>
                <a:lnTo>
                  <a:pt x="1006" y="478"/>
                </a:lnTo>
                <a:lnTo>
                  <a:pt x="1005" y="482"/>
                </a:lnTo>
                <a:lnTo>
                  <a:pt x="1002" y="486"/>
                </a:lnTo>
                <a:lnTo>
                  <a:pt x="1006" y="485"/>
                </a:lnTo>
                <a:lnTo>
                  <a:pt x="1009" y="482"/>
                </a:lnTo>
                <a:lnTo>
                  <a:pt x="1009" y="487"/>
                </a:lnTo>
                <a:lnTo>
                  <a:pt x="1005" y="489"/>
                </a:lnTo>
                <a:lnTo>
                  <a:pt x="1002" y="489"/>
                </a:lnTo>
                <a:lnTo>
                  <a:pt x="1002" y="486"/>
                </a:lnTo>
                <a:lnTo>
                  <a:pt x="999" y="487"/>
                </a:lnTo>
                <a:lnTo>
                  <a:pt x="995" y="486"/>
                </a:lnTo>
                <a:lnTo>
                  <a:pt x="994" y="485"/>
                </a:lnTo>
                <a:lnTo>
                  <a:pt x="992" y="485"/>
                </a:lnTo>
                <a:lnTo>
                  <a:pt x="991" y="487"/>
                </a:lnTo>
                <a:lnTo>
                  <a:pt x="993" y="489"/>
                </a:lnTo>
                <a:lnTo>
                  <a:pt x="996" y="492"/>
                </a:lnTo>
                <a:lnTo>
                  <a:pt x="998" y="496"/>
                </a:lnTo>
                <a:lnTo>
                  <a:pt x="995" y="496"/>
                </a:lnTo>
                <a:lnTo>
                  <a:pt x="993" y="495"/>
                </a:lnTo>
                <a:lnTo>
                  <a:pt x="989" y="493"/>
                </a:lnTo>
                <a:lnTo>
                  <a:pt x="985" y="493"/>
                </a:lnTo>
                <a:lnTo>
                  <a:pt x="986" y="490"/>
                </a:lnTo>
                <a:lnTo>
                  <a:pt x="984" y="488"/>
                </a:lnTo>
                <a:lnTo>
                  <a:pt x="981" y="487"/>
                </a:lnTo>
                <a:lnTo>
                  <a:pt x="981" y="485"/>
                </a:lnTo>
                <a:lnTo>
                  <a:pt x="982" y="482"/>
                </a:lnTo>
                <a:lnTo>
                  <a:pt x="980" y="481"/>
                </a:lnTo>
                <a:lnTo>
                  <a:pt x="977" y="481"/>
                </a:lnTo>
                <a:lnTo>
                  <a:pt x="972" y="481"/>
                </a:lnTo>
                <a:lnTo>
                  <a:pt x="973" y="476"/>
                </a:lnTo>
                <a:lnTo>
                  <a:pt x="968" y="474"/>
                </a:lnTo>
                <a:lnTo>
                  <a:pt x="965" y="473"/>
                </a:lnTo>
                <a:lnTo>
                  <a:pt x="961" y="472"/>
                </a:lnTo>
                <a:lnTo>
                  <a:pt x="957" y="471"/>
                </a:lnTo>
                <a:lnTo>
                  <a:pt x="955" y="474"/>
                </a:lnTo>
                <a:lnTo>
                  <a:pt x="952" y="471"/>
                </a:lnTo>
                <a:lnTo>
                  <a:pt x="946" y="468"/>
                </a:lnTo>
                <a:lnTo>
                  <a:pt x="939" y="466"/>
                </a:lnTo>
                <a:lnTo>
                  <a:pt x="936" y="460"/>
                </a:lnTo>
                <a:lnTo>
                  <a:pt x="939" y="460"/>
                </a:lnTo>
                <a:lnTo>
                  <a:pt x="943" y="460"/>
                </a:lnTo>
                <a:lnTo>
                  <a:pt x="945" y="459"/>
                </a:lnTo>
                <a:lnTo>
                  <a:pt x="946" y="460"/>
                </a:lnTo>
                <a:lnTo>
                  <a:pt x="947" y="462"/>
                </a:lnTo>
                <a:lnTo>
                  <a:pt x="950" y="462"/>
                </a:lnTo>
                <a:lnTo>
                  <a:pt x="951" y="461"/>
                </a:lnTo>
                <a:lnTo>
                  <a:pt x="951" y="459"/>
                </a:lnTo>
                <a:lnTo>
                  <a:pt x="951" y="457"/>
                </a:lnTo>
                <a:lnTo>
                  <a:pt x="948" y="455"/>
                </a:lnTo>
                <a:lnTo>
                  <a:pt x="945" y="457"/>
                </a:lnTo>
                <a:lnTo>
                  <a:pt x="943" y="457"/>
                </a:lnTo>
                <a:lnTo>
                  <a:pt x="943" y="458"/>
                </a:lnTo>
                <a:lnTo>
                  <a:pt x="943" y="459"/>
                </a:lnTo>
                <a:lnTo>
                  <a:pt x="943" y="459"/>
                </a:lnTo>
                <a:lnTo>
                  <a:pt x="941" y="458"/>
                </a:lnTo>
                <a:lnTo>
                  <a:pt x="941" y="458"/>
                </a:lnTo>
                <a:lnTo>
                  <a:pt x="941" y="457"/>
                </a:lnTo>
                <a:lnTo>
                  <a:pt x="943" y="457"/>
                </a:lnTo>
                <a:lnTo>
                  <a:pt x="943" y="453"/>
                </a:lnTo>
                <a:lnTo>
                  <a:pt x="940" y="451"/>
                </a:lnTo>
                <a:lnTo>
                  <a:pt x="938" y="447"/>
                </a:lnTo>
                <a:lnTo>
                  <a:pt x="936" y="443"/>
                </a:lnTo>
                <a:lnTo>
                  <a:pt x="938" y="440"/>
                </a:lnTo>
                <a:lnTo>
                  <a:pt x="938" y="437"/>
                </a:lnTo>
                <a:lnTo>
                  <a:pt x="933" y="437"/>
                </a:lnTo>
                <a:lnTo>
                  <a:pt x="931" y="437"/>
                </a:lnTo>
                <a:lnTo>
                  <a:pt x="926" y="438"/>
                </a:lnTo>
                <a:lnTo>
                  <a:pt x="924" y="434"/>
                </a:lnTo>
                <a:lnTo>
                  <a:pt x="926" y="433"/>
                </a:lnTo>
                <a:lnTo>
                  <a:pt x="927" y="431"/>
                </a:lnTo>
                <a:lnTo>
                  <a:pt x="929" y="431"/>
                </a:lnTo>
                <a:lnTo>
                  <a:pt x="929" y="431"/>
                </a:lnTo>
                <a:lnTo>
                  <a:pt x="929" y="431"/>
                </a:lnTo>
                <a:lnTo>
                  <a:pt x="930" y="430"/>
                </a:lnTo>
                <a:lnTo>
                  <a:pt x="934" y="425"/>
                </a:lnTo>
                <a:lnTo>
                  <a:pt x="939" y="419"/>
                </a:lnTo>
                <a:lnTo>
                  <a:pt x="932" y="418"/>
                </a:lnTo>
                <a:lnTo>
                  <a:pt x="930" y="415"/>
                </a:lnTo>
                <a:lnTo>
                  <a:pt x="929" y="410"/>
                </a:lnTo>
                <a:lnTo>
                  <a:pt x="924" y="410"/>
                </a:lnTo>
                <a:lnTo>
                  <a:pt x="924" y="401"/>
                </a:lnTo>
                <a:lnTo>
                  <a:pt x="917" y="396"/>
                </a:lnTo>
                <a:lnTo>
                  <a:pt x="911" y="392"/>
                </a:lnTo>
                <a:lnTo>
                  <a:pt x="910" y="388"/>
                </a:lnTo>
                <a:lnTo>
                  <a:pt x="910" y="388"/>
                </a:lnTo>
                <a:lnTo>
                  <a:pt x="910" y="387"/>
                </a:lnTo>
                <a:lnTo>
                  <a:pt x="910" y="388"/>
                </a:lnTo>
                <a:lnTo>
                  <a:pt x="910" y="388"/>
                </a:lnTo>
                <a:lnTo>
                  <a:pt x="912" y="388"/>
                </a:lnTo>
                <a:lnTo>
                  <a:pt x="913" y="387"/>
                </a:lnTo>
                <a:lnTo>
                  <a:pt x="916" y="387"/>
                </a:lnTo>
                <a:lnTo>
                  <a:pt x="917" y="385"/>
                </a:lnTo>
                <a:lnTo>
                  <a:pt x="919" y="384"/>
                </a:lnTo>
                <a:lnTo>
                  <a:pt x="920" y="383"/>
                </a:lnTo>
                <a:lnTo>
                  <a:pt x="925" y="384"/>
                </a:lnTo>
                <a:lnTo>
                  <a:pt x="927" y="382"/>
                </a:lnTo>
                <a:lnTo>
                  <a:pt x="929" y="376"/>
                </a:lnTo>
                <a:lnTo>
                  <a:pt x="931" y="370"/>
                </a:lnTo>
                <a:lnTo>
                  <a:pt x="932" y="373"/>
                </a:lnTo>
                <a:lnTo>
                  <a:pt x="932" y="375"/>
                </a:lnTo>
                <a:lnTo>
                  <a:pt x="932" y="377"/>
                </a:lnTo>
                <a:lnTo>
                  <a:pt x="932" y="380"/>
                </a:lnTo>
                <a:lnTo>
                  <a:pt x="930" y="382"/>
                </a:lnTo>
                <a:lnTo>
                  <a:pt x="931" y="385"/>
                </a:lnTo>
                <a:lnTo>
                  <a:pt x="930" y="389"/>
                </a:lnTo>
                <a:lnTo>
                  <a:pt x="930" y="391"/>
                </a:lnTo>
                <a:lnTo>
                  <a:pt x="929" y="397"/>
                </a:lnTo>
                <a:lnTo>
                  <a:pt x="930" y="403"/>
                </a:lnTo>
                <a:lnTo>
                  <a:pt x="936" y="404"/>
                </a:lnTo>
                <a:lnTo>
                  <a:pt x="941" y="405"/>
                </a:lnTo>
                <a:lnTo>
                  <a:pt x="954" y="408"/>
                </a:lnTo>
                <a:lnTo>
                  <a:pt x="965" y="413"/>
                </a:lnTo>
                <a:lnTo>
                  <a:pt x="968" y="416"/>
                </a:lnTo>
                <a:lnTo>
                  <a:pt x="972" y="417"/>
                </a:lnTo>
                <a:lnTo>
                  <a:pt x="973" y="418"/>
                </a:lnTo>
                <a:lnTo>
                  <a:pt x="975" y="418"/>
                </a:lnTo>
                <a:lnTo>
                  <a:pt x="979" y="422"/>
                </a:lnTo>
                <a:lnTo>
                  <a:pt x="985" y="423"/>
                </a:lnTo>
                <a:lnTo>
                  <a:pt x="989" y="425"/>
                </a:lnTo>
                <a:lnTo>
                  <a:pt x="993" y="425"/>
                </a:lnTo>
                <a:lnTo>
                  <a:pt x="996" y="430"/>
                </a:lnTo>
                <a:lnTo>
                  <a:pt x="1001" y="432"/>
                </a:lnTo>
                <a:lnTo>
                  <a:pt x="1012" y="439"/>
                </a:lnTo>
                <a:lnTo>
                  <a:pt x="1024" y="444"/>
                </a:lnTo>
                <a:lnTo>
                  <a:pt x="1028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1" y="446"/>
                </a:lnTo>
                <a:lnTo>
                  <a:pt x="1034" y="448"/>
                </a:lnTo>
                <a:lnTo>
                  <a:pt x="1036" y="447"/>
                </a:lnTo>
                <a:lnTo>
                  <a:pt x="1043" y="450"/>
                </a:lnTo>
                <a:lnTo>
                  <a:pt x="1050" y="452"/>
                </a:lnTo>
                <a:lnTo>
                  <a:pt x="1058" y="458"/>
                </a:lnTo>
                <a:lnTo>
                  <a:pt x="1069" y="460"/>
                </a:lnTo>
                <a:lnTo>
                  <a:pt x="1070" y="460"/>
                </a:lnTo>
                <a:lnTo>
                  <a:pt x="1072" y="461"/>
                </a:lnTo>
                <a:lnTo>
                  <a:pt x="1075" y="464"/>
                </a:lnTo>
                <a:lnTo>
                  <a:pt x="1078" y="465"/>
                </a:lnTo>
                <a:lnTo>
                  <a:pt x="1084" y="469"/>
                </a:lnTo>
                <a:lnTo>
                  <a:pt x="1091" y="468"/>
                </a:lnTo>
                <a:lnTo>
                  <a:pt x="1092" y="469"/>
                </a:lnTo>
                <a:lnTo>
                  <a:pt x="1092" y="469"/>
                </a:lnTo>
                <a:lnTo>
                  <a:pt x="1092" y="475"/>
                </a:lnTo>
                <a:lnTo>
                  <a:pt x="1097" y="476"/>
                </a:lnTo>
                <a:lnTo>
                  <a:pt x="1104" y="483"/>
                </a:lnTo>
                <a:lnTo>
                  <a:pt x="1110" y="490"/>
                </a:lnTo>
                <a:lnTo>
                  <a:pt x="1115" y="496"/>
                </a:lnTo>
                <a:lnTo>
                  <a:pt x="1120" y="501"/>
                </a:lnTo>
                <a:lnTo>
                  <a:pt x="1120" y="501"/>
                </a:lnTo>
                <a:lnTo>
                  <a:pt x="1120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2" y="502"/>
                </a:lnTo>
                <a:lnTo>
                  <a:pt x="1125" y="507"/>
                </a:lnTo>
                <a:lnTo>
                  <a:pt x="1129" y="510"/>
                </a:lnTo>
                <a:lnTo>
                  <a:pt x="1130" y="511"/>
                </a:lnTo>
                <a:lnTo>
                  <a:pt x="1132" y="511"/>
                </a:lnTo>
                <a:lnTo>
                  <a:pt x="1134" y="515"/>
                </a:lnTo>
                <a:lnTo>
                  <a:pt x="1137" y="515"/>
                </a:lnTo>
                <a:lnTo>
                  <a:pt x="1139" y="517"/>
                </a:lnTo>
                <a:lnTo>
                  <a:pt x="1141" y="518"/>
                </a:lnTo>
                <a:lnTo>
                  <a:pt x="1157" y="510"/>
                </a:lnTo>
                <a:lnTo>
                  <a:pt x="1160" y="492"/>
                </a:lnTo>
                <a:lnTo>
                  <a:pt x="1160" y="490"/>
                </a:lnTo>
                <a:lnTo>
                  <a:pt x="1159" y="490"/>
                </a:lnTo>
                <a:lnTo>
                  <a:pt x="1159" y="489"/>
                </a:lnTo>
                <a:lnTo>
                  <a:pt x="1159" y="488"/>
                </a:lnTo>
                <a:lnTo>
                  <a:pt x="1159" y="487"/>
                </a:lnTo>
                <a:lnTo>
                  <a:pt x="1159" y="486"/>
                </a:lnTo>
                <a:lnTo>
                  <a:pt x="1159" y="486"/>
                </a:lnTo>
                <a:lnTo>
                  <a:pt x="1159" y="485"/>
                </a:lnTo>
                <a:lnTo>
                  <a:pt x="1159" y="475"/>
                </a:lnTo>
                <a:lnTo>
                  <a:pt x="1160" y="465"/>
                </a:lnTo>
                <a:lnTo>
                  <a:pt x="1162" y="462"/>
                </a:lnTo>
                <a:lnTo>
                  <a:pt x="1162" y="459"/>
                </a:lnTo>
                <a:lnTo>
                  <a:pt x="1161" y="446"/>
                </a:lnTo>
                <a:lnTo>
                  <a:pt x="1159" y="434"/>
                </a:lnTo>
                <a:lnTo>
                  <a:pt x="1161" y="420"/>
                </a:lnTo>
                <a:lnTo>
                  <a:pt x="1158" y="406"/>
                </a:lnTo>
                <a:lnTo>
                  <a:pt x="1164" y="410"/>
                </a:lnTo>
                <a:lnTo>
                  <a:pt x="1167" y="406"/>
                </a:lnTo>
                <a:lnTo>
                  <a:pt x="1168" y="405"/>
                </a:lnTo>
                <a:lnTo>
                  <a:pt x="1169" y="403"/>
                </a:lnTo>
                <a:lnTo>
                  <a:pt x="1167" y="396"/>
                </a:lnTo>
                <a:lnTo>
                  <a:pt x="1171" y="388"/>
                </a:lnTo>
                <a:lnTo>
                  <a:pt x="1171" y="377"/>
                </a:lnTo>
                <a:lnTo>
                  <a:pt x="1162" y="370"/>
                </a:lnTo>
                <a:lnTo>
                  <a:pt x="1162" y="364"/>
                </a:lnTo>
                <a:lnTo>
                  <a:pt x="1159" y="359"/>
                </a:lnTo>
                <a:lnTo>
                  <a:pt x="1160" y="354"/>
                </a:lnTo>
                <a:lnTo>
                  <a:pt x="1162" y="349"/>
                </a:lnTo>
                <a:lnTo>
                  <a:pt x="1164" y="342"/>
                </a:lnTo>
                <a:lnTo>
                  <a:pt x="1161" y="334"/>
                </a:lnTo>
                <a:lnTo>
                  <a:pt x="1161" y="334"/>
                </a:lnTo>
                <a:lnTo>
                  <a:pt x="1160" y="333"/>
                </a:lnTo>
                <a:lnTo>
                  <a:pt x="1159" y="334"/>
                </a:lnTo>
                <a:lnTo>
                  <a:pt x="1158" y="335"/>
                </a:lnTo>
                <a:lnTo>
                  <a:pt x="1158" y="340"/>
                </a:lnTo>
                <a:lnTo>
                  <a:pt x="1158" y="345"/>
                </a:lnTo>
                <a:lnTo>
                  <a:pt x="1152" y="337"/>
                </a:lnTo>
                <a:lnTo>
                  <a:pt x="1151" y="329"/>
                </a:lnTo>
                <a:lnTo>
                  <a:pt x="1151" y="328"/>
                </a:lnTo>
                <a:lnTo>
                  <a:pt x="1151" y="326"/>
                </a:lnTo>
                <a:lnTo>
                  <a:pt x="1151" y="326"/>
                </a:lnTo>
                <a:lnTo>
                  <a:pt x="1150" y="325"/>
                </a:lnTo>
                <a:lnTo>
                  <a:pt x="1148" y="328"/>
                </a:lnTo>
                <a:lnTo>
                  <a:pt x="1147" y="330"/>
                </a:lnTo>
                <a:lnTo>
                  <a:pt x="1143" y="327"/>
                </a:lnTo>
                <a:lnTo>
                  <a:pt x="1140" y="322"/>
                </a:lnTo>
                <a:lnTo>
                  <a:pt x="1138" y="313"/>
                </a:lnTo>
                <a:lnTo>
                  <a:pt x="1137" y="304"/>
                </a:lnTo>
                <a:lnTo>
                  <a:pt x="1136" y="301"/>
                </a:lnTo>
                <a:lnTo>
                  <a:pt x="1133" y="300"/>
                </a:lnTo>
                <a:lnTo>
                  <a:pt x="1133" y="295"/>
                </a:lnTo>
                <a:lnTo>
                  <a:pt x="1131" y="291"/>
                </a:lnTo>
                <a:lnTo>
                  <a:pt x="1127" y="284"/>
                </a:lnTo>
                <a:lnTo>
                  <a:pt x="1127" y="277"/>
                </a:lnTo>
                <a:lnTo>
                  <a:pt x="1127" y="272"/>
                </a:lnTo>
                <a:lnTo>
                  <a:pt x="1129" y="266"/>
                </a:lnTo>
                <a:lnTo>
                  <a:pt x="1136" y="270"/>
                </a:lnTo>
                <a:lnTo>
                  <a:pt x="1143" y="274"/>
                </a:lnTo>
                <a:lnTo>
                  <a:pt x="1145" y="278"/>
                </a:lnTo>
                <a:lnTo>
                  <a:pt x="1148" y="279"/>
                </a:lnTo>
                <a:lnTo>
                  <a:pt x="1151" y="279"/>
                </a:lnTo>
                <a:lnTo>
                  <a:pt x="1153" y="278"/>
                </a:lnTo>
                <a:lnTo>
                  <a:pt x="1153" y="276"/>
                </a:lnTo>
                <a:lnTo>
                  <a:pt x="1150" y="274"/>
                </a:lnTo>
                <a:lnTo>
                  <a:pt x="1146" y="273"/>
                </a:lnTo>
                <a:lnTo>
                  <a:pt x="1143" y="272"/>
                </a:lnTo>
                <a:lnTo>
                  <a:pt x="1141" y="267"/>
                </a:lnTo>
                <a:lnTo>
                  <a:pt x="1144" y="264"/>
                </a:lnTo>
                <a:lnTo>
                  <a:pt x="1146" y="264"/>
                </a:lnTo>
                <a:lnTo>
                  <a:pt x="1148" y="266"/>
                </a:lnTo>
                <a:lnTo>
                  <a:pt x="1150" y="266"/>
                </a:lnTo>
                <a:lnTo>
                  <a:pt x="1151" y="267"/>
                </a:lnTo>
                <a:lnTo>
                  <a:pt x="1150" y="269"/>
                </a:lnTo>
                <a:lnTo>
                  <a:pt x="1151" y="272"/>
                </a:lnTo>
                <a:lnTo>
                  <a:pt x="1153" y="273"/>
                </a:lnTo>
                <a:lnTo>
                  <a:pt x="1155" y="271"/>
                </a:lnTo>
                <a:lnTo>
                  <a:pt x="1159" y="272"/>
                </a:lnTo>
                <a:lnTo>
                  <a:pt x="1161" y="276"/>
                </a:lnTo>
                <a:lnTo>
                  <a:pt x="1164" y="278"/>
                </a:lnTo>
                <a:lnTo>
                  <a:pt x="1166" y="278"/>
                </a:lnTo>
                <a:lnTo>
                  <a:pt x="1164" y="281"/>
                </a:lnTo>
                <a:lnTo>
                  <a:pt x="1159" y="283"/>
                </a:lnTo>
                <a:lnTo>
                  <a:pt x="1162" y="284"/>
                </a:lnTo>
                <a:lnTo>
                  <a:pt x="1165" y="285"/>
                </a:lnTo>
                <a:lnTo>
                  <a:pt x="1171" y="287"/>
                </a:lnTo>
                <a:lnTo>
                  <a:pt x="1174" y="286"/>
                </a:lnTo>
                <a:lnTo>
                  <a:pt x="1173" y="283"/>
                </a:lnTo>
                <a:lnTo>
                  <a:pt x="1169" y="279"/>
                </a:lnTo>
                <a:lnTo>
                  <a:pt x="1172" y="279"/>
                </a:lnTo>
                <a:lnTo>
                  <a:pt x="1174" y="279"/>
                </a:lnTo>
                <a:lnTo>
                  <a:pt x="1178" y="280"/>
                </a:lnTo>
                <a:lnTo>
                  <a:pt x="1179" y="277"/>
                </a:lnTo>
                <a:lnTo>
                  <a:pt x="1183" y="276"/>
                </a:lnTo>
                <a:lnTo>
                  <a:pt x="1185" y="273"/>
                </a:lnTo>
                <a:lnTo>
                  <a:pt x="1188" y="273"/>
                </a:lnTo>
                <a:lnTo>
                  <a:pt x="1186" y="271"/>
                </a:lnTo>
                <a:lnTo>
                  <a:pt x="1192" y="269"/>
                </a:lnTo>
                <a:lnTo>
                  <a:pt x="1196" y="266"/>
                </a:lnTo>
                <a:lnTo>
                  <a:pt x="1198" y="269"/>
                </a:lnTo>
                <a:lnTo>
                  <a:pt x="1200" y="270"/>
                </a:lnTo>
                <a:lnTo>
                  <a:pt x="1200" y="270"/>
                </a:lnTo>
                <a:lnTo>
                  <a:pt x="1201" y="270"/>
                </a:lnTo>
                <a:lnTo>
                  <a:pt x="1200" y="270"/>
                </a:lnTo>
                <a:lnTo>
                  <a:pt x="1200" y="270"/>
                </a:lnTo>
                <a:lnTo>
                  <a:pt x="1198" y="276"/>
                </a:lnTo>
                <a:lnTo>
                  <a:pt x="1196" y="284"/>
                </a:lnTo>
                <a:lnTo>
                  <a:pt x="1196" y="284"/>
                </a:lnTo>
                <a:lnTo>
                  <a:pt x="1196" y="284"/>
                </a:lnTo>
                <a:lnTo>
                  <a:pt x="1192" y="284"/>
                </a:lnTo>
                <a:lnTo>
                  <a:pt x="1191" y="286"/>
                </a:lnTo>
                <a:lnTo>
                  <a:pt x="1191" y="292"/>
                </a:lnTo>
                <a:lnTo>
                  <a:pt x="1192" y="297"/>
                </a:lnTo>
                <a:lnTo>
                  <a:pt x="1188" y="299"/>
                </a:lnTo>
                <a:lnTo>
                  <a:pt x="1188" y="302"/>
                </a:lnTo>
                <a:lnTo>
                  <a:pt x="1188" y="305"/>
                </a:lnTo>
                <a:lnTo>
                  <a:pt x="1187" y="307"/>
                </a:lnTo>
                <a:lnTo>
                  <a:pt x="1185" y="316"/>
                </a:lnTo>
                <a:lnTo>
                  <a:pt x="1186" y="326"/>
                </a:lnTo>
                <a:lnTo>
                  <a:pt x="1187" y="335"/>
                </a:lnTo>
                <a:lnTo>
                  <a:pt x="1187" y="347"/>
                </a:lnTo>
                <a:lnTo>
                  <a:pt x="1185" y="343"/>
                </a:lnTo>
                <a:lnTo>
                  <a:pt x="1182" y="346"/>
                </a:lnTo>
                <a:lnTo>
                  <a:pt x="1179" y="353"/>
                </a:lnTo>
                <a:lnTo>
                  <a:pt x="1175" y="360"/>
                </a:lnTo>
                <a:lnTo>
                  <a:pt x="1175" y="364"/>
                </a:lnTo>
                <a:lnTo>
                  <a:pt x="1179" y="368"/>
                </a:lnTo>
                <a:lnTo>
                  <a:pt x="1179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80" y="368"/>
                </a:lnTo>
                <a:lnTo>
                  <a:pt x="1179" y="368"/>
                </a:lnTo>
                <a:lnTo>
                  <a:pt x="1176" y="378"/>
                </a:lnTo>
                <a:lnTo>
                  <a:pt x="1175" y="389"/>
                </a:lnTo>
                <a:lnTo>
                  <a:pt x="1174" y="398"/>
                </a:lnTo>
                <a:lnTo>
                  <a:pt x="1172" y="406"/>
                </a:lnTo>
                <a:lnTo>
                  <a:pt x="1168" y="415"/>
                </a:lnTo>
                <a:lnTo>
                  <a:pt x="1166" y="423"/>
                </a:lnTo>
                <a:lnTo>
                  <a:pt x="1166" y="439"/>
                </a:lnTo>
                <a:lnTo>
                  <a:pt x="1172" y="453"/>
                </a:lnTo>
                <a:lnTo>
                  <a:pt x="1172" y="454"/>
                </a:lnTo>
                <a:lnTo>
                  <a:pt x="1172" y="454"/>
                </a:lnTo>
                <a:lnTo>
                  <a:pt x="1171" y="460"/>
                </a:lnTo>
                <a:lnTo>
                  <a:pt x="1175" y="464"/>
                </a:lnTo>
                <a:lnTo>
                  <a:pt x="1176" y="467"/>
                </a:lnTo>
                <a:lnTo>
                  <a:pt x="1176" y="469"/>
                </a:lnTo>
                <a:lnTo>
                  <a:pt x="1176" y="478"/>
                </a:lnTo>
                <a:lnTo>
                  <a:pt x="1175" y="485"/>
                </a:lnTo>
                <a:lnTo>
                  <a:pt x="1173" y="494"/>
                </a:lnTo>
                <a:lnTo>
                  <a:pt x="1178" y="503"/>
                </a:lnTo>
                <a:lnTo>
                  <a:pt x="1178" y="504"/>
                </a:lnTo>
                <a:lnTo>
                  <a:pt x="1178" y="504"/>
                </a:lnTo>
                <a:lnTo>
                  <a:pt x="1178" y="513"/>
                </a:lnTo>
                <a:lnTo>
                  <a:pt x="1181" y="520"/>
                </a:lnTo>
                <a:lnTo>
                  <a:pt x="1182" y="522"/>
                </a:lnTo>
                <a:lnTo>
                  <a:pt x="1182" y="525"/>
                </a:lnTo>
                <a:lnTo>
                  <a:pt x="1181" y="530"/>
                </a:lnTo>
                <a:lnTo>
                  <a:pt x="1180" y="535"/>
                </a:lnTo>
                <a:lnTo>
                  <a:pt x="1181" y="538"/>
                </a:lnTo>
                <a:lnTo>
                  <a:pt x="1183" y="539"/>
                </a:lnTo>
                <a:lnTo>
                  <a:pt x="1186" y="538"/>
                </a:lnTo>
                <a:lnTo>
                  <a:pt x="1187" y="537"/>
                </a:lnTo>
                <a:lnTo>
                  <a:pt x="1188" y="535"/>
                </a:lnTo>
                <a:lnTo>
                  <a:pt x="1189" y="532"/>
                </a:lnTo>
                <a:lnTo>
                  <a:pt x="1194" y="532"/>
                </a:lnTo>
                <a:lnTo>
                  <a:pt x="1196" y="536"/>
                </a:lnTo>
                <a:lnTo>
                  <a:pt x="1199" y="537"/>
                </a:lnTo>
                <a:lnTo>
                  <a:pt x="1200" y="537"/>
                </a:lnTo>
                <a:lnTo>
                  <a:pt x="1199" y="537"/>
                </a:lnTo>
                <a:lnTo>
                  <a:pt x="1196" y="536"/>
                </a:lnTo>
                <a:lnTo>
                  <a:pt x="1196" y="537"/>
                </a:lnTo>
                <a:lnTo>
                  <a:pt x="1194" y="537"/>
                </a:lnTo>
                <a:lnTo>
                  <a:pt x="1193" y="538"/>
                </a:lnTo>
                <a:lnTo>
                  <a:pt x="1194" y="539"/>
                </a:lnTo>
                <a:lnTo>
                  <a:pt x="1196" y="539"/>
                </a:lnTo>
                <a:lnTo>
                  <a:pt x="1196" y="542"/>
                </a:lnTo>
                <a:lnTo>
                  <a:pt x="1196" y="543"/>
                </a:lnTo>
                <a:lnTo>
                  <a:pt x="1199" y="546"/>
                </a:lnTo>
                <a:lnTo>
                  <a:pt x="1195" y="548"/>
                </a:lnTo>
                <a:lnTo>
                  <a:pt x="1191" y="549"/>
                </a:lnTo>
                <a:lnTo>
                  <a:pt x="1189" y="553"/>
                </a:lnTo>
                <a:lnTo>
                  <a:pt x="1192" y="556"/>
                </a:lnTo>
                <a:lnTo>
                  <a:pt x="1196" y="557"/>
                </a:lnTo>
                <a:lnTo>
                  <a:pt x="1196" y="559"/>
                </a:lnTo>
                <a:lnTo>
                  <a:pt x="1198" y="562"/>
                </a:lnTo>
                <a:lnTo>
                  <a:pt x="1209" y="571"/>
                </a:lnTo>
                <a:lnTo>
                  <a:pt x="1223" y="577"/>
                </a:lnTo>
                <a:lnTo>
                  <a:pt x="1224" y="577"/>
                </a:lnTo>
                <a:lnTo>
                  <a:pt x="1224" y="576"/>
                </a:lnTo>
                <a:lnTo>
                  <a:pt x="1224" y="573"/>
                </a:lnTo>
                <a:lnTo>
                  <a:pt x="1228" y="573"/>
                </a:lnTo>
                <a:lnTo>
                  <a:pt x="1231" y="573"/>
                </a:lnTo>
                <a:lnTo>
                  <a:pt x="1234" y="576"/>
                </a:lnTo>
                <a:lnTo>
                  <a:pt x="1235" y="578"/>
                </a:lnTo>
                <a:lnTo>
                  <a:pt x="1236" y="579"/>
                </a:lnTo>
                <a:lnTo>
                  <a:pt x="1238" y="578"/>
                </a:lnTo>
                <a:lnTo>
                  <a:pt x="1238" y="576"/>
                </a:lnTo>
                <a:lnTo>
                  <a:pt x="1240" y="573"/>
                </a:lnTo>
                <a:lnTo>
                  <a:pt x="1242" y="574"/>
                </a:lnTo>
                <a:lnTo>
                  <a:pt x="1251" y="579"/>
                </a:lnTo>
                <a:lnTo>
                  <a:pt x="1260" y="574"/>
                </a:lnTo>
                <a:lnTo>
                  <a:pt x="1261" y="573"/>
                </a:lnTo>
                <a:lnTo>
                  <a:pt x="1261" y="571"/>
                </a:lnTo>
                <a:lnTo>
                  <a:pt x="1260" y="571"/>
                </a:lnTo>
                <a:lnTo>
                  <a:pt x="1258" y="570"/>
                </a:lnTo>
                <a:lnTo>
                  <a:pt x="1248" y="567"/>
                </a:lnTo>
                <a:lnTo>
                  <a:pt x="1238" y="562"/>
                </a:lnTo>
                <a:lnTo>
                  <a:pt x="1237" y="564"/>
                </a:lnTo>
                <a:lnTo>
                  <a:pt x="1236" y="564"/>
                </a:lnTo>
                <a:lnTo>
                  <a:pt x="1235" y="564"/>
                </a:lnTo>
                <a:lnTo>
                  <a:pt x="1235" y="563"/>
                </a:lnTo>
                <a:lnTo>
                  <a:pt x="1236" y="562"/>
                </a:lnTo>
                <a:lnTo>
                  <a:pt x="1238" y="562"/>
                </a:lnTo>
                <a:lnTo>
                  <a:pt x="1234" y="557"/>
                </a:lnTo>
                <a:lnTo>
                  <a:pt x="1227" y="557"/>
                </a:lnTo>
                <a:lnTo>
                  <a:pt x="1220" y="558"/>
                </a:lnTo>
                <a:lnTo>
                  <a:pt x="1216" y="552"/>
                </a:lnTo>
                <a:lnTo>
                  <a:pt x="1212" y="556"/>
                </a:lnTo>
                <a:lnTo>
                  <a:pt x="1205" y="556"/>
                </a:lnTo>
                <a:lnTo>
                  <a:pt x="1208" y="548"/>
                </a:lnTo>
                <a:lnTo>
                  <a:pt x="1210" y="539"/>
                </a:lnTo>
                <a:lnTo>
                  <a:pt x="1213" y="538"/>
                </a:lnTo>
                <a:lnTo>
                  <a:pt x="1214" y="537"/>
                </a:lnTo>
                <a:lnTo>
                  <a:pt x="1216" y="539"/>
                </a:lnTo>
                <a:lnTo>
                  <a:pt x="1219" y="538"/>
                </a:lnTo>
                <a:lnTo>
                  <a:pt x="1220" y="535"/>
                </a:lnTo>
                <a:lnTo>
                  <a:pt x="1219" y="531"/>
                </a:lnTo>
                <a:lnTo>
                  <a:pt x="1217" y="529"/>
                </a:lnTo>
                <a:lnTo>
                  <a:pt x="1215" y="528"/>
                </a:lnTo>
                <a:lnTo>
                  <a:pt x="1219" y="524"/>
                </a:lnTo>
                <a:lnTo>
                  <a:pt x="1223" y="524"/>
                </a:lnTo>
                <a:lnTo>
                  <a:pt x="1222" y="535"/>
                </a:lnTo>
                <a:lnTo>
                  <a:pt x="1215" y="543"/>
                </a:lnTo>
                <a:lnTo>
                  <a:pt x="1236" y="543"/>
                </a:lnTo>
                <a:lnTo>
                  <a:pt x="1230" y="541"/>
                </a:lnTo>
                <a:lnTo>
                  <a:pt x="1233" y="535"/>
                </a:lnTo>
                <a:lnTo>
                  <a:pt x="1234" y="532"/>
                </a:lnTo>
                <a:lnTo>
                  <a:pt x="1234" y="529"/>
                </a:lnTo>
                <a:lnTo>
                  <a:pt x="1230" y="530"/>
                </a:lnTo>
                <a:lnTo>
                  <a:pt x="1227" y="531"/>
                </a:lnTo>
                <a:lnTo>
                  <a:pt x="1228" y="527"/>
                </a:lnTo>
                <a:lnTo>
                  <a:pt x="1231" y="525"/>
                </a:lnTo>
                <a:lnTo>
                  <a:pt x="1235" y="525"/>
                </a:lnTo>
                <a:lnTo>
                  <a:pt x="1235" y="523"/>
                </a:lnTo>
                <a:lnTo>
                  <a:pt x="1235" y="516"/>
                </a:lnTo>
                <a:lnTo>
                  <a:pt x="1238" y="510"/>
                </a:lnTo>
                <a:lnTo>
                  <a:pt x="1238" y="511"/>
                </a:lnTo>
                <a:lnTo>
                  <a:pt x="1238" y="514"/>
                </a:lnTo>
                <a:lnTo>
                  <a:pt x="1241" y="513"/>
                </a:lnTo>
                <a:lnTo>
                  <a:pt x="1242" y="514"/>
                </a:lnTo>
                <a:lnTo>
                  <a:pt x="1241" y="513"/>
                </a:lnTo>
                <a:lnTo>
                  <a:pt x="1238" y="514"/>
                </a:lnTo>
                <a:lnTo>
                  <a:pt x="1242" y="523"/>
                </a:lnTo>
                <a:lnTo>
                  <a:pt x="1249" y="530"/>
                </a:lnTo>
                <a:lnTo>
                  <a:pt x="1255" y="534"/>
                </a:lnTo>
                <a:lnTo>
                  <a:pt x="1262" y="531"/>
                </a:lnTo>
                <a:lnTo>
                  <a:pt x="1264" y="528"/>
                </a:lnTo>
                <a:lnTo>
                  <a:pt x="1268" y="527"/>
                </a:lnTo>
                <a:lnTo>
                  <a:pt x="1270" y="527"/>
                </a:lnTo>
                <a:lnTo>
                  <a:pt x="1270" y="524"/>
                </a:lnTo>
                <a:lnTo>
                  <a:pt x="1269" y="523"/>
                </a:lnTo>
                <a:lnTo>
                  <a:pt x="1267" y="523"/>
                </a:lnTo>
                <a:lnTo>
                  <a:pt x="1262" y="523"/>
                </a:lnTo>
                <a:lnTo>
                  <a:pt x="1258" y="520"/>
                </a:lnTo>
                <a:lnTo>
                  <a:pt x="1261" y="518"/>
                </a:lnTo>
                <a:lnTo>
                  <a:pt x="1263" y="516"/>
                </a:lnTo>
                <a:lnTo>
                  <a:pt x="1267" y="514"/>
                </a:lnTo>
                <a:lnTo>
                  <a:pt x="1269" y="517"/>
                </a:lnTo>
                <a:lnTo>
                  <a:pt x="1271" y="520"/>
                </a:lnTo>
                <a:lnTo>
                  <a:pt x="1274" y="524"/>
                </a:lnTo>
                <a:lnTo>
                  <a:pt x="1274" y="525"/>
                </a:lnTo>
                <a:lnTo>
                  <a:pt x="1276" y="525"/>
                </a:lnTo>
                <a:lnTo>
                  <a:pt x="1282" y="523"/>
                </a:lnTo>
                <a:lnTo>
                  <a:pt x="1285" y="528"/>
                </a:lnTo>
                <a:lnTo>
                  <a:pt x="1285" y="524"/>
                </a:lnTo>
                <a:lnTo>
                  <a:pt x="1288" y="522"/>
                </a:lnTo>
                <a:lnTo>
                  <a:pt x="1289" y="524"/>
                </a:lnTo>
                <a:lnTo>
                  <a:pt x="1289" y="528"/>
                </a:lnTo>
                <a:lnTo>
                  <a:pt x="1289" y="530"/>
                </a:lnTo>
                <a:lnTo>
                  <a:pt x="1290" y="531"/>
                </a:lnTo>
                <a:lnTo>
                  <a:pt x="1292" y="531"/>
                </a:lnTo>
                <a:lnTo>
                  <a:pt x="1293" y="529"/>
                </a:lnTo>
                <a:lnTo>
                  <a:pt x="1295" y="528"/>
                </a:lnTo>
                <a:lnTo>
                  <a:pt x="1296" y="529"/>
                </a:lnTo>
                <a:lnTo>
                  <a:pt x="1299" y="530"/>
                </a:lnTo>
                <a:lnTo>
                  <a:pt x="1302" y="528"/>
                </a:lnTo>
                <a:lnTo>
                  <a:pt x="1302" y="530"/>
                </a:lnTo>
                <a:lnTo>
                  <a:pt x="1305" y="531"/>
                </a:lnTo>
                <a:lnTo>
                  <a:pt x="1307" y="530"/>
                </a:lnTo>
                <a:lnTo>
                  <a:pt x="1309" y="528"/>
                </a:lnTo>
                <a:lnTo>
                  <a:pt x="1307" y="524"/>
                </a:lnTo>
                <a:lnTo>
                  <a:pt x="1311" y="523"/>
                </a:lnTo>
                <a:lnTo>
                  <a:pt x="1312" y="521"/>
                </a:lnTo>
                <a:lnTo>
                  <a:pt x="1312" y="520"/>
                </a:lnTo>
                <a:lnTo>
                  <a:pt x="1311" y="515"/>
                </a:lnTo>
                <a:lnTo>
                  <a:pt x="1312" y="511"/>
                </a:lnTo>
                <a:lnTo>
                  <a:pt x="1316" y="514"/>
                </a:lnTo>
                <a:lnTo>
                  <a:pt x="1320" y="516"/>
                </a:lnTo>
                <a:lnTo>
                  <a:pt x="1321" y="517"/>
                </a:lnTo>
                <a:lnTo>
                  <a:pt x="1323" y="517"/>
                </a:lnTo>
                <a:lnTo>
                  <a:pt x="1331" y="521"/>
                </a:lnTo>
                <a:lnTo>
                  <a:pt x="1339" y="522"/>
                </a:lnTo>
                <a:lnTo>
                  <a:pt x="1332" y="518"/>
                </a:lnTo>
                <a:lnTo>
                  <a:pt x="1325" y="515"/>
                </a:lnTo>
                <a:lnTo>
                  <a:pt x="1330" y="514"/>
                </a:lnTo>
                <a:lnTo>
                  <a:pt x="1333" y="515"/>
                </a:lnTo>
                <a:lnTo>
                  <a:pt x="1340" y="516"/>
                </a:lnTo>
                <a:lnTo>
                  <a:pt x="1347" y="514"/>
                </a:lnTo>
                <a:lnTo>
                  <a:pt x="1358" y="509"/>
                </a:lnTo>
                <a:lnTo>
                  <a:pt x="1369" y="506"/>
                </a:lnTo>
                <a:lnTo>
                  <a:pt x="1372" y="506"/>
                </a:lnTo>
                <a:lnTo>
                  <a:pt x="1373" y="503"/>
                </a:lnTo>
                <a:lnTo>
                  <a:pt x="1376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2" y="499"/>
                </a:lnTo>
                <a:lnTo>
                  <a:pt x="1383" y="506"/>
                </a:lnTo>
                <a:lnTo>
                  <a:pt x="1392" y="507"/>
                </a:lnTo>
                <a:lnTo>
                  <a:pt x="1392" y="509"/>
                </a:lnTo>
                <a:lnTo>
                  <a:pt x="1389" y="510"/>
                </a:lnTo>
                <a:lnTo>
                  <a:pt x="1373" y="520"/>
                </a:lnTo>
                <a:lnTo>
                  <a:pt x="1355" y="529"/>
                </a:lnTo>
                <a:lnTo>
                  <a:pt x="1341" y="531"/>
                </a:lnTo>
                <a:lnTo>
                  <a:pt x="1328" y="528"/>
                </a:lnTo>
                <a:lnTo>
                  <a:pt x="1326" y="527"/>
                </a:lnTo>
                <a:lnTo>
                  <a:pt x="1325" y="528"/>
                </a:lnTo>
                <a:lnTo>
                  <a:pt x="1328" y="531"/>
                </a:lnTo>
                <a:lnTo>
                  <a:pt x="1333" y="534"/>
                </a:lnTo>
                <a:lnTo>
                  <a:pt x="1324" y="534"/>
                </a:lnTo>
                <a:lnTo>
                  <a:pt x="1316" y="535"/>
                </a:lnTo>
                <a:lnTo>
                  <a:pt x="1310" y="532"/>
                </a:lnTo>
                <a:lnTo>
                  <a:pt x="1305" y="536"/>
                </a:lnTo>
                <a:lnTo>
                  <a:pt x="1310" y="537"/>
                </a:lnTo>
                <a:lnTo>
                  <a:pt x="1312" y="541"/>
                </a:lnTo>
                <a:lnTo>
                  <a:pt x="1311" y="541"/>
                </a:lnTo>
                <a:lnTo>
                  <a:pt x="1306" y="541"/>
                </a:lnTo>
                <a:lnTo>
                  <a:pt x="1300" y="543"/>
                </a:lnTo>
                <a:lnTo>
                  <a:pt x="1300" y="543"/>
                </a:lnTo>
                <a:lnTo>
                  <a:pt x="1299" y="542"/>
                </a:lnTo>
                <a:lnTo>
                  <a:pt x="1295" y="539"/>
                </a:lnTo>
                <a:lnTo>
                  <a:pt x="1291" y="542"/>
                </a:lnTo>
                <a:lnTo>
                  <a:pt x="1296" y="543"/>
                </a:lnTo>
                <a:lnTo>
                  <a:pt x="1295" y="546"/>
                </a:lnTo>
                <a:lnTo>
                  <a:pt x="1296" y="549"/>
                </a:lnTo>
                <a:lnTo>
                  <a:pt x="1297" y="549"/>
                </a:lnTo>
                <a:lnTo>
                  <a:pt x="1305" y="546"/>
                </a:lnTo>
                <a:lnTo>
                  <a:pt x="1311" y="541"/>
                </a:lnTo>
                <a:lnTo>
                  <a:pt x="1311" y="541"/>
                </a:lnTo>
                <a:lnTo>
                  <a:pt x="1312" y="541"/>
                </a:lnTo>
                <a:lnTo>
                  <a:pt x="1317" y="541"/>
                </a:lnTo>
                <a:lnTo>
                  <a:pt x="1323" y="542"/>
                </a:lnTo>
                <a:lnTo>
                  <a:pt x="1331" y="544"/>
                </a:lnTo>
                <a:lnTo>
                  <a:pt x="1339" y="542"/>
                </a:lnTo>
                <a:lnTo>
                  <a:pt x="1341" y="542"/>
                </a:lnTo>
                <a:lnTo>
                  <a:pt x="1343" y="542"/>
                </a:lnTo>
                <a:lnTo>
                  <a:pt x="1344" y="542"/>
                </a:lnTo>
                <a:lnTo>
                  <a:pt x="1344" y="543"/>
                </a:lnTo>
                <a:lnTo>
                  <a:pt x="1343" y="544"/>
                </a:lnTo>
                <a:lnTo>
                  <a:pt x="1340" y="545"/>
                </a:lnTo>
                <a:lnTo>
                  <a:pt x="1334" y="545"/>
                </a:lnTo>
                <a:lnTo>
                  <a:pt x="1330" y="546"/>
                </a:lnTo>
                <a:lnTo>
                  <a:pt x="1331" y="548"/>
                </a:lnTo>
                <a:lnTo>
                  <a:pt x="1333" y="548"/>
                </a:lnTo>
                <a:lnTo>
                  <a:pt x="1345" y="548"/>
                </a:lnTo>
                <a:lnTo>
                  <a:pt x="1355" y="544"/>
                </a:lnTo>
                <a:lnTo>
                  <a:pt x="1364" y="544"/>
                </a:lnTo>
                <a:lnTo>
                  <a:pt x="1371" y="542"/>
                </a:lnTo>
                <a:lnTo>
                  <a:pt x="1372" y="541"/>
                </a:lnTo>
                <a:lnTo>
                  <a:pt x="1374" y="542"/>
                </a:lnTo>
                <a:lnTo>
                  <a:pt x="1374" y="545"/>
                </a:lnTo>
                <a:lnTo>
                  <a:pt x="1376" y="548"/>
                </a:lnTo>
                <a:lnTo>
                  <a:pt x="1358" y="549"/>
                </a:lnTo>
                <a:lnTo>
                  <a:pt x="1340" y="556"/>
                </a:lnTo>
                <a:lnTo>
                  <a:pt x="1344" y="556"/>
                </a:lnTo>
                <a:lnTo>
                  <a:pt x="1348" y="556"/>
                </a:lnTo>
                <a:lnTo>
                  <a:pt x="1348" y="555"/>
                </a:lnTo>
                <a:lnTo>
                  <a:pt x="1351" y="553"/>
                </a:lnTo>
                <a:lnTo>
                  <a:pt x="1351" y="555"/>
                </a:lnTo>
                <a:lnTo>
                  <a:pt x="1352" y="555"/>
                </a:lnTo>
                <a:lnTo>
                  <a:pt x="1350" y="556"/>
                </a:lnTo>
                <a:lnTo>
                  <a:pt x="1348" y="556"/>
                </a:lnTo>
                <a:lnTo>
                  <a:pt x="1348" y="559"/>
                </a:lnTo>
                <a:lnTo>
                  <a:pt x="1352" y="562"/>
                </a:lnTo>
                <a:lnTo>
                  <a:pt x="1347" y="562"/>
                </a:lnTo>
                <a:lnTo>
                  <a:pt x="1343" y="562"/>
                </a:lnTo>
                <a:lnTo>
                  <a:pt x="1341" y="562"/>
                </a:lnTo>
                <a:lnTo>
                  <a:pt x="1340" y="563"/>
                </a:lnTo>
                <a:lnTo>
                  <a:pt x="1340" y="564"/>
                </a:lnTo>
                <a:lnTo>
                  <a:pt x="1343" y="565"/>
                </a:lnTo>
                <a:lnTo>
                  <a:pt x="1355" y="564"/>
                </a:lnTo>
                <a:lnTo>
                  <a:pt x="1367" y="560"/>
                </a:lnTo>
                <a:lnTo>
                  <a:pt x="1369" y="559"/>
                </a:lnTo>
                <a:lnTo>
                  <a:pt x="1368" y="557"/>
                </a:lnTo>
                <a:lnTo>
                  <a:pt x="1367" y="555"/>
                </a:lnTo>
                <a:lnTo>
                  <a:pt x="1368" y="553"/>
                </a:lnTo>
                <a:lnTo>
                  <a:pt x="1371" y="552"/>
                </a:lnTo>
                <a:lnTo>
                  <a:pt x="1373" y="553"/>
                </a:lnTo>
                <a:lnTo>
                  <a:pt x="1375" y="556"/>
                </a:lnTo>
                <a:lnTo>
                  <a:pt x="1378" y="555"/>
                </a:lnTo>
                <a:lnTo>
                  <a:pt x="1393" y="548"/>
                </a:lnTo>
                <a:lnTo>
                  <a:pt x="1409" y="542"/>
                </a:lnTo>
                <a:lnTo>
                  <a:pt x="1413" y="538"/>
                </a:lnTo>
                <a:lnTo>
                  <a:pt x="1419" y="537"/>
                </a:lnTo>
                <a:lnTo>
                  <a:pt x="1419" y="543"/>
                </a:lnTo>
                <a:lnTo>
                  <a:pt x="1420" y="549"/>
                </a:lnTo>
                <a:lnTo>
                  <a:pt x="1424" y="544"/>
                </a:lnTo>
                <a:lnTo>
                  <a:pt x="1428" y="538"/>
                </a:lnTo>
                <a:lnTo>
                  <a:pt x="1429" y="535"/>
                </a:lnTo>
                <a:lnTo>
                  <a:pt x="1426" y="531"/>
                </a:lnTo>
                <a:lnTo>
                  <a:pt x="1422" y="529"/>
                </a:lnTo>
                <a:lnTo>
                  <a:pt x="1421" y="527"/>
                </a:lnTo>
                <a:lnTo>
                  <a:pt x="1422" y="523"/>
                </a:lnTo>
                <a:lnTo>
                  <a:pt x="1424" y="521"/>
                </a:lnTo>
                <a:lnTo>
                  <a:pt x="1429" y="520"/>
                </a:lnTo>
                <a:lnTo>
                  <a:pt x="1431" y="517"/>
                </a:lnTo>
                <a:lnTo>
                  <a:pt x="1428" y="515"/>
                </a:lnTo>
                <a:lnTo>
                  <a:pt x="1423" y="515"/>
                </a:lnTo>
                <a:lnTo>
                  <a:pt x="1420" y="515"/>
                </a:lnTo>
                <a:lnTo>
                  <a:pt x="1417" y="515"/>
                </a:lnTo>
                <a:lnTo>
                  <a:pt x="1417" y="513"/>
                </a:lnTo>
                <a:lnTo>
                  <a:pt x="1416" y="509"/>
                </a:lnTo>
                <a:lnTo>
                  <a:pt x="1413" y="508"/>
                </a:lnTo>
                <a:lnTo>
                  <a:pt x="1410" y="509"/>
                </a:lnTo>
                <a:lnTo>
                  <a:pt x="1409" y="510"/>
                </a:lnTo>
                <a:lnTo>
                  <a:pt x="1407" y="511"/>
                </a:lnTo>
                <a:lnTo>
                  <a:pt x="1408" y="507"/>
                </a:lnTo>
                <a:lnTo>
                  <a:pt x="1406" y="503"/>
                </a:lnTo>
                <a:lnTo>
                  <a:pt x="1403" y="504"/>
                </a:lnTo>
                <a:lnTo>
                  <a:pt x="1401" y="508"/>
                </a:lnTo>
                <a:lnTo>
                  <a:pt x="1400" y="510"/>
                </a:lnTo>
                <a:lnTo>
                  <a:pt x="1397" y="510"/>
                </a:lnTo>
                <a:lnTo>
                  <a:pt x="1395" y="510"/>
                </a:lnTo>
                <a:lnTo>
                  <a:pt x="1395" y="508"/>
                </a:lnTo>
                <a:lnTo>
                  <a:pt x="1397" y="504"/>
                </a:lnTo>
                <a:lnTo>
                  <a:pt x="1394" y="500"/>
                </a:lnTo>
                <a:lnTo>
                  <a:pt x="1388" y="496"/>
                </a:lnTo>
                <a:lnTo>
                  <a:pt x="1382" y="499"/>
                </a:lnTo>
                <a:lnTo>
                  <a:pt x="1382" y="495"/>
                </a:lnTo>
                <a:lnTo>
                  <a:pt x="1386" y="494"/>
                </a:lnTo>
                <a:lnTo>
                  <a:pt x="1390" y="490"/>
                </a:lnTo>
                <a:lnTo>
                  <a:pt x="1394" y="487"/>
                </a:lnTo>
                <a:lnTo>
                  <a:pt x="1389" y="486"/>
                </a:lnTo>
                <a:lnTo>
                  <a:pt x="1386" y="483"/>
                </a:lnTo>
                <a:lnTo>
                  <a:pt x="1389" y="481"/>
                </a:lnTo>
                <a:lnTo>
                  <a:pt x="1395" y="481"/>
                </a:lnTo>
                <a:lnTo>
                  <a:pt x="1396" y="481"/>
                </a:lnTo>
                <a:lnTo>
                  <a:pt x="1397" y="481"/>
                </a:lnTo>
                <a:lnTo>
                  <a:pt x="1401" y="479"/>
                </a:lnTo>
                <a:lnTo>
                  <a:pt x="1402" y="475"/>
                </a:lnTo>
                <a:lnTo>
                  <a:pt x="1401" y="473"/>
                </a:lnTo>
                <a:lnTo>
                  <a:pt x="1397" y="473"/>
                </a:lnTo>
                <a:lnTo>
                  <a:pt x="1394" y="473"/>
                </a:lnTo>
                <a:lnTo>
                  <a:pt x="1389" y="473"/>
                </a:lnTo>
                <a:lnTo>
                  <a:pt x="1387" y="473"/>
                </a:lnTo>
                <a:lnTo>
                  <a:pt x="1385" y="472"/>
                </a:lnTo>
                <a:lnTo>
                  <a:pt x="1387" y="469"/>
                </a:lnTo>
                <a:lnTo>
                  <a:pt x="1389" y="469"/>
                </a:lnTo>
                <a:lnTo>
                  <a:pt x="1392" y="468"/>
                </a:lnTo>
                <a:lnTo>
                  <a:pt x="1393" y="467"/>
                </a:lnTo>
                <a:lnTo>
                  <a:pt x="1392" y="465"/>
                </a:lnTo>
                <a:lnTo>
                  <a:pt x="1389" y="465"/>
                </a:lnTo>
                <a:lnTo>
                  <a:pt x="1387" y="465"/>
                </a:lnTo>
                <a:lnTo>
                  <a:pt x="1386" y="462"/>
                </a:lnTo>
                <a:lnTo>
                  <a:pt x="1394" y="462"/>
                </a:lnTo>
                <a:lnTo>
                  <a:pt x="1402" y="461"/>
                </a:lnTo>
                <a:lnTo>
                  <a:pt x="1399" y="457"/>
                </a:lnTo>
                <a:lnTo>
                  <a:pt x="1394" y="457"/>
                </a:lnTo>
                <a:lnTo>
                  <a:pt x="1392" y="457"/>
                </a:lnTo>
                <a:lnTo>
                  <a:pt x="1390" y="454"/>
                </a:lnTo>
                <a:lnTo>
                  <a:pt x="1393" y="452"/>
                </a:lnTo>
                <a:lnTo>
                  <a:pt x="1394" y="452"/>
                </a:lnTo>
                <a:lnTo>
                  <a:pt x="1401" y="454"/>
                </a:lnTo>
                <a:lnTo>
                  <a:pt x="1407" y="457"/>
                </a:lnTo>
                <a:lnTo>
                  <a:pt x="1407" y="457"/>
                </a:lnTo>
                <a:lnTo>
                  <a:pt x="1405" y="459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1"/>
                </a:lnTo>
                <a:lnTo>
                  <a:pt x="1402" y="462"/>
                </a:lnTo>
                <a:lnTo>
                  <a:pt x="1405" y="464"/>
                </a:lnTo>
                <a:lnTo>
                  <a:pt x="1407" y="460"/>
                </a:lnTo>
                <a:lnTo>
                  <a:pt x="1407" y="457"/>
                </a:lnTo>
                <a:lnTo>
                  <a:pt x="1407" y="457"/>
                </a:lnTo>
                <a:lnTo>
                  <a:pt x="1407" y="457"/>
                </a:lnTo>
                <a:lnTo>
                  <a:pt x="1412" y="452"/>
                </a:lnTo>
                <a:lnTo>
                  <a:pt x="1410" y="445"/>
                </a:lnTo>
                <a:lnTo>
                  <a:pt x="1408" y="441"/>
                </a:lnTo>
                <a:lnTo>
                  <a:pt x="1403" y="443"/>
                </a:lnTo>
                <a:lnTo>
                  <a:pt x="1399" y="444"/>
                </a:lnTo>
                <a:lnTo>
                  <a:pt x="1395" y="441"/>
                </a:lnTo>
                <a:lnTo>
                  <a:pt x="1397" y="439"/>
                </a:lnTo>
                <a:lnTo>
                  <a:pt x="1401" y="439"/>
                </a:lnTo>
                <a:lnTo>
                  <a:pt x="1403" y="438"/>
                </a:lnTo>
                <a:lnTo>
                  <a:pt x="1406" y="436"/>
                </a:lnTo>
                <a:lnTo>
                  <a:pt x="1406" y="432"/>
                </a:lnTo>
                <a:lnTo>
                  <a:pt x="1409" y="434"/>
                </a:lnTo>
                <a:lnTo>
                  <a:pt x="1410" y="434"/>
                </a:lnTo>
                <a:lnTo>
                  <a:pt x="1412" y="434"/>
                </a:lnTo>
                <a:lnTo>
                  <a:pt x="1416" y="433"/>
                </a:lnTo>
                <a:lnTo>
                  <a:pt x="1417" y="437"/>
                </a:lnTo>
                <a:lnTo>
                  <a:pt x="1421" y="439"/>
                </a:lnTo>
                <a:lnTo>
                  <a:pt x="1423" y="438"/>
                </a:lnTo>
                <a:lnTo>
                  <a:pt x="1427" y="437"/>
                </a:lnTo>
                <a:lnTo>
                  <a:pt x="1428" y="440"/>
                </a:lnTo>
                <a:lnTo>
                  <a:pt x="1429" y="446"/>
                </a:lnTo>
                <a:lnTo>
                  <a:pt x="1435" y="447"/>
                </a:lnTo>
                <a:lnTo>
                  <a:pt x="1437" y="448"/>
                </a:lnTo>
                <a:lnTo>
                  <a:pt x="1438" y="448"/>
                </a:lnTo>
                <a:lnTo>
                  <a:pt x="1441" y="444"/>
                </a:lnTo>
                <a:lnTo>
                  <a:pt x="1441" y="439"/>
                </a:lnTo>
                <a:lnTo>
                  <a:pt x="1440" y="436"/>
                </a:lnTo>
                <a:lnTo>
                  <a:pt x="1440" y="431"/>
                </a:lnTo>
                <a:lnTo>
                  <a:pt x="1442" y="433"/>
                </a:lnTo>
                <a:lnTo>
                  <a:pt x="1444" y="434"/>
                </a:lnTo>
                <a:lnTo>
                  <a:pt x="1445" y="431"/>
                </a:lnTo>
                <a:lnTo>
                  <a:pt x="1447" y="426"/>
                </a:lnTo>
                <a:lnTo>
                  <a:pt x="1448" y="432"/>
                </a:lnTo>
                <a:lnTo>
                  <a:pt x="1450" y="436"/>
                </a:lnTo>
                <a:lnTo>
                  <a:pt x="1450" y="441"/>
                </a:lnTo>
                <a:lnTo>
                  <a:pt x="1449" y="446"/>
                </a:lnTo>
                <a:lnTo>
                  <a:pt x="1450" y="451"/>
                </a:lnTo>
                <a:lnTo>
                  <a:pt x="1452" y="454"/>
                </a:lnTo>
                <a:lnTo>
                  <a:pt x="1452" y="454"/>
                </a:lnTo>
                <a:lnTo>
                  <a:pt x="1454" y="454"/>
                </a:lnTo>
                <a:lnTo>
                  <a:pt x="1454" y="448"/>
                </a:lnTo>
                <a:lnTo>
                  <a:pt x="1452" y="443"/>
                </a:lnTo>
                <a:lnTo>
                  <a:pt x="1452" y="437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0"/>
                </a:lnTo>
                <a:lnTo>
                  <a:pt x="1454" y="431"/>
                </a:lnTo>
                <a:lnTo>
                  <a:pt x="1454" y="431"/>
                </a:lnTo>
                <a:lnTo>
                  <a:pt x="1454" y="437"/>
                </a:lnTo>
                <a:lnTo>
                  <a:pt x="1456" y="441"/>
                </a:lnTo>
                <a:lnTo>
                  <a:pt x="1457" y="450"/>
                </a:lnTo>
                <a:lnTo>
                  <a:pt x="1462" y="457"/>
                </a:lnTo>
                <a:lnTo>
                  <a:pt x="1462" y="464"/>
                </a:lnTo>
                <a:lnTo>
                  <a:pt x="1464" y="471"/>
                </a:lnTo>
                <a:lnTo>
                  <a:pt x="1459" y="467"/>
                </a:lnTo>
                <a:lnTo>
                  <a:pt x="1457" y="461"/>
                </a:lnTo>
                <a:lnTo>
                  <a:pt x="1456" y="459"/>
                </a:lnTo>
                <a:lnTo>
                  <a:pt x="1454" y="457"/>
                </a:lnTo>
                <a:lnTo>
                  <a:pt x="1447" y="454"/>
                </a:lnTo>
                <a:lnTo>
                  <a:pt x="1444" y="446"/>
                </a:lnTo>
                <a:lnTo>
                  <a:pt x="1442" y="450"/>
                </a:lnTo>
                <a:lnTo>
                  <a:pt x="1443" y="453"/>
                </a:lnTo>
                <a:lnTo>
                  <a:pt x="1444" y="454"/>
                </a:lnTo>
                <a:lnTo>
                  <a:pt x="1444" y="455"/>
                </a:lnTo>
                <a:lnTo>
                  <a:pt x="1440" y="460"/>
                </a:lnTo>
                <a:lnTo>
                  <a:pt x="1436" y="465"/>
                </a:lnTo>
                <a:lnTo>
                  <a:pt x="1434" y="466"/>
                </a:lnTo>
                <a:lnTo>
                  <a:pt x="1434" y="468"/>
                </a:lnTo>
                <a:lnTo>
                  <a:pt x="1435" y="472"/>
                </a:lnTo>
                <a:lnTo>
                  <a:pt x="1438" y="473"/>
                </a:lnTo>
                <a:lnTo>
                  <a:pt x="1440" y="472"/>
                </a:lnTo>
                <a:lnTo>
                  <a:pt x="1441" y="473"/>
                </a:lnTo>
                <a:lnTo>
                  <a:pt x="1447" y="479"/>
                </a:lnTo>
                <a:lnTo>
                  <a:pt x="1455" y="481"/>
                </a:lnTo>
                <a:lnTo>
                  <a:pt x="1455" y="481"/>
                </a:lnTo>
                <a:lnTo>
                  <a:pt x="1456" y="482"/>
                </a:lnTo>
                <a:lnTo>
                  <a:pt x="1464" y="488"/>
                </a:lnTo>
                <a:lnTo>
                  <a:pt x="1475" y="489"/>
                </a:lnTo>
                <a:lnTo>
                  <a:pt x="1478" y="487"/>
                </a:lnTo>
                <a:lnTo>
                  <a:pt x="1476" y="485"/>
                </a:lnTo>
                <a:lnTo>
                  <a:pt x="1470" y="480"/>
                </a:lnTo>
                <a:lnTo>
                  <a:pt x="1464" y="476"/>
                </a:lnTo>
                <a:lnTo>
                  <a:pt x="1463" y="475"/>
                </a:lnTo>
                <a:lnTo>
                  <a:pt x="1464" y="473"/>
                </a:lnTo>
                <a:lnTo>
                  <a:pt x="1469" y="476"/>
                </a:lnTo>
                <a:lnTo>
                  <a:pt x="1475" y="475"/>
                </a:lnTo>
                <a:lnTo>
                  <a:pt x="1475" y="472"/>
                </a:lnTo>
                <a:lnTo>
                  <a:pt x="1473" y="467"/>
                </a:lnTo>
                <a:lnTo>
                  <a:pt x="1473" y="466"/>
                </a:lnTo>
                <a:lnTo>
                  <a:pt x="1473" y="464"/>
                </a:lnTo>
                <a:lnTo>
                  <a:pt x="1476" y="465"/>
                </a:lnTo>
                <a:lnTo>
                  <a:pt x="1477" y="466"/>
                </a:lnTo>
                <a:lnTo>
                  <a:pt x="1483" y="475"/>
                </a:lnTo>
                <a:lnTo>
                  <a:pt x="1493" y="478"/>
                </a:lnTo>
                <a:lnTo>
                  <a:pt x="1490" y="480"/>
                </a:lnTo>
                <a:lnTo>
                  <a:pt x="1486" y="480"/>
                </a:lnTo>
                <a:lnTo>
                  <a:pt x="1483" y="482"/>
                </a:lnTo>
                <a:lnTo>
                  <a:pt x="1482" y="486"/>
                </a:lnTo>
                <a:lnTo>
                  <a:pt x="1483" y="488"/>
                </a:lnTo>
                <a:lnTo>
                  <a:pt x="1485" y="487"/>
                </a:lnTo>
                <a:lnTo>
                  <a:pt x="1493" y="487"/>
                </a:lnTo>
                <a:lnTo>
                  <a:pt x="1502" y="486"/>
                </a:lnTo>
                <a:lnTo>
                  <a:pt x="1500" y="485"/>
                </a:lnTo>
                <a:lnTo>
                  <a:pt x="1499" y="483"/>
                </a:lnTo>
                <a:lnTo>
                  <a:pt x="1497" y="483"/>
                </a:lnTo>
                <a:lnTo>
                  <a:pt x="1497" y="481"/>
                </a:lnTo>
                <a:lnTo>
                  <a:pt x="1499" y="480"/>
                </a:lnTo>
                <a:lnTo>
                  <a:pt x="1502" y="481"/>
                </a:lnTo>
                <a:lnTo>
                  <a:pt x="1503" y="482"/>
                </a:lnTo>
                <a:lnTo>
                  <a:pt x="1504" y="483"/>
                </a:lnTo>
                <a:lnTo>
                  <a:pt x="1505" y="485"/>
                </a:lnTo>
                <a:lnTo>
                  <a:pt x="1507" y="485"/>
                </a:lnTo>
                <a:lnTo>
                  <a:pt x="1510" y="481"/>
                </a:lnTo>
                <a:lnTo>
                  <a:pt x="1514" y="485"/>
                </a:lnTo>
                <a:lnTo>
                  <a:pt x="1514" y="485"/>
                </a:lnTo>
                <a:lnTo>
                  <a:pt x="1516" y="485"/>
                </a:lnTo>
                <a:lnTo>
                  <a:pt x="1527" y="479"/>
                </a:lnTo>
                <a:lnTo>
                  <a:pt x="1540" y="478"/>
                </a:lnTo>
                <a:lnTo>
                  <a:pt x="1542" y="476"/>
                </a:lnTo>
                <a:lnTo>
                  <a:pt x="1542" y="474"/>
                </a:lnTo>
                <a:lnTo>
                  <a:pt x="1545" y="474"/>
                </a:lnTo>
                <a:lnTo>
                  <a:pt x="1547" y="474"/>
                </a:lnTo>
                <a:lnTo>
                  <a:pt x="1547" y="475"/>
                </a:lnTo>
                <a:lnTo>
                  <a:pt x="1548" y="475"/>
                </a:lnTo>
                <a:lnTo>
                  <a:pt x="1555" y="471"/>
                </a:lnTo>
                <a:lnTo>
                  <a:pt x="1561" y="465"/>
                </a:lnTo>
                <a:lnTo>
                  <a:pt x="1561" y="465"/>
                </a:lnTo>
                <a:lnTo>
                  <a:pt x="1566" y="465"/>
                </a:lnTo>
                <a:lnTo>
                  <a:pt x="1572" y="464"/>
                </a:lnTo>
                <a:lnTo>
                  <a:pt x="1580" y="459"/>
                </a:lnTo>
                <a:lnTo>
                  <a:pt x="1587" y="457"/>
                </a:lnTo>
                <a:lnTo>
                  <a:pt x="1596" y="455"/>
                </a:lnTo>
                <a:lnTo>
                  <a:pt x="1604" y="452"/>
                </a:lnTo>
                <a:lnTo>
                  <a:pt x="1606" y="452"/>
                </a:lnTo>
                <a:lnTo>
                  <a:pt x="1607" y="453"/>
                </a:lnTo>
                <a:lnTo>
                  <a:pt x="1613" y="454"/>
                </a:lnTo>
                <a:lnTo>
                  <a:pt x="1617" y="452"/>
                </a:lnTo>
                <a:lnTo>
                  <a:pt x="1619" y="451"/>
                </a:lnTo>
                <a:lnTo>
                  <a:pt x="1619" y="451"/>
                </a:lnTo>
                <a:lnTo>
                  <a:pt x="1623" y="451"/>
                </a:lnTo>
                <a:lnTo>
                  <a:pt x="1627" y="450"/>
                </a:lnTo>
                <a:lnTo>
                  <a:pt x="1630" y="455"/>
                </a:lnTo>
                <a:lnTo>
                  <a:pt x="1637" y="455"/>
                </a:lnTo>
                <a:lnTo>
                  <a:pt x="1641" y="455"/>
                </a:lnTo>
                <a:lnTo>
                  <a:pt x="1644" y="455"/>
                </a:lnTo>
                <a:lnTo>
                  <a:pt x="1645" y="452"/>
                </a:lnTo>
                <a:lnTo>
                  <a:pt x="1649" y="453"/>
                </a:lnTo>
                <a:lnTo>
                  <a:pt x="1647" y="455"/>
                </a:lnTo>
                <a:lnTo>
                  <a:pt x="1644" y="455"/>
                </a:lnTo>
                <a:lnTo>
                  <a:pt x="1638" y="459"/>
                </a:lnTo>
                <a:lnTo>
                  <a:pt x="1633" y="462"/>
                </a:lnTo>
                <a:lnTo>
                  <a:pt x="1640" y="461"/>
                </a:lnTo>
                <a:lnTo>
                  <a:pt x="1647" y="460"/>
                </a:lnTo>
                <a:lnTo>
                  <a:pt x="1644" y="462"/>
                </a:lnTo>
                <a:lnTo>
                  <a:pt x="1642" y="465"/>
                </a:lnTo>
                <a:lnTo>
                  <a:pt x="1638" y="466"/>
                </a:lnTo>
                <a:lnTo>
                  <a:pt x="1635" y="469"/>
                </a:lnTo>
                <a:lnTo>
                  <a:pt x="1640" y="468"/>
                </a:lnTo>
                <a:lnTo>
                  <a:pt x="1644" y="466"/>
                </a:lnTo>
                <a:lnTo>
                  <a:pt x="1662" y="459"/>
                </a:lnTo>
                <a:lnTo>
                  <a:pt x="1680" y="452"/>
                </a:lnTo>
                <a:lnTo>
                  <a:pt x="1728" y="432"/>
                </a:lnTo>
                <a:lnTo>
                  <a:pt x="1773" y="404"/>
                </a:lnTo>
                <a:lnTo>
                  <a:pt x="1782" y="396"/>
                </a:lnTo>
                <a:lnTo>
                  <a:pt x="1790" y="385"/>
                </a:lnTo>
                <a:lnTo>
                  <a:pt x="1790" y="385"/>
                </a:lnTo>
                <a:lnTo>
                  <a:pt x="1792" y="384"/>
                </a:lnTo>
                <a:lnTo>
                  <a:pt x="1806" y="371"/>
                </a:lnTo>
                <a:lnTo>
                  <a:pt x="1817" y="355"/>
                </a:lnTo>
                <a:lnTo>
                  <a:pt x="1832" y="333"/>
                </a:lnTo>
                <a:lnTo>
                  <a:pt x="1844" y="309"/>
                </a:lnTo>
                <a:lnTo>
                  <a:pt x="1843" y="308"/>
                </a:lnTo>
                <a:lnTo>
                  <a:pt x="1843" y="308"/>
                </a:lnTo>
                <a:lnTo>
                  <a:pt x="1843" y="308"/>
                </a:lnTo>
                <a:lnTo>
                  <a:pt x="1844" y="309"/>
                </a:lnTo>
                <a:lnTo>
                  <a:pt x="1849" y="297"/>
                </a:lnTo>
                <a:lnTo>
                  <a:pt x="1851" y="284"/>
                </a:lnTo>
                <a:lnTo>
                  <a:pt x="1856" y="258"/>
                </a:lnTo>
                <a:lnTo>
                  <a:pt x="1855" y="234"/>
                </a:lnTo>
                <a:lnTo>
                  <a:pt x="1855" y="231"/>
                </a:lnTo>
                <a:lnTo>
                  <a:pt x="1855" y="229"/>
                </a:lnTo>
                <a:lnTo>
                  <a:pt x="1848" y="192"/>
                </a:lnTo>
                <a:lnTo>
                  <a:pt x="1832" y="157"/>
                </a:lnTo>
                <a:lnTo>
                  <a:pt x="1797" y="118"/>
                </a:lnTo>
                <a:lnTo>
                  <a:pt x="1748" y="97"/>
                </a:lnTo>
                <a:lnTo>
                  <a:pt x="1741" y="96"/>
                </a:lnTo>
                <a:lnTo>
                  <a:pt x="1734" y="94"/>
                </a:lnTo>
                <a:lnTo>
                  <a:pt x="1716" y="94"/>
                </a:lnTo>
                <a:lnTo>
                  <a:pt x="1697" y="94"/>
                </a:lnTo>
                <a:lnTo>
                  <a:pt x="1680" y="95"/>
                </a:lnTo>
                <a:lnTo>
                  <a:pt x="1664" y="98"/>
                </a:lnTo>
                <a:lnTo>
                  <a:pt x="1654" y="101"/>
                </a:lnTo>
                <a:lnTo>
                  <a:pt x="1643" y="106"/>
                </a:lnTo>
                <a:lnTo>
                  <a:pt x="1645" y="106"/>
                </a:lnTo>
                <a:lnTo>
                  <a:pt x="1647" y="106"/>
                </a:lnTo>
                <a:lnTo>
                  <a:pt x="1645" y="106"/>
                </a:lnTo>
                <a:lnTo>
                  <a:pt x="1643" y="106"/>
                </a:lnTo>
                <a:lnTo>
                  <a:pt x="1638" y="110"/>
                </a:lnTo>
                <a:lnTo>
                  <a:pt x="1635" y="113"/>
                </a:lnTo>
                <a:lnTo>
                  <a:pt x="1634" y="115"/>
                </a:lnTo>
                <a:lnTo>
                  <a:pt x="1631" y="116"/>
                </a:lnTo>
                <a:lnTo>
                  <a:pt x="1629" y="116"/>
                </a:lnTo>
                <a:lnTo>
                  <a:pt x="1628" y="117"/>
                </a:lnTo>
                <a:lnTo>
                  <a:pt x="1614" y="126"/>
                </a:lnTo>
                <a:lnTo>
                  <a:pt x="1601" y="137"/>
                </a:lnTo>
                <a:lnTo>
                  <a:pt x="1592" y="146"/>
                </a:lnTo>
                <a:lnTo>
                  <a:pt x="1583" y="155"/>
                </a:lnTo>
                <a:lnTo>
                  <a:pt x="1578" y="165"/>
                </a:lnTo>
                <a:lnTo>
                  <a:pt x="1572" y="173"/>
                </a:lnTo>
                <a:lnTo>
                  <a:pt x="1572" y="179"/>
                </a:lnTo>
                <a:lnTo>
                  <a:pt x="1567" y="181"/>
                </a:lnTo>
                <a:lnTo>
                  <a:pt x="1568" y="178"/>
                </a:lnTo>
                <a:lnTo>
                  <a:pt x="1571" y="174"/>
                </a:lnTo>
                <a:lnTo>
                  <a:pt x="1569" y="174"/>
                </a:lnTo>
                <a:lnTo>
                  <a:pt x="1568" y="173"/>
                </a:lnTo>
                <a:lnTo>
                  <a:pt x="1547" y="160"/>
                </a:lnTo>
                <a:lnTo>
                  <a:pt x="1523" y="158"/>
                </a:lnTo>
                <a:lnTo>
                  <a:pt x="1513" y="161"/>
                </a:lnTo>
                <a:lnTo>
                  <a:pt x="1509" y="171"/>
                </a:lnTo>
                <a:lnTo>
                  <a:pt x="1521" y="167"/>
                </a:lnTo>
                <a:lnTo>
                  <a:pt x="1534" y="164"/>
                </a:lnTo>
                <a:lnTo>
                  <a:pt x="1544" y="164"/>
                </a:lnTo>
                <a:lnTo>
                  <a:pt x="1547" y="173"/>
                </a:lnTo>
                <a:lnTo>
                  <a:pt x="1547" y="180"/>
                </a:lnTo>
                <a:lnTo>
                  <a:pt x="1542" y="186"/>
                </a:lnTo>
                <a:lnTo>
                  <a:pt x="1537" y="186"/>
                </a:lnTo>
                <a:lnTo>
                  <a:pt x="1532" y="190"/>
                </a:lnTo>
                <a:lnTo>
                  <a:pt x="1527" y="195"/>
                </a:lnTo>
                <a:lnTo>
                  <a:pt x="1521" y="195"/>
                </a:lnTo>
                <a:lnTo>
                  <a:pt x="1521" y="187"/>
                </a:lnTo>
                <a:lnTo>
                  <a:pt x="1516" y="180"/>
                </a:lnTo>
                <a:lnTo>
                  <a:pt x="1513" y="182"/>
                </a:lnTo>
                <a:lnTo>
                  <a:pt x="1513" y="187"/>
                </a:lnTo>
                <a:lnTo>
                  <a:pt x="1509" y="183"/>
                </a:lnTo>
                <a:lnTo>
                  <a:pt x="1505" y="178"/>
                </a:lnTo>
                <a:lnTo>
                  <a:pt x="1502" y="185"/>
                </a:lnTo>
                <a:lnTo>
                  <a:pt x="1499" y="193"/>
                </a:lnTo>
                <a:lnTo>
                  <a:pt x="1495" y="189"/>
                </a:lnTo>
                <a:lnTo>
                  <a:pt x="1490" y="186"/>
                </a:lnTo>
                <a:lnTo>
                  <a:pt x="1488" y="183"/>
                </a:lnTo>
                <a:lnTo>
                  <a:pt x="1483" y="185"/>
                </a:lnTo>
                <a:lnTo>
                  <a:pt x="1481" y="185"/>
                </a:lnTo>
                <a:lnTo>
                  <a:pt x="1481" y="182"/>
                </a:lnTo>
                <a:lnTo>
                  <a:pt x="1482" y="180"/>
                </a:lnTo>
                <a:lnTo>
                  <a:pt x="1481" y="179"/>
                </a:lnTo>
                <a:lnTo>
                  <a:pt x="1473" y="173"/>
                </a:lnTo>
                <a:lnTo>
                  <a:pt x="1464" y="169"/>
                </a:lnTo>
                <a:lnTo>
                  <a:pt x="1463" y="169"/>
                </a:lnTo>
                <a:lnTo>
                  <a:pt x="1461" y="168"/>
                </a:lnTo>
                <a:lnTo>
                  <a:pt x="1450" y="165"/>
                </a:lnTo>
                <a:lnTo>
                  <a:pt x="1442" y="160"/>
                </a:lnTo>
                <a:lnTo>
                  <a:pt x="1438" y="159"/>
                </a:lnTo>
                <a:lnTo>
                  <a:pt x="1436" y="160"/>
                </a:lnTo>
                <a:lnTo>
                  <a:pt x="1431" y="161"/>
                </a:lnTo>
                <a:lnTo>
                  <a:pt x="1428" y="159"/>
                </a:lnTo>
                <a:lnTo>
                  <a:pt x="1427" y="158"/>
                </a:lnTo>
                <a:lnTo>
                  <a:pt x="1424" y="158"/>
                </a:lnTo>
                <a:lnTo>
                  <a:pt x="1416" y="157"/>
                </a:lnTo>
                <a:lnTo>
                  <a:pt x="1417" y="148"/>
                </a:lnTo>
                <a:lnTo>
                  <a:pt x="1423" y="151"/>
                </a:lnTo>
                <a:lnTo>
                  <a:pt x="1429" y="154"/>
                </a:lnTo>
                <a:lnTo>
                  <a:pt x="1431" y="155"/>
                </a:lnTo>
                <a:lnTo>
                  <a:pt x="1434" y="155"/>
                </a:lnTo>
                <a:lnTo>
                  <a:pt x="1434" y="153"/>
                </a:lnTo>
                <a:lnTo>
                  <a:pt x="1433" y="151"/>
                </a:lnTo>
                <a:lnTo>
                  <a:pt x="1429" y="145"/>
                </a:lnTo>
                <a:lnTo>
                  <a:pt x="1424" y="139"/>
                </a:lnTo>
                <a:lnTo>
                  <a:pt x="1409" y="117"/>
                </a:lnTo>
                <a:lnTo>
                  <a:pt x="1395" y="92"/>
                </a:lnTo>
                <a:lnTo>
                  <a:pt x="1381" y="75"/>
                </a:lnTo>
                <a:lnTo>
                  <a:pt x="1367" y="57"/>
                </a:lnTo>
                <a:lnTo>
                  <a:pt x="1359" y="49"/>
                </a:lnTo>
                <a:lnTo>
                  <a:pt x="1350" y="42"/>
                </a:lnTo>
                <a:lnTo>
                  <a:pt x="1344" y="40"/>
                </a:lnTo>
                <a:lnTo>
                  <a:pt x="1339" y="43"/>
                </a:lnTo>
                <a:lnTo>
                  <a:pt x="1334" y="48"/>
                </a:lnTo>
                <a:lnTo>
                  <a:pt x="1330" y="48"/>
                </a:lnTo>
                <a:lnTo>
                  <a:pt x="1325" y="46"/>
                </a:lnTo>
                <a:lnTo>
                  <a:pt x="1321" y="41"/>
                </a:lnTo>
                <a:lnTo>
                  <a:pt x="1321" y="39"/>
                </a:lnTo>
                <a:lnTo>
                  <a:pt x="1320" y="38"/>
                </a:lnTo>
                <a:lnTo>
                  <a:pt x="1311" y="34"/>
                </a:lnTo>
                <a:lnTo>
                  <a:pt x="1305" y="26"/>
                </a:lnTo>
                <a:lnTo>
                  <a:pt x="1303" y="21"/>
                </a:lnTo>
                <a:lnTo>
                  <a:pt x="1298" y="21"/>
                </a:lnTo>
                <a:lnTo>
                  <a:pt x="1295" y="21"/>
                </a:lnTo>
                <a:lnTo>
                  <a:pt x="1293" y="19"/>
                </a:lnTo>
                <a:lnTo>
                  <a:pt x="1292" y="17"/>
                </a:lnTo>
                <a:lnTo>
                  <a:pt x="1290" y="18"/>
                </a:lnTo>
                <a:lnTo>
                  <a:pt x="1284" y="13"/>
                </a:lnTo>
                <a:lnTo>
                  <a:pt x="1278" y="6"/>
                </a:lnTo>
                <a:lnTo>
                  <a:pt x="1277" y="5"/>
                </a:lnTo>
                <a:lnTo>
                  <a:pt x="1276" y="6"/>
                </a:lnTo>
                <a:lnTo>
                  <a:pt x="1268" y="12"/>
                </a:lnTo>
                <a:lnTo>
                  <a:pt x="1260" y="8"/>
                </a:lnTo>
                <a:lnTo>
                  <a:pt x="1252" y="6"/>
                </a:lnTo>
                <a:lnTo>
                  <a:pt x="1245" y="5"/>
                </a:lnTo>
                <a:lnTo>
                  <a:pt x="1244" y="5"/>
                </a:lnTo>
                <a:lnTo>
                  <a:pt x="1242" y="4"/>
                </a:lnTo>
                <a:lnTo>
                  <a:pt x="1227" y="0"/>
                </a:lnTo>
                <a:lnTo>
                  <a:pt x="1210" y="3"/>
                </a:lnTo>
                <a:lnTo>
                  <a:pt x="1199" y="4"/>
                </a:lnTo>
                <a:lnTo>
                  <a:pt x="1187" y="7"/>
                </a:lnTo>
                <a:lnTo>
                  <a:pt x="1175" y="10"/>
                </a:lnTo>
                <a:lnTo>
                  <a:pt x="1165" y="13"/>
                </a:lnTo>
                <a:lnTo>
                  <a:pt x="1154" y="17"/>
                </a:lnTo>
                <a:lnTo>
                  <a:pt x="1144" y="18"/>
                </a:lnTo>
                <a:lnTo>
                  <a:pt x="1140" y="19"/>
                </a:lnTo>
                <a:lnTo>
                  <a:pt x="1138" y="20"/>
                </a:lnTo>
                <a:lnTo>
                  <a:pt x="1126" y="28"/>
                </a:lnTo>
                <a:lnTo>
                  <a:pt x="1115" y="36"/>
                </a:lnTo>
                <a:lnTo>
                  <a:pt x="1104" y="43"/>
                </a:lnTo>
                <a:lnTo>
                  <a:pt x="1095" y="50"/>
                </a:lnTo>
                <a:lnTo>
                  <a:pt x="1071" y="71"/>
                </a:lnTo>
                <a:lnTo>
                  <a:pt x="1047" y="90"/>
                </a:lnTo>
                <a:lnTo>
                  <a:pt x="1028" y="102"/>
                </a:lnTo>
                <a:lnTo>
                  <a:pt x="1008" y="113"/>
                </a:lnTo>
                <a:lnTo>
                  <a:pt x="985" y="125"/>
                </a:lnTo>
                <a:lnTo>
                  <a:pt x="960" y="132"/>
                </a:lnTo>
                <a:lnTo>
                  <a:pt x="937" y="136"/>
                </a:lnTo>
                <a:lnTo>
                  <a:pt x="913" y="139"/>
                </a:lnTo>
                <a:lnTo>
                  <a:pt x="901" y="140"/>
                </a:lnTo>
                <a:lnTo>
                  <a:pt x="888" y="141"/>
                </a:lnTo>
                <a:lnTo>
                  <a:pt x="867" y="144"/>
                </a:lnTo>
                <a:lnTo>
                  <a:pt x="846" y="145"/>
                </a:lnTo>
                <a:lnTo>
                  <a:pt x="842" y="145"/>
                </a:lnTo>
                <a:lnTo>
                  <a:pt x="842" y="148"/>
                </a:lnTo>
                <a:lnTo>
                  <a:pt x="840" y="154"/>
                </a:lnTo>
                <a:lnTo>
                  <a:pt x="836" y="157"/>
                </a:lnTo>
                <a:lnTo>
                  <a:pt x="826" y="159"/>
                </a:lnTo>
                <a:lnTo>
                  <a:pt x="814" y="161"/>
                </a:lnTo>
                <a:lnTo>
                  <a:pt x="808" y="161"/>
                </a:lnTo>
                <a:lnTo>
                  <a:pt x="803" y="164"/>
                </a:lnTo>
                <a:lnTo>
                  <a:pt x="800" y="153"/>
                </a:lnTo>
                <a:lnTo>
                  <a:pt x="788" y="152"/>
                </a:lnTo>
                <a:lnTo>
                  <a:pt x="781" y="152"/>
                </a:lnTo>
                <a:lnTo>
                  <a:pt x="775" y="153"/>
                </a:lnTo>
                <a:lnTo>
                  <a:pt x="745" y="153"/>
                </a:lnTo>
                <a:lnTo>
                  <a:pt x="716" y="155"/>
                </a:lnTo>
                <a:lnTo>
                  <a:pt x="704" y="155"/>
                </a:lnTo>
                <a:lnTo>
                  <a:pt x="692" y="157"/>
                </a:lnTo>
                <a:lnTo>
                  <a:pt x="682" y="159"/>
                </a:lnTo>
                <a:lnTo>
                  <a:pt x="672" y="155"/>
                </a:lnTo>
                <a:lnTo>
                  <a:pt x="672" y="157"/>
                </a:lnTo>
                <a:lnTo>
                  <a:pt x="671" y="157"/>
                </a:lnTo>
                <a:lnTo>
                  <a:pt x="675" y="165"/>
                </a:lnTo>
                <a:lnTo>
                  <a:pt x="671" y="173"/>
                </a:lnTo>
                <a:lnTo>
                  <a:pt x="670" y="174"/>
                </a:lnTo>
                <a:lnTo>
                  <a:pt x="671" y="176"/>
                </a:lnTo>
                <a:lnTo>
                  <a:pt x="674" y="179"/>
                </a:lnTo>
                <a:lnTo>
                  <a:pt x="674" y="182"/>
                </a:lnTo>
                <a:lnTo>
                  <a:pt x="664" y="174"/>
                </a:lnTo>
                <a:lnTo>
                  <a:pt x="655" y="165"/>
                </a:lnTo>
                <a:lnTo>
                  <a:pt x="655" y="162"/>
                </a:lnTo>
                <a:lnTo>
                  <a:pt x="655" y="162"/>
                </a:lnTo>
                <a:lnTo>
                  <a:pt x="657" y="161"/>
                </a:lnTo>
                <a:lnTo>
                  <a:pt x="658" y="161"/>
                </a:lnTo>
                <a:lnTo>
                  <a:pt x="660" y="164"/>
                </a:lnTo>
                <a:lnTo>
                  <a:pt x="661" y="166"/>
                </a:lnTo>
                <a:lnTo>
                  <a:pt x="665" y="169"/>
                </a:lnTo>
                <a:lnTo>
                  <a:pt x="670" y="167"/>
                </a:lnTo>
                <a:lnTo>
                  <a:pt x="671" y="164"/>
                </a:lnTo>
                <a:lnTo>
                  <a:pt x="669" y="160"/>
                </a:lnTo>
                <a:lnTo>
                  <a:pt x="664" y="158"/>
                </a:lnTo>
                <a:lnTo>
                  <a:pt x="660" y="157"/>
                </a:lnTo>
                <a:lnTo>
                  <a:pt x="653" y="153"/>
                </a:lnTo>
                <a:lnTo>
                  <a:pt x="646" y="153"/>
                </a:lnTo>
                <a:lnTo>
                  <a:pt x="603" y="153"/>
                </a:lnTo>
                <a:lnTo>
                  <a:pt x="563" y="150"/>
                </a:lnTo>
                <a:lnTo>
                  <a:pt x="538" y="151"/>
                </a:lnTo>
                <a:lnTo>
                  <a:pt x="516" y="159"/>
                </a:lnTo>
                <a:lnTo>
                  <a:pt x="510" y="160"/>
                </a:lnTo>
                <a:lnTo>
                  <a:pt x="506" y="164"/>
                </a:lnTo>
                <a:lnTo>
                  <a:pt x="494" y="168"/>
                </a:lnTo>
                <a:lnTo>
                  <a:pt x="481" y="174"/>
                </a:lnTo>
                <a:lnTo>
                  <a:pt x="480" y="174"/>
                </a:lnTo>
                <a:lnTo>
                  <a:pt x="478" y="175"/>
                </a:lnTo>
                <a:lnTo>
                  <a:pt x="478" y="176"/>
                </a:lnTo>
                <a:lnTo>
                  <a:pt x="478" y="176"/>
                </a:lnTo>
                <a:lnTo>
                  <a:pt x="465" y="181"/>
                </a:lnTo>
                <a:lnTo>
                  <a:pt x="455" y="188"/>
                </a:lnTo>
                <a:lnTo>
                  <a:pt x="444" y="193"/>
                </a:lnTo>
                <a:lnTo>
                  <a:pt x="436" y="200"/>
                </a:lnTo>
                <a:lnTo>
                  <a:pt x="409" y="218"/>
                </a:lnTo>
                <a:lnTo>
                  <a:pt x="384" y="237"/>
                </a:lnTo>
                <a:lnTo>
                  <a:pt x="378" y="241"/>
                </a:lnTo>
                <a:lnTo>
                  <a:pt x="372" y="245"/>
                </a:lnTo>
                <a:lnTo>
                  <a:pt x="345" y="270"/>
                </a:lnTo>
                <a:lnTo>
                  <a:pt x="313" y="288"/>
                </a:lnTo>
                <a:lnTo>
                  <a:pt x="294" y="300"/>
                </a:lnTo>
                <a:lnTo>
                  <a:pt x="276" y="314"/>
                </a:lnTo>
                <a:lnTo>
                  <a:pt x="248" y="345"/>
                </a:lnTo>
                <a:lnTo>
                  <a:pt x="221" y="376"/>
                </a:lnTo>
                <a:lnTo>
                  <a:pt x="208" y="391"/>
                </a:lnTo>
                <a:lnTo>
                  <a:pt x="197" y="406"/>
                </a:lnTo>
                <a:lnTo>
                  <a:pt x="186" y="420"/>
                </a:lnTo>
                <a:lnTo>
                  <a:pt x="174" y="434"/>
                </a:lnTo>
                <a:lnTo>
                  <a:pt x="147" y="472"/>
                </a:lnTo>
                <a:lnTo>
                  <a:pt x="125" y="513"/>
                </a:lnTo>
                <a:lnTo>
                  <a:pt x="118" y="527"/>
                </a:lnTo>
                <a:lnTo>
                  <a:pt x="114" y="543"/>
                </a:lnTo>
                <a:lnTo>
                  <a:pt x="111" y="544"/>
                </a:lnTo>
                <a:lnTo>
                  <a:pt x="111" y="548"/>
                </a:lnTo>
                <a:lnTo>
                  <a:pt x="105" y="574"/>
                </a:lnTo>
                <a:lnTo>
                  <a:pt x="102" y="601"/>
                </a:lnTo>
                <a:lnTo>
                  <a:pt x="98" y="623"/>
                </a:lnTo>
                <a:lnTo>
                  <a:pt x="98" y="647"/>
                </a:lnTo>
                <a:lnTo>
                  <a:pt x="99" y="646"/>
                </a:lnTo>
                <a:lnTo>
                  <a:pt x="102" y="644"/>
                </a:lnTo>
                <a:lnTo>
                  <a:pt x="99" y="646"/>
                </a:lnTo>
                <a:lnTo>
                  <a:pt x="98" y="647"/>
                </a:lnTo>
                <a:lnTo>
                  <a:pt x="99" y="661"/>
                </a:lnTo>
                <a:lnTo>
                  <a:pt x="99" y="674"/>
                </a:lnTo>
                <a:lnTo>
                  <a:pt x="101" y="675"/>
                </a:lnTo>
                <a:lnTo>
                  <a:pt x="102" y="676"/>
                </a:lnTo>
                <a:lnTo>
                  <a:pt x="106" y="688"/>
                </a:lnTo>
                <a:lnTo>
                  <a:pt x="109" y="702"/>
                </a:lnTo>
                <a:lnTo>
                  <a:pt x="109" y="703"/>
                </a:lnTo>
                <a:lnTo>
                  <a:pt x="110" y="704"/>
                </a:lnTo>
                <a:lnTo>
                  <a:pt x="111" y="712"/>
                </a:lnTo>
                <a:lnTo>
                  <a:pt x="111" y="730"/>
                </a:lnTo>
                <a:lnTo>
                  <a:pt x="109" y="747"/>
                </a:lnTo>
                <a:lnTo>
                  <a:pt x="109" y="752"/>
                </a:lnTo>
                <a:lnTo>
                  <a:pt x="109" y="755"/>
                </a:lnTo>
                <a:lnTo>
                  <a:pt x="108" y="756"/>
                </a:lnTo>
                <a:lnTo>
                  <a:pt x="108" y="759"/>
                </a:lnTo>
                <a:lnTo>
                  <a:pt x="111" y="760"/>
                </a:lnTo>
                <a:lnTo>
                  <a:pt x="112" y="762"/>
                </a:lnTo>
                <a:lnTo>
                  <a:pt x="111" y="760"/>
                </a:lnTo>
                <a:lnTo>
                  <a:pt x="108" y="759"/>
                </a:lnTo>
                <a:lnTo>
                  <a:pt x="106" y="767"/>
                </a:lnTo>
                <a:lnTo>
                  <a:pt x="106" y="775"/>
                </a:lnTo>
                <a:lnTo>
                  <a:pt x="106" y="776"/>
                </a:lnTo>
                <a:lnTo>
                  <a:pt x="106" y="776"/>
                </a:lnTo>
                <a:lnTo>
                  <a:pt x="109" y="777"/>
                </a:lnTo>
                <a:lnTo>
                  <a:pt x="111" y="779"/>
                </a:lnTo>
                <a:lnTo>
                  <a:pt x="115" y="776"/>
                </a:lnTo>
                <a:lnTo>
                  <a:pt x="118" y="775"/>
                </a:lnTo>
                <a:lnTo>
                  <a:pt x="115" y="776"/>
                </a:lnTo>
                <a:lnTo>
                  <a:pt x="111" y="779"/>
                </a:lnTo>
                <a:lnTo>
                  <a:pt x="109" y="777"/>
                </a:lnTo>
                <a:lnTo>
                  <a:pt x="106" y="776"/>
                </a:lnTo>
                <a:lnTo>
                  <a:pt x="103" y="790"/>
                </a:lnTo>
                <a:lnTo>
                  <a:pt x="102" y="804"/>
                </a:lnTo>
                <a:lnTo>
                  <a:pt x="99" y="819"/>
                </a:lnTo>
                <a:lnTo>
                  <a:pt x="98" y="835"/>
                </a:lnTo>
                <a:lnTo>
                  <a:pt x="97" y="836"/>
                </a:lnTo>
                <a:lnTo>
                  <a:pt x="97" y="838"/>
                </a:lnTo>
                <a:lnTo>
                  <a:pt x="94" y="851"/>
                </a:lnTo>
                <a:lnTo>
                  <a:pt x="91" y="865"/>
                </a:lnTo>
                <a:lnTo>
                  <a:pt x="89" y="895"/>
                </a:lnTo>
                <a:lnTo>
                  <a:pt x="85" y="927"/>
                </a:lnTo>
                <a:lnTo>
                  <a:pt x="81" y="944"/>
                </a:lnTo>
                <a:lnTo>
                  <a:pt x="76" y="962"/>
                </a:lnTo>
                <a:lnTo>
                  <a:pt x="67" y="987"/>
                </a:lnTo>
                <a:lnTo>
                  <a:pt x="62" y="1014"/>
                </a:lnTo>
                <a:lnTo>
                  <a:pt x="57" y="1036"/>
                </a:lnTo>
                <a:lnTo>
                  <a:pt x="49" y="1057"/>
                </a:lnTo>
                <a:lnTo>
                  <a:pt x="42" y="1072"/>
                </a:lnTo>
                <a:lnTo>
                  <a:pt x="39" y="1087"/>
                </a:lnTo>
                <a:lnTo>
                  <a:pt x="40" y="1087"/>
                </a:lnTo>
                <a:lnTo>
                  <a:pt x="40" y="1087"/>
                </a:lnTo>
                <a:lnTo>
                  <a:pt x="40" y="1087"/>
                </a:lnTo>
                <a:lnTo>
                  <a:pt x="39" y="1087"/>
                </a:lnTo>
                <a:lnTo>
                  <a:pt x="38" y="1088"/>
                </a:lnTo>
                <a:lnTo>
                  <a:pt x="36" y="1089"/>
                </a:lnTo>
                <a:lnTo>
                  <a:pt x="28" y="1118"/>
                </a:lnTo>
                <a:lnTo>
                  <a:pt x="22" y="1147"/>
                </a:lnTo>
                <a:lnTo>
                  <a:pt x="22" y="1151"/>
                </a:lnTo>
                <a:lnTo>
                  <a:pt x="22" y="1154"/>
                </a:lnTo>
                <a:lnTo>
                  <a:pt x="22" y="1159"/>
                </a:lnTo>
                <a:lnTo>
                  <a:pt x="21" y="1163"/>
                </a:lnTo>
                <a:lnTo>
                  <a:pt x="20" y="1164"/>
                </a:lnTo>
                <a:lnTo>
                  <a:pt x="20" y="1166"/>
                </a:lnTo>
                <a:lnTo>
                  <a:pt x="20" y="1172"/>
                </a:lnTo>
                <a:lnTo>
                  <a:pt x="18" y="1178"/>
                </a:lnTo>
                <a:lnTo>
                  <a:pt x="13" y="1205"/>
                </a:lnTo>
                <a:lnTo>
                  <a:pt x="6" y="1233"/>
                </a:lnTo>
                <a:lnTo>
                  <a:pt x="7" y="1234"/>
                </a:lnTo>
                <a:lnTo>
                  <a:pt x="8" y="1235"/>
                </a:lnTo>
                <a:lnTo>
                  <a:pt x="9" y="1234"/>
                </a:lnTo>
                <a:lnTo>
                  <a:pt x="11" y="1233"/>
                </a:lnTo>
                <a:lnTo>
                  <a:pt x="14" y="1221"/>
                </a:lnTo>
                <a:lnTo>
                  <a:pt x="18" y="1209"/>
                </a:lnTo>
                <a:lnTo>
                  <a:pt x="16" y="1196"/>
                </a:lnTo>
                <a:lnTo>
                  <a:pt x="19" y="1185"/>
                </a:lnTo>
                <a:lnTo>
                  <a:pt x="19" y="1184"/>
                </a:lnTo>
                <a:lnTo>
                  <a:pt x="20" y="1184"/>
                </a:lnTo>
                <a:lnTo>
                  <a:pt x="21" y="1177"/>
                </a:lnTo>
                <a:lnTo>
                  <a:pt x="27" y="1175"/>
                </a:lnTo>
                <a:lnTo>
                  <a:pt x="28" y="1180"/>
                </a:lnTo>
                <a:lnTo>
                  <a:pt x="27" y="1186"/>
                </a:lnTo>
                <a:lnTo>
                  <a:pt x="27" y="1189"/>
                </a:lnTo>
                <a:lnTo>
                  <a:pt x="29" y="1193"/>
                </a:lnTo>
                <a:lnTo>
                  <a:pt x="30" y="1195"/>
                </a:lnTo>
                <a:lnTo>
                  <a:pt x="29" y="1199"/>
                </a:lnTo>
                <a:lnTo>
                  <a:pt x="28" y="1205"/>
                </a:lnTo>
                <a:lnTo>
                  <a:pt x="29" y="1210"/>
                </a:lnTo>
                <a:lnTo>
                  <a:pt x="30" y="1215"/>
                </a:lnTo>
                <a:lnTo>
                  <a:pt x="28" y="1220"/>
                </a:lnTo>
                <a:lnTo>
                  <a:pt x="25" y="1221"/>
                </a:lnTo>
                <a:lnTo>
                  <a:pt x="22" y="1222"/>
                </a:lnTo>
                <a:lnTo>
                  <a:pt x="22" y="1226"/>
                </a:lnTo>
                <a:lnTo>
                  <a:pt x="21" y="1229"/>
                </a:lnTo>
                <a:lnTo>
                  <a:pt x="20" y="1231"/>
                </a:lnTo>
                <a:lnTo>
                  <a:pt x="19" y="1234"/>
                </a:lnTo>
                <a:lnTo>
                  <a:pt x="20" y="1231"/>
                </a:lnTo>
                <a:lnTo>
                  <a:pt x="21" y="1229"/>
                </a:lnTo>
                <a:lnTo>
                  <a:pt x="20" y="1228"/>
                </a:lnTo>
                <a:lnTo>
                  <a:pt x="18" y="1228"/>
                </a:lnTo>
                <a:lnTo>
                  <a:pt x="16" y="1231"/>
                </a:lnTo>
                <a:lnTo>
                  <a:pt x="16" y="1235"/>
                </a:lnTo>
                <a:lnTo>
                  <a:pt x="12" y="1242"/>
                </a:lnTo>
                <a:lnTo>
                  <a:pt x="7" y="1248"/>
                </a:lnTo>
                <a:lnTo>
                  <a:pt x="5" y="1247"/>
                </a:lnTo>
                <a:lnTo>
                  <a:pt x="5" y="1244"/>
                </a:lnTo>
                <a:lnTo>
                  <a:pt x="2" y="1252"/>
                </a:lnTo>
                <a:lnTo>
                  <a:pt x="1" y="1259"/>
                </a:lnTo>
                <a:lnTo>
                  <a:pt x="1" y="1262"/>
                </a:lnTo>
                <a:lnTo>
                  <a:pt x="5" y="1263"/>
                </a:lnTo>
                <a:lnTo>
                  <a:pt x="0" y="1273"/>
                </a:lnTo>
                <a:lnTo>
                  <a:pt x="1" y="1285"/>
                </a:lnTo>
                <a:lnTo>
                  <a:pt x="4" y="1283"/>
                </a:lnTo>
                <a:lnTo>
                  <a:pt x="6" y="1282"/>
                </a:lnTo>
                <a:lnTo>
                  <a:pt x="12" y="1277"/>
                </a:lnTo>
                <a:lnTo>
                  <a:pt x="15" y="1270"/>
                </a:lnTo>
                <a:lnTo>
                  <a:pt x="16" y="1269"/>
                </a:lnTo>
                <a:lnTo>
                  <a:pt x="18" y="1268"/>
                </a:lnTo>
                <a:lnTo>
                  <a:pt x="21" y="1264"/>
                </a:lnTo>
                <a:lnTo>
                  <a:pt x="22" y="1261"/>
                </a:lnTo>
                <a:lnTo>
                  <a:pt x="22" y="1257"/>
                </a:lnTo>
                <a:lnTo>
                  <a:pt x="23" y="1255"/>
                </a:lnTo>
                <a:lnTo>
                  <a:pt x="29" y="1238"/>
                </a:lnTo>
                <a:lnTo>
                  <a:pt x="33" y="1222"/>
                </a:lnTo>
                <a:lnTo>
                  <a:pt x="33" y="1196"/>
                </a:lnTo>
                <a:lnTo>
                  <a:pt x="34" y="1172"/>
                </a:lnTo>
                <a:lnTo>
                  <a:pt x="35" y="1168"/>
                </a:lnTo>
                <a:lnTo>
                  <a:pt x="35" y="1166"/>
                </a:lnTo>
                <a:lnTo>
                  <a:pt x="40" y="1145"/>
                </a:lnTo>
                <a:lnTo>
                  <a:pt x="43" y="1124"/>
                </a:lnTo>
                <a:lnTo>
                  <a:pt x="45" y="1117"/>
                </a:lnTo>
                <a:lnTo>
                  <a:pt x="47" y="1111"/>
                </a:lnTo>
                <a:lnTo>
                  <a:pt x="56" y="1088"/>
                </a:lnTo>
                <a:lnTo>
                  <a:pt x="67" y="1065"/>
                </a:lnTo>
                <a:lnTo>
                  <a:pt x="75" y="1048"/>
                </a:lnTo>
                <a:lnTo>
                  <a:pt x="82" y="1031"/>
                </a:lnTo>
                <a:lnTo>
                  <a:pt x="87" y="1007"/>
                </a:lnTo>
                <a:lnTo>
                  <a:pt x="96" y="985"/>
                </a:lnTo>
                <a:lnTo>
                  <a:pt x="111" y="948"/>
                </a:lnTo>
                <a:lnTo>
                  <a:pt x="123" y="910"/>
                </a:lnTo>
                <a:lnTo>
                  <a:pt x="126" y="900"/>
                </a:lnTo>
                <a:lnTo>
                  <a:pt x="128" y="889"/>
                </a:lnTo>
                <a:lnTo>
                  <a:pt x="125" y="886"/>
                </a:lnTo>
                <a:lnTo>
                  <a:pt x="123" y="885"/>
                </a:lnTo>
                <a:lnTo>
                  <a:pt x="121" y="886"/>
                </a:lnTo>
                <a:lnTo>
                  <a:pt x="119" y="889"/>
                </a:lnTo>
                <a:lnTo>
                  <a:pt x="116" y="892"/>
                </a:lnTo>
                <a:lnTo>
                  <a:pt x="112" y="891"/>
                </a:lnTo>
                <a:lnTo>
                  <a:pt x="114" y="889"/>
                </a:lnTo>
                <a:lnTo>
                  <a:pt x="114" y="889"/>
                </a:lnTo>
                <a:lnTo>
                  <a:pt x="114" y="888"/>
                </a:lnTo>
                <a:lnTo>
                  <a:pt x="114" y="887"/>
                </a:lnTo>
                <a:lnTo>
                  <a:pt x="114" y="888"/>
                </a:lnTo>
                <a:lnTo>
                  <a:pt x="114" y="889"/>
                </a:lnTo>
                <a:lnTo>
                  <a:pt x="117" y="888"/>
                </a:lnTo>
                <a:lnTo>
                  <a:pt x="117" y="885"/>
                </a:lnTo>
                <a:lnTo>
                  <a:pt x="119" y="878"/>
                </a:lnTo>
                <a:lnTo>
                  <a:pt x="121" y="870"/>
                </a:lnTo>
                <a:lnTo>
                  <a:pt x="125" y="860"/>
                </a:lnTo>
                <a:lnTo>
                  <a:pt x="126" y="850"/>
                </a:lnTo>
                <a:lnTo>
                  <a:pt x="125" y="849"/>
                </a:lnTo>
                <a:lnTo>
                  <a:pt x="123" y="846"/>
                </a:lnTo>
                <a:lnTo>
                  <a:pt x="123" y="845"/>
                </a:lnTo>
                <a:lnTo>
                  <a:pt x="122" y="844"/>
                </a:lnTo>
                <a:lnTo>
                  <a:pt x="123" y="844"/>
                </a:lnTo>
                <a:lnTo>
                  <a:pt x="123" y="844"/>
                </a:lnTo>
                <a:lnTo>
                  <a:pt x="125" y="842"/>
                </a:lnTo>
                <a:lnTo>
                  <a:pt x="125" y="838"/>
                </a:lnTo>
                <a:lnTo>
                  <a:pt x="126" y="838"/>
                </a:lnTo>
                <a:lnTo>
                  <a:pt x="128" y="838"/>
                </a:lnTo>
                <a:lnTo>
                  <a:pt x="128" y="838"/>
                </a:lnTo>
                <a:lnTo>
                  <a:pt x="129" y="839"/>
                </a:lnTo>
                <a:lnTo>
                  <a:pt x="130" y="839"/>
                </a:lnTo>
                <a:lnTo>
                  <a:pt x="132" y="832"/>
                </a:lnTo>
                <a:lnTo>
                  <a:pt x="131" y="825"/>
                </a:lnTo>
                <a:lnTo>
                  <a:pt x="130" y="823"/>
                </a:lnTo>
                <a:lnTo>
                  <a:pt x="128" y="822"/>
                </a:lnTo>
                <a:lnTo>
                  <a:pt x="128" y="819"/>
                </a:lnTo>
                <a:lnTo>
                  <a:pt x="128" y="817"/>
                </a:lnTo>
                <a:lnTo>
                  <a:pt x="129" y="816"/>
                </a:lnTo>
                <a:lnTo>
                  <a:pt x="129" y="815"/>
                </a:lnTo>
                <a:lnTo>
                  <a:pt x="128" y="812"/>
                </a:lnTo>
                <a:lnTo>
                  <a:pt x="130" y="810"/>
                </a:lnTo>
                <a:lnTo>
                  <a:pt x="132" y="808"/>
                </a:lnTo>
                <a:lnTo>
                  <a:pt x="131" y="804"/>
                </a:lnTo>
                <a:lnTo>
                  <a:pt x="129" y="802"/>
                </a:lnTo>
                <a:lnTo>
                  <a:pt x="126" y="802"/>
                </a:lnTo>
                <a:lnTo>
                  <a:pt x="122" y="802"/>
                </a:lnTo>
                <a:lnTo>
                  <a:pt x="117" y="801"/>
                </a:lnTo>
                <a:lnTo>
                  <a:pt x="118" y="801"/>
                </a:lnTo>
                <a:lnTo>
                  <a:pt x="119" y="801"/>
                </a:lnTo>
                <a:lnTo>
                  <a:pt x="119" y="798"/>
                </a:lnTo>
                <a:lnTo>
                  <a:pt x="121" y="797"/>
                </a:lnTo>
                <a:lnTo>
                  <a:pt x="119" y="798"/>
                </a:lnTo>
                <a:lnTo>
                  <a:pt x="119" y="801"/>
                </a:lnTo>
                <a:lnTo>
                  <a:pt x="124" y="801"/>
                </a:lnTo>
                <a:lnTo>
                  <a:pt x="130" y="801"/>
                </a:lnTo>
                <a:lnTo>
                  <a:pt x="132" y="800"/>
                </a:lnTo>
                <a:lnTo>
                  <a:pt x="135" y="797"/>
                </a:lnTo>
                <a:lnTo>
                  <a:pt x="131" y="795"/>
                </a:lnTo>
                <a:lnTo>
                  <a:pt x="130" y="790"/>
                </a:lnTo>
                <a:lnTo>
                  <a:pt x="131" y="790"/>
                </a:lnTo>
                <a:lnTo>
                  <a:pt x="131" y="789"/>
                </a:lnTo>
                <a:lnTo>
                  <a:pt x="136" y="786"/>
                </a:lnTo>
                <a:lnTo>
                  <a:pt x="132" y="781"/>
                </a:lnTo>
                <a:lnTo>
                  <a:pt x="135" y="781"/>
                </a:lnTo>
                <a:lnTo>
                  <a:pt x="133" y="779"/>
                </a:lnTo>
                <a:lnTo>
                  <a:pt x="132" y="777"/>
                </a:lnTo>
                <a:lnTo>
                  <a:pt x="133" y="775"/>
                </a:lnTo>
                <a:lnTo>
                  <a:pt x="133" y="775"/>
                </a:lnTo>
                <a:lnTo>
                  <a:pt x="133" y="775"/>
                </a:lnTo>
                <a:lnTo>
                  <a:pt x="135" y="775"/>
                </a:lnTo>
                <a:lnTo>
                  <a:pt x="136" y="775"/>
                </a:lnTo>
                <a:lnTo>
                  <a:pt x="143" y="786"/>
                </a:lnTo>
                <a:lnTo>
                  <a:pt x="149" y="795"/>
                </a:lnTo>
                <a:lnTo>
                  <a:pt x="150" y="798"/>
                </a:lnTo>
                <a:lnTo>
                  <a:pt x="153" y="801"/>
                </a:lnTo>
                <a:lnTo>
                  <a:pt x="153" y="803"/>
                </a:lnTo>
                <a:lnTo>
                  <a:pt x="153" y="805"/>
                </a:lnTo>
                <a:lnTo>
                  <a:pt x="158" y="807"/>
                </a:lnTo>
                <a:lnTo>
                  <a:pt x="161" y="811"/>
                </a:lnTo>
                <a:lnTo>
                  <a:pt x="167" y="822"/>
                </a:lnTo>
                <a:lnTo>
                  <a:pt x="173" y="832"/>
                </a:lnTo>
                <a:lnTo>
                  <a:pt x="174" y="833"/>
                </a:lnTo>
                <a:lnTo>
                  <a:pt x="175" y="835"/>
                </a:lnTo>
                <a:lnTo>
                  <a:pt x="192" y="863"/>
                </a:lnTo>
                <a:lnTo>
                  <a:pt x="209" y="889"/>
                </a:lnTo>
                <a:lnTo>
                  <a:pt x="223" y="913"/>
                </a:lnTo>
                <a:lnTo>
                  <a:pt x="240" y="935"/>
                </a:lnTo>
                <a:lnTo>
                  <a:pt x="240" y="931"/>
                </a:lnTo>
                <a:lnTo>
                  <a:pt x="241" y="928"/>
                </a:lnTo>
                <a:lnTo>
                  <a:pt x="248" y="928"/>
                </a:lnTo>
                <a:lnTo>
                  <a:pt x="254" y="930"/>
                </a:lnTo>
                <a:lnTo>
                  <a:pt x="256" y="931"/>
                </a:lnTo>
                <a:lnTo>
                  <a:pt x="260" y="929"/>
                </a:lnTo>
                <a:lnTo>
                  <a:pt x="264" y="928"/>
                </a:lnTo>
                <a:lnTo>
                  <a:pt x="269" y="929"/>
                </a:lnTo>
                <a:lnTo>
                  <a:pt x="270" y="929"/>
                </a:lnTo>
                <a:lnTo>
                  <a:pt x="271" y="930"/>
                </a:lnTo>
                <a:lnTo>
                  <a:pt x="270" y="931"/>
                </a:lnTo>
                <a:lnTo>
                  <a:pt x="269" y="933"/>
                </a:lnTo>
                <a:lnTo>
                  <a:pt x="259" y="937"/>
                </a:lnTo>
                <a:lnTo>
                  <a:pt x="247" y="937"/>
                </a:lnTo>
                <a:lnTo>
                  <a:pt x="244" y="937"/>
                </a:lnTo>
                <a:lnTo>
                  <a:pt x="242" y="937"/>
                </a:lnTo>
                <a:lnTo>
                  <a:pt x="242" y="940"/>
                </a:lnTo>
                <a:lnTo>
                  <a:pt x="244" y="941"/>
                </a:lnTo>
                <a:lnTo>
                  <a:pt x="248" y="945"/>
                </a:lnTo>
                <a:lnTo>
                  <a:pt x="253" y="951"/>
                </a:lnTo>
                <a:lnTo>
                  <a:pt x="257" y="957"/>
                </a:lnTo>
                <a:lnTo>
                  <a:pt x="261" y="962"/>
                </a:lnTo>
                <a:lnTo>
                  <a:pt x="261" y="963"/>
                </a:lnTo>
                <a:lnTo>
                  <a:pt x="264" y="966"/>
                </a:lnTo>
                <a:lnTo>
                  <a:pt x="268" y="969"/>
                </a:lnTo>
                <a:lnTo>
                  <a:pt x="268" y="971"/>
                </a:lnTo>
                <a:lnTo>
                  <a:pt x="269" y="973"/>
                </a:lnTo>
                <a:lnTo>
                  <a:pt x="289" y="994"/>
                </a:lnTo>
                <a:lnTo>
                  <a:pt x="309" y="1015"/>
                </a:lnTo>
                <a:lnTo>
                  <a:pt x="310" y="1015"/>
                </a:lnTo>
                <a:lnTo>
                  <a:pt x="309" y="1017"/>
                </a:lnTo>
                <a:lnTo>
                  <a:pt x="310" y="1019"/>
                </a:lnTo>
                <a:lnTo>
                  <a:pt x="312" y="1020"/>
                </a:lnTo>
                <a:lnTo>
                  <a:pt x="313" y="1017"/>
                </a:lnTo>
                <a:lnTo>
                  <a:pt x="317" y="1017"/>
                </a:lnTo>
                <a:lnTo>
                  <a:pt x="318" y="1018"/>
                </a:lnTo>
                <a:lnTo>
                  <a:pt x="317" y="1020"/>
                </a:lnTo>
                <a:lnTo>
                  <a:pt x="318" y="1022"/>
                </a:lnTo>
                <a:lnTo>
                  <a:pt x="319" y="1024"/>
                </a:lnTo>
                <a:lnTo>
                  <a:pt x="322" y="1024"/>
                </a:lnTo>
                <a:lnTo>
                  <a:pt x="323" y="1022"/>
                </a:lnTo>
                <a:lnTo>
                  <a:pt x="325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30" y="1020"/>
                </a:lnTo>
                <a:lnTo>
                  <a:pt x="329" y="1020"/>
                </a:lnTo>
                <a:lnTo>
                  <a:pt x="329" y="1020"/>
                </a:lnTo>
                <a:lnTo>
                  <a:pt x="329" y="1015"/>
                </a:lnTo>
                <a:lnTo>
                  <a:pt x="329" y="1011"/>
                </a:lnTo>
                <a:lnTo>
                  <a:pt x="324" y="1011"/>
                </a:lnTo>
                <a:lnTo>
                  <a:pt x="317" y="1007"/>
                </a:lnTo>
                <a:lnTo>
                  <a:pt x="324" y="1007"/>
                </a:lnTo>
                <a:lnTo>
                  <a:pt x="329" y="1011"/>
                </a:lnTo>
                <a:lnTo>
                  <a:pt x="336" y="1014"/>
                </a:lnTo>
                <a:lnTo>
                  <a:pt x="339" y="1021"/>
                </a:lnTo>
                <a:lnTo>
                  <a:pt x="340" y="1025"/>
                </a:lnTo>
                <a:lnTo>
                  <a:pt x="344" y="1027"/>
                </a:lnTo>
                <a:lnTo>
                  <a:pt x="344" y="1025"/>
                </a:lnTo>
                <a:lnTo>
                  <a:pt x="344" y="1024"/>
                </a:lnTo>
                <a:lnTo>
                  <a:pt x="343" y="1021"/>
                </a:lnTo>
                <a:lnTo>
                  <a:pt x="344" y="1020"/>
                </a:lnTo>
                <a:lnTo>
                  <a:pt x="345" y="1020"/>
                </a:lnTo>
                <a:lnTo>
                  <a:pt x="346" y="1021"/>
                </a:lnTo>
                <a:lnTo>
                  <a:pt x="352" y="1025"/>
                </a:lnTo>
                <a:lnTo>
                  <a:pt x="357" y="1029"/>
                </a:lnTo>
                <a:lnTo>
                  <a:pt x="359" y="1029"/>
                </a:lnTo>
                <a:lnTo>
                  <a:pt x="359" y="1032"/>
                </a:lnTo>
                <a:lnTo>
                  <a:pt x="358" y="1033"/>
                </a:lnTo>
                <a:lnTo>
                  <a:pt x="356" y="1033"/>
                </a:lnTo>
                <a:lnTo>
                  <a:pt x="351" y="1033"/>
                </a:lnTo>
                <a:lnTo>
                  <a:pt x="346" y="1032"/>
                </a:lnTo>
                <a:lnTo>
                  <a:pt x="339" y="1033"/>
                </a:lnTo>
                <a:lnTo>
                  <a:pt x="332" y="1036"/>
                </a:lnTo>
                <a:lnTo>
                  <a:pt x="346" y="1059"/>
                </a:lnTo>
                <a:lnTo>
                  <a:pt x="364" y="1077"/>
                </a:lnTo>
                <a:lnTo>
                  <a:pt x="381" y="1093"/>
                </a:lnTo>
                <a:lnTo>
                  <a:pt x="399" y="1109"/>
                </a:lnTo>
                <a:lnTo>
                  <a:pt x="408" y="1126"/>
                </a:lnTo>
                <a:lnTo>
                  <a:pt x="414" y="1144"/>
                </a:lnTo>
                <a:lnTo>
                  <a:pt x="420" y="1159"/>
                </a:lnTo>
                <a:lnTo>
                  <a:pt x="427" y="1174"/>
                </a:lnTo>
                <a:lnTo>
                  <a:pt x="430" y="1187"/>
                </a:lnTo>
                <a:lnTo>
                  <a:pt x="436" y="1200"/>
                </a:lnTo>
                <a:lnTo>
                  <a:pt x="439" y="1206"/>
                </a:lnTo>
                <a:lnTo>
                  <a:pt x="441" y="1210"/>
                </a:lnTo>
                <a:lnTo>
                  <a:pt x="443" y="1219"/>
                </a:lnTo>
                <a:lnTo>
                  <a:pt x="447" y="1227"/>
                </a:lnTo>
                <a:lnTo>
                  <a:pt x="453" y="1249"/>
                </a:lnTo>
                <a:lnTo>
                  <a:pt x="460" y="1271"/>
                </a:lnTo>
                <a:lnTo>
                  <a:pt x="464" y="1289"/>
                </a:lnTo>
                <a:lnTo>
                  <a:pt x="469" y="1306"/>
                </a:lnTo>
                <a:lnTo>
                  <a:pt x="469" y="1307"/>
                </a:lnTo>
                <a:lnTo>
                  <a:pt x="470" y="1310"/>
                </a:lnTo>
                <a:lnTo>
                  <a:pt x="470" y="1313"/>
                </a:lnTo>
                <a:lnTo>
                  <a:pt x="471" y="1317"/>
                </a:lnTo>
                <a:lnTo>
                  <a:pt x="473" y="1321"/>
                </a:lnTo>
                <a:lnTo>
                  <a:pt x="474" y="1325"/>
                </a:lnTo>
                <a:lnTo>
                  <a:pt x="476" y="1339"/>
                </a:lnTo>
                <a:lnTo>
                  <a:pt x="481" y="1353"/>
                </a:lnTo>
                <a:lnTo>
                  <a:pt x="490" y="1346"/>
                </a:lnTo>
                <a:lnTo>
                  <a:pt x="499" y="1338"/>
                </a:lnTo>
                <a:lnTo>
                  <a:pt x="505" y="1333"/>
                </a:lnTo>
                <a:lnTo>
                  <a:pt x="508" y="1327"/>
                </a:lnTo>
                <a:lnTo>
                  <a:pt x="511" y="1317"/>
                </a:lnTo>
                <a:lnTo>
                  <a:pt x="520" y="1311"/>
                </a:lnTo>
                <a:lnTo>
                  <a:pt x="518" y="1318"/>
                </a:lnTo>
                <a:lnTo>
                  <a:pt x="516" y="1325"/>
                </a:lnTo>
                <a:lnTo>
                  <a:pt x="517" y="1326"/>
                </a:lnTo>
                <a:lnTo>
                  <a:pt x="518" y="1327"/>
                </a:lnTo>
                <a:lnTo>
                  <a:pt x="517" y="1326"/>
                </a:lnTo>
                <a:lnTo>
                  <a:pt x="516" y="1325"/>
                </a:lnTo>
                <a:lnTo>
                  <a:pt x="511" y="1331"/>
                </a:lnTo>
                <a:lnTo>
                  <a:pt x="513" y="1338"/>
                </a:lnTo>
                <a:lnTo>
                  <a:pt x="502" y="1345"/>
                </a:lnTo>
                <a:lnTo>
                  <a:pt x="491" y="1352"/>
                </a:lnTo>
                <a:lnTo>
                  <a:pt x="487" y="1354"/>
                </a:lnTo>
                <a:lnTo>
                  <a:pt x="481" y="1354"/>
                </a:lnTo>
                <a:lnTo>
                  <a:pt x="484" y="1364"/>
                </a:lnTo>
                <a:lnTo>
                  <a:pt x="489" y="1375"/>
                </a:lnTo>
                <a:lnTo>
                  <a:pt x="490" y="1376"/>
                </a:lnTo>
                <a:lnTo>
                  <a:pt x="491" y="1378"/>
                </a:lnTo>
                <a:lnTo>
                  <a:pt x="491" y="1382"/>
                </a:lnTo>
                <a:lnTo>
                  <a:pt x="491" y="1385"/>
                </a:lnTo>
                <a:lnTo>
                  <a:pt x="485" y="1392"/>
                </a:lnTo>
                <a:lnTo>
                  <a:pt x="483" y="1402"/>
                </a:lnTo>
                <a:lnTo>
                  <a:pt x="483" y="1405"/>
                </a:lnTo>
                <a:lnTo>
                  <a:pt x="484" y="1408"/>
                </a:lnTo>
                <a:lnTo>
                  <a:pt x="485" y="1409"/>
                </a:lnTo>
                <a:lnTo>
                  <a:pt x="485" y="1410"/>
                </a:lnTo>
                <a:lnTo>
                  <a:pt x="483" y="1413"/>
                </a:lnTo>
                <a:lnTo>
                  <a:pt x="482" y="1418"/>
                </a:lnTo>
                <a:lnTo>
                  <a:pt x="482" y="1425"/>
                </a:lnTo>
                <a:lnTo>
                  <a:pt x="482" y="1433"/>
                </a:lnTo>
                <a:lnTo>
                  <a:pt x="482" y="1441"/>
                </a:lnTo>
                <a:lnTo>
                  <a:pt x="485" y="1450"/>
                </a:lnTo>
                <a:lnTo>
                  <a:pt x="488" y="1452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0" y="1454"/>
                </a:lnTo>
                <a:lnTo>
                  <a:pt x="495" y="1461"/>
                </a:lnTo>
                <a:lnTo>
                  <a:pt x="503" y="1462"/>
                </a:lnTo>
                <a:lnTo>
                  <a:pt x="522" y="1462"/>
                </a:lnTo>
                <a:lnTo>
                  <a:pt x="539" y="1461"/>
                </a:lnTo>
                <a:lnTo>
                  <a:pt x="543" y="1462"/>
                </a:lnTo>
                <a:lnTo>
                  <a:pt x="547" y="1462"/>
                </a:lnTo>
                <a:lnTo>
                  <a:pt x="547" y="1464"/>
                </a:lnTo>
                <a:lnTo>
                  <a:pt x="549" y="1462"/>
                </a:lnTo>
                <a:lnTo>
                  <a:pt x="550" y="1462"/>
                </a:lnTo>
                <a:lnTo>
                  <a:pt x="551" y="1462"/>
                </a:lnTo>
                <a:lnTo>
                  <a:pt x="554" y="1465"/>
                </a:lnTo>
                <a:lnTo>
                  <a:pt x="558" y="1464"/>
                </a:lnTo>
                <a:lnTo>
                  <a:pt x="564" y="1464"/>
                </a:lnTo>
                <a:lnTo>
                  <a:pt x="568" y="1464"/>
                </a:lnTo>
                <a:lnTo>
                  <a:pt x="581" y="1464"/>
                </a:lnTo>
                <a:lnTo>
                  <a:pt x="593" y="1465"/>
                </a:lnTo>
                <a:lnTo>
                  <a:pt x="599" y="1465"/>
                </a:lnTo>
                <a:lnTo>
                  <a:pt x="605" y="1464"/>
                </a:lnTo>
                <a:lnTo>
                  <a:pt x="606" y="1464"/>
                </a:lnTo>
                <a:lnTo>
                  <a:pt x="607" y="1465"/>
                </a:lnTo>
                <a:lnTo>
                  <a:pt x="608" y="1465"/>
                </a:lnTo>
                <a:lnTo>
                  <a:pt x="609" y="1465"/>
                </a:lnTo>
                <a:lnTo>
                  <a:pt x="610" y="1465"/>
                </a:lnTo>
                <a:lnTo>
                  <a:pt x="612" y="1465"/>
                </a:lnTo>
                <a:lnTo>
                  <a:pt x="613" y="1465"/>
                </a:lnTo>
                <a:lnTo>
                  <a:pt x="613" y="1464"/>
                </a:lnTo>
                <a:lnTo>
                  <a:pt x="613" y="1464"/>
                </a:lnTo>
                <a:lnTo>
                  <a:pt x="619" y="1464"/>
                </a:lnTo>
                <a:lnTo>
                  <a:pt x="623" y="1461"/>
                </a:lnTo>
                <a:lnTo>
                  <a:pt x="629" y="1462"/>
                </a:lnTo>
                <a:lnTo>
                  <a:pt x="635" y="1461"/>
                </a:lnTo>
                <a:lnTo>
                  <a:pt x="649" y="1459"/>
                </a:lnTo>
                <a:lnTo>
                  <a:pt x="664" y="1458"/>
                </a:lnTo>
                <a:lnTo>
                  <a:pt x="664" y="1455"/>
                </a:lnTo>
                <a:lnTo>
                  <a:pt x="667" y="1453"/>
                </a:lnTo>
                <a:lnTo>
                  <a:pt x="668" y="1453"/>
                </a:lnTo>
                <a:lnTo>
                  <a:pt x="668" y="1453"/>
                </a:lnTo>
                <a:lnTo>
                  <a:pt x="668" y="1452"/>
                </a:lnTo>
                <a:lnTo>
                  <a:pt x="668" y="1451"/>
                </a:lnTo>
                <a:lnTo>
                  <a:pt x="669" y="1450"/>
                </a:lnTo>
                <a:lnTo>
                  <a:pt x="670" y="1450"/>
                </a:lnTo>
                <a:lnTo>
                  <a:pt x="670" y="1450"/>
                </a:lnTo>
                <a:lnTo>
                  <a:pt x="674" y="1450"/>
                </a:lnTo>
                <a:lnTo>
                  <a:pt x="677" y="1450"/>
                </a:lnTo>
                <a:lnTo>
                  <a:pt x="684" y="1451"/>
                </a:lnTo>
                <a:lnTo>
                  <a:pt x="692" y="1451"/>
                </a:lnTo>
                <a:lnTo>
                  <a:pt x="702" y="1448"/>
                </a:lnTo>
                <a:lnTo>
                  <a:pt x="701" y="1437"/>
                </a:lnTo>
                <a:lnTo>
                  <a:pt x="699" y="1434"/>
                </a:lnTo>
                <a:lnTo>
                  <a:pt x="697" y="1432"/>
                </a:lnTo>
                <a:lnTo>
                  <a:pt x="695" y="1431"/>
                </a:lnTo>
                <a:lnTo>
                  <a:pt x="694" y="1429"/>
                </a:lnTo>
                <a:lnTo>
                  <a:pt x="699" y="1429"/>
                </a:lnTo>
                <a:lnTo>
                  <a:pt x="704" y="1423"/>
                </a:lnTo>
                <a:lnTo>
                  <a:pt x="705" y="1422"/>
                </a:lnTo>
                <a:lnTo>
                  <a:pt x="708" y="1423"/>
                </a:lnTo>
                <a:lnTo>
                  <a:pt x="715" y="1425"/>
                </a:lnTo>
                <a:lnTo>
                  <a:pt x="720" y="1419"/>
                </a:lnTo>
                <a:lnTo>
                  <a:pt x="723" y="1416"/>
                </a:lnTo>
                <a:lnTo>
                  <a:pt x="727" y="1415"/>
                </a:lnTo>
                <a:lnTo>
                  <a:pt x="724" y="1419"/>
                </a:lnTo>
                <a:lnTo>
                  <a:pt x="723" y="1424"/>
                </a:lnTo>
                <a:lnTo>
                  <a:pt x="724" y="1424"/>
                </a:lnTo>
                <a:lnTo>
                  <a:pt x="725" y="1424"/>
                </a:lnTo>
                <a:lnTo>
                  <a:pt x="724" y="1424"/>
                </a:lnTo>
                <a:lnTo>
                  <a:pt x="723" y="1424"/>
                </a:lnTo>
                <a:lnTo>
                  <a:pt x="719" y="1431"/>
                </a:lnTo>
                <a:lnTo>
                  <a:pt x="718" y="1438"/>
                </a:lnTo>
                <a:lnTo>
                  <a:pt x="715" y="1438"/>
                </a:lnTo>
                <a:lnTo>
                  <a:pt x="710" y="1436"/>
                </a:lnTo>
                <a:lnTo>
                  <a:pt x="711" y="1440"/>
                </a:lnTo>
                <a:lnTo>
                  <a:pt x="708" y="1443"/>
                </a:lnTo>
                <a:lnTo>
                  <a:pt x="706" y="1445"/>
                </a:lnTo>
                <a:lnTo>
                  <a:pt x="708" y="1447"/>
                </a:lnTo>
                <a:lnTo>
                  <a:pt x="712" y="1451"/>
                </a:lnTo>
                <a:lnTo>
                  <a:pt x="718" y="1450"/>
                </a:lnTo>
                <a:lnTo>
                  <a:pt x="719" y="1451"/>
                </a:lnTo>
                <a:lnTo>
                  <a:pt x="719" y="1451"/>
                </a:lnTo>
                <a:lnTo>
                  <a:pt x="720" y="1454"/>
                </a:lnTo>
                <a:lnTo>
                  <a:pt x="722" y="1458"/>
                </a:lnTo>
                <a:lnTo>
                  <a:pt x="724" y="1461"/>
                </a:lnTo>
                <a:lnTo>
                  <a:pt x="727" y="1465"/>
                </a:lnTo>
                <a:lnTo>
                  <a:pt x="733" y="1472"/>
                </a:lnTo>
                <a:lnTo>
                  <a:pt x="743" y="1473"/>
                </a:lnTo>
                <a:lnTo>
                  <a:pt x="750" y="1478"/>
                </a:lnTo>
                <a:lnTo>
                  <a:pt x="758" y="1481"/>
                </a:lnTo>
                <a:lnTo>
                  <a:pt x="767" y="1485"/>
                </a:lnTo>
                <a:lnTo>
                  <a:pt x="778" y="1487"/>
                </a:lnTo>
                <a:lnTo>
                  <a:pt x="785" y="1489"/>
                </a:lnTo>
                <a:lnTo>
                  <a:pt x="792" y="1489"/>
                </a:lnTo>
                <a:lnTo>
                  <a:pt x="795" y="1489"/>
                </a:lnTo>
                <a:lnTo>
                  <a:pt x="799" y="1489"/>
                </a:lnTo>
                <a:lnTo>
                  <a:pt x="800" y="1489"/>
                </a:lnTo>
                <a:lnTo>
                  <a:pt x="802" y="1489"/>
                </a:lnTo>
                <a:lnTo>
                  <a:pt x="800" y="1489"/>
                </a:lnTo>
                <a:lnTo>
                  <a:pt x="799" y="1489"/>
                </a:lnTo>
                <a:lnTo>
                  <a:pt x="800" y="1492"/>
                </a:lnTo>
                <a:lnTo>
                  <a:pt x="802" y="1489"/>
                </a:lnTo>
                <a:lnTo>
                  <a:pt x="805" y="1489"/>
                </a:lnTo>
                <a:lnTo>
                  <a:pt x="806" y="1489"/>
                </a:lnTo>
                <a:lnTo>
                  <a:pt x="807" y="1489"/>
                </a:lnTo>
                <a:lnTo>
                  <a:pt x="807" y="1489"/>
                </a:lnTo>
                <a:lnTo>
                  <a:pt x="808" y="1489"/>
                </a:lnTo>
                <a:lnTo>
                  <a:pt x="810" y="1489"/>
                </a:lnTo>
                <a:lnTo>
                  <a:pt x="812" y="1492"/>
                </a:lnTo>
                <a:lnTo>
                  <a:pt x="813" y="1492"/>
                </a:lnTo>
                <a:lnTo>
                  <a:pt x="822" y="1494"/>
                </a:lnTo>
                <a:lnTo>
                  <a:pt x="832" y="1497"/>
                </a:lnTo>
                <a:lnTo>
                  <a:pt x="836" y="1501"/>
                </a:lnTo>
                <a:lnTo>
                  <a:pt x="843" y="1502"/>
                </a:lnTo>
                <a:lnTo>
                  <a:pt x="858" y="1504"/>
                </a:lnTo>
                <a:lnTo>
                  <a:pt x="875" y="1504"/>
                </a:lnTo>
                <a:lnTo>
                  <a:pt x="889" y="1502"/>
                </a:lnTo>
                <a:lnTo>
                  <a:pt x="896" y="1492"/>
                </a:lnTo>
                <a:lnTo>
                  <a:pt x="902" y="1492"/>
                </a:lnTo>
                <a:lnTo>
                  <a:pt x="908" y="1492"/>
                </a:lnTo>
                <a:lnTo>
                  <a:pt x="919" y="1490"/>
                </a:lnTo>
                <a:lnTo>
                  <a:pt x="932" y="1487"/>
                </a:lnTo>
                <a:lnTo>
                  <a:pt x="938" y="1482"/>
                </a:lnTo>
                <a:lnTo>
                  <a:pt x="938" y="1475"/>
                </a:lnTo>
                <a:lnTo>
                  <a:pt x="934" y="1464"/>
                </a:lnTo>
                <a:lnTo>
                  <a:pt x="932" y="1451"/>
                </a:lnTo>
                <a:lnTo>
                  <a:pt x="931" y="1450"/>
                </a:lnTo>
                <a:lnTo>
                  <a:pt x="931" y="1447"/>
                </a:lnTo>
                <a:lnTo>
                  <a:pt x="931" y="1446"/>
                </a:lnTo>
                <a:lnTo>
                  <a:pt x="930" y="1445"/>
                </a:lnTo>
                <a:lnTo>
                  <a:pt x="930" y="1444"/>
                </a:lnTo>
                <a:lnTo>
                  <a:pt x="929" y="1443"/>
                </a:lnTo>
                <a:lnTo>
                  <a:pt x="926" y="1437"/>
                </a:lnTo>
                <a:lnTo>
                  <a:pt x="922" y="1433"/>
                </a:lnTo>
                <a:lnTo>
                  <a:pt x="922" y="1433"/>
                </a:lnTo>
                <a:lnTo>
                  <a:pt x="922" y="1431"/>
                </a:lnTo>
                <a:lnTo>
                  <a:pt x="920" y="1430"/>
                </a:lnTo>
                <a:lnTo>
                  <a:pt x="911" y="1422"/>
                </a:lnTo>
                <a:lnTo>
                  <a:pt x="902" y="1412"/>
                </a:lnTo>
                <a:lnTo>
                  <a:pt x="898" y="1408"/>
                </a:lnTo>
                <a:lnTo>
                  <a:pt x="892" y="1404"/>
                </a:lnTo>
                <a:lnTo>
                  <a:pt x="881" y="1388"/>
                </a:lnTo>
                <a:lnTo>
                  <a:pt x="874" y="1369"/>
                </a:lnTo>
                <a:lnTo>
                  <a:pt x="872" y="1359"/>
                </a:lnTo>
                <a:lnTo>
                  <a:pt x="871" y="1348"/>
                </a:lnTo>
                <a:lnTo>
                  <a:pt x="876" y="1329"/>
                </a:lnTo>
                <a:lnTo>
                  <a:pt x="881" y="1311"/>
                </a:lnTo>
                <a:lnTo>
                  <a:pt x="883" y="1308"/>
                </a:lnTo>
                <a:lnTo>
                  <a:pt x="883" y="1305"/>
                </a:lnTo>
                <a:lnTo>
                  <a:pt x="886" y="1296"/>
                </a:lnTo>
                <a:lnTo>
                  <a:pt x="890" y="1287"/>
                </a:lnTo>
                <a:lnTo>
                  <a:pt x="891" y="1279"/>
                </a:lnTo>
                <a:lnTo>
                  <a:pt x="893" y="1272"/>
                </a:lnTo>
                <a:lnTo>
                  <a:pt x="902" y="1251"/>
                </a:lnTo>
                <a:lnTo>
                  <a:pt x="905" y="1228"/>
                </a:lnTo>
                <a:lnTo>
                  <a:pt x="910" y="1188"/>
                </a:lnTo>
                <a:lnTo>
                  <a:pt x="913" y="1147"/>
                </a:lnTo>
                <a:lnTo>
                  <a:pt x="911" y="1147"/>
                </a:lnTo>
                <a:lnTo>
                  <a:pt x="910" y="1147"/>
                </a:lnTo>
                <a:lnTo>
                  <a:pt x="911" y="1147"/>
                </a:lnTo>
                <a:lnTo>
                  <a:pt x="913" y="1147"/>
                </a:lnTo>
                <a:lnTo>
                  <a:pt x="913" y="1144"/>
                </a:lnTo>
                <a:lnTo>
                  <a:pt x="913" y="1140"/>
                </a:lnTo>
                <a:lnTo>
                  <a:pt x="913" y="1138"/>
                </a:lnTo>
                <a:lnTo>
                  <a:pt x="913" y="1137"/>
                </a:lnTo>
                <a:lnTo>
                  <a:pt x="915" y="1135"/>
                </a:lnTo>
                <a:lnTo>
                  <a:pt x="916" y="1132"/>
                </a:lnTo>
                <a:lnTo>
                  <a:pt x="918" y="1114"/>
                </a:lnTo>
                <a:lnTo>
                  <a:pt x="920" y="1096"/>
                </a:lnTo>
                <a:lnTo>
                  <a:pt x="925" y="1077"/>
                </a:lnTo>
                <a:lnTo>
                  <a:pt x="927" y="1057"/>
                </a:lnTo>
                <a:lnTo>
                  <a:pt x="927" y="1056"/>
                </a:lnTo>
                <a:lnTo>
                  <a:pt x="927" y="1054"/>
                </a:lnTo>
                <a:lnTo>
                  <a:pt x="930" y="1050"/>
                </a:lnTo>
                <a:lnTo>
                  <a:pt x="930" y="1047"/>
                </a:lnTo>
                <a:lnTo>
                  <a:pt x="932" y="1032"/>
                </a:lnTo>
                <a:lnTo>
                  <a:pt x="933" y="1017"/>
                </a:lnTo>
                <a:lnTo>
                  <a:pt x="937" y="997"/>
                </a:lnTo>
                <a:lnTo>
                  <a:pt x="939" y="977"/>
                </a:lnTo>
                <a:lnTo>
                  <a:pt x="940" y="968"/>
                </a:lnTo>
                <a:lnTo>
                  <a:pt x="940" y="957"/>
                </a:lnTo>
                <a:lnTo>
                  <a:pt x="940" y="956"/>
                </a:lnTo>
                <a:lnTo>
                  <a:pt x="940" y="956"/>
                </a:lnTo>
                <a:lnTo>
                  <a:pt x="943" y="952"/>
                </a:lnTo>
                <a:lnTo>
                  <a:pt x="943" y="949"/>
                </a:lnTo>
                <a:lnTo>
                  <a:pt x="943" y="930"/>
                </a:lnTo>
                <a:lnTo>
                  <a:pt x="943" y="910"/>
                </a:lnTo>
                <a:lnTo>
                  <a:pt x="944" y="900"/>
                </a:lnTo>
                <a:lnTo>
                  <a:pt x="945" y="888"/>
                </a:lnTo>
                <a:lnTo>
                  <a:pt x="947" y="870"/>
                </a:lnTo>
                <a:lnTo>
                  <a:pt x="948" y="851"/>
                </a:lnTo>
                <a:lnTo>
                  <a:pt x="945" y="842"/>
                </a:lnTo>
                <a:lnTo>
                  <a:pt x="940" y="831"/>
                </a:lnTo>
                <a:lnTo>
                  <a:pt x="941" y="830"/>
                </a:lnTo>
                <a:lnTo>
                  <a:pt x="941" y="829"/>
                </a:lnTo>
                <a:lnTo>
                  <a:pt x="944" y="831"/>
                </a:lnTo>
                <a:lnTo>
                  <a:pt x="947" y="831"/>
                </a:lnTo>
                <a:lnTo>
                  <a:pt x="950" y="829"/>
                </a:lnTo>
                <a:lnTo>
                  <a:pt x="948" y="825"/>
                </a:lnTo>
                <a:lnTo>
                  <a:pt x="948" y="824"/>
                </a:lnTo>
                <a:lnTo>
                  <a:pt x="951" y="822"/>
                </a:lnTo>
                <a:lnTo>
                  <a:pt x="952" y="818"/>
                </a:lnTo>
                <a:lnTo>
                  <a:pt x="951" y="815"/>
                </a:lnTo>
                <a:lnTo>
                  <a:pt x="943" y="822"/>
                </a:lnTo>
                <a:lnTo>
                  <a:pt x="934" y="830"/>
                </a:lnTo>
                <a:lnTo>
                  <a:pt x="934" y="826"/>
                </a:lnTo>
                <a:lnTo>
                  <a:pt x="934" y="823"/>
                </a:lnTo>
                <a:lnTo>
                  <a:pt x="934" y="823"/>
                </a:lnTo>
                <a:lnTo>
                  <a:pt x="934" y="823"/>
                </a:lnTo>
                <a:close/>
                <a:moveTo>
                  <a:pt x="1009" y="460"/>
                </a:moveTo>
                <a:lnTo>
                  <a:pt x="1005" y="462"/>
                </a:lnTo>
                <a:lnTo>
                  <a:pt x="1000" y="460"/>
                </a:lnTo>
                <a:lnTo>
                  <a:pt x="998" y="461"/>
                </a:lnTo>
                <a:lnTo>
                  <a:pt x="996" y="465"/>
                </a:lnTo>
                <a:lnTo>
                  <a:pt x="998" y="469"/>
                </a:lnTo>
                <a:lnTo>
                  <a:pt x="998" y="473"/>
                </a:lnTo>
                <a:lnTo>
                  <a:pt x="993" y="475"/>
                </a:lnTo>
                <a:lnTo>
                  <a:pt x="989" y="478"/>
                </a:lnTo>
                <a:lnTo>
                  <a:pt x="988" y="479"/>
                </a:lnTo>
                <a:lnTo>
                  <a:pt x="988" y="480"/>
                </a:lnTo>
                <a:lnTo>
                  <a:pt x="989" y="481"/>
                </a:lnTo>
                <a:lnTo>
                  <a:pt x="991" y="481"/>
                </a:lnTo>
                <a:lnTo>
                  <a:pt x="996" y="480"/>
                </a:lnTo>
                <a:lnTo>
                  <a:pt x="998" y="473"/>
                </a:lnTo>
                <a:lnTo>
                  <a:pt x="1000" y="471"/>
                </a:lnTo>
                <a:lnTo>
                  <a:pt x="1002" y="469"/>
                </a:lnTo>
                <a:lnTo>
                  <a:pt x="1006" y="471"/>
                </a:lnTo>
                <a:lnTo>
                  <a:pt x="1007" y="467"/>
                </a:lnTo>
                <a:lnTo>
                  <a:pt x="1008" y="464"/>
                </a:lnTo>
                <a:lnTo>
                  <a:pt x="1009" y="461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lnTo>
                  <a:pt x="1009" y="460"/>
                </a:lnTo>
                <a:close/>
                <a:moveTo>
                  <a:pt x="1368" y="510"/>
                </a:moveTo>
                <a:lnTo>
                  <a:pt x="1368" y="511"/>
                </a:lnTo>
                <a:lnTo>
                  <a:pt x="1368" y="511"/>
                </a:lnTo>
                <a:lnTo>
                  <a:pt x="1365" y="513"/>
                </a:lnTo>
                <a:lnTo>
                  <a:pt x="1365" y="515"/>
                </a:lnTo>
                <a:lnTo>
                  <a:pt x="1368" y="516"/>
                </a:lnTo>
                <a:lnTo>
                  <a:pt x="1373" y="517"/>
                </a:lnTo>
                <a:lnTo>
                  <a:pt x="1373" y="516"/>
                </a:lnTo>
                <a:lnTo>
                  <a:pt x="1373" y="514"/>
                </a:lnTo>
                <a:lnTo>
                  <a:pt x="1379" y="510"/>
                </a:lnTo>
                <a:lnTo>
                  <a:pt x="1381" y="504"/>
                </a:lnTo>
                <a:lnTo>
                  <a:pt x="1380" y="503"/>
                </a:lnTo>
                <a:lnTo>
                  <a:pt x="1378" y="504"/>
                </a:lnTo>
                <a:lnTo>
                  <a:pt x="1374" y="509"/>
                </a:lnTo>
                <a:lnTo>
                  <a:pt x="1373" y="514"/>
                </a:lnTo>
                <a:lnTo>
                  <a:pt x="1369" y="514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1"/>
                </a:lnTo>
                <a:lnTo>
                  <a:pt x="1368" y="510"/>
                </a:lnTo>
                <a:close/>
                <a:moveTo>
                  <a:pt x="1285" y="577"/>
                </a:moveTo>
                <a:lnTo>
                  <a:pt x="1285" y="576"/>
                </a:lnTo>
                <a:lnTo>
                  <a:pt x="1285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4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6"/>
                </a:lnTo>
                <a:lnTo>
                  <a:pt x="1285" y="577"/>
                </a:lnTo>
                <a:close/>
                <a:moveTo>
                  <a:pt x="1520" y="556"/>
                </a:move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17" y="556"/>
                </a:lnTo>
                <a:lnTo>
                  <a:pt x="1513" y="555"/>
                </a:lnTo>
                <a:lnTo>
                  <a:pt x="1511" y="553"/>
                </a:lnTo>
                <a:lnTo>
                  <a:pt x="1509" y="556"/>
                </a:lnTo>
                <a:lnTo>
                  <a:pt x="1506" y="559"/>
                </a:lnTo>
                <a:lnTo>
                  <a:pt x="1507" y="563"/>
                </a:lnTo>
                <a:lnTo>
                  <a:pt x="1510" y="564"/>
                </a:lnTo>
                <a:lnTo>
                  <a:pt x="1512" y="562"/>
                </a:lnTo>
                <a:lnTo>
                  <a:pt x="1514" y="560"/>
                </a:lnTo>
                <a:lnTo>
                  <a:pt x="1517" y="562"/>
                </a:lnTo>
                <a:lnTo>
                  <a:pt x="1520" y="560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0" y="556"/>
                </a:lnTo>
                <a:lnTo>
                  <a:pt x="1521" y="555"/>
                </a:lnTo>
                <a:lnTo>
                  <a:pt x="1521" y="553"/>
                </a:lnTo>
                <a:lnTo>
                  <a:pt x="1528" y="557"/>
                </a:lnTo>
                <a:lnTo>
                  <a:pt x="1535" y="558"/>
                </a:lnTo>
                <a:lnTo>
                  <a:pt x="1538" y="559"/>
                </a:lnTo>
                <a:lnTo>
                  <a:pt x="1535" y="563"/>
                </a:lnTo>
                <a:lnTo>
                  <a:pt x="1534" y="567"/>
                </a:lnTo>
                <a:lnTo>
                  <a:pt x="1538" y="570"/>
                </a:lnTo>
                <a:lnTo>
                  <a:pt x="1538" y="572"/>
                </a:lnTo>
                <a:lnTo>
                  <a:pt x="1538" y="573"/>
                </a:lnTo>
                <a:lnTo>
                  <a:pt x="1537" y="573"/>
                </a:lnTo>
                <a:lnTo>
                  <a:pt x="1534" y="573"/>
                </a:lnTo>
                <a:lnTo>
                  <a:pt x="1534" y="573"/>
                </a:lnTo>
                <a:lnTo>
                  <a:pt x="1534" y="574"/>
                </a:lnTo>
                <a:lnTo>
                  <a:pt x="1537" y="574"/>
                </a:lnTo>
                <a:lnTo>
                  <a:pt x="1538" y="574"/>
                </a:lnTo>
                <a:lnTo>
                  <a:pt x="1538" y="574"/>
                </a:lnTo>
                <a:lnTo>
                  <a:pt x="1540" y="577"/>
                </a:lnTo>
                <a:lnTo>
                  <a:pt x="1542" y="577"/>
                </a:lnTo>
                <a:lnTo>
                  <a:pt x="1545" y="580"/>
                </a:lnTo>
                <a:lnTo>
                  <a:pt x="1547" y="581"/>
                </a:lnTo>
                <a:lnTo>
                  <a:pt x="1551" y="571"/>
                </a:lnTo>
                <a:lnTo>
                  <a:pt x="1550" y="560"/>
                </a:lnTo>
                <a:lnTo>
                  <a:pt x="1547" y="545"/>
                </a:lnTo>
                <a:lnTo>
                  <a:pt x="1538" y="532"/>
                </a:lnTo>
                <a:lnTo>
                  <a:pt x="1539" y="535"/>
                </a:lnTo>
                <a:lnTo>
                  <a:pt x="1538" y="536"/>
                </a:lnTo>
                <a:lnTo>
                  <a:pt x="1537" y="535"/>
                </a:lnTo>
                <a:lnTo>
                  <a:pt x="1535" y="534"/>
                </a:lnTo>
                <a:lnTo>
                  <a:pt x="1534" y="532"/>
                </a:lnTo>
                <a:lnTo>
                  <a:pt x="1532" y="531"/>
                </a:lnTo>
                <a:lnTo>
                  <a:pt x="1531" y="534"/>
                </a:lnTo>
                <a:lnTo>
                  <a:pt x="1532" y="537"/>
                </a:lnTo>
                <a:lnTo>
                  <a:pt x="1533" y="538"/>
                </a:lnTo>
                <a:lnTo>
                  <a:pt x="1535" y="539"/>
                </a:lnTo>
                <a:lnTo>
                  <a:pt x="1535" y="541"/>
                </a:lnTo>
                <a:lnTo>
                  <a:pt x="1535" y="542"/>
                </a:lnTo>
                <a:lnTo>
                  <a:pt x="1531" y="549"/>
                </a:lnTo>
                <a:lnTo>
                  <a:pt x="1523" y="550"/>
                </a:lnTo>
                <a:lnTo>
                  <a:pt x="1521" y="551"/>
                </a:lnTo>
                <a:lnTo>
                  <a:pt x="1521" y="553"/>
                </a:lnTo>
                <a:lnTo>
                  <a:pt x="1520" y="555"/>
                </a:lnTo>
                <a:lnTo>
                  <a:pt x="1520" y="556"/>
                </a:lnTo>
                <a:close/>
                <a:moveTo>
                  <a:pt x="1145" y="521"/>
                </a:move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2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lnTo>
                  <a:pt x="1145" y="521"/>
                </a:lnTo>
                <a:close/>
                <a:moveTo>
                  <a:pt x="1517" y="564"/>
                </a:moveTo>
                <a:lnTo>
                  <a:pt x="1517" y="563"/>
                </a:lnTo>
                <a:lnTo>
                  <a:pt x="1517" y="562"/>
                </a:lnTo>
                <a:lnTo>
                  <a:pt x="1517" y="563"/>
                </a:lnTo>
                <a:lnTo>
                  <a:pt x="1516" y="563"/>
                </a:lnTo>
                <a:lnTo>
                  <a:pt x="1517" y="564"/>
                </a:lnTo>
                <a:lnTo>
                  <a:pt x="1517" y="564"/>
                </a:lnTo>
                <a:close/>
                <a:moveTo>
                  <a:pt x="1105" y="600"/>
                </a:moveTo>
                <a:lnTo>
                  <a:pt x="1105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6" y="599"/>
                </a:lnTo>
                <a:lnTo>
                  <a:pt x="1105" y="599"/>
                </a:lnTo>
                <a:lnTo>
                  <a:pt x="1105" y="600"/>
                </a:lnTo>
                <a:lnTo>
                  <a:pt x="1103" y="600"/>
                </a:lnTo>
                <a:lnTo>
                  <a:pt x="1102" y="601"/>
                </a:lnTo>
                <a:lnTo>
                  <a:pt x="1102" y="601"/>
                </a:lnTo>
                <a:lnTo>
                  <a:pt x="1102" y="602"/>
                </a:lnTo>
                <a:lnTo>
                  <a:pt x="1104" y="601"/>
                </a:lnTo>
                <a:lnTo>
                  <a:pt x="1105" y="600"/>
                </a:lnTo>
                <a:close/>
                <a:moveTo>
                  <a:pt x="1267" y="859"/>
                </a:moveTo>
                <a:lnTo>
                  <a:pt x="1267" y="859"/>
                </a:lnTo>
                <a:lnTo>
                  <a:pt x="1268" y="860"/>
                </a:lnTo>
                <a:lnTo>
                  <a:pt x="1268" y="859"/>
                </a:lnTo>
                <a:lnTo>
                  <a:pt x="1268" y="859"/>
                </a:lnTo>
                <a:lnTo>
                  <a:pt x="1268" y="858"/>
                </a:lnTo>
                <a:lnTo>
                  <a:pt x="1267" y="858"/>
                </a:lnTo>
                <a:lnTo>
                  <a:pt x="1267" y="859"/>
                </a:lnTo>
                <a:lnTo>
                  <a:pt x="1267" y="859"/>
                </a:lnTo>
                <a:close/>
                <a:moveTo>
                  <a:pt x="1054" y="587"/>
                </a:moveTo>
                <a:lnTo>
                  <a:pt x="1055" y="587"/>
                </a:lnTo>
                <a:lnTo>
                  <a:pt x="1055" y="587"/>
                </a:lnTo>
                <a:lnTo>
                  <a:pt x="1055" y="586"/>
                </a:lnTo>
                <a:lnTo>
                  <a:pt x="1056" y="586"/>
                </a:lnTo>
                <a:lnTo>
                  <a:pt x="1055" y="586"/>
                </a:lnTo>
                <a:lnTo>
                  <a:pt x="1054" y="586"/>
                </a:lnTo>
                <a:lnTo>
                  <a:pt x="1054" y="586"/>
                </a:lnTo>
                <a:lnTo>
                  <a:pt x="1054" y="587"/>
                </a:lnTo>
                <a:close/>
                <a:moveTo>
                  <a:pt x="1051" y="550"/>
                </a:moveTo>
                <a:lnTo>
                  <a:pt x="1051" y="550"/>
                </a:lnTo>
                <a:lnTo>
                  <a:pt x="1051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3" y="550"/>
                </a:lnTo>
                <a:lnTo>
                  <a:pt x="1051" y="550"/>
                </a:lnTo>
                <a:lnTo>
                  <a:pt x="1051" y="550"/>
                </a:lnTo>
                <a:lnTo>
                  <a:pt x="1051" y="550"/>
                </a:lnTo>
                <a:close/>
                <a:moveTo>
                  <a:pt x="1036" y="518"/>
                </a:moveTo>
                <a:lnTo>
                  <a:pt x="1036" y="518"/>
                </a:lnTo>
                <a:lnTo>
                  <a:pt x="1036" y="518"/>
                </a:lnTo>
                <a:lnTo>
                  <a:pt x="1037" y="517"/>
                </a:lnTo>
                <a:lnTo>
                  <a:pt x="1037" y="516"/>
                </a:lnTo>
                <a:lnTo>
                  <a:pt x="1040" y="514"/>
                </a:lnTo>
                <a:lnTo>
                  <a:pt x="1038" y="511"/>
                </a:lnTo>
                <a:lnTo>
                  <a:pt x="1037" y="510"/>
                </a:lnTo>
                <a:lnTo>
                  <a:pt x="1036" y="510"/>
                </a:lnTo>
                <a:lnTo>
                  <a:pt x="1036" y="513"/>
                </a:lnTo>
                <a:lnTo>
                  <a:pt x="1037" y="515"/>
                </a:lnTo>
                <a:lnTo>
                  <a:pt x="1037" y="515"/>
                </a:lnTo>
                <a:lnTo>
                  <a:pt x="1036" y="517"/>
                </a:lnTo>
                <a:lnTo>
                  <a:pt x="1036" y="518"/>
                </a:lnTo>
                <a:close/>
                <a:moveTo>
                  <a:pt x="1058" y="572"/>
                </a:moveTo>
                <a:lnTo>
                  <a:pt x="1058" y="571"/>
                </a:lnTo>
                <a:lnTo>
                  <a:pt x="1057" y="570"/>
                </a:lnTo>
                <a:lnTo>
                  <a:pt x="1057" y="570"/>
                </a:lnTo>
                <a:lnTo>
                  <a:pt x="1057" y="571"/>
                </a:lnTo>
                <a:lnTo>
                  <a:pt x="1057" y="572"/>
                </a:lnTo>
                <a:lnTo>
                  <a:pt x="1057" y="572"/>
                </a:lnTo>
                <a:lnTo>
                  <a:pt x="1058" y="572"/>
                </a:lnTo>
                <a:lnTo>
                  <a:pt x="1058" y="572"/>
                </a:lnTo>
                <a:close/>
                <a:moveTo>
                  <a:pt x="1192" y="707"/>
                </a:move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92" y="707"/>
                </a:lnTo>
                <a:lnTo>
                  <a:pt x="1189" y="709"/>
                </a:lnTo>
                <a:lnTo>
                  <a:pt x="1188" y="711"/>
                </a:lnTo>
                <a:lnTo>
                  <a:pt x="1188" y="711"/>
                </a:lnTo>
                <a:lnTo>
                  <a:pt x="1189" y="712"/>
                </a:lnTo>
                <a:lnTo>
                  <a:pt x="1192" y="711"/>
                </a:lnTo>
                <a:lnTo>
                  <a:pt x="1192" y="709"/>
                </a:lnTo>
                <a:lnTo>
                  <a:pt x="1194" y="707"/>
                </a:lnTo>
                <a:lnTo>
                  <a:pt x="1195" y="705"/>
                </a:lnTo>
                <a:lnTo>
                  <a:pt x="1196" y="705"/>
                </a:lnTo>
                <a:lnTo>
                  <a:pt x="1198" y="703"/>
                </a:lnTo>
                <a:lnTo>
                  <a:pt x="1198" y="702"/>
                </a:lnTo>
                <a:lnTo>
                  <a:pt x="1196" y="702"/>
                </a:lnTo>
                <a:lnTo>
                  <a:pt x="1195" y="703"/>
                </a:lnTo>
                <a:lnTo>
                  <a:pt x="1194" y="705"/>
                </a:lnTo>
                <a:lnTo>
                  <a:pt x="1193" y="705"/>
                </a:lnTo>
                <a:lnTo>
                  <a:pt x="1192" y="707"/>
                </a:lnTo>
                <a:close/>
                <a:moveTo>
                  <a:pt x="1199" y="731"/>
                </a:moveTo>
                <a:lnTo>
                  <a:pt x="1199" y="732"/>
                </a:lnTo>
                <a:lnTo>
                  <a:pt x="1199" y="733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2"/>
                </a:lnTo>
                <a:lnTo>
                  <a:pt x="1200" y="731"/>
                </a:lnTo>
                <a:lnTo>
                  <a:pt x="1199" y="731"/>
                </a:lnTo>
                <a:lnTo>
                  <a:pt x="1199" y="731"/>
                </a:lnTo>
                <a:close/>
                <a:moveTo>
                  <a:pt x="1201" y="850"/>
                </a:moveTo>
                <a:lnTo>
                  <a:pt x="1201" y="850"/>
                </a:lnTo>
                <a:lnTo>
                  <a:pt x="1201" y="849"/>
                </a:lnTo>
                <a:lnTo>
                  <a:pt x="1200" y="849"/>
                </a:lnTo>
                <a:lnTo>
                  <a:pt x="1200" y="850"/>
                </a:lnTo>
                <a:lnTo>
                  <a:pt x="1200" y="850"/>
                </a:lnTo>
                <a:lnTo>
                  <a:pt x="1200" y="851"/>
                </a:lnTo>
                <a:lnTo>
                  <a:pt x="1201" y="851"/>
                </a:lnTo>
                <a:lnTo>
                  <a:pt x="1201" y="850"/>
                </a:lnTo>
                <a:close/>
                <a:moveTo>
                  <a:pt x="1261" y="565"/>
                </a:moveTo>
                <a:lnTo>
                  <a:pt x="1260" y="566"/>
                </a:lnTo>
                <a:lnTo>
                  <a:pt x="1260" y="566"/>
                </a:lnTo>
                <a:lnTo>
                  <a:pt x="1260" y="567"/>
                </a:lnTo>
                <a:lnTo>
                  <a:pt x="1261" y="567"/>
                </a:lnTo>
                <a:lnTo>
                  <a:pt x="1262" y="567"/>
                </a:lnTo>
                <a:lnTo>
                  <a:pt x="1262" y="566"/>
                </a:lnTo>
                <a:lnTo>
                  <a:pt x="1262" y="565"/>
                </a:lnTo>
                <a:lnTo>
                  <a:pt x="1261" y="565"/>
                </a:lnTo>
                <a:close/>
                <a:moveTo>
                  <a:pt x="1198" y="676"/>
                </a:moveTo>
                <a:lnTo>
                  <a:pt x="1196" y="676"/>
                </a:lnTo>
                <a:lnTo>
                  <a:pt x="1196" y="677"/>
                </a:lnTo>
                <a:lnTo>
                  <a:pt x="1196" y="678"/>
                </a:lnTo>
                <a:lnTo>
                  <a:pt x="1196" y="679"/>
                </a:lnTo>
                <a:lnTo>
                  <a:pt x="1198" y="678"/>
                </a:lnTo>
                <a:lnTo>
                  <a:pt x="1199" y="677"/>
                </a:lnTo>
                <a:lnTo>
                  <a:pt x="1199" y="676"/>
                </a:lnTo>
                <a:lnTo>
                  <a:pt x="1198" y="676"/>
                </a:lnTo>
                <a:close/>
                <a:moveTo>
                  <a:pt x="1272" y="761"/>
                </a:moveTo>
                <a:lnTo>
                  <a:pt x="1271" y="761"/>
                </a:lnTo>
                <a:lnTo>
                  <a:pt x="1270" y="760"/>
                </a:lnTo>
                <a:lnTo>
                  <a:pt x="1269" y="760"/>
                </a:lnTo>
                <a:lnTo>
                  <a:pt x="1269" y="761"/>
                </a:lnTo>
                <a:lnTo>
                  <a:pt x="1269" y="762"/>
                </a:lnTo>
                <a:lnTo>
                  <a:pt x="1270" y="762"/>
                </a:lnTo>
                <a:lnTo>
                  <a:pt x="1271" y="762"/>
                </a:lnTo>
                <a:lnTo>
                  <a:pt x="1272" y="761"/>
                </a:lnTo>
                <a:close/>
                <a:moveTo>
                  <a:pt x="1097" y="726"/>
                </a:moveTo>
                <a:lnTo>
                  <a:pt x="1096" y="727"/>
                </a:lnTo>
                <a:lnTo>
                  <a:pt x="1096" y="727"/>
                </a:lnTo>
                <a:lnTo>
                  <a:pt x="1097" y="728"/>
                </a:lnTo>
                <a:lnTo>
                  <a:pt x="1099" y="730"/>
                </a:lnTo>
                <a:lnTo>
                  <a:pt x="1099" y="730"/>
                </a:lnTo>
                <a:lnTo>
                  <a:pt x="1099" y="730"/>
                </a:lnTo>
                <a:lnTo>
                  <a:pt x="1098" y="733"/>
                </a:lnTo>
                <a:lnTo>
                  <a:pt x="1099" y="737"/>
                </a:lnTo>
                <a:lnTo>
                  <a:pt x="1102" y="732"/>
                </a:lnTo>
                <a:lnTo>
                  <a:pt x="1106" y="728"/>
                </a:lnTo>
                <a:lnTo>
                  <a:pt x="1099" y="728"/>
                </a:lnTo>
                <a:lnTo>
                  <a:pt x="1098" y="727"/>
                </a:lnTo>
                <a:lnTo>
                  <a:pt x="1097" y="726"/>
                </a:lnTo>
                <a:close/>
                <a:moveTo>
                  <a:pt x="1186" y="702"/>
                </a:moveTo>
                <a:lnTo>
                  <a:pt x="1183" y="702"/>
                </a:lnTo>
                <a:lnTo>
                  <a:pt x="1182" y="705"/>
                </a:lnTo>
                <a:lnTo>
                  <a:pt x="1186" y="704"/>
                </a:lnTo>
                <a:lnTo>
                  <a:pt x="1187" y="703"/>
                </a:lnTo>
                <a:lnTo>
                  <a:pt x="1187" y="702"/>
                </a:lnTo>
                <a:lnTo>
                  <a:pt x="1186" y="702"/>
                </a:lnTo>
                <a:close/>
                <a:moveTo>
                  <a:pt x="1236" y="698"/>
                </a:moveTo>
                <a:lnTo>
                  <a:pt x="1236" y="697"/>
                </a:lnTo>
                <a:lnTo>
                  <a:pt x="1235" y="697"/>
                </a:lnTo>
                <a:lnTo>
                  <a:pt x="1235" y="698"/>
                </a:lnTo>
                <a:lnTo>
                  <a:pt x="1234" y="699"/>
                </a:lnTo>
                <a:lnTo>
                  <a:pt x="1231" y="700"/>
                </a:lnTo>
                <a:lnTo>
                  <a:pt x="1230" y="702"/>
                </a:lnTo>
                <a:lnTo>
                  <a:pt x="1230" y="703"/>
                </a:lnTo>
                <a:lnTo>
                  <a:pt x="1233" y="704"/>
                </a:lnTo>
                <a:lnTo>
                  <a:pt x="1234" y="702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4" y="699"/>
                </a:lnTo>
                <a:lnTo>
                  <a:pt x="1236" y="699"/>
                </a:lnTo>
                <a:lnTo>
                  <a:pt x="1236" y="698"/>
                </a:lnTo>
                <a:close/>
                <a:moveTo>
                  <a:pt x="1289" y="695"/>
                </a:moveTo>
                <a:lnTo>
                  <a:pt x="1289" y="693"/>
                </a:lnTo>
                <a:lnTo>
                  <a:pt x="1288" y="692"/>
                </a:lnTo>
                <a:lnTo>
                  <a:pt x="1286" y="693"/>
                </a:lnTo>
                <a:lnTo>
                  <a:pt x="1285" y="695"/>
                </a:lnTo>
                <a:lnTo>
                  <a:pt x="1285" y="696"/>
                </a:lnTo>
                <a:lnTo>
                  <a:pt x="1286" y="696"/>
                </a:lnTo>
                <a:lnTo>
                  <a:pt x="1288" y="696"/>
                </a:lnTo>
                <a:lnTo>
                  <a:pt x="1289" y="695"/>
                </a:lnTo>
                <a:close/>
                <a:moveTo>
                  <a:pt x="1102" y="510"/>
                </a:moveTo>
                <a:lnTo>
                  <a:pt x="1098" y="511"/>
                </a:lnTo>
                <a:lnTo>
                  <a:pt x="1097" y="515"/>
                </a:lnTo>
                <a:lnTo>
                  <a:pt x="1098" y="515"/>
                </a:lnTo>
                <a:lnTo>
                  <a:pt x="1097" y="515"/>
                </a:lnTo>
                <a:lnTo>
                  <a:pt x="1097" y="515"/>
                </a:lnTo>
                <a:lnTo>
                  <a:pt x="1095" y="516"/>
                </a:lnTo>
                <a:lnTo>
                  <a:pt x="1093" y="517"/>
                </a:lnTo>
                <a:lnTo>
                  <a:pt x="1095" y="520"/>
                </a:lnTo>
                <a:lnTo>
                  <a:pt x="1097" y="520"/>
                </a:lnTo>
                <a:lnTo>
                  <a:pt x="1098" y="517"/>
                </a:lnTo>
                <a:lnTo>
                  <a:pt x="1098" y="516"/>
                </a:lnTo>
                <a:lnTo>
                  <a:pt x="1100" y="514"/>
                </a:lnTo>
                <a:lnTo>
                  <a:pt x="1102" y="510"/>
                </a:lnTo>
                <a:close/>
                <a:moveTo>
                  <a:pt x="1145" y="812"/>
                </a:moveTo>
                <a:lnTo>
                  <a:pt x="1144" y="811"/>
                </a:lnTo>
                <a:lnTo>
                  <a:pt x="1141" y="811"/>
                </a:lnTo>
                <a:lnTo>
                  <a:pt x="1140" y="812"/>
                </a:lnTo>
                <a:lnTo>
                  <a:pt x="1141" y="815"/>
                </a:lnTo>
                <a:lnTo>
                  <a:pt x="1133" y="821"/>
                </a:lnTo>
                <a:lnTo>
                  <a:pt x="1136" y="831"/>
                </a:lnTo>
                <a:lnTo>
                  <a:pt x="1137" y="833"/>
                </a:lnTo>
                <a:lnTo>
                  <a:pt x="1133" y="835"/>
                </a:lnTo>
                <a:lnTo>
                  <a:pt x="1133" y="835"/>
                </a:lnTo>
                <a:lnTo>
                  <a:pt x="1132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2"/>
                </a:lnTo>
                <a:lnTo>
                  <a:pt x="1131" y="833"/>
                </a:lnTo>
                <a:lnTo>
                  <a:pt x="1133" y="835"/>
                </a:lnTo>
                <a:lnTo>
                  <a:pt x="1136" y="839"/>
                </a:lnTo>
                <a:lnTo>
                  <a:pt x="1133" y="844"/>
                </a:lnTo>
                <a:lnTo>
                  <a:pt x="1132" y="849"/>
                </a:lnTo>
                <a:lnTo>
                  <a:pt x="1138" y="850"/>
                </a:lnTo>
                <a:lnTo>
                  <a:pt x="1144" y="850"/>
                </a:lnTo>
                <a:lnTo>
                  <a:pt x="1150" y="854"/>
                </a:lnTo>
                <a:lnTo>
                  <a:pt x="1151" y="857"/>
                </a:lnTo>
                <a:lnTo>
                  <a:pt x="1153" y="858"/>
                </a:lnTo>
                <a:lnTo>
                  <a:pt x="1154" y="854"/>
                </a:lnTo>
                <a:lnTo>
                  <a:pt x="1154" y="851"/>
                </a:lnTo>
                <a:lnTo>
                  <a:pt x="1155" y="847"/>
                </a:lnTo>
                <a:lnTo>
                  <a:pt x="1159" y="847"/>
                </a:lnTo>
                <a:lnTo>
                  <a:pt x="1168" y="849"/>
                </a:lnTo>
                <a:lnTo>
                  <a:pt x="1178" y="846"/>
                </a:lnTo>
                <a:lnTo>
                  <a:pt x="1181" y="845"/>
                </a:lnTo>
                <a:lnTo>
                  <a:pt x="1183" y="842"/>
                </a:lnTo>
                <a:lnTo>
                  <a:pt x="1182" y="839"/>
                </a:lnTo>
                <a:lnTo>
                  <a:pt x="1179" y="837"/>
                </a:lnTo>
                <a:lnTo>
                  <a:pt x="1171" y="831"/>
                </a:lnTo>
                <a:lnTo>
                  <a:pt x="1167" y="822"/>
                </a:lnTo>
                <a:lnTo>
                  <a:pt x="1166" y="818"/>
                </a:lnTo>
                <a:lnTo>
                  <a:pt x="1164" y="816"/>
                </a:lnTo>
                <a:lnTo>
                  <a:pt x="1160" y="816"/>
                </a:lnTo>
                <a:lnTo>
                  <a:pt x="1158" y="817"/>
                </a:lnTo>
                <a:lnTo>
                  <a:pt x="1154" y="818"/>
                </a:lnTo>
                <a:lnTo>
                  <a:pt x="1153" y="822"/>
                </a:lnTo>
                <a:lnTo>
                  <a:pt x="1151" y="823"/>
                </a:lnTo>
                <a:lnTo>
                  <a:pt x="1148" y="822"/>
                </a:lnTo>
                <a:lnTo>
                  <a:pt x="1145" y="818"/>
                </a:lnTo>
                <a:lnTo>
                  <a:pt x="1141" y="815"/>
                </a:lnTo>
                <a:lnTo>
                  <a:pt x="1141" y="815"/>
                </a:lnTo>
                <a:lnTo>
                  <a:pt x="1141" y="815"/>
                </a:lnTo>
                <a:lnTo>
                  <a:pt x="1144" y="815"/>
                </a:lnTo>
                <a:lnTo>
                  <a:pt x="1145" y="812"/>
                </a:lnTo>
                <a:close/>
                <a:moveTo>
                  <a:pt x="1019" y="481"/>
                </a:moveTo>
                <a:lnTo>
                  <a:pt x="1019" y="481"/>
                </a:lnTo>
                <a:lnTo>
                  <a:pt x="1019" y="482"/>
                </a:lnTo>
                <a:lnTo>
                  <a:pt x="1019" y="481"/>
                </a:lnTo>
                <a:lnTo>
                  <a:pt x="1019" y="481"/>
                </a:lnTo>
                <a:close/>
                <a:moveTo>
                  <a:pt x="1100" y="604"/>
                </a:moveTo>
                <a:lnTo>
                  <a:pt x="1099" y="605"/>
                </a:lnTo>
                <a:lnTo>
                  <a:pt x="1098" y="606"/>
                </a:lnTo>
                <a:lnTo>
                  <a:pt x="1099" y="607"/>
                </a:lnTo>
                <a:lnTo>
                  <a:pt x="1102" y="608"/>
                </a:lnTo>
                <a:lnTo>
                  <a:pt x="1103" y="607"/>
                </a:lnTo>
                <a:lnTo>
                  <a:pt x="1103" y="606"/>
                </a:lnTo>
                <a:lnTo>
                  <a:pt x="1102" y="605"/>
                </a:lnTo>
                <a:lnTo>
                  <a:pt x="1100" y="604"/>
                </a:lnTo>
                <a:close/>
                <a:moveTo>
                  <a:pt x="1062" y="573"/>
                </a:moveTo>
                <a:lnTo>
                  <a:pt x="1064" y="572"/>
                </a:lnTo>
                <a:lnTo>
                  <a:pt x="1065" y="571"/>
                </a:lnTo>
                <a:lnTo>
                  <a:pt x="1064" y="570"/>
                </a:lnTo>
                <a:lnTo>
                  <a:pt x="1063" y="569"/>
                </a:lnTo>
                <a:lnTo>
                  <a:pt x="1062" y="570"/>
                </a:lnTo>
                <a:lnTo>
                  <a:pt x="1061" y="572"/>
                </a:lnTo>
                <a:lnTo>
                  <a:pt x="1061" y="573"/>
                </a:lnTo>
                <a:lnTo>
                  <a:pt x="1062" y="573"/>
                </a:lnTo>
                <a:close/>
                <a:moveTo>
                  <a:pt x="1238" y="542"/>
                </a:moveTo>
                <a:lnTo>
                  <a:pt x="1242" y="544"/>
                </a:lnTo>
                <a:lnTo>
                  <a:pt x="1244" y="542"/>
                </a:lnTo>
                <a:lnTo>
                  <a:pt x="1242" y="541"/>
                </a:lnTo>
                <a:lnTo>
                  <a:pt x="1238" y="541"/>
                </a:lnTo>
                <a:lnTo>
                  <a:pt x="1238" y="542"/>
                </a:lnTo>
                <a:lnTo>
                  <a:pt x="1238" y="542"/>
                </a:lnTo>
                <a:close/>
                <a:moveTo>
                  <a:pt x="1074" y="541"/>
                </a:moveTo>
                <a:lnTo>
                  <a:pt x="1074" y="538"/>
                </a:lnTo>
                <a:lnTo>
                  <a:pt x="1071" y="535"/>
                </a:lnTo>
                <a:lnTo>
                  <a:pt x="1071" y="539"/>
                </a:lnTo>
                <a:lnTo>
                  <a:pt x="1069" y="543"/>
                </a:lnTo>
                <a:lnTo>
                  <a:pt x="1074" y="541"/>
                </a:lnTo>
                <a:lnTo>
                  <a:pt x="1075" y="543"/>
                </a:lnTo>
                <a:lnTo>
                  <a:pt x="1076" y="543"/>
                </a:lnTo>
                <a:lnTo>
                  <a:pt x="1077" y="543"/>
                </a:lnTo>
                <a:lnTo>
                  <a:pt x="1078" y="541"/>
                </a:lnTo>
                <a:lnTo>
                  <a:pt x="1083" y="541"/>
                </a:lnTo>
                <a:lnTo>
                  <a:pt x="1083" y="546"/>
                </a:lnTo>
                <a:lnTo>
                  <a:pt x="1083" y="548"/>
                </a:lnTo>
                <a:lnTo>
                  <a:pt x="1083" y="548"/>
                </a:lnTo>
                <a:lnTo>
                  <a:pt x="1088" y="550"/>
                </a:lnTo>
                <a:lnTo>
                  <a:pt x="1093" y="549"/>
                </a:lnTo>
                <a:lnTo>
                  <a:pt x="1093" y="545"/>
                </a:lnTo>
                <a:lnTo>
                  <a:pt x="1091" y="542"/>
                </a:lnTo>
                <a:lnTo>
                  <a:pt x="1091" y="545"/>
                </a:lnTo>
                <a:lnTo>
                  <a:pt x="1089" y="546"/>
                </a:lnTo>
                <a:lnTo>
                  <a:pt x="1086" y="545"/>
                </a:lnTo>
                <a:lnTo>
                  <a:pt x="1088" y="542"/>
                </a:lnTo>
                <a:lnTo>
                  <a:pt x="1088" y="539"/>
                </a:lnTo>
                <a:lnTo>
                  <a:pt x="1088" y="538"/>
                </a:lnTo>
                <a:lnTo>
                  <a:pt x="1090" y="535"/>
                </a:lnTo>
                <a:lnTo>
                  <a:pt x="1089" y="532"/>
                </a:lnTo>
                <a:lnTo>
                  <a:pt x="1086" y="535"/>
                </a:lnTo>
                <a:lnTo>
                  <a:pt x="1086" y="538"/>
                </a:lnTo>
                <a:lnTo>
                  <a:pt x="1085" y="538"/>
                </a:lnTo>
                <a:lnTo>
                  <a:pt x="1085" y="538"/>
                </a:lnTo>
                <a:lnTo>
                  <a:pt x="1083" y="536"/>
                </a:lnTo>
                <a:lnTo>
                  <a:pt x="1081" y="534"/>
                </a:lnTo>
                <a:lnTo>
                  <a:pt x="1078" y="536"/>
                </a:lnTo>
                <a:lnTo>
                  <a:pt x="1078" y="541"/>
                </a:lnTo>
                <a:lnTo>
                  <a:pt x="1078" y="541"/>
                </a:lnTo>
                <a:lnTo>
                  <a:pt x="1076" y="541"/>
                </a:lnTo>
                <a:lnTo>
                  <a:pt x="1074" y="541"/>
                </a:lnTo>
                <a:close/>
                <a:moveTo>
                  <a:pt x="1033" y="788"/>
                </a:moveTo>
                <a:lnTo>
                  <a:pt x="1029" y="789"/>
                </a:lnTo>
                <a:lnTo>
                  <a:pt x="1027" y="789"/>
                </a:lnTo>
                <a:lnTo>
                  <a:pt x="1027" y="787"/>
                </a:lnTo>
                <a:lnTo>
                  <a:pt x="1027" y="784"/>
                </a:lnTo>
                <a:lnTo>
                  <a:pt x="1024" y="788"/>
                </a:lnTo>
                <a:lnTo>
                  <a:pt x="1027" y="789"/>
                </a:lnTo>
                <a:lnTo>
                  <a:pt x="1027" y="791"/>
                </a:lnTo>
                <a:lnTo>
                  <a:pt x="1027" y="794"/>
                </a:lnTo>
                <a:lnTo>
                  <a:pt x="1022" y="796"/>
                </a:lnTo>
                <a:lnTo>
                  <a:pt x="1020" y="801"/>
                </a:lnTo>
                <a:lnTo>
                  <a:pt x="1026" y="800"/>
                </a:lnTo>
                <a:lnTo>
                  <a:pt x="1031" y="801"/>
                </a:lnTo>
                <a:lnTo>
                  <a:pt x="1030" y="798"/>
                </a:lnTo>
                <a:lnTo>
                  <a:pt x="1029" y="798"/>
                </a:lnTo>
                <a:lnTo>
                  <a:pt x="1026" y="797"/>
                </a:lnTo>
                <a:lnTo>
                  <a:pt x="1027" y="794"/>
                </a:lnTo>
                <a:lnTo>
                  <a:pt x="1030" y="793"/>
                </a:lnTo>
                <a:lnTo>
                  <a:pt x="1033" y="788"/>
                </a:lnTo>
                <a:close/>
                <a:moveTo>
                  <a:pt x="1228" y="898"/>
                </a:moveTo>
                <a:lnTo>
                  <a:pt x="1228" y="896"/>
                </a:lnTo>
                <a:lnTo>
                  <a:pt x="1228" y="896"/>
                </a:lnTo>
                <a:lnTo>
                  <a:pt x="1224" y="896"/>
                </a:lnTo>
                <a:lnTo>
                  <a:pt x="1221" y="899"/>
                </a:lnTo>
                <a:lnTo>
                  <a:pt x="1224" y="899"/>
                </a:lnTo>
                <a:lnTo>
                  <a:pt x="1228" y="898"/>
                </a:lnTo>
                <a:close/>
                <a:moveTo>
                  <a:pt x="1231" y="907"/>
                </a:moveTo>
                <a:lnTo>
                  <a:pt x="1226" y="907"/>
                </a:lnTo>
                <a:lnTo>
                  <a:pt x="1222" y="910"/>
                </a:lnTo>
                <a:lnTo>
                  <a:pt x="1222" y="910"/>
                </a:lnTo>
                <a:lnTo>
                  <a:pt x="1222" y="912"/>
                </a:lnTo>
                <a:lnTo>
                  <a:pt x="1229" y="908"/>
                </a:lnTo>
                <a:lnTo>
                  <a:pt x="1235" y="906"/>
                </a:lnTo>
                <a:lnTo>
                  <a:pt x="1234" y="905"/>
                </a:lnTo>
                <a:lnTo>
                  <a:pt x="1231" y="903"/>
                </a:lnTo>
                <a:lnTo>
                  <a:pt x="1231" y="906"/>
                </a:lnTo>
                <a:lnTo>
                  <a:pt x="1231" y="907"/>
                </a:lnTo>
                <a:close/>
                <a:moveTo>
                  <a:pt x="1210" y="847"/>
                </a:moveTo>
                <a:lnTo>
                  <a:pt x="1207" y="844"/>
                </a:lnTo>
                <a:lnTo>
                  <a:pt x="1202" y="845"/>
                </a:lnTo>
                <a:lnTo>
                  <a:pt x="1207" y="847"/>
                </a:lnTo>
                <a:lnTo>
                  <a:pt x="1210" y="847"/>
                </a:lnTo>
                <a:close/>
                <a:moveTo>
                  <a:pt x="1628" y="458"/>
                </a:moveTo>
                <a:lnTo>
                  <a:pt x="1623" y="458"/>
                </a:lnTo>
                <a:lnTo>
                  <a:pt x="1621" y="460"/>
                </a:lnTo>
                <a:lnTo>
                  <a:pt x="1626" y="460"/>
                </a:lnTo>
                <a:lnTo>
                  <a:pt x="1628" y="458"/>
                </a:lnTo>
                <a:close/>
                <a:moveTo>
                  <a:pt x="1203" y="679"/>
                </a:moveTo>
                <a:lnTo>
                  <a:pt x="1201" y="679"/>
                </a:lnTo>
                <a:lnTo>
                  <a:pt x="1200" y="682"/>
                </a:lnTo>
                <a:lnTo>
                  <a:pt x="1200" y="683"/>
                </a:lnTo>
                <a:lnTo>
                  <a:pt x="1202" y="683"/>
                </a:lnTo>
                <a:lnTo>
                  <a:pt x="1203" y="683"/>
                </a:lnTo>
                <a:lnTo>
                  <a:pt x="1205" y="681"/>
                </a:lnTo>
                <a:lnTo>
                  <a:pt x="1205" y="679"/>
                </a:lnTo>
                <a:lnTo>
                  <a:pt x="1203" y="679"/>
                </a:lnTo>
                <a:close/>
                <a:moveTo>
                  <a:pt x="974" y="810"/>
                </a:moveTo>
                <a:lnTo>
                  <a:pt x="973" y="811"/>
                </a:lnTo>
                <a:lnTo>
                  <a:pt x="972" y="815"/>
                </a:lnTo>
                <a:lnTo>
                  <a:pt x="968" y="819"/>
                </a:lnTo>
                <a:lnTo>
                  <a:pt x="969" y="825"/>
                </a:lnTo>
                <a:lnTo>
                  <a:pt x="972" y="821"/>
                </a:lnTo>
                <a:lnTo>
                  <a:pt x="972" y="815"/>
                </a:lnTo>
                <a:lnTo>
                  <a:pt x="974" y="816"/>
                </a:lnTo>
                <a:lnTo>
                  <a:pt x="977" y="814"/>
                </a:lnTo>
                <a:lnTo>
                  <a:pt x="977" y="811"/>
                </a:lnTo>
                <a:lnTo>
                  <a:pt x="974" y="810"/>
                </a:lnTo>
                <a:close/>
                <a:moveTo>
                  <a:pt x="1062" y="551"/>
                </a:moveTo>
                <a:lnTo>
                  <a:pt x="1061" y="549"/>
                </a:lnTo>
                <a:lnTo>
                  <a:pt x="1057" y="549"/>
                </a:lnTo>
                <a:lnTo>
                  <a:pt x="1056" y="549"/>
                </a:lnTo>
                <a:lnTo>
                  <a:pt x="1056" y="550"/>
                </a:lnTo>
                <a:lnTo>
                  <a:pt x="1057" y="552"/>
                </a:lnTo>
                <a:lnTo>
                  <a:pt x="1060" y="553"/>
                </a:lnTo>
                <a:lnTo>
                  <a:pt x="1062" y="552"/>
                </a:lnTo>
                <a:lnTo>
                  <a:pt x="1062" y="551"/>
                </a:lnTo>
                <a:close/>
                <a:moveTo>
                  <a:pt x="1033" y="775"/>
                </a:moveTo>
                <a:lnTo>
                  <a:pt x="1031" y="774"/>
                </a:lnTo>
                <a:lnTo>
                  <a:pt x="1029" y="773"/>
                </a:lnTo>
                <a:lnTo>
                  <a:pt x="1028" y="775"/>
                </a:lnTo>
                <a:lnTo>
                  <a:pt x="1028" y="776"/>
                </a:lnTo>
                <a:lnTo>
                  <a:pt x="1028" y="779"/>
                </a:lnTo>
                <a:lnTo>
                  <a:pt x="1029" y="780"/>
                </a:lnTo>
                <a:lnTo>
                  <a:pt x="1031" y="779"/>
                </a:lnTo>
                <a:lnTo>
                  <a:pt x="1033" y="775"/>
                </a:lnTo>
                <a:close/>
                <a:moveTo>
                  <a:pt x="1047" y="507"/>
                </a:moveTo>
                <a:lnTo>
                  <a:pt x="1046" y="507"/>
                </a:lnTo>
                <a:lnTo>
                  <a:pt x="1043" y="509"/>
                </a:lnTo>
                <a:lnTo>
                  <a:pt x="1044" y="511"/>
                </a:lnTo>
                <a:lnTo>
                  <a:pt x="1047" y="513"/>
                </a:lnTo>
                <a:lnTo>
                  <a:pt x="1048" y="513"/>
                </a:lnTo>
                <a:lnTo>
                  <a:pt x="1049" y="511"/>
                </a:lnTo>
                <a:lnTo>
                  <a:pt x="1049" y="508"/>
                </a:lnTo>
                <a:lnTo>
                  <a:pt x="1047" y="507"/>
                </a:lnTo>
                <a:close/>
                <a:moveTo>
                  <a:pt x="1175" y="733"/>
                </a:moveTo>
                <a:lnTo>
                  <a:pt x="1173" y="733"/>
                </a:lnTo>
                <a:lnTo>
                  <a:pt x="1171" y="735"/>
                </a:lnTo>
                <a:lnTo>
                  <a:pt x="1172" y="737"/>
                </a:lnTo>
                <a:lnTo>
                  <a:pt x="1172" y="737"/>
                </a:lnTo>
                <a:lnTo>
                  <a:pt x="1174" y="738"/>
                </a:lnTo>
                <a:lnTo>
                  <a:pt x="1176" y="737"/>
                </a:lnTo>
                <a:lnTo>
                  <a:pt x="1178" y="735"/>
                </a:lnTo>
                <a:lnTo>
                  <a:pt x="1178" y="733"/>
                </a:lnTo>
                <a:lnTo>
                  <a:pt x="1178" y="733"/>
                </a:lnTo>
                <a:lnTo>
                  <a:pt x="1181" y="733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3" y="734"/>
                </a:lnTo>
                <a:lnTo>
                  <a:pt x="1182" y="735"/>
                </a:lnTo>
                <a:lnTo>
                  <a:pt x="1181" y="735"/>
                </a:lnTo>
                <a:lnTo>
                  <a:pt x="1181" y="737"/>
                </a:lnTo>
                <a:lnTo>
                  <a:pt x="1182" y="737"/>
                </a:lnTo>
                <a:lnTo>
                  <a:pt x="1183" y="735"/>
                </a:lnTo>
                <a:lnTo>
                  <a:pt x="1183" y="734"/>
                </a:lnTo>
                <a:lnTo>
                  <a:pt x="1188" y="739"/>
                </a:lnTo>
                <a:lnTo>
                  <a:pt x="1194" y="735"/>
                </a:lnTo>
                <a:lnTo>
                  <a:pt x="1195" y="735"/>
                </a:lnTo>
                <a:lnTo>
                  <a:pt x="1196" y="734"/>
                </a:lnTo>
                <a:lnTo>
                  <a:pt x="1196" y="737"/>
                </a:lnTo>
                <a:lnTo>
                  <a:pt x="1199" y="737"/>
                </a:lnTo>
                <a:lnTo>
                  <a:pt x="1199" y="737"/>
                </a:lnTo>
                <a:lnTo>
                  <a:pt x="1200" y="735"/>
                </a:lnTo>
                <a:lnTo>
                  <a:pt x="1198" y="734"/>
                </a:lnTo>
                <a:lnTo>
                  <a:pt x="1196" y="734"/>
                </a:lnTo>
                <a:lnTo>
                  <a:pt x="1195" y="733"/>
                </a:lnTo>
                <a:lnTo>
                  <a:pt x="1193" y="733"/>
                </a:lnTo>
                <a:lnTo>
                  <a:pt x="1187" y="733"/>
                </a:lnTo>
                <a:lnTo>
                  <a:pt x="1185" y="727"/>
                </a:lnTo>
                <a:lnTo>
                  <a:pt x="1180" y="730"/>
                </a:lnTo>
                <a:lnTo>
                  <a:pt x="1178" y="733"/>
                </a:lnTo>
                <a:lnTo>
                  <a:pt x="1176" y="733"/>
                </a:lnTo>
                <a:lnTo>
                  <a:pt x="1175" y="733"/>
                </a:lnTo>
                <a:close/>
                <a:moveTo>
                  <a:pt x="930" y="810"/>
                </a:moveTo>
                <a:lnTo>
                  <a:pt x="927" y="810"/>
                </a:lnTo>
                <a:lnTo>
                  <a:pt x="927" y="812"/>
                </a:lnTo>
                <a:lnTo>
                  <a:pt x="929" y="814"/>
                </a:lnTo>
                <a:lnTo>
                  <a:pt x="931" y="815"/>
                </a:lnTo>
                <a:lnTo>
                  <a:pt x="933" y="814"/>
                </a:lnTo>
                <a:lnTo>
                  <a:pt x="934" y="811"/>
                </a:lnTo>
                <a:lnTo>
                  <a:pt x="932" y="810"/>
                </a:lnTo>
                <a:lnTo>
                  <a:pt x="930" y="810"/>
                </a:lnTo>
                <a:close/>
                <a:moveTo>
                  <a:pt x="1196" y="888"/>
                </a:moveTo>
                <a:lnTo>
                  <a:pt x="1194" y="884"/>
                </a:lnTo>
                <a:lnTo>
                  <a:pt x="1193" y="879"/>
                </a:lnTo>
                <a:lnTo>
                  <a:pt x="1192" y="887"/>
                </a:lnTo>
                <a:lnTo>
                  <a:pt x="1196" y="888"/>
                </a:lnTo>
                <a:close/>
                <a:moveTo>
                  <a:pt x="1050" y="494"/>
                </a:moveTo>
                <a:lnTo>
                  <a:pt x="1053" y="493"/>
                </a:lnTo>
                <a:lnTo>
                  <a:pt x="1053" y="489"/>
                </a:lnTo>
                <a:lnTo>
                  <a:pt x="1053" y="487"/>
                </a:lnTo>
                <a:lnTo>
                  <a:pt x="1050" y="487"/>
                </a:lnTo>
                <a:lnTo>
                  <a:pt x="1049" y="488"/>
                </a:lnTo>
                <a:lnTo>
                  <a:pt x="1048" y="492"/>
                </a:lnTo>
                <a:lnTo>
                  <a:pt x="1049" y="493"/>
                </a:lnTo>
                <a:lnTo>
                  <a:pt x="1050" y="494"/>
                </a:lnTo>
                <a:close/>
                <a:moveTo>
                  <a:pt x="1186" y="724"/>
                </a:moveTo>
                <a:lnTo>
                  <a:pt x="1191" y="720"/>
                </a:lnTo>
                <a:lnTo>
                  <a:pt x="1192" y="716"/>
                </a:lnTo>
                <a:lnTo>
                  <a:pt x="1191" y="714"/>
                </a:lnTo>
                <a:lnTo>
                  <a:pt x="1191" y="714"/>
                </a:lnTo>
                <a:lnTo>
                  <a:pt x="1188" y="717"/>
                </a:lnTo>
                <a:lnTo>
                  <a:pt x="1187" y="720"/>
                </a:lnTo>
                <a:lnTo>
                  <a:pt x="1186" y="721"/>
                </a:lnTo>
                <a:lnTo>
                  <a:pt x="1186" y="724"/>
                </a:lnTo>
                <a:close/>
                <a:moveTo>
                  <a:pt x="1185" y="818"/>
                </a:moveTo>
                <a:lnTo>
                  <a:pt x="1188" y="818"/>
                </a:lnTo>
                <a:lnTo>
                  <a:pt x="1191" y="815"/>
                </a:lnTo>
                <a:lnTo>
                  <a:pt x="1187" y="814"/>
                </a:lnTo>
                <a:lnTo>
                  <a:pt x="1183" y="815"/>
                </a:lnTo>
                <a:lnTo>
                  <a:pt x="1183" y="816"/>
                </a:lnTo>
                <a:lnTo>
                  <a:pt x="1185" y="818"/>
                </a:lnTo>
                <a:close/>
                <a:moveTo>
                  <a:pt x="1361" y="521"/>
                </a:moveTo>
                <a:lnTo>
                  <a:pt x="1355" y="520"/>
                </a:lnTo>
                <a:lnTo>
                  <a:pt x="1350" y="521"/>
                </a:lnTo>
                <a:lnTo>
                  <a:pt x="1355" y="522"/>
                </a:lnTo>
                <a:lnTo>
                  <a:pt x="1361" y="521"/>
                </a:lnTo>
                <a:close/>
                <a:moveTo>
                  <a:pt x="1250" y="850"/>
                </a:moveTo>
                <a:lnTo>
                  <a:pt x="1249" y="847"/>
                </a:lnTo>
                <a:lnTo>
                  <a:pt x="1245" y="847"/>
                </a:lnTo>
                <a:lnTo>
                  <a:pt x="1243" y="847"/>
                </a:lnTo>
                <a:lnTo>
                  <a:pt x="1242" y="849"/>
                </a:lnTo>
                <a:lnTo>
                  <a:pt x="1243" y="851"/>
                </a:lnTo>
                <a:lnTo>
                  <a:pt x="1247" y="851"/>
                </a:lnTo>
                <a:lnTo>
                  <a:pt x="1249" y="851"/>
                </a:lnTo>
                <a:lnTo>
                  <a:pt x="1250" y="850"/>
                </a:lnTo>
                <a:close/>
                <a:moveTo>
                  <a:pt x="1044" y="541"/>
                </a:moveTo>
                <a:lnTo>
                  <a:pt x="1048" y="541"/>
                </a:lnTo>
                <a:lnTo>
                  <a:pt x="1051" y="541"/>
                </a:lnTo>
                <a:lnTo>
                  <a:pt x="1054" y="543"/>
                </a:lnTo>
                <a:lnTo>
                  <a:pt x="1055" y="541"/>
                </a:lnTo>
                <a:lnTo>
                  <a:pt x="1057" y="537"/>
                </a:lnTo>
                <a:lnTo>
                  <a:pt x="1056" y="534"/>
                </a:lnTo>
                <a:lnTo>
                  <a:pt x="1054" y="532"/>
                </a:lnTo>
                <a:lnTo>
                  <a:pt x="1051" y="535"/>
                </a:lnTo>
                <a:lnTo>
                  <a:pt x="1048" y="537"/>
                </a:lnTo>
                <a:lnTo>
                  <a:pt x="1044" y="539"/>
                </a:lnTo>
                <a:lnTo>
                  <a:pt x="1040" y="536"/>
                </a:lnTo>
                <a:lnTo>
                  <a:pt x="1034" y="542"/>
                </a:lnTo>
                <a:lnTo>
                  <a:pt x="1040" y="541"/>
                </a:lnTo>
                <a:lnTo>
                  <a:pt x="1044" y="541"/>
                </a:lnTo>
                <a:close/>
                <a:moveTo>
                  <a:pt x="1260" y="854"/>
                </a:moveTo>
                <a:lnTo>
                  <a:pt x="1257" y="856"/>
                </a:lnTo>
                <a:lnTo>
                  <a:pt x="1256" y="858"/>
                </a:lnTo>
                <a:lnTo>
                  <a:pt x="1258" y="860"/>
                </a:lnTo>
                <a:lnTo>
                  <a:pt x="1261" y="860"/>
                </a:lnTo>
                <a:lnTo>
                  <a:pt x="1263" y="860"/>
                </a:lnTo>
                <a:lnTo>
                  <a:pt x="1263" y="859"/>
                </a:lnTo>
                <a:lnTo>
                  <a:pt x="1262" y="856"/>
                </a:lnTo>
                <a:lnTo>
                  <a:pt x="1260" y="854"/>
                </a:lnTo>
                <a:close/>
                <a:moveTo>
                  <a:pt x="1046" y="762"/>
                </a:moveTo>
                <a:lnTo>
                  <a:pt x="1044" y="765"/>
                </a:lnTo>
                <a:lnTo>
                  <a:pt x="1046" y="767"/>
                </a:lnTo>
                <a:lnTo>
                  <a:pt x="1050" y="768"/>
                </a:lnTo>
                <a:lnTo>
                  <a:pt x="1055" y="768"/>
                </a:lnTo>
                <a:lnTo>
                  <a:pt x="1057" y="765"/>
                </a:lnTo>
                <a:lnTo>
                  <a:pt x="1056" y="760"/>
                </a:lnTo>
                <a:lnTo>
                  <a:pt x="1053" y="763"/>
                </a:lnTo>
                <a:lnTo>
                  <a:pt x="1048" y="762"/>
                </a:lnTo>
                <a:lnTo>
                  <a:pt x="1053" y="759"/>
                </a:lnTo>
                <a:lnTo>
                  <a:pt x="1057" y="754"/>
                </a:lnTo>
                <a:lnTo>
                  <a:pt x="1050" y="756"/>
                </a:lnTo>
                <a:lnTo>
                  <a:pt x="1046" y="762"/>
                </a:lnTo>
                <a:close/>
                <a:moveTo>
                  <a:pt x="1172" y="739"/>
                </a:moveTo>
                <a:lnTo>
                  <a:pt x="1172" y="744"/>
                </a:lnTo>
                <a:lnTo>
                  <a:pt x="1175" y="745"/>
                </a:lnTo>
                <a:lnTo>
                  <a:pt x="1180" y="744"/>
                </a:lnTo>
                <a:lnTo>
                  <a:pt x="1183" y="739"/>
                </a:lnTo>
                <a:lnTo>
                  <a:pt x="1178" y="741"/>
                </a:lnTo>
                <a:lnTo>
                  <a:pt x="1172" y="739"/>
                </a:lnTo>
                <a:close/>
                <a:moveTo>
                  <a:pt x="1318" y="560"/>
                </a:moveTo>
                <a:lnTo>
                  <a:pt x="1326" y="562"/>
                </a:lnTo>
                <a:lnTo>
                  <a:pt x="1333" y="559"/>
                </a:lnTo>
                <a:lnTo>
                  <a:pt x="1326" y="558"/>
                </a:lnTo>
                <a:lnTo>
                  <a:pt x="1318" y="560"/>
                </a:lnTo>
                <a:close/>
                <a:moveTo>
                  <a:pt x="943" y="457"/>
                </a:move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lnTo>
                  <a:pt x="943" y="457"/>
                </a:lnTo>
                <a:close/>
                <a:moveTo>
                  <a:pt x="1139" y="739"/>
                </a:moveTo>
                <a:lnTo>
                  <a:pt x="1139" y="741"/>
                </a:lnTo>
                <a:lnTo>
                  <a:pt x="1141" y="741"/>
                </a:lnTo>
                <a:lnTo>
                  <a:pt x="1146" y="738"/>
                </a:lnTo>
                <a:lnTo>
                  <a:pt x="1150" y="735"/>
                </a:lnTo>
                <a:lnTo>
                  <a:pt x="1155" y="734"/>
                </a:lnTo>
                <a:lnTo>
                  <a:pt x="1160" y="731"/>
                </a:lnTo>
                <a:lnTo>
                  <a:pt x="1168" y="726"/>
                </a:lnTo>
                <a:lnTo>
                  <a:pt x="1175" y="721"/>
                </a:lnTo>
                <a:lnTo>
                  <a:pt x="1181" y="717"/>
                </a:lnTo>
                <a:lnTo>
                  <a:pt x="1183" y="710"/>
                </a:lnTo>
                <a:lnTo>
                  <a:pt x="1182" y="707"/>
                </a:lnTo>
                <a:lnTo>
                  <a:pt x="1182" y="709"/>
                </a:lnTo>
                <a:lnTo>
                  <a:pt x="1178" y="713"/>
                </a:lnTo>
                <a:lnTo>
                  <a:pt x="1173" y="717"/>
                </a:lnTo>
                <a:lnTo>
                  <a:pt x="1167" y="723"/>
                </a:lnTo>
                <a:lnTo>
                  <a:pt x="1159" y="726"/>
                </a:lnTo>
                <a:lnTo>
                  <a:pt x="1159" y="728"/>
                </a:lnTo>
                <a:lnTo>
                  <a:pt x="1159" y="731"/>
                </a:lnTo>
                <a:lnTo>
                  <a:pt x="1159" y="731"/>
                </a:lnTo>
                <a:lnTo>
                  <a:pt x="1160" y="731"/>
                </a:lnTo>
                <a:lnTo>
                  <a:pt x="1159" y="731"/>
                </a:lnTo>
                <a:lnTo>
                  <a:pt x="1159" y="731"/>
                </a:lnTo>
                <a:lnTo>
                  <a:pt x="1153" y="727"/>
                </a:lnTo>
                <a:lnTo>
                  <a:pt x="1150" y="733"/>
                </a:lnTo>
                <a:lnTo>
                  <a:pt x="1150" y="734"/>
                </a:lnTo>
                <a:lnTo>
                  <a:pt x="1150" y="734"/>
                </a:lnTo>
                <a:lnTo>
                  <a:pt x="1145" y="734"/>
                </a:lnTo>
                <a:lnTo>
                  <a:pt x="1141" y="734"/>
                </a:lnTo>
                <a:lnTo>
                  <a:pt x="1141" y="731"/>
                </a:lnTo>
                <a:lnTo>
                  <a:pt x="1139" y="731"/>
                </a:lnTo>
                <a:lnTo>
                  <a:pt x="1134" y="733"/>
                </a:lnTo>
                <a:lnTo>
                  <a:pt x="1131" y="735"/>
                </a:lnTo>
                <a:lnTo>
                  <a:pt x="1125" y="738"/>
                </a:lnTo>
                <a:lnTo>
                  <a:pt x="1122" y="742"/>
                </a:lnTo>
                <a:lnTo>
                  <a:pt x="1124" y="742"/>
                </a:lnTo>
                <a:lnTo>
                  <a:pt x="1126" y="741"/>
                </a:lnTo>
                <a:lnTo>
                  <a:pt x="1133" y="737"/>
                </a:lnTo>
                <a:lnTo>
                  <a:pt x="1141" y="734"/>
                </a:lnTo>
                <a:lnTo>
                  <a:pt x="1140" y="737"/>
                </a:lnTo>
                <a:lnTo>
                  <a:pt x="1139" y="739"/>
                </a:lnTo>
                <a:close/>
                <a:moveTo>
                  <a:pt x="1150" y="734"/>
                </a:moveTo>
                <a:lnTo>
                  <a:pt x="1150" y="734"/>
                </a:lnTo>
                <a:lnTo>
                  <a:pt x="1150" y="734"/>
                </a:lnTo>
                <a:lnTo>
                  <a:pt x="1150" y="734"/>
                </a:lnTo>
                <a:close/>
                <a:moveTo>
                  <a:pt x="1401" y="490"/>
                </a:moveTo>
                <a:lnTo>
                  <a:pt x="1397" y="494"/>
                </a:lnTo>
                <a:lnTo>
                  <a:pt x="1395" y="496"/>
                </a:lnTo>
                <a:lnTo>
                  <a:pt x="1395" y="499"/>
                </a:lnTo>
                <a:lnTo>
                  <a:pt x="1397" y="499"/>
                </a:lnTo>
                <a:lnTo>
                  <a:pt x="1401" y="496"/>
                </a:lnTo>
                <a:lnTo>
                  <a:pt x="1403" y="494"/>
                </a:lnTo>
                <a:lnTo>
                  <a:pt x="1402" y="492"/>
                </a:lnTo>
                <a:lnTo>
                  <a:pt x="1401" y="490"/>
                </a:lnTo>
                <a:close/>
                <a:moveTo>
                  <a:pt x="1026" y="499"/>
                </a:moveTo>
                <a:lnTo>
                  <a:pt x="1026" y="501"/>
                </a:lnTo>
                <a:lnTo>
                  <a:pt x="1029" y="502"/>
                </a:lnTo>
                <a:lnTo>
                  <a:pt x="1031" y="502"/>
                </a:lnTo>
                <a:lnTo>
                  <a:pt x="1031" y="499"/>
                </a:lnTo>
                <a:lnTo>
                  <a:pt x="1031" y="496"/>
                </a:lnTo>
                <a:lnTo>
                  <a:pt x="1029" y="495"/>
                </a:lnTo>
                <a:lnTo>
                  <a:pt x="1027" y="496"/>
                </a:lnTo>
                <a:lnTo>
                  <a:pt x="1026" y="499"/>
                </a:lnTo>
                <a:close/>
                <a:moveTo>
                  <a:pt x="1097" y="751"/>
                </a:moveTo>
                <a:lnTo>
                  <a:pt x="1093" y="753"/>
                </a:lnTo>
                <a:lnTo>
                  <a:pt x="1091" y="756"/>
                </a:lnTo>
                <a:lnTo>
                  <a:pt x="1091" y="758"/>
                </a:lnTo>
                <a:lnTo>
                  <a:pt x="1093" y="759"/>
                </a:lnTo>
                <a:lnTo>
                  <a:pt x="1097" y="756"/>
                </a:lnTo>
                <a:lnTo>
                  <a:pt x="1099" y="753"/>
                </a:lnTo>
                <a:lnTo>
                  <a:pt x="1098" y="751"/>
                </a:lnTo>
                <a:lnTo>
                  <a:pt x="1097" y="751"/>
                </a:lnTo>
                <a:close/>
                <a:moveTo>
                  <a:pt x="1049" y="562"/>
                </a:moveTo>
                <a:lnTo>
                  <a:pt x="1048" y="563"/>
                </a:lnTo>
                <a:lnTo>
                  <a:pt x="1047" y="564"/>
                </a:lnTo>
                <a:lnTo>
                  <a:pt x="1048" y="565"/>
                </a:lnTo>
                <a:lnTo>
                  <a:pt x="1049" y="565"/>
                </a:lnTo>
                <a:lnTo>
                  <a:pt x="1053" y="566"/>
                </a:lnTo>
                <a:lnTo>
                  <a:pt x="1054" y="570"/>
                </a:lnTo>
                <a:lnTo>
                  <a:pt x="1056" y="566"/>
                </a:lnTo>
                <a:lnTo>
                  <a:pt x="1058" y="562"/>
                </a:lnTo>
                <a:lnTo>
                  <a:pt x="1054" y="562"/>
                </a:lnTo>
                <a:lnTo>
                  <a:pt x="1049" y="562"/>
                </a:lnTo>
                <a:close/>
                <a:moveTo>
                  <a:pt x="1105" y="747"/>
                </a:moveTo>
                <a:lnTo>
                  <a:pt x="1102" y="748"/>
                </a:lnTo>
                <a:lnTo>
                  <a:pt x="1100" y="751"/>
                </a:lnTo>
                <a:lnTo>
                  <a:pt x="1100" y="753"/>
                </a:lnTo>
                <a:lnTo>
                  <a:pt x="1103" y="755"/>
                </a:lnTo>
                <a:lnTo>
                  <a:pt x="1106" y="754"/>
                </a:lnTo>
                <a:lnTo>
                  <a:pt x="1109" y="752"/>
                </a:lnTo>
                <a:lnTo>
                  <a:pt x="1107" y="749"/>
                </a:lnTo>
                <a:lnTo>
                  <a:pt x="1105" y="747"/>
                </a:lnTo>
                <a:close/>
                <a:moveTo>
                  <a:pt x="1093" y="503"/>
                </a:moveTo>
                <a:lnTo>
                  <a:pt x="1091" y="504"/>
                </a:lnTo>
                <a:lnTo>
                  <a:pt x="1090" y="508"/>
                </a:lnTo>
                <a:lnTo>
                  <a:pt x="1092" y="510"/>
                </a:lnTo>
                <a:lnTo>
                  <a:pt x="1093" y="510"/>
                </a:lnTo>
                <a:lnTo>
                  <a:pt x="1097" y="508"/>
                </a:lnTo>
                <a:lnTo>
                  <a:pt x="1098" y="506"/>
                </a:lnTo>
                <a:lnTo>
                  <a:pt x="1099" y="501"/>
                </a:lnTo>
                <a:lnTo>
                  <a:pt x="1098" y="497"/>
                </a:lnTo>
                <a:lnTo>
                  <a:pt x="1097" y="496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5"/>
                </a:lnTo>
                <a:lnTo>
                  <a:pt x="1096" y="497"/>
                </a:lnTo>
                <a:lnTo>
                  <a:pt x="1097" y="497"/>
                </a:lnTo>
                <a:lnTo>
                  <a:pt x="1097" y="501"/>
                </a:lnTo>
                <a:lnTo>
                  <a:pt x="1093" y="503"/>
                </a:lnTo>
                <a:close/>
                <a:moveTo>
                  <a:pt x="1340" y="569"/>
                </a:moveTo>
                <a:lnTo>
                  <a:pt x="1330" y="573"/>
                </a:lnTo>
                <a:lnTo>
                  <a:pt x="1318" y="573"/>
                </a:lnTo>
                <a:lnTo>
                  <a:pt x="1330" y="577"/>
                </a:lnTo>
                <a:lnTo>
                  <a:pt x="1340" y="569"/>
                </a:lnTo>
                <a:close/>
                <a:moveTo>
                  <a:pt x="1506" y="808"/>
                </a:moveTo>
                <a:lnTo>
                  <a:pt x="1503" y="815"/>
                </a:lnTo>
                <a:lnTo>
                  <a:pt x="1499" y="823"/>
                </a:lnTo>
                <a:lnTo>
                  <a:pt x="1503" y="823"/>
                </a:lnTo>
                <a:lnTo>
                  <a:pt x="1504" y="821"/>
                </a:lnTo>
                <a:lnTo>
                  <a:pt x="1506" y="815"/>
                </a:lnTo>
                <a:lnTo>
                  <a:pt x="1510" y="810"/>
                </a:lnTo>
                <a:lnTo>
                  <a:pt x="1511" y="808"/>
                </a:lnTo>
                <a:lnTo>
                  <a:pt x="1511" y="805"/>
                </a:lnTo>
                <a:lnTo>
                  <a:pt x="1509" y="805"/>
                </a:lnTo>
                <a:lnTo>
                  <a:pt x="1506" y="808"/>
                </a:lnTo>
                <a:close/>
                <a:moveTo>
                  <a:pt x="1174" y="334"/>
                </a:moveTo>
                <a:lnTo>
                  <a:pt x="1176" y="334"/>
                </a:lnTo>
                <a:lnTo>
                  <a:pt x="1178" y="332"/>
                </a:lnTo>
                <a:lnTo>
                  <a:pt x="1173" y="327"/>
                </a:lnTo>
                <a:lnTo>
                  <a:pt x="1167" y="321"/>
                </a:lnTo>
                <a:lnTo>
                  <a:pt x="1165" y="322"/>
                </a:lnTo>
                <a:lnTo>
                  <a:pt x="1165" y="323"/>
                </a:lnTo>
                <a:lnTo>
                  <a:pt x="1169" y="329"/>
                </a:lnTo>
                <a:lnTo>
                  <a:pt x="1174" y="334"/>
                </a:lnTo>
                <a:close/>
                <a:moveTo>
                  <a:pt x="1042" y="516"/>
                </a:moveTo>
                <a:lnTo>
                  <a:pt x="1042" y="516"/>
                </a:lnTo>
                <a:lnTo>
                  <a:pt x="1042" y="517"/>
                </a:lnTo>
                <a:lnTo>
                  <a:pt x="1042" y="518"/>
                </a:lnTo>
                <a:lnTo>
                  <a:pt x="1044" y="520"/>
                </a:lnTo>
                <a:lnTo>
                  <a:pt x="1053" y="517"/>
                </a:lnTo>
                <a:lnTo>
                  <a:pt x="1057" y="507"/>
                </a:lnTo>
                <a:lnTo>
                  <a:pt x="1057" y="503"/>
                </a:lnTo>
                <a:lnTo>
                  <a:pt x="1055" y="501"/>
                </a:lnTo>
                <a:lnTo>
                  <a:pt x="1053" y="503"/>
                </a:lnTo>
                <a:lnTo>
                  <a:pt x="1053" y="507"/>
                </a:lnTo>
                <a:lnTo>
                  <a:pt x="1053" y="510"/>
                </a:lnTo>
                <a:lnTo>
                  <a:pt x="1053" y="514"/>
                </a:lnTo>
                <a:lnTo>
                  <a:pt x="1049" y="517"/>
                </a:lnTo>
                <a:lnTo>
                  <a:pt x="1044" y="517"/>
                </a:lnTo>
                <a:lnTo>
                  <a:pt x="1044" y="516"/>
                </a:lnTo>
                <a:lnTo>
                  <a:pt x="1042" y="516"/>
                </a:lnTo>
                <a:close/>
                <a:moveTo>
                  <a:pt x="1206" y="732"/>
                </a:moveTo>
                <a:lnTo>
                  <a:pt x="1208" y="732"/>
                </a:lnTo>
                <a:lnTo>
                  <a:pt x="1212" y="731"/>
                </a:lnTo>
                <a:lnTo>
                  <a:pt x="1214" y="730"/>
                </a:lnTo>
                <a:lnTo>
                  <a:pt x="1214" y="727"/>
                </a:lnTo>
                <a:lnTo>
                  <a:pt x="1213" y="724"/>
                </a:lnTo>
                <a:lnTo>
                  <a:pt x="1209" y="721"/>
                </a:lnTo>
                <a:lnTo>
                  <a:pt x="1207" y="721"/>
                </a:lnTo>
                <a:lnTo>
                  <a:pt x="1206" y="724"/>
                </a:lnTo>
                <a:lnTo>
                  <a:pt x="1203" y="725"/>
                </a:lnTo>
                <a:lnTo>
                  <a:pt x="1201" y="723"/>
                </a:lnTo>
                <a:lnTo>
                  <a:pt x="1202" y="728"/>
                </a:lnTo>
                <a:lnTo>
                  <a:pt x="1208" y="727"/>
                </a:lnTo>
                <a:lnTo>
                  <a:pt x="1207" y="730"/>
                </a:lnTo>
                <a:lnTo>
                  <a:pt x="1206" y="732"/>
                </a:lnTo>
                <a:close/>
                <a:moveTo>
                  <a:pt x="1143" y="723"/>
                </a:moveTo>
                <a:lnTo>
                  <a:pt x="1143" y="721"/>
                </a:lnTo>
                <a:lnTo>
                  <a:pt x="1148" y="721"/>
                </a:lnTo>
                <a:lnTo>
                  <a:pt x="1152" y="717"/>
                </a:lnTo>
                <a:lnTo>
                  <a:pt x="1154" y="716"/>
                </a:lnTo>
                <a:lnTo>
                  <a:pt x="1154" y="713"/>
                </a:lnTo>
                <a:lnTo>
                  <a:pt x="1152" y="712"/>
                </a:lnTo>
                <a:lnTo>
                  <a:pt x="1150" y="712"/>
                </a:lnTo>
                <a:lnTo>
                  <a:pt x="1151" y="709"/>
                </a:lnTo>
                <a:lnTo>
                  <a:pt x="1155" y="709"/>
                </a:lnTo>
                <a:lnTo>
                  <a:pt x="1159" y="711"/>
                </a:lnTo>
                <a:lnTo>
                  <a:pt x="1164" y="709"/>
                </a:lnTo>
                <a:lnTo>
                  <a:pt x="1166" y="709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6" y="712"/>
                </a:lnTo>
                <a:lnTo>
                  <a:pt x="1164" y="713"/>
                </a:lnTo>
                <a:lnTo>
                  <a:pt x="1162" y="714"/>
                </a:lnTo>
                <a:lnTo>
                  <a:pt x="1164" y="716"/>
                </a:lnTo>
                <a:lnTo>
                  <a:pt x="1165" y="716"/>
                </a:lnTo>
                <a:lnTo>
                  <a:pt x="1166" y="714"/>
                </a:lnTo>
                <a:lnTo>
                  <a:pt x="1167" y="712"/>
                </a:lnTo>
                <a:lnTo>
                  <a:pt x="1169" y="712"/>
                </a:lnTo>
                <a:lnTo>
                  <a:pt x="1169" y="709"/>
                </a:lnTo>
                <a:lnTo>
                  <a:pt x="1169" y="705"/>
                </a:lnTo>
                <a:lnTo>
                  <a:pt x="1165" y="704"/>
                </a:lnTo>
                <a:lnTo>
                  <a:pt x="1158" y="704"/>
                </a:lnTo>
                <a:lnTo>
                  <a:pt x="1154" y="698"/>
                </a:lnTo>
                <a:lnTo>
                  <a:pt x="1155" y="697"/>
                </a:lnTo>
                <a:lnTo>
                  <a:pt x="1154" y="695"/>
                </a:lnTo>
                <a:lnTo>
                  <a:pt x="1152" y="696"/>
                </a:lnTo>
                <a:lnTo>
                  <a:pt x="1150" y="697"/>
                </a:lnTo>
                <a:lnTo>
                  <a:pt x="1148" y="702"/>
                </a:lnTo>
                <a:lnTo>
                  <a:pt x="1148" y="705"/>
                </a:lnTo>
                <a:lnTo>
                  <a:pt x="1140" y="714"/>
                </a:lnTo>
                <a:lnTo>
                  <a:pt x="1130" y="716"/>
                </a:lnTo>
                <a:lnTo>
                  <a:pt x="1130" y="716"/>
                </a:lnTo>
                <a:lnTo>
                  <a:pt x="1130" y="714"/>
                </a:lnTo>
                <a:lnTo>
                  <a:pt x="1129" y="714"/>
                </a:lnTo>
                <a:lnTo>
                  <a:pt x="1129" y="714"/>
                </a:lnTo>
                <a:lnTo>
                  <a:pt x="1130" y="716"/>
                </a:lnTo>
                <a:lnTo>
                  <a:pt x="1130" y="717"/>
                </a:lnTo>
                <a:lnTo>
                  <a:pt x="1133" y="721"/>
                </a:lnTo>
                <a:lnTo>
                  <a:pt x="1138" y="721"/>
                </a:lnTo>
                <a:lnTo>
                  <a:pt x="1134" y="725"/>
                </a:lnTo>
                <a:lnTo>
                  <a:pt x="1129" y="726"/>
                </a:lnTo>
                <a:lnTo>
                  <a:pt x="1127" y="726"/>
                </a:lnTo>
                <a:lnTo>
                  <a:pt x="1127" y="725"/>
                </a:lnTo>
                <a:lnTo>
                  <a:pt x="1127" y="725"/>
                </a:lnTo>
                <a:lnTo>
                  <a:pt x="1126" y="726"/>
                </a:lnTo>
                <a:lnTo>
                  <a:pt x="1127" y="726"/>
                </a:lnTo>
                <a:lnTo>
                  <a:pt x="1129" y="726"/>
                </a:lnTo>
                <a:lnTo>
                  <a:pt x="1129" y="728"/>
                </a:lnTo>
                <a:lnTo>
                  <a:pt x="1127" y="730"/>
                </a:lnTo>
                <a:lnTo>
                  <a:pt x="1122" y="733"/>
                </a:lnTo>
                <a:lnTo>
                  <a:pt x="1116" y="735"/>
                </a:lnTo>
                <a:lnTo>
                  <a:pt x="1111" y="738"/>
                </a:lnTo>
                <a:lnTo>
                  <a:pt x="1107" y="739"/>
                </a:lnTo>
                <a:lnTo>
                  <a:pt x="1106" y="740"/>
                </a:lnTo>
                <a:lnTo>
                  <a:pt x="1105" y="742"/>
                </a:lnTo>
                <a:lnTo>
                  <a:pt x="1106" y="742"/>
                </a:lnTo>
                <a:lnTo>
                  <a:pt x="1107" y="742"/>
                </a:lnTo>
                <a:lnTo>
                  <a:pt x="1112" y="744"/>
                </a:lnTo>
                <a:lnTo>
                  <a:pt x="1111" y="748"/>
                </a:lnTo>
                <a:lnTo>
                  <a:pt x="1110" y="749"/>
                </a:lnTo>
                <a:lnTo>
                  <a:pt x="1111" y="751"/>
                </a:lnTo>
                <a:lnTo>
                  <a:pt x="1112" y="751"/>
                </a:lnTo>
                <a:lnTo>
                  <a:pt x="1113" y="751"/>
                </a:lnTo>
                <a:lnTo>
                  <a:pt x="1116" y="747"/>
                </a:lnTo>
                <a:lnTo>
                  <a:pt x="1116" y="742"/>
                </a:lnTo>
                <a:lnTo>
                  <a:pt x="1116" y="740"/>
                </a:lnTo>
                <a:lnTo>
                  <a:pt x="1117" y="738"/>
                </a:lnTo>
                <a:lnTo>
                  <a:pt x="1124" y="737"/>
                </a:lnTo>
                <a:lnTo>
                  <a:pt x="1129" y="732"/>
                </a:lnTo>
                <a:lnTo>
                  <a:pt x="1137" y="728"/>
                </a:lnTo>
                <a:lnTo>
                  <a:pt x="1143" y="723"/>
                </a:lnTo>
                <a:close/>
                <a:moveTo>
                  <a:pt x="1434" y="738"/>
                </a:moveTo>
                <a:lnTo>
                  <a:pt x="1436" y="737"/>
                </a:lnTo>
                <a:lnTo>
                  <a:pt x="1437" y="733"/>
                </a:lnTo>
                <a:lnTo>
                  <a:pt x="1436" y="731"/>
                </a:lnTo>
                <a:lnTo>
                  <a:pt x="1434" y="731"/>
                </a:lnTo>
                <a:lnTo>
                  <a:pt x="1423" y="733"/>
                </a:lnTo>
                <a:lnTo>
                  <a:pt x="1420" y="742"/>
                </a:lnTo>
                <a:lnTo>
                  <a:pt x="1420" y="746"/>
                </a:lnTo>
                <a:lnTo>
                  <a:pt x="1423" y="748"/>
                </a:lnTo>
                <a:lnTo>
                  <a:pt x="1427" y="747"/>
                </a:lnTo>
                <a:lnTo>
                  <a:pt x="1427" y="744"/>
                </a:lnTo>
                <a:lnTo>
                  <a:pt x="1429" y="739"/>
                </a:lnTo>
                <a:lnTo>
                  <a:pt x="1434" y="738"/>
                </a:lnTo>
                <a:close/>
                <a:moveTo>
                  <a:pt x="1444" y="746"/>
                </a:moveTo>
                <a:lnTo>
                  <a:pt x="1441" y="747"/>
                </a:lnTo>
                <a:lnTo>
                  <a:pt x="1440" y="751"/>
                </a:lnTo>
                <a:lnTo>
                  <a:pt x="1438" y="755"/>
                </a:lnTo>
                <a:lnTo>
                  <a:pt x="1434" y="758"/>
                </a:lnTo>
                <a:lnTo>
                  <a:pt x="1430" y="759"/>
                </a:lnTo>
                <a:lnTo>
                  <a:pt x="1430" y="762"/>
                </a:lnTo>
                <a:lnTo>
                  <a:pt x="1431" y="765"/>
                </a:lnTo>
                <a:lnTo>
                  <a:pt x="1435" y="765"/>
                </a:lnTo>
                <a:lnTo>
                  <a:pt x="1444" y="761"/>
                </a:lnTo>
                <a:lnTo>
                  <a:pt x="1448" y="751"/>
                </a:lnTo>
                <a:lnTo>
                  <a:pt x="1448" y="748"/>
                </a:lnTo>
                <a:lnTo>
                  <a:pt x="1444" y="746"/>
                </a:lnTo>
                <a:close/>
                <a:moveTo>
                  <a:pt x="1070" y="514"/>
                </a:moveTo>
                <a:lnTo>
                  <a:pt x="1074" y="511"/>
                </a:lnTo>
                <a:lnTo>
                  <a:pt x="1077" y="510"/>
                </a:lnTo>
                <a:lnTo>
                  <a:pt x="1076" y="514"/>
                </a:lnTo>
                <a:lnTo>
                  <a:pt x="1074" y="517"/>
                </a:lnTo>
                <a:lnTo>
                  <a:pt x="1079" y="516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5" y="520"/>
                </a:lnTo>
                <a:lnTo>
                  <a:pt x="1081" y="521"/>
                </a:lnTo>
                <a:lnTo>
                  <a:pt x="1077" y="521"/>
                </a:lnTo>
                <a:lnTo>
                  <a:pt x="1076" y="522"/>
                </a:lnTo>
                <a:lnTo>
                  <a:pt x="1075" y="523"/>
                </a:lnTo>
                <a:lnTo>
                  <a:pt x="1078" y="527"/>
                </a:lnTo>
                <a:lnTo>
                  <a:pt x="1082" y="528"/>
                </a:lnTo>
                <a:lnTo>
                  <a:pt x="1082" y="529"/>
                </a:lnTo>
                <a:lnTo>
                  <a:pt x="1083" y="530"/>
                </a:lnTo>
                <a:lnTo>
                  <a:pt x="1083" y="529"/>
                </a:lnTo>
                <a:lnTo>
                  <a:pt x="1082" y="528"/>
                </a:lnTo>
                <a:lnTo>
                  <a:pt x="1083" y="524"/>
                </a:lnTo>
                <a:lnTo>
                  <a:pt x="1085" y="520"/>
                </a:lnTo>
                <a:lnTo>
                  <a:pt x="1086" y="516"/>
                </a:lnTo>
                <a:lnTo>
                  <a:pt x="1085" y="511"/>
                </a:lnTo>
                <a:lnTo>
                  <a:pt x="1083" y="511"/>
                </a:lnTo>
                <a:lnTo>
                  <a:pt x="1079" y="514"/>
                </a:lnTo>
                <a:lnTo>
                  <a:pt x="1079" y="508"/>
                </a:lnTo>
                <a:lnTo>
                  <a:pt x="1077" y="502"/>
                </a:lnTo>
                <a:lnTo>
                  <a:pt x="1074" y="497"/>
                </a:lnTo>
                <a:lnTo>
                  <a:pt x="1070" y="499"/>
                </a:lnTo>
                <a:lnTo>
                  <a:pt x="1068" y="503"/>
                </a:lnTo>
                <a:lnTo>
                  <a:pt x="1064" y="499"/>
                </a:lnTo>
                <a:lnTo>
                  <a:pt x="1063" y="497"/>
                </a:lnTo>
                <a:lnTo>
                  <a:pt x="1061" y="496"/>
                </a:lnTo>
                <a:lnTo>
                  <a:pt x="1060" y="495"/>
                </a:lnTo>
                <a:lnTo>
                  <a:pt x="1057" y="495"/>
                </a:lnTo>
                <a:lnTo>
                  <a:pt x="1057" y="497"/>
                </a:lnTo>
                <a:lnTo>
                  <a:pt x="1058" y="499"/>
                </a:lnTo>
                <a:lnTo>
                  <a:pt x="1067" y="504"/>
                </a:lnTo>
                <a:lnTo>
                  <a:pt x="1070" y="514"/>
                </a:lnTo>
                <a:close/>
                <a:moveTo>
                  <a:pt x="1165" y="315"/>
                </a:moveTo>
                <a:lnTo>
                  <a:pt x="1160" y="307"/>
                </a:lnTo>
                <a:lnTo>
                  <a:pt x="1154" y="300"/>
                </a:lnTo>
                <a:lnTo>
                  <a:pt x="1147" y="295"/>
                </a:lnTo>
                <a:lnTo>
                  <a:pt x="1141" y="288"/>
                </a:lnTo>
                <a:lnTo>
                  <a:pt x="1139" y="286"/>
                </a:lnTo>
                <a:lnTo>
                  <a:pt x="1137" y="284"/>
                </a:lnTo>
                <a:lnTo>
                  <a:pt x="1136" y="286"/>
                </a:lnTo>
                <a:lnTo>
                  <a:pt x="1137" y="288"/>
                </a:lnTo>
                <a:lnTo>
                  <a:pt x="1141" y="294"/>
                </a:lnTo>
                <a:lnTo>
                  <a:pt x="1144" y="301"/>
                </a:lnTo>
                <a:lnTo>
                  <a:pt x="1145" y="308"/>
                </a:lnTo>
                <a:lnTo>
                  <a:pt x="1151" y="312"/>
                </a:lnTo>
                <a:lnTo>
                  <a:pt x="1157" y="314"/>
                </a:lnTo>
                <a:lnTo>
                  <a:pt x="1162" y="318"/>
                </a:lnTo>
                <a:lnTo>
                  <a:pt x="1165" y="316"/>
                </a:lnTo>
                <a:lnTo>
                  <a:pt x="1165" y="315"/>
                </a:lnTo>
                <a:close/>
                <a:moveTo>
                  <a:pt x="1284" y="741"/>
                </a:moveTo>
                <a:lnTo>
                  <a:pt x="1284" y="745"/>
                </a:lnTo>
                <a:lnTo>
                  <a:pt x="1283" y="746"/>
                </a:lnTo>
                <a:lnTo>
                  <a:pt x="1277" y="756"/>
                </a:lnTo>
                <a:lnTo>
                  <a:pt x="1275" y="767"/>
                </a:lnTo>
                <a:lnTo>
                  <a:pt x="1274" y="769"/>
                </a:lnTo>
                <a:lnTo>
                  <a:pt x="1271" y="770"/>
                </a:lnTo>
                <a:lnTo>
                  <a:pt x="1270" y="767"/>
                </a:lnTo>
                <a:lnTo>
                  <a:pt x="1267" y="766"/>
                </a:lnTo>
                <a:lnTo>
                  <a:pt x="1264" y="768"/>
                </a:lnTo>
                <a:lnTo>
                  <a:pt x="1262" y="772"/>
                </a:lnTo>
                <a:lnTo>
                  <a:pt x="1261" y="774"/>
                </a:lnTo>
                <a:lnTo>
                  <a:pt x="1260" y="776"/>
                </a:lnTo>
                <a:lnTo>
                  <a:pt x="1260" y="779"/>
                </a:lnTo>
                <a:lnTo>
                  <a:pt x="1261" y="780"/>
                </a:lnTo>
                <a:lnTo>
                  <a:pt x="1262" y="780"/>
                </a:lnTo>
                <a:lnTo>
                  <a:pt x="1264" y="779"/>
                </a:lnTo>
                <a:lnTo>
                  <a:pt x="1267" y="777"/>
                </a:lnTo>
                <a:lnTo>
                  <a:pt x="1268" y="780"/>
                </a:lnTo>
                <a:lnTo>
                  <a:pt x="1268" y="782"/>
                </a:lnTo>
                <a:lnTo>
                  <a:pt x="1269" y="783"/>
                </a:lnTo>
                <a:lnTo>
                  <a:pt x="1271" y="783"/>
                </a:lnTo>
                <a:lnTo>
                  <a:pt x="1272" y="781"/>
                </a:lnTo>
                <a:lnTo>
                  <a:pt x="1277" y="773"/>
                </a:lnTo>
                <a:lnTo>
                  <a:pt x="1281" y="765"/>
                </a:lnTo>
                <a:lnTo>
                  <a:pt x="1288" y="745"/>
                </a:lnTo>
                <a:lnTo>
                  <a:pt x="1292" y="724"/>
                </a:lnTo>
                <a:lnTo>
                  <a:pt x="1283" y="730"/>
                </a:lnTo>
                <a:lnTo>
                  <a:pt x="1284" y="741"/>
                </a:lnTo>
                <a:close/>
                <a:moveTo>
                  <a:pt x="1284" y="572"/>
                </a:moveTo>
                <a:lnTo>
                  <a:pt x="1286" y="571"/>
                </a:lnTo>
                <a:lnTo>
                  <a:pt x="1289" y="572"/>
                </a:lnTo>
                <a:lnTo>
                  <a:pt x="1291" y="573"/>
                </a:lnTo>
                <a:lnTo>
                  <a:pt x="1293" y="572"/>
                </a:lnTo>
                <a:lnTo>
                  <a:pt x="1296" y="570"/>
                </a:lnTo>
                <a:lnTo>
                  <a:pt x="1296" y="566"/>
                </a:lnTo>
                <a:lnTo>
                  <a:pt x="1293" y="565"/>
                </a:lnTo>
                <a:lnTo>
                  <a:pt x="1291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0" y="565"/>
                </a:lnTo>
                <a:lnTo>
                  <a:pt x="1296" y="560"/>
                </a:lnTo>
                <a:lnTo>
                  <a:pt x="1302" y="555"/>
                </a:lnTo>
                <a:lnTo>
                  <a:pt x="1303" y="555"/>
                </a:lnTo>
                <a:lnTo>
                  <a:pt x="1304" y="555"/>
                </a:lnTo>
                <a:lnTo>
                  <a:pt x="1304" y="556"/>
                </a:lnTo>
                <a:lnTo>
                  <a:pt x="1303" y="557"/>
                </a:lnTo>
                <a:lnTo>
                  <a:pt x="1300" y="558"/>
                </a:lnTo>
                <a:lnTo>
                  <a:pt x="1300" y="559"/>
                </a:lnTo>
                <a:lnTo>
                  <a:pt x="1302" y="562"/>
                </a:lnTo>
                <a:lnTo>
                  <a:pt x="1304" y="562"/>
                </a:lnTo>
                <a:lnTo>
                  <a:pt x="1311" y="559"/>
                </a:lnTo>
                <a:lnTo>
                  <a:pt x="1319" y="560"/>
                </a:lnTo>
                <a:lnTo>
                  <a:pt x="1319" y="557"/>
                </a:lnTo>
                <a:lnTo>
                  <a:pt x="1323" y="556"/>
                </a:lnTo>
                <a:lnTo>
                  <a:pt x="1325" y="556"/>
                </a:lnTo>
                <a:lnTo>
                  <a:pt x="1325" y="553"/>
                </a:lnTo>
                <a:lnTo>
                  <a:pt x="1325" y="551"/>
                </a:lnTo>
                <a:lnTo>
                  <a:pt x="1323" y="551"/>
                </a:lnTo>
                <a:lnTo>
                  <a:pt x="1320" y="551"/>
                </a:lnTo>
                <a:lnTo>
                  <a:pt x="1320" y="549"/>
                </a:lnTo>
                <a:lnTo>
                  <a:pt x="1318" y="545"/>
                </a:lnTo>
                <a:lnTo>
                  <a:pt x="1314" y="546"/>
                </a:lnTo>
                <a:lnTo>
                  <a:pt x="1305" y="551"/>
                </a:lnTo>
                <a:lnTo>
                  <a:pt x="1295" y="552"/>
                </a:lnTo>
                <a:lnTo>
                  <a:pt x="1293" y="552"/>
                </a:lnTo>
                <a:lnTo>
                  <a:pt x="1292" y="553"/>
                </a:lnTo>
                <a:lnTo>
                  <a:pt x="1290" y="558"/>
                </a:lnTo>
                <a:lnTo>
                  <a:pt x="1285" y="562"/>
                </a:lnTo>
                <a:lnTo>
                  <a:pt x="1281" y="562"/>
                </a:lnTo>
                <a:lnTo>
                  <a:pt x="1277" y="559"/>
                </a:lnTo>
                <a:lnTo>
                  <a:pt x="1275" y="557"/>
                </a:lnTo>
                <a:lnTo>
                  <a:pt x="1270" y="558"/>
                </a:lnTo>
                <a:lnTo>
                  <a:pt x="1270" y="559"/>
                </a:lnTo>
                <a:lnTo>
                  <a:pt x="1270" y="560"/>
                </a:lnTo>
                <a:lnTo>
                  <a:pt x="1272" y="560"/>
                </a:lnTo>
                <a:lnTo>
                  <a:pt x="1276" y="560"/>
                </a:lnTo>
                <a:lnTo>
                  <a:pt x="1272" y="565"/>
                </a:lnTo>
                <a:lnTo>
                  <a:pt x="1275" y="570"/>
                </a:lnTo>
                <a:lnTo>
                  <a:pt x="1268" y="571"/>
                </a:lnTo>
                <a:lnTo>
                  <a:pt x="1264" y="572"/>
                </a:lnTo>
                <a:lnTo>
                  <a:pt x="1276" y="573"/>
                </a:lnTo>
                <a:lnTo>
                  <a:pt x="1284" y="572"/>
                </a:lnTo>
                <a:close/>
                <a:moveTo>
                  <a:pt x="1215" y="889"/>
                </a:moveTo>
                <a:lnTo>
                  <a:pt x="1214" y="886"/>
                </a:lnTo>
                <a:lnTo>
                  <a:pt x="1209" y="885"/>
                </a:lnTo>
                <a:lnTo>
                  <a:pt x="1214" y="885"/>
                </a:lnTo>
                <a:lnTo>
                  <a:pt x="1217" y="886"/>
                </a:lnTo>
                <a:lnTo>
                  <a:pt x="1217" y="888"/>
                </a:lnTo>
                <a:lnTo>
                  <a:pt x="1215" y="889"/>
                </a:lnTo>
                <a:close/>
                <a:moveTo>
                  <a:pt x="1258" y="864"/>
                </a:moveTo>
                <a:lnTo>
                  <a:pt x="1255" y="865"/>
                </a:lnTo>
                <a:lnTo>
                  <a:pt x="1254" y="868"/>
                </a:lnTo>
                <a:lnTo>
                  <a:pt x="1254" y="871"/>
                </a:lnTo>
                <a:lnTo>
                  <a:pt x="1251" y="872"/>
                </a:lnTo>
                <a:lnTo>
                  <a:pt x="1250" y="870"/>
                </a:lnTo>
                <a:lnTo>
                  <a:pt x="1250" y="867"/>
                </a:lnTo>
                <a:lnTo>
                  <a:pt x="1250" y="866"/>
                </a:lnTo>
                <a:lnTo>
                  <a:pt x="1250" y="866"/>
                </a:lnTo>
                <a:lnTo>
                  <a:pt x="1249" y="859"/>
                </a:lnTo>
                <a:lnTo>
                  <a:pt x="1245" y="853"/>
                </a:lnTo>
                <a:lnTo>
                  <a:pt x="1240" y="852"/>
                </a:lnTo>
                <a:lnTo>
                  <a:pt x="1234" y="856"/>
                </a:lnTo>
                <a:lnTo>
                  <a:pt x="1233" y="856"/>
                </a:lnTo>
                <a:lnTo>
                  <a:pt x="1231" y="857"/>
                </a:lnTo>
                <a:lnTo>
                  <a:pt x="1233" y="851"/>
                </a:lnTo>
                <a:lnTo>
                  <a:pt x="1229" y="849"/>
                </a:lnTo>
                <a:lnTo>
                  <a:pt x="1222" y="849"/>
                </a:lnTo>
                <a:lnTo>
                  <a:pt x="1216" y="847"/>
                </a:lnTo>
                <a:lnTo>
                  <a:pt x="1215" y="847"/>
                </a:lnTo>
                <a:lnTo>
                  <a:pt x="1214" y="849"/>
                </a:lnTo>
                <a:lnTo>
                  <a:pt x="1208" y="852"/>
                </a:lnTo>
                <a:lnTo>
                  <a:pt x="1203" y="858"/>
                </a:lnTo>
                <a:lnTo>
                  <a:pt x="1201" y="859"/>
                </a:lnTo>
                <a:lnTo>
                  <a:pt x="1199" y="858"/>
                </a:lnTo>
                <a:lnTo>
                  <a:pt x="1196" y="852"/>
                </a:lnTo>
                <a:lnTo>
                  <a:pt x="1192" y="850"/>
                </a:lnTo>
                <a:lnTo>
                  <a:pt x="1187" y="850"/>
                </a:lnTo>
                <a:lnTo>
                  <a:pt x="1185" y="853"/>
                </a:lnTo>
                <a:lnTo>
                  <a:pt x="1185" y="854"/>
                </a:lnTo>
                <a:lnTo>
                  <a:pt x="1186" y="856"/>
                </a:lnTo>
                <a:lnTo>
                  <a:pt x="1192" y="859"/>
                </a:lnTo>
                <a:lnTo>
                  <a:pt x="1193" y="867"/>
                </a:lnTo>
                <a:lnTo>
                  <a:pt x="1189" y="866"/>
                </a:lnTo>
                <a:lnTo>
                  <a:pt x="1186" y="866"/>
                </a:lnTo>
                <a:lnTo>
                  <a:pt x="1189" y="871"/>
                </a:lnTo>
                <a:lnTo>
                  <a:pt x="1191" y="875"/>
                </a:lnTo>
                <a:lnTo>
                  <a:pt x="1192" y="872"/>
                </a:lnTo>
                <a:lnTo>
                  <a:pt x="1194" y="870"/>
                </a:lnTo>
                <a:lnTo>
                  <a:pt x="1198" y="872"/>
                </a:lnTo>
                <a:lnTo>
                  <a:pt x="1200" y="875"/>
                </a:lnTo>
                <a:lnTo>
                  <a:pt x="1200" y="881"/>
                </a:lnTo>
                <a:lnTo>
                  <a:pt x="1200" y="886"/>
                </a:lnTo>
                <a:lnTo>
                  <a:pt x="1201" y="889"/>
                </a:lnTo>
                <a:lnTo>
                  <a:pt x="1202" y="889"/>
                </a:lnTo>
                <a:lnTo>
                  <a:pt x="1210" y="891"/>
                </a:lnTo>
                <a:lnTo>
                  <a:pt x="1217" y="893"/>
                </a:lnTo>
                <a:lnTo>
                  <a:pt x="1228" y="894"/>
                </a:lnTo>
                <a:lnTo>
                  <a:pt x="1240" y="893"/>
                </a:lnTo>
                <a:lnTo>
                  <a:pt x="1240" y="895"/>
                </a:lnTo>
                <a:lnTo>
                  <a:pt x="1240" y="896"/>
                </a:lnTo>
                <a:lnTo>
                  <a:pt x="1240" y="896"/>
                </a:lnTo>
                <a:lnTo>
                  <a:pt x="1240" y="898"/>
                </a:lnTo>
                <a:lnTo>
                  <a:pt x="1241" y="899"/>
                </a:lnTo>
                <a:lnTo>
                  <a:pt x="1241" y="900"/>
                </a:lnTo>
                <a:lnTo>
                  <a:pt x="1241" y="901"/>
                </a:lnTo>
                <a:lnTo>
                  <a:pt x="1241" y="902"/>
                </a:lnTo>
                <a:lnTo>
                  <a:pt x="1243" y="899"/>
                </a:lnTo>
                <a:lnTo>
                  <a:pt x="1245" y="895"/>
                </a:lnTo>
                <a:lnTo>
                  <a:pt x="1244" y="894"/>
                </a:lnTo>
                <a:lnTo>
                  <a:pt x="1243" y="893"/>
                </a:lnTo>
                <a:lnTo>
                  <a:pt x="1242" y="891"/>
                </a:lnTo>
                <a:lnTo>
                  <a:pt x="1240" y="891"/>
                </a:lnTo>
                <a:lnTo>
                  <a:pt x="1235" y="891"/>
                </a:lnTo>
                <a:lnTo>
                  <a:pt x="1231" y="891"/>
                </a:lnTo>
                <a:lnTo>
                  <a:pt x="1228" y="889"/>
                </a:lnTo>
                <a:lnTo>
                  <a:pt x="1226" y="886"/>
                </a:lnTo>
                <a:lnTo>
                  <a:pt x="1226" y="885"/>
                </a:lnTo>
                <a:lnTo>
                  <a:pt x="1227" y="884"/>
                </a:lnTo>
                <a:lnTo>
                  <a:pt x="1229" y="884"/>
                </a:lnTo>
                <a:lnTo>
                  <a:pt x="1231" y="886"/>
                </a:lnTo>
                <a:lnTo>
                  <a:pt x="1233" y="886"/>
                </a:lnTo>
                <a:lnTo>
                  <a:pt x="1234" y="886"/>
                </a:lnTo>
                <a:lnTo>
                  <a:pt x="1241" y="886"/>
                </a:lnTo>
                <a:lnTo>
                  <a:pt x="1245" y="881"/>
                </a:lnTo>
                <a:lnTo>
                  <a:pt x="1248" y="878"/>
                </a:lnTo>
                <a:lnTo>
                  <a:pt x="1250" y="878"/>
                </a:lnTo>
                <a:lnTo>
                  <a:pt x="1252" y="881"/>
                </a:lnTo>
                <a:lnTo>
                  <a:pt x="1254" y="881"/>
                </a:lnTo>
                <a:lnTo>
                  <a:pt x="1256" y="879"/>
                </a:lnTo>
                <a:lnTo>
                  <a:pt x="1257" y="875"/>
                </a:lnTo>
                <a:lnTo>
                  <a:pt x="1258" y="873"/>
                </a:lnTo>
                <a:lnTo>
                  <a:pt x="1261" y="871"/>
                </a:lnTo>
                <a:lnTo>
                  <a:pt x="1261" y="870"/>
                </a:lnTo>
                <a:lnTo>
                  <a:pt x="1260" y="868"/>
                </a:lnTo>
                <a:lnTo>
                  <a:pt x="1261" y="866"/>
                </a:lnTo>
                <a:lnTo>
                  <a:pt x="1258" y="864"/>
                </a:lnTo>
                <a:close/>
                <a:moveTo>
                  <a:pt x="1400" y="517"/>
                </a:moveTo>
                <a:lnTo>
                  <a:pt x="1403" y="514"/>
                </a:lnTo>
                <a:lnTo>
                  <a:pt x="1407" y="511"/>
                </a:lnTo>
                <a:lnTo>
                  <a:pt x="1407" y="517"/>
                </a:lnTo>
                <a:lnTo>
                  <a:pt x="1403" y="521"/>
                </a:lnTo>
                <a:lnTo>
                  <a:pt x="1402" y="521"/>
                </a:lnTo>
                <a:lnTo>
                  <a:pt x="1401" y="521"/>
                </a:lnTo>
                <a:lnTo>
                  <a:pt x="1400" y="520"/>
                </a:lnTo>
                <a:lnTo>
                  <a:pt x="1400" y="517"/>
                </a:lnTo>
                <a:close/>
                <a:moveTo>
                  <a:pt x="951" y="847"/>
                </a:moveTo>
                <a:lnTo>
                  <a:pt x="951" y="847"/>
                </a:lnTo>
                <a:lnTo>
                  <a:pt x="950" y="849"/>
                </a:lnTo>
                <a:lnTo>
                  <a:pt x="951" y="847"/>
                </a:lnTo>
                <a:lnTo>
                  <a:pt x="951" y="847"/>
                </a:lnTo>
                <a:close/>
                <a:moveTo>
                  <a:pt x="1511" y="488"/>
                </a:moveTo>
                <a:lnTo>
                  <a:pt x="1510" y="490"/>
                </a:lnTo>
                <a:lnTo>
                  <a:pt x="1511" y="492"/>
                </a:lnTo>
                <a:lnTo>
                  <a:pt x="1511" y="490"/>
                </a:lnTo>
                <a:lnTo>
                  <a:pt x="1511" y="488"/>
                </a:lnTo>
                <a:close/>
                <a:moveTo>
                  <a:pt x="129" y="882"/>
                </a:moveTo>
                <a:lnTo>
                  <a:pt x="131" y="880"/>
                </a:lnTo>
                <a:lnTo>
                  <a:pt x="132" y="877"/>
                </a:lnTo>
                <a:lnTo>
                  <a:pt x="129" y="879"/>
                </a:lnTo>
                <a:lnTo>
                  <a:pt x="129" y="882"/>
                </a:lnTo>
                <a:close/>
                <a:moveTo>
                  <a:pt x="1283" y="10"/>
                </a:moveTo>
                <a:lnTo>
                  <a:pt x="1285" y="8"/>
                </a:lnTo>
                <a:lnTo>
                  <a:pt x="1285" y="7"/>
                </a:lnTo>
                <a:lnTo>
                  <a:pt x="1285" y="6"/>
                </a:lnTo>
                <a:lnTo>
                  <a:pt x="1283" y="5"/>
                </a:lnTo>
                <a:lnTo>
                  <a:pt x="1282" y="6"/>
                </a:lnTo>
                <a:lnTo>
                  <a:pt x="1281" y="7"/>
                </a:lnTo>
                <a:lnTo>
                  <a:pt x="1282" y="10"/>
                </a:lnTo>
                <a:lnTo>
                  <a:pt x="1283" y="10"/>
                </a:lnTo>
                <a:close/>
                <a:moveTo>
                  <a:pt x="1511" y="488"/>
                </a:moveTo>
                <a:lnTo>
                  <a:pt x="1520" y="488"/>
                </a:lnTo>
                <a:lnTo>
                  <a:pt x="1528" y="488"/>
                </a:lnTo>
                <a:lnTo>
                  <a:pt x="1520" y="486"/>
                </a:lnTo>
                <a:lnTo>
                  <a:pt x="1511" y="488"/>
                </a:lnTo>
                <a:close/>
                <a:moveTo>
                  <a:pt x="522" y="1095"/>
                </a:moveTo>
                <a:lnTo>
                  <a:pt x="518" y="1097"/>
                </a:lnTo>
                <a:lnTo>
                  <a:pt x="513" y="1094"/>
                </a:lnTo>
                <a:lnTo>
                  <a:pt x="512" y="1089"/>
                </a:lnTo>
                <a:lnTo>
                  <a:pt x="508" y="1088"/>
                </a:lnTo>
                <a:lnTo>
                  <a:pt x="506" y="1084"/>
                </a:lnTo>
                <a:lnTo>
                  <a:pt x="504" y="1083"/>
                </a:lnTo>
                <a:lnTo>
                  <a:pt x="497" y="1084"/>
                </a:lnTo>
                <a:lnTo>
                  <a:pt x="492" y="1089"/>
                </a:lnTo>
                <a:lnTo>
                  <a:pt x="491" y="1091"/>
                </a:lnTo>
                <a:lnTo>
                  <a:pt x="490" y="1091"/>
                </a:lnTo>
                <a:lnTo>
                  <a:pt x="483" y="1087"/>
                </a:lnTo>
                <a:lnTo>
                  <a:pt x="475" y="1084"/>
                </a:lnTo>
                <a:lnTo>
                  <a:pt x="473" y="1084"/>
                </a:lnTo>
                <a:lnTo>
                  <a:pt x="470" y="1086"/>
                </a:lnTo>
                <a:lnTo>
                  <a:pt x="470" y="1090"/>
                </a:lnTo>
                <a:lnTo>
                  <a:pt x="470" y="1094"/>
                </a:lnTo>
                <a:lnTo>
                  <a:pt x="471" y="1096"/>
                </a:lnTo>
                <a:lnTo>
                  <a:pt x="474" y="1095"/>
                </a:lnTo>
                <a:lnTo>
                  <a:pt x="478" y="1095"/>
                </a:lnTo>
                <a:lnTo>
                  <a:pt x="481" y="1097"/>
                </a:lnTo>
                <a:lnTo>
                  <a:pt x="483" y="1098"/>
                </a:lnTo>
                <a:lnTo>
                  <a:pt x="485" y="1100"/>
                </a:lnTo>
                <a:lnTo>
                  <a:pt x="496" y="1097"/>
                </a:lnTo>
                <a:lnTo>
                  <a:pt x="505" y="1096"/>
                </a:lnTo>
                <a:lnTo>
                  <a:pt x="506" y="1098"/>
                </a:lnTo>
                <a:lnTo>
                  <a:pt x="508" y="1100"/>
                </a:lnTo>
                <a:lnTo>
                  <a:pt x="505" y="1100"/>
                </a:lnTo>
                <a:lnTo>
                  <a:pt x="502" y="1101"/>
                </a:lnTo>
                <a:lnTo>
                  <a:pt x="484" y="1104"/>
                </a:lnTo>
                <a:lnTo>
                  <a:pt x="467" y="1100"/>
                </a:lnTo>
                <a:lnTo>
                  <a:pt x="464" y="1098"/>
                </a:lnTo>
                <a:lnTo>
                  <a:pt x="462" y="1097"/>
                </a:lnTo>
                <a:lnTo>
                  <a:pt x="462" y="1101"/>
                </a:lnTo>
                <a:lnTo>
                  <a:pt x="463" y="1103"/>
                </a:lnTo>
                <a:lnTo>
                  <a:pt x="464" y="1104"/>
                </a:lnTo>
                <a:lnTo>
                  <a:pt x="465" y="1105"/>
                </a:lnTo>
                <a:lnTo>
                  <a:pt x="480" y="1109"/>
                </a:lnTo>
                <a:lnTo>
                  <a:pt x="494" y="1111"/>
                </a:lnTo>
                <a:lnTo>
                  <a:pt x="497" y="1110"/>
                </a:lnTo>
                <a:lnTo>
                  <a:pt x="498" y="1109"/>
                </a:lnTo>
                <a:lnTo>
                  <a:pt x="498" y="1105"/>
                </a:lnTo>
                <a:lnTo>
                  <a:pt x="502" y="1105"/>
                </a:lnTo>
                <a:lnTo>
                  <a:pt x="503" y="1105"/>
                </a:lnTo>
                <a:lnTo>
                  <a:pt x="505" y="1105"/>
                </a:lnTo>
                <a:lnTo>
                  <a:pt x="506" y="1104"/>
                </a:lnTo>
                <a:lnTo>
                  <a:pt x="508" y="1104"/>
                </a:lnTo>
                <a:lnTo>
                  <a:pt x="518" y="1098"/>
                </a:lnTo>
                <a:lnTo>
                  <a:pt x="529" y="1096"/>
                </a:lnTo>
                <a:lnTo>
                  <a:pt x="529" y="1095"/>
                </a:lnTo>
                <a:lnTo>
                  <a:pt x="529" y="1095"/>
                </a:lnTo>
                <a:lnTo>
                  <a:pt x="525" y="1094"/>
                </a:lnTo>
                <a:lnTo>
                  <a:pt x="522" y="1095"/>
                </a:lnTo>
                <a:close/>
                <a:moveTo>
                  <a:pt x="1804" y="204"/>
                </a:moveTo>
                <a:lnTo>
                  <a:pt x="1804" y="202"/>
                </a:lnTo>
                <a:lnTo>
                  <a:pt x="1804" y="200"/>
                </a:lnTo>
                <a:lnTo>
                  <a:pt x="1804" y="202"/>
                </a:lnTo>
                <a:lnTo>
                  <a:pt x="1804" y="206"/>
                </a:lnTo>
                <a:lnTo>
                  <a:pt x="1807" y="207"/>
                </a:lnTo>
                <a:lnTo>
                  <a:pt x="1809" y="209"/>
                </a:lnTo>
                <a:lnTo>
                  <a:pt x="1807" y="207"/>
                </a:lnTo>
                <a:lnTo>
                  <a:pt x="1804" y="204"/>
                </a:lnTo>
                <a:close/>
                <a:moveTo>
                  <a:pt x="1806" y="316"/>
                </a:moveTo>
                <a:lnTo>
                  <a:pt x="1807" y="318"/>
                </a:lnTo>
                <a:lnTo>
                  <a:pt x="1808" y="318"/>
                </a:lnTo>
                <a:lnTo>
                  <a:pt x="1807" y="318"/>
                </a:lnTo>
                <a:lnTo>
                  <a:pt x="1806" y="316"/>
                </a:lnTo>
                <a:close/>
                <a:moveTo>
                  <a:pt x="1776" y="169"/>
                </a:moveTo>
                <a:lnTo>
                  <a:pt x="1775" y="167"/>
                </a:lnTo>
                <a:lnTo>
                  <a:pt x="1773" y="165"/>
                </a:lnTo>
                <a:lnTo>
                  <a:pt x="1775" y="167"/>
                </a:lnTo>
                <a:lnTo>
                  <a:pt x="1776" y="169"/>
                </a:lnTo>
                <a:lnTo>
                  <a:pt x="1776" y="169"/>
                </a:lnTo>
                <a:lnTo>
                  <a:pt x="1778" y="169"/>
                </a:lnTo>
                <a:lnTo>
                  <a:pt x="1776" y="169"/>
                </a:lnTo>
                <a:lnTo>
                  <a:pt x="1776" y="169"/>
                </a:lnTo>
                <a:close/>
                <a:moveTo>
                  <a:pt x="1772" y="313"/>
                </a:moveTo>
                <a:lnTo>
                  <a:pt x="1772" y="313"/>
                </a:lnTo>
                <a:lnTo>
                  <a:pt x="1772" y="312"/>
                </a:lnTo>
                <a:lnTo>
                  <a:pt x="1772" y="313"/>
                </a:lnTo>
                <a:lnTo>
                  <a:pt x="1772" y="313"/>
                </a:lnTo>
                <a:lnTo>
                  <a:pt x="1772" y="315"/>
                </a:lnTo>
                <a:lnTo>
                  <a:pt x="1773" y="318"/>
                </a:lnTo>
                <a:lnTo>
                  <a:pt x="1772" y="315"/>
                </a:lnTo>
                <a:lnTo>
                  <a:pt x="1772" y="313"/>
                </a:lnTo>
                <a:close/>
                <a:moveTo>
                  <a:pt x="1562" y="201"/>
                </a:moveTo>
                <a:lnTo>
                  <a:pt x="1561" y="201"/>
                </a:lnTo>
                <a:lnTo>
                  <a:pt x="1561" y="200"/>
                </a:lnTo>
                <a:lnTo>
                  <a:pt x="1562" y="200"/>
                </a:lnTo>
                <a:lnTo>
                  <a:pt x="1562" y="201"/>
                </a:lnTo>
                <a:close/>
                <a:moveTo>
                  <a:pt x="1762" y="276"/>
                </a:moveTo>
                <a:lnTo>
                  <a:pt x="1756" y="276"/>
                </a:lnTo>
                <a:lnTo>
                  <a:pt x="1753" y="273"/>
                </a:lnTo>
                <a:lnTo>
                  <a:pt x="1756" y="276"/>
                </a:lnTo>
                <a:lnTo>
                  <a:pt x="1762" y="276"/>
                </a:lnTo>
                <a:lnTo>
                  <a:pt x="1762" y="277"/>
                </a:lnTo>
                <a:lnTo>
                  <a:pt x="1764" y="279"/>
                </a:lnTo>
                <a:lnTo>
                  <a:pt x="1762" y="277"/>
                </a:lnTo>
                <a:lnTo>
                  <a:pt x="1762" y="276"/>
                </a:lnTo>
                <a:close/>
                <a:moveTo>
                  <a:pt x="1754" y="286"/>
                </a:moveTo>
                <a:lnTo>
                  <a:pt x="1755" y="287"/>
                </a:lnTo>
                <a:lnTo>
                  <a:pt x="1758" y="287"/>
                </a:lnTo>
                <a:lnTo>
                  <a:pt x="1755" y="287"/>
                </a:lnTo>
                <a:lnTo>
                  <a:pt x="1754" y="286"/>
                </a:lnTo>
                <a:close/>
                <a:moveTo>
                  <a:pt x="1758" y="292"/>
                </a:moveTo>
                <a:lnTo>
                  <a:pt x="1755" y="292"/>
                </a:lnTo>
                <a:lnTo>
                  <a:pt x="1754" y="292"/>
                </a:lnTo>
                <a:lnTo>
                  <a:pt x="1753" y="294"/>
                </a:lnTo>
                <a:lnTo>
                  <a:pt x="1752" y="295"/>
                </a:lnTo>
                <a:lnTo>
                  <a:pt x="1753" y="294"/>
                </a:lnTo>
                <a:lnTo>
                  <a:pt x="1754" y="292"/>
                </a:lnTo>
                <a:lnTo>
                  <a:pt x="1755" y="292"/>
                </a:lnTo>
                <a:lnTo>
                  <a:pt x="1758" y="292"/>
                </a:lnTo>
                <a:close/>
                <a:moveTo>
                  <a:pt x="1740" y="277"/>
                </a:moveTo>
                <a:lnTo>
                  <a:pt x="1740" y="276"/>
                </a:lnTo>
                <a:lnTo>
                  <a:pt x="1741" y="276"/>
                </a:lnTo>
                <a:lnTo>
                  <a:pt x="1741" y="276"/>
                </a:lnTo>
                <a:lnTo>
                  <a:pt x="1742" y="277"/>
                </a:lnTo>
                <a:lnTo>
                  <a:pt x="1741" y="276"/>
                </a:lnTo>
                <a:lnTo>
                  <a:pt x="1741" y="276"/>
                </a:lnTo>
                <a:lnTo>
                  <a:pt x="1740" y="276"/>
                </a:lnTo>
                <a:lnTo>
                  <a:pt x="1740" y="277"/>
                </a:lnTo>
                <a:close/>
                <a:moveTo>
                  <a:pt x="1738" y="308"/>
                </a:moveTo>
                <a:lnTo>
                  <a:pt x="1738" y="302"/>
                </a:lnTo>
                <a:lnTo>
                  <a:pt x="1733" y="298"/>
                </a:lnTo>
                <a:lnTo>
                  <a:pt x="1735" y="297"/>
                </a:lnTo>
                <a:lnTo>
                  <a:pt x="1737" y="295"/>
                </a:lnTo>
                <a:lnTo>
                  <a:pt x="1738" y="295"/>
                </a:lnTo>
                <a:lnTo>
                  <a:pt x="1739" y="294"/>
                </a:lnTo>
                <a:lnTo>
                  <a:pt x="1738" y="295"/>
                </a:lnTo>
                <a:lnTo>
                  <a:pt x="1737" y="295"/>
                </a:lnTo>
                <a:lnTo>
                  <a:pt x="1735" y="297"/>
                </a:lnTo>
                <a:lnTo>
                  <a:pt x="1733" y="298"/>
                </a:lnTo>
                <a:lnTo>
                  <a:pt x="1738" y="302"/>
                </a:lnTo>
                <a:lnTo>
                  <a:pt x="1738" y="308"/>
                </a:lnTo>
                <a:close/>
                <a:moveTo>
                  <a:pt x="1726" y="300"/>
                </a:moveTo>
                <a:lnTo>
                  <a:pt x="1725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4" y="299"/>
                </a:lnTo>
                <a:lnTo>
                  <a:pt x="1725" y="299"/>
                </a:lnTo>
                <a:lnTo>
                  <a:pt x="1726" y="300"/>
                </a:lnTo>
                <a:close/>
                <a:moveTo>
                  <a:pt x="1720" y="401"/>
                </a:moveTo>
                <a:lnTo>
                  <a:pt x="1733" y="391"/>
                </a:lnTo>
                <a:lnTo>
                  <a:pt x="1746" y="383"/>
                </a:lnTo>
                <a:lnTo>
                  <a:pt x="1748" y="384"/>
                </a:lnTo>
                <a:lnTo>
                  <a:pt x="1748" y="385"/>
                </a:lnTo>
                <a:lnTo>
                  <a:pt x="1738" y="392"/>
                </a:lnTo>
                <a:lnTo>
                  <a:pt x="1728" y="399"/>
                </a:lnTo>
                <a:lnTo>
                  <a:pt x="1724" y="402"/>
                </a:lnTo>
                <a:lnTo>
                  <a:pt x="1719" y="403"/>
                </a:lnTo>
                <a:lnTo>
                  <a:pt x="1720" y="402"/>
                </a:lnTo>
                <a:lnTo>
                  <a:pt x="1720" y="401"/>
                </a:lnTo>
                <a:close/>
                <a:moveTo>
                  <a:pt x="1712" y="315"/>
                </a:moveTo>
                <a:lnTo>
                  <a:pt x="1711" y="316"/>
                </a:lnTo>
                <a:lnTo>
                  <a:pt x="1711" y="316"/>
                </a:lnTo>
                <a:lnTo>
                  <a:pt x="1712" y="315"/>
                </a:lnTo>
                <a:lnTo>
                  <a:pt x="1713" y="313"/>
                </a:lnTo>
                <a:lnTo>
                  <a:pt x="1714" y="311"/>
                </a:lnTo>
                <a:lnTo>
                  <a:pt x="1713" y="313"/>
                </a:lnTo>
                <a:lnTo>
                  <a:pt x="1712" y="315"/>
                </a:lnTo>
                <a:close/>
                <a:moveTo>
                  <a:pt x="1695" y="301"/>
                </a:moveTo>
                <a:lnTo>
                  <a:pt x="1698" y="302"/>
                </a:lnTo>
                <a:lnTo>
                  <a:pt x="1702" y="304"/>
                </a:lnTo>
                <a:lnTo>
                  <a:pt x="1698" y="302"/>
                </a:lnTo>
                <a:lnTo>
                  <a:pt x="1695" y="301"/>
                </a:lnTo>
                <a:close/>
                <a:moveTo>
                  <a:pt x="1684" y="349"/>
                </a:moveTo>
                <a:lnTo>
                  <a:pt x="1687" y="347"/>
                </a:lnTo>
                <a:lnTo>
                  <a:pt x="1690" y="345"/>
                </a:lnTo>
                <a:lnTo>
                  <a:pt x="1687" y="347"/>
                </a:lnTo>
                <a:lnTo>
                  <a:pt x="1684" y="349"/>
                </a:lnTo>
                <a:close/>
                <a:moveTo>
                  <a:pt x="1689" y="390"/>
                </a:moveTo>
                <a:lnTo>
                  <a:pt x="1690" y="391"/>
                </a:lnTo>
                <a:lnTo>
                  <a:pt x="1690" y="392"/>
                </a:lnTo>
                <a:lnTo>
                  <a:pt x="1690" y="394"/>
                </a:lnTo>
                <a:lnTo>
                  <a:pt x="1689" y="395"/>
                </a:lnTo>
                <a:lnTo>
                  <a:pt x="1690" y="394"/>
                </a:lnTo>
                <a:lnTo>
                  <a:pt x="1690" y="392"/>
                </a:lnTo>
                <a:lnTo>
                  <a:pt x="1690" y="391"/>
                </a:lnTo>
                <a:lnTo>
                  <a:pt x="1689" y="390"/>
                </a:lnTo>
                <a:close/>
                <a:moveTo>
                  <a:pt x="1682" y="401"/>
                </a:moveTo>
                <a:lnTo>
                  <a:pt x="1683" y="401"/>
                </a:lnTo>
                <a:lnTo>
                  <a:pt x="1684" y="401"/>
                </a:lnTo>
                <a:lnTo>
                  <a:pt x="1685" y="402"/>
                </a:lnTo>
                <a:lnTo>
                  <a:pt x="1685" y="403"/>
                </a:lnTo>
                <a:lnTo>
                  <a:pt x="1685" y="402"/>
                </a:lnTo>
                <a:lnTo>
                  <a:pt x="1684" y="401"/>
                </a:lnTo>
                <a:lnTo>
                  <a:pt x="1683" y="401"/>
                </a:lnTo>
                <a:lnTo>
                  <a:pt x="1682" y="401"/>
                </a:lnTo>
                <a:lnTo>
                  <a:pt x="1682" y="403"/>
                </a:lnTo>
                <a:lnTo>
                  <a:pt x="1679" y="405"/>
                </a:lnTo>
                <a:lnTo>
                  <a:pt x="1682" y="403"/>
                </a:lnTo>
                <a:lnTo>
                  <a:pt x="1682" y="401"/>
                </a:lnTo>
                <a:close/>
                <a:moveTo>
                  <a:pt x="1662" y="323"/>
                </a:moveTo>
                <a:lnTo>
                  <a:pt x="1663" y="319"/>
                </a:lnTo>
                <a:lnTo>
                  <a:pt x="1665" y="316"/>
                </a:lnTo>
                <a:lnTo>
                  <a:pt x="1665" y="316"/>
                </a:lnTo>
                <a:lnTo>
                  <a:pt x="1663" y="319"/>
                </a:lnTo>
                <a:lnTo>
                  <a:pt x="1662" y="323"/>
                </a:lnTo>
                <a:close/>
                <a:moveTo>
                  <a:pt x="1649" y="314"/>
                </a:moveTo>
                <a:lnTo>
                  <a:pt x="1648" y="318"/>
                </a:lnTo>
                <a:lnTo>
                  <a:pt x="1648" y="320"/>
                </a:lnTo>
                <a:lnTo>
                  <a:pt x="1648" y="318"/>
                </a:lnTo>
                <a:lnTo>
                  <a:pt x="1649" y="314"/>
                </a:lnTo>
                <a:lnTo>
                  <a:pt x="1650" y="313"/>
                </a:lnTo>
                <a:lnTo>
                  <a:pt x="1651" y="312"/>
                </a:lnTo>
                <a:lnTo>
                  <a:pt x="1650" y="313"/>
                </a:lnTo>
                <a:lnTo>
                  <a:pt x="1649" y="314"/>
                </a:lnTo>
                <a:close/>
                <a:moveTo>
                  <a:pt x="1745" y="409"/>
                </a:moveTo>
                <a:lnTo>
                  <a:pt x="1746" y="408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6"/>
                </a:lnTo>
                <a:lnTo>
                  <a:pt x="1747" y="409"/>
                </a:lnTo>
                <a:lnTo>
                  <a:pt x="1745" y="409"/>
                </a:lnTo>
                <a:close/>
                <a:moveTo>
                  <a:pt x="1732" y="415"/>
                </a:moveTo>
                <a:lnTo>
                  <a:pt x="1732" y="416"/>
                </a:lnTo>
                <a:lnTo>
                  <a:pt x="1730" y="416"/>
                </a:lnTo>
                <a:lnTo>
                  <a:pt x="1730" y="416"/>
                </a:lnTo>
                <a:lnTo>
                  <a:pt x="1730" y="415"/>
                </a:lnTo>
                <a:lnTo>
                  <a:pt x="1731" y="415"/>
                </a:lnTo>
                <a:lnTo>
                  <a:pt x="1732" y="415"/>
                </a:lnTo>
                <a:lnTo>
                  <a:pt x="1738" y="410"/>
                </a:lnTo>
                <a:lnTo>
                  <a:pt x="1745" y="409"/>
                </a:lnTo>
                <a:lnTo>
                  <a:pt x="1740" y="416"/>
                </a:lnTo>
                <a:lnTo>
                  <a:pt x="1732" y="415"/>
                </a:lnTo>
                <a:close/>
                <a:moveTo>
                  <a:pt x="1610" y="360"/>
                </a:moveTo>
                <a:lnTo>
                  <a:pt x="1608" y="359"/>
                </a:lnTo>
                <a:lnTo>
                  <a:pt x="1607" y="357"/>
                </a:lnTo>
                <a:lnTo>
                  <a:pt x="1608" y="359"/>
                </a:lnTo>
                <a:lnTo>
                  <a:pt x="1610" y="360"/>
                </a:lnTo>
                <a:close/>
                <a:moveTo>
                  <a:pt x="1553" y="292"/>
                </a:moveTo>
                <a:lnTo>
                  <a:pt x="1552" y="292"/>
                </a:lnTo>
                <a:lnTo>
                  <a:pt x="1552" y="291"/>
                </a:lnTo>
                <a:lnTo>
                  <a:pt x="1552" y="292"/>
                </a:lnTo>
                <a:lnTo>
                  <a:pt x="1553" y="292"/>
                </a:lnTo>
                <a:lnTo>
                  <a:pt x="1553" y="292"/>
                </a:lnTo>
                <a:lnTo>
                  <a:pt x="1554" y="291"/>
                </a:lnTo>
                <a:lnTo>
                  <a:pt x="1553" y="292"/>
                </a:lnTo>
                <a:lnTo>
                  <a:pt x="1553" y="292"/>
                </a:lnTo>
                <a:close/>
                <a:moveTo>
                  <a:pt x="1545" y="280"/>
                </a:moveTo>
                <a:lnTo>
                  <a:pt x="1546" y="278"/>
                </a:lnTo>
                <a:lnTo>
                  <a:pt x="1545" y="276"/>
                </a:lnTo>
                <a:lnTo>
                  <a:pt x="1537" y="272"/>
                </a:lnTo>
                <a:lnTo>
                  <a:pt x="1530" y="266"/>
                </a:lnTo>
                <a:lnTo>
                  <a:pt x="1537" y="272"/>
                </a:lnTo>
                <a:lnTo>
                  <a:pt x="1545" y="276"/>
                </a:lnTo>
                <a:lnTo>
                  <a:pt x="1546" y="278"/>
                </a:lnTo>
                <a:lnTo>
                  <a:pt x="1545" y="280"/>
                </a:lnTo>
                <a:close/>
                <a:moveTo>
                  <a:pt x="1544" y="308"/>
                </a:moveTo>
                <a:lnTo>
                  <a:pt x="1545" y="309"/>
                </a:lnTo>
                <a:lnTo>
                  <a:pt x="1545" y="308"/>
                </a:lnTo>
                <a:lnTo>
                  <a:pt x="1545" y="309"/>
                </a:lnTo>
                <a:lnTo>
                  <a:pt x="1544" y="308"/>
                </a:lnTo>
                <a:close/>
                <a:moveTo>
                  <a:pt x="1540" y="309"/>
                </a:moveTo>
                <a:lnTo>
                  <a:pt x="1538" y="308"/>
                </a:lnTo>
                <a:lnTo>
                  <a:pt x="1535" y="307"/>
                </a:lnTo>
                <a:lnTo>
                  <a:pt x="1538" y="308"/>
                </a:lnTo>
                <a:lnTo>
                  <a:pt x="1540" y="309"/>
                </a:lnTo>
                <a:close/>
                <a:moveTo>
                  <a:pt x="1537" y="297"/>
                </a:moveTo>
                <a:lnTo>
                  <a:pt x="1538" y="292"/>
                </a:lnTo>
                <a:lnTo>
                  <a:pt x="1540" y="288"/>
                </a:lnTo>
                <a:lnTo>
                  <a:pt x="1538" y="292"/>
                </a:lnTo>
                <a:lnTo>
                  <a:pt x="1537" y="297"/>
                </a:lnTo>
                <a:close/>
                <a:moveTo>
                  <a:pt x="1533" y="300"/>
                </a:moveTo>
                <a:lnTo>
                  <a:pt x="1534" y="298"/>
                </a:lnTo>
                <a:lnTo>
                  <a:pt x="1535" y="297"/>
                </a:lnTo>
                <a:lnTo>
                  <a:pt x="1534" y="298"/>
                </a:lnTo>
                <a:lnTo>
                  <a:pt x="1533" y="300"/>
                </a:lnTo>
                <a:close/>
                <a:moveTo>
                  <a:pt x="1530" y="286"/>
                </a:moveTo>
                <a:lnTo>
                  <a:pt x="1531" y="287"/>
                </a:lnTo>
                <a:lnTo>
                  <a:pt x="1531" y="287"/>
                </a:lnTo>
                <a:lnTo>
                  <a:pt x="1533" y="288"/>
                </a:lnTo>
                <a:lnTo>
                  <a:pt x="1534" y="290"/>
                </a:lnTo>
                <a:lnTo>
                  <a:pt x="1533" y="288"/>
                </a:lnTo>
                <a:lnTo>
                  <a:pt x="1531" y="287"/>
                </a:lnTo>
                <a:lnTo>
                  <a:pt x="1531" y="287"/>
                </a:lnTo>
                <a:lnTo>
                  <a:pt x="1530" y="286"/>
                </a:lnTo>
                <a:close/>
                <a:moveTo>
                  <a:pt x="1521" y="417"/>
                </a:moveTo>
                <a:lnTo>
                  <a:pt x="1521" y="427"/>
                </a:lnTo>
                <a:lnTo>
                  <a:pt x="1525" y="438"/>
                </a:lnTo>
                <a:lnTo>
                  <a:pt x="1521" y="427"/>
                </a:lnTo>
                <a:lnTo>
                  <a:pt x="1521" y="417"/>
                </a:lnTo>
                <a:close/>
                <a:moveTo>
                  <a:pt x="1520" y="339"/>
                </a:moveTo>
                <a:lnTo>
                  <a:pt x="1519" y="337"/>
                </a:lnTo>
                <a:lnTo>
                  <a:pt x="1519" y="335"/>
                </a:lnTo>
                <a:lnTo>
                  <a:pt x="1519" y="337"/>
                </a:lnTo>
                <a:lnTo>
                  <a:pt x="1520" y="339"/>
                </a:lnTo>
                <a:lnTo>
                  <a:pt x="1520" y="339"/>
                </a:lnTo>
                <a:lnTo>
                  <a:pt x="1520" y="340"/>
                </a:lnTo>
                <a:lnTo>
                  <a:pt x="1520" y="339"/>
                </a:lnTo>
                <a:lnTo>
                  <a:pt x="1520" y="339"/>
                </a:lnTo>
                <a:close/>
                <a:moveTo>
                  <a:pt x="1525" y="279"/>
                </a:moveTo>
                <a:lnTo>
                  <a:pt x="1523" y="280"/>
                </a:lnTo>
                <a:lnTo>
                  <a:pt x="1520" y="281"/>
                </a:lnTo>
                <a:lnTo>
                  <a:pt x="1523" y="280"/>
                </a:lnTo>
                <a:lnTo>
                  <a:pt x="1525" y="279"/>
                </a:lnTo>
                <a:close/>
                <a:moveTo>
                  <a:pt x="1517" y="347"/>
                </a:moveTo>
                <a:lnTo>
                  <a:pt x="1513" y="346"/>
                </a:lnTo>
                <a:lnTo>
                  <a:pt x="1513" y="343"/>
                </a:lnTo>
                <a:lnTo>
                  <a:pt x="1513" y="346"/>
                </a:lnTo>
                <a:lnTo>
                  <a:pt x="1517" y="347"/>
                </a:lnTo>
                <a:close/>
                <a:moveTo>
                  <a:pt x="1509" y="225"/>
                </a:moveTo>
                <a:lnTo>
                  <a:pt x="1506" y="228"/>
                </a:lnTo>
                <a:lnTo>
                  <a:pt x="1504" y="230"/>
                </a:lnTo>
                <a:lnTo>
                  <a:pt x="1506" y="228"/>
                </a:lnTo>
                <a:lnTo>
                  <a:pt x="1509" y="225"/>
                </a:lnTo>
                <a:lnTo>
                  <a:pt x="1511" y="223"/>
                </a:lnTo>
                <a:lnTo>
                  <a:pt x="1512" y="221"/>
                </a:lnTo>
                <a:lnTo>
                  <a:pt x="1511" y="223"/>
                </a:lnTo>
                <a:lnTo>
                  <a:pt x="1509" y="225"/>
                </a:lnTo>
                <a:close/>
                <a:moveTo>
                  <a:pt x="1504" y="262"/>
                </a:moveTo>
                <a:lnTo>
                  <a:pt x="1503" y="260"/>
                </a:lnTo>
                <a:lnTo>
                  <a:pt x="1502" y="260"/>
                </a:lnTo>
                <a:lnTo>
                  <a:pt x="1503" y="260"/>
                </a:lnTo>
                <a:lnTo>
                  <a:pt x="1504" y="262"/>
                </a:lnTo>
                <a:close/>
                <a:moveTo>
                  <a:pt x="1511" y="203"/>
                </a:moveTo>
                <a:lnTo>
                  <a:pt x="1511" y="204"/>
                </a:lnTo>
                <a:lnTo>
                  <a:pt x="1512" y="204"/>
                </a:lnTo>
                <a:lnTo>
                  <a:pt x="1511" y="204"/>
                </a:lnTo>
                <a:lnTo>
                  <a:pt x="1511" y="204"/>
                </a:lnTo>
                <a:lnTo>
                  <a:pt x="1510" y="207"/>
                </a:lnTo>
                <a:lnTo>
                  <a:pt x="1511" y="207"/>
                </a:lnTo>
                <a:lnTo>
                  <a:pt x="1510" y="207"/>
                </a:lnTo>
                <a:lnTo>
                  <a:pt x="1511" y="204"/>
                </a:lnTo>
                <a:lnTo>
                  <a:pt x="1510" y="204"/>
                </a:lnTo>
                <a:lnTo>
                  <a:pt x="1511" y="203"/>
                </a:lnTo>
                <a:close/>
                <a:moveTo>
                  <a:pt x="1535" y="203"/>
                </a:moveTo>
                <a:lnTo>
                  <a:pt x="1539" y="202"/>
                </a:lnTo>
                <a:lnTo>
                  <a:pt x="1542" y="200"/>
                </a:lnTo>
                <a:lnTo>
                  <a:pt x="1539" y="202"/>
                </a:lnTo>
                <a:lnTo>
                  <a:pt x="1535" y="203"/>
                </a:lnTo>
                <a:close/>
                <a:moveTo>
                  <a:pt x="1555" y="185"/>
                </a:moveTo>
                <a:lnTo>
                  <a:pt x="1554" y="181"/>
                </a:lnTo>
                <a:lnTo>
                  <a:pt x="1553" y="179"/>
                </a:lnTo>
                <a:lnTo>
                  <a:pt x="1554" y="181"/>
                </a:lnTo>
                <a:lnTo>
                  <a:pt x="1555" y="185"/>
                </a:lnTo>
                <a:close/>
                <a:moveTo>
                  <a:pt x="1635" y="139"/>
                </a:moveTo>
                <a:lnTo>
                  <a:pt x="1635" y="134"/>
                </a:lnTo>
                <a:lnTo>
                  <a:pt x="1634" y="132"/>
                </a:lnTo>
                <a:lnTo>
                  <a:pt x="1635" y="134"/>
                </a:lnTo>
                <a:lnTo>
                  <a:pt x="1635" y="139"/>
                </a:lnTo>
                <a:close/>
                <a:moveTo>
                  <a:pt x="1671" y="103"/>
                </a:moveTo>
                <a:lnTo>
                  <a:pt x="1672" y="102"/>
                </a:lnTo>
                <a:lnTo>
                  <a:pt x="1675" y="102"/>
                </a:lnTo>
                <a:lnTo>
                  <a:pt x="1675" y="99"/>
                </a:lnTo>
                <a:lnTo>
                  <a:pt x="1677" y="98"/>
                </a:lnTo>
                <a:lnTo>
                  <a:pt x="1675" y="99"/>
                </a:lnTo>
                <a:lnTo>
                  <a:pt x="1675" y="102"/>
                </a:lnTo>
                <a:lnTo>
                  <a:pt x="1672" y="102"/>
                </a:lnTo>
                <a:lnTo>
                  <a:pt x="1671" y="103"/>
                </a:lnTo>
                <a:lnTo>
                  <a:pt x="1669" y="103"/>
                </a:lnTo>
                <a:lnTo>
                  <a:pt x="1668" y="104"/>
                </a:lnTo>
                <a:lnTo>
                  <a:pt x="1669" y="103"/>
                </a:lnTo>
                <a:lnTo>
                  <a:pt x="1671" y="103"/>
                </a:lnTo>
                <a:close/>
                <a:moveTo>
                  <a:pt x="1682" y="103"/>
                </a:moveTo>
                <a:lnTo>
                  <a:pt x="1683" y="101"/>
                </a:lnTo>
                <a:lnTo>
                  <a:pt x="1684" y="99"/>
                </a:lnTo>
                <a:lnTo>
                  <a:pt x="1683" y="101"/>
                </a:lnTo>
                <a:lnTo>
                  <a:pt x="1682" y="103"/>
                </a:lnTo>
                <a:lnTo>
                  <a:pt x="1682" y="104"/>
                </a:lnTo>
                <a:lnTo>
                  <a:pt x="1680" y="105"/>
                </a:lnTo>
                <a:lnTo>
                  <a:pt x="1682" y="104"/>
                </a:lnTo>
                <a:lnTo>
                  <a:pt x="1682" y="103"/>
                </a:lnTo>
                <a:close/>
                <a:moveTo>
                  <a:pt x="1689" y="123"/>
                </a:moveTo>
                <a:lnTo>
                  <a:pt x="1691" y="125"/>
                </a:lnTo>
                <a:lnTo>
                  <a:pt x="1693" y="126"/>
                </a:lnTo>
                <a:lnTo>
                  <a:pt x="1691" y="125"/>
                </a:lnTo>
                <a:lnTo>
                  <a:pt x="1689" y="123"/>
                </a:lnTo>
                <a:lnTo>
                  <a:pt x="1689" y="122"/>
                </a:lnTo>
                <a:lnTo>
                  <a:pt x="1687" y="120"/>
                </a:lnTo>
                <a:lnTo>
                  <a:pt x="1689" y="122"/>
                </a:lnTo>
                <a:lnTo>
                  <a:pt x="1689" y="123"/>
                </a:lnTo>
                <a:close/>
                <a:moveTo>
                  <a:pt x="1726" y="115"/>
                </a:moveTo>
                <a:lnTo>
                  <a:pt x="1726" y="115"/>
                </a:lnTo>
                <a:lnTo>
                  <a:pt x="1723" y="115"/>
                </a:lnTo>
                <a:lnTo>
                  <a:pt x="1718" y="113"/>
                </a:lnTo>
                <a:lnTo>
                  <a:pt x="1723" y="115"/>
                </a:lnTo>
                <a:lnTo>
                  <a:pt x="1726" y="115"/>
                </a:lnTo>
                <a:close/>
                <a:moveTo>
                  <a:pt x="1492" y="292"/>
                </a:moveTo>
                <a:lnTo>
                  <a:pt x="1496" y="293"/>
                </a:lnTo>
                <a:lnTo>
                  <a:pt x="1497" y="295"/>
                </a:lnTo>
                <a:lnTo>
                  <a:pt x="1496" y="293"/>
                </a:lnTo>
                <a:lnTo>
                  <a:pt x="1492" y="292"/>
                </a:lnTo>
                <a:close/>
                <a:moveTo>
                  <a:pt x="1486" y="274"/>
                </a:moveTo>
                <a:lnTo>
                  <a:pt x="1484" y="271"/>
                </a:lnTo>
                <a:lnTo>
                  <a:pt x="1483" y="267"/>
                </a:lnTo>
                <a:lnTo>
                  <a:pt x="1484" y="271"/>
                </a:lnTo>
                <a:lnTo>
                  <a:pt x="1486" y="274"/>
                </a:lnTo>
                <a:lnTo>
                  <a:pt x="1489" y="276"/>
                </a:lnTo>
                <a:lnTo>
                  <a:pt x="1490" y="278"/>
                </a:lnTo>
                <a:lnTo>
                  <a:pt x="1489" y="276"/>
                </a:lnTo>
                <a:lnTo>
                  <a:pt x="1486" y="274"/>
                </a:lnTo>
                <a:close/>
                <a:moveTo>
                  <a:pt x="1462" y="328"/>
                </a:moveTo>
                <a:lnTo>
                  <a:pt x="1463" y="327"/>
                </a:lnTo>
                <a:lnTo>
                  <a:pt x="1464" y="326"/>
                </a:lnTo>
                <a:lnTo>
                  <a:pt x="1463" y="327"/>
                </a:lnTo>
                <a:lnTo>
                  <a:pt x="1462" y="328"/>
                </a:lnTo>
                <a:lnTo>
                  <a:pt x="1462" y="328"/>
                </a:lnTo>
                <a:lnTo>
                  <a:pt x="1461" y="328"/>
                </a:lnTo>
                <a:lnTo>
                  <a:pt x="1462" y="328"/>
                </a:lnTo>
                <a:lnTo>
                  <a:pt x="1462" y="328"/>
                </a:lnTo>
                <a:close/>
                <a:moveTo>
                  <a:pt x="1450" y="462"/>
                </a:moveTo>
                <a:lnTo>
                  <a:pt x="1450" y="462"/>
                </a:lnTo>
                <a:lnTo>
                  <a:pt x="1450" y="461"/>
                </a:lnTo>
                <a:lnTo>
                  <a:pt x="1450" y="460"/>
                </a:lnTo>
                <a:lnTo>
                  <a:pt x="1451" y="460"/>
                </a:lnTo>
                <a:lnTo>
                  <a:pt x="1451" y="461"/>
                </a:lnTo>
                <a:lnTo>
                  <a:pt x="1452" y="462"/>
                </a:lnTo>
                <a:lnTo>
                  <a:pt x="1451" y="462"/>
                </a:lnTo>
                <a:lnTo>
                  <a:pt x="1450" y="462"/>
                </a:lnTo>
                <a:close/>
                <a:moveTo>
                  <a:pt x="1455" y="332"/>
                </a:move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5" y="332"/>
                </a:lnTo>
                <a:lnTo>
                  <a:pt x="1456" y="329"/>
                </a:lnTo>
                <a:lnTo>
                  <a:pt x="1458" y="329"/>
                </a:lnTo>
                <a:lnTo>
                  <a:pt x="1456" y="329"/>
                </a:lnTo>
                <a:lnTo>
                  <a:pt x="1455" y="332"/>
                </a:lnTo>
                <a:close/>
                <a:moveTo>
                  <a:pt x="1442" y="401"/>
                </a:moveTo>
                <a:lnTo>
                  <a:pt x="1440" y="402"/>
                </a:lnTo>
                <a:lnTo>
                  <a:pt x="1436" y="402"/>
                </a:lnTo>
                <a:lnTo>
                  <a:pt x="1433" y="402"/>
                </a:lnTo>
                <a:lnTo>
                  <a:pt x="1431" y="405"/>
                </a:lnTo>
                <a:lnTo>
                  <a:pt x="1433" y="408"/>
                </a:lnTo>
                <a:lnTo>
                  <a:pt x="1433" y="409"/>
                </a:lnTo>
                <a:lnTo>
                  <a:pt x="1433" y="409"/>
                </a:lnTo>
                <a:lnTo>
                  <a:pt x="1431" y="409"/>
                </a:lnTo>
                <a:lnTo>
                  <a:pt x="1431" y="408"/>
                </a:lnTo>
                <a:lnTo>
                  <a:pt x="1431" y="406"/>
                </a:lnTo>
                <a:lnTo>
                  <a:pt x="1422" y="403"/>
                </a:lnTo>
                <a:lnTo>
                  <a:pt x="1414" y="398"/>
                </a:lnTo>
                <a:lnTo>
                  <a:pt x="1409" y="396"/>
                </a:lnTo>
                <a:lnTo>
                  <a:pt x="1405" y="398"/>
                </a:lnTo>
                <a:lnTo>
                  <a:pt x="1403" y="399"/>
                </a:lnTo>
                <a:lnTo>
                  <a:pt x="1401" y="399"/>
                </a:lnTo>
                <a:lnTo>
                  <a:pt x="1394" y="399"/>
                </a:lnTo>
                <a:lnTo>
                  <a:pt x="1388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7" y="401"/>
                </a:lnTo>
                <a:lnTo>
                  <a:pt x="1383" y="397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1" y="392"/>
                </a:lnTo>
                <a:lnTo>
                  <a:pt x="1383" y="394"/>
                </a:lnTo>
                <a:lnTo>
                  <a:pt x="1385" y="392"/>
                </a:lnTo>
                <a:lnTo>
                  <a:pt x="1385" y="391"/>
                </a:lnTo>
                <a:lnTo>
                  <a:pt x="1383" y="390"/>
                </a:lnTo>
                <a:lnTo>
                  <a:pt x="1381" y="385"/>
                </a:lnTo>
                <a:lnTo>
                  <a:pt x="1375" y="384"/>
                </a:lnTo>
                <a:lnTo>
                  <a:pt x="1371" y="385"/>
                </a:lnTo>
                <a:lnTo>
                  <a:pt x="1367" y="382"/>
                </a:lnTo>
                <a:lnTo>
                  <a:pt x="1364" y="377"/>
                </a:lnTo>
                <a:lnTo>
                  <a:pt x="1360" y="374"/>
                </a:lnTo>
                <a:lnTo>
                  <a:pt x="1358" y="370"/>
                </a:lnTo>
                <a:lnTo>
                  <a:pt x="1359" y="367"/>
                </a:lnTo>
                <a:lnTo>
                  <a:pt x="1364" y="362"/>
                </a:lnTo>
                <a:lnTo>
                  <a:pt x="1371" y="363"/>
                </a:lnTo>
                <a:lnTo>
                  <a:pt x="1375" y="370"/>
                </a:lnTo>
                <a:lnTo>
                  <a:pt x="1381" y="377"/>
                </a:lnTo>
                <a:lnTo>
                  <a:pt x="1388" y="381"/>
                </a:lnTo>
                <a:lnTo>
                  <a:pt x="1396" y="378"/>
                </a:lnTo>
                <a:lnTo>
                  <a:pt x="1400" y="376"/>
                </a:lnTo>
                <a:lnTo>
                  <a:pt x="1400" y="371"/>
                </a:lnTo>
                <a:lnTo>
                  <a:pt x="1396" y="369"/>
                </a:lnTo>
                <a:lnTo>
                  <a:pt x="1393" y="370"/>
                </a:lnTo>
                <a:lnTo>
                  <a:pt x="1389" y="371"/>
                </a:lnTo>
                <a:lnTo>
                  <a:pt x="1386" y="368"/>
                </a:lnTo>
                <a:lnTo>
                  <a:pt x="1392" y="364"/>
                </a:lnTo>
                <a:lnTo>
                  <a:pt x="1399" y="363"/>
                </a:lnTo>
                <a:lnTo>
                  <a:pt x="1406" y="367"/>
                </a:lnTo>
                <a:lnTo>
                  <a:pt x="1413" y="366"/>
                </a:lnTo>
                <a:lnTo>
                  <a:pt x="1417" y="368"/>
                </a:lnTo>
                <a:lnTo>
                  <a:pt x="1421" y="366"/>
                </a:lnTo>
                <a:lnTo>
                  <a:pt x="1421" y="369"/>
                </a:lnTo>
                <a:lnTo>
                  <a:pt x="1423" y="371"/>
                </a:lnTo>
                <a:lnTo>
                  <a:pt x="1426" y="369"/>
                </a:lnTo>
                <a:lnTo>
                  <a:pt x="1429" y="367"/>
                </a:lnTo>
                <a:lnTo>
                  <a:pt x="1429" y="367"/>
                </a:lnTo>
                <a:lnTo>
                  <a:pt x="1430" y="367"/>
                </a:lnTo>
                <a:lnTo>
                  <a:pt x="1428" y="371"/>
                </a:lnTo>
                <a:lnTo>
                  <a:pt x="1429" y="376"/>
                </a:lnTo>
                <a:lnTo>
                  <a:pt x="1434" y="380"/>
                </a:lnTo>
                <a:lnTo>
                  <a:pt x="1438" y="383"/>
                </a:lnTo>
                <a:lnTo>
                  <a:pt x="1441" y="384"/>
                </a:lnTo>
                <a:lnTo>
                  <a:pt x="1442" y="387"/>
                </a:lnTo>
                <a:lnTo>
                  <a:pt x="1443" y="388"/>
                </a:lnTo>
                <a:lnTo>
                  <a:pt x="1447" y="387"/>
                </a:lnTo>
                <a:lnTo>
                  <a:pt x="1445" y="394"/>
                </a:lnTo>
                <a:lnTo>
                  <a:pt x="1442" y="401"/>
                </a:lnTo>
                <a:close/>
                <a:moveTo>
                  <a:pt x="1379" y="474"/>
                </a:moveTo>
                <a:lnTo>
                  <a:pt x="1378" y="474"/>
                </a:lnTo>
                <a:lnTo>
                  <a:pt x="1378" y="473"/>
                </a:lnTo>
                <a:lnTo>
                  <a:pt x="1378" y="472"/>
                </a:lnTo>
                <a:lnTo>
                  <a:pt x="1380" y="472"/>
                </a:lnTo>
                <a:lnTo>
                  <a:pt x="1381" y="472"/>
                </a:lnTo>
                <a:lnTo>
                  <a:pt x="1381" y="474"/>
                </a:lnTo>
                <a:lnTo>
                  <a:pt x="1380" y="474"/>
                </a:lnTo>
                <a:lnTo>
                  <a:pt x="1379" y="474"/>
                </a:lnTo>
                <a:close/>
                <a:moveTo>
                  <a:pt x="1374" y="471"/>
                </a:moveTo>
                <a:lnTo>
                  <a:pt x="1374" y="469"/>
                </a:lnTo>
                <a:lnTo>
                  <a:pt x="1373" y="469"/>
                </a:lnTo>
                <a:lnTo>
                  <a:pt x="1373" y="469"/>
                </a:lnTo>
                <a:lnTo>
                  <a:pt x="1374" y="468"/>
                </a:lnTo>
                <a:lnTo>
                  <a:pt x="1374" y="468"/>
                </a:lnTo>
                <a:lnTo>
                  <a:pt x="1375" y="468"/>
                </a:lnTo>
                <a:lnTo>
                  <a:pt x="1375" y="469"/>
                </a:lnTo>
                <a:lnTo>
                  <a:pt x="1374" y="471"/>
                </a:lnTo>
                <a:close/>
                <a:moveTo>
                  <a:pt x="1352" y="258"/>
                </a:moveTo>
                <a:lnTo>
                  <a:pt x="1355" y="258"/>
                </a:lnTo>
                <a:lnTo>
                  <a:pt x="1357" y="255"/>
                </a:lnTo>
                <a:lnTo>
                  <a:pt x="1355" y="258"/>
                </a:lnTo>
                <a:lnTo>
                  <a:pt x="1352" y="258"/>
                </a:lnTo>
                <a:close/>
                <a:moveTo>
                  <a:pt x="1352" y="264"/>
                </a:moveTo>
                <a:lnTo>
                  <a:pt x="1352" y="262"/>
                </a:lnTo>
                <a:lnTo>
                  <a:pt x="1351" y="258"/>
                </a:lnTo>
                <a:lnTo>
                  <a:pt x="1351" y="258"/>
                </a:lnTo>
                <a:lnTo>
                  <a:pt x="1352" y="262"/>
                </a:lnTo>
                <a:lnTo>
                  <a:pt x="1352" y="264"/>
                </a:lnTo>
                <a:close/>
                <a:moveTo>
                  <a:pt x="1347" y="376"/>
                </a:moveTo>
                <a:lnTo>
                  <a:pt x="1346" y="376"/>
                </a:lnTo>
                <a:lnTo>
                  <a:pt x="1346" y="376"/>
                </a:lnTo>
                <a:lnTo>
                  <a:pt x="1346" y="376"/>
                </a:lnTo>
                <a:lnTo>
                  <a:pt x="1347" y="376"/>
                </a:lnTo>
                <a:lnTo>
                  <a:pt x="1348" y="376"/>
                </a:lnTo>
                <a:lnTo>
                  <a:pt x="1351" y="376"/>
                </a:lnTo>
                <a:lnTo>
                  <a:pt x="1348" y="376"/>
                </a:lnTo>
                <a:lnTo>
                  <a:pt x="1347" y="376"/>
                </a:lnTo>
                <a:close/>
                <a:moveTo>
                  <a:pt x="1372" y="290"/>
                </a:moveTo>
                <a:lnTo>
                  <a:pt x="1367" y="293"/>
                </a:lnTo>
                <a:lnTo>
                  <a:pt x="1364" y="297"/>
                </a:lnTo>
                <a:lnTo>
                  <a:pt x="1367" y="293"/>
                </a:lnTo>
                <a:lnTo>
                  <a:pt x="1372" y="290"/>
                </a:lnTo>
                <a:close/>
                <a:moveTo>
                  <a:pt x="1371" y="271"/>
                </a:moveTo>
                <a:lnTo>
                  <a:pt x="1368" y="271"/>
                </a:lnTo>
                <a:lnTo>
                  <a:pt x="1366" y="271"/>
                </a:lnTo>
                <a:lnTo>
                  <a:pt x="1368" y="271"/>
                </a:lnTo>
                <a:lnTo>
                  <a:pt x="1371" y="271"/>
                </a:lnTo>
                <a:lnTo>
                  <a:pt x="1368" y="265"/>
                </a:lnTo>
                <a:lnTo>
                  <a:pt x="1366" y="260"/>
                </a:lnTo>
                <a:lnTo>
                  <a:pt x="1368" y="265"/>
                </a:lnTo>
                <a:lnTo>
                  <a:pt x="1371" y="271"/>
                </a:lnTo>
                <a:close/>
                <a:moveTo>
                  <a:pt x="1386" y="368"/>
                </a:moveTo>
                <a:lnTo>
                  <a:pt x="1383" y="367"/>
                </a:lnTo>
                <a:lnTo>
                  <a:pt x="1381" y="363"/>
                </a:lnTo>
                <a:lnTo>
                  <a:pt x="1386" y="364"/>
                </a:lnTo>
                <a:lnTo>
                  <a:pt x="1386" y="368"/>
                </a:lnTo>
                <a:close/>
                <a:moveTo>
                  <a:pt x="1394" y="340"/>
                </a:moveTo>
                <a:lnTo>
                  <a:pt x="1394" y="341"/>
                </a:lnTo>
                <a:lnTo>
                  <a:pt x="1393" y="343"/>
                </a:lnTo>
                <a:lnTo>
                  <a:pt x="1394" y="341"/>
                </a:lnTo>
                <a:lnTo>
                  <a:pt x="1394" y="340"/>
                </a:lnTo>
                <a:lnTo>
                  <a:pt x="1396" y="336"/>
                </a:lnTo>
                <a:lnTo>
                  <a:pt x="1397" y="335"/>
                </a:lnTo>
                <a:lnTo>
                  <a:pt x="1396" y="336"/>
                </a:lnTo>
                <a:lnTo>
                  <a:pt x="1394" y="340"/>
                </a:lnTo>
                <a:close/>
                <a:moveTo>
                  <a:pt x="1399" y="326"/>
                </a:moveTo>
                <a:lnTo>
                  <a:pt x="1393" y="329"/>
                </a:lnTo>
                <a:lnTo>
                  <a:pt x="1388" y="333"/>
                </a:lnTo>
                <a:lnTo>
                  <a:pt x="1393" y="329"/>
                </a:lnTo>
                <a:lnTo>
                  <a:pt x="1399" y="326"/>
                </a:lnTo>
                <a:lnTo>
                  <a:pt x="1400" y="325"/>
                </a:lnTo>
                <a:lnTo>
                  <a:pt x="1401" y="325"/>
                </a:lnTo>
                <a:lnTo>
                  <a:pt x="1400" y="325"/>
                </a:lnTo>
                <a:lnTo>
                  <a:pt x="1399" y="326"/>
                </a:lnTo>
                <a:close/>
                <a:moveTo>
                  <a:pt x="1378" y="297"/>
                </a:moveTo>
                <a:lnTo>
                  <a:pt x="1378" y="294"/>
                </a:lnTo>
                <a:lnTo>
                  <a:pt x="1380" y="293"/>
                </a:lnTo>
                <a:lnTo>
                  <a:pt x="1393" y="290"/>
                </a:lnTo>
                <a:lnTo>
                  <a:pt x="1406" y="286"/>
                </a:lnTo>
                <a:lnTo>
                  <a:pt x="1410" y="286"/>
                </a:lnTo>
                <a:lnTo>
                  <a:pt x="1414" y="286"/>
                </a:lnTo>
                <a:lnTo>
                  <a:pt x="1414" y="290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2"/>
                </a:lnTo>
                <a:lnTo>
                  <a:pt x="1417" y="294"/>
                </a:lnTo>
                <a:lnTo>
                  <a:pt x="1419" y="295"/>
                </a:lnTo>
                <a:lnTo>
                  <a:pt x="1405" y="298"/>
                </a:lnTo>
                <a:lnTo>
                  <a:pt x="1399" y="306"/>
                </a:lnTo>
                <a:lnTo>
                  <a:pt x="1400" y="306"/>
                </a:lnTo>
                <a:lnTo>
                  <a:pt x="1401" y="306"/>
                </a:lnTo>
                <a:lnTo>
                  <a:pt x="1400" y="306"/>
                </a:lnTo>
                <a:lnTo>
                  <a:pt x="1399" y="306"/>
                </a:lnTo>
                <a:lnTo>
                  <a:pt x="1399" y="306"/>
                </a:lnTo>
                <a:lnTo>
                  <a:pt x="1399" y="307"/>
                </a:lnTo>
                <a:lnTo>
                  <a:pt x="1399" y="308"/>
                </a:lnTo>
                <a:lnTo>
                  <a:pt x="1399" y="307"/>
                </a:lnTo>
                <a:lnTo>
                  <a:pt x="1399" y="306"/>
                </a:lnTo>
                <a:lnTo>
                  <a:pt x="1397" y="306"/>
                </a:lnTo>
                <a:lnTo>
                  <a:pt x="1396" y="308"/>
                </a:lnTo>
                <a:lnTo>
                  <a:pt x="1394" y="307"/>
                </a:lnTo>
                <a:lnTo>
                  <a:pt x="1393" y="307"/>
                </a:lnTo>
                <a:lnTo>
                  <a:pt x="1390" y="307"/>
                </a:lnTo>
                <a:lnTo>
                  <a:pt x="1393" y="307"/>
                </a:lnTo>
                <a:lnTo>
                  <a:pt x="1394" y="307"/>
                </a:lnTo>
                <a:lnTo>
                  <a:pt x="1393" y="304"/>
                </a:lnTo>
                <a:lnTo>
                  <a:pt x="1389" y="305"/>
                </a:lnTo>
                <a:lnTo>
                  <a:pt x="1385" y="304"/>
                </a:lnTo>
                <a:lnTo>
                  <a:pt x="1381" y="304"/>
                </a:lnTo>
                <a:lnTo>
                  <a:pt x="1380" y="304"/>
                </a:lnTo>
                <a:lnTo>
                  <a:pt x="1379" y="304"/>
                </a:lnTo>
                <a:lnTo>
                  <a:pt x="1380" y="304"/>
                </a:lnTo>
                <a:lnTo>
                  <a:pt x="1381" y="304"/>
                </a:lnTo>
                <a:lnTo>
                  <a:pt x="1379" y="300"/>
                </a:lnTo>
                <a:lnTo>
                  <a:pt x="1378" y="297"/>
                </a:lnTo>
                <a:close/>
                <a:moveTo>
                  <a:pt x="1412" y="278"/>
                </a:moveTo>
                <a:lnTo>
                  <a:pt x="1416" y="281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4" y="286"/>
                </a:lnTo>
                <a:lnTo>
                  <a:pt x="1412" y="281"/>
                </a:lnTo>
                <a:lnTo>
                  <a:pt x="1407" y="280"/>
                </a:lnTo>
                <a:lnTo>
                  <a:pt x="1402" y="281"/>
                </a:lnTo>
                <a:lnTo>
                  <a:pt x="1397" y="279"/>
                </a:lnTo>
                <a:lnTo>
                  <a:pt x="1405" y="279"/>
                </a:lnTo>
                <a:lnTo>
                  <a:pt x="1412" y="278"/>
                </a:lnTo>
                <a:close/>
                <a:moveTo>
                  <a:pt x="1401" y="153"/>
                </a:moveTo>
                <a:lnTo>
                  <a:pt x="1403" y="154"/>
                </a:lnTo>
                <a:lnTo>
                  <a:pt x="1403" y="157"/>
                </a:lnTo>
                <a:lnTo>
                  <a:pt x="1401" y="157"/>
                </a:lnTo>
                <a:lnTo>
                  <a:pt x="1400" y="155"/>
                </a:lnTo>
                <a:lnTo>
                  <a:pt x="1400" y="154"/>
                </a:lnTo>
                <a:lnTo>
                  <a:pt x="1401" y="153"/>
                </a:lnTo>
                <a:close/>
                <a:moveTo>
                  <a:pt x="1410" y="164"/>
                </a:moveTo>
                <a:lnTo>
                  <a:pt x="1410" y="165"/>
                </a:lnTo>
                <a:lnTo>
                  <a:pt x="1409" y="165"/>
                </a:lnTo>
                <a:lnTo>
                  <a:pt x="1405" y="162"/>
                </a:lnTo>
                <a:lnTo>
                  <a:pt x="1403" y="157"/>
                </a:lnTo>
                <a:lnTo>
                  <a:pt x="1408" y="158"/>
                </a:lnTo>
                <a:lnTo>
                  <a:pt x="1410" y="164"/>
                </a:lnTo>
                <a:close/>
                <a:moveTo>
                  <a:pt x="1435" y="251"/>
                </a:moveTo>
                <a:lnTo>
                  <a:pt x="1433" y="252"/>
                </a:lnTo>
                <a:lnTo>
                  <a:pt x="1431" y="255"/>
                </a:lnTo>
                <a:lnTo>
                  <a:pt x="1431" y="251"/>
                </a:lnTo>
                <a:lnTo>
                  <a:pt x="1429" y="250"/>
                </a:lnTo>
                <a:lnTo>
                  <a:pt x="1428" y="251"/>
                </a:lnTo>
                <a:lnTo>
                  <a:pt x="1427" y="252"/>
                </a:lnTo>
                <a:lnTo>
                  <a:pt x="1429" y="253"/>
                </a:lnTo>
                <a:lnTo>
                  <a:pt x="1431" y="255"/>
                </a:lnTo>
                <a:lnTo>
                  <a:pt x="1431" y="257"/>
                </a:lnTo>
                <a:lnTo>
                  <a:pt x="1433" y="259"/>
                </a:lnTo>
                <a:lnTo>
                  <a:pt x="1430" y="259"/>
                </a:lnTo>
                <a:lnTo>
                  <a:pt x="1429" y="258"/>
                </a:lnTo>
                <a:lnTo>
                  <a:pt x="1422" y="260"/>
                </a:lnTo>
                <a:lnTo>
                  <a:pt x="1415" y="257"/>
                </a:lnTo>
                <a:lnTo>
                  <a:pt x="1414" y="256"/>
                </a:lnTo>
                <a:lnTo>
                  <a:pt x="1413" y="255"/>
                </a:lnTo>
                <a:lnTo>
                  <a:pt x="1414" y="251"/>
                </a:lnTo>
                <a:lnTo>
                  <a:pt x="1416" y="249"/>
                </a:lnTo>
                <a:lnTo>
                  <a:pt x="1419" y="246"/>
                </a:lnTo>
                <a:lnTo>
                  <a:pt x="1420" y="243"/>
                </a:lnTo>
                <a:lnTo>
                  <a:pt x="1420" y="243"/>
                </a:lnTo>
                <a:lnTo>
                  <a:pt x="1421" y="243"/>
                </a:lnTo>
                <a:lnTo>
                  <a:pt x="1423" y="243"/>
                </a:lnTo>
                <a:lnTo>
                  <a:pt x="1423" y="239"/>
                </a:lnTo>
                <a:lnTo>
                  <a:pt x="1424" y="238"/>
                </a:lnTo>
                <a:lnTo>
                  <a:pt x="1423" y="239"/>
                </a:lnTo>
                <a:lnTo>
                  <a:pt x="1423" y="243"/>
                </a:lnTo>
                <a:lnTo>
                  <a:pt x="1423" y="245"/>
                </a:lnTo>
                <a:lnTo>
                  <a:pt x="1424" y="248"/>
                </a:lnTo>
                <a:lnTo>
                  <a:pt x="1429" y="246"/>
                </a:lnTo>
                <a:lnTo>
                  <a:pt x="1433" y="249"/>
                </a:lnTo>
                <a:lnTo>
                  <a:pt x="1434" y="249"/>
                </a:lnTo>
                <a:lnTo>
                  <a:pt x="1435" y="250"/>
                </a:lnTo>
                <a:lnTo>
                  <a:pt x="1435" y="250"/>
                </a:lnTo>
                <a:lnTo>
                  <a:pt x="1435" y="251"/>
                </a:lnTo>
                <a:lnTo>
                  <a:pt x="1436" y="251"/>
                </a:lnTo>
                <a:lnTo>
                  <a:pt x="1437" y="252"/>
                </a:lnTo>
                <a:lnTo>
                  <a:pt x="1437" y="252"/>
                </a:lnTo>
                <a:lnTo>
                  <a:pt x="1437" y="253"/>
                </a:lnTo>
                <a:lnTo>
                  <a:pt x="1437" y="252"/>
                </a:lnTo>
                <a:lnTo>
                  <a:pt x="1437" y="252"/>
                </a:lnTo>
                <a:lnTo>
                  <a:pt x="1436" y="251"/>
                </a:lnTo>
                <a:lnTo>
                  <a:pt x="1435" y="251"/>
                </a:lnTo>
                <a:close/>
                <a:moveTo>
                  <a:pt x="1428" y="305"/>
                </a:moveTo>
                <a:lnTo>
                  <a:pt x="1431" y="301"/>
                </a:lnTo>
                <a:lnTo>
                  <a:pt x="1434" y="299"/>
                </a:lnTo>
                <a:lnTo>
                  <a:pt x="1435" y="298"/>
                </a:lnTo>
                <a:lnTo>
                  <a:pt x="1436" y="297"/>
                </a:lnTo>
                <a:lnTo>
                  <a:pt x="1435" y="298"/>
                </a:lnTo>
                <a:lnTo>
                  <a:pt x="1434" y="299"/>
                </a:lnTo>
                <a:lnTo>
                  <a:pt x="1431" y="301"/>
                </a:lnTo>
                <a:lnTo>
                  <a:pt x="1428" y="305"/>
                </a:lnTo>
                <a:close/>
                <a:moveTo>
                  <a:pt x="1413" y="169"/>
                </a:moveTo>
                <a:lnTo>
                  <a:pt x="1416" y="166"/>
                </a:lnTo>
                <a:lnTo>
                  <a:pt x="1421" y="167"/>
                </a:lnTo>
                <a:lnTo>
                  <a:pt x="1426" y="169"/>
                </a:lnTo>
                <a:lnTo>
                  <a:pt x="1431" y="169"/>
                </a:lnTo>
                <a:lnTo>
                  <a:pt x="1437" y="173"/>
                </a:lnTo>
                <a:lnTo>
                  <a:pt x="1441" y="178"/>
                </a:lnTo>
                <a:lnTo>
                  <a:pt x="1441" y="181"/>
                </a:lnTo>
                <a:lnTo>
                  <a:pt x="1437" y="182"/>
                </a:lnTo>
                <a:lnTo>
                  <a:pt x="1437" y="188"/>
                </a:lnTo>
                <a:lnTo>
                  <a:pt x="1435" y="192"/>
                </a:lnTo>
                <a:lnTo>
                  <a:pt x="1430" y="190"/>
                </a:lnTo>
                <a:lnTo>
                  <a:pt x="1427" y="187"/>
                </a:lnTo>
                <a:lnTo>
                  <a:pt x="1420" y="181"/>
                </a:lnTo>
                <a:lnTo>
                  <a:pt x="1414" y="174"/>
                </a:lnTo>
                <a:lnTo>
                  <a:pt x="1413" y="172"/>
                </a:lnTo>
                <a:lnTo>
                  <a:pt x="1413" y="169"/>
                </a:lnTo>
                <a:close/>
                <a:moveTo>
                  <a:pt x="1445" y="288"/>
                </a:moveTo>
                <a:lnTo>
                  <a:pt x="1443" y="290"/>
                </a:lnTo>
                <a:lnTo>
                  <a:pt x="1440" y="291"/>
                </a:lnTo>
                <a:lnTo>
                  <a:pt x="1443" y="290"/>
                </a:lnTo>
                <a:lnTo>
                  <a:pt x="1445" y="288"/>
                </a:lnTo>
                <a:close/>
                <a:moveTo>
                  <a:pt x="1314" y="509"/>
                </a:moveTo>
                <a:lnTo>
                  <a:pt x="1305" y="503"/>
                </a:lnTo>
                <a:lnTo>
                  <a:pt x="1298" y="494"/>
                </a:lnTo>
                <a:lnTo>
                  <a:pt x="1304" y="497"/>
                </a:lnTo>
                <a:lnTo>
                  <a:pt x="1310" y="502"/>
                </a:lnTo>
                <a:lnTo>
                  <a:pt x="1319" y="504"/>
                </a:lnTo>
                <a:lnTo>
                  <a:pt x="1326" y="508"/>
                </a:lnTo>
                <a:lnTo>
                  <a:pt x="1333" y="509"/>
                </a:lnTo>
                <a:lnTo>
                  <a:pt x="1340" y="511"/>
                </a:lnTo>
                <a:lnTo>
                  <a:pt x="1327" y="511"/>
                </a:lnTo>
                <a:lnTo>
                  <a:pt x="1314" y="509"/>
                </a:lnTo>
                <a:close/>
                <a:moveTo>
                  <a:pt x="1291" y="493"/>
                </a:moveTo>
                <a:lnTo>
                  <a:pt x="1291" y="490"/>
                </a:lnTo>
                <a:lnTo>
                  <a:pt x="1293" y="490"/>
                </a:lnTo>
                <a:lnTo>
                  <a:pt x="1296" y="490"/>
                </a:lnTo>
                <a:lnTo>
                  <a:pt x="1297" y="490"/>
                </a:lnTo>
                <a:lnTo>
                  <a:pt x="1297" y="493"/>
                </a:lnTo>
                <a:lnTo>
                  <a:pt x="1297" y="494"/>
                </a:lnTo>
                <a:lnTo>
                  <a:pt x="1293" y="495"/>
                </a:lnTo>
                <a:lnTo>
                  <a:pt x="1291" y="493"/>
                </a:lnTo>
                <a:close/>
                <a:moveTo>
                  <a:pt x="1288" y="368"/>
                </a:moveTo>
                <a:lnTo>
                  <a:pt x="1286" y="368"/>
                </a:lnTo>
                <a:lnTo>
                  <a:pt x="1285" y="368"/>
                </a:lnTo>
                <a:lnTo>
                  <a:pt x="1286" y="368"/>
                </a:lnTo>
                <a:lnTo>
                  <a:pt x="1288" y="368"/>
                </a:lnTo>
                <a:lnTo>
                  <a:pt x="1289" y="370"/>
                </a:lnTo>
                <a:lnTo>
                  <a:pt x="1291" y="371"/>
                </a:lnTo>
                <a:lnTo>
                  <a:pt x="1289" y="370"/>
                </a:lnTo>
                <a:lnTo>
                  <a:pt x="1288" y="368"/>
                </a:lnTo>
                <a:close/>
                <a:moveTo>
                  <a:pt x="1281" y="423"/>
                </a:moveTo>
                <a:lnTo>
                  <a:pt x="1283" y="423"/>
                </a:lnTo>
                <a:lnTo>
                  <a:pt x="1284" y="424"/>
                </a:lnTo>
                <a:lnTo>
                  <a:pt x="1283" y="423"/>
                </a:lnTo>
                <a:lnTo>
                  <a:pt x="1281" y="423"/>
                </a:lnTo>
                <a:close/>
                <a:moveTo>
                  <a:pt x="1268" y="468"/>
                </a:move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8" y="468"/>
                </a:lnTo>
                <a:lnTo>
                  <a:pt x="1267" y="468"/>
                </a:lnTo>
                <a:lnTo>
                  <a:pt x="1265" y="467"/>
                </a:lnTo>
                <a:lnTo>
                  <a:pt x="1267" y="468"/>
                </a:lnTo>
                <a:lnTo>
                  <a:pt x="1268" y="468"/>
                </a:lnTo>
                <a:lnTo>
                  <a:pt x="1268" y="466"/>
                </a:lnTo>
                <a:lnTo>
                  <a:pt x="1269" y="465"/>
                </a:lnTo>
                <a:lnTo>
                  <a:pt x="1268" y="466"/>
                </a:lnTo>
                <a:lnTo>
                  <a:pt x="1268" y="468"/>
                </a:lnTo>
                <a:close/>
                <a:moveTo>
                  <a:pt x="1260" y="452"/>
                </a:moveTo>
                <a:lnTo>
                  <a:pt x="1258" y="452"/>
                </a:lnTo>
                <a:lnTo>
                  <a:pt x="1257" y="451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3"/>
                </a:lnTo>
                <a:lnTo>
                  <a:pt x="1257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8" y="455"/>
                </a:lnTo>
                <a:lnTo>
                  <a:pt x="1257" y="455"/>
                </a:lnTo>
                <a:lnTo>
                  <a:pt x="1257" y="453"/>
                </a:lnTo>
                <a:lnTo>
                  <a:pt x="1257" y="452"/>
                </a:lnTo>
                <a:lnTo>
                  <a:pt x="1257" y="452"/>
                </a:lnTo>
                <a:lnTo>
                  <a:pt x="1257" y="451"/>
                </a:lnTo>
                <a:lnTo>
                  <a:pt x="1258" y="452"/>
                </a:lnTo>
                <a:lnTo>
                  <a:pt x="1260" y="452"/>
                </a:lnTo>
                <a:lnTo>
                  <a:pt x="1262" y="452"/>
                </a:lnTo>
                <a:lnTo>
                  <a:pt x="1263" y="453"/>
                </a:lnTo>
                <a:lnTo>
                  <a:pt x="1262" y="452"/>
                </a:lnTo>
                <a:lnTo>
                  <a:pt x="1260" y="452"/>
                </a:lnTo>
                <a:close/>
                <a:moveTo>
                  <a:pt x="1203" y="269"/>
                </a:moveTo>
                <a:lnTo>
                  <a:pt x="1202" y="269"/>
                </a:lnTo>
                <a:lnTo>
                  <a:pt x="1201" y="270"/>
                </a:lnTo>
                <a:lnTo>
                  <a:pt x="1202" y="269"/>
                </a:lnTo>
                <a:lnTo>
                  <a:pt x="1203" y="269"/>
                </a:lnTo>
                <a:close/>
                <a:moveTo>
                  <a:pt x="1220" y="249"/>
                </a:moveTo>
                <a:lnTo>
                  <a:pt x="1221" y="248"/>
                </a:lnTo>
                <a:lnTo>
                  <a:pt x="1221" y="246"/>
                </a:lnTo>
                <a:lnTo>
                  <a:pt x="1221" y="248"/>
                </a:lnTo>
                <a:lnTo>
                  <a:pt x="1220" y="249"/>
                </a:lnTo>
                <a:lnTo>
                  <a:pt x="1217" y="248"/>
                </a:lnTo>
                <a:lnTo>
                  <a:pt x="1215" y="249"/>
                </a:lnTo>
                <a:lnTo>
                  <a:pt x="1217" y="248"/>
                </a:lnTo>
                <a:lnTo>
                  <a:pt x="1220" y="249"/>
                </a:lnTo>
                <a:close/>
                <a:moveTo>
                  <a:pt x="1231" y="343"/>
                </a:moveTo>
                <a:lnTo>
                  <a:pt x="1233" y="342"/>
                </a:lnTo>
                <a:lnTo>
                  <a:pt x="1235" y="339"/>
                </a:lnTo>
                <a:lnTo>
                  <a:pt x="1233" y="339"/>
                </a:lnTo>
                <a:lnTo>
                  <a:pt x="1230" y="336"/>
                </a:lnTo>
                <a:lnTo>
                  <a:pt x="1233" y="339"/>
                </a:lnTo>
                <a:lnTo>
                  <a:pt x="1235" y="339"/>
                </a:lnTo>
                <a:lnTo>
                  <a:pt x="1233" y="342"/>
                </a:lnTo>
                <a:lnTo>
                  <a:pt x="1231" y="343"/>
                </a:lnTo>
                <a:close/>
                <a:moveTo>
                  <a:pt x="1238" y="334"/>
                </a:moveTo>
                <a:lnTo>
                  <a:pt x="1237" y="334"/>
                </a:lnTo>
                <a:lnTo>
                  <a:pt x="1237" y="334"/>
                </a:lnTo>
                <a:lnTo>
                  <a:pt x="1237" y="334"/>
                </a:lnTo>
                <a:lnTo>
                  <a:pt x="1238" y="334"/>
                </a:lnTo>
                <a:lnTo>
                  <a:pt x="1238" y="332"/>
                </a:lnTo>
                <a:lnTo>
                  <a:pt x="1238" y="330"/>
                </a:lnTo>
                <a:lnTo>
                  <a:pt x="1238" y="332"/>
                </a:lnTo>
                <a:lnTo>
                  <a:pt x="1238" y="334"/>
                </a:lnTo>
                <a:lnTo>
                  <a:pt x="1240" y="334"/>
                </a:lnTo>
                <a:lnTo>
                  <a:pt x="1240" y="335"/>
                </a:lnTo>
                <a:lnTo>
                  <a:pt x="1240" y="334"/>
                </a:lnTo>
                <a:lnTo>
                  <a:pt x="1238" y="334"/>
                </a:lnTo>
                <a:close/>
                <a:moveTo>
                  <a:pt x="1241" y="339"/>
                </a:moveTo>
                <a:lnTo>
                  <a:pt x="1241" y="340"/>
                </a:lnTo>
                <a:lnTo>
                  <a:pt x="1241" y="341"/>
                </a:lnTo>
                <a:lnTo>
                  <a:pt x="1241" y="342"/>
                </a:lnTo>
                <a:lnTo>
                  <a:pt x="1241" y="343"/>
                </a:lnTo>
                <a:lnTo>
                  <a:pt x="1241" y="342"/>
                </a:lnTo>
                <a:lnTo>
                  <a:pt x="1241" y="341"/>
                </a:lnTo>
                <a:lnTo>
                  <a:pt x="1241" y="340"/>
                </a:lnTo>
                <a:lnTo>
                  <a:pt x="1241" y="339"/>
                </a:lnTo>
                <a:close/>
                <a:moveTo>
                  <a:pt x="1248" y="266"/>
                </a:moveTo>
                <a:lnTo>
                  <a:pt x="1247" y="269"/>
                </a:lnTo>
                <a:lnTo>
                  <a:pt x="1244" y="270"/>
                </a:lnTo>
                <a:lnTo>
                  <a:pt x="1247" y="269"/>
                </a:lnTo>
                <a:lnTo>
                  <a:pt x="1248" y="266"/>
                </a:lnTo>
                <a:close/>
                <a:moveTo>
                  <a:pt x="1251" y="375"/>
                </a:moveTo>
                <a:lnTo>
                  <a:pt x="1251" y="377"/>
                </a:lnTo>
                <a:lnTo>
                  <a:pt x="1251" y="380"/>
                </a:lnTo>
                <a:lnTo>
                  <a:pt x="1250" y="377"/>
                </a:lnTo>
                <a:lnTo>
                  <a:pt x="1251" y="375"/>
                </a:lnTo>
                <a:close/>
                <a:moveTo>
                  <a:pt x="1257" y="367"/>
                </a:moveTo>
                <a:lnTo>
                  <a:pt x="1257" y="367"/>
                </a:lnTo>
                <a:lnTo>
                  <a:pt x="1257" y="373"/>
                </a:lnTo>
                <a:lnTo>
                  <a:pt x="1251" y="375"/>
                </a:lnTo>
                <a:lnTo>
                  <a:pt x="1251" y="373"/>
                </a:lnTo>
                <a:lnTo>
                  <a:pt x="1251" y="371"/>
                </a:lnTo>
                <a:lnTo>
                  <a:pt x="1256" y="368"/>
                </a:lnTo>
                <a:lnTo>
                  <a:pt x="1254" y="362"/>
                </a:lnTo>
                <a:lnTo>
                  <a:pt x="1255" y="362"/>
                </a:lnTo>
                <a:lnTo>
                  <a:pt x="1256" y="362"/>
                </a:lnTo>
                <a:lnTo>
                  <a:pt x="1256" y="362"/>
                </a:lnTo>
                <a:lnTo>
                  <a:pt x="1257" y="364"/>
                </a:lnTo>
                <a:lnTo>
                  <a:pt x="1257" y="367"/>
                </a:lnTo>
                <a:close/>
                <a:moveTo>
                  <a:pt x="1258" y="381"/>
                </a:moveTo>
                <a:lnTo>
                  <a:pt x="1256" y="382"/>
                </a:lnTo>
                <a:lnTo>
                  <a:pt x="1254" y="381"/>
                </a:lnTo>
                <a:lnTo>
                  <a:pt x="1252" y="380"/>
                </a:lnTo>
                <a:lnTo>
                  <a:pt x="1251" y="380"/>
                </a:lnTo>
                <a:lnTo>
                  <a:pt x="1251" y="380"/>
                </a:lnTo>
                <a:lnTo>
                  <a:pt x="1251" y="378"/>
                </a:lnTo>
                <a:lnTo>
                  <a:pt x="1252" y="378"/>
                </a:lnTo>
                <a:lnTo>
                  <a:pt x="1256" y="376"/>
                </a:lnTo>
                <a:lnTo>
                  <a:pt x="1258" y="377"/>
                </a:lnTo>
                <a:lnTo>
                  <a:pt x="1260" y="378"/>
                </a:lnTo>
                <a:lnTo>
                  <a:pt x="1258" y="381"/>
                </a:lnTo>
                <a:close/>
                <a:moveTo>
                  <a:pt x="1257" y="274"/>
                </a:moveTo>
                <a:lnTo>
                  <a:pt x="1263" y="272"/>
                </a:lnTo>
                <a:lnTo>
                  <a:pt x="1269" y="271"/>
                </a:lnTo>
                <a:lnTo>
                  <a:pt x="1263" y="272"/>
                </a:lnTo>
                <a:lnTo>
                  <a:pt x="1257" y="274"/>
                </a:lnTo>
                <a:lnTo>
                  <a:pt x="1257" y="274"/>
                </a:lnTo>
                <a:lnTo>
                  <a:pt x="1257" y="276"/>
                </a:lnTo>
                <a:lnTo>
                  <a:pt x="1257" y="276"/>
                </a:lnTo>
                <a:lnTo>
                  <a:pt x="1258" y="276"/>
                </a:lnTo>
                <a:lnTo>
                  <a:pt x="1257" y="276"/>
                </a:lnTo>
                <a:lnTo>
                  <a:pt x="1257" y="276"/>
                </a:lnTo>
                <a:lnTo>
                  <a:pt x="1257" y="274"/>
                </a:lnTo>
                <a:lnTo>
                  <a:pt x="1257" y="274"/>
                </a:lnTo>
                <a:close/>
                <a:moveTo>
                  <a:pt x="1268" y="173"/>
                </a:moveTo>
                <a:lnTo>
                  <a:pt x="1268" y="173"/>
                </a:lnTo>
                <a:lnTo>
                  <a:pt x="1272" y="173"/>
                </a:lnTo>
                <a:lnTo>
                  <a:pt x="1277" y="173"/>
                </a:lnTo>
                <a:lnTo>
                  <a:pt x="1272" y="173"/>
                </a:lnTo>
                <a:lnTo>
                  <a:pt x="1268" y="173"/>
                </a:lnTo>
                <a:lnTo>
                  <a:pt x="1268" y="173"/>
                </a:lnTo>
                <a:lnTo>
                  <a:pt x="1265" y="173"/>
                </a:lnTo>
                <a:lnTo>
                  <a:pt x="1263" y="172"/>
                </a:lnTo>
                <a:lnTo>
                  <a:pt x="1265" y="173"/>
                </a:lnTo>
                <a:lnTo>
                  <a:pt x="1268" y="173"/>
                </a:lnTo>
                <a:close/>
                <a:moveTo>
                  <a:pt x="1276" y="347"/>
                </a:moveTo>
                <a:lnTo>
                  <a:pt x="1275" y="347"/>
                </a:lnTo>
                <a:lnTo>
                  <a:pt x="1275" y="346"/>
                </a:lnTo>
                <a:lnTo>
                  <a:pt x="1275" y="347"/>
                </a:lnTo>
                <a:lnTo>
                  <a:pt x="1276" y="347"/>
                </a:lnTo>
                <a:lnTo>
                  <a:pt x="1277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8" y="346"/>
                </a:lnTo>
                <a:lnTo>
                  <a:pt x="1277" y="346"/>
                </a:lnTo>
                <a:lnTo>
                  <a:pt x="1276" y="347"/>
                </a:lnTo>
                <a:close/>
                <a:moveTo>
                  <a:pt x="1284" y="266"/>
                </a:moveTo>
                <a:lnTo>
                  <a:pt x="1283" y="269"/>
                </a:lnTo>
                <a:lnTo>
                  <a:pt x="1282" y="271"/>
                </a:lnTo>
                <a:lnTo>
                  <a:pt x="1282" y="271"/>
                </a:lnTo>
                <a:lnTo>
                  <a:pt x="1282" y="271"/>
                </a:lnTo>
                <a:lnTo>
                  <a:pt x="1283" y="269"/>
                </a:lnTo>
                <a:lnTo>
                  <a:pt x="1284" y="266"/>
                </a:lnTo>
                <a:close/>
                <a:moveTo>
                  <a:pt x="1293" y="339"/>
                </a:moveTo>
                <a:lnTo>
                  <a:pt x="1292" y="341"/>
                </a:lnTo>
                <a:lnTo>
                  <a:pt x="1290" y="342"/>
                </a:lnTo>
                <a:lnTo>
                  <a:pt x="1292" y="341"/>
                </a:lnTo>
                <a:lnTo>
                  <a:pt x="1293" y="339"/>
                </a:lnTo>
                <a:close/>
                <a:moveTo>
                  <a:pt x="1299" y="276"/>
                </a:moveTo>
                <a:lnTo>
                  <a:pt x="1298" y="277"/>
                </a:lnTo>
                <a:lnTo>
                  <a:pt x="1297" y="279"/>
                </a:lnTo>
                <a:lnTo>
                  <a:pt x="1298" y="277"/>
                </a:lnTo>
                <a:lnTo>
                  <a:pt x="1299" y="276"/>
                </a:lnTo>
                <a:close/>
                <a:moveTo>
                  <a:pt x="1302" y="492"/>
                </a:moveTo>
                <a:lnTo>
                  <a:pt x="1300" y="490"/>
                </a:lnTo>
                <a:lnTo>
                  <a:pt x="1297" y="490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89"/>
                </a:lnTo>
                <a:lnTo>
                  <a:pt x="1297" y="490"/>
                </a:lnTo>
                <a:lnTo>
                  <a:pt x="1300" y="490"/>
                </a:lnTo>
                <a:lnTo>
                  <a:pt x="1302" y="492"/>
                </a:lnTo>
                <a:close/>
                <a:moveTo>
                  <a:pt x="1302" y="242"/>
                </a:moveTo>
                <a:lnTo>
                  <a:pt x="1302" y="238"/>
                </a:lnTo>
                <a:lnTo>
                  <a:pt x="1300" y="236"/>
                </a:lnTo>
                <a:lnTo>
                  <a:pt x="1302" y="238"/>
                </a:lnTo>
                <a:lnTo>
                  <a:pt x="1302" y="242"/>
                </a:lnTo>
                <a:close/>
                <a:moveTo>
                  <a:pt x="1307" y="451"/>
                </a:moveTo>
                <a:lnTo>
                  <a:pt x="1309" y="451"/>
                </a:lnTo>
                <a:lnTo>
                  <a:pt x="1309" y="451"/>
                </a:lnTo>
                <a:lnTo>
                  <a:pt x="1309" y="451"/>
                </a:lnTo>
                <a:lnTo>
                  <a:pt x="1307" y="451"/>
                </a:lnTo>
                <a:lnTo>
                  <a:pt x="1307" y="453"/>
                </a:lnTo>
                <a:lnTo>
                  <a:pt x="1307" y="455"/>
                </a:lnTo>
                <a:lnTo>
                  <a:pt x="1307" y="453"/>
                </a:lnTo>
                <a:lnTo>
                  <a:pt x="1307" y="451"/>
                </a:lnTo>
                <a:close/>
                <a:moveTo>
                  <a:pt x="1321" y="199"/>
                </a:moveTo>
                <a:lnTo>
                  <a:pt x="1321" y="206"/>
                </a:lnTo>
                <a:lnTo>
                  <a:pt x="1319" y="210"/>
                </a:lnTo>
                <a:lnTo>
                  <a:pt x="1319" y="210"/>
                </a:lnTo>
                <a:lnTo>
                  <a:pt x="1321" y="206"/>
                </a:lnTo>
                <a:lnTo>
                  <a:pt x="1321" y="199"/>
                </a:lnTo>
                <a:close/>
                <a:moveTo>
                  <a:pt x="1323" y="249"/>
                </a:moveTo>
                <a:lnTo>
                  <a:pt x="1323" y="249"/>
                </a:lnTo>
                <a:lnTo>
                  <a:pt x="1323" y="250"/>
                </a:lnTo>
                <a:lnTo>
                  <a:pt x="1323" y="249"/>
                </a:lnTo>
                <a:lnTo>
                  <a:pt x="1323" y="249"/>
                </a:lnTo>
                <a:lnTo>
                  <a:pt x="1323" y="248"/>
                </a:lnTo>
                <a:lnTo>
                  <a:pt x="1321" y="246"/>
                </a:lnTo>
                <a:lnTo>
                  <a:pt x="1323" y="248"/>
                </a:lnTo>
                <a:lnTo>
                  <a:pt x="1323" y="249"/>
                </a:lnTo>
                <a:close/>
                <a:moveTo>
                  <a:pt x="1331" y="288"/>
                </a:moveTo>
                <a:lnTo>
                  <a:pt x="1328" y="291"/>
                </a:lnTo>
                <a:lnTo>
                  <a:pt x="1326" y="293"/>
                </a:lnTo>
                <a:lnTo>
                  <a:pt x="1328" y="291"/>
                </a:lnTo>
                <a:lnTo>
                  <a:pt x="1331" y="288"/>
                </a:lnTo>
                <a:close/>
                <a:moveTo>
                  <a:pt x="1337" y="239"/>
                </a:moveTo>
                <a:lnTo>
                  <a:pt x="1337" y="236"/>
                </a:lnTo>
                <a:lnTo>
                  <a:pt x="1336" y="234"/>
                </a:lnTo>
                <a:lnTo>
                  <a:pt x="1337" y="236"/>
                </a:lnTo>
                <a:lnTo>
                  <a:pt x="1337" y="239"/>
                </a:lnTo>
                <a:close/>
                <a:moveTo>
                  <a:pt x="1196" y="231"/>
                </a:moveTo>
                <a:lnTo>
                  <a:pt x="1199" y="236"/>
                </a:lnTo>
                <a:lnTo>
                  <a:pt x="1193" y="237"/>
                </a:lnTo>
                <a:lnTo>
                  <a:pt x="1191" y="238"/>
                </a:lnTo>
                <a:lnTo>
                  <a:pt x="1188" y="239"/>
                </a:lnTo>
                <a:lnTo>
                  <a:pt x="1187" y="241"/>
                </a:lnTo>
                <a:lnTo>
                  <a:pt x="1186" y="241"/>
                </a:lnTo>
                <a:lnTo>
                  <a:pt x="1180" y="238"/>
                </a:lnTo>
                <a:lnTo>
                  <a:pt x="1174" y="241"/>
                </a:lnTo>
                <a:lnTo>
                  <a:pt x="1172" y="241"/>
                </a:lnTo>
                <a:lnTo>
                  <a:pt x="1169" y="241"/>
                </a:lnTo>
                <a:lnTo>
                  <a:pt x="1158" y="236"/>
                </a:lnTo>
                <a:lnTo>
                  <a:pt x="1145" y="236"/>
                </a:lnTo>
                <a:lnTo>
                  <a:pt x="1145" y="237"/>
                </a:lnTo>
                <a:lnTo>
                  <a:pt x="1144" y="237"/>
                </a:lnTo>
                <a:lnTo>
                  <a:pt x="1144" y="237"/>
                </a:lnTo>
                <a:lnTo>
                  <a:pt x="1139" y="237"/>
                </a:lnTo>
                <a:lnTo>
                  <a:pt x="1134" y="234"/>
                </a:lnTo>
                <a:lnTo>
                  <a:pt x="1134" y="231"/>
                </a:lnTo>
                <a:lnTo>
                  <a:pt x="1137" y="231"/>
                </a:lnTo>
                <a:lnTo>
                  <a:pt x="1137" y="230"/>
                </a:lnTo>
                <a:lnTo>
                  <a:pt x="1138" y="228"/>
                </a:lnTo>
                <a:lnTo>
                  <a:pt x="1137" y="230"/>
                </a:lnTo>
                <a:lnTo>
                  <a:pt x="1137" y="231"/>
                </a:lnTo>
                <a:lnTo>
                  <a:pt x="1144" y="231"/>
                </a:lnTo>
                <a:lnTo>
                  <a:pt x="1150" y="231"/>
                </a:lnTo>
                <a:lnTo>
                  <a:pt x="1153" y="231"/>
                </a:lnTo>
                <a:lnTo>
                  <a:pt x="1153" y="229"/>
                </a:lnTo>
                <a:lnTo>
                  <a:pt x="1153" y="225"/>
                </a:lnTo>
                <a:lnTo>
                  <a:pt x="1158" y="224"/>
                </a:lnTo>
                <a:lnTo>
                  <a:pt x="1159" y="224"/>
                </a:lnTo>
                <a:lnTo>
                  <a:pt x="1160" y="223"/>
                </a:lnTo>
                <a:lnTo>
                  <a:pt x="1160" y="221"/>
                </a:lnTo>
                <a:lnTo>
                  <a:pt x="1159" y="221"/>
                </a:lnTo>
                <a:lnTo>
                  <a:pt x="1151" y="215"/>
                </a:lnTo>
                <a:lnTo>
                  <a:pt x="1143" y="213"/>
                </a:lnTo>
                <a:lnTo>
                  <a:pt x="1144" y="209"/>
                </a:lnTo>
                <a:lnTo>
                  <a:pt x="1144" y="207"/>
                </a:lnTo>
                <a:lnTo>
                  <a:pt x="1140" y="204"/>
                </a:lnTo>
                <a:lnTo>
                  <a:pt x="1136" y="206"/>
                </a:lnTo>
                <a:lnTo>
                  <a:pt x="1139" y="192"/>
                </a:lnTo>
                <a:lnTo>
                  <a:pt x="1152" y="187"/>
                </a:lnTo>
                <a:lnTo>
                  <a:pt x="1152" y="187"/>
                </a:lnTo>
                <a:lnTo>
                  <a:pt x="1152" y="187"/>
                </a:lnTo>
                <a:lnTo>
                  <a:pt x="1153" y="189"/>
                </a:lnTo>
                <a:lnTo>
                  <a:pt x="1154" y="190"/>
                </a:lnTo>
                <a:lnTo>
                  <a:pt x="1157" y="190"/>
                </a:lnTo>
                <a:lnTo>
                  <a:pt x="1158" y="188"/>
                </a:lnTo>
                <a:lnTo>
                  <a:pt x="1160" y="187"/>
                </a:lnTo>
                <a:lnTo>
                  <a:pt x="1164" y="186"/>
                </a:lnTo>
                <a:lnTo>
                  <a:pt x="1161" y="186"/>
                </a:lnTo>
                <a:lnTo>
                  <a:pt x="1160" y="185"/>
                </a:lnTo>
                <a:lnTo>
                  <a:pt x="1159" y="183"/>
                </a:lnTo>
                <a:lnTo>
                  <a:pt x="1158" y="181"/>
                </a:lnTo>
                <a:lnTo>
                  <a:pt x="1162" y="181"/>
                </a:lnTo>
                <a:lnTo>
                  <a:pt x="1167" y="181"/>
                </a:lnTo>
                <a:lnTo>
                  <a:pt x="1169" y="181"/>
                </a:lnTo>
                <a:lnTo>
                  <a:pt x="1172" y="182"/>
                </a:lnTo>
                <a:lnTo>
                  <a:pt x="1169" y="181"/>
                </a:lnTo>
                <a:lnTo>
                  <a:pt x="1167" y="181"/>
                </a:lnTo>
                <a:lnTo>
                  <a:pt x="1167" y="186"/>
                </a:lnTo>
                <a:lnTo>
                  <a:pt x="1171" y="190"/>
                </a:lnTo>
                <a:lnTo>
                  <a:pt x="1172" y="188"/>
                </a:lnTo>
                <a:lnTo>
                  <a:pt x="1173" y="187"/>
                </a:lnTo>
                <a:lnTo>
                  <a:pt x="1179" y="187"/>
                </a:lnTo>
                <a:lnTo>
                  <a:pt x="1176" y="192"/>
                </a:lnTo>
                <a:lnTo>
                  <a:pt x="1176" y="194"/>
                </a:lnTo>
                <a:lnTo>
                  <a:pt x="1179" y="195"/>
                </a:lnTo>
                <a:lnTo>
                  <a:pt x="1179" y="203"/>
                </a:lnTo>
                <a:lnTo>
                  <a:pt x="1180" y="211"/>
                </a:lnTo>
                <a:lnTo>
                  <a:pt x="1187" y="220"/>
                </a:lnTo>
                <a:lnTo>
                  <a:pt x="1196" y="224"/>
                </a:lnTo>
                <a:lnTo>
                  <a:pt x="1200" y="225"/>
                </a:lnTo>
                <a:lnTo>
                  <a:pt x="1198" y="229"/>
                </a:lnTo>
                <a:lnTo>
                  <a:pt x="1198" y="230"/>
                </a:lnTo>
                <a:lnTo>
                  <a:pt x="1196" y="231"/>
                </a:lnTo>
                <a:close/>
                <a:moveTo>
                  <a:pt x="1127" y="164"/>
                </a:moveTo>
                <a:lnTo>
                  <a:pt x="1130" y="168"/>
                </a:lnTo>
                <a:lnTo>
                  <a:pt x="1134" y="171"/>
                </a:lnTo>
                <a:lnTo>
                  <a:pt x="1130" y="168"/>
                </a:lnTo>
                <a:lnTo>
                  <a:pt x="1127" y="164"/>
                </a:lnTo>
                <a:close/>
                <a:moveTo>
                  <a:pt x="1127" y="161"/>
                </a:moveTo>
                <a:lnTo>
                  <a:pt x="1120" y="162"/>
                </a:lnTo>
                <a:lnTo>
                  <a:pt x="1115" y="167"/>
                </a:lnTo>
                <a:lnTo>
                  <a:pt x="1115" y="164"/>
                </a:lnTo>
                <a:lnTo>
                  <a:pt x="1115" y="160"/>
                </a:lnTo>
                <a:lnTo>
                  <a:pt x="1110" y="166"/>
                </a:lnTo>
                <a:lnTo>
                  <a:pt x="1105" y="172"/>
                </a:lnTo>
                <a:lnTo>
                  <a:pt x="1099" y="176"/>
                </a:lnTo>
                <a:lnTo>
                  <a:pt x="1099" y="183"/>
                </a:lnTo>
                <a:lnTo>
                  <a:pt x="1105" y="181"/>
                </a:lnTo>
                <a:lnTo>
                  <a:pt x="1111" y="178"/>
                </a:lnTo>
                <a:lnTo>
                  <a:pt x="1111" y="176"/>
                </a:lnTo>
                <a:lnTo>
                  <a:pt x="1112" y="175"/>
                </a:lnTo>
                <a:lnTo>
                  <a:pt x="1112" y="175"/>
                </a:lnTo>
                <a:lnTo>
                  <a:pt x="1113" y="175"/>
                </a:lnTo>
                <a:lnTo>
                  <a:pt x="1112" y="175"/>
                </a:lnTo>
                <a:lnTo>
                  <a:pt x="1112" y="175"/>
                </a:lnTo>
                <a:lnTo>
                  <a:pt x="1111" y="176"/>
                </a:lnTo>
                <a:lnTo>
                  <a:pt x="1111" y="178"/>
                </a:lnTo>
                <a:lnTo>
                  <a:pt x="1105" y="181"/>
                </a:lnTo>
                <a:lnTo>
                  <a:pt x="1099" y="183"/>
                </a:lnTo>
                <a:lnTo>
                  <a:pt x="1097" y="183"/>
                </a:lnTo>
                <a:lnTo>
                  <a:pt x="1095" y="183"/>
                </a:lnTo>
                <a:lnTo>
                  <a:pt x="1093" y="181"/>
                </a:lnTo>
                <a:lnTo>
                  <a:pt x="1090" y="182"/>
                </a:lnTo>
                <a:lnTo>
                  <a:pt x="1089" y="178"/>
                </a:lnTo>
                <a:lnTo>
                  <a:pt x="1090" y="173"/>
                </a:lnTo>
                <a:lnTo>
                  <a:pt x="1083" y="178"/>
                </a:lnTo>
                <a:lnTo>
                  <a:pt x="1076" y="179"/>
                </a:lnTo>
                <a:lnTo>
                  <a:pt x="1068" y="179"/>
                </a:lnTo>
                <a:lnTo>
                  <a:pt x="1064" y="186"/>
                </a:lnTo>
                <a:lnTo>
                  <a:pt x="1063" y="186"/>
                </a:lnTo>
                <a:lnTo>
                  <a:pt x="1063" y="186"/>
                </a:lnTo>
                <a:lnTo>
                  <a:pt x="1063" y="183"/>
                </a:lnTo>
                <a:lnTo>
                  <a:pt x="1062" y="181"/>
                </a:lnTo>
                <a:lnTo>
                  <a:pt x="1060" y="181"/>
                </a:lnTo>
                <a:lnTo>
                  <a:pt x="1058" y="182"/>
                </a:lnTo>
                <a:lnTo>
                  <a:pt x="1056" y="185"/>
                </a:lnTo>
                <a:lnTo>
                  <a:pt x="1054" y="183"/>
                </a:lnTo>
                <a:lnTo>
                  <a:pt x="1053" y="182"/>
                </a:lnTo>
                <a:lnTo>
                  <a:pt x="1051" y="183"/>
                </a:lnTo>
                <a:lnTo>
                  <a:pt x="1050" y="185"/>
                </a:lnTo>
                <a:lnTo>
                  <a:pt x="1051" y="187"/>
                </a:lnTo>
                <a:lnTo>
                  <a:pt x="1053" y="188"/>
                </a:lnTo>
                <a:lnTo>
                  <a:pt x="1051" y="189"/>
                </a:lnTo>
                <a:lnTo>
                  <a:pt x="1050" y="190"/>
                </a:lnTo>
                <a:lnTo>
                  <a:pt x="1049" y="189"/>
                </a:lnTo>
                <a:lnTo>
                  <a:pt x="1046" y="186"/>
                </a:lnTo>
                <a:lnTo>
                  <a:pt x="1042" y="190"/>
                </a:lnTo>
                <a:lnTo>
                  <a:pt x="1041" y="190"/>
                </a:lnTo>
                <a:lnTo>
                  <a:pt x="1040" y="190"/>
                </a:lnTo>
                <a:lnTo>
                  <a:pt x="1033" y="190"/>
                </a:lnTo>
                <a:lnTo>
                  <a:pt x="1026" y="190"/>
                </a:lnTo>
                <a:lnTo>
                  <a:pt x="1024" y="190"/>
                </a:lnTo>
                <a:lnTo>
                  <a:pt x="1022" y="190"/>
                </a:lnTo>
                <a:lnTo>
                  <a:pt x="1015" y="192"/>
                </a:lnTo>
                <a:lnTo>
                  <a:pt x="1007" y="195"/>
                </a:lnTo>
                <a:lnTo>
                  <a:pt x="998" y="201"/>
                </a:lnTo>
                <a:lnTo>
                  <a:pt x="987" y="200"/>
                </a:lnTo>
                <a:lnTo>
                  <a:pt x="978" y="206"/>
                </a:lnTo>
                <a:lnTo>
                  <a:pt x="969" y="211"/>
                </a:lnTo>
                <a:lnTo>
                  <a:pt x="964" y="217"/>
                </a:lnTo>
                <a:lnTo>
                  <a:pt x="958" y="223"/>
                </a:lnTo>
                <a:lnTo>
                  <a:pt x="955" y="227"/>
                </a:lnTo>
                <a:lnTo>
                  <a:pt x="953" y="230"/>
                </a:lnTo>
                <a:lnTo>
                  <a:pt x="951" y="235"/>
                </a:lnTo>
                <a:lnTo>
                  <a:pt x="948" y="238"/>
                </a:lnTo>
                <a:lnTo>
                  <a:pt x="951" y="235"/>
                </a:lnTo>
                <a:lnTo>
                  <a:pt x="953" y="230"/>
                </a:lnTo>
                <a:lnTo>
                  <a:pt x="952" y="230"/>
                </a:lnTo>
                <a:lnTo>
                  <a:pt x="951" y="229"/>
                </a:lnTo>
                <a:lnTo>
                  <a:pt x="957" y="218"/>
                </a:lnTo>
                <a:lnTo>
                  <a:pt x="965" y="209"/>
                </a:lnTo>
                <a:lnTo>
                  <a:pt x="974" y="201"/>
                </a:lnTo>
                <a:lnTo>
                  <a:pt x="985" y="193"/>
                </a:lnTo>
                <a:lnTo>
                  <a:pt x="986" y="193"/>
                </a:lnTo>
                <a:lnTo>
                  <a:pt x="986" y="190"/>
                </a:lnTo>
                <a:lnTo>
                  <a:pt x="986" y="190"/>
                </a:lnTo>
                <a:lnTo>
                  <a:pt x="986" y="190"/>
                </a:lnTo>
                <a:lnTo>
                  <a:pt x="998" y="188"/>
                </a:lnTo>
                <a:lnTo>
                  <a:pt x="1008" y="183"/>
                </a:lnTo>
                <a:lnTo>
                  <a:pt x="1015" y="181"/>
                </a:lnTo>
                <a:lnTo>
                  <a:pt x="1022" y="180"/>
                </a:lnTo>
                <a:lnTo>
                  <a:pt x="1028" y="180"/>
                </a:lnTo>
                <a:lnTo>
                  <a:pt x="1033" y="178"/>
                </a:lnTo>
                <a:lnTo>
                  <a:pt x="1038" y="178"/>
                </a:lnTo>
                <a:lnTo>
                  <a:pt x="1043" y="174"/>
                </a:lnTo>
                <a:lnTo>
                  <a:pt x="1043" y="174"/>
                </a:lnTo>
                <a:lnTo>
                  <a:pt x="1044" y="174"/>
                </a:lnTo>
                <a:lnTo>
                  <a:pt x="1044" y="174"/>
                </a:lnTo>
                <a:lnTo>
                  <a:pt x="1057" y="173"/>
                </a:lnTo>
                <a:lnTo>
                  <a:pt x="1069" y="167"/>
                </a:lnTo>
                <a:lnTo>
                  <a:pt x="1070" y="166"/>
                </a:lnTo>
                <a:lnTo>
                  <a:pt x="1071" y="166"/>
                </a:lnTo>
                <a:lnTo>
                  <a:pt x="1071" y="166"/>
                </a:lnTo>
                <a:lnTo>
                  <a:pt x="1074" y="166"/>
                </a:lnTo>
                <a:lnTo>
                  <a:pt x="1076" y="166"/>
                </a:lnTo>
                <a:lnTo>
                  <a:pt x="1081" y="164"/>
                </a:lnTo>
                <a:lnTo>
                  <a:pt x="1084" y="161"/>
                </a:lnTo>
                <a:lnTo>
                  <a:pt x="1088" y="160"/>
                </a:lnTo>
                <a:lnTo>
                  <a:pt x="1089" y="155"/>
                </a:lnTo>
                <a:lnTo>
                  <a:pt x="1092" y="152"/>
                </a:lnTo>
                <a:lnTo>
                  <a:pt x="1090" y="147"/>
                </a:lnTo>
                <a:lnTo>
                  <a:pt x="1089" y="145"/>
                </a:lnTo>
                <a:lnTo>
                  <a:pt x="1091" y="143"/>
                </a:lnTo>
                <a:lnTo>
                  <a:pt x="1090" y="141"/>
                </a:lnTo>
                <a:lnTo>
                  <a:pt x="1090" y="140"/>
                </a:lnTo>
                <a:lnTo>
                  <a:pt x="1090" y="141"/>
                </a:lnTo>
                <a:lnTo>
                  <a:pt x="1091" y="143"/>
                </a:lnTo>
                <a:lnTo>
                  <a:pt x="1092" y="143"/>
                </a:lnTo>
                <a:lnTo>
                  <a:pt x="1093" y="144"/>
                </a:lnTo>
                <a:lnTo>
                  <a:pt x="1092" y="145"/>
                </a:lnTo>
                <a:lnTo>
                  <a:pt x="1091" y="147"/>
                </a:lnTo>
                <a:lnTo>
                  <a:pt x="1093" y="148"/>
                </a:lnTo>
                <a:lnTo>
                  <a:pt x="1096" y="146"/>
                </a:lnTo>
                <a:lnTo>
                  <a:pt x="1098" y="145"/>
                </a:lnTo>
                <a:lnTo>
                  <a:pt x="1100" y="145"/>
                </a:lnTo>
                <a:lnTo>
                  <a:pt x="1105" y="144"/>
                </a:lnTo>
                <a:lnTo>
                  <a:pt x="1109" y="145"/>
                </a:lnTo>
                <a:lnTo>
                  <a:pt x="1116" y="147"/>
                </a:lnTo>
                <a:lnTo>
                  <a:pt x="1122" y="143"/>
                </a:lnTo>
                <a:lnTo>
                  <a:pt x="1126" y="139"/>
                </a:lnTo>
                <a:lnTo>
                  <a:pt x="1133" y="136"/>
                </a:lnTo>
                <a:lnTo>
                  <a:pt x="1134" y="136"/>
                </a:lnTo>
                <a:lnTo>
                  <a:pt x="1137" y="136"/>
                </a:lnTo>
                <a:lnTo>
                  <a:pt x="1139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6"/>
                </a:lnTo>
                <a:lnTo>
                  <a:pt x="1141" y="137"/>
                </a:lnTo>
                <a:lnTo>
                  <a:pt x="1141" y="138"/>
                </a:lnTo>
                <a:lnTo>
                  <a:pt x="1144" y="139"/>
                </a:lnTo>
                <a:lnTo>
                  <a:pt x="1146" y="139"/>
                </a:lnTo>
                <a:lnTo>
                  <a:pt x="1144" y="139"/>
                </a:lnTo>
                <a:lnTo>
                  <a:pt x="1141" y="138"/>
                </a:lnTo>
                <a:lnTo>
                  <a:pt x="1139" y="139"/>
                </a:lnTo>
                <a:lnTo>
                  <a:pt x="1138" y="141"/>
                </a:lnTo>
                <a:lnTo>
                  <a:pt x="1133" y="143"/>
                </a:lnTo>
                <a:lnTo>
                  <a:pt x="1136" y="147"/>
                </a:lnTo>
                <a:lnTo>
                  <a:pt x="1133" y="147"/>
                </a:lnTo>
                <a:lnTo>
                  <a:pt x="1131" y="148"/>
                </a:lnTo>
                <a:lnTo>
                  <a:pt x="1126" y="151"/>
                </a:lnTo>
                <a:lnTo>
                  <a:pt x="1122" y="153"/>
                </a:lnTo>
                <a:lnTo>
                  <a:pt x="1120" y="154"/>
                </a:lnTo>
                <a:lnTo>
                  <a:pt x="1120" y="157"/>
                </a:lnTo>
                <a:lnTo>
                  <a:pt x="1122" y="158"/>
                </a:lnTo>
                <a:lnTo>
                  <a:pt x="1124" y="158"/>
                </a:lnTo>
                <a:lnTo>
                  <a:pt x="1129" y="158"/>
                </a:lnTo>
                <a:lnTo>
                  <a:pt x="1132" y="159"/>
                </a:lnTo>
                <a:lnTo>
                  <a:pt x="1132" y="160"/>
                </a:lnTo>
                <a:lnTo>
                  <a:pt x="1132" y="161"/>
                </a:lnTo>
                <a:lnTo>
                  <a:pt x="1131" y="161"/>
                </a:lnTo>
                <a:lnTo>
                  <a:pt x="1130" y="161"/>
                </a:lnTo>
                <a:lnTo>
                  <a:pt x="1129" y="161"/>
                </a:lnTo>
                <a:lnTo>
                  <a:pt x="1127" y="161"/>
                </a:lnTo>
                <a:close/>
                <a:moveTo>
                  <a:pt x="1124" y="415"/>
                </a:move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4" y="415"/>
                </a:lnTo>
                <a:lnTo>
                  <a:pt x="1125" y="415"/>
                </a:lnTo>
                <a:lnTo>
                  <a:pt x="1126" y="415"/>
                </a:lnTo>
                <a:lnTo>
                  <a:pt x="1125" y="415"/>
                </a:lnTo>
                <a:lnTo>
                  <a:pt x="1124" y="415"/>
                </a:lnTo>
                <a:close/>
                <a:moveTo>
                  <a:pt x="1124" y="425"/>
                </a:moveTo>
                <a:lnTo>
                  <a:pt x="1125" y="422"/>
                </a:lnTo>
                <a:lnTo>
                  <a:pt x="1125" y="419"/>
                </a:lnTo>
                <a:lnTo>
                  <a:pt x="1125" y="422"/>
                </a:lnTo>
                <a:lnTo>
                  <a:pt x="1124" y="425"/>
                </a:lnTo>
                <a:close/>
                <a:moveTo>
                  <a:pt x="1117" y="223"/>
                </a:moveTo>
                <a:lnTo>
                  <a:pt x="1116" y="222"/>
                </a:lnTo>
                <a:lnTo>
                  <a:pt x="1117" y="220"/>
                </a:lnTo>
                <a:lnTo>
                  <a:pt x="1116" y="222"/>
                </a:lnTo>
                <a:lnTo>
                  <a:pt x="1117" y="223"/>
                </a:lnTo>
                <a:close/>
                <a:moveTo>
                  <a:pt x="1112" y="217"/>
                </a:moveTo>
                <a:lnTo>
                  <a:pt x="1115" y="217"/>
                </a:lnTo>
                <a:lnTo>
                  <a:pt x="1116" y="220"/>
                </a:lnTo>
                <a:lnTo>
                  <a:pt x="1115" y="217"/>
                </a:lnTo>
                <a:lnTo>
                  <a:pt x="1112" y="217"/>
                </a:lnTo>
                <a:lnTo>
                  <a:pt x="1111" y="216"/>
                </a:lnTo>
                <a:lnTo>
                  <a:pt x="1110" y="215"/>
                </a:lnTo>
                <a:lnTo>
                  <a:pt x="1111" y="216"/>
                </a:lnTo>
                <a:lnTo>
                  <a:pt x="1112" y="217"/>
                </a:lnTo>
                <a:close/>
                <a:moveTo>
                  <a:pt x="1106" y="197"/>
                </a:moveTo>
                <a:lnTo>
                  <a:pt x="1107" y="197"/>
                </a:lnTo>
                <a:lnTo>
                  <a:pt x="1107" y="196"/>
                </a:lnTo>
                <a:lnTo>
                  <a:pt x="1107" y="197"/>
                </a:lnTo>
                <a:lnTo>
                  <a:pt x="1106" y="197"/>
                </a:lnTo>
                <a:close/>
                <a:moveTo>
                  <a:pt x="1111" y="271"/>
                </a:moveTo>
                <a:lnTo>
                  <a:pt x="1107" y="271"/>
                </a:lnTo>
                <a:lnTo>
                  <a:pt x="1105" y="269"/>
                </a:lnTo>
                <a:lnTo>
                  <a:pt x="1102" y="267"/>
                </a:lnTo>
                <a:lnTo>
                  <a:pt x="1100" y="270"/>
                </a:lnTo>
                <a:lnTo>
                  <a:pt x="1102" y="277"/>
                </a:lnTo>
                <a:lnTo>
                  <a:pt x="1106" y="283"/>
                </a:lnTo>
                <a:lnTo>
                  <a:pt x="1109" y="286"/>
                </a:lnTo>
                <a:lnTo>
                  <a:pt x="1112" y="291"/>
                </a:lnTo>
                <a:lnTo>
                  <a:pt x="1106" y="291"/>
                </a:lnTo>
                <a:lnTo>
                  <a:pt x="1102" y="287"/>
                </a:lnTo>
                <a:lnTo>
                  <a:pt x="1099" y="290"/>
                </a:lnTo>
                <a:lnTo>
                  <a:pt x="1100" y="291"/>
                </a:lnTo>
                <a:lnTo>
                  <a:pt x="1102" y="292"/>
                </a:lnTo>
                <a:lnTo>
                  <a:pt x="1102" y="294"/>
                </a:lnTo>
                <a:lnTo>
                  <a:pt x="1099" y="294"/>
                </a:lnTo>
                <a:lnTo>
                  <a:pt x="1098" y="294"/>
                </a:lnTo>
                <a:lnTo>
                  <a:pt x="1091" y="285"/>
                </a:lnTo>
                <a:lnTo>
                  <a:pt x="1084" y="277"/>
                </a:lnTo>
                <a:lnTo>
                  <a:pt x="1084" y="272"/>
                </a:lnTo>
                <a:lnTo>
                  <a:pt x="1085" y="266"/>
                </a:lnTo>
                <a:lnTo>
                  <a:pt x="1086" y="264"/>
                </a:lnTo>
                <a:lnTo>
                  <a:pt x="1086" y="262"/>
                </a:lnTo>
                <a:lnTo>
                  <a:pt x="1086" y="257"/>
                </a:lnTo>
                <a:lnTo>
                  <a:pt x="1091" y="253"/>
                </a:lnTo>
                <a:lnTo>
                  <a:pt x="1092" y="252"/>
                </a:lnTo>
                <a:lnTo>
                  <a:pt x="1092" y="250"/>
                </a:lnTo>
                <a:lnTo>
                  <a:pt x="1091" y="246"/>
                </a:lnTo>
                <a:lnTo>
                  <a:pt x="1095" y="245"/>
                </a:lnTo>
                <a:lnTo>
                  <a:pt x="1098" y="245"/>
                </a:lnTo>
                <a:lnTo>
                  <a:pt x="1098" y="249"/>
                </a:lnTo>
                <a:lnTo>
                  <a:pt x="1103" y="256"/>
                </a:lnTo>
                <a:lnTo>
                  <a:pt x="1109" y="259"/>
                </a:lnTo>
                <a:lnTo>
                  <a:pt x="1117" y="259"/>
                </a:lnTo>
                <a:lnTo>
                  <a:pt x="1118" y="266"/>
                </a:lnTo>
                <a:lnTo>
                  <a:pt x="1117" y="271"/>
                </a:lnTo>
                <a:lnTo>
                  <a:pt x="1111" y="271"/>
                </a:lnTo>
                <a:close/>
                <a:moveTo>
                  <a:pt x="1109" y="391"/>
                </a:moveTo>
                <a:lnTo>
                  <a:pt x="1109" y="391"/>
                </a:lnTo>
                <a:lnTo>
                  <a:pt x="1109" y="390"/>
                </a:lnTo>
                <a:lnTo>
                  <a:pt x="1109" y="391"/>
                </a:lnTo>
                <a:lnTo>
                  <a:pt x="1109" y="391"/>
                </a:lnTo>
                <a:lnTo>
                  <a:pt x="1110" y="392"/>
                </a:lnTo>
                <a:lnTo>
                  <a:pt x="1111" y="392"/>
                </a:lnTo>
                <a:lnTo>
                  <a:pt x="1110" y="392"/>
                </a:lnTo>
                <a:lnTo>
                  <a:pt x="1109" y="391"/>
                </a:lnTo>
                <a:close/>
                <a:moveTo>
                  <a:pt x="1107" y="300"/>
                </a:moveTo>
                <a:lnTo>
                  <a:pt x="1105" y="302"/>
                </a:lnTo>
                <a:lnTo>
                  <a:pt x="1103" y="300"/>
                </a:lnTo>
                <a:lnTo>
                  <a:pt x="1103" y="297"/>
                </a:lnTo>
                <a:lnTo>
                  <a:pt x="1105" y="295"/>
                </a:lnTo>
                <a:lnTo>
                  <a:pt x="1107" y="297"/>
                </a:lnTo>
                <a:lnTo>
                  <a:pt x="1107" y="300"/>
                </a:lnTo>
                <a:close/>
                <a:moveTo>
                  <a:pt x="1095" y="388"/>
                </a:moveTo>
                <a:lnTo>
                  <a:pt x="1097" y="389"/>
                </a:lnTo>
                <a:lnTo>
                  <a:pt x="1098" y="390"/>
                </a:lnTo>
                <a:lnTo>
                  <a:pt x="1097" y="389"/>
                </a:lnTo>
                <a:lnTo>
                  <a:pt x="1095" y="388"/>
                </a:lnTo>
                <a:close/>
                <a:moveTo>
                  <a:pt x="1081" y="436"/>
                </a:moveTo>
                <a:lnTo>
                  <a:pt x="1079" y="436"/>
                </a:lnTo>
                <a:lnTo>
                  <a:pt x="1078" y="434"/>
                </a:lnTo>
                <a:lnTo>
                  <a:pt x="1079" y="436"/>
                </a:lnTo>
                <a:lnTo>
                  <a:pt x="1081" y="436"/>
                </a:lnTo>
                <a:lnTo>
                  <a:pt x="1082" y="436"/>
                </a:lnTo>
                <a:lnTo>
                  <a:pt x="1082" y="434"/>
                </a:lnTo>
                <a:lnTo>
                  <a:pt x="1082" y="436"/>
                </a:lnTo>
                <a:lnTo>
                  <a:pt x="1081" y="436"/>
                </a:lnTo>
                <a:close/>
                <a:moveTo>
                  <a:pt x="1070" y="265"/>
                </a:moveTo>
                <a:lnTo>
                  <a:pt x="1070" y="264"/>
                </a:lnTo>
                <a:lnTo>
                  <a:pt x="1071" y="263"/>
                </a:lnTo>
                <a:lnTo>
                  <a:pt x="1070" y="264"/>
                </a:lnTo>
                <a:lnTo>
                  <a:pt x="1070" y="265"/>
                </a:lnTo>
                <a:lnTo>
                  <a:pt x="1075" y="272"/>
                </a:lnTo>
                <a:lnTo>
                  <a:pt x="1078" y="279"/>
                </a:lnTo>
                <a:lnTo>
                  <a:pt x="1075" y="272"/>
                </a:lnTo>
                <a:lnTo>
                  <a:pt x="1070" y="265"/>
                </a:lnTo>
                <a:close/>
                <a:moveTo>
                  <a:pt x="1081" y="396"/>
                </a:moveTo>
                <a:lnTo>
                  <a:pt x="1081" y="397"/>
                </a:lnTo>
                <a:lnTo>
                  <a:pt x="1081" y="397"/>
                </a:lnTo>
                <a:lnTo>
                  <a:pt x="1079" y="397"/>
                </a:lnTo>
                <a:lnTo>
                  <a:pt x="1078" y="397"/>
                </a:lnTo>
                <a:lnTo>
                  <a:pt x="1079" y="397"/>
                </a:lnTo>
                <a:lnTo>
                  <a:pt x="1081" y="397"/>
                </a:lnTo>
                <a:lnTo>
                  <a:pt x="1081" y="397"/>
                </a:lnTo>
                <a:lnTo>
                  <a:pt x="1081" y="396"/>
                </a:lnTo>
                <a:close/>
                <a:moveTo>
                  <a:pt x="1088" y="189"/>
                </a:moveTo>
                <a:lnTo>
                  <a:pt x="1090" y="189"/>
                </a:lnTo>
                <a:lnTo>
                  <a:pt x="1090" y="187"/>
                </a:lnTo>
                <a:lnTo>
                  <a:pt x="1092" y="187"/>
                </a:lnTo>
                <a:lnTo>
                  <a:pt x="1095" y="188"/>
                </a:lnTo>
                <a:lnTo>
                  <a:pt x="1092" y="187"/>
                </a:lnTo>
                <a:lnTo>
                  <a:pt x="1090" y="187"/>
                </a:lnTo>
                <a:lnTo>
                  <a:pt x="1090" y="189"/>
                </a:lnTo>
                <a:lnTo>
                  <a:pt x="1088" y="189"/>
                </a:lnTo>
                <a:close/>
                <a:moveTo>
                  <a:pt x="1084" y="197"/>
                </a:moveTo>
                <a:lnTo>
                  <a:pt x="1085" y="196"/>
                </a:lnTo>
                <a:lnTo>
                  <a:pt x="1085" y="195"/>
                </a:lnTo>
                <a:lnTo>
                  <a:pt x="1085" y="196"/>
                </a:lnTo>
                <a:lnTo>
                  <a:pt x="1084" y="197"/>
                </a:lnTo>
                <a:close/>
                <a:moveTo>
                  <a:pt x="1071" y="190"/>
                </a:moveTo>
                <a:lnTo>
                  <a:pt x="1077" y="188"/>
                </a:lnTo>
                <a:lnTo>
                  <a:pt x="1082" y="192"/>
                </a:lnTo>
                <a:lnTo>
                  <a:pt x="1077" y="188"/>
                </a:lnTo>
                <a:lnTo>
                  <a:pt x="1071" y="190"/>
                </a:lnTo>
                <a:close/>
                <a:moveTo>
                  <a:pt x="1065" y="218"/>
                </a:moveTo>
                <a:lnTo>
                  <a:pt x="1070" y="220"/>
                </a:lnTo>
                <a:lnTo>
                  <a:pt x="1071" y="215"/>
                </a:lnTo>
                <a:lnTo>
                  <a:pt x="1070" y="211"/>
                </a:lnTo>
                <a:lnTo>
                  <a:pt x="1069" y="208"/>
                </a:lnTo>
                <a:lnTo>
                  <a:pt x="1074" y="209"/>
                </a:lnTo>
                <a:lnTo>
                  <a:pt x="1077" y="208"/>
                </a:lnTo>
                <a:lnTo>
                  <a:pt x="1077" y="208"/>
                </a:lnTo>
                <a:lnTo>
                  <a:pt x="1078" y="208"/>
                </a:lnTo>
                <a:lnTo>
                  <a:pt x="1079" y="208"/>
                </a:lnTo>
                <a:lnTo>
                  <a:pt x="1079" y="210"/>
                </a:lnTo>
                <a:lnTo>
                  <a:pt x="1081" y="213"/>
                </a:lnTo>
                <a:lnTo>
                  <a:pt x="1083" y="216"/>
                </a:lnTo>
                <a:lnTo>
                  <a:pt x="1088" y="216"/>
                </a:lnTo>
                <a:lnTo>
                  <a:pt x="1090" y="221"/>
                </a:lnTo>
                <a:lnTo>
                  <a:pt x="1091" y="224"/>
                </a:lnTo>
                <a:lnTo>
                  <a:pt x="1067" y="221"/>
                </a:lnTo>
                <a:lnTo>
                  <a:pt x="1065" y="220"/>
                </a:lnTo>
                <a:lnTo>
                  <a:pt x="1065" y="218"/>
                </a:lnTo>
                <a:close/>
                <a:moveTo>
                  <a:pt x="1065" y="195"/>
                </a:moveTo>
                <a:lnTo>
                  <a:pt x="1065" y="197"/>
                </a:lnTo>
                <a:lnTo>
                  <a:pt x="1065" y="200"/>
                </a:lnTo>
                <a:lnTo>
                  <a:pt x="1065" y="197"/>
                </a:lnTo>
                <a:lnTo>
                  <a:pt x="1065" y="195"/>
                </a:lnTo>
                <a:lnTo>
                  <a:pt x="1067" y="193"/>
                </a:lnTo>
                <a:lnTo>
                  <a:pt x="1069" y="190"/>
                </a:lnTo>
                <a:lnTo>
                  <a:pt x="1067" y="193"/>
                </a:lnTo>
                <a:lnTo>
                  <a:pt x="1065" y="195"/>
                </a:lnTo>
                <a:close/>
                <a:moveTo>
                  <a:pt x="1056" y="223"/>
                </a:move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56" y="223"/>
                </a:lnTo>
                <a:lnTo>
                  <a:pt x="1061" y="222"/>
                </a:lnTo>
                <a:lnTo>
                  <a:pt x="1063" y="218"/>
                </a:lnTo>
                <a:lnTo>
                  <a:pt x="1061" y="222"/>
                </a:lnTo>
                <a:lnTo>
                  <a:pt x="1056" y="223"/>
                </a:lnTo>
                <a:close/>
                <a:moveTo>
                  <a:pt x="1048" y="339"/>
                </a:moveTo>
                <a:lnTo>
                  <a:pt x="1049" y="339"/>
                </a:lnTo>
                <a:lnTo>
                  <a:pt x="1050" y="337"/>
                </a:lnTo>
                <a:lnTo>
                  <a:pt x="1049" y="339"/>
                </a:lnTo>
                <a:lnTo>
                  <a:pt x="1048" y="339"/>
                </a:lnTo>
                <a:close/>
                <a:moveTo>
                  <a:pt x="1047" y="375"/>
                </a:moveTo>
                <a:lnTo>
                  <a:pt x="1050" y="376"/>
                </a:lnTo>
                <a:lnTo>
                  <a:pt x="1053" y="375"/>
                </a:lnTo>
                <a:lnTo>
                  <a:pt x="1050" y="376"/>
                </a:lnTo>
                <a:lnTo>
                  <a:pt x="1047" y="375"/>
                </a:lnTo>
                <a:close/>
                <a:moveTo>
                  <a:pt x="1006" y="322"/>
                </a:moveTo>
                <a:lnTo>
                  <a:pt x="1006" y="321"/>
                </a:lnTo>
                <a:lnTo>
                  <a:pt x="1005" y="321"/>
                </a:lnTo>
                <a:lnTo>
                  <a:pt x="1006" y="321"/>
                </a:lnTo>
                <a:lnTo>
                  <a:pt x="1006" y="322"/>
                </a:lnTo>
                <a:lnTo>
                  <a:pt x="1007" y="326"/>
                </a:lnTo>
                <a:lnTo>
                  <a:pt x="1008" y="330"/>
                </a:lnTo>
                <a:lnTo>
                  <a:pt x="1007" y="326"/>
                </a:lnTo>
                <a:lnTo>
                  <a:pt x="1006" y="322"/>
                </a:lnTo>
                <a:close/>
                <a:moveTo>
                  <a:pt x="998" y="373"/>
                </a:moveTo>
                <a:lnTo>
                  <a:pt x="996" y="373"/>
                </a:lnTo>
                <a:lnTo>
                  <a:pt x="995" y="373"/>
                </a:lnTo>
                <a:lnTo>
                  <a:pt x="996" y="373"/>
                </a:lnTo>
                <a:lnTo>
                  <a:pt x="998" y="373"/>
                </a:lnTo>
                <a:lnTo>
                  <a:pt x="998" y="369"/>
                </a:lnTo>
                <a:lnTo>
                  <a:pt x="999" y="367"/>
                </a:lnTo>
                <a:lnTo>
                  <a:pt x="998" y="369"/>
                </a:lnTo>
                <a:lnTo>
                  <a:pt x="998" y="373"/>
                </a:lnTo>
                <a:close/>
                <a:moveTo>
                  <a:pt x="993" y="425"/>
                </a:moveTo>
                <a:lnTo>
                  <a:pt x="993" y="422"/>
                </a:lnTo>
                <a:lnTo>
                  <a:pt x="995" y="424"/>
                </a:lnTo>
                <a:lnTo>
                  <a:pt x="993" y="425"/>
                </a:lnTo>
                <a:close/>
                <a:moveTo>
                  <a:pt x="987" y="294"/>
                </a:moveTo>
                <a:lnTo>
                  <a:pt x="987" y="294"/>
                </a:lnTo>
                <a:lnTo>
                  <a:pt x="993" y="292"/>
                </a:lnTo>
                <a:lnTo>
                  <a:pt x="998" y="292"/>
                </a:lnTo>
                <a:lnTo>
                  <a:pt x="993" y="292"/>
                </a:lnTo>
                <a:lnTo>
                  <a:pt x="987" y="294"/>
                </a:lnTo>
                <a:close/>
                <a:moveTo>
                  <a:pt x="987" y="312"/>
                </a:moveTo>
                <a:lnTo>
                  <a:pt x="986" y="314"/>
                </a:lnTo>
                <a:lnTo>
                  <a:pt x="986" y="316"/>
                </a:lnTo>
                <a:lnTo>
                  <a:pt x="986" y="314"/>
                </a:lnTo>
                <a:lnTo>
                  <a:pt x="987" y="312"/>
                </a:lnTo>
                <a:lnTo>
                  <a:pt x="988" y="312"/>
                </a:lnTo>
                <a:lnTo>
                  <a:pt x="988" y="312"/>
                </a:lnTo>
                <a:lnTo>
                  <a:pt x="988" y="312"/>
                </a:lnTo>
                <a:lnTo>
                  <a:pt x="987" y="312"/>
                </a:lnTo>
                <a:close/>
                <a:moveTo>
                  <a:pt x="978" y="359"/>
                </a:moveTo>
                <a:lnTo>
                  <a:pt x="978" y="356"/>
                </a:lnTo>
                <a:lnTo>
                  <a:pt x="979" y="355"/>
                </a:lnTo>
                <a:lnTo>
                  <a:pt x="978" y="356"/>
                </a:lnTo>
                <a:lnTo>
                  <a:pt x="978" y="359"/>
                </a:lnTo>
                <a:close/>
                <a:moveTo>
                  <a:pt x="975" y="380"/>
                </a:moveTo>
                <a:lnTo>
                  <a:pt x="975" y="381"/>
                </a:lnTo>
                <a:lnTo>
                  <a:pt x="974" y="382"/>
                </a:lnTo>
                <a:lnTo>
                  <a:pt x="975" y="381"/>
                </a:lnTo>
                <a:lnTo>
                  <a:pt x="975" y="380"/>
                </a:lnTo>
                <a:lnTo>
                  <a:pt x="974" y="374"/>
                </a:lnTo>
                <a:lnTo>
                  <a:pt x="972" y="368"/>
                </a:lnTo>
                <a:lnTo>
                  <a:pt x="972" y="369"/>
                </a:lnTo>
                <a:lnTo>
                  <a:pt x="971" y="369"/>
                </a:lnTo>
                <a:lnTo>
                  <a:pt x="972" y="369"/>
                </a:lnTo>
                <a:lnTo>
                  <a:pt x="972" y="368"/>
                </a:lnTo>
                <a:lnTo>
                  <a:pt x="974" y="374"/>
                </a:lnTo>
                <a:lnTo>
                  <a:pt x="975" y="380"/>
                </a:lnTo>
                <a:lnTo>
                  <a:pt x="977" y="380"/>
                </a:lnTo>
                <a:lnTo>
                  <a:pt x="978" y="380"/>
                </a:lnTo>
                <a:lnTo>
                  <a:pt x="977" y="380"/>
                </a:lnTo>
                <a:lnTo>
                  <a:pt x="975" y="380"/>
                </a:lnTo>
                <a:close/>
                <a:moveTo>
                  <a:pt x="973" y="383"/>
                </a:moveTo>
                <a:lnTo>
                  <a:pt x="972" y="383"/>
                </a:lnTo>
                <a:lnTo>
                  <a:pt x="972" y="382"/>
                </a:lnTo>
                <a:lnTo>
                  <a:pt x="972" y="383"/>
                </a:lnTo>
                <a:lnTo>
                  <a:pt x="973" y="383"/>
                </a:lnTo>
                <a:lnTo>
                  <a:pt x="973" y="383"/>
                </a:lnTo>
                <a:lnTo>
                  <a:pt x="974" y="383"/>
                </a:lnTo>
                <a:lnTo>
                  <a:pt x="973" y="383"/>
                </a:lnTo>
                <a:lnTo>
                  <a:pt x="973" y="383"/>
                </a:lnTo>
                <a:close/>
                <a:moveTo>
                  <a:pt x="947" y="165"/>
                </a:moveTo>
                <a:lnTo>
                  <a:pt x="948" y="165"/>
                </a:lnTo>
                <a:lnTo>
                  <a:pt x="950" y="165"/>
                </a:lnTo>
                <a:lnTo>
                  <a:pt x="951" y="165"/>
                </a:lnTo>
                <a:lnTo>
                  <a:pt x="952" y="166"/>
                </a:lnTo>
                <a:lnTo>
                  <a:pt x="951" y="165"/>
                </a:lnTo>
                <a:lnTo>
                  <a:pt x="950" y="165"/>
                </a:lnTo>
                <a:lnTo>
                  <a:pt x="948" y="165"/>
                </a:lnTo>
                <a:lnTo>
                  <a:pt x="947" y="165"/>
                </a:lnTo>
                <a:close/>
                <a:moveTo>
                  <a:pt x="934" y="277"/>
                </a:moveTo>
                <a:lnTo>
                  <a:pt x="937" y="272"/>
                </a:lnTo>
                <a:lnTo>
                  <a:pt x="939" y="266"/>
                </a:lnTo>
                <a:lnTo>
                  <a:pt x="941" y="264"/>
                </a:lnTo>
                <a:lnTo>
                  <a:pt x="941" y="260"/>
                </a:lnTo>
                <a:lnTo>
                  <a:pt x="940" y="260"/>
                </a:lnTo>
                <a:lnTo>
                  <a:pt x="939" y="260"/>
                </a:lnTo>
                <a:lnTo>
                  <a:pt x="940" y="260"/>
                </a:lnTo>
                <a:lnTo>
                  <a:pt x="941" y="260"/>
                </a:lnTo>
                <a:lnTo>
                  <a:pt x="941" y="264"/>
                </a:lnTo>
                <a:lnTo>
                  <a:pt x="939" y="266"/>
                </a:lnTo>
                <a:lnTo>
                  <a:pt x="937" y="272"/>
                </a:lnTo>
                <a:lnTo>
                  <a:pt x="934" y="277"/>
                </a:lnTo>
                <a:close/>
                <a:moveTo>
                  <a:pt x="938" y="337"/>
                </a:moveTo>
                <a:lnTo>
                  <a:pt x="938" y="332"/>
                </a:lnTo>
                <a:lnTo>
                  <a:pt x="938" y="326"/>
                </a:lnTo>
                <a:lnTo>
                  <a:pt x="933" y="326"/>
                </a:lnTo>
                <a:lnTo>
                  <a:pt x="929" y="326"/>
                </a:lnTo>
                <a:lnTo>
                  <a:pt x="933" y="326"/>
                </a:lnTo>
                <a:lnTo>
                  <a:pt x="938" y="326"/>
                </a:lnTo>
                <a:lnTo>
                  <a:pt x="938" y="332"/>
                </a:lnTo>
                <a:lnTo>
                  <a:pt x="938" y="337"/>
                </a:lnTo>
                <a:close/>
                <a:moveTo>
                  <a:pt x="930" y="329"/>
                </a:moveTo>
                <a:lnTo>
                  <a:pt x="930" y="329"/>
                </a:lnTo>
                <a:lnTo>
                  <a:pt x="930" y="329"/>
                </a:lnTo>
                <a:lnTo>
                  <a:pt x="929" y="328"/>
                </a:lnTo>
                <a:lnTo>
                  <a:pt x="929" y="327"/>
                </a:lnTo>
                <a:lnTo>
                  <a:pt x="929" y="326"/>
                </a:lnTo>
                <a:lnTo>
                  <a:pt x="929" y="327"/>
                </a:lnTo>
                <a:lnTo>
                  <a:pt x="929" y="328"/>
                </a:lnTo>
                <a:lnTo>
                  <a:pt x="930" y="329"/>
                </a:lnTo>
                <a:lnTo>
                  <a:pt x="930" y="329"/>
                </a:lnTo>
                <a:lnTo>
                  <a:pt x="930" y="329"/>
                </a:lnTo>
                <a:lnTo>
                  <a:pt x="931" y="330"/>
                </a:lnTo>
                <a:lnTo>
                  <a:pt x="931" y="330"/>
                </a:lnTo>
                <a:lnTo>
                  <a:pt x="931" y="330"/>
                </a:lnTo>
                <a:lnTo>
                  <a:pt x="930" y="329"/>
                </a:lnTo>
                <a:close/>
                <a:moveTo>
                  <a:pt x="926" y="350"/>
                </a:moveTo>
                <a:lnTo>
                  <a:pt x="927" y="347"/>
                </a:lnTo>
                <a:lnTo>
                  <a:pt x="929" y="342"/>
                </a:lnTo>
                <a:lnTo>
                  <a:pt x="927" y="342"/>
                </a:lnTo>
                <a:lnTo>
                  <a:pt x="927" y="342"/>
                </a:lnTo>
                <a:lnTo>
                  <a:pt x="927" y="342"/>
                </a:lnTo>
                <a:lnTo>
                  <a:pt x="929" y="342"/>
                </a:lnTo>
                <a:lnTo>
                  <a:pt x="927" y="347"/>
                </a:lnTo>
                <a:lnTo>
                  <a:pt x="926" y="350"/>
                </a:lnTo>
                <a:close/>
                <a:moveTo>
                  <a:pt x="927" y="258"/>
                </a:moveTo>
                <a:lnTo>
                  <a:pt x="924" y="258"/>
                </a:lnTo>
                <a:lnTo>
                  <a:pt x="923" y="259"/>
                </a:lnTo>
                <a:lnTo>
                  <a:pt x="924" y="258"/>
                </a:lnTo>
                <a:lnTo>
                  <a:pt x="927" y="258"/>
                </a:lnTo>
                <a:close/>
                <a:moveTo>
                  <a:pt x="930" y="169"/>
                </a:moveTo>
                <a:lnTo>
                  <a:pt x="930" y="168"/>
                </a:lnTo>
                <a:lnTo>
                  <a:pt x="929" y="167"/>
                </a:lnTo>
                <a:lnTo>
                  <a:pt x="930" y="168"/>
                </a:lnTo>
                <a:lnTo>
                  <a:pt x="930" y="169"/>
                </a:lnTo>
                <a:close/>
                <a:moveTo>
                  <a:pt x="931" y="169"/>
                </a:moveTo>
                <a:lnTo>
                  <a:pt x="937" y="172"/>
                </a:lnTo>
                <a:lnTo>
                  <a:pt x="941" y="174"/>
                </a:lnTo>
                <a:lnTo>
                  <a:pt x="937" y="172"/>
                </a:lnTo>
                <a:lnTo>
                  <a:pt x="931" y="169"/>
                </a:lnTo>
                <a:lnTo>
                  <a:pt x="931" y="169"/>
                </a:lnTo>
                <a:close/>
                <a:moveTo>
                  <a:pt x="937" y="155"/>
                </a:moveTo>
                <a:lnTo>
                  <a:pt x="937" y="154"/>
                </a:lnTo>
                <a:lnTo>
                  <a:pt x="937" y="153"/>
                </a:lnTo>
                <a:lnTo>
                  <a:pt x="937" y="154"/>
                </a:lnTo>
                <a:lnTo>
                  <a:pt x="937" y="155"/>
                </a:lnTo>
                <a:lnTo>
                  <a:pt x="934" y="155"/>
                </a:lnTo>
                <a:lnTo>
                  <a:pt x="933" y="155"/>
                </a:lnTo>
                <a:lnTo>
                  <a:pt x="934" y="155"/>
                </a:lnTo>
                <a:lnTo>
                  <a:pt x="937" y="155"/>
                </a:lnTo>
                <a:close/>
                <a:moveTo>
                  <a:pt x="953" y="148"/>
                </a:moveTo>
                <a:lnTo>
                  <a:pt x="952" y="148"/>
                </a:lnTo>
                <a:lnTo>
                  <a:pt x="951" y="148"/>
                </a:lnTo>
                <a:lnTo>
                  <a:pt x="951" y="150"/>
                </a:lnTo>
                <a:lnTo>
                  <a:pt x="952" y="150"/>
                </a:lnTo>
                <a:lnTo>
                  <a:pt x="951" y="150"/>
                </a:lnTo>
                <a:lnTo>
                  <a:pt x="951" y="148"/>
                </a:lnTo>
                <a:lnTo>
                  <a:pt x="952" y="148"/>
                </a:lnTo>
                <a:lnTo>
                  <a:pt x="953" y="148"/>
                </a:lnTo>
                <a:close/>
                <a:moveTo>
                  <a:pt x="962" y="165"/>
                </a:moveTo>
                <a:lnTo>
                  <a:pt x="959" y="166"/>
                </a:lnTo>
                <a:lnTo>
                  <a:pt x="955" y="166"/>
                </a:lnTo>
                <a:lnTo>
                  <a:pt x="954" y="167"/>
                </a:lnTo>
                <a:lnTo>
                  <a:pt x="953" y="167"/>
                </a:lnTo>
                <a:lnTo>
                  <a:pt x="954" y="167"/>
                </a:lnTo>
                <a:lnTo>
                  <a:pt x="955" y="166"/>
                </a:lnTo>
                <a:lnTo>
                  <a:pt x="959" y="166"/>
                </a:lnTo>
                <a:lnTo>
                  <a:pt x="962" y="165"/>
                </a:lnTo>
                <a:close/>
                <a:moveTo>
                  <a:pt x="986" y="165"/>
                </a:moveTo>
                <a:lnTo>
                  <a:pt x="987" y="165"/>
                </a:lnTo>
                <a:lnTo>
                  <a:pt x="987" y="164"/>
                </a:lnTo>
                <a:lnTo>
                  <a:pt x="987" y="165"/>
                </a:lnTo>
                <a:lnTo>
                  <a:pt x="986" y="165"/>
                </a:lnTo>
                <a:lnTo>
                  <a:pt x="984" y="166"/>
                </a:lnTo>
                <a:lnTo>
                  <a:pt x="980" y="167"/>
                </a:lnTo>
                <a:lnTo>
                  <a:pt x="984" y="166"/>
                </a:lnTo>
                <a:lnTo>
                  <a:pt x="986" y="165"/>
                </a:lnTo>
                <a:close/>
                <a:moveTo>
                  <a:pt x="988" y="162"/>
                </a:moveTo>
                <a:lnTo>
                  <a:pt x="985" y="159"/>
                </a:lnTo>
                <a:lnTo>
                  <a:pt x="982" y="155"/>
                </a:lnTo>
                <a:lnTo>
                  <a:pt x="985" y="159"/>
                </a:lnTo>
                <a:lnTo>
                  <a:pt x="988" y="162"/>
                </a:lnTo>
                <a:close/>
                <a:moveTo>
                  <a:pt x="994" y="152"/>
                </a:moveTo>
                <a:lnTo>
                  <a:pt x="994" y="151"/>
                </a:lnTo>
                <a:lnTo>
                  <a:pt x="993" y="148"/>
                </a:lnTo>
                <a:lnTo>
                  <a:pt x="993" y="148"/>
                </a:lnTo>
                <a:lnTo>
                  <a:pt x="994" y="148"/>
                </a:lnTo>
                <a:lnTo>
                  <a:pt x="993" y="148"/>
                </a:lnTo>
                <a:lnTo>
                  <a:pt x="993" y="148"/>
                </a:lnTo>
                <a:lnTo>
                  <a:pt x="994" y="151"/>
                </a:lnTo>
                <a:lnTo>
                  <a:pt x="994" y="152"/>
                </a:lnTo>
                <a:close/>
                <a:moveTo>
                  <a:pt x="1001" y="127"/>
                </a:moveTo>
                <a:lnTo>
                  <a:pt x="1002" y="127"/>
                </a:lnTo>
                <a:lnTo>
                  <a:pt x="1002" y="126"/>
                </a:lnTo>
                <a:lnTo>
                  <a:pt x="1002" y="127"/>
                </a:lnTo>
                <a:lnTo>
                  <a:pt x="1001" y="127"/>
                </a:lnTo>
                <a:lnTo>
                  <a:pt x="995" y="130"/>
                </a:lnTo>
                <a:lnTo>
                  <a:pt x="992" y="134"/>
                </a:lnTo>
                <a:lnTo>
                  <a:pt x="995" y="130"/>
                </a:lnTo>
                <a:lnTo>
                  <a:pt x="1001" y="127"/>
                </a:lnTo>
                <a:close/>
                <a:moveTo>
                  <a:pt x="1021" y="148"/>
                </a:moveTo>
                <a:lnTo>
                  <a:pt x="1021" y="147"/>
                </a:lnTo>
                <a:lnTo>
                  <a:pt x="1021" y="146"/>
                </a:lnTo>
                <a:lnTo>
                  <a:pt x="1021" y="147"/>
                </a:lnTo>
                <a:lnTo>
                  <a:pt x="1021" y="148"/>
                </a:lnTo>
                <a:lnTo>
                  <a:pt x="1015" y="152"/>
                </a:lnTo>
                <a:lnTo>
                  <a:pt x="1008" y="154"/>
                </a:lnTo>
                <a:lnTo>
                  <a:pt x="1015" y="152"/>
                </a:lnTo>
                <a:lnTo>
                  <a:pt x="1021" y="148"/>
                </a:lnTo>
                <a:close/>
                <a:moveTo>
                  <a:pt x="1049" y="161"/>
                </a:moveTo>
                <a:lnTo>
                  <a:pt x="1050" y="161"/>
                </a:lnTo>
                <a:lnTo>
                  <a:pt x="1053" y="161"/>
                </a:lnTo>
                <a:lnTo>
                  <a:pt x="1050" y="161"/>
                </a:lnTo>
                <a:lnTo>
                  <a:pt x="1049" y="161"/>
                </a:lnTo>
                <a:lnTo>
                  <a:pt x="1048" y="165"/>
                </a:lnTo>
                <a:lnTo>
                  <a:pt x="1046" y="166"/>
                </a:lnTo>
                <a:lnTo>
                  <a:pt x="1048" y="165"/>
                </a:lnTo>
                <a:lnTo>
                  <a:pt x="1049" y="161"/>
                </a:lnTo>
                <a:close/>
                <a:moveTo>
                  <a:pt x="1048" y="158"/>
                </a:moveTo>
                <a:lnTo>
                  <a:pt x="1049" y="157"/>
                </a:lnTo>
                <a:lnTo>
                  <a:pt x="1050" y="155"/>
                </a:lnTo>
                <a:lnTo>
                  <a:pt x="1049" y="157"/>
                </a:lnTo>
                <a:lnTo>
                  <a:pt x="1048" y="158"/>
                </a:lnTo>
                <a:lnTo>
                  <a:pt x="1047" y="159"/>
                </a:lnTo>
                <a:lnTo>
                  <a:pt x="1047" y="160"/>
                </a:lnTo>
                <a:lnTo>
                  <a:pt x="1047" y="159"/>
                </a:lnTo>
                <a:lnTo>
                  <a:pt x="1048" y="158"/>
                </a:lnTo>
                <a:close/>
                <a:moveTo>
                  <a:pt x="1053" y="137"/>
                </a:moveTo>
                <a:lnTo>
                  <a:pt x="1051" y="138"/>
                </a:lnTo>
                <a:lnTo>
                  <a:pt x="1051" y="138"/>
                </a:lnTo>
                <a:lnTo>
                  <a:pt x="1051" y="138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lnTo>
                  <a:pt x="1053" y="137"/>
                </a:lnTo>
                <a:close/>
                <a:moveTo>
                  <a:pt x="1053" y="136"/>
                </a:moveTo>
                <a:lnTo>
                  <a:pt x="1054" y="133"/>
                </a:lnTo>
                <a:lnTo>
                  <a:pt x="1056" y="131"/>
                </a:lnTo>
                <a:lnTo>
                  <a:pt x="1058" y="129"/>
                </a:lnTo>
                <a:lnTo>
                  <a:pt x="1061" y="127"/>
                </a:lnTo>
                <a:lnTo>
                  <a:pt x="1063" y="125"/>
                </a:lnTo>
                <a:lnTo>
                  <a:pt x="1065" y="124"/>
                </a:lnTo>
                <a:lnTo>
                  <a:pt x="1063" y="125"/>
                </a:lnTo>
                <a:lnTo>
                  <a:pt x="1061" y="127"/>
                </a:lnTo>
                <a:lnTo>
                  <a:pt x="1061" y="127"/>
                </a:lnTo>
                <a:lnTo>
                  <a:pt x="1061" y="129"/>
                </a:lnTo>
                <a:lnTo>
                  <a:pt x="1061" y="127"/>
                </a:lnTo>
                <a:lnTo>
                  <a:pt x="1061" y="127"/>
                </a:lnTo>
                <a:lnTo>
                  <a:pt x="1058" y="129"/>
                </a:lnTo>
                <a:lnTo>
                  <a:pt x="1056" y="131"/>
                </a:lnTo>
                <a:lnTo>
                  <a:pt x="1054" y="133"/>
                </a:lnTo>
                <a:lnTo>
                  <a:pt x="1053" y="136"/>
                </a:lnTo>
                <a:lnTo>
                  <a:pt x="1050" y="136"/>
                </a:lnTo>
                <a:lnTo>
                  <a:pt x="1049" y="136"/>
                </a:lnTo>
                <a:lnTo>
                  <a:pt x="1050" y="136"/>
                </a:lnTo>
                <a:lnTo>
                  <a:pt x="1053" y="136"/>
                </a:lnTo>
                <a:close/>
                <a:moveTo>
                  <a:pt x="1069" y="147"/>
                </a:moveTo>
                <a:lnTo>
                  <a:pt x="1070" y="147"/>
                </a:lnTo>
                <a:lnTo>
                  <a:pt x="1071" y="147"/>
                </a:lnTo>
                <a:lnTo>
                  <a:pt x="1072" y="147"/>
                </a:lnTo>
                <a:lnTo>
                  <a:pt x="1074" y="147"/>
                </a:lnTo>
                <a:lnTo>
                  <a:pt x="1075" y="145"/>
                </a:lnTo>
                <a:lnTo>
                  <a:pt x="1076" y="145"/>
                </a:lnTo>
                <a:lnTo>
                  <a:pt x="1075" y="145"/>
                </a:lnTo>
                <a:lnTo>
                  <a:pt x="1074" y="147"/>
                </a:lnTo>
                <a:lnTo>
                  <a:pt x="1072" y="147"/>
                </a:lnTo>
                <a:lnTo>
                  <a:pt x="1071" y="147"/>
                </a:lnTo>
                <a:lnTo>
                  <a:pt x="1070" y="147"/>
                </a:lnTo>
                <a:lnTo>
                  <a:pt x="1069" y="147"/>
                </a:lnTo>
                <a:close/>
                <a:moveTo>
                  <a:pt x="1078" y="95"/>
                </a:moveTo>
                <a:lnTo>
                  <a:pt x="1077" y="96"/>
                </a:lnTo>
                <a:lnTo>
                  <a:pt x="1077" y="97"/>
                </a:lnTo>
                <a:lnTo>
                  <a:pt x="1077" y="96"/>
                </a:lnTo>
                <a:lnTo>
                  <a:pt x="1078" y="95"/>
                </a:lnTo>
                <a:lnTo>
                  <a:pt x="1077" y="94"/>
                </a:lnTo>
                <a:lnTo>
                  <a:pt x="1077" y="92"/>
                </a:lnTo>
                <a:lnTo>
                  <a:pt x="1077" y="94"/>
                </a:lnTo>
                <a:lnTo>
                  <a:pt x="1078" y="95"/>
                </a:lnTo>
                <a:close/>
                <a:moveTo>
                  <a:pt x="1081" y="143"/>
                </a:moveTo>
                <a:lnTo>
                  <a:pt x="1081" y="143"/>
                </a:lnTo>
                <a:lnTo>
                  <a:pt x="1081" y="141"/>
                </a:lnTo>
                <a:lnTo>
                  <a:pt x="1081" y="143"/>
                </a:lnTo>
                <a:lnTo>
                  <a:pt x="1081" y="143"/>
                </a:lnTo>
                <a:lnTo>
                  <a:pt x="1079" y="144"/>
                </a:lnTo>
                <a:lnTo>
                  <a:pt x="1078" y="145"/>
                </a:lnTo>
                <a:lnTo>
                  <a:pt x="1078" y="147"/>
                </a:lnTo>
                <a:lnTo>
                  <a:pt x="1078" y="150"/>
                </a:lnTo>
                <a:lnTo>
                  <a:pt x="1078" y="147"/>
                </a:lnTo>
                <a:lnTo>
                  <a:pt x="1078" y="145"/>
                </a:lnTo>
                <a:lnTo>
                  <a:pt x="1079" y="144"/>
                </a:lnTo>
                <a:lnTo>
                  <a:pt x="1081" y="143"/>
                </a:lnTo>
                <a:close/>
                <a:moveTo>
                  <a:pt x="1118" y="125"/>
                </a:moveTo>
                <a:lnTo>
                  <a:pt x="1123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27" y="124"/>
                </a:lnTo>
                <a:lnTo>
                  <a:pt x="1118" y="127"/>
                </a:lnTo>
                <a:lnTo>
                  <a:pt x="1109" y="125"/>
                </a:lnTo>
                <a:lnTo>
                  <a:pt x="1113" y="125"/>
                </a:lnTo>
                <a:lnTo>
                  <a:pt x="1118" y="125"/>
                </a:lnTo>
                <a:close/>
                <a:moveTo>
                  <a:pt x="1173" y="41"/>
                </a:moveTo>
                <a:lnTo>
                  <a:pt x="1174" y="41"/>
                </a:lnTo>
                <a:lnTo>
                  <a:pt x="1175" y="42"/>
                </a:lnTo>
                <a:lnTo>
                  <a:pt x="1174" y="41"/>
                </a:lnTo>
                <a:lnTo>
                  <a:pt x="1173" y="41"/>
                </a:lnTo>
                <a:lnTo>
                  <a:pt x="1172" y="41"/>
                </a:lnTo>
                <a:lnTo>
                  <a:pt x="1172" y="42"/>
                </a:lnTo>
                <a:lnTo>
                  <a:pt x="1172" y="41"/>
                </a:lnTo>
                <a:lnTo>
                  <a:pt x="1173" y="41"/>
                </a:lnTo>
                <a:close/>
                <a:moveTo>
                  <a:pt x="1185" y="179"/>
                </a:moveTo>
                <a:lnTo>
                  <a:pt x="1183" y="181"/>
                </a:lnTo>
                <a:lnTo>
                  <a:pt x="1181" y="181"/>
                </a:lnTo>
                <a:lnTo>
                  <a:pt x="1181" y="181"/>
                </a:lnTo>
                <a:lnTo>
                  <a:pt x="1183" y="181"/>
                </a:lnTo>
                <a:lnTo>
                  <a:pt x="1185" y="179"/>
                </a:lnTo>
                <a:close/>
                <a:moveTo>
                  <a:pt x="1143" y="359"/>
                </a:moveTo>
                <a:lnTo>
                  <a:pt x="1139" y="360"/>
                </a:lnTo>
                <a:lnTo>
                  <a:pt x="1136" y="360"/>
                </a:lnTo>
                <a:lnTo>
                  <a:pt x="1139" y="360"/>
                </a:lnTo>
                <a:lnTo>
                  <a:pt x="1143" y="359"/>
                </a:lnTo>
                <a:close/>
                <a:moveTo>
                  <a:pt x="1144" y="359"/>
                </a:moveTo>
                <a:lnTo>
                  <a:pt x="1146" y="359"/>
                </a:lnTo>
                <a:lnTo>
                  <a:pt x="1148" y="360"/>
                </a:lnTo>
                <a:lnTo>
                  <a:pt x="1146" y="359"/>
                </a:lnTo>
                <a:lnTo>
                  <a:pt x="1144" y="359"/>
                </a:lnTo>
                <a:lnTo>
                  <a:pt x="1144" y="359"/>
                </a:lnTo>
                <a:close/>
                <a:moveTo>
                  <a:pt x="1153" y="469"/>
                </a:moveTo>
                <a:lnTo>
                  <a:pt x="1154" y="469"/>
                </a:lnTo>
                <a:lnTo>
                  <a:pt x="1154" y="469"/>
                </a:lnTo>
                <a:lnTo>
                  <a:pt x="1154" y="469"/>
                </a:lnTo>
                <a:lnTo>
                  <a:pt x="1153" y="469"/>
                </a:lnTo>
                <a:lnTo>
                  <a:pt x="1150" y="471"/>
                </a:lnTo>
                <a:lnTo>
                  <a:pt x="1146" y="474"/>
                </a:lnTo>
                <a:lnTo>
                  <a:pt x="1150" y="471"/>
                </a:lnTo>
                <a:lnTo>
                  <a:pt x="1153" y="469"/>
                </a:lnTo>
                <a:close/>
                <a:moveTo>
                  <a:pt x="1153" y="457"/>
                </a:moveTo>
                <a:lnTo>
                  <a:pt x="1152" y="460"/>
                </a:lnTo>
                <a:lnTo>
                  <a:pt x="1151" y="464"/>
                </a:lnTo>
                <a:lnTo>
                  <a:pt x="1152" y="460"/>
                </a:lnTo>
                <a:lnTo>
                  <a:pt x="1153" y="457"/>
                </a:lnTo>
                <a:close/>
                <a:moveTo>
                  <a:pt x="918" y="322"/>
                </a:moveTo>
                <a:lnTo>
                  <a:pt x="916" y="320"/>
                </a:lnTo>
                <a:lnTo>
                  <a:pt x="915" y="321"/>
                </a:lnTo>
                <a:lnTo>
                  <a:pt x="916" y="320"/>
                </a:lnTo>
                <a:lnTo>
                  <a:pt x="918" y="322"/>
                </a:lnTo>
                <a:close/>
                <a:moveTo>
                  <a:pt x="912" y="329"/>
                </a:moveTo>
                <a:lnTo>
                  <a:pt x="910" y="330"/>
                </a:lnTo>
                <a:lnTo>
                  <a:pt x="909" y="330"/>
                </a:lnTo>
                <a:lnTo>
                  <a:pt x="910" y="330"/>
                </a:lnTo>
                <a:lnTo>
                  <a:pt x="912" y="329"/>
                </a:lnTo>
                <a:lnTo>
                  <a:pt x="912" y="329"/>
                </a:lnTo>
                <a:lnTo>
                  <a:pt x="913" y="328"/>
                </a:lnTo>
                <a:lnTo>
                  <a:pt x="912" y="329"/>
                </a:lnTo>
                <a:lnTo>
                  <a:pt x="912" y="329"/>
                </a:lnTo>
                <a:close/>
                <a:moveTo>
                  <a:pt x="912" y="597"/>
                </a:moveTo>
                <a:lnTo>
                  <a:pt x="910" y="599"/>
                </a:lnTo>
                <a:lnTo>
                  <a:pt x="909" y="600"/>
                </a:lnTo>
                <a:lnTo>
                  <a:pt x="910" y="599"/>
                </a:lnTo>
                <a:lnTo>
                  <a:pt x="912" y="597"/>
                </a:lnTo>
                <a:close/>
                <a:moveTo>
                  <a:pt x="916" y="577"/>
                </a:moveTo>
                <a:lnTo>
                  <a:pt x="916" y="578"/>
                </a:lnTo>
                <a:lnTo>
                  <a:pt x="916" y="578"/>
                </a:lnTo>
                <a:lnTo>
                  <a:pt x="916" y="578"/>
                </a:lnTo>
                <a:lnTo>
                  <a:pt x="916" y="577"/>
                </a:lnTo>
                <a:lnTo>
                  <a:pt x="915" y="576"/>
                </a:lnTo>
                <a:lnTo>
                  <a:pt x="913" y="574"/>
                </a:lnTo>
                <a:lnTo>
                  <a:pt x="915" y="576"/>
                </a:lnTo>
                <a:lnTo>
                  <a:pt x="916" y="577"/>
                </a:lnTo>
                <a:close/>
                <a:moveTo>
                  <a:pt x="920" y="541"/>
                </a:moveTo>
                <a:lnTo>
                  <a:pt x="919" y="541"/>
                </a:lnTo>
                <a:lnTo>
                  <a:pt x="917" y="539"/>
                </a:lnTo>
                <a:lnTo>
                  <a:pt x="919" y="541"/>
                </a:lnTo>
                <a:lnTo>
                  <a:pt x="920" y="541"/>
                </a:lnTo>
                <a:close/>
                <a:moveTo>
                  <a:pt x="922" y="558"/>
                </a:moveTo>
                <a:lnTo>
                  <a:pt x="922" y="559"/>
                </a:lnTo>
                <a:lnTo>
                  <a:pt x="923" y="559"/>
                </a:lnTo>
                <a:lnTo>
                  <a:pt x="922" y="559"/>
                </a:lnTo>
                <a:lnTo>
                  <a:pt x="922" y="558"/>
                </a:lnTo>
                <a:close/>
                <a:moveTo>
                  <a:pt x="927" y="849"/>
                </a:moveTo>
                <a:lnTo>
                  <a:pt x="922" y="850"/>
                </a:lnTo>
                <a:lnTo>
                  <a:pt x="916" y="852"/>
                </a:lnTo>
                <a:lnTo>
                  <a:pt x="922" y="850"/>
                </a:lnTo>
                <a:lnTo>
                  <a:pt x="927" y="849"/>
                </a:lnTo>
                <a:close/>
                <a:moveTo>
                  <a:pt x="917" y="639"/>
                </a:moveTo>
                <a:lnTo>
                  <a:pt x="916" y="640"/>
                </a:lnTo>
                <a:lnTo>
                  <a:pt x="915" y="640"/>
                </a:lnTo>
                <a:lnTo>
                  <a:pt x="916" y="640"/>
                </a:lnTo>
                <a:lnTo>
                  <a:pt x="917" y="639"/>
                </a:lnTo>
                <a:lnTo>
                  <a:pt x="918" y="637"/>
                </a:lnTo>
                <a:lnTo>
                  <a:pt x="918" y="636"/>
                </a:lnTo>
                <a:lnTo>
                  <a:pt x="918" y="637"/>
                </a:lnTo>
                <a:lnTo>
                  <a:pt x="917" y="639"/>
                </a:lnTo>
                <a:close/>
                <a:moveTo>
                  <a:pt x="915" y="920"/>
                </a:moveTo>
                <a:lnTo>
                  <a:pt x="911" y="920"/>
                </a:lnTo>
                <a:lnTo>
                  <a:pt x="908" y="920"/>
                </a:lnTo>
                <a:lnTo>
                  <a:pt x="911" y="920"/>
                </a:lnTo>
                <a:lnTo>
                  <a:pt x="915" y="920"/>
                </a:lnTo>
                <a:lnTo>
                  <a:pt x="915" y="920"/>
                </a:lnTo>
                <a:lnTo>
                  <a:pt x="916" y="919"/>
                </a:lnTo>
                <a:lnTo>
                  <a:pt x="915" y="920"/>
                </a:lnTo>
                <a:lnTo>
                  <a:pt x="915" y="920"/>
                </a:lnTo>
                <a:close/>
                <a:moveTo>
                  <a:pt x="903" y="598"/>
                </a:moveTo>
                <a:lnTo>
                  <a:pt x="905" y="608"/>
                </a:lnTo>
                <a:lnTo>
                  <a:pt x="905" y="618"/>
                </a:lnTo>
                <a:lnTo>
                  <a:pt x="905" y="608"/>
                </a:lnTo>
                <a:lnTo>
                  <a:pt x="903" y="598"/>
                </a:lnTo>
                <a:close/>
                <a:moveTo>
                  <a:pt x="896" y="662"/>
                </a:moveTo>
                <a:lnTo>
                  <a:pt x="898" y="660"/>
                </a:lnTo>
                <a:lnTo>
                  <a:pt x="901" y="657"/>
                </a:lnTo>
                <a:lnTo>
                  <a:pt x="901" y="657"/>
                </a:lnTo>
                <a:lnTo>
                  <a:pt x="898" y="660"/>
                </a:lnTo>
                <a:lnTo>
                  <a:pt x="896" y="662"/>
                </a:lnTo>
                <a:close/>
                <a:moveTo>
                  <a:pt x="892" y="699"/>
                </a:moveTo>
                <a:lnTo>
                  <a:pt x="890" y="699"/>
                </a:lnTo>
                <a:lnTo>
                  <a:pt x="888" y="699"/>
                </a:lnTo>
                <a:lnTo>
                  <a:pt x="890" y="699"/>
                </a:lnTo>
                <a:lnTo>
                  <a:pt x="892" y="699"/>
                </a:lnTo>
                <a:lnTo>
                  <a:pt x="893" y="697"/>
                </a:lnTo>
                <a:lnTo>
                  <a:pt x="896" y="695"/>
                </a:lnTo>
                <a:lnTo>
                  <a:pt x="893" y="697"/>
                </a:lnTo>
                <a:lnTo>
                  <a:pt x="892" y="699"/>
                </a:lnTo>
                <a:close/>
                <a:moveTo>
                  <a:pt x="888" y="794"/>
                </a:moveTo>
                <a:lnTo>
                  <a:pt x="886" y="794"/>
                </a:lnTo>
                <a:lnTo>
                  <a:pt x="885" y="795"/>
                </a:lnTo>
                <a:lnTo>
                  <a:pt x="886" y="794"/>
                </a:lnTo>
                <a:lnTo>
                  <a:pt x="888" y="794"/>
                </a:lnTo>
                <a:lnTo>
                  <a:pt x="888" y="791"/>
                </a:lnTo>
                <a:lnTo>
                  <a:pt x="888" y="789"/>
                </a:lnTo>
                <a:lnTo>
                  <a:pt x="888" y="791"/>
                </a:lnTo>
                <a:lnTo>
                  <a:pt x="888" y="794"/>
                </a:lnTo>
                <a:close/>
                <a:moveTo>
                  <a:pt x="885" y="1215"/>
                </a:moveTo>
                <a:lnTo>
                  <a:pt x="884" y="1214"/>
                </a:lnTo>
                <a:lnTo>
                  <a:pt x="883" y="1214"/>
                </a:lnTo>
                <a:lnTo>
                  <a:pt x="884" y="1212"/>
                </a:lnTo>
                <a:lnTo>
                  <a:pt x="885" y="1207"/>
                </a:lnTo>
                <a:lnTo>
                  <a:pt x="885" y="1207"/>
                </a:lnTo>
                <a:lnTo>
                  <a:pt x="886" y="1207"/>
                </a:lnTo>
                <a:lnTo>
                  <a:pt x="886" y="1207"/>
                </a:lnTo>
                <a:lnTo>
                  <a:pt x="884" y="1214"/>
                </a:lnTo>
                <a:lnTo>
                  <a:pt x="885" y="1215"/>
                </a:lnTo>
                <a:close/>
                <a:moveTo>
                  <a:pt x="871" y="1272"/>
                </a:moveTo>
                <a:lnTo>
                  <a:pt x="878" y="1272"/>
                </a:lnTo>
                <a:lnTo>
                  <a:pt x="884" y="1270"/>
                </a:lnTo>
                <a:lnTo>
                  <a:pt x="878" y="1272"/>
                </a:lnTo>
                <a:lnTo>
                  <a:pt x="871" y="1272"/>
                </a:lnTo>
                <a:close/>
                <a:moveTo>
                  <a:pt x="881" y="1296"/>
                </a:moveTo>
                <a:lnTo>
                  <a:pt x="874" y="1299"/>
                </a:lnTo>
                <a:lnTo>
                  <a:pt x="865" y="1299"/>
                </a:lnTo>
                <a:lnTo>
                  <a:pt x="869" y="1298"/>
                </a:lnTo>
                <a:lnTo>
                  <a:pt x="871" y="1296"/>
                </a:lnTo>
                <a:lnTo>
                  <a:pt x="875" y="1294"/>
                </a:lnTo>
                <a:lnTo>
                  <a:pt x="879" y="1293"/>
                </a:lnTo>
                <a:lnTo>
                  <a:pt x="881" y="1293"/>
                </a:lnTo>
                <a:lnTo>
                  <a:pt x="882" y="1294"/>
                </a:lnTo>
                <a:lnTo>
                  <a:pt x="882" y="1296"/>
                </a:lnTo>
                <a:lnTo>
                  <a:pt x="881" y="1296"/>
                </a:lnTo>
                <a:close/>
                <a:moveTo>
                  <a:pt x="860" y="1324"/>
                </a:moveTo>
                <a:lnTo>
                  <a:pt x="839" y="1322"/>
                </a:lnTo>
                <a:lnTo>
                  <a:pt x="819" y="1318"/>
                </a:lnTo>
                <a:lnTo>
                  <a:pt x="817" y="1317"/>
                </a:lnTo>
                <a:lnTo>
                  <a:pt x="815" y="1315"/>
                </a:lnTo>
                <a:lnTo>
                  <a:pt x="814" y="1315"/>
                </a:lnTo>
                <a:lnTo>
                  <a:pt x="813" y="1315"/>
                </a:lnTo>
                <a:lnTo>
                  <a:pt x="814" y="1315"/>
                </a:lnTo>
                <a:lnTo>
                  <a:pt x="815" y="1315"/>
                </a:lnTo>
                <a:lnTo>
                  <a:pt x="820" y="1315"/>
                </a:lnTo>
                <a:lnTo>
                  <a:pt x="824" y="1315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4"/>
                </a:lnTo>
                <a:lnTo>
                  <a:pt x="824" y="1315"/>
                </a:lnTo>
                <a:lnTo>
                  <a:pt x="826" y="1315"/>
                </a:lnTo>
                <a:lnTo>
                  <a:pt x="826" y="1315"/>
                </a:lnTo>
                <a:lnTo>
                  <a:pt x="827" y="1315"/>
                </a:lnTo>
                <a:lnTo>
                  <a:pt x="837" y="1315"/>
                </a:lnTo>
                <a:lnTo>
                  <a:pt x="848" y="1315"/>
                </a:lnTo>
                <a:lnTo>
                  <a:pt x="837" y="1315"/>
                </a:lnTo>
                <a:lnTo>
                  <a:pt x="827" y="1315"/>
                </a:lnTo>
                <a:lnTo>
                  <a:pt x="830" y="1317"/>
                </a:lnTo>
                <a:lnTo>
                  <a:pt x="834" y="1317"/>
                </a:lnTo>
                <a:lnTo>
                  <a:pt x="834" y="1317"/>
                </a:lnTo>
                <a:lnTo>
                  <a:pt x="835" y="1319"/>
                </a:lnTo>
                <a:lnTo>
                  <a:pt x="837" y="1319"/>
                </a:lnTo>
                <a:lnTo>
                  <a:pt x="856" y="1320"/>
                </a:lnTo>
                <a:lnTo>
                  <a:pt x="875" y="1319"/>
                </a:lnTo>
                <a:lnTo>
                  <a:pt x="868" y="1324"/>
                </a:lnTo>
                <a:lnTo>
                  <a:pt x="860" y="1324"/>
                </a:lnTo>
                <a:close/>
                <a:moveTo>
                  <a:pt x="883" y="1460"/>
                </a:moveTo>
                <a:lnTo>
                  <a:pt x="875" y="1458"/>
                </a:lnTo>
                <a:lnTo>
                  <a:pt x="865" y="1458"/>
                </a:lnTo>
                <a:lnTo>
                  <a:pt x="855" y="1462"/>
                </a:lnTo>
                <a:lnTo>
                  <a:pt x="846" y="1467"/>
                </a:lnTo>
                <a:lnTo>
                  <a:pt x="855" y="1462"/>
                </a:lnTo>
                <a:lnTo>
                  <a:pt x="865" y="1458"/>
                </a:lnTo>
                <a:lnTo>
                  <a:pt x="875" y="1458"/>
                </a:lnTo>
                <a:lnTo>
                  <a:pt x="883" y="1460"/>
                </a:lnTo>
                <a:close/>
                <a:moveTo>
                  <a:pt x="844" y="1427"/>
                </a:moveTo>
                <a:lnTo>
                  <a:pt x="846" y="1429"/>
                </a:lnTo>
                <a:lnTo>
                  <a:pt x="846" y="1430"/>
                </a:lnTo>
                <a:lnTo>
                  <a:pt x="846" y="1429"/>
                </a:lnTo>
                <a:lnTo>
                  <a:pt x="844" y="1427"/>
                </a:lnTo>
                <a:close/>
                <a:moveTo>
                  <a:pt x="823" y="1356"/>
                </a:moveTo>
                <a:lnTo>
                  <a:pt x="834" y="1362"/>
                </a:lnTo>
                <a:lnTo>
                  <a:pt x="846" y="1366"/>
                </a:lnTo>
                <a:lnTo>
                  <a:pt x="840" y="1367"/>
                </a:lnTo>
                <a:lnTo>
                  <a:pt x="833" y="1367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8"/>
                </a:lnTo>
                <a:lnTo>
                  <a:pt x="833" y="1367"/>
                </a:lnTo>
                <a:lnTo>
                  <a:pt x="832" y="1366"/>
                </a:lnTo>
                <a:lnTo>
                  <a:pt x="828" y="1366"/>
                </a:lnTo>
                <a:lnTo>
                  <a:pt x="824" y="1363"/>
                </a:lnTo>
                <a:lnTo>
                  <a:pt x="821" y="1360"/>
                </a:lnTo>
                <a:lnTo>
                  <a:pt x="821" y="1357"/>
                </a:lnTo>
                <a:lnTo>
                  <a:pt x="823" y="1356"/>
                </a:lnTo>
                <a:close/>
                <a:moveTo>
                  <a:pt x="860" y="1345"/>
                </a:moveTo>
                <a:lnTo>
                  <a:pt x="841" y="1343"/>
                </a:lnTo>
                <a:lnTo>
                  <a:pt x="821" y="1339"/>
                </a:lnTo>
                <a:lnTo>
                  <a:pt x="844" y="1340"/>
                </a:lnTo>
                <a:lnTo>
                  <a:pt x="867" y="1334"/>
                </a:lnTo>
                <a:lnTo>
                  <a:pt x="864" y="1341"/>
                </a:lnTo>
                <a:lnTo>
                  <a:pt x="860" y="1345"/>
                </a:lnTo>
                <a:close/>
                <a:moveTo>
                  <a:pt x="850" y="1353"/>
                </a:moveTo>
                <a:lnTo>
                  <a:pt x="842" y="1353"/>
                </a:lnTo>
                <a:lnTo>
                  <a:pt x="833" y="1353"/>
                </a:lnTo>
                <a:lnTo>
                  <a:pt x="829" y="1353"/>
                </a:lnTo>
                <a:lnTo>
                  <a:pt x="826" y="1354"/>
                </a:lnTo>
                <a:lnTo>
                  <a:pt x="829" y="1353"/>
                </a:lnTo>
                <a:lnTo>
                  <a:pt x="833" y="1353"/>
                </a:lnTo>
                <a:lnTo>
                  <a:pt x="833" y="1350"/>
                </a:lnTo>
                <a:lnTo>
                  <a:pt x="833" y="1348"/>
                </a:lnTo>
                <a:lnTo>
                  <a:pt x="828" y="1348"/>
                </a:lnTo>
                <a:lnTo>
                  <a:pt x="823" y="1345"/>
                </a:lnTo>
                <a:lnTo>
                  <a:pt x="829" y="1345"/>
                </a:lnTo>
                <a:lnTo>
                  <a:pt x="833" y="1348"/>
                </a:lnTo>
                <a:lnTo>
                  <a:pt x="847" y="1349"/>
                </a:lnTo>
                <a:lnTo>
                  <a:pt x="860" y="1345"/>
                </a:lnTo>
                <a:lnTo>
                  <a:pt x="865" y="1345"/>
                </a:lnTo>
                <a:lnTo>
                  <a:pt x="858" y="1350"/>
                </a:lnTo>
                <a:lnTo>
                  <a:pt x="850" y="1353"/>
                </a:lnTo>
                <a:close/>
                <a:moveTo>
                  <a:pt x="860" y="1378"/>
                </a:moveTo>
                <a:lnTo>
                  <a:pt x="858" y="1380"/>
                </a:lnTo>
                <a:lnTo>
                  <a:pt x="856" y="1381"/>
                </a:lnTo>
                <a:lnTo>
                  <a:pt x="858" y="1380"/>
                </a:lnTo>
                <a:lnTo>
                  <a:pt x="860" y="1378"/>
                </a:lnTo>
                <a:close/>
                <a:moveTo>
                  <a:pt x="856" y="1369"/>
                </a:moveTo>
                <a:lnTo>
                  <a:pt x="855" y="1369"/>
                </a:lnTo>
                <a:lnTo>
                  <a:pt x="855" y="1368"/>
                </a:lnTo>
                <a:lnTo>
                  <a:pt x="855" y="1367"/>
                </a:lnTo>
                <a:lnTo>
                  <a:pt x="857" y="1366"/>
                </a:lnTo>
                <a:lnTo>
                  <a:pt x="857" y="1367"/>
                </a:lnTo>
                <a:lnTo>
                  <a:pt x="858" y="1367"/>
                </a:lnTo>
                <a:lnTo>
                  <a:pt x="857" y="1369"/>
                </a:lnTo>
                <a:lnTo>
                  <a:pt x="856" y="1369"/>
                </a:lnTo>
                <a:close/>
                <a:moveTo>
                  <a:pt x="854" y="1357"/>
                </a:moveTo>
                <a:lnTo>
                  <a:pt x="843" y="1361"/>
                </a:lnTo>
                <a:lnTo>
                  <a:pt x="833" y="1356"/>
                </a:lnTo>
                <a:lnTo>
                  <a:pt x="841" y="1356"/>
                </a:lnTo>
                <a:lnTo>
                  <a:pt x="850" y="1356"/>
                </a:lnTo>
                <a:lnTo>
                  <a:pt x="851" y="1356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54" y="1357"/>
                </a:moveTo>
                <a:lnTo>
                  <a:pt x="857" y="1354"/>
                </a:lnTo>
                <a:lnTo>
                  <a:pt x="861" y="1353"/>
                </a:lnTo>
                <a:lnTo>
                  <a:pt x="863" y="1354"/>
                </a:lnTo>
                <a:lnTo>
                  <a:pt x="863" y="1356"/>
                </a:lnTo>
                <a:lnTo>
                  <a:pt x="858" y="1357"/>
                </a:lnTo>
                <a:lnTo>
                  <a:pt x="854" y="1357"/>
                </a:lnTo>
                <a:lnTo>
                  <a:pt x="854" y="1357"/>
                </a:lnTo>
                <a:lnTo>
                  <a:pt x="854" y="1357"/>
                </a:lnTo>
                <a:close/>
                <a:moveTo>
                  <a:pt x="819" y="1374"/>
                </a:moveTo>
                <a:lnTo>
                  <a:pt x="819" y="1374"/>
                </a:lnTo>
                <a:lnTo>
                  <a:pt x="817" y="1374"/>
                </a:lnTo>
                <a:lnTo>
                  <a:pt x="817" y="1373"/>
                </a:lnTo>
                <a:lnTo>
                  <a:pt x="817" y="1373"/>
                </a:lnTo>
                <a:lnTo>
                  <a:pt x="820" y="1371"/>
                </a:lnTo>
                <a:lnTo>
                  <a:pt x="820" y="1369"/>
                </a:lnTo>
                <a:lnTo>
                  <a:pt x="821" y="1370"/>
                </a:lnTo>
                <a:lnTo>
                  <a:pt x="822" y="1369"/>
                </a:lnTo>
                <a:lnTo>
                  <a:pt x="826" y="1370"/>
                </a:lnTo>
                <a:lnTo>
                  <a:pt x="829" y="1371"/>
                </a:lnTo>
                <a:lnTo>
                  <a:pt x="833" y="1374"/>
                </a:lnTo>
                <a:lnTo>
                  <a:pt x="837" y="1371"/>
                </a:lnTo>
                <a:lnTo>
                  <a:pt x="836" y="1370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4" y="1369"/>
                </a:lnTo>
                <a:lnTo>
                  <a:pt x="836" y="1370"/>
                </a:lnTo>
                <a:lnTo>
                  <a:pt x="837" y="1371"/>
                </a:lnTo>
                <a:lnTo>
                  <a:pt x="844" y="1370"/>
                </a:lnTo>
                <a:lnTo>
                  <a:pt x="853" y="1369"/>
                </a:lnTo>
                <a:lnTo>
                  <a:pt x="849" y="1373"/>
                </a:lnTo>
                <a:lnTo>
                  <a:pt x="846" y="1374"/>
                </a:lnTo>
                <a:lnTo>
                  <a:pt x="846" y="1374"/>
                </a:lnTo>
                <a:lnTo>
                  <a:pt x="833" y="1375"/>
                </a:lnTo>
                <a:lnTo>
                  <a:pt x="819" y="1374"/>
                </a:lnTo>
                <a:close/>
                <a:moveTo>
                  <a:pt x="815" y="1481"/>
                </a:moveTo>
                <a:lnTo>
                  <a:pt x="815" y="1482"/>
                </a:lnTo>
                <a:lnTo>
                  <a:pt x="814" y="1482"/>
                </a:lnTo>
                <a:lnTo>
                  <a:pt x="810" y="1482"/>
                </a:lnTo>
                <a:lnTo>
                  <a:pt x="809" y="1486"/>
                </a:lnTo>
                <a:lnTo>
                  <a:pt x="808" y="1487"/>
                </a:lnTo>
                <a:lnTo>
                  <a:pt x="806" y="1487"/>
                </a:lnTo>
                <a:lnTo>
                  <a:pt x="805" y="1486"/>
                </a:lnTo>
                <a:lnTo>
                  <a:pt x="805" y="1483"/>
                </a:lnTo>
                <a:lnTo>
                  <a:pt x="806" y="1476"/>
                </a:lnTo>
                <a:lnTo>
                  <a:pt x="800" y="1471"/>
                </a:lnTo>
                <a:lnTo>
                  <a:pt x="796" y="1471"/>
                </a:lnTo>
                <a:lnTo>
                  <a:pt x="793" y="1471"/>
                </a:lnTo>
                <a:lnTo>
                  <a:pt x="796" y="1471"/>
                </a:lnTo>
                <a:lnTo>
                  <a:pt x="800" y="1471"/>
                </a:lnTo>
                <a:lnTo>
                  <a:pt x="800" y="1468"/>
                </a:lnTo>
                <a:lnTo>
                  <a:pt x="799" y="1467"/>
                </a:lnTo>
                <a:lnTo>
                  <a:pt x="799" y="1467"/>
                </a:lnTo>
                <a:lnTo>
                  <a:pt x="799" y="1464"/>
                </a:lnTo>
                <a:lnTo>
                  <a:pt x="799" y="1460"/>
                </a:lnTo>
                <a:lnTo>
                  <a:pt x="801" y="1461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2"/>
                </a:lnTo>
                <a:lnTo>
                  <a:pt x="803" y="1462"/>
                </a:lnTo>
                <a:lnTo>
                  <a:pt x="803" y="1462"/>
                </a:lnTo>
                <a:lnTo>
                  <a:pt x="805" y="1465"/>
                </a:lnTo>
                <a:lnTo>
                  <a:pt x="808" y="1465"/>
                </a:lnTo>
                <a:lnTo>
                  <a:pt x="808" y="1466"/>
                </a:lnTo>
                <a:lnTo>
                  <a:pt x="809" y="1466"/>
                </a:lnTo>
                <a:lnTo>
                  <a:pt x="809" y="1471"/>
                </a:lnTo>
                <a:lnTo>
                  <a:pt x="813" y="1472"/>
                </a:lnTo>
                <a:lnTo>
                  <a:pt x="816" y="1476"/>
                </a:lnTo>
                <a:lnTo>
                  <a:pt x="815" y="1481"/>
                </a:lnTo>
                <a:close/>
                <a:moveTo>
                  <a:pt x="779" y="1454"/>
                </a:moveTo>
                <a:lnTo>
                  <a:pt x="780" y="1454"/>
                </a:lnTo>
                <a:lnTo>
                  <a:pt x="781" y="1454"/>
                </a:lnTo>
                <a:lnTo>
                  <a:pt x="780" y="1454"/>
                </a:lnTo>
                <a:lnTo>
                  <a:pt x="779" y="1454"/>
                </a:lnTo>
                <a:close/>
                <a:moveTo>
                  <a:pt x="784" y="1453"/>
                </a:moveTo>
                <a:lnTo>
                  <a:pt x="782" y="1453"/>
                </a:lnTo>
                <a:lnTo>
                  <a:pt x="781" y="1453"/>
                </a:lnTo>
                <a:lnTo>
                  <a:pt x="782" y="1453"/>
                </a:lnTo>
                <a:lnTo>
                  <a:pt x="784" y="1453"/>
                </a:lnTo>
                <a:lnTo>
                  <a:pt x="789" y="1457"/>
                </a:lnTo>
                <a:lnTo>
                  <a:pt x="795" y="1462"/>
                </a:lnTo>
                <a:lnTo>
                  <a:pt x="789" y="1457"/>
                </a:lnTo>
                <a:lnTo>
                  <a:pt x="784" y="1453"/>
                </a:lnTo>
                <a:close/>
                <a:moveTo>
                  <a:pt x="748" y="1460"/>
                </a:moveTo>
                <a:lnTo>
                  <a:pt x="747" y="1461"/>
                </a:lnTo>
                <a:lnTo>
                  <a:pt x="746" y="1464"/>
                </a:lnTo>
                <a:lnTo>
                  <a:pt x="746" y="1465"/>
                </a:lnTo>
                <a:lnTo>
                  <a:pt x="745" y="1466"/>
                </a:lnTo>
                <a:lnTo>
                  <a:pt x="746" y="1465"/>
                </a:lnTo>
                <a:lnTo>
                  <a:pt x="746" y="1464"/>
                </a:lnTo>
                <a:lnTo>
                  <a:pt x="744" y="1461"/>
                </a:lnTo>
                <a:lnTo>
                  <a:pt x="745" y="1458"/>
                </a:lnTo>
                <a:lnTo>
                  <a:pt x="758" y="1447"/>
                </a:lnTo>
                <a:lnTo>
                  <a:pt x="775" y="1447"/>
                </a:lnTo>
                <a:lnTo>
                  <a:pt x="780" y="1448"/>
                </a:lnTo>
                <a:lnTo>
                  <a:pt x="785" y="1450"/>
                </a:lnTo>
                <a:lnTo>
                  <a:pt x="787" y="1450"/>
                </a:lnTo>
                <a:lnTo>
                  <a:pt x="789" y="1450"/>
                </a:lnTo>
                <a:lnTo>
                  <a:pt x="787" y="1450"/>
                </a:lnTo>
                <a:lnTo>
                  <a:pt x="785" y="1450"/>
                </a:lnTo>
                <a:lnTo>
                  <a:pt x="785" y="1451"/>
                </a:lnTo>
                <a:lnTo>
                  <a:pt x="784" y="1451"/>
                </a:lnTo>
                <a:lnTo>
                  <a:pt x="780" y="1451"/>
                </a:lnTo>
                <a:lnTo>
                  <a:pt x="778" y="1451"/>
                </a:lnTo>
                <a:lnTo>
                  <a:pt x="761" y="1451"/>
                </a:lnTo>
                <a:lnTo>
                  <a:pt x="748" y="1460"/>
                </a:lnTo>
                <a:close/>
                <a:moveTo>
                  <a:pt x="744" y="1403"/>
                </a:moveTo>
                <a:lnTo>
                  <a:pt x="745" y="1402"/>
                </a:lnTo>
                <a:lnTo>
                  <a:pt x="745" y="1401"/>
                </a:lnTo>
                <a:lnTo>
                  <a:pt x="745" y="1402"/>
                </a:lnTo>
                <a:lnTo>
                  <a:pt x="744" y="1403"/>
                </a:lnTo>
                <a:close/>
                <a:moveTo>
                  <a:pt x="758" y="1399"/>
                </a:moveTo>
                <a:lnTo>
                  <a:pt x="756" y="1399"/>
                </a:lnTo>
                <a:lnTo>
                  <a:pt x="754" y="1401"/>
                </a:lnTo>
                <a:lnTo>
                  <a:pt x="756" y="1399"/>
                </a:lnTo>
                <a:lnTo>
                  <a:pt x="758" y="1399"/>
                </a:lnTo>
                <a:close/>
                <a:moveTo>
                  <a:pt x="609" y="700"/>
                </a:moveTo>
                <a:lnTo>
                  <a:pt x="609" y="700"/>
                </a:lnTo>
                <a:lnTo>
                  <a:pt x="610" y="700"/>
                </a:lnTo>
                <a:lnTo>
                  <a:pt x="610" y="700"/>
                </a:lnTo>
                <a:lnTo>
                  <a:pt x="610" y="702"/>
                </a:lnTo>
                <a:lnTo>
                  <a:pt x="610" y="702"/>
                </a:lnTo>
                <a:lnTo>
                  <a:pt x="609" y="703"/>
                </a:lnTo>
                <a:lnTo>
                  <a:pt x="609" y="702"/>
                </a:lnTo>
                <a:lnTo>
                  <a:pt x="609" y="700"/>
                </a:lnTo>
                <a:close/>
                <a:moveTo>
                  <a:pt x="608" y="744"/>
                </a:moveTo>
                <a:lnTo>
                  <a:pt x="609" y="747"/>
                </a:lnTo>
                <a:lnTo>
                  <a:pt x="608" y="749"/>
                </a:lnTo>
                <a:lnTo>
                  <a:pt x="607" y="747"/>
                </a:lnTo>
                <a:lnTo>
                  <a:pt x="608" y="744"/>
                </a:lnTo>
                <a:close/>
                <a:moveTo>
                  <a:pt x="612" y="588"/>
                </a:moveTo>
                <a:lnTo>
                  <a:pt x="612" y="590"/>
                </a:lnTo>
                <a:lnTo>
                  <a:pt x="610" y="591"/>
                </a:lnTo>
                <a:lnTo>
                  <a:pt x="609" y="591"/>
                </a:lnTo>
                <a:lnTo>
                  <a:pt x="609" y="590"/>
                </a:lnTo>
                <a:lnTo>
                  <a:pt x="609" y="588"/>
                </a:lnTo>
                <a:lnTo>
                  <a:pt x="610" y="587"/>
                </a:lnTo>
                <a:lnTo>
                  <a:pt x="612" y="588"/>
                </a:lnTo>
                <a:lnTo>
                  <a:pt x="612" y="588"/>
                </a:lnTo>
                <a:close/>
                <a:moveTo>
                  <a:pt x="580" y="620"/>
                </a:moveTo>
                <a:lnTo>
                  <a:pt x="581" y="620"/>
                </a:lnTo>
                <a:lnTo>
                  <a:pt x="581" y="620"/>
                </a:lnTo>
                <a:lnTo>
                  <a:pt x="582" y="620"/>
                </a:lnTo>
                <a:lnTo>
                  <a:pt x="582" y="620"/>
                </a:lnTo>
                <a:lnTo>
                  <a:pt x="582" y="620"/>
                </a:lnTo>
                <a:lnTo>
                  <a:pt x="581" y="621"/>
                </a:lnTo>
                <a:lnTo>
                  <a:pt x="581" y="620"/>
                </a:lnTo>
                <a:lnTo>
                  <a:pt x="580" y="620"/>
                </a:lnTo>
                <a:close/>
                <a:moveTo>
                  <a:pt x="356" y="739"/>
                </a:moveTo>
                <a:lnTo>
                  <a:pt x="357" y="739"/>
                </a:lnTo>
                <a:lnTo>
                  <a:pt x="358" y="740"/>
                </a:lnTo>
                <a:lnTo>
                  <a:pt x="358" y="741"/>
                </a:lnTo>
                <a:lnTo>
                  <a:pt x="357" y="741"/>
                </a:lnTo>
                <a:lnTo>
                  <a:pt x="356" y="740"/>
                </a:lnTo>
                <a:lnTo>
                  <a:pt x="356" y="739"/>
                </a:lnTo>
                <a:close/>
                <a:moveTo>
                  <a:pt x="352" y="738"/>
                </a:moveTo>
                <a:lnTo>
                  <a:pt x="353" y="738"/>
                </a:lnTo>
                <a:lnTo>
                  <a:pt x="353" y="738"/>
                </a:lnTo>
                <a:lnTo>
                  <a:pt x="354" y="738"/>
                </a:lnTo>
                <a:lnTo>
                  <a:pt x="356" y="739"/>
                </a:lnTo>
                <a:lnTo>
                  <a:pt x="354" y="739"/>
                </a:lnTo>
                <a:lnTo>
                  <a:pt x="352" y="738"/>
                </a:lnTo>
                <a:close/>
                <a:moveTo>
                  <a:pt x="360" y="748"/>
                </a:moveTo>
                <a:lnTo>
                  <a:pt x="360" y="749"/>
                </a:lnTo>
                <a:lnTo>
                  <a:pt x="359" y="749"/>
                </a:lnTo>
                <a:lnTo>
                  <a:pt x="356" y="748"/>
                </a:lnTo>
                <a:lnTo>
                  <a:pt x="352" y="744"/>
                </a:lnTo>
                <a:lnTo>
                  <a:pt x="357" y="745"/>
                </a:lnTo>
                <a:lnTo>
                  <a:pt x="360" y="748"/>
                </a:lnTo>
                <a:close/>
                <a:moveTo>
                  <a:pt x="292" y="795"/>
                </a:moveTo>
                <a:lnTo>
                  <a:pt x="294" y="795"/>
                </a:lnTo>
                <a:lnTo>
                  <a:pt x="294" y="794"/>
                </a:lnTo>
                <a:lnTo>
                  <a:pt x="296" y="795"/>
                </a:lnTo>
                <a:lnTo>
                  <a:pt x="296" y="796"/>
                </a:lnTo>
                <a:lnTo>
                  <a:pt x="301" y="796"/>
                </a:lnTo>
                <a:lnTo>
                  <a:pt x="304" y="798"/>
                </a:lnTo>
                <a:lnTo>
                  <a:pt x="304" y="800"/>
                </a:lnTo>
                <a:lnTo>
                  <a:pt x="303" y="801"/>
                </a:lnTo>
                <a:lnTo>
                  <a:pt x="299" y="800"/>
                </a:lnTo>
                <a:lnTo>
                  <a:pt x="296" y="796"/>
                </a:lnTo>
                <a:lnTo>
                  <a:pt x="295" y="796"/>
                </a:lnTo>
                <a:lnTo>
                  <a:pt x="292" y="795"/>
                </a:lnTo>
                <a:close/>
                <a:moveTo>
                  <a:pt x="276" y="789"/>
                </a:moveTo>
                <a:lnTo>
                  <a:pt x="276" y="788"/>
                </a:lnTo>
                <a:lnTo>
                  <a:pt x="277" y="788"/>
                </a:lnTo>
                <a:lnTo>
                  <a:pt x="278" y="788"/>
                </a:lnTo>
                <a:lnTo>
                  <a:pt x="280" y="789"/>
                </a:lnTo>
                <a:lnTo>
                  <a:pt x="285" y="789"/>
                </a:lnTo>
                <a:lnTo>
                  <a:pt x="290" y="794"/>
                </a:lnTo>
                <a:lnTo>
                  <a:pt x="284" y="793"/>
                </a:lnTo>
                <a:lnTo>
                  <a:pt x="280" y="789"/>
                </a:lnTo>
                <a:lnTo>
                  <a:pt x="278" y="789"/>
                </a:lnTo>
                <a:lnTo>
                  <a:pt x="276" y="789"/>
                </a:lnTo>
                <a:close/>
                <a:moveTo>
                  <a:pt x="204" y="818"/>
                </a:moveTo>
                <a:lnTo>
                  <a:pt x="211" y="821"/>
                </a:lnTo>
                <a:lnTo>
                  <a:pt x="216" y="822"/>
                </a:lnTo>
                <a:lnTo>
                  <a:pt x="209" y="823"/>
                </a:lnTo>
                <a:lnTo>
                  <a:pt x="204" y="818"/>
                </a:lnTo>
                <a:close/>
                <a:moveTo>
                  <a:pt x="330" y="828"/>
                </a:moveTo>
                <a:lnTo>
                  <a:pt x="331" y="828"/>
                </a:lnTo>
                <a:lnTo>
                  <a:pt x="332" y="828"/>
                </a:lnTo>
                <a:lnTo>
                  <a:pt x="336" y="826"/>
                </a:lnTo>
                <a:lnTo>
                  <a:pt x="338" y="829"/>
                </a:lnTo>
                <a:lnTo>
                  <a:pt x="339" y="830"/>
                </a:lnTo>
                <a:lnTo>
                  <a:pt x="339" y="831"/>
                </a:lnTo>
                <a:lnTo>
                  <a:pt x="336" y="831"/>
                </a:lnTo>
                <a:lnTo>
                  <a:pt x="332" y="830"/>
                </a:lnTo>
                <a:lnTo>
                  <a:pt x="331" y="830"/>
                </a:lnTo>
                <a:lnTo>
                  <a:pt x="330" y="830"/>
                </a:lnTo>
                <a:lnTo>
                  <a:pt x="330" y="829"/>
                </a:lnTo>
                <a:lnTo>
                  <a:pt x="330" y="828"/>
                </a:lnTo>
                <a:close/>
                <a:moveTo>
                  <a:pt x="332" y="844"/>
                </a:moveTo>
                <a:lnTo>
                  <a:pt x="326" y="840"/>
                </a:lnTo>
                <a:lnTo>
                  <a:pt x="322" y="836"/>
                </a:lnTo>
                <a:lnTo>
                  <a:pt x="326" y="837"/>
                </a:lnTo>
                <a:lnTo>
                  <a:pt x="330" y="838"/>
                </a:lnTo>
                <a:lnTo>
                  <a:pt x="332" y="840"/>
                </a:lnTo>
                <a:lnTo>
                  <a:pt x="335" y="842"/>
                </a:lnTo>
                <a:lnTo>
                  <a:pt x="333" y="839"/>
                </a:lnTo>
                <a:lnTo>
                  <a:pt x="330" y="838"/>
                </a:lnTo>
                <a:lnTo>
                  <a:pt x="328" y="835"/>
                </a:lnTo>
                <a:lnTo>
                  <a:pt x="324" y="830"/>
                </a:lnTo>
                <a:lnTo>
                  <a:pt x="330" y="830"/>
                </a:lnTo>
                <a:lnTo>
                  <a:pt x="330" y="832"/>
                </a:lnTo>
                <a:lnTo>
                  <a:pt x="331" y="833"/>
                </a:lnTo>
                <a:lnTo>
                  <a:pt x="338" y="838"/>
                </a:lnTo>
                <a:lnTo>
                  <a:pt x="343" y="844"/>
                </a:lnTo>
                <a:lnTo>
                  <a:pt x="344" y="845"/>
                </a:lnTo>
                <a:lnTo>
                  <a:pt x="344" y="846"/>
                </a:lnTo>
                <a:lnTo>
                  <a:pt x="343" y="847"/>
                </a:lnTo>
                <a:lnTo>
                  <a:pt x="342" y="846"/>
                </a:lnTo>
                <a:lnTo>
                  <a:pt x="337" y="845"/>
                </a:lnTo>
                <a:lnTo>
                  <a:pt x="332" y="844"/>
                </a:lnTo>
                <a:lnTo>
                  <a:pt x="332" y="844"/>
                </a:lnTo>
                <a:close/>
                <a:moveTo>
                  <a:pt x="377" y="895"/>
                </a:moveTo>
                <a:lnTo>
                  <a:pt x="372" y="894"/>
                </a:lnTo>
                <a:lnTo>
                  <a:pt x="370" y="891"/>
                </a:lnTo>
                <a:lnTo>
                  <a:pt x="374" y="892"/>
                </a:lnTo>
                <a:lnTo>
                  <a:pt x="377" y="895"/>
                </a:lnTo>
                <a:close/>
                <a:moveTo>
                  <a:pt x="380" y="896"/>
                </a:moveTo>
                <a:lnTo>
                  <a:pt x="380" y="896"/>
                </a:lnTo>
                <a:lnTo>
                  <a:pt x="379" y="898"/>
                </a:lnTo>
                <a:lnTo>
                  <a:pt x="378" y="896"/>
                </a:lnTo>
                <a:lnTo>
                  <a:pt x="377" y="895"/>
                </a:lnTo>
                <a:lnTo>
                  <a:pt x="379" y="895"/>
                </a:lnTo>
                <a:lnTo>
                  <a:pt x="380" y="896"/>
                </a:lnTo>
                <a:close/>
                <a:moveTo>
                  <a:pt x="435" y="921"/>
                </a:moveTo>
                <a:lnTo>
                  <a:pt x="430" y="917"/>
                </a:lnTo>
                <a:lnTo>
                  <a:pt x="428" y="913"/>
                </a:lnTo>
                <a:lnTo>
                  <a:pt x="428" y="912"/>
                </a:lnTo>
                <a:lnTo>
                  <a:pt x="429" y="910"/>
                </a:lnTo>
                <a:lnTo>
                  <a:pt x="430" y="912"/>
                </a:lnTo>
                <a:lnTo>
                  <a:pt x="429" y="913"/>
                </a:lnTo>
                <a:lnTo>
                  <a:pt x="433" y="916"/>
                </a:lnTo>
                <a:lnTo>
                  <a:pt x="435" y="921"/>
                </a:lnTo>
                <a:close/>
                <a:moveTo>
                  <a:pt x="419" y="905"/>
                </a:moveTo>
                <a:lnTo>
                  <a:pt x="420" y="905"/>
                </a:lnTo>
                <a:lnTo>
                  <a:pt x="420" y="903"/>
                </a:lnTo>
                <a:lnTo>
                  <a:pt x="420" y="905"/>
                </a:lnTo>
                <a:lnTo>
                  <a:pt x="421" y="906"/>
                </a:lnTo>
                <a:lnTo>
                  <a:pt x="423" y="907"/>
                </a:lnTo>
                <a:lnTo>
                  <a:pt x="426" y="909"/>
                </a:lnTo>
                <a:lnTo>
                  <a:pt x="422" y="909"/>
                </a:lnTo>
                <a:lnTo>
                  <a:pt x="420" y="906"/>
                </a:lnTo>
                <a:lnTo>
                  <a:pt x="420" y="906"/>
                </a:lnTo>
                <a:lnTo>
                  <a:pt x="419" y="905"/>
                </a:lnTo>
                <a:close/>
                <a:moveTo>
                  <a:pt x="416" y="951"/>
                </a:moveTo>
                <a:lnTo>
                  <a:pt x="418" y="954"/>
                </a:lnTo>
                <a:lnTo>
                  <a:pt x="419" y="956"/>
                </a:lnTo>
                <a:lnTo>
                  <a:pt x="418" y="954"/>
                </a:lnTo>
                <a:lnTo>
                  <a:pt x="416" y="951"/>
                </a:lnTo>
                <a:close/>
                <a:moveTo>
                  <a:pt x="405" y="908"/>
                </a:moveTo>
                <a:lnTo>
                  <a:pt x="409" y="913"/>
                </a:lnTo>
                <a:lnTo>
                  <a:pt x="414" y="917"/>
                </a:lnTo>
                <a:lnTo>
                  <a:pt x="412" y="920"/>
                </a:lnTo>
                <a:lnTo>
                  <a:pt x="411" y="922"/>
                </a:lnTo>
                <a:lnTo>
                  <a:pt x="405" y="920"/>
                </a:lnTo>
                <a:lnTo>
                  <a:pt x="400" y="916"/>
                </a:lnTo>
                <a:lnTo>
                  <a:pt x="401" y="913"/>
                </a:lnTo>
                <a:lnTo>
                  <a:pt x="405" y="908"/>
                </a:lnTo>
                <a:close/>
                <a:moveTo>
                  <a:pt x="368" y="916"/>
                </a:moveTo>
                <a:lnTo>
                  <a:pt x="367" y="915"/>
                </a:lnTo>
                <a:lnTo>
                  <a:pt x="367" y="915"/>
                </a:lnTo>
                <a:lnTo>
                  <a:pt x="368" y="915"/>
                </a:lnTo>
                <a:lnTo>
                  <a:pt x="368" y="915"/>
                </a:lnTo>
                <a:lnTo>
                  <a:pt x="370" y="916"/>
                </a:lnTo>
                <a:lnTo>
                  <a:pt x="371" y="917"/>
                </a:lnTo>
                <a:lnTo>
                  <a:pt x="371" y="917"/>
                </a:lnTo>
                <a:lnTo>
                  <a:pt x="370" y="919"/>
                </a:lnTo>
                <a:lnTo>
                  <a:pt x="368" y="917"/>
                </a:lnTo>
                <a:lnTo>
                  <a:pt x="368" y="916"/>
                </a:lnTo>
                <a:close/>
                <a:moveTo>
                  <a:pt x="350" y="906"/>
                </a:moveTo>
                <a:lnTo>
                  <a:pt x="356" y="907"/>
                </a:lnTo>
                <a:lnTo>
                  <a:pt x="360" y="912"/>
                </a:lnTo>
                <a:lnTo>
                  <a:pt x="363" y="912"/>
                </a:lnTo>
                <a:lnTo>
                  <a:pt x="365" y="913"/>
                </a:lnTo>
                <a:lnTo>
                  <a:pt x="365" y="914"/>
                </a:lnTo>
                <a:lnTo>
                  <a:pt x="364" y="914"/>
                </a:lnTo>
                <a:lnTo>
                  <a:pt x="361" y="914"/>
                </a:lnTo>
                <a:lnTo>
                  <a:pt x="359" y="912"/>
                </a:lnTo>
                <a:lnTo>
                  <a:pt x="356" y="913"/>
                </a:lnTo>
                <a:lnTo>
                  <a:pt x="352" y="912"/>
                </a:lnTo>
                <a:lnTo>
                  <a:pt x="352" y="912"/>
                </a:lnTo>
                <a:lnTo>
                  <a:pt x="350" y="909"/>
                </a:lnTo>
                <a:lnTo>
                  <a:pt x="350" y="906"/>
                </a:lnTo>
                <a:close/>
                <a:moveTo>
                  <a:pt x="352" y="915"/>
                </a:moveTo>
                <a:lnTo>
                  <a:pt x="352" y="915"/>
                </a:lnTo>
                <a:lnTo>
                  <a:pt x="352" y="914"/>
                </a:lnTo>
                <a:lnTo>
                  <a:pt x="352" y="915"/>
                </a:lnTo>
                <a:lnTo>
                  <a:pt x="352" y="915"/>
                </a:lnTo>
                <a:lnTo>
                  <a:pt x="358" y="917"/>
                </a:lnTo>
                <a:lnTo>
                  <a:pt x="364" y="920"/>
                </a:lnTo>
                <a:lnTo>
                  <a:pt x="364" y="920"/>
                </a:lnTo>
                <a:lnTo>
                  <a:pt x="365" y="922"/>
                </a:lnTo>
                <a:lnTo>
                  <a:pt x="367" y="924"/>
                </a:lnTo>
                <a:lnTo>
                  <a:pt x="367" y="926"/>
                </a:lnTo>
                <a:lnTo>
                  <a:pt x="367" y="927"/>
                </a:lnTo>
                <a:lnTo>
                  <a:pt x="360" y="924"/>
                </a:lnTo>
                <a:lnTo>
                  <a:pt x="353" y="920"/>
                </a:lnTo>
                <a:lnTo>
                  <a:pt x="352" y="920"/>
                </a:lnTo>
                <a:lnTo>
                  <a:pt x="350" y="920"/>
                </a:lnTo>
                <a:lnTo>
                  <a:pt x="345" y="919"/>
                </a:lnTo>
                <a:lnTo>
                  <a:pt x="344" y="912"/>
                </a:lnTo>
                <a:lnTo>
                  <a:pt x="347" y="915"/>
                </a:lnTo>
                <a:lnTo>
                  <a:pt x="352" y="915"/>
                </a:lnTo>
                <a:close/>
                <a:moveTo>
                  <a:pt x="593" y="1307"/>
                </a:moveTo>
                <a:lnTo>
                  <a:pt x="594" y="1307"/>
                </a:lnTo>
                <a:lnTo>
                  <a:pt x="596" y="1306"/>
                </a:lnTo>
                <a:lnTo>
                  <a:pt x="596" y="1306"/>
                </a:lnTo>
                <a:lnTo>
                  <a:pt x="598" y="1306"/>
                </a:lnTo>
                <a:lnTo>
                  <a:pt x="599" y="1305"/>
                </a:lnTo>
                <a:lnTo>
                  <a:pt x="598" y="1306"/>
                </a:lnTo>
                <a:lnTo>
                  <a:pt x="596" y="1306"/>
                </a:lnTo>
                <a:lnTo>
                  <a:pt x="596" y="1306"/>
                </a:lnTo>
                <a:lnTo>
                  <a:pt x="594" y="1307"/>
                </a:lnTo>
                <a:lnTo>
                  <a:pt x="593" y="1307"/>
                </a:lnTo>
                <a:close/>
                <a:moveTo>
                  <a:pt x="660" y="1255"/>
                </a:moveTo>
                <a:lnTo>
                  <a:pt x="660" y="1254"/>
                </a:lnTo>
                <a:lnTo>
                  <a:pt x="660" y="1251"/>
                </a:lnTo>
                <a:lnTo>
                  <a:pt x="660" y="1251"/>
                </a:lnTo>
                <a:lnTo>
                  <a:pt x="660" y="1254"/>
                </a:lnTo>
                <a:lnTo>
                  <a:pt x="660" y="1255"/>
                </a:lnTo>
                <a:close/>
                <a:moveTo>
                  <a:pt x="719" y="1382"/>
                </a:moveTo>
                <a:lnTo>
                  <a:pt x="717" y="1382"/>
                </a:lnTo>
                <a:lnTo>
                  <a:pt x="716" y="1381"/>
                </a:lnTo>
                <a:lnTo>
                  <a:pt x="717" y="1382"/>
                </a:lnTo>
                <a:lnTo>
                  <a:pt x="719" y="1382"/>
                </a:lnTo>
                <a:lnTo>
                  <a:pt x="720" y="1384"/>
                </a:lnTo>
                <a:lnTo>
                  <a:pt x="720" y="1385"/>
                </a:lnTo>
                <a:lnTo>
                  <a:pt x="720" y="1384"/>
                </a:lnTo>
                <a:lnTo>
                  <a:pt x="719" y="1382"/>
                </a:lnTo>
                <a:close/>
                <a:moveTo>
                  <a:pt x="694" y="1327"/>
                </a:moveTo>
                <a:lnTo>
                  <a:pt x="692" y="1322"/>
                </a:lnTo>
                <a:lnTo>
                  <a:pt x="691" y="1318"/>
                </a:lnTo>
                <a:lnTo>
                  <a:pt x="692" y="1322"/>
                </a:lnTo>
                <a:lnTo>
                  <a:pt x="694" y="1327"/>
                </a:lnTo>
                <a:lnTo>
                  <a:pt x="697" y="1327"/>
                </a:lnTo>
                <a:lnTo>
                  <a:pt x="699" y="1328"/>
                </a:lnTo>
                <a:lnTo>
                  <a:pt x="697" y="1327"/>
                </a:lnTo>
                <a:lnTo>
                  <a:pt x="694" y="1327"/>
                </a:lnTo>
                <a:close/>
                <a:moveTo>
                  <a:pt x="670" y="1346"/>
                </a:moveTo>
                <a:lnTo>
                  <a:pt x="675" y="1346"/>
                </a:lnTo>
                <a:lnTo>
                  <a:pt x="679" y="1346"/>
                </a:lnTo>
                <a:lnTo>
                  <a:pt x="675" y="1346"/>
                </a:lnTo>
                <a:lnTo>
                  <a:pt x="670" y="1346"/>
                </a:lnTo>
                <a:close/>
                <a:moveTo>
                  <a:pt x="678" y="1434"/>
                </a:moveTo>
                <a:lnTo>
                  <a:pt x="678" y="1438"/>
                </a:lnTo>
                <a:lnTo>
                  <a:pt x="678" y="1440"/>
                </a:lnTo>
                <a:lnTo>
                  <a:pt x="678" y="1438"/>
                </a:lnTo>
                <a:lnTo>
                  <a:pt x="678" y="1434"/>
                </a:lnTo>
                <a:lnTo>
                  <a:pt x="683" y="1434"/>
                </a:lnTo>
                <a:lnTo>
                  <a:pt x="688" y="1434"/>
                </a:lnTo>
                <a:lnTo>
                  <a:pt x="683" y="1434"/>
                </a:lnTo>
                <a:lnTo>
                  <a:pt x="678" y="1434"/>
                </a:lnTo>
                <a:close/>
                <a:moveTo>
                  <a:pt x="665" y="1450"/>
                </a:moveTo>
                <a:lnTo>
                  <a:pt x="664" y="1451"/>
                </a:lnTo>
                <a:lnTo>
                  <a:pt x="663" y="1451"/>
                </a:lnTo>
                <a:lnTo>
                  <a:pt x="664" y="1451"/>
                </a:lnTo>
                <a:lnTo>
                  <a:pt x="665" y="1450"/>
                </a:lnTo>
                <a:lnTo>
                  <a:pt x="667" y="1450"/>
                </a:lnTo>
                <a:lnTo>
                  <a:pt x="668" y="1451"/>
                </a:lnTo>
                <a:lnTo>
                  <a:pt x="667" y="1450"/>
                </a:lnTo>
                <a:lnTo>
                  <a:pt x="665" y="1450"/>
                </a:lnTo>
                <a:close/>
                <a:moveTo>
                  <a:pt x="656" y="1450"/>
                </a:moveTo>
                <a:lnTo>
                  <a:pt x="655" y="1453"/>
                </a:lnTo>
                <a:lnTo>
                  <a:pt x="653" y="1453"/>
                </a:lnTo>
                <a:lnTo>
                  <a:pt x="655" y="1453"/>
                </a:lnTo>
                <a:lnTo>
                  <a:pt x="656" y="1450"/>
                </a:lnTo>
                <a:lnTo>
                  <a:pt x="658" y="1450"/>
                </a:lnTo>
                <a:lnTo>
                  <a:pt x="661" y="1450"/>
                </a:lnTo>
                <a:lnTo>
                  <a:pt x="656" y="1450"/>
                </a:lnTo>
                <a:close/>
                <a:moveTo>
                  <a:pt x="639" y="1427"/>
                </a:moveTo>
                <a:lnTo>
                  <a:pt x="637" y="1430"/>
                </a:lnTo>
                <a:lnTo>
                  <a:pt x="635" y="1432"/>
                </a:lnTo>
                <a:lnTo>
                  <a:pt x="637" y="1430"/>
                </a:lnTo>
                <a:lnTo>
                  <a:pt x="639" y="1427"/>
                </a:lnTo>
                <a:lnTo>
                  <a:pt x="647" y="1424"/>
                </a:lnTo>
                <a:lnTo>
                  <a:pt x="654" y="1424"/>
                </a:lnTo>
                <a:lnTo>
                  <a:pt x="647" y="1424"/>
                </a:lnTo>
                <a:lnTo>
                  <a:pt x="639" y="1427"/>
                </a:lnTo>
                <a:close/>
                <a:moveTo>
                  <a:pt x="629" y="1450"/>
                </a:moveTo>
                <a:lnTo>
                  <a:pt x="628" y="1450"/>
                </a:lnTo>
                <a:lnTo>
                  <a:pt x="627" y="1450"/>
                </a:lnTo>
                <a:lnTo>
                  <a:pt x="628" y="1450"/>
                </a:lnTo>
                <a:lnTo>
                  <a:pt x="629" y="1450"/>
                </a:lnTo>
                <a:lnTo>
                  <a:pt x="630" y="1447"/>
                </a:lnTo>
                <a:lnTo>
                  <a:pt x="630" y="1446"/>
                </a:lnTo>
                <a:lnTo>
                  <a:pt x="630" y="1447"/>
                </a:lnTo>
                <a:lnTo>
                  <a:pt x="629" y="1450"/>
                </a:lnTo>
                <a:close/>
                <a:moveTo>
                  <a:pt x="626" y="1443"/>
                </a:moveTo>
                <a:lnTo>
                  <a:pt x="626" y="1436"/>
                </a:lnTo>
                <a:lnTo>
                  <a:pt x="625" y="1430"/>
                </a:lnTo>
                <a:lnTo>
                  <a:pt x="626" y="1436"/>
                </a:lnTo>
                <a:lnTo>
                  <a:pt x="626" y="1443"/>
                </a:lnTo>
                <a:close/>
                <a:moveTo>
                  <a:pt x="612" y="1362"/>
                </a:moveTo>
                <a:lnTo>
                  <a:pt x="613" y="1362"/>
                </a:lnTo>
                <a:lnTo>
                  <a:pt x="615" y="1361"/>
                </a:lnTo>
                <a:lnTo>
                  <a:pt x="613" y="1362"/>
                </a:lnTo>
                <a:lnTo>
                  <a:pt x="612" y="1362"/>
                </a:lnTo>
                <a:close/>
                <a:moveTo>
                  <a:pt x="602" y="1325"/>
                </a:moveTo>
                <a:lnTo>
                  <a:pt x="602" y="1325"/>
                </a:lnTo>
                <a:lnTo>
                  <a:pt x="601" y="1324"/>
                </a:lnTo>
                <a:lnTo>
                  <a:pt x="602" y="1325"/>
                </a:lnTo>
                <a:lnTo>
                  <a:pt x="602" y="1325"/>
                </a:lnTo>
                <a:lnTo>
                  <a:pt x="603" y="1326"/>
                </a:lnTo>
                <a:lnTo>
                  <a:pt x="603" y="1327"/>
                </a:lnTo>
                <a:lnTo>
                  <a:pt x="605" y="1331"/>
                </a:lnTo>
                <a:lnTo>
                  <a:pt x="607" y="1333"/>
                </a:lnTo>
                <a:lnTo>
                  <a:pt x="605" y="1331"/>
                </a:lnTo>
                <a:lnTo>
                  <a:pt x="603" y="1327"/>
                </a:lnTo>
                <a:lnTo>
                  <a:pt x="602" y="1327"/>
                </a:lnTo>
                <a:lnTo>
                  <a:pt x="601" y="1327"/>
                </a:lnTo>
                <a:lnTo>
                  <a:pt x="602" y="1327"/>
                </a:lnTo>
                <a:lnTo>
                  <a:pt x="603" y="1327"/>
                </a:lnTo>
                <a:lnTo>
                  <a:pt x="603" y="1326"/>
                </a:lnTo>
                <a:lnTo>
                  <a:pt x="602" y="1325"/>
                </a:lnTo>
                <a:close/>
                <a:moveTo>
                  <a:pt x="606" y="1336"/>
                </a:moveTo>
                <a:lnTo>
                  <a:pt x="600" y="1340"/>
                </a:lnTo>
                <a:lnTo>
                  <a:pt x="593" y="1343"/>
                </a:lnTo>
                <a:lnTo>
                  <a:pt x="600" y="1340"/>
                </a:lnTo>
                <a:lnTo>
                  <a:pt x="606" y="1336"/>
                </a:lnTo>
                <a:close/>
                <a:moveTo>
                  <a:pt x="588" y="1364"/>
                </a:moveTo>
                <a:lnTo>
                  <a:pt x="587" y="1363"/>
                </a:lnTo>
                <a:lnTo>
                  <a:pt x="586" y="1361"/>
                </a:lnTo>
                <a:lnTo>
                  <a:pt x="587" y="1363"/>
                </a:lnTo>
                <a:lnTo>
                  <a:pt x="588" y="1364"/>
                </a:lnTo>
                <a:close/>
                <a:moveTo>
                  <a:pt x="586" y="1335"/>
                </a:moveTo>
                <a:lnTo>
                  <a:pt x="589" y="1334"/>
                </a:lnTo>
                <a:lnTo>
                  <a:pt x="592" y="1331"/>
                </a:lnTo>
                <a:lnTo>
                  <a:pt x="589" y="1334"/>
                </a:lnTo>
                <a:lnTo>
                  <a:pt x="586" y="1335"/>
                </a:lnTo>
                <a:close/>
                <a:moveTo>
                  <a:pt x="601" y="1429"/>
                </a:moveTo>
                <a:lnTo>
                  <a:pt x="593" y="1429"/>
                </a:lnTo>
                <a:lnTo>
                  <a:pt x="585" y="1429"/>
                </a:lnTo>
                <a:lnTo>
                  <a:pt x="593" y="1429"/>
                </a:lnTo>
                <a:lnTo>
                  <a:pt x="601" y="1429"/>
                </a:lnTo>
                <a:close/>
                <a:moveTo>
                  <a:pt x="578" y="1380"/>
                </a:moveTo>
                <a:lnTo>
                  <a:pt x="563" y="1385"/>
                </a:lnTo>
                <a:lnTo>
                  <a:pt x="546" y="1388"/>
                </a:lnTo>
                <a:lnTo>
                  <a:pt x="543" y="1391"/>
                </a:lnTo>
                <a:lnTo>
                  <a:pt x="537" y="1390"/>
                </a:lnTo>
                <a:lnTo>
                  <a:pt x="542" y="1389"/>
                </a:lnTo>
                <a:lnTo>
                  <a:pt x="545" y="1388"/>
                </a:lnTo>
                <a:lnTo>
                  <a:pt x="558" y="1383"/>
                </a:lnTo>
                <a:lnTo>
                  <a:pt x="572" y="1378"/>
                </a:lnTo>
                <a:lnTo>
                  <a:pt x="577" y="1376"/>
                </a:lnTo>
                <a:lnTo>
                  <a:pt x="582" y="1373"/>
                </a:lnTo>
                <a:lnTo>
                  <a:pt x="584" y="1371"/>
                </a:lnTo>
                <a:lnTo>
                  <a:pt x="584" y="1371"/>
                </a:lnTo>
                <a:lnTo>
                  <a:pt x="585" y="1371"/>
                </a:lnTo>
                <a:lnTo>
                  <a:pt x="585" y="1371"/>
                </a:lnTo>
                <a:lnTo>
                  <a:pt x="585" y="1374"/>
                </a:lnTo>
                <a:lnTo>
                  <a:pt x="585" y="1375"/>
                </a:lnTo>
                <a:lnTo>
                  <a:pt x="581" y="1377"/>
                </a:lnTo>
                <a:lnTo>
                  <a:pt x="578" y="1380"/>
                </a:lnTo>
                <a:close/>
                <a:moveTo>
                  <a:pt x="550" y="1361"/>
                </a:moveTo>
                <a:lnTo>
                  <a:pt x="551" y="1360"/>
                </a:lnTo>
                <a:lnTo>
                  <a:pt x="553" y="1359"/>
                </a:lnTo>
                <a:lnTo>
                  <a:pt x="553" y="1360"/>
                </a:lnTo>
                <a:lnTo>
                  <a:pt x="553" y="1360"/>
                </a:lnTo>
                <a:lnTo>
                  <a:pt x="552" y="1361"/>
                </a:lnTo>
                <a:lnTo>
                  <a:pt x="550" y="1361"/>
                </a:lnTo>
                <a:lnTo>
                  <a:pt x="547" y="1364"/>
                </a:lnTo>
                <a:lnTo>
                  <a:pt x="544" y="1367"/>
                </a:lnTo>
                <a:lnTo>
                  <a:pt x="544" y="1367"/>
                </a:lnTo>
                <a:lnTo>
                  <a:pt x="536" y="1369"/>
                </a:lnTo>
                <a:lnTo>
                  <a:pt x="527" y="1374"/>
                </a:lnTo>
                <a:lnTo>
                  <a:pt x="525" y="1374"/>
                </a:lnTo>
                <a:lnTo>
                  <a:pt x="523" y="1374"/>
                </a:lnTo>
                <a:lnTo>
                  <a:pt x="527" y="1368"/>
                </a:lnTo>
                <a:lnTo>
                  <a:pt x="534" y="1366"/>
                </a:lnTo>
                <a:lnTo>
                  <a:pt x="538" y="1366"/>
                </a:lnTo>
                <a:lnTo>
                  <a:pt x="540" y="1363"/>
                </a:lnTo>
                <a:lnTo>
                  <a:pt x="542" y="1361"/>
                </a:lnTo>
                <a:lnTo>
                  <a:pt x="544" y="1359"/>
                </a:lnTo>
                <a:lnTo>
                  <a:pt x="542" y="1361"/>
                </a:lnTo>
                <a:lnTo>
                  <a:pt x="540" y="1363"/>
                </a:lnTo>
                <a:lnTo>
                  <a:pt x="545" y="1362"/>
                </a:lnTo>
                <a:lnTo>
                  <a:pt x="550" y="1361"/>
                </a:lnTo>
                <a:close/>
                <a:moveTo>
                  <a:pt x="519" y="1391"/>
                </a:moveTo>
                <a:lnTo>
                  <a:pt x="517" y="1392"/>
                </a:lnTo>
                <a:lnTo>
                  <a:pt x="516" y="1395"/>
                </a:lnTo>
                <a:lnTo>
                  <a:pt x="509" y="1399"/>
                </a:lnTo>
                <a:lnTo>
                  <a:pt x="502" y="1404"/>
                </a:lnTo>
                <a:lnTo>
                  <a:pt x="501" y="1403"/>
                </a:lnTo>
                <a:lnTo>
                  <a:pt x="501" y="1402"/>
                </a:lnTo>
                <a:lnTo>
                  <a:pt x="505" y="1398"/>
                </a:lnTo>
                <a:lnTo>
                  <a:pt x="510" y="1395"/>
                </a:lnTo>
                <a:lnTo>
                  <a:pt x="511" y="1392"/>
                </a:lnTo>
                <a:lnTo>
                  <a:pt x="511" y="1390"/>
                </a:lnTo>
                <a:lnTo>
                  <a:pt x="505" y="1391"/>
                </a:lnTo>
                <a:lnTo>
                  <a:pt x="501" y="1394"/>
                </a:lnTo>
                <a:lnTo>
                  <a:pt x="505" y="1391"/>
                </a:lnTo>
                <a:lnTo>
                  <a:pt x="511" y="1390"/>
                </a:lnTo>
                <a:lnTo>
                  <a:pt x="512" y="1389"/>
                </a:lnTo>
                <a:lnTo>
                  <a:pt x="515" y="1388"/>
                </a:lnTo>
                <a:lnTo>
                  <a:pt x="515" y="1388"/>
                </a:lnTo>
                <a:lnTo>
                  <a:pt x="522" y="1388"/>
                </a:lnTo>
                <a:lnTo>
                  <a:pt x="529" y="1383"/>
                </a:lnTo>
                <a:lnTo>
                  <a:pt x="539" y="1378"/>
                </a:lnTo>
                <a:lnTo>
                  <a:pt x="549" y="1370"/>
                </a:lnTo>
                <a:lnTo>
                  <a:pt x="550" y="1369"/>
                </a:lnTo>
                <a:lnTo>
                  <a:pt x="550" y="1369"/>
                </a:lnTo>
                <a:lnTo>
                  <a:pt x="551" y="1367"/>
                </a:lnTo>
                <a:lnTo>
                  <a:pt x="552" y="1366"/>
                </a:lnTo>
                <a:lnTo>
                  <a:pt x="551" y="1367"/>
                </a:lnTo>
                <a:lnTo>
                  <a:pt x="550" y="1369"/>
                </a:lnTo>
                <a:lnTo>
                  <a:pt x="553" y="1371"/>
                </a:lnTo>
                <a:lnTo>
                  <a:pt x="551" y="1375"/>
                </a:lnTo>
                <a:lnTo>
                  <a:pt x="549" y="1377"/>
                </a:lnTo>
                <a:lnTo>
                  <a:pt x="546" y="1380"/>
                </a:lnTo>
                <a:lnTo>
                  <a:pt x="532" y="1385"/>
                </a:lnTo>
                <a:lnTo>
                  <a:pt x="519" y="1391"/>
                </a:lnTo>
                <a:close/>
                <a:moveTo>
                  <a:pt x="491" y="1371"/>
                </a:moveTo>
                <a:lnTo>
                  <a:pt x="499" y="1367"/>
                </a:lnTo>
                <a:lnTo>
                  <a:pt x="505" y="1360"/>
                </a:lnTo>
                <a:lnTo>
                  <a:pt x="508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2" y="1357"/>
                </a:lnTo>
                <a:lnTo>
                  <a:pt x="515" y="1354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9" y="1353"/>
                </a:lnTo>
                <a:lnTo>
                  <a:pt x="517" y="1356"/>
                </a:lnTo>
                <a:lnTo>
                  <a:pt x="512" y="1357"/>
                </a:lnTo>
                <a:lnTo>
                  <a:pt x="504" y="1367"/>
                </a:lnTo>
                <a:lnTo>
                  <a:pt x="491" y="1371"/>
                </a:lnTo>
                <a:close/>
                <a:moveTo>
                  <a:pt x="489" y="1362"/>
                </a:moveTo>
                <a:lnTo>
                  <a:pt x="488" y="1359"/>
                </a:lnTo>
                <a:lnTo>
                  <a:pt x="490" y="1357"/>
                </a:lnTo>
                <a:lnTo>
                  <a:pt x="497" y="1354"/>
                </a:lnTo>
                <a:lnTo>
                  <a:pt x="503" y="1353"/>
                </a:lnTo>
                <a:lnTo>
                  <a:pt x="505" y="1349"/>
                </a:lnTo>
                <a:lnTo>
                  <a:pt x="509" y="1348"/>
                </a:lnTo>
                <a:lnTo>
                  <a:pt x="510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2" y="1346"/>
                </a:lnTo>
                <a:lnTo>
                  <a:pt x="511" y="1348"/>
                </a:lnTo>
                <a:lnTo>
                  <a:pt x="509" y="1348"/>
                </a:lnTo>
                <a:lnTo>
                  <a:pt x="508" y="1352"/>
                </a:lnTo>
                <a:lnTo>
                  <a:pt x="503" y="1353"/>
                </a:lnTo>
                <a:lnTo>
                  <a:pt x="498" y="1357"/>
                </a:lnTo>
                <a:lnTo>
                  <a:pt x="492" y="1361"/>
                </a:lnTo>
                <a:lnTo>
                  <a:pt x="491" y="1362"/>
                </a:lnTo>
                <a:lnTo>
                  <a:pt x="489" y="1362"/>
                </a:lnTo>
                <a:close/>
                <a:moveTo>
                  <a:pt x="520" y="1352"/>
                </a:moveTo>
                <a:lnTo>
                  <a:pt x="519" y="1349"/>
                </a:lnTo>
                <a:lnTo>
                  <a:pt x="517" y="1348"/>
                </a:lnTo>
                <a:lnTo>
                  <a:pt x="519" y="1349"/>
                </a:lnTo>
                <a:lnTo>
                  <a:pt x="520" y="1352"/>
                </a:lnTo>
                <a:close/>
                <a:moveTo>
                  <a:pt x="520" y="1311"/>
                </a:moveTo>
                <a:lnTo>
                  <a:pt x="520" y="1308"/>
                </a:lnTo>
                <a:lnTo>
                  <a:pt x="520" y="1306"/>
                </a:lnTo>
                <a:lnTo>
                  <a:pt x="517" y="1308"/>
                </a:lnTo>
                <a:lnTo>
                  <a:pt x="512" y="1308"/>
                </a:lnTo>
                <a:lnTo>
                  <a:pt x="517" y="1308"/>
                </a:lnTo>
                <a:lnTo>
                  <a:pt x="520" y="1306"/>
                </a:lnTo>
                <a:lnTo>
                  <a:pt x="526" y="1299"/>
                </a:lnTo>
                <a:lnTo>
                  <a:pt x="533" y="1292"/>
                </a:lnTo>
                <a:lnTo>
                  <a:pt x="538" y="1290"/>
                </a:lnTo>
                <a:lnTo>
                  <a:pt x="543" y="1290"/>
                </a:lnTo>
                <a:lnTo>
                  <a:pt x="531" y="1300"/>
                </a:lnTo>
                <a:lnTo>
                  <a:pt x="520" y="1311"/>
                </a:lnTo>
                <a:close/>
                <a:moveTo>
                  <a:pt x="504" y="1192"/>
                </a:moveTo>
                <a:lnTo>
                  <a:pt x="502" y="1193"/>
                </a:lnTo>
                <a:lnTo>
                  <a:pt x="499" y="1193"/>
                </a:lnTo>
                <a:lnTo>
                  <a:pt x="495" y="1193"/>
                </a:lnTo>
                <a:lnTo>
                  <a:pt x="491" y="1193"/>
                </a:lnTo>
                <a:lnTo>
                  <a:pt x="491" y="1191"/>
                </a:lnTo>
                <a:lnTo>
                  <a:pt x="491" y="1188"/>
                </a:lnTo>
                <a:lnTo>
                  <a:pt x="491" y="1187"/>
                </a:lnTo>
                <a:lnTo>
                  <a:pt x="490" y="1187"/>
                </a:lnTo>
                <a:lnTo>
                  <a:pt x="491" y="1187"/>
                </a:lnTo>
                <a:lnTo>
                  <a:pt x="491" y="1188"/>
                </a:lnTo>
                <a:lnTo>
                  <a:pt x="497" y="1187"/>
                </a:lnTo>
                <a:lnTo>
                  <a:pt x="499" y="1180"/>
                </a:lnTo>
                <a:lnTo>
                  <a:pt x="508" y="1184"/>
                </a:lnTo>
                <a:lnTo>
                  <a:pt x="504" y="1192"/>
                </a:lnTo>
                <a:close/>
                <a:moveTo>
                  <a:pt x="481" y="1284"/>
                </a:moveTo>
                <a:lnTo>
                  <a:pt x="485" y="1279"/>
                </a:lnTo>
                <a:lnTo>
                  <a:pt x="490" y="1275"/>
                </a:lnTo>
                <a:lnTo>
                  <a:pt x="485" y="1279"/>
                </a:lnTo>
                <a:lnTo>
                  <a:pt x="481" y="1284"/>
                </a:lnTo>
                <a:close/>
                <a:moveTo>
                  <a:pt x="480" y="1290"/>
                </a:moveTo>
                <a:lnTo>
                  <a:pt x="478" y="1286"/>
                </a:lnTo>
                <a:lnTo>
                  <a:pt x="478" y="1284"/>
                </a:lnTo>
                <a:lnTo>
                  <a:pt x="478" y="1286"/>
                </a:lnTo>
                <a:lnTo>
                  <a:pt x="480" y="1290"/>
                </a:lnTo>
                <a:close/>
                <a:moveTo>
                  <a:pt x="474" y="1230"/>
                </a:moveTo>
                <a:lnTo>
                  <a:pt x="474" y="1231"/>
                </a:lnTo>
                <a:lnTo>
                  <a:pt x="474" y="1233"/>
                </a:lnTo>
                <a:lnTo>
                  <a:pt x="474" y="1231"/>
                </a:lnTo>
                <a:lnTo>
                  <a:pt x="474" y="1230"/>
                </a:lnTo>
                <a:lnTo>
                  <a:pt x="478" y="1227"/>
                </a:lnTo>
                <a:lnTo>
                  <a:pt x="482" y="1222"/>
                </a:lnTo>
                <a:lnTo>
                  <a:pt x="478" y="1227"/>
                </a:lnTo>
                <a:lnTo>
                  <a:pt x="474" y="1230"/>
                </a:lnTo>
                <a:close/>
                <a:moveTo>
                  <a:pt x="451" y="1147"/>
                </a:moveTo>
                <a:lnTo>
                  <a:pt x="453" y="1152"/>
                </a:lnTo>
                <a:lnTo>
                  <a:pt x="454" y="1157"/>
                </a:lnTo>
                <a:lnTo>
                  <a:pt x="453" y="1152"/>
                </a:lnTo>
                <a:lnTo>
                  <a:pt x="451" y="1147"/>
                </a:lnTo>
                <a:close/>
                <a:moveTo>
                  <a:pt x="432" y="1104"/>
                </a:moveTo>
                <a:lnTo>
                  <a:pt x="433" y="1102"/>
                </a:lnTo>
                <a:lnTo>
                  <a:pt x="430" y="1100"/>
                </a:lnTo>
                <a:lnTo>
                  <a:pt x="429" y="1100"/>
                </a:lnTo>
                <a:lnTo>
                  <a:pt x="429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0" y="1100"/>
                </a:lnTo>
                <a:lnTo>
                  <a:pt x="432" y="1100"/>
                </a:lnTo>
                <a:lnTo>
                  <a:pt x="432" y="1100"/>
                </a:lnTo>
                <a:lnTo>
                  <a:pt x="434" y="1100"/>
                </a:lnTo>
                <a:lnTo>
                  <a:pt x="436" y="1101"/>
                </a:lnTo>
                <a:lnTo>
                  <a:pt x="434" y="1100"/>
                </a:lnTo>
                <a:lnTo>
                  <a:pt x="432" y="1100"/>
                </a:lnTo>
                <a:lnTo>
                  <a:pt x="433" y="1102"/>
                </a:lnTo>
                <a:lnTo>
                  <a:pt x="432" y="1104"/>
                </a:lnTo>
                <a:close/>
                <a:moveTo>
                  <a:pt x="318" y="972"/>
                </a:moveTo>
                <a:lnTo>
                  <a:pt x="318" y="972"/>
                </a:lnTo>
                <a:lnTo>
                  <a:pt x="318" y="971"/>
                </a:lnTo>
                <a:lnTo>
                  <a:pt x="318" y="970"/>
                </a:lnTo>
                <a:lnTo>
                  <a:pt x="319" y="970"/>
                </a:lnTo>
                <a:lnTo>
                  <a:pt x="319" y="971"/>
                </a:lnTo>
                <a:lnTo>
                  <a:pt x="320" y="971"/>
                </a:lnTo>
                <a:lnTo>
                  <a:pt x="319" y="972"/>
                </a:lnTo>
                <a:lnTo>
                  <a:pt x="318" y="972"/>
                </a:lnTo>
                <a:close/>
                <a:moveTo>
                  <a:pt x="289" y="920"/>
                </a:moveTo>
                <a:lnTo>
                  <a:pt x="288" y="916"/>
                </a:lnTo>
                <a:lnTo>
                  <a:pt x="288" y="913"/>
                </a:lnTo>
                <a:lnTo>
                  <a:pt x="292" y="913"/>
                </a:lnTo>
                <a:lnTo>
                  <a:pt x="296" y="915"/>
                </a:lnTo>
                <a:lnTo>
                  <a:pt x="292" y="919"/>
                </a:lnTo>
                <a:lnTo>
                  <a:pt x="289" y="920"/>
                </a:lnTo>
                <a:close/>
                <a:moveTo>
                  <a:pt x="288" y="965"/>
                </a:moveTo>
                <a:lnTo>
                  <a:pt x="288" y="963"/>
                </a:lnTo>
                <a:lnTo>
                  <a:pt x="288" y="962"/>
                </a:lnTo>
                <a:lnTo>
                  <a:pt x="284" y="963"/>
                </a:lnTo>
                <a:lnTo>
                  <a:pt x="284" y="966"/>
                </a:lnTo>
                <a:lnTo>
                  <a:pt x="284" y="970"/>
                </a:lnTo>
                <a:lnTo>
                  <a:pt x="284" y="975"/>
                </a:lnTo>
                <a:lnTo>
                  <a:pt x="278" y="971"/>
                </a:lnTo>
                <a:lnTo>
                  <a:pt x="276" y="968"/>
                </a:lnTo>
                <a:lnTo>
                  <a:pt x="278" y="968"/>
                </a:lnTo>
                <a:lnTo>
                  <a:pt x="282" y="969"/>
                </a:lnTo>
                <a:lnTo>
                  <a:pt x="278" y="964"/>
                </a:lnTo>
                <a:lnTo>
                  <a:pt x="270" y="965"/>
                </a:lnTo>
                <a:lnTo>
                  <a:pt x="270" y="963"/>
                </a:lnTo>
                <a:lnTo>
                  <a:pt x="270" y="962"/>
                </a:lnTo>
                <a:lnTo>
                  <a:pt x="270" y="961"/>
                </a:lnTo>
                <a:lnTo>
                  <a:pt x="270" y="959"/>
                </a:lnTo>
                <a:lnTo>
                  <a:pt x="270" y="958"/>
                </a:lnTo>
                <a:lnTo>
                  <a:pt x="270" y="957"/>
                </a:lnTo>
                <a:lnTo>
                  <a:pt x="273" y="954"/>
                </a:lnTo>
                <a:lnTo>
                  <a:pt x="276" y="956"/>
                </a:lnTo>
                <a:lnTo>
                  <a:pt x="282" y="959"/>
                </a:lnTo>
                <a:lnTo>
                  <a:pt x="288" y="962"/>
                </a:lnTo>
                <a:lnTo>
                  <a:pt x="291" y="963"/>
                </a:lnTo>
                <a:lnTo>
                  <a:pt x="292" y="965"/>
                </a:lnTo>
                <a:lnTo>
                  <a:pt x="290" y="965"/>
                </a:lnTo>
                <a:lnTo>
                  <a:pt x="288" y="965"/>
                </a:lnTo>
                <a:close/>
                <a:moveTo>
                  <a:pt x="208" y="840"/>
                </a:moveTo>
                <a:lnTo>
                  <a:pt x="209" y="840"/>
                </a:lnTo>
                <a:lnTo>
                  <a:pt x="211" y="843"/>
                </a:lnTo>
                <a:lnTo>
                  <a:pt x="208" y="842"/>
                </a:lnTo>
                <a:lnTo>
                  <a:pt x="208" y="840"/>
                </a:lnTo>
                <a:close/>
                <a:moveTo>
                  <a:pt x="185" y="747"/>
                </a:moveTo>
                <a:lnTo>
                  <a:pt x="185" y="744"/>
                </a:lnTo>
                <a:lnTo>
                  <a:pt x="183" y="741"/>
                </a:lnTo>
                <a:lnTo>
                  <a:pt x="185" y="744"/>
                </a:lnTo>
                <a:lnTo>
                  <a:pt x="185" y="747"/>
                </a:lnTo>
                <a:lnTo>
                  <a:pt x="187" y="747"/>
                </a:lnTo>
                <a:lnTo>
                  <a:pt x="188" y="747"/>
                </a:lnTo>
                <a:lnTo>
                  <a:pt x="187" y="747"/>
                </a:lnTo>
                <a:lnTo>
                  <a:pt x="185" y="747"/>
                </a:lnTo>
                <a:close/>
                <a:moveTo>
                  <a:pt x="183" y="709"/>
                </a:moveTo>
                <a:lnTo>
                  <a:pt x="187" y="711"/>
                </a:lnTo>
                <a:lnTo>
                  <a:pt x="192" y="713"/>
                </a:lnTo>
                <a:lnTo>
                  <a:pt x="193" y="716"/>
                </a:lnTo>
                <a:lnTo>
                  <a:pt x="194" y="718"/>
                </a:lnTo>
                <a:lnTo>
                  <a:pt x="186" y="716"/>
                </a:lnTo>
                <a:lnTo>
                  <a:pt x="183" y="709"/>
                </a:lnTo>
                <a:close/>
                <a:moveTo>
                  <a:pt x="187" y="653"/>
                </a:moveTo>
                <a:lnTo>
                  <a:pt x="187" y="654"/>
                </a:lnTo>
                <a:lnTo>
                  <a:pt x="187" y="655"/>
                </a:lnTo>
                <a:lnTo>
                  <a:pt x="190" y="660"/>
                </a:lnTo>
                <a:lnTo>
                  <a:pt x="195" y="657"/>
                </a:lnTo>
                <a:lnTo>
                  <a:pt x="194" y="656"/>
                </a:lnTo>
                <a:lnTo>
                  <a:pt x="194" y="655"/>
                </a:lnTo>
                <a:lnTo>
                  <a:pt x="198" y="655"/>
                </a:lnTo>
                <a:lnTo>
                  <a:pt x="201" y="653"/>
                </a:lnTo>
                <a:lnTo>
                  <a:pt x="198" y="655"/>
                </a:lnTo>
                <a:lnTo>
                  <a:pt x="194" y="655"/>
                </a:lnTo>
                <a:lnTo>
                  <a:pt x="194" y="656"/>
                </a:lnTo>
                <a:lnTo>
                  <a:pt x="195" y="657"/>
                </a:lnTo>
                <a:lnTo>
                  <a:pt x="206" y="658"/>
                </a:lnTo>
                <a:lnTo>
                  <a:pt x="216" y="662"/>
                </a:lnTo>
                <a:lnTo>
                  <a:pt x="204" y="661"/>
                </a:lnTo>
                <a:lnTo>
                  <a:pt x="191" y="665"/>
                </a:lnTo>
                <a:lnTo>
                  <a:pt x="194" y="665"/>
                </a:lnTo>
                <a:lnTo>
                  <a:pt x="198" y="665"/>
                </a:lnTo>
                <a:lnTo>
                  <a:pt x="200" y="665"/>
                </a:lnTo>
                <a:lnTo>
                  <a:pt x="202" y="667"/>
                </a:lnTo>
                <a:lnTo>
                  <a:pt x="200" y="665"/>
                </a:lnTo>
                <a:lnTo>
                  <a:pt x="198" y="665"/>
                </a:lnTo>
                <a:lnTo>
                  <a:pt x="194" y="665"/>
                </a:lnTo>
                <a:lnTo>
                  <a:pt x="191" y="665"/>
                </a:lnTo>
                <a:lnTo>
                  <a:pt x="187" y="667"/>
                </a:lnTo>
                <a:lnTo>
                  <a:pt x="183" y="665"/>
                </a:lnTo>
                <a:lnTo>
                  <a:pt x="181" y="664"/>
                </a:lnTo>
                <a:lnTo>
                  <a:pt x="181" y="662"/>
                </a:lnTo>
                <a:lnTo>
                  <a:pt x="185" y="658"/>
                </a:lnTo>
                <a:lnTo>
                  <a:pt x="187" y="653"/>
                </a:lnTo>
                <a:close/>
                <a:moveTo>
                  <a:pt x="174" y="615"/>
                </a:moveTo>
                <a:lnTo>
                  <a:pt x="175" y="615"/>
                </a:lnTo>
                <a:lnTo>
                  <a:pt x="178" y="615"/>
                </a:lnTo>
                <a:lnTo>
                  <a:pt x="178" y="614"/>
                </a:lnTo>
                <a:lnTo>
                  <a:pt x="177" y="613"/>
                </a:lnTo>
                <a:lnTo>
                  <a:pt x="178" y="613"/>
                </a:lnTo>
                <a:lnTo>
                  <a:pt x="179" y="613"/>
                </a:lnTo>
                <a:lnTo>
                  <a:pt x="178" y="613"/>
                </a:lnTo>
                <a:lnTo>
                  <a:pt x="177" y="613"/>
                </a:lnTo>
                <a:lnTo>
                  <a:pt x="178" y="614"/>
                </a:lnTo>
                <a:lnTo>
                  <a:pt x="178" y="615"/>
                </a:lnTo>
                <a:lnTo>
                  <a:pt x="179" y="616"/>
                </a:lnTo>
                <a:lnTo>
                  <a:pt x="180" y="616"/>
                </a:lnTo>
                <a:lnTo>
                  <a:pt x="179" y="616"/>
                </a:lnTo>
                <a:lnTo>
                  <a:pt x="178" y="615"/>
                </a:lnTo>
                <a:lnTo>
                  <a:pt x="175" y="615"/>
                </a:lnTo>
                <a:lnTo>
                  <a:pt x="174" y="615"/>
                </a:lnTo>
                <a:close/>
                <a:moveTo>
                  <a:pt x="171" y="595"/>
                </a:move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4" y="595"/>
                </a:lnTo>
                <a:lnTo>
                  <a:pt x="173" y="595"/>
                </a:lnTo>
                <a:lnTo>
                  <a:pt x="171" y="595"/>
                </a:lnTo>
                <a:close/>
                <a:moveTo>
                  <a:pt x="168" y="634"/>
                </a:moveTo>
                <a:lnTo>
                  <a:pt x="171" y="635"/>
                </a:lnTo>
                <a:lnTo>
                  <a:pt x="173" y="636"/>
                </a:lnTo>
                <a:lnTo>
                  <a:pt x="171" y="635"/>
                </a:lnTo>
                <a:lnTo>
                  <a:pt x="168" y="634"/>
                </a:lnTo>
                <a:close/>
                <a:moveTo>
                  <a:pt x="157" y="692"/>
                </a:moveTo>
                <a:lnTo>
                  <a:pt x="157" y="692"/>
                </a:lnTo>
                <a:lnTo>
                  <a:pt x="163" y="695"/>
                </a:lnTo>
                <a:lnTo>
                  <a:pt x="168" y="698"/>
                </a:lnTo>
                <a:lnTo>
                  <a:pt x="163" y="695"/>
                </a:lnTo>
                <a:lnTo>
                  <a:pt x="157" y="692"/>
                </a:lnTo>
                <a:close/>
                <a:moveTo>
                  <a:pt x="153" y="675"/>
                </a:moveTo>
                <a:lnTo>
                  <a:pt x="157" y="676"/>
                </a:lnTo>
                <a:lnTo>
                  <a:pt x="160" y="678"/>
                </a:lnTo>
                <a:lnTo>
                  <a:pt x="157" y="676"/>
                </a:lnTo>
                <a:lnTo>
                  <a:pt x="153" y="675"/>
                </a:lnTo>
                <a:close/>
                <a:moveTo>
                  <a:pt x="165" y="636"/>
                </a:moveTo>
                <a:lnTo>
                  <a:pt x="165" y="636"/>
                </a:lnTo>
                <a:lnTo>
                  <a:pt x="165" y="637"/>
                </a:lnTo>
                <a:lnTo>
                  <a:pt x="165" y="636"/>
                </a:lnTo>
                <a:lnTo>
                  <a:pt x="165" y="636"/>
                </a:lnTo>
                <a:lnTo>
                  <a:pt x="161" y="636"/>
                </a:lnTo>
                <a:lnTo>
                  <a:pt x="158" y="635"/>
                </a:lnTo>
                <a:lnTo>
                  <a:pt x="161" y="636"/>
                </a:lnTo>
                <a:lnTo>
                  <a:pt x="165" y="636"/>
                </a:lnTo>
                <a:close/>
                <a:moveTo>
                  <a:pt x="190" y="615"/>
                </a:moveTo>
                <a:lnTo>
                  <a:pt x="193" y="615"/>
                </a:lnTo>
                <a:lnTo>
                  <a:pt x="198" y="616"/>
                </a:lnTo>
                <a:lnTo>
                  <a:pt x="193" y="615"/>
                </a:lnTo>
                <a:lnTo>
                  <a:pt x="190" y="615"/>
                </a:lnTo>
                <a:lnTo>
                  <a:pt x="185" y="616"/>
                </a:lnTo>
                <a:lnTo>
                  <a:pt x="181" y="615"/>
                </a:lnTo>
                <a:lnTo>
                  <a:pt x="185" y="616"/>
                </a:lnTo>
                <a:lnTo>
                  <a:pt x="190" y="615"/>
                </a:lnTo>
                <a:close/>
                <a:moveTo>
                  <a:pt x="218" y="509"/>
                </a:moveTo>
                <a:lnTo>
                  <a:pt x="216" y="507"/>
                </a:lnTo>
                <a:lnTo>
                  <a:pt x="216" y="504"/>
                </a:lnTo>
                <a:lnTo>
                  <a:pt x="216" y="507"/>
                </a:lnTo>
                <a:lnTo>
                  <a:pt x="218" y="509"/>
                </a:lnTo>
                <a:close/>
                <a:moveTo>
                  <a:pt x="218" y="482"/>
                </a:moveTo>
                <a:lnTo>
                  <a:pt x="219" y="483"/>
                </a:lnTo>
                <a:lnTo>
                  <a:pt x="221" y="486"/>
                </a:lnTo>
                <a:lnTo>
                  <a:pt x="219" y="483"/>
                </a:lnTo>
                <a:lnTo>
                  <a:pt x="218" y="482"/>
                </a:lnTo>
                <a:close/>
                <a:moveTo>
                  <a:pt x="220" y="717"/>
                </a:moveTo>
                <a:lnTo>
                  <a:pt x="218" y="717"/>
                </a:lnTo>
                <a:lnTo>
                  <a:pt x="218" y="716"/>
                </a:lnTo>
                <a:lnTo>
                  <a:pt x="219" y="714"/>
                </a:lnTo>
                <a:lnTo>
                  <a:pt x="220" y="713"/>
                </a:lnTo>
                <a:lnTo>
                  <a:pt x="228" y="717"/>
                </a:lnTo>
                <a:lnTo>
                  <a:pt x="236" y="718"/>
                </a:lnTo>
                <a:lnTo>
                  <a:pt x="239" y="718"/>
                </a:lnTo>
                <a:lnTo>
                  <a:pt x="240" y="720"/>
                </a:lnTo>
                <a:lnTo>
                  <a:pt x="239" y="721"/>
                </a:lnTo>
                <a:lnTo>
                  <a:pt x="236" y="721"/>
                </a:lnTo>
                <a:lnTo>
                  <a:pt x="228" y="720"/>
                </a:lnTo>
                <a:lnTo>
                  <a:pt x="220" y="717"/>
                </a:lnTo>
                <a:close/>
                <a:moveTo>
                  <a:pt x="198" y="769"/>
                </a:moveTo>
                <a:lnTo>
                  <a:pt x="199" y="769"/>
                </a:lnTo>
                <a:lnTo>
                  <a:pt x="199" y="772"/>
                </a:lnTo>
                <a:lnTo>
                  <a:pt x="209" y="773"/>
                </a:lnTo>
                <a:lnTo>
                  <a:pt x="219" y="777"/>
                </a:lnTo>
                <a:lnTo>
                  <a:pt x="220" y="779"/>
                </a:lnTo>
                <a:lnTo>
                  <a:pt x="220" y="780"/>
                </a:lnTo>
                <a:lnTo>
                  <a:pt x="219" y="781"/>
                </a:lnTo>
                <a:lnTo>
                  <a:pt x="218" y="781"/>
                </a:lnTo>
                <a:lnTo>
                  <a:pt x="208" y="776"/>
                </a:lnTo>
                <a:lnTo>
                  <a:pt x="199" y="772"/>
                </a:lnTo>
                <a:lnTo>
                  <a:pt x="198" y="770"/>
                </a:lnTo>
                <a:lnTo>
                  <a:pt x="198" y="769"/>
                </a:lnTo>
                <a:lnTo>
                  <a:pt x="198" y="769"/>
                </a:lnTo>
                <a:lnTo>
                  <a:pt x="198" y="769"/>
                </a:lnTo>
                <a:close/>
                <a:moveTo>
                  <a:pt x="194" y="718"/>
                </a:moveTo>
                <a:lnTo>
                  <a:pt x="198" y="718"/>
                </a:lnTo>
                <a:lnTo>
                  <a:pt x="200" y="721"/>
                </a:lnTo>
                <a:lnTo>
                  <a:pt x="195" y="721"/>
                </a:lnTo>
                <a:lnTo>
                  <a:pt x="194" y="718"/>
                </a:lnTo>
                <a:close/>
                <a:moveTo>
                  <a:pt x="246" y="557"/>
                </a:moveTo>
                <a:lnTo>
                  <a:pt x="249" y="558"/>
                </a:lnTo>
                <a:lnTo>
                  <a:pt x="250" y="562"/>
                </a:lnTo>
                <a:lnTo>
                  <a:pt x="249" y="558"/>
                </a:lnTo>
                <a:lnTo>
                  <a:pt x="246" y="557"/>
                </a:lnTo>
                <a:lnTo>
                  <a:pt x="244" y="555"/>
                </a:lnTo>
                <a:lnTo>
                  <a:pt x="241" y="553"/>
                </a:lnTo>
                <a:lnTo>
                  <a:pt x="244" y="555"/>
                </a:lnTo>
                <a:lnTo>
                  <a:pt x="246" y="557"/>
                </a:lnTo>
                <a:close/>
                <a:moveTo>
                  <a:pt x="254" y="459"/>
                </a:moveTo>
                <a:lnTo>
                  <a:pt x="254" y="462"/>
                </a:lnTo>
                <a:lnTo>
                  <a:pt x="256" y="464"/>
                </a:lnTo>
                <a:lnTo>
                  <a:pt x="254" y="462"/>
                </a:lnTo>
                <a:lnTo>
                  <a:pt x="254" y="459"/>
                </a:lnTo>
                <a:lnTo>
                  <a:pt x="253" y="459"/>
                </a:lnTo>
                <a:lnTo>
                  <a:pt x="250" y="459"/>
                </a:lnTo>
                <a:lnTo>
                  <a:pt x="253" y="459"/>
                </a:lnTo>
                <a:lnTo>
                  <a:pt x="254" y="459"/>
                </a:lnTo>
                <a:close/>
                <a:moveTo>
                  <a:pt x="249" y="532"/>
                </a:moveTo>
                <a:lnTo>
                  <a:pt x="250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35"/>
                </a:lnTo>
                <a:lnTo>
                  <a:pt x="252" y="534"/>
                </a:lnTo>
                <a:lnTo>
                  <a:pt x="252" y="534"/>
                </a:lnTo>
                <a:lnTo>
                  <a:pt x="250" y="534"/>
                </a:lnTo>
                <a:lnTo>
                  <a:pt x="249" y="532"/>
                </a:lnTo>
                <a:close/>
                <a:moveTo>
                  <a:pt x="261" y="528"/>
                </a:moveTo>
                <a:lnTo>
                  <a:pt x="257" y="529"/>
                </a:lnTo>
                <a:lnTo>
                  <a:pt x="256" y="531"/>
                </a:lnTo>
                <a:lnTo>
                  <a:pt x="254" y="531"/>
                </a:lnTo>
                <a:lnTo>
                  <a:pt x="252" y="531"/>
                </a:lnTo>
                <a:lnTo>
                  <a:pt x="254" y="531"/>
                </a:lnTo>
                <a:lnTo>
                  <a:pt x="256" y="531"/>
                </a:lnTo>
                <a:lnTo>
                  <a:pt x="257" y="529"/>
                </a:lnTo>
                <a:lnTo>
                  <a:pt x="261" y="528"/>
                </a:lnTo>
                <a:close/>
                <a:moveTo>
                  <a:pt x="262" y="676"/>
                </a:moveTo>
                <a:lnTo>
                  <a:pt x="264" y="677"/>
                </a:lnTo>
                <a:lnTo>
                  <a:pt x="266" y="681"/>
                </a:lnTo>
                <a:lnTo>
                  <a:pt x="262" y="678"/>
                </a:lnTo>
                <a:lnTo>
                  <a:pt x="261" y="677"/>
                </a:lnTo>
                <a:lnTo>
                  <a:pt x="261" y="676"/>
                </a:lnTo>
                <a:lnTo>
                  <a:pt x="262" y="676"/>
                </a:lnTo>
                <a:close/>
                <a:moveTo>
                  <a:pt x="257" y="613"/>
                </a:moveTo>
                <a:lnTo>
                  <a:pt x="256" y="614"/>
                </a:lnTo>
                <a:lnTo>
                  <a:pt x="255" y="615"/>
                </a:lnTo>
                <a:lnTo>
                  <a:pt x="256" y="614"/>
                </a:lnTo>
                <a:lnTo>
                  <a:pt x="257" y="613"/>
                </a:lnTo>
                <a:close/>
                <a:moveTo>
                  <a:pt x="256" y="636"/>
                </a:moveTo>
                <a:lnTo>
                  <a:pt x="255" y="633"/>
                </a:lnTo>
                <a:lnTo>
                  <a:pt x="255" y="629"/>
                </a:lnTo>
                <a:lnTo>
                  <a:pt x="255" y="629"/>
                </a:lnTo>
                <a:lnTo>
                  <a:pt x="255" y="625"/>
                </a:lnTo>
                <a:lnTo>
                  <a:pt x="255" y="621"/>
                </a:lnTo>
                <a:lnTo>
                  <a:pt x="256" y="620"/>
                </a:lnTo>
                <a:lnTo>
                  <a:pt x="257" y="619"/>
                </a:lnTo>
                <a:lnTo>
                  <a:pt x="260" y="618"/>
                </a:lnTo>
                <a:lnTo>
                  <a:pt x="262" y="618"/>
                </a:lnTo>
                <a:lnTo>
                  <a:pt x="262" y="619"/>
                </a:lnTo>
                <a:lnTo>
                  <a:pt x="262" y="621"/>
                </a:lnTo>
                <a:lnTo>
                  <a:pt x="261" y="625"/>
                </a:lnTo>
                <a:lnTo>
                  <a:pt x="261" y="627"/>
                </a:lnTo>
                <a:lnTo>
                  <a:pt x="263" y="627"/>
                </a:lnTo>
                <a:lnTo>
                  <a:pt x="266" y="627"/>
                </a:lnTo>
                <a:lnTo>
                  <a:pt x="263" y="627"/>
                </a:lnTo>
                <a:lnTo>
                  <a:pt x="261" y="627"/>
                </a:lnTo>
                <a:lnTo>
                  <a:pt x="259" y="629"/>
                </a:lnTo>
                <a:lnTo>
                  <a:pt x="261" y="632"/>
                </a:lnTo>
                <a:lnTo>
                  <a:pt x="259" y="635"/>
                </a:lnTo>
                <a:lnTo>
                  <a:pt x="256" y="636"/>
                </a:lnTo>
                <a:close/>
                <a:moveTo>
                  <a:pt x="267" y="489"/>
                </a:moveTo>
                <a:lnTo>
                  <a:pt x="264" y="489"/>
                </a:lnTo>
                <a:lnTo>
                  <a:pt x="261" y="489"/>
                </a:lnTo>
                <a:lnTo>
                  <a:pt x="264" y="489"/>
                </a:lnTo>
                <a:lnTo>
                  <a:pt x="267" y="489"/>
                </a:lnTo>
                <a:close/>
                <a:moveTo>
                  <a:pt x="271" y="535"/>
                </a:moveTo>
                <a:lnTo>
                  <a:pt x="271" y="537"/>
                </a:lnTo>
                <a:lnTo>
                  <a:pt x="271" y="538"/>
                </a:lnTo>
                <a:lnTo>
                  <a:pt x="271" y="537"/>
                </a:lnTo>
                <a:lnTo>
                  <a:pt x="271" y="535"/>
                </a:lnTo>
                <a:lnTo>
                  <a:pt x="269" y="535"/>
                </a:lnTo>
                <a:lnTo>
                  <a:pt x="267" y="534"/>
                </a:lnTo>
                <a:lnTo>
                  <a:pt x="269" y="535"/>
                </a:lnTo>
                <a:lnTo>
                  <a:pt x="271" y="535"/>
                </a:lnTo>
                <a:close/>
                <a:moveTo>
                  <a:pt x="273" y="601"/>
                </a:moveTo>
                <a:lnTo>
                  <a:pt x="275" y="599"/>
                </a:lnTo>
                <a:lnTo>
                  <a:pt x="276" y="597"/>
                </a:lnTo>
                <a:lnTo>
                  <a:pt x="275" y="599"/>
                </a:lnTo>
                <a:lnTo>
                  <a:pt x="273" y="601"/>
                </a:lnTo>
                <a:lnTo>
                  <a:pt x="271" y="604"/>
                </a:lnTo>
                <a:lnTo>
                  <a:pt x="269" y="604"/>
                </a:lnTo>
                <a:lnTo>
                  <a:pt x="271" y="604"/>
                </a:lnTo>
                <a:lnTo>
                  <a:pt x="273" y="601"/>
                </a:lnTo>
                <a:close/>
                <a:moveTo>
                  <a:pt x="277" y="527"/>
                </a:moveTo>
                <a:lnTo>
                  <a:pt x="275" y="528"/>
                </a:lnTo>
                <a:lnTo>
                  <a:pt x="274" y="528"/>
                </a:lnTo>
                <a:lnTo>
                  <a:pt x="275" y="528"/>
                </a:lnTo>
                <a:lnTo>
                  <a:pt x="277" y="527"/>
                </a:lnTo>
                <a:close/>
                <a:moveTo>
                  <a:pt x="280" y="432"/>
                </a:moveTo>
                <a:lnTo>
                  <a:pt x="281" y="432"/>
                </a:lnTo>
                <a:lnTo>
                  <a:pt x="281" y="431"/>
                </a:lnTo>
                <a:lnTo>
                  <a:pt x="281" y="432"/>
                </a:lnTo>
                <a:lnTo>
                  <a:pt x="280" y="432"/>
                </a:lnTo>
                <a:lnTo>
                  <a:pt x="278" y="432"/>
                </a:lnTo>
                <a:lnTo>
                  <a:pt x="277" y="432"/>
                </a:lnTo>
                <a:lnTo>
                  <a:pt x="278" y="432"/>
                </a:lnTo>
                <a:lnTo>
                  <a:pt x="280" y="432"/>
                </a:lnTo>
                <a:close/>
                <a:moveTo>
                  <a:pt x="278" y="398"/>
                </a:moveTo>
                <a:lnTo>
                  <a:pt x="278" y="399"/>
                </a:lnTo>
                <a:lnTo>
                  <a:pt x="277" y="401"/>
                </a:lnTo>
                <a:lnTo>
                  <a:pt x="278" y="399"/>
                </a:lnTo>
                <a:lnTo>
                  <a:pt x="278" y="398"/>
                </a:lnTo>
                <a:close/>
                <a:moveTo>
                  <a:pt x="281" y="436"/>
                </a:moveTo>
                <a:lnTo>
                  <a:pt x="282" y="438"/>
                </a:lnTo>
                <a:lnTo>
                  <a:pt x="284" y="439"/>
                </a:lnTo>
                <a:lnTo>
                  <a:pt x="282" y="438"/>
                </a:lnTo>
                <a:lnTo>
                  <a:pt x="281" y="436"/>
                </a:lnTo>
                <a:close/>
                <a:moveTo>
                  <a:pt x="288" y="497"/>
                </a:moveTo>
                <a:lnTo>
                  <a:pt x="288" y="499"/>
                </a:lnTo>
                <a:lnTo>
                  <a:pt x="289" y="500"/>
                </a:lnTo>
                <a:lnTo>
                  <a:pt x="288" y="499"/>
                </a:lnTo>
                <a:lnTo>
                  <a:pt x="288" y="497"/>
                </a:lnTo>
                <a:lnTo>
                  <a:pt x="290" y="497"/>
                </a:lnTo>
                <a:lnTo>
                  <a:pt x="292" y="497"/>
                </a:lnTo>
                <a:lnTo>
                  <a:pt x="290" y="497"/>
                </a:lnTo>
                <a:lnTo>
                  <a:pt x="288" y="497"/>
                </a:lnTo>
                <a:close/>
                <a:moveTo>
                  <a:pt x="280" y="595"/>
                </a:moveTo>
                <a:lnTo>
                  <a:pt x="280" y="598"/>
                </a:lnTo>
                <a:lnTo>
                  <a:pt x="280" y="600"/>
                </a:lnTo>
                <a:lnTo>
                  <a:pt x="280" y="598"/>
                </a:lnTo>
                <a:lnTo>
                  <a:pt x="280" y="595"/>
                </a:lnTo>
                <a:lnTo>
                  <a:pt x="278" y="595"/>
                </a:lnTo>
                <a:lnTo>
                  <a:pt x="277" y="595"/>
                </a:lnTo>
                <a:lnTo>
                  <a:pt x="278" y="595"/>
                </a:lnTo>
                <a:lnTo>
                  <a:pt x="280" y="595"/>
                </a:lnTo>
                <a:close/>
                <a:moveTo>
                  <a:pt x="288" y="600"/>
                </a:moveTo>
                <a:lnTo>
                  <a:pt x="290" y="600"/>
                </a:lnTo>
                <a:lnTo>
                  <a:pt x="292" y="601"/>
                </a:lnTo>
                <a:lnTo>
                  <a:pt x="290" y="600"/>
                </a:lnTo>
                <a:lnTo>
                  <a:pt x="288" y="600"/>
                </a:lnTo>
                <a:lnTo>
                  <a:pt x="288" y="599"/>
                </a:lnTo>
                <a:lnTo>
                  <a:pt x="288" y="599"/>
                </a:lnTo>
                <a:lnTo>
                  <a:pt x="288" y="599"/>
                </a:lnTo>
                <a:lnTo>
                  <a:pt x="288" y="600"/>
                </a:lnTo>
                <a:close/>
                <a:moveTo>
                  <a:pt x="280" y="572"/>
                </a:move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0" y="572"/>
                </a:lnTo>
                <a:lnTo>
                  <a:pt x="284" y="573"/>
                </a:lnTo>
                <a:lnTo>
                  <a:pt x="289" y="576"/>
                </a:lnTo>
                <a:lnTo>
                  <a:pt x="284" y="573"/>
                </a:lnTo>
                <a:lnTo>
                  <a:pt x="280" y="572"/>
                </a:lnTo>
                <a:close/>
                <a:moveTo>
                  <a:pt x="287" y="634"/>
                </a:moveTo>
                <a:lnTo>
                  <a:pt x="285" y="637"/>
                </a:lnTo>
                <a:lnTo>
                  <a:pt x="284" y="641"/>
                </a:lnTo>
                <a:lnTo>
                  <a:pt x="284" y="643"/>
                </a:lnTo>
                <a:lnTo>
                  <a:pt x="284" y="642"/>
                </a:lnTo>
                <a:lnTo>
                  <a:pt x="284" y="641"/>
                </a:lnTo>
                <a:lnTo>
                  <a:pt x="285" y="637"/>
                </a:lnTo>
                <a:lnTo>
                  <a:pt x="287" y="634"/>
                </a:lnTo>
                <a:close/>
                <a:moveTo>
                  <a:pt x="288" y="565"/>
                </a:moveTo>
                <a:lnTo>
                  <a:pt x="284" y="563"/>
                </a:lnTo>
                <a:lnTo>
                  <a:pt x="280" y="562"/>
                </a:lnTo>
                <a:lnTo>
                  <a:pt x="280" y="564"/>
                </a:lnTo>
                <a:lnTo>
                  <a:pt x="278" y="565"/>
                </a:lnTo>
                <a:lnTo>
                  <a:pt x="280" y="564"/>
                </a:lnTo>
                <a:lnTo>
                  <a:pt x="280" y="562"/>
                </a:lnTo>
                <a:lnTo>
                  <a:pt x="284" y="563"/>
                </a:lnTo>
                <a:lnTo>
                  <a:pt x="288" y="565"/>
                </a:lnTo>
                <a:close/>
                <a:moveTo>
                  <a:pt x="287" y="670"/>
                </a:moveTo>
                <a:lnTo>
                  <a:pt x="282" y="672"/>
                </a:lnTo>
                <a:lnTo>
                  <a:pt x="280" y="670"/>
                </a:lnTo>
                <a:lnTo>
                  <a:pt x="283" y="669"/>
                </a:lnTo>
                <a:lnTo>
                  <a:pt x="287" y="670"/>
                </a:lnTo>
                <a:close/>
                <a:moveTo>
                  <a:pt x="292" y="642"/>
                </a:moveTo>
                <a:lnTo>
                  <a:pt x="290" y="649"/>
                </a:lnTo>
                <a:lnTo>
                  <a:pt x="285" y="653"/>
                </a:lnTo>
                <a:lnTo>
                  <a:pt x="284" y="658"/>
                </a:lnTo>
                <a:lnTo>
                  <a:pt x="282" y="662"/>
                </a:lnTo>
                <a:lnTo>
                  <a:pt x="280" y="665"/>
                </a:lnTo>
                <a:lnTo>
                  <a:pt x="280" y="670"/>
                </a:lnTo>
                <a:lnTo>
                  <a:pt x="278" y="670"/>
                </a:lnTo>
                <a:lnTo>
                  <a:pt x="276" y="669"/>
                </a:lnTo>
                <a:lnTo>
                  <a:pt x="278" y="665"/>
                </a:lnTo>
                <a:lnTo>
                  <a:pt x="280" y="661"/>
                </a:lnTo>
                <a:lnTo>
                  <a:pt x="280" y="656"/>
                </a:lnTo>
                <a:lnTo>
                  <a:pt x="283" y="655"/>
                </a:lnTo>
                <a:lnTo>
                  <a:pt x="284" y="654"/>
                </a:lnTo>
                <a:lnTo>
                  <a:pt x="285" y="653"/>
                </a:lnTo>
                <a:lnTo>
                  <a:pt x="287" y="648"/>
                </a:lnTo>
                <a:lnTo>
                  <a:pt x="288" y="643"/>
                </a:lnTo>
                <a:lnTo>
                  <a:pt x="290" y="643"/>
                </a:lnTo>
                <a:lnTo>
                  <a:pt x="292" y="642"/>
                </a:lnTo>
                <a:lnTo>
                  <a:pt x="294" y="639"/>
                </a:lnTo>
                <a:lnTo>
                  <a:pt x="294" y="635"/>
                </a:lnTo>
                <a:lnTo>
                  <a:pt x="294" y="639"/>
                </a:lnTo>
                <a:lnTo>
                  <a:pt x="292" y="642"/>
                </a:lnTo>
                <a:close/>
                <a:moveTo>
                  <a:pt x="302" y="497"/>
                </a:moveTo>
                <a:lnTo>
                  <a:pt x="299" y="497"/>
                </a:lnTo>
                <a:lnTo>
                  <a:pt x="297" y="500"/>
                </a:lnTo>
                <a:lnTo>
                  <a:pt x="295" y="501"/>
                </a:lnTo>
                <a:lnTo>
                  <a:pt x="292" y="502"/>
                </a:lnTo>
                <a:lnTo>
                  <a:pt x="295" y="501"/>
                </a:lnTo>
                <a:lnTo>
                  <a:pt x="297" y="500"/>
                </a:lnTo>
                <a:lnTo>
                  <a:pt x="299" y="497"/>
                </a:lnTo>
                <a:lnTo>
                  <a:pt x="302" y="497"/>
                </a:lnTo>
                <a:close/>
                <a:moveTo>
                  <a:pt x="306" y="683"/>
                </a:moveTo>
                <a:lnTo>
                  <a:pt x="311" y="683"/>
                </a:lnTo>
                <a:lnTo>
                  <a:pt x="316" y="683"/>
                </a:lnTo>
                <a:lnTo>
                  <a:pt x="316" y="685"/>
                </a:lnTo>
                <a:lnTo>
                  <a:pt x="316" y="689"/>
                </a:lnTo>
                <a:lnTo>
                  <a:pt x="312" y="688"/>
                </a:lnTo>
                <a:lnTo>
                  <a:pt x="308" y="686"/>
                </a:lnTo>
                <a:lnTo>
                  <a:pt x="306" y="686"/>
                </a:lnTo>
                <a:lnTo>
                  <a:pt x="305" y="685"/>
                </a:lnTo>
                <a:lnTo>
                  <a:pt x="306" y="684"/>
                </a:lnTo>
                <a:lnTo>
                  <a:pt x="306" y="683"/>
                </a:lnTo>
                <a:close/>
                <a:moveTo>
                  <a:pt x="310" y="628"/>
                </a:moveTo>
                <a:lnTo>
                  <a:pt x="308" y="626"/>
                </a:lnTo>
                <a:lnTo>
                  <a:pt x="308" y="622"/>
                </a:lnTo>
                <a:lnTo>
                  <a:pt x="308" y="626"/>
                </a:lnTo>
                <a:lnTo>
                  <a:pt x="310" y="628"/>
                </a:lnTo>
                <a:lnTo>
                  <a:pt x="310" y="630"/>
                </a:lnTo>
                <a:lnTo>
                  <a:pt x="310" y="632"/>
                </a:lnTo>
                <a:lnTo>
                  <a:pt x="310" y="630"/>
                </a:lnTo>
                <a:lnTo>
                  <a:pt x="310" y="628"/>
                </a:lnTo>
                <a:close/>
                <a:moveTo>
                  <a:pt x="310" y="616"/>
                </a:moveTo>
                <a:lnTo>
                  <a:pt x="310" y="616"/>
                </a:lnTo>
                <a:lnTo>
                  <a:pt x="311" y="616"/>
                </a:lnTo>
                <a:lnTo>
                  <a:pt x="310" y="616"/>
                </a:lnTo>
                <a:lnTo>
                  <a:pt x="310" y="616"/>
                </a:lnTo>
                <a:lnTo>
                  <a:pt x="308" y="615"/>
                </a:lnTo>
                <a:lnTo>
                  <a:pt x="306" y="615"/>
                </a:lnTo>
                <a:lnTo>
                  <a:pt x="308" y="615"/>
                </a:lnTo>
                <a:lnTo>
                  <a:pt x="310" y="616"/>
                </a:lnTo>
                <a:close/>
                <a:moveTo>
                  <a:pt x="311" y="558"/>
                </a:moveTo>
                <a:lnTo>
                  <a:pt x="310" y="556"/>
                </a:lnTo>
                <a:lnTo>
                  <a:pt x="309" y="553"/>
                </a:lnTo>
                <a:lnTo>
                  <a:pt x="310" y="556"/>
                </a:lnTo>
                <a:lnTo>
                  <a:pt x="311" y="558"/>
                </a:lnTo>
                <a:close/>
                <a:moveTo>
                  <a:pt x="309" y="459"/>
                </a:moveTo>
                <a:lnTo>
                  <a:pt x="309" y="461"/>
                </a:lnTo>
                <a:lnTo>
                  <a:pt x="309" y="462"/>
                </a:lnTo>
                <a:lnTo>
                  <a:pt x="309" y="461"/>
                </a:lnTo>
                <a:lnTo>
                  <a:pt x="309" y="459"/>
                </a:lnTo>
                <a:close/>
                <a:moveTo>
                  <a:pt x="316" y="586"/>
                </a:moveTo>
                <a:lnTo>
                  <a:pt x="316" y="586"/>
                </a:lnTo>
                <a:lnTo>
                  <a:pt x="316" y="587"/>
                </a:lnTo>
                <a:lnTo>
                  <a:pt x="316" y="586"/>
                </a:lnTo>
                <a:lnTo>
                  <a:pt x="316" y="586"/>
                </a:lnTo>
                <a:lnTo>
                  <a:pt x="312" y="586"/>
                </a:lnTo>
                <a:lnTo>
                  <a:pt x="310" y="585"/>
                </a:lnTo>
                <a:lnTo>
                  <a:pt x="312" y="586"/>
                </a:lnTo>
                <a:lnTo>
                  <a:pt x="316" y="586"/>
                </a:lnTo>
                <a:close/>
                <a:moveTo>
                  <a:pt x="324" y="683"/>
                </a:moveTo>
                <a:lnTo>
                  <a:pt x="325" y="684"/>
                </a:lnTo>
                <a:lnTo>
                  <a:pt x="325" y="685"/>
                </a:lnTo>
                <a:lnTo>
                  <a:pt x="325" y="686"/>
                </a:lnTo>
                <a:lnTo>
                  <a:pt x="323" y="686"/>
                </a:lnTo>
                <a:lnTo>
                  <a:pt x="322" y="685"/>
                </a:lnTo>
                <a:lnTo>
                  <a:pt x="322" y="684"/>
                </a:lnTo>
                <a:lnTo>
                  <a:pt x="323" y="683"/>
                </a:lnTo>
                <a:lnTo>
                  <a:pt x="324" y="683"/>
                </a:lnTo>
                <a:close/>
                <a:moveTo>
                  <a:pt x="331" y="571"/>
                </a:moveTo>
                <a:lnTo>
                  <a:pt x="333" y="573"/>
                </a:lnTo>
                <a:lnTo>
                  <a:pt x="335" y="576"/>
                </a:lnTo>
                <a:lnTo>
                  <a:pt x="330" y="579"/>
                </a:lnTo>
                <a:lnTo>
                  <a:pt x="326" y="580"/>
                </a:lnTo>
                <a:lnTo>
                  <a:pt x="330" y="579"/>
                </a:lnTo>
                <a:lnTo>
                  <a:pt x="335" y="576"/>
                </a:lnTo>
                <a:lnTo>
                  <a:pt x="333" y="573"/>
                </a:lnTo>
                <a:lnTo>
                  <a:pt x="331" y="571"/>
                </a:lnTo>
                <a:lnTo>
                  <a:pt x="326" y="576"/>
                </a:lnTo>
                <a:lnTo>
                  <a:pt x="322" y="574"/>
                </a:lnTo>
                <a:lnTo>
                  <a:pt x="326" y="576"/>
                </a:lnTo>
                <a:lnTo>
                  <a:pt x="331" y="571"/>
                </a:lnTo>
                <a:close/>
                <a:moveTo>
                  <a:pt x="329" y="506"/>
                </a:moveTo>
                <a:lnTo>
                  <a:pt x="331" y="506"/>
                </a:lnTo>
                <a:lnTo>
                  <a:pt x="333" y="506"/>
                </a:lnTo>
                <a:lnTo>
                  <a:pt x="333" y="508"/>
                </a:lnTo>
                <a:lnTo>
                  <a:pt x="333" y="509"/>
                </a:lnTo>
                <a:lnTo>
                  <a:pt x="333" y="508"/>
                </a:lnTo>
                <a:lnTo>
                  <a:pt x="333" y="506"/>
                </a:lnTo>
                <a:lnTo>
                  <a:pt x="331" y="506"/>
                </a:lnTo>
                <a:lnTo>
                  <a:pt x="329" y="506"/>
                </a:lnTo>
                <a:lnTo>
                  <a:pt x="329" y="507"/>
                </a:lnTo>
                <a:lnTo>
                  <a:pt x="328" y="507"/>
                </a:lnTo>
                <a:lnTo>
                  <a:pt x="329" y="507"/>
                </a:lnTo>
                <a:lnTo>
                  <a:pt x="329" y="506"/>
                </a:lnTo>
                <a:close/>
                <a:moveTo>
                  <a:pt x="335" y="398"/>
                </a:moveTo>
                <a:lnTo>
                  <a:pt x="336" y="399"/>
                </a:lnTo>
                <a:lnTo>
                  <a:pt x="336" y="399"/>
                </a:lnTo>
                <a:lnTo>
                  <a:pt x="336" y="399"/>
                </a:lnTo>
                <a:lnTo>
                  <a:pt x="335" y="398"/>
                </a:lnTo>
                <a:lnTo>
                  <a:pt x="333" y="395"/>
                </a:lnTo>
                <a:lnTo>
                  <a:pt x="331" y="391"/>
                </a:lnTo>
                <a:lnTo>
                  <a:pt x="333" y="395"/>
                </a:lnTo>
                <a:lnTo>
                  <a:pt x="335" y="398"/>
                </a:lnTo>
                <a:close/>
                <a:moveTo>
                  <a:pt x="333" y="501"/>
                </a:moveTo>
                <a:lnTo>
                  <a:pt x="335" y="502"/>
                </a:lnTo>
                <a:lnTo>
                  <a:pt x="337" y="503"/>
                </a:lnTo>
                <a:lnTo>
                  <a:pt x="335" y="502"/>
                </a:lnTo>
                <a:lnTo>
                  <a:pt x="333" y="501"/>
                </a:lnTo>
                <a:close/>
                <a:moveTo>
                  <a:pt x="342" y="520"/>
                </a:moveTo>
                <a:lnTo>
                  <a:pt x="340" y="517"/>
                </a:lnTo>
                <a:lnTo>
                  <a:pt x="338" y="515"/>
                </a:lnTo>
                <a:lnTo>
                  <a:pt x="340" y="517"/>
                </a:lnTo>
                <a:lnTo>
                  <a:pt x="342" y="520"/>
                </a:lnTo>
                <a:close/>
                <a:moveTo>
                  <a:pt x="342" y="525"/>
                </a:moveTo>
                <a:lnTo>
                  <a:pt x="340" y="524"/>
                </a:lnTo>
                <a:lnTo>
                  <a:pt x="339" y="524"/>
                </a:lnTo>
                <a:lnTo>
                  <a:pt x="340" y="524"/>
                </a:lnTo>
                <a:lnTo>
                  <a:pt x="342" y="525"/>
                </a:lnTo>
                <a:lnTo>
                  <a:pt x="342" y="529"/>
                </a:lnTo>
                <a:lnTo>
                  <a:pt x="340" y="531"/>
                </a:lnTo>
                <a:lnTo>
                  <a:pt x="342" y="529"/>
                </a:lnTo>
                <a:lnTo>
                  <a:pt x="342" y="525"/>
                </a:lnTo>
                <a:close/>
                <a:moveTo>
                  <a:pt x="343" y="681"/>
                </a:moveTo>
                <a:lnTo>
                  <a:pt x="338" y="685"/>
                </a:lnTo>
                <a:lnTo>
                  <a:pt x="331" y="685"/>
                </a:lnTo>
                <a:lnTo>
                  <a:pt x="337" y="682"/>
                </a:lnTo>
                <a:lnTo>
                  <a:pt x="343" y="681"/>
                </a:lnTo>
                <a:close/>
                <a:moveTo>
                  <a:pt x="326" y="593"/>
                </a:moveTo>
                <a:lnTo>
                  <a:pt x="329" y="594"/>
                </a:lnTo>
                <a:lnTo>
                  <a:pt x="332" y="594"/>
                </a:lnTo>
                <a:lnTo>
                  <a:pt x="332" y="595"/>
                </a:lnTo>
                <a:lnTo>
                  <a:pt x="333" y="595"/>
                </a:lnTo>
                <a:lnTo>
                  <a:pt x="333" y="597"/>
                </a:lnTo>
                <a:lnTo>
                  <a:pt x="333" y="598"/>
                </a:lnTo>
                <a:lnTo>
                  <a:pt x="333" y="597"/>
                </a:lnTo>
                <a:lnTo>
                  <a:pt x="333" y="595"/>
                </a:lnTo>
                <a:lnTo>
                  <a:pt x="332" y="595"/>
                </a:lnTo>
                <a:lnTo>
                  <a:pt x="332" y="594"/>
                </a:lnTo>
                <a:lnTo>
                  <a:pt x="329" y="594"/>
                </a:lnTo>
                <a:lnTo>
                  <a:pt x="326" y="593"/>
                </a:lnTo>
                <a:close/>
                <a:moveTo>
                  <a:pt x="343" y="522"/>
                </a:moveTo>
                <a:lnTo>
                  <a:pt x="345" y="523"/>
                </a:lnTo>
                <a:lnTo>
                  <a:pt x="344" y="523"/>
                </a:lnTo>
                <a:lnTo>
                  <a:pt x="343" y="522"/>
                </a:lnTo>
                <a:lnTo>
                  <a:pt x="343" y="522"/>
                </a:lnTo>
                <a:lnTo>
                  <a:pt x="343" y="521"/>
                </a:lnTo>
                <a:lnTo>
                  <a:pt x="343" y="522"/>
                </a:lnTo>
                <a:lnTo>
                  <a:pt x="343" y="522"/>
                </a:lnTo>
                <a:close/>
                <a:moveTo>
                  <a:pt x="346" y="615"/>
                </a:moveTo>
                <a:lnTo>
                  <a:pt x="347" y="614"/>
                </a:lnTo>
                <a:lnTo>
                  <a:pt x="347" y="613"/>
                </a:lnTo>
                <a:lnTo>
                  <a:pt x="345" y="611"/>
                </a:lnTo>
                <a:lnTo>
                  <a:pt x="344" y="611"/>
                </a:lnTo>
                <a:lnTo>
                  <a:pt x="345" y="611"/>
                </a:lnTo>
                <a:lnTo>
                  <a:pt x="347" y="613"/>
                </a:lnTo>
                <a:lnTo>
                  <a:pt x="347" y="614"/>
                </a:lnTo>
                <a:lnTo>
                  <a:pt x="346" y="615"/>
                </a:lnTo>
                <a:close/>
                <a:moveTo>
                  <a:pt x="347" y="394"/>
                </a:moveTo>
                <a:lnTo>
                  <a:pt x="350" y="394"/>
                </a:lnTo>
                <a:lnTo>
                  <a:pt x="353" y="394"/>
                </a:lnTo>
                <a:lnTo>
                  <a:pt x="358" y="399"/>
                </a:lnTo>
                <a:lnTo>
                  <a:pt x="361" y="405"/>
                </a:lnTo>
                <a:lnTo>
                  <a:pt x="358" y="399"/>
                </a:lnTo>
                <a:lnTo>
                  <a:pt x="353" y="394"/>
                </a:lnTo>
                <a:lnTo>
                  <a:pt x="350" y="394"/>
                </a:lnTo>
                <a:lnTo>
                  <a:pt x="347" y="394"/>
                </a:lnTo>
                <a:lnTo>
                  <a:pt x="347" y="394"/>
                </a:lnTo>
                <a:lnTo>
                  <a:pt x="347" y="395"/>
                </a:lnTo>
                <a:lnTo>
                  <a:pt x="347" y="394"/>
                </a:lnTo>
                <a:lnTo>
                  <a:pt x="347" y="394"/>
                </a:lnTo>
                <a:close/>
                <a:moveTo>
                  <a:pt x="358" y="363"/>
                </a:moveTo>
                <a:lnTo>
                  <a:pt x="357" y="362"/>
                </a:lnTo>
                <a:lnTo>
                  <a:pt x="354" y="362"/>
                </a:lnTo>
                <a:lnTo>
                  <a:pt x="357" y="362"/>
                </a:lnTo>
                <a:lnTo>
                  <a:pt x="358" y="363"/>
                </a:lnTo>
                <a:close/>
                <a:moveTo>
                  <a:pt x="373" y="518"/>
                </a:moveTo>
                <a:lnTo>
                  <a:pt x="377" y="518"/>
                </a:lnTo>
                <a:lnTo>
                  <a:pt x="379" y="520"/>
                </a:lnTo>
                <a:lnTo>
                  <a:pt x="377" y="518"/>
                </a:lnTo>
                <a:lnTo>
                  <a:pt x="373" y="518"/>
                </a:lnTo>
                <a:lnTo>
                  <a:pt x="372" y="517"/>
                </a:lnTo>
                <a:lnTo>
                  <a:pt x="372" y="516"/>
                </a:lnTo>
                <a:lnTo>
                  <a:pt x="372" y="517"/>
                </a:lnTo>
                <a:lnTo>
                  <a:pt x="373" y="518"/>
                </a:lnTo>
                <a:close/>
                <a:moveTo>
                  <a:pt x="381" y="529"/>
                </a:moveTo>
                <a:lnTo>
                  <a:pt x="380" y="528"/>
                </a:lnTo>
                <a:lnTo>
                  <a:pt x="379" y="527"/>
                </a:lnTo>
                <a:lnTo>
                  <a:pt x="379" y="527"/>
                </a:lnTo>
                <a:lnTo>
                  <a:pt x="378" y="525"/>
                </a:lnTo>
                <a:lnTo>
                  <a:pt x="379" y="527"/>
                </a:lnTo>
                <a:lnTo>
                  <a:pt x="379" y="527"/>
                </a:lnTo>
                <a:lnTo>
                  <a:pt x="380" y="528"/>
                </a:lnTo>
                <a:lnTo>
                  <a:pt x="381" y="529"/>
                </a:lnTo>
                <a:close/>
                <a:moveTo>
                  <a:pt x="419" y="705"/>
                </a:moveTo>
                <a:lnTo>
                  <a:pt x="422" y="705"/>
                </a:lnTo>
                <a:lnTo>
                  <a:pt x="425" y="707"/>
                </a:lnTo>
                <a:lnTo>
                  <a:pt x="422" y="705"/>
                </a:lnTo>
                <a:lnTo>
                  <a:pt x="419" y="705"/>
                </a:lnTo>
                <a:close/>
                <a:moveTo>
                  <a:pt x="432" y="713"/>
                </a:moveTo>
                <a:lnTo>
                  <a:pt x="429" y="713"/>
                </a:lnTo>
                <a:lnTo>
                  <a:pt x="427" y="713"/>
                </a:lnTo>
                <a:lnTo>
                  <a:pt x="429" y="713"/>
                </a:lnTo>
                <a:lnTo>
                  <a:pt x="432" y="713"/>
                </a:lnTo>
                <a:close/>
                <a:moveTo>
                  <a:pt x="450" y="767"/>
                </a:moveTo>
                <a:lnTo>
                  <a:pt x="449" y="768"/>
                </a:lnTo>
                <a:lnTo>
                  <a:pt x="448" y="770"/>
                </a:lnTo>
                <a:lnTo>
                  <a:pt x="447" y="773"/>
                </a:lnTo>
                <a:lnTo>
                  <a:pt x="446" y="775"/>
                </a:lnTo>
                <a:lnTo>
                  <a:pt x="447" y="773"/>
                </a:lnTo>
                <a:lnTo>
                  <a:pt x="448" y="770"/>
                </a:lnTo>
                <a:lnTo>
                  <a:pt x="443" y="767"/>
                </a:lnTo>
                <a:lnTo>
                  <a:pt x="439" y="765"/>
                </a:lnTo>
                <a:lnTo>
                  <a:pt x="434" y="762"/>
                </a:lnTo>
                <a:lnTo>
                  <a:pt x="432" y="759"/>
                </a:lnTo>
                <a:lnTo>
                  <a:pt x="430" y="756"/>
                </a:lnTo>
                <a:lnTo>
                  <a:pt x="427" y="754"/>
                </a:lnTo>
                <a:lnTo>
                  <a:pt x="425" y="754"/>
                </a:lnTo>
                <a:lnTo>
                  <a:pt x="423" y="752"/>
                </a:lnTo>
                <a:lnTo>
                  <a:pt x="426" y="752"/>
                </a:lnTo>
                <a:lnTo>
                  <a:pt x="427" y="754"/>
                </a:lnTo>
                <a:lnTo>
                  <a:pt x="437" y="756"/>
                </a:lnTo>
                <a:lnTo>
                  <a:pt x="444" y="763"/>
                </a:lnTo>
                <a:lnTo>
                  <a:pt x="447" y="766"/>
                </a:lnTo>
                <a:lnTo>
                  <a:pt x="450" y="767"/>
                </a:lnTo>
                <a:close/>
                <a:moveTo>
                  <a:pt x="512" y="378"/>
                </a:moveTo>
                <a:lnTo>
                  <a:pt x="512" y="381"/>
                </a:lnTo>
                <a:lnTo>
                  <a:pt x="511" y="382"/>
                </a:lnTo>
                <a:lnTo>
                  <a:pt x="512" y="381"/>
                </a:lnTo>
                <a:lnTo>
                  <a:pt x="512" y="378"/>
                </a:lnTo>
                <a:close/>
                <a:moveTo>
                  <a:pt x="572" y="623"/>
                </a:moveTo>
                <a:lnTo>
                  <a:pt x="572" y="620"/>
                </a:lnTo>
                <a:lnTo>
                  <a:pt x="574" y="618"/>
                </a:lnTo>
                <a:lnTo>
                  <a:pt x="574" y="621"/>
                </a:lnTo>
                <a:lnTo>
                  <a:pt x="572" y="623"/>
                </a:lnTo>
                <a:close/>
                <a:moveTo>
                  <a:pt x="572" y="733"/>
                </a:moveTo>
                <a:lnTo>
                  <a:pt x="572" y="730"/>
                </a:lnTo>
                <a:lnTo>
                  <a:pt x="574" y="726"/>
                </a:lnTo>
                <a:lnTo>
                  <a:pt x="574" y="730"/>
                </a:lnTo>
                <a:lnTo>
                  <a:pt x="572" y="733"/>
                </a:lnTo>
                <a:close/>
                <a:moveTo>
                  <a:pt x="582" y="706"/>
                </a:moveTo>
                <a:lnTo>
                  <a:pt x="581" y="714"/>
                </a:lnTo>
                <a:lnTo>
                  <a:pt x="577" y="724"/>
                </a:lnTo>
                <a:lnTo>
                  <a:pt x="577" y="717"/>
                </a:lnTo>
                <a:lnTo>
                  <a:pt x="582" y="706"/>
                </a:lnTo>
                <a:close/>
                <a:moveTo>
                  <a:pt x="579" y="737"/>
                </a:moveTo>
                <a:lnTo>
                  <a:pt x="578" y="745"/>
                </a:lnTo>
                <a:lnTo>
                  <a:pt x="574" y="752"/>
                </a:lnTo>
                <a:lnTo>
                  <a:pt x="574" y="745"/>
                </a:lnTo>
                <a:lnTo>
                  <a:pt x="579" y="737"/>
                </a:lnTo>
                <a:close/>
                <a:moveTo>
                  <a:pt x="575" y="614"/>
                </a:moveTo>
                <a:lnTo>
                  <a:pt x="577" y="608"/>
                </a:lnTo>
                <a:lnTo>
                  <a:pt x="579" y="604"/>
                </a:lnTo>
                <a:lnTo>
                  <a:pt x="580" y="609"/>
                </a:lnTo>
                <a:lnTo>
                  <a:pt x="575" y="614"/>
                </a:lnTo>
                <a:close/>
                <a:moveTo>
                  <a:pt x="565" y="591"/>
                </a:moveTo>
                <a:lnTo>
                  <a:pt x="567" y="591"/>
                </a:lnTo>
                <a:lnTo>
                  <a:pt x="571" y="590"/>
                </a:lnTo>
                <a:lnTo>
                  <a:pt x="571" y="588"/>
                </a:lnTo>
                <a:lnTo>
                  <a:pt x="571" y="586"/>
                </a:lnTo>
                <a:lnTo>
                  <a:pt x="567" y="585"/>
                </a:lnTo>
                <a:lnTo>
                  <a:pt x="567" y="583"/>
                </a:lnTo>
                <a:lnTo>
                  <a:pt x="571" y="580"/>
                </a:lnTo>
                <a:lnTo>
                  <a:pt x="575" y="580"/>
                </a:lnTo>
                <a:lnTo>
                  <a:pt x="578" y="583"/>
                </a:lnTo>
                <a:lnTo>
                  <a:pt x="577" y="586"/>
                </a:lnTo>
                <a:lnTo>
                  <a:pt x="574" y="588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1" y="590"/>
                </a:lnTo>
                <a:lnTo>
                  <a:pt x="572" y="594"/>
                </a:lnTo>
                <a:lnTo>
                  <a:pt x="571" y="598"/>
                </a:lnTo>
                <a:lnTo>
                  <a:pt x="571" y="598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1" y="599"/>
                </a:lnTo>
                <a:lnTo>
                  <a:pt x="579" y="594"/>
                </a:lnTo>
                <a:lnTo>
                  <a:pt x="584" y="587"/>
                </a:lnTo>
                <a:lnTo>
                  <a:pt x="588" y="586"/>
                </a:lnTo>
                <a:lnTo>
                  <a:pt x="592" y="587"/>
                </a:lnTo>
                <a:lnTo>
                  <a:pt x="591" y="591"/>
                </a:lnTo>
                <a:lnTo>
                  <a:pt x="587" y="593"/>
                </a:lnTo>
                <a:lnTo>
                  <a:pt x="584" y="599"/>
                </a:lnTo>
                <a:lnTo>
                  <a:pt x="579" y="604"/>
                </a:lnTo>
                <a:lnTo>
                  <a:pt x="579" y="601"/>
                </a:lnTo>
                <a:lnTo>
                  <a:pt x="579" y="600"/>
                </a:lnTo>
                <a:lnTo>
                  <a:pt x="577" y="600"/>
                </a:lnTo>
                <a:lnTo>
                  <a:pt x="575" y="602"/>
                </a:lnTo>
                <a:lnTo>
                  <a:pt x="571" y="607"/>
                </a:lnTo>
                <a:lnTo>
                  <a:pt x="566" y="612"/>
                </a:lnTo>
                <a:lnTo>
                  <a:pt x="564" y="604"/>
                </a:lnTo>
                <a:lnTo>
                  <a:pt x="560" y="597"/>
                </a:lnTo>
                <a:lnTo>
                  <a:pt x="560" y="594"/>
                </a:lnTo>
                <a:lnTo>
                  <a:pt x="565" y="591"/>
                </a:lnTo>
                <a:close/>
                <a:moveTo>
                  <a:pt x="570" y="377"/>
                </a:moveTo>
                <a:lnTo>
                  <a:pt x="568" y="377"/>
                </a:lnTo>
                <a:lnTo>
                  <a:pt x="567" y="380"/>
                </a:lnTo>
                <a:lnTo>
                  <a:pt x="568" y="377"/>
                </a:lnTo>
                <a:lnTo>
                  <a:pt x="570" y="377"/>
                </a:lnTo>
                <a:close/>
                <a:moveTo>
                  <a:pt x="594" y="510"/>
                </a:moveTo>
                <a:lnTo>
                  <a:pt x="593" y="513"/>
                </a:lnTo>
                <a:lnTo>
                  <a:pt x="592" y="515"/>
                </a:lnTo>
                <a:lnTo>
                  <a:pt x="593" y="513"/>
                </a:lnTo>
                <a:lnTo>
                  <a:pt x="594" y="510"/>
                </a:lnTo>
                <a:lnTo>
                  <a:pt x="594" y="510"/>
                </a:lnTo>
                <a:close/>
                <a:moveTo>
                  <a:pt x="579" y="360"/>
                </a:moveTo>
                <a:lnTo>
                  <a:pt x="588" y="359"/>
                </a:lnTo>
                <a:lnTo>
                  <a:pt x="598" y="361"/>
                </a:lnTo>
                <a:lnTo>
                  <a:pt x="588" y="359"/>
                </a:lnTo>
                <a:lnTo>
                  <a:pt x="579" y="360"/>
                </a:lnTo>
                <a:lnTo>
                  <a:pt x="575" y="357"/>
                </a:lnTo>
                <a:lnTo>
                  <a:pt x="572" y="356"/>
                </a:lnTo>
                <a:lnTo>
                  <a:pt x="575" y="357"/>
                </a:lnTo>
                <a:lnTo>
                  <a:pt x="579" y="360"/>
                </a:lnTo>
                <a:close/>
                <a:moveTo>
                  <a:pt x="596" y="507"/>
                </a:moveTo>
                <a:lnTo>
                  <a:pt x="598" y="507"/>
                </a:lnTo>
                <a:lnTo>
                  <a:pt x="599" y="506"/>
                </a:lnTo>
                <a:lnTo>
                  <a:pt x="598" y="507"/>
                </a:lnTo>
                <a:lnTo>
                  <a:pt x="596" y="507"/>
                </a:lnTo>
                <a:close/>
                <a:moveTo>
                  <a:pt x="603" y="490"/>
                </a:moveTo>
                <a:lnTo>
                  <a:pt x="603" y="488"/>
                </a:lnTo>
                <a:lnTo>
                  <a:pt x="605" y="486"/>
                </a:lnTo>
                <a:lnTo>
                  <a:pt x="603" y="488"/>
                </a:lnTo>
                <a:lnTo>
                  <a:pt x="603" y="490"/>
                </a:lnTo>
                <a:lnTo>
                  <a:pt x="601" y="490"/>
                </a:lnTo>
                <a:lnTo>
                  <a:pt x="601" y="492"/>
                </a:lnTo>
                <a:lnTo>
                  <a:pt x="601" y="490"/>
                </a:lnTo>
                <a:lnTo>
                  <a:pt x="603" y="490"/>
                </a:lnTo>
                <a:close/>
                <a:moveTo>
                  <a:pt x="616" y="514"/>
                </a:moveTo>
                <a:lnTo>
                  <a:pt x="614" y="516"/>
                </a:lnTo>
                <a:lnTo>
                  <a:pt x="612" y="518"/>
                </a:lnTo>
                <a:lnTo>
                  <a:pt x="614" y="516"/>
                </a:lnTo>
                <a:lnTo>
                  <a:pt x="616" y="514"/>
                </a:lnTo>
                <a:close/>
                <a:moveTo>
                  <a:pt x="621" y="291"/>
                </a:moveTo>
                <a:lnTo>
                  <a:pt x="619" y="292"/>
                </a:lnTo>
                <a:lnTo>
                  <a:pt x="615" y="292"/>
                </a:lnTo>
                <a:lnTo>
                  <a:pt x="619" y="292"/>
                </a:lnTo>
                <a:lnTo>
                  <a:pt x="621" y="291"/>
                </a:lnTo>
                <a:close/>
                <a:moveTo>
                  <a:pt x="625" y="551"/>
                </a:moveTo>
                <a:lnTo>
                  <a:pt x="625" y="551"/>
                </a:lnTo>
                <a:lnTo>
                  <a:pt x="625" y="550"/>
                </a:lnTo>
                <a:lnTo>
                  <a:pt x="623" y="548"/>
                </a:lnTo>
                <a:lnTo>
                  <a:pt x="623" y="546"/>
                </a:lnTo>
                <a:lnTo>
                  <a:pt x="623" y="548"/>
                </a:lnTo>
                <a:lnTo>
                  <a:pt x="625" y="550"/>
                </a:lnTo>
                <a:lnTo>
                  <a:pt x="625" y="551"/>
                </a:lnTo>
                <a:lnTo>
                  <a:pt x="625" y="551"/>
                </a:lnTo>
                <a:lnTo>
                  <a:pt x="620" y="552"/>
                </a:lnTo>
                <a:lnTo>
                  <a:pt x="615" y="552"/>
                </a:lnTo>
                <a:lnTo>
                  <a:pt x="620" y="552"/>
                </a:lnTo>
                <a:lnTo>
                  <a:pt x="625" y="551"/>
                </a:lnTo>
                <a:close/>
                <a:moveTo>
                  <a:pt x="643" y="581"/>
                </a:moveTo>
                <a:lnTo>
                  <a:pt x="643" y="579"/>
                </a:lnTo>
                <a:lnTo>
                  <a:pt x="646" y="578"/>
                </a:lnTo>
                <a:lnTo>
                  <a:pt x="643" y="579"/>
                </a:lnTo>
                <a:lnTo>
                  <a:pt x="643" y="581"/>
                </a:lnTo>
                <a:lnTo>
                  <a:pt x="633" y="586"/>
                </a:lnTo>
                <a:lnTo>
                  <a:pt x="627" y="593"/>
                </a:lnTo>
                <a:lnTo>
                  <a:pt x="633" y="586"/>
                </a:lnTo>
                <a:lnTo>
                  <a:pt x="643" y="581"/>
                </a:lnTo>
                <a:close/>
                <a:moveTo>
                  <a:pt x="643" y="320"/>
                </a:moveTo>
                <a:lnTo>
                  <a:pt x="642" y="323"/>
                </a:lnTo>
                <a:lnTo>
                  <a:pt x="641" y="325"/>
                </a:lnTo>
                <a:lnTo>
                  <a:pt x="642" y="323"/>
                </a:lnTo>
                <a:lnTo>
                  <a:pt x="643" y="320"/>
                </a:lnTo>
                <a:close/>
                <a:moveTo>
                  <a:pt x="651" y="560"/>
                </a:moveTo>
                <a:lnTo>
                  <a:pt x="654" y="556"/>
                </a:lnTo>
                <a:lnTo>
                  <a:pt x="657" y="552"/>
                </a:lnTo>
                <a:lnTo>
                  <a:pt x="654" y="556"/>
                </a:lnTo>
                <a:lnTo>
                  <a:pt x="651" y="560"/>
                </a:lnTo>
                <a:lnTo>
                  <a:pt x="648" y="560"/>
                </a:lnTo>
                <a:lnTo>
                  <a:pt x="646" y="560"/>
                </a:lnTo>
                <a:lnTo>
                  <a:pt x="648" y="560"/>
                </a:lnTo>
                <a:lnTo>
                  <a:pt x="651" y="560"/>
                </a:lnTo>
                <a:close/>
                <a:moveTo>
                  <a:pt x="660" y="539"/>
                </a:moveTo>
                <a:lnTo>
                  <a:pt x="663" y="537"/>
                </a:lnTo>
                <a:lnTo>
                  <a:pt x="667" y="534"/>
                </a:lnTo>
                <a:lnTo>
                  <a:pt x="663" y="537"/>
                </a:lnTo>
                <a:lnTo>
                  <a:pt x="660" y="539"/>
                </a:lnTo>
                <a:close/>
                <a:moveTo>
                  <a:pt x="664" y="552"/>
                </a:moveTo>
                <a:lnTo>
                  <a:pt x="664" y="552"/>
                </a:lnTo>
                <a:lnTo>
                  <a:pt x="664" y="552"/>
                </a:lnTo>
                <a:lnTo>
                  <a:pt x="664" y="552"/>
                </a:lnTo>
                <a:lnTo>
                  <a:pt x="667" y="551"/>
                </a:lnTo>
                <a:lnTo>
                  <a:pt x="669" y="550"/>
                </a:lnTo>
                <a:lnTo>
                  <a:pt x="667" y="551"/>
                </a:lnTo>
                <a:lnTo>
                  <a:pt x="664" y="552"/>
                </a:lnTo>
                <a:close/>
                <a:moveTo>
                  <a:pt x="685" y="288"/>
                </a:move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5" y="290"/>
                </a:lnTo>
                <a:lnTo>
                  <a:pt x="681" y="290"/>
                </a:lnTo>
                <a:lnTo>
                  <a:pt x="677" y="291"/>
                </a:lnTo>
                <a:lnTo>
                  <a:pt x="681" y="290"/>
                </a:lnTo>
                <a:lnTo>
                  <a:pt x="685" y="288"/>
                </a:lnTo>
                <a:close/>
                <a:moveTo>
                  <a:pt x="692" y="556"/>
                </a:moveTo>
                <a:lnTo>
                  <a:pt x="689" y="559"/>
                </a:lnTo>
                <a:lnTo>
                  <a:pt x="685" y="560"/>
                </a:lnTo>
                <a:lnTo>
                  <a:pt x="684" y="562"/>
                </a:lnTo>
                <a:lnTo>
                  <a:pt x="682" y="562"/>
                </a:lnTo>
                <a:lnTo>
                  <a:pt x="684" y="562"/>
                </a:lnTo>
                <a:lnTo>
                  <a:pt x="685" y="560"/>
                </a:lnTo>
                <a:lnTo>
                  <a:pt x="689" y="559"/>
                </a:lnTo>
                <a:lnTo>
                  <a:pt x="692" y="556"/>
                </a:lnTo>
                <a:close/>
                <a:moveTo>
                  <a:pt x="711" y="549"/>
                </a:moveTo>
                <a:lnTo>
                  <a:pt x="712" y="551"/>
                </a:lnTo>
                <a:lnTo>
                  <a:pt x="712" y="552"/>
                </a:lnTo>
                <a:lnTo>
                  <a:pt x="712" y="551"/>
                </a:lnTo>
                <a:lnTo>
                  <a:pt x="711" y="549"/>
                </a:lnTo>
                <a:close/>
                <a:moveTo>
                  <a:pt x="717" y="520"/>
                </a:moveTo>
                <a:lnTo>
                  <a:pt x="712" y="523"/>
                </a:lnTo>
                <a:lnTo>
                  <a:pt x="710" y="528"/>
                </a:lnTo>
                <a:lnTo>
                  <a:pt x="710" y="528"/>
                </a:lnTo>
                <a:lnTo>
                  <a:pt x="712" y="523"/>
                </a:lnTo>
                <a:lnTo>
                  <a:pt x="717" y="520"/>
                </a:lnTo>
                <a:close/>
                <a:moveTo>
                  <a:pt x="727" y="329"/>
                </a:moveTo>
                <a:lnTo>
                  <a:pt x="725" y="329"/>
                </a:lnTo>
                <a:lnTo>
                  <a:pt x="724" y="328"/>
                </a:lnTo>
                <a:lnTo>
                  <a:pt x="725" y="329"/>
                </a:lnTo>
                <a:lnTo>
                  <a:pt x="727" y="329"/>
                </a:lnTo>
                <a:close/>
                <a:moveTo>
                  <a:pt x="729" y="481"/>
                </a:moveTo>
                <a:lnTo>
                  <a:pt x="727" y="483"/>
                </a:lnTo>
                <a:lnTo>
                  <a:pt x="727" y="486"/>
                </a:lnTo>
                <a:lnTo>
                  <a:pt x="730" y="486"/>
                </a:lnTo>
                <a:lnTo>
                  <a:pt x="732" y="486"/>
                </a:lnTo>
                <a:lnTo>
                  <a:pt x="730" y="486"/>
                </a:lnTo>
                <a:lnTo>
                  <a:pt x="727" y="486"/>
                </a:lnTo>
                <a:lnTo>
                  <a:pt x="727" y="483"/>
                </a:lnTo>
                <a:lnTo>
                  <a:pt x="729" y="481"/>
                </a:lnTo>
                <a:close/>
                <a:moveTo>
                  <a:pt x="739" y="473"/>
                </a:moveTo>
                <a:lnTo>
                  <a:pt x="736" y="473"/>
                </a:lnTo>
                <a:lnTo>
                  <a:pt x="733" y="473"/>
                </a:lnTo>
                <a:lnTo>
                  <a:pt x="736" y="473"/>
                </a:lnTo>
                <a:lnTo>
                  <a:pt x="739" y="473"/>
                </a:lnTo>
                <a:close/>
                <a:moveTo>
                  <a:pt x="724" y="546"/>
                </a:moveTo>
                <a:lnTo>
                  <a:pt x="722" y="546"/>
                </a:lnTo>
                <a:lnTo>
                  <a:pt x="719" y="545"/>
                </a:lnTo>
                <a:lnTo>
                  <a:pt x="718" y="548"/>
                </a:lnTo>
                <a:lnTo>
                  <a:pt x="716" y="549"/>
                </a:lnTo>
                <a:lnTo>
                  <a:pt x="718" y="548"/>
                </a:lnTo>
                <a:lnTo>
                  <a:pt x="719" y="545"/>
                </a:lnTo>
                <a:lnTo>
                  <a:pt x="722" y="546"/>
                </a:lnTo>
                <a:lnTo>
                  <a:pt x="724" y="546"/>
                </a:lnTo>
                <a:close/>
                <a:moveTo>
                  <a:pt x="744" y="574"/>
                </a:move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4"/>
                </a:lnTo>
                <a:lnTo>
                  <a:pt x="744" y="573"/>
                </a:lnTo>
                <a:lnTo>
                  <a:pt x="744" y="573"/>
                </a:lnTo>
                <a:lnTo>
                  <a:pt x="745" y="573"/>
                </a:lnTo>
                <a:lnTo>
                  <a:pt x="745" y="574"/>
                </a:lnTo>
                <a:lnTo>
                  <a:pt x="745" y="574"/>
                </a:lnTo>
                <a:lnTo>
                  <a:pt x="744" y="574"/>
                </a:lnTo>
                <a:lnTo>
                  <a:pt x="744" y="576"/>
                </a:lnTo>
                <a:lnTo>
                  <a:pt x="744" y="577"/>
                </a:lnTo>
                <a:lnTo>
                  <a:pt x="744" y="577"/>
                </a:lnTo>
                <a:lnTo>
                  <a:pt x="738" y="580"/>
                </a:lnTo>
                <a:lnTo>
                  <a:pt x="734" y="584"/>
                </a:lnTo>
                <a:lnTo>
                  <a:pt x="731" y="586"/>
                </a:lnTo>
                <a:lnTo>
                  <a:pt x="727" y="587"/>
                </a:lnTo>
                <a:lnTo>
                  <a:pt x="726" y="590"/>
                </a:lnTo>
                <a:lnTo>
                  <a:pt x="724" y="591"/>
                </a:lnTo>
                <a:lnTo>
                  <a:pt x="723" y="591"/>
                </a:lnTo>
                <a:lnTo>
                  <a:pt x="722" y="590"/>
                </a:lnTo>
                <a:lnTo>
                  <a:pt x="720" y="591"/>
                </a:lnTo>
                <a:lnTo>
                  <a:pt x="719" y="592"/>
                </a:lnTo>
                <a:lnTo>
                  <a:pt x="720" y="591"/>
                </a:lnTo>
                <a:lnTo>
                  <a:pt x="722" y="590"/>
                </a:lnTo>
                <a:lnTo>
                  <a:pt x="723" y="588"/>
                </a:lnTo>
                <a:lnTo>
                  <a:pt x="723" y="587"/>
                </a:lnTo>
                <a:lnTo>
                  <a:pt x="724" y="587"/>
                </a:lnTo>
                <a:lnTo>
                  <a:pt x="725" y="587"/>
                </a:lnTo>
                <a:lnTo>
                  <a:pt x="726" y="587"/>
                </a:lnTo>
                <a:lnTo>
                  <a:pt x="727" y="587"/>
                </a:lnTo>
                <a:lnTo>
                  <a:pt x="731" y="583"/>
                </a:lnTo>
                <a:lnTo>
                  <a:pt x="736" y="577"/>
                </a:lnTo>
                <a:lnTo>
                  <a:pt x="736" y="577"/>
                </a:lnTo>
                <a:lnTo>
                  <a:pt x="736" y="577"/>
                </a:lnTo>
                <a:lnTo>
                  <a:pt x="740" y="576"/>
                </a:lnTo>
                <a:lnTo>
                  <a:pt x="744" y="574"/>
                </a:lnTo>
                <a:close/>
                <a:moveTo>
                  <a:pt x="651" y="681"/>
                </a:moveTo>
                <a:lnTo>
                  <a:pt x="654" y="679"/>
                </a:lnTo>
                <a:lnTo>
                  <a:pt x="655" y="679"/>
                </a:lnTo>
                <a:lnTo>
                  <a:pt x="657" y="678"/>
                </a:lnTo>
                <a:lnTo>
                  <a:pt x="658" y="677"/>
                </a:lnTo>
                <a:lnTo>
                  <a:pt x="657" y="678"/>
                </a:lnTo>
                <a:lnTo>
                  <a:pt x="655" y="679"/>
                </a:lnTo>
                <a:lnTo>
                  <a:pt x="654" y="679"/>
                </a:lnTo>
                <a:lnTo>
                  <a:pt x="651" y="681"/>
                </a:lnTo>
                <a:close/>
                <a:moveTo>
                  <a:pt x="650" y="692"/>
                </a:moveTo>
                <a:lnTo>
                  <a:pt x="651" y="693"/>
                </a:lnTo>
                <a:lnTo>
                  <a:pt x="651" y="696"/>
                </a:lnTo>
                <a:lnTo>
                  <a:pt x="650" y="696"/>
                </a:lnTo>
                <a:lnTo>
                  <a:pt x="650" y="696"/>
                </a:lnTo>
                <a:lnTo>
                  <a:pt x="651" y="697"/>
                </a:lnTo>
                <a:lnTo>
                  <a:pt x="653" y="699"/>
                </a:lnTo>
                <a:lnTo>
                  <a:pt x="651" y="697"/>
                </a:lnTo>
                <a:lnTo>
                  <a:pt x="650" y="696"/>
                </a:lnTo>
                <a:lnTo>
                  <a:pt x="648" y="695"/>
                </a:lnTo>
                <a:lnTo>
                  <a:pt x="648" y="693"/>
                </a:lnTo>
                <a:lnTo>
                  <a:pt x="649" y="692"/>
                </a:lnTo>
                <a:lnTo>
                  <a:pt x="650" y="692"/>
                </a:lnTo>
                <a:close/>
                <a:moveTo>
                  <a:pt x="656" y="676"/>
                </a:moveTo>
                <a:lnTo>
                  <a:pt x="653" y="676"/>
                </a:lnTo>
                <a:lnTo>
                  <a:pt x="648" y="678"/>
                </a:lnTo>
                <a:lnTo>
                  <a:pt x="653" y="676"/>
                </a:lnTo>
                <a:lnTo>
                  <a:pt x="656" y="676"/>
                </a:lnTo>
                <a:close/>
                <a:moveTo>
                  <a:pt x="655" y="616"/>
                </a:moveTo>
                <a:lnTo>
                  <a:pt x="658" y="613"/>
                </a:lnTo>
                <a:lnTo>
                  <a:pt x="663" y="613"/>
                </a:lnTo>
                <a:lnTo>
                  <a:pt x="660" y="615"/>
                </a:lnTo>
                <a:lnTo>
                  <a:pt x="655" y="616"/>
                </a:lnTo>
                <a:close/>
                <a:moveTo>
                  <a:pt x="653" y="662"/>
                </a:moveTo>
                <a:lnTo>
                  <a:pt x="653" y="662"/>
                </a:lnTo>
                <a:lnTo>
                  <a:pt x="649" y="664"/>
                </a:lnTo>
                <a:lnTo>
                  <a:pt x="644" y="665"/>
                </a:lnTo>
                <a:lnTo>
                  <a:pt x="644" y="665"/>
                </a:lnTo>
                <a:lnTo>
                  <a:pt x="648" y="662"/>
                </a:lnTo>
                <a:lnTo>
                  <a:pt x="653" y="662"/>
                </a:lnTo>
                <a:lnTo>
                  <a:pt x="654" y="660"/>
                </a:lnTo>
                <a:lnTo>
                  <a:pt x="657" y="658"/>
                </a:lnTo>
                <a:lnTo>
                  <a:pt x="656" y="661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lnTo>
                  <a:pt x="653" y="662"/>
                </a:lnTo>
                <a:close/>
                <a:moveTo>
                  <a:pt x="682" y="577"/>
                </a:moveTo>
                <a:lnTo>
                  <a:pt x="681" y="577"/>
                </a:lnTo>
                <a:lnTo>
                  <a:pt x="679" y="577"/>
                </a:lnTo>
                <a:lnTo>
                  <a:pt x="681" y="577"/>
                </a:lnTo>
                <a:lnTo>
                  <a:pt x="682" y="577"/>
                </a:lnTo>
                <a:lnTo>
                  <a:pt x="683" y="576"/>
                </a:lnTo>
                <a:lnTo>
                  <a:pt x="684" y="574"/>
                </a:lnTo>
                <a:lnTo>
                  <a:pt x="683" y="576"/>
                </a:lnTo>
                <a:lnTo>
                  <a:pt x="682" y="577"/>
                </a:lnTo>
                <a:close/>
                <a:moveTo>
                  <a:pt x="688" y="627"/>
                </a:moveTo>
                <a:lnTo>
                  <a:pt x="687" y="629"/>
                </a:lnTo>
                <a:lnTo>
                  <a:pt x="687" y="632"/>
                </a:lnTo>
                <a:lnTo>
                  <a:pt x="687" y="629"/>
                </a:lnTo>
                <a:lnTo>
                  <a:pt x="688" y="627"/>
                </a:lnTo>
                <a:close/>
                <a:moveTo>
                  <a:pt x="684" y="560"/>
                </a:moveTo>
                <a:lnTo>
                  <a:pt x="682" y="560"/>
                </a:lnTo>
                <a:lnTo>
                  <a:pt x="681" y="562"/>
                </a:lnTo>
                <a:lnTo>
                  <a:pt x="679" y="562"/>
                </a:lnTo>
                <a:lnTo>
                  <a:pt x="679" y="562"/>
                </a:lnTo>
                <a:lnTo>
                  <a:pt x="679" y="562"/>
                </a:lnTo>
                <a:lnTo>
                  <a:pt x="681" y="562"/>
                </a:lnTo>
                <a:lnTo>
                  <a:pt x="682" y="560"/>
                </a:lnTo>
                <a:lnTo>
                  <a:pt x="684" y="560"/>
                </a:lnTo>
                <a:close/>
                <a:moveTo>
                  <a:pt x="672" y="644"/>
                </a:moveTo>
                <a:lnTo>
                  <a:pt x="675" y="644"/>
                </a:lnTo>
                <a:lnTo>
                  <a:pt x="676" y="643"/>
                </a:lnTo>
                <a:lnTo>
                  <a:pt x="677" y="644"/>
                </a:lnTo>
                <a:lnTo>
                  <a:pt x="677" y="644"/>
                </a:lnTo>
                <a:lnTo>
                  <a:pt x="677" y="644"/>
                </a:lnTo>
                <a:lnTo>
                  <a:pt x="678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81" y="646"/>
                </a:lnTo>
                <a:lnTo>
                  <a:pt x="675" y="653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7" y="655"/>
                </a:lnTo>
                <a:lnTo>
                  <a:pt x="663" y="658"/>
                </a:lnTo>
                <a:lnTo>
                  <a:pt x="658" y="658"/>
                </a:lnTo>
                <a:lnTo>
                  <a:pt x="662" y="656"/>
                </a:lnTo>
                <a:lnTo>
                  <a:pt x="667" y="655"/>
                </a:lnTo>
                <a:lnTo>
                  <a:pt x="667" y="654"/>
                </a:lnTo>
                <a:lnTo>
                  <a:pt x="667" y="653"/>
                </a:lnTo>
                <a:lnTo>
                  <a:pt x="668" y="651"/>
                </a:lnTo>
                <a:lnTo>
                  <a:pt x="668" y="650"/>
                </a:lnTo>
                <a:lnTo>
                  <a:pt x="671" y="648"/>
                </a:lnTo>
                <a:lnTo>
                  <a:pt x="672" y="644"/>
                </a:lnTo>
                <a:close/>
                <a:moveTo>
                  <a:pt x="664" y="558"/>
                </a:moveTo>
                <a:lnTo>
                  <a:pt x="667" y="556"/>
                </a:lnTo>
                <a:lnTo>
                  <a:pt x="669" y="553"/>
                </a:lnTo>
                <a:lnTo>
                  <a:pt x="667" y="556"/>
                </a:lnTo>
                <a:lnTo>
                  <a:pt x="664" y="558"/>
                </a:lnTo>
                <a:lnTo>
                  <a:pt x="661" y="558"/>
                </a:lnTo>
                <a:lnTo>
                  <a:pt x="658" y="559"/>
                </a:lnTo>
                <a:lnTo>
                  <a:pt x="661" y="558"/>
                </a:lnTo>
                <a:lnTo>
                  <a:pt x="664" y="558"/>
                </a:lnTo>
                <a:close/>
                <a:moveTo>
                  <a:pt x="660" y="541"/>
                </a:moveTo>
                <a:lnTo>
                  <a:pt x="660" y="541"/>
                </a:lnTo>
                <a:lnTo>
                  <a:pt x="660" y="539"/>
                </a:lnTo>
                <a:lnTo>
                  <a:pt x="660" y="541"/>
                </a:lnTo>
                <a:lnTo>
                  <a:pt x="660" y="541"/>
                </a:lnTo>
                <a:lnTo>
                  <a:pt x="662" y="542"/>
                </a:lnTo>
                <a:lnTo>
                  <a:pt x="662" y="542"/>
                </a:lnTo>
                <a:lnTo>
                  <a:pt x="662" y="542"/>
                </a:lnTo>
                <a:lnTo>
                  <a:pt x="660" y="541"/>
                </a:lnTo>
                <a:close/>
                <a:moveTo>
                  <a:pt x="664" y="545"/>
                </a:moveTo>
                <a:lnTo>
                  <a:pt x="664" y="544"/>
                </a:lnTo>
                <a:lnTo>
                  <a:pt x="664" y="544"/>
                </a:lnTo>
                <a:lnTo>
                  <a:pt x="664" y="544"/>
                </a:lnTo>
                <a:lnTo>
                  <a:pt x="664" y="545"/>
                </a:lnTo>
                <a:lnTo>
                  <a:pt x="662" y="546"/>
                </a:lnTo>
                <a:lnTo>
                  <a:pt x="661" y="548"/>
                </a:lnTo>
                <a:lnTo>
                  <a:pt x="662" y="546"/>
                </a:lnTo>
                <a:lnTo>
                  <a:pt x="664" y="545"/>
                </a:lnTo>
                <a:close/>
                <a:moveTo>
                  <a:pt x="648" y="580"/>
                </a:moveTo>
                <a:lnTo>
                  <a:pt x="648" y="580"/>
                </a:lnTo>
                <a:lnTo>
                  <a:pt x="649" y="579"/>
                </a:lnTo>
                <a:lnTo>
                  <a:pt x="648" y="580"/>
                </a:lnTo>
                <a:lnTo>
                  <a:pt x="648" y="580"/>
                </a:lnTo>
                <a:close/>
                <a:moveTo>
                  <a:pt x="649" y="587"/>
                </a:moveTo>
                <a:lnTo>
                  <a:pt x="651" y="586"/>
                </a:lnTo>
                <a:lnTo>
                  <a:pt x="654" y="586"/>
                </a:lnTo>
                <a:lnTo>
                  <a:pt x="651" y="586"/>
                </a:lnTo>
                <a:lnTo>
                  <a:pt x="649" y="587"/>
                </a:lnTo>
                <a:lnTo>
                  <a:pt x="647" y="590"/>
                </a:lnTo>
                <a:lnTo>
                  <a:pt x="644" y="591"/>
                </a:lnTo>
                <a:lnTo>
                  <a:pt x="647" y="590"/>
                </a:lnTo>
                <a:lnTo>
                  <a:pt x="649" y="587"/>
                </a:lnTo>
                <a:close/>
                <a:moveTo>
                  <a:pt x="639" y="595"/>
                </a:moveTo>
                <a:lnTo>
                  <a:pt x="637" y="598"/>
                </a:lnTo>
                <a:lnTo>
                  <a:pt x="636" y="599"/>
                </a:lnTo>
                <a:lnTo>
                  <a:pt x="635" y="599"/>
                </a:lnTo>
                <a:lnTo>
                  <a:pt x="635" y="598"/>
                </a:lnTo>
                <a:lnTo>
                  <a:pt x="636" y="595"/>
                </a:lnTo>
                <a:lnTo>
                  <a:pt x="639" y="595"/>
                </a:lnTo>
                <a:lnTo>
                  <a:pt x="639" y="595"/>
                </a:lnTo>
                <a:lnTo>
                  <a:pt x="640" y="594"/>
                </a:lnTo>
                <a:lnTo>
                  <a:pt x="639" y="595"/>
                </a:lnTo>
                <a:lnTo>
                  <a:pt x="639" y="595"/>
                </a:lnTo>
                <a:close/>
                <a:moveTo>
                  <a:pt x="643" y="592"/>
                </a:moveTo>
                <a:lnTo>
                  <a:pt x="642" y="592"/>
                </a:lnTo>
                <a:lnTo>
                  <a:pt x="642" y="593"/>
                </a:lnTo>
                <a:lnTo>
                  <a:pt x="642" y="592"/>
                </a:lnTo>
                <a:lnTo>
                  <a:pt x="643" y="592"/>
                </a:lnTo>
                <a:close/>
                <a:moveTo>
                  <a:pt x="641" y="623"/>
                </a:moveTo>
                <a:lnTo>
                  <a:pt x="640" y="623"/>
                </a:lnTo>
                <a:lnTo>
                  <a:pt x="639" y="625"/>
                </a:lnTo>
                <a:lnTo>
                  <a:pt x="636" y="625"/>
                </a:lnTo>
                <a:lnTo>
                  <a:pt x="634" y="625"/>
                </a:lnTo>
                <a:lnTo>
                  <a:pt x="637" y="621"/>
                </a:lnTo>
                <a:lnTo>
                  <a:pt x="641" y="616"/>
                </a:lnTo>
                <a:lnTo>
                  <a:pt x="642" y="616"/>
                </a:lnTo>
                <a:lnTo>
                  <a:pt x="642" y="616"/>
                </a:lnTo>
                <a:lnTo>
                  <a:pt x="643" y="615"/>
                </a:lnTo>
                <a:lnTo>
                  <a:pt x="644" y="615"/>
                </a:lnTo>
                <a:lnTo>
                  <a:pt x="644" y="614"/>
                </a:lnTo>
                <a:lnTo>
                  <a:pt x="644" y="614"/>
                </a:lnTo>
                <a:lnTo>
                  <a:pt x="651" y="611"/>
                </a:lnTo>
                <a:lnTo>
                  <a:pt x="660" y="607"/>
                </a:lnTo>
                <a:lnTo>
                  <a:pt x="651" y="614"/>
                </a:lnTo>
                <a:lnTo>
                  <a:pt x="643" y="621"/>
                </a:lnTo>
                <a:lnTo>
                  <a:pt x="642" y="622"/>
                </a:lnTo>
                <a:lnTo>
                  <a:pt x="641" y="623"/>
                </a:lnTo>
                <a:close/>
                <a:moveTo>
                  <a:pt x="642" y="698"/>
                </a:moveTo>
                <a:lnTo>
                  <a:pt x="642" y="699"/>
                </a:lnTo>
                <a:lnTo>
                  <a:pt x="640" y="699"/>
                </a:lnTo>
                <a:lnTo>
                  <a:pt x="639" y="700"/>
                </a:lnTo>
                <a:lnTo>
                  <a:pt x="637" y="702"/>
                </a:lnTo>
                <a:lnTo>
                  <a:pt x="636" y="704"/>
                </a:lnTo>
                <a:lnTo>
                  <a:pt x="633" y="705"/>
                </a:lnTo>
                <a:lnTo>
                  <a:pt x="633" y="706"/>
                </a:lnTo>
                <a:lnTo>
                  <a:pt x="632" y="707"/>
                </a:lnTo>
                <a:lnTo>
                  <a:pt x="630" y="707"/>
                </a:lnTo>
                <a:lnTo>
                  <a:pt x="630" y="706"/>
                </a:lnTo>
                <a:lnTo>
                  <a:pt x="632" y="705"/>
                </a:lnTo>
                <a:lnTo>
                  <a:pt x="633" y="705"/>
                </a:lnTo>
                <a:lnTo>
                  <a:pt x="634" y="702"/>
                </a:lnTo>
                <a:lnTo>
                  <a:pt x="637" y="700"/>
                </a:lnTo>
                <a:lnTo>
                  <a:pt x="639" y="700"/>
                </a:lnTo>
                <a:lnTo>
                  <a:pt x="640" y="699"/>
                </a:lnTo>
                <a:lnTo>
                  <a:pt x="641" y="698"/>
                </a:lnTo>
                <a:lnTo>
                  <a:pt x="641" y="697"/>
                </a:lnTo>
                <a:lnTo>
                  <a:pt x="642" y="697"/>
                </a:lnTo>
                <a:lnTo>
                  <a:pt x="642" y="698"/>
                </a:lnTo>
                <a:close/>
                <a:moveTo>
                  <a:pt x="639" y="670"/>
                </a:moveTo>
                <a:lnTo>
                  <a:pt x="640" y="670"/>
                </a:lnTo>
                <a:lnTo>
                  <a:pt x="641" y="670"/>
                </a:lnTo>
                <a:lnTo>
                  <a:pt x="644" y="670"/>
                </a:lnTo>
                <a:lnTo>
                  <a:pt x="647" y="668"/>
                </a:lnTo>
                <a:lnTo>
                  <a:pt x="651" y="665"/>
                </a:lnTo>
                <a:lnTo>
                  <a:pt x="655" y="665"/>
                </a:lnTo>
                <a:lnTo>
                  <a:pt x="660" y="663"/>
                </a:lnTo>
                <a:lnTo>
                  <a:pt x="664" y="663"/>
                </a:lnTo>
                <a:lnTo>
                  <a:pt x="664" y="663"/>
                </a:lnTo>
                <a:lnTo>
                  <a:pt x="664" y="662"/>
                </a:lnTo>
                <a:lnTo>
                  <a:pt x="664" y="663"/>
                </a:lnTo>
                <a:lnTo>
                  <a:pt x="664" y="663"/>
                </a:lnTo>
                <a:lnTo>
                  <a:pt x="661" y="665"/>
                </a:lnTo>
                <a:lnTo>
                  <a:pt x="656" y="665"/>
                </a:lnTo>
                <a:lnTo>
                  <a:pt x="650" y="670"/>
                </a:lnTo>
                <a:lnTo>
                  <a:pt x="643" y="671"/>
                </a:lnTo>
                <a:lnTo>
                  <a:pt x="641" y="671"/>
                </a:lnTo>
                <a:lnTo>
                  <a:pt x="639" y="670"/>
                </a:lnTo>
                <a:close/>
                <a:moveTo>
                  <a:pt x="703" y="656"/>
                </a:moveTo>
                <a:lnTo>
                  <a:pt x="701" y="658"/>
                </a:lnTo>
                <a:lnTo>
                  <a:pt x="698" y="660"/>
                </a:lnTo>
                <a:lnTo>
                  <a:pt x="696" y="661"/>
                </a:lnTo>
                <a:lnTo>
                  <a:pt x="694" y="662"/>
                </a:lnTo>
                <a:lnTo>
                  <a:pt x="694" y="662"/>
                </a:lnTo>
                <a:lnTo>
                  <a:pt x="695" y="660"/>
                </a:lnTo>
                <a:lnTo>
                  <a:pt x="697" y="658"/>
                </a:lnTo>
                <a:lnTo>
                  <a:pt x="699" y="656"/>
                </a:lnTo>
                <a:lnTo>
                  <a:pt x="702" y="655"/>
                </a:lnTo>
                <a:lnTo>
                  <a:pt x="703" y="655"/>
                </a:lnTo>
                <a:lnTo>
                  <a:pt x="703" y="656"/>
                </a:lnTo>
                <a:close/>
                <a:moveTo>
                  <a:pt x="723" y="648"/>
                </a:moveTo>
                <a:lnTo>
                  <a:pt x="722" y="648"/>
                </a:lnTo>
                <a:lnTo>
                  <a:pt x="722" y="647"/>
                </a:lnTo>
                <a:lnTo>
                  <a:pt x="718" y="648"/>
                </a:lnTo>
                <a:lnTo>
                  <a:pt x="715" y="649"/>
                </a:lnTo>
                <a:lnTo>
                  <a:pt x="711" y="653"/>
                </a:lnTo>
                <a:lnTo>
                  <a:pt x="706" y="654"/>
                </a:lnTo>
                <a:lnTo>
                  <a:pt x="709" y="650"/>
                </a:lnTo>
                <a:lnTo>
                  <a:pt x="715" y="649"/>
                </a:lnTo>
                <a:lnTo>
                  <a:pt x="717" y="646"/>
                </a:lnTo>
                <a:lnTo>
                  <a:pt x="722" y="646"/>
                </a:lnTo>
                <a:lnTo>
                  <a:pt x="723" y="647"/>
                </a:lnTo>
                <a:lnTo>
                  <a:pt x="724" y="647"/>
                </a:lnTo>
                <a:lnTo>
                  <a:pt x="724" y="648"/>
                </a:lnTo>
                <a:lnTo>
                  <a:pt x="723" y="648"/>
                </a:lnTo>
                <a:close/>
                <a:moveTo>
                  <a:pt x="757" y="619"/>
                </a:moveTo>
                <a:lnTo>
                  <a:pt x="758" y="620"/>
                </a:lnTo>
                <a:lnTo>
                  <a:pt x="761" y="619"/>
                </a:lnTo>
                <a:lnTo>
                  <a:pt x="765" y="616"/>
                </a:lnTo>
                <a:lnTo>
                  <a:pt x="768" y="616"/>
                </a:lnTo>
                <a:lnTo>
                  <a:pt x="772" y="613"/>
                </a:lnTo>
                <a:lnTo>
                  <a:pt x="778" y="611"/>
                </a:lnTo>
                <a:lnTo>
                  <a:pt x="778" y="612"/>
                </a:lnTo>
                <a:lnTo>
                  <a:pt x="778" y="612"/>
                </a:lnTo>
                <a:lnTo>
                  <a:pt x="779" y="612"/>
                </a:lnTo>
                <a:lnTo>
                  <a:pt x="781" y="612"/>
                </a:lnTo>
                <a:lnTo>
                  <a:pt x="779" y="612"/>
                </a:lnTo>
                <a:lnTo>
                  <a:pt x="778" y="612"/>
                </a:lnTo>
                <a:lnTo>
                  <a:pt x="773" y="615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68" y="616"/>
                </a:lnTo>
                <a:lnTo>
                  <a:pt x="771" y="619"/>
                </a:lnTo>
                <a:lnTo>
                  <a:pt x="773" y="619"/>
                </a:lnTo>
                <a:lnTo>
                  <a:pt x="777" y="616"/>
                </a:lnTo>
                <a:lnTo>
                  <a:pt x="779" y="616"/>
                </a:lnTo>
                <a:lnTo>
                  <a:pt x="779" y="619"/>
                </a:lnTo>
                <a:lnTo>
                  <a:pt x="778" y="620"/>
                </a:lnTo>
                <a:lnTo>
                  <a:pt x="766" y="625"/>
                </a:lnTo>
                <a:lnTo>
                  <a:pt x="753" y="628"/>
                </a:lnTo>
                <a:lnTo>
                  <a:pt x="736" y="634"/>
                </a:lnTo>
                <a:lnTo>
                  <a:pt x="719" y="641"/>
                </a:lnTo>
                <a:lnTo>
                  <a:pt x="712" y="643"/>
                </a:lnTo>
                <a:lnTo>
                  <a:pt x="706" y="646"/>
                </a:lnTo>
                <a:lnTo>
                  <a:pt x="703" y="649"/>
                </a:lnTo>
                <a:lnTo>
                  <a:pt x="698" y="650"/>
                </a:lnTo>
                <a:lnTo>
                  <a:pt x="695" y="655"/>
                </a:lnTo>
                <a:lnTo>
                  <a:pt x="690" y="658"/>
                </a:lnTo>
                <a:lnTo>
                  <a:pt x="691" y="660"/>
                </a:lnTo>
                <a:lnTo>
                  <a:pt x="692" y="661"/>
                </a:lnTo>
                <a:lnTo>
                  <a:pt x="691" y="660"/>
                </a:lnTo>
                <a:lnTo>
                  <a:pt x="690" y="658"/>
                </a:lnTo>
                <a:lnTo>
                  <a:pt x="690" y="658"/>
                </a:lnTo>
                <a:lnTo>
                  <a:pt x="689" y="658"/>
                </a:lnTo>
                <a:lnTo>
                  <a:pt x="684" y="661"/>
                </a:lnTo>
                <a:lnTo>
                  <a:pt x="679" y="664"/>
                </a:lnTo>
                <a:lnTo>
                  <a:pt x="676" y="667"/>
                </a:lnTo>
                <a:lnTo>
                  <a:pt x="672" y="668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7"/>
                </a:lnTo>
                <a:lnTo>
                  <a:pt x="672" y="668"/>
                </a:lnTo>
                <a:lnTo>
                  <a:pt x="672" y="668"/>
                </a:lnTo>
                <a:lnTo>
                  <a:pt x="672" y="668"/>
                </a:lnTo>
                <a:lnTo>
                  <a:pt x="672" y="669"/>
                </a:lnTo>
                <a:lnTo>
                  <a:pt x="672" y="671"/>
                </a:lnTo>
                <a:lnTo>
                  <a:pt x="672" y="671"/>
                </a:lnTo>
                <a:lnTo>
                  <a:pt x="668" y="672"/>
                </a:lnTo>
                <a:lnTo>
                  <a:pt x="664" y="676"/>
                </a:lnTo>
                <a:lnTo>
                  <a:pt x="662" y="676"/>
                </a:lnTo>
                <a:lnTo>
                  <a:pt x="660" y="676"/>
                </a:lnTo>
                <a:lnTo>
                  <a:pt x="658" y="676"/>
                </a:lnTo>
                <a:lnTo>
                  <a:pt x="658" y="676"/>
                </a:lnTo>
                <a:lnTo>
                  <a:pt x="664" y="671"/>
                </a:lnTo>
                <a:lnTo>
                  <a:pt x="672" y="667"/>
                </a:lnTo>
                <a:lnTo>
                  <a:pt x="677" y="663"/>
                </a:lnTo>
                <a:lnTo>
                  <a:pt x="681" y="658"/>
                </a:lnTo>
                <a:lnTo>
                  <a:pt x="681" y="658"/>
                </a:lnTo>
                <a:lnTo>
                  <a:pt x="681" y="658"/>
                </a:lnTo>
                <a:lnTo>
                  <a:pt x="689" y="654"/>
                </a:lnTo>
                <a:lnTo>
                  <a:pt x="697" y="650"/>
                </a:lnTo>
                <a:lnTo>
                  <a:pt x="701" y="647"/>
                </a:lnTo>
                <a:lnTo>
                  <a:pt x="705" y="646"/>
                </a:lnTo>
                <a:lnTo>
                  <a:pt x="713" y="640"/>
                </a:lnTo>
                <a:lnTo>
                  <a:pt x="722" y="636"/>
                </a:lnTo>
                <a:lnTo>
                  <a:pt x="732" y="633"/>
                </a:lnTo>
                <a:lnTo>
                  <a:pt x="741" y="627"/>
                </a:lnTo>
                <a:lnTo>
                  <a:pt x="747" y="623"/>
                </a:lnTo>
                <a:lnTo>
                  <a:pt x="754" y="620"/>
                </a:lnTo>
                <a:lnTo>
                  <a:pt x="745" y="620"/>
                </a:lnTo>
                <a:lnTo>
                  <a:pt x="736" y="620"/>
                </a:lnTo>
                <a:lnTo>
                  <a:pt x="731" y="621"/>
                </a:lnTo>
                <a:lnTo>
                  <a:pt x="727" y="622"/>
                </a:lnTo>
                <a:lnTo>
                  <a:pt x="731" y="620"/>
                </a:lnTo>
                <a:lnTo>
                  <a:pt x="736" y="620"/>
                </a:lnTo>
                <a:lnTo>
                  <a:pt x="737" y="616"/>
                </a:lnTo>
                <a:lnTo>
                  <a:pt x="740" y="616"/>
                </a:lnTo>
                <a:lnTo>
                  <a:pt x="746" y="616"/>
                </a:lnTo>
                <a:lnTo>
                  <a:pt x="752" y="615"/>
                </a:lnTo>
                <a:lnTo>
                  <a:pt x="756" y="615"/>
                </a:lnTo>
                <a:lnTo>
                  <a:pt x="757" y="619"/>
                </a:lnTo>
                <a:close/>
                <a:moveTo>
                  <a:pt x="768" y="566"/>
                </a:moveTo>
                <a:lnTo>
                  <a:pt x="765" y="565"/>
                </a:lnTo>
                <a:lnTo>
                  <a:pt x="763" y="565"/>
                </a:lnTo>
                <a:lnTo>
                  <a:pt x="765" y="565"/>
                </a:lnTo>
                <a:lnTo>
                  <a:pt x="768" y="566"/>
                </a:lnTo>
                <a:close/>
                <a:moveTo>
                  <a:pt x="767" y="569"/>
                </a:moveTo>
                <a:lnTo>
                  <a:pt x="766" y="569"/>
                </a:lnTo>
                <a:lnTo>
                  <a:pt x="765" y="569"/>
                </a:lnTo>
                <a:lnTo>
                  <a:pt x="765" y="570"/>
                </a:lnTo>
                <a:lnTo>
                  <a:pt x="765" y="570"/>
                </a:lnTo>
                <a:lnTo>
                  <a:pt x="765" y="570"/>
                </a:lnTo>
                <a:lnTo>
                  <a:pt x="765" y="569"/>
                </a:lnTo>
                <a:lnTo>
                  <a:pt x="766" y="569"/>
                </a:lnTo>
                <a:lnTo>
                  <a:pt x="767" y="569"/>
                </a:lnTo>
                <a:lnTo>
                  <a:pt x="768" y="569"/>
                </a:lnTo>
                <a:lnTo>
                  <a:pt x="770" y="569"/>
                </a:lnTo>
                <a:lnTo>
                  <a:pt x="768" y="569"/>
                </a:lnTo>
                <a:lnTo>
                  <a:pt x="767" y="569"/>
                </a:lnTo>
                <a:close/>
                <a:moveTo>
                  <a:pt x="774" y="580"/>
                </a:moveTo>
                <a:lnTo>
                  <a:pt x="772" y="583"/>
                </a:lnTo>
                <a:lnTo>
                  <a:pt x="770" y="586"/>
                </a:lnTo>
                <a:lnTo>
                  <a:pt x="771" y="586"/>
                </a:lnTo>
                <a:lnTo>
                  <a:pt x="771" y="586"/>
                </a:lnTo>
                <a:lnTo>
                  <a:pt x="771" y="586"/>
                </a:lnTo>
                <a:lnTo>
                  <a:pt x="770" y="586"/>
                </a:lnTo>
                <a:lnTo>
                  <a:pt x="772" y="583"/>
                </a:lnTo>
                <a:lnTo>
                  <a:pt x="774" y="580"/>
                </a:lnTo>
                <a:close/>
                <a:moveTo>
                  <a:pt x="779" y="485"/>
                </a:moveTo>
                <a:lnTo>
                  <a:pt x="780" y="483"/>
                </a:lnTo>
                <a:lnTo>
                  <a:pt x="781" y="482"/>
                </a:lnTo>
                <a:lnTo>
                  <a:pt x="781" y="480"/>
                </a:lnTo>
                <a:lnTo>
                  <a:pt x="782" y="478"/>
                </a:lnTo>
                <a:lnTo>
                  <a:pt x="781" y="480"/>
                </a:lnTo>
                <a:lnTo>
                  <a:pt x="781" y="482"/>
                </a:lnTo>
                <a:lnTo>
                  <a:pt x="780" y="483"/>
                </a:lnTo>
                <a:lnTo>
                  <a:pt x="779" y="485"/>
                </a:lnTo>
                <a:lnTo>
                  <a:pt x="778" y="485"/>
                </a:lnTo>
                <a:lnTo>
                  <a:pt x="777" y="485"/>
                </a:lnTo>
                <a:lnTo>
                  <a:pt x="778" y="485"/>
                </a:lnTo>
                <a:lnTo>
                  <a:pt x="779" y="485"/>
                </a:lnTo>
                <a:close/>
                <a:moveTo>
                  <a:pt x="789" y="384"/>
                </a:moveTo>
                <a:lnTo>
                  <a:pt x="789" y="383"/>
                </a:lnTo>
                <a:lnTo>
                  <a:pt x="789" y="382"/>
                </a:lnTo>
                <a:lnTo>
                  <a:pt x="789" y="383"/>
                </a:lnTo>
                <a:lnTo>
                  <a:pt x="789" y="384"/>
                </a:lnTo>
                <a:lnTo>
                  <a:pt x="784" y="382"/>
                </a:lnTo>
                <a:lnTo>
                  <a:pt x="778" y="381"/>
                </a:lnTo>
                <a:lnTo>
                  <a:pt x="784" y="382"/>
                </a:lnTo>
                <a:lnTo>
                  <a:pt x="789" y="384"/>
                </a:lnTo>
                <a:close/>
                <a:moveTo>
                  <a:pt x="800" y="294"/>
                </a:moveTo>
                <a:lnTo>
                  <a:pt x="798" y="291"/>
                </a:lnTo>
                <a:lnTo>
                  <a:pt x="792" y="290"/>
                </a:lnTo>
                <a:lnTo>
                  <a:pt x="798" y="291"/>
                </a:lnTo>
                <a:lnTo>
                  <a:pt x="800" y="294"/>
                </a:lnTo>
                <a:close/>
                <a:moveTo>
                  <a:pt x="803" y="298"/>
                </a:moveTo>
                <a:lnTo>
                  <a:pt x="802" y="297"/>
                </a:lnTo>
                <a:lnTo>
                  <a:pt x="800" y="295"/>
                </a:lnTo>
                <a:lnTo>
                  <a:pt x="802" y="297"/>
                </a:lnTo>
                <a:lnTo>
                  <a:pt x="803" y="298"/>
                </a:lnTo>
                <a:close/>
                <a:moveTo>
                  <a:pt x="808" y="628"/>
                </a:moveTo>
                <a:lnTo>
                  <a:pt x="809" y="628"/>
                </a:lnTo>
                <a:lnTo>
                  <a:pt x="812" y="627"/>
                </a:lnTo>
                <a:lnTo>
                  <a:pt x="809" y="628"/>
                </a:lnTo>
                <a:lnTo>
                  <a:pt x="808" y="628"/>
                </a:lnTo>
                <a:lnTo>
                  <a:pt x="806" y="632"/>
                </a:lnTo>
                <a:lnTo>
                  <a:pt x="802" y="633"/>
                </a:lnTo>
                <a:lnTo>
                  <a:pt x="806" y="632"/>
                </a:lnTo>
                <a:lnTo>
                  <a:pt x="808" y="628"/>
                </a:lnTo>
                <a:close/>
                <a:moveTo>
                  <a:pt x="810" y="600"/>
                </a:moveTo>
                <a:lnTo>
                  <a:pt x="810" y="599"/>
                </a:lnTo>
                <a:lnTo>
                  <a:pt x="812" y="599"/>
                </a:lnTo>
                <a:lnTo>
                  <a:pt x="810" y="599"/>
                </a:lnTo>
                <a:lnTo>
                  <a:pt x="810" y="600"/>
                </a:lnTo>
                <a:lnTo>
                  <a:pt x="807" y="601"/>
                </a:lnTo>
                <a:lnTo>
                  <a:pt x="803" y="604"/>
                </a:lnTo>
                <a:lnTo>
                  <a:pt x="807" y="601"/>
                </a:lnTo>
                <a:lnTo>
                  <a:pt x="810" y="600"/>
                </a:lnTo>
                <a:close/>
                <a:moveTo>
                  <a:pt x="810" y="430"/>
                </a:moveTo>
                <a:lnTo>
                  <a:pt x="813" y="431"/>
                </a:lnTo>
                <a:lnTo>
                  <a:pt x="814" y="433"/>
                </a:lnTo>
                <a:lnTo>
                  <a:pt x="813" y="431"/>
                </a:lnTo>
                <a:lnTo>
                  <a:pt x="810" y="430"/>
                </a:lnTo>
                <a:lnTo>
                  <a:pt x="808" y="427"/>
                </a:lnTo>
                <a:lnTo>
                  <a:pt x="807" y="427"/>
                </a:lnTo>
                <a:lnTo>
                  <a:pt x="808" y="427"/>
                </a:lnTo>
                <a:lnTo>
                  <a:pt x="810" y="430"/>
                </a:lnTo>
                <a:close/>
                <a:moveTo>
                  <a:pt x="814" y="487"/>
                </a:moveTo>
                <a:lnTo>
                  <a:pt x="814" y="489"/>
                </a:lnTo>
                <a:lnTo>
                  <a:pt x="813" y="490"/>
                </a:lnTo>
                <a:lnTo>
                  <a:pt x="814" y="489"/>
                </a:lnTo>
                <a:lnTo>
                  <a:pt x="814" y="487"/>
                </a:lnTo>
                <a:close/>
                <a:moveTo>
                  <a:pt x="812" y="593"/>
                </a:moveTo>
                <a:lnTo>
                  <a:pt x="812" y="591"/>
                </a:lnTo>
                <a:lnTo>
                  <a:pt x="812" y="590"/>
                </a:lnTo>
                <a:lnTo>
                  <a:pt x="812" y="591"/>
                </a:lnTo>
                <a:lnTo>
                  <a:pt x="812" y="593"/>
                </a:lnTo>
                <a:lnTo>
                  <a:pt x="814" y="592"/>
                </a:lnTo>
                <a:lnTo>
                  <a:pt x="815" y="592"/>
                </a:lnTo>
                <a:lnTo>
                  <a:pt x="814" y="592"/>
                </a:lnTo>
                <a:lnTo>
                  <a:pt x="812" y="593"/>
                </a:lnTo>
                <a:close/>
                <a:moveTo>
                  <a:pt x="820" y="231"/>
                </a:moveTo>
                <a:lnTo>
                  <a:pt x="819" y="232"/>
                </a:lnTo>
                <a:lnTo>
                  <a:pt x="816" y="234"/>
                </a:lnTo>
                <a:lnTo>
                  <a:pt x="819" y="232"/>
                </a:lnTo>
                <a:lnTo>
                  <a:pt x="820" y="231"/>
                </a:lnTo>
                <a:close/>
                <a:moveTo>
                  <a:pt x="829" y="367"/>
                </a:moveTo>
                <a:lnTo>
                  <a:pt x="829" y="367"/>
                </a:lnTo>
                <a:lnTo>
                  <a:pt x="829" y="367"/>
                </a:lnTo>
                <a:lnTo>
                  <a:pt x="832" y="367"/>
                </a:lnTo>
                <a:lnTo>
                  <a:pt x="834" y="366"/>
                </a:lnTo>
                <a:lnTo>
                  <a:pt x="832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close/>
                <a:moveTo>
                  <a:pt x="836" y="790"/>
                </a:moveTo>
                <a:lnTo>
                  <a:pt x="834" y="789"/>
                </a:lnTo>
                <a:lnTo>
                  <a:pt x="833" y="787"/>
                </a:lnTo>
                <a:lnTo>
                  <a:pt x="834" y="789"/>
                </a:lnTo>
                <a:lnTo>
                  <a:pt x="836" y="790"/>
                </a:lnTo>
                <a:close/>
                <a:moveTo>
                  <a:pt x="842" y="756"/>
                </a:moveTo>
                <a:lnTo>
                  <a:pt x="843" y="756"/>
                </a:lnTo>
                <a:lnTo>
                  <a:pt x="844" y="759"/>
                </a:lnTo>
                <a:lnTo>
                  <a:pt x="843" y="760"/>
                </a:lnTo>
                <a:lnTo>
                  <a:pt x="841" y="760"/>
                </a:lnTo>
                <a:lnTo>
                  <a:pt x="840" y="759"/>
                </a:lnTo>
                <a:lnTo>
                  <a:pt x="839" y="760"/>
                </a:lnTo>
                <a:lnTo>
                  <a:pt x="836" y="759"/>
                </a:lnTo>
                <a:lnTo>
                  <a:pt x="837" y="756"/>
                </a:lnTo>
                <a:lnTo>
                  <a:pt x="840" y="755"/>
                </a:lnTo>
                <a:lnTo>
                  <a:pt x="842" y="756"/>
                </a:lnTo>
                <a:close/>
                <a:moveTo>
                  <a:pt x="844" y="560"/>
                </a:moveTo>
                <a:lnTo>
                  <a:pt x="841" y="559"/>
                </a:lnTo>
                <a:lnTo>
                  <a:pt x="839" y="557"/>
                </a:lnTo>
                <a:lnTo>
                  <a:pt x="841" y="559"/>
                </a:lnTo>
                <a:lnTo>
                  <a:pt x="844" y="560"/>
                </a:lnTo>
                <a:close/>
                <a:moveTo>
                  <a:pt x="842" y="431"/>
                </a:moveTo>
                <a:lnTo>
                  <a:pt x="843" y="431"/>
                </a:lnTo>
                <a:lnTo>
                  <a:pt x="844" y="432"/>
                </a:lnTo>
                <a:lnTo>
                  <a:pt x="843" y="431"/>
                </a:lnTo>
                <a:lnTo>
                  <a:pt x="842" y="431"/>
                </a:lnTo>
                <a:lnTo>
                  <a:pt x="841" y="433"/>
                </a:lnTo>
                <a:lnTo>
                  <a:pt x="840" y="436"/>
                </a:lnTo>
                <a:lnTo>
                  <a:pt x="841" y="433"/>
                </a:lnTo>
                <a:lnTo>
                  <a:pt x="842" y="431"/>
                </a:lnTo>
                <a:close/>
                <a:moveTo>
                  <a:pt x="848" y="746"/>
                </a:moveTo>
                <a:lnTo>
                  <a:pt x="851" y="747"/>
                </a:lnTo>
                <a:lnTo>
                  <a:pt x="853" y="749"/>
                </a:lnTo>
                <a:lnTo>
                  <a:pt x="853" y="749"/>
                </a:lnTo>
                <a:lnTo>
                  <a:pt x="849" y="752"/>
                </a:lnTo>
                <a:lnTo>
                  <a:pt x="846" y="751"/>
                </a:lnTo>
                <a:lnTo>
                  <a:pt x="847" y="748"/>
                </a:lnTo>
                <a:lnTo>
                  <a:pt x="848" y="746"/>
                </a:lnTo>
                <a:close/>
                <a:moveTo>
                  <a:pt x="854" y="503"/>
                </a:moveTo>
                <a:lnTo>
                  <a:pt x="854" y="496"/>
                </a:lnTo>
                <a:lnTo>
                  <a:pt x="854" y="490"/>
                </a:lnTo>
                <a:lnTo>
                  <a:pt x="853" y="490"/>
                </a:lnTo>
                <a:lnTo>
                  <a:pt x="851" y="489"/>
                </a:lnTo>
                <a:lnTo>
                  <a:pt x="853" y="490"/>
                </a:lnTo>
                <a:lnTo>
                  <a:pt x="854" y="490"/>
                </a:lnTo>
                <a:lnTo>
                  <a:pt x="854" y="496"/>
                </a:lnTo>
                <a:lnTo>
                  <a:pt x="854" y="503"/>
                </a:lnTo>
                <a:close/>
                <a:moveTo>
                  <a:pt x="858" y="581"/>
                </a:moveTo>
                <a:lnTo>
                  <a:pt x="855" y="580"/>
                </a:lnTo>
                <a:lnTo>
                  <a:pt x="854" y="578"/>
                </a:lnTo>
                <a:lnTo>
                  <a:pt x="855" y="580"/>
                </a:lnTo>
                <a:lnTo>
                  <a:pt x="858" y="581"/>
                </a:lnTo>
                <a:close/>
                <a:moveTo>
                  <a:pt x="862" y="476"/>
                </a:moveTo>
                <a:lnTo>
                  <a:pt x="863" y="476"/>
                </a:lnTo>
                <a:lnTo>
                  <a:pt x="863" y="476"/>
                </a:lnTo>
                <a:lnTo>
                  <a:pt x="863" y="476"/>
                </a:lnTo>
                <a:lnTo>
                  <a:pt x="862" y="476"/>
                </a:lnTo>
                <a:lnTo>
                  <a:pt x="862" y="478"/>
                </a:lnTo>
                <a:lnTo>
                  <a:pt x="862" y="479"/>
                </a:lnTo>
                <a:lnTo>
                  <a:pt x="862" y="478"/>
                </a:lnTo>
                <a:lnTo>
                  <a:pt x="862" y="476"/>
                </a:lnTo>
                <a:close/>
                <a:moveTo>
                  <a:pt x="865" y="186"/>
                </a:moveTo>
                <a:lnTo>
                  <a:pt x="865" y="186"/>
                </a:lnTo>
                <a:lnTo>
                  <a:pt x="867" y="186"/>
                </a:lnTo>
                <a:lnTo>
                  <a:pt x="865" y="186"/>
                </a:lnTo>
                <a:lnTo>
                  <a:pt x="865" y="186"/>
                </a:lnTo>
                <a:lnTo>
                  <a:pt x="864" y="185"/>
                </a:lnTo>
                <a:lnTo>
                  <a:pt x="864" y="183"/>
                </a:lnTo>
                <a:lnTo>
                  <a:pt x="864" y="185"/>
                </a:lnTo>
                <a:lnTo>
                  <a:pt x="865" y="186"/>
                </a:lnTo>
                <a:close/>
                <a:moveTo>
                  <a:pt x="878" y="440"/>
                </a:moveTo>
                <a:lnTo>
                  <a:pt x="878" y="441"/>
                </a:lnTo>
                <a:lnTo>
                  <a:pt x="877" y="443"/>
                </a:lnTo>
                <a:lnTo>
                  <a:pt x="875" y="443"/>
                </a:lnTo>
                <a:lnTo>
                  <a:pt x="872" y="444"/>
                </a:lnTo>
                <a:lnTo>
                  <a:pt x="872" y="444"/>
                </a:lnTo>
                <a:lnTo>
                  <a:pt x="875" y="443"/>
                </a:lnTo>
                <a:lnTo>
                  <a:pt x="877" y="443"/>
                </a:lnTo>
                <a:lnTo>
                  <a:pt x="878" y="441"/>
                </a:lnTo>
                <a:lnTo>
                  <a:pt x="878" y="440"/>
                </a:lnTo>
                <a:close/>
                <a:moveTo>
                  <a:pt x="882" y="349"/>
                </a:moveTo>
                <a:lnTo>
                  <a:pt x="883" y="349"/>
                </a:lnTo>
                <a:lnTo>
                  <a:pt x="883" y="349"/>
                </a:lnTo>
                <a:lnTo>
                  <a:pt x="883" y="349"/>
                </a:lnTo>
                <a:lnTo>
                  <a:pt x="882" y="349"/>
                </a:lnTo>
                <a:lnTo>
                  <a:pt x="879" y="346"/>
                </a:lnTo>
                <a:lnTo>
                  <a:pt x="878" y="347"/>
                </a:lnTo>
                <a:lnTo>
                  <a:pt x="879" y="346"/>
                </a:lnTo>
                <a:lnTo>
                  <a:pt x="882" y="349"/>
                </a:lnTo>
                <a:close/>
                <a:moveTo>
                  <a:pt x="879" y="329"/>
                </a:moveTo>
                <a:lnTo>
                  <a:pt x="879" y="330"/>
                </a:lnTo>
                <a:lnTo>
                  <a:pt x="878" y="332"/>
                </a:lnTo>
                <a:lnTo>
                  <a:pt x="879" y="330"/>
                </a:lnTo>
                <a:lnTo>
                  <a:pt x="879" y="329"/>
                </a:lnTo>
                <a:close/>
                <a:moveTo>
                  <a:pt x="898" y="465"/>
                </a:moveTo>
                <a:lnTo>
                  <a:pt x="897" y="466"/>
                </a:lnTo>
                <a:lnTo>
                  <a:pt x="896" y="468"/>
                </a:lnTo>
                <a:lnTo>
                  <a:pt x="897" y="466"/>
                </a:lnTo>
                <a:lnTo>
                  <a:pt x="898" y="465"/>
                </a:lnTo>
                <a:close/>
                <a:moveTo>
                  <a:pt x="891" y="531"/>
                </a:moveTo>
                <a:lnTo>
                  <a:pt x="891" y="530"/>
                </a:lnTo>
                <a:lnTo>
                  <a:pt x="891" y="530"/>
                </a:lnTo>
                <a:lnTo>
                  <a:pt x="891" y="530"/>
                </a:lnTo>
                <a:lnTo>
                  <a:pt x="891" y="531"/>
                </a:lnTo>
                <a:lnTo>
                  <a:pt x="891" y="531"/>
                </a:lnTo>
                <a:lnTo>
                  <a:pt x="890" y="532"/>
                </a:lnTo>
                <a:lnTo>
                  <a:pt x="891" y="531"/>
                </a:lnTo>
                <a:lnTo>
                  <a:pt x="891" y="531"/>
                </a:lnTo>
                <a:close/>
                <a:moveTo>
                  <a:pt x="883" y="441"/>
                </a:moveTo>
                <a:lnTo>
                  <a:pt x="884" y="440"/>
                </a:lnTo>
                <a:lnTo>
                  <a:pt x="884" y="438"/>
                </a:lnTo>
                <a:lnTo>
                  <a:pt x="884" y="440"/>
                </a:lnTo>
                <a:lnTo>
                  <a:pt x="883" y="441"/>
                </a:lnTo>
                <a:close/>
                <a:moveTo>
                  <a:pt x="885" y="468"/>
                </a:moveTo>
                <a:lnTo>
                  <a:pt x="883" y="467"/>
                </a:lnTo>
                <a:lnTo>
                  <a:pt x="881" y="468"/>
                </a:lnTo>
                <a:lnTo>
                  <a:pt x="883" y="467"/>
                </a:lnTo>
                <a:lnTo>
                  <a:pt x="885" y="468"/>
                </a:lnTo>
                <a:close/>
                <a:moveTo>
                  <a:pt x="875" y="1210"/>
                </a:moveTo>
                <a:lnTo>
                  <a:pt x="875" y="1210"/>
                </a:lnTo>
                <a:lnTo>
                  <a:pt x="875" y="1209"/>
                </a:lnTo>
                <a:lnTo>
                  <a:pt x="875" y="1210"/>
                </a:lnTo>
                <a:lnTo>
                  <a:pt x="875" y="1210"/>
                </a:lnTo>
                <a:lnTo>
                  <a:pt x="870" y="1214"/>
                </a:lnTo>
                <a:lnTo>
                  <a:pt x="867" y="1219"/>
                </a:lnTo>
                <a:lnTo>
                  <a:pt x="870" y="1214"/>
                </a:lnTo>
                <a:lnTo>
                  <a:pt x="875" y="1210"/>
                </a:lnTo>
                <a:close/>
                <a:moveTo>
                  <a:pt x="874" y="1060"/>
                </a:moveTo>
                <a:lnTo>
                  <a:pt x="875" y="1060"/>
                </a:lnTo>
                <a:lnTo>
                  <a:pt x="875" y="1061"/>
                </a:lnTo>
                <a:lnTo>
                  <a:pt x="875" y="1060"/>
                </a:lnTo>
                <a:lnTo>
                  <a:pt x="874" y="1060"/>
                </a:lnTo>
                <a:close/>
                <a:moveTo>
                  <a:pt x="876" y="1178"/>
                </a:moveTo>
                <a:lnTo>
                  <a:pt x="874" y="1178"/>
                </a:lnTo>
                <a:lnTo>
                  <a:pt x="871" y="1177"/>
                </a:lnTo>
                <a:lnTo>
                  <a:pt x="874" y="1178"/>
                </a:lnTo>
                <a:lnTo>
                  <a:pt x="876" y="1178"/>
                </a:lnTo>
                <a:close/>
                <a:moveTo>
                  <a:pt x="867" y="1266"/>
                </a:moveTo>
                <a:lnTo>
                  <a:pt x="871" y="1264"/>
                </a:lnTo>
                <a:lnTo>
                  <a:pt x="876" y="1264"/>
                </a:lnTo>
                <a:lnTo>
                  <a:pt x="871" y="1264"/>
                </a:lnTo>
                <a:lnTo>
                  <a:pt x="867" y="1266"/>
                </a:lnTo>
                <a:lnTo>
                  <a:pt x="864" y="1270"/>
                </a:lnTo>
                <a:lnTo>
                  <a:pt x="862" y="1270"/>
                </a:lnTo>
                <a:lnTo>
                  <a:pt x="864" y="1270"/>
                </a:lnTo>
                <a:lnTo>
                  <a:pt x="867" y="1266"/>
                </a:lnTo>
                <a:close/>
                <a:moveTo>
                  <a:pt x="768" y="1286"/>
                </a:moveTo>
                <a:lnTo>
                  <a:pt x="770" y="1286"/>
                </a:lnTo>
                <a:lnTo>
                  <a:pt x="770" y="1287"/>
                </a:lnTo>
                <a:lnTo>
                  <a:pt x="770" y="1289"/>
                </a:lnTo>
                <a:lnTo>
                  <a:pt x="768" y="1289"/>
                </a:lnTo>
                <a:lnTo>
                  <a:pt x="770" y="1289"/>
                </a:lnTo>
                <a:lnTo>
                  <a:pt x="770" y="1287"/>
                </a:lnTo>
                <a:lnTo>
                  <a:pt x="770" y="1286"/>
                </a:lnTo>
                <a:lnTo>
                  <a:pt x="768" y="1286"/>
                </a:lnTo>
                <a:close/>
                <a:moveTo>
                  <a:pt x="773" y="964"/>
                </a:moveTo>
                <a:lnTo>
                  <a:pt x="775" y="969"/>
                </a:lnTo>
                <a:lnTo>
                  <a:pt x="778" y="971"/>
                </a:lnTo>
                <a:lnTo>
                  <a:pt x="778" y="972"/>
                </a:lnTo>
                <a:lnTo>
                  <a:pt x="778" y="973"/>
                </a:lnTo>
                <a:lnTo>
                  <a:pt x="778" y="976"/>
                </a:lnTo>
                <a:lnTo>
                  <a:pt x="778" y="978"/>
                </a:lnTo>
                <a:lnTo>
                  <a:pt x="778" y="976"/>
                </a:lnTo>
                <a:lnTo>
                  <a:pt x="778" y="973"/>
                </a:lnTo>
                <a:lnTo>
                  <a:pt x="773" y="971"/>
                </a:lnTo>
                <a:lnTo>
                  <a:pt x="773" y="964"/>
                </a:lnTo>
                <a:close/>
                <a:moveTo>
                  <a:pt x="758" y="916"/>
                </a:moveTo>
                <a:lnTo>
                  <a:pt x="760" y="919"/>
                </a:lnTo>
                <a:lnTo>
                  <a:pt x="761" y="921"/>
                </a:lnTo>
                <a:lnTo>
                  <a:pt x="768" y="940"/>
                </a:lnTo>
                <a:lnTo>
                  <a:pt x="777" y="957"/>
                </a:lnTo>
                <a:lnTo>
                  <a:pt x="778" y="959"/>
                </a:lnTo>
                <a:lnTo>
                  <a:pt x="777" y="962"/>
                </a:lnTo>
                <a:lnTo>
                  <a:pt x="774" y="961"/>
                </a:lnTo>
                <a:lnTo>
                  <a:pt x="771" y="961"/>
                </a:lnTo>
                <a:lnTo>
                  <a:pt x="764" y="938"/>
                </a:lnTo>
                <a:lnTo>
                  <a:pt x="757" y="917"/>
                </a:lnTo>
                <a:lnTo>
                  <a:pt x="758" y="917"/>
                </a:lnTo>
                <a:lnTo>
                  <a:pt x="758" y="916"/>
                </a:lnTo>
                <a:close/>
                <a:moveTo>
                  <a:pt x="760" y="860"/>
                </a:moveTo>
                <a:lnTo>
                  <a:pt x="760" y="860"/>
                </a:lnTo>
                <a:lnTo>
                  <a:pt x="760" y="860"/>
                </a:lnTo>
                <a:lnTo>
                  <a:pt x="758" y="859"/>
                </a:lnTo>
                <a:lnTo>
                  <a:pt x="758" y="859"/>
                </a:lnTo>
                <a:lnTo>
                  <a:pt x="757" y="858"/>
                </a:lnTo>
                <a:lnTo>
                  <a:pt x="758" y="858"/>
                </a:lnTo>
                <a:lnTo>
                  <a:pt x="758" y="858"/>
                </a:lnTo>
                <a:lnTo>
                  <a:pt x="758" y="859"/>
                </a:lnTo>
                <a:lnTo>
                  <a:pt x="758" y="859"/>
                </a:lnTo>
                <a:lnTo>
                  <a:pt x="759" y="860"/>
                </a:lnTo>
                <a:lnTo>
                  <a:pt x="760" y="860"/>
                </a:lnTo>
                <a:close/>
                <a:moveTo>
                  <a:pt x="723" y="836"/>
                </a:moveTo>
                <a:lnTo>
                  <a:pt x="724" y="835"/>
                </a:lnTo>
                <a:lnTo>
                  <a:pt x="726" y="832"/>
                </a:lnTo>
                <a:lnTo>
                  <a:pt x="727" y="833"/>
                </a:lnTo>
                <a:lnTo>
                  <a:pt x="727" y="835"/>
                </a:lnTo>
                <a:lnTo>
                  <a:pt x="730" y="838"/>
                </a:lnTo>
                <a:lnTo>
                  <a:pt x="730" y="842"/>
                </a:lnTo>
                <a:lnTo>
                  <a:pt x="726" y="840"/>
                </a:lnTo>
                <a:lnTo>
                  <a:pt x="723" y="836"/>
                </a:lnTo>
                <a:close/>
                <a:moveTo>
                  <a:pt x="708" y="924"/>
                </a:moveTo>
                <a:lnTo>
                  <a:pt x="715" y="920"/>
                </a:lnTo>
                <a:lnTo>
                  <a:pt x="723" y="915"/>
                </a:lnTo>
                <a:lnTo>
                  <a:pt x="724" y="915"/>
                </a:lnTo>
                <a:lnTo>
                  <a:pt x="726" y="916"/>
                </a:lnTo>
                <a:lnTo>
                  <a:pt x="725" y="921"/>
                </a:lnTo>
                <a:lnTo>
                  <a:pt x="723" y="926"/>
                </a:lnTo>
                <a:lnTo>
                  <a:pt x="720" y="927"/>
                </a:lnTo>
                <a:lnTo>
                  <a:pt x="718" y="926"/>
                </a:lnTo>
                <a:lnTo>
                  <a:pt x="717" y="926"/>
                </a:lnTo>
                <a:lnTo>
                  <a:pt x="716" y="928"/>
                </a:lnTo>
                <a:lnTo>
                  <a:pt x="712" y="929"/>
                </a:lnTo>
                <a:lnTo>
                  <a:pt x="708" y="928"/>
                </a:lnTo>
                <a:lnTo>
                  <a:pt x="706" y="928"/>
                </a:lnTo>
                <a:lnTo>
                  <a:pt x="706" y="926"/>
                </a:lnTo>
                <a:lnTo>
                  <a:pt x="706" y="926"/>
                </a:lnTo>
                <a:lnTo>
                  <a:pt x="708" y="924"/>
                </a:lnTo>
                <a:close/>
                <a:moveTo>
                  <a:pt x="709" y="843"/>
                </a:moveTo>
                <a:lnTo>
                  <a:pt x="713" y="840"/>
                </a:lnTo>
                <a:lnTo>
                  <a:pt x="715" y="836"/>
                </a:lnTo>
                <a:lnTo>
                  <a:pt x="716" y="836"/>
                </a:lnTo>
                <a:lnTo>
                  <a:pt x="716" y="836"/>
                </a:lnTo>
                <a:lnTo>
                  <a:pt x="719" y="839"/>
                </a:lnTo>
                <a:lnTo>
                  <a:pt x="717" y="843"/>
                </a:lnTo>
                <a:lnTo>
                  <a:pt x="713" y="846"/>
                </a:lnTo>
                <a:lnTo>
                  <a:pt x="708" y="846"/>
                </a:lnTo>
                <a:lnTo>
                  <a:pt x="706" y="844"/>
                </a:lnTo>
                <a:lnTo>
                  <a:pt x="709" y="843"/>
                </a:lnTo>
                <a:close/>
                <a:moveTo>
                  <a:pt x="727" y="752"/>
                </a:moveTo>
                <a:lnTo>
                  <a:pt x="730" y="753"/>
                </a:lnTo>
                <a:lnTo>
                  <a:pt x="731" y="754"/>
                </a:lnTo>
                <a:lnTo>
                  <a:pt x="731" y="754"/>
                </a:lnTo>
                <a:lnTo>
                  <a:pt x="730" y="753"/>
                </a:lnTo>
                <a:lnTo>
                  <a:pt x="727" y="752"/>
                </a:lnTo>
                <a:close/>
                <a:moveTo>
                  <a:pt x="726" y="772"/>
                </a:moveTo>
                <a:lnTo>
                  <a:pt x="731" y="774"/>
                </a:lnTo>
                <a:lnTo>
                  <a:pt x="731" y="779"/>
                </a:lnTo>
                <a:lnTo>
                  <a:pt x="727" y="776"/>
                </a:lnTo>
                <a:lnTo>
                  <a:pt x="726" y="772"/>
                </a:lnTo>
                <a:close/>
                <a:moveTo>
                  <a:pt x="719" y="775"/>
                </a:moveTo>
                <a:lnTo>
                  <a:pt x="720" y="773"/>
                </a:lnTo>
                <a:lnTo>
                  <a:pt x="723" y="773"/>
                </a:lnTo>
                <a:lnTo>
                  <a:pt x="724" y="776"/>
                </a:lnTo>
                <a:lnTo>
                  <a:pt x="726" y="780"/>
                </a:lnTo>
                <a:lnTo>
                  <a:pt x="727" y="782"/>
                </a:lnTo>
                <a:lnTo>
                  <a:pt x="726" y="784"/>
                </a:lnTo>
                <a:lnTo>
                  <a:pt x="724" y="784"/>
                </a:lnTo>
                <a:lnTo>
                  <a:pt x="723" y="782"/>
                </a:lnTo>
                <a:lnTo>
                  <a:pt x="722" y="779"/>
                </a:lnTo>
                <a:lnTo>
                  <a:pt x="719" y="775"/>
                </a:lnTo>
                <a:close/>
                <a:moveTo>
                  <a:pt x="719" y="831"/>
                </a:moveTo>
                <a:lnTo>
                  <a:pt x="722" y="832"/>
                </a:lnTo>
                <a:lnTo>
                  <a:pt x="722" y="835"/>
                </a:lnTo>
                <a:lnTo>
                  <a:pt x="719" y="833"/>
                </a:lnTo>
                <a:lnTo>
                  <a:pt x="718" y="832"/>
                </a:lnTo>
                <a:lnTo>
                  <a:pt x="719" y="831"/>
                </a:lnTo>
                <a:lnTo>
                  <a:pt x="719" y="831"/>
                </a:lnTo>
                <a:close/>
                <a:moveTo>
                  <a:pt x="711" y="781"/>
                </a:moveTo>
                <a:lnTo>
                  <a:pt x="710" y="779"/>
                </a:lnTo>
                <a:lnTo>
                  <a:pt x="710" y="775"/>
                </a:lnTo>
                <a:lnTo>
                  <a:pt x="709" y="775"/>
                </a:lnTo>
                <a:lnTo>
                  <a:pt x="708" y="774"/>
                </a:lnTo>
                <a:lnTo>
                  <a:pt x="709" y="775"/>
                </a:lnTo>
                <a:lnTo>
                  <a:pt x="710" y="775"/>
                </a:lnTo>
                <a:lnTo>
                  <a:pt x="710" y="779"/>
                </a:lnTo>
                <a:lnTo>
                  <a:pt x="711" y="781"/>
                </a:lnTo>
                <a:close/>
                <a:moveTo>
                  <a:pt x="715" y="734"/>
                </a:moveTo>
                <a:lnTo>
                  <a:pt x="713" y="734"/>
                </a:lnTo>
                <a:lnTo>
                  <a:pt x="713" y="734"/>
                </a:lnTo>
                <a:lnTo>
                  <a:pt x="711" y="733"/>
                </a:lnTo>
                <a:lnTo>
                  <a:pt x="709" y="732"/>
                </a:lnTo>
                <a:lnTo>
                  <a:pt x="715" y="731"/>
                </a:lnTo>
                <a:lnTo>
                  <a:pt x="719" y="730"/>
                </a:lnTo>
                <a:lnTo>
                  <a:pt x="722" y="730"/>
                </a:lnTo>
                <a:lnTo>
                  <a:pt x="723" y="732"/>
                </a:lnTo>
                <a:lnTo>
                  <a:pt x="726" y="740"/>
                </a:lnTo>
                <a:lnTo>
                  <a:pt x="730" y="747"/>
                </a:lnTo>
                <a:lnTo>
                  <a:pt x="725" y="744"/>
                </a:lnTo>
                <a:lnTo>
                  <a:pt x="723" y="738"/>
                </a:lnTo>
                <a:lnTo>
                  <a:pt x="720" y="733"/>
                </a:lnTo>
                <a:lnTo>
                  <a:pt x="715" y="734"/>
                </a:lnTo>
                <a:close/>
                <a:moveTo>
                  <a:pt x="713" y="825"/>
                </a:moveTo>
                <a:lnTo>
                  <a:pt x="713" y="825"/>
                </a:lnTo>
                <a:lnTo>
                  <a:pt x="713" y="826"/>
                </a:lnTo>
                <a:lnTo>
                  <a:pt x="715" y="826"/>
                </a:lnTo>
                <a:lnTo>
                  <a:pt x="716" y="826"/>
                </a:lnTo>
                <a:lnTo>
                  <a:pt x="715" y="828"/>
                </a:lnTo>
                <a:lnTo>
                  <a:pt x="713" y="829"/>
                </a:lnTo>
                <a:lnTo>
                  <a:pt x="713" y="830"/>
                </a:lnTo>
                <a:lnTo>
                  <a:pt x="713" y="831"/>
                </a:lnTo>
                <a:lnTo>
                  <a:pt x="716" y="832"/>
                </a:lnTo>
                <a:lnTo>
                  <a:pt x="716" y="833"/>
                </a:lnTo>
                <a:lnTo>
                  <a:pt x="716" y="832"/>
                </a:lnTo>
                <a:lnTo>
                  <a:pt x="713" y="831"/>
                </a:lnTo>
                <a:lnTo>
                  <a:pt x="713" y="830"/>
                </a:lnTo>
                <a:lnTo>
                  <a:pt x="713" y="829"/>
                </a:lnTo>
                <a:lnTo>
                  <a:pt x="713" y="828"/>
                </a:lnTo>
                <a:lnTo>
                  <a:pt x="713" y="826"/>
                </a:lnTo>
                <a:lnTo>
                  <a:pt x="713" y="825"/>
                </a:lnTo>
                <a:lnTo>
                  <a:pt x="713" y="825"/>
                </a:lnTo>
                <a:close/>
                <a:moveTo>
                  <a:pt x="731" y="684"/>
                </a:moveTo>
                <a:lnTo>
                  <a:pt x="731" y="686"/>
                </a:lnTo>
                <a:lnTo>
                  <a:pt x="731" y="688"/>
                </a:lnTo>
                <a:lnTo>
                  <a:pt x="727" y="690"/>
                </a:lnTo>
                <a:lnTo>
                  <a:pt x="723" y="691"/>
                </a:lnTo>
                <a:lnTo>
                  <a:pt x="725" y="688"/>
                </a:lnTo>
                <a:lnTo>
                  <a:pt x="727" y="685"/>
                </a:lnTo>
                <a:lnTo>
                  <a:pt x="730" y="685"/>
                </a:lnTo>
                <a:lnTo>
                  <a:pt x="731" y="684"/>
                </a:lnTo>
                <a:close/>
                <a:moveTo>
                  <a:pt x="734" y="746"/>
                </a:moveTo>
                <a:lnTo>
                  <a:pt x="736" y="748"/>
                </a:lnTo>
                <a:lnTo>
                  <a:pt x="736" y="749"/>
                </a:lnTo>
                <a:lnTo>
                  <a:pt x="738" y="749"/>
                </a:lnTo>
                <a:lnTo>
                  <a:pt x="740" y="751"/>
                </a:lnTo>
                <a:lnTo>
                  <a:pt x="738" y="749"/>
                </a:lnTo>
                <a:lnTo>
                  <a:pt x="736" y="749"/>
                </a:lnTo>
                <a:lnTo>
                  <a:pt x="736" y="751"/>
                </a:lnTo>
                <a:lnTo>
                  <a:pt x="736" y="751"/>
                </a:lnTo>
                <a:lnTo>
                  <a:pt x="736" y="749"/>
                </a:lnTo>
                <a:lnTo>
                  <a:pt x="736" y="748"/>
                </a:lnTo>
                <a:lnTo>
                  <a:pt x="734" y="746"/>
                </a:lnTo>
                <a:close/>
                <a:moveTo>
                  <a:pt x="745" y="712"/>
                </a:moveTo>
                <a:lnTo>
                  <a:pt x="744" y="712"/>
                </a:lnTo>
                <a:lnTo>
                  <a:pt x="744" y="712"/>
                </a:lnTo>
                <a:lnTo>
                  <a:pt x="741" y="709"/>
                </a:lnTo>
                <a:lnTo>
                  <a:pt x="741" y="706"/>
                </a:lnTo>
                <a:lnTo>
                  <a:pt x="741" y="705"/>
                </a:lnTo>
                <a:lnTo>
                  <a:pt x="743" y="705"/>
                </a:lnTo>
                <a:lnTo>
                  <a:pt x="745" y="709"/>
                </a:lnTo>
                <a:lnTo>
                  <a:pt x="745" y="712"/>
                </a:lnTo>
                <a:close/>
                <a:moveTo>
                  <a:pt x="747" y="737"/>
                </a:moveTo>
                <a:lnTo>
                  <a:pt x="746" y="734"/>
                </a:lnTo>
                <a:lnTo>
                  <a:pt x="745" y="733"/>
                </a:lnTo>
                <a:lnTo>
                  <a:pt x="746" y="734"/>
                </a:lnTo>
                <a:lnTo>
                  <a:pt x="747" y="737"/>
                </a:lnTo>
                <a:close/>
                <a:moveTo>
                  <a:pt x="774" y="628"/>
                </a:moveTo>
                <a:lnTo>
                  <a:pt x="774" y="628"/>
                </a:lnTo>
                <a:lnTo>
                  <a:pt x="773" y="629"/>
                </a:lnTo>
                <a:lnTo>
                  <a:pt x="766" y="632"/>
                </a:lnTo>
                <a:lnTo>
                  <a:pt x="757" y="632"/>
                </a:lnTo>
                <a:lnTo>
                  <a:pt x="757" y="635"/>
                </a:lnTo>
                <a:lnTo>
                  <a:pt x="753" y="636"/>
                </a:lnTo>
                <a:lnTo>
                  <a:pt x="753" y="633"/>
                </a:lnTo>
                <a:lnTo>
                  <a:pt x="757" y="632"/>
                </a:lnTo>
                <a:lnTo>
                  <a:pt x="760" y="628"/>
                </a:lnTo>
                <a:lnTo>
                  <a:pt x="765" y="628"/>
                </a:lnTo>
                <a:lnTo>
                  <a:pt x="770" y="628"/>
                </a:lnTo>
                <a:lnTo>
                  <a:pt x="774" y="628"/>
                </a:lnTo>
                <a:close/>
                <a:moveTo>
                  <a:pt x="757" y="696"/>
                </a:moveTo>
                <a:lnTo>
                  <a:pt x="758" y="693"/>
                </a:lnTo>
                <a:lnTo>
                  <a:pt x="759" y="692"/>
                </a:lnTo>
                <a:lnTo>
                  <a:pt x="760" y="693"/>
                </a:lnTo>
                <a:lnTo>
                  <a:pt x="760" y="695"/>
                </a:lnTo>
                <a:lnTo>
                  <a:pt x="759" y="696"/>
                </a:lnTo>
                <a:lnTo>
                  <a:pt x="757" y="696"/>
                </a:lnTo>
                <a:close/>
                <a:moveTo>
                  <a:pt x="839" y="782"/>
                </a:moveTo>
                <a:lnTo>
                  <a:pt x="839" y="782"/>
                </a:lnTo>
                <a:lnTo>
                  <a:pt x="840" y="782"/>
                </a:lnTo>
                <a:lnTo>
                  <a:pt x="839" y="783"/>
                </a:lnTo>
                <a:lnTo>
                  <a:pt x="837" y="783"/>
                </a:lnTo>
                <a:lnTo>
                  <a:pt x="836" y="784"/>
                </a:lnTo>
                <a:lnTo>
                  <a:pt x="836" y="784"/>
                </a:lnTo>
                <a:lnTo>
                  <a:pt x="836" y="784"/>
                </a:lnTo>
                <a:lnTo>
                  <a:pt x="837" y="784"/>
                </a:lnTo>
                <a:lnTo>
                  <a:pt x="837" y="783"/>
                </a:lnTo>
                <a:lnTo>
                  <a:pt x="837" y="782"/>
                </a:lnTo>
                <a:lnTo>
                  <a:pt x="839" y="782"/>
                </a:lnTo>
                <a:close/>
                <a:moveTo>
                  <a:pt x="854" y="683"/>
                </a:moveTo>
                <a:lnTo>
                  <a:pt x="854" y="683"/>
                </a:lnTo>
                <a:lnTo>
                  <a:pt x="853" y="684"/>
                </a:lnTo>
                <a:lnTo>
                  <a:pt x="854" y="683"/>
                </a:lnTo>
                <a:lnTo>
                  <a:pt x="854" y="683"/>
                </a:lnTo>
                <a:lnTo>
                  <a:pt x="856" y="683"/>
                </a:lnTo>
                <a:lnTo>
                  <a:pt x="857" y="684"/>
                </a:lnTo>
                <a:lnTo>
                  <a:pt x="856" y="683"/>
                </a:lnTo>
                <a:lnTo>
                  <a:pt x="854" y="683"/>
                </a:lnTo>
                <a:close/>
                <a:moveTo>
                  <a:pt x="862" y="747"/>
                </a:moveTo>
                <a:lnTo>
                  <a:pt x="862" y="749"/>
                </a:lnTo>
                <a:lnTo>
                  <a:pt x="862" y="752"/>
                </a:lnTo>
                <a:lnTo>
                  <a:pt x="860" y="753"/>
                </a:lnTo>
                <a:lnTo>
                  <a:pt x="858" y="755"/>
                </a:lnTo>
                <a:lnTo>
                  <a:pt x="856" y="754"/>
                </a:lnTo>
                <a:lnTo>
                  <a:pt x="855" y="752"/>
                </a:lnTo>
                <a:lnTo>
                  <a:pt x="858" y="748"/>
                </a:lnTo>
                <a:lnTo>
                  <a:pt x="862" y="747"/>
                </a:lnTo>
                <a:close/>
                <a:moveTo>
                  <a:pt x="861" y="480"/>
                </a:move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80"/>
                </a:lnTo>
                <a:lnTo>
                  <a:pt x="861" y="479"/>
                </a:lnTo>
                <a:lnTo>
                  <a:pt x="862" y="476"/>
                </a:lnTo>
                <a:lnTo>
                  <a:pt x="861" y="479"/>
                </a:lnTo>
                <a:lnTo>
                  <a:pt x="861" y="480"/>
                </a:lnTo>
                <a:close/>
                <a:moveTo>
                  <a:pt x="862" y="541"/>
                </a:moveTo>
                <a:lnTo>
                  <a:pt x="863" y="539"/>
                </a:lnTo>
                <a:lnTo>
                  <a:pt x="863" y="538"/>
                </a:lnTo>
                <a:lnTo>
                  <a:pt x="863" y="539"/>
                </a:lnTo>
                <a:lnTo>
                  <a:pt x="862" y="541"/>
                </a:lnTo>
                <a:close/>
                <a:moveTo>
                  <a:pt x="867" y="747"/>
                </a:moveTo>
                <a:lnTo>
                  <a:pt x="870" y="752"/>
                </a:lnTo>
                <a:lnTo>
                  <a:pt x="867" y="755"/>
                </a:lnTo>
                <a:lnTo>
                  <a:pt x="865" y="752"/>
                </a:lnTo>
                <a:lnTo>
                  <a:pt x="867" y="747"/>
                </a:lnTo>
                <a:close/>
                <a:moveTo>
                  <a:pt x="862" y="814"/>
                </a:moveTo>
                <a:lnTo>
                  <a:pt x="862" y="805"/>
                </a:lnTo>
                <a:lnTo>
                  <a:pt x="864" y="800"/>
                </a:lnTo>
                <a:lnTo>
                  <a:pt x="867" y="797"/>
                </a:lnTo>
                <a:lnTo>
                  <a:pt x="870" y="797"/>
                </a:lnTo>
                <a:lnTo>
                  <a:pt x="870" y="800"/>
                </a:lnTo>
                <a:lnTo>
                  <a:pt x="869" y="802"/>
                </a:lnTo>
                <a:lnTo>
                  <a:pt x="864" y="808"/>
                </a:lnTo>
                <a:lnTo>
                  <a:pt x="862" y="814"/>
                </a:lnTo>
                <a:close/>
                <a:moveTo>
                  <a:pt x="864" y="872"/>
                </a:moveTo>
                <a:lnTo>
                  <a:pt x="864" y="871"/>
                </a:lnTo>
                <a:lnTo>
                  <a:pt x="864" y="870"/>
                </a:lnTo>
                <a:lnTo>
                  <a:pt x="865" y="868"/>
                </a:lnTo>
                <a:lnTo>
                  <a:pt x="867" y="868"/>
                </a:lnTo>
                <a:lnTo>
                  <a:pt x="865" y="868"/>
                </a:lnTo>
                <a:lnTo>
                  <a:pt x="864" y="870"/>
                </a:lnTo>
                <a:lnTo>
                  <a:pt x="864" y="871"/>
                </a:lnTo>
                <a:lnTo>
                  <a:pt x="864" y="872"/>
                </a:lnTo>
                <a:close/>
                <a:moveTo>
                  <a:pt x="858" y="819"/>
                </a:moveTo>
                <a:lnTo>
                  <a:pt x="857" y="818"/>
                </a:lnTo>
                <a:lnTo>
                  <a:pt x="857" y="817"/>
                </a:lnTo>
                <a:lnTo>
                  <a:pt x="858" y="815"/>
                </a:lnTo>
                <a:lnTo>
                  <a:pt x="862" y="814"/>
                </a:lnTo>
                <a:lnTo>
                  <a:pt x="862" y="817"/>
                </a:lnTo>
                <a:lnTo>
                  <a:pt x="858" y="819"/>
                </a:lnTo>
                <a:close/>
                <a:moveTo>
                  <a:pt x="847" y="1158"/>
                </a:moveTo>
                <a:lnTo>
                  <a:pt x="846" y="1158"/>
                </a:lnTo>
                <a:lnTo>
                  <a:pt x="846" y="1157"/>
                </a:lnTo>
                <a:lnTo>
                  <a:pt x="846" y="1156"/>
                </a:lnTo>
                <a:lnTo>
                  <a:pt x="847" y="1156"/>
                </a:lnTo>
                <a:lnTo>
                  <a:pt x="846" y="1156"/>
                </a:lnTo>
                <a:lnTo>
                  <a:pt x="846" y="1157"/>
                </a:lnTo>
                <a:lnTo>
                  <a:pt x="846" y="1158"/>
                </a:lnTo>
                <a:lnTo>
                  <a:pt x="847" y="1158"/>
                </a:lnTo>
                <a:close/>
                <a:moveTo>
                  <a:pt x="839" y="1146"/>
                </a:move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39" y="1146"/>
                </a:lnTo>
                <a:lnTo>
                  <a:pt x="840" y="1146"/>
                </a:lnTo>
                <a:lnTo>
                  <a:pt x="840" y="1147"/>
                </a:lnTo>
                <a:lnTo>
                  <a:pt x="839" y="1147"/>
                </a:lnTo>
                <a:lnTo>
                  <a:pt x="837" y="1147"/>
                </a:lnTo>
                <a:lnTo>
                  <a:pt x="837" y="1147"/>
                </a:lnTo>
                <a:lnTo>
                  <a:pt x="839" y="1146"/>
                </a:lnTo>
                <a:close/>
                <a:moveTo>
                  <a:pt x="835" y="1280"/>
                </a:moveTo>
                <a:lnTo>
                  <a:pt x="834" y="1282"/>
                </a:lnTo>
                <a:lnTo>
                  <a:pt x="833" y="1283"/>
                </a:lnTo>
                <a:lnTo>
                  <a:pt x="834" y="1282"/>
                </a:lnTo>
                <a:lnTo>
                  <a:pt x="835" y="1280"/>
                </a:lnTo>
                <a:close/>
                <a:moveTo>
                  <a:pt x="824" y="1003"/>
                </a:moveTo>
                <a:lnTo>
                  <a:pt x="824" y="1006"/>
                </a:lnTo>
                <a:lnTo>
                  <a:pt x="822" y="1008"/>
                </a:lnTo>
                <a:lnTo>
                  <a:pt x="824" y="1006"/>
                </a:lnTo>
                <a:lnTo>
                  <a:pt x="824" y="1003"/>
                </a:lnTo>
                <a:lnTo>
                  <a:pt x="827" y="1001"/>
                </a:lnTo>
                <a:lnTo>
                  <a:pt x="829" y="1000"/>
                </a:lnTo>
                <a:lnTo>
                  <a:pt x="827" y="1001"/>
                </a:lnTo>
                <a:lnTo>
                  <a:pt x="824" y="1003"/>
                </a:lnTo>
                <a:close/>
                <a:moveTo>
                  <a:pt x="816" y="983"/>
                </a:moveTo>
                <a:lnTo>
                  <a:pt x="817" y="983"/>
                </a:lnTo>
                <a:lnTo>
                  <a:pt x="820" y="983"/>
                </a:lnTo>
                <a:lnTo>
                  <a:pt x="817" y="983"/>
                </a:lnTo>
                <a:lnTo>
                  <a:pt x="816" y="983"/>
                </a:lnTo>
                <a:close/>
                <a:moveTo>
                  <a:pt x="844" y="1138"/>
                </a:moveTo>
                <a:lnTo>
                  <a:pt x="844" y="1137"/>
                </a:lnTo>
                <a:lnTo>
                  <a:pt x="846" y="1137"/>
                </a:lnTo>
                <a:lnTo>
                  <a:pt x="844" y="1137"/>
                </a:lnTo>
                <a:lnTo>
                  <a:pt x="844" y="1138"/>
                </a:lnTo>
                <a:close/>
                <a:moveTo>
                  <a:pt x="847" y="868"/>
                </a:moveTo>
                <a:lnTo>
                  <a:pt x="840" y="866"/>
                </a:lnTo>
                <a:lnTo>
                  <a:pt x="834" y="865"/>
                </a:lnTo>
                <a:lnTo>
                  <a:pt x="833" y="865"/>
                </a:lnTo>
                <a:lnTo>
                  <a:pt x="832" y="865"/>
                </a:lnTo>
                <a:lnTo>
                  <a:pt x="833" y="865"/>
                </a:lnTo>
                <a:lnTo>
                  <a:pt x="834" y="865"/>
                </a:lnTo>
                <a:lnTo>
                  <a:pt x="840" y="866"/>
                </a:lnTo>
                <a:lnTo>
                  <a:pt x="847" y="868"/>
                </a:lnTo>
                <a:close/>
                <a:moveTo>
                  <a:pt x="850" y="831"/>
                </a:moveTo>
                <a:lnTo>
                  <a:pt x="844" y="832"/>
                </a:lnTo>
                <a:lnTo>
                  <a:pt x="841" y="836"/>
                </a:lnTo>
                <a:lnTo>
                  <a:pt x="843" y="838"/>
                </a:lnTo>
                <a:lnTo>
                  <a:pt x="844" y="838"/>
                </a:lnTo>
                <a:lnTo>
                  <a:pt x="847" y="837"/>
                </a:lnTo>
                <a:lnTo>
                  <a:pt x="849" y="838"/>
                </a:lnTo>
                <a:lnTo>
                  <a:pt x="849" y="840"/>
                </a:lnTo>
                <a:lnTo>
                  <a:pt x="847" y="843"/>
                </a:lnTo>
                <a:lnTo>
                  <a:pt x="841" y="842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6"/>
                </a:lnTo>
                <a:lnTo>
                  <a:pt x="841" y="833"/>
                </a:lnTo>
                <a:lnTo>
                  <a:pt x="841" y="831"/>
                </a:lnTo>
                <a:lnTo>
                  <a:pt x="839" y="828"/>
                </a:lnTo>
                <a:lnTo>
                  <a:pt x="841" y="826"/>
                </a:lnTo>
                <a:lnTo>
                  <a:pt x="843" y="825"/>
                </a:lnTo>
                <a:lnTo>
                  <a:pt x="843" y="829"/>
                </a:lnTo>
                <a:lnTo>
                  <a:pt x="846" y="830"/>
                </a:lnTo>
                <a:lnTo>
                  <a:pt x="850" y="831"/>
                </a:lnTo>
                <a:close/>
                <a:moveTo>
                  <a:pt x="828" y="940"/>
                </a:moveTo>
                <a:lnTo>
                  <a:pt x="829" y="940"/>
                </a:lnTo>
                <a:lnTo>
                  <a:pt x="830" y="940"/>
                </a:lnTo>
                <a:lnTo>
                  <a:pt x="829" y="940"/>
                </a:lnTo>
                <a:lnTo>
                  <a:pt x="828" y="940"/>
                </a:lnTo>
                <a:lnTo>
                  <a:pt x="827" y="935"/>
                </a:lnTo>
                <a:lnTo>
                  <a:pt x="829" y="930"/>
                </a:lnTo>
                <a:lnTo>
                  <a:pt x="827" y="935"/>
                </a:lnTo>
                <a:lnTo>
                  <a:pt x="828" y="940"/>
                </a:lnTo>
                <a:close/>
                <a:moveTo>
                  <a:pt x="829" y="952"/>
                </a:moveTo>
                <a:lnTo>
                  <a:pt x="822" y="952"/>
                </a:lnTo>
                <a:lnTo>
                  <a:pt x="816" y="954"/>
                </a:lnTo>
                <a:lnTo>
                  <a:pt x="822" y="952"/>
                </a:lnTo>
                <a:lnTo>
                  <a:pt x="829" y="952"/>
                </a:lnTo>
                <a:close/>
                <a:moveTo>
                  <a:pt x="815" y="815"/>
                </a:moveTo>
                <a:lnTo>
                  <a:pt x="815" y="815"/>
                </a:lnTo>
                <a:lnTo>
                  <a:pt x="812" y="815"/>
                </a:lnTo>
                <a:lnTo>
                  <a:pt x="809" y="816"/>
                </a:lnTo>
                <a:lnTo>
                  <a:pt x="812" y="815"/>
                </a:lnTo>
                <a:lnTo>
                  <a:pt x="815" y="815"/>
                </a:lnTo>
                <a:close/>
                <a:moveTo>
                  <a:pt x="816" y="789"/>
                </a:move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6" y="789"/>
                </a:lnTo>
                <a:lnTo>
                  <a:pt x="814" y="789"/>
                </a:lnTo>
                <a:lnTo>
                  <a:pt x="812" y="790"/>
                </a:lnTo>
                <a:lnTo>
                  <a:pt x="814" y="789"/>
                </a:lnTo>
                <a:lnTo>
                  <a:pt x="816" y="789"/>
                </a:lnTo>
                <a:close/>
                <a:moveTo>
                  <a:pt x="810" y="686"/>
                </a:moveTo>
                <a:lnTo>
                  <a:pt x="812" y="685"/>
                </a:lnTo>
                <a:lnTo>
                  <a:pt x="814" y="686"/>
                </a:lnTo>
                <a:lnTo>
                  <a:pt x="814" y="686"/>
                </a:lnTo>
                <a:lnTo>
                  <a:pt x="815" y="688"/>
                </a:lnTo>
                <a:lnTo>
                  <a:pt x="813" y="688"/>
                </a:lnTo>
                <a:lnTo>
                  <a:pt x="810" y="686"/>
                </a:lnTo>
                <a:close/>
                <a:moveTo>
                  <a:pt x="800" y="964"/>
                </a:moveTo>
                <a:lnTo>
                  <a:pt x="800" y="965"/>
                </a:lnTo>
                <a:lnTo>
                  <a:pt x="802" y="966"/>
                </a:lnTo>
                <a:lnTo>
                  <a:pt x="801" y="968"/>
                </a:lnTo>
                <a:lnTo>
                  <a:pt x="801" y="969"/>
                </a:lnTo>
                <a:lnTo>
                  <a:pt x="801" y="968"/>
                </a:lnTo>
                <a:lnTo>
                  <a:pt x="802" y="966"/>
                </a:lnTo>
                <a:lnTo>
                  <a:pt x="800" y="965"/>
                </a:lnTo>
                <a:lnTo>
                  <a:pt x="800" y="964"/>
                </a:lnTo>
                <a:close/>
                <a:moveTo>
                  <a:pt x="800" y="691"/>
                </a:moveTo>
                <a:lnTo>
                  <a:pt x="801" y="691"/>
                </a:lnTo>
                <a:lnTo>
                  <a:pt x="802" y="691"/>
                </a:lnTo>
                <a:lnTo>
                  <a:pt x="801" y="692"/>
                </a:lnTo>
                <a:lnTo>
                  <a:pt x="800" y="691"/>
                </a:lnTo>
                <a:close/>
                <a:moveTo>
                  <a:pt x="795" y="878"/>
                </a:moveTo>
                <a:lnTo>
                  <a:pt x="792" y="881"/>
                </a:lnTo>
                <a:lnTo>
                  <a:pt x="789" y="879"/>
                </a:lnTo>
                <a:lnTo>
                  <a:pt x="788" y="875"/>
                </a:lnTo>
                <a:lnTo>
                  <a:pt x="786" y="872"/>
                </a:lnTo>
                <a:lnTo>
                  <a:pt x="792" y="874"/>
                </a:lnTo>
                <a:lnTo>
                  <a:pt x="795" y="878"/>
                </a:lnTo>
                <a:close/>
                <a:moveTo>
                  <a:pt x="773" y="836"/>
                </a:moveTo>
                <a:lnTo>
                  <a:pt x="773" y="838"/>
                </a:lnTo>
                <a:lnTo>
                  <a:pt x="772" y="839"/>
                </a:lnTo>
                <a:lnTo>
                  <a:pt x="766" y="833"/>
                </a:lnTo>
                <a:lnTo>
                  <a:pt x="761" y="828"/>
                </a:lnTo>
                <a:lnTo>
                  <a:pt x="761" y="826"/>
                </a:lnTo>
                <a:lnTo>
                  <a:pt x="761" y="826"/>
                </a:lnTo>
                <a:lnTo>
                  <a:pt x="764" y="824"/>
                </a:lnTo>
                <a:lnTo>
                  <a:pt x="767" y="822"/>
                </a:lnTo>
                <a:lnTo>
                  <a:pt x="768" y="821"/>
                </a:lnTo>
                <a:lnTo>
                  <a:pt x="770" y="822"/>
                </a:lnTo>
                <a:lnTo>
                  <a:pt x="772" y="823"/>
                </a:lnTo>
                <a:lnTo>
                  <a:pt x="772" y="825"/>
                </a:lnTo>
                <a:lnTo>
                  <a:pt x="770" y="831"/>
                </a:lnTo>
                <a:lnTo>
                  <a:pt x="773" y="836"/>
                </a:lnTo>
                <a:close/>
                <a:moveTo>
                  <a:pt x="795" y="987"/>
                </a:moveTo>
                <a:lnTo>
                  <a:pt x="795" y="985"/>
                </a:lnTo>
                <a:lnTo>
                  <a:pt x="795" y="983"/>
                </a:lnTo>
                <a:lnTo>
                  <a:pt x="795" y="983"/>
                </a:lnTo>
                <a:lnTo>
                  <a:pt x="795" y="983"/>
                </a:lnTo>
                <a:lnTo>
                  <a:pt x="795" y="982"/>
                </a:lnTo>
                <a:lnTo>
                  <a:pt x="799" y="980"/>
                </a:lnTo>
                <a:lnTo>
                  <a:pt x="802" y="978"/>
                </a:lnTo>
                <a:lnTo>
                  <a:pt x="799" y="980"/>
                </a:lnTo>
                <a:lnTo>
                  <a:pt x="795" y="982"/>
                </a:lnTo>
                <a:lnTo>
                  <a:pt x="795" y="983"/>
                </a:lnTo>
                <a:lnTo>
                  <a:pt x="795" y="983"/>
                </a:lnTo>
                <a:lnTo>
                  <a:pt x="795" y="985"/>
                </a:lnTo>
                <a:lnTo>
                  <a:pt x="795" y="987"/>
                </a:lnTo>
                <a:close/>
                <a:moveTo>
                  <a:pt x="803" y="916"/>
                </a:moveTo>
                <a:lnTo>
                  <a:pt x="801" y="915"/>
                </a:lnTo>
                <a:lnTo>
                  <a:pt x="799" y="915"/>
                </a:lnTo>
                <a:lnTo>
                  <a:pt x="799" y="914"/>
                </a:lnTo>
                <a:lnTo>
                  <a:pt x="799" y="913"/>
                </a:lnTo>
                <a:lnTo>
                  <a:pt x="799" y="910"/>
                </a:lnTo>
                <a:lnTo>
                  <a:pt x="799" y="907"/>
                </a:lnTo>
                <a:lnTo>
                  <a:pt x="802" y="907"/>
                </a:lnTo>
                <a:lnTo>
                  <a:pt x="807" y="907"/>
                </a:lnTo>
                <a:lnTo>
                  <a:pt x="806" y="908"/>
                </a:lnTo>
                <a:lnTo>
                  <a:pt x="806" y="909"/>
                </a:lnTo>
                <a:lnTo>
                  <a:pt x="803" y="913"/>
                </a:lnTo>
                <a:lnTo>
                  <a:pt x="803" y="916"/>
                </a:lnTo>
                <a:close/>
                <a:moveTo>
                  <a:pt x="806" y="949"/>
                </a:moveTo>
                <a:lnTo>
                  <a:pt x="813" y="948"/>
                </a:lnTo>
                <a:lnTo>
                  <a:pt x="819" y="944"/>
                </a:lnTo>
                <a:lnTo>
                  <a:pt x="813" y="948"/>
                </a:lnTo>
                <a:lnTo>
                  <a:pt x="806" y="949"/>
                </a:lnTo>
                <a:close/>
                <a:moveTo>
                  <a:pt x="814" y="1238"/>
                </a:moveTo>
                <a:lnTo>
                  <a:pt x="815" y="1238"/>
                </a:lnTo>
                <a:lnTo>
                  <a:pt x="816" y="1240"/>
                </a:lnTo>
                <a:lnTo>
                  <a:pt x="816" y="1241"/>
                </a:lnTo>
                <a:lnTo>
                  <a:pt x="816" y="1243"/>
                </a:lnTo>
                <a:lnTo>
                  <a:pt x="816" y="1241"/>
                </a:lnTo>
                <a:lnTo>
                  <a:pt x="816" y="1240"/>
                </a:lnTo>
                <a:lnTo>
                  <a:pt x="815" y="1238"/>
                </a:lnTo>
                <a:lnTo>
                  <a:pt x="814" y="1238"/>
                </a:lnTo>
                <a:close/>
                <a:moveTo>
                  <a:pt x="821" y="1164"/>
                </a:moveTo>
                <a:lnTo>
                  <a:pt x="822" y="1164"/>
                </a:lnTo>
                <a:lnTo>
                  <a:pt x="823" y="1164"/>
                </a:lnTo>
                <a:lnTo>
                  <a:pt x="822" y="1164"/>
                </a:lnTo>
                <a:lnTo>
                  <a:pt x="821" y="1164"/>
                </a:lnTo>
                <a:close/>
                <a:moveTo>
                  <a:pt x="824" y="1117"/>
                </a:moveTo>
                <a:lnTo>
                  <a:pt x="820" y="1121"/>
                </a:lnTo>
                <a:lnTo>
                  <a:pt x="816" y="1126"/>
                </a:lnTo>
                <a:lnTo>
                  <a:pt x="813" y="1128"/>
                </a:lnTo>
                <a:lnTo>
                  <a:pt x="812" y="1130"/>
                </a:lnTo>
                <a:lnTo>
                  <a:pt x="813" y="1128"/>
                </a:lnTo>
                <a:lnTo>
                  <a:pt x="816" y="1126"/>
                </a:lnTo>
                <a:lnTo>
                  <a:pt x="820" y="1121"/>
                </a:lnTo>
                <a:lnTo>
                  <a:pt x="824" y="1117"/>
                </a:lnTo>
                <a:lnTo>
                  <a:pt x="824" y="1115"/>
                </a:lnTo>
                <a:lnTo>
                  <a:pt x="826" y="1114"/>
                </a:lnTo>
                <a:lnTo>
                  <a:pt x="824" y="1115"/>
                </a:lnTo>
                <a:lnTo>
                  <a:pt x="824" y="1117"/>
                </a:lnTo>
                <a:close/>
                <a:moveTo>
                  <a:pt x="829" y="1133"/>
                </a:moveTo>
                <a:lnTo>
                  <a:pt x="828" y="1136"/>
                </a:lnTo>
                <a:lnTo>
                  <a:pt x="827" y="1138"/>
                </a:lnTo>
                <a:lnTo>
                  <a:pt x="828" y="1136"/>
                </a:lnTo>
                <a:lnTo>
                  <a:pt x="829" y="1133"/>
                </a:lnTo>
                <a:lnTo>
                  <a:pt x="832" y="1132"/>
                </a:lnTo>
                <a:lnTo>
                  <a:pt x="833" y="1130"/>
                </a:lnTo>
                <a:lnTo>
                  <a:pt x="832" y="1132"/>
                </a:lnTo>
                <a:lnTo>
                  <a:pt x="829" y="1133"/>
                </a:lnTo>
                <a:close/>
                <a:moveTo>
                  <a:pt x="833" y="1147"/>
                </a:moveTo>
                <a:lnTo>
                  <a:pt x="835" y="1145"/>
                </a:lnTo>
                <a:lnTo>
                  <a:pt x="840" y="1142"/>
                </a:lnTo>
                <a:lnTo>
                  <a:pt x="840" y="1139"/>
                </a:lnTo>
                <a:lnTo>
                  <a:pt x="842" y="1138"/>
                </a:lnTo>
                <a:lnTo>
                  <a:pt x="840" y="1139"/>
                </a:lnTo>
                <a:lnTo>
                  <a:pt x="840" y="1142"/>
                </a:lnTo>
                <a:lnTo>
                  <a:pt x="835" y="1145"/>
                </a:lnTo>
                <a:lnTo>
                  <a:pt x="833" y="1147"/>
                </a:lnTo>
                <a:close/>
                <a:moveTo>
                  <a:pt x="851" y="1285"/>
                </a:moveTo>
                <a:lnTo>
                  <a:pt x="848" y="1285"/>
                </a:lnTo>
                <a:lnTo>
                  <a:pt x="846" y="1285"/>
                </a:lnTo>
                <a:lnTo>
                  <a:pt x="844" y="1287"/>
                </a:lnTo>
                <a:lnTo>
                  <a:pt x="843" y="1289"/>
                </a:lnTo>
                <a:lnTo>
                  <a:pt x="844" y="1287"/>
                </a:lnTo>
                <a:lnTo>
                  <a:pt x="846" y="1285"/>
                </a:lnTo>
                <a:lnTo>
                  <a:pt x="848" y="1285"/>
                </a:lnTo>
                <a:lnTo>
                  <a:pt x="851" y="1285"/>
                </a:lnTo>
                <a:close/>
                <a:moveTo>
                  <a:pt x="854" y="1241"/>
                </a:moveTo>
                <a:lnTo>
                  <a:pt x="846" y="1244"/>
                </a:lnTo>
                <a:lnTo>
                  <a:pt x="839" y="1250"/>
                </a:lnTo>
                <a:lnTo>
                  <a:pt x="846" y="1244"/>
                </a:lnTo>
                <a:lnTo>
                  <a:pt x="854" y="1241"/>
                </a:lnTo>
                <a:lnTo>
                  <a:pt x="855" y="1240"/>
                </a:lnTo>
                <a:lnTo>
                  <a:pt x="855" y="1238"/>
                </a:lnTo>
                <a:lnTo>
                  <a:pt x="855" y="1237"/>
                </a:lnTo>
                <a:lnTo>
                  <a:pt x="855" y="1235"/>
                </a:lnTo>
                <a:lnTo>
                  <a:pt x="855" y="1237"/>
                </a:lnTo>
                <a:lnTo>
                  <a:pt x="855" y="1238"/>
                </a:lnTo>
                <a:lnTo>
                  <a:pt x="855" y="1240"/>
                </a:lnTo>
                <a:lnTo>
                  <a:pt x="854" y="1241"/>
                </a:lnTo>
                <a:close/>
                <a:moveTo>
                  <a:pt x="864" y="1117"/>
                </a:moveTo>
                <a:lnTo>
                  <a:pt x="863" y="1117"/>
                </a:lnTo>
                <a:lnTo>
                  <a:pt x="863" y="1118"/>
                </a:lnTo>
                <a:lnTo>
                  <a:pt x="864" y="1117"/>
                </a:lnTo>
                <a:lnTo>
                  <a:pt x="864" y="1115"/>
                </a:lnTo>
                <a:lnTo>
                  <a:pt x="865" y="1114"/>
                </a:lnTo>
                <a:lnTo>
                  <a:pt x="867" y="1114"/>
                </a:lnTo>
                <a:lnTo>
                  <a:pt x="867" y="1115"/>
                </a:lnTo>
                <a:lnTo>
                  <a:pt x="865" y="1116"/>
                </a:lnTo>
                <a:lnTo>
                  <a:pt x="864" y="1117"/>
                </a:lnTo>
                <a:close/>
                <a:moveTo>
                  <a:pt x="867" y="917"/>
                </a:moveTo>
                <a:lnTo>
                  <a:pt x="867" y="916"/>
                </a:lnTo>
                <a:lnTo>
                  <a:pt x="867" y="914"/>
                </a:lnTo>
                <a:lnTo>
                  <a:pt x="864" y="919"/>
                </a:lnTo>
                <a:lnTo>
                  <a:pt x="862" y="923"/>
                </a:lnTo>
                <a:lnTo>
                  <a:pt x="864" y="919"/>
                </a:lnTo>
                <a:lnTo>
                  <a:pt x="867" y="914"/>
                </a:lnTo>
                <a:lnTo>
                  <a:pt x="868" y="910"/>
                </a:lnTo>
                <a:lnTo>
                  <a:pt x="868" y="906"/>
                </a:lnTo>
                <a:lnTo>
                  <a:pt x="868" y="910"/>
                </a:lnTo>
                <a:lnTo>
                  <a:pt x="867" y="914"/>
                </a:lnTo>
                <a:lnTo>
                  <a:pt x="867" y="916"/>
                </a:lnTo>
                <a:lnTo>
                  <a:pt x="867" y="917"/>
                </a:lnTo>
                <a:close/>
                <a:moveTo>
                  <a:pt x="875" y="751"/>
                </a:moveTo>
                <a:lnTo>
                  <a:pt x="874" y="749"/>
                </a:lnTo>
                <a:lnTo>
                  <a:pt x="874" y="749"/>
                </a:lnTo>
                <a:lnTo>
                  <a:pt x="875" y="748"/>
                </a:lnTo>
                <a:lnTo>
                  <a:pt x="875" y="748"/>
                </a:lnTo>
                <a:lnTo>
                  <a:pt x="875" y="748"/>
                </a:lnTo>
                <a:lnTo>
                  <a:pt x="876" y="749"/>
                </a:lnTo>
                <a:lnTo>
                  <a:pt x="875" y="749"/>
                </a:lnTo>
                <a:lnTo>
                  <a:pt x="875" y="751"/>
                </a:lnTo>
                <a:close/>
                <a:moveTo>
                  <a:pt x="878" y="601"/>
                </a:moveTo>
                <a:lnTo>
                  <a:pt x="876" y="601"/>
                </a:lnTo>
                <a:lnTo>
                  <a:pt x="874" y="600"/>
                </a:lnTo>
                <a:lnTo>
                  <a:pt x="876" y="601"/>
                </a:lnTo>
                <a:lnTo>
                  <a:pt x="878" y="601"/>
                </a:lnTo>
                <a:close/>
                <a:moveTo>
                  <a:pt x="876" y="445"/>
                </a:moveTo>
                <a:lnTo>
                  <a:pt x="877" y="444"/>
                </a:lnTo>
                <a:lnTo>
                  <a:pt x="878" y="444"/>
                </a:lnTo>
                <a:lnTo>
                  <a:pt x="878" y="444"/>
                </a:lnTo>
                <a:lnTo>
                  <a:pt x="877" y="444"/>
                </a:lnTo>
                <a:lnTo>
                  <a:pt x="876" y="445"/>
                </a:lnTo>
                <a:close/>
                <a:moveTo>
                  <a:pt x="878" y="696"/>
                </a:moveTo>
                <a:lnTo>
                  <a:pt x="870" y="702"/>
                </a:lnTo>
                <a:lnTo>
                  <a:pt x="864" y="705"/>
                </a:lnTo>
                <a:lnTo>
                  <a:pt x="870" y="702"/>
                </a:lnTo>
                <a:lnTo>
                  <a:pt x="878" y="696"/>
                </a:lnTo>
                <a:close/>
                <a:moveTo>
                  <a:pt x="871" y="453"/>
                </a:moveTo>
                <a:lnTo>
                  <a:pt x="871" y="457"/>
                </a:lnTo>
                <a:lnTo>
                  <a:pt x="871" y="460"/>
                </a:lnTo>
                <a:lnTo>
                  <a:pt x="871" y="461"/>
                </a:lnTo>
                <a:lnTo>
                  <a:pt x="870" y="461"/>
                </a:lnTo>
                <a:lnTo>
                  <a:pt x="871" y="460"/>
                </a:lnTo>
                <a:lnTo>
                  <a:pt x="871" y="460"/>
                </a:lnTo>
                <a:lnTo>
                  <a:pt x="871" y="457"/>
                </a:lnTo>
                <a:lnTo>
                  <a:pt x="871" y="453"/>
                </a:lnTo>
                <a:lnTo>
                  <a:pt x="871" y="453"/>
                </a:lnTo>
                <a:lnTo>
                  <a:pt x="872" y="452"/>
                </a:lnTo>
                <a:lnTo>
                  <a:pt x="871" y="453"/>
                </a:lnTo>
                <a:lnTo>
                  <a:pt x="871" y="453"/>
                </a:lnTo>
                <a:close/>
                <a:moveTo>
                  <a:pt x="871" y="493"/>
                </a:moveTo>
                <a:lnTo>
                  <a:pt x="871" y="492"/>
                </a:lnTo>
                <a:lnTo>
                  <a:pt x="871" y="490"/>
                </a:lnTo>
                <a:lnTo>
                  <a:pt x="870" y="488"/>
                </a:lnTo>
                <a:lnTo>
                  <a:pt x="869" y="487"/>
                </a:lnTo>
                <a:lnTo>
                  <a:pt x="870" y="488"/>
                </a:lnTo>
                <a:lnTo>
                  <a:pt x="871" y="490"/>
                </a:lnTo>
                <a:lnTo>
                  <a:pt x="871" y="492"/>
                </a:lnTo>
                <a:lnTo>
                  <a:pt x="871" y="493"/>
                </a:lnTo>
                <a:lnTo>
                  <a:pt x="872" y="494"/>
                </a:lnTo>
                <a:lnTo>
                  <a:pt x="872" y="494"/>
                </a:lnTo>
                <a:lnTo>
                  <a:pt x="872" y="494"/>
                </a:lnTo>
                <a:lnTo>
                  <a:pt x="871" y="493"/>
                </a:lnTo>
                <a:close/>
                <a:moveTo>
                  <a:pt x="868" y="443"/>
                </a:moveTo>
                <a:lnTo>
                  <a:pt x="869" y="444"/>
                </a:lnTo>
                <a:lnTo>
                  <a:pt x="870" y="444"/>
                </a:lnTo>
                <a:lnTo>
                  <a:pt x="869" y="444"/>
                </a:lnTo>
                <a:lnTo>
                  <a:pt x="868" y="443"/>
                </a:lnTo>
                <a:lnTo>
                  <a:pt x="867" y="443"/>
                </a:lnTo>
                <a:lnTo>
                  <a:pt x="865" y="443"/>
                </a:lnTo>
                <a:lnTo>
                  <a:pt x="867" y="443"/>
                </a:lnTo>
                <a:lnTo>
                  <a:pt x="868" y="443"/>
                </a:lnTo>
                <a:close/>
                <a:moveTo>
                  <a:pt x="860" y="549"/>
                </a:moveTo>
                <a:lnTo>
                  <a:pt x="858" y="548"/>
                </a:lnTo>
                <a:lnTo>
                  <a:pt x="858" y="546"/>
                </a:lnTo>
                <a:lnTo>
                  <a:pt x="858" y="548"/>
                </a:lnTo>
                <a:lnTo>
                  <a:pt x="860" y="549"/>
                </a:lnTo>
                <a:close/>
                <a:moveTo>
                  <a:pt x="843" y="518"/>
                </a:moveTo>
                <a:lnTo>
                  <a:pt x="844" y="518"/>
                </a:lnTo>
                <a:lnTo>
                  <a:pt x="846" y="518"/>
                </a:lnTo>
                <a:lnTo>
                  <a:pt x="844" y="518"/>
                </a:lnTo>
                <a:lnTo>
                  <a:pt x="843" y="518"/>
                </a:lnTo>
                <a:lnTo>
                  <a:pt x="842" y="517"/>
                </a:lnTo>
                <a:lnTo>
                  <a:pt x="841" y="515"/>
                </a:lnTo>
                <a:lnTo>
                  <a:pt x="842" y="517"/>
                </a:lnTo>
                <a:lnTo>
                  <a:pt x="843" y="518"/>
                </a:lnTo>
                <a:lnTo>
                  <a:pt x="843" y="518"/>
                </a:lnTo>
                <a:close/>
                <a:moveTo>
                  <a:pt x="839" y="760"/>
                </a:moveTo>
                <a:lnTo>
                  <a:pt x="840" y="760"/>
                </a:lnTo>
                <a:lnTo>
                  <a:pt x="841" y="760"/>
                </a:lnTo>
                <a:lnTo>
                  <a:pt x="841" y="761"/>
                </a:lnTo>
                <a:lnTo>
                  <a:pt x="840" y="762"/>
                </a:lnTo>
                <a:lnTo>
                  <a:pt x="839" y="761"/>
                </a:lnTo>
                <a:lnTo>
                  <a:pt x="839" y="760"/>
                </a:lnTo>
                <a:close/>
                <a:moveTo>
                  <a:pt x="846" y="766"/>
                </a:moveTo>
                <a:lnTo>
                  <a:pt x="848" y="762"/>
                </a:lnTo>
                <a:lnTo>
                  <a:pt x="853" y="759"/>
                </a:lnTo>
                <a:lnTo>
                  <a:pt x="855" y="760"/>
                </a:lnTo>
                <a:lnTo>
                  <a:pt x="857" y="762"/>
                </a:lnTo>
                <a:lnTo>
                  <a:pt x="855" y="763"/>
                </a:lnTo>
                <a:lnTo>
                  <a:pt x="855" y="766"/>
                </a:lnTo>
                <a:lnTo>
                  <a:pt x="855" y="767"/>
                </a:lnTo>
                <a:lnTo>
                  <a:pt x="856" y="767"/>
                </a:lnTo>
                <a:lnTo>
                  <a:pt x="858" y="765"/>
                </a:lnTo>
                <a:lnTo>
                  <a:pt x="858" y="762"/>
                </a:lnTo>
                <a:lnTo>
                  <a:pt x="858" y="761"/>
                </a:lnTo>
                <a:lnTo>
                  <a:pt x="858" y="759"/>
                </a:lnTo>
                <a:lnTo>
                  <a:pt x="861" y="758"/>
                </a:lnTo>
                <a:lnTo>
                  <a:pt x="862" y="755"/>
                </a:lnTo>
                <a:lnTo>
                  <a:pt x="863" y="766"/>
                </a:lnTo>
                <a:lnTo>
                  <a:pt x="855" y="770"/>
                </a:lnTo>
                <a:lnTo>
                  <a:pt x="851" y="773"/>
                </a:lnTo>
                <a:lnTo>
                  <a:pt x="850" y="776"/>
                </a:lnTo>
                <a:lnTo>
                  <a:pt x="851" y="773"/>
                </a:lnTo>
                <a:lnTo>
                  <a:pt x="855" y="770"/>
                </a:lnTo>
                <a:lnTo>
                  <a:pt x="854" y="769"/>
                </a:lnTo>
                <a:lnTo>
                  <a:pt x="851" y="770"/>
                </a:lnTo>
                <a:lnTo>
                  <a:pt x="847" y="775"/>
                </a:lnTo>
                <a:lnTo>
                  <a:pt x="843" y="780"/>
                </a:lnTo>
                <a:lnTo>
                  <a:pt x="841" y="780"/>
                </a:lnTo>
                <a:lnTo>
                  <a:pt x="837" y="779"/>
                </a:lnTo>
                <a:lnTo>
                  <a:pt x="843" y="773"/>
                </a:lnTo>
                <a:lnTo>
                  <a:pt x="846" y="766"/>
                </a:lnTo>
                <a:close/>
                <a:moveTo>
                  <a:pt x="829" y="783"/>
                </a:moveTo>
                <a:lnTo>
                  <a:pt x="829" y="783"/>
                </a:lnTo>
                <a:lnTo>
                  <a:pt x="829" y="783"/>
                </a:lnTo>
                <a:lnTo>
                  <a:pt x="832" y="783"/>
                </a:lnTo>
                <a:lnTo>
                  <a:pt x="833" y="786"/>
                </a:lnTo>
                <a:lnTo>
                  <a:pt x="833" y="786"/>
                </a:lnTo>
                <a:lnTo>
                  <a:pt x="830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6"/>
                </a:lnTo>
                <a:lnTo>
                  <a:pt x="829" y="783"/>
                </a:lnTo>
                <a:lnTo>
                  <a:pt x="829" y="783"/>
                </a:lnTo>
                <a:lnTo>
                  <a:pt x="829" y="783"/>
                </a:lnTo>
                <a:close/>
                <a:moveTo>
                  <a:pt x="829" y="566"/>
                </a:moveTo>
                <a:lnTo>
                  <a:pt x="829" y="567"/>
                </a:lnTo>
                <a:lnTo>
                  <a:pt x="829" y="569"/>
                </a:lnTo>
                <a:lnTo>
                  <a:pt x="830" y="570"/>
                </a:lnTo>
                <a:lnTo>
                  <a:pt x="830" y="570"/>
                </a:lnTo>
                <a:lnTo>
                  <a:pt x="830" y="570"/>
                </a:lnTo>
                <a:lnTo>
                  <a:pt x="829" y="569"/>
                </a:lnTo>
                <a:lnTo>
                  <a:pt x="829" y="567"/>
                </a:lnTo>
                <a:lnTo>
                  <a:pt x="829" y="566"/>
                </a:lnTo>
                <a:close/>
                <a:moveTo>
                  <a:pt x="829" y="368"/>
                </a:moveTo>
                <a:lnTo>
                  <a:pt x="829" y="367"/>
                </a:lnTo>
                <a:lnTo>
                  <a:pt x="829" y="367"/>
                </a:lnTo>
                <a:lnTo>
                  <a:pt x="829" y="367"/>
                </a:lnTo>
                <a:lnTo>
                  <a:pt x="829" y="368"/>
                </a:lnTo>
                <a:lnTo>
                  <a:pt x="832" y="368"/>
                </a:lnTo>
                <a:lnTo>
                  <a:pt x="833" y="370"/>
                </a:lnTo>
                <a:lnTo>
                  <a:pt x="832" y="368"/>
                </a:lnTo>
                <a:lnTo>
                  <a:pt x="829" y="368"/>
                </a:lnTo>
                <a:close/>
                <a:moveTo>
                  <a:pt x="839" y="796"/>
                </a:moveTo>
                <a:lnTo>
                  <a:pt x="839" y="795"/>
                </a:lnTo>
                <a:lnTo>
                  <a:pt x="837" y="794"/>
                </a:lnTo>
                <a:lnTo>
                  <a:pt x="837" y="793"/>
                </a:lnTo>
                <a:lnTo>
                  <a:pt x="837" y="793"/>
                </a:lnTo>
                <a:lnTo>
                  <a:pt x="842" y="789"/>
                </a:lnTo>
                <a:lnTo>
                  <a:pt x="841" y="784"/>
                </a:lnTo>
                <a:lnTo>
                  <a:pt x="847" y="782"/>
                </a:lnTo>
                <a:lnTo>
                  <a:pt x="850" y="777"/>
                </a:lnTo>
                <a:lnTo>
                  <a:pt x="854" y="781"/>
                </a:lnTo>
                <a:lnTo>
                  <a:pt x="849" y="786"/>
                </a:lnTo>
                <a:lnTo>
                  <a:pt x="848" y="787"/>
                </a:lnTo>
                <a:lnTo>
                  <a:pt x="848" y="789"/>
                </a:lnTo>
                <a:lnTo>
                  <a:pt x="849" y="789"/>
                </a:lnTo>
                <a:lnTo>
                  <a:pt x="851" y="789"/>
                </a:lnTo>
                <a:lnTo>
                  <a:pt x="854" y="789"/>
                </a:lnTo>
                <a:lnTo>
                  <a:pt x="856" y="788"/>
                </a:lnTo>
                <a:lnTo>
                  <a:pt x="857" y="787"/>
                </a:lnTo>
                <a:lnTo>
                  <a:pt x="858" y="788"/>
                </a:lnTo>
                <a:lnTo>
                  <a:pt x="857" y="790"/>
                </a:lnTo>
                <a:lnTo>
                  <a:pt x="855" y="789"/>
                </a:lnTo>
                <a:lnTo>
                  <a:pt x="855" y="789"/>
                </a:lnTo>
                <a:lnTo>
                  <a:pt x="854" y="791"/>
                </a:lnTo>
                <a:lnTo>
                  <a:pt x="854" y="794"/>
                </a:lnTo>
                <a:lnTo>
                  <a:pt x="851" y="794"/>
                </a:lnTo>
                <a:lnTo>
                  <a:pt x="849" y="794"/>
                </a:lnTo>
                <a:lnTo>
                  <a:pt x="846" y="796"/>
                </a:lnTo>
                <a:lnTo>
                  <a:pt x="848" y="798"/>
                </a:lnTo>
                <a:lnTo>
                  <a:pt x="849" y="800"/>
                </a:lnTo>
                <a:lnTo>
                  <a:pt x="849" y="801"/>
                </a:lnTo>
                <a:lnTo>
                  <a:pt x="848" y="802"/>
                </a:lnTo>
                <a:lnTo>
                  <a:pt x="848" y="803"/>
                </a:lnTo>
                <a:lnTo>
                  <a:pt x="850" y="803"/>
                </a:lnTo>
                <a:lnTo>
                  <a:pt x="851" y="802"/>
                </a:lnTo>
                <a:lnTo>
                  <a:pt x="850" y="807"/>
                </a:lnTo>
                <a:lnTo>
                  <a:pt x="854" y="810"/>
                </a:lnTo>
                <a:lnTo>
                  <a:pt x="855" y="812"/>
                </a:lnTo>
                <a:lnTo>
                  <a:pt x="854" y="817"/>
                </a:lnTo>
                <a:lnTo>
                  <a:pt x="854" y="817"/>
                </a:lnTo>
                <a:lnTo>
                  <a:pt x="853" y="821"/>
                </a:lnTo>
                <a:lnTo>
                  <a:pt x="854" y="825"/>
                </a:lnTo>
                <a:lnTo>
                  <a:pt x="846" y="822"/>
                </a:lnTo>
                <a:lnTo>
                  <a:pt x="837" y="822"/>
                </a:lnTo>
                <a:lnTo>
                  <a:pt x="835" y="823"/>
                </a:lnTo>
                <a:lnTo>
                  <a:pt x="834" y="821"/>
                </a:lnTo>
                <a:lnTo>
                  <a:pt x="834" y="819"/>
                </a:lnTo>
                <a:lnTo>
                  <a:pt x="836" y="818"/>
                </a:lnTo>
                <a:lnTo>
                  <a:pt x="837" y="818"/>
                </a:lnTo>
                <a:lnTo>
                  <a:pt x="839" y="818"/>
                </a:lnTo>
                <a:lnTo>
                  <a:pt x="842" y="816"/>
                </a:lnTo>
                <a:lnTo>
                  <a:pt x="843" y="812"/>
                </a:lnTo>
                <a:lnTo>
                  <a:pt x="841" y="811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7" y="814"/>
                </a:lnTo>
                <a:lnTo>
                  <a:pt x="834" y="816"/>
                </a:lnTo>
                <a:lnTo>
                  <a:pt x="830" y="817"/>
                </a:lnTo>
                <a:lnTo>
                  <a:pt x="833" y="814"/>
                </a:lnTo>
                <a:lnTo>
                  <a:pt x="837" y="814"/>
                </a:lnTo>
                <a:lnTo>
                  <a:pt x="837" y="809"/>
                </a:lnTo>
                <a:lnTo>
                  <a:pt x="834" y="807"/>
                </a:lnTo>
                <a:lnTo>
                  <a:pt x="830" y="809"/>
                </a:lnTo>
                <a:lnTo>
                  <a:pt x="827" y="815"/>
                </a:lnTo>
                <a:lnTo>
                  <a:pt x="827" y="815"/>
                </a:lnTo>
                <a:lnTo>
                  <a:pt x="826" y="815"/>
                </a:lnTo>
                <a:lnTo>
                  <a:pt x="824" y="815"/>
                </a:lnTo>
                <a:lnTo>
                  <a:pt x="821" y="815"/>
                </a:lnTo>
                <a:lnTo>
                  <a:pt x="820" y="812"/>
                </a:lnTo>
                <a:lnTo>
                  <a:pt x="820" y="810"/>
                </a:lnTo>
                <a:lnTo>
                  <a:pt x="823" y="809"/>
                </a:lnTo>
                <a:lnTo>
                  <a:pt x="830" y="803"/>
                </a:lnTo>
                <a:lnTo>
                  <a:pt x="839" y="796"/>
                </a:lnTo>
                <a:close/>
                <a:moveTo>
                  <a:pt x="789" y="674"/>
                </a:moveTo>
                <a:lnTo>
                  <a:pt x="792" y="675"/>
                </a:lnTo>
                <a:lnTo>
                  <a:pt x="793" y="676"/>
                </a:lnTo>
                <a:lnTo>
                  <a:pt x="791" y="677"/>
                </a:lnTo>
                <a:lnTo>
                  <a:pt x="789" y="678"/>
                </a:lnTo>
                <a:lnTo>
                  <a:pt x="786" y="678"/>
                </a:lnTo>
                <a:lnTo>
                  <a:pt x="786" y="675"/>
                </a:lnTo>
                <a:lnTo>
                  <a:pt x="788" y="672"/>
                </a:lnTo>
                <a:lnTo>
                  <a:pt x="789" y="674"/>
                </a:lnTo>
                <a:close/>
                <a:moveTo>
                  <a:pt x="775" y="625"/>
                </a:moveTo>
                <a:lnTo>
                  <a:pt x="777" y="623"/>
                </a:lnTo>
                <a:lnTo>
                  <a:pt x="778" y="621"/>
                </a:lnTo>
                <a:lnTo>
                  <a:pt x="777" y="623"/>
                </a:lnTo>
                <a:lnTo>
                  <a:pt x="775" y="625"/>
                </a:lnTo>
                <a:close/>
                <a:moveTo>
                  <a:pt x="785" y="684"/>
                </a:moveTo>
                <a:lnTo>
                  <a:pt x="788" y="684"/>
                </a:lnTo>
                <a:lnTo>
                  <a:pt x="791" y="683"/>
                </a:lnTo>
                <a:lnTo>
                  <a:pt x="803" y="678"/>
                </a:lnTo>
                <a:lnTo>
                  <a:pt x="814" y="670"/>
                </a:lnTo>
                <a:lnTo>
                  <a:pt x="817" y="668"/>
                </a:lnTo>
                <a:lnTo>
                  <a:pt x="820" y="671"/>
                </a:lnTo>
                <a:lnTo>
                  <a:pt x="813" y="677"/>
                </a:lnTo>
                <a:lnTo>
                  <a:pt x="806" y="683"/>
                </a:lnTo>
                <a:lnTo>
                  <a:pt x="802" y="686"/>
                </a:lnTo>
                <a:lnTo>
                  <a:pt x="800" y="691"/>
                </a:lnTo>
                <a:lnTo>
                  <a:pt x="795" y="692"/>
                </a:lnTo>
                <a:lnTo>
                  <a:pt x="795" y="697"/>
                </a:lnTo>
                <a:lnTo>
                  <a:pt x="795" y="700"/>
                </a:lnTo>
                <a:lnTo>
                  <a:pt x="795" y="704"/>
                </a:lnTo>
                <a:lnTo>
                  <a:pt x="789" y="702"/>
                </a:lnTo>
                <a:lnTo>
                  <a:pt x="786" y="706"/>
                </a:lnTo>
                <a:lnTo>
                  <a:pt x="785" y="707"/>
                </a:lnTo>
                <a:lnTo>
                  <a:pt x="784" y="706"/>
                </a:lnTo>
                <a:lnTo>
                  <a:pt x="781" y="707"/>
                </a:lnTo>
                <a:lnTo>
                  <a:pt x="781" y="710"/>
                </a:lnTo>
                <a:lnTo>
                  <a:pt x="780" y="710"/>
                </a:lnTo>
                <a:lnTo>
                  <a:pt x="778" y="709"/>
                </a:lnTo>
                <a:lnTo>
                  <a:pt x="773" y="709"/>
                </a:lnTo>
                <a:lnTo>
                  <a:pt x="770" y="711"/>
                </a:lnTo>
                <a:lnTo>
                  <a:pt x="766" y="713"/>
                </a:lnTo>
                <a:lnTo>
                  <a:pt x="761" y="713"/>
                </a:lnTo>
                <a:lnTo>
                  <a:pt x="761" y="712"/>
                </a:lnTo>
                <a:lnTo>
                  <a:pt x="763" y="710"/>
                </a:lnTo>
                <a:lnTo>
                  <a:pt x="765" y="709"/>
                </a:lnTo>
                <a:lnTo>
                  <a:pt x="765" y="706"/>
                </a:lnTo>
                <a:lnTo>
                  <a:pt x="763" y="705"/>
                </a:lnTo>
                <a:lnTo>
                  <a:pt x="760" y="706"/>
                </a:lnTo>
                <a:lnTo>
                  <a:pt x="756" y="707"/>
                </a:lnTo>
                <a:lnTo>
                  <a:pt x="751" y="709"/>
                </a:lnTo>
                <a:lnTo>
                  <a:pt x="750" y="709"/>
                </a:lnTo>
                <a:lnTo>
                  <a:pt x="748" y="707"/>
                </a:lnTo>
                <a:lnTo>
                  <a:pt x="750" y="705"/>
                </a:lnTo>
                <a:lnTo>
                  <a:pt x="752" y="704"/>
                </a:lnTo>
                <a:lnTo>
                  <a:pt x="763" y="703"/>
                </a:lnTo>
                <a:lnTo>
                  <a:pt x="773" y="699"/>
                </a:lnTo>
                <a:lnTo>
                  <a:pt x="785" y="695"/>
                </a:lnTo>
                <a:lnTo>
                  <a:pt x="795" y="686"/>
                </a:lnTo>
                <a:lnTo>
                  <a:pt x="782" y="689"/>
                </a:lnTo>
                <a:lnTo>
                  <a:pt x="771" y="692"/>
                </a:lnTo>
                <a:lnTo>
                  <a:pt x="770" y="695"/>
                </a:lnTo>
                <a:lnTo>
                  <a:pt x="765" y="691"/>
                </a:lnTo>
                <a:lnTo>
                  <a:pt x="767" y="691"/>
                </a:lnTo>
                <a:lnTo>
                  <a:pt x="770" y="691"/>
                </a:lnTo>
                <a:lnTo>
                  <a:pt x="777" y="686"/>
                </a:lnTo>
                <a:lnTo>
                  <a:pt x="785" y="684"/>
                </a:lnTo>
                <a:close/>
                <a:moveTo>
                  <a:pt x="731" y="643"/>
                </a:moveTo>
                <a:lnTo>
                  <a:pt x="733" y="642"/>
                </a:lnTo>
                <a:lnTo>
                  <a:pt x="736" y="642"/>
                </a:lnTo>
                <a:lnTo>
                  <a:pt x="744" y="636"/>
                </a:lnTo>
                <a:lnTo>
                  <a:pt x="752" y="636"/>
                </a:lnTo>
                <a:lnTo>
                  <a:pt x="745" y="641"/>
                </a:lnTo>
                <a:lnTo>
                  <a:pt x="736" y="642"/>
                </a:lnTo>
                <a:lnTo>
                  <a:pt x="734" y="644"/>
                </a:lnTo>
                <a:lnTo>
                  <a:pt x="731" y="643"/>
                </a:lnTo>
                <a:close/>
                <a:moveTo>
                  <a:pt x="736" y="678"/>
                </a:moveTo>
                <a:lnTo>
                  <a:pt x="737" y="677"/>
                </a:lnTo>
                <a:lnTo>
                  <a:pt x="737" y="676"/>
                </a:lnTo>
                <a:lnTo>
                  <a:pt x="740" y="676"/>
                </a:lnTo>
                <a:lnTo>
                  <a:pt x="743" y="676"/>
                </a:lnTo>
                <a:lnTo>
                  <a:pt x="740" y="676"/>
                </a:lnTo>
                <a:lnTo>
                  <a:pt x="737" y="676"/>
                </a:lnTo>
                <a:lnTo>
                  <a:pt x="737" y="677"/>
                </a:lnTo>
                <a:lnTo>
                  <a:pt x="736" y="678"/>
                </a:lnTo>
                <a:close/>
                <a:moveTo>
                  <a:pt x="738" y="698"/>
                </a:moveTo>
                <a:lnTo>
                  <a:pt x="741" y="699"/>
                </a:lnTo>
                <a:lnTo>
                  <a:pt x="744" y="699"/>
                </a:lnTo>
                <a:lnTo>
                  <a:pt x="746" y="699"/>
                </a:lnTo>
                <a:lnTo>
                  <a:pt x="748" y="699"/>
                </a:lnTo>
                <a:lnTo>
                  <a:pt x="752" y="696"/>
                </a:lnTo>
                <a:lnTo>
                  <a:pt x="757" y="696"/>
                </a:lnTo>
                <a:lnTo>
                  <a:pt x="753" y="699"/>
                </a:lnTo>
                <a:lnTo>
                  <a:pt x="748" y="699"/>
                </a:lnTo>
                <a:lnTo>
                  <a:pt x="737" y="702"/>
                </a:lnTo>
                <a:lnTo>
                  <a:pt x="724" y="704"/>
                </a:lnTo>
                <a:lnTo>
                  <a:pt x="732" y="700"/>
                </a:lnTo>
                <a:lnTo>
                  <a:pt x="738" y="698"/>
                </a:lnTo>
                <a:close/>
                <a:moveTo>
                  <a:pt x="723" y="713"/>
                </a:moveTo>
                <a:lnTo>
                  <a:pt x="725" y="712"/>
                </a:lnTo>
                <a:lnTo>
                  <a:pt x="726" y="707"/>
                </a:lnTo>
                <a:lnTo>
                  <a:pt x="731" y="713"/>
                </a:lnTo>
                <a:lnTo>
                  <a:pt x="736" y="718"/>
                </a:lnTo>
                <a:lnTo>
                  <a:pt x="729" y="718"/>
                </a:lnTo>
                <a:lnTo>
                  <a:pt x="723" y="718"/>
                </a:lnTo>
                <a:lnTo>
                  <a:pt x="720" y="718"/>
                </a:lnTo>
                <a:lnTo>
                  <a:pt x="719" y="716"/>
                </a:lnTo>
                <a:lnTo>
                  <a:pt x="720" y="714"/>
                </a:lnTo>
                <a:lnTo>
                  <a:pt x="723" y="713"/>
                </a:lnTo>
                <a:close/>
                <a:moveTo>
                  <a:pt x="719" y="692"/>
                </a:moveTo>
                <a:lnTo>
                  <a:pt x="712" y="695"/>
                </a:lnTo>
                <a:lnTo>
                  <a:pt x="705" y="698"/>
                </a:lnTo>
                <a:lnTo>
                  <a:pt x="702" y="699"/>
                </a:lnTo>
                <a:lnTo>
                  <a:pt x="699" y="697"/>
                </a:lnTo>
                <a:lnTo>
                  <a:pt x="708" y="692"/>
                </a:lnTo>
                <a:lnTo>
                  <a:pt x="717" y="690"/>
                </a:lnTo>
                <a:lnTo>
                  <a:pt x="719" y="691"/>
                </a:lnTo>
                <a:lnTo>
                  <a:pt x="719" y="692"/>
                </a:lnTo>
                <a:close/>
                <a:moveTo>
                  <a:pt x="715" y="704"/>
                </a:moveTo>
                <a:lnTo>
                  <a:pt x="718" y="706"/>
                </a:lnTo>
                <a:lnTo>
                  <a:pt x="720" y="709"/>
                </a:lnTo>
                <a:lnTo>
                  <a:pt x="715" y="710"/>
                </a:lnTo>
                <a:lnTo>
                  <a:pt x="709" y="712"/>
                </a:lnTo>
                <a:lnTo>
                  <a:pt x="705" y="713"/>
                </a:lnTo>
                <a:lnTo>
                  <a:pt x="704" y="711"/>
                </a:lnTo>
                <a:lnTo>
                  <a:pt x="705" y="710"/>
                </a:lnTo>
                <a:lnTo>
                  <a:pt x="708" y="709"/>
                </a:lnTo>
                <a:lnTo>
                  <a:pt x="710" y="707"/>
                </a:lnTo>
                <a:lnTo>
                  <a:pt x="712" y="707"/>
                </a:lnTo>
                <a:lnTo>
                  <a:pt x="715" y="706"/>
                </a:lnTo>
                <a:lnTo>
                  <a:pt x="715" y="704"/>
                </a:lnTo>
                <a:close/>
                <a:moveTo>
                  <a:pt x="653" y="746"/>
                </a:moveTo>
                <a:lnTo>
                  <a:pt x="653" y="745"/>
                </a:lnTo>
                <a:lnTo>
                  <a:pt x="651" y="745"/>
                </a:lnTo>
                <a:lnTo>
                  <a:pt x="654" y="740"/>
                </a:lnTo>
                <a:lnTo>
                  <a:pt x="661" y="740"/>
                </a:lnTo>
                <a:lnTo>
                  <a:pt x="656" y="744"/>
                </a:lnTo>
                <a:lnTo>
                  <a:pt x="653" y="746"/>
                </a:lnTo>
                <a:close/>
                <a:moveTo>
                  <a:pt x="660" y="745"/>
                </a:moveTo>
                <a:lnTo>
                  <a:pt x="663" y="742"/>
                </a:lnTo>
                <a:lnTo>
                  <a:pt x="665" y="745"/>
                </a:lnTo>
                <a:lnTo>
                  <a:pt x="665" y="746"/>
                </a:lnTo>
                <a:lnTo>
                  <a:pt x="664" y="748"/>
                </a:lnTo>
                <a:lnTo>
                  <a:pt x="661" y="751"/>
                </a:lnTo>
                <a:lnTo>
                  <a:pt x="656" y="751"/>
                </a:lnTo>
                <a:lnTo>
                  <a:pt x="658" y="747"/>
                </a:lnTo>
                <a:lnTo>
                  <a:pt x="660" y="745"/>
                </a:lnTo>
                <a:close/>
                <a:moveTo>
                  <a:pt x="672" y="781"/>
                </a:moveTo>
                <a:lnTo>
                  <a:pt x="674" y="779"/>
                </a:lnTo>
                <a:lnTo>
                  <a:pt x="675" y="776"/>
                </a:lnTo>
                <a:lnTo>
                  <a:pt x="674" y="779"/>
                </a:lnTo>
                <a:lnTo>
                  <a:pt x="672" y="781"/>
                </a:lnTo>
                <a:close/>
                <a:moveTo>
                  <a:pt x="667" y="776"/>
                </a:moveTo>
                <a:lnTo>
                  <a:pt x="668" y="775"/>
                </a:lnTo>
                <a:lnTo>
                  <a:pt x="668" y="773"/>
                </a:lnTo>
                <a:lnTo>
                  <a:pt x="669" y="773"/>
                </a:lnTo>
                <a:lnTo>
                  <a:pt x="670" y="772"/>
                </a:lnTo>
                <a:lnTo>
                  <a:pt x="669" y="773"/>
                </a:lnTo>
                <a:lnTo>
                  <a:pt x="668" y="773"/>
                </a:lnTo>
                <a:lnTo>
                  <a:pt x="668" y="775"/>
                </a:lnTo>
                <a:lnTo>
                  <a:pt x="667" y="776"/>
                </a:lnTo>
                <a:close/>
                <a:moveTo>
                  <a:pt x="676" y="753"/>
                </a:moveTo>
                <a:lnTo>
                  <a:pt x="676" y="752"/>
                </a:lnTo>
                <a:lnTo>
                  <a:pt x="677" y="752"/>
                </a:lnTo>
                <a:lnTo>
                  <a:pt x="671" y="753"/>
                </a:lnTo>
                <a:lnTo>
                  <a:pt x="667" y="754"/>
                </a:lnTo>
                <a:lnTo>
                  <a:pt x="665" y="758"/>
                </a:lnTo>
                <a:lnTo>
                  <a:pt x="664" y="760"/>
                </a:lnTo>
                <a:lnTo>
                  <a:pt x="664" y="760"/>
                </a:lnTo>
                <a:lnTo>
                  <a:pt x="662" y="761"/>
                </a:lnTo>
                <a:lnTo>
                  <a:pt x="660" y="763"/>
                </a:lnTo>
                <a:lnTo>
                  <a:pt x="661" y="756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67" y="754"/>
                </a:lnTo>
                <a:lnTo>
                  <a:pt x="672" y="748"/>
                </a:lnTo>
                <a:lnTo>
                  <a:pt x="681" y="751"/>
                </a:lnTo>
                <a:lnTo>
                  <a:pt x="681" y="752"/>
                </a:lnTo>
                <a:lnTo>
                  <a:pt x="681" y="753"/>
                </a:lnTo>
                <a:lnTo>
                  <a:pt x="681" y="754"/>
                </a:lnTo>
                <a:lnTo>
                  <a:pt x="682" y="755"/>
                </a:lnTo>
                <a:lnTo>
                  <a:pt x="681" y="754"/>
                </a:lnTo>
                <a:lnTo>
                  <a:pt x="681" y="753"/>
                </a:lnTo>
                <a:lnTo>
                  <a:pt x="678" y="752"/>
                </a:lnTo>
                <a:lnTo>
                  <a:pt x="677" y="752"/>
                </a:lnTo>
                <a:lnTo>
                  <a:pt x="676" y="752"/>
                </a:lnTo>
                <a:lnTo>
                  <a:pt x="676" y="753"/>
                </a:lnTo>
                <a:close/>
                <a:moveTo>
                  <a:pt x="687" y="814"/>
                </a:moveTo>
                <a:lnTo>
                  <a:pt x="685" y="812"/>
                </a:lnTo>
                <a:lnTo>
                  <a:pt x="685" y="811"/>
                </a:lnTo>
                <a:lnTo>
                  <a:pt x="685" y="812"/>
                </a:lnTo>
                <a:lnTo>
                  <a:pt x="687" y="814"/>
                </a:lnTo>
                <a:close/>
                <a:moveTo>
                  <a:pt x="685" y="762"/>
                </a:moveTo>
                <a:lnTo>
                  <a:pt x="685" y="762"/>
                </a:lnTo>
                <a:lnTo>
                  <a:pt x="685" y="762"/>
                </a:lnTo>
                <a:lnTo>
                  <a:pt x="687" y="763"/>
                </a:lnTo>
                <a:lnTo>
                  <a:pt x="689" y="763"/>
                </a:lnTo>
                <a:lnTo>
                  <a:pt x="687" y="763"/>
                </a:lnTo>
                <a:lnTo>
                  <a:pt x="685" y="762"/>
                </a:lnTo>
                <a:close/>
                <a:moveTo>
                  <a:pt x="697" y="763"/>
                </a:moveTo>
                <a:lnTo>
                  <a:pt x="696" y="763"/>
                </a:lnTo>
                <a:lnTo>
                  <a:pt x="695" y="765"/>
                </a:lnTo>
                <a:lnTo>
                  <a:pt x="695" y="766"/>
                </a:lnTo>
                <a:lnTo>
                  <a:pt x="695" y="767"/>
                </a:lnTo>
                <a:lnTo>
                  <a:pt x="695" y="766"/>
                </a:lnTo>
                <a:lnTo>
                  <a:pt x="695" y="765"/>
                </a:lnTo>
                <a:lnTo>
                  <a:pt x="696" y="763"/>
                </a:lnTo>
                <a:lnTo>
                  <a:pt x="697" y="763"/>
                </a:lnTo>
                <a:close/>
                <a:moveTo>
                  <a:pt x="689" y="814"/>
                </a:moveTo>
                <a:lnTo>
                  <a:pt x="690" y="814"/>
                </a:lnTo>
                <a:lnTo>
                  <a:pt x="690" y="815"/>
                </a:lnTo>
                <a:lnTo>
                  <a:pt x="690" y="814"/>
                </a:lnTo>
                <a:lnTo>
                  <a:pt x="689" y="814"/>
                </a:lnTo>
                <a:close/>
                <a:moveTo>
                  <a:pt x="692" y="796"/>
                </a:moveTo>
                <a:lnTo>
                  <a:pt x="694" y="795"/>
                </a:lnTo>
                <a:lnTo>
                  <a:pt x="694" y="793"/>
                </a:lnTo>
                <a:lnTo>
                  <a:pt x="691" y="790"/>
                </a:lnTo>
                <a:lnTo>
                  <a:pt x="689" y="788"/>
                </a:lnTo>
                <a:lnTo>
                  <a:pt x="691" y="790"/>
                </a:lnTo>
                <a:lnTo>
                  <a:pt x="694" y="793"/>
                </a:lnTo>
                <a:lnTo>
                  <a:pt x="694" y="795"/>
                </a:lnTo>
                <a:lnTo>
                  <a:pt x="692" y="796"/>
                </a:lnTo>
                <a:close/>
                <a:moveTo>
                  <a:pt x="694" y="821"/>
                </a:moveTo>
                <a:lnTo>
                  <a:pt x="694" y="823"/>
                </a:lnTo>
                <a:lnTo>
                  <a:pt x="694" y="825"/>
                </a:lnTo>
                <a:lnTo>
                  <a:pt x="694" y="823"/>
                </a:lnTo>
                <a:lnTo>
                  <a:pt x="694" y="821"/>
                </a:lnTo>
                <a:close/>
                <a:moveTo>
                  <a:pt x="701" y="776"/>
                </a:moveTo>
                <a:lnTo>
                  <a:pt x="695" y="776"/>
                </a:lnTo>
                <a:lnTo>
                  <a:pt x="691" y="779"/>
                </a:lnTo>
                <a:lnTo>
                  <a:pt x="695" y="776"/>
                </a:lnTo>
                <a:lnTo>
                  <a:pt x="701" y="776"/>
                </a:lnTo>
                <a:lnTo>
                  <a:pt x="699" y="774"/>
                </a:lnTo>
                <a:lnTo>
                  <a:pt x="698" y="772"/>
                </a:lnTo>
                <a:lnTo>
                  <a:pt x="699" y="774"/>
                </a:lnTo>
                <a:lnTo>
                  <a:pt x="701" y="776"/>
                </a:lnTo>
                <a:lnTo>
                  <a:pt x="701" y="776"/>
                </a:lnTo>
                <a:lnTo>
                  <a:pt x="701" y="777"/>
                </a:lnTo>
                <a:lnTo>
                  <a:pt x="701" y="777"/>
                </a:lnTo>
                <a:lnTo>
                  <a:pt x="701" y="776"/>
                </a:lnTo>
                <a:lnTo>
                  <a:pt x="701" y="776"/>
                </a:lnTo>
                <a:close/>
                <a:moveTo>
                  <a:pt x="704" y="723"/>
                </a:moveTo>
                <a:lnTo>
                  <a:pt x="697" y="725"/>
                </a:lnTo>
                <a:lnTo>
                  <a:pt x="691" y="726"/>
                </a:lnTo>
                <a:lnTo>
                  <a:pt x="691" y="727"/>
                </a:lnTo>
                <a:lnTo>
                  <a:pt x="691" y="727"/>
                </a:lnTo>
                <a:lnTo>
                  <a:pt x="691" y="727"/>
                </a:lnTo>
                <a:lnTo>
                  <a:pt x="691" y="726"/>
                </a:lnTo>
                <a:lnTo>
                  <a:pt x="688" y="726"/>
                </a:lnTo>
                <a:lnTo>
                  <a:pt x="687" y="725"/>
                </a:lnTo>
                <a:lnTo>
                  <a:pt x="685" y="725"/>
                </a:lnTo>
                <a:lnTo>
                  <a:pt x="683" y="725"/>
                </a:lnTo>
                <a:lnTo>
                  <a:pt x="682" y="730"/>
                </a:lnTo>
                <a:lnTo>
                  <a:pt x="677" y="731"/>
                </a:lnTo>
                <a:lnTo>
                  <a:pt x="675" y="733"/>
                </a:lnTo>
                <a:lnTo>
                  <a:pt x="672" y="733"/>
                </a:lnTo>
                <a:lnTo>
                  <a:pt x="672" y="735"/>
                </a:lnTo>
                <a:lnTo>
                  <a:pt x="670" y="737"/>
                </a:lnTo>
                <a:lnTo>
                  <a:pt x="669" y="737"/>
                </a:lnTo>
                <a:lnTo>
                  <a:pt x="669" y="735"/>
                </a:lnTo>
                <a:lnTo>
                  <a:pt x="670" y="733"/>
                </a:lnTo>
                <a:lnTo>
                  <a:pt x="672" y="733"/>
                </a:lnTo>
                <a:lnTo>
                  <a:pt x="674" y="731"/>
                </a:lnTo>
                <a:lnTo>
                  <a:pt x="676" y="731"/>
                </a:lnTo>
                <a:lnTo>
                  <a:pt x="679" y="728"/>
                </a:lnTo>
                <a:lnTo>
                  <a:pt x="681" y="725"/>
                </a:lnTo>
                <a:lnTo>
                  <a:pt x="682" y="725"/>
                </a:lnTo>
                <a:lnTo>
                  <a:pt x="683" y="725"/>
                </a:lnTo>
                <a:lnTo>
                  <a:pt x="685" y="725"/>
                </a:lnTo>
                <a:lnTo>
                  <a:pt x="687" y="725"/>
                </a:lnTo>
                <a:lnTo>
                  <a:pt x="696" y="721"/>
                </a:lnTo>
                <a:lnTo>
                  <a:pt x="705" y="719"/>
                </a:lnTo>
                <a:lnTo>
                  <a:pt x="706" y="718"/>
                </a:lnTo>
                <a:lnTo>
                  <a:pt x="708" y="719"/>
                </a:lnTo>
                <a:lnTo>
                  <a:pt x="706" y="721"/>
                </a:lnTo>
                <a:lnTo>
                  <a:pt x="704" y="723"/>
                </a:lnTo>
                <a:close/>
                <a:moveTo>
                  <a:pt x="736" y="891"/>
                </a:moveTo>
                <a:lnTo>
                  <a:pt x="737" y="892"/>
                </a:lnTo>
                <a:lnTo>
                  <a:pt x="739" y="894"/>
                </a:lnTo>
                <a:lnTo>
                  <a:pt x="737" y="892"/>
                </a:lnTo>
                <a:lnTo>
                  <a:pt x="736" y="891"/>
                </a:lnTo>
                <a:close/>
                <a:moveTo>
                  <a:pt x="752" y="836"/>
                </a:moveTo>
                <a:lnTo>
                  <a:pt x="751" y="835"/>
                </a:lnTo>
                <a:lnTo>
                  <a:pt x="750" y="835"/>
                </a:lnTo>
                <a:lnTo>
                  <a:pt x="748" y="836"/>
                </a:lnTo>
                <a:lnTo>
                  <a:pt x="748" y="838"/>
                </a:lnTo>
                <a:lnTo>
                  <a:pt x="748" y="843"/>
                </a:lnTo>
                <a:lnTo>
                  <a:pt x="744" y="842"/>
                </a:lnTo>
                <a:lnTo>
                  <a:pt x="743" y="842"/>
                </a:lnTo>
                <a:lnTo>
                  <a:pt x="741" y="840"/>
                </a:lnTo>
                <a:lnTo>
                  <a:pt x="743" y="838"/>
                </a:lnTo>
                <a:lnTo>
                  <a:pt x="741" y="836"/>
                </a:lnTo>
                <a:lnTo>
                  <a:pt x="740" y="840"/>
                </a:lnTo>
                <a:lnTo>
                  <a:pt x="737" y="843"/>
                </a:lnTo>
                <a:lnTo>
                  <a:pt x="734" y="837"/>
                </a:lnTo>
                <a:lnTo>
                  <a:pt x="734" y="830"/>
                </a:lnTo>
                <a:lnTo>
                  <a:pt x="740" y="826"/>
                </a:lnTo>
                <a:lnTo>
                  <a:pt x="745" y="824"/>
                </a:lnTo>
                <a:lnTo>
                  <a:pt x="741" y="819"/>
                </a:lnTo>
                <a:lnTo>
                  <a:pt x="738" y="814"/>
                </a:lnTo>
                <a:lnTo>
                  <a:pt x="739" y="814"/>
                </a:lnTo>
                <a:lnTo>
                  <a:pt x="740" y="814"/>
                </a:lnTo>
                <a:lnTo>
                  <a:pt x="743" y="816"/>
                </a:lnTo>
                <a:lnTo>
                  <a:pt x="745" y="815"/>
                </a:lnTo>
                <a:lnTo>
                  <a:pt x="745" y="812"/>
                </a:lnTo>
                <a:lnTo>
                  <a:pt x="744" y="811"/>
                </a:lnTo>
                <a:lnTo>
                  <a:pt x="743" y="810"/>
                </a:lnTo>
                <a:lnTo>
                  <a:pt x="741" y="808"/>
                </a:lnTo>
                <a:lnTo>
                  <a:pt x="740" y="807"/>
                </a:lnTo>
                <a:lnTo>
                  <a:pt x="739" y="805"/>
                </a:lnTo>
                <a:lnTo>
                  <a:pt x="740" y="801"/>
                </a:lnTo>
                <a:lnTo>
                  <a:pt x="736" y="798"/>
                </a:lnTo>
                <a:lnTo>
                  <a:pt x="732" y="795"/>
                </a:lnTo>
                <a:lnTo>
                  <a:pt x="729" y="789"/>
                </a:lnTo>
                <a:lnTo>
                  <a:pt x="733" y="788"/>
                </a:lnTo>
                <a:lnTo>
                  <a:pt x="733" y="783"/>
                </a:lnTo>
                <a:lnTo>
                  <a:pt x="738" y="788"/>
                </a:lnTo>
                <a:lnTo>
                  <a:pt x="743" y="793"/>
                </a:lnTo>
                <a:lnTo>
                  <a:pt x="743" y="793"/>
                </a:lnTo>
                <a:lnTo>
                  <a:pt x="744" y="791"/>
                </a:lnTo>
                <a:lnTo>
                  <a:pt x="743" y="793"/>
                </a:lnTo>
                <a:lnTo>
                  <a:pt x="743" y="793"/>
                </a:lnTo>
                <a:lnTo>
                  <a:pt x="744" y="794"/>
                </a:lnTo>
                <a:lnTo>
                  <a:pt x="744" y="794"/>
                </a:lnTo>
                <a:lnTo>
                  <a:pt x="744" y="795"/>
                </a:lnTo>
                <a:lnTo>
                  <a:pt x="744" y="795"/>
                </a:lnTo>
                <a:lnTo>
                  <a:pt x="745" y="796"/>
                </a:lnTo>
                <a:lnTo>
                  <a:pt x="745" y="796"/>
                </a:lnTo>
                <a:lnTo>
                  <a:pt x="745" y="796"/>
                </a:lnTo>
                <a:lnTo>
                  <a:pt x="746" y="800"/>
                </a:lnTo>
                <a:lnTo>
                  <a:pt x="748" y="801"/>
                </a:lnTo>
                <a:lnTo>
                  <a:pt x="752" y="808"/>
                </a:lnTo>
                <a:lnTo>
                  <a:pt x="757" y="814"/>
                </a:lnTo>
                <a:lnTo>
                  <a:pt x="759" y="817"/>
                </a:lnTo>
                <a:lnTo>
                  <a:pt x="761" y="822"/>
                </a:lnTo>
                <a:lnTo>
                  <a:pt x="761" y="817"/>
                </a:lnTo>
                <a:lnTo>
                  <a:pt x="758" y="814"/>
                </a:lnTo>
                <a:lnTo>
                  <a:pt x="757" y="809"/>
                </a:lnTo>
                <a:lnTo>
                  <a:pt x="756" y="805"/>
                </a:lnTo>
                <a:lnTo>
                  <a:pt x="761" y="811"/>
                </a:lnTo>
                <a:lnTo>
                  <a:pt x="765" y="819"/>
                </a:lnTo>
                <a:lnTo>
                  <a:pt x="764" y="822"/>
                </a:lnTo>
                <a:lnTo>
                  <a:pt x="761" y="822"/>
                </a:lnTo>
                <a:lnTo>
                  <a:pt x="760" y="823"/>
                </a:lnTo>
                <a:lnTo>
                  <a:pt x="758" y="823"/>
                </a:lnTo>
                <a:lnTo>
                  <a:pt x="758" y="824"/>
                </a:lnTo>
                <a:lnTo>
                  <a:pt x="758" y="826"/>
                </a:lnTo>
                <a:lnTo>
                  <a:pt x="758" y="824"/>
                </a:lnTo>
                <a:lnTo>
                  <a:pt x="758" y="823"/>
                </a:lnTo>
                <a:lnTo>
                  <a:pt x="758" y="823"/>
                </a:lnTo>
                <a:lnTo>
                  <a:pt x="757" y="823"/>
                </a:lnTo>
                <a:lnTo>
                  <a:pt x="757" y="825"/>
                </a:lnTo>
                <a:lnTo>
                  <a:pt x="758" y="826"/>
                </a:lnTo>
                <a:lnTo>
                  <a:pt x="759" y="828"/>
                </a:lnTo>
                <a:lnTo>
                  <a:pt x="761" y="828"/>
                </a:lnTo>
                <a:lnTo>
                  <a:pt x="763" y="833"/>
                </a:lnTo>
                <a:lnTo>
                  <a:pt x="765" y="838"/>
                </a:lnTo>
                <a:lnTo>
                  <a:pt x="763" y="837"/>
                </a:lnTo>
                <a:lnTo>
                  <a:pt x="759" y="837"/>
                </a:lnTo>
                <a:lnTo>
                  <a:pt x="763" y="844"/>
                </a:lnTo>
                <a:lnTo>
                  <a:pt x="765" y="852"/>
                </a:lnTo>
                <a:lnTo>
                  <a:pt x="763" y="851"/>
                </a:lnTo>
                <a:lnTo>
                  <a:pt x="761" y="849"/>
                </a:lnTo>
                <a:lnTo>
                  <a:pt x="758" y="842"/>
                </a:lnTo>
                <a:lnTo>
                  <a:pt x="752" y="836"/>
                </a:lnTo>
                <a:close/>
                <a:moveTo>
                  <a:pt x="766" y="1395"/>
                </a:moveTo>
                <a:lnTo>
                  <a:pt x="763" y="1395"/>
                </a:lnTo>
                <a:lnTo>
                  <a:pt x="759" y="1396"/>
                </a:lnTo>
                <a:lnTo>
                  <a:pt x="763" y="1395"/>
                </a:lnTo>
                <a:lnTo>
                  <a:pt x="766" y="1395"/>
                </a:lnTo>
                <a:close/>
                <a:moveTo>
                  <a:pt x="763" y="1408"/>
                </a:moveTo>
                <a:lnTo>
                  <a:pt x="761" y="1406"/>
                </a:lnTo>
                <a:lnTo>
                  <a:pt x="761" y="1405"/>
                </a:lnTo>
                <a:lnTo>
                  <a:pt x="770" y="1405"/>
                </a:lnTo>
                <a:lnTo>
                  <a:pt x="778" y="1405"/>
                </a:lnTo>
                <a:lnTo>
                  <a:pt x="770" y="1405"/>
                </a:lnTo>
                <a:lnTo>
                  <a:pt x="761" y="1405"/>
                </a:lnTo>
                <a:lnTo>
                  <a:pt x="761" y="1406"/>
                </a:lnTo>
                <a:lnTo>
                  <a:pt x="763" y="1408"/>
                </a:lnTo>
                <a:close/>
                <a:moveTo>
                  <a:pt x="789" y="1163"/>
                </a:moveTo>
                <a:lnTo>
                  <a:pt x="791" y="1164"/>
                </a:lnTo>
                <a:lnTo>
                  <a:pt x="791" y="1165"/>
                </a:lnTo>
                <a:lnTo>
                  <a:pt x="791" y="1164"/>
                </a:lnTo>
                <a:lnTo>
                  <a:pt x="789" y="1163"/>
                </a:lnTo>
                <a:close/>
                <a:moveTo>
                  <a:pt x="788" y="1161"/>
                </a:moveTo>
                <a:lnTo>
                  <a:pt x="789" y="1160"/>
                </a:lnTo>
                <a:lnTo>
                  <a:pt x="789" y="1158"/>
                </a:lnTo>
                <a:lnTo>
                  <a:pt x="789" y="1160"/>
                </a:lnTo>
                <a:lnTo>
                  <a:pt x="788" y="1161"/>
                </a:lnTo>
                <a:lnTo>
                  <a:pt x="788" y="1161"/>
                </a:lnTo>
                <a:close/>
                <a:moveTo>
                  <a:pt x="789" y="1185"/>
                </a:moveTo>
                <a:lnTo>
                  <a:pt x="789" y="1182"/>
                </a:lnTo>
                <a:lnTo>
                  <a:pt x="789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91" y="1180"/>
                </a:lnTo>
                <a:lnTo>
                  <a:pt x="789" y="1180"/>
                </a:lnTo>
                <a:lnTo>
                  <a:pt x="789" y="1182"/>
                </a:lnTo>
                <a:lnTo>
                  <a:pt x="789" y="1185"/>
                </a:lnTo>
                <a:close/>
                <a:moveTo>
                  <a:pt x="796" y="1196"/>
                </a:moveTo>
                <a:lnTo>
                  <a:pt x="794" y="1198"/>
                </a:lnTo>
                <a:lnTo>
                  <a:pt x="792" y="1199"/>
                </a:lnTo>
                <a:lnTo>
                  <a:pt x="792" y="1200"/>
                </a:lnTo>
                <a:lnTo>
                  <a:pt x="792" y="1201"/>
                </a:lnTo>
                <a:lnTo>
                  <a:pt x="792" y="1200"/>
                </a:lnTo>
                <a:lnTo>
                  <a:pt x="792" y="1199"/>
                </a:lnTo>
                <a:lnTo>
                  <a:pt x="794" y="1198"/>
                </a:lnTo>
                <a:lnTo>
                  <a:pt x="796" y="1196"/>
                </a:lnTo>
                <a:close/>
                <a:moveTo>
                  <a:pt x="795" y="1164"/>
                </a:moveTo>
                <a:lnTo>
                  <a:pt x="793" y="1166"/>
                </a:lnTo>
                <a:lnTo>
                  <a:pt x="791" y="1167"/>
                </a:lnTo>
                <a:lnTo>
                  <a:pt x="789" y="1170"/>
                </a:lnTo>
                <a:lnTo>
                  <a:pt x="788" y="1172"/>
                </a:lnTo>
                <a:lnTo>
                  <a:pt x="789" y="1170"/>
                </a:lnTo>
                <a:lnTo>
                  <a:pt x="791" y="1167"/>
                </a:lnTo>
                <a:lnTo>
                  <a:pt x="793" y="1166"/>
                </a:lnTo>
                <a:lnTo>
                  <a:pt x="795" y="1164"/>
                </a:lnTo>
                <a:close/>
                <a:moveTo>
                  <a:pt x="794" y="1175"/>
                </a:moveTo>
                <a:lnTo>
                  <a:pt x="794" y="1173"/>
                </a:lnTo>
                <a:lnTo>
                  <a:pt x="795" y="1172"/>
                </a:lnTo>
                <a:lnTo>
                  <a:pt x="794" y="1173"/>
                </a:lnTo>
                <a:lnTo>
                  <a:pt x="794" y="1175"/>
                </a:lnTo>
                <a:close/>
                <a:moveTo>
                  <a:pt x="798" y="1173"/>
                </a:moveTo>
                <a:lnTo>
                  <a:pt x="796" y="1174"/>
                </a:lnTo>
                <a:lnTo>
                  <a:pt x="795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4" y="1175"/>
                </a:lnTo>
                <a:lnTo>
                  <a:pt x="795" y="1175"/>
                </a:lnTo>
                <a:lnTo>
                  <a:pt x="796" y="1174"/>
                </a:lnTo>
                <a:lnTo>
                  <a:pt x="798" y="1173"/>
                </a:lnTo>
                <a:close/>
                <a:moveTo>
                  <a:pt x="791" y="1139"/>
                </a:move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91" y="1139"/>
                </a:lnTo>
                <a:lnTo>
                  <a:pt x="786" y="1140"/>
                </a:lnTo>
                <a:lnTo>
                  <a:pt x="784" y="1145"/>
                </a:lnTo>
                <a:lnTo>
                  <a:pt x="786" y="1140"/>
                </a:lnTo>
                <a:lnTo>
                  <a:pt x="791" y="1139"/>
                </a:lnTo>
                <a:close/>
                <a:moveTo>
                  <a:pt x="780" y="1021"/>
                </a:moveTo>
                <a:lnTo>
                  <a:pt x="782" y="1019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5"/>
                </a:lnTo>
                <a:lnTo>
                  <a:pt x="786" y="1017"/>
                </a:lnTo>
                <a:lnTo>
                  <a:pt x="785" y="1017"/>
                </a:lnTo>
                <a:lnTo>
                  <a:pt x="786" y="1017"/>
                </a:lnTo>
                <a:lnTo>
                  <a:pt x="786" y="1017"/>
                </a:lnTo>
                <a:lnTo>
                  <a:pt x="787" y="1017"/>
                </a:lnTo>
                <a:lnTo>
                  <a:pt x="786" y="1017"/>
                </a:lnTo>
                <a:lnTo>
                  <a:pt x="785" y="1017"/>
                </a:lnTo>
                <a:lnTo>
                  <a:pt x="782" y="1019"/>
                </a:lnTo>
                <a:lnTo>
                  <a:pt x="780" y="1021"/>
                </a:lnTo>
                <a:close/>
                <a:moveTo>
                  <a:pt x="792" y="1265"/>
                </a:moveTo>
                <a:lnTo>
                  <a:pt x="789" y="1271"/>
                </a:lnTo>
                <a:lnTo>
                  <a:pt x="787" y="1277"/>
                </a:lnTo>
                <a:lnTo>
                  <a:pt x="789" y="1271"/>
                </a:lnTo>
                <a:lnTo>
                  <a:pt x="792" y="1265"/>
                </a:lnTo>
                <a:lnTo>
                  <a:pt x="794" y="1264"/>
                </a:lnTo>
                <a:lnTo>
                  <a:pt x="796" y="1262"/>
                </a:lnTo>
                <a:lnTo>
                  <a:pt x="794" y="1264"/>
                </a:lnTo>
                <a:lnTo>
                  <a:pt x="792" y="1265"/>
                </a:lnTo>
                <a:close/>
                <a:moveTo>
                  <a:pt x="798" y="1185"/>
                </a:moveTo>
                <a:lnTo>
                  <a:pt x="796" y="1188"/>
                </a:lnTo>
                <a:lnTo>
                  <a:pt x="793" y="1191"/>
                </a:lnTo>
                <a:lnTo>
                  <a:pt x="796" y="1188"/>
                </a:lnTo>
                <a:lnTo>
                  <a:pt x="798" y="1185"/>
                </a:lnTo>
                <a:lnTo>
                  <a:pt x="801" y="1182"/>
                </a:lnTo>
                <a:lnTo>
                  <a:pt x="803" y="1182"/>
                </a:lnTo>
                <a:lnTo>
                  <a:pt x="801" y="1182"/>
                </a:lnTo>
                <a:lnTo>
                  <a:pt x="798" y="1185"/>
                </a:lnTo>
                <a:close/>
                <a:moveTo>
                  <a:pt x="807" y="982"/>
                </a:move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7" y="982"/>
                </a:lnTo>
                <a:lnTo>
                  <a:pt x="803" y="987"/>
                </a:lnTo>
                <a:lnTo>
                  <a:pt x="799" y="992"/>
                </a:lnTo>
                <a:lnTo>
                  <a:pt x="800" y="993"/>
                </a:lnTo>
                <a:lnTo>
                  <a:pt x="800" y="996"/>
                </a:lnTo>
                <a:lnTo>
                  <a:pt x="800" y="993"/>
                </a:lnTo>
                <a:lnTo>
                  <a:pt x="799" y="992"/>
                </a:lnTo>
                <a:lnTo>
                  <a:pt x="791" y="998"/>
                </a:lnTo>
                <a:lnTo>
                  <a:pt x="784" y="1007"/>
                </a:lnTo>
                <a:lnTo>
                  <a:pt x="778" y="1013"/>
                </a:lnTo>
                <a:lnTo>
                  <a:pt x="772" y="1018"/>
                </a:lnTo>
                <a:lnTo>
                  <a:pt x="770" y="1019"/>
                </a:lnTo>
                <a:lnTo>
                  <a:pt x="768" y="1017"/>
                </a:lnTo>
                <a:lnTo>
                  <a:pt x="768" y="1017"/>
                </a:lnTo>
                <a:lnTo>
                  <a:pt x="767" y="1017"/>
                </a:lnTo>
                <a:lnTo>
                  <a:pt x="768" y="1017"/>
                </a:lnTo>
                <a:lnTo>
                  <a:pt x="768" y="1017"/>
                </a:lnTo>
                <a:lnTo>
                  <a:pt x="775" y="1011"/>
                </a:lnTo>
                <a:lnTo>
                  <a:pt x="781" y="1004"/>
                </a:lnTo>
                <a:lnTo>
                  <a:pt x="781" y="1003"/>
                </a:lnTo>
                <a:lnTo>
                  <a:pt x="781" y="1000"/>
                </a:lnTo>
                <a:lnTo>
                  <a:pt x="781" y="1003"/>
                </a:lnTo>
                <a:lnTo>
                  <a:pt x="781" y="1004"/>
                </a:lnTo>
                <a:lnTo>
                  <a:pt x="785" y="999"/>
                </a:lnTo>
                <a:lnTo>
                  <a:pt x="786" y="994"/>
                </a:lnTo>
                <a:lnTo>
                  <a:pt x="791" y="992"/>
                </a:lnTo>
                <a:lnTo>
                  <a:pt x="794" y="987"/>
                </a:lnTo>
                <a:lnTo>
                  <a:pt x="794" y="987"/>
                </a:lnTo>
                <a:lnTo>
                  <a:pt x="795" y="987"/>
                </a:lnTo>
                <a:lnTo>
                  <a:pt x="801" y="984"/>
                </a:lnTo>
                <a:lnTo>
                  <a:pt x="807" y="982"/>
                </a:lnTo>
                <a:lnTo>
                  <a:pt x="809" y="979"/>
                </a:lnTo>
                <a:lnTo>
                  <a:pt x="812" y="979"/>
                </a:lnTo>
                <a:lnTo>
                  <a:pt x="812" y="978"/>
                </a:lnTo>
                <a:lnTo>
                  <a:pt x="812" y="978"/>
                </a:lnTo>
                <a:lnTo>
                  <a:pt x="815" y="978"/>
                </a:lnTo>
                <a:lnTo>
                  <a:pt x="815" y="978"/>
                </a:lnTo>
                <a:lnTo>
                  <a:pt x="815" y="978"/>
                </a:lnTo>
                <a:lnTo>
                  <a:pt x="813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2" y="979"/>
                </a:lnTo>
                <a:lnTo>
                  <a:pt x="810" y="982"/>
                </a:lnTo>
                <a:lnTo>
                  <a:pt x="807" y="982"/>
                </a:lnTo>
                <a:close/>
                <a:moveTo>
                  <a:pt x="816" y="1298"/>
                </a:moveTo>
                <a:lnTo>
                  <a:pt x="812" y="1297"/>
                </a:lnTo>
                <a:lnTo>
                  <a:pt x="808" y="1294"/>
                </a:lnTo>
                <a:lnTo>
                  <a:pt x="812" y="1297"/>
                </a:lnTo>
                <a:lnTo>
                  <a:pt x="816" y="1298"/>
                </a:lnTo>
                <a:lnTo>
                  <a:pt x="816" y="1299"/>
                </a:lnTo>
                <a:lnTo>
                  <a:pt x="815" y="1300"/>
                </a:lnTo>
                <a:lnTo>
                  <a:pt x="816" y="1299"/>
                </a:lnTo>
                <a:lnTo>
                  <a:pt x="816" y="1298"/>
                </a:lnTo>
                <a:close/>
                <a:moveTo>
                  <a:pt x="836" y="1304"/>
                </a:moveTo>
                <a:lnTo>
                  <a:pt x="826" y="1303"/>
                </a:lnTo>
                <a:lnTo>
                  <a:pt x="816" y="1298"/>
                </a:lnTo>
                <a:lnTo>
                  <a:pt x="816" y="1294"/>
                </a:lnTo>
                <a:lnTo>
                  <a:pt x="820" y="1293"/>
                </a:lnTo>
                <a:lnTo>
                  <a:pt x="822" y="1293"/>
                </a:lnTo>
                <a:lnTo>
                  <a:pt x="823" y="1292"/>
                </a:lnTo>
                <a:lnTo>
                  <a:pt x="822" y="1293"/>
                </a:lnTo>
                <a:lnTo>
                  <a:pt x="820" y="1293"/>
                </a:lnTo>
                <a:lnTo>
                  <a:pt x="828" y="1300"/>
                </a:lnTo>
                <a:lnTo>
                  <a:pt x="837" y="1301"/>
                </a:lnTo>
                <a:lnTo>
                  <a:pt x="854" y="1303"/>
                </a:lnTo>
                <a:lnTo>
                  <a:pt x="871" y="1304"/>
                </a:lnTo>
                <a:lnTo>
                  <a:pt x="872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4" y="1303"/>
                </a:lnTo>
                <a:lnTo>
                  <a:pt x="872" y="1304"/>
                </a:lnTo>
                <a:lnTo>
                  <a:pt x="871" y="1304"/>
                </a:lnTo>
                <a:lnTo>
                  <a:pt x="869" y="1306"/>
                </a:lnTo>
                <a:lnTo>
                  <a:pt x="865" y="1306"/>
                </a:lnTo>
                <a:lnTo>
                  <a:pt x="854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1" y="1306"/>
                </a:lnTo>
                <a:lnTo>
                  <a:pt x="840" y="1304"/>
                </a:lnTo>
                <a:lnTo>
                  <a:pt x="836" y="1304"/>
                </a:lnTo>
                <a:close/>
                <a:moveTo>
                  <a:pt x="862" y="940"/>
                </a:moveTo>
                <a:lnTo>
                  <a:pt x="871" y="940"/>
                </a:lnTo>
                <a:lnTo>
                  <a:pt x="881" y="937"/>
                </a:lnTo>
                <a:lnTo>
                  <a:pt x="871" y="940"/>
                </a:lnTo>
                <a:lnTo>
                  <a:pt x="862" y="940"/>
                </a:lnTo>
                <a:close/>
                <a:moveTo>
                  <a:pt x="896" y="656"/>
                </a:moveTo>
                <a:lnTo>
                  <a:pt x="896" y="655"/>
                </a:lnTo>
                <a:lnTo>
                  <a:pt x="897" y="653"/>
                </a:lnTo>
                <a:lnTo>
                  <a:pt x="896" y="655"/>
                </a:lnTo>
                <a:lnTo>
                  <a:pt x="896" y="656"/>
                </a:lnTo>
                <a:close/>
                <a:moveTo>
                  <a:pt x="901" y="347"/>
                </a:moveTo>
                <a:lnTo>
                  <a:pt x="901" y="347"/>
                </a:lnTo>
                <a:lnTo>
                  <a:pt x="899" y="347"/>
                </a:lnTo>
                <a:lnTo>
                  <a:pt x="897" y="349"/>
                </a:lnTo>
                <a:lnTo>
                  <a:pt x="895" y="352"/>
                </a:lnTo>
                <a:lnTo>
                  <a:pt x="897" y="349"/>
                </a:lnTo>
                <a:lnTo>
                  <a:pt x="899" y="347"/>
                </a:lnTo>
                <a:lnTo>
                  <a:pt x="901" y="347"/>
                </a:lnTo>
                <a:lnTo>
                  <a:pt x="901" y="347"/>
                </a:lnTo>
                <a:close/>
                <a:moveTo>
                  <a:pt x="904" y="468"/>
                </a:moveTo>
                <a:lnTo>
                  <a:pt x="904" y="468"/>
                </a:lnTo>
                <a:lnTo>
                  <a:pt x="904" y="468"/>
                </a:lnTo>
                <a:lnTo>
                  <a:pt x="903" y="468"/>
                </a:lnTo>
                <a:lnTo>
                  <a:pt x="902" y="469"/>
                </a:lnTo>
                <a:lnTo>
                  <a:pt x="903" y="468"/>
                </a:lnTo>
                <a:lnTo>
                  <a:pt x="904" y="468"/>
                </a:lnTo>
                <a:lnTo>
                  <a:pt x="904" y="468"/>
                </a:lnTo>
                <a:lnTo>
                  <a:pt x="904" y="468"/>
                </a:lnTo>
                <a:close/>
                <a:moveTo>
                  <a:pt x="908" y="355"/>
                </a:moveTo>
                <a:lnTo>
                  <a:pt x="908" y="357"/>
                </a:lnTo>
                <a:lnTo>
                  <a:pt x="909" y="360"/>
                </a:lnTo>
                <a:lnTo>
                  <a:pt x="908" y="357"/>
                </a:lnTo>
                <a:lnTo>
                  <a:pt x="908" y="355"/>
                </a:lnTo>
                <a:close/>
                <a:moveTo>
                  <a:pt x="910" y="692"/>
                </a:moveTo>
                <a:lnTo>
                  <a:pt x="910" y="692"/>
                </a:lnTo>
                <a:lnTo>
                  <a:pt x="909" y="692"/>
                </a:lnTo>
                <a:lnTo>
                  <a:pt x="909" y="693"/>
                </a:lnTo>
                <a:lnTo>
                  <a:pt x="909" y="693"/>
                </a:lnTo>
                <a:lnTo>
                  <a:pt x="909" y="693"/>
                </a:lnTo>
                <a:lnTo>
                  <a:pt x="909" y="692"/>
                </a:lnTo>
                <a:lnTo>
                  <a:pt x="910" y="692"/>
                </a:lnTo>
                <a:lnTo>
                  <a:pt x="910" y="692"/>
                </a:lnTo>
                <a:close/>
                <a:moveTo>
                  <a:pt x="911" y="551"/>
                </a:moveTo>
                <a:lnTo>
                  <a:pt x="910" y="551"/>
                </a:lnTo>
                <a:lnTo>
                  <a:pt x="910" y="550"/>
                </a:lnTo>
                <a:lnTo>
                  <a:pt x="910" y="551"/>
                </a:lnTo>
                <a:lnTo>
                  <a:pt x="911" y="551"/>
                </a:lnTo>
                <a:lnTo>
                  <a:pt x="911" y="552"/>
                </a:lnTo>
                <a:lnTo>
                  <a:pt x="910" y="553"/>
                </a:lnTo>
                <a:lnTo>
                  <a:pt x="911" y="552"/>
                </a:lnTo>
                <a:lnTo>
                  <a:pt x="911" y="551"/>
                </a:lnTo>
                <a:close/>
                <a:moveTo>
                  <a:pt x="911" y="322"/>
                </a:moveTo>
                <a:lnTo>
                  <a:pt x="909" y="325"/>
                </a:lnTo>
                <a:lnTo>
                  <a:pt x="906" y="326"/>
                </a:lnTo>
                <a:lnTo>
                  <a:pt x="909" y="325"/>
                </a:lnTo>
                <a:lnTo>
                  <a:pt x="911" y="322"/>
                </a:lnTo>
                <a:close/>
                <a:moveTo>
                  <a:pt x="932" y="632"/>
                </a:moveTo>
                <a:lnTo>
                  <a:pt x="930" y="630"/>
                </a:lnTo>
                <a:lnTo>
                  <a:pt x="931" y="629"/>
                </a:lnTo>
                <a:lnTo>
                  <a:pt x="930" y="630"/>
                </a:lnTo>
                <a:lnTo>
                  <a:pt x="932" y="632"/>
                </a:lnTo>
                <a:close/>
                <a:moveTo>
                  <a:pt x="934" y="570"/>
                </a:moveTo>
                <a:lnTo>
                  <a:pt x="932" y="570"/>
                </a:lnTo>
                <a:lnTo>
                  <a:pt x="931" y="571"/>
                </a:lnTo>
                <a:lnTo>
                  <a:pt x="932" y="570"/>
                </a:lnTo>
                <a:lnTo>
                  <a:pt x="934" y="570"/>
                </a:lnTo>
                <a:close/>
                <a:moveTo>
                  <a:pt x="937" y="562"/>
                </a:moveTo>
                <a:lnTo>
                  <a:pt x="937" y="560"/>
                </a:lnTo>
                <a:lnTo>
                  <a:pt x="937" y="559"/>
                </a:lnTo>
                <a:lnTo>
                  <a:pt x="937" y="560"/>
                </a:lnTo>
                <a:lnTo>
                  <a:pt x="937" y="562"/>
                </a:lnTo>
                <a:lnTo>
                  <a:pt x="936" y="562"/>
                </a:lnTo>
                <a:lnTo>
                  <a:pt x="934" y="562"/>
                </a:lnTo>
                <a:lnTo>
                  <a:pt x="936" y="562"/>
                </a:lnTo>
                <a:lnTo>
                  <a:pt x="937" y="562"/>
                </a:lnTo>
                <a:close/>
                <a:moveTo>
                  <a:pt x="941" y="574"/>
                </a:moveTo>
                <a:lnTo>
                  <a:pt x="941" y="573"/>
                </a:lnTo>
                <a:lnTo>
                  <a:pt x="941" y="573"/>
                </a:lnTo>
                <a:lnTo>
                  <a:pt x="941" y="573"/>
                </a:lnTo>
                <a:lnTo>
                  <a:pt x="941" y="574"/>
                </a:lnTo>
                <a:lnTo>
                  <a:pt x="938" y="574"/>
                </a:lnTo>
                <a:lnTo>
                  <a:pt x="937" y="572"/>
                </a:lnTo>
                <a:lnTo>
                  <a:pt x="938" y="574"/>
                </a:lnTo>
                <a:lnTo>
                  <a:pt x="941" y="574"/>
                </a:lnTo>
                <a:close/>
                <a:moveTo>
                  <a:pt x="938" y="566"/>
                </a:moveTo>
                <a:lnTo>
                  <a:pt x="938" y="565"/>
                </a:lnTo>
                <a:lnTo>
                  <a:pt x="938" y="565"/>
                </a:lnTo>
                <a:lnTo>
                  <a:pt x="938" y="565"/>
                </a:lnTo>
                <a:lnTo>
                  <a:pt x="938" y="566"/>
                </a:lnTo>
                <a:lnTo>
                  <a:pt x="939" y="569"/>
                </a:lnTo>
                <a:lnTo>
                  <a:pt x="940" y="570"/>
                </a:lnTo>
                <a:lnTo>
                  <a:pt x="939" y="569"/>
                </a:lnTo>
                <a:lnTo>
                  <a:pt x="938" y="566"/>
                </a:lnTo>
                <a:close/>
                <a:moveTo>
                  <a:pt x="943" y="620"/>
                </a:moveTo>
                <a:lnTo>
                  <a:pt x="941" y="620"/>
                </a:lnTo>
                <a:lnTo>
                  <a:pt x="940" y="620"/>
                </a:lnTo>
                <a:lnTo>
                  <a:pt x="940" y="620"/>
                </a:lnTo>
                <a:lnTo>
                  <a:pt x="940" y="621"/>
                </a:lnTo>
                <a:lnTo>
                  <a:pt x="940" y="620"/>
                </a:lnTo>
                <a:lnTo>
                  <a:pt x="940" y="620"/>
                </a:lnTo>
                <a:lnTo>
                  <a:pt x="941" y="620"/>
                </a:lnTo>
                <a:lnTo>
                  <a:pt x="943" y="620"/>
                </a:lnTo>
                <a:close/>
                <a:moveTo>
                  <a:pt x="932" y="632"/>
                </a:moveTo>
                <a:lnTo>
                  <a:pt x="932" y="632"/>
                </a:lnTo>
                <a:lnTo>
                  <a:pt x="933" y="633"/>
                </a:lnTo>
                <a:lnTo>
                  <a:pt x="934" y="634"/>
                </a:lnTo>
                <a:lnTo>
                  <a:pt x="933" y="633"/>
                </a:lnTo>
                <a:lnTo>
                  <a:pt x="932" y="632"/>
                </a:lnTo>
                <a:close/>
                <a:moveTo>
                  <a:pt x="955" y="593"/>
                </a:moveTo>
                <a:lnTo>
                  <a:pt x="955" y="590"/>
                </a:lnTo>
                <a:lnTo>
                  <a:pt x="957" y="587"/>
                </a:lnTo>
                <a:lnTo>
                  <a:pt x="955" y="590"/>
                </a:lnTo>
                <a:lnTo>
                  <a:pt x="955" y="593"/>
                </a:lnTo>
                <a:lnTo>
                  <a:pt x="952" y="593"/>
                </a:lnTo>
                <a:lnTo>
                  <a:pt x="948" y="595"/>
                </a:lnTo>
                <a:lnTo>
                  <a:pt x="952" y="593"/>
                </a:lnTo>
                <a:lnTo>
                  <a:pt x="955" y="593"/>
                </a:lnTo>
                <a:close/>
                <a:moveTo>
                  <a:pt x="959" y="532"/>
                </a:moveTo>
                <a:lnTo>
                  <a:pt x="959" y="532"/>
                </a:lnTo>
                <a:lnTo>
                  <a:pt x="959" y="532"/>
                </a:lnTo>
                <a:lnTo>
                  <a:pt x="958" y="536"/>
                </a:lnTo>
                <a:lnTo>
                  <a:pt x="955" y="539"/>
                </a:lnTo>
                <a:lnTo>
                  <a:pt x="958" y="536"/>
                </a:lnTo>
                <a:lnTo>
                  <a:pt x="959" y="532"/>
                </a:lnTo>
                <a:close/>
                <a:moveTo>
                  <a:pt x="957" y="571"/>
                </a:moveTo>
                <a:lnTo>
                  <a:pt x="957" y="571"/>
                </a:lnTo>
                <a:lnTo>
                  <a:pt x="955" y="572"/>
                </a:lnTo>
                <a:lnTo>
                  <a:pt x="957" y="571"/>
                </a:lnTo>
                <a:lnTo>
                  <a:pt x="957" y="571"/>
                </a:lnTo>
                <a:lnTo>
                  <a:pt x="958" y="571"/>
                </a:lnTo>
                <a:lnTo>
                  <a:pt x="958" y="572"/>
                </a:lnTo>
                <a:lnTo>
                  <a:pt x="958" y="571"/>
                </a:lnTo>
                <a:lnTo>
                  <a:pt x="957" y="571"/>
                </a:lnTo>
                <a:close/>
                <a:moveTo>
                  <a:pt x="966" y="689"/>
                </a:moveTo>
                <a:lnTo>
                  <a:pt x="965" y="688"/>
                </a:lnTo>
                <a:lnTo>
                  <a:pt x="962" y="685"/>
                </a:lnTo>
                <a:lnTo>
                  <a:pt x="965" y="688"/>
                </a:lnTo>
                <a:lnTo>
                  <a:pt x="966" y="689"/>
                </a:lnTo>
                <a:close/>
                <a:moveTo>
                  <a:pt x="967" y="670"/>
                </a:moveTo>
                <a:lnTo>
                  <a:pt x="967" y="671"/>
                </a:lnTo>
                <a:lnTo>
                  <a:pt x="967" y="674"/>
                </a:lnTo>
                <a:lnTo>
                  <a:pt x="967" y="671"/>
                </a:lnTo>
                <a:lnTo>
                  <a:pt x="967" y="670"/>
                </a:lnTo>
                <a:lnTo>
                  <a:pt x="967" y="670"/>
                </a:lnTo>
                <a:close/>
                <a:moveTo>
                  <a:pt x="969" y="669"/>
                </a:moveTo>
                <a:lnTo>
                  <a:pt x="968" y="670"/>
                </a:lnTo>
                <a:lnTo>
                  <a:pt x="967" y="670"/>
                </a:lnTo>
                <a:lnTo>
                  <a:pt x="968" y="670"/>
                </a:lnTo>
                <a:lnTo>
                  <a:pt x="969" y="669"/>
                </a:lnTo>
                <a:close/>
                <a:moveTo>
                  <a:pt x="986" y="725"/>
                </a:moveTo>
                <a:lnTo>
                  <a:pt x="989" y="725"/>
                </a:lnTo>
                <a:lnTo>
                  <a:pt x="992" y="727"/>
                </a:lnTo>
                <a:lnTo>
                  <a:pt x="991" y="731"/>
                </a:lnTo>
                <a:lnTo>
                  <a:pt x="988" y="731"/>
                </a:lnTo>
                <a:lnTo>
                  <a:pt x="984" y="730"/>
                </a:lnTo>
                <a:lnTo>
                  <a:pt x="981" y="727"/>
                </a:lnTo>
                <a:lnTo>
                  <a:pt x="982" y="725"/>
                </a:lnTo>
                <a:lnTo>
                  <a:pt x="986" y="725"/>
                </a:lnTo>
                <a:close/>
                <a:moveTo>
                  <a:pt x="999" y="727"/>
                </a:moveTo>
                <a:lnTo>
                  <a:pt x="999" y="727"/>
                </a:lnTo>
                <a:lnTo>
                  <a:pt x="999" y="728"/>
                </a:lnTo>
                <a:lnTo>
                  <a:pt x="999" y="728"/>
                </a:lnTo>
                <a:lnTo>
                  <a:pt x="999" y="730"/>
                </a:lnTo>
                <a:lnTo>
                  <a:pt x="998" y="728"/>
                </a:lnTo>
                <a:lnTo>
                  <a:pt x="998" y="728"/>
                </a:lnTo>
                <a:lnTo>
                  <a:pt x="998" y="727"/>
                </a:lnTo>
                <a:lnTo>
                  <a:pt x="999" y="727"/>
                </a:lnTo>
                <a:close/>
                <a:moveTo>
                  <a:pt x="1005" y="720"/>
                </a:moveTo>
                <a:lnTo>
                  <a:pt x="1005" y="723"/>
                </a:lnTo>
                <a:lnTo>
                  <a:pt x="1005" y="725"/>
                </a:lnTo>
                <a:lnTo>
                  <a:pt x="1002" y="725"/>
                </a:lnTo>
                <a:lnTo>
                  <a:pt x="1001" y="724"/>
                </a:lnTo>
                <a:lnTo>
                  <a:pt x="1001" y="721"/>
                </a:lnTo>
                <a:lnTo>
                  <a:pt x="1005" y="720"/>
                </a:lnTo>
                <a:close/>
                <a:moveTo>
                  <a:pt x="1007" y="726"/>
                </a:moveTo>
                <a:lnTo>
                  <a:pt x="1006" y="727"/>
                </a:lnTo>
                <a:lnTo>
                  <a:pt x="1006" y="730"/>
                </a:lnTo>
                <a:lnTo>
                  <a:pt x="1005" y="727"/>
                </a:lnTo>
                <a:lnTo>
                  <a:pt x="1007" y="726"/>
                </a:lnTo>
                <a:close/>
                <a:moveTo>
                  <a:pt x="1002" y="735"/>
                </a:moveTo>
                <a:lnTo>
                  <a:pt x="1002" y="733"/>
                </a:lnTo>
                <a:lnTo>
                  <a:pt x="1002" y="732"/>
                </a:lnTo>
                <a:lnTo>
                  <a:pt x="1003" y="732"/>
                </a:lnTo>
                <a:lnTo>
                  <a:pt x="1003" y="733"/>
                </a:lnTo>
                <a:lnTo>
                  <a:pt x="1002" y="734"/>
                </a:lnTo>
                <a:lnTo>
                  <a:pt x="1002" y="735"/>
                </a:lnTo>
                <a:close/>
                <a:moveTo>
                  <a:pt x="1002" y="737"/>
                </a:moveTo>
                <a:lnTo>
                  <a:pt x="1003" y="740"/>
                </a:lnTo>
                <a:lnTo>
                  <a:pt x="1006" y="741"/>
                </a:lnTo>
                <a:lnTo>
                  <a:pt x="1003" y="740"/>
                </a:lnTo>
                <a:lnTo>
                  <a:pt x="1002" y="737"/>
                </a:lnTo>
                <a:close/>
                <a:moveTo>
                  <a:pt x="1026" y="728"/>
                </a:moveTo>
                <a:lnTo>
                  <a:pt x="1023" y="730"/>
                </a:lnTo>
                <a:lnTo>
                  <a:pt x="1022" y="731"/>
                </a:lnTo>
                <a:lnTo>
                  <a:pt x="1023" y="730"/>
                </a:lnTo>
                <a:lnTo>
                  <a:pt x="1026" y="728"/>
                </a:lnTo>
                <a:close/>
                <a:moveTo>
                  <a:pt x="1027" y="721"/>
                </a:moveTo>
                <a:lnTo>
                  <a:pt x="1028" y="718"/>
                </a:lnTo>
                <a:lnTo>
                  <a:pt x="1031" y="718"/>
                </a:lnTo>
                <a:lnTo>
                  <a:pt x="1028" y="718"/>
                </a:lnTo>
                <a:lnTo>
                  <a:pt x="1027" y="721"/>
                </a:lnTo>
                <a:lnTo>
                  <a:pt x="1024" y="721"/>
                </a:lnTo>
                <a:lnTo>
                  <a:pt x="1022" y="721"/>
                </a:lnTo>
                <a:lnTo>
                  <a:pt x="1024" y="721"/>
                </a:lnTo>
                <a:lnTo>
                  <a:pt x="1027" y="721"/>
                </a:lnTo>
                <a:close/>
                <a:moveTo>
                  <a:pt x="1026" y="728"/>
                </a:moveTo>
                <a:lnTo>
                  <a:pt x="1026" y="726"/>
                </a:lnTo>
                <a:lnTo>
                  <a:pt x="1027" y="724"/>
                </a:lnTo>
                <a:lnTo>
                  <a:pt x="1026" y="726"/>
                </a:lnTo>
                <a:lnTo>
                  <a:pt x="1026" y="728"/>
                </a:lnTo>
                <a:close/>
                <a:moveTo>
                  <a:pt x="1041" y="612"/>
                </a:moveTo>
                <a:lnTo>
                  <a:pt x="1036" y="611"/>
                </a:lnTo>
                <a:lnTo>
                  <a:pt x="1035" y="607"/>
                </a:lnTo>
                <a:lnTo>
                  <a:pt x="1037" y="605"/>
                </a:lnTo>
                <a:lnTo>
                  <a:pt x="1040" y="602"/>
                </a:lnTo>
                <a:lnTo>
                  <a:pt x="1040" y="602"/>
                </a:lnTo>
                <a:lnTo>
                  <a:pt x="1040" y="609"/>
                </a:lnTo>
                <a:lnTo>
                  <a:pt x="1042" y="606"/>
                </a:lnTo>
                <a:lnTo>
                  <a:pt x="1044" y="602"/>
                </a:lnTo>
                <a:lnTo>
                  <a:pt x="1044" y="602"/>
                </a:lnTo>
                <a:lnTo>
                  <a:pt x="1044" y="601"/>
                </a:lnTo>
                <a:lnTo>
                  <a:pt x="1044" y="600"/>
                </a:lnTo>
                <a:lnTo>
                  <a:pt x="1048" y="599"/>
                </a:lnTo>
                <a:lnTo>
                  <a:pt x="1048" y="602"/>
                </a:lnTo>
                <a:lnTo>
                  <a:pt x="1046" y="608"/>
                </a:lnTo>
                <a:lnTo>
                  <a:pt x="1051" y="612"/>
                </a:lnTo>
                <a:lnTo>
                  <a:pt x="1054" y="613"/>
                </a:lnTo>
                <a:lnTo>
                  <a:pt x="1054" y="616"/>
                </a:lnTo>
                <a:lnTo>
                  <a:pt x="1050" y="616"/>
                </a:lnTo>
                <a:lnTo>
                  <a:pt x="1048" y="620"/>
                </a:lnTo>
                <a:lnTo>
                  <a:pt x="1047" y="625"/>
                </a:lnTo>
                <a:lnTo>
                  <a:pt x="1044" y="628"/>
                </a:lnTo>
                <a:lnTo>
                  <a:pt x="1049" y="629"/>
                </a:lnTo>
                <a:lnTo>
                  <a:pt x="1051" y="630"/>
                </a:lnTo>
                <a:lnTo>
                  <a:pt x="1051" y="632"/>
                </a:lnTo>
                <a:lnTo>
                  <a:pt x="1050" y="634"/>
                </a:lnTo>
                <a:lnTo>
                  <a:pt x="1049" y="635"/>
                </a:lnTo>
                <a:lnTo>
                  <a:pt x="1049" y="635"/>
                </a:lnTo>
                <a:lnTo>
                  <a:pt x="1044" y="636"/>
                </a:lnTo>
                <a:lnTo>
                  <a:pt x="1044" y="642"/>
                </a:lnTo>
                <a:lnTo>
                  <a:pt x="1040" y="644"/>
                </a:lnTo>
                <a:lnTo>
                  <a:pt x="1038" y="650"/>
                </a:lnTo>
                <a:lnTo>
                  <a:pt x="1035" y="648"/>
                </a:lnTo>
                <a:lnTo>
                  <a:pt x="1036" y="644"/>
                </a:lnTo>
                <a:lnTo>
                  <a:pt x="1038" y="641"/>
                </a:lnTo>
                <a:lnTo>
                  <a:pt x="1036" y="636"/>
                </a:lnTo>
                <a:lnTo>
                  <a:pt x="1035" y="627"/>
                </a:lnTo>
                <a:lnTo>
                  <a:pt x="1041" y="616"/>
                </a:lnTo>
                <a:lnTo>
                  <a:pt x="1043" y="618"/>
                </a:lnTo>
                <a:lnTo>
                  <a:pt x="1046" y="618"/>
                </a:lnTo>
                <a:lnTo>
                  <a:pt x="1044" y="614"/>
                </a:lnTo>
                <a:lnTo>
                  <a:pt x="1041" y="612"/>
                </a:lnTo>
                <a:close/>
                <a:moveTo>
                  <a:pt x="1038" y="667"/>
                </a:moveTo>
                <a:lnTo>
                  <a:pt x="1040" y="668"/>
                </a:lnTo>
                <a:lnTo>
                  <a:pt x="1040" y="670"/>
                </a:lnTo>
                <a:lnTo>
                  <a:pt x="1040" y="668"/>
                </a:lnTo>
                <a:lnTo>
                  <a:pt x="1038" y="667"/>
                </a:lnTo>
                <a:close/>
                <a:moveTo>
                  <a:pt x="1040" y="719"/>
                </a:moveTo>
                <a:lnTo>
                  <a:pt x="1038" y="723"/>
                </a:lnTo>
                <a:lnTo>
                  <a:pt x="1036" y="725"/>
                </a:lnTo>
                <a:lnTo>
                  <a:pt x="1038" y="723"/>
                </a:lnTo>
                <a:lnTo>
                  <a:pt x="1040" y="719"/>
                </a:lnTo>
                <a:lnTo>
                  <a:pt x="1042" y="718"/>
                </a:lnTo>
                <a:lnTo>
                  <a:pt x="1043" y="717"/>
                </a:lnTo>
                <a:lnTo>
                  <a:pt x="1042" y="718"/>
                </a:lnTo>
                <a:lnTo>
                  <a:pt x="1040" y="719"/>
                </a:lnTo>
                <a:close/>
                <a:moveTo>
                  <a:pt x="1065" y="686"/>
                </a:moveTo>
                <a:lnTo>
                  <a:pt x="1074" y="693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0"/>
                </a:lnTo>
                <a:lnTo>
                  <a:pt x="1083" y="692"/>
                </a:lnTo>
                <a:lnTo>
                  <a:pt x="1084" y="695"/>
                </a:lnTo>
                <a:lnTo>
                  <a:pt x="1083" y="698"/>
                </a:lnTo>
                <a:lnTo>
                  <a:pt x="1085" y="700"/>
                </a:lnTo>
                <a:lnTo>
                  <a:pt x="1088" y="700"/>
                </a:lnTo>
                <a:lnTo>
                  <a:pt x="1090" y="698"/>
                </a:lnTo>
                <a:lnTo>
                  <a:pt x="1095" y="696"/>
                </a:lnTo>
                <a:lnTo>
                  <a:pt x="1099" y="697"/>
                </a:lnTo>
                <a:lnTo>
                  <a:pt x="1100" y="699"/>
                </a:lnTo>
                <a:lnTo>
                  <a:pt x="1103" y="700"/>
                </a:lnTo>
                <a:lnTo>
                  <a:pt x="1103" y="700"/>
                </a:lnTo>
                <a:lnTo>
                  <a:pt x="1103" y="700"/>
                </a:lnTo>
                <a:lnTo>
                  <a:pt x="1105" y="700"/>
                </a:lnTo>
                <a:lnTo>
                  <a:pt x="1107" y="698"/>
                </a:lnTo>
                <a:lnTo>
                  <a:pt x="1105" y="700"/>
                </a:lnTo>
                <a:lnTo>
                  <a:pt x="1103" y="700"/>
                </a:lnTo>
                <a:lnTo>
                  <a:pt x="1100" y="705"/>
                </a:lnTo>
                <a:lnTo>
                  <a:pt x="1096" y="707"/>
                </a:lnTo>
                <a:lnTo>
                  <a:pt x="1096" y="706"/>
                </a:lnTo>
                <a:lnTo>
                  <a:pt x="1095" y="706"/>
                </a:lnTo>
                <a:lnTo>
                  <a:pt x="1097" y="703"/>
                </a:lnTo>
                <a:lnTo>
                  <a:pt x="1096" y="700"/>
                </a:lnTo>
                <a:lnTo>
                  <a:pt x="1093" y="702"/>
                </a:lnTo>
                <a:lnTo>
                  <a:pt x="1092" y="705"/>
                </a:lnTo>
                <a:lnTo>
                  <a:pt x="1091" y="707"/>
                </a:lnTo>
                <a:lnTo>
                  <a:pt x="1091" y="711"/>
                </a:lnTo>
                <a:lnTo>
                  <a:pt x="1090" y="714"/>
                </a:lnTo>
                <a:lnTo>
                  <a:pt x="1086" y="717"/>
                </a:lnTo>
                <a:lnTo>
                  <a:pt x="1083" y="718"/>
                </a:lnTo>
                <a:lnTo>
                  <a:pt x="1082" y="721"/>
                </a:lnTo>
                <a:lnTo>
                  <a:pt x="1081" y="721"/>
                </a:lnTo>
                <a:lnTo>
                  <a:pt x="1081" y="720"/>
                </a:lnTo>
                <a:lnTo>
                  <a:pt x="1078" y="721"/>
                </a:lnTo>
                <a:lnTo>
                  <a:pt x="1077" y="723"/>
                </a:lnTo>
                <a:lnTo>
                  <a:pt x="1078" y="721"/>
                </a:lnTo>
                <a:lnTo>
                  <a:pt x="1081" y="720"/>
                </a:lnTo>
                <a:lnTo>
                  <a:pt x="1081" y="716"/>
                </a:lnTo>
                <a:lnTo>
                  <a:pt x="1076" y="713"/>
                </a:lnTo>
                <a:lnTo>
                  <a:pt x="1072" y="709"/>
                </a:lnTo>
                <a:lnTo>
                  <a:pt x="1075" y="702"/>
                </a:lnTo>
                <a:lnTo>
                  <a:pt x="1076" y="700"/>
                </a:lnTo>
                <a:lnTo>
                  <a:pt x="1076" y="698"/>
                </a:lnTo>
                <a:lnTo>
                  <a:pt x="1074" y="697"/>
                </a:lnTo>
                <a:lnTo>
                  <a:pt x="1072" y="698"/>
                </a:lnTo>
                <a:lnTo>
                  <a:pt x="1068" y="702"/>
                </a:lnTo>
                <a:lnTo>
                  <a:pt x="1061" y="700"/>
                </a:lnTo>
                <a:lnTo>
                  <a:pt x="1067" y="696"/>
                </a:lnTo>
                <a:lnTo>
                  <a:pt x="1065" y="686"/>
                </a:lnTo>
                <a:close/>
                <a:moveTo>
                  <a:pt x="1103" y="699"/>
                </a:moveTo>
                <a:lnTo>
                  <a:pt x="1103" y="698"/>
                </a:lnTo>
                <a:lnTo>
                  <a:pt x="1102" y="697"/>
                </a:lnTo>
                <a:lnTo>
                  <a:pt x="1103" y="698"/>
                </a:lnTo>
                <a:lnTo>
                  <a:pt x="1103" y="699"/>
                </a:lnTo>
                <a:close/>
                <a:moveTo>
                  <a:pt x="1072" y="726"/>
                </a:moveTo>
                <a:lnTo>
                  <a:pt x="1072" y="725"/>
                </a:lnTo>
                <a:lnTo>
                  <a:pt x="1072" y="723"/>
                </a:lnTo>
                <a:lnTo>
                  <a:pt x="1072" y="725"/>
                </a:lnTo>
                <a:lnTo>
                  <a:pt x="1072" y="726"/>
                </a:lnTo>
                <a:close/>
                <a:moveTo>
                  <a:pt x="1070" y="751"/>
                </a:moveTo>
                <a:lnTo>
                  <a:pt x="1074" y="751"/>
                </a:lnTo>
                <a:lnTo>
                  <a:pt x="1075" y="752"/>
                </a:lnTo>
                <a:lnTo>
                  <a:pt x="1072" y="754"/>
                </a:lnTo>
                <a:lnTo>
                  <a:pt x="1069" y="754"/>
                </a:lnTo>
                <a:lnTo>
                  <a:pt x="1070" y="752"/>
                </a:lnTo>
                <a:lnTo>
                  <a:pt x="1070" y="751"/>
                </a:lnTo>
                <a:close/>
                <a:moveTo>
                  <a:pt x="898" y="1467"/>
                </a:moveTo>
                <a:lnTo>
                  <a:pt x="899" y="1465"/>
                </a:lnTo>
                <a:lnTo>
                  <a:pt x="898" y="1462"/>
                </a:lnTo>
                <a:lnTo>
                  <a:pt x="899" y="1465"/>
                </a:lnTo>
                <a:lnTo>
                  <a:pt x="898" y="1467"/>
                </a:lnTo>
                <a:lnTo>
                  <a:pt x="898" y="1468"/>
                </a:lnTo>
                <a:lnTo>
                  <a:pt x="897" y="1469"/>
                </a:lnTo>
                <a:lnTo>
                  <a:pt x="898" y="1468"/>
                </a:lnTo>
                <a:lnTo>
                  <a:pt x="898" y="1467"/>
                </a:lnTo>
                <a:close/>
                <a:moveTo>
                  <a:pt x="149" y="657"/>
                </a:moveTo>
                <a:lnTo>
                  <a:pt x="147" y="658"/>
                </a:lnTo>
                <a:lnTo>
                  <a:pt x="146" y="660"/>
                </a:lnTo>
                <a:lnTo>
                  <a:pt x="147" y="658"/>
                </a:lnTo>
                <a:lnTo>
                  <a:pt x="149" y="657"/>
                </a:lnTo>
                <a:lnTo>
                  <a:pt x="149" y="657"/>
                </a:lnTo>
                <a:lnTo>
                  <a:pt x="149" y="656"/>
                </a:lnTo>
                <a:lnTo>
                  <a:pt x="149" y="657"/>
                </a:lnTo>
                <a:lnTo>
                  <a:pt x="149" y="657"/>
                </a:lnTo>
                <a:close/>
                <a:moveTo>
                  <a:pt x="133" y="775"/>
                </a:moveTo>
                <a:lnTo>
                  <a:pt x="133" y="773"/>
                </a:lnTo>
                <a:lnTo>
                  <a:pt x="135" y="772"/>
                </a:lnTo>
                <a:lnTo>
                  <a:pt x="133" y="773"/>
                </a:lnTo>
                <a:lnTo>
                  <a:pt x="133" y="775"/>
                </a:lnTo>
                <a:close/>
                <a:moveTo>
                  <a:pt x="119" y="794"/>
                </a:moveTo>
                <a:lnTo>
                  <a:pt x="116" y="790"/>
                </a:lnTo>
                <a:lnTo>
                  <a:pt x="111" y="788"/>
                </a:lnTo>
                <a:lnTo>
                  <a:pt x="116" y="790"/>
                </a:lnTo>
                <a:lnTo>
                  <a:pt x="119" y="794"/>
                </a:lnTo>
                <a:lnTo>
                  <a:pt x="123" y="794"/>
                </a:lnTo>
                <a:lnTo>
                  <a:pt x="126" y="793"/>
                </a:lnTo>
                <a:lnTo>
                  <a:pt x="123" y="794"/>
                </a:lnTo>
                <a:lnTo>
                  <a:pt x="119" y="794"/>
                </a:lnTo>
                <a:close/>
                <a:moveTo>
                  <a:pt x="118" y="837"/>
                </a:moveTo>
                <a:lnTo>
                  <a:pt x="117" y="836"/>
                </a:lnTo>
                <a:lnTo>
                  <a:pt x="116" y="836"/>
                </a:lnTo>
                <a:lnTo>
                  <a:pt x="117" y="836"/>
                </a:lnTo>
                <a:lnTo>
                  <a:pt x="118" y="837"/>
                </a:lnTo>
                <a:close/>
                <a:moveTo>
                  <a:pt x="121" y="870"/>
                </a:moveTo>
                <a:lnTo>
                  <a:pt x="119" y="870"/>
                </a:lnTo>
                <a:lnTo>
                  <a:pt x="118" y="868"/>
                </a:lnTo>
                <a:lnTo>
                  <a:pt x="119" y="868"/>
                </a:lnTo>
                <a:lnTo>
                  <a:pt x="121" y="870"/>
                </a:lnTo>
                <a:close/>
                <a:moveTo>
                  <a:pt x="115" y="767"/>
                </a:moveTo>
                <a:lnTo>
                  <a:pt x="114" y="766"/>
                </a:lnTo>
                <a:lnTo>
                  <a:pt x="114" y="763"/>
                </a:lnTo>
                <a:lnTo>
                  <a:pt x="114" y="766"/>
                </a:lnTo>
                <a:lnTo>
                  <a:pt x="115" y="767"/>
                </a:lnTo>
                <a:lnTo>
                  <a:pt x="117" y="768"/>
                </a:lnTo>
                <a:lnTo>
                  <a:pt x="119" y="768"/>
                </a:lnTo>
                <a:lnTo>
                  <a:pt x="117" y="768"/>
                </a:lnTo>
                <a:lnTo>
                  <a:pt x="115" y="767"/>
                </a:lnTo>
                <a:close/>
                <a:moveTo>
                  <a:pt x="118" y="646"/>
                </a:moveTo>
                <a:lnTo>
                  <a:pt x="117" y="643"/>
                </a:lnTo>
                <a:lnTo>
                  <a:pt x="116" y="642"/>
                </a:lnTo>
                <a:lnTo>
                  <a:pt x="117" y="643"/>
                </a:lnTo>
                <a:lnTo>
                  <a:pt x="118" y="646"/>
                </a:lnTo>
                <a:close/>
                <a:moveTo>
                  <a:pt x="108" y="830"/>
                </a:moveTo>
                <a:lnTo>
                  <a:pt x="108" y="829"/>
                </a:lnTo>
                <a:lnTo>
                  <a:pt x="106" y="828"/>
                </a:lnTo>
                <a:lnTo>
                  <a:pt x="108" y="829"/>
                </a:lnTo>
                <a:lnTo>
                  <a:pt x="108" y="830"/>
                </a:lnTo>
                <a:close/>
                <a:moveTo>
                  <a:pt x="73" y="1031"/>
                </a:moveTo>
                <a:lnTo>
                  <a:pt x="73" y="1033"/>
                </a:lnTo>
                <a:lnTo>
                  <a:pt x="73" y="1034"/>
                </a:lnTo>
                <a:lnTo>
                  <a:pt x="73" y="1033"/>
                </a:lnTo>
                <a:lnTo>
                  <a:pt x="73" y="1031"/>
                </a:lnTo>
                <a:lnTo>
                  <a:pt x="76" y="1026"/>
                </a:lnTo>
                <a:lnTo>
                  <a:pt x="77" y="1021"/>
                </a:lnTo>
                <a:lnTo>
                  <a:pt x="76" y="1026"/>
                </a:lnTo>
                <a:lnTo>
                  <a:pt x="73" y="1031"/>
                </a:lnTo>
                <a:close/>
                <a:moveTo>
                  <a:pt x="49" y="1084"/>
                </a:moveTo>
                <a:lnTo>
                  <a:pt x="49" y="1083"/>
                </a:lnTo>
                <a:lnTo>
                  <a:pt x="49" y="1082"/>
                </a:lnTo>
                <a:lnTo>
                  <a:pt x="53" y="1077"/>
                </a:lnTo>
                <a:lnTo>
                  <a:pt x="56" y="1073"/>
                </a:lnTo>
                <a:lnTo>
                  <a:pt x="53" y="1077"/>
                </a:lnTo>
                <a:lnTo>
                  <a:pt x="49" y="1082"/>
                </a:lnTo>
                <a:lnTo>
                  <a:pt x="49" y="1083"/>
                </a:lnTo>
                <a:lnTo>
                  <a:pt x="49" y="1084"/>
                </a:lnTo>
                <a:close/>
                <a:moveTo>
                  <a:pt x="39" y="1123"/>
                </a:moveTo>
                <a:lnTo>
                  <a:pt x="40" y="1119"/>
                </a:lnTo>
                <a:lnTo>
                  <a:pt x="39" y="1117"/>
                </a:lnTo>
                <a:lnTo>
                  <a:pt x="39" y="1114"/>
                </a:lnTo>
                <a:lnTo>
                  <a:pt x="39" y="1111"/>
                </a:lnTo>
                <a:lnTo>
                  <a:pt x="39" y="1114"/>
                </a:lnTo>
                <a:lnTo>
                  <a:pt x="39" y="1117"/>
                </a:lnTo>
                <a:lnTo>
                  <a:pt x="40" y="1119"/>
                </a:lnTo>
                <a:lnTo>
                  <a:pt x="39" y="1123"/>
                </a:lnTo>
                <a:close/>
                <a:moveTo>
                  <a:pt x="32" y="1172"/>
                </a:moveTo>
                <a:lnTo>
                  <a:pt x="28" y="1168"/>
                </a:lnTo>
                <a:lnTo>
                  <a:pt x="28" y="1164"/>
                </a:lnTo>
                <a:lnTo>
                  <a:pt x="28" y="1168"/>
                </a:lnTo>
                <a:lnTo>
                  <a:pt x="32" y="1172"/>
                </a:lnTo>
                <a:lnTo>
                  <a:pt x="32" y="1172"/>
                </a:lnTo>
                <a:close/>
                <a:moveTo>
                  <a:pt x="26" y="1151"/>
                </a:moveTo>
                <a:lnTo>
                  <a:pt x="25" y="1152"/>
                </a:lnTo>
                <a:lnTo>
                  <a:pt x="25" y="1153"/>
                </a:lnTo>
                <a:lnTo>
                  <a:pt x="25" y="1152"/>
                </a:lnTo>
                <a:lnTo>
                  <a:pt x="26" y="1151"/>
                </a:lnTo>
                <a:lnTo>
                  <a:pt x="27" y="1146"/>
                </a:lnTo>
                <a:lnTo>
                  <a:pt x="28" y="1142"/>
                </a:lnTo>
                <a:lnTo>
                  <a:pt x="27" y="1146"/>
                </a:lnTo>
                <a:lnTo>
                  <a:pt x="26" y="1151"/>
                </a:lnTo>
                <a:close/>
                <a:moveTo>
                  <a:pt x="29" y="1226"/>
                </a:moveTo>
                <a:lnTo>
                  <a:pt x="27" y="1233"/>
                </a:lnTo>
                <a:lnTo>
                  <a:pt x="26" y="1241"/>
                </a:lnTo>
                <a:lnTo>
                  <a:pt x="23" y="1240"/>
                </a:lnTo>
                <a:lnTo>
                  <a:pt x="23" y="1237"/>
                </a:lnTo>
                <a:lnTo>
                  <a:pt x="26" y="1228"/>
                </a:lnTo>
                <a:lnTo>
                  <a:pt x="28" y="1220"/>
                </a:lnTo>
                <a:lnTo>
                  <a:pt x="30" y="1222"/>
                </a:lnTo>
                <a:lnTo>
                  <a:pt x="29" y="1226"/>
                </a:lnTo>
                <a:close/>
                <a:moveTo>
                  <a:pt x="25" y="1248"/>
                </a:moveTo>
                <a:lnTo>
                  <a:pt x="22" y="1247"/>
                </a:lnTo>
                <a:lnTo>
                  <a:pt x="22" y="1244"/>
                </a:lnTo>
                <a:lnTo>
                  <a:pt x="23" y="1243"/>
                </a:lnTo>
                <a:lnTo>
                  <a:pt x="26" y="1243"/>
                </a:lnTo>
                <a:lnTo>
                  <a:pt x="26" y="1245"/>
                </a:lnTo>
                <a:lnTo>
                  <a:pt x="25" y="1248"/>
                </a:lnTo>
                <a:close/>
                <a:moveTo>
                  <a:pt x="1712" y="877"/>
                </a:moveTo>
                <a:lnTo>
                  <a:pt x="1712" y="877"/>
                </a:lnTo>
                <a:lnTo>
                  <a:pt x="1711" y="878"/>
                </a:lnTo>
                <a:lnTo>
                  <a:pt x="1707" y="878"/>
                </a:lnTo>
                <a:lnTo>
                  <a:pt x="1703" y="878"/>
                </a:lnTo>
                <a:lnTo>
                  <a:pt x="1699" y="873"/>
                </a:lnTo>
                <a:lnTo>
                  <a:pt x="1692" y="873"/>
                </a:lnTo>
                <a:lnTo>
                  <a:pt x="1687" y="873"/>
                </a:lnTo>
                <a:lnTo>
                  <a:pt x="1683" y="873"/>
                </a:lnTo>
                <a:lnTo>
                  <a:pt x="1678" y="873"/>
                </a:lnTo>
                <a:lnTo>
                  <a:pt x="1676" y="877"/>
                </a:lnTo>
                <a:lnTo>
                  <a:pt x="1673" y="878"/>
                </a:lnTo>
                <a:lnTo>
                  <a:pt x="1670" y="878"/>
                </a:lnTo>
                <a:lnTo>
                  <a:pt x="1669" y="878"/>
                </a:lnTo>
                <a:lnTo>
                  <a:pt x="1668" y="877"/>
                </a:lnTo>
                <a:lnTo>
                  <a:pt x="1670" y="874"/>
                </a:lnTo>
                <a:lnTo>
                  <a:pt x="1671" y="873"/>
                </a:lnTo>
                <a:lnTo>
                  <a:pt x="1679" y="867"/>
                </a:lnTo>
                <a:lnTo>
                  <a:pt x="1689" y="864"/>
                </a:lnTo>
                <a:lnTo>
                  <a:pt x="1702" y="867"/>
                </a:lnTo>
                <a:lnTo>
                  <a:pt x="1712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3" y="877"/>
                </a:lnTo>
                <a:lnTo>
                  <a:pt x="1712" y="877"/>
                </a:lnTo>
                <a:close/>
                <a:moveTo>
                  <a:pt x="1672" y="899"/>
                </a:moveTo>
                <a:lnTo>
                  <a:pt x="1671" y="900"/>
                </a:lnTo>
                <a:lnTo>
                  <a:pt x="1671" y="901"/>
                </a:lnTo>
                <a:lnTo>
                  <a:pt x="1671" y="900"/>
                </a:lnTo>
                <a:lnTo>
                  <a:pt x="1672" y="899"/>
                </a:lnTo>
                <a:lnTo>
                  <a:pt x="1682" y="893"/>
                </a:lnTo>
                <a:lnTo>
                  <a:pt x="1692" y="887"/>
                </a:lnTo>
                <a:lnTo>
                  <a:pt x="1682" y="893"/>
                </a:lnTo>
                <a:lnTo>
                  <a:pt x="1672" y="899"/>
                </a:lnTo>
                <a:close/>
                <a:moveTo>
                  <a:pt x="1666" y="902"/>
                </a:moveTo>
                <a:lnTo>
                  <a:pt x="1663" y="908"/>
                </a:lnTo>
                <a:lnTo>
                  <a:pt x="1658" y="912"/>
                </a:lnTo>
                <a:lnTo>
                  <a:pt x="1663" y="908"/>
                </a:lnTo>
                <a:lnTo>
                  <a:pt x="1666" y="902"/>
                </a:lnTo>
                <a:lnTo>
                  <a:pt x="1668" y="902"/>
                </a:lnTo>
                <a:lnTo>
                  <a:pt x="1669" y="901"/>
                </a:lnTo>
                <a:lnTo>
                  <a:pt x="1668" y="902"/>
                </a:lnTo>
                <a:lnTo>
                  <a:pt x="1666" y="902"/>
                </a:lnTo>
                <a:close/>
                <a:moveTo>
                  <a:pt x="1654" y="823"/>
                </a:moveTo>
                <a:lnTo>
                  <a:pt x="1647" y="823"/>
                </a:lnTo>
                <a:lnTo>
                  <a:pt x="1640" y="823"/>
                </a:lnTo>
                <a:lnTo>
                  <a:pt x="1647" y="823"/>
                </a:lnTo>
                <a:lnTo>
                  <a:pt x="1654" y="823"/>
                </a:lnTo>
                <a:lnTo>
                  <a:pt x="1659" y="826"/>
                </a:lnTo>
                <a:lnTo>
                  <a:pt x="1665" y="828"/>
                </a:lnTo>
                <a:lnTo>
                  <a:pt x="1659" y="826"/>
                </a:lnTo>
                <a:lnTo>
                  <a:pt x="1654" y="823"/>
                </a:lnTo>
                <a:close/>
                <a:moveTo>
                  <a:pt x="1637" y="884"/>
                </a:moveTo>
                <a:lnTo>
                  <a:pt x="1638" y="885"/>
                </a:lnTo>
                <a:lnTo>
                  <a:pt x="1640" y="885"/>
                </a:lnTo>
                <a:lnTo>
                  <a:pt x="1642" y="888"/>
                </a:lnTo>
                <a:lnTo>
                  <a:pt x="1644" y="892"/>
                </a:lnTo>
                <a:lnTo>
                  <a:pt x="1642" y="888"/>
                </a:lnTo>
                <a:lnTo>
                  <a:pt x="1640" y="885"/>
                </a:lnTo>
                <a:lnTo>
                  <a:pt x="1638" y="885"/>
                </a:lnTo>
                <a:lnTo>
                  <a:pt x="1637" y="884"/>
                </a:lnTo>
                <a:close/>
                <a:moveTo>
                  <a:pt x="1635" y="882"/>
                </a:moveTo>
                <a:lnTo>
                  <a:pt x="1635" y="882"/>
                </a:lnTo>
                <a:lnTo>
                  <a:pt x="1634" y="882"/>
                </a:lnTo>
                <a:lnTo>
                  <a:pt x="1635" y="882"/>
                </a:lnTo>
                <a:lnTo>
                  <a:pt x="1635" y="882"/>
                </a:lnTo>
                <a:lnTo>
                  <a:pt x="1635" y="882"/>
                </a:lnTo>
                <a:close/>
                <a:moveTo>
                  <a:pt x="1631" y="878"/>
                </a:moveTo>
                <a:lnTo>
                  <a:pt x="1631" y="875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2"/>
                </a:lnTo>
                <a:lnTo>
                  <a:pt x="1631" y="873"/>
                </a:lnTo>
                <a:lnTo>
                  <a:pt x="1631" y="873"/>
                </a:lnTo>
                <a:lnTo>
                  <a:pt x="1631" y="875"/>
                </a:lnTo>
                <a:lnTo>
                  <a:pt x="1631" y="878"/>
                </a:lnTo>
                <a:close/>
                <a:moveTo>
                  <a:pt x="1626" y="857"/>
                </a:moveTo>
                <a:lnTo>
                  <a:pt x="1623" y="858"/>
                </a:lnTo>
                <a:lnTo>
                  <a:pt x="1622" y="859"/>
                </a:lnTo>
                <a:lnTo>
                  <a:pt x="1623" y="858"/>
                </a:lnTo>
                <a:lnTo>
                  <a:pt x="1626" y="857"/>
                </a:lnTo>
                <a:lnTo>
                  <a:pt x="1626" y="856"/>
                </a:lnTo>
                <a:lnTo>
                  <a:pt x="1626" y="856"/>
                </a:lnTo>
                <a:lnTo>
                  <a:pt x="1624" y="856"/>
                </a:lnTo>
                <a:lnTo>
                  <a:pt x="1623" y="854"/>
                </a:lnTo>
                <a:lnTo>
                  <a:pt x="1624" y="856"/>
                </a:lnTo>
                <a:lnTo>
                  <a:pt x="1626" y="856"/>
                </a:lnTo>
                <a:lnTo>
                  <a:pt x="1626" y="856"/>
                </a:lnTo>
                <a:lnTo>
                  <a:pt x="1626" y="857"/>
                </a:lnTo>
                <a:close/>
                <a:moveTo>
                  <a:pt x="1614" y="857"/>
                </a:moveTo>
                <a:lnTo>
                  <a:pt x="1616" y="857"/>
                </a:lnTo>
                <a:lnTo>
                  <a:pt x="1619" y="856"/>
                </a:lnTo>
                <a:lnTo>
                  <a:pt x="1616" y="857"/>
                </a:lnTo>
                <a:lnTo>
                  <a:pt x="1614" y="857"/>
                </a:lnTo>
                <a:close/>
                <a:moveTo>
                  <a:pt x="1610" y="861"/>
                </a:moveTo>
                <a:lnTo>
                  <a:pt x="1611" y="864"/>
                </a:lnTo>
                <a:lnTo>
                  <a:pt x="1614" y="867"/>
                </a:lnTo>
                <a:lnTo>
                  <a:pt x="1611" y="864"/>
                </a:lnTo>
                <a:lnTo>
                  <a:pt x="1610" y="861"/>
                </a:lnTo>
                <a:close/>
                <a:moveTo>
                  <a:pt x="1606" y="844"/>
                </a:moveTo>
                <a:lnTo>
                  <a:pt x="1606" y="846"/>
                </a:lnTo>
                <a:lnTo>
                  <a:pt x="1606" y="849"/>
                </a:lnTo>
                <a:lnTo>
                  <a:pt x="1606" y="846"/>
                </a:lnTo>
                <a:lnTo>
                  <a:pt x="1606" y="844"/>
                </a:lnTo>
                <a:lnTo>
                  <a:pt x="1608" y="844"/>
                </a:lnTo>
                <a:lnTo>
                  <a:pt x="1610" y="843"/>
                </a:lnTo>
                <a:lnTo>
                  <a:pt x="1608" y="844"/>
                </a:lnTo>
                <a:lnTo>
                  <a:pt x="1606" y="844"/>
                </a:lnTo>
                <a:close/>
                <a:moveTo>
                  <a:pt x="1602" y="870"/>
                </a:moveTo>
                <a:lnTo>
                  <a:pt x="1602" y="871"/>
                </a:lnTo>
                <a:lnTo>
                  <a:pt x="1601" y="873"/>
                </a:lnTo>
                <a:lnTo>
                  <a:pt x="1602" y="871"/>
                </a:lnTo>
                <a:lnTo>
                  <a:pt x="1602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1" y="870"/>
                </a:lnTo>
                <a:lnTo>
                  <a:pt x="1602" y="870"/>
                </a:lnTo>
                <a:lnTo>
                  <a:pt x="1604" y="870"/>
                </a:lnTo>
                <a:lnTo>
                  <a:pt x="1607" y="867"/>
                </a:lnTo>
                <a:lnTo>
                  <a:pt x="1604" y="870"/>
                </a:lnTo>
                <a:lnTo>
                  <a:pt x="1602" y="870"/>
                </a:lnTo>
                <a:close/>
                <a:moveTo>
                  <a:pt x="1596" y="941"/>
                </a:moveTo>
                <a:lnTo>
                  <a:pt x="1595" y="942"/>
                </a:lnTo>
                <a:lnTo>
                  <a:pt x="1594" y="943"/>
                </a:lnTo>
                <a:lnTo>
                  <a:pt x="1593" y="936"/>
                </a:lnTo>
                <a:lnTo>
                  <a:pt x="1593" y="930"/>
                </a:lnTo>
                <a:lnTo>
                  <a:pt x="1594" y="928"/>
                </a:lnTo>
                <a:lnTo>
                  <a:pt x="1595" y="928"/>
                </a:lnTo>
                <a:lnTo>
                  <a:pt x="1596" y="928"/>
                </a:lnTo>
                <a:lnTo>
                  <a:pt x="1597" y="929"/>
                </a:lnTo>
                <a:lnTo>
                  <a:pt x="1599" y="931"/>
                </a:lnTo>
                <a:lnTo>
                  <a:pt x="1599" y="933"/>
                </a:lnTo>
                <a:lnTo>
                  <a:pt x="1602" y="937"/>
                </a:lnTo>
                <a:lnTo>
                  <a:pt x="1596" y="941"/>
                </a:lnTo>
                <a:close/>
                <a:moveTo>
                  <a:pt x="1590" y="797"/>
                </a:moveTo>
                <a:lnTo>
                  <a:pt x="1589" y="800"/>
                </a:lnTo>
                <a:lnTo>
                  <a:pt x="1589" y="801"/>
                </a:lnTo>
                <a:lnTo>
                  <a:pt x="1582" y="801"/>
                </a:lnTo>
                <a:lnTo>
                  <a:pt x="1576" y="803"/>
                </a:lnTo>
                <a:lnTo>
                  <a:pt x="1582" y="801"/>
                </a:lnTo>
                <a:lnTo>
                  <a:pt x="1589" y="801"/>
                </a:lnTo>
                <a:lnTo>
                  <a:pt x="1589" y="800"/>
                </a:lnTo>
                <a:lnTo>
                  <a:pt x="1590" y="797"/>
                </a:lnTo>
                <a:lnTo>
                  <a:pt x="1586" y="798"/>
                </a:lnTo>
                <a:lnTo>
                  <a:pt x="1581" y="797"/>
                </a:lnTo>
                <a:lnTo>
                  <a:pt x="1586" y="798"/>
                </a:lnTo>
                <a:lnTo>
                  <a:pt x="1590" y="797"/>
                </a:lnTo>
                <a:lnTo>
                  <a:pt x="1594" y="797"/>
                </a:lnTo>
                <a:lnTo>
                  <a:pt x="1596" y="798"/>
                </a:lnTo>
                <a:lnTo>
                  <a:pt x="1594" y="797"/>
                </a:lnTo>
                <a:lnTo>
                  <a:pt x="1590" y="797"/>
                </a:lnTo>
                <a:close/>
                <a:moveTo>
                  <a:pt x="1596" y="877"/>
                </a:moveTo>
                <a:lnTo>
                  <a:pt x="1595" y="875"/>
                </a:lnTo>
                <a:lnTo>
                  <a:pt x="1595" y="874"/>
                </a:lnTo>
                <a:lnTo>
                  <a:pt x="1596" y="873"/>
                </a:lnTo>
                <a:lnTo>
                  <a:pt x="1597" y="873"/>
                </a:lnTo>
                <a:lnTo>
                  <a:pt x="1596" y="873"/>
                </a:lnTo>
                <a:lnTo>
                  <a:pt x="1595" y="874"/>
                </a:lnTo>
                <a:lnTo>
                  <a:pt x="1595" y="875"/>
                </a:lnTo>
                <a:lnTo>
                  <a:pt x="1596" y="877"/>
                </a:lnTo>
                <a:close/>
                <a:moveTo>
                  <a:pt x="1571" y="781"/>
                </a:moveTo>
                <a:lnTo>
                  <a:pt x="1560" y="784"/>
                </a:lnTo>
                <a:lnTo>
                  <a:pt x="1550" y="787"/>
                </a:lnTo>
                <a:lnTo>
                  <a:pt x="1560" y="784"/>
                </a:lnTo>
                <a:lnTo>
                  <a:pt x="1571" y="781"/>
                </a:lnTo>
                <a:lnTo>
                  <a:pt x="1587" y="781"/>
                </a:lnTo>
                <a:lnTo>
                  <a:pt x="1603" y="781"/>
                </a:lnTo>
                <a:lnTo>
                  <a:pt x="1587" y="781"/>
                </a:lnTo>
                <a:lnTo>
                  <a:pt x="1571" y="781"/>
                </a:lnTo>
                <a:close/>
                <a:moveTo>
                  <a:pt x="1558" y="815"/>
                </a:moveTo>
                <a:lnTo>
                  <a:pt x="1564" y="814"/>
                </a:lnTo>
                <a:lnTo>
                  <a:pt x="1567" y="811"/>
                </a:lnTo>
                <a:lnTo>
                  <a:pt x="1564" y="814"/>
                </a:lnTo>
                <a:lnTo>
                  <a:pt x="1558" y="815"/>
                </a:lnTo>
                <a:close/>
                <a:moveTo>
                  <a:pt x="1544" y="733"/>
                </a:moveTo>
                <a:lnTo>
                  <a:pt x="1537" y="731"/>
                </a:lnTo>
                <a:lnTo>
                  <a:pt x="1530" y="731"/>
                </a:lnTo>
                <a:lnTo>
                  <a:pt x="1537" y="731"/>
                </a:lnTo>
                <a:lnTo>
                  <a:pt x="1544" y="733"/>
                </a:lnTo>
                <a:lnTo>
                  <a:pt x="1550" y="737"/>
                </a:lnTo>
                <a:lnTo>
                  <a:pt x="1555" y="738"/>
                </a:lnTo>
                <a:lnTo>
                  <a:pt x="1550" y="737"/>
                </a:lnTo>
                <a:lnTo>
                  <a:pt x="1544" y="733"/>
                </a:lnTo>
                <a:close/>
                <a:moveTo>
                  <a:pt x="1526" y="744"/>
                </a:moveTo>
                <a:lnTo>
                  <a:pt x="1526" y="745"/>
                </a:lnTo>
                <a:lnTo>
                  <a:pt x="1526" y="747"/>
                </a:lnTo>
                <a:lnTo>
                  <a:pt x="1526" y="745"/>
                </a:lnTo>
                <a:lnTo>
                  <a:pt x="1526" y="744"/>
                </a:lnTo>
                <a:lnTo>
                  <a:pt x="1535" y="744"/>
                </a:lnTo>
                <a:lnTo>
                  <a:pt x="1546" y="742"/>
                </a:lnTo>
                <a:lnTo>
                  <a:pt x="1535" y="744"/>
                </a:lnTo>
                <a:lnTo>
                  <a:pt x="1526" y="744"/>
                </a:lnTo>
                <a:close/>
                <a:moveTo>
                  <a:pt x="1540" y="725"/>
                </a:moveTo>
                <a:lnTo>
                  <a:pt x="1538" y="725"/>
                </a:lnTo>
                <a:lnTo>
                  <a:pt x="1535" y="726"/>
                </a:lnTo>
                <a:lnTo>
                  <a:pt x="1538" y="725"/>
                </a:lnTo>
                <a:lnTo>
                  <a:pt x="1540" y="725"/>
                </a:lnTo>
                <a:close/>
                <a:moveTo>
                  <a:pt x="1580" y="773"/>
                </a:moveTo>
                <a:lnTo>
                  <a:pt x="1581" y="775"/>
                </a:lnTo>
                <a:lnTo>
                  <a:pt x="1583" y="775"/>
                </a:lnTo>
                <a:lnTo>
                  <a:pt x="1581" y="775"/>
                </a:lnTo>
                <a:lnTo>
                  <a:pt x="1580" y="773"/>
                </a:lnTo>
                <a:lnTo>
                  <a:pt x="1573" y="772"/>
                </a:lnTo>
                <a:lnTo>
                  <a:pt x="1565" y="770"/>
                </a:lnTo>
                <a:lnTo>
                  <a:pt x="1573" y="772"/>
                </a:lnTo>
                <a:lnTo>
                  <a:pt x="1580" y="773"/>
                </a:lnTo>
                <a:close/>
                <a:moveTo>
                  <a:pt x="1607" y="773"/>
                </a:moveTo>
                <a:lnTo>
                  <a:pt x="1609" y="774"/>
                </a:lnTo>
                <a:lnTo>
                  <a:pt x="1613" y="776"/>
                </a:lnTo>
                <a:lnTo>
                  <a:pt x="1609" y="774"/>
                </a:lnTo>
                <a:lnTo>
                  <a:pt x="1607" y="773"/>
                </a:lnTo>
                <a:lnTo>
                  <a:pt x="1602" y="776"/>
                </a:lnTo>
                <a:lnTo>
                  <a:pt x="1596" y="776"/>
                </a:lnTo>
                <a:lnTo>
                  <a:pt x="1602" y="776"/>
                </a:lnTo>
                <a:lnTo>
                  <a:pt x="1607" y="773"/>
                </a:lnTo>
                <a:close/>
                <a:moveTo>
                  <a:pt x="1614" y="795"/>
                </a:moveTo>
                <a:lnTo>
                  <a:pt x="1613" y="794"/>
                </a:lnTo>
                <a:lnTo>
                  <a:pt x="1611" y="794"/>
                </a:lnTo>
                <a:lnTo>
                  <a:pt x="1613" y="794"/>
                </a:lnTo>
                <a:lnTo>
                  <a:pt x="1614" y="795"/>
                </a:lnTo>
                <a:close/>
                <a:moveTo>
                  <a:pt x="1623" y="796"/>
                </a:moveTo>
                <a:lnTo>
                  <a:pt x="1619" y="796"/>
                </a:lnTo>
                <a:lnTo>
                  <a:pt x="1614" y="796"/>
                </a:lnTo>
                <a:lnTo>
                  <a:pt x="1614" y="796"/>
                </a:lnTo>
                <a:lnTo>
                  <a:pt x="1619" y="796"/>
                </a:lnTo>
                <a:lnTo>
                  <a:pt x="1623" y="796"/>
                </a:lnTo>
                <a:close/>
                <a:moveTo>
                  <a:pt x="1604" y="860"/>
                </a:moveTo>
                <a:lnTo>
                  <a:pt x="1603" y="861"/>
                </a:lnTo>
                <a:lnTo>
                  <a:pt x="1602" y="860"/>
                </a:lnTo>
                <a:lnTo>
                  <a:pt x="1603" y="861"/>
                </a:lnTo>
                <a:lnTo>
                  <a:pt x="1604" y="860"/>
                </a:lnTo>
                <a:lnTo>
                  <a:pt x="1604" y="860"/>
                </a:lnTo>
                <a:lnTo>
                  <a:pt x="1606" y="859"/>
                </a:lnTo>
                <a:lnTo>
                  <a:pt x="1606" y="859"/>
                </a:lnTo>
                <a:lnTo>
                  <a:pt x="1604" y="860"/>
                </a:lnTo>
                <a:lnTo>
                  <a:pt x="1604" y="860"/>
                </a:lnTo>
                <a:close/>
                <a:moveTo>
                  <a:pt x="1637" y="823"/>
                </a:moveTo>
                <a:lnTo>
                  <a:pt x="1643" y="821"/>
                </a:lnTo>
                <a:lnTo>
                  <a:pt x="1648" y="819"/>
                </a:lnTo>
                <a:lnTo>
                  <a:pt x="1643" y="821"/>
                </a:lnTo>
                <a:lnTo>
                  <a:pt x="1637" y="823"/>
                </a:lnTo>
                <a:lnTo>
                  <a:pt x="1627" y="825"/>
                </a:lnTo>
                <a:lnTo>
                  <a:pt x="1615" y="829"/>
                </a:lnTo>
                <a:lnTo>
                  <a:pt x="1627" y="825"/>
                </a:lnTo>
                <a:lnTo>
                  <a:pt x="1637" y="823"/>
                </a:lnTo>
                <a:close/>
                <a:moveTo>
                  <a:pt x="1628" y="804"/>
                </a:moveTo>
                <a:lnTo>
                  <a:pt x="1630" y="805"/>
                </a:lnTo>
                <a:lnTo>
                  <a:pt x="1631" y="805"/>
                </a:lnTo>
                <a:lnTo>
                  <a:pt x="1630" y="805"/>
                </a:lnTo>
                <a:lnTo>
                  <a:pt x="1628" y="805"/>
                </a:lnTo>
                <a:lnTo>
                  <a:pt x="1628" y="804"/>
                </a:lnTo>
                <a:close/>
                <a:moveTo>
                  <a:pt x="1664" y="873"/>
                </a:moveTo>
                <a:lnTo>
                  <a:pt x="1664" y="873"/>
                </a:lnTo>
                <a:lnTo>
                  <a:pt x="1663" y="872"/>
                </a:lnTo>
                <a:lnTo>
                  <a:pt x="1663" y="872"/>
                </a:lnTo>
                <a:lnTo>
                  <a:pt x="1664" y="873"/>
                </a:lnTo>
                <a:lnTo>
                  <a:pt x="1664" y="873"/>
                </a:lnTo>
                <a:lnTo>
                  <a:pt x="1665" y="873"/>
                </a:lnTo>
                <a:lnTo>
                  <a:pt x="1665" y="872"/>
                </a:lnTo>
                <a:lnTo>
                  <a:pt x="1666" y="872"/>
                </a:lnTo>
                <a:lnTo>
                  <a:pt x="1668" y="871"/>
                </a:lnTo>
                <a:lnTo>
                  <a:pt x="1666" y="872"/>
                </a:lnTo>
                <a:lnTo>
                  <a:pt x="1665" y="872"/>
                </a:lnTo>
                <a:lnTo>
                  <a:pt x="1665" y="873"/>
                </a:lnTo>
                <a:lnTo>
                  <a:pt x="1664" y="873"/>
                </a:lnTo>
                <a:close/>
                <a:moveTo>
                  <a:pt x="1671" y="825"/>
                </a:moveTo>
                <a:lnTo>
                  <a:pt x="1669" y="826"/>
                </a:lnTo>
                <a:lnTo>
                  <a:pt x="1666" y="828"/>
                </a:lnTo>
                <a:lnTo>
                  <a:pt x="1669" y="826"/>
                </a:lnTo>
                <a:lnTo>
                  <a:pt x="1671" y="825"/>
                </a:lnTo>
                <a:close/>
                <a:moveTo>
                  <a:pt x="1586" y="882"/>
                </a:moveTo>
                <a:lnTo>
                  <a:pt x="1587" y="882"/>
                </a:lnTo>
                <a:lnTo>
                  <a:pt x="1589" y="882"/>
                </a:lnTo>
                <a:lnTo>
                  <a:pt x="1589" y="882"/>
                </a:lnTo>
                <a:lnTo>
                  <a:pt x="1587" y="882"/>
                </a:lnTo>
                <a:lnTo>
                  <a:pt x="1586" y="882"/>
                </a:lnTo>
                <a:close/>
                <a:moveTo>
                  <a:pt x="1576" y="912"/>
                </a:moveTo>
                <a:lnTo>
                  <a:pt x="1576" y="915"/>
                </a:lnTo>
                <a:lnTo>
                  <a:pt x="1576" y="920"/>
                </a:lnTo>
                <a:lnTo>
                  <a:pt x="1576" y="915"/>
                </a:lnTo>
                <a:lnTo>
                  <a:pt x="1576" y="912"/>
                </a:lnTo>
                <a:lnTo>
                  <a:pt x="1578" y="912"/>
                </a:lnTo>
                <a:lnTo>
                  <a:pt x="1579" y="912"/>
                </a:lnTo>
                <a:lnTo>
                  <a:pt x="1578" y="912"/>
                </a:lnTo>
                <a:lnTo>
                  <a:pt x="1576" y="912"/>
                </a:lnTo>
                <a:close/>
                <a:moveTo>
                  <a:pt x="1521" y="814"/>
                </a:moveTo>
                <a:lnTo>
                  <a:pt x="1521" y="816"/>
                </a:lnTo>
                <a:lnTo>
                  <a:pt x="1518" y="817"/>
                </a:lnTo>
                <a:lnTo>
                  <a:pt x="1516" y="817"/>
                </a:lnTo>
                <a:lnTo>
                  <a:pt x="1513" y="817"/>
                </a:lnTo>
                <a:lnTo>
                  <a:pt x="1513" y="816"/>
                </a:lnTo>
                <a:lnTo>
                  <a:pt x="1513" y="814"/>
                </a:lnTo>
                <a:lnTo>
                  <a:pt x="1516" y="812"/>
                </a:lnTo>
                <a:lnTo>
                  <a:pt x="1518" y="812"/>
                </a:lnTo>
                <a:lnTo>
                  <a:pt x="1519" y="811"/>
                </a:lnTo>
                <a:lnTo>
                  <a:pt x="1521" y="811"/>
                </a:lnTo>
                <a:lnTo>
                  <a:pt x="1523" y="812"/>
                </a:lnTo>
                <a:lnTo>
                  <a:pt x="1521" y="814"/>
                </a:lnTo>
                <a:close/>
                <a:moveTo>
                  <a:pt x="1507" y="731"/>
                </a:moveTo>
                <a:lnTo>
                  <a:pt x="1514" y="731"/>
                </a:lnTo>
                <a:lnTo>
                  <a:pt x="1521" y="731"/>
                </a:lnTo>
                <a:lnTo>
                  <a:pt x="1514" y="731"/>
                </a:lnTo>
                <a:lnTo>
                  <a:pt x="1507" y="731"/>
                </a:lnTo>
                <a:close/>
                <a:moveTo>
                  <a:pt x="1498" y="712"/>
                </a:move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lnTo>
                  <a:pt x="1498" y="712"/>
                </a:lnTo>
                <a:close/>
                <a:moveTo>
                  <a:pt x="1493" y="712"/>
                </a:moveTo>
                <a:lnTo>
                  <a:pt x="1495" y="712"/>
                </a:lnTo>
                <a:lnTo>
                  <a:pt x="1496" y="712"/>
                </a:lnTo>
                <a:lnTo>
                  <a:pt x="1495" y="712"/>
                </a:lnTo>
                <a:lnTo>
                  <a:pt x="1493" y="712"/>
                </a:lnTo>
                <a:close/>
                <a:moveTo>
                  <a:pt x="1489" y="770"/>
                </a:moveTo>
                <a:lnTo>
                  <a:pt x="1489" y="770"/>
                </a:lnTo>
                <a:lnTo>
                  <a:pt x="1488" y="768"/>
                </a:lnTo>
                <a:lnTo>
                  <a:pt x="1489" y="766"/>
                </a:lnTo>
                <a:lnTo>
                  <a:pt x="1491" y="765"/>
                </a:lnTo>
                <a:lnTo>
                  <a:pt x="1493" y="765"/>
                </a:lnTo>
                <a:lnTo>
                  <a:pt x="1495" y="766"/>
                </a:lnTo>
                <a:lnTo>
                  <a:pt x="1492" y="768"/>
                </a:lnTo>
                <a:lnTo>
                  <a:pt x="1489" y="770"/>
                </a:lnTo>
                <a:close/>
                <a:moveTo>
                  <a:pt x="1488" y="710"/>
                </a:moveTo>
                <a:lnTo>
                  <a:pt x="1489" y="710"/>
                </a:lnTo>
                <a:lnTo>
                  <a:pt x="1491" y="710"/>
                </a:lnTo>
                <a:lnTo>
                  <a:pt x="1489" y="710"/>
                </a:lnTo>
                <a:lnTo>
                  <a:pt x="1488" y="710"/>
                </a:lnTo>
                <a:close/>
                <a:moveTo>
                  <a:pt x="1469" y="713"/>
                </a:moveTo>
                <a:lnTo>
                  <a:pt x="1469" y="716"/>
                </a:lnTo>
                <a:lnTo>
                  <a:pt x="1469" y="718"/>
                </a:lnTo>
                <a:lnTo>
                  <a:pt x="1469" y="716"/>
                </a:lnTo>
                <a:lnTo>
                  <a:pt x="1469" y="713"/>
                </a:lnTo>
                <a:close/>
                <a:moveTo>
                  <a:pt x="1466" y="704"/>
                </a:moveTo>
                <a:lnTo>
                  <a:pt x="1465" y="704"/>
                </a:lnTo>
                <a:lnTo>
                  <a:pt x="1465" y="704"/>
                </a:lnTo>
                <a:lnTo>
                  <a:pt x="1465" y="704"/>
                </a:lnTo>
                <a:lnTo>
                  <a:pt x="1466" y="704"/>
                </a:lnTo>
                <a:lnTo>
                  <a:pt x="1466" y="703"/>
                </a:lnTo>
                <a:lnTo>
                  <a:pt x="1468" y="702"/>
                </a:lnTo>
                <a:lnTo>
                  <a:pt x="1466" y="703"/>
                </a:lnTo>
                <a:lnTo>
                  <a:pt x="1466" y="704"/>
                </a:lnTo>
                <a:close/>
                <a:moveTo>
                  <a:pt x="1369" y="704"/>
                </a:moveTo>
                <a:lnTo>
                  <a:pt x="1368" y="704"/>
                </a:lnTo>
                <a:lnTo>
                  <a:pt x="1368" y="704"/>
                </a:lnTo>
                <a:lnTo>
                  <a:pt x="1368" y="704"/>
                </a:lnTo>
                <a:lnTo>
                  <a:pt x="1368" y="703"/>
                </a:lnTo>
                <a:lnTo>
                  <a:pt x="1368" y="700"/>
                </a:lnTo>
                <a:lnTo>
                  <a:pt x="1365" y="700"/>
                </a:lnTo>
                <a:lnTo>
                  <a:pt x="1364" y="699"/>
                </a:lnTo>
                <a:lnTo>
                  <a:pt x="1365" y="700"/>
                </a:lnTo>
                <a:lnTo>
                  <a:pt x="1368" y="700"/>
                </a:lnTo>
                <a:lnTo>
                  <a:pt x="1369" y="702"/>
                </a:lnTo>
                <a:lnTo>
                  <a:pt x="1369" y="704"/>
                </a:lnTo>
                <a:close/>
                <a:moveTo>
                  <a:pt x="1264" y="696"/>
                </a:moveTo>
                <a:lnTo>
                  <a:pt x="1267" y="690"/>
                </a:lnTo>
                <a:lnTo>
                  <a:pt x="1272" y="686"/>
                </a:lnTo>
                <a:lnTo>
                  <a:pt x="1270" y="693"/>
                </a:lnTo>
                <a:lnTo>
                  <a:pt x="1264" y="696"/>
                </a:lnTo>
                <a:close/>
                <a:moveTo>
                  <a:pt x="1265" y="658"/>
                </a:moveTo>
                <a:lnTo>
                  <a:pt x="1267" y="658"/>
                </a:lnTo>
                <a:lnTo>
                  <a:pt x="1267" y="657"/>
                </a:lnTo>
                <a:lnTo>
                  <a:pt x="1267" y="658"/>
                </a:lnTo>
                <a:lnTo>
                  <a:pt x="1265" y="658"/>
                </a:lnTo>
                <a:close/>
                <a:moveTo>
                  <a:pt x="1271" y="671"/>
                </a:moveTo>
                <a:lnTo>
                  <a:pt x="1270" y="672"/>
                </a:lnTo>
                <a:lnTo>
                  <a:pt x="1269" y="674"/>
                </a:lnTo>
                <a:lnTo>
                  <a:pt x="1270" y="672"/>
                </a:lnTo>
                <a:lnTo>
                  <a:pt x="1271" y="671"/>
                </a:lnTo>
                <a:close/>
                <a:moveTo>
                  <a:pt x="1238" y="747"/>
                </a:moveTo>
                <a:lnTo>
                  <a:pt x="1234" y="753"/>
                </a:lnTo>
                <a:lnTo>
                  <a:pt x="1228" y="752"/>
                </a:lnTo>
                <a:lnTo>
                  <a:pt x="1224" y="751"/>
                </a:lnTo>
                <a:lnTo>
                  <a:pt x="1221" y="751"/>
                </a:lnTo>
                <a:lnTo>
                  <a:pt x="1222" y="754"/>
                </a:lnTo>
                <a:lnTo>
                  <a:pt x="1221" y="759"/>
                </a:lnTo>
                <a:lnTo>
                  <a:pt x="1220" y="759"/>
                </a:lnTo>
                <a:lnTo>
                  <a:pt x="1219" y="759"/>
                </a:lnTo>
                <a:lnTo>
                  <a:pt x="1219" y="760"/>
                </a:lnTo>
                <a:lnTo>
                  <a:pt x="1219" y="760"/>
                </a:lnTo>
                <a:lnTo>
                  <a:pt x="1220" y="760"/>
                </a:lnTo>
                <a:lnTo>
                  <a:pt x="1221" y="759"/>
                </a:lnTo>
                <a:lnTo>
                  <a:pt x="1224" y="759"/>
                </a:lnTo>
                <a:lnTo>
                  <a:pt x="1227" y="761"/>
                </a:lnTo>
                <a:lnTo>
                  <a:pt x="1224" y="763"/>
                </a:lnTo>
                <a:lnTo>
                  <a:pt x="1222" y="763"/>
                </a:lnTo>
                <a:lnTo>
                  <a:pt x="1216" y="766"/>
                </a:lnTo>
                <a:lnTo>
                  <a:pt x="1210" y="769"/>
                </a:lnTo>
                <a:lnTo>
                  <a:pt x="1208" y="770"/>
                </a:lnTo>
                <a:lnTo>
                  <a:pt x="1205" y="772"/>
                </a:lnTo>
                <a:lnTo>
                  <a:pt x="1205" y="772"/>
                </a:lnTo>
                <a:lnTo>
                  <a:pt x="1203" y="772"/>
                </a:lnTo>
                <a:lnTo>
                  <a:pt x="1205" y="772"/>
                </a:lnTo>
                <a:lnTo>
                  <a:pt x="1205" y="772"/>
                </a:lnTo>
                <a:lnTo>
                  <a:pt x="1210" y="761"/>
                </a:lnTo>
                <a:lnTo>
                  <a:pt x="1217" y="752"/>
                </a:lnTo>
                <a:lnTo>
                  <a:pt x="1219" y="751"/>
                </a:lnTo>
                <a:lnTo>
                  <a:pt x="1221" y="749"/>
                </a:lnTo>
                <a:lnTo>
                  <a:pt x="1226" y="745"/>
                </a:lnTo>
                <a:lnTo>
                  <a:pt x="1231" y="740"/>
                </a:lnTo>
                <a:lnTo>
                  <a:pt x="1233" y="738"/>
                </a:lnTo>
                <a:lnTo>
                  <a:pt x="1235" y="739"/>
                </a:lnTo>
                <a:lnTo>
                  <a:pt x="1235" y="740"/>
                </a:lnTo>
                <a:lnTo>
                  <a:pt x="1234" y="742"/>
                </a:lnTo>
                <a:lnTo>
                  <a:pt x="1231" y="744"/>
                </a:lnTo>
                <a:lnTo>
                  <a:pt x="1229" y="746"/>
                </a:lnTo>
                <a:lnTo>
                  <a:pt x="1234" y="748"/>
                </a:lnTo>
                <a:lnTo>
                  <a:pt x="1238" y="747"/>
                </a:lnTo>
                <a:close/>
                <a:moveTo>
                  <a:pt x="1195" y="765"/>
                </a:moveTo>
                <a:lnTo>
                  <a:pt x="1198" y="763"/>
                </a:lnTo>
                <a:lnTo>
                  <a:pt x="1200" y="762"/>
                </a:lnTo>
                <a:lnTo>
                  <a:pt x="1200" y="762"/>
                </a:lnTo>
                <a:lnTo>
                  <a:pt x="1202" y="762"/>
                </a:lnTo>
                <a:lnTo>
                  <a:pt x="1203" y="763"/>
                </a:lnTo>
                <a:lnTo>
                  <a:pt x="1199" y="766"/>
                </a:lnTo>
                <a:lnTo>
                  <a:pt x="1195" y="765"/>
                </a:lnTo>
                <a:close/>
                <a:moveTo>
                  <a:pt x="1250" y="748"/>
                </a:moveTo>
                <a:lnTo>
                  <a:pt x="1251" y="748"/>
                </a:lnTo>
                <a:lnTo>
                  <a:pt x="1251" y="748"/>
                </a:lnTo>
                <a:lnTo>
                  <a:pt x="1251" y="749"/>
                </a:lnTo>
                <a:lnTo>
                  <a:pt x="1251" y="749"/>
                </a:lnTo>
                <a:lnTo>
                  <a:pt x="1250" y="749"/>
                </a:lnTo>
                <a:lnTo>
                  <a:pt x="1250" y="749"/>
                </a:lnTo>
                <a:lnTo>
                  <a:pt x="1250" y="748"/>
                </a:lnTo>
                <a:lnTo>
                  <a:pt x="1250" y="748"/>
                </a:lnTo>
                <a:close/>
                <a:moveTo>
                  <a:pt x="1188" y="783"/>
                </a:moveTo>
                <a:lnTo>
                  <a:pt x="1187" y="783"/>
                </a:lnTo>
                <a:lnTo>
                  <a:pt x="1187" y="782"/>
                </a:lnTo>
                <a:lnTo>
                  <a:pt x="1187" y="780"/>
                </a:lnTo>
                <a:lnTo>
                  <a:pt x="1189" y="780"/>
                </a:lnTo>
                <a:lnTo>
                  <a:pt x="1191" y="780"/>
                </a:lnTo>
                <a:lnTo>
                  <a:pt x="1191" y="781"/>
                </a:lnTo>
                <a:lnTo>
                  <a:pt x="1189" y="782"/>
                </a:lnTo>
                <a:lnTo>
                  <a:pt x="1188" y="783"/>
                </a:lnTo>
                <a:close/>
                <a:moveTo>
                  <a:pt x="1178" y="776"/>
                </a:moveTo>
                <a:lnTo>
                  <a:pt x="1182" y="773"/>
                </a:lnTo>
                <a:lnTo>
                  <a:pt x="1188" y="773"/>
                </a:lnTo>
                <a:lnTo>
                  <a:pt x="1191" y="774"/>
                </a:lnTo>
                <a:lnTo>
                  <a:pt x="1191" y="775"/>
                </a:lnTo>
                <a:lnTo>
                  <a:pt x="1189" y="777"/>
                </a:lnTo>
                <a:lnTo>
                  <a:pt x="1187" y="776"/>
                </a:lnTo>
                <a:lnTo>
                  <a:pt x="1182" y="776"/>
                </a:lnTo>
                <a:lnTo>
                  <a:pt x="1178" y="77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/>
              <a:t>wrwq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3F4F032-1A7C-5846-BB61-A0266ACBB88B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DE5DD4C-FBC1-974D-94F7-5DAC99E05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836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A2CEEA9B-F802-4D44-B3FA-28E4322812F7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1464395" y="342070"/>
            <a:ext cx="9865096" cy="13033448"/>
          </a:xfrm>
          <a:custGeom>
            <a:avLst/>
            <a:gdLst>
              <a:gd name="T0" fmla="*/ 112 w 920"/>
              <a:gd name="T1" fmla="*/ 227 h 1464"/>
              <a:gd name="T2" fmla="*/ 533 w 920"/>
              <a:gd name="T3" fmla="*/ 230 h 1464"/>
              <a:gd name="T4" fmla="*/ 512 w 920"/>
              <a:gd name="T5" fmla="*/ 224 h 1464"/>
              <a:gd name="T6" fmla="*/ 442 w 920"/>
              <a:gd name="T7" fmla="*/ 250 h 1464"/>
              <a:gd name="T8" fmla="*/ 415 w 920"/>
              <a:gd name="T9" fmla="*/ 225 h 1464"/>
              <a:gd name="T10" fmla="*/ 394 w 920"/>
              <a:gd name="T11" fmla="*/ 252 h 1464"/>
              <a:gd name="T12" fmla="*/ 362 w 920"/>
              <a:gd name="T13" fmla="*/ 288 h 1464"/>
              <a:gd name="T14" fmla="*/ 353 w 920"/>
              <a:gd name="T15" fmla="*/ 204 h 1464"/>
              <a:gd name="T16" fmla="*/ 303 w 920"/>
              <a:gd name="T17" fmla="*/ 251 h 1464"/>
              <a:gd name="T18" fmla="*/ 172 w 920"/>
              <a:gd name="T19" fmla="*/ 238 h 1464"/>
              <a:gd name="T20" fmla="*/ 258 w 920"/>
              <a:gd name="T21" fmla="*/ 182 h 1464"/>
              <a:gd name="T22" fmla="*/ 208 w 920"/>
              <a:gd name="T23" fmla="*/ 190 h 1464"/>
              <a:gd name="T24" fmla="*/ 202 w 920"/>
              <a:gd name="T25" fmla="*/ 154 h 1464"/>
              <a:gd name="T26" fmla="*/ 105 w 920"/>
              <a:gd name="T27" fmla="*/ 112 h 1464"/>
              <a:gd name="T28" fmla="*/ 2 w 920"/>
              <a:gd name="T29" fmla="*/ 110 h 1464"/>
              <a:gd name="T30" fmla="*/ 75 w 920"/>
              <a:gd name="T31" fmla="*/ 215 h 1464"/>
              <a:gd name="T32" fmla="*/ 105 w 920"/>
              <a:gd name="T33" fmla="*/ 343 h 1464"/>
              <a:gd name="T34" fmla="*/ 52 w 920"/>
              <a:gd name="T35" fmla="*/ 506 h 1464"/>
              <a:gd name="T36" fmla="*/ 196 w 920"/>
              <a:gd name="T37" fmla="*/ 583 h 1464"/>
              <a:gd name="T38" fmla="*/ 205 w 920"/>
              <a:gd name="T39" fmla="*/ 678 h 1464"/>
              <a:gd name="T40" fmla="*/ 351 w 920"/>
              <a:gd name="T41" fmla="*/ 621 h 1464"/>
              <a:gd name="T42" fmla="*/ 407 w 920"/>
              <a:gd name="T43" fmla="*/ 921 h 1464"/>
              <a:gd name="T44" fmla="*/ 449 w 920"/>
              <a:gd name="T45" fmla="*/ 1327 h 1464"/>
              <a:gd name="T46" fmla="*/ 497 w 920"/>
              <a:gd name="T47" fmla="*/ 1369 h 1464"/>
              <a:gd name="T48" fmla="*/ 478 w 920"/>
              <a:gd name="T49" fmla="*/ 1243 h 1464"/>
              <a:gd name="T50" fmla="*/ 499 w 920"/>
              <a:gd name="T51" fmla="*/ 992 h 1464"/>
              <a:gd name="T52" fmla="*/ 574 w 920"/>
              <a:gd name="T53" fmla="*/ 988 h 1464"/>
              <a:gd name="T54" fmla="*/ 610 w 920"/>
              <a:gd name="T55" fmla="*/ 1231 h 1464"/>
              <a:gd name="T56" fmla="*/ 601 w 920"/>
              <a:gd name="T57" fmla="*/ 1460 h 1464"/>
              <a:gd name="T58" fmla="*/ 628 w 920"/>
              <a:gd name="T59" fmla="*/ 1302 h 1464"/>
              <a:gd name="T60" fmla="*/ 676 w 920"/>
              <a:gd name="T61" fmla="*/ 1034 h 1464"/>
              <a:gd name="T62" fmla="*/ 676 w 920"/>
              <a:gd name="T63" fmla="*/ 1278 h 1464"/>
              <a:gd name="T64" fmla="*/ 702 w 920"/>
              <a:gd name="T65" fmla="*/ 1183 h 1464"/>
              <a:gd name="T66" fmla="*/ 748 w 920"/>
              <a:gd name="T67" fmla="*/ 902 h 1464"/>
              <a:gd name="T68" fmla="*/ 790 w 920"/>
              <a:gd name="T69" fmla="*/ 1266 h 1464"/>
              <a:gd name="T70" fmla="*/ 835 w 920"/>
              <a:gd name="T71" fmla="*/ 1125 h 1464"/>
              <a:gd name="T72" fmla="*/ 874 w 920"/>
              <a:gd name="T73" fmla="*/ 697 h 1464"/>
              <a:gd name="T74" fmla="*/ 638 w 920"/>
              <a:gd name="T75" fmla="*/ 433 h 1464"/>
              <a:gd name="T76" fmla="*/ 458 w 920"/>
              <a:gd name="T77" fmla="*/ 394 h 1464"/>
              <a:gd name="T78" fmla="*/ 757 w 920"/>
              <a:gd name="T79" fmla="*/ 219 h 1464"/>
              <a:gd name="T80" fmla="*/ 860 w 920"/>
              <a:gd name="T81" fmla="*/ 16 h 1464"/>
              <a:gd name="T82" fmla="*/ 741 w 920"/>
              <a:gd name="T83" fmla="*/ 114 h 1464"/>
              <a:gd name="T84" fmla="*/ 652 w 920"/>
              <a:gd name="T85" fmla="*/ 79 h 1464"/>
              <a:gd name="T86" fmla="*/ 643 w 920"/>
              <a:gd name="T87" fmla="*/ 159 h 1464"/>
              <a:gd name="T88" fmla="*/ 570 w 920"/>
              <a:gd name="T89" fmla="*/ 211 h 1464"/>
              <a:gd name="T90" fmla="*/ 575 w 920"/>
              <a:gd name="T91" fmla="*/ 191 h 1464"/>
              <a:gd name="T92" fmla="*/ 536 w 920"/>
              <a:gd name="T93" fmla="*/ 177 h 1464"/>
              <a:gd name="T94" fmla="*/ 224 w 920"/>
              <a:gd name="T95" fmla="*/ 239 h 1464"/>
              <a:gd name="T96" fmla="*/ 299 w 920"/>
              <a:gd name="T97" fmla="*/ 198 h 1464"/>
              <a:gd name="T98" fmla="*/ 549 w 920"/>
              <a:gd name="T99" fmla="*/ 236 h 1464"/>
              <a:gd name="T100" fmla="*/ 518 w 920"/>
              <a:gd name="T101" fmla="*/ 439 h 1464"/>
              <a:gd name="T102" fmla="*/ 535 w 920"/>
              <a:gd name="T103" fmla="*/ 463 h 1464"/>
              <a:gd name="T104" fmla="*/ 522 w 920"/>
              <a:gd name="T105" fmla="*/ 424 h 1464"/>
              <a:gd name="T106" fmla="*/ 402 w 920"/>
              <a:gd name="T107" fmla="*/ 313 h 1464"/>
              <a:gd name="T108" fmla="*/ 362 w 920"/>
              <a:gd name="T109" fmla="*/ 308 h 1464"/>
              <a:gd name="T110" fmla="*/ 303 w 920"/>
              <a:gd name="T111" fmla="*/ 308 h 1464"/>
              <a:gd name="T112" fmla="*/ 230 w 920"/>
              <a:gd name="T113" fmla="*/ 268 h 1464"/>
              <a:gd name="T114" fmla="*/ 263 w 920"/>
              <a:gd name="T115" fmla="*/ 323 h 1464"/>
              <a:gd name="T116" fmla="*/ 186 w 920"/>
              <a:gd name="T117" fmla="*/ 219 h 1464"/>
              <a:gd name="T118" fmla="*/ 169 w 920"/>
              <a:gd name="T119" fmla="*/ 203 h 1464"/>
              <a:gd name="T120" fmla="*/ 84 w 920"/>
              <a:gd name="T121" fmla="*/ 216 h 1464"/>
              <a:gd name="T122" fmla="*/ 194 w 920"/>
              <a:gd name="T123" fmla="*/ 218 h 1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20" h="1464">
                <a:moveTo>
                  <a:pt x="858" y="52"/>
                </a:moveTo>
                <a:lnTo>
                  <a:pt x="858" y="51"/>
                </a:lnTo>
                <a:lnTo>
                  <a:pt x="857" y="51"/>
                </a:lnTo>
                <a:lnTo>
                  <a:pt x="857" y="50"/>
                </a:lnTo>
                <a:lnTo>
                  <a:pt x="857" y="48"/>
                </a:lnTo>
                <a:lnTo>
                  <a:pt x="857" y="47"/>
                </a:lnTo>
                <a:lnTo>
                  <a:pt x="858" y="44"/>
                </a:lnTo>
                <a:lnTo>
                  <a:pt x="858" y="41"/>
                </a:lnTo>
                <a:lnTo>
                  <a:pt x="859" y="38"/>
                </a:lnTo>
                <a:lnTo>
                  <a:pt x="863" y="37"/>
                </a:lnTo>
                <a:lnTo>
                  <a:pt x="865" y="37"/>
                </a:lnTo>
                <a:lnTo>
                  <a:pt x="866" y="37"/>
                </a:lnTo>
                <a:lnTo>
                  <a:pt x="866" y="38"/>
                </a:lnTo>
                <a:lnTo>
                  <a:pt x="863" y="45"/>
                </a:lnTo>
                <a:lnTo>
                  <a:pt x="858" y="52"/>
                </a:lnTo>
                <a:close/>
                <a:moveTo>
                  <a:pt x="93" y="208"/>
                </a:moveTo>
                <a:lnTo>
                  <a:pt x="93" y="210"/>
                </a:lnTo>
                <a:lnTo>
                  <a:pt x="93" y="212"/>
                </a:lnTo>
                <a:lnTo>
                  <a:pt x="93" y="215"/>
                </a:lnTo>
                <a:lnTo>
                  <a:pt x="96" y="217"/>
                </a:lnTo>
                <a:lnTo>
                  <a:pt x="98" y="215"/>
                </a:lnTo>
                <a:lnTo>
                  <a:pt x="99" y="212"/>
                </a:lnTo>
                <a:lnTo>
                  <a:pt x="99" y="210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105" y="215"/>
                </a:lnTo>
                <a:lnTo>
                  <a:pt x="113" y="222"/>
                </a:lnTo>
                <a:lnTo>
                  <a:pt x="114" y="224"/>
                </a:lnTo>
                <a:lnTo>
                  <a:pt x="114" y="225"/>
                </a:lnTo>
                <a:lnTo>
                  <a:pt x="114" y="225"/>
                </a:lnTo>
                <a:lnTo>
                  <a:pt x="113" y="226"/>
                </a:lnTo>
                <a:lnTo>
                  <a:pt x="117" y="226"/>
                </a:lnTo>
                <a:lnTo>
                  <a:pt x="118" y="226"/>
                </a:lnTo>
                <a:lnTo>
                  <a:pt x="121" y="227"/>
                </a:lnTo>
                <a:lnTo>
                  <a:pt x="125" y="229"/>
                </a:lnTo>
                <a:lnTo>
                  <a:pt x="125" y="231"/>
                </a:lnTo>
                <a:lnTo>
                  <a:pt x="124" y="232"/>
                </a:lnTo>
                <a:lnTo>
                  <a:pt x="122" y="233"/>
                </a:lnTo>
                <a:lnTo>
                  <a:pt x="120" y="234"/>
                </a:lnTo>
                <a:lnTo>
                  <a:pt x="119" y="234"/>
                </a:lnTo>
                <a:lnTo>
                  <a:pt x="117" y="233"/>
                </a:lnTo>
                <a:lnTo>
                  <a:pt x="114" y="231"/>
                </a:lnTo>
                <a:lnTo>
                  <a:pt x="112" y="227"/>
                </a:lnTo>
                <a:lnTo>
                  <a:pt x="108" y="230"/>
                </a:lnTo>
                <a:lnTo>
                  <a:pt x="106" y="230"/>
                </a:lnTo>
                <a:lnTo>
                  <a:pt x="103" y="229"/>
                </a:lnTo>
                <a:lnTo>
                  <a:pt x="100" y="226"/>
                </a:lnTo>
                <a:lnTo>
                  <a:pt x="94" y="220"/>
                </a:lnTo>
                <a:lnTo>
                  <a:pt x="90" y="213"/>
                </a:lnTo>
                <a:lnTo>
                  <a:pt x="89" y="210"/>
                </a:lnTo>
                <a:lnTo>
                  <a:pt x="89" y="205"/>
                </a:lnTo>
                <a:lnTo>
                  <a:pt x="91" y="205"/>
                </a:lnTo>
                <a:lnTo>
                  <a:pt x="93" y="204"/>
                </a:lnTo>
                <a:lnTo>
                  <a:pt x="96" y="205"/>
                </a:lnTo>
                <a:lnTo>
                  <a:pt x="97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8" y="208"/>
                </a:lnTo>
                <a:lnTo>
                  <a:pt x="96" y="208"/>
                </a:lnTo>
                <a:lnTo>
                  <a:pt x="93" y="208"/>
                </a:lnTo>
                <a:close/>
                <a:moveTo>
                  <a:pt x="200" y="237"/>
                </a:moveTo>
                <a:lnTo>
                  <a:pt x="204" y="236"/>
                </a:lnTo>
                <a:lnTo>
                  <a:pt x="210" y="236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0" y="234"/>
                </a:lnTo>
                <a:lnTo>
                  <a:pt x="200" y="236"/>
                </a:lnTo>
                <a:lnTo>
                  <a:pt x="200" y="237"/>
                </a:lnTo>
                <a:close/>
                <a:moveTo>
                  <a:pt x="533" y="217"/>
                </a:moveTo>
                <a:lnTo>
                  <a:pt x="535" y="212"/>
                </a:lnTo>
                <a:lnTo>
                  <a:pt x="538" y="208"/>
                </a:lnTo>
                <a:lnTo>
                  <a:pt x="534" y="210"/>
                </a:lnTo>
                <a:lnTo>
                  <a:pt x="533" y="211"/>
                </a:lnTo>
                <a:lnTo>
                  <a:pt x="532" y="215"/>
                </a:lnTo>
                <a:lnTo>
                  <a:pt x="533" y="217"/>
                </a:lnTo>
                <a:close/>
                <a:moveTo>
                  <a:pt x="541" y="219"/>
                </a:moveTo>
                <a:lnTo>
                  <a:pt x="539" y="222"/>
                </a:lnTo>
                <a:lnTo>
                  <a:pt x="535" y="224"/>
                </a:lnTo>
                <a:lnTo>
                  <a:pt x="533" y="226"/>
                </a:lnTo>
                <a:lnTo>
                  <a:pt x="533" y="230"/>
                </a:lnTo>
                <a:lnTo>
                  <a:pt x="535" y="227"/>
                </a:lnTo>
                <a:lnTo>
                  <a:pt x="538" y="225"/>
                </a:lnTo>
                <a:lnTo>
                  <a:pt x="540" y="223"/>
                </a:lnTo>
                <a:lnTo>
                  <a:pt x="541" y="219"/>
                </a:lnTo>
                <a:close/>
                <a:moveTo>
                  <a:pt x="533" y="230"/>
                </a:move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29" y="230"/>
                </a:lnTo>
                <a:lnTo>
                  <a:pt x="526" y="229"/>
                </a:lnTo>
                <a:lnTo>
                  <a:pt x="526" y="224"/>
                </a:lnTo>
                <a:lnTo>
                  <a:pt x="526" y="219"/>
                </a:lnTo>
                <a:lnTo>
                  <a:pt x="527" y="217"/>
                </a:lnTo>
                <a:lnTo>
                  <a:pt x="528" y="213"/>
                </a:lnTo>
                <a:lnTo>
                  <a:pt x="529" y="209"/>
                </a:lnTo>
                <a:lnTo>
                  <a:pt x="532" y="205"/>
                </a:lnTo>
                <a:lnTo>
                  <a:pt x="533" y="201"/>
                </a:lnTo>
                <a:lnTo>
                  <a:pt x="533" y="196"/>
                </a:lnTo>
                <a:lnTo>
                  <a:pt x="532" y="194"/>
                </a:lnTo>
                <a:lnTo>
                  <a:pt x="532" y="191"/>
                </a:lnTo>
                <a:lnTo>
                  <a:pt x="533" y="189"/>
                </a:lnTo>
                <a:lnTo>
                  <a:pt x="535" y="187"/>
                </a:lnTo>
                <a:lnTo>
                  <a:pt x="535" y="184"/>
                </a:lnTo>
                <a:lnTo>
                  <a:pt x="535" y="183"/>
                </a:lnTo>
                <a:lnTo>
                  <a:pt x="534" y="182"/>
                </a:lnTo>
                <a:lnTo>
                  <a:pt x="534" y="182"/>
                </a:lnTo>
                <a:lnTo>
                  <a:pt x="526" y="194"/>
                </a:lnTo>
                <a:lnTo>
                  <a:pt x="519" y="206"/>
                </a:lnTo>
                <a:lnTo>
                  <a:pt x="520" y="206"/>
                </a:lnTo>
                <a:lnTo>
                  <a:pt x="521" y="206"/>
                </a:lnTo>
                <a:lnTo>
                  <a:pt x="524" y="205"/>
                </a:lnTo>
                <a:lnTo>
                  <a:pt x="524" y="204"/>
                </a:lnTo>
                <a:lnTo>
                  <a:pt x="525" y="201"/>
                </a:lnTo>
                <a:lnTo>
                  <a:pt x="526" y="196"/>
                </a:lnTo>
                <a:lnTo>
                  <a:pt x="527" y="196"/>
                </a:lnTo>
                <a:lnTo>
                  <a:pt x="528" y="196"/>
                </a:lnTo>
                <a:lnTo>
                  <a:pt x="529" y="199"/>
                </a:lnTo>
                <a:lnTo>
                  <a:pt x="529" y="202"/>
                </a:lnTo>
                <a:lnTo>
                  <a:pt x="528" y="206"/>
                </a:lnTo>
                <a:lnTo>
                  <a:pt x="526" y="211"/>
                </a:lnTo>
                <a:lnTo>
                  <a:pt x="524" y="216"/>
                </a:lnTo>
                <a:lnTo>
                  <a:pt x="520" y="219"/>
                </a:lnTo>
                <a:lnTo>
                  <a:pt x="519" y="222"/>
                </a:lnTo>
                <a:lnTo>
                  <a:pt x="517" y="224"/>
                </a:lnTo>
                <a:lnTo>
                  <a:pt x="514" y="226"/>
                </a:lnTo>
                <a:lnTo>
                  <a:pt x="512" y="229"/>
                </a:lnTo>
                <a:lnTo>
                  <a:pt x="512" y="229"/>
                </a:lnTo>
                <a:lnTo>
                  <a:pt x="511" y="227"/>
                </a:lnTo>
                <a:lnTo>
                  <a:pt x="511" y="225"/>
                </a:lnTo>
                <a:lnTo>
                  <a:pt x="512" y="224"/>
                </a:lnTo>
                <a:lnTo>
                  <a:pt x="511" y="223"/>
                </a:lnTo>
                <a:lnTo>
                  <a:pt x="510" y="222"/>
                </a:lnTo>
                <a:lnTo>
                  <a:pt x="510" y="224"/>
                </a:lnTo>
                <a:lnTo>
                  <a:pt x="508" y="226"/>
                </a:lnTo>
                <a:lnTo>
                  <a:pt x="506" y="227"/>
                </a:lnTo>
                <a:lnTo>
                  <a:pt x="505" y="229"/>
                </a:lnTo>
                <a:lnTo>
                  <a:pt x="504" y="229"/>
                </a:lnTo>
                <a:lnTo>
                  <a:pt x="501" y="226"/>
                </a:lnTo>
                <a:lnTo>
                  <a:pt x="499" y="225"/>
                </a:lnTo>
                <a:lnTo>
                  <a:pt x="497" y="225"/>
                </a:lnTo>
                <a:lnTo>
                  <a:pt x="491" y="224"/>
                </a:lnTo>
                <a:lnTo>
                  <a:pt x="484" y="222"/>
                </a:lnTo>
                <a:lnTo>
                  <a:pt x="481" y="226"/>
                </a:lnTo>
                <a:lnTo>
                  <a:pt x="479" y="230"/>
                </a:lnTo>
                <a:lnTo>
                  <a:pt x="479" y="234"/>
                </a:lnTo>
                <a:lnTo>
                  <a:pt x="480" y="237"/>
                </a:lnTo>
                <a:lnTo>
                  <a:pt x="474" y="239"/>
                </a:lnTo>
                <a:lnTo>
                  <a:pt x="469" y="241"/>
                </a:lnTo>
                <a:lnTo>
                  <a:pt x="469" y="241"/>
                </a:lnTo>
                <a:lnTo>
                  <a:pt x="469" y="241"/>
                </a:lnTo>
                <a:lnTo>
                  <a:pt x="466" y="240"/>
                </a:lnTo>
                <a:lnTo>
                  <a:pt x="464" y="241"/>
                </a:lnTo>
                <a:lnTo>
                  <a:pt x="460" y="244"/>
                </a:lnTo>
                <a:lnTo>
                  <a:pt x="459" y="244"/>
                </a:lnTo>
                <a:lnTo>
                  <a:pt x="458" y="243"/>
                </a:lnTo>
                <a:lnTo>
                  <a:pt x="457" y="239"/>
                </a:lnTo>
                <a:lnTo>
                  <a:pt x="453" y="239"/>
                </a:lnTo>
                <a:lnTo>
                  <a:pt x="450" y="239"/>
                </a:lnTo>
                <a:lnTo>
                  <a:pt x="449" y="239"/>
                </a:lnTo>
                <a:lnTo>
                  <a:pt x="449" y="238"/>
                </a:lnTo>
                <a:lnTo>
                  <a:pt x="452" y="234"/>
                </a:lnTo>
                <a:lnTo>
                  <a:pt x="457" y="230"/>
                </a:lnTo>
                <a:lnTo>
                  <a:pt x="451" y="230"/>
                </a:lnTo>
                <a:lnTo>
                  <a:pt x="446" y="230"/>
                </a:lnTo>
                <a:lnTo>
                  <a:pt x="446" y="234"/>
                </a:lnTo>
                <a:lnTo>
                  <a:pt x="445" y="238"/>
                </a:lnTo>
                <a:lnTo>
                  <a:pt x="443" y="241"/>
                </a:lnTo>
                <a:lnTo>
                  <a:pt x="438" y="244"/>
                </a:lnTo>
                <a:lnTo>
                  <a:pt x="437" y="246"/>
                </a:lnTo>
                <a:lnTo>
                  <a:pt x="436" y="248"/>
                </a:lnTo>
                <a:lnTo>
                  <a:pt x="436" y="250"/>
                </a:lnTo>
                <a:lnTo>
                  <a:pt x="437" y="250"/>
                </a:lnTo>
                <a:lnTo>
                  <a:pt x="439" y="248"/>
                </a:lnTo>
                <a:lnTo>
                  <a:pt x="441" y="248"/>
                </a:lnTo>
                <a:lnTo>
                  <a:pt x="442" y="250"/>
                </a:lnTo>
                <a:lnTo>
                  <a:pt x="442" y="252"/>
                </a:lnTo>
                <a:lnTo>
                  <a:pt x="441" y="253"/>
                </a:lnTo>
                <a:lnTo>
                  <a:pt x="438" y="253"/>
                </a:lnTo>
                <a:lnTo>
                  <a:pt x="436" y="254"/>
                </a:lnTo>
                <a:lnTo>
                  <a:pt x="434" y="255"/>
                </a:lnTo>
                <a:lnTo>
                  <a:pt x="431" y="258"/>
                </a:lnTo>
                <a:lnTo>
                  <a:pt x="430" y="261"/>
                </a:lnTo>
                <a:lnTo>
                  <a:pt x="430" y="261"/>
                </a:lnTo>
                <a:lnTo>
                  <a:pt x="429" y="262"/>
                </a:lnTo>
                <a:lnTo>
                  <a:pt x="428" y="260"/>
                </a:lnTo>
                <a:lnTo>
                  <a:pt x="427" y="258"/>
                </a:lnTo>
                <a:lnTo>
                  <a:pt x="424" y="259"/>
                </a:lnTo>
                <a:lnTo>
                  <a:pt x="423" y="261"/>
                </a:lnTo>
                <a:lnTo>
                  <a:pt x="424" y="265"/>
                </a:lnTo>
                <a:lnTo>
                  <a:pt x="423" y="267"/>
                </a:lnTo>
                <a:lnTo>
                  <a:pt x="419" y="265"/>
                </a:lnTo>
                <a:lnTo>
                  <a:pt x="418" y="261"/>
                </a:lnTo>
                <a:lnTo>
                  <a:pt x="417" y="259"/>
                </a:lnTo>
                <a:lnTo>
                  <a:pt x="418" y="257"/>
                </a:lnTo>
                <a:lnTo>
                  <a:pt x="419" y="255"/>
                </a:lnTo>
                <a:lnTo>
                  <a:pt x="422" y="253"/>
                </a:lnTo>
                <a:lnTo>
                  <a:pt x="423" y="252"/>
                </a:lnTo>
                <a:lnTo>
                  <a:pt x="424" y="250"/>
                </a:lnTo>
                <a:lnTo>
                  <a:pt x="424" y="248"/>
                </a:lnTo>
                <a:lnTo>
                  <a:pt x="423" y="246"/>
                </a:lnTo>
                <a:lnTo>
                  <a:pt x="422" y="243"/>
                </a:lnTo>
                <a:lnTo>
                  <a:pt x="421" y="239"/>
                </a:lnTo>
                <a:lnTo>
                  <a:pt x="421" y="237"/>
                </a:lnTo>
                <a:lnTo>
                  <a:pt x="419" y="233"/>
                </a:lnTo>
                <a:lnTo>
                  <a:pt x="416" y="237"/>
                </a:lnTo>
                <a:lnTo>
                  <a:pt x="412" y="238"/>
                </a:lnTo>
                <a:lnTo>
                  <a:pt x="409" y="238"/>
                </a:lnTo>
                <a:lnTo>
                  <a:pt x="407" y="236"/>
                </a:lnTo>
                <a:lnTo>
                  <a:pt x="409" y="234"/>
                </a:lnTo>
                <a:lnTo>
                  <a:pt x="410" y="232"/>
                </a:lnTo>
                <a:lnTo>
                  <a:pt x="411" y="230"/>
                </a:lnTo>
                <a:lnTo>
                  <a:pt x="411" y="227"/>
                </a:lnTo>
                <a:lnTo>
                  <a:pt x="411" y="222"/>
                </a:lnTo>
                <a:lnTo>
                  <a:pt x="411" y="217"/>
                </a:lnTo>
                <a:lnTo>
                  <a:pt x="412" y="213"/>
                </a:lnTo>
                <a:lnTo>
                  <a:pt x="414" y="210"/>
                </a:lnTo>
                <a:lnTo>
                  <a:pt x="415" y="210"/>
                </a:lnTo>
                <a:lnTo>
                  <a:pt x="415" y="210"/>
                </a:lnTo>
                <a:lnTo>
                  <a:pt x="415" y="218"/>
                </a:lnTo>
                <a:lnTo>
                  <a:pt x="415" y="225"/>
                </a:lnTo>
                <a:lnTo>
                  <a:pt x="416" y="225"/>
                </a:lnTo>
                <a:lnTo>
                  <a:pt x="416" y="226"/>
                </a:lnTo>
                <a:lnTo>
                  <a:pt x="417" y="222"/>
                </a:lnTo>
                <a:lnTo>
                  <a:pt x="419" y="217"/>
                </a:lnTo>
                <a:lnTo>
                  <a:pt x="422" y="222"/>
                </a:lnTo>
                <a:lnTo>
                  <a:pt x="424" y="224"/>
                </a:lnTo>
                <a:lnTo>
                  <a:pt x="425" y="224"/>
                </a:lnTo>
                <a:lnTo>
                  <a:pt x="428" y="223"/>
                </a:lnTo>
                <a:lnTo>
                  <a:pt x="428" y="222"/>
                </a:lnTo>
                <a:lnTo>
                  <a:pt x="428" y="220"/>
                </a:lnTo>
                <a:lnTo>
                  <a:pt x="422" y="213"/>
                </a:lnTo>
                <a:lnTo>
                  <a:pt x="416" y="205"/>
                </a:lnTo>
                <a:lnTo>
                  <a:pt x="412" y="197"/>
                </a:lnTo>
                <a:lnTo>
                  <a:pt x="408" y="189"/>
                </a:lnTo>
                <a:lnTo>
                  <a:pt x="405" y="181"/>
                </a:lnTo>
                <a:lnTo>
                  <a:pt x="402" y="171"/>
                </a:lnTo>
                <a:lnTo>
                  <a:pt x="401" y="162"/>
                </a:lnTo>
                <a:lnTo>
                  <a:pt x="400" y="153"/>
                </a:lnTo>
                <a:lnTo>
                  <a:pt x="398" y="149"/>
                </a:lnTo>
                <a:lnTo>
                  <a:pt x="397" y="145"/>
                </a:lnTo>
                <a:lnTo>
                  <a:pt x="396" y="143"/>
                </a:lnTo>
                <a:lnTo>
                  <a:pt x="394" y="142"/>
                </a:lnTo>
                <a:lnTo>
                  <a:pt x="393" y="142"/>
                </a:lnTo>
                <a:lnTo>
                  <a:pt x="391" y="143"/>
                </a:lnTo>
                <a:lnTo>
                  <a:pt x="390" y="147"/>
                </a:lnTo>
                <a:lnTo>
                  <a:pt x="390" y="150"/>
                </a:lnTo>
                <a:lnTo>
                  <a:pt x="387" y="153"/>
                </a:lnTo>
                <a:lnTo>
                  <a:pt x="386" y="155"/>
                </a:lnTo>
                <a:lnTo>
                  <a:pt x="386" y="160"/>
                </a:lnTo>
                <a:lnTo>
                  <a:pt x="386" y="164"/>
                </a:lnTo>
                <a:lnTo>
                  <a:pt x="387" y="167"/>
                </a:lnTo>
                <a:lnTo>
                  <a:pt x="387" y="169"/>
                </a:lnTo>
                <a:lnTo>
                  <a:pt x="384" y="183"/>
                </a:lnTo>
                <a:lnTo>
                  <a:pt x="383" y="196"/>
                </a:lnTo>
                <a:lnTo>
                  <a:pt x="383" y="198"/>
                </a:lnTo>
                <a:lnTo>
                  <a:pt x="383" y="201"/>
                </a:lnTo>
                <a:lnTo>
                  <a:pt x="387" y="211"/>
                </a:lnTo>
                <a:lnTo>
                  <a:pt x="390" y="222"/>
                </a:lnTo>
                <a:lnTo>
                  <a:pt x="390" y="227"/>
                </a:lnTo>
                <a:lnTo>
                  <a:pt x="390" y="233"/>
                </a:lnTo>
                <a:lnTo>
                  <a:pt x="390" y="238"/>
                </a:lnTo>
                <a:lnTo>
                  <a:pt x="389" y="244"/>
                </a:lnTo>
                <a:lnTo>
                  <a:pt x="388" y="246"/>
                </a:lnTo>
                <a:lnTo>
                  <a:pt x="389" y="248"/>
                </a:lnTo>
                <a:lnTo>
                  <a:pt x="394" y="252"/>
                </a:lnTo>
                <a:lnTo>
                  <a:pt x="400" y="257"/>
                </a:lnTo>
                <a:lnTo>
                  <a:pt x="398" y="254"/>
                </a:lnTo>
                <a:lnTo>
                  <a:pt x="400" y="253"/>
                </a:lnTo>
                <a:lnTo>
                  <a:pt x="400" y="252"/>
                </a:lnTo>
                <a:lnTo>
                  <a:pt x="401" y="252"/>
                </a:lnTo>
                <a:lnTo>
                  <a:pt x="403" y="253"/>
                </a:lnTo>
                <a:lnTo>
                  <a:pt x="404" y="252"/>
                </a:lnTo>
                <a:lnTo>
                  <a:pt x="402" y="246"/>
                </a:lnTo>
                <a:lnTo>
                  <a:pt x="402" y="239"/>
                </a:lnTo>
                <a:lnTo>
                  <a:pt x="404" y="245"/>
                </a:lnTo>
                <a:lnTo>
                  <a:pt x="407" y="251"/>
                </a:lnTo>
                <a:lnTo>
                  <a:pt x="407" y="253"/>
                </a:lnTo>
                <a:lnTo>
                  <a:pt x="407" y="254"/>
                </a:lnTo>
                <a:lnTo>
                  <a:pt x="407" y="257"/>
                </a:lnTo>
                <a:lnTo>
                  <a:pt x="405" y="258"/>
                </a:lnTo>
                <a:lnTo>
                  <a:pt x="404" y="260"/>
                </a:lnTo>
                <a:lnTo>
                  <a:pt x="403" y="261"/>
                </a:lnTo>
                <a:lnTo>
                  <a:pt x="403" y="264"/>
                </a:lnTo>
                <a:lnTo>
                  <a:pt x="405" y="265"/>
                </a:lnTo>
                <a:lnTo>
                  <a:pt x="405" y="267"/>
                </a:lnTo>
                <a:lnTo>
                  <a:pt x="404" y="271"/>
                </a:lnTo>
                <a:lnTo>
                  <a:pt x="401" y="274"/>
                </a:lnTo>
                <a:lnTo>
                  <a:pt x="397" y="276"/>
                </a:lnTo>
                <a:lnTo>
                  <a:pt x="396" y="278"/>
                </a:lnTo>
                <a:lnTo>
                  <a:pt x="395" y="279"/>
                </a:lnTo>
                <a:lnTo>
                  <a:pt x="395" y="281"/>
                </a:lnTo>
                <a:lnTo>
                  <a:pt x="396" y="282"/>
                </a:lnTo>
                <a:lnTo>
                  <a:pt x="396" y="285"/>
                </a:lnTo>
                <a:lnTo>
                  <a:pt x="396" y="286"/>
                </a:lnTo>
                <a:lnTo>
                  <a:pt x="396" y="288"/>
                </a:lnTo>
                <a:lnTo>
                  <a:pt x="394" y="289"/>
                </a:lnTo>
                <a:lnTo>
                  <a:pt x="391" y="292"/>
                </a:lnTo>
                <a:lnTo>
                  <a:pt x="388" y="295"/>
                </a:lnTo>
                <a:lnTo>
                  <a:pt x="386" y="295"/>
                </a:lnTo>
                <a:lnTo>
                  <a:pt x="383" y="294"/>
                </a:lnTo>
                <a:lnTo>
                  <a:pt x="381" y="293"/>
                </a:lnTo>
                <a:lnTo>
                  <a:pt x="380" y="290"/>
                </a:lnTo>
                <a:lnTo>
                  <a:pt x="377" y="286"/>
                </a:lnTo>
                <a:lnTo>
                  <a:pt x="373" y="282"/>
                </a:lnTo>
                <a:lnTo>
                  <a:pt x="372" y="285"/>
                </a:lnTo>
                <a:lnTo>
                  <a:pt x="370" y="287"/>
                </a:lnTo>
                <a:lnTo>
                  <a:pt x="368" y="289"/>
                </a:lnTo>
                <a:lnTo>
                  <a:pt x="367" y="289"/>
                </a:lnTo>
                <a:lnTo>
                  <a:pt x="365" y="289"/>
                </a:lnTo>
                <a:lnTo>
                  <a:pt x="362" y="288"/>
                </a:lnTo>
                <a:lnTo>
                  <a:pt x="359" y="286"/>
                </a:lnTo>
                <a:lnTo>
                  <a:pt x="354" y="283"/>
                </a:lnTo>
                <a:lnTo>
                  <a:pt x="343" y="282"/>
                </a:lnTo>
                <a:lnTo>
                  <a:pt x="334" y="281"/>
                </a:lnTo>
                <a:lnTo>
                  <a:pt x="324" y="281"/>
                </a:lnTo>
                <a:lnTo>
                  <a:pt x="313" y="281"/>
                </a:lnTo>
                <a:lnTo>
                  <a:pt x="308" y="282"/>
                </a:lnTo>
                <a:lnTo>
                  <a:pt x="304" y="285"/>
                </a:lnTo>
                <a:lnTo>
                  <a:pt x="300" y="285"/>
                </a:lnTo>
                <a:lnTo>
                  <a:pt x="298" y="285"/>
                </a:lnTo>
                <a:lnTo>
                  <a:pt x="297" y="285"/>
                </a:lnTo>
                <a:lnTo>
                  <a:pt x="296" y="286"/>
                </a:lnTo>
                <a:lnTo>
                  <a:pt x="289" y="283"/>
                </a:lnTo>
                <a:lnTo>
                  <a:pt x="282" y="283"/>
                </a:lnTo>
                <a:lnTo>
                  <a:pt x="284" y="278"/>
                </a:lnTo>
                <a:lnTo>
                  <a:pt x="287" y="272"/>
                </a:lnTo>
                <a:lnTo>
                  <a:pt x="290" y="268"/>
                </a:lnTo>
                <a:lnTo>
                  <a:pt x="292" y="266"/>
                </a:lnTo>
                <a:lnTo>
                  <a:pt x="296" y="264"/>
                </a:lnTo>
                <a:lnTo>
                  <a:pt x="299" y="261"/>
                </a:lnTo>
                <a:lnTo>
                  <a:pt x="303" y="260"/>
                </a:lnTo>
                <a:lnTo>
                  <a:pt x="306" y="259"/>
                </a:lnTo>
                <a:lnTo>
                  <a:pt x="311" y="257"/>
                </a:lnTo>
                <a:lnTo>
                  <a:pt x="315" y="253"/>
                </a:lnTo>
                <a:lnTo>
                  <a:pt x="318" y="252"/>
                </a:lnTo>
                <a:lnTo>
                  <a:pt x="320" y="251"/>
                </a:lnTo>
                <a:lnTo>
                  <a:pt x="321" y="250"/>
                </a:lnTo>
                <a:lnTo>
                  <a:pt x="322" y="246"/>
                </a:lnTo>
                <a:lnTo>
                  <a:pt x="322" y="244"/>
                </a:lnTo>
                <a:lnTo>
                  <a:pt x="322" y="244"/>
                </a:lnTo>
                <a:lnTo>
                  <a:pt x="324" y="244"/>
                </a:lnTo>
                <a:lnTo>
                  <a:pt x="325" y="244"/>
                </a:lnTo>
                <a:lnTo>
                  <a:pt x="327" y="245"/>
                </a:lnTo>
                <a:lnTo>
                  <a:pt x="329" y="244"/>
                </a:lnTo>
                <a:lnTo>
                  <a:pt x="341" y="229"/>
                </a:lnTo>
                <a:lnTo>
                  <a:pt x="353" y="215"/>
                </a:lnTo>
                <a:lnTo>
                  <a:pt x="358" y="206"/>
                </a:lnTo>
                <a:lnTo>
                  <a:pt x="361" y="197"/>
                </a:lnTo>
                <a:lnTo>
                  <a:pt x="360" y="195"/>
                </a:lnTo>
                <a:lnTo>
                  <a:pt x="360" y="191"/>
                </a:lnTo>
                <a:lnTo>
                  <a:pt x="359" y="191"/>
                </a:lnTo>
                <a:lnTo>
                  <a:pt x="358" y="191"/>
                </a:lnTo>
                <a:lnTo>
                  <a:pt x="356" y="196"/>
                </a:lnTo>
                <a:lnTo>
                  <a:pt x="355" y="201"/>
                </a:lnTo>
                <a:lnTo>
                  <a:pt x="353" y="204"/>
                </a:lnTo>
                <a:lnTo>
                  <a:pt x="351" y="208"/>
                </a:lnTo>
                <a:lnTo>
                  <a:pt x="345" y="215"/>
                </a:lnTo>
                <a:lnTo>
                  <a:pt x="341" y="223"/>
                </a:lnTo>
                <a:lnTo>
                  <a:pt x="338" y="220"/>
                </a:lnTo>
                <a:lnTo>
                  <a:pt x="335" y="219"/>
                </a:lnTo>
                <a:lnTo>
                  <a:pt x="332" y="217"/>
                </a:lnTo>
                <a:lnTo>
                  <a:pt x="329" y="217"/>
                </a:lnTo>
                <a:lnTo>
                  <a:pt x="324" y="219"/>
                </a:lnTo>
                <a:lnTo>
                  <a:pt x="318" y="223"/>
                </a:lnTo>
                <a:lnTo>
                  <a:pt x="320" y="226"/>
                </a:lnTo>
                <a:lnTo>
                  <a:pt x="322" y="229"/>
                </a:lnTo>
                <a:lnTo>
                  <a:pt x="325" y="226"/>
                </a:lnTo>
                <a:lnTo>
                  <a:pt x="327" y="224"/>
                </a:lnTo>
                <a:lnTo>
                  <a:pt x="328" y="223"/>
                </a:lnTo>
                <a:lnTo>
                  <a:pt x="329" y="222"/>
                </a:lnTo>
                <a:lnTo>
                  <a:pt x="332" y="223"/>
                </a:lnTo>
                <a:lnTo>
                  <a:pt x="332" y="224"/>
                </a:lnTo>
                <a:lnTo>
                  <a:pt x="332" y="229"/>
                </a:lnTo>
                <a:lnTo>
                  <a:pt x="329" y="233"/>
                </a:lnTo>
                <a:lnTo>
                  <a:pt x="327" y="233"/>
                </a:lnTo>
                <a:lnTo>
                  <a:pt x="324" y="233"/>
                </a:lnTo>
                <a:lnTo>
                  <a:pt x="321" y="233"/>
                </a:lnTo>
                <a:lnTo>
                  <a:pt x="320" y="232"/>
                </a:lnTo>
                <a:lnTo>
                  <a:pt x="318" y="239"/>
                </a:lnTo>
                <a:lnTo>
                  <a:pt x="315" y="245"/>
                </a:lnTo>
                <a:lnTo>
                  <a:pt x="314" y="245"/>
                </a:lnTo>
                <a:lnTo>
                  <a:pt x="313" y="246"/>
                </a:lnTo>
                <a:lnTo>
                  <a:pt x="307" y="239"/>
                </a:lnTo>
                <a:lnTo>
                  <a:pt x="300" y="233"/>
                </a:lnTo>
                <a:lnTo>
                  <a:pt x="299" y="234"/>
                </a:lnTo>
                <a:lnTo>
                  <a:pt x="296" y="234"/>
                </a:lnTo>
                <a:lnTo>
                  <a:pt x="293" y="236"/>
                </a:lnTo>
                <a:lnTo>
                  <a:pt x="292" y="237"/>
                </a:lnTo>
                <a:lnTo>
                  <a:pt x="292" y="238"/>
                </a:lnTo>
                <a:lnTo>
                  <a:pt x="292" y="240"/>
                </a:lnTo>
                <a:lnTo>
                  <a:pt x="296" y="240"/>
                </a:lnTo>
                <a:lnTo>
                  <a:pt x="298" y="240"/>
                </a:lnTo>
                <a:lnTo>
                  <a:pt x="300" y="240"/>
                </a:lnTo>
                <a:lnTo>
                  <a:pt x="303" y="240"/>
                </a:lnTo>
                <a:lnTo>
                  <a:pt x="304" y="241"/>
                </a:lnTo>
                <a:lnTo>
                  <a:pt x="305" y="244"/>
                </a:lnTo>
                <a:lnTo>
                  <a:pt x="305" y="246"/>
                </a:lnTo>
                <a:lnTo>
                  <a:pt x="305" y="248"/>
                </a:lnTo>
                <a:lnTo>
                  <a:pt x="304" y="250"/>
                </a:lnTo>
                <a:lnTo>
                  <a:pt x="303" y="251"/>
                </a:lnTo>
                <a:lnTo>
                  <a:pt x="293" y="255"/>
                </a:lnTo>
                <a:lnTo>
                  <a:pt x="284" y="260"/>
                </a:lnTo>
                <a:lnTo>
                  <a:pt x="285" y="264"/>
                </a:lnTo>
                <a:lnTo>
                  <a:pt x="285" y="269"/>
                </a:lnTo>
                <a:lnTo>
                  <a:pt x="279" y="266"/>
                </a:lnTo>
                <a:lnTo>
                  <a:pt x="273" y="264"/>
                </a:lnTo>
                <a:lnTo>
                  <a:pt x="267" y="261"/>
                </a:lnTo>
                <a:lnTo>
                  <a:pt x="262" y="261"/>
                </a:lnTo>
                <a:lnTo>
                  <a:pt x="262" y="267"/>
                </a:lnTo>
                <a:lnTo>
                  <a:pt x="259" y="273"/>
                </a:lnTo>
                <a:lnTo>
                  <a:pt x="258" y="275"/>
                </a:lnTo>
                <a:lnTo>
                  <a:pt x="256" y="276"/>
                </a:lnTo>
                <a:lnTo>
                  <a:pt x="253" y="278"/>
                </a:lnTo>
                <a:lnTo>
                  <a:pt x="251" y="279"/>
                </a:lnTo>
                <a:lnTo>
                  <a:pt x="256" y="272"/>
                </a:lnTo>
                <a:lnTo>
                  <a:pt x="260" y="265"/>
                </a:lnTo>
                <a:lnTo>
                  <a:pt x="257" y="265"/>
                </a:lnTo>
                <a:lnTo>
                  <a:pt x="255" y="264"/>
                </a:lnTo>
                <a:lnTo>
                  <a:pt x="256" y="261"/>
                </a:lnTo>
                <a:lnTo>
                  <a:pt x="257" y="259"/>
                </a:lnTo>
                <a:lnTo>
                  <a:pt x="252" y="259"/>
                </a:lnTo>
                <a:lnTo>
                  <a:pt x="249" y="258"/>
                </a:lnTo>
                <a:lnTo>
                  <a:pt x="239" y="253"/>
                </a:lnTo>
                <a:lnTo>
                  <a:pt x="228" y="250"/>
                </a:lnTo>
                <a:lnTo>
                  <a:pt x="230" y="248"/>
                </a:lnTo>
                <a:lnTo>
                  <a:pt x="231" y="247"/>
                </a:lnTo>
                <a:lnTo>
                  <a:pt x="227" y="246"/>
                </a:lnTo>
                <a:lnTo>
                  <a:pt x="221" y="245"/>
                </a:lnTo>
                <a:lnTo>
                  <a:pt x="215" y="244"/>
                </a:lnTo>
                <a:lnTo>
                  <a:pt x="209" y="244"/>
                </a:lnTo>
                <a:lnTo>
                  <a:pt x="203" y="245"/>
                </a:lnTo>
                <a:lnTo>
                  <a:pt x="196" y="245"/>
                </a:lnTo>
                <a:lnTo>
                  <a:pt x="194" y="245"/>
                </a:lnTo>
                <a:lnTo>
                  <a:pt x="190" y="243"/>
                </a:lnTo>
                <a:lnTo>
                  <a:pt x="188" y="241"/>
                </a:lnTo>
                <a:lnTo>
                  <a:pt x="186" y="238"/>
                </a:lnTo>
                <a:lnTo>
                  <a:pt x="186" y="238"/>
                </a:lnTo>
                <a:lnTo>
                  <a:pt x="184" y="238"/>
                </a:lnTo>
                <a:lnTo>
                  <a:pt x="183" y="240"/>
                </a:lnTo>
                <a:lnTo>
                  <a:pt x="182" y="241"/>
                </a:lnTo>
                <a:lnTo>
                  <a:pt x="181" y="241"/>
                </a:lnTo>
                <a:lnTo>
                  <a:pt x="179" y="239"/>
                </a:lnTo>
                <a:lnTo>
                  <a:pt x="177" y="238"/>
                </a:lnTo>
                <a:lnTo>
                  <a:pt x="176" y="238"/>
                </a:lnTo>
                <a:lnTo>
                  <a:pt x="172" y="238"/>
                </a:lnTo>
                <a:lnTo>
                  <a:pt x="167" y="239"/>
                </a:lnTo>
                <a:lnTo>
                  <a:pt x="167" y="237"/>
                </a:lnTo>
                <a:lnTo>
                  <a:pt x="167" y="236"/>
                </a:lnTo>
                <a:lnTo>
                  <a:pt x="175" y="234"/>
                </a:lnTo>
                <a:lnTo>
                  <a:pt x="182" y="232"/>
                </a:lnTo>
                <a:lnTo>
                  <a:pt x="182" y="231"/>
                </a:lnTo>
                <a:lnTo>
                  <a:pt x="182" y="231"/>
                </a:lnTo>
                <a:lnTo>
                  <a:pt x="177" y="231"/>
                </a:lnTo>
                <a:lnTo>
                  <a:pt x="173" y="231"/>
                </a:lnTo>
                <a:lnTo>
                  <a:pt x="173" y="231"/>
                </a:lnTo>
                <a:lnTo>
                  <a:pt x="173" y="230"/>
                </a:lnTo>
                <a:lnTo>
                  <a:pt x="175" y="229"/>
                </a:lnTo>
                <a:lnTo>
                  <a:pt x="177" y="229"/>
                </a:lnTo>
                <a:lnTo>
                  <a:pt x="175" y="227"/>
                </a:lnTo>
                <a:lnTo>
                  <a:pt x="174" y="226"/>
                </a:lnTo>
                <a:lnTo>
                  <a:pt x="181" y="226"/>
                </a:lnTo>
                <a:lnTo>
                  <a:pt x="187" y="226"/>
                </a:lnTo>
                <a:lnTo>
                  <a:pt x="189" y="226"/>
                </a:lnTo>
                <a:lnTo>
                  <a:pt x="190" y="225"/>
                </a:lnTo>
                <a:lnTo>
                  <a:pt x="190" y="224"/>
                </a:lnTo>
                <a:lnTo>
                  <a:pt x="191" y="223"/>
                </a:lnTo>
                <a:lnTo>
                  <a:pt x="200" y="223"/>
                </a:lnTo>
                <a:lnTo>
                  <a:pt x="208" y="223"/>
                </a:lnTo>
                <a:lnTo>
                  <a:pt x="208" y="224"/>
                </a:lnTo>
                <a:lnTo>
                  <a:pt x="208" y="225"/>
                </a:lnTo>
                <a:lnTo>
                  <a:pt x="202" y="225"/>
                </a:lnTo>
                <a:lnTo>
                  <a:pt x="197" y="226"/>
                </a:lnTo>
                <a:lnTo>
                  <a:pt x="197" y="226"/>
                </a:lnTo>
                <a:lnTo>
                  <a:pt x="197" y="227"/>
                </a:lnTo>
                <a:lnTo>
                  <a:pt x="204" y="226"/>
                </a:lnTo>
                <a:lnTo>
                  <a:pt x="210" y="226"/>
                </a:lnTo>
                <a:lnTo>
                  <a:pt x="213" y="226"/>
                </a:lnTo>
                <a:lnTo>
                  <a:pt x="214" y="225"/>
                </a:lnTo>
                <a:lnTo>
                  <a:pt x="217" y="225"/>
                </a:lnTo>
                <a:lnTo>
                  <a:pt x="220" y="224"/>
                </a:lnTo>
                <a:lnTo>
                  <a:pt x="236" y="209"/>
                </a:lnTo>
                <a:lnTo>
                  <a:pt x="253" y="192"/>
                </a:lnTo>
                <a:lnTo>
                  <a:pt x="262" y="185"/>
                </a:lnTo>
                <a:lnTo>
                  <a:pt x="270" y="177"/>
                </a:lnTo>
                <a:lnTo>
                  <a:pt x="272" y="175"/>
                </a:lnTo>
                <a:lnTo>
                  <a:pt x="273" y="173"/>
                </a:lnTo>
                <a:lnTo>
                  <a:pt x="271" y="170"/>
                </a:lnTo>
                <a:lnTo>
                  <a:pt x="269" y="169"/>
                </a:lnTo>
                <a:lnTo>
                  <a:pt x="263" y="176"/>
                </a:lnTo>
                <a:lnTo>
                  <a:pt x="258" y="182"/>
                </a:lnTo>
                <a:lnTo>
                  <a:pt x="255" y="184"/>
                </a:lnTo>
                <a:lnTo>
                  <a:pt x="250" y="184"/>
                </a:lnTo>
                <a:lnTo>
                  <a:pt x="246" y="184"/>
                </a:lnTo>
                <a:lnTo>
                  <a:pt x="242" y="183"/>
                </a:lnTo>
                <a:lnTo>
                  <a:pt x="244" y="178"/>
                </a:lnTo>
                <a:lnTo>
                  <a:pt x="245" y="175"/>
                </a:lnTo>
                <a:lnTo>
                  <a:pt x="249" y="174"/>
                </a:lnTo>
                <a:lnTo>
                  <a:pt x="252" y="173"/>
                </a:lnTo>
                <a:lnTo>
                  <a:pt x="255" y="170"/>
                </a:lnTo>
                <a:lnTo>
                  <a:pt x="257" y="168"/>
                </a:lnTo>
                <a:lnTo>
                  <a:pt x="259" y="166"/>
                </a:lnTo>
                <a:lnTo>
                  <a:pt x="260" y="162"/>
                </a:lnTo>
                <a:lnTo>
                  <a:pt x="260" y="160"/>
                </a:lnTo>
                <a:lnTo>
                  <a:pt x="260" y="156"/>
                </a:lnTo>
                <a:lnTo>
                  <a:pt x="259" y="154"/>
                </a:lnTo>
                <a:lnTo>
                  <a:pt x="258" y="153"/>
                </a:lnTo>
                <a:lnTo>
                  <a:pt x="256" y="153"/>
                </a:lnTo>
                <a:lnTo>
                  <a:pt x="255" y="154"/>
                </a:lnTo>
                <a:lnTo>
                  <a:pt x="252" y="157"/>
                </a:lnTo>
                <a:lnTo>
                  <a:pt x="250" y="160"/>
                </a:lnTo>
                <a:lnTo>
                  <a:pt x="248" y="161"/>
                </a:lnTo>
                <a:lnTo>
                  <a:pt x="246" y="160"/>
                </a:lnTo>
                <a:lnTo>
                  <a:pt x="245" y="160"/>
                </a:lnTo>
                <a:lnTo>
                  <a:pt x="245" y="160"/>
                </a:lnTo>
                <a:lnTo>
                  <a:pt x="246" y="157"/>
                </a:lnTo>
                <a:lnTo>
                  <a:pt x="248" y="156"/>
                </a:lnTo>
                <a:lnTo>
                  <a:pt x="243" y="160"/>
                </a:lnTo>
                <a:lnTo>
                  <a:pt x="241" y="163"/>
                </a:lnTo>
                <a:lnTo>
                  <a:pt x="239" y="167"/>
                </a:lnTo>
                <a:lnTo>
                  <a:pt x="239" y="171"/>
                </a:lnTo>
                <a:lnTo>
                  <a:pt x="237" y="176"/>
                </a:lnTo>
                <a:lnTo>
                  <a:pt x="234" y="181"/>
                </a:lnTo>
                <a:lnTo>
                  <a:pt x="231" y="183"/>
                </a:lnTo>
                <a:lnTo>
                  <a:pt x="228" y="185"/>
                </a:lnTo>
                <a:lnTo>
                  <a:pt x="225" y="187"/>
                </a:lnTo>
                <a:lnTo>
                  <a:pt x="224" y="188"/>
                </a:lnTo>
                <a:lnTo>
                  <a:pt x="224" y="190"/>
                </a:lnTo>
                <a:lnTo>
                  <a:pt x="224" y="192"/>
                </a:lnTo>
                <a:lnTo>
                  <a:pt x="223" y="192"/>
                </a:lnTo>
                <a:lnTo>
                  <a:pt x="222" y="192"/>
                </a:lnTo>
                <a:lnTo>
                  <a:pt x="222" y="190"/>
                </a:lnTo>
                <a:lnTo>
                  <a:pt x="222" y="187"/>
                </a:lnTo>
                <a:lnTo>
                  <a:pt x="215" y="188"/>
                </a:lnTo>
                <a:lnTo>
                  <a:pt x="208" y="190"/>
                </a:lnTo>
                <a:lnTo>
                  <a:pt x="208" y="190"/>
                </a:lnTo>
                <a:lnTo>
                  <a:pt x="208" y="190"/>
                </a:lnTo>
                <a:lnTo>
                  <a:pt x="198" y="189"/>
                </a:lnTo>
                <a:lnTo>
                  <a:pt x="191" y="188"/>
                </a:lnTo>
                <a:lnTo>
                  <a:pt x="191" y="189"/>
                </a:lnTo>
                <a:lnTo>
                  <a:pt x="193" y="191"/>
                </a:lnTo>
                <a:lnTo>
                  <a:pt x="200" y="192"/>
                </a:lnTo>
                <a:lnTo>
                  <a:pt x="207" y="194"/>
                </a:lnTo>
                <a:lnTo>
                  <a:pt x="209" y="196"/>
                </a:lnTo>
                <a:lnTo>
                  <a:pt x="209" y="197"/>
                </a:lnTo>
                <a:lnTo>
                  <a:pt x="208" y="199"/>
                </a:lnTo>
                <a:lnTo>
                  <a:pt x="205" y="201"/>
                </a:lnTo>
                <a:lnTo>
                  <a:pt x="201" y="202"/>
                </a:lnTo>
                <a:lnTo>
                  <a:pt x="197" y="201"/>
                </a:lnTo>
                <a:lnTo>
                  <a:pt x="193" y="198"/>
                </a:lnTo>
                <a:lnTo>
                  <a:pt x="190" y="195"/>
                </a:lnTo>
                <a:lnTo>
                  <a:pt x="188" y="192"/>
                </a:lnTo>
                <a:lnTo>
                  <a:pt x="187" y="190"/>
                </a:lnTo>
                <a:lnTo>
                  <a:pt x="186" y="191"/>
                </a:lnTo>
                <a:lnTo>
                  <a:pt x="184" y="191"/>
                </a:lnTo>
                <a:lnTo>
                  <a:pt x="181" y="195"/>
                </a:lnTo>
                <a:lnTo>
                  <a:pt x="177" y="198"/>
                </a:lnTo>
                <a:lnTo>
                  <a:pt x="174" y="198"/>
                </a:lnTo>
                <a:lnTo>
                  <a:pt x="173" y="197"/>
                </a:lnTo>
                <a:lnTo>
                  <a:pt x="170" y="195"/>
                </a:lnTo>
                <a:lnTo>
                  <a:pt x="169" y="192"/>
                </a:lnTo>
                <a:lnTo>
                  <a:pt x="169" y="192"/>
                </a:lnTo>
                <a:lnTo>
                  <a:pt x="168" y="192"/>
                </a:lnTo>
                <a:lnTo>
                  <a:pt x="167" y="190"/>
                </a:lnTo>
                <a:lnTo>
                  <a:pt x="167" y="189"/>
                </a:lnTo>
                <a:lnTo>
                  <a:pt x="168" y="188"/>
                </a:lnTo>
                <a:lnTo>
                  <a:pt x="170" y="187"/>
                </a:lnTo>
                <a:lnTo>
                  <a:pt x="176" y="185"/>
                </a:lnTo>
                <a:lnTo>
                  <a:pt x="184" y="184"/>
                </a:lnTo>
                <a:lnTo>
                  <a:pt x="180" y="182"/>
                </a:lnTo>
                <a:lnTo>
                  <a:pt x="176" y="180"/>
                </a:lnTo>
                <a:lnTo>
                  <a:pt x="177" y="178"/>
                </a:lnTo>
                <a:lnTo>
                  <a:pt x="179" y="177"/>
                </a:lnTo>
                <a:lnTo>
                  <a:pt x="186" y="175"/>
                </a:lnTo>
                <a:lnTo>
                  <a:pt x="191" y="171"/>
                </a:lnTo>
                <a:lnTo>
                  <a:pt x="200" y="168"/>
                </a:lnTo>
                <a:lnTo>
                  <a:pt x="207" y="162"/>
                </a:lnTo>
                <a:lnTo>
                  <a:pt x="208" y="160"/>
                </a:lnTo>
                <a:lnTo>
                  <a:pt x="208" y="157"/>
                </a:lnTo>
                <a:lnTo>
                  <a:pt x="205" y="155"/>
                </a:lnTo>
                <a:lnTo>
                  <a:pt x="202" y="154"/>
                </a:lnTo>
                <a:lnTo>
                  <a:pt x="203" y="156"/>
                </a:lnTo>
                <a:lnTo>
                  <a:pt x="203" y="159"/>
                </a:lnTo>
                <a:lnTo>
                  <a:pt x="201" y="160"/>
                </a:lnTo>
                <a:lnTo>
                  <a:pt x="198" y="160"/>
                </a:lnTo>
                <a:lnTo>
                  <a:pt x="196" y="155"/>
                </a:lnTo>
                <a:lnTo>
                  <a:pt x="194" y="153"/>
                </a:lnTo>
                <a:lnTo>
                  <a:pt x="190" y="153"/>
                </a:lnTo>
                <a:lnTo>
                  <a:pt x="187" y="152"/>
                </a:lnTo>
                <a:lnTo>
                  <a:pt x="184" y="153"/>
                </a:lnTo>
                <a:lnTo>
                  <a:pt x="181" y="154"/>
                </a:lnTo>
                <a:lnTo>
                  <a:pt x="176" y="149"/>
                </a:lnTo>
                <a:lnTo>
                  <a:pt x="170" y="145"/>
                </a:lnTo>
                <a:lnTo>
                  <a:pt x="170" y="145"/>
                </a:lnTo>
                <a:lnTo>
                  <a:pt x="170" y="146"/>
                </a:lnTo>
                <a:lnTo>
                  <a:pt x="167" y="146"/>
                </a:lnTo>
                <a:lnTo>
                  <a:pt x="165" y="146"/>
                </a:lnTo>
                <a:lnTo>
                  <a:pt x="162" y="146"/>
                </a:lnTo>
                <a:lnTo>
                  <a:pt x="161" y="146"/>
                </a:lnTo>
                <a:lnTo>
                  <a:pt x="156" y="148"/>
                </a:lnTo>
                <a:lnTo>
                  <a:pt x="152" y="152"/>
                </a:lnTo>
                <a:lnTo>
                  <a:pt x="149" y="153"/>
                </a:lnTo>
                <a:lnTo>
                  <a:pt x="148" y="154"/>
                </a:lnTo>
                <a:lnTo>
                  <a:pt x="148" y="156"/>
                </a:lnTo>
                <a:lnTo>
                  <a:pt x="148" y="159"/>
                </a:lnTo>
                <a:lnTo>
                  <a:pt x="148" y="160"/>
                </a:lnTo>
                <a:lnTo>
                  <a:pt x="147" y="162"/>
                </a:lnTo>
                <a:lnTo>
                  <a:pt x="146" y="161"/>
                </a:lnTo>
                <a:lnTo>
                  <a:pt x="145" y="160"/>
                </a:lnTo>
                <a:lnTo>
                  <a:pt x="142" y="156"/>
                </a:lnTo>
                <a:lnTo>
                  <a:pt x="140" y="153"/>
                </a:lnTo>
                <a:lnTo>
                  <a:pt x="139" y="149"/>
                </a:lnTo>
                <a:lnTo>
                  <a:pt x="139" y="145"/>
                </a:lnTo>
                <a:lnTo>
                  <a:pt x="138" y="142"/>
                </a:lnTo>
                <a:lnTo>
                  <a:pt x="137" y="141"/>
                </a:lnTo>
                <a:lnTo>
                  <a:pt x="128" y="138"/>
                </a:lnTo>
                <a:lnTo>
                  <a:pt x="120" y="134"/>
                </a:lnTo>
                <a:lnTo>
                  <a:pt x="115" y="132"/>
                </a:lnTo>
                <a:lnTo>
                  <a:pt x="110" y="129"/>
                </a:lnTo>
                <a:lnTo>
                  <a:pt x="107" y="126"/>
                </a:lnTo>
                <a:lnTo>
                  <a:pt x="104" y="124"/>
                </a:lnTo>
                <a:lnTo>
                  <a:pt x="103" y="122"/>
                </a:lnTo>
                <a:lnTo>
                  <a:pt x="101" y="121"/>
                </a:lnTo>
                <a:lnTo>
                  <a:pt x="104" y="119"/>
                </a:lnTo>
                <a:lnTo>
                  <a:pt x="105" y="117"/>
                </a:lnTo>
                <a:lnTo>
                  <a:pt x="105" y="112"/>
                </a:lnTo>
                <a:lnTo>
                  <a:pt x="105" y="108"/>
                </a:lnTo>
                <a:lnTo>
                  <a:pt x="103" y="108"/>
                </a:lnTo>
                <a:lnTo>
                  <a:pt x="99" y="108"/>
                </a:lnTo>
                <a:lnTo>
                  <a:pt x="96" y="111"/>
                </a:lnTo>
                <a:lnTo>
                  <a:pt x="92" y="111"/>
                </a:lnTo>
                <a:lnTo>
                  <a:pt x="89" y="108"/>
                </a:lnTo>
                <a:lnTo>
                  <a:pt x="86" y="106"/>
                </a:lnTo>
                <a:lnTo>
                  <a:pt x="82" y="101"/>
                </a:lnTo>
                <a:lnTo>
                  <a:pt x="78" y="97"/>
                </a:lnTo>
                <a:lnTo>
                  <a:pt x="71" y="86"/>
                </a:lnTo>
                <a:lnTo>
                  <a:pt x="64" y="77"/>
                </a:lnTo>
                <a:lnTo>
                  <a:pt x="63" y="75"/>
                </a:lnTo>
                <a:lnTo>
                  <a:pt x="60" y="73"/>
                </a:lnTo>
                <a:lnTo>
                  <a:pt x="58" y="76"/>
                </a:lnTo>
                <a:lnTo>
                  <a:pt x="57" y="79"/>
                </a:lnTo>
                <a:lnTo>
                  <a:pt x="57" y="86"/>
                </a:lnTo>
                <a:lnTo>
                  <a:pt x="57" y="93"/>
                </a:lnTo>
                <a:lnTo>
                  <a:pt x="57" y="96"/>
                </a:lnTo>
                <a:lnTo>
                  <a:pt x="57" y="97"/>
                </a:lnTo>
                <a:lnTo>
                  <a:pt x="55" y="99"/>
                </a:lnTo>
                <a:lnTo>
                  <a:pt x="52" y="99"/>
                </a:lnTo>
                <a:lnTo>
                  <a:pt x="50" y="100"/>
                </a:lnTo>
                <a:lnTo>
                  <a:pt x="48" y="104"/>
                </a:lnTo>
                <a:lnTo>
                  <a:pt x="46" y="106"/>
                </a:lnTo>
                <a:lnTo>
                  <a:pt x="45" y="110"/>
                </a:lnTo>
                <a:lnTo>
                  <a:pt x="45" y="118"/>
                </a:lnTo>
                <a:lnTo>
                  <a:pt x="46" y="126"/>
                </a:lnTo>
                <a:lnTo>
                  <a:pt x="48" y="128"/>
                </a:lnTo>
                <a:lnTo>
                  <a:pt x="49" y="131"/>
                </a:lnTo>
                <a:lnTo>
                  <a:pt x="50" y="133"/>
                </a:lnTo>
                <a:lnTo>
                  <a:pt x="49" y="135"/>
                </a:lnTo>
                <a:lnTo>
                  <a:pt x="45" y="139"/>
                </a:lnTo>
                <a:lnTo>
                  <a:pt x="42" y="142"/>
                </a:lnTo>
                <a:lnTo>
                  <a:pt x="43" y="145"/>
                </a:lnTo>
                <a:lnTo>
                  <a:pt x="44" y="146"/>
                </a:lnTo>
                <a:lnTo>
                  <a:pt x="38" y="150"/>
                </a:lnTo>
                <a:lnTo>
                  <a:pt x="31" y="156"/>
                </a:lnTo>
                <a:lnTo>
                  <a:pt x="24" y="142"/>
                </a:lnTo>
                <a:lnTo>
                  <a:pt x="16" y="128"/>
                </a:lnTo>
                <a:lnTo>
                  <a:pt x="9" y="114"/>
                </a:lnTo>
                <a:lnTo>
                  <a:pt x="1" y="100"/>
                </a:lnTo>
                <a:lnTo>
                  <a:pt x="0" y="104"/>
                </a:lnTo>
                <a:lnTo>
                  <a:pt x="0" y="106"/>
                </a:lnTo>
                <a:lnTo>
                  <a:pt x="1" y="108"/>
                </a:lnTo>
                <a:lnTo>
                  <a:pt x="2" y="110"/>
                </a:lnTo>
                <a:lnTo>
                  <a:pt x="4" y="113"/>
                </a:lnTo>
                <a:lnTo>
                  <a:pt x="6" y="117"/>
                </a:lnTo>
                <a:lnTo>
                  <a:pt x="4" y="118"/>
                </a:lnTo>
                <a:lnTo>
                  <a:pt x="2" y="119"/>
                </a:lnTo>
                <a:lnTo>
                  <a:pt x="4" y="121"/>
                </a:lnTo>
                <a:lnTo>
                  <a:pt x="6" y="125"/>
                </a:lnTo>
                <a:lnTo>
                  <a:pt x="4" y="128"/>
                </a:lnTo>
                <a:lnTo>
                  <a:pt x="3" y="131"/>
                </a:lnTo>
                <a:lnTo>
                  <a:pt x="2" y="134"/>
                </a:lnTo>
                <a:lnTo>
                  <a:pt x="3" y="136"/>
                </a:lnTo>
                <a:lnTo>
                  <a:pt x="4" y="140"/>
                </a:lnTo>
                <a:lnTo>
                  <a:pt x="7" y="142"/>
                </a:lnTo>
                <a:lnTo>
                  <a:pt x="8" y="140"/>
                </a:lnTo>
                <a:lnTo>
                  <a:pt x="9" y="139"/>
                </a:lnTo>
                <a:lnTo>
                  <a:pt x="11" y="140"/>
                </a:lnTo>
                <a:lnTo>
                  <a:pt x="14" y="141"/>
                </a:lnTo>
                <a:lnTo>
                  <a:pt x="17" y="146"/>
                </a:lnTo>
                <a:lnTo>
                  <a:pt x="21" y="149"/>
                </a:lnTo>
                <a:lnTo>
                  <a:pt x="23" y="155"/>
                </a:lnTo>
                <a:lnTo>
                  <a:pt x="24" y="161"/>
                </a:lnTo>
                <a:lnTo>
                  <a:pt x="24" y="169"/>
                </a:lnTo>
                <a:lnTo>
                  <a:pt x="25" y="177"/>
                </a:lnTo>
                <a:lnTo>
                  <a:pt x="25" y="177"/>
                </a:lnTo>
                <a:lnTo>
                  <a:pt x="27" y="177"/>
                </a:lnTo>
                <a:lnTo>
                  <a:pt x="29" y="175"/>
                </a:lnTo>
                <a:lnTo>
                  <a:pt x="31" y="173"/>
                </a:lnTo>
                <a:lnTo>
                  <a:pt x="32" y="175"/>
                </a:lnTo>
                <a:lnTo>
                  <a:pt x="35" y="177"/>
                </a:lnTo>
                <a:lnTo>
                  <a:pt x="34" y="180"/>
                </a:lnTo>
                <a:lnTo>
                  <a:pt x="34" y="183"/>
                </a:lnTo>
                <a:lnTo>
                  <a:pt x="35" y="185"/>
                </a:lnTo>
                <a:lnTo>
                  <a:pt x="37" y="188"/>
                </a:lnTo>
                <a:lnTo>
                  <a:pt x="45" y="192"/>
                </a:lnTo>
                <a:lnTo>
                  <a:pt x="53" y="195"/>
                </a:lnTo>
                <a:lnTo>
                  <a:pt x="63" y="197"/>
                </a:lnTo>
                <a:lnTo>
                  <a:pt x="72" y="197"/>
                </a:lnTo>
                <a:lnTo>
                  <a:pt x="71" y="198"/>
                </a:lnTo>
                <a:lnTo>
                  <a:pt x="70" y="199"/>
                </a:lnTo>
                <a:lnTo>
                  <a:pt x="70" y="199"/>
                </a:lnTo>
                <a:lnTo>
                  <a:pt x="70" y="201"/>
                </a:lnTo>
                <a:lnTo>
                  <a:pt x="71" y="203"/>
                </a:lnTo>
                <a:lnTo>
                  <a:pt x="72" y="206"/>
                </a:lnTo>
                <a:lnTo>
                  <a:pt x="72" y="210"/>
                </a:lnTo>
                <a:lnTo>
                  <a:pt x="73" y="212"/>
                </a:lnTo>
                <a:lnTo>
                  <a:pt x="75" y="215"/>
                </a:lnTo>
                <a:lnTo>
                  <a:pt x="77" y="216"/>
                </a:lnTo>
                <a:lnTo>
                  <a:pt x="78" y="217"/>
                </a:lnTo>
                <a:lnTo>
                  <a:pt x="79" y="219"/>
                </a:lnTo>
                <a:lnTo>
                  <a:pt x="79" y="219"/>
                </a:lnTo>
                <a:lnTo>
                  <a:pt x="78" y="220"/>
                </a:lnTo>
                <a:lnTo>
                  <a:pt x="73" y="217"/>
                </a:lnTo>
                <a:lnTo>
                  <a:pt x="68" y="213"/>
                </a:lnTo>
                <a:lnTo>
                  <a:pt x="62" y="210"/>
                </a:lnTo>
                <a:lnTo>
                  <a:pt x="56" y="209"/>
                </a:lnTo>
                <a:lnTo>
                  <a:pt x="57" y="210"/>
                </a:lnTo>
                <a:lnTo>
                  <a:pt x="58" y="211"/>
                </a:lnTo>
                <a:lnTo>
                  <a:pt x="73" y="222"/>
                </a:lnTo>
                <a:lnTo>
                  <a:pt x="89" y="230"/>
                </a:lnTo>
                <a:lnTo>
                  <a:pt x="104" y="239"/>
                </a:lnTo>
                <a:lnTo>
                  <a:pt x="120" y="247"/>
                </a:lnTo>
                <a:lnTo>
                  <a:pt x="129" y="252"/>
                </a:lnTo>
                <a:lnTo>
                  <a:pt x="138" y="257"/>
                </a:lnTo>
                <a:lnTo>
                  <a:pt x="145" y="264"/>
                </a:lnTo>
                <a:lnTo>
                  <a:pt x="151" y="271"/>
                </a:lnTo>
                <a:lnTo>
                  <a:pt x="163" y="285"/>
                </a:lnTo>
                <a:lnTo>
                  <a:pt x="177" y="297"/>
                </a:lnTo>
                <a:lnTo>
                  <a:pt x="184" y="303"/>
                </a:lnTo>
                <a:lnTo>
                  <a:pt x="193" y="308"/>
                </a:lnTo>
                <a:lnTo>
                  <a:pt x="201" y="313"/>
                </a:lnTo>
                <a:lnTo>
                  <a:pt x="210" y="316"/>
                </a:lnTo>
                <a:lnTo>
                  <a:pt x="211" y="316"/>
                </a:lnTo>
                <a:lnTo>
                  <a:pt x="213" y="316"/>
                </a:lnTo>
                <a:lnTo>
                  <a:pt x="214" y="316"/>
                </a:lnTo>
                <a:lnTo>
                  <a:pt x="216" y="315"/>
                </a:lnTo>
                <a:lnTo>
                  <a:pt x="221" y="311"/>
                </a:lnTo>
                <a:lnTo>
                  <a:pt x="225" y="310"/>
                </a:lnTo>
                <a:lnTo>
                  <a:pt x="216" y="318"/>
                </a:lnTo>
                <a:lnTo>
                  <a:pt x="207" y="325"/>
                </a:lnTo>
                <a:lnTo>
                  <a:pt x="190" y="332"/>
                </a:lnTo>
                <a:lnTo>
                  <a:pt x="173" y="337"/>
                </a:lnTo>
                <a:lnTo>
                  <a:pt x="162" y="338"/>
                </a:lnTo>
                <a:lnTo>
                  <a:pt x="153" y="339"/>
                </a:lnTo>
                <a:lnTo>
                  <a:pt x="142" y="341"/>
                </a:lnTo>
                <a:lnTo>
                  <a:pt x="133" y="341"/>
                </a:lnTo>
                <a:lnTo>
                  <a:pt x="129" y="341"/>
                </a:lnTo>
                <a:lnTo>
                  <a:pt x="127" y="341"/>
                </a:lnTo>
                <a:lnTo>
                  <a:pt x="121" y="343"/>
                </a:lnTo>
                <a:lnTo>
                  <a:pt x="115" y="343"/>
                </a:lnTo>
                <a:lnTo>
                  <a:pt x="111" y="343"/>
                </a:lnTo>
                <a:lnTo>
                  <a:pt x="105" y="343"/>
                </a:lnTo>
                <a:lnTo>
                  <a:pt x="98" y="344"/>
                </a:lnTo>
                <a:lnTo>
                  <a:pt x="92" y="345"/>
                </a:lnTo>
                <a:lnTo>
                  <a:pt x="90" y="346"/>
                </a:lnTo>
                <a:lnTo>
                  <a:pt x="89" y="346"/>
                </a:lnTo>
                <a:lnTo>
                  <a:pt x="84" y="346"/>
                </a:lnTo>
                <a:lnTo>
                  <a:pt x="79" y="346"/>
                </a:lnTo>
                <a:lnTo>
                  <a:pt x="75" y="349"/>
                </a:lnTo>
                <a:lnTo>
                  <a:pt x="70" y="350"/>
                </a:lnTo>
                <a:lnTo>
                  <a:pt x="63" y="355"/>
                </a:lnTo>
                <a:lnTo>
                  <a:pt x="56" y="358"/>
                </a:lnTo>
                <a:lnTo>
                  <a:pt x="51" y="362"/>
                </a:lnTo>
                <a:lnTo>
                  <a:pt x="46" y="365"/>
                </a:lnTo>
                <a:lnTo>
                  <a:pt x="42" y="370"/>
                </a:lnTo>
                <a:lnTo>
                  <a:pt x="39" y="376"/>
                </a:lnTo>
                <a:lnTo>
                  <a:pt x="37" y="382"/>
                </a:lnTo>
                <a:lnTo>
                  <a:pt x="35" y="389"/>
                </a:lnTo>
                <a:lnTo>
                  <a:pt x="32" y="394"/>
                </a:lnTo>
                <a:lnTo>
                  <a:pt x="29" y="399"/>
                </a:lnTo>
                <a:lnTo>
                  <a:pt x="25" y="404"/>
                </a:lnTo>
                <a:lnTo>
                  <a:pt x="23" y="408"/>
                </a:lnTo>
                <a:lnTo>
                  <a:pt x="17" y="419"/>
                </a:lnTo>
                <a:lnTo>
                  <a:pt x="13" y="431"/>
                </a:lnTo>
                <a:lnTo>
                  <a:pt x="11" y="436"/>
                </a:lnTo>
                <a:lnTo>
                  <a:pt x="10" y="442"/>
                </a:lnTo>
                <a:lnTo>
                  <a:pt x="10" y="449"/>
                </a:lnTo>
                <a:lnTo>
                  <a:pt x="13" y="455"/>
                </a:lnTo>
                <a:lnTo>
                  <a:pt x="14" y="459"/>
                </a:lnTo>
                <a:lnTo>
                  <a:pt x="16" y="462"/>
                </a:lnTo>
                <a:lnTo>
                  <a:pt x="18" y="466"/>
                </a:lnTo>
                <a:lnTo>
                  <a:pt x="22" y="468"/>
                </a:lnTo>
                <a:lnTo>
                  <a:pt x="29" y="471"/>
                </a:lnTo>
                <a:lnTo>
                  <a:pt x="36" y="474"/>
                </a:lnTo>
                <a:lnTo>
                  <a:pt x="46" y="475"/>
                </a:lnTo>
                <a:lnTo>
                  <a:pt x="57" y="475"/>
                </a:lnTo>
                <a:lnTo>
                  <a:pt x="66" y="476"/>
                </a:lnTo>
                <a:lnTo>
                  <a:pt x="77" y="476"/>
                </a:lnTo>
                <a:lnTo>
                  <a:pt x="89" y="477"/>
                </a:lnTo>
                <a:lnTo>
                  <a:pt x="100" y="478"/>
                </a:lnTo>
                <a:lnTo>
                  <a:pt x="100" y="480"/>
                </a:lnTo>
                <a:lnTo>
                  <a:pt x="100" y="481"/>
                </a:lnTo>
                <a:lnTo>
                  <a:pt x="92" y="484"/>
                </a:lnTo>
                <a:lnTo>
                  <a:pt x="84" y="488"/>
                </a:lnTo>
                <a:lnTo>
                  <a:pt x="72" y="496"/>
                </a:lnTo>
                <a:lnTo>
                  <a:pt x="59" y="503"/>
                </a:lnTo>
                <a:lnTo>
                  <a:pt x="52" y="506"/>
                </a:lnTo>
                <a:lnTo>
                  <a:pt x="44" y="510"/>
                </a:lnTo>
                <a:lnTo>
                  <a:pt x="43" y="512"/>
                </a:lnTo>
                <a:lnTo>
                  <a:pt x="41" y="515"/>
                </a:lnTo>
                <a:lnTo>
                  <a:pt x="39" y="516"/>
                </a:lnTo>
                <a:lnTo>
                  <a:pt x="38" y="517"/>
                </a:lnTo>
                <a:lnTo>
                  <a:pt x="38" y="519"/>
                </a:lnTo>
                <a:lnTo>
                  <a:pt x="39" y="522"/>
                </a:lnTo>
                <a:lnTo>
                  <a:pt x="43" y="526"/>
                </a:lnTo>
                <a:lnTo>
                  <a:pt x="46" y="530"/>
                </a:lnTo>
                <a:lnTo>
                  <a:pt x="51" y="533"/>
                </a:lnTo>
                <a:lnTo>
                  <a:pt x="57" y="536"/>
                </a:lnTo>
                <a:lnTo>
                  <a:pt x="64" y="536"/>
                </a:lnTo>
                <a:lnTo>
                  <a:pt x="71" y="537"/>
                </a:lnTo>
                <a:lnTo>
                  <a:pt x="77" y="537"/>
                </a:lnTo>
                <a:lnTo>
                  <a:pt x="84" y="536"/>
                </a:lnTo>
                <a:lnTo>
                  <a:pt x="96" y="531"/>
                </a:lnTo>
                <a:lnTo>
                  <a:pt x="106" y="525"/>
                </a:lnTo>
                <a:lnTo>
                  <a:pt x="113" y="520"/>
                </a:lnTo>
                <a:lnTo>
                  <a:pt x="120" y="517"/>
                </a:lnTo>
                <a:lnTo>
                  <a:pt x="122" y="516"/>
                </a:lnTo>
                <a:lnTo>
                  <a:pt x="126" y="516"/>
                </a:lnTo>
                <a:lnTo>
                  <a:pt x="132" y="516"/>
                </a:lnTo>
                <a:lnTo>
                  <a:pt x="137" y="516"/>
                </a:lnTo>
                <a:lnTo>
                  <a:pt x="141" y="513"/>
                </a:lnTo>
                <a:lnTo>
                  <a:pt x="146" y="512"/>
                </a:lnTo>
                <a:lnTo>
                  <a:pt x="151" y="511"/>
                </a:lnTo>
                <a:lnTo>
                  <a:pt x="155" y="511"/>
                </a:lnTo>
                <a:lnTo>
                  <a:pt x="162" y="513"/>
                </a:lnTo>
                <a:lnTo>
                  <a:pt x="168" y="515"/>
                </a:lnTo>
                <a:lnTo>
                  <a:pt x="169" y="515"/>
                </a:lnTo>
                <a:lnTo>
                  <a:pt x="170" y="515"/>
                </a:lnTo>
                <a:lnTo>
                  <a:pt x="175" y="518"/>
                </a:lnTo>
                <a:lnTo>
                  <a:pt x="179" y="520"/>
                </a:lnTo>
                <a:lnTo>
                  <a:pt x="181" y="524"/>
                </a:lnTo>
                <a:lnTo>
                  <a:pt x="183" y="529"/>
                </a:lnTo>
                <a:lnTo>
                  <a:pt x="186" y="532"/>
                </a:lnTo>
                <a:lnTo>
                  <a:pt x="188" y="536"/>
                </a:lnTo>
                <a:lnTo>
                  <a:pt x="190" y="546"/>
                </a:lnTo>
                <a:lnTo>
                  <a:pt x="193" y="555"/>
                </a:lnTo>
                <a:lnTo>
                  <a:pt x="196" y="555"/>
                </a:lnTo>
                <a:lnTo>
                  <a:pt x="198" y="555"/>
                </a:lnTo>
                <a:lnTo>
                  <a:pt x="200" y="558"/>
                </a:lnTo>
                <a:lnTo>
                  <a:pt x="201" y="560"/>
                </a:lnTo>
                <a:lnTo>
                  <a:pt x="198" y="572"/>
                </a:lnTo>
                <a:lnTo>
                  <a:pt x="196" y="583"/>
                </a:lnTo>
                <a:lnTo>
                  <a:pt x="194" y="593"/>
                </a:lnTo>
                <a:lnTo>
                  <a:pt x="193" y="603"/>
                </a:lnTo>
                <a:lnTo>
                  <a:pt x="193" y="609"/>
                </a:lnTo>
                <a:lnTo>
                  <a:pt x="194" y="615"/>
                </a:lnTo>
                <a:lnTo>
                  <a:pt x="193" y="614"/>
                </a:lnTo>
                <a:lnTo>
                  <a:pt x="191" y="613"/>
                </a:lnTo>
                <a:lnTo>
                  <a:pt x="190" y="620"/>
                </a:lnTo>
                <a:lnTo>
                  <a:pt x="189" y="625"/>
                </a:lnTo>
                <a:lnTo>
                  <a:pt x="186" y="635"/>
                </a:lnTo>
                <a:lnTo>
                  <a:pt x="182" y="643"/>
                </a:lnTo>
                <a:lnTo>
                  <a:pt x="179" y="660"/>
                </a:lnTo>
                <a:lnTo>
                  <a:pt x="175" y="677"/>
                </a:lnTo>
                <a:lnTo>
                  <a:pt x="175" y="678"/>
                </a:lnTo>
                <a:lnTo>
                  <a:pt x="175" y="678"/>
                </a:lnTo>
                <a:lnTo>
                  <a:pt x="174" y="681"/>
                </a:lnTo>
                <a:lnTo>
                  <a:pt x="173" y="685"/>
                </a:lnTo>
                <a:lnTo>
                  <a:pt x="172" y="688"/>
                </a:lnTo>
                <a:lnTo>
                  <a:pt x="173" y="692"/>
                </a:lnTo>
                <a:lnTo>
                  <a:pt x="174" y="694"/>
                </a:lnTo>
                <a:lnTo>
                  <a:pt x="177" y="695"/>
                </a:lnTo>
                <a:lnTo>
                  <a:pt x="177" y="698"/>
                </a:lnTo>
                <a:lnTo>
                  <a:pt x="177" y="699"/>
                </a:lnTo>
                <a:lnTo>
                  <a:pt x="176" y="699"/>
                </a:lnTo>
                <a:lnTo>
                  <a:pt x="174" y="698"/>
                </a:lnTo>
                <a:lnTo>
                  <a:pt x="176" y="701"/>
                </a:lnTo>
                <a:lnTo>
                  <a:pt x="176" y="704"/>
                </a:lnTo>
                <a:lnTo>
                  <a:pt x="176" y="707"/>
                </a:lnTo>
                <a:lnTo>
                  <a:pt x="176" y="711"/>
                </a:lnTo>
                <a:lnTo>
                  <a:pt x="179" y="713"/>
                </a:lnTo>
                <a:lnTo>
                  <a:pt x="180" y="716"/>
                </a:lnTo>
                <a:lnTo>
                  <a:pt x="183" y="714"/>
                </a:lnTo>
                <a:lnTo>
                  <a:pt x="187" y="712"/>
                </a:lnTo>
                <a:lnTo>
                  <a:pt x="189" y="708"/>
                </a:lnTo>
                <a:lnTo>
                  <a:pt x="191" y="704"/>
                </a:lnTo>
                <a:lnTo>
                  <a:pt x="191" y="704"/>
                </a:lnTo>
                <a:lnTo>
                  <a:pt x="193" y="702"/>
                </a:lnTo>
                <a:lnTo>
                  <a:pt x="194" y="701"/>
                </a:lnTo>
                <a:lnTo>
                  <a:pt x="195" y="699"/>
                </a:lnTo>
                <a:lnTo>
                  <a:pt x="196" y="700"/>
                </a:lnTo>
                <a:lnTo>
                  <a:pt x="196" y="701"/>
                </a:lnTo>
                <a:lnTo>
                  <a:pt x="198" y="697"/>
                </a:lnTo>
                <a:lnTo>
                  <a:pt x="202" y="692"/>
                </a:lnTo>
                <a:lnTo>
                  <a:pt x="203" y="688"/>
                </a:lnTo>
                <a:lnTo>
                  <a:pt x="203" y="686"/>
                </a:lnTo>
                <a:lnTo>
                  <a:pt x="205" y="678"/>
                </a:lnTo>
                <a:lnTo>
                  <a:pt x="207" y="671"/>
                </a:lnTo>
                <a:lnTo>
                  <a:pt x="207" y="670"/>
                </a:lnTo>
                <a:lnTo>
                  <a:pt x="207" y="670"/>
                </a:lnTo>
                <a:lnTo>
                  <a:pt x="209" y="658"/>
                </a:lnTo>
                <a:lnTo>
                  <a:pt x="211" y="648"/>
                </a:lnTo>
                <a:lnTo>
                  <a:pt x="213" y="643"/>
                </a:lnTo>
                <a:lnTo>
                  <a:pt x="215" y="637"/>
                </a:lnTo>
                <a:lnTo>
                  <a:pt x="218" y="628"/>
                </a:lnTo>
                <a:lnTo>
                  <a:pt x="222" y="618"/>
                </a:lnTo>
                <a:lnTo>
                  <a:pt x="229" y="608"/>
                </a:lnTo>
                <a:lnTo>
                  <a:pt x="236" y="600"/>
                </a:lnTo>
                <a:lnTo>
                  <a:pt x="244" y="592"/>
                </a:lnTo>
                <a:lnTo>
                  <a:pt x="253" y="585"/>
                </a:lnTo>
                <a:lnTo>
                  <a:pt x="258" y="582"/>
                </a:lnTo>
                <a:lnTo>
                  <a:pt x="264" y="580"/>
                </a:lnTo>
                <a:lnTo>
                  <a:pt x="266" y="580"/>
                </a:lnTo>
                <a:lnTo>
                  <a:pt x="270" y="581"/>
                </a:lnTo>
                <a:lnTo>
                  <a:pt x="274" y="582"/>
                </a:lnTo>
                <a:lnTo>
                  <a:pt x="280" y="586"/>
                </a:lnTo>
                <a:lnTo>
                  <a:pt x="282" y="585"/>
                </a:lnTo>
                <a:lnTo>
                  <a:pt x="283" y="582"/>
                </a:lnTo>
                <a:lnTo>
                  <a:pt x="285" y="585"/>
                </a:lnTo>
                <a:lnTo>
                  <a:pt x="286" y="587"/>
                </a:lnTo>
                <a:lnTo>
                  <a:pt x="285" y="587"/>
                </a:lnTo>
                <a:lnTo>
                  <a:pt x="285" y="588"/>
                </a:lnTo>
                <a:lnTo>
                  <a:pt x="287" y="590"/>
                </a:lnTo>
                <a:lnTo>
                  <a:pt x="291" y="593"/>
                </a:lnTo>
                <a:lnTo>
                  <a:pt x="294" y="594"/>
                </a:lnTo>
                <a:lnTo>
                  <a:pt x="299" y="594"/>
                </a:lnTo>
                <a:lnTo>
                  <a:pt x="301" y="597"/>
                </a:lnTo>
                <a:lnTo>
                  <a:pt x="303" y="599"/>
                </a:lnTo>
                <a:lnTo>
                  <a:pt x="306" y="601"/>
                </a:lnTo>
                <a:lnTo>
                  <a:pt x="310" y="602"/>
                </a:lnTo>
                <a:lnTo>
                  <a:pt x="313" y="604"/>
                </a:lnTo>
                <a:lnTo>
                  <a:pt x="317" y="607"/>
                </a:lnTo>
                <a:lnTo>
                  <a:pt x="325" y="611"/>
                </a:lnTo>
                <a:lnTo>
                  <a:pt x="332" y="616"/>
                </a:lnTo>
                <a:lnTo>
                  <a:pt x="334" y="617"/>
                </a:lnTo>
                <a:lnTo>
                  <a:pt x="335" y="618"/>
                </a:lnTo>
                <a:lnTo>
                  <a:pt x="338" y="617"/>
                </a:lnTo>
                <a:lnTo>
                  <a:pt x="339" y="617"/>
                </a:lnTo>
                <a:lnTo>
                  <a:pt x="343" y="618"/>
                </a:lnTo>
                <a:lnTo>
                  <a:pt x="347" y="621"/>
                </a:lnTo>
                <a:lnTo>
                  <a:pt x="348" y="621"/>
                </a:lnTo>
                <a:lnTo>
                  <a:pt x="351" y="621"/>
                </a:lnTo>
                <a:lnTo>
                  <a:pt x="353" y="622"/>
                </a:lnTo>
                <a:lnTo>
                  <a:pt x="356" y="624"/>
                </a:lnTo>
                <a:lnTo>
                  <a:pt x="362" y="628"/>
                </a:lnTo>
                <a:lnTo>
                  <a:pt x="368" y="632"/>
                </a:lnTo>
                <a:lnTo>
                  <a:pt x="372" y="634"/>
                </a:lnTo>
                <a:lnTo>
                  <a:pt x="374" y="636"/>
                </a:lnTo>
                <a:lnTo>
                  <a:pt x="377" y="637"/>
                </a:lnTo>
                <a:lnTo>
                  <a:pt x="380" y="638"/>
                </a:lnTo>
                <a:lnTo>
                  <a:pt x="384" y="642"/>
                </a:lnTo>
                <a:lnTo>
                  <a:pt x="390" y="645"/>
                </a:lnTo>
                <a:lnTo>
                  <a:pt x="393" y="648"/>
                </a:lnTo>
                <a:lnTo>
                  <a:pt x="394" y="650"/>
                </a:lnTo>
                <a:lnTo>
                  <a:pt x="394" y="653"/>
                </a:lnTo>
                <a:lnTo>
                  <a:pt x="393" y="657"/>
                </a:lnTo>
                <a:lnTo>
                  <a:pt x="391" y="662"/>
                </a:lnTo>
                <a:lnTo>
                  <a:pt x="390" y="666"/>
                </a:lnTo>
                <a:lnTo>
                  <a:pt x="390" y="674"/>
                </a:lnTo>
                <a:lnTo>
                  <a:pt x="389" y="681"/>
                </a:lnTo>
                <a:lnTo>
                  <a:pt x="388" y="693"/>
                </a:lnTo>
                <a:lnTo>
                  <a:pt x="388" y="705"/>
                </a:lnTo>
                <a:lnTo>
                  <a:pt x="388" y="720"/>
                </a:lnTo>
                <a:lnTo>
                  <a:pt x="388" y="734"/>
                </a:lnTo>
                <a:lnTo>
                  <a:pt x="388" y="747"/>
                </a:lnTo>
                <a:lnTo>
                  <a:pt x="388" y="760"/>
                </a:lnTo>
                <a:lnTo>
                  <a:pt x="388" y="767"/>
                </a:lnTo>
                <a:lnTo>
                  <a:pt x="389" y="772"/>
                </a:lnTo>
                <a:lnTo>
                  <a:pt x="389" y="781"/>
                </a:lnTo>
                <a:lnTo>
                  <a:pt x="388" y="789"/>
                </a:lnTo>
                <a:lnTo>
                  <a:pt x="388" y="803"/>
                </a:lnTo>
                <a:lnTo>
                  <a:pt x="388" y="816"/>
                </a:lnTo>
                <a:lnTo>
                  <a:pt x="389" y="821"/>
                </a:lnTo>
                <a:lnTo>
                  <a:pt x="390" y="826"/>
                </a:lnTo>
                <a:lnTo>
                  <a:pt x="391" y="831"/>
                </a:lnTo>
                <a:lnTo>
                  <a:pt x="391" y="837"/>
                </a:lnTo>
                <a:lnTo>
                  <a:pt x="393" y="847"/>
                </a:lnTo>
                <a:lnTo>
                  <a:pt x="394" y="858"/>
                </a:lnTo>
                <a:lnTo>
                  <a:pt x="395" y="868"/>
                </a:lnTo>
                <a:lnTo>
                  <a:pt x="396" y="879"/>
                </a:lnTo>
                <a:lnTo>
                  <a:pt x="398" y="887"/>
                </a:lnTo>
                <a:lnTo>
                  <a:pt x="401" y="896"/>
                </a:lnTo>
                <a:lnTo>
                  <a:pt x="401" y="897"/>
                </a:lnTo>
                <a:lnTo>
                  <a:pt x="401" y="897"/>
                </a:lnTo>
                <a:lnTo>
                  <a:pt x="404" y="905"/>
                </a:lnTo>
                <a:lnTo>
                  <a:pt x="405" y="912"/>
                </a:lnTo>
                <a:lnTo>
                  <a:pt x="407" y="921"/>
                </a:lnTo>
                <a:lnTo>
                  <a:pt x="407" y="928"/>
                </a:lnTo>
                <a:lnTo>
                  <a:pt x="407" y="939"/>
                </a:lnTo>
                <a:lnTo>
                  <a:pt x="408" y="951"/>
                </a:lnTo>
                <a:lnTo>
                  <a:pt x="408" y="963"/>
                </a:lnTo>
                <a:lnTo>
                  <a:pt x="409" y="973"/>
                </a:lnTo>
                <a:lnTo>
                  <a:pt x="411" y="982"/>
                </a:lnTo>
                <a:lnTo>
                  <a:pt x="414" y="992"/>
                </a:lnTo>
                <a:lnTo>
                  <a:pt x="416" y="1001"/>
                </a:lnTo>
                <a:lnTo>
                  <a:pt x="417" y="1009"/>
                </a:lnTo>
                <a:lnTo>
                  <a:pt x="419" y="1021"/>
                </a:lnTo>
                <a:lnTo>
                  <a:pt x="422" y="1033"/>
                </a:lnTo>
                <a:lnTo>
                  <a:pt x="423" y="1042"/>
                </a:lnTo>
                <a:lnTo>
                  <a:pt x="425" y="1050"/>
                </a:lnTo>
                <a:lnTo>
                  <a:pt x="427" y="1059"/>
                </a:lnTo>
                <a:lnTo>
                  <a:pt x="428" y="1069"/>
                </a:lnTo>
                <a:lnTo>
                  <a:pt x="429" y="1079"/>
                </a:lnTo>
                <a:lnTo>
                  <a:pt x="428" y="1090"/>
                </a:lnTo>
                <a:lnTo>
                  <a:pt x="428" y="1104"/>
                </a:lnTo>
                <a:lnTo>
                  <a:pt x="428" y="1119"/>
                </a:lnTo>
                <a:lnTo>
                  <a:pt x="428" y="1123"/>
                </a:lnTo>
                <a:lnTo>
                  <a:pt x="428" y="1126"/>
                </a:lnTo>
                <a:lnTo>
                  <a:pt x="431" y="1135"/>
                </a:lnTo>
                <a:lnTo>
                  <a:pt x="434" y="1145"/>
                </a:lnTo>
                <a:lnTo>
                  <a:pt x="436" y="1148"/>
                </a:lnTo>
                <a:lnTo>
                  <a:pt x="437" y="1149"/>
                </a:lnTo>
                <a:lnTo>
                  <a:pt x="439" y="1151"/>
                </a:lnTo>
                <a:lnTo>
                  <a:pt x="441" y="1153"/>
                </a:lnTo>
                <a:lnTo>
                  <a:pt x="442" y="1155"/>
                </a:lnTo>
                <a:lnTo>
                  <a:pt x="442" y="1156"/>
                </a:lnTo>
                <a:lnTo>
                  <a:pt x="444" y="1169"/>
                </a:lnTo>
                <a:lnTo>
                  <a:pt x="445" y="1182"/>
                </a:lnTo>
                <a:lnTo>
                  <a:pt x="448" y="1195"/>
                </a:lnTo>
                <a:lnTo>
                  <a:pt x="449" y="1208"/>
                </a:lnTo>
                <a:lnTo>
                  <a:pt x="450" y="1224"/>
                </a:lnTo>
                <a:lnTo>
                  <a:pt x="451" y="1239"/>
                </a:lnTo>
                <a:lnTo>
                  <a:pt x="452" y="1254"/>
                </a:lnTo>
                <a:lnTo>
                  <a:pt x="452" y="1271"/>
                </a:lnTo>
                <a:lnTo>
                  <a:pt x="452" y="1271"/>
                </a:lnTo>
                <a:lnTo>
                  <a:pt x="452" y="1272"/>
                </a:lnTo>
                <a:lnTo>
                  <a:pt x="453" y="1277"/>
                </a:lnTo>
                <a:lnTo>
                  <a:pt x="453" y="1281"/>
                </a:lnTo>
                <a:lnTo>
                  <a:pt x="453" y="1287"/>
                </a:lnTo>
                <a:lnTo>
                  <a:pt x="452" y="1292"/>
                </a:lnTo>
                <a:lnTo>
                  <a:pt x="450" y="1309"/>
                </a:lnTo>
                <a:lnTo>
                  <a:pt x="449" y="1327"/>
                </a:lnTo>
                <a:lnTo>
                  <a:pt x="449" y="1328"/>
                </a:lnTo>
                <a:lnTo>
                  <a:pt x="449" y="1329"/>
                </a:lnTo>
                <a:lnTo>
                  <a:pt x="448" y="1334"/>
                </a:lnTo>
                <a:lnTo>
                  <a:pt x="446" y="1338"/>
                </a:lnTo>
                <a:lnTo>
                  <a:pt x="443" y="1349"/>
                </a:lnTo>
                <a:lnTo>
                  <a:pt x="438" y="1359"/>
                </a:lnTo>
                <a:lnTo>
                  <a:pt x="434" y="1370"/>
                </a:lnTo>
                <a:lnTo>
                  <a:pt x="429" y="1380"/>
                </a:lnTo>
                <a:lnTo>
                  <a:pt x="425" y="1391"/>
                </a:lnTo>
                <a:lnTo>
                  <a:pt x="422" y="1401"/>
                </a:lnTo>
                <a:lnTo>
                  <a:pt x="418" y="1412"/>
                </a:lnTo>
                <a:lnTo>
                  <a:pt x="415" y="1422"/>
                </a:lnTo>
                <a:lnTo>
                  <a:pt x="415" y="1427"/>
                </a:lnTo>
                <a:lnTo>
                  <a:pt x="416" y="1431"/>
                </a:lnTo>
                <a:lnTo>
                  <a:pt x="419" y="1434"/>
                </a:lnTo>
                <a:lnTo>
                  <a:pt x="423" y="1435"/>
                </a:lnTo>
                <a:lnTo>
                  <a:pt x="429" y="1436"/>
                </a:lnTo>
                <a:lnTo>
                  <a:pt x="435" y="1436"/>
                </a:lnTo>
                <a:lnTo>
                  <a:pt x="439" y="1436"/>
                </a:lnTo>
                <a:lnTo>
                  <a:pt x="445" y="1435"/>
                </a:lnTo>
                <a:lnTo>
                  <a:pt x="448" y="1435"/>
                </a:lnTo>
                <a:lnTo>
                  <a:pt x="450" y="1435"/>
                </a:lnTo>
                <a:lnTo>
                  <a:pt x="455" y="1439"/>
                </a:lnTo>
                <a:lnTo>
                  <a:pt x="460" y="1439"/>
                </a:lnTo>
                <a:lnTo>
                  <a:pt x="465" y="1440"/>
                </a:lnTo>
                <a:lnTo>
                  <a:pt x="471" y="1440"/>
                </a:lnTo>
                <a:lnTo>
                  <a:pt x="472" y="1440"/>
                </a:lnTo>
                <a:lnTo>
                  <a:pt x="474" y="1440"/>
                </a:lnTo>
                <a:lnTo>
                  <a:pt x="486" y="1434"/>
                </a:lnTo>
                <a:lnTo>
                  <a:pt x="499" y="1428"/>
                </a:lnTo>
                <a:lnTo>
                  <a:pt x="506" y="1424"/>
                </a:lnTo>
                <a:lnTo>
                  <a:pt x="511" y="1418"/>
                </a:lnTo>
                <a:lnTo>
                  <a:pt x="513" y="1414"/>
                </a:lnTo>
                <a:lnTo>
                  <a:pt x="514" y="1411"/>
                </a:lnTo>
                <a:lnTo>
                  <a:pt x="514" y="1407"/>
                </a:lnTo>
                <a:lnTo>
                  <a:pt x="514" y="1403"/>
                </a:lnTo>
                <a:lnTo>
                  <a:pt x="511" y="1387"/>
                </a:lnTo>
                <a:lnTo>
                  <a:pt x="507" y="1372"/>
                </a:lnTo>
                <a:lnTo>
                  <a:pt x="505" y="1369"/>
                </a:lnTo>
                <a:lnTo>
                  <a:pt x="503" y="1364"/>
                </a:lnTo>
                <a:lnTo>
                  <a:pt x="503" y="1364"/>
                </a:lnTo>
                <a:lnTo>
                  <a:pt x="501" y="1364"/>
                </a:lnTo>
                <a:lnTo>
                  <a:pt x="500" y="1368"/>
                </a:lnTo>
                <a:lnTo>
                  <a:pt x="499" y="1369"/>
                </a:lnTo>
                <a:lnTo>
                  <a:pt x="497" y="1369"/>
                </a:lnTo>
                <a:lnTo>
                  <a:pt x="494" y="1368"/>
                </a:lnTo>
                <a:lnTo>
                  <a:pt x="494" y="1370"/>
                </a:lnTo>
                <a:lnTo>
                  <a:pt x="494" y="1372"/>
                </a:lnTo>
                <a:lnTo>
                  <a:pt x="488" y="1369"/>
                </a:lnTo>
                <a:lnTo>
                  <a:pt x="486" y="1365"/>
                </a:lnTo>
                <a:lnTo>
                  <a:pt x="484" y="1362"/>
                </a:lnTo>
                <a:lnTo>
                  <a:pt x="483" y="1357"/>
                </a:lnTo>
                <a:lnTo>
                  <a:pt x="485" y="1358"/>
                </a:lnTo>
                <a:lnTo>
                  <a:pt x="486" y="1359"/>
                </a:lnTo>
                <a:lnTo>
                  <a:pt x="487" y="1358"/>
                </a:lnTo>
                <a:lnTo>
                  <a:pt x="487" y="1358"/>
                </a:lnTo>
                <a:lnTo>
                  <a:pt x="485" y="1356"/>
                </a:lnTo>
                <a:lnTo>
                  <a:pt x="483" y="1355"/>
                </a:lnTo>
                <a:lnTo>
                  <a:pt x="486" y="1354"/>
                </a:lnTo>
                <a:lnTo>
                  <a:pt x="490" y="1352"/>
                </a:lnTo>
                <a:lnTo>
                  <a:pt x="488" y="1344"/>
                </a:lnTo>
                <a:lnTo>
                  <a:pt x="487" y="1337"/>
                </a:lnTo>
                <a:lnTo>
                  <a:pt x="484" y="1336"/>
                </a:lnTo>
                <a:lnTo>
                  <a:pt x="483" y="1335"/>
                </a:lnTo>
                <a:lnTo>
                  <a:pt x="484" y="1333"/>
                </a:lnTo>
                <a:lnTo>
                  <a:pt x="485" y="1328"/>
                </a:lnTo>
                <a:lnTo>
                  <a:pt x="481" y="1320"/>
                </a:lnTo>
                <a:lnTo>
                  <a:pt x="479" y="1314"/>
                </a:lnTo>
                <a:lnTo>
                  <a:pt x="478" y="1310"/>
                </a:lnTo>
                <a:lnTo>
                  <a:pt x="477" y="1307"/>
                </a:lnTo>
                <a:lnTo>
                  <a:pt x="474" y="1302"/>
                </a:lnTo>
                <a:lnTo>
                  <a:pt x="472" y="1298"/>
                </a:lnTo>
                <a:lnTo>
                  <a:pt x="471" y="1291"/>
                </a:lnTo>
                <a:lnTo>
                  <a:pt x="470" y="1282"/>
                </a:lnTo>
                <a:lnTo>
                  <a:pt x="470" y="1280"/>
                </a:lnTo>
                <a:lnTo>
                  <a:pt x="470" y="1278"/>
                </a:lnTo>
                <a:lnTo>
                  <a:pt x="471" y="1272"/>
                </a:lnTo>
                <a:lnTo>
                  <a:pt x="473" y="1267"/>
                </a:lnTo>
                <a:lnTo>
                  <a:pt x="474" y="1267"/>
                </a:lnTo>
                <a:lnTo>
                  <a:pt x="477" y="1267"/>
                </a:lnTo>
                <a:lnTo>
                  <a:pt x="476" y="1263"/>
                </a:lnTo>
                <a:lnTo>
                  <a:pt x="474" y="1258"/>
                </a:lnTo>
                <a:lnTo>
                  <a:pt x="474" y="1256"/>
                </a:lnTo>
                <a:lnTo>
                  <a:pt x="474" y="1253"/>
                </a:lnTo>
                <a:lnTo>
                  <a:pt x="476" y="1250"/>
                </a:lnTo>
                <a:lnTo>
                  <a:pt x="476" y="1247"/>
                </a:lnTo>
                <a:lnTo>
                  <a:pt x="473" y="1244"/>
                </a:lnTo>
                <a:lnTo>
                  <a:pt x="471" y="1240"/>
                </a:lnTo>
                <a:lnTo>
                  <a:pt x="474" y="1243"/>
                </a:lnTo>
                <a:lnTo>
                  <a:pt x="478" y="1243"/>
                </a:lnTo>
                <a:lnTo>
                  <a:pt x="480" y="1242"/>
                </a:lnTo>
                <a:lnTo>
                  <a:pt x="483" y="1239"/>
                </a:lnTo>
                <a:lnTo>
                  <a:pt x="478" y="1230"/>
                </a:lnTo>
                <a:lnTo>
                  <a:pt x="473" y="1222"/>
                </a:lnTo>
                <a:lnTo>
                  <a:pt x="476" y="1219"/>
                </a:lnTo>
                <a:lnTo>
                  <a:pt x="477" y="1217"/>
                </a:lnTo>
                <a:lnTo>
                  <a:pt x="478" y="1217"/>
                </a:lnTo>
                <a:lnTo>
                  <a:pt x="479" y="1218"/>
                </a:lnTo>
                <a:lnTo>
                  <a:pt x="479" y="1215"/>
                </a:lnTo>
                <a:lnTo>
                  <a:pt x="479" y="1212"/>
                </a:lnTo>
                <a:lnTo>
                  <a:pt x="479" y="1211"/>
                </a:lnTo>
                <a:lnTo>
                  <a:pt x="479" y="1211"/>
                </a:lnTo>
                <a:lnTo>
                  <a:pt x="480" y="1212"/>
                </a:lnTo>
                <a:lnTo>
                  <a:pt x="483" y="1215"/>
                </a:lnTo>
                <a:lnTo>
                  <a:pt x="484" y="1208"/>
                </a:lnTo>
                <a:lnTo>
                  <a:pt x="484" y="1201"/>
                </a:lnTo>
                <a:lnTo>
                  <a:pt x="484" y="1201"/>
                </a:lnTo>
                <a:lnTo>
                  <a:pt x="484" y="1200"/>
                </a:lnTo>
                <a:lnTo>
                  <a:pt x="485" y="1189"/>
                </a:lnTo>
                <a:lnTo>
                  <a:pt x="485" y="1179"/>
                </a:lnTo>
                <a:lnTo>
                  <a:pt x="484" y="1168"/>
                </a:lnTo>
                <a:lnTo>
                  <a:pt x="481" y="1158"/>
                </a:lnTo>
                <a:lnTo>
                  <a:pt x="483" y="1158"/>
                </a:lnTo>
                <a:lnTo>
                  <a:pt x="483" y="1159"/>
                </a:lnTo>
                <a:lnTo>
                  <a:pt x="485" y="1156"/>
                </a:lnTo>
                <a:lnTo>
                  <a:pt x="488" y="1153"/>
                </a:lnTo>
                <a:lnTo>
                  <a:pt x="490" y="1152"/>
                </a:lnTo>
                <a:lnTo>
                  <a:pt x="491" y="1149"/>
                </a:lnTo>
                <a:lnTo>
                  <a:pt x="492" y="1146"/>
                </a:lnTo>
                <a:lnTo>
                  <a:pt x="493" y="1142"/>
                </a:lnTo>
                <a:lnTo>
                  <a:pt x="498" y="1128"/>
                </a:lnTo>
                <a:lnTo>
                  <a:pt x="501" y="1114"/>
                </a:lnTo>
                <a:lnTo>
                  <a:pt x="503" y="1109"/>
                </a:lnTo>
                <a:lnTo>
                  <a:pt x="504" y="1104"/>
                </a:lnTo>
                <a:lnTo>
                  <a:pt x="506" y="1100"/>
                </a:lnTo>
                <a:lnTo>
                  <a:pt x="505" y="1097"/>
                </a:lnTo>
                <a:lnTo>
                  <a:pt x="501" y="1083"/>
                </a:lnTo>
                <a:lnTo>
                  <a:pt x="498" y="1069"/>
                </a:lnTo>
                <a:lnTo>
                  <a:pt x="497" y="1054"/>
                </a:lnTo>
                <a:lnTo>
                  <a:pt x="497" y="1038"/>
                </a:lnTo>
                <a:lnTo>
                  <a:pt x="496" y="1029"/>
                </a:lnTo>
                <a:lnTo>
                  <a:pt x="496" y="1019"/>
                </a:lnTo>
                <a:lnTo>
                  <a:pt x="497" y="1008"/>
                </a:lnTo>
                <a:lnTo>
                  <a:pt x="499" y="996"/>
                </a:lnTo>
                <a:lnTo>
                  <a:pt x="499" y="992"/>
                </a:lnTo>
                <a:lnTo>
                  <a:pt x="500" y="986"/>
                </a:lnTo>
                <a:lnTo>
                  <a:pt x="503" y="979"/>
                </a:lnTo>
                <a:lnTo>
                  <a:pt x="505" y="972"/>
                </a:lnTo>
                <a:lnTo>
                  <a:pt x="505" y="963"/>
                </a:lnTo>
                <a:lnTo>
                  <a:pt x="507" y="953"/>
                </a:lnTo>
                <a:lnTo>
                  <a:pt x="508" y="944"/>
                </a:lnTo>
                <a:lnTo>
                  <a:pt x="507" y="935"/>
                </a:lnTo>
                <a:lnTo>
                  <a:pt x="507" y="924"/>
                </a:lnTo>
                <a:lnTo>
                  <a:pt x="507" y="914"/>
                </a:lnTo>
                <a:lnTo>
                  <a:pt x="510" y="908"/>
                </a:lnTo>
                <a:lnTo>
                  <a:pt x="512" y="902"/>
                </a:lnTo>
                <a:lnTo>
                  <a:pt x="513" y="898"/>
                </a:lnTo>
                <a:lnTo>
                  <a:pt x="517" y="895"/>
                </a:lnTo>
                <a:lnTo>
                  <a:pt x="519" y="893"/>
                </a:lnTo>
                <a:lnTo>
                  <a:pt x="522" y="890"/>
                </a:lnTo>
                <a:lnTo>
                  <a:pt x="524" y="889"/>
                </a:lnTo>
                <a:lnTo>
                  <a:pt x="525" y="889"/>
                </a:lnTo>
                <a:lnTo>
                  <a:pt x="532" y="890"/>
                </a:lnTo>
                <a:lnTo>
                  <a:pt x="539" y="891"/>
                </a:lnTo>
                <a:lnTo>
                  <a:pt x="541" y="891"/>
                </a:lnTo>
                <a:lnTo>
                  <a:pt x="543" y="891"/>
                </a:lnTo>
                <a:lnTo>
                  <a:pt x="549" y="895"/>
                </a:lnTo>
                <a:lnTo>
                  <a:pt x="556" y="897"/>
                </a:lnTo>
                <a:lnTo>
                  <a:pt x="561" y="902"/>
                </a:lnTo>
                <a:lnTo>
                  <a:pt x="564" y="907"/>
                </a:lnTo>
                <a:lnTo>
                  <a:pt x="566" y="911"/>
                </a:lnTo>
                <a:lnTo>
                  <a:pt x="567" y="916"/>
                </a:lnTo>
                <a:lnTo>
                  <a:pt x="568" y="918"/>
                </a:lnTo>
                <a:lnTo>
                  <a:pt x="569" y="919"/>
                </a:lnTo>
                <a:lnTo>
                  <a:pt x="569" y="925"/>
                </a:lnTo>
                <a:lnTo>
                  <a:pt x="569" y="931"/>
                </a:lnTo>
                <a:lnTo>
                  <a:pt x="569" y="933"/>
                </a:lnTo>
                <a:lnTo>
                  <a:pt x="569" y="935"/>
                </a:lnTo>
                <a:lnTo>
                  <a:pt x="569" y="943"/>
                </a:lnTo>
                <a:lnTo>
                  <a:pt x="568" y="950"/>
                </a:lnTo>
                <a:lnTo>
                  <a:pt x="568" y="952"/>
                </a:lnTo>
                <a:lnTo>
                  <a:pt x="567" y="954"/>
                </a:lnTo>
                <a:lnTo>
                  <a:pt x="567" y="956"/>
                </a:lnTo>
                <a:lnTo>
                  <a:pt x="567" y="956"/>
                </a:lnTo>
                <a:lnTo>
                  <a:pt x="568" y="963"/>
                </a:lnTo>
                <a:lnTo>
                  <a:pt x="570" y="970"/>
                </a:lnTo>
                <a:lnTo>
                  <a:pt x="569" y="974"/>
                </a:lnTo>
                <a:lnTo>
                  <a:pt x="570" y="979"/>
                </a:lnTo>
                <a:lnTo>
                  <a:pt x="573" y="984"/>
                </a:lnTo>
                <a:lnTo>
                  <a:pt x="574" y="988"/>
                </a:lnTo>
                <a:lnTo>
                  <a:pt x="575" y="996"/>
                </a:lnTo>
                <a:lnTo>
                  <a:pt x="579" y="1005"/>
                </a:lnTo>
                <a:lnTo>
                  <a:pt x="580" y="1005"/>
                </a:lnTo>
                <a:lnTo>
                  <a:pt x="581" y="1006"/>
                </a:lnTo>
                <a:lnTo>
                  <a:pt x="580" y="1010"/>
                </a:lnTo>
                <a:lnTo>
                  <a:pt x="580" y="1015"/>
                </a:lnTo>
                <a:lnTo>
                  <a:pt x="582" y="1023"/>
                </a:lnTo>
                <a:lnTo>
                  <a:pt x="584" y="1030"/>
                </a:lnTo>
                <a:lnTo>
                  <a:pt x="587" y="1043"/>
                </a:lnTo>
                <a:lnTo>
                  <a:pt x="588" y="1055"/>
                </a:lnTo>
                <a:lnTo>
                  <a:pt x="589" y="1062"/>
                </a:lnTo>
                <a:lnTo>
                  <a:pt x="589" y="1070"/>
                </a:lnTo>
                <a:lnTo>
                  <a:pt x="589" y="1082"/>
                </a:lnTo>
                <a:lnTo>
                  <a:pt x="589" y="1095"/>
                </a:lnTo>
                <a:lnTo>
                  <a:pt x="588" y="1106"/>
                </a:lnTo>
                <a:lnTo>
                  <a:pt x="589" y="1118"/>
                </a:lnTo>
                <a:lnTo>
                  <a:pt x="593" y="1132"/>
                </a:lnTo>
                <a:lnTo>
                  <a:pt x="597" y="1146"/>
                </a:lnTo>
                <a:lnTo>
                  <a:pt x="598" y="1149"/>
                </a:lnTo>
                <a:lnTo>
                  <a:pt x="600" y="1153"/>
                </a:lnTo>
                <a:lnTo>
                  <a:pt x="603" y="1155"/>
                </a:lnTo>
                <a:lnTo>
                  <a:pt x="607" y="1158"/>
                </a:lnTo>
                <a:lnTo>
                  <a:pt x="607" y="1160"/>
                </a:lnTo>
                <a:lnTo>
                  <a:pt x="608" y="1163"/>
                </a:lnTo>
                <a:lnTo>
                  <a:pt x="609" y="1162"/>
                </a:lnTo>
                <a:lnTo>
                  <a:pt x="609" y="1161"/>
                </a:lnTo>
                <a:lnTo>
                  <a:pt x="610" y="1165"/>
                </a:lnTo>
                <a:lnTo>
                  <a:pt x="611" y="1169"/>
                </a:lnTo>
                <a:lnTo>
                  <a:pt x="611" y="1173"/>
                </a:lnTo>
                <a:lnTo>
                  <a:pt x="609" y="1177"/>
                </a:lnTo>
                <a:lnTo>
                  <a:pt x="609" y="1177"/>
                </a:lnTo>
                <a:lnTo>
                  <a:pt x="609" y="1177"/>
                </a:lnTo>
                <a:lnTo>
                  <a:pt x="608" y="1189"/>
                </a:lnTo>
                <a:lnTo>
                  <a:pt x="607" y="1201"/>
                </a:lnTo>
                <a:lnTo>
                  <a:pt x="605" y="1203"/>
                </a:lnTo>
                <a:lnTo>
                  <a:pt x="604" y="1204"/>
                </a:lnTo>
                <a:lnTo>
                  <a:pt x="603" y="1207"/>
                </a:lnTo>
                <a:lnTo>
                  <a:pt x="603" y="1209"/>
                </a:lnTo>
                <a:lnTo>
                  <a:pt x="603" y="1211"/>
                </a:lnTo>
                <a:lnTo>
                  <a:pt x="604" y="1215"/>
                </a:lnTo>
                <a:lnTo>
                  <a:pt x="607" y="1218"/>
                </a:lnTo>
                <a:lnTo>
                  <a:pt x="609" y="1223"/>
                </a:lnTo>
                <a:lnTo>
                  <a:pt x="609" y="1228"/>
                </a:lnTo>
                <a:lnTo>
                  <a:pt x="607" y="1233"/>
                </a:lnTo>
                <a:lnTo>
                  <a:pt x="610" y="1231"/>
                </a:lnTo>
                <a:lnTo>
                  <a:pt x="612" y="1230"/>
                </a:lnTo>
                <a:lnTo>
                  <a:pt x="611" y="1235"/>
                </a:lnTo>
                <a:lnTo>
                  <a:pt x="610" y="1239"/>
                </a:lnTo>
                <a:lnTo>
                  <a:pt x="610" y="1243"/>
                </a:lnTo>
                <a:lnTo>
                  <a:pt x="610" y="1247"/>
                </a:lnTo>
                <a:lnTo>
                  <a:pt x="610" y="1251"/>
                </a:lnTo>
                <a:lnTo>
                  <a:pt x="610" y="1254"/>
                </a:lnTo>
                <a:lnTo>
                  <a:pt x="609" y="1259"/>
                </a:lnTo>
                <a:lnTo>
                  <a:pt x="607" y="1263"/>
                </a:lnTo>
                <a:lnTo>
                  <a:pt x="605" y="1266"/>
                </a:lnTo>
                <a:lnTo>
                  <a:pt x="607" y="1271"/>
                </a:lnTo>
                <a:lnTo>
                  <a:pt x="608" y="1277"/>
                </a:lnTo>
                <a:lnTo>
                  <a:pt x="609" y="1281"/>
                </a:lnTo>
                <a:lnTo>
                  <a:pt x="609" y="1292"/>
                </a:lnTo>
                <a:lnTo>
                  <a:pt x="608" y="1301"/>
                </a:lnTo>
                <a:lnTo>
                  <a:pt x="607" y="1307"/>
                </a:lnTo>
                <a:lnTo>
                  <a:pt x="608" y="1313"/>
                </a:lnTo>
                <a:lnTo>
                  <a:pt x="609" y="1315"/>
                </a:lnTo>
                <a:lnTo>
                  <a:pt x="609" y="1316"/>
                </a:lnTo>
                <a:lnTo>
                  <a:pt x="609" y="1319"/>
                </a:lnTo>
                <a:lnTo>
                  <a:pt x="608" y="1320"/>
                </a:lnTo>
                <a:lnTo>
                  <a:pt x="602" y="1329"/>
                </a:lnTo>
                <a:lnTo>
                  <a:pt x="598" y="1340"/>
                </a:lnTo>
                <a:lnTo>
                  <a:pt x="595" y="1351"/>
                </a:lnTo>
                <a:lnTo>
                  <a:pt x="591" y="1362"/>
                </a:lnTo>
                <a:lnTo>
                  <a:pt x="591" y="1363"/>
                </a:lnTo>
                <a:lnTo>
                  <a:pt x="591" y="1365"/>
                </a:lnTo>
                <a:lnTo>
                  <a:pt x="590" y="1371"/>
                </a:lnTo>
                <a:lnTo>
                  <a:pt x="589" y="1376"/>
                </a:lnTo>
                <a:lnTo>
                  <a:pt x="584" y="1385"/>
                </a:lnTo>
                <a:lnTo>
                  <a:pt x="580" y="1394"/>
                </a:lnTo>
                <a:lnTo>
                  <a:pt x="575" y="1403"/>
                </a:lnTo>
                <a:lnTo>
                  <a:pt x="572" y="1413"/>
                </a:lnTo>
                <a:lnTo>
                  <a:pt x="568" y="1422"/>
                </a:lnTo>
                <a:lnTo>
                  <a:pt x="566" y="1431"/>
                </a:lnTo>
                <a:lnTo>
                  <a:pt x="563" y="1440"/>
                </a:lnTo>
                <a:lnTo>
                  <a:pt x="564" y="1450"/>
                </a:lnTo>
                <a:lnTo>
                  <a:pt x="566" y="1453"/>
                </a:lnTo>
                <a:lnTo>
                  <a:pt x="568" y="1455"/>
                </a:lnTo>
                <a:lnTo>
                  <a:pt x="573" y="1457"/>
                </a:lnTo>
                <a:lnTo>
                  <a:pt x="579" y="1459"/>
                </a:lnTo>
                <a:lnTo>
                  <a:pt x="584" y="1459"/>
                </a:lnTo>
                <a:lnTo>
                  <a:pt x="590" y="1457"/>
                </a:lnTo>
                <a:lnTo>
                  <a:pt x="596" y="1457"/>
                </a:lnTo>
                <a:lnTo>
                  <a:pt x="601" y="1460"/>
                </a:lnTo>
                <a:lnTo>
                  <a:pt x="607" y="1462"/>
                </a:lnTo>
                <a:lnTo>
                  <a:pt x="612" y="1464"/>
                </a:lnTo>
                <a:lnTo>
                  <a:pt x="619" y="1464"/>
                </a:lnTo>
                <a:lnTo>
                  <a:pt x="625" y="1463"/>
                </a:lnTo>
                <a:lnTo>
                  <a:pt x="635" y="1460"/>
                </a:lnTo>
                <a:lnTo>
                  <a:pt x="644" y="1455"/>
                </a:lnTo>
                <a:lnTo>
                  <a:pt x="649" y="1453"/>
                </a:lnTo>
                <a:lnTo>
                  <a:pt x="653" y="1452"/>
                </a:lnTo>
                <a:lnTo>
                  <a:pt x="650" y="1445"/>
                </a:lnTo>
                <a:lnTo>
                  <a:pt x="648" y="1436"/>
                </a:lnTo>
                <a:lnTo>
                  <a:pt x="649" y="1436"/>
                </a:lnTo>
                <a:lnTo>
                  <a:pt x="650" y="1436"/>
                </a:lnTo>
                <a:lnTo>
                  <a:pt x="651" y="1438"/>
                </a:lnTo>
                <a:lnTo>
                  <a:pt x="652" y="1439"/>
                </a:lnTo>
                <a:lnTo>
                  <a:pt x="656" y="1441"/>
                </a:lnTo>
                <a:lnTo>
                  <a:pt x="659" y="1441"/>
                </a:lnTo>
                <a:lnTo>
                  <a:pt x="662" y="1439"/>
                </a:lnTo>
                <a:lnTo>
                  <a:pt x="663" y="1436"/>
                </a:lnTo>
                <a:lnTo>
                  <a:pt x="664" y="1429"/>
                </a:lnTo>
                <a:lnTo>
                  <a:pt x="663" y="1422"/>
                </a:lnTo>
                <a:lnTo>
                  <a:pt x="658" y="1406"/>
                </a:lnTo>
                <a:lnTo>
                  <a:pt x="653" y="1390"/>
                </a:lnTo>
                <a:lnTo>
                  <a:pt x="653" y="1386"/>
                </a:lnTo>
                <a:lnTo>
                  <a:pt x="651" y="1382"/>
                </a:lnTo>
                <a:lnTo>
                  <a:pt x="648" y="1377"/>
                </a:lnTo>
                <a:lnTo>
                  <a:pt x="645" y="1371"/>
                </a:lnTo>
                <a:lnTo>
                  <a:pt x="644" y="1370"/>
                </a:lnTo>
                <a:lnTo>
                  <a:pt x="643" y="1369"/>
                </a:lnTo>
                <a:lnTo>
                  <a:pt x="641" y="1369"/>
                </a:lnTo>
                <a:lnTo>
                  <a:pt x="639" y="1368"/>
                </a:lnTo>
                <a:lnTo>
                  <a:pt x="639" y="1366"/>
                </a:lnTo>
                <a:lnTo>
                  <a:pt x="638" y="1365"/>
                </a:lnTo>
                <a:lnTo>
                  <a:pt x="638" y="1363"/>
                </a:lnTo>
                <a:lnTo>
                  <a:pt x="637" y="1362"/>
                </a:lnTo>
                <a:lnTo>
                  <a:pt x="633" y="1356"/>
                </a:lnTo>
                <a:lnTo>
                  <a:pt x="632" y="1351"/>
                </a:lnTo>
                <a:lnTo>
                  <a:pt x="630" y="1345"/>
                </a:lnTo>
                <a:lnTo>
                  <a:pt x="630" y="1340"/>
                </a:lnTo>
                <a:lnTo>
                  <a:pt x="631" y="1333"/>
                </a:lnTo>
                <a:lnTo>
                  <a:pt x="632" y="1324"/>
                </a:lnTo>
                <a:lnTo>
                  <a:pt x="632" y="1320"/>
                </a:lnTo>
                <a:lnTo>
                  <a:pt x="631" y="1315"/>
                </a:lnTo>
                <a:lnTo>
                  <a:pt x="631" y="1309"/>
                </a:lnTo>
                <a:lnTo>
                  <a:pt x="628" y="1303"/>
                </a:lnTo>
                <a:lnTo>
                  <a:pt x="628" y="1302"/>
                </a:lnTo>
                <a:lnTo>
                  <a:pt x="629" y="1300"/>
                </a:lnTo>
                <a:lnTo>
                  <a:pt x="631" y="1292"/>
                </a:lnTo>
                <a:lnTo>
                  <a:pt x="632" y="1284"/>
                </a:lnTo>
                <a:lnTo>
                  <a:pt x="632" y="1277"/>
                </a:lnTo>
                <a:lnTo>
                  <a:pt x="635" y="1271"/>
                </a:lnTo>
                <a:lnTo>
                  <a:pt x="636" y="1268"/>
                </a:lnTo>
                <a:lnTo>
                  <a:pt x="636" y="1265"/>
                </a:lnTo>
                <a:lnTo>
                  <a:pt x="635" y="1256"/>
                </a:lnTo>
                <a:lnTo>
                  <a:pt x="635" y="1246"/>
                </a:lnTo>
                <a:lnTo>
                  <a:pt x="635" y="1246"/>
                </a:lnTo>
                <a:lnTo>
                  <a:pt x="635" y="1246"/>
                </a:lnTo>
                <a:lnTo>
                  <a:pt x="637" y="1251"/>
                </a:lnTo>
                <a:lnTo>
                  <a:pt x="638" y="1254"/>
                </a:lnTo>
                <a:lnTo>
                  <a:pt x="638" y="1239"/>
                </a:lnTo>
                <a:lnTo>
                  <a:pt x="638" y="1223"/>
                </a:lnTo>
                <a:lnTo>
                  <a:pt x="638" y="1226"/>
                </a:lnTo>
                <a:lnTo>
                  <a:pt x="639" y="1230"/>
                </a:lnTo>
                <a:lnTo>
                  <a:pt x="641" y="1228"/>
                </a:lnTo>
                <a:lnTo>
                  <a:pt x="642" y="1225"/>
                </a:lnTo>
                <a:lnTo>
                  <a:pt x="642" y="1221"/>
                </a:lnTo>
                <a:lnTo>
                  <a:pt x="643" y="1215"/>
                </a:lnTo>
                <a:lnTo>
                  <a:pt x="643" y="1211"/>
                </a:lnTo>
                <a:lnTo>
                  <a:pt x="643" y="1207"/>
                </a:lnTo>
                <a:lnTo>
                  <a:pt x="644" y="1203"/>
                </a:lnTo>
                <a:lnTo>
                  <a:pt x="645" y="1200"/>
                </a:lnTo>
                <a:lnTo>
                  <a:pt x="645" y="1198"/>
                </a:lnTo>
                <a:lnTo>
                  <a:pt x="645" y="1198"/>
                </a:lnTo>
                <a:lnTo>
                  <a:pt x="648" y="1190"/>
                </a:lnTo>
                <a:lnTo>
                  <a:pt x="648" y="1183"/>
                </a:lnTo>
                <a:lnTo>
                  <a:pt x="650" y="1179"/>
                </a:lnTo>
                <a:lnTo>
                  <a:pt x="652" y="1174"/>
                </a:lnTo>
                <a:lnTo>
                  <a:pt x="658" y="1161"/>
                </a:lnTo>
                <a:lnTo>
                  <a:pt x="664" y="1147"/>
                </a:lnTo>
                <a:lnTo>
                  <a:pt x="667" y="1142"/>
                </a:lnTo>
                <a:lnTo>
                  <a:pt x="669" y="1135"/>
                </a:lnTo>
                <a:lnTo>
                  <a:pt x="670" y="1125"/>
                </a:lnTo>
                <a:lnTo>
                  <a:pt x="670" y="1114"/>
                </a:lnTo>
                <a:lnTo>
                  <a:pt x="669" y="1107"/>
                </a:lnTo>
                <a:lnTo>
                  <a:pt x="667" y="1100"/>
                </a:lnTo>
                <a:lnTo>
                  <a:pt x="667" y="1091"/>
                </a:lnTo>
                <a:lnTo>
                  <a:pt x="667" y="1082"/>
                </a:lnTo>
                <a:lnTo>
                  <a:pt x="670" y="1068"/>
                </a:lnTo>
                <a:lnTo>
                  <a:pt x="672" y="1054"/>
                </a:lnTo>
                <a:lnTo>
                  <a:pt x="673" y="1043"/>
                </a:lnTo>
                <a:lnTo>
                  <a:pt x="676" y="1034"/>
                </a:lnTo>
                <a:lnTo>
                  <a:pt x="677" y="1028"/>
                </a:lnTo>
                <a:lnTo>
                  <a:pt x="678" y="1022"/>
                </a:lnTo>
                <a:lnTo>
                  <a:pt x="679" y="1009"/>
                </a:lnTo>
                <a:lnTo>
                  <a:pt x="680" y="996"/>
                </a:lnTo>
                <a:lnTo>
                  <a:pt x="683" y="1000"/>
                </a:lnTo>
                <a:lnTo>
                  <a:pt x="684" y="1003"/>
                </a:lnTo>
                <a:lnTo>
                  <a:pt x="686" y="1010"/>
                </a:lnTo>
                <a:lnTo>
                  <a:pt x="687" y="1017"/>
                </a:lnTo>
                <a:lnTo>
                  <a:pt x="688" y="1024"/>
                </a:lnTo>
                <a:lnTo>
                  <a:pt x="690" y="1031"/>
                </a:lnTo>
                <a:lnTo>
                  <a:pt x="690" y="1041"/>
                </a:lnTo>
                <a:lnTo>
                  <a:pt x="690" y="1049"/>
                </a:lnTo>
                <a:lnTo>
                  <a:pt x="690" y="1055"/>
                </a:lnTo>
                <a:lnTo>
                  <a:pt x="690" y="1061"/>
                </a:lnTo>
                <a:lnTo>
                  <a:pt x="688" y="1070"/>
                </a:lnTo>
                <a:lnTo>
                  <a:pt x="688" y="1077"/>
                </a:lnTo>
                <a:lnTo>
                  <a:pt x="690" y="1083"/>
                </a:lnTo>
                <a:lnTo>
                  <a:pt x="690" y="1088"/>
                </a:lnTo>
                <a:lnTo>
                  <a:pt x="690" y="1092"/>
                </a:lnTo>
                <a:lnTo>
                  <a:pt x="688" y="1097"/>
                </a:lnTo>
                <a:lnTo>
                  <a:pt x="688" y="1099"/>
                </a:lnTo>
                <a:lnTo>
                  <a:pt x="687" y="1103"/>
                </a:lnTo>
                <a:lnTo>
                  <a:pt x="687" y="1103"/>
                </a:lnTo>
                <a:lnTo>
                  <a:pt x="688" y="1103"/>
                </a:lnTo>
                <a:lnTo>
                  <a:pt x="687" y="1114"/>
                </a:lnTo>
                <a:lnTo>
                  <a:pt x="686" y="1126"/>
                </a:lnTo>
                <a:lnTo>
                  <a:pt x="685" y="1139"/>
                </a:lnTo>
                <a:lnTo>
                  <a:pt x="685" y="1151"/>
                </a:lnTo>
                <a:lnTo>
                  <a:pt x="684" y="1166"/>
                </a:lnTo>
                <a:lnTo>
                  <a:pt x="681" y="1180"/>
                </a:lnTo>
                <a:lnTo>
                  <a:pt x="679" y="1195"/>
                </a:lnTo>
                <a:lnTo>
                  <a:pt x="677" y="1209"/>
                </a:lnTo>
                <a:lnTo>
                  <a:pt x="674" y="1216"/>
                </a:lnTo>
                <a:lnTo>
                  <a:pt x="672" y="1223"/>
                </a:lnTo>
                <a:lnTo>
                  <a:pt x="664" y="1237"/>
                </a:lnTo>
                <a:lnTo>
                  <a:pt x="656" y="1251"/>
                </a:lnTo>
                <a:lnTo>
                  <a:pt x="655" y="1254"/>
                </a:lnTo>
                <a:lnTo>
                  <a:pt x="655" y="1258"/>
                </a:lnTo>
                <a:lnTo>
                  <a:pt x="655" y="1266"/>
                </a:lnTo>
                <a:lnTo>
                  <a:pt x="655" y="1274"/>
                </a:lnTo>
                <a:lnTo>
                  <a:pt x="655" y="1275"/>
                </a:lnTo>
                <a:lnTo>
                  <a:pt x="657" y="1277"/>
                </a:lnTo>
                <a:lnTo>
                  <a:pt x="663" y="1278"/>
                </a:lnTo>
                <a:lnTo>
                  <a:pt x="670" y="1278"/>
                </a:lnTo>
                <a:lnTo>
                  <a:pt x="676" y="1278"/>
                </a:lnTo>
                <a:lnTo>
                  <a:pt x="681" y="1279"/>
                </a:lnTo>
                <a:lnTo>
                  <a:pt x="686" y="1281"/>
                </a:lnTo>
                <a:lnTo>
                  <a:pt x="691" y="1281"/>
                </a:lnTo>
                <a:lnTo>
                  <a:pt x="704" y="1279"/>
                </a:lnTo>
                <a:lnTo>
                  <a:pt x="718" y="1277"/>
                </a:lnTo>
                <a:lnTo>
                  <a:pt x="722" y="1274"/>
                </a:lnTo>
                <a:lnTo>
                  <a:pt x="725" y="1271"/>
                </a:lnTo>
                <a:lnTo>
                  <a:pt x="727" y="1267"/>
                </a:lnTo>
                <a:lnTo>
                  <a:pt x="727" y="1263"/>
                </a:lnTo>
                <a:lnTo>
                  <a:pt x="725" y="1251"/>
                </a:lnTo>
                <a:lnTo>
                  <a:pt x="722" y="1240"/>
                </a:lnTo>
                <a:lnTo>
                  <a:pt x="721" y="1236"/>
                </a:lnTo>
                <a:lnTo>
                  <a:pt x="720" y="1231"/>
                </a:lnTo>
                <a:lnTo>
                  <a:pt x="719" y="1235"/>
                </a:lnTo>
                <a:lnTo>
                  <a:pt x="718" y="1237"/>
                </a:lnTo>
                <a:lnTo>
                  <a:pt x="714" y="1236"/>
                </a:lnTo>
                <a:lnTo>
                  <a:pt x="713" y="1235"/>
                </a:lnTo>
                <a:lnTo>
                  <a:pt x="711" y="1232"/>
                </a:lnTo>
                <a:lnTo>
                  <a:pt x="707" y="1230"/>
                </a:lnTo>
                <a:lnTo>
                  <a:pt x="706" y="1229"/>
                </a:lnTo>
                <a:lnTo>
                  <a:pt x="705" y="1228"/>
                </a:lnTo>
                <a:lnTo>
                  <a:pt x="705" y="1225"/>
                </a:lnTo>
                <a:lnTo>
                  <a:pt x="706" y="1223"/>
                </a:lnTo>
                <a:lnTo>
                  <a:pt x="705" y="1223"/>
                </a:lnTo>
                <a:lnTo>
                  <a:pt x="705" y="1222"/>
                </a:lnTo>
                <a:lnTo>
                  <a:pt x="704" y="1221"/>
                </a:lnTo>
                <a:lnTo>
                  <a:pt x="704" y="1218"/>
                </a:lnTo>
                <a:lnTo>
                  <a:pt x="702" y="1214"/>
                </a:lnTo>
                <a:lnTo>
                  <a:pt x="701" y="1210"/>
                </a:lnTo>
                <a:lnTo>
                  <a:pt x="700" y="1207"/>
                </a:lnTo>
                <a:lnTo>
                  <a:pt x="700" y="1204"/>
                </a:lnTo>
                <a:lnTo>
                  <a:pt x="701" y="1203"/>
                </a:lnTo>
                <a:lnTo>
                  <a:pt x="704" y="1201"/>
                </a:lnTo>
                <a:lnTo>
                  <a:pt x="705" y="1200"/>
                </a:lnTo>
                <a:lnTo>
                  <a:pt x="706" y="1198"/>
                </a:lnTo>
                <a:lnTo>
                  <a:pt x="706" y="1197"/>
                </a:lnTo>
                <a:lnTo>
                  <a:pt x="705" y="1195"/>
                </a:lnTo>
                <a:lnTo>
                  <a:pt x="704" y="1194"/>
                </a:lnTo>
                <a:lnTo>
                  <a:pt x="701" y="1191"/>
                </a:lnTo>
                <a:lnTo>
                  <a:pt x="704" y="1190"/>
                </a:lnTo>
                <a:lnTo>
                  <a:pt x="706" y="1190"/>
                </a:lnTo>
                <a:lnTo>
                  <a:pt x="706" y="1188"/>
                </a:lnTo>
                <a:lnTo>
                  <a:pt x="705" y="1187"/>
                </a:lnTo>
                <a:lnTo>
                  <a:pt x="704" y="1184"/>
                </a:lnTo>
                <a:lnTo>
                  <a:pt x="702" y="1183"/>
                </a:lnTo>
                <a:lnTo>
                  <a:pt x="704" y="1175"/>
                </a:lnTo>
                <a:lnTo>
                  <a:pt x="704" y="1168"/>
                </a:lnTo>
                <a:lnTo>
                  <a:pt x="706" y="1163"/>
                </a:lnTo>
                <a:lnTo>
                  <a:pt x="707" y="1159"/>
                </a:lnTo>
                <a:lnTo>
                  <a:pt x="708" y="1156"/>
                </a:lnTo>
                <a:lnTo>
                  <a:pt x="708" y="1154"/>
                </a:lnTo>
                <a:lnTo>
                  <a:pt x="708" y="1153"/>
                </a:lnTo>
                <a:lnTo>
                  <a:pt x="708" y="1152"/>
                </a:lnTo>
                <a:lnTo>
                  <a:pt x="711" y="1146"/>
                </a:lnTo>
                <a:lnTo>
                  <a:pt x="712" y="1141"/>
                </a:lnTo>
                <a:lnTo>
                  <a:pt x="715" y="1133"/>
                </a:lnTo>
                <a:lnTo>
                  <a:pt x="717" y="1125"/>
                </a:lnTo>
                <a:lnTo>
                  <a:pt x="719" y="1117"/>
                </a:lnTo>
                <a:lnTo>
                  <a:pt x="720" y="1109"/>
                </a:lnTo>
                <a:lnTo>
                  <a:pt x="720" y="1091"/>
                </a:lnTo>
                <a:lnTo>
                  <a:pt x="721" y="1076"/>
                </a:lnTo>
                <a:lnTo>
                  <a:pt x="721" y="1075"/>
                </a:lnTo>
                <a:lnTo>
                  <a:pt x="721" y="1073"/>
                </a:lnTo>
                <a:lnTo>
                  <a:pt x="722" y="1066"/>
                </a:lnTo>
                <a:lnTo>
                  <a:pt x="724" y="1061"/>
                </a:lnTo>
                <a:lnTo>
                  <a:pt x="725" y="1043"/>
                </a:lnTo>
                <a:lnTo>
                  <a:pt x="727" y="1026"/>
                </a:lnTo>
                <a:lnTo>
                  <a:pt x="728" y="1012"/>
                </a:lnTo>
                <a:lnTo>
                  <a:pt x="729" y="998"/>
                </a:lnTo>
                <a:lnTo>
                  <a:pt x="732" y="984"/>
                </a:lnTo>
                <a:lnTo>
                  <a:pt x="733" y="970"/>
                </a:lnTo>
                <a:lnTo>
                  <a:pt x="734" y="964"/>
                </a:lnTo>
                <a:lnTo>
                  <a:pt x="735" y="957"/>
                </a:lnTo>
                <a:lnTo>
                  <a:pt x="736" y="953"/>
                </a:lnTo>
                <a:lnTo>
                  <a:pt x="736" y="949"/>
                </a:lnTo>
                <a:lnTo>
                  <a:pt x="736" y="944"/>
                </a:lnTo>
                <a:lnTo>
                  <a:pt x="735" y="939"/>
                </a:lnTo>
                <a:lnTo>
                  <a:pt x="733" y="936"/>
                </a:lnTo>
                <a:lnTo>
                  <a:pt x="733" y="931"/>
                </a:lnTo>
                <a:lnTo>
                  <a:pt x="732" y="928"/>
                </a:lnTo>
                <a:lnTo>
                  <a:pt x="733" y="923"/>
                </a:lnTo>
                <a:lnTo>
                  <a:pt x="736" y="910"/>
                </a:lnTo>
                <a:lnTo>
                  <a:pt x="738" y="896"/>
                </a:lnTo>
                <a:lnTo>
                  <a:pt x="739" y="891"/>
                </a:lnTo>
                <a:lnTo>
                  <a:pt x="741" y="887"/>
                </a:lnTo>
                <a:lnTo>
                  <a:pt x="741" y="887"/>
                </a:lnTo>
                <a:lnTo>
                  <a:pt x="742" y="887"/>
                </a:lnTo>
                <a:lnTo>
                  <a:pt x="743" y="895"/>
                </a:lnTo>
                <a:lnTo>
                  <a:pt x="746" y="901"/>
                </a:lnTo>
                <a:lnTo>
                  <a:pt x="748" y="902"/>
                </a:lnTo>
                <a:lnTo>
                  <a:pt x="749" y="903"/>
                </a:lnTo>
                <a:lnTo>
                  <a:pt x="749" y="905"/>
                </a:lnTo>
                <a:lnTo>
                  <a:pt x="750" y="907"/>
                </a:lnTo>
                <a:lnTo>
                  <a:pt x="756" y="917"/>
                </a:lnTo>
                <a:lnTo>
                  <a:pt x="761" y="928"/>
                </a:lnTo>
                <a:lnTo>
                  <a:pt x="767" y="938"/>
                </a:lnTo>
                <a:lnTo>
                  <a:pt x="773" y="949"/>
                </a:lnTo>
                <a:lnTo>
                  <a:pt x="780" y="960"/>
                </a:lnTo>
                <a:lnTo>
                  <a:pt x="788" y="972"/>
                </a:lnTo>
                <a:lnTo>
                  <a:pt x="790" y="974"/>
                </a:lnTo>
                <a:lnTo>
                  <a:pt x="791" y="978"/>
                </a:lnTo>
                <a:lnTo>
                  <a:pt x="795" y="984"/>
                </a:lnTo>
                <a:lnTo>
                  <a:pt x="797" y="989"/>
                </a:lnTo>
                <a:lnTo>
                  <a:pt x="798" y="1012"/>
                </a:lnTo>
                <a:lnTo>
                  <a:pt x="800" y="1033"/>
                </a:lnTo>
                <a:lnTo>
                  <a:pt x="803" y="1054"/>
                </a:lnTo>
                <a:lnTo>
                  <a:pt x="805" y="1075"/>
                </a:lnTo>
                <a:lnTo>
                  <a:pt x="805" y="1083"/>
                </a:lnTo>
                <a:lnTo>
                  <a:pt x="805" y="1092"/>
                </a:lnTo>
                <a:lnTo>
                  <a:pt x="807" y="1104"/>
                </a:lnTo>
                <a:lnTo>
                  <a:pt x="807" y="1117"/>
                </a:lnTo>
                <a:lnTo>
                  <a:pt x="807" y="1121"/>
                </a:lnTo>
                <a:lnTo>
                  <a:pt x="808" y="1125"/>
                </a:lnTo>
                <a:lnTo>
                  <a:pt x="809" y="1131"/>
                </a:lnTo>
                <a:lnTo>
                  <a:pt x="810" y="1135"/>
                </a:lnTo>
                <a:lnTo>
                  <a:pt x="809" y="1141"/>
                </a:lnTo>
                <a:lnTo>
                  <a:pt x="808" y="1147"/>
                </a:lnTo>
                <a:lnTo>
                  <a:pt x="805" y="1152"/>
                </a:lnTo>
                <a:lnTo>
                  <a:pt x="804" y="1158"/>
                </a:lnTo>
                <a:lnTo>
                  <a:pt x="804" y="1163"/>
                </a:lnTo>
                <a:lnTo>
                  <a:pt x="805" y="1169"/>
                </a:lnTo>
                <a:lnTo>
                  <a:pt x="807" y="1177"/>
                </a:lnTo>
                <a:lnTo>
                  <a:pt x="807" y="1187"/>
                </a:lnTo>
                <a:lnTo>
                  <a:pt x="805" y="1198"/>
                </a:lnTo>
                <a:lnTo>
                  <a:pt x="804" y="1210"/>
                </a:lnTo>
                <a:lnTo>
                  <a:pt x="803" y="1222"/>
                </a:lnTo>
                <a:lnTo>
                  <a:pt x="803" y="1233"/>
                </a:lnTo>
                <a:lnTo>
                  <a:pt x="802" y="1236"/>
                </a:lnTo>
                <a:lnTo>
                  <a:pt x="802" y="1238"/>
                </a:lnTo>
                <a:lnTo>
                  <a:pt x="798" y="1245"/>
                </a:lnTo>
                <a:lnTo>
                  <a:pt x="798" y="1253"/>
                </a:lnTo>
                <a:lnTo>
                  <a:pt x="796" y="1258"/>
                </a:lnTo>
                <a:lnTo>
                  <a:pt x="794" y="1261"/>
                </a:lnTo>
                <a:lnTo>
                  <a:pt x="791" y="1264"/>
                </a:lnTo>
                <a:lnTo>
                  <a:pt x="790" y="1266"/>
                </a:lnTo>
                <a:lnTo>
                  <a:pt x="788" y="1270"/>
                </a:lnTo>
                <a:lnTo>
                  <a:pt x="786" y="1274"/>
                </a:lnTo>
                <a:lnTo>
                  <a:pt x="783" y="1281"/>
                </a:lnTo>
                <a:lnTo>
                  <a:pt x="781" y="1289"/>
                </a:lnTo>
                <a:lnTo>
                  <a:pt x="778" y="1298"/>
                </a:lnTo>
                <a:lnTo>
                  <a:pt x="778" y="1306"/>
                </a:lnTo>
                <a:lnTo>
                  <a:pt x="778" y="1308"/>
                </a:lnTo>
                <a:lnTo>
                  <a:pt x="780" y="1310"/>
                </a:lnTo>
                <a:lnTo>
                  <a:pt x="783" y="1314"/>
                </a:lnTo>
                <a:lnTo>
                  <a:pt x="788" y="1316"/>
                </a:lnTo>
                <a:lnTo>
                  <a:pt x="793" y="1316"/>
                </a:lnTo>
                <a:lnTo>
                  <a:pt x="798" y="1316"/>
                </a:lnTo>
                <a:lnTo>
                  <a:pt x="805" y="1316"/>
                </a:lnTo>
                <a:lnTo>
                  <a:pt x="812" y="1316"/>
                </a:lnTo>
                <a:lnTo>
                  <a:pt x="818" y="1317"/>
                </a:lnTo>
                <a:lnTo>
                  <a:pt x="823" y="1320"/>
                </a:lnTo>
                <a:lnTo>
                  <a:pt x="830" y="1320"/>
                </a:lnTo>
                <a:lnTo>
                  <a:pt x="836" y="1319"/>
                </a:lnTo>
                <a:lnTo>
                  <a:pt x="843" y="1315"/>
                </a:lnTo>
                <a:lnTo>
                  <a:pt x="849" y="1312"/>
                </a:lnTo>
                <a:lnTo>
                  <a:pt x="852" y="1307"/>
                </a:lnTo>
                <a:lnTo>
                  <a:pt x="855" y="1302"/>
                </a:lnTo>
                <a:lnTo>
                  <a:pt x="855" y="1292"/>
                </a:lnTo>
                <a:lnTo>
                  <a:pt x="852" y="1281"/>
                </a:lnTo>
                <a:lnTo>
                  <a:pt x="849" y="1271"/>
                </a:lnTo>
                <a:lnTo>
                  <a:pt x="844" y="1261"/>
                </a:lnTo>
                <a:lnTo>
                  <a:pt x="843" y="1259"/>
                </a:lnTo>
                <a:lnTo>
                  <a:pt x="840" y="1258"/>
                </a:lnTo>
                <a:lnTo>
                  <a:pt x="838" y="1257"/>
                </a:lnTo>
                <a:lnTo>
                  <a:pt x="836" y="1254"/>
                </a:lnTo>
                <a:lnTo>
                  <a:pt x="835" y="1252"/>
                </a:lnTo>
                <a:lnTo>
                  <a:pt x="835" y="1250"/>
                </a:lnTo>
                <a:lnTo>
                  <a:pt x="833" y="1239"/>
                </a:lnTo>
                <a:lnTo>
                  <a:pt x="833" y="1230"/>
                </a:lnTo>
                <a:lnTo>
                  <a:pt x="833" y="1214"/>
                </a:lnTo>
                <a:lnTo>
                  <a:pt x="832" y="1197"/>
                </a:lnTo>
                <a:lnTo>
                  <a:pt x="832" y="1188"/>
                </a:lnTo>
                <a:lnTo>
                  <a:pt x="831" y="1179"/>
                </a:lnTo>
                <a:lnTo>
                  <a:pt x="831" y="1172"/>
                </a:lnTo>
                <a:lnTo>
                  <a:pt x="832" y="1165"/>
                </a:lnTo>
                <a:lnTo>
                  <a:pt x="835" y="1151"/>
                </a:lnTo>
                <a:lnTo>
                  <a:pt x="836" y="1138"/>
                </a:lnTo>
                <a:lnTo>
                  <a:pt x="836" y="1137"/>
                </a:lnTo>
                <a:lnTo>
                  <a:pt x="836" y="1137"/>
                </a:lnTo>
                <a:lnTo>
                  <a:pt x="835" y="1125"/>
                </a:lnTo>
                <a:lnTo>
                  <a:pt x="835" y="1113"/>
                </a:lnTo>
                <a:lnTo>
                  <a:pt x="836" y="1104"/>
                </a:lnTo>
                <a:lnTo>
                  <a:pt x="837" y="1096"/>
                </a:lnTo>
                <a:lnTo>
                  <a:pt x="838" y="1086"/>
                </a:lnTo>
                <a:lnTo>
                  <a:pt x="839" y="1077"/>
                </a:lnTo>
                <a:lnTo>
                  <a:pt x="840" y="1070"/>
                </a:lnTo>
                <a:lnTo>
                  <a:pt x="840" y="1064"/>
                </a:lnTo>
                <a:lnTo>
                  <a:pt x="840" y="1050"/>
                </a:lnTo>
                <a:lnTo>
                  <a:pt x="843" y="1036"/>
                </a:lnTo>
                <a:lnTo>
                  <a:pt x="845" y="1024"/>
                </a:lnTo>
                <a:lnTo>
                  <a:pt x="849" y="1012"/>
                </a:lnTo>
                <a:lnTo>
                  <a:pt x="849" y="1012"/>
                </a:lnTo>
                <a:lnTo>
                  <a:pt x="849" y="1012"/>
                </a:lnTo>
                <a:lnTo>
                  <a:pt x="851" y="1001"/>
                </a:lnTo>
                <a:lnTo>
                  <a:pt x="851" y="992"/>
                </a:lnTo>
                <a:lnTo>
                  <a:pt x="851" y="982"/>
                </a:lnTo>
                <a:lnTo>
                  <a:pt x="847" y="972"/>
                </a:lnTo>
                <a:lnTo>
                  <a:pt x="847" y="971"/>
                </a:lnTo>
                <a:lnTo>
                  <a:pt x="846" y="970"/>
                </a:lnTo>
                <a:lnTo>
                  <a:pt x="850" y="954"/>
                </a:lnTo>
                <a:lnTo>
                  <a:pt x="855" y="938"/>
                </a:lnTo>
                <a:lnTo>
                  <a:pt x="856" y="936"/>
                </a:lnTo>
                <a:lnTo>
                  <a:pt x="856" y="932"/>
                </a:lnTo>
                <a:lnTo>
                  <a:pt x="860" y="917"/>
                </a:lnTo>
                <a:lnTo>
                  <a:pt x="864" y="902"/>
                </a:lnTo>
                <a:lnTo>
                  <a:pt x="864" y="890"/>
                </a:lnTo>
                <a:lnTo>
                  <a:pt x="864" y="880"/>
                </a:lnTo>
                <a:lnTo>
                  <a:pt x="864" y="870"/>
                </a:lnTo>
                <a:lnTo>
                  <a:pt x="864" y="861"/>
                </a:lnTo>
                <a:lnTo>
                  <a:pt x="864" y="852"/>
                </a:lnTo>
                <a:lnTo>
                  <a:pt x="864" y="844"/>
                </a:lnTo>
                <a:lnTo>
                  <a:pt x="864" y="827"/>
                </a:lnTo>
                <a:lnTo>
                  <a:pt x="864" y="812"/>
                </a:lnTo>
                <a:lnTo>
                  <a:pt x="866" y="797"/>
                </a:lnTo>
                <a:lnTo>
                  <a:pt x="867" y="782"/>
                </a:lnTo>
                <a:lnTo>
                  <a:pt x="869" y="767"/>
                </a:lnTo>
                <a:lnTo>
                  <a:pt x="871" y="751"/>
                </a:lnTo>
                <a:lnTo>
                  <a:pt x="871" y="746"/>
                </a:lnTo>
                <a:lnTo>
                  <a:pt x="873" y="740"/>
                </a:lnTo>
                <a:lnTo>
                  <a:pt x="873" y="739"/>
                </a:lnTo>
                <a:lnTo>
                  <a:pt x="873" y="737"/>
                </a:lnTo>
                <a:lnTo>
                  <a:pt x="873" y="727"/>
                </a:lnTo>
                <a:lnTo>
                  <a:pt x="873" y="716"/>
                </a:lnTo>
                <a:lnTo>
                  <a:pt x="874" y="706"/>
                </a:lnTo>
                <a:lnTo>
                  <a:pt x="874" y="697"/>
                </a:lnTo>
                <a:lnTo>
                  <a:pt x="873" y="686"/>
                </a:lnTo>
                <a:lnTo>
                  <a:pt x="873" y="674"/>
                </a:lnTo>
                <a:lnTo>
                  <a:pt x="873" y="664"/>
                </a:lnTo>
                <a:lnTo>
                  <a:pt x="872" y="653"/>
                </a:lnTo>
                <a:lnTo>
                  <a:pt x="870" y="642"/>
                </a:lnTo>
                <a:lnTo>
                  <a:pt x="866" y="631"/>
                </a:lnTo>
                <a:lnTo>
                  <a:pt x="863" y="620"/>
                </a:lnTo>
                <a:lnTo>
                  <a:pt x="859" y="609"/>
                </a:lnTo>
                <a:lnTo>
                  <a:pt x="853" y="595"/>
                </a:lnTo>
                <a:lnTo>
                  <a:pt x="847" y="582"/>
                </a:lnTo>
                <a:lnTo>
                  <a:pt x="842" y="572"/>
                </a:lnTo>
                <a:lnTo>
                  <a:pt x="836" y="562"/>
                </a:lnTo>
                <a:lnTo>
                  <a:pt x="832" y="557"/>
                </a:lnTo>
                <a:lnTo>
                  <a:pt x="828" y="551"/>
                </a:lnTo>
                <a:lnTo>
                  <a:pt x="821" y="546"/>
                </a:lnTo>
                <a:lnTo>
                  <a:pt x="814" y="540"/>
                </a:lnTo>
                <a:lnTo>
                  <a:pt x="802" y="532"/>
                </a:lnTo>
                <a:lnTo>
                  <a:pt x="790" y="525"/>
                </a:lnTo>
                <a:lnTo>
                  <a:pt x="782" y="520"/>
                </a:lnTo>
                <a:lnTo>
                  <a:pt x="773" y="516"/>
                </a:lnTo>
                <a:lnTo>
                  <a:pt x="763" y="512"/>
                </a:lnTo>
                <a:lnTo>
                  <a:pt x="754" y="509"/>
                </a:lnTo>
                <a:lnTo>
                  <a:pt x="750" y="508"/>
                </a:lnTo>
                <a:lnTo>
                  <a:pt x="747" y="506"/>
                </a:lnTo>
                <a:lnTo>
                  <a:pt x="741" y="503"/>
                </a:lnTo>
                <a:lnTo>
                  <a:pt x="734" y="501"/>
                </a:lnTo>
                <a:lnTo>
                  <a:pt x="727" y="499"/>
                </a:lnTo>
                <a:lnTo>
                  <a:pt x="720" y="498"/>
                </a:lnTo>
                <a:lnTo>
                  <a:pt x="709" y="496"/>
                </a:lnTo>
                <a:lnTo>
                  <a:pt x="699" y="495"/>
                </a:lnTo>
                <a:lnTo>
                  <a:pt x="688" y="494"/>
                </a:lnTo>
                <a:lnTo>
                  <a:pt x="678" y="491"/>
                </a:lnTo>
                <a:lnTo>
                  <a:pt x="674" y="488"/>
                </a:lnTo>
                <a:lnTo>
                  <a:pt x="672" y="484"/>
                </a:lnTo>
                <a:lnTo>
                  <a:pt x="667" y="478"/>
                </a:lnTo>
                <a:lnTo>
                  <a:pt x="663" y="473"/>
                </a:lnTo>
                <a:lnTo>
                  <a:pt x="662" y="469"/>
                </a:lnTo>
                <a:lnTo>
                  <a:pt x="660" y="466"/>
                </a:lnTo>
                <a:lnTo>
                  <a:pt x="655" y="459"/>
                </a:lnTo>
                <a:lnTo>
                  <a:pt x="650" y="452"/>
                </a:lnTo>
                <a:lnTo>
                  <a:pt x="648" y="449"/>
                </a:lnTo>
                <a:lnTo>
                  <a:pt x="648" y="447"/>
                </a:lnTo>
                <a:lnTo>
                  <a:pt x="645" y="442"/>
                </a:lnTo>
                <a:lnTo>
                  <a:pt x="643" y="438"/>
                </a:lnTo>
                <a:lnTo>
                  <a:pt x="638" y="433"/>
                </a:lnTo>
                <a:lnTo>
                  <a:pt x="632" y="427"/>
                </a:lnTo>
                <a:lnTo>
                  <a:pt x="626" y="420"/>
                </a:lnTo>
                <a:lnTo>
                  <a:pt x="621" y="413"/>
                </a:lnTo>
                <a:lnTo>
                  <a:pt x="618" y="411"/>
                </a:lnTo>
                <a:lnTo>
                  <a:pt x="615" y="407"/>
                </a:lnTo>
                <a:lnTo>
                  <a:pt x="612" y="405"/>
                </a:lnTo>
                <a:lnTo>
                  <a:pt x="610" y="401"/>
                </a:lnTo>
                <a:lnTo>
                  <a:pt x="608" y="399"/>
                </a:lnTo>
                <a:lnTo>
                  <a:pt x="604" y="398"/>
                </a:lnTo>
                <a:lnTo>
                  <a:pt x="602" y="397"/>
                </a:lnTo>
                <a:lnTo>
                  <a:pt x="602" y="396"/>
                </a:lnTo>
                <a:lnTo>
                  <a:pt x="600" y="391"/>
                </a:lnTo>
                <a:lnTo>
                  <a:pt x="596" y="389"/>
                </a:lnTo>
                <a:lnTo>
                  <a:pt x="593" y="386"/>
                </a:lnTo>
                <a:lnTo>
                  <a:pt x="589" y="384"/>
                </a:lnTo>
                <a:lnTo>
                  <a:pt x="583" y="382"/>
                </a:lnTo>
                <a:lnTo>
                  <a:pt x="579" y="378"/>
                </a:lnTo>
                <a:lnTo>
                  <a:pt x="572" y="375"/>
                </a:lnTo>
                <a:lnTo>
                  <a:pt x="564" y="371"/>
                </a:lnTo>
                <a:lnTo>
                  <a:pt x="557" y="369"/>
                </a:lnTo>
                <a:lnTo>
                  <a:pt x="550" y="366"/>
                </a:lnTo>
                <a:lnTo>
                  <a:pt x="543" y="363"/>
                </a:lnTo>
                <a:lnTo>
                  <a:pt x="539" y="359"/>
                </a:lnTo>
                <a:lnTo>
                  <a:pt x="538" y="357"/>
                </a:lnTo>
                <a:lnTo>
                  <a:pt x="535" y="357"/>
                </a:lnTo>
                <a:lnTo>
                  <a:pt x="534" y="356"/>
                </a:lnTo>
                <a:lnTo>
                  <a:pt x="533" y="357"/>
                </a:lnTo>
                <a:lnTo>
                  <a:pt x="532" y="356"/>
                </a:lnTo>
                <a:lnTo>
                  <a:pt x="532" y="356"/>
                </a:lnTo>
                <a:lnTo>
                  <a:pt x="533" y="355"/>
                </a:lnTo>
                <a:lnTo>
                  <a:pt x="534" y="353"/>
                </a:lnTo>
                <a:lnTo>
                  <a:pt x="534" y="353"/>
                </a:lnTo>
                <a:lnTo>
                  <a:pt x="534" y="352"/>
                </a:lnTo>
                <a:lnTo>
                  <a:pt x="525" y="355"/>
                </a:lnTo>
                <a:lnTo>
                  <a:pt x="518" y="357"/>
                </a:lnTo>
                <a:lnTo>
                  <a:pt x="507" y="363"/>
                </a:lnTo>
                <a:lnTo>
                  <a:pt x="497" y="369"/>
                </a:lnTo>
                <a:lnTo>
                  <a:pt x="493" y="369"/>
                </a:lnTo>
                <a:lnTo>
                  <a:pt x="492" y="370"/>
                </a:lnTo>
                <a:lnTo>
                  <a:pt x="484" y="376"/>
                </a:lnTo>
                <a:lnTo>
                  <a:pt x="477" y="383"/>
                </a:lnTo>
                <a:lnTo>
                  <a:pt x="473" y="386"/>
                </a:lnTo>
                <a:lnTo>
                  <a:pt x="469" y="390"/>
                </a:lnTo>
                <a:lnTo>
                  <a:pt x="464" y="392"/>
                </a:lnTo>
                <a:lnTo>
                  <a:pt x="458" y="394"/>
                </a:lnTo>
                <a:lnTo>
                  <a:pt x="451" y="396"/>
                </a:lnTo>
                <a:lnTo>
                  <a:pt x="445" y="396"/>
                </a:lnTo>
                <a:lnTo>
                  <a:pt x="442" y="394"/>
                </a:lnTo>
                <a:lnTo>
                  <a:pt x="439" y="393"/>
                </a:lnTo>
                <a:lnTo>
                  <a:pt x="437" y="392"/>
                </a:lnTo>
                <a:lnTo>
                  <a:pt x="435" y="390"/>
                </a:lnTo>
                <a:lnTo>
                  <a:pt x="428" y="378"/>
                </a:lnTo>
                <a:lnTo>
                  <a:pt x="422" y="366"/>
                </a:lnTo>
                <a:lnTo>
                  <a:pt x="419" y="363"/>
                </a:lnTo>
                <a:lnTo>
                  <a:pt x="421" y="361"/>
                </a:lnTo>
                <a:lnTo>
                  <a:pt x="423" y="359"/>
                </a:lnTo>
                <a:lnTo>
                  <a:pt x="427" y="359"/>
                </a:lnTo>
                <a:lnTo>
                  <a:pt x="429" y="359"/>
                </a:lnTo>
                <a:lnTo>
                  <a:pt x="430" y="358"/>
                </a:lnTo>
                <a:lnTo>
                  <a:pt x="444" y="351"/>
                </a:lnTo>
                <a:lnTo>
                  <a:pt x="456" y="343"/>
                </a:lnTo>
                <a:lnTo>
                  <a:pt x="464" y="335"/>
                </a:lnTo>
                <a:lnTo>
                  <a:pt x="472" y="327"/>
                </a:lnTo>
                <a:lnTo>
                  <a:pt x="479" y="318"/>
                </a:lnTo>
                <a:lnTo>
                  <a:pt x="485" y="309"/>
                </a:lnTo>
                <a:lnTo>
                  <a:pt x="490" y="302"/>
                </a:lnTo>
                <a:lnTo>
                  <a:pt x="494" y="296"/>
                </a:lnTo>
                <a:lnTo>
                  <a:pt x="501" y="292"/>
                </a:lnTo>
                <a:lnTo>
                  <a:pt x="508" y="289"/>
                </a:lnTo>
                <a:lnTo>
                  <a:pt x="517" y="286"/>
                </a:lnTo>
                <a:lnTo>
                  <a:pt x="524" y="282"/>
                </a:lnTo>
                <a:lnTo>
                  <a:pt x="541" y="274"/>
                </a:lnTo>
                <a:lnTo>
                  <a:pt x="559" y="268"/>
                </a:lnTo>
                <a:lnTo>
                  <a:pt x="576" y="264"/>
                </a:lnTo>
                <a:lnTo>
                  <a:pt x="595" y="260"/>
                </a:lnTo>
                <a:lnTo>
                  <a:pt x="604" y="258"/>
                </a:lnTo>
                <a:lnTo>
                  <a:pt x="614" y="257"/>
                </a:lnTo>
                <a:lnTo>
                  <a:pt x="623" y="254"/>
                </a:lnTo>
                <a:lnTo>
                  <a:pt x="632" y="252"/>
                </a:lnTo>
                <a:lnTo>
                  <a:pt x="643" y="251"/>
                </a:lnTo>
                <a:lnTo>
                  <a:pt x="655" y="248"/>
                </a:lnTo>
                <a:lnTo>
                  <a:pt x="665" y="246"/>
                </a:lnTo>
                <a:lnTo>
                  <a:pt x="676" y="244"/>
                </a:lnTo>
                <a:lnTo>
                  <a:pt x="690" y="241"/>
                </a:lnTo>
                <a:lnTo>
                  <a:pt x="702" y="239"/>
                </a:lnTo>
                <a:lnTo>
                  <a:pt x="712" y="237"/>
                </a:lnTo>
                <a:lnTo>
                  <a:pt x="721" y="233"/>
                </a:lnTo>
                <a:lnTo>
                  <a:pt x="733" y="229"/>
                </a:lnTo>
                <a:lnTo>
                  <a:pt x="746" y="224"/>
                </a:lnTo>
                <a:lnTo>
                  <a:pt x="757" y="219"/>
                </a:lnTo>
                <a:lnTo>
                  <a:pt x="769" y="213"/>
                </a:lnTo>
                <a:lnTo>
                  <a:pt x="787" y="204"/>
                </a:lnTo>
                <a:lnTo>
                  <a:pt x="803" y="194"/>
                </a:lnTo>
                <a:lnTo>
                  <a:pt x="818" y="182"/>
                </a:lnTo>
                <a:lnTo>
                  <a:pt x="832" y="168"/>
                </a:lnTo>
                <a:lnTo>
                  <a:pt x="838" y="162"/>
                </a:lnTo>
                <a:lnTo>
                  <a:pt x="844" y="156"/>
                </a:lnTo>
                <a:lnTo>
                  <a:pt x="851" y="150"/>
                </a:lnTo>
                <a:lnTo>
                  <a:pt x="858" y="146"/>
                </a:lnTo>
                <a:lnTo>
                  <a:pt x="863" y="143"/>
                </a:lnTo>
                <a:lnTo>
                  <a:pt x="866" y="140"/>
                </a:lnTo>
                <a:lnTo>
                  <a:pt x="870" y="135"/>
                </a:lnTo>
                <a:lnTo>
                  <a:pt x="871" y="131"/>
                </a:lnTo>
                <a:lnTo>
                  <a:pt x="872" y="125"/>
                </a:lnTo>
                <a:lnTo>
                  <a:pt x="873" y="120"/>
                </a:lnTo>
                <a:lnTo>
                  <a:pt x="874" y="111"/>
                </a:lnTo>
                <a:lnTo>
                  <a:pt x="876" y="101"/>
                </a:lnTo>
                <a:lnTo>
                  <a:pt x="874" y="98"/>
                </a:lnTo>
                <a:lnTo>
                  <a:pt x="873" y="96"/>
                </a:lnTo>
                <a:lnTo>
                  <a:pt x="871" y="94"/>
                </a:lnTo>
                <a:lnTo>
                  <a:pt x="870" y="93"/>
                </a:lnTo>
                <a:lnTo>
                  <a:pt x="870" y="91"/>
                </a:lnTo>
                <a:lnTo>
                  <a:pt x="870" y="89"/>
                </a:lnTo>
                <a:lnTo>
                  <a:pt x="872" y="86"/>
                </a:lnTo>
                <a:lnTo>
                  <a:pt x="876" y="83"/>
                </a:lnTo>
                <a:lnTo>
                  <a:pt x="885" y="78"/>
                </a:lnTo>
                <a:lnTo>
                  <a:pt x="894" y="72"/>
                </a:lnTo>
                <a:lnTo>
                  <a:pt x="905" y="68"/>
                </a:lnTo>
                <a:lnTo>
                  <a:pt x="914" y="62"/>
                </a:lnTo>
                <a:lnTo>
                  <a:pt x="918" y="61"/>
                </a:lnTo>
                <a:lnTo>
                  <a:pt x="919" y="58"/>
                </a:lnTo>
                <a:lnTo>
                  <a:pt x="920" y="54"/>
                </a:lnTo>
                <a:lnTo>
                  <a:pt x="920" y="50"/>
                </a:lnTo>
                <a:lnTo>
                  <a:pt x="918" y="49"/>
                </a:lnTo>
                <a:lnTo>
                  <a:pt x="914" y="48"/>
                </a:lnTo>
                <a:lnTo>
                  <a:pt x="905" y="49"/>
                </a:lnTo>
                <a:lnTo>
                  <a:pt x="894" y="51"/>
                </a:lnTo>
                <a:lnTo>
                  <a:pt x="888" y="52"/>
                </a:lnTo>
                <a:lnTo>
                  <a:pt x="883" y="52"/>
                </a:lnTo>
                <a:lnTo>
                  <a:pt x="878" y="50"/>
                </a:lnTo>
                <a:lnTo>
                  <a:pt x="874" y="47"/>
                </a:lnTo>
                <a:lnTo>
                  <a:pt x="872" y="43"/>
                </a:lnTo>
                <a:lnTo>
                  <a:pt x="870" y="38"/>
                </a:lnTo>
                <a:lnTo>
                  <a:pt x="865" y="28"/>
                </a:lnTo>
                <a:lnTo>
                  <a:pt x="860" y="16"/>
                </a:lnTo>
                <a:lnTo>
                  <a:pt x="859" y="12"/>
                </a:lnTo>
                <a:lnTo>
                  <a:pt x="857" y="7"/>
                </a:lnTo>
                <a:lnTo>
                  <a:pt x="855" y="3"/>
                </a:lnTo>
                <a:lnTo>
                  <a:pt x="851" y="0"/>
                </a:lnTo>
                <a:lnTo>
                  <a:pt x="846" y="6"/>
                </a:lnTo>
                <a:lnTo>
                  <a:pt x="843" y="13"/>
                </a:lnTo>
                <a:lnTo>
                  <a:pt x="842" y="9"/>
                </a:lnTo>
                <a:lnTo>
                  <a:pt x="842" y="6"/>
                </a:lnTo>
                <a:lnTo>
                  <a:pt x="837" y="13"/>
                </a:lnTo>
                <a:lnTo>
                  <a:pt x="833" y="19"/>
                </a:lnTo>
                <a:lnTo>
                  <a:pt x="830" y="24"/>
                </a:lnTo>
                <a:lnTo>
                  <a:pt x="826" y="29"/>
                </a:lnTo>
                <a:lnTo>
                  <a:pt x="822" y="34"/>
                </a:lnTo>
                <a:lnTo>
                  <a:pt x="817" y="36"/>
                </a:lnTo>
                <a:lnTo>
                  <a:pt x="811" y="38"/>
                </a:lnTo>
                <a:lnTo>
                  <a:pt x="808" y="41"/>
                </a:lnTo>
                <a:lnTo>
                  <a:pt x="805" y="45"/>
                </a:lnTo>
                <a:lnTo>
                  <a:pt x="803" y="49"/>
                </a:lnTo>
                <a:lnTo>
                  <a:pt x="801" y="55"/>
                </a:lnTo>
                <a:lnTo>
                  <a:pt x="797" y="61"/>
                </a:lnTo>
                <a:lnTo>
                  <a:pt x="793" y="71"/>
                </a:lnTo>
                <a:lnTo>
                  <a:pt x="788" y="82"/>
                </a:lnTo>
                <a:lnTo>
                  <a:pt x="788" y="82"/>
                </a:lnTo>
                <a:lnTo>
                  <a:pt x="788" y="82"/>
                </a:lnTo>
                <a:lnTo>
                  <a:pt x="787" y="79"/>
                </a:lnTo>
                <a:lnTo>
                  <a:pt x="787" y="76"/>
                </a:lnTo>
                <a:lnTo>
                  <a:pt x="777" y="92"/>
                </a:lnTo>
                <a:lnTo>
                  <a:pt x="767" y="107"/>
                </a:lnTo>
                <a:lnTo>
                  <a:pt x="766" y="104"/>
                </a:lnTo>
                <a:lnTo>
                  <a:pt x="764" y="100"/>
                </a:lnTo>
                <a:lnTo>
                  <a:pt x="761" y="105"/>
                </a:lnTo>
                <a:lnTo>
                  <a:pt x="756" y="108"/>
                </a:lnTo>
                <a:lnTo>
                  <a:pt x="756" y="108"/>
                </a:lnTo>
                <a:lnTo>
                  <a:pt x="755" y="106"/>
                </a:lnTo>
                <a:lnTo>
                  <a:pt x="753" y="108"/>
                </a:lnTo>
                <a:lnTo>
                  <a:pt x="752" y="111"/>
                </a:lnTo>
                <a:lnTo>
                  <a:pt x="749" y="113"/>
                </a:lnTo>
                <a:lnTo>
                  <a:pt x="747" y="114"/>
                </a:lnTo>
                <a:lnTo>
                  <a:pt x="746" y="119"/>
                </a:lnTo>
                <a:lnTo>
                  <a:pt x="745" y="125"/>
                </a:lnTo>
                <a:lnTo>
                  <a:pt x="743" y="125"/>
                </a:lnTo>
                <a:lnTo>
                  <a:pt x="742" y="125"/>
                </a:lnTo>
                <a:lnTo>
                  <a:pt x="742" y="119"/>
                </a:lnTo>
                <a:lnTo>
                  <a:pt x="741" y="114"/>
                </a:lnTo>
                <a:lnTo>
                  <a:pt x="741" y="114"/>
                </a:lnTo>
                <a:lnTo>
                  <a:pt x="740" y="114"/>
                </a:lnTo>
                <a:lnTo>
                  <a:pt x="739" y="119"/>
                </a:lnTo>
                <a:lnTo>
                  <a:pt x="738" y="126"/>
                </a:lnTo>
                <a:lnTo>
                  <a:pt x="735" y="121"/>
                </a:lnTo>
                <a:lnTo>
                  <a:pt x="733" y="117"/>
                </a:lnTo>
                <a:lnTo>
                  <a:pt x="731" y="120"/>
                </a:lnTo>
                <a:lnTo>
                  <a:pt x="729" y="124"/>
                </a:lnTo>
                <a:lnTo>
                  <a:pt x="727" y="120"/>
                </a:lnTo>
                <a:lnTo>
                  <a:pt x="726" y="115"/>
                </a:lnTo>
                <a:lnTo>
                  <a:pt x="725" y="118"/>
                </a:lnTo>
                <a:lnTo>
                  <a:pt x="724" y="120"/>
                </a:lnTo>
                <a:lnTo>
                  <a:pt x="724" y="124"/>
                </a:lnTo>
                <a:lnTo>
                  <a:pt x="724" y="127"/>
                </a:lnTo>
                <a:lnTo>
                  <a:pt x="722" y="129"/>
                </a:lnTo>
                <a:lnTo>
                  <a:pt x="720" y="132"/>
                </a:lnTo>
                <a:lnTo>
                  <a:pt x="717" y="138"/>
                </a:lnTo>
                <a:lnTo>
                  <a:pt x="713" y="142"/>
                </a:lnTo>
                <a:lnTo>
                  <a:pt x="711" y="143"/>
                </a:lnTo>
                <a:lnTo>
                  <a:pt x="709" y="143"/>
                </a:lnTo>
                <a:lnTo>
                  <a:pt x="708" y="142"/>
                </a:lnTo>
                <a:lnTo>
                  <a:pt x="707" y="140"/>
                </a:lnTo>
                <a:lnTo>
                  <a:pt x="707" y="134"/>
                </a:lnTo>
                <a:lnTo>
                  <a:pt x="708" y="129"/>
                </a:lnTo>
                <a:lnTo>
                  <a:pt x="709" y="126"/>
                </a:lnTo>
                <a:lnTo>
                  <a:pt x="712" y="122"/>
                </a:lnTo>
                <a:lnTo>
                  <a:pt x="705" y="121"/>
                </a:lnTo>
                <a:lnTo>
                  <a:pt x="697" y="119"/>
                </a:lnTo>
                <a:lnTo>
                  <a:pt x="686" y="113"/>
                </a:lnTo>
                <a:lnTo>
                  <a:pt x="677" y="107"/>
                </a:lnTo>
                <a:lnTo>
                  <a:pt x="671" y="99"/>
                </a:lnTo>
                <a:lnTo>
                  <a:pt x="667" y="90"/>
                </a:lnTo>
                <a:lnTo>
                  <a:pt x="665" y="80"/>
                </a:lnTo>
                <a:lnTo>
                  <a:pt x="664" y="70"/>
                </a:lnTo>
                <a:lnTo>
                  <a:pt x="664" y="63"/>
                </a:lnTo>
                <a:lnTo>
                  <a:pt x="664" y="56"/>
                </a:lnTo>
                <a:lnTo>
                  <a:pt x="663" y="51"/>
                </a:lnTo>
                <a:lnTo>
                  <a:pt x="660" y="47"/>
                </a:lnTo>
                <a:lnTo>
                  <a:pt x="660" y="51"/>
                </a:lnTo>
                <a:lnTo>
                  <a:pt x="659" y="54"/>
                </a:lnTo>
                <a:lnTo>
                  <a:pt x="656" y="57"/>
                </a:lnTo>
                <a:lnTo>
                  <a:pt x="655" y="62"/>
                </a:lnTo>
                <a:lnTo>
                  <a:pt x="655" y="66"/>
                </a:lnTo>
                <a:lnTo>
                  <a:pt x="655" y="70"/>
                </a:lnTo>
                <a:lnTo>
                  <a:pt x="653" y="76"/>
                </a:lnTo>
                <a:lnTo>
                  <a:pt x="652" y="79"/>
                </a:lnTo>
                <a:lnTo>
                  <a:pt x="650" y="83"/>
                </a:lnTo>
                <a:lnTo>
                  <a:pt x="649" y="85"/>
                </a:lnTo>
                <a:lnTo>
                  <a:pt x="649" y="87"/>
                </a:lnTo>
                <a:lnTo>
                  <a:pt x="650" y="91"/>
                </a:lnTo>
                <a:lnTo>
                  <a:pt x="650" y="91"/>
                </a:lnTo>
                <a:lnTo>
                  <a:pt x="650" y="92"/>
                </a:lnTo>
                <a:lnTo>
                  <a:pt x="646" y="90"/>
                </a:lnTo>
                <a:lnTo>
                  <a:pt x="643" y="87"/>
                </a:lnTo>
                <a:lnTo>
                  <a:pt x="644" y="100"/>
                </a:lnTo>
                <a:lnTo>
                  <a:pt x="645" y="113"/>
                </a:lnTo>
                <a:lnTo>
                  <a:pt x="646" y="111"/>
                </a:lnTo>
                <a:lnTo>
                  <a:pt x="646" y="108"/>
                </a:lnTo>
                <a:lnTo>
                  <a:pt x="646" y="104"/>
                </a:lnTo>
                <a:lnTo>
                  <a:pt x="649" y="100"/>
                </a:lnTo>
                <a:lnTo>
                  <a:pt x="651" y="98"/>
                </a:lnTo>
                <a:lnTo>
                  <a:pt x="656" y="96"/>
                </a:lnTo>
                <a:lnTo>
                  <a:pt x="660" y="97"/>
                </a:lnTo>
                <a:lnTo>
                  <a:pt x="663" y="99"/>
                </a:lnTo>
                <a:lnTo>
                  <a:pt x="669" y="103"/>
                </a:lnTo>
                <a:lnTo>
                  <a:pt x="671" y="106"/>
                </a:lnTo>
                <a:lnTo>
                  <a:pt x="673" y="112"/>
                </a:lnTo>
                <a:lnTo>
                  <a:pt x="674" y="118"/>
                </a:lnTo>
                <a:lnTo>
                  <a:pt x="674" y="122"/>
                </a:lnTo>
                <a:lnTo>
                  <a:pt x="676" y="126"/>
                </a:lnTo>
                <a:lnTo>
                  <a:pt x="676" y="129"/>
                </a:lnTo>
                <a:lnTo>
                  <a:pt x="678" y="131"/>
                </a:lnTo>
                <a:lnTo>
                  <a:pt x="679" y="132"/>
                </a:lnTo>
                <a:lnTo>
                  <a:pt x="681" y="133"/>
                </a:lnTo>
                <a:lnTo>
                  <a:pt x="683" y="134"/>
                </a:lnTo>
                <a:lnTo>
                  <a:pt x="684" y="135"/>
                </a:lnTo>
                <a:lnTo>
                  <a:pt x="684" y="136"/>
                </a:lnTo>
                <a:lnTo>
                  <a:pt x="683" y="138"/>
                </a:lnTo>
                <a:lnTo>
                  <a:pt x="677" y="138"/>
                </a:lnTo>
                <a:lnTo>
                  <a:pt x="673" y="140"/>
                </a:lnTo>
                <a:lnTo>
                  <a:pt x="670" y="141"/>
                </a:lnTo>
                <a:lnTo>
                  <a:pt x="666" y="140"/>
                </a:lnTo>
                <a:lnTo>
                  <a:pt x="664" y="139"/>
                </a:lnTo>
                <a:lnTo>
                  <a:pt x="662" y="139"/>
                </a:lnTo>
                <a:lnTo>
                  <a:pt x="660" y="142"/>
                </a:lnTo>
                <a:lnTo>
                  <a:pt x="659" y="145"/>
                </a:lnTo>
                <a:lnTo>
                  <a:pt x="659" y="148"/>
                </a:lnTo>
                <a:lnTo>
                  <a:pt x="659" y="149"/>
                </a:lnTo>
                <a:lnTo>
                  <a:pt x="655" y="153"/>
                </a:lnTo>
                <a:lnTo>
                  <a:pt x="649" y="156"/>
                </a:lnTo>
                <a:lnTo>
                  <a:pt x="643" y="159"/>
                </a:lnTo>
                <a:lnTo>
                  <a:pt x="635" y="159"/>
                </a:lnTo>
                <a:lnTo>
                  <a:pt x="636" y="161"/>
                </a:lnTo>
                <a:lnTo>
                  <a:pt x="637" y="164"/>
                </a:lnTo>
                <a:lnTo>
                  <a:pt x="636" y="167"/>
                </a:lnTo>
                <a:lnTo>
                  <a:pt x="636" y="169"/>
                </a:lnTo>
                <a:lnTo>
                  <a:pt x="633" y="174"/>
                </a:lnTo>
                <a:lnTo>
                  <a:pt x="630" y="177"/>
                </a:lnTo>
                <a:lnTo>
                  <a:pt x="626" y="177"/>
                </a:lnTo>
                <a:lnTo>
                  <a:pt x="624" y="177"/>
                </a:lnTo>
                <a:lnTo>
                  <a:pt x="623" y="178"/>
                </a:lnTo>
                <a:lnTo>
                  <a:pt x="621" y="182"/>
                </a:lnTo>
                <a:lnTo>
                  <a:pt x="623" y="182"/>
                </a:lnTo>
                <a:lnTo>
                  <a:pt x="624" y="182"/>
                </a:lnTo>
                <a:lnTo>
                  <a:pt x="624" y="183"/>
                </a:lnTo>
                <a:lnTo>
                  <a:pt x="625" y="184"/>
                </a:lnTo>
                <a:lnTo>
                  <a:pt x="618" y="184"/>
                </a:lnTo>
                <a:lnTo>
                  <a:pt x="612" y="184"/>
                </a:lnTo>
                <a:lnTo>
                  <a:pt x="612" y="184"/>
                </a:lnTo>
                <a:lnTo>
                  <a:pt x="612" y="185"/>
                </a:lnTo>
                <a:lnTo>
                  <a:pt x="615" y="188"/>
                </a:lnTo>
                <a:lnTo>
                  <a:pt x="617" y="190"/>
                </a:lnTo>
                <a:lnTo>
                  <a:pt x="615" y="191"/>
                </a:lnTo>
                <a:lnTo>
                  <a:pt x="612" y="191"/>
                </a:lnTo>
                <a:lnTo>
                  <a:pt x="610" y="191"/>
                </a:lnTo>
                <a:lnTo>
                  <a:pt x="608" y="190"/>
                </a:lnTo>
                <a:lnTo>
                  <a:pt x="605" y="190"/>
                </a:lnTo>
                <a:lnTo>
                  <a:pt x="604" y="191"/>
                </a:lnTo>
                <a:lnTo>
                  <a:pt x="601" y="197"/>
                </a:lnTo>
                <a:lnTo>
                  <a:pt x="600" y="202"/>
                </a:lnTo>
                <a:lnTo>
                  <a:pt x="598" y="204"/>
                </a:lnTo>
                <a:lnTo>
                  <a:pt x="598" y="205"/>
                </a:lnTo>
                <a:lnTo>
                  <a:pt x="594" y="209"/>
                </a:lnTo>
                <a:lnTo>
                  <a:pt x="589" y="211"/>
                </a:lnTo>
                <a:lnTo>
                  <a:pt x="588" y="210"/>
                </a:lnTo>
                <a:lnTo>
                  <a:pt x="586" y="209"/>
                </a:lnTo>
                <a:lnTo>
                  <a:pt x="582" y="211"/>
                </a:lnTo>
                <a:lnTo>
                  <a:pt x="579" y="213"/>
                </a:lnTo>
                <a:lnTo>
                  <a:pt x="580" y="215"/>
                </a:lnTo>
                <a:lnTo>
                  <a:pt x="582" y="217"/>
                </a:lnTo>
                <a:lnTo>
                  <a:pt x="576" y="217"/>
                </a:lnTo>
                <a:lnTo>
                  <a:pt x="570" y="218"/>
                </a:lnTo>
                <a:lnTo>
                  <a:pt x="573" y="216"/>
                </a:lnTo>
                <a:lnTo>
                  <a:pt x="574" y="213"/>
                </a:lnTo>
                <a:lnTo>
                  <a:pt x="573" y="212"/>
                </a:lnTo>
                <a:lnTo>
                  <a:pt x="570" y="211"/>
                </a:lnTo>
                <a:lnTo>
                  <a:pt x="569" y="213"/>
                </a:lnTo>
                <a:lnTo>
                  <a:pt x="568" y="213"/>
                </a:lnTo>
                <a:lnTo>
                  <a:pt x="563" y="213"/>
                </a:lnTo>
                <a:lnTo>
                  <a:pt x="561" y="216"/>
                </a:lnTo>
                <a:lnTo>
                  <a:pt x="557" y="218"/>
                </a:lnTo>
                <a:lnTo>
                  <a:pt x="555" y="220"/>
                </a:lnTo>
                <a:lnTo>
                  <a:pt x="554" y="223"/>
                </a:lnTo>
                <a:lnTo>
                  <a:pt x="553" y="226"/>
                </a:lnTo>
                <a:lnTo>
                  <a:pt x="550" y="227"/>
                </a:lnTo>
                <a:lnTo>
                  <a:pt x="547" y="229"/>
                </a:lnTo>
                <a:lnTo>
                  <a:pt x="546" y="230"/>
                </a:lnTo>
                <a:lnTo>
                  <a:pt x="546" y="231"/>
                </a:lnTo>
                <a:lnTo>
                  <a:pt x="545" y="236"/>
                </a:lnTo>
                <a:lnTo>
                  <a:pt x="542" y="239"/>
                </a:lnTo>
                <a:lnTo>
                  <a:pt x="540" y="241"/>
                </a:lnTo>
                <a:lnTo>
                  <a:pt x="536" y="244"/>
                </a:lnTo>
                <a:lnTo>
                  <a:pt x="532" y="244"/>
                </a:lnTo>
                <a:lnTo>
                  <a:pt x="528" y="243"/>
                </a:lnTo>
                <a:lnTo>
                  <a:pt x="528" y="239"/>
                </a:lnTo>
                <a:lnTo>
                  <a:pt x="528" y="236"/>
                </a:lnTo>
                <a:lnTo>
                  <a:pt x="531" y="233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lnTo>
                  <a:pt x="533" y="230"/>
                </a:lnTo>
                <a:close/>
                <a:moveTo>
                  <a:pt x="643" y="149"/>
                </a:moveTo>
                <a:lnTo>
                  <a:pt x="644" y="147"/>
                </a:lnTo>
                <a:lnTo>
                  <a:pt x="644" y="143"/>
                </a:lnTo>
                <a:lnTo>
                  <a:pt x="644" y="138"/>
                </a:lnTo>
                <a:lnTo>
                  <a:pt x="643" y="133"/>
                </a:lnTo>
                <a:lnTo>
                  <a:pt x="641" y="140"/>
                </a:lnTo>
                <a:lnTo>
                  <a:pt x="637" y="149"/>
                </a:lnTo>
                <a:lnTo>
                  <a:pt x="641" y="149"/>
                </a:lnTo>
                <a:lnTo>
                  <a:pt x="643" y="149"/>
                </a:lnTo>
                <a:close/>
                <a:moveTo>
                  <a:pt x="286" y="229"/>
                </a:moveTo>
                <a:lnTo>
                  <a:pt x="280" y="225"/>
                </a:lnTo>
                <a:lnTo>
                  <a:pt x="273" y="222"/>
                </a:lnTo>
                <a:lnTo>
                  <a:pt x="272" y="224"/>
                </a:lnTo>
                <a:lnTo>
                  <a:pt x="271" y="227"/>
                </a:lnTo>
                <a:lnTo>
                  <a:pt x="277" y="230"/>
                </a:lnTo>
                <a:lnTo>
                  <a:pt x="284" y="231"/>
                </a:lnTo>
                <a:lnTo>
                  <a:pt x="285" y="230"/>
                </a:lnTo>
                <a:lnTo>
                  <a:pt x="286" y="229"/>
                </a:lnTo>
                <a:close/>
                <a:moveTo>
                  <a:pt x="575" y="191"/>
                </a:moveTo>
                <a:lnTo>
                  <a:pt x="576" y="190"/>
                </a:lnTo>
                <a:lnTo>
                  <a:pt x="576" y="189"/>
                </a:lnTo>
                <a:lnTo>
                  <a:pt x="572" y="188"/>
                </a:lnTo>
                <a:lnTo>
                  <a:pt x="568" y="187"/>
                </a:lnTo>
                <a:lnTo>
                  <a:pt x="569" y="190"/>
                </a:lnTo>
                <a:lnTo>
                  <a:pt x="570" y="195"/>
                </a:lnTo>
                <a:lnTo>
                  <a:pt x="572" y="196"/>
                </a:lnTo>
                <a:lnTo>
                  <a:pt x="572" y="198"/>
                </a:lnTo>
                <a:lnTo>
                  <a:pt x="570" y="199"/>
                </a:lnTo>
                <a:lnTo>
                  <a:pt x="569" y="199"/>
                </a:lnTo>
                <a:lnTo>
                  <a:pt x="567" y="201"/>
                </a:lnTo>
                <a:lnTo>
                  <a:pt x="564" y="202"/>
                </a:lnTo>
                <a:lnTo>
                  <a:pt x="564" y="203"/>
                </a:lnTo>
                <a:lnTo>
                  <a:pt x="566" y="205"/>
                </a:lnTo>
                <a:lnTo>
                  <a:pt x="570" y="203"/>
                </a:lnTo>
                <a:lnTo>
                  <a:pt x="573" y="199"/>
                </a:lnTo>
                <a:lnTo>
                  <a:pt x="574" y="196"/>
                </a:lnTo>
                <a:lnTo>
                  <a:pt x="575" y="191"/>
                </a:lnTo>
                <a:close/>
                <a:moveTo>
                  <a:pt x="228" y="227"/>
                </a:moveTo>
                <a:lnTo>
                  <a:pt x="228" y="227"/>
                </a:lnTo>
                <a:lnTo>
                  <a:pt x="228" y="229"/>
                </a:lnTo>
                <a:lnTo>
                  <a:pt x="232" y="229"/>
                </a:lnTo>
                <a:lnTo>
                  <a:pt x="236" y="229"/>
                </a:lnTo>
                <a:lnTo>
                  <a:pt x="238" y="230"/>
                </a:lnTo>
                <a:lnTo>
                  <a:pt x="241" y="230"/>
                </a:lnTo>
                <a:lnTo>
                  <a:pt x="243" y="229"/>
                </a:lnTo>
                <a:lnTo>
                  <a:pt x="245" y="227"/>
                </a:lnTo>
                <a:lnTo>
                  <a:pt x="244" y="224"/>
                </a:lnTo>
                <a:lnTo>
                  <a:pt x="244" y="222"/>
                </a:lnTo>
                <a:lnTo>
                  <a:pt x="246" y="219"/>
                </a:lnTo>
                <a:lnTo>
                  <a:pt x="249" y="217"/>
                </a:lnTo>
                <a:lnTo>
                  <a:pt x="237" y="223"/>
                </a:lnTo>
                <a:lnTo>
                  <a:pt x="228" y="227"/>
                </a:lnTo>
                <a:close/>
                <a:moveTo>
                  <a:pt x="540" y="192"/>
                </a:moveTo>
                <a:lnTo>
                  <a:pt x="540" y="195"/>
                </a:lnTo>
                <a:lnTo>
                  <a:pt x="541" y="197"/>
                </a:lnTo>
                <a:lnTo>
                  <a:pt x="542" y="194"/>
                </a:lnTo>
                <a:lnTo>
                  <a:pt x="545" y="190"/>
                </a:lnTo>
                <a:lnTo>
                  <a:pt x="548" y="185"/>
                </a:lnTo>
                <a:lnTo>
                  <a:pt x="554" y="177"/>
                </a:lnTo>
                <a:lnTo>
                  <a:pt x="549" y="174"/>
                </a:lnTo>
                <a:lnTo>
                  <a:pt x="546" y="173"/>
                </a:lnTo>
                <a:lnTo>
                  <a:pt x="542" y="173"/>
                </a:lnTo>
                <a:lnTo>
                  <a:pt x="538" y="175"/>
                </a:lnTo>
                <a:lnTo>
                  <a:pt x="536" y="177"/>
                </a:lnTo>
                <a:lnTo>
                  <a:pt x="538" y="180"/>
                </a:lnTo>
                <a:lnTo>
                  <a:pt x="540" y="185"/>
                </a:lnTo>
                <a:lnTo>
                  <a:pt x="540" y="192"/>
                </a:lnTo>
                <a:close/>
                <a:moveTo>
                  <a:pt x="245" y="248"/>
                </a:moveTo>
                <a:lnTo>
                  <a:pt x="249" y="251"/>
                </a:lnTo>
                <a:lnTo>
                  <a:pt x="253" y="253"/>
                </a:lnTo>
                <a:lnTo>
                  <a:pt x="257" y="255"/>
                </a:lnTo>
                <a:lnTo>
                  <a:pt x="263" y="255"/>
                </a:lnTo>
                <a:lnTo>
                  <a:pt x="264" y="255"/>
                </a:lnTo>
                <a:lnTo>
                  <a:pt x="265" y="258"/>
                </a:lnTo>
                <a:lnTo>
                  <a:pt x="269" y="259"/>
                </a:lnTo>
                <a:lnTo>
                  <a:pt x="271" y="259"/>
                </a:lnTo>
                <a:lnTo>
                  <a:pt x="277" y="255"/>
                </a:lnTo>
                <a:lnTo>
                  <a:pt x="282" y="251"/>
                </a:lnTo>
                <a:lnTo>
                  <a:pt x="285" y="247"/>
                </a:lnTo>
                <a:lnTo>
                  <a:pt x="289" y="244"/>
                </a:lnTo>
                <a:lnTo>
                  <a:pt x="285" y="244"/>
                </a:lnTo>
                <a:lnTo>
                  <a:pt x="282" y="244"/>
                </a:lnTo>
                <a:lnTo>
                  <a:pt x="279" y="245"/>
                </a:lnTo>
                <a:lnTo>
                  <a:pt x="278" y="245"/>
                </a:lnTo>
                <a:lnTo>
                  <a:pt x="277" y="246"/>
                </a:lnTo>
                <a:lnTo>
                  <a:pt x="277" y="248"/>
                </a:lnTo>
                <a:lnTo>
                  <a:pt x="274" y="252"/>
                </a:lnTo>
                <a:lnTo>
                  <a:pt x="270" y="255"/>
                </a:lnTo>
                <a:lnTo>
                  <a:pt x="267" y="254"/>
                </a:lnTo>
                <a:lnTo>
                  <a:pt x="265" y="253"/>
                </a:lnTo>
                <a:lnTo>
                  <a:pt x="264" y="252"/>
                </a:lnTo>
                <a:lnTo>
                  <a:pt x="263" y="251"/>
                </a:lnTo>
                <a:lnTo>
                  <a:pt x="260" y="250"/>
                </a:lnTo>
                <a:lnTo>
                  <a:pt x="259" y="250"/>
                </a:lnTo>
                <a:lnTo>
                  <a:pt x="255" y="248"/>
                </a:lnTo>
                <a:lnTo>
                  <a:pt x="250" y="247"/>
                </a:lnTo>
                <a:lnTo>
                  <a:pt x="251" y="246"/>
                </a:lnTo>
                <a:lnTo>
                  <a:pt x="253" y="244"/>
                </a:lnTo>
                <a:lnTo>
                  <a:pt x="249" y="244"/>
                </a:lnTo>
                <a:lnTo>
                  <a:pt x="245" y="244"/>
                </a:lnTo>
                <a:lnTo>
                  <a:pt x="244" y="241"/>
                </a:lnTo>
                <a:lnTo>
                  <a:pt x="242" y="239"/>
                </a:lnTo>
                <a:lnTo>
                  <a:pt x="239" y="239"/>
                </a:lnTo>
                <a:lnTo>
                  <a:pt x="237" y="240"/>
                </a:lnTo>
                <a:lnTo>
                  <a:pt x="234" y="241"/>
                </a:lnTo>
                <a:lnTo>
                  <a:pt x="231" y="241"/>
                </a:lnTo>
                <a:lnTo>
                  <a:pt x="229" y="241"/>
                </a:lnTo>
                <a:lnTo>
                  <a:pt x="227" y="240"/>
                </a:lnTo>
                <a:lnTo>
                  <a:pt x="224" y="239"/>
                </a:lnTo>
                <a:lnTo>
                  <a:pt x="221" y="240"/>
                </a:lnTo>
                <a:lnTo>
                  <a:pt x="221" y="241"/>
                </a:lnTo>
                <a:lnTo>
                  <a:pt x="221" y="243"/>
                </a:lnTo>
                <a:lnTo>
                  <a:pt x="229" y="243"/>
                </a:lnTo>
                <a:lnTo>
                  <a:pt x="238" y="244"/>
                </a:lnTo>
                <a:lnTo>
                  <a:pt x="238" y="245"/>
                </a:lnTo>
                <a:lnTo>
                  <a:pt x="238" y="247"/>
                </a:lnTo>
                <a:lnTo>
                  <a:pt x="242" y="247"/>
                </a:lnTo>
                <a:lnTo>
                  <a:pt x="245" y="248"/>
                </a:lnTo>
                <a:close/>
                <a:moveTo>
                  <a:pt x="264" y="204"/>
                </a:moveTo>
                <a:lnTo>
                  <a:pt x="276" y="215"/>
                </a:lnTo>
                <a:lnTo>
                  <a:pt x="286" y="225"/>
                </a:lnTo>
                <a:lnTo>
                  <a:pt x="289" y="223"/>
                </a:lnTo>
                <a:lnTo>
                  <a:pt x="291" y="220"/>
                </a:lnTo>
                <a:lnTo>
                  <a:pt x="301" y="213"/>
                </a:lnTo>
                <a:lnTo>
                  <a:pt x="311" y="208"/>
                </a:lnTo>
                <a:lnTo>
                  <a:pt x="318" y="203"/>
                </a:lnTo>
                <a:lnTo>
                  <a:pt x="324" y="197"/>
                </a:lnTo>
                <a:lnTo>
                  <a:pt x="329" y="191"/>
                </a:lnTo>
                <a:lnTo>
                  <a:pt x="335" y="184"/>
                </a:lnTo>
                <a:lnTo>
                  <a:pt x="336" y="182"/>
                </a:lnTo>
                <a:lnTo>
                  <a:pt x="336" y="180"/>
                </a:lnTo>
                <a:lnTo>
                  <a:pt x="336" y="177"/>
                </a:lnTo>
                <a:lnTo>
                  <a:pt x="335" y="175"/>
                </a:lnTo>
                <a:lnTo>
                  <a:pt x="333" y="177"/>
                </a:lnTo>
                <a:lnTo>
                  <a:pt x="332" y="181"/>
                </a:lnTo>
                <a:lnTo>
                  <a:pt x="331" y="177"/>
                </a:lnTo>
                <a:lnTo>
                  <a:pt x="329" y="175"/>
                </a:lnTo>
                <a:lnTo>
                  <a:pt x="328" y="177"/>
                </a:lnTo>
                <a:lnTo>
                  <a:pt x="327" y="178"/>
                </a:lnTo>
                <a:lnTo>
                  <a:pt x="327" y="180"/>
                </a:lnTo>
                <a:lnTo>
                  <a:pt x="326" y="182"/>
                </a:lnTo>
                <a:lnTo>
                  <a:pt x="324" y="181"/>
                </a:lnTo>
                <a:lnTo>
                  <a:pt x="320" y="182"/>
                </a:lnTo>
                <a:lnTo>
                  <a:pt x="318" y="183"/>
                </a:lnTo>
                <a:lnTo>
                  <a:pt x="315" y="185"/>
                </a:lnTo>
                <a:lnTo>
                  <a:pt x="314" y="188"/>
                </a:lnTo>
                <a:lnTo>
                  <a:pt x="312" y="191"/>
                </a:lnTo>
                <a:lnTo>
                  <a:pt x="310" y="199"/>
                </a:lnTo>
                <a:lnTo>
                  <a:pt x="307" y="208"/>
                </a:lnTo>
                <a:lnTo>
                  <a:pt x="306" y="204"/>
                </a:lnTo>
                <a:lnTo>
                  <a:pt x="305" y="199"/>
                </a:lnTo>
                <a:lnTo>
                  <a:pt x="305" y="196"/>
                </a:lnTo>
                <a:lnTo>
                  <a:pt x="301" y="194"/>
                </a:lnTo>
                <a:lnTo>
                  <a:pt x="299" y="198"/>
                </a:lnTo>
                <a:lnTo>
                  <a:pt x="296" y="202"/>
                </a:lnTo>
                <a:lnTo>
                  <a:pt x="293" y="198"/>
                </a:lnTo>
                <a:lnTo>
                  <a:pt x="291" y="196"/>
                </a:lnTo>
                <a:lnTo>
                  <a:pt x="287" y="201"/>
                </a:lnTo>
                <a:lnTo>
                  <a:pt x="284" y="204"/>
                </a:lnTo>
                <a:lnTo>
                  <a:pt x="279" y="204"/>
                </a:lnTo>
                <a:lnTo>
                  <a:pt x="272" y="204"/>
                </a:lnTo>
                <a:lnTo>
                  <a:pt x="267" y="204"/>
                </a:lnTo>
                <a:lnTo>
                  <a:pt x="264" y="204"/>
                </a:lnTo>
                <a:close/>
                <a:moveTo>
                  <a:pt x="678" y="148"/>
                </a:moveTo>
                <a:lnTo>
                  <a:pt x="677" y="149"/>
                </a:lnTo>
                <a:lnTo>
                  <a:pt x="676" y="152"/>
                </a:lnTo>
                <a:lnTo>
                  <a:pt x="676" y="153"/>
                </a:lnTo>
                <a:lnTo>
                  <a:pt x="677" y="155"/>
                </a:lnTo>
                <a:lnTo>
                  <a:pt x="677" y="157"/>
                </a:lnTo>
                <a:lnTo>
                  <a:pt x="677" y="159"/>
                </a:lnTo>
                <a:lnTo>
                  <a:pt x="676" y="160"/>
                </a:lnTo>
                <a:lnTo>
                  <a:pt x="674" y="160"/>
                </a:lnTo>
                <a:lnTo>
                  <a:pt x="672" y="160"/>
                </a:lnTo>
                <a:lnTo>
                  <a:pt x="670" y="161"/>
                </a:lnTo>
                <a:lnTo>
                  <a:pt x="669" y="162"/>
                </a:lnTo>
                <a:lnTo>
                  <a:pt x="667" y="163"/>
                </a:lnTo>
                <a:lnTo>
                  <a:pt x="665" y="166"/>
                </a:lnTo>
                <a:lnTo>
                  <a:pt x="664" y="167"/>
                </a:lnTo>
                <a:lnTo>
                  <a:pt x="664" y="162"/>
                </a:lnTo>
                <a:lnTo>
                  <a:pt x="665" y="159"/>
                </a:lnTo>
                <a:lnTo>
                  <a:pt x="667" y="152"/>
                </a:lnTo>
                <a:lnTo>
                  <a:pt x="672" y="146"/>
                </a:lnTo>
                <a:lnTo>
                  <a:pt x="676" y="143"/>
                </a:lnTo>
                <a:lnTo>
                  <a:pt x="680" y="143"/>
                </a:lnTo>
                <a:lnTo>
                  <a:pt x="679" y="146"/>
                </a:lnTo>
                <a:lnTo>
                  <a:pt x="678" y="148"/>
                </a:lnTo>
                <a:close/>
                <a:moveTo>
                  <a:pt x="665" y="241"/>
                </a:moveTo>
                <a:lnTo>
                  <a:pt x="664" y="240"/>
                </a:lnTo>
                <a:lnTo>
                  <a:pt x="664" y="239"/>
                </a:lnTo>
                <a:lnTo>
                  <a:pt x="670" y="237"/>
                </a:lnTo>
                <a:lnTo>
                  <a:pt x="674" y="233"/>
                </a:lnTo>
                <a:lnTo>
                  <a:pt x="676" y="234"/>
                </a:lnTo>
                <a:lnTo>
                  <a:pt x="676" y="236"/>
                </a:lnTo>
                <a:lnTo>
                  <a:pt x="670" y="238"/>
                </a:lnTo>
                <a:lnTo>
                  <a:pt x="665" y="241"/>
                </a:lnTo>
                <a:close/>
                <a:moveTo>
                  <a:pt x="553" y="237"/>
                </a:moveTo>
                <a:lnTo>
                  <a:pt x="552" y="237"/>
                </a:lnTo>
                <a:lnTo>
                  <a:pt x="549" y="238"/>
                </a:lnTo>
                <a:lnTo>
                  <a:pt x="549" y="236"/>
                </a:lnTo>
                <a:lnTo>
                  <a:pt x="549" y="234"/>
                </a:lnTo>
                <a:lnTo>
                  <a:pt x="553" y="231"/>
                </a:lnTo>
                <a:lnTo>
                  <a:pt x="557" y="229"/>
                </a:lnTo>
                <a:lnTo>
                  <a:pt x="559" y="230"/>
                </a:lnTo>
                <a:lnTo>
                  <a:pt x="559" y="231"/>
                </a:lnTo>
                <a:lnTo>
                  <a:pt x="556" y="233"/>
                </a:lnTo>
                <a:lnTo>
                  <a:pt x="553" y="237"/>
                </a:lnTo>
                <a:close/>
                <a:moveTo>
                  <a:pt x="497" y="240"/>
                </a:moveTo>
                <a:lnTo>
                  <a:pt x="497" y="238"/>
                </a:lnTo>
                <a:lnTo>
                  <a:pt x="497" y="236"/>
                </a:lnTo>
                <a:lnTo>
                  <a:pt x="499" y="234"/>
                </a:lnTo>
                <a:lnTo>
                  <a:pt x="503" y="233"/>
                </a:lnTo>
                <a:lnTo>
                  <a:pt x="500" y="237"/>
                </a:lnTo>
                <a:lnTo>
                  <a:pt x="497" y="240"/>
                </a:lnTo>
                <a:close/>
                <a:moveTo>
                  <a:pt x="467" y="255"/>
                </a:moveTo>
                <a:lnTo>
                  <a:pt x="467" y="252"/>
                </a:lnTo>
                <a:lnTo>
                  <a:pt x="467" y="248"/>
                </a:lnTo>
                <a:lnTo>
                  <a:pt x="467" y="245"/>
                </a:lnTo>
                <a:lnTo>
                  <a:pt x="469" y="241"/>
                </a:lnTo>
                <a:lnTo>
                  <a:pt x="470" y="241"/>
                </a:lnTo>
                <a:lnTo>
                  <a:pt x="471" y="241"/>
                </a:lnTo>
                <a:lnTo>
                  <a:pt x="472" y="245"/>
                </a:lnTo>
                <a:lnTo>
                  <a:pt x="471" y="248"/>
                </a:lnTo>
                <a:lnTo>
                  <a:pt x="470" y="253"/>
                </a:lnTo>
                <a:lnTo>
                  <a:pt x="467" y="255"/>
                </a:lnTo>
                <a:close/>
                <a:moveTo>
                  <a:pt x="430" y="288"/>
                </a:moveTo>
                <a:lnTo>
                  <a:pt x="429" y="286"/>
                </a:lnTo>
                <a:lnTo>
                  <a:pt x="429" y="282"/>
                </a:lnTo>
                <a:lnTo>
                  <a:pt x="431" y="279"/>
                </a:lnTo>
                <a:lnTo>
                  <a:pt x="435" y="275"/>
                </a:lnTo>
                <a:lnTo>
                  <a:pt x="432" y="281"/>
                </a:lnTo>
                <a:lnTo>
                  <a:pt x="430" y="288"/>
                </a:lnTo>
                <a:close/>
                <a:moveTo>
                  <a:pt x="424" y="274"/>
                </a:moveTo>
                <a:lnTo>
                  <a:pt x="422" y="274"/>
                </a:lnTo>
                <a:lnTo>
                  <a:pt x="421" y="273"/>
                </a:lnTo>
                <a:lnTo>
                  <a:pt x="421" y="273"/>
                </a:lnTo>
                <a:lnTo>
                  <a:pt x="421" y="272"/>
                </a:lnTo>
                <a:lnTo>
                  <a:pt x="424" y="269"/>
                </a:lnTo>
                <a:lnTo>
                  <a:pt x="428" y="267"/>
                </a:lnTo>
                <a:lnTo>
                  <a:pt x="429" y="268"/>
                </a:lnTo>
                <a:lnTo>
                  <a:pt x="430" y="269"/>
                </a:lnTo>
                <a:lnTo>
                  <a:pt x="427" y="272"/>
                </a:lnTo>
                <a:lnTo>
                  <a:pt x="424" y="274"/>
                </a:lnTo>
                <a:close/>
                <a:moveTo>
                  <a:pt x="511" y="440"/>
                </a:moveTo>
                <a:lnTo>
                  <a:pt x="518" y="439"/>
                </a:lnTo>
                <a:lnTo>
                  <a:pt x="524" y="438"/>
                </a:lnTo>
                <a:lnTo>
                  <a:pt x="524" y="436"/>
                </a:lnTo>
                <a:lnTo>
                  <a:pt x="524" y="436"/>
                </a:lnTo>
                <a:lnTo>
                  <a:pt x="519" y="435"/>
                </a:lnTo>
                <a:lnTo>
                  <a:pt x="513" y="434"/>
                </a:lnTo>
                <a:lnTo>
                  <a:pt x="513" y="434"/>
                </a:lnTo>
                <a:lnTo>
                  <a:pt x="513" y="433"/>
                </a:lnTo>
                <a:lnTo>
                  <a:pt x="515" y="433"/>
                </a:lnTo>
                <a:lnTo>
                  <a:pt x="517" y="432"/>
                </a:lnTo>
                <a:lnTo>
                  <a:pt x="527" y="432"/>
                </a:lnTo>
                <a:lnTo>
                  <a:pt x="536" y="432"/>
                </a:lnTo>
                <a:lnTo>
                  <a:pt x="542" y="433"/>
                </a:lnTo>
                <a:lnTo>
                  <a:pt x="547" y="435"/>
                </a:lnTo>
                <a:lnTo>
                  <a:pt x="560" y="436"/>
                </a:lnTo>
                <a:lnTo>
                  <a:pt x="572" y="438"/>
                </a:lnTo>
                <a:lnTo>
                  <a:pt x="575" y="439"/>
                </a:lnTo>
                <a:lnTo>
                  <a:pt x="579" y="441"/>
                </a:lnTo>
                <a:lnTo>
                  <a:pt x="576" y="445"/>
                </a:lnTo>
                <a:lnTo>
                  <a:pt x="574" y="447"/>
                </a:lnTo>
                <a:lnTo>
                  <a:pt x="570" y="447"/>
                </a:lnTo>
                <a:lnTo>
                  <a:pt x="566" y="447"/>
                </a:lnTo>
                <a:lnTo>
                  <a:pt x="567" y="450"/>
                </a:lnTo>
                <a:lnTo>
                  <a:pt x="570" y="454"/>
                </a:lnTo>
                <a:lnTo>
                  <a:pt x="574" y="456"/>
                </a:lnTo>
                <a:lnTo>
                  <a:pt x="577" y="457"/>
                </a:lnTo>
                <a:lnTo>
                  <a:pt x="581" y="459"/>
                </a:lnTo>
                <a:lnTo>
                  <a:pt x="586" y="459"/>
                </a:lnTo>
                <a:lnTo>
                  <a:pt x="582" y="461"/>
                </a:lnTo>
                <a:lnTo>
                  <a:pt x="577" y="461"/>
                </a:lnTo>
                <a:lnTo>
                  <a:pt x="572" y="460"/>
                </a:lnTo>
                <a:lnTo>
                  <a:pt x="562" y="456"/>
                </a:lnTo>
                <a:lnTo>
                  <a:pt x="564" y="459"/>
                </a:lnTo>
                <a:lnTo>
                  <a:pt x="567" y="462"/>
                </a:lnTo>
                <a:lnTo>
                  <a:pt x="561" y="460"/>
                </a:lnTo>
                <a:lnTo>
                  <a:pt x="557" y="459"/>
                </a:lnTo>
                <a:lnTo>
                  <a:pt x="555" y="462"/>
                </a:lnTo>
                <a:lnTo>
                  <a:pt x="554" y="464"/>
                </a:lnTo>
                <a:lnTo>
                  <a:pt x="550" y="464"/>
                </a:lnTo>
                <a:lnTo>
                  <a:pt x="547" y="463"/>
                </a:lnTo>
                <a:lnTo>
                  <a:pt x="546" y="464"/>
                </a:lnTo>
                <a:lnTo>
                  <a:pt x="546" y="466"/>
                </a:lnTo>
                <a:lnTo>
                  <a:pt x="545" y="467"/>
                </a:lnTo>
                <a:lnTo>
                  <a:pt x="543" y="468"/>
                </a:lnTo>
                <a:lnTo>
                  <a:pt x="539" y="466"/>
                </a:lnTo>
                <a:lnTo>
                  <a:pt x="535" y="463"/>
                </a:lnTo>
                <a:lnTo>
                  <a:pt x="531" y="461"/>
                </a:lnTo>
                <a:lnTo>
                  <a:pt x="528" y="456"/>
                </a:lnTo>
                <a:lnTo>
                  <a:pt x="531" y="456"/>
                </a:lnTo>
                <a:lnTo>
                  <a:pt x="533" y="456"/>
                </a:lnTo>
                <a:lnTo>
                  <a:pt x="532" y="453"/>
                </a:lnTo>
                <a:lnTo>
                  <a:pt x="532" y="450"/>
                </a:lnTo>
                <a:lnTo>
                  <a:pt x="538" y="450"/>
                </a:lnTo>
                <a:lnTo>
                  <a:pt x="545" y="450"/>
                </a:lnTo>
                <a:lnTo>
                  <a:pt x="545" y="450"/>
                </a:lnTo>
                <a:lnTo>
                  <a:pt x="545" y="449"/>
                </a:lnTo>
                <a:lnTo>
                  <a:pt x="538" y="447"/>
                </a:lnTo>
                <a:lnTo>
                  <a:pt x="531" y="445"/>
                </a:lnTo>
                <a:lnTo>
                  <a:pt x="531" y="443"/>
                </a:lnTo>
                <a:lnTo>
                  <a:pt x="529" y="445"/>
                </a:lnTo>
                <a:lnTo>
                  <a:pt x="528" y="446"/>
                </a:lnTo>
                <a:lnTo>
                  <a:pt x="527" y="447"/>
                </a:lnTo>
                <a:lnTo>
                  <a:pt x="525" y="447"/>
                </a:lnTo>
                <a:lnTo>
                  <a:pt x="524" y="447"/>
                </a:lnTo>
                <a:lnTo>
                  <a:pt x="520" y="446"/>
                </a:lnTo>
                <a:lnTo>
                  <a:pt x="518" y="445"/>
                </a:lnTo>
                <a:lnTo>
                  <a:pt x="515" y="445"/>
                </a:lnTo>
                <a:lnTo>
                  <a:pt x="514" y="443"/>
                </a:lnTo>
                <a:lnTo>
                  <a:pt x="512" y="445"/>
                </a:lnTo>
                <a:lnTo>
                  <a:pt x="511" y="447"/>
                </a:lnTo>
                <a:lnTo>
                  <a:pt x="508" y="448"/>
                </a:lnTo>
                <a:lnTo>
                  <a:pt x="507" y="448"/>
                </a:lnTo>
                <a:lnTo>
                  <a:pt x="505" y="447"/>
                </a:lnTo>
                <a:lnTo>
                  <a:pt x="504" y="446"/>
                </a:lnTo>
                <a:lnTo>
                  <a:pt x="501" y="443"/>
                </a:lnTo>
                <a:lnTo>
                  <a:pt x="500" y="441"/>
                </a:lnTo>
                <a:lnTo>
                  <a:pt x="503" y="440"/>
                </a:lnTo>
                <a:lnTo>
                  <a:pt x="505" y="439"/>
                </a:lnTo>
                <a:lnTo>
                  <a:pt x="508" y="439"/>
                </a:lnTo>
                <a:lnTo>
                  <a:pt x="511" y="440"/>
                </a:lnTo>
                <a:close/>
                <a:moveTo>
                  <a:pt x="539" y="425"/>
                </a:moveTo>
                <a:lnTo>
                  <a:pt x="536" y="426"/>
                </a:lnTo>
                <a:lnTo>
                  <a:pt x="534" y="426"/>
                </a:lnTo>
                <a:lnTo>
                  <a:pt x="529" y="427"/>
                </a:lnTo>
                <a:lnTo>
                  <a:pt x="524" y="428"/>
                </a:lnTo>
                <a:lnTo>
                  <a:pt x="520" y="431"/>
                </a:lnTo>
                <a:lnTo>
                  <a:pt x="515" y="431"/>
                </a:lnTo>
                <a:lnTo>
                  <a:pt x="511" y="429"/>
                </a:lnTo>
                <a:lnTo>
                  <a:pt x="506" y="427"/>
                </a:lnTo>
                <a:lnTo>
                  <a:pt x="513" y="425"/>
                </a:lnTo>
                <a:lnTo>
                  <a:pt x="522" y="424"/>
                </a:lnTo>
                <a:lnTo>
                  <a:pt x="532" y="424"/>
                </a:lnTo>
                <a:lnTo>
                  <a:pt x="539" y="425"/>
                </a:lnTo>
                <a:close/>
                <a:moveTo>
                  <a:pt x="708" y="511"/>
                </a:moveTo>
                <a:lnTo>
                  <a:pt x="708" y="511"/>
                </a:lnTo>
                <a:lnTo>
                  <a:pt x="708" y="511"/>
                </a:lnTo>
                <a:lnTo>
                  <a:pt x="706" y="511"/>
                </a:lnTo>
                <a:lnTo>
                  <a:pt x="705" y="511"/>
                </a:lnTo>
                <a:lnTo>
                  <a:pt x="706" y="511"/>
                </a:lnTo>
                <a:lnTo>
                  <a:pt x="708" y="511"/>
                </a:lnTo>
                <a:close/>
                <a:moveTo>
                  <a:pt x="729" y="515"/>
                </a:moveTo>
                <a:lnTo>
                  <a:pt x="729" y="515"/>
                </a:lnTo>
                <a:lnTo>
                  <a:pt x="728" y="515"/>
                </a:lnTo>
                <a:lnTo>
                  <a:pt x="726" y="515"/>
                </a:lnTo>
                <a:lnTo>
                  <a:pt x="725" y="513"/>
                </a:lnTo>
                <a:lnTo>
                  <a:pt x="725" y="513"/>
                </a:lnTo>
                <a:lnTo>
                  <a:pt x="725" y="513"/>
                </a:lnTo>
                <a:lnTo>
                  <a:pt x="727" y="515"/>
                </a:lnTo>
                <a:lnTo>
                  <a:pt x="729" y="515"/>
                </a:lnTo>
                <a:close/>
                <a:moveTo>
                  <a:pt x="840" y="1016"/>
                </a:move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lnTo>
                  <a:pt x="840" y="1016"/>
                </a:lnTo>
                <a:close/>
                <a:moveTo>
                  <a:pt x="417" y="288"/>
                </a:moveTo>
                <a:lnTo>
                  <a:pt x="415" y="285"/>
                </a:lnTo>
                <a:lnTo>
                  <a:pt x="412" y="281"/>
                </a:lnTo>
                <a:lnTo>
                  <a:pt x="416" y="281"/>
                </a:lnTo>
                <a:lnTo>
                  <a:pt x="418" y="281"/>
                </a:lnTo>
                <a:lnTo>
                  <a:pt x="418" y="283"/>
                </a:lnTo>
                <a:lnTo>
                  <a:pt x="417" y="288"/>
                </a:lnTo>
                <a:close/>
                <a:moveTo>
                  <a:pt x="412" y="259"/>
                </a:moveTo>
                <a:lnTo>
                  <a:pt x="414" y="259"/>
                </a:lnTo>
                <a:lnTo>
                  <a:pt x="415" y="259"/>
                </a:lnTo>
                <a:lnTo>
                  <a:pt x="415" y="264"/>
                </a:lnTo>
                <a:lnTo>
                  <a:pt x="416" y="268"/>
                </a:lnTo>
                <a:lnTo>
                  <a:pt x="415" y="268"/>
                </a:lnTo>
                <a:lnTo>
                  <a:pt x="415" y="269"/>
                </a:lnTo>
                <a:lnTo>
                  <a:pt x="414" y="268"/>
                </a:lnTo>
                <a:lnTo>
                  <a:pt x="412" y="268"/>
                </a:lnTo>
                <a:lnTo>
                  <a:pt x="412" y="264"/>
                </a:lnTo>
                <a:lnTo>
                  <a:pt x="412" y="259"/>
                </a:lnTo>
                <a:close/>
                <a:moveTo>
                  <a:pt x="398" y="318"/>
                </a:moveTo>
                <a:lnTo>
                  <a:pt x="402" y="313"/>
                </a:lnTo>
                <a:lnTo>
                  <a:pt x="404" y="307"/>
                </a:lnTo>
                <a:lnTo>
                  <a:pt x="405" y="313"/>
                </a:lnTo>
                <a:lnTo>
                  <a:pt x="405" y="316"/>
                </a:lnTo>
                <a:lnTo>
                  <a:pt x="403" y="318"/>
                </a:lnTo>
                <a:lnTo>
                  <a:pt x="398" y="318"/>
                </a:lnTo>
                <a:close/>
                <a:moveTo>
                  <a:pt x="396" y="373"/>
                </a:moveTo>
                <a:lnTo>
                  <a:pt x="400" y="369"/>
                </a:lnTo>
                <a:lnTo>
                  <a:pt x="403" y="365"/>
                </a:lnTo>
                <a:lnTo>
                  <a:pt x="404" y="370"/>
                </a:lnTo>
                <a:lnTo>
                  <a:pt x="403" y="372"/>
                </a:lnTo>
                <a:lnTo>
                  <a:pt x="400" y="373"/>
                </a:lnTo>
                <a:lnTo>
                  <a:pt x="396" y="373"/>
                </a:lnTo>
                <a:close/>
                <a:moveTo>
                  <a:pt x="393" y="318"/>
                </a:moveTo>
                <a:lnTo>
                  <a:pt x="394" y="322"/>
                </a:lnTo>
                <a:lnTo>
                  <a:pt x="394" y="324"/>
                </a:lnTo>
                <a:lnTo>
                  <a:pt x="393" y="324"/>
                </a:lnTo>
                <a:lnTo>
                  <a:pt x="393" y="324"/>
                </a:lnTo>
                <a:lnTo>
                  <a:pt x="390" y="320"/>
                </a:lnTo>
                <a:lnTo>
                  <a:pt x="388" y="316"/>
                </a:lnTo>
                <a:lnTo>
                  <a:pt x="391" y="315"/>
                </a:lnTo>
                <a:lnTo>
                  <a:pt x="397" y="314"/>
                </a:lnTo>
                <a:lnTo>
                  <a:pt x="395" y="317"/>
                </a:lnTo>
                <a:lnTo>
                  <a:pt x="393" y="318"/>
                </a:lnTo>
                <a:close/>
                <a:moveTo>
                  <a:pt x="383" y="307"/>
                </a:moveTo>
                <a:lnTo>
                  <a:pt x="380" y="307"/>
                </a:lnTo>
                <a:lnTo>
                  <a:pt x="376" y="308"/>
                </a:lnTo>
                <a:lnTo>
                  <a:pt x="377" y="304"/>
                </a:lnTo>
                <a:lnTo>
                  <a:pt x="380" y="300"/>
                </a:lnTo>
                <a:lnTo>
                  <a:pt x="382" y="303"/>
                </a:lnTo>
                <a:lnTo>
                  <a:pt x="384" y="304"/>
                </a:lnTo>
                <a:lnTo>
                  <a:pt x="383" y="306"/>
                </a:lnTo>
                <a:lnTo>
                  <a:pt x="383" y="307"/>
                </a:lnTo>
                <a:close/>
                <a:moveTo>
                  <a:pt x="369" y="311"/>
                </a:moveTo>
                <a:lnTo>
                  <a:pt x="373" y="309"/>
                </a:lnTo>
                <a:lnTo>
                  <a:pt x="376" y="308"/>
                </a:lnTo>
                <a:lnTo>
                  <a:pt x="377" y="310"/>
                </a:lnTo>
                <a:lnTo>
                  <a:pt x="380" y="314"/>
                </a:lnTo>
                <a:lnTo>
                  <a:pt x="375" y="313"/>
                </a:lnTo>
                <a:lnTo>
                  <a:pt x="369" y="311"/>
                </a:lnTo>
                <a:close/>
                <a:moveTo>
                  <a:pt x="366" y="315"/>
                </a:moveTo>
                <a:lnTo>
                  <a:pt x="363" y="317"/>
                </a:lnTo>
                <a:lnTo>
                  <a:pt x="361" y="320"/>
                </a:lnTo>
                <a:lnTo>
                  <a:pt x="360" y="315"/>
                </a:lnTo>
                <a:lnTo>
                  <a:pt x="361" y="311"/>
                </a:lnTo>
                <a:lnTo>
                  <a:pt x="362" y="308"/>
                </a:lnTo>
                <a:lnTo>
                  <a:pt x="363" y="303"/>
                </a:lnTo>
                <a:lnTo>
                  <a:pt x="365" y="301"/>
                </a:lnTo>
                <a:lnTo>
                  <a:pt x="366" y="300"/>
                </a:lnTo>
                <a:lnTo>
                  <a:pt x="368" y="297"/>
                </a:lnTo>
                <a:lnTo>
                  <a:pt x="370" y="295"/>
                </a:lnTo>
                <a:lnTo>
                  <a:pt x="372" y="297"/>
                </a:lnTo>
                <a:lnTo>
                  <a:pt x="373" y="300"/>
                </a:lnTo>
                <a:lnTo>
                  <a:pt x="370" y="303"/>
                </a:lnTo>
                <a:lnTo>
                  <a:pt x="367" y="308"/>
                </a:lnTo>
                <a:lnTo>
                  <a:pt x="368" y="309"/>
                </a:lnTo>
                <a:lnTo>
                  <a:pt x="369" y="311"/>
                </a:lnTo>
                <a:lnTo>
                  <a:pt x="369" y="311"/>
                </a:lnTo>
                <a:lnTo>
                  <a:pt x="368" y="313"/>
                </a:lnTo>
                <a:lnTo>
                  <a:pt x="366" y="315"/>
                </a:lnTo>
                <a:close/>
                <a:moveTo>
                  <a:pt x="312" y="328"/>
                </a:moveTo>
                <a:lnTo>
                  <a:pt x="306" y="327"/>
                </a:lnTo>
                <a:lnTo>
                  <a:pt x="299" y="324"/>
                </a:lnTo>
                <a:lnTo>
                  <a:pt x="299" y="324"/>
                </a:lnTo>
                <a:lnTo>
                  <a:pt x="299" y="322"/>
                </a:lnTo>
                <a:lnTo>
                  <a:pt x="297" y="323"/>
                </a:lnTo>
                <a:lnTo>
                  <a:pt x="293" y="323"/>
                </a:lnTo>
                <a:lnTo>
                  <a:pt x="291" y="323"/>
                </a:lnTo>
                <a:lnTo>
                  <a:pt x="289" y="320"/>
                </a:lnTo>
                <a:lnTo>
                  <a:pt x="286" y="323"/>
                </a:lnTo>
                <a:lnTo>
                  <a:pt x="284" y="324"/>
                </a:lnTo>
                <a:lnTo>
                  <a:pt x="280" y="325"/>
                </a:lnTo>
                <a:lnTo>
                  <a:pt x="277" y="324"/>
                </a:lnTo>
                <a:lnTo>
                  <a:pt x="274" y="323"/>
                </a:lnTo>
                <a:lnTo>
                  <a:pt x="271" y="323"/>
                </a:lnTo>
                <a:lnTo>
                  <a:pt x="269" y="323"/>
                </a:lnTo>
                <a:lnTo>
                  <a:pt x="267" y="323"/>
                </a:lnTo>
                <a:lnTo>
                  <a:pt x="266" y="321"/>
                </a:lnTo>
                <a:lnTo>
                  <a:pt x="266" y="318"/>
                </a:lnTo>
                <a:lnTo>
                  <a:pt x="266" y="318"/>
                </a:lnTo>
                <a:lnTo>
                  <a:pt x="267" y="317"/>
                </a:lnTo>
                <a:lnTo>
                  <a:pt x="273" y="315"/>
                </a:lnTo>
                <a:lnTo>
                  <a:pt x="280" y="311"/>
                </a:lnTo>
                <a:lnTo>
                  <a:pt x="286" y="309"/>
                </a:lnTo>
                <a:lnTo>
                  <a:pt x="291" y="307"/>
                </a:lnTo>
                <a:lnTo>
                  <a:pt x="293" y="307"/>
                </a:lnTo>
                <a:lnTo>
                  <a:pt x="294" y="308"/>
                </a:lnTo>
                <a:lnTo>
                  <a:pt x="297" y="309"/>
                </a:lnTo>
                <a:lnTo>
                  <a:pt x="298" y="309"/>
                </a:lnTo>
                <a:lnTo>
                  <a:pt x="300" y="309"/>
                </a:lnTo>
                <a:lnTo>
                  <a:pt x="303" y="308"/>
                </a:lnTo>
                <a:lnTo>
                  <a:pt x="307" y="311"/>
                </a:lnTo>
                <a:lnTo>
                  <a:pt x="312" y="316"/>
                </a:lnTo>
                <a:lnTo>
                  <a:pt x="313" y="322"/>
                </a:lnTo>
                <a:lnTo>
                  <a:pt x="312" y="328"/>
                </a:lnTo>
                <a:close/>
                <a:moveTo>
                  <a:pt x="255" y="361"/>
                </a:moveTo>
                <a:lnTo>
                  <a:pt x="253" y="362"/>
                </a:lnTo>
                <a:lnTo>
                  <a:pt x="251" y="363"/>
                </a:lnTo>
                <a:lnTo>
                  <a:pt x="249" y="364"/>
                </a:lnTo>
                <a:lnTo>
                  <a:pt x="246" y="365"/>
                </a:lnTo>
                <a:lnTo>
                  <a:pt x="243" y="368"/>
                </a:lnTo>
                <a:lnTo>
                  <a:pt x="241" y="371"/>
                </a:lnTo>
                <a:lnTo>
                  <a:pt x="237" y="366"/>
                </a:lnTo>
                <a:lnTo>
                  <a:pt x="237" y="363"/>
                </a:lnTo>
                <a:lnTo>
                  <a:pt x="238" y="361"/>
                </a:lnTo>
                <a:lnTo>
                  <a:pt x="242" y="357"/>
                </a:lnTo>
                <a:lnTo>
                  <a:pt x="246" y="351"/>
                </a:lnTo>
                <a:lnTo>
                  <a:pt x="251" y="344"/>
                </a:lnTo>
                <a:lnTo>
                  <a:pt x="253" y="342"/>
                </a:lnTo>
                <a:lnTo>
                  <a:pt x="257" y="341"/>
                </a:lnTo>
                <a:lnTo>
                  <a:pt x="258" y="342"/>
                </a:lnTo>
                <a:lnTo>
                  <a:pt x="260" y="345"/>
                </a:lnTo>
                <a:lnTo>
                  <a:pt x="262" y="344"/>
                </a:lnTo>
                <a:lnTo>
                  <a:pt x="264" y="345"/>
                </a:lnTo>
                <a:lnTo>
                  <a:pt x="266" y="346"/>
                </a:lnTo>
                <a:lnTo>
                  <a:pt x="267" y="349"/>
                </a:lnTo>
                <a:lnTo>
                  <a:pt x="263" y="350"/>
                </a:lnTo>
                <a:lnTo>
                  <a:pt x="259" y="352"/>
                </a:lnTo>
                <a:lnTo>
                  <a:pt x="256" y="356"/>
                </a:lnTo>
                <a:lnTo>
                  <a:pt x="255" y="361"/>
                </a:lnTo>
                <a:close/>
                <a:moveTo>
                  <a:pt x="225" y="297"/>
                </a:moveTo>
                <a:lnTo>
                  <a:pt x="225" y="297"/>
                </a:lnTo>
                <a:lnTo>
                  <a:pt x="225" y="296"/>
                </a:lnTo>
                <a:lnTo>
                  <a:pt x="231" y="297"/>
                </a:lnTo>
                <a:lnTo>
                  <a:pt x="238" y="299"/>
                </a:lnTo>
                <a:lnTo>
                  <a:pt x="237" y="300"/>
                </a:lnTo>
                <a:lnTo>
                  <a:pt x="237" y="300"/>
                </a:lnTo>
                <a:lnTo>
                  <a:pt x="231" y="299"/>
                </a:lnTo>
                <a:lnTo>
                  <a:pt x="225" y="297"/>
                </a:lnTo>
                <a:close/>
                <a:moveTo>
                  <a:pt x="244" y="269"/>
                </a:moveTo>
                <a:lnTo>
                  <a:pt x="242" y="272"/>
                </a:lnTo>
                <a:lnTo>
                  <a:pt x="239" y="273"/>
                </a:lnTo>
                <a:lnTo>
                  <a:pt x="236" y="273"/>
                </a:lnTo>
                <a:lnTo>
                  <a:pt x="235" y="272"/>
                </a:lnTo>
                <a:lnTo>
                  <a:pt x="232" y="268"/>
                </a:lnTo>
                <a:lnTo>
                  <a:pt x="230" y="268"/>
                </a:lnTo>
                <a:lnTo>
                  <a:pt x="229" y="268"/>
                </a:lnTo>
                <a:lnTo>
                  <a:pt x="225" y="271"/>
                </a:lnTo>
                <a:lnTo>
                  <a:pt x="224" y="267"/>
                </a:lnTo>
                <a:lnTo>
                  <a:pt x="222" y="264"/>
                </a:lnTo>
                <a:lnTo>
                  <a:pt x="232" y="266"/>
                </a:lnTo>
                <a:lnTo>
                  <a:pt x="244" y="269"/>
                </a:lnTo>
                <a:close/>
                <a:moveTo>
                  <a:pt x="250" y="302"/>
                </a:moveTo>
                <a:lnTo>
                  <a:pt x="246" y="304"/>
                </a:lnTo>
                <a:lnTo>
                  <a:pt x="243" y="307"/>
                </a:lnTo>
                <a:lnTo>
                  <a:pt x="242" y="304"/>
                </a:lnTo>
                <a:lnTo>
                  <a:pt x="241" y="302"/>
                </a:lnTo>
                <a:lnTo>
                  <a:pt x="245" y="302"/>
                </a:lnTo>
                <a:lnTo>
                  <a:pt x="250" y="302"/>
                </a:lnTo>
                <a:close/>
                <a:moveTo>
                  <a:pt x="237" y="281"/>
                </a:moveTo>
                <a:lnTo>
                  <a:pt x="244" y="280"/>
                </a:lnTo>
                <a:lnTo>
                  <a:pt x="250" y="279"/>
                </a:lnTo>
                <a:lnTo>
                  <a:pt x="248" y="281"/>
                </a:lnTo>
                <a:lnTo>
                  <a:pt x="245" y="282"/>
                </a:lnTo>
                <a:lnTo>
                  <a:pt x="242" y="282"/>
                </a:lnTo>
                <a:lnTo>
                  <a:pt x="237" y="281"/>
                </a:lnTo>
                <a:close/>
                <a:moveTo>
                  <a:pt x="227" y="259"/>
                </a:moveTo>
                <a:lnTo>
                  <a:pt x="228" y="259"/>
                </a:lnTo>
                <a:lnTo>
                  <a:pt x="230" y="259"/>
                </a:lnTo>
                <a:lnTo>
                  <a:pt x="230" y="257"/>
                </a:lnTo>
                <a:lnTo>
                  <a:pt x="228" y="254"/>
                </a:lnTo>
                <a:lnTo>
                  <a:pt x="229" y="254"/>
                </a:lnTo>
                <a:lnTo>
                  <a:pt x="229" y="254"/>
                </a:lnTo>
                <a:lnTo>
                  <a:pt x="237" y="257"/>
                </a:lnTo>
                <a:lnTo>
                  <a:pt x="246" y="259"/>
                </a:lnTo>
                <a:lnTo>
                  <a:pt x="245" y="262"/>
                </a:lnTo>
                <a:lnTo>
                  <a:pt x="246" y="264"/>
                </a:lnTo>
                <a:lnTo>
                  <a:pt x="249" y="265"/>
                </a:lnTo>
                <a:lnTo>
                  <a:pt x="251" y="266"/>
                </a:lnTo>
                <a:lnTo>
                  <a:pt x="251" y="267"/>
                </a:lnTo>
                <a:lnTo>
                  <a:pt x="250" y="267"/>
                </a:lnTo>
                <a:lnTo>
                  <a:pt x="235" y="264"/>
                </a:lnTo>
                <a:lnTo>
                  <a:pt x="218" y="259"/>
                </a:lnTo>
                <a:lnTo>
                  <a:pt x="223" y="259"/>
                </a:lnTo>
                <a:lnTo>
                  <a:pt x="227" y="259"/>
                </a:lnTo>
                <a:close/>
                <a:moveTo>
                  <a:pt x="264" y="322"/>
                </a:moveTo>
                <a:lnTo>
                  <a:pt x="263" y="323"/>
                </a:lnTo>
                <a:lnTo>
                  <a:pt x="262" y="324"/>
                </a:lnTo>
                <a:lnTo>
                  <a:pt x="262" y="325"/>
                </a:lnTo>
                <a:lnTo>
                  <a:pt x="262" y="325"/>
                </a:lnTo>
                <a:lnTo>
                  <a:pt x="263" y="323"/>
                </a:lnTo>
                <a:lnTo>
                  <a:pt x="264" y="322"/>
                </a:lnTo>
                <a:close/>
                <a:moveTo>
                  <a:pt x="283" y="300"/>
                </a:moveTo>
                <a:lnTo>
                  <a:pt x="283" y="301"/>
                </a:lnTo>
                <a:lnTo>
                  <a:pt x="284" y="301"/>
                </a:lnTo>
                <a:lnTo>
                  <a:pt x="284" y="302"/>
                </a:lnTo>
                <a:lnTo>
                  <a:pt x="284" y="302"/>
                </a:lnTo>
                <a:lnTo>
                  <a:pt x="283" y="301"/>
                </a:lnTo>
                <a:lnTo>
                  <a:pt x="282" y="300"/>
                </a:lnTo>
                <a:lnTo>
                  <a:pt x="282" y="300"/>
                </a:lnTo>
                <a:lnTo>
                  <a:pt x="283" y="300"/>
                </a:lnTo>
                <a:close/>
                <a:moveTo>
                  <a:pt x="167" y="279"/>
                </a:moveTo>
                <a:lnTo>
                  <a:pt x="167" y="281"/>
                </a:lnTo>
                <a:lnTo>
                  <a:pt x="167" y="283"/>
                </a:lnTo>
                <a:lnTo>
                  <a:pt x="166" y="282"/>
                </a:lnTo>
                <a:lnTo>
                  <a:pt x="166" y="282"/>
                </a:lnTo>
                <a:lnTo>
                  <a:pt x="161" y="275"/>
                </a:lnTo>
                <a:lnTo>
                  <a:pt x="156" y="268"/>
                </a:lnTo>
                <a:lnTo>
                  <a:pt x="154" y="265"/>
                </a:lnTo>
                <a:lnTo>
                  <a:pt x="152" y="262"/>
                </a:lnTo>
                <a:lnTo>
                  <a:pt x="149" y="259"/>
                </a:lnTo>
                <a:lnTo>
                  <a:pt x="147" y="258"/>
                </a:lnTo>
                <a:lnTo>
                  <a:pt x="146" y="255"/>
                </a:lnTo>
                <a:lnTo>
                  <a:pt x="145" y="253"/>
                </a:lnTo>
                <a:lnTo>
                  <a:pt x="146" y="250"/>
                </a:lnTo>
                <a:lnTo>
                  <a:pt x="147" y="248"/>
                </a:lnTo>
                <a:lnTo>
                  <a:pt x="149" y="248"/>
                </a:lnTo>
                <a:lnTo>
                  <a:pt x="152" y="250"/>
                </a:lnTo>
                <a:lnTo>
                  <a:pt x="161" y="259"/>
                </a:lnTo>
                <a:lnTo>
                  <a:pt x="169" y="269"/>
                </a:lnTo>
                <a:lnTo>
                  <a:pt x="174" y="274"/>
                </a:lnTo>
                <a:lnTo>
                  <a:pt x="179" y="280"/>
                </a:lnTo>
                <a:lnTo>
                  <a:pt x="174" y="282"/>
                </a:lnTo>
                <a:lnTo>
                  <a:pt x="172" y="282"/>
                </a:lnTo>
                <a:lnTo>
                  <a:pt x="169" y="281"/>
                </a:lnTo>
                <a:lnTo>
                  <a:pt x="167" y="279"/>
                </a:lnTo>
                <a:close/>
                <a:moveTo>
                  <a:pt x="155" y="220"/>
                </a:moveTo>
                <a:lnTo>
                  <a:pt x="159" y="223"/>
                </a:lnTo>
                <a:lnTo>
                  <a:pt x="161" y="223"/>
                </a:lnTo>
                <a:lnTo>
                  <a:pt x="165" y="223"/>
                </a:lnTo>
                <a:lnTo>
                  <a:pt x="168" y="222"/>
                </a:lnTo>
                <a:lnTo>
                  <a:pt x="174" y="219"/>
                </a:lnTo>
                <a:lnTo>
                  <a:pt x="179" y="217"/>
                </a:lnTo>
                <a:lnTo>
                  <a:pt x="180" y="217"/>
                </a:lnTo>
                <a:lnTo>
                  <a:pt x="181" y="217"/>
                </a:lnTo>
                <a:lnTo>
                  <a:pt x="186" y="219"/>
                </a:lnTo>
                <a:lnTo>
                  <a:pt x="190" y="223"/>
                </a:lnTo>
                <a:lnTo>
                  <a:pt x="188" y="224"/>
                </a:lnTo>
                <a:lnTo>
                  <a:pt x="184" y="224"/>
                </a:lnTo>
                <a:lnTo>
                  <a:pt x="181" y="224"/>
                </a:lnTo>
                <a:lnTo>
                  <a:pt x="177" y="223"/>
                </a:lnTo>
                <a:lnTo>
                  <a:pt x="175" y="224"/>
                </a:lnTo>
                <a:lnTo>
                  <a:pt x="173" y="224"/>
                </a:lnTo>
                <a:lnTo>
                  <a:pt x="162" y="225"/>
                </a:lnTo>
                <a:lnTo>
                  <a:pt x="151" y="225"/>
                </a:lnTo>
                <a:lnTo>
                  <a:pt x="149" y="225"/>
                </a:lnTo>
                <a:lnTo>
                  <a:pt x="148" y="224"/>
                </a:lnTo>
                <a:lnTo>
                  <a:pt x="152" y="222"/>
                </a:lnTo>
                <a:lnTo>
                  <a:pt x="155" y="220"/>
                </a:lnTo>
                <a:close/>
                <a:moveTo>
                  <a:pt x="158" y="190"/>
                </a:moveTo>
                <a:lnTo>
                  <a:pt x="160" y="192"/>
                </a:lnTo>
                <a:lnTo>
                  <a:pt x="162" y="194"/>
                </a:lnTo>
                <a:lnTo>
                  <a:pt x="158" y="197"/>
                </a:lnTo>
                <a:lnTo>
                  <a:pt x="153" y="199"/>
                </a:lnTo>
                <a:lnTo>
                  <a:pt x="153" y="196"/>
                </a:lnTo>
                <a:lnTo>
                  <a:pt x="154" y="194"/>
                </a:lnTo>
                <a:lnTo>
                  <a:pt x="156" y="192"/>
                </a:lnTo>
                <a:lnTo>
                  <a:pt x="158" y="190"/>
                </a:lnTo>
                <a:close/>
                <a:moveTo>
                  <a:pt x="161" y="167"/>
                </a:moveTo>
                <a:lnTo>
                  <a:pt x="166" y="167"/>
                </a:lnTo>
                <a:lnTo>
                  <a:pt x="170" y="167"/>
                </a:lnTo>
                <a:lnTo>
                  <a:pt x="172" y="173"/>
                </a:lnTo>
                <a:lnTo>
                  <a:pt x="172" y="180"/>
                </a:lnTo>
                <a:lnTo>
                  <a:pt x="167" y="181"/>
                </a:lnTo>
                <a:lnTo>
                  <a:pt x="163" y="182"/>
                </a:lnTo>
                <a:lnTo>
                  <a:pt x="162" y="180"/>
                </a:lnTo>
                <a:lnTo>
                  <a:pt x="163" y="178"/>
                </a:lnTo>
                <a:lnTo>
                  <a:pt x="166" y="177"/>
                </a:lnTo>
                <a:lnTo>
                  <a:pt x="167" y="176"/>
                </a:lnTo>
                <a:lnTo>
                  <a:pt x="163" y="175"/>
                </a:lnTo>
                <a:lnTo>
                  <a:pt x="162" y="173"/>
                </a:lnTo>
                <a:lnTo>
                  <a:pt x="161" y="170"/>
                </a:lnTo>
                <a:lnTo>
                  <a:pt x="161" y="167"/>
                </a:lnTo>
                <a:close/>
                <a:moveTo>
                  <a:pt x="172" y="204"/>
                </a:moveTo>
                <a:lnTo>
                  <a:pt x="172" y="205"/>
                </a:lnTo>
                <a:lnTo>
                  <a:pt x="170" y="206"/>
                </a:lnTo>
                <a:lnTo>
                  <a:pt x="168" y="205"/>
                </a:lnTo>
                <a:lnTo>
                  <a:pt x="166" y="203"/>
                </a:lnTo>
                <a:lnTo>
                  <a:pt x="166" y="202"/>
                </a:lnTo>
                <a:lnTo>
                  <a:pt x="167" y="201"/>
                </a:lnTo>
                <a:lnTo>
                  <a:pt x="169" y="203"/>
                </a:lnTo>
                <a:lnTo>
                  <a:pt x="172" y="204"/>
                </a:lnTo>
                <a:close/>
                <a:moveTo>
                  <a:pt x="174" y="206"/>
                </a:moveTo>
                <a:lnTo>
                  <a:pt x="177" y="206"/>
                </a:lnTo>
                <a:lnTo>
                  <a:pt x="180" y="205"/>
                </a:lnTo>
                <a:lnTo>
                  <a:pt x="181" y="203"/>
                </a:lnTo>
                <a:lnTo>
                  <a:pt x="183" y="201"/>
                </a:lnTo>
                <a:lnTo>
                  <a:pt x="186" y="201"/>
                </a:lnTo>
                <a:lnTo>
                  <a:pt x="190" y="201"/>
                </a:lnTo>
                <a:lnTo>
                  <a:pt x="187" y="205"/>
                </a:lnTo>
                <a:lnTo>
                  <a:pt x="183" y="209"/>
                </a:lnTo>
                <a:lnTo>
                  <a:pt x="180" y="211"/>
                </a:lnTo>
                <a:lnTo>
                  <a:pt x="177" y="212"/>
                </a:lnTo>
                <a:lnTo>
                  <a:pt x="174" y="212"/>
                </a:lnTo>
                <a:lnTo>
                  <a:pt x="170" y="210"/>
                </a:lnTo>
                <a:lnTo>
                  <a:pt x="173" y="210"/>
                </a:lnTo>
                <a:lnTo>
                  <a:pt x="175" y="210"/>
                </a:lnTo>
                <a:lnTo>
                  <a:pt x="174" y="208"/>
                </a:lnTo>
                <a:lnTo>
                  <a:pt x="174" y="206"/>
                </a:lnTo>
                <a:close/>
                <a:moveTo>
                  <a:pt x="129" y="204"/>
                </a:moveTo>
                <a:lnTo>
                  <a:pt x="126" y="188"/>
                </a:lnTo>
                <a:lnTo>
                  <a:pt x="122" y="173"/>
                </a:lnTo>
                <a:lnTo>
                  <a:pt x="125" y="170"/>
                </a:lnTo>
                <a:lnTo>
                  <a:pt x="125" y="167"/>
                </a:lnTo>
                <a:lnTo>
                  <a:pt x="125" y="166"/>
                </a:lnTo>
                <a:lnTo>
                  <a:pt x="125" y="164"/>
                </a:lnTo>
                <a:lnTo>
                  <a:pt x="127" y="169"/>
                </a:lnTo>
                <a:lnTo>
                  <a:pt x="129" y="174"/>
                </a:lnTo>
                <a:lnTo>
                  <a:pt x="129" y="180"/>
                </a:lnTo>
                <a:lnTo>
                  <a:pt x="131" y="184"/>
                </a:lnTo>
                <a:lnTo>
                  <a:pt x="131" y="194"/>
                </a:lnTo>
                <a:lnTo>
                  <a:pt x="132" y="203"/>
                </a:lnTo>
                <a:lnTo>
                  <a:pt x="131" y="204"/>
                </a:lnTo>
                <a:lnTo>
                  <a:pt x="129" y="204"/>
                </a:lnTo>
                <a:close/>
                <a:moveTo>
                  <a:pt x="129" y="240"/>
                </a:moveTo>
                <a:lnTo>
                  <a:pt x="129" y="241"/>
                </a:lnTo>
                <a:lnTo>
                  <a:pt x="128" y="241"/>
                </a:lnTo>
                <a:lnTo>
                  <a:pt x="127" y="239"/>
                </a:lnTo>
                <a:lnTo>
                  <a:pt x="127" y="237"/>
                </a:lnTo>
                <a:lnTo>
                  <a:pt x="128" y="234"/>
                </a:lnTo>
                <a:lnTo>
                  <a:pt x="129" y="233"/>
                </a:lnTo>
                <a:lnTo>
                  <a:pt x="129" y="233"/>
                </a:lnTo>
                <a:lnTo>
                  <a:pt x="131" y="234"/>
                </a:lnTo>
                <a:lnTo>
                  <a:pt x="131" y="238"/>
                </a:lnTo>
                <a:lnTo>
                  <a:pt x="129" y="240"/>
                </a:lnTo>
                <a:close/>
                <a:moveTo>
                  <a:pt x="84" y="216"/>
                </a:moveTo>
                <a:lnTo>
                  <a:pt x="84" y="217"/>
                </a:lnTo>
                <a:lnTo>
                  <a:pt x="84" y="220"/>
                </a:lnTo>
                <a:lnTo>
                  <a:pt x="80" y="217"/>
                </a:lnTo>
                <a:lnTo>
                  <a:pt x="78" y="213"/>
                </a:lnTo>
                <a:lnTo>
                  <a:pt x="76" y="210"/>
                </a:lnTo>
                <a:lnTo>
                  <a:pt x="75" y="206"/>
                </a:lnTo>
                <a:lnTo>
                  <a:pt x="76" y="204"/>
                </a:lnTo>
                <a:lnTo>
                  <a:pt x="77" y="202"/>
                </a:lnTo>
                <a:lnTo>
                  <a:pt x="79" y="206"/>
                </a:lnTo>
                <a:lnTo>
                  <a:pt x="80" y="210"/>
                </a:lnTo>
                <a:lnTo>
                  <a:pt x="82" y="210"/>
                </a:lnTo>
                <a:lnTo>
                  <a:pt x="82" y="210"/>
                </a:lnTo>
                <a:lnTo>
                  <a:pt x="82" y="204"/>
                </a:lnTo>
                <a:lnTo>
                  <a:pt x="82" y="199"/>
                </a:lnTo>
                <a:lnTo>
                  <a:pt x="85" y="206"/>
                </a:lnTo>
                <a:lnTo>
                  <a:pt x="87" y="215"/>
                </a:lnTo>
                <a:lnTo>
                  <a:pt x="86" y="215"/>
                </a:lnTo>
                <a:lnTo>
                  <a:pt x="84" y="216"/>
                </a:lnTo>
                <a:close/>
                <a:moveTo>
                  <a:pt x="85" y="194"/>
                </a:moveTo>
                <a:lnTo>
                  <a:pt x="86" y="195"/>
                </a:lnTo>
                <a:lnTo>
                  <a:pt x="86" y="197"/>
                </a:lnTo>
                <a:lnTo>
                  <a:pt x="86" y="198"/>
                </a:lnTo>
                <a:lnTo>
                  <a:pt x="85" y="201"/>
                </a:lnTo>
                <a:lnTo>
                  <a:pt x="84" y="201"/>
                </a:lnTo>
                <a:lnTo>
                  <a:pt x="82" y="199"/>
                </a:lnTo>
                <a:lnTo>
                  <a:pt x="82" y="198"/>
                </a:lnTo>
                <a:lnTo>
                  <a:pt x="80" y="197"/>
                </a:lnTo>
                <a:lnTo>
                  <a:pt x="83" y="196"/>
                </a:lnTo>
                <a:lnTo>
                  <a:pt x="85" y="194"/>
                </a:lnTo>
                <a:close/>
                <a:moveTo>
                  <a:pt x="64" y="182"/>
                </a:move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lnTo>
                  <a:pt x="64" y="182"/>
                </a:lnTo>
                <a:close/>
                <a:moveTo>
                  <a:pt x="198" y="216"/>
                </a:moveTo>
                <a:lnTo>
                  <a:pt x="201" y="216"/>
                </a:lnTo>
                <a:lnTo>
                  <a:pt x="203" y="217"/>
                </a:lnTo>
                <a:lnTo>
                  <a:pt x="202" y="218"/>
                </a:lnTo>
                <a:lnTo>
                  <a:pt x="202" y="219"/>
                </a:lnTo>
                <a:lnTo>
                  <a:pt x="198" y="219"/>
                </a:lnTo>
                <a:lnTo>
                  <a:pt x="194" y="219"/>
                </a:lnTo>
                <a:lnTo>
                  <a:pt x="194" y="218"/>
                </a:lnTo>
                <a:lnTo>
                  <a:pt x="194" y="218"/>
                </a:lnTo>
                <a:lnTo>
                  <a:pt x="196" y="217"/>
                </a:lnTo>
                <a:lnTo>
                  <a:pt x="198" y="216"/>
                </a:lnTo>
                <a:close/>
                <a:moveTo>
                  <a:pt x="208" y="190"/>
                </a:moveTo>
                <a:lnTo>
                  <a:pt x="211" y="190"/>
                </a:lnTo>
                <a:lnTo>
                  <a:pt x="215" y="190"/>
                </a:lnTo>
                <a:lnTo>
                  <a:pt x="218" y="192"/>
                </a:lnTo>
                <a:lnTo>
                  <a:pt x="221" y="195"/>
                </a:lnTo>
                <a:lnTo>
                  <a:pt x="222" y="198"/>
                </a:lnTo>
                <a:lnTo>
                  <a:pt x="222" y="202"/>
                </a:lnTo>
                <a:lnTo>
                  <a:pt x="218" y="198"/>
                </a:lnTo>
                <a:lnTo>
                  <a:pt x="215" y="195"/>
                </a:lnTo>
                <a:lnTo>
                  <a:pt x="213" y="191"/>
                </a:lnTo>
                <a:lnTo>
                  <a:pt x="208" y="190"/>
                </a:lnTo>
                <a:close/>
                <a:moveTo>
                  <a:pt x="215" y="211"/>
                </a:moveTo>
                <a:lnTo>
                  <a:pt x="213" y="212"/>
                </a:lnTo>
                <a:lnTo>
                  <a:pt x="209" y="213"/>
                </a:lnTo>
                <a:lnTo>
                  <a:pt x="210" y="211"/>
                </a:lnTo>
                <a:lnTo>
                  <a:pt x="210" y="210"/>
                </a:lnTo>
                <a:lnTo>
                  <a:pt x="211" y="206"/>
                </a:lnTo>
                <a:lnTo>
                  <a:pt x="213" y="203"/>
                </a:lnTo>
                <a:lnTo>
                  <a:pt x="215" y="205"/>
                </a:lnTo>
                <a:lnTo>
                  <a:pt x="216" y="208"/>
                </a:lnTo>
                <a:lnTo>
                  <a:pt x="216" y="210"/>
                </a:lnTo>
                <a:lnTo>
                  <a:pt x="215" y="211"/>
                </a:lnTo>
                <a:close/>
                <a:moveTo>
                  <a:pt x="234" y="189"/>
                </a:moveTo>
                <a:lnTo>
                  <a:pt x="232" y="192"/>
                </a:lnTo>
                <a:lnTo>
                  <a:pt x="231" y="196"/>
                </a:lnTo>
                <a:lnTo>
                  <a:pt x="228" y="198"/>
                </a:lnTo>
                <a:lnTo>
                  <a:pt x="224" y="199"/>
                </a:lnTo>
                <a:lnTo>
                  <a:pt x="225" y="196"/>
                </a:lnTo>
                <a:lnTo>
                  <a:pt x="228" y="192"/>
                </a:lnTo>
                <a:lnTo>
                  <a:pt x="230" y="190"/>
                </a:lnTo>
                <a:lnTo>
                  <a:pt x="234" y="189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 sz="960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A2DD41A-1F06-B444-B438-3FA7EE8F1E49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FB4E808A-A6AF-2D40-8317-0A26551BFF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719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6">
            <a:extLst>
              <a:ext uri="{FF2B5EF4-FFF2-40B4-BE49-F238E27FC236}">
                <a16:creationId xmlns:a16="http://schemas.microsoft.com/office/drawing/2014/main" id="{61FEEAE9-32C2-E34F-8402-B234020CDAF4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0959806" y="3546426"/>
            <a:ext cx="12611045" cy="9577063"/>
          </a:xfrm>
          <a:custGeom>
            <a:avLst/>
            <a:gdLst>
              <a:gd name="T0" fmla="*/ 965 w 1086"/>
              <a:gd name="T1" fmla="*/ 172 h 766"/>
              <a:gd name="T2" fmla="*/ 838 w 1086"/>
              <a:gd name="T3" fmla="*/ 234 h 766"/>
              <a:gd name="T4" fmla="*/ 506 w 1086"/>
              <a:gd name="T5" fmla="*/ 184 h 766"/>
              <a:gd name="T6" fmla="*/ 424 w 1086"/>
              <a:gd name="T7" fmla="*/ 158 h 766"/>
              <a:gd name="T8" fmla="*/ 327 w 1086"/>
              <a:gd name="T9" fmla="*/ 60 h 766"/>
              <a:gd name="T10" fmla="*/ 296 w 1086"/>
              <a:gd name="T11" fmla="*/ 3 h 766"/>
              <a:gd name="T12" fmla="*/ 168 w 1086"/>
              <a:gd name="T13" fmla="*/ 6 h 766"/>
              <a:gd name="T14" fmla="*/ 99 w 1086"/>
              <a:gd name="T15" fmla="*/ 42 h 766"/>
              <a:gd name="T16" fmla="*/ 10 w 1086"/>
              <a:gd name="T17" fmla="*/ 143 h 766"/>
              <a:gd name="T18" fmla="*/ 159 w 1086"/>
              <a:gd name="T19" fmla="*/ 150 h 766"/>
              <a:gd name="T20" fmla="*/ 51 w 1086"/>
              <a:gd name="T21" fmla="*/ 197 h 766"/>
              <a:gd name="T22" fmla="*/ 71 w 1086"/>
              <a:gd name="T23" fmla="*/ 188 h 766"/>
              <a:gd name="T24" fmla="*/ 110 w 1086"/>
              <a:gd name="T25" fmla="*/ 177 h 766"/>
              <a:gd name="T26" fmla="*/ 100 w 1086"/>
              <a:gd name="T27" fmla="*/ 211 h 766"/>
              <a:gd name="T28" fmla="*/ 90 w 1086"/>
              <a:gd name="T29" fmla="*/ 222 h 766"/>
              <a:gd name="T30" fmla="*/ 103 w 1086"/>
              <a:gd name="T31" fmla="*/ 219 h 766"/>
              <a:gd name="T32" fmla="*/ 188 w 1086"/>
              <a:gd name="T33" fmla="*/ 204 h 766"/>
              <a:gd name="T34" fmla="*/ 266 w 1086"/>
              <a:gd name="T35" fmla="*/ 393 h 766"/>
              <a:gd name="T36" fmla="*/ 177 w 1086"/>
              <a:gd name="T37" fmla="*/ 535 h 766"/>
              <a:gd name="T38" fmla="*/ 289 w 1086"/>
              <a:gd name="T39" fmla="*/ 580 h 766"/>
              <a:gd name="T40" fmla="*/ 256 w 1086"/>
              <a:gd name="T41" fmla="*/ 559 h 766"/>
              <a:gd name="T42" fmla="*/ 244 w 1086"/>
              <a:gd name="T43" fmla="*/ 503 h 766"/>
              <a:gd name="T44" fmla="*/ 356 w 1086"/>
              <a:gd name="T45" fmla="*/ 459 h 766"/>
              <a:gd name="T46" fmla="*/ 371 w 1086"/>
              <a:gd name="T47" fmla="*/ 585 h 766"/>
              <a:gd name="T48" fmla="*/ 516 w 1086"/>
              <a:gd name="T49" fmla="*/ 585 h 766"/>
              <a:gd name="T50" fmla="*/ 451 w 1086"/>
              <a:gd name="T51" fmla="*/ 545 h 766"/>
              <a:gd name="T52" fmla="*/ 451 w 1086"/>
              <a:gd name="T53" fmla="*/ 472 h 766"/>
              <a:gd name="T54" fmla="*/ 613 w 1086"/>
              <a:gd name="T55" fmla="*/ 451 h 766"/>
              <a:gd name="T56" fmla="*/ 686 w 1086"/>
              <a:gd name="T57" fmla="*/ 435 h 766"/>
              <a:gd name="T58" fmla="*/ 779 w 1086"/>
              <a:gd name="T59" fmla="*/ 575 h 766"/>
              <a:gd name="T60" fmla="*/ 818 w 1086"/>
              <a:gd name="T61" fmla="*/ 654 h 766"/>
              <a:gd name="T62" fmla="*/ 735 w 1086"/>
              <a:gd name="T63" fmla="*/ 711 h 766"/>
              <a:gd name="T64" fmla="*/ 709 w 1086"/>
              <a:gd name="T65" fmla="*/ 759 h 766"/>
              <a:gd name="T66" fmla="*/ 780 w 1086"/>
              <a:gd name="T67" fmla="*/ 758 h 766"/>
              <a:gd name="T68" fmla="*/ 895 w 1086"/>
              <a:gd name="T69" fmla="*/ 604 h 766"/>
              <a:gd name="T70" fmla="*/ 862 w 1086"/>
              <a:gd name="T71" fmla="*/ 565 h 766"/>
              <a:gd name="T72" fmla="*/ 899 w 1086"/>
              <a:gd name="T73" fmla="*/ 362 h 766"/>
              <a:gd name="T74" fmla="*/ 961 w 1086"/>
              <a:gd name="T75" fmla="*/ 233 h 766"/>
              <a:gd name="T76" fmla="*/ 1086 w 1086"/>
              <a:gd name="T77" fmla="*/ 124 h 766"/>
              <a:gd name="T78" fmla="*/ 123 w 1086"/>
              <a:gd name="T79" fmla="*/ 28 h 766"/>
              <a:gd name="T80" fmla="*/ 98 w 1086"/>
              <a:gd name="T81" fmla="*/ 79 h 766"/>
              <a:gd name="T82" fmla="*/ 112 w 1086"/>
              <a:gd name="T83" fmla="*/ 87 h 766"/>
              <a:gd name="T84" fmla="*/ 142 w 1086"/>
              <a:gd name="T85" fmla="*/ 77 h 766"/>
              <a:gd name="T86" fmla="*/ 183 w 1086"/>
              <a:gd name="T87" fmla="*/ 189 h 766"/>
              <a:gd name="T88" fmla="*/ 209 w 1086"/>
              <a:gd name="T89" fmla="*/ 33 h 766"/>
              <a:gd name="T90" fmla="*/ 256 w 1086"/>
              <a:gd name="T91" fmla="*/ 583 h 766"/>
              <a:gd name="T92" fmla="*/ 243 w 1086"/>
              <a:gd name="T93" fmla="*/ 573 h 766"/>
              <a:gd name="T94" fmla="*/ 293 w 1086"/>
              <a:gd name="T95" fmla="*/ 14 h 766"/>
              <a:gd name="T96" fmla="*/ 240 w 1086"/>
              <a:gd name="T97" fmla="*/ 320 h 766"/>
              <a:gd name="T98" fmla="*/ 308 w 1086"/>
              <a:gd name="T99" fmla="*/ 65 h 766"/>
              <a:gd name="T100" fmla="*/ 219 w 1086"/>
              <a:gd name="T101" fmla="*/ 49 h 766"/>
              <a:gd name="T102" fmla="*/ 275 w 1086"/>
              <a:gd name="T103" fmla="*/ 51 h 766"/>
              <a:gd name="T104" fmla="*/ 470 w 1086"/>
              <a:gd name="T105" fmla="*/ 209 h 766"/>
              <a:gd name="T106" fmla="*/ 638 w 1086"/>
              <a:gd name="T107" fmla="*/ 441 h 766"/>
              <a:gd name="T108" fmla="*/ 710 w 1086"/>
              <a:gd name="T109" fmla="*/ 400 h 766"/>
              <a:gd name="T110" fmla="*/ 703 w 1086"/>
              <a:gd name="T111" fmla="*/ 451 h 766"/>
              <a:gd name="T112" fmla="*/ 712 w 1086"/>
              <a:gd name="T113" fmla="*/ 458 h 766"/>
              <a:gd name="T114" fmla="*/ 724 w 1086"/>
              <a:gd name="T115" fmla="*/ 474 h 766"/>
              <a:gd name="T116" fmla="*/ 729 w 1086"/>
              <a:gd name="T117" fmla="*/ 492 h 766"/>
              <a:gd name="T118" fmla="*/ 749 w 1086"/>
              <a:gd name="T119" fmla="*/ 755 h 766"/>
              <a:gd name="T120" fmla="*/ 793 w 1086"/>
              <a:gd name="T121" fmla="*/ 756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6" h="766">
                <a:moveTo>
                  <a:pt x="1070" y="121"/>
                </a:moveTo>
                <a:cubicBezTo>
                  <a:pt x="1060" y="118"/>
                  <a:pt x="1052" y="121"/>
                  <a:pt x="1042" y="123"/>
                </a:cubicBezTo>
                <a:cubicBezTo>
                  <a:pt x="1028" y="125"/>
                  <a:pt x="1019" y="131"/>
                  <a:pt x="1008" y="136"/>
                </a:cubicBezTo>
                <a:cubicBezTo>
                  <a:pt x="999" y="141"/>
                  <a:pt x="990" y="144"/>
                  <a:pt x="983" y="151"/>
                </a:cubicBezTo>
                <a:cubicBezTo>
                  <a:pt x="977" y="157"/>
                  <a:pt x="972" y="165"/>
                  <a:pt x="965" y="172"/>
                </a:cubicBezTo>
                <a:cubicBezTo>
                  <a:pt x="952" y="186"/>
                  <a:pt x="937" y="195"/>
                  <a:pt x="923" y="208"/>
                </a:cubicBezTo>
                <a:cubicBezTo>
                  <a:pt x="915" y="215"/>
                  <a:pt x="907" y="222"/>
                  <a:pt x="897" y="227"/>
                </a:cubicBezTo>
                <a:cubicBezTo>
                  <a:pt x="892" y="229"/>
                  <a:pt x="880" y="229"/>
                  <a:pt x="878" y="234"/>
                </a:cubicBezTo>
                <a:cubicBezTo>
                  <a:pt x="880" y="234"/>
                  <a:pt x="883" y="234"/>
                  <a:pt x="886" y="233"/>
                </a:cubicBezTo>
                <a:cubicBezTo>
                  <a:pt x="870" y="239"/>
                  <a:pt x="853" y="238"/>
                  <a:pt x="838" y="234"/>
                </a:cubicBezTo>
                <a:cubicBezTo>
                  <a:pt x="822" y="230"/>
                  <a:pt x="807" y="221"/>
                  <a:pt x="789" y="215"/>
                </a:cubicBezTo>
                <a:cubicBezTo>
                  <a:pt x="743" y="201"/>
                  <a:pt x="699" y="193"/>
                  <a:pt x="651" y="193"/>
                </a:cubicBezTo>
                <a:cubicBezTo>
                  <a:pt x="625" y="193"/>
                  <a:pt x="600" y="195"/>
                  <a:pt x="575" y="197"/>
                </a:cubicBezTo>
                <a:cubicBezTo>
                  <a:pt x="564" y="198"/>
                  <a:pt x="550" y="199"/>
                  <a:pt x="539" y="196"/>
                </a:cubicBezTo>
                <a:cubicBezTo>
                  <a:pt x="527" y="192"/>
                  <a:pt x="518" y="185"/>
                  <a:pt x="506" y="184"/>
                </a:cubicBezTo>
                <a:cubicBezTo>
                  <a:pt x="495" y="182"/>
                  <a:pt x="485" y="179"/>
                  <a:pt x="476" y="173"/>
                </a:cubicBezTo>
                <a:cubicBezTo>
                  <a:pt x="472" y="170"/>
                  <a:pt x="467" y="166"/>
                  <a:pt x="461" y="165"/>
                </a:cubicBezTo>
                <a:cubicBezTo>
                  <a:pt x="456" y="164"/>
                  <a:pt x="450" y="166"/>
                  <a:pt x="444" y="164"/>
                </a:cubicBezTo>
                <a:cubicBezTo>
                  <a:pt x="442" y="163"/>
                  <a:pt x="439" y="161"/>
                  <a:pt x="437" y="160"/>
                </a:cubicBezTo>
                <a:cubicBezTo>
                  <a:pt x="433" y="159"/>
                  <a:pt x="428" y="161"/>
                  <a:pt x="424" y="158"/>
                </a:cubicBezTo>
                <a:cubicBezTo>
                  <a:pt x="418" y="155"/>
                  <a:pt x="417" y="153"/>
                  <a:pt x="408" y="151"/>
                </a:cubicBezTo>
                <a:cubicBezTo>
                  <a:pt x="387" y="148"/>
                  <a:pt x="368" y="133"/>
                  <a:pt x="357" y="116"/>
                </a:cubicBezTo>
                <a:cubicBezTo>
                  <a:pt x="351" y="105"/>
                  <a:pt x="344" y="96"/>
                  <a:pt x="334" y="86"/>
                </a:cubicBezTo>
                <a:cubicBezTo>
                  <a:pt x="328" y="81"/>
                  <a:pt x="317" y="73"/>
                  <a:pt x="317" y="64"/>
                </a:cubicBezTo>
                <a:cubicBezTo>
                  <a:pt x="321" y="66"/>
                  <a:pt x="324" y="61"/>
                  <a:pt x="327" y="60"/>
                </a:cubicBezTo>
                <a:cubicBezTo>
                  <a:pt x="331" y="59"/>
                  <a:pt x="334" y="60"/>
                  <a:pt x="337" y="59"/>
                </a:cubicBezTo>
                <a:cubicBezTo>
                  <a:pt x="350" y="55"/>
                  <a:pt x="341" y="43"/>
                  <a:pt x="339" y="33"/>
                </a:cubicBezTo>
                <a:cubicBezTo>
                  <a:pt x="336" y="18"/>
                  <a:pt x="338" y="16"/>
                  <a:pt x="322" y="13"/>
                </a:cubicBezTo>
                <a:cubicBezTo>
                  <a:pt x="319" y="13"/>
                  <a:pt x="311" y="12"/>
                  <a:pt x="309" y="11"/>
                </a:cubicBezTo>
                <a:cubicBezTo>
                  <a:pt x="304" y="8"/>
                  <a:pt x="305" y="4"/>
                  <a:pt x="296" y="3"/>
                </a:cubicBezTo>
                <a:cubicBezTo>
                  <a:pt x="283" y="2"/>
                  <a:pt x="270" y="6"/>
                  <a:pt x="257" y="4"/>
                </a:cubicBezTo>
                <a:cubicBezTo>
                  <a:pt x="246" y="2"/>
                  <a:pt x="238" y="5"/>
                  <a:pt x="228" y="5"/>
                </a:cubicBezTo>
                <a:cubicBezTo>
                  <a:pt x="224" y="5"/>
                  <a:pt x="220" y="1"/>
                  <a:pt x="215" y="0"/>
                </a:cubicBezTo>
                <a:cubicBezTo>
                  <a:pt x="213" y="0"/>
                  <a:pt x="207" y="1"/>
                  <a:pt x="204" y="1"/>
                </a:cubicBezTo>
                <a:cubicBezTo>
                  <a:pt x="192" y="2"/>
                  <a:pt x="180" y="4"/>
                  <a:pt x="168" y="6"/>
                </a:cubicBezTo>
                <a:cubicBezTo>
                  <a:pt x="152" y="8"/>
                  <a:pt x="138" y="13"/>
                  <a:pt x="124" y="21"/>
                </a:cubicBezTo>
                <a:cubicBezTo>
                  <a:pt x="117" y="26"/>
                  <a:pt x="102" y="33"/>
                  <a:pt x="98" y="42"/>
                </a:cubicBezTo>
                <a:cubicBezTo>
                  <a:pt x="98" y="42"/>
                  <a:pt x="99" y="42"/>
                  <a:pt x="99" y="42"/>
                </a:cubicBezTo>
                <a:cubicBezTo>
                  <a:pt x="100" y="41"/>
                  <a:pt x="102" y="41"/>
                  <a:pt x="104" y="42"/>
                </a:cubicBezTo>
                <a:cubicBezTo>
                  <a:pt x="102" y="42"/>
                  <a:pt x="101" y="42"/>
                  <a:pt x="99" y="42"/>
                </a:cubicBezTo>
                <a:cubicBezTo>
                  <a:pt x="93" y="43"/>
                  <a:pt x="92" y="53"/>
                  <a:pt x="90" y="58"/>
                </a:cubicBezTo>
                <a:cubicBezTo>
                  <a:pt x="86" y="67"/>
                  <a:pt x="79" y="74"/>
                  <a:pt x="72" y="80"/>
                </a:cubicBezTo>
                <a:cubicBezTo>
                  <a:pt x="56" y="92"/>
                  <a:pt x="38" y="97"/>
                  <a:pt x="20" y="106"/>
                </a:cubicBezTo>
                <a:cubicBezTo>
                  <a:pt x="16" y="108"/>
                  <a:pt x="6" y="112"/>
                  <a:pt x="4" y="116"/>
                </a:cubicBezTo>
                <a:cubicBezTo>
                  <a:pt x="0" y="123"/>
                  <a:pt x="8" y="137"/>
                  <a:pt x="10" y="143"/>
                </a:cubicBezTo>
                <a:cubicBezTo>
                  <a:pt x="14" y="156"/>
                  <a:pt x="20" y="157"/>
                  <a:pt x="33" y="158"/>
                </a:cubicBezTo>
                <a:cubicBezTo>
                  <a:pt x="40" y="159"/>
                  <a:pt x="48" y="161"/>
                  <a:pt x="55" y="161"/>
                </a:cubicBezTo>
                <a:cubicBezTo>
                  <a:pt x="64" y="161"/>
                  <a:pt x="112" y="157"/>
                  <a:pt x="109" y="145"/>
                </a:cubicBezTo>
                <a:cubicBezTo>
                  <a:pt x="107" y="154"/>
                  <a:pt x="128" y="145"/>
                  <a:pt x="133" y="144"/>
                </a:cubicBezTo>
                <a:cubicBezTo>
                  <a:pt x="140" y="143"/>
                  <a:pt x="154" y="142"/>
                  <a:pt x="159" y="150"/>
                </a:cubicBezTo>
                <a:cubicBezTo>
                  <a:pt x="157" y="152"/>
                  <a:pt x="151" y="155"/>
                  <a:pt x="140" y="157"/>
                </a:cubicBezTo>
                <a:cubicBezTo>
                  <a:pt x="120" y="160"/>
                  <a:pt x="107" y="156"/>
                  <a:pt x="94" y="167"/>
                </a:cubicBezTo>
                <a:cubicBezTo>
                  <a:pt x="86" y="173"/>
                  <a:pt x="78" y="176"/>
                  <a:pt x="71" y="179"/>
                </a:cubicBezTo>
                <a:cubicBezTo>
                  <a:pt x="71" y="179"/>
                  <a:pt x="71" y="178"/>
                  <a:pt x="71" y="178"/>
                </a:cubicBezTo>
                <a:cubicBezTo>
                  <a:pt x="64" y="182"/>
                  <a:pt x="56" y="191"/>
                  <a:pt x="51" y="197"/>
                </a:cubicBezTo>
                <a:cubicBezTo>
                  <a:pt x="46" y="205"/>
                  <a:pt x="50" y="202"/>
                  <a:pt x="59" y="201"/>
                </a:cubicBezTo>
                <a:cubicBezTo>
                  <a:pt x="57" y="194"/>
                  <a:pt x="70" y="197"/>
                  <a:pt x="68" y="189"/>
                </a:cubicBezTo>
                <a:cubicBezTo>
                  <a:pt x="68" y="195"/>
                  <a:pt x="78" y="202"/>
                  <a:pt x="78" y="195"/>
                </a:cubicBezTo>
                <a:cubicBezTo>
                  <a:pt x="82" y="201"/>
                  <a:pt x="86" y="193"/>
                  <a:pt x="85" y="188"/>
                </a:cubicBezTo>
                <a:cubicBezTo>
                  <a:pt x="83" y="189"/>
                  <a:pt x="69" y="196"/>
                  <a:pt x="71" y="188"/>
                </a:cubicBezTo>
                <a:cubicBezTo>
                  <a:pt x="70" y="190"/>
                  <a:pt x="90" y="183"/>
                  <a:pt x="92" y="181"/>
                </a:cubicBezTo>
                <a:cubicBezTo>
                  <a:pt x="89" y="185"/>
                  <a:pt x="94" y="195"/>
                  <a:pt x="97" y="190"/>
                </a:cubicBezTo>
                <a:cubicBezTo>
                  <a:pt x="97" y="190"/>
                  <a:pt x="96" y="184"/>
                  <a:pt x="96" y="183"/>
                </a:cubicBezTo>
                <a:cubicBezTo>
                  <a:pt x="97" y="181"/>
                  <a:pt x="99" y="180"/>
                  <a:pt x="101" y="179"/>
                </a:cubicBezTo>
                <a:cubicBezTo>
                  <a:pt x="103" y="179"/>
                  <a:pt x="106" y="179"/>
                  <a:pt x="110" y="177"/>
                </a:cubicBezTo>
                <a:cubicBezTo>
                  <a:pt x="123" y="171"/>
                  <a:pt x="130" y="164"/>
                  <a:pt x="145" y="162"/>
                </a:cubicBezTo>
                <a:cubicBezTo>
                  <a:pt x="151" y="161"/>
                  <a:pt x="156" y="159"/>
                  <a:pt x="160" y="157"/>
                </a:cubicBezTo>
                <a:cubicBezTo>
                  <a:pt x="156" y="169"/>
                  <a:pt x="124" y="182"/>
                  <a:pt x="132" y="191"/>
                </a:cubicBezTo>
                <a:cubicBezTo>
                  <a:pt x="126" y="194"/>
                  <a:pt x="117" y="194"/>
                  <a:pt x="112" y="199"/>
                </a:cubicBezTo>
                <a:cubicBezTo>
                  <a:pt x="108" y="203"/>
                  <a:pt x="107" y="209"/>
                  <a:pt x="100" y="211"/>
                </a:cubicBezTo>
                <a:cubicBezTo>
                  <a:pt x="97" y="212"/>
                  <a:pt x="92" y="210"/>
                  <a:pt x="90" y="212"/>
                </a:cubicBezTo>
                <a:cubicBezTo>
                  <a:pt x="87" y="216"/>
                  <a:pt x="97" y="216"/>
                  <a:pt x="99" y="218"/>
                </a:cubicBezTo>
                <a:cubicBezTo>
                  <a:pt x="96" y="219"/>
                  <a:pt x="93" y="221"/>
                  <a:pt x="91" y="222"/>
                </a:cubicBezTo>
                <a:cubicBezTo>
                  <a:pt x="91" y="222"/>
                  <a:pt x="91" y="222"/>
                  <a:pt x="91" y="222"/>
                </a:cubicBezTo>
                <a:cubicBezTo>
                  <a:pt x="90" y="222"/>
                  <a:pt x="90" y="222"/>
                  <a:pt x="90" y="222"/>
                </a:cubicBezTo>
                <a:cubicBezTo>
                  <a:pt x="88" y="223"/>
                  <a:pt x="87" y="223"/>
                  <a:pt x="85" y="223"/>
                </a:cubicBezTo>
                <a:cubicBezTo>
                  <a:pt x="87" y="223"/>
                  <a:pt x="88" y="222"/>
                  <a:pt x="90" y="222"/>
                </a:cubicBezTo>
                <a:cubicBezTo>
                  <a:pt x="90" y="222"/>
                  <a:pt x="90" y="222"/>
                  <a:pt x="91" y="222"/>
                </a:cubicBezTo>
                <a:cubicBezTo>
                  <a:pt x="81" y="220"/>
                  <a:pt x="73" y="220"/>
                  <a:pt x="64" y="217"/>
                </a:cubicBezTo>
                <a:cubicBezTo>
                  <a:pt x="68" y="232"/>
                  <a:pt x="95" y="223"/>
                  <a:pt x="103" y="219"/>
                </a:cubicBezTo>
                <a:cubicBezTo>
                  <a:pt x="118" y="211"/>
                  <a:pt x="133" y="201"/>
                  <a:pt x="149" y="199"/>
                </a:cubicBezTo>
                <a:cubicBezTo>
                  <a:pt x="155" y="198"/>
                  <a:pt x="158" y="202"/>
                  <a:pt x="162" y="202"/>
                </a:cubicBezTo>
                <a:cubicBezTo>
                  <a:pt x="167" y="202"/>
                  <a:pt x="170" y="197"/>
                  <a:pt x="174" y="198"/>
                </a:cubicBezTo>
                <a:cubicBezTo>
                  <a:pt x="176" y="198"/>
                  <a:pt x="177" y="202"/>
                  <a:pt x="179" y="203"/>
                </a:cubicBezTo>
                <a:cubicBezTo>
                  <a:pt x="181" y="204"/>
                  <a:pt x="185" y="204"/>
                  <a:pt x="188" y="204"/>
                </a:cubicBezTo>
                <a:cubicBezTo>
                  <a:pt x="199" y="203"/>
                  <a:pt x="197" y="203"/>
                  <a:pt x="205" y="210"/>
                </a:cubicBezTo>
                <a:cubicBezTo>
                  <a:pt x="214" y="217"/>
                  <a:pt x="228" y="227"/>
                  <a:pt x="227" y="241"/>
                </a:cubicBezTo>
                <a:cubicBezTo>
                  <a:pt x="238" y="246"/>
                  <a:pt x="220" y="294"/>
                  <a:pt x="220" y="305"/>
                </a:cubicBezTo>
                <a:cubicBezTo>
                  <a:pt x="221" y="327"/>
                  <a:pt x="242" y="348"/>
                  <a:pt x="252" y="367"/>
                </a:cubicBezTo>
                <a:cubicBezTo>
                  <a:pt x="257" y="374"/>
                  <a:pt x="267" y="385"/>
                  <a:pt x="266" y="393"/>
                </a:cubicBezTo>
                <a:cubicBezTo>
                  <a:pt x="265" y="400"/>
                  <a:pt x="258" y="410"/>
                  <a:pt x="253" y="414"/>
                </a:cubicBezTo>
                <a:cubicBezTo>
                  <a:pt x="240" y="428"/>
                  <a:pt x="225" y="437"/>
                  <a:pt x="209" y="447"/>
                </a:cubicBezTo>
                <a:cubicBezTo>
                  <a:pt x="198" y="453"/>
                  <a:pt x="186" y="458"/>
                  <a:pt x="179" y="469"/>
                </a:cubicBezTo>
                <a:cubicBezTo>
                  <a:pt x="174" y="476"/>
                  <a:pt x="170" y="485"/>
                  <a:pt x="167" y="492"/>
                </a:cubicBezTo>
                <a:cubicBezTo>
                  <a:pt x="163" y="506"/>
                  <a:pt x="169" y="523"/>
                  <a:pt x="177" y="535"/>
                </a:cubicBezTo>
                <a:cubicBezTo>
                  <a:pt x="184" y="545"/>
                  <a:pt x="192" y="554"/>
                  <a:pt x="198" y="565"/>
                </a:cubicBezTo>
                <a:cubicBezTo>
                  <a:pt x="203" y="576"/>
                  <a:pt x="213" y="589"/>
                  <a:pt x="222" y="595"/>
                </a:cubicBezTo>
                <a:cubicBezTo>
                  <a:pt x="234" y="603"/>
                  <a:pt x="251" y="610"/>
                  <a:pt x="266" y="611"/>
                </a:cubicBezTo>
                <a:cubicBezTo>
                  <a:pt x="280" y="612"/>
                  <a:pt x="295" y="615"/>
                  <a:pt x="295" y="597"/>
                </a:cubicBezTo>
                <a:cubicBezTo>
                  <a:pt x="295" y="590"/>
                  <a:pt x="291" y="585"/>
                  <a:pt x="289" y="580"/>
                </a:cubicBezTo>
                <a:cubicBezTo>
                  <a:pt x="287" y="576"/>
                  <a:pt x="288" y="571"/>
                  <a:pt x="285" y="569"/>
                </a:cubicBezTo>
                <a:cubicBezTo>
                  <a:pt x="279" y="564"/>
                  <a:pt x="274" y="567"/>
                  <a:pt x="269" y="562"/>
                </a:cubicBezTo>
                <a:cubicBezTo>
                  <a:pt x="267" y="560"/>
                  <a:pt x="267" y="557"/>
                  <a:pt x="264" y="556"/>
                </a:cubicBezTo>
                <a:cubicBezTo>
                  <a:pt x="262" y="555"/>
                  <a:pt x="262" y="562"/>
                  <a:pt x="258" y="558"/>
                </a:cubicBezTo>
                <a:cubicBezTo>
                  <a:pt x="258" y="559"/>
                  <a:pt x="257" y="559"/>
                  <a:pt x="256" y="559"/>
                </a:cubicBezTo>
                <a:cubicBezTo>
                  <a:pt x="261" y="555"/>
                  <a:pt x="250" y="547"/>
                  <a:pt x="247" y="544"/>
                </a:cubicBezTo>
                <a:cubicBezTo>
                  <a:pt x="241" y="538"/>
                  <a:pt x="240" y="531"/>
                  <a:pt x="234" y="525"/>
                </a:cubicBezTo>
                <a:cubicBezTo>
                  <a:pt x="232" y="522"/>
                  <a:pt x="227" y="519"/>
                  <a:pt x="228" y="515"/>
                </a:cubicBezTo>
                <a:cubicBezTo>
                  <a:pt x="229" y="509"/>
                  <a:pt x="229" y="514"/>
                  <a:pt x="233" y="511"/>
                </a:cubicBezTo>
                <a:cubicBezTo>
                  <a:pt x="237" y="508"/>
                  <a:pt x="239" y="505"/>
                  <a:pt x="244" y="503"/>
                </a:cubicBezTo>
                <a:cubicBezTo>
                  <a:pt x="251" y="498"/>
                  <a:pt x="260" y="495"/>
                  <a:pt x="270" y="492"/>
                </a:cubicBezTo>
                <a:cubicBezTo>
                  <a:pt x="280" y="488"/>
                  <a:pt x="291" y="487"/>
                  <a:pt x="301" y="483"/>
                </a:cubicBezTo>
                <a:cubicBezTo>
                  <a:pt x="311" y="479"/>
                  <a:pt x="319" y="474"/>
                  <a:pt x="329" y="470"/>
                </a:cubicBezTo>
                <a:cubicBezTo>
                  <a:pt x="337" y="467"/>
                  <a:pt x="343" y="465"/>
                  <a:pt x="350" y="461"/>
                </a:cubicBezTo>
                <a:cubicBezTo>
                  <a:pt x="352" y="460"/>
                  <a:pt x="354" y="460"/>
                  <a:pt x="356" y="459"/>
                </a:cubicBezTo>
                <a:cubicBezTo>
                  <a:pt x="358" y="458"/>
                  <a:pt x="356" y="455"/>
                  <a:pt x="359" y="454"/>
                </a:cubicBezTo>
                <a:cubicBezTo>
                  <a:pt x="369" y="451"/>
                  <a:pt x="361" y="467"/>
                  <a:pt x="359" y="470"/>
                </a:cubicBezTo>
                <a:cubicBezTo>
                  <a:pt x="354" y="481"/>
                  <a:pt x="350" y="492"/>
                  <a:pt x="346" y="502"/>
                </a:cubicBezTo>
                <a:cubicBezTo>
                  <a:pt x="339" y="518"/>
                  <a:pt x="328" y="536"/>
                  <a:pt x="334" y="554"/>
                </a:cubicBezTo>
                <a:cubicBezTo>
                  <a:pt x="339" y="569"/>
                  <a:pt x="354" y="582"/>
                  <a:pt x="371" y="585"/>
                </a:cubicBezTo>
                <a:cubicBezTo>
                  <a:pt x="384" y="588"/>
                  <a:pt x="397" y="588"/>
                  <a:pt x="410" y="591"/>
                </a:cubicBezTo>
                <a:cubicBezTo>
                  <a:pt x="422" y="593"/>
                  <a:pt x="434" y="597"/>
                  <a:pt x="447" y="598"/>
                </a:cubicBezTo>
                <a:cubicBezTo>
                  <a:pt x="460" y="599"/>
                  <a:pt x="472" y="601"/>
                  <a:pt x="485" y="603"/>
                </a:cubicBezTo>
                <a:cubicBezTo>
                  <a:pt x="490" y="604"/>
                  <a:pt x="513" y="607"/>
                  <a:pt x="510" y="601"/>
                </a:cubicBezTo>
                <a:cubicBezTo>
                  <a:pt x="516" y="599"/>
                  <a:pt x="516" y="592"/>
                  <a:pt x="516" y="585"/>
                </a:cubicBezTo>
                <a:cubicBezTo>
                  <a:pt x="515" y="586"/>
                  <a:pt x="514" y="586"/>
                  <a:pt x="513" y="586"/>
                </a:cubicBezTo>
                <a:cubicBezTo>
                  <a:pt x="519" y="586"/>
                  <a:pt x="513" y="570"/>
                  <a:pt x="512" y="567"/>
                </a:cubicBezTo>
                <a:cubicBezTo>
                  <a:pt x="508" y="557"/>
                  <a:pt x="495" y="551"/>
                  <a:pt x="484" y="549"/>
                </a:cubicBezTo>
                <a:cubicBezTo>
                  <a:pt x="478" y="548"/>
                  <a:pt x="471" y="550"/>
                  <a:pt x="464" y="549"/>
                </a:cubicBezTo>
                <a:cubicBezTo>
                  <a:pt x="459" y="549"/>
                  <a:pt x="455" y="546"/>
                  <a:pt x="451" y="545"/>
                </a:cubicBezTo>
                <a:cubicBezTo>
                  <a:pt x="446" y="544"/>
                  <a:pt x="441" y="547"/>
                  <a:pt x="436" y="548"/>
                </a:cubicBezTo>
                <a:cubicBezTo>
                  <a:pt x="429" y="549"/>
                  <a:pt x="430" y="549"/>
                  <a:pt x="423" y="547"/>
                </a:cubicBezTo>
                <a:cubicBezTo>
                  <a:pt x="409" y="543"/>
                  <a:pt x="407" y="544"/>
                  <a:pt x="415" y="530"/>
                </a:cubicBezTo>
                <a:cubicBezTo>
                  <a:pt x="421" y="519"/>
                  <a:pt x="427" y="507"/>
                  <a:pt x="433" y="497"/>
                </a:cubicBezTo>
                <a:cubicBezTo>
                  <a:pt x="436" y="491"/>
                  <a:pt x="444" y="477"/>
                  <a:pt x="451" y="472"/>
                </a:cubicBezTo>
                <a:cubicBezTo>
                  <a:pt x="464" y="466"/>
                  <a:pt x="480" y="471"/>
                  <a:pt x="494" y="470"/>
                </a:cubicBezTo>
                <a:cubicBezTo>
                  <a:pt x="505" y="469"/>
                  <a:pt x="516" y="465"/>
                  <a:pt x="527" y="463"/>
                </a:cubicBezTo>
                <a:cubicBezTo>
                  <a:pt x="541" y="460"/>
                  <a:pt x="554" y="458"/>
                  <a:pt x="567" y="456"/>
                </a:cubicBezTo>
                <a:cubicBezTo>
                  <a:pt x="579" y="454"/>
                  <a:pt x="593" y="457"/>
                  <a:pt x="604" y="454"/>
                </a:cubicBezTo>
                <a:cubicBezTo>
                  <a:pt x="608" y="454"/>
                  <a:pt x="610" y="452"/>
                  <a:pt x="613" y="451"/>
                </a:cubicBezTo>
                <a:cubicBezTo>
                  <a:pt x="618" y="448"/>
                  <a:pt x="625" y="449"/>
                  <a:pt x="631" y="447"/>
                </a:cubicBezTo>
                <a:cubicBezTo>
                  <a:pt x="641" y="444"/>
                  <a:pt x="650" y="443"/>
                  <a:pt x="660" y="440"/>
                </a:cubicBezTo>
                <a:cubicBezTo>
                  <a:pt x="662" y="439"/>
                  <a:pt x="662" y="436"/>
                  <a:pt x="666" y="436"/>
                </a:cubicBezTo>
                <a:cubicBezTo>
                  <a:pt x="668" y="435"/>
                  <a:pt x="670" y="438"/>
                  <a:pt x="672" y="438"/>
                </a:cubicBezTo>
                <a:cubicBezTo>
                  <a:pt x="675" y="438"/>
                  <a:pt x="681" y="431"/>
                  <a:pt x="686" y="435"/>
                </a:cubicBezTo>
                <a:cubicBezTo>
                  <a:pt x="689" y="438"/>
                  <a:pt x="687" y="444"/>
                  <a:pt x="688" y="448"/>
                </a:cubicBezTo>
                <a:cubicBezTo>
                  <a:pt x="689" y="454"/>
                  <a:pt x="691" y="460"/>
                  <a:pt x="694" y="466"/>
                </a:cubicBezTo>
                <a:cubicBezTo>
                  <a:pt x="700" y="480"/>
                  <a:pt x="707" y="493"/>
                  <a:pt x="715" y="506"/>
                </a:cubicBezTo>
                <a:cubicBezTo>
                  <a:pt x="723" y="520"/>
                  <a:pt x="733" y="530"/>
                  <a:pt x="745" y="541"/>
                </a:cubicBezTo>
                <a:cubicBezTo>
                  <a:pt x="757" y="552"/>
                  <a:pt x="766" y="565"/>
                  <a:pt x="779" y="575"/>
                </a:cubicBezTo>
                <a:cubicBezTo>
                  <a:pt x="790" y="585"/>
                  <a:pt x="805" y="594"/>
                  <a:pt x="813" y="609"/>
                </a:cubicBezTo>
                <a:cubicBezTo>
                  <a:pt x="817" y="616"/>
                  <a:pt x="818" y="625"/>
                  <a:pt x="822" y="632"/>
                </a:cubicBezTo>
                <a:cubicBezTo>
                  <a:pt x="823" y="633"/>
                  <a:pt x="824" y="634"/>
                  <a:pt x="825" y="636"/>
                </a:cubicBezTo>
                <a:cubicBezTo>
                  <a:pt x="824" y="635"/>
                  <a:pt x="824" y="634"/>
                  <a:pt x="823" y="633"/>
                </a:cubicBezTo>
                <a:cubicBezTo>
                  <a:pt x="823" y="641"/>
                  <a:pt x="819" y="647"/>
                  <a:pt x="818" y="654"/>
                </a:cubicBezTo>
                <a:cubicBezTo>
                  <a:pt x="819" y="654"/>
                  <a:pt x="820" y="654"/>
                  <a:pt x="821" y="654"/>
                </a:cubicBezTo>
                <a:cubicBezTo>
                  <a:pt x="815" y="654"/>
                  <a:pt x="806" y="674"/>
                  <a:pt x="801" y="679"/>
                </a:cubicBezTo>
                <a:cubicBezTo>
                  <a:pt x="795" y="687"/>
                  <a:pt x="787" y="693"/>
                  <a:pt x="779" y="701"/>
                </a:cubicBezTo>
                <a:cubicBezTo>
                  <a:pt x="770" y="710"/>
                  <a:pt x="762" y="711"/>
                  <a:pt x="748" y="711"/>
                </a:cubicBezTo>
                <a:cubicBezTo>
                  <a:pt x="743" y="710"/>
                  <a:pt x="738" y="711"/>
                  <a:pt x="735" y="711"/>
                </a:cubicBezTo>
                <a:cubicBezTo>
                  <a:pt x="735" y="711"/>
                  <a:pt x="734" y="713"/>
                  <a:pt x="732" y="713"/>
                </a:cubicBezTo>
                <a:cubicBezTo>
                  <a:pt x="730" y="713"/>
                  <a:pt x="726" y="711"/>
                  <a:pt x="725" y="710"/>
                </a:cubicBezTo>
                <a:cubicBezTo>
                  <a:pt x="732" y="714"/>
                  <a:pt x="716" y="725"/>
                  <a:pt x="713" y="730"/>
                </a:cubicBezTo>
                <a:cubicBezTo>
                  <a:pt x="710" y="736"/>
                  <a:pt x="701" y="747"/>
                  <a:pt x="701" y="754"/>
                </a:cubicBezTo>
                <a:cubicBezTo>
                  <a:pt x="707" y="750"/>
                  <a:pt x="705" y="756"/>
                  <a:pt x="709" y="759"/>
                </a:cubicBezTo>
                <a:cubicBezTo>
                  <a:pt x="714" y="762"/>
                  <a:pt x="725" y="761"/>
                  <a:pt x="731" y="761"/>
                </a:cubicBezTo>
                <a:cubicBezTo>
                  <a:pt x="741" y="761"/>
                  <a:pt x="772" y="766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80" y="758"/>
                  <a:pt x="780" y="758"/>
                  <a:pt x="780" y="758"/>
                </a:cubicBezTo>
                <a:cubicBezTo>
                  <a:pt x="791" y="762"/>
                  <a:pt x="811" y="755"/>
                  <a:pt x="815" y="746"/>
                </a:cubicBezTo>
                <a:cubicBezTo>
                  <a:pt x="820" y="737"/>
                  <a:pt x="822" y="729"/>
                  <a:pt x="830" y="721"/>
                </a:cubicBezTo>
                <a:cubicBezTo>
                  <a:pt x="833" y="716"/>
                  <a:pt x="837" y="713"/>
                  <a:pt x="840" y="710"/>
                </a:cubicBezTo>
                <a:cubicBezTo>
                  <a:pt x="859" y="691"/>
                  <a:pt x="880" y="664"/>
                  <a:pt x="893" y="636"/>
                </a:cubicBezTo>
                <a:cubicBezTo>
                  <a:pt x="898" y="627"/>
                  <a:pt x="898" y="614"/>
                  <a:pt x="895" y="604"/>
                </a:cubicBezTo>
                <a:cubicBezTo>
                  <a:pt x="892" y="593"/>
                  <a:pt x="879" y="588"/>
                  <a:pt x="877" y="576"/>
                </a:cubicBezTo>
                <a:cubicBezTo>
                  <a:pt x="876" y="577"/>
                  <a:pt x="875" y="577"/>
                  <a:pt x="874" y="578"/>
                </a:cubicBezTo>
                <a:cubicBezTo>
                  <a:pt x="873" y="572"/>
                  <a:pt x="867" y="569"/>
                  <a:pt x="862" y="565"/>
                </a:cubicBezTo>
                <a:cubicBezTo>
                  <a:pt x="864" y="568"/>
                  <a:pt x="865" y="570"/>
                  <a:pt x="866" y="573"/>
                </a:cubicBezTo>
                <a:cubicBezTo>
                  <a:pt x="865" y="570"/>
                  <a:pt x="863" y="568"/>
                  <a:pt x="862" y="565"/>
                </a:cubicBezTo>
                <a:cubicBezTo>
                  <a:pt x="862" y="565"/>
                  <a:pt x="862" y="565"/>
                  <a:pt x="862" y="565"/>
                </a:cubicBezTo>
                <a:cubicBezTo>
                  <a:pt x="850" y="534"/>
                  <a:pt x="840" y="501"/>
                  <a:pt x="858" y="469"/>
                </a:cubicBezTo>
                <a:cubicBezTo>
                  <a:pt x="867" y="452"/>
                  <a:pt x="872" y="433"/>
                  <a:pt x="881" y="415"/>
                </a:cubicBezTo>
                <a:cubicBezTo>
                  <a:pt x="886" y="406"/>
                  <a:pt x="892" y="400"/>
                  <a:pt x="894" y="389"/>
                </a:cubicBezTo>
                <a:cubicBezTo>
                  <a:pt x="897" y="381"/>
                  <a:pt x="899" y="371"/>
                  <a:pt x="899" y="362"/>
                </a:cubicBezTo>
                <a:cubicBezTo>
                  <a:pt x="901" y="343"/>
                  <a:pt x="894" y="324"/>
                  <a:pt x="892" y="305"/>
                </a:cubicBezTo>
                <a:cubicBezTo>
                  <a:pt x="891" y="286"/>
                  <a:pt x="912" y="275"/>
                  <a:pt x="926" y="264"/>
                </a:cubicBezTo>
                <a:cubicBezTo>
                  <a:pt x="933" y="258"/>
                  <a:pt x="939" y="252"/>
                  <a:pt x="946" y="246"/>
                </a:cubicBezTo>
                <a:cubicBezTo>
                  <a:pt x="951" y="242"/>
                  <a:pt x="955" y="235"/>
                  <a:pt x="960" y="232"/>
                </a:cubicBezTo>
                <a:cubicBezTo>
                  <a:pt x="960" y="232"/>
                  <a:pt x="961" y="233"/>
                  <a:pt x="961" y="233"/>
                </a:cubicBezTo>
                <a:cubicBezTo>
                  <a:pt x="963" y="232"/>
                  <a:pt x="964" y="230"/>
                  <a:pt x="966" y="229"/>
                </a:cubicBezTo>
                <a:cubicBezTo>
                  <a:pt x="970" y="227"/>
                  <a:pt x="973" y="223"/>
                  <a:pt x="977" y="220"/>
                </a:cubicBezTo>
                <a:cubicBezTo>
                  <a:pt x="983" y="214"/>
                  <a:pt x="991" y="207"/>
                  <a:pt x="996" y="201"/>
                </a:cubicBezTo>
                <a:cubicBezTo>
                  <a:pt x="1008" y="185"/>
                  <a:pt x="1021" y="167"/>
                  <a:pt x="1040" y="157"/>
                </a:cubicBezTo>
                <a:cubicBezTo>
                  <a:pt x="1056" y="148"/>
                  <a:pt x="1079" y="144"/>
                  <a:pt x="1086" y="124"/>
                </a:cubicBezTo>
                <a:cubicBezTo>
                  <a:pt x="1080" y="128"/>
                  <a:pt x="1075" y="123"/>
                  <a:pt x="1070" y="121"/>
                </a:cubicBezTo>
                <a:close/>
                <a:moveTo>
                  <a:pt x="123" y="28"/>
                </a:moveTo>
                <a:cubicBezTo>
                  <a:pt x="123" y="28"/>
                  <a:pt x="123" y="28"/>
                  <a:pt x="123" y="28"/>
                </a:cubicBezTo>
                <a:cubicBezTo>
                  <a:pt x="124" y="27"/>
                  <a:pt x="125" y="27"/>
                  <a:pt x="126" y="26"/>
                </a:cubicBezTo>
                <a:cubicBezTo>
                  <a:pt x="125" y="27"/>
                  <a:pt x="124" y="27"/>
                  <a:pt x="123" y="28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1" y="29"/>
                  <a:pt x="119" y="29"/>
                  <a:pt x="118" y="30"/>
                </a:cubicBezTo>
                <a:cubicBezTo>
                  <a:pt x="119" y="29"/>
                  <a:pt x="121" y="28"/>
                  <a:pt x="123" y="28"/>
                </a:cubicBezTo>
                <a:close/>
                <a:moveTo>
                  <a:pt x="112" y="87"/>
                </a:moveTo>
                <a:cubicBezTo>
                  <a:pt x="108" y="89"/>
                  <a:pt x="100" y="83"/>
                  <a:pt x="98" y="79"/>
                </a:cubicBezTo>
                <a:cubicBezTo>
                  <a:pt x="96" y="73"/>
                  <a:pt x="102" y="58"/>
                  <a:pt x="109" y="57"/>
                </a:cubicBezTo>
                <a:cubicBezTo>
                  <a:pt x="111" y="56"/>
                  <a:pt x="115" y="58"/>
                  <a:pt x="120" y="60"/>
                </a:cubicBezTo>
                <a:cubicBezTo>
                  <a:pt x="116" y="60"/>
                  <a:pt x="109" y="61"/>
                  <a:pt x="107" y="69"/>
                </a:cubicBezTo>
                <a:cubicBezTo>
                  <a:pt x="105" y="75"/>
                  <a:pt x="114" y="82"/>
                  <a:pt x="123" y="80"/>
                </a:cubicBezTo>
                <a:cubicBezTo>
                  <a:pt x="119" y="83"/>
                  <a:pt x="115" y="85"/>
                  <a:pt x="112" y="87"/>
                </a:cubicBezTo>
                <a:close/>
                <a:moveTo>
                  <a:pt x="143" y="76"/>
                </a:moveTo>
                <a:cubicBezTo>
                  <a:pt x="142" y="77"/>
                  <a:pt x="142" y="78"/>
                  <a:pt x="141" y="79"/>
                </a:cubicBezTo>
                <a:cubicBezTo>
                  <a:pt x="139" y="82"/>
                  <a:pt x="137" y="83"/>
                  <a:pt x="134" y="83"/>
                </a:cubicBezTo>
                <a:cubicBezTo>
                  <a:pt x="137" y="83"/>
                  <a:pt x="139" y="81"/>
                  <a:pt x="141" y="79"/>
                </a:cubicBezTo>
                <a:cubicBezTo>
                  <a:pt x="141" y="78"/>
                  <a:pt x="142" y="78"/>
                  <a:pt x="142" y="77"/>
                </a:cubicBezTo>
                <a:cubicBezTo>
                  <a:pt x="142" y="77"/>
                  <a:pt x="143" y="75"/>
                  <a:pt x="143" y="76"/>
                </a:cubicBezTo>
                <a:close/>
                <a:moveTo>
                  <a:pt x="180" y="190"/>
                </a:moveTo>
                <a:cubicBezTo>
                  <a:pt x="179" y="190"/>
                  <a:pt x="178" y="190"/>
                  <a:pt x="180" y="190"/>
                </a:cubicBezTo>
                <a:cubicBezTo>
                  <a:pt x="180" y="190"/>
                  <a:pt x="180" y="190"/>
                  <a:pt x="180" y="190"/>
                </a:cubicBezTo>
                <a:cubicBezTo>
                  <a:pt x="181" y="190"/>
                  <a:pt x="183" y="189"/>
                  <a:pt x="183" y="189"/>
                </a:cubicBezTo>
                <a:cubicBezTo>
                  <a:pt x="182" y="190"/>
                  <a:pt x="182" y="190"/>
                  <a:pt x="180" y="190"/>
                </a:cubicBezTo>
                <a:close/>
                <a:moveTo>
                  <a:pt x="209" y="33"/>
                </a:moveTo>
                <a:cubicBezTo>
                  <a:pt x="209" y="33"/>
                  <a:pt x="208" y="33"/>
                  <a:pt x="207" y="33"/>
                </a:cubicBezTo>
                <a:cubicBezTo>
                  <a:pt x="210" y="32"/>
                  <a:pt x="210" y="32"/>
                  <a:pt x="212" y="29"/>
                </a:cubicBezTo>
                <a:cubicBezTo>
                  <a:pt x="211" y="30"/>
                  <a:pt x="210" y="32"/>
                  <a:pt x="209" y="33"/>
                </a:cubicBezTo>
                <a:close/>
                <a:moveTo>
                  <a:pt x="268" y="595"/>
                </a:moveTo>
                <a:cubicBezTo>
                  <a:pt x="267" y="595"/>
                  <a:pt x="266" y="596"/>
                  <a:pt x="265" y="595"/>
                </a:cubicBezTo>
                <a:cubicBezTo>
                  <a:pt x="266" y="595"/>
                  <a:pt x="267" y="595"/>
                  <a:pt x="268" y="595"/>
                </a:cubicBezTo>
                <a:close/>
                <a:moveTo>
                  <a:pt x="258" y="584"/>
                </a:moveTo>
                <a:cubicBezTo>
                  <a:pt x="257" y="584"/>
                  <a:pt x="257" y="583"/>
                  <a:pt x="256" y="583"/>
                </a:cubicBezTo>
                <a:cubicBezTo>
                  <a:pt x="254" y="581"/>
                  <a:pt x="252" y="579"/>
                  <a:pt x="251" y="577"/>
                </a:cubicBezTo>
                <a:cubicBezTo>
                  <a:pt x="253" y="579"/>
                  <a:pt x="255" y="582"/>
                  <a:pt x="258" y="584"/>
                </a:cubicBezTo>
                <a:close/>
                <a:moveTo>
                  <a:pt x="241" y="570"/>
                </a:moveTo>
                <a:cubicBezTo>
                  <a:pt x="242" y="570"/>
                  <a:pt x="242" y="570"/>
                  <a:pt x="243" y="571"/>
                </a:cubicBezTo>
                <a:cubicBezTo>
                  <a:pt x="243" y="571"/>
                  <a:pt x="243" y="572"/>
                  <a:pt x="243" y="573"/>
                </a:cubicBezTo>
                <a:cubicBezTo>
                  <a:pt x="243" y="572"/>
                  <a:pt x="242" y="571"/>
                  <a:pt x="241" y="570"/>
                </a:cubicBezTo>
                <a:cubicBezTo>
                  <a:pt x="239" y="569"/>
                  <a:pt x="237" y="567"/>
                  <a:pt x="235" y="566"/>
                </a:cubicBezTo>
                <a:cubicBezTo>
                  <a:pt x="237" y="567"/>
                  <a:pt x="239" y="568"/>
                  <a:pt x="241" y="570"/>
                </a:cubicBezTo>
                <a:close/>
                <a:moveTo>
                  <a:pt x="285" y="19"/>
                </a:moveTo>
                <a:cubicBezTo>
                  <a:pt x="286" y="17"/>
                  <a:pt x="290" y="15"/>
                  <a:pt x="293" y="14"/>
                </a:cubicBezTo>
                <a:cubicBezTo>
                  <a:pt x="290" y="15"/>
                  <a:pt x="287" y="17"/>
                  <a:pt x="285" y="19"/>
                </a:cubicBezTo>
                <a:cubicBezTo>
                  <a:pt x="285" y="19"/>
                  <a:pt x="284" y="20"/>
                  <a:pt x="285" y="19"/>
                </a:cubicBezTo>
                <a:close/>
                <a:moveTo>
                  <a:pt x="239" y="324"/>
                </a:moveTo>
                <a:cubicBezTo>
                  <a:pt x="238" y="325"/>
                  <a:pt x="237" y="325"/>
                  <a:pt x="236" y="325"/>
                </a:cubicBezTo>
                <a:cubicBezTo>
                  <a:pt x="239" y="324"/>
                  <a:pt x="239" y="323"/>
                  <a:pt x="240" y="320"/>
                </a:cubicBezTo>
                <a:cubicBezTo>
                  <a:pt x="240" y="321"/>
                  <a:pt x="240" y="323"/>
                  <a:pt x="239" y="324"/>
                </a:cubicBezTo>
                <a:close/>
                <a:moveTo>
                  <a:pt x="237" y="197"/>
                </a:moveTo>
                <a:cubicBezTo>
                  <a:pt x="238" y="195"/>
                  <a:pt x="238" y="196"/>
                  <a:pt x="240" y="195"/>
                </a:cubicBezTo>
                <a:cubicBezTo>
                  <a:pt x="238" y="196"/>
                  <a:pt x="238" y="195"/>
                  <a:pt x="237" y="197"/>
                </a:cubicBezTo>
                <a:close/>
                <a:moveTo>
                  <a:pt x="308" y="65"/>
                </a:moveTo>
                <a:cubicBezTo>
                  <a:pt x="295" y="73"/>
                  <a:pt x="280" y="79"/>
                  <a:pt x="263" y="76"/>
                </a:cubicBezTo>
                <a:cubicBezTo>
                  <a:pt x="256" y="74"/>
                  <a:pt x="246" y="67"/>
                  <a:pt x="241" y="63"/>
                </a:cubicBezTo>
                <a:cubicBezTo>
                  <a:pt x="236" y="59"/>
                  <a:pt x="239" y="58"/>
                  <a:pt x="236" y="51"/>
                </a:cubicBezTo>
                <a:cubicBezTo>
                  <a:pt x="234" y="61"/>
                  <a:pt x="233" y="51"/>
                  <a:pt x="231" y="51"/>
                </a:cubicBezTo>
                <a:cubicBezTo>
                  <a:pt x="228" y="50"/>
                  <a:pt x="223" y="52"/>
                  <a:pt x="219" y="49"/>
                </a:cubicBezTo>
                <a:cubicBezTo>
                  <a:pt x="208" y="39"/>
                  <a:pt x="234" y="39"/>
                  <a:pt x="238" y="48"/>
                </a:cubicBezTo>
                <a:cubicBezTo>
                  <a:pt x="238" y="46"/>
                  <a:pt x="240" y="45"/>
                  <a:pt x="240" y="44"/>
                </a:cubicBezTo>
                <a:cubicBezTo>
                  <a:pt x="240" y="49"/>
                  <a:pt x="243" y="49"/>
                  <a:pt x="245" y="45"/>
                </a:cubicBezTo>
                <a:cubicBezTo>
                  <a:pt x="248" y="49"/>
                  <a:pt x="251" y="47"/>
                  <a:pt x="255" y="48"/>
                </a:cubicBezTo>
                <a:cubicBezTo>
                  <a:pt x="262" y="49"/>
                  <a:pt x="267" y="50"/>
                  <a:pt x="275" y="51"/>
                </a:cubicBezTo>
                <a:cubicBezTo>
                  <a:pt x="290" y="53"/>
                  <a:pt x="304" y="54"/>
                  <a:pt x="320" y="57"/>
                </a:cubicBezTo>
                <a:cubicBezTo>
                  <a:pt x="315" y="58"/>
                  <a:pt x="311" y="61"/>
                  <a:pt x="308" y="65"/>
                </a:cubicBezTo>
                <a:close/>
                <a:moveTo>
                  <a:pt x="470" y="209"/>
                </a:moveTo>
                <a:cubicBezTo>
                  <a:pt x="471" y="210"/>
                  <a:pt x="473" y="211"/>
                  <a:pt x="473" y="211"/>
                </a:cubicBezTo>
                <a:cubicBezTo>
                  <a:pt x="472" y="210"/>
                  <a:pt x="471" y="210"/>
                  <a:pt x="470" y="209"/>
                </a:cubicBezTo>
                <a:close/>
                <a:moveTo>
                  <a:pt x="513" y="364"/>
                </a:moveTo>
                <a:cubicBezTo>
                  <a:pt x="513" y="362"/>
                  <a:pt x="514" y="360"/>
                  <a:pt x="514" y="358"/>
                </a:cubicBezTo>
                <a:cubicBezTo>
                  <a:pt x="514" y="360"/>
                  <a:pt x="513" y="362"/>
                  <a:pt x="513" y="364"/>
                </a:cubicBezTo>
                <a:close/>
                <a:moveTo>
                  <a:pt x="642" y="439"/>
                </a:moveTo>
                <a:cubicBezTo>
                  <a:pt x="640" y="440"/>
                  <a:pt x="639" y="440"/>
                  <a:pt x="638" y="441"/>
                </a:cubicBezTo>
                <a:cubicBezTo>
                  <a:pt x="639" y="441"/>
                  <a:pt x="639" y="440"/>
                  <a:pt x="640" y="439"/>
                </a:cubicBezTo>
                <a:cubicBezTo>
                  <a:pt x="641" y="439"/>
                  <a:pt x="641" y="439"/>
                  <a:pt x="642" y="439"/>
                </a:cubicBezTo>
                <a:cubicBezTo>
                  <a:pt x="646" y="438"/>
                  <a:pt x="651" y="438"/>
                  <a:pt x="655" y="438"/>
                </a:cubicBezTo>
                <a:cubicBezTo>
                  <a:pt x="651" y="438"/>
                  <a:pt x="646" y="439"/>
                  <a:pt x="642" y="439"/>
                </a:cubicBezTo>
                <a:close/>
                <a:moveTo>
                  <a:pt x="710" y="400"/>
                </a:moveTo>
                <a:cubicBezTo>
                  <a:pt x="710" y="401"/>
                  <a:pt x="710" y="401"/>
                  <a:pt x="710" y="401"/>
                </a:cubicBezTo>
                <a:cubicBezTo>
                  <a:pt x="709" y="401"/>
                  <a:pt x="708" y="401"/>
                  <a:pt x="708" y="401"/>
                </a:cubicBezTo>
                <a:cubicBezTo>
                  <a:pt x="709" y="401"/>
                  <a:pt x="710" y="401"/>
                  <a:pt x="710" y="400"/>
                </a:cubicBezTo>
                <a:close/>
                <a:moveTo>
                  <a:pt x="702" y="452"/>
                </a:moveTo>
                <a:cubicBezTo>
                  <a:pt x="702" y="451"/>
                  <a:pt x="702" y="451"/>
                  <a:pt x="703" y="451"/>
                </a:cubicBezTo>
                <a:cubicBezTo>
                  <a:pt x="705" y="451"/>
                  <a:pt x="706" y="451"/>
                  <a:pt x="708" y="451"/>
                </a:cubicBezTo>
                <a:cubicBezTo>
                  <a:pt x="706" y="450"/>
                  <a:pt x="704" y="451"/>
                  <a:pt x="702" y="452"/>
                </a:cubicBezTo>
                <a:close/>
                <a:moveTo>
                  <a:pt x="709" y="459"/>
                </a:moveTo>
                <a:cubicBezTo>
                  <a:pt x="709" y="458"/>
                  <a:pt x="709" y="458"/>
                  <a:pt x="710" y="457"/>
                </a:cubicBezTo>
                <a:cubicBezTo>
                  <a:pt x="711" y="457"/>
                  <a:pt x="712" y="457"/>
                  <a:pt x="712" y="458"/>
                </a:cubicBezTo>
                <a:cubicBezTo>
                  <a:pt x="710" y="458"/>
                  <a:pt x="710" y="458"/>
                  <a:pt x="709" y="459"/>
                </a:cubicBezTo>
                <a:close/>
                <a:moveTo>
                  <a:pt x="724" y="474"/>
                </a:moveTo>
                <a:cubicBezTo>
                  <a:pt x="723" y="472"/>
                  <a:pt x="723" y="469"/>
                  <a:pt x="722" y="467"/>
                </a:cubicBezTo>
                <a:cubicBezTo>
                  <a:pt x="722" y="468"/>
                  <a:pt x="723" y="468"/>
                  <a:pt x="723" y="469"/>
                </a:cubicBezTo>
                <a:cubicBezTo>
                  <a:pt x="723" y="471"/>
                  <a:pt x="723" y="472"/>
                  <a:pt x="724" y="474"/>
                </a:cubicBezTo>
                <a:cubicBezTo>
                  <a:pt x="724" y="477"/>
                  <a:pt x="725" y="480"/>
                  <a:pt x="726" y="483"/>
                </a:cubicBezTo>
                <a:cubicBezTo>
                  <a:pt x="725" y="480"/>
                  <a:pt x="724" y="477"/>
                  <a:pt x="724" y="474"/>
                </a:cubicBezTo>
                <a:close/>
                <a:moveTo>
                  <a:pt x="734" y="504"/>
                </a:moveTo>
                <a:cubicBezTo>
                  <a:pt x="733" y="503"/>
                  <a:pt x="733" y="503"/>
                  <a:pt x="732" y="502"/>
                </a:cubicBezTo>
                <a:cubicBezTo>
                  <a:pt x="730" y="499"/>
                  <a:pt x="729" y="496"/>
                  <a:pt x="729" y="492"/>
                </a:cubicBezTo>
                <a:cubicBezTo>
                  <a:pt x="730" y="497"/>
                  <a:pt x="732" y="500"/>
                  <a:pt x="734" y="504"/>
                </a:cubicBezTo>
                <a:cubicBezTo>
                  <a:pt x="735" y="505"/>
                  <a:pt x="735" y="505"/>
                  <a:pt x="736" y="507"/>
                </a:cubicBezTo>
                <a:cubicBezTo>
                  <a:pt x="735" y="506"/>
                  <a:pt x="734" y="505"/>
                  <a:pt x="734" y="504"/>
                </a:cubicBezTo>
                <a:close/>
                <a:moveTo>
                  <a:pt x="749" y="756"/>
                </a:moveTo>
                <a:cubicBezTo>
                  <a:pt x="750" y="756"/>
                  <a:pt x="748" y="755"/>
                  <a:pt x="749" y="755"/>
                </a:cubicBezTo>
                <a:cubicBezTo>
                  <a:pt x="752" y="757"/>
                  <a:pt x="750" y="756"/>
                  <a:pt x="749" y="756"/>
                </a:cubicBezTo>
                <a:close/>
                <a:moveTo>
                  <a:pt x="793" y="756"/>
                </a:moveTo>
                <a:cubicBezTo>
                  <a:pt x="793" y="755"/>
                  <a:pt x="792" y="754"/>
                  <a:pt x="792" y="754"/>
                </a:cubicBezTo>
                <a:cubicBezTo>
                  <a:pt x="793" y="755"/>
                  <a:pt x="794" y="757"/>
                  <a:pt x="796" y="757"/>
                </a:cubicBezTo>
                <a:cubicBezTo>
                  <a:pt x="795" y="756"/>
                  <a:pt x="794" y="757"/>
                  <a:pt x="793" y="756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1980E4E-435F-DB49-90F6-71AD2174C665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DDA33B92-C2F2-484C-87A6-815024D6D5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25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C83D7D6-B709-2A47-B7B1-9A64F1CC3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A3B3DABD-41D0-A845-AC07-A3A47DD94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111">
            <a:extLst>
              <a:ext uri="{FF2B5EF4-FFF2-40B4-BE49-F238E27FC236}">
                <a16:creationId xmlns:a16="http://schemas.microsoft.com/office/drawing/2014/main" id="{A95DF223-2F01-254C-9E58-918324E951BD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960339" y="3258394"/>
            <a:ext cx="12457384" cy="10171162"/>
          </a:xfrm>
          <a:custGeom>
            <a:avLst/>
            <a:gdLst>
              <a:gd name="T0" fmla="*/ 14437 w 26312"/>
              <a:gd name="T1" fmla="*/ 2313 h 17531"/>
              <a:gd name="T2" fmla="*/ 10719 w 26312"/>
              <a:gd name="T3" fmla="*/ 1813 h 17531"/>
              <a:gd name="T4" fmla="*/ 15312 w 26312"/>
              <a:gd name="T5" fmla="*/ 938 h 17531"/>
              <a:gd name="T6" fmla="*/ 12625 w 26312"/>
              <a:gd name="T7" fmla="*/ 1281 h 17531"/>
              <a:gd name="T8" fmla="*/ 4906 w 26312"/>
              <a:gd name="T9" fmla="*/ 3281 h 17531"/>
              <a:gd name="T10" fmla="*/ 3000 w 26312"/>
              <a:gd name="T11" fmla="*/ 3188 h 17531"/>
              <a:gd name="T12" fmla="*/ 9781 w 26312"/>
              <a:gd name="T13" fmla="*/ 1875 h 17531"/>
              <a:gd name="T14" fmla="*/ 15469 w 26312"/>
              <a:gd name="T15" fmla="*/ 1344 h 17531"/>
              <a:gd name="T16" fmla="*/ 14906 w 26312"/>
              <a:gd name="T17" fmla="*/ 938 h 17531"/>
              <a:gd name="T18" fmla="*/ 6687 w 26312"/>
              <a:gd name="T19" fmla="*/ 2344 h 17531"/>
              <a:gd name="T20" fmla="*/ 7500 w 26312"/>
              <a:gd name="T21" fmla="*/ 2875 h 17531"/>
              <a:gd name="T22" fmla="*/ 14781 w 26312"/>
              <a:gd name="T23" fmla="*/ 1094 h 17531"/>
              <a:gd name="T24" fmla="*/ 5406 w 26312"/>
              <a:gd name="T25" fmla="*/ 3594 h 17531"/>
              <a:gd name="T26" fmla="*/ 5750 w 26312"/>
              <a:gd name="T27" fmla="*/ 3563 h 17531"/>
              <a:gd name="T28" fmla="*/ 5156 w 26312"/>
              <a:gd name="T29" fmla="*/ 2781 h 17531"/>
              <a:gd name="T30" fmla="*/ 6437 w 26312"/>
              <a:gd name="T31" fmla="*/ 3094 h 17531"/>
              <a:gd name="T32" fmla="*/ 8812 w 26312"/>
              <a:gd name="T33" fmla="*/ 3781 h 17531"/>
              <a:gd name="T34" fmla="*/ 9062 w 26312"/>
              <a:gd name="T35" fmla="*/ 3063 h 17531"/>
              <a:gd name="T36" fmla="*/ 9719 w 26312"/>
              <a:gd name="T37" fmla="*/ 2813 h 17531"/>
              <a:gd name="T38" fmla="*/ 10937 w 26312"/>
              <a:gd name="T39" fmla="*/ 3281 h 17531"/>
              <a:gd name="T40" fmla="*/ 11594 w 26312"/>
              <a:gd name="T41" fmla="*/ 3188 h 17531"/>
              <a:gd name="T42" fmla="*/ 12125 w 26312"/>
              <a:gd name="T43" fmla="*/ 3531 h 17531"/>
              <a:gd name="T44" fmla="*/ 12937 w 26312"/>
              <a:gd name="T45" fmla="*/ 3563 h 17531"/>
              <a:gd name="T46" fmla="*/ 13531 w 26312"/>
              <a:gd name="T47" fmla="*/ 3281 h 17531"/>
              <a:gd name="T48" fmla="*/ 14187 w 26312"/>
              <a:gd name="T49" fmla="*/ 2406 h 17531"/>
              <a:gd name="T50" fmla="*/ 14406 w 26312"/>
              <a:gd name="T51" fmla="*/ 1469 h 17531"/>
              <a:gd name="T52" fmla="*/ 15781 w 26312"/>
              <a:gd name="T53" fmla="*/ 2625 h 17531"/>
              <a:gd name="T54" fmla="*/ 16687 w 26312"/>
              <a:gd name="T55" fmla="*/ 2031 h 17531"/>
              <a:gd name="T56" fmla="*/ 17125 w 26312"/>
              <a:gd name="T57" fmla="*/ 594 h 17531"/>
              <a:gd name="T58" fmla="*/ 19875 w 26312"/>
              <a:gd name="T59" fmla="*/ 2219 h 17531"/>
              <a:gd name="T60" fmla="*/ 21156 w 26312"/>
              <a:gd name="T61" fmla="*/ 3594 h 17531"/>
              <a:gd name="T62" fmla="*/ 21875 w 26312"/>
              <a:gd name="T63" fmla="*/ 5219 h 17531"/>
              <a:gd name="T64" fmla="*/ 23375 w 26312"/>
              <a:gd name="T65" fmla="*/ 3906 h 17531"/>
              <a:gd name="T66" fmla="*/ 24000 w 26312"/>
              <a:gd name="T67" fmla="*/ 3625 h 17531"/>
              <a:gd name="T68" fmla="*/ 24000 w 26312"/>
              <a:gd name="T69" fmla="*/ 2344 h 17531"/>
              <a:gd name="T70" fmla="*/ 24500 w 26312"/>
              <a:gd name="T71" fmla="*/ 719 h 17531"/>
              <a:gd name="T72" fmla="*/ 25469 w 26312"/>
              <a:gd name="T73" fmla="*/ 906 h 17531"/>
              <a:gd name="T74" fmla="*/ 20906 w 26312"/>
              <a:gd name="T75" fmla="*/ 6969 h 17531"/>
              <a:gd name="T76" fmla="*/ 16437 w 26312"/>
              <a:gd name="T77" fmla="*/ 14344 h 17531"/>
              <a:gd name="T78" fmla="*/ 16500 w 26312"/>
              <a:gd name="T79" fmla="*/ 15531 h 17531"/>
              <a:gd name="T80" fmla="*/ 15625 w 26312"/>
              <a:gd name="T81" fmla="*/ 16875 h 17531"/>
              <a:gd name="T82" fmla="*/ 12437 w 26312"/>
              <a:gd name="T83" fmla="*/ 16719 h 17531"/>
              <a:gd name="T84" fmla="*/ 11125 w 26312"/>
              <a:gd name="T85" fmla="*/ 11500 h 17531"/>
              <a:gd name="T86" fmla="*/ 5437 w 26312"/>
              <a:gd name="T87" fmla="*/ 12594 h 17531"/>
              <a:gd name="T88" fmla="*/ 4437 w 26312"/>
              <a:gd name="T89" fmla="*/ 17500 h 17531"/>
              <a:gd name="T90" fmla="*/ 2625 w 26312"/>
              <a:gd name="T91" fmla="*/ 15031 h 17531"/>
              <a:gd name="T92" fmla="*/ 219 w 26312"/>
              <a:gd name="T93" fmla="*/ 16875 h 17531"/>
              <a:gd name="T94" fmla="*/ 531 w 26312"/>
              <a:gd name="T95" fmla="*/ 14906 h 17531"/>
              <a:gd name="T96" fmla="*/ 344 w 26312"/>
              <a:gd name="T97" fmla="*/ 9438 h 17531"/>
              <a:gd name="T98" fmla="*/ 3375 w 26312"/>
              <a:gd name="T99" fmla="*/ 1750 h 17531"/>
              <a:gd name="T100" fmla="*/ 1937 w 26312"/>
              <a:gd name="T101" fmla="*/ 3375 h 17531"/>
              <a:gd name="T102" fmla="*/ 2062 w 26312"/>
              <a:gd name="T103" fmla="*/ 4344 h 17531"/>
              <a:gd name="T104" fmla="*/ 3781 w 26312"/>
              <a:gd name="T105" fmla="*/ 4188 h 17531"/>
              <a:gd name="T106" fmla="*/ 4094 w 26312"/>
              <a:gd name="T107" fmla="*/ 3969 h 17531"/>
              <a:gd name="T108" fmla="*/ 3844 w 26312"/>
              <a:gd name="T109" fmla="*/ 3219 h 17531"/>
              <a:gd name="T110" fmla="*/ 21719 w 26312"/>
              <a:gd name="T111" fmla="*/ 4906 h 17531"/>
              <a:gd name="T112" fmla="*/ 7875 w 26312"/>
              <a:gd name="T113" fmla="*/ 1406 h 17531"/>
              <a:gd name="T114" fmla="*/ 10312 w 26312"/>
              <a:gd name="T115" fmla="*/ 1781 h 17531"/>
              <a:gd name="T116" fmla="*/ 11844 w 26312"/>
              <a:gd name="T117" fmla="*/ 1406 h 17531"/>
              <a:gd name="T118" fmla="*/ 12719 w 26312"/>
              <a:gd name="T119" fmla="*/ 1031 h 17531"/>
              <a:gd name="T120" fmla="*/ 6812 w 26312"/>
              <a:gd name="T121" fmla="*/ 406 h 17531"/>
              <a:gd name="T122" fmla="*/ 8562 w 26312"/>
              <a:gd name="T123" fmla="*/ 3188 h 17531"/>
              <a:gd name="T124" fmla="*/ 18406 w 26312"/>
              <a:gd name="T125" fmla="*/ 1000 h 17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12" h="17531">
                <a:moveTo>
                  <a:pt x="14406" y="2250"/>
                </a:move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406" y="2219"/>
                  <a:pt x="14406" y="2219"/>
                </a:cubicBezTo>
                <a:cubicBezTo>
                  <a:pt x="14406" y="2219"/>
                  <a:pt x="14375" y="2219"/>
                  <a:pt x="14375" y="2219"/>
                </a:cubicBezTo>
                <a:cubicBezTo>
                  <a:pt x="14375" y="2219"/>
                  <a:pt x="14375" y="2250"/>
                  <a:pt x="14375" y="2250"/>
                </a:cubicBezTo>
                <a:cubicBezTo>
                  <a:pt x="14375" y="2250"/>
                  <a:pt x="14375" y="2250"/>
                  <a:pt x="14375" y="2250"/>
                </a:cubicBezTo>
                <a:cubicBezTo>
                  <a:pt x="14375" y="2250"/>
                  <a:pt x="14406" y="2250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lose/>
                <a:moveTo>
                  <a:pt x="3969" y="4125"/>
                </a:moveTo>
                <a:lnTo>
                  <a:pt x="4000" y="4125"/>
                </a:lnTo>
                <a:lnTo>
                  <a:pt x="4000" y="4125"/>
                </a:lnTo>
                <a:lnTo>
                  <a:pt x="3969" y="4125"/>
                </a:lnTo>
                <a:close/>
                <a:moveTo>
                  <a:pt x="24656" y="531"/>
                </a:moveTo>
                <a:lnTo>
                  <a:pt x="24656" y="531"/>
                </a:lnTo>
                <a:lnTo>
                  <a:pt x="24656" y="531"/>
                </a:lnTo>
                <a:close/>
                <a:moveTo>
                  <a:pt x="17656" y="1281"/>
                </a:moveTo>
                <a:cubicBezTo>
                  <a:pt x="17719" y="1250"/>
                  <a:pt x="17750" y="1188"/>
                  <a:pt x="17750" y="1156"/>
                </a:cubicBezTo>
                <a:cubicBezTo>
                  <a:pt x="17719" y="1156"/>
                  <a:pt x="17687" y="1156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88"/>
                  <a:pt x="17656" y="1219"/>
                  <a:pt x="17656" y="1281"/>
                </a:cubicBezTo>
                <a:close/>
                <a:moveTo>
                  <a:pt x="17656" y="1125"/>
                </a:moveTo>
                <a:cubicBezTo>
                  <a:pt x="17656" y="1125"/>
                  <a:pt x="17656" y="1125"/>
                  <a:pt x="17656" y="1125"/>
                </a:cubicBezTo>
                <a:lnTo>
                  <a:pt x="17656" y="1125"/>
                </a:ln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ubicBezTo>
                  <a:pt x="17656" y="1125"/>
                  <a:pt x="17656" y="1125"/>
                  <a:pt x="17656" y="1125"/>
                </a:cubicBezTo>
                <a:close/>
                <a:moveTo>
                  <a:pt x="14437" y="2313"/>
                </a:moveTo>
                <a:cubicBezTo>
                  <a:pt x="14406" y="2313"/>
                  <a:pt x="14406" y="2313"/>
                  <a:pt x="14406" y="2313"/>
                </a:cubicBezTo>
                <a:cubicBezTo>
                  <a:pt x="14406" y="2313"/>
                  <a:pt x="14406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ubicBezTo>
                  <a:pt x="14437" y="2313"/>
                  <a:pt x="14437" y="2313"/>
                  <a:pt x="14437" y="2313"/>
                </a:cubicBezTo>
                <a:close/>
                <a:moveTo>
                  <a:pt x="21625" y="4156"/>
                </a:moveTo>
                <a:cubicBezTo>
                  <a:pt x="21656" y="4188"/>
                  <a:pt x="21531" y="4219"/>
                  <a:pt x="21625" y="4281"/>
                </a:cubicBezTo>
                <a:cubicBezTo>
                  <a:pt x="21656" y="4281"/>
                  <a:pt x="21687" y="4281"/>
                  <a:pt x="21687" y="4250"/>
                </a:cubicBezTo>
                <a:cubicBezTo>
                  <a:pt x="21719" y="4219"/>
                  <a:pt x="21750" y="4188"/>
                  <a:pt x="21719" y="4125"/>
                </a:cubicBezTo>
                <a:cubicBezTo>
                  <a:pt x="21719" y="4125"/>
                  <a:pt x="21719" y="4125"/>
                  <a:pt x="21719" y="4125"/>
                </a:cubicBezTo>
                <a:cubicBezTo>
                  <a:pt x="21719" y="4125"/>
                  <a:pt x="21687" y="4156"/>
                  <a:pt x="21656" y="4156"/>
                </a:cubicBezTo>
                <a:cubicBezTo>
                  <a:pt x="21656" y="4156"/>
                  <a:pt x="21656" y="4156"/>
                  <a:pt x="21656" y="4156"/>
                </a:cubicBezTo>
                <a:cubicBezTo>
                  <a:pt x="21656" y="4156"/>
                  <a:pt x="21625" y="4125"/>
                  <a:pt x="21625" y="4125"/>
                </a:cubicBezTo>
                <a:cubicBezTo>
                  <a:pt x="21625" y="4156"/>
                  <a:pt x="21625" y="4156"/>
                  <a:pt x="21625" y="4156"/>
                </a:cubicBezTo>
                <a:close/>
                <a:moveTo>
                  <a:pt x="8687" y="2906"/>
                </a:moveTo>
                <a:lnTo>
                  <a:pt x="8719" y="2875"/>
                </a:lnTo>
                <a:lnTo>
                  <a:pt x="8687" y="2875"/>
                </a:lnTo>
                <a:lnTo>
                  <a:pt x="8687" y="2906"/>
                </a:lnTo>
                <a:close/>
                <a:moveTo>
                  <a:pt x="10781" y="1750"/>
                </a:moveTo>
                <a:lnTo>
                  <a:pt x="10781" y="1750"/>
                </a:lnTo>
                <a:lnTo>
                  <a:pt x="10781" y="1750"/>
                </a:lnTo>
                <a:close/>
                <a:moveTo>
                  <a:pt x="17531" y="875"/>
                </a:moveTo>
                <a:cubicBezTo>
                  <a:pt x="17531" y="875"/>
                  <a:pt x="17500" y="875"/>
                  <a:pt x="17500" y="875"/>
                </a:cubicBezTo>
                <a:cubicBezTo>
                  <a:pt x="17500" y="875"/>
                  <a:pt x="17500" y="875"/>
                  <a:pt x="17500" y="906"/>
                </a:cubicBezTo>
                <a:cubicBezTo>
                  <a:pt x="17500" y="906"/>
                  <a:pt x="17531" y="906"/>
                  <a:pt x="17531" y="906"/>
                </a:cubicBezTo>
                <a:cubicBezTo>
                  <a:pt x="17531" y="906"/>
                  <a:pt x="17531" y="875"/>
                  <a:pt x="17531" y="875"/>
                </a:cubicBezTo>
                <a:close/>
                <a:moveTo>
                  <a:pt x="23719" y="3844"/>
                </a:moveTo>
                <a:cubicBezTo>
                  <a:pt x="23719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13"/>
                </a:cubicBezTo>
                <a:cubicBezTo>
                  <a:pt x="23719" y="3813"/>
                  <a:pt x="23719" y="3813"/>
                  <a:pt x="23687" y="3813"/>
                </a:cubicBezTo>
                <a:cubicBezTo>
                  <a:pt x="23687" y="3813"/>
                  <a:pt x="23687" y="3844"/>
                  <a:pt x="23687" y="3844"/>
                </a:cubicBezTo>
                <a:cubicBezTo>
                  <a:pt x="23687" y="3844"/>
                  <a:pt x="23719" y="3844"/>
                  <a:pt x="23719" y="3844"/>
                </a:cubicBezTo>
                <a:cubicBezTo>
                  <a:pt x="23719" y="3844"/>
                  <a:pt x="23719" y="3844"/>
                  <a:pt x="23719" y="3844"/>
                </a:cubicBezTo>
                <a:close/>
                <a:moveTo>
                  <a:pt x="10750" y="1844"/>
                </a:moveTo>
                <a:lnTo>
                  <a:pt x="10719" y="1813"/>
                </a:lnTo>
                <a:lnTo>
                  <a:pt x="10750" y="1844"/>
                </a:lnTo>
                <a:close/>
                <a:moveTo>
                  <a:pt x="21500" y="4500"/>
                </a:moveTo>
                <a:cubicBezTo>
                  <a:pt x="21500" y="4500"/>
                  <a:pt x="21500" y="4500"/>
                  <a:pt x="21500" y="4469"/>
                </a:cubicBezTo>
                <a:cubicBezTo>
                  <a:pt x="21500" y="4469"/>
                  <a:pt x="21500" y="4469"/>
                  <a:pt x="21500" y="4438"/>
                </a:cubicBezTo>
                <a:cubicBezTo>
                  <a:pt x="21500" y="4469"/>
                  <a:pt x="21500" y="4469"/>
                  <a:pt x="21500" y="4469"/>
                </a:cubicBezTo>
                <a:cubicBezTo>
                  <a:pt x="21500" y="4469"/>
                  <a:pt x="21500" y="4500"/>
                  <a:pt x="21500" y="4500"/>
                </a:cubicBezTo>
                <a:close/>
                <a:moveTo>
                  <a:pt x="4937" y="3531"/>
                </a:moveTo>
                <a:cubicBezTo>
                  <a:pt x="4937" y="3500"/>
                  <a:pt x="4937" y="3500"/>
                  <a:pt x="4906" y="3500"/>
                </a:cubicBezTo>
                <a:cubicBezTo>
                  <a:pt x="4906" y="3500"/>
                  <a:pt x="4906" y="3500"/>
                  <a:pt x="4906" y="3500"/>
                </a:cubicBezTo>
                <a:cubicBezTo>
                  <a:pt x="4906" y="3500"/>
                  <a:pt x="4906" y="3500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69" y="3531"/>
                  <a:pt x="4969" y="3531"/>
                </a:cubicBezTo>
                <a:cubicBezTo>
                  <a:pt x="4969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ubicBezTo>
                  <a:pt x="4937" y="3531"/>
                  <a:pt x="4937" y="3531"/>
                  <a:pt x="4937" y="3531"/>
                </a:cubicBezTo>
                <a:close/>
                <a:moveTo>
                  <a:pt x="5250" y="2094"/>
                </a:moveTo>
                <a:cubicBezTo>
                  <a:pt x="5250" y="2094"/>
                  <a:pt x="5281" y="2094"/>
                  <a:pt x="5281" y="2094"/>
                </a:cubicBezTo>
                <a:cubicBezTo>
                  <a:pt x="5281" y="2094"/>
                  <a:pt x="5281" y="2094"/>
                  <a:pt x="5281" y="2094"/>
                </a:cubicBezTo>
                <a:cubicBezTo>
                  <a:pt x="5281" y="2094"/>
                  <a:pt x="5281" y="2063"/>
                  <a:pt x="5250" y="2063"/>
                </a:cubicBezTo>
                <a:cubicBezTo>
                  <a:pt x="5250" y="2094"/>
                  <a:pt x="5250" y="2094"/>
                  <a:pt x="5250" y="2094"/>
                </a:cubicBezTo>
                <a:close/>
                <a:moveTo>
                  <a:pt x="15312" y="938"/>
                </a:move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1000"/>
                  <a:pt x="15312" y="1031"/>
                  <a:pt x="15375" y="1063"/>
                </a:cubicBezTo>
                <a:cubicBezTo>
                  <a:pt x="15375" y="1063"/>
                  <a:pt x="15375" y="1031"/>
                  <a:pt x="15375" y="1031"/>
                </a:cubicBezTo>
                <a:cubicBezTo>
                  <a:pt x="15344" y="1000"/>
                  <a:pt x="15344" y="969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ubicBezTo>
                  <a:pt x="15281" y="938"/>
                  <a:pt x="15312" y="906"/>
                  <a:pt x="15281" y="906"/>
                </a:cubicBezTo>
                <a:cubicBezTo>
                  <a:pt x="15281" y="906"/>
                  <a:pt x="15281" y="875"/>
                  <a:pt x="15250" y="875"/>
                </a:cubicBezTo>
                <a:cubicBezTo>
                  <a:pt x="15281" y="906"/>
                  <a:pt x="15281" y="938"/>
                  <a:pt x="15312" y="938"/>
                </a:cubicBezTo>
                <a:cubicBezTo>
                  <a:pt x="15312" y="938"/>
                  <a:pt x="15312" y="938"/>
                  <a:pt x="15312" y="938"/>
                </a:cubicBezTo>
                <a:close/>
                <a:moveTo>
                  <a:pt x="15156" y="813"/>
                </a:moveTo>
                <a:cubicBezTo>
                  <a:pt x="15156" y="813"/>
                  <a:pt x="15156" y="813"/>
                  <a:pt x="15156" y="813"/>
                </a:cubicBezTo>
                <a:cubicBezTo>
                  <a:pt x="15125" y="813"/>
                  <a:pt x="15125" y="813"/>
                  <a:pt x="15125" y="813"/>
                </a:cubicBezTo>
                <a:cubicBezTo>
                  <a:pt x="15125" y="844"/>
                  <a:pt x="15125" y="844"/>
                  <a:pt x="15125" y="875"/>
                </a:cubicBezTo>
                <a:cubicBezTo>
                  <a:pt x="15156" y="844"/>
                  <a:pt x="15156" y="844"/>
                  <a:pt x="15156" y="813"/>
                </a:cubicBezTo>
                <a:close/>
                <a:moveTo>
                  <a:pt x="3531" y="2844"/>
                </a:moveTo>
                <a:cubicBezTo>
                  <a:pt x="3531" y="2875"/>
                  <a:pt x="3562" y="2875"/>
                  <a:pt x="3562" y="2875"/>
                </a:cubicBezTo>
                <a:cubicBezTo>
                  <a:pt x="3562" y="2875"/>
                  <a:pt x="3594" y="2844"/>
                  <a:pt x="3594" y="2844"/>
                </a:cubicBezTo>
                <a:cubicBezTo>
                  <a:pt x="3562" y="2844"/>
                  <a:pt x="3562" y="2813"/>
                  <a:pt x="3562" y="2813"/>
                </a:cubicBezTo>
                <a:cubicBezTo>
                  <a:pt x="3531" y="2813"/>
                  <a:pt x="3531" y="2844"/>
                  <a:pt x="3531" y="2844"/>
                </a:cubicBezTo>
                <a:close/>
                <a:moveTo>
                  <a:pt x="1906" y="3813"/>
                </a:moveTo>
                <a:cubicBezTo>
                  <a:pt x="1906" y="3813"/>
                  <a:pt x="1937" y="3781"/>
                  <a:pt x="1969" y="3781"/>
                </a:cubicBezTo>
                <a:cubicBezTo>
                  <a:pt x="1937" y="3781"/>
                  <a:pt x="1937" y="3750"/>
                  <a:pt x="1906" y="3750"/>
                </a:cubicBezTo>
                <a:cubicBezTo>
                  <a:pt x="1906" y="3750"/>
                  <a:pt x="1875" y="3781"/>
                  <a:pt x="1875" y="3781"/>
                </a:cubicBezTo>
                <a:cubicBezTo>
                  <a:pt x="1875" y="3813"/>
                  <a:pt x="1875" y="3813"/>
                  <a:pt x="1906" y="3813"/>
                </a:cubicBezTo>
                <a:close/>
                <a:moveTo>
                  <a:pt x="1062" y="14469"/>
                </a:moveTo>
                <a:cubicBezTo>
                  <a:pt x="1062" y="14500"/>
                  <a:pt x="1062" y="14500"/>
                  <a:pt x="1094" y="14500"/>
                </a:cubicBezTo>
                <a:cubicBezTo>
                  <a:pt x="1094" y="14500"/>
                  <a:pt x="1125" y="14500"/>
                  <a:pt x="1125" y="14469"/>
                </a:cubicBezTo>
                <a:cubicBezTo>
                  <a:pt x="1125" y="14469"/>
                  <a:pt x="1125" y="14469"/>
                  <a:pt x="1094" y="14438"/>
                </a:cubicBezTo>
                <a:cubicBezTo>
                  <a:pt x="1062" y="14438"/>
                  <a:pt x="1062" y="14469"/>
                  <a:pt x="1062" y="14469"/>
                </a:cubicBezTo>
                <a:close/>
                <a:moveTo>
                  <a:pt x="12625" y="1281"/>
                </a:moveTo>
                <a:cubicBezTo>
                  <a:pt x="12594" y="1313"/>
                  <a:pt x="12625" y="1344"/>
                  <a:pt x="12625" y="1375"/>
                </a:cubicBezTo>
                <a:cubicBezTo>
                  <a:pt x="12625" y="1344"/>
                  <a:pt x="12687" y="1313"/>
                  <a:pt x="12656" y="1281"/>
                </a:cubicBezTo>
                <a:cubicBezTo>
                  <a:pt x="12656" y="1281"/>
                  <a:pt x="12625" y="1281"/>
                  <a:pt x="12625" y="1281"/>
                </a:cubicBezTo>
                <a:close/>
                <a:moveTo>
                  <a:pt x="21937" y="4406"/>
                </a:moveTo>
                <a:cubicBezTo>
                  <a:pt x="21937" y="4406"/>
                  <a:pt x="21937" y="4438"/>
                  <a:pt x="21937" y="4469"/>
                </a:cubicBezTo>
                <a:cubicBezTo>
                  <a:pt x="21937" y="4469"/>
                  <a:pt x="21969" y="4469"/>
                  <a:pt x="21969" y="4469"/>
                </a:cubicBezTo>
                <a:cubicBezTo>
                  <a:pt x="21969" y="4375"/>
                  <a:pt x="21969" y="4281"/>
                  <a:pt x="21969" y="4219"/>
                </a:cubicBezTo>
                <a:cubicBezTo>
                  <a:pt x="22000" y="4156"/>
                  <a:pt x="22031" y="4094"/>
                  <a:pt x="22031" y="4063"/>
                </a:cubicBezTo>
                <a:cubicBezTo>
                  <a:pt x="22062" y="4031"/>
                  <a:pt x="22031" y="3969"/>
                  <a:pt x="22000" y="3969"/>
                </a:cubicBezTo>
                <a:cubicBezTo>
                  <a:pt x="21937" y="3969"/>
                  <a:pt x="21969" y="4000"/>
                  <a:pt x="21969" y="4031"/>
                </a:cubicBezTo>
                <a:cubicBezTo>
                  <a:pt x="21969" y="4094"/>
                  <a:pt x="21969" y="4125"/>
                  <a:pt x="21969" y="4188"/>
                </a:cubicBezTo>
                <a:cubicBezTo>
                  <a:pt x="21969" y="4188"/>
                  <a:pt x="21969" y="4188"/>
                  <a:pt x="21969" y="4188"/>
                </a:cubicBezTo>
                <a:cubicBezTo>
                  <a:pt x="21937" y="4250"/>
                  <a:pt x="21937" y="4313"/>
                  <a:pt x="21937" y="4406"/>
                </a:cubicBezTo>
                <a:close/>
                <a:moveTo>
                  <a:pt x="8656" y="1969"/>
                </a:moveTo>
                <a:cubicBezTo>
                  <a:pt x="8656" y="1938"/>
                  <a:pt x="8625" y="1938"/>
                  <a:pt x="8625" y="1938"/>
                </a:cubicBezTo>
                <a:cubicBezTo>
                  <a:pt x="8594" y="1938"/>
                  <a:pt x="8562" y="1938"/>
                  <a:pt x="8562" y="1969"/>
                </a:cubicBezTo>
                <a:cubicBezTo>
                  <a:pt x="8562" y="1969"/>
                  <a:pt x="8594" y="2000"/>
                  <a:pt x="8594" y="2000"/>
                </a:cubicBezTo>
                <a:cubicBezTo>
                  <a:pt x="8625" y="2000"/>
                  <a:pt x="8656" y="2000"/>
                  <a:pt x="8656" y="1969"/>
                </a:cubicBezTo>
                <a:close/>
                <a:moveTo>
                  <a:pt x="11844" y="2688"/>
                </a:moveTo>
                <a:cubicBezTo>
                  <a:pt x="11719" y="2750"/>
                  <a:pt x="11750" y="2844"/>
                  <a:pt x="11812" y="2906"/>
                </a:cubicBezTo>
                <a:cubicBezTo>
                  <a:pt x="11781" y="2844"/>
                  <a:pt x="11844" y="2781"/>
                  <a:pt x="11844" y="2688"/>
                </a:cubicBezTo>
                <a:close/>
                <a:moveTo>
                  <a:pt x="5062" y="3438"/>
                </a:moveTo>
                <a:cubicBezTo>
                  <a:pt x="5062" y="3438"/>
                  <a:pt x="5062" y="3438"/>
                  <a:pt x="5062" y="3406"/>
                </a:cubicBezTo>
                <a:cubicBezTo>
                  <a:pt x="5031" y="3406"/>
                  <a:pt x="5031" y="3375"/>
                  <a:pt x="5000" y="3375"/>
                </a:cubicBezTo>
                <a:cubicBezTo>
                  <a:pt x="5000" y="3375"/>
                  <a:pt x="5000" y="3375"/>
                  <a:pt x="5000" y="3344"/>
                </a:cubicBezTo>
                <a:cubicBezTo>
                  <a:pt x="4969" y="3344"/>
                  <a:pt x="4906" y="3313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50"/>
                  <a:pt x="4875" y="3250"/>
                </a:cubicBezTo>
                <a:cubicBezTo>
                  <a:pt x="4875" y="3250"/>
                  <a:pt x="4875" y="3250"/>
                  <a:pt x="4875" y="3250"/>
                </a:cubicBezTo>
                <a:cubicBezTo>
                  <a:pt x="4875" y="3250"/>
                  <a:pt x="4875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281"/>
                  <a:pt x="4906" y="3281"/>
                  <a:pt x="4906" y="3281"/>
                </a:cubicBezTo>
                <a:cubicBezTo>
                  <a:pt x="4906" y="3344"/>
                  <a:pt x="4906" y="3375"/>
                  <a:pt x="4937" y="3406"/>
                </a:cubicBezTo>
                <a:cubicBezTo>
                  <a:pt x="4969" y="3406"/>
                  <a:pt x="5000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69"/>
                  <a:pt x="5062" y="3469"/>
                  <a:pt x="5094" y="3469"/>
                </a:cubicBezTo>
                <a:cubicBezTo>
                  <a:pt x="5094" y="3500"/>
                  <a:pt x="5094" y="3500"/>
                  <a:pt x="5125" y="3500"/>
                </a:cubicBezTo>
                <a:cubicBezTo>
                  <a:pt x="5125" y="3438"/>
                  <a:pt x="5094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ubicBezTo>
                  <a:pt x="5062" y="3438"/>
                  <a:pt x="5062" y="3438"/>
                  <a:pt x="5062" y="3438"/>
                </a:cubicBezTo>
                <a:close/>
                <a:moveTo>
                  <a:pt x="3500" y="2969"/>
                </a:moveTo>
                <a:cubicBezTo>
                  <a:pt x="3406" y="2906"/>
                  <a:pt x="3406" y="2813"/>
                  <a:pt x="3281" y="2844"/>
                </a:cubicBezTo>
                <a:cubicBezTo>
                  <a:pt x="3344" y="2875"/>
                  <a:pt x="3344" y="3000"/>
                  <a:pt x="3500" y="2969"/>
                </a:cubicBezTo>
                <a:close/>
                <a:moveTo>
                  <a:pt x="8250" y="2000"/>
                </a:moveTo>
                <a:cubicBezTo>
                  <a:pt x="8219" y="2000"/>
                  <a:pt x="8250" y="2031"/>
                  <a:pt x="8250" y="2063"/>
                </a:cubicBezTo>
                <a:cubicBezTo>
                  <a:pt x="8312" y="2094"/>
                  <a:pt x="8344" y="2031"/>
                  <a:pt x="8406" y="2031"/>
                </a:cubicBezTo>
                <a:cubicBezTo>
                  <a:pt x="8344" y="2031"/>
                  <a:pt x="8312" y="1969"/>
                  <a:pt x="8250" y="2000"/>
                </a:cubicBezTo>
                <a:close/>
                <a:moveTo>
                  <a:pt x="3156" y="3219"/>
                </a:moveTo>
                <a:cubicBezTo>
                  <a:pt x="3187" y="3188"/>
                  <a:pt x="3219" y="3188"/>
                  <a:pt x="3250" y="3219"/>
                </a:cubicBezTo>
                <a:cubicBezTo>
                  <a:pt x="3250" y="3219"/>
                  <a:pt x="3250" y="3219"/>
                  <a:pt x="3250" y="3219"/>
                </a:cubicBezTo>
                <a:cubicBezTo>
                  <a:pt x="3281" y="3219"/>
                  <a:pt x="3281" y="3219"/>
                  <a:pt x="3281" y="3219"/>
                </a:cubicBezTo>
                <a:cubicBezTo>
                  <a:pt x="3312" y="3219"/>
                  <a:pt x="3312" y="3219"/>
                  <a:pt x="3312" y="3219"/>
                </a:cubicBezTo>
                <a:cubicBezTo>
                  <a:pt x="3312" y="3219"/>
                  <a:pt x="3344" y="3219"/>
                  <a:pt x="3344" y="3219"/>
                </a:cubicBezTo>
                <a:cubicBezTo>
                  <a:pt x="3312" y="3156"/>
                  <a:pt x="3281" y="3125"/>
                  <a:pt x="3219" y="3125"/>
                </a:cubicBezTo>
                <a:cubicBezTo>
                  <a:pt x="3156" y="3125"/>
                  <a:pt x="3156" y="3188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25" y="3219"/>
                  <a:pt x="3125" y="3219"/>
                  <a:pt x="3094" y="3219"/>
                </a:cubicBezTo>
                <a:cubicBezTo>
                  <a:pt x="3062" y="3188"/>
                  <a:pt x="3031" y="3156"/>
                  <a:pt x="3000" y="3188"/>
                </a:cubicBezTo>
                <a:cubicBezTo>
                  <a:pt x="3000" y="3250"/>
                  <a:pt x="2937" y="3281"/>
                  <a:pt x="2969" y="3344"/>
                </a:cubicBezTo>
                <a:cubicBezTo>
                  <a:pt x="2969" y="3375"/>
                  <a:pt x="3031" y="3375"/>
                  <a:pt x="3062" y="3375"/>
                </a:cubicBezTo>
                <a:cubicBezTo>
                  <a:pt x="3094" y="3375"/>
                  <a:pt x="3125" y="3344"/>
                  <a:pt x="3156" y="3344"/>
                </a:cubicBezTo>
                <a:cubicBezTo>
                  <a:pt x="3187" y="3313"/>
                  <a:pt x="3187" y="3281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ubicBezTo>
                  <a:pt x="3156" y="3219"/>
                  <a:pt x="3156" y="3219"/>
                  <a:pt x="3156" y="3219"/>
                </a:cubicBezTo>
                <a:close/>
                <a:moveTo>
                  <a:pt x="13875" y="2969"/>
                </a:moveTo>
                <a:cubicBezTo>
                  <a:pt x="13875" y="3031"/>
                  <a:pt x="13906" y="3031"/>
                  <a:pt x="13937" y="3031"/>
                </a:cubicBezTo>
                <a:cubicBezTo>
                  <a:pt x="13969" y="3031"/>
                  <a:pt x="14000" y="3031"/>
                  <a:pt x="14000" y="3000"/>
                </a:cubicBezTo>
                <a:cubicBezTo>
                  <a:pt x="14000" y="2938"/>
                  <a:pt x="13937" y="2938"/>
                  <a:pt x="13906" y="2906"/>
                </a:cubicBezTo>
                <a:cubicBezTo>
                  <a:pt x="13875" y="2906"/>
                  <a:pt x="13875" y="2938"/>
                  <a:pt x="13875" y="2969"/>
                </a:cubicBezTo>
                <a:close/>
                <a:moveTo>
                  <a:pt x="8594" y="2156"/>
                </a:moveTo>
                <a:cubicBezTo>
                  <a:pt x="8531" y="2094"/>
                  <a:pt x="8469" y="2063"/>
                  <a:pt x="8406" y="2094"/>
                </a:cubicBezTo>
                <a:cubicBezTo>
                  <a:pt x="8375" y="2094"/>
                  <a:pt x="8375" y="2156"/>
                  <a:pt x="8406" y="2156"/>
                </a:cubicBezTo>
                <a:cubicBezTo>
                  <a:pt x="8469" y="2219"/>
                  <a:pt x="8500" y="2156"/>
                  <a:pt x="8594" y="2156"/>
                </a:cubicBezTo>
                <a:close/>
                <a:moveTo>
                  <a:pt x="12781" y="1250"/>
                </a:moveTo>
                <a:cubicBezTo>
                  <a:pt x="12781" y="1250"/>
                  <a:pt x="12781" y="1250"/>
                  <a:pt x="12781" y="1250"/>
                </a:cubicBezTo>
                <a:cubicBezTo>
                  <a:pt x="12781" y="1281"/>
                  <a:pt x="12750" y="1313"/>
                  <a:pt x="12750" y="1344"/>
                </a:cubicBezTo>
                <a:cubicBezTo>
                  <a:pt x="12750" y="1344"/>
                  <a:pt x="12750" y="1375"/>
                  <a:pt x="12781" y="1406"/>
                </a:cubicBezTo>
                <a:cubicBezTo>
                  <a:pt x="12781" y="1344"/>
                  <a:pt x="12781" y="1281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ubicBezTo>
                  <a:pt x="12844" y="1250"/>
                  <a:pt x="12844" y="1281"/>
                  <a:pt x="12844" y="1313"/>
                </a:cubicBezTo>
                <a:cubicBezTo>
                  <a:pt x="12875" y="1344"/>
                  <a:pt x="12906" y="1313"/>
                  <a:pt x="12906" y="1281"/>
                </a:cubicBezTo>
                <a:cubicBezTo>
                  <a:pt x="12906" y="1281"/>
                  <a:pt x="12969" y="1281"/>
                  <a:pt x="12906" y="1250"/>
                </a:cubicBezTo>
                <a:cubicBezTo>
                  <a:pt x="12844" y="1250"/>
                  <a:pt x="12844" y="1156"/>
                  <a:pt x="12812" y="1125"/>
                </a:cubicBezTo>
                <a:cubicBezTo>
                  <a:pt x="12812" y="1125"/>
                  <a:pt x="12812" y="1125"/>
                  <a:pt x="12781" y="1125"/>
                </a:cubicBezTo>
                <a:cubicBezTo>
                  <a:pt x="12781" y="1156"/>
                  <a:pt x="12781" y="1219"/>
                  <a:pt x="12781" y="1250"/>
                </a:cubicBezTo>
                <a:cubicBezTo>
                  <a:pt x="12781" y="1250"/>
                  <a:pt x="12781" y="1250"/>
                  <a:pt x="12781" y="1250"/>
                </a:cubicBezTo>
                <a:close/>
                <a:moveTo>
                  <a:pt x="9906" y="1750"/>
                </a:moveTo>
                <a:cubicBezTo>
                  <a:pt x="9750" y="1719"/>
                  <a:pt x="9781" y="1813"/>
                  <a:pt x="9781" y="1875"/>
                </a:cubicBezTo>
                <a:cubicBezTo>
                  <a:pt x="9781" y="1906"/>
                  <a:pt x="9812" y="1938"/>
                  <a:pt x="9844" y="1938"/>
                </a:cubicBezTo>
                <a:cubicBezTo>
                  <a:pt x="9875" y="1938"/>
                  <a:pt x="9875" y="1906"/>
                  <a:pt x="9875" y="1875"/>
                </a:cubicBezTo>
                <a:cubicBezTo>
                  <a:pt x="9844" y="1813"/>
                  <a:pt x="9844" y="1781"/>
                  <a:pt x="9906" y="1750"/>
                </a:cubicBezTo>
                <a:close/>
                <a:moveTo>
                  <a:pt x="8187" y="3219"/>
                </a:moveTo>
                <a:cubicBezTo>
                  <a:pt x="8250" y="3281"/>
                  <a:pt x="8312" y="3344"/>
                  <a:pt x="8375" y="3344"/>
                </a:cubicBezTo>
                <a:cubicBezTo>
                  <a:pt x="8406" y="3344"/>
                  <a:pt x="8406" y="3313"/>
                  <a:pt x="8406" y="3281"/>
                </a:cubicBezTo>
                <a:cubicBezTo>
                  <a:pt x="8344" y="3188"/>
                  <a:pt x="8281" y="3250"/>
                  <a:pt x="8187" y="3219"/>
                </a:cubicBezTo>
                <a:close/>
                <a:moveTo>
                  <a:pt x="7844" y="1531"/>
                </a:moveTo>
                <a:cubicBezTo>
                  <a:pt x="7844" y="1531"/>
                  <a:pt x="7875" y="1531"/>
                  <a:pt x="7906" y="1500"/>
                </a:cubicBezTo>
                <a:cubicBezTo>
                  <a:pt x="7812" y="1500"/>
                  <a:pt x="7750" y="1500"/>
                  <a:pt x="7719" y="1500"/>
                </a:cubicBezTo>
                <a:cubicBezTo>
                  <a:pt x="7687" y="1500"/>
                  <a:pt x="7656" y="1500"/>
                  <a:pt x="7656" y="1531"/>
                </a:cubicBezTo>
                <a:cubicBezTo>
                  <a:pt x="7656" y="1563"/>
                  <a:pt x="7687" y="1594"/>
                  <a:pt x="7687" y="1594"/>
                </a:cubicBezTo>
                <a:cubicBezTo>
                  <a:pt x="7719" y="1563"/>
                  <a:pt x="7812" y="1688"/>
                  <a:pt x="7844" y="1531"/>
                </a:cubicBezTo>
                <a:close/>
                <a:moveTo>
                  <a:pt x="21687" y="4094"/>
                </a:moveTo>
                <a:cubicBezTo>
                  <a:pt x="21687" y="4094"/>
                  <a:pt x="21719" y="4094"/>
                  <a:pt x="21719" y="4063"/>
                </a:cubicBezTo>
                <a:cubicBezTo>
                  <a:pt x="21781" y="3969"/>
                  <a:pt x="21812" y="3875"/>
                  <a:pt x="21844" y="3750"/>
                </a:cubicBezTo>
                <a:cubicBezTo>
                  <a:pt x="21750" y="3844"/>
                  <a:pt x="21719" y="3938"/>
                  <a:pt x="21656" y="4031"/>
                </a:cubicBezTo>
                <a:cubicBezTo>
                  <a:pt x="21656" y="4063"/>
                  <a:pt x="21656" y="4063"/>
                  <a:pt x="21687" y="4094"/>
                </a:cubicBezTo>
                <a:close/>
                <a:moveTo>
                  <a:pt x="5375" y="1906"/>
                </a:moveTo>
                <a:cubicBezTo>
                  <a:pt x="5375" y="1906"/>
                  <a:pt x="5344" y="1875"/>
                  <a:pt x="5375" y="1875"/>
                </a:cubicBezTo>
                <a:cubicBezTo>
                  <a:pt x="5437" y="1750"/>
                  <a:pt x="5344" y="1750"/>
                  <a:pt x="5281" y="1750"/>
                </a:cubicBezTo>
                <a:cubicBezTo>
                  <a:pt x="5219" y="1750"/>
                  <a:pt x="5187" y="1750"/>
                  <a:pt x="5156" y="1719"/>
                </a:cubicBezTo>
                <a:cubicBezTo>
                  <a:pt x="5125" y="1875"/>
                  <a:pt x="5187" y="1938"/>
                  <a:pt x="5375" y="1906"/>
                </a:cubicBezTo>
                <a:close/>
                <a:moveTo>
                  <a:pt x="15562" y="1438"/>
                </a:moveTo>
                <a:cubicBezTo>
                  <a:pt x="15625" y="1406"/>
                  <a:pt x="15625" y="1375"/>
                  <a:pt x="15625" y="1313"/>
                </a:cubicBezTo>
                <a:cubicBezTo>
                  <a:pt x="15594" y="1125"/>
                  <a:pt x="15500" y="906"/>
                  <a:pt x="15656" y="719"/>
                </a:cubicBezTo>
                <a:cubicBezTo>
                  <a:pt x="15594" y="719"/>
                  <a:pt x="15562" y="688"/>
                  <a:pt x="15500" y="719"/>
                </a:cubicBezTo>
                <a:cubicBezTo>
                  <a:pt x="15531" y="781"/>
                  <a:pt x="15531" y="1156"/>
                  <a:pt x="15469" y="1188"/>
                </a:cubicBezTo>
                <a:cubicBezTo>
                  <a:pt x="15469" y="1156"/>
                  <a:pt x="15437" y="1156"/>
                  <a:pt x="15406" y="1125"/>
                </a:cubicBezTo>
                <a:cubicBezTo>
                  <a:pt x="15406" y="1125"/>
                  <a:pt x="15406" y="1125"/>
                  <a:pt x="15375" y="1125"/>
                </a:cubicBezTo>
                <a:cubicBezTo>
                  <a:pt x="15406" y="1219"/>
                  <a:pt x="15437" y="1281"/>
                  <a:pt x="15469" y="1344"/>
                </a:cubicBezTo>
                <a:cubicBezTo>
                  <a:pt x="15500" y="1406"/>
                  <a:pt x="15531" y="1438"/>
                  <a:pt x="15562" y="1438"/>
                </a:cubicBezTo>
                <a:close/>
                <a:moveTo>
                  <a:pt x="8844" y="2406"/>
                </a:moveTo>
                <a:cubicBezTo>
                  <a:pt x="8937" y="2469"/>
                  <a:pt x="8937" y="2438"/>
                  <a:pt x="9031" y="2406"/>
                </a:cubicBezTo>
                <a:cubicBezTo>
                  <a:pt x="9281" y="2375"/>
                  <a:pt x="9062" y="2313"/>
                  <a:pt x="9062" y="2281"/>
                </a:cubicBezTo>
                <a:cubicBezTo>
                  <a:pt x="9031" y="2250"/>
                  <a:pt x="9031" y="2250"/>
                  <a:pt x="9031" y="2250"/>
                </a:cubicBezTo>
                <a:cubicBezTo>
                  <a:pt x="9000" y="2219"/>
                  <a:pt x="9000" y="2188"/>
                  <a:pt x="8969" y="2156"/>
                </a:cubicBezTo>
                <a:cubicBezTo>
                  <a:pt x="8969" y="2125"/>
                  <a:pt x="8969" y="2125"/>
                  <a:pt x="8937" y="2125"/>
                </a:cubicBezTo>
                <a:cubicBezTo>
                  <a:pt x="8937" y="2094"/>
                  <a:pt x="8937" y="2094"/>
                  <a:pt x="8937" y="2094"/>
                </a:cubicBezTo>
                <a:cubicBezTo>
                  <a:pt x="8875" y="2063"/>
                  <a:pt x="8812" y="2031"/>
                  <a:pt x="8719" y="2094"/>
                </a:cubicBezTo>
                <a:cubicBezTo>
                  <a:pt x="8719" y="2063"/>
                  <a:pt x="8719" y="2063"/>
                  <a:pt x="8719" y="2063"/>
                </a:cubicBezTo>
                <a:lnTo>
                  <a:pt x="8719" y="2063"/>
                </a:lnTo>
                <a:cubicBezTo>
                  <a:pt x="8719" y="2063"/>
                  <a:pt x="8719" y="2063"/>
                  <a:pt x="8719" y="2063"/>
                </a:cubicBezTo>
                <a:cubicBezTo>
                  <a:pt x="8719" y="2063"/>
                  <a:pt x="8719" y="2063"/>
                  <a:pt x="8687" y="2063"/>
                </a:cubicBezTo>
                <a:cubicBezTo>
                  <a:pt x="8719" y="2063"/>
                  <a:pt x="8719" y="2063"/>
                  <a:pt x="8719" y="2094"/>
                </a:cubicBezTo>
                <a:cubicBezTo>
                  <a:pt x="8719" y="2125"/>
                  <a:pt x="8750" y="2125"/>
                  <a:pt x="8781" y="2156"/>
                </a:cubicBezTo>
                <a:cubicBezTo>
                  <a:pt x="8781" y="2250"/>
                  <a:pt x="8937" y="2281"/>
                  <a:pt x="8812" y="2375"/>
                </a:cubicBezTo>
                <a:cubicBezTo>
                  <a:pt x="8812" y="2375"/>
                  <a:pt x="8844" y="2406"/>
                  <a:pt x="8844" y="2406"/>
                </a:cubicBezTo>
                <a:close/>
                <a:moveTo>
                  <a:pt x="15031" y="1094"/>
                </a:moveTo>
                <a:cubicBezTo>
                  <a:pt x="15000" y="1094"/>
                  <a:pt x="14969" y="1063"/>
                  <a:pt x="14969" y="1031"/>
                </a:cubicBezTo>
                <a:cubicBezTo>
                  <a:pt x="14969" y="1031"/>
                  <a:pt x="14969" y="1000"/>
                  <a:pt x="14969" y="1000"/>
                </a:cubicBezTo>
                <a:cubicBezTo>
                  <a:pt x="14937" y="969"/>
                  <a:pt x="14937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06"/>
                  <a:pt x="14906" y="875"/>
                  <a:pt x="14875" y="844"/>
                </a:cubicBezTo>
                <a:cubicBezTo>
                  <a:pt x="14875" y="844"/>
                  <a:pt x="14844" y="813"/>
                  <a:pt x="14812" y="813"/>
                </a:cubicBezTo>
                <a:cubicBezTo>
                  <a:pt x="14844" y="875"/>
                  <a:pt x="14844" y="906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06" y="938"/>
                  <a:pt x="14906" y="938"/>
                  <a:pt x="14906" y="938"/>
                </a:cubicBezTo>
                <a:cubicBezTo>
                  <a:pt x="14937" y="1125"/>
                  <a:pt x="15062" y="1281"/>
                  <a:pt x="15125" y="1438"/>
                </a:cubicBezTo>
                <a:cubicBezTo>
                  <a:pt x="15125" y="1469"/>
                  <a:pt x="15156" y="1531"/>
                  <a:pt x="15187" y="1500"/>
                </a:cubicBezTo>
                <a:cubicBezTo>
                  <a:pt x="15219" y="1438"/>
                  <a:pt x="15344" y="1438"/>
                  <a:pt x="15281" y="1344"/>
                </a:cubicBezTo>
                <a:cubicBezTo>
                  <a:pt x="15219" y="1219"/>
                  <a:pt x="15156" y="1094"/>
                  <a:pt x="15125" y="938"/>
                </a:cubicBezTo>
                <a:cubicBezTo>
                  <a:pt x="15062" y="969"/>
                  <a:pt x="15062" y="1000"/>
                  <a:pt x="15062" y="1031"/>
                </a:cubicBezTo>
                <a:cubicBezTo>
                  <a:pt x="15062" y="1031"/>
                  <a:pt x="15062" y="1094"/>
                  <a:pt x="15031" y="1094"/>
                </a:cubicBezTo>
                <a:close/>
                <a:moveTo>
                  <a:pt x="8156" y="2875"/>
                </a:moveTo>
                <a:cubicBezTo>
                  <a:pt x="8094" y="2844"/>
                  <a:pt x="8031" y="2781"/>
                  <a:pt x="7937" y="2750"/>
                </a:cubicBezTo>
                <a:cubicBezTo>
                  <a:pt x="7812" y="2719"/>
                  <a:pt x="7719" y="2563"/>
                  <a:pt x="7594" y="2563"/>
                </a:cubicBezTo>
                <a:cubicBezTo>
                  <a:pt x="7562" y="2563"/>
                  <a:pt x="7562" y="2563"/>
                  <a:pt x="7531" y="2563"/>
                </a:cubicBezTo>
                <a:cubicBezTo>
                  <a:pt x="7469" y="2563"/>
                  <a:pt x="7406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75" y="2563"/>
                  <a:pt x="7375" y="2563"/>
                  <a:pt x="7375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44" y="2563"/>
                  <a:pt x="7344" y="2563"/>
                  <a:pt x="7344" y="2563"/>
                </a:cubicBezTo>
                <a:cubicBezTo>
                  <a:pt x="7312" y="2531"/>
                  <a:pt x="7281" y="2531"/>
                  <a:pt x="7250" y="2500"/>
                </a:cubicBezTo>
                <a:cubicBezTo>
                  <a:pt x="7125" y="2500"/>
                  <a:pt x="7031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06" y="2469"/>
                  <a:pt x="6875" y="2438"/>
                  <a:pt x="6844" y="2406"/>
                </a:cubicBezTo>
                <a:cubicBezTo>
                  <a:pt x="6812" y="2375"/>
                  <a:pt x="6750" y="2375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13"/>
                  <a:pt x="6687" y="2313"/>
                  <a:pt x="6656" y="2281"/>
                </a:cubicBezTo>
                <a:cubicBezTo>
                  <a:pt x="6656" y="2281"/>
                  <a:pt x="6656" y="2281"/>
                  <a:pt x="6656" y="2313"/>
                </a:cubicBezTo>
                <a:cubicBezTo>
                  <a:pt x="6656" y="2313"/>
                  <a:pt x="6656" y="2313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687" y="2344"/>
                  <a:pt x="6687" y="2344"/>
                  <a:pt x="6687" y="2344"/>
                </a:cubicBezTo>
                <a:cubicBezTo>
                  <a:pt x="6719" y="2375"/>
                  <a:pt x="6750" y="2406"/>
                  <a:pt x="6750" y="2406"/>
                </a:cubicBezTo>
                <a:cubicBezTo>
                  <a:pt x="6812" y="2438"/>
                  <a:pt x="6875" y="2469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37" y="2500"/>
                  <a:pt x="6937" y="2500"/>
                  <a:pt x="6937" y="2500"/>
                </a:cubicBezTo>
                <a:cubicBezTo>
                  <a:pt x="6969" y="2531"/>
                  <a:pt x="6969" y="2594"/>
                  <a:pt x="7000" y="2625"/>
                </a:cubicBezTo>
                <a:cubicBezTo>
                  <a:pt x="7062" y="2656"/>
                  <a:pt x="7094" y="2688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56" y="2719"/>
                  <a:pt x="7156" y="2719"/>
                  <a:pt x="7156" y="2719"/>
                </a:cubicBezTo>
                <a:cubicBezTo>
                  <a:pt x="7125" y="2656"/>
                  <a:pt x="7062" y="2656"/>
                  <a:pt x="7031" y="2594"/>
                </a:cubicBezTo>
                <a:cubicBezTo>
                  <a:pt x="7156" y="2563"/>
                  <a:pt x="7250" y="2594"/>
                  <a:pt x="7344" y="2656"/>
                </a:cubicBezTo>
                <a:cubicBezTo>
                  <a:pt x="7437" y="2688"/>
                  <a:pt x="7500" y="2719"/>
                  <a:pt x="7625" y="2688"/>
                </a:cubicBezTo>
                <a:cubicBezTo>
                  <a:pt x="7687" y="2688"/>
                  <a:pt x="7812" y="2719"/>
                  <a:pt x="7812" y="2781"/>
                </a:cubicBezTo>
                <a:cubicBezTo>
                  <a:pt x="7812" y="2875"/>
                  <a:pt x="7687" y="2813"/>
                  <a:pt x="7625" y="2813"/>
                </a:cubicBezTo>
                <a:cubicBezTo>
                  <a:pt x="7594" y="2813"/>
                  <a:pt x="7594" y="2813"/>
                  <a:pt x="7594" y="2813"/>
                </a:cubicBezTo>
                <a:cubicBezTo>
                  <a:pt x="7531" y="2813"/>
                  <a:pt x="7500" y="2813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437" y="2844"/>
                  <a:pt x="7375" y="2781"/>
                  <a:pt x="7344" y="2781"/>
                </a:cubicBezTo>
                <a:cubicBezTo>
                  <a:pt x="7312" y="2781"/>
                  <a:pt x="7281" y="2813"/>
                  <a:pt x="7250" y="2813"/>
                </a:cubicBezTo>
                <a:cubicBezTo>
                  <a:pt x="7187" y="2906"/>
                  <a:pt x="7281" y="3000"/>
                  <a:pt x="7344" y="3063"/>
                </a:cubicBezTo>
                <a:cubicBezTo>
                  <a:pt x="7281" y="3063"/>
                  <a:pt x="7219" y="3125"/>
                  <a:pt x="7156" y="3094"/>
                </a:cubicBezTo>
                <a:cubicBezTo>
                  <a:pt x="7219" y="3156"/>
                  <a:pt x="7281" y="3156"/>
                  <a:pt x="7375" y="3125"/>
                </a:cubicBezTo>
                <a:cubicBezTo>
                  <a:pt x="7437" y="3125"/>
                  <a:pt x="7406" y="3031"/>
                  <a:pt x="7406" y="3000"/>
                </a:cubicBezTo>
                <a:cubicBezTo>
                  <a:pt x="7437" y="2938"/>
                  <a:pt x="7469" y="2906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500" y="2875"/>
                  <a:pt x="7500" y="2875"/>
                  <a:pt x="7500" y="2875"/>
                </a:cubicBezTo>
                <a:cubicBezTo>
                  <a:pt x="7719" y="2844"/>
                  <a:pt x="7937" y="2844"/>
                  <a:pt x="8125" y="2938"/>
                </a:cubicBezTo>
                <a:cubicBezTo>
                  <a:pt x="8281" y="3031"/>
                  <a:pt x="8437" y="3031"/>
                  <a:pt x="8625" y="3063"/>
                </a:cubicBezTo>
                <a:cubicBezTo>
                  <a:pt x="8469" y="2938"/>
                  <a:pt x="8281" y="3000"/>
                  <a:pt x="8156" y="2875"/>
                </a:cubicBezTo>
                <a:close/>
                <a:moveTo>
                  <a:pt x="13812" y="813"/>
                </a:moveTo>
                <a:cubicBezTo>
                  <a:pt x="13812" y="813"/>
                  <a:pt x="13844" y="781"/>
                  <a:pt x="13844" y="781"/>
                </a:cubicBezTo>
                <a:cubicBezTo>
                  <a:pt x="13906" y="656"/>
                  <a:pt x="13969" y="656"/>
                  <a:pt x="14031" y="750"/>
                </a:cubicBezTo>
                <a:cubicBezTo>
                  <a:pt x="14125" y="813"/>
                  <a:pt x="14250" y="875"/>
                  <a:pt x="14312" y="1000"/>
                </a:cubicBezTo>
                <a:cubicBezTo>
                  <a:pt x="14344" y="938"/>
                  <a:pt x="14312" y="906"/>
                  <a:pt x="14312" y="875"/>
                </a:cubicBezTo>
                <a:cubicBezTo>
                  <a:pt x="14312" y="813"/>
                  <a:pt x="14312" y="750"/>
                  <a:pt x="14344" y="719"/>
                </a:cubicBezTo>
                <a:cubicBezTo>
                  <a:pt x="14406" y="719"/>
                  <a:pt x="14500" y="719"/>
                  <a:pt x="14562" y="813"/>
                </a:cubicBezTo>
                <a:cubicBezTo>
                  <a:pt x="14562" y="813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94" y="844"/>
                  <a:pt x="14594" y="844"/>
                </a:cubicBezTo>
                <a:cubicBezTo>
                  <a:pt x="14594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844"/>
                  <a:pt x="14562" y="844"/>
                  <a:pt x="14562" y="844"/>
                </a:cubicBezTo>
                <a:cubicBezTo>
                  <a:pt x="14562" y="781"/>
                  <a:pt x="14531" y="719"/>
                  <a:pt x="14594" y="719"/>
                </a:cubicBezTo>
                <a:cubicBezTo>
                  <a:pt x="14687" y="719"/>
                  <a:pt x="14656" y="813"/>
                  <a:pt x="14656" y="844"/>
                </a:cubicBezTo>
                <a:cubicBezTo>
                  <a:pt x="14656" y="875"/>
                  <a:pt x="14656" y="906"/>
                  <a:pt x="14656" y="906"/>
                </a:cubicBezTo>
                <a:cubicBezTo>
                  <a:pt x="14656" y="938"/>
                  <a:pt x="14656" y="938"/>
                  <a:pt x="14656" y="938"/>
                </a:cubicBezTo>
                <a:cubicBezTo>
                  <a:pt x="14656" y="1031"/>
                  <a:pt x="14687" y="1063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125"/>
                  <a:pt x="14781" y="1156"/>
                  <a:pt x="14844" y="1188"/>
                </a:cubicBezTo>
                <a:cubicBezTo>
                  <a:pt x="14812" y="1125"/>
                  <a:pt x="14812" y="1125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94"/>
                  <a:pt x="14781" y="1094"/>
                  <a:pt x="14781" y="1094"/>
                </a:cubicBezTo>
                <a:cubicBezTo>
                  <a:pt x="14781" y="1063"/>
                  <a:pt x="14750" y="1031"/>
                  <a:pt x="14719" y="969"/>
                </a:cubicBezTo>
                <a:cubicBezTo>
                  <a:pt x="14687" y="813"/>
                  <a:pt x="14750" y="719"/>
                  <a:pt x="14906" y="750"/>
                </a:cubicBezTo>
                <a:cubicBezTo>
                  <a:pt x="14969" y="750"/>
                  <a:pt x="15000" y="750"/>
                  <a:pt x="15062" y="719"/>
                </a:cubicBezTo>
                <a:cubicBezTo>
                  <a:pt x="14969" y="719"/>
                  <a:pt x="14844" y="719"/>
                  <a:pt x="14750" y="688"/>
                </a:cubicBezTo>
                <a:cubicBezTo>
                  <a:pt x="14375" y="656"/>
                  <a:pt x="14000" y="594"/>
                  <a:pt x="13594" y="594"/>
                </a:cubicBezTo>
                <a:cubicBezTo>
                  <a:pt x="13594" y="594"/>
                  <a:pt x="13562" y="594"/>
                  <a:pt x="13562" y="625"/>
                </a:cubicBezTo>
                <a:cubicBezTo>
                  <a:pt x="13531" y="656"/>
                  <a:pt x="13562" y="656"/>
                  <a:pt x="13562" y="688"/>
                </a:cubicBezTo>
                <a:cubicBezTo>
                  <a:pt x="13625" y="750"/>
                  <a:pt x="13781" y="688"/>
                  <a:pt x="13812" y="813"/>
                </a:cubicBezTo>
                <a:close/>
                <a:moveTo>
                  <a:pt x="5312" y="3688"/>
                </a:moveTo>
                <a:cubicBezTo>
                  <a:pt x="5344" y="3719"/>
                  <a:pt x="5375" y="3750"/>
                  <a:pt x="5375" y="3781"/>
                </a:cubicBezTo>
                <a:cubicBezTo>
                  <a:pt x="5437" y="3781"/>
                  <a:pt x="5469" y="3781"/>
                  <a:pt x="5500" y="3813"/>
                </a:cubicBezTo>
                <a:cubicBezTo>
                  <a:pt x="5500" y="3813"/>
                  <a:pt x="5531" y="3844"/>
                  <a:pt x="5531" y="3844"/>
                </a:cubicBezTo>
                <a:cubicBezTo>
                  <a:pt x="5687" y="4031"/>
                  <a:pt x="5844" y="4188"/>
                  <a:pt x="6062" y="4281"/>
                </a:cubicBezTo>
                <a:cubicBezTo>
                  <a:pt x="6125" y="4313"/>
                  <a:pt x="6187" y="4281"/>
                  <a:pt x="6219" y="4250"/>
                </a:cubicBezTo>
                <a:cubicBezTo>
                  <a:pt x="6281" y="4219"/>
                  <a:pt x="6187" y="4156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125"/>
                  <a:pt x="6187" y="4125"/>
                  <a:pt x="6187" y="4125"/>
                </a:cubicBezTo>
                <a:cubicBezTo>
                  <a:pt x="6187" y="4094"/>
                  <a:pt x="6156" y="4094"/>
                  <a:pt x="6125" y="4094"/>
                </a:cubicBezTo>
                <a:cubicBezTo>
                  <a:pt x="6125" y="4063"/>
                  <a:pt x="6125" y="4063"/>
                  <a:pt x="6125" y="4063"/>
                </a:cubicBezTo>
                <a:cubicBezTo>
                  <a:pt x="6125" y="4063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125" y="4031"/>
                  <a:pt x="6125" y="4031"/>
                  <a:pt x="6125" y="4031"/>
                </a:cubicBezTo>
                <a:cubicBezTo>
                  <a:pt x="6062" y="4031"/>
                  <a:pt x="6000" y="4000"/>
                  <a:pt x="5969" y="3969"/>
                </a:cubicBezTo>
                <a:cubicBezTo>
                  <a:pt x="5969" y="3938"/>
                  <a:pt x="5969" y="3938"/>
                  <a:pt x="5969" y="3938"/>
                </a:cubicBezTo>
                <a:cubicBezTo>
                  <a:pt x="5969" y="3906"/>
                  <a:pt x="5969" y="3906"/>
                  <a:pt x="5969" y="3906"/>
                </a:cubicBezTo>
                <a:cubicBezTo>
                  <a:pt x="5969" y="3906"/>
                  <a:pt x="5969" y="3875"/>
                  <a:pt x="5969" y="3875"/>
                </a:cubicBezTo>
                <a:cubicBezTo>
                  <a:pt x="5969" y="3875"/>
                  <a:pt x="5969" y="3875"/>
                  <a:pt x="5937" y="3875"/>
                </a:cubicBezTo>
                <a:cubicBezTo>
                  <a:pt x="5937" y="3875"/>
                  <a:pt x="5937" y="3875"/>
                  <a:pt x="5969" y="3875"/>
                </a:cubicBezTo>
                <a:cubicBezTo>
                  <a:pt x="5812" y="3813"/>
                  <a:pt x="5687" y="3719"/>
                  <a:pt x="5531" y="3656"/>
                </a:cubicBezTo>
                <a:cubicBezTo>
                  <a:pt x="5500" y="3625"/>
                  <a:pt x="5437" y="3625"/>
                  <a:pt x="5406" y="3594"/>
                </a:cubicBezTo>
                <a:cubicBezTo>
                  <a:pt x="5344" y="3563"/>
                  <a:pt x="5312" y="3531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281" y="3469"/>
                  <a:pt x="5250" y="3438"/>
                  <a:pt x="5250" y="3438"/>
                </a:cubicBezTo>
                <a:cubicBezTo>
                  <a:pt x="5250" y="3438"/>
                  <a:pt x="5250" y="3406"/>
                  <a:pt x="5219" y="3406"/>
                </a:cubicBezTo>
                <a:cubicBezTo>
                  <a:pt x="5219" y="3406"/>
                  <a:pt x="5219" y="3406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44"/>
                  <a:pt x="5187" y="3344"/>
                  <a:pt x="5187" y="3344"/>
                </a:cubicBezTo>
                <a:cubicBezTo>
                  <a:pt x="5187" y="3344"/>
                  <a:pt x="5187" y="3313"/>
                  <a:pt x="5187" y="3313"/>
                </a:cubicBezTo>
                <a:cubicBezTo>
                  <a:pt x="5187" y="3313"/>
                  <a:pt x="5219" y="3344"/>
                  <a:pt x="5219" y="3344"/>
                </a:cubicBezTo>
                <a:cubicBezTo>
                  <a:pt x="5219" y="3344"/>
                  <a:pt x="5219" y="3344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19" y="3375"/>
                  <a:pt x="5219" y="3375"/>
                  <a:pt x="5219" y="3375"/>
                </a:cubicBezTo>
                <a:cubicBezTo>
                  <a:pt x="5250" y="3375"/>
                  <a:pt x="5250" y="3375"/>
                  <a:pt x="5281" y="3406"/>
                </a:cubicBezTo>
                <a:cubicBezTo>
                  <a:pt x="5281" y="3406"/>
                  <a:pt x="5312" y="3438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12" y="3469"/>
                  <a:pt x="5312" y="3469"/>
                  <a:pt x="5312" y="3469"/>
                </a:cubicBezTo>
                <a:cubicBezTo>
                  <a:pt x="5344" y="3500"/>
                  <a:pt x="5406" y="3500"/>
                  <a:pt x="5469" y="3531"/>
                </a:cubicBezTo>
                <a:cubicBezTo>
                  <a:pt x="5500" y="3563"/>
                  <a:pt x="5531" y="3594"/>
                  <a:pt x="5562" y="3625"/>
                </a:cubicBezTo>
                <a:cubicBezTo>
                  <a:pt x="5562" y="3625"/>
                  <a:pt x="5562" y="3625"/>
                  <a:pt x="5562" y="3625"/>
                </a:cubicBezTo>
                <a:cubicBezTo>
                  <a:pt x="5594" y="3625"/>
                  <a:pt x="5625" y="3625"/>
                  <a:pt x="5656" y="3625"/>
                </a:cubicBezTo>
                <a:cubicBezTo>
                  <a:pt x="5687" y="3625"/>
                  <a:pt x="5687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625"/>
                  <a:pt x="5719" y="3625"/>
                  <a:pt x="5719" y="3625"/>
                </a:cubicBezTo>
                <a:cubicBezTo>
                  <a:pt x="5719" y="3594"/>
                  <a:pt x="5656" y="3563"/>
                  <a:pt x="5719" y="3563"/>
                </a:cubicBezTo>
                <a:cubicBezTo>
                  <a:pt x="5750" y="3563"/>
                  <a:pt x="5750" y="3563"/>
                  <a:pt x="5750" y="3563"/>
                </a:cubicBezTo>
                <a:cubicBezTo>
                  <a:pt x="5750" y="3594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750" y="3625"/>
                  <a:pt x="5750" y="3625"/>
                  <a:pt x="5750" y="3625"/>
                </a:cubicBezTo>
                <a:cubicBezTo>
                  <a:pt x="5812" y="3750"/>
                  <a:pt x="5937" y="3750"/>
                  <a:pt x="6031" y="3781"/>
                </a:cubicBezTo>
                <a:cubicBezTo>
                  <a:pt x="6062" y="3813"/>
                  <a:pt x="6094" y="3813"/>
                  <a:pt x="6156" y="3844"/>
                </a:cubicBezTo>
                <a:cubicBezTo>
                  <a:pt x="6156" y="3844"/>
                  <a:pt x="6187" y="3844"/>
                  <a:pt x="6187" y="3813"/>
                </a:cubicBezTo>
                <a:cubicBezTo>
                  <a:pt x="6187" y="3813"/>
                  <a:pt x="6187" y="3781"/>
                  <a:pt x="6156" y="3781"/>
                </a:cubicBezTo>
                <a:cubicBezTo>
                  <a:pt x="6000" y="3688"/>
                  <a:pt x="5875" y="3563"/>
                  <a:pt x="5687" y="3469"/>
                </a:cubicBezTo>
                <a:cubicBezTo>
                  <a:pt x="5469" y="3313"/>
                  <a:pt x="5250" y="3156"/>
                  <a:pt x="5062" y="2938"/>
                </a:cubicBezTo>
                <a:cubicBezTo>
                  <a:pt x="5062" y="2906"/>
                  <a:pt x="5062" y="2906"/>
                  <a:pt x="5062" y="2906"/>
                </a:cubicBezTo>
                <a:cubicBezTo>
                  <a:pt x="5062" y="2906"/>
                  <a:pt x="5062" y="2875"/>
                  <a:pt x="5062" y="2875"/>
                </a:cubicBezTo>
                <a:cubicBezTo>
                  <a:pt x="5031" y="2875"/>
                  <a:pt x="5031" y="2875"/>
                  <a:pt x="5031" y="2844"/>
                </a:cubicBezTo>
                <a:cubicBezTo>
                  <a:pt x="5000" y="2844"/>
                  <a:pt x="5000" y="2844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00" y="2813"/>
                  <a:pt x="5000" y="2813"/>
                  <a:pt x="5000" y="2813"/>
                </a:cubicBezTo>
                <a:cubicBezTo>
                  <a:pt x="5031" y="2813"/>
                  <a:pt x="5062" y="2844"/>
                  <a:pt x="5062" y="2875"/>
                </a:cubicBezTo>
                <a:cubicBezTo>
                  <a:pt x="5125" y="2906"/>
                  <a:pt x="5156" y="2938"/>
                  <a:pt x="5219" y="2969"/>
                </a:cubicBezTo>
                <a:cubicBezTo>
                  <a:pt x="5219" y="2969"/>
                  <a:pt x="5219" y="2969"/>
                  <a:pt x="5219" y="2938"/>
                </a:cubicBezTo>
                <a:cubicBezTo>
                  <a:pt x="5219" y="2906"/>
                  <a:pt x="5187" y="2844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56" y="2781"/>
                  <a:pt x="5156" y="2781"/>
                  <a:pt x="5156" y="2781"/>
                </a:cubicBezTo>
                <a:cubicBezTo>
                  <a:pt x="5187" y="2781"/>
                  <a:pt x="5219" y="2781"/>
                  <a:pt x="5250" y="2813"/>
                </a:cubicBezTo>
                <a:cubicBezTo>
                  <a:pt x="5250" y="2813"/>
                  <a:pt x="5281" y="2813"/>
                  <a:pt x="5312" y="2813"/>
                </a:cubicBezTo>
                <a:cubicBezTo>
                  <a:pt x="5312" y="2813"/>
                  <a:pt x="5312" y="2813"/>
                  <a:pt x="5312" y="2813"/>
                </a:cubicBezTo>
                <a:cubicBezTo>
                  <a:pt x="5312" y="2750"/>
                  <a:pt x="5219" y="2719"/>
                  <a:pt x="5219" y="2656"/>
                </a:cubicBezTo>
                <a:cubicBezTo>
                  <a:pt x="5187" y="2656"/>
                  <a:pt x="5156" y="2625"/>
                  <a:pt x="5156" y="2563"/>
                </a:cubicBezTo>
                <a:cubicBezTo>
                  <a:pt x="5156" y="2563"/>
                  <a:pt x="5156" y="2563"/>
                  <a:pt x="5156" y="2563"/>
                </a:cubicBezTo>
                <a:cubicBezTo>
                  <a:pt x="5219" y="2563"/>
                  <a:pt x="5219" y="2625"/>
                  <a:pt x="5219" y="2656"/>
                </a:cubicBezTo>
                <a:cubicBezTo>
                  <a:pt x="5219" y="2656"/>
                  <a:pt x="5219" y="2656"/>
                  <a:pt x="5219" y="2656"/>
                </a:cubicBezTo>
                <a:cubicBezTo>
                  <a:pt x="5250" y="2656"/>
                  <a:pt x="5250" y="2656"/>
                  <a:pt x="5250" y="2656"/>
                </a:cubicBezTo>
                <a:cubicBezTo>
                  <a:pt x="5312" y="2656"/>
                  <a:pt x="5344" y="2781"/>
                  <a:pt x="5406" y="2688"/>
                </a:cubicBezTo>
                <a:cubicBezTo>
                  <a:pt x="5437" y="2625"/>
                  <a:pt x="5344" y="2531"/>
                  <a:pt x="5312" y="2531"/>
                </a:cubicBezTo>
                <a:cubicBezTo>
                  <a:pt x="5250" y="2500"/>
                  <a:pt x="5219" y="2469"/>
                  <a:pt x="5187" y="2406"/>
                </a:cubicBezTo>
                <a:cubicBezTo>
                  <a:pt x="5094" y="2281"/>
                  <a:pt x="5000" y="2125"/>
                  <a:pt x="4844" y="2031"/>
                </a:cubicBezTo>
                <a:cubicBezTo>
                  <a:pt x="4906" y="2000"/>
                  <a:pt x="4906" y="2000"/>
                  <a:pt x="4937" y="2031"/>
                </a:cubicBezTo>
                <a:cubicBezTo>
                  <a:pt x="5000" y="2094"/>
                  <a:pt x="5094" y="2156"/>
                  <a:pt x="5156" y="2250"/>
                </a:cubicBezTo>
                <a:cubicBezTo>
                  <a:pt x="5219" y="2344"/>
                  <a:pt x="5375" y="2313"/>
                  <a:pt x="5437" y="2438"/>
                </a:cubicBezTo>
                <a:cubicBezTo>
                  <a:pt x="5437" y="2469"/>
                  <a:pt x="5469" y="2469"/>
                  <a:pt x="5500" y="2438"/>
                </a:cubicBezTo>
                <a:cubicBezTo>
                  <a:pt x="5500" y="2438"/>
                  <a:pt x="5500" y="2406"/>
                  <a:pt x="5500" y="2406"/>
                </a:cubicBezTo>
                <a:cubicBezTo>
                  <a:pt x="5469" y="2344"/>
                  <a:pt x="5406" y="2313"/>
                  <a:pt x="5406" y="2281"/>
                </a:cubicBezTo>
                <a:cubicBezTo>
                  <a:pt x="5375" y="2250"/>
                  <a:pt x="5312" y="2219"/>
                  <a:pt x="5312" y="2156"/>
                </a:cubicBezTo>
                <a:cubicBezTo>
                  <a:pt x="5406" y="2219"/>
                  <a:pt x="5531" y="2250"/>
                  <a:pt x="5625" y="2281"/>
                </a:cubicBezTo>
                <a:cubicBezTo>
                  <a:pt x="5750" y="2344"/>
                  <a:pt x="5844" y="2469"/>
                  <a:pt x="5937" y="2531"/>
                </a:cubicBezTo>
                <a:cubicBezTo>
                  <a:pt x="5969" y="2563"/>
                  <a:pt x="6031" y="2563"/>
                  <a:pt x="5937" y="2594"/>
                </a:cubicBezTo>
                <a:cubicBezTo>
                  <a:pt x="5875" y="2625"/>
                  <a:pt x="5969" y="2656"/>
                  <a:pt x="5937" y="2688"/>
                </a:cubicBezTo>
                <a:cubicBezTo>
                  <a:pt x="5812" y="2844"/>
                  <a:pt x="6000" y="2844"/>
                  <a:pt x="6062" y="2906"/>
                </a:cubicBezTo>
                <a:cubicBezTo>
                  <a:pt x="6094" y="2938"/>
                  <a:pt x="6125" y="2938"/>
                  <a:pt x="6125" y="2969"/>
                </a:cubicBezTo>
                <a:cubicBezTo>
                  <a:pt x="6125" y="3031"/>
                  <a:pt x="6062" y="2969"/>
                  <a:pt x="6031" y="3031"/>
                </a:cubicBezTo>
                <a:cubicBezTo>
                  <a:pt x="6062" y="3063"/>
                  <a:pt x="6094" y="3094"/>
                  <a:pt x="6125" y="3094"/>
                </a:cubicBezTo>
                <a:cubicBezTo>
                  <a:pt x="6187" y="3125"/>
                  <a:pt x="6281" y="3125"/>
                  <a:pt x="6375" y="3125"/>
                </a:cubicBezTo>
                <a:cubicBezTo>
                  <a:pt x="6375" y="3125"/>
                  <a:pt x="6375" y="3125"/>
                  <a:pt x="6375" y="3125"/>
                </a:cubicBezTo>
                <a:cubicBezTo>
                  <a:pt x="6375" y="3094"/>
                  <a:pt x="6375" y="3063"/>
                  <a:pt x="6437" y="3094"/>
                </a:cubicBezTo>
                <a:cubicBezTo>
                  <a:pt x="6500" y="3125"/>
                  <a:pt x="6594" y="3156"/>
                  <a:pt x="6687" y="3219"/>
                </a:cubicBezTo>
                <a:cubicBezTo>
                  <a:pt x="6812" y="3344"/>
                  <a:pt x="6969" y="3406"/>
                  <a:pt x="7125" y="3406"/>
                </a:cubicBezTo>
                <a:cubicBezTo>
                  <a:pt x="7187" y="3375"/>
                  <a:pt x="7219" y="3438"/>
                  <a:pt x="7281" y="3406"/>
                </a:cubicBezTo>
                <a:cubicBezTo>
                  <a:pt x="7219" y="3344"/>
                  <a:pt x="7187" y="3313"/>
                  <a:pt x="7094" y="3313"/>
                </a:cubicBezTo>
                <a:cubicBezTo>
                  <a:pt x="7031" y="3313"/>
                  <a:pt x="7000" y="3313"/>
                  <a:pt x="7000" y="3250"/>
                </a:cubicBezTo>
                <a:cubicBezTo>
                  <a:pt x="6906" y="3219"/>
                  <a:pt x="6812" y="3250"/>
                  <a:pt x="6781" y="3156"/>
                </a:cubicBezTo>
                <a:cubicBezTo>
                  <a:pt x="6781" y="3156"/>
                  <a:pt x="6781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56"/>
                  <a:pt x="6750" y="3156"/>
                  <a:pt x="6750" y="3156"/>
                </a:cubicBezTo>
                <a:cubicBezTo>
                  <a:pt x="6750" y="3125"/>
                  <a:pt x="6687" y="3125"/>
                  <a:pt x="6687" y="3063"/>
                </a:cubicBezTo>
                <a:cubicBezTo>
                  <a:pt x="6719" y="3063"/>
                  <a:pt x="6719" y="3063"/>
                  <a:pt x="6750" y="3094"/>
                </a:cubicBezTo>
                <a:cubicBezTo>
                  <a:pt x="6750" y="3094"/>
                  <a:pt x="6750" y="3125"/>
                  <a:pt x="6750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781" y="3156"/>
                  <a:pt x="6781" y="3156"/>
                  <a:pt x="6781" y="3156"/>
                </a:cubicBezTo>
                <a:cubicBezTo>
                  <a:pt x="6812" y="3156"/>
                  <a:pt x="6875" y="3125"/>
                  <a:pt x="6906" y="3156"/>
                </a:cubicBezTo>
                <a:cubicBezTo>
                  <a:pt x="6937" y="3156"/>
                  <a:pt x="7000" y="3188"/>
                  <a:pt x="7031" y="3219"/>
                </a:cubicBezTo>
                <a:cubicBezTo>
                  <a:pt x="7031" y="3219"/>
                  <a:pt x="7031" y="3219"/>
                  <a:pt x="7031" y="3219"/>
                </a:cubicBezTo>
                <a:cubicBezTo>
                  <a:pt x="7125" y="3219"/>
                  <a:pt x="7219" y="3281"/>
                  <a:pt x="7281" y="3313"/>
                </a:cubicBezTo>
                <a:cubicBezTo>
                  <a:pt x="7312" y="3313"/>
                  <a:pt x="7344" y="3344"/>
                  <a:pt x="7344" y="3344"/>
                </a:cubicBezTo>
                <a:cubicBezTo>
                  <a:pt x="7375" y="3344"/>
                  <a:pt x="7375" y="3344"/>
                  <a:pt x="7375" y="3344"/>
                </a:cubicBezTo>
                <a:cubicBezTo>
                  <a:pt x="7375" y="3344"/>
                  <a:pt x="7375" y="3344"/>
                  <a:pt x="7375" y="3375"/>
                </a:cubicBezTo>
                <a:cubicBezTo>
                  <a:pt x="7406" y="3344"/>
                  <a:pt x="7406" y="3313"/>
                  <a:pt x="7437" y="3313"/>
                </a:cubicBezTo>
                <a:cubicBezTo>
                  <a:pt x="7469" y="3344"/>
                  <a:pt x="7500" y="3375"/>
                  <a:pt x="7531" y="3375"/>
                </a:cubicBezTo>
                <a:cubicBezTo>
                  <a:pt x="7594" y="3375"/>
                  <a:pt x="7625" y="3406"/>
                  <a:pt x="7656" y="3406"/>
                </a:cubicBezTo>
                <a:cubicBezTo>
                  <a:pt x="7687" y="3438"/>
                  <a:pt x="7687" y="3469"/>
                  <a:pt x="7656" y="3563"/>
                </a:cubicBezTo>
                <a:cubicBezTo>
                  <a:pt x="7719" y="3563"/>
                  <a:pt x="7750" y="3563"/>
                  <a:pt x="7781" y="3594"/>
                </a:cubicBezTo>
                <a:cubicBezTo>
                  <a:pt x="7875" y="3688"/>
                  <a:pt x="7875" y="3688"/>
                  <a:pt x="7906" y="3563"/>
                </a:cubicBezTo>
                <a:cubicBezTo>
                  <a:pt x="7937" y="3531"/>
                  <a:pt x="8000" y="3531"/>
                  <a:pt x="8000" y="3563"/>
                </a:cubicBezTo>
                <a:cubicBezTo>
                  <a:pt x="8125" y="3656"/>
                  <a:pt x="8281" y="3625"/>
                  <a:pt x="8406" y="3656"/>
                </a:cubicBezTo>
                <a:cubicBezTo>
                  <a:pt x="8531" y="3719"/>
                  <a:pt x="8625" y="3719"/>
                  <a:pt x="8719" y="3781"/>
                </a:cubicBezTo>
                <a:cubicBezTo>
                  <a:pt x="8750" y="3781"/>
                  <a:pt x="8781" y="3813"/>
                  <a:pt x="8812" y="3781"/>
                </a:cubicBezTo>
                <a:cubicBezTo>
                  <a:pt x="8844" y="3750"/>
                  <a:pt x="8812" y="3719"/>
                  <a:pt x="8781" y="3688"/>
                </a:cubicBezTo>
                <a:cubicBezTo>
                  <a:pt x="8750" y="3656"/>
                  <a:pt x="8687" y="3594"/>
                  <a:pt x="8656" y="3531"/>
                </a:cubicBezTo>
                <a:cubicBezTo>
                  <a:pt x="8719" y="3531"/>
                  <a:pt x="8750" y="3563"/>
                  <a:pt x="8781" y="3594"/>
                </a:cubicBezTo>
                <a:cubicBezTo>
                  <a:pt x="8812" y="3625"/>
                  <a:pt x="8875" y="3719"/>
                  <a:pt x="8906" y="3563"/>
                </a:cubicBezTo>
                <a:cubicBezTo>
                  <a:pt x="8906" y="3531"/>
                  <a:pt x="8937" y="3563"/>
                  <a:pt x="8937" y="3563"/>
                </a:cubicBezTo>
                <a:cubicBezTo>
                  <a:pt x="8969" y="3594"/>
                  <a:pt x="8969" y="3594"/>
                  <a:pt x="9000" y="3625"/>
                </a:cubicBezTo>
                <a:cubicBezTo>
                  <a:pt x="9031" y="3656"/>
                  <a:pt x="9125" y="3625"/>
                  <a:pt x="9156" y="3594"/>
                </a:cubicBezTo>
                <a:cubicBezTo>
                  <a:pt x="9187" y="3563"/>
                  <a:pt x="9125" y="3531"/>
                  <a:pt x="9094" y="3500"/>
                </a:cubicBezTo>
                <a:cubicBezTo>
                  <a:pt x="9062" y="3469"/>
                  <a:pt x="9031" y="3469"/>
                  <a:pt x="9000" y="3438"/>
                </a:cubicBezTo>
                <a:cubicBezTo>
                  <a:pt x="8969" y="3406"/>
                  <a:pt x="8875" y="3406"/>
                  <a:pt x="8969" y="3344"/>
                </a:cubicBezTo>
                <a:cubicBezTo>
                  <a:pt x="9000" y="3313"/>
                  <a:pt x="8969" y="3250"/>
                  <a:pt x="8937" y="3250"/>
                </a:cubicBezTo>
                <a:cubicBezTo>
                  <a:pt x="8875" y="3219"/>
                  <a:pt x="8812" y="3188"/>
                  <a:pt x="8750" y="3250"/>
                </a:cubicBezTo>
                <a:cubicBezTo>
                  <a:pt x="8719" y="3313"/>
                  <a:pt x="8656" y="3313"/>
                  <a:pt x="8594" y="3250"/>
                </a:cubicBezTo>
                <a:cubicBezTo>
                  <a:pt x="8656" y="3281"/>
                  <a:pt x="8719" y="3281"/>
                  <a:pt x="8719" y="3188"/>
                </a:cubicBezTo>
                <a:cubicBezTo>
                  <a:pt x="8719" y="3188"/>
                  <a:pt x="8719" y="3156"/>
                  <a:pt x="8750" y="3156"/>
                </a:cubicBezTo>
                <a:cubicBezTo>
                  <a:pt x="8844" y="3219"/>
                  <a:pt x="9000" y="3156"/>
                  <a:pt x="9031" y="3250"/>
                </a:cubicBezTo>
                <a:cubicBezTo>
                  <a:pt x="9094" y="3406"/>
                  <a:pt x="9219" y="3406"/>
                  <a:pt x="9344" y="3469"/>
                </a:cubicBezTo>
                <a:cubicBezTo>
                  <a:pt x="9406" y="3531"/>
                  <a:pt x="9437" y="3500"/>
                  <a:pt x="9469" y="3406"/>
                </a:cubicBezTo>
                <a:cubicBezTo>
                  <a:pt x="9500" y="3438"/>
                  <a:pt x="9500" y="3500"/>
                  <a:pt x="9531" y="3531"/>
                </a:cubicBezTo>
                <a:cubicBezTo>
                  <a:pt x="9562" y="3594"/>
                  <a:pt x="9625" y="3594"/>
                  <a:pt x="9656" y="3531"/>
                </a:cubicBezTo>
                <a:cubicBezTo>
                  <a:pt x="9687" y="3500"/>
                  <a:pt x="9719" y="3469"/>
                  <a:pt x="9750" y="3531"/>
                </a:cubicBezTo>
                <a:cubicBezTo>
                  <a:pt x="9781" y="3563"/>
                  <a:pt x="9781" y="3531"/>
                  <a:pt x="9812" y="3531"/>
                </a:cubicBezTo>
                <a:cubicBezTo>
                  <a:pt x="9844" y="3469"/>
                  <a:pt x="9844" y="3438"/>
                  <a:pt x="9812" y="3406"/>
                </a:cubicBezTo>
                <a:cubicBezTo>
                  <a:pt x="9781" y="3344"/>
                  <a:pt x="9687" y="3344"/>
                  <a:pt x="9719" y="3250"/>
                </a:cubicBezTo>
                <a:cubicBezTo>
                  <a:pt x="9750" y="3219"/>
                  <a:pt x="9687" y="3188"/>
                  <a:pt x="9656" y="3219"/>
                </a:cubicBezTo>
                <a:cubicBezTo>
                  <a:pt x="9594" y="3281"/>
                  <a:pt x="9531" y="3281"/>
                  <a:pt x="9469" y="3281"/>
                </a:cubicBezTo>
                <a:cubicBezTo>
                  <a:pt x="9437" y="3281"/>
                  <a:pt x="9437" y="3344"/>
                  <a:pt x="9406" y="3313"/>
                </a:cubicBezTo>
                <a:cubicBezTo>
                  <a:pt x="9406" y="3313"/>
                  <a:pt x="9375" y="3281"/>
                  <a:pt x="9406" y="3250"/>
                </a:cubicBezTo>
                <a:cubicBezTo>
                  <a:pt x="9469" y="3156"/>
                  <a:pt x="9375" y="3156"/>
                  <a:pt x="9344" y="3156"/>
                </a:cubicBezTo>
                <a:cubicBezTo>
                  <a:pt x="9250" y="3125"/>
                  <a:pt x="9156" y="3156"/>
                  <a:pt x="9125" y="3063"/>
                </a:cubicBezTo>
                <a:cubicBezTo>
                  <a:pt x="9094" y="3063"/>
                  <a:pt x="9094" y="3063"/>
                  <a:pt x="9062" y="3063"/>
                </a:cubicBezTo>
                <a:cubicBezTo>
                  <a:pt x="9031" y="3063"/>
                  <a:pt x="9000" y="3063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875" y="3031"/>
                  <a:pt x="8812" y="3000"/>
                  <a:pt x="8781" y="2938"/>
                </a:cubicBezTo>
                <a:cubicBezTo>
                  <a:pt x="8781" y="2938"/>
                  <a:pt x="8750" y="2906"/>
                  <a:pt x="8750" y="2906"/>
                </a:cubicBezTo>
                <a:cubicBezTo>
                  <a:pt x="8781" y="2906"/>
                  <a:pt x="8812" y="2938"/>
                  <a:pt x="8844" y="2938"/>
                </a:cubicBezTo>
                <a:cubicBezTo>
                  <a:pt x="8906" y="2969"/>
                  <a:pt x="8937" y="2969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8969" y="3031"/>
                  <a:pt x="8969" y="3031"/>
                  <a:pt x="8969" y="3031"/>
                </a:cubicBezTo>
                <a:cubicBezTo>
                  <a:pt x="9031" y="3031"/>
                  <a:pt x="9062" y="3031"/>
                  <a:pt x="9125" y="3063"/>
                </a:cubicBezTo>
                <a:cubicBezTo>
                  <a:pt x="9125" y="3063"/>
                  <a:pt x="9125" y="3063"/>
                  <a:pt x="9125" y="3063"/>
                </a:cubicBezTo>
                <a:cubicBezTo>
                  <a:pt x="9156" y="3063"/>
                  <a:pt x="9219" y="3063"/>
                  <a:pt x="9250" y="3031"/>
                </a:cubicBezTo>
                <a:cubicBezTo>
                  <a:pt x="9250" y="3031"/>
                  <a:pt x="9250" y="3031"/>
                  <a:pt x="9281" y="3031"/>
                </a:cubicBezTo>
                <a:cubicBezTo>
                  <a:pt x="9281" y="2969"/>
                  <a:pt x="9344" y="3000"/>
                  <a:pt x="9375" y="3031"/>
                </a:cubicBezTo>
                <a:cubicBezTo>
                  <a:pt x="9406" y="3094"/>
                  <a:pt x="9469" y="3125"/>
                  <a:pt x="9531" y="3125"/>
                </a:cubicBezTo>
                <a:cubicBezTo>
                  <a:pt x="9594" y="3125"/>
                  <a:pt x="9656" y="3156"/>
                  <a:pt x="9625" y="3063"/>
                </a:cubicBezTo>
                <a:cubicBezTo>
                  <a:pt x="9625" y="3031"/>
                  <a:pt x="9625" y="3031"/>
                  <a:pt x="9656" y="3031"/>
                </a:cubicBezTo>
                <a:cubicBezTo>
                  <a:pt x="9687" y="3031"/>
                  <a:pt x="9750" y="3063"/>
                  <a:pt x="9719" y="3000"/>
                </a:cubicBezTo>
                <a:cubicBezTo>
                  <a:pt x="9719" y="2938"/>
                  <a:pt x="9656" y="2906"/>
                  <a:pt x="9594" y="2906"/>
                </a:cubicBezTo>
                <a:cubicBezTo>
                  <a:pt x="9469" y="2875"/>
                  <a:pt x="9375" y="2781"/>
                  <a:pt x="9375" y="2656"/>
                </a:cubicBezTo>
                <a:cubicBezTo>
                  <a:pt x="9312" y="2625"/>
                  <a:pt x="9281" y="2594"/>
                  <a:pt x="9219" y="2531"/>
                </a:cubicBezTo>
                <a:cubicBezTo>
                  <a:pt x="9219" y="2500"/>
                  <a:pt x="9187" y="2500"/>
                  <a:pt x="9187" y="2469"/>
                </a:cubicBezTo>
                <a:cubicBezTo>
                  <a:pt x="9187" y="2625"/>
                  <a:pt x="9250" y="2656"/>
                  <a:pt x="9375" y="2656"/>
                </a:cubicBezTo>
                <a:cubicBezTo>
                  <a:pt x="9406" y="2625"/>
                  <a:pt x="9375" y="2563"/>
                  <a:pt x="9375" y="2531"/>
                </a:cubicBezTo>
                <a:cubicBezTo>
                  <a:pt x="9375" y="2531"/>
                  <a:pt x="9375" y="2500"/>
                  <a:pt x="9375" y="2500"/>
                </a:cubicBezTo>
                <a:cubicBezTo>
                  <a:pt x="9281" y="2500"/>
                  <a:pt x="9250" y="2406"/>
                  <a:pt x="9219" y="2375"/>
                </a:cubicBezTo>
                <a:cubicBezTo>
                  <a:pt x="9219" y="2375"/>
                  <a:pt x="9250" y="2375"/>
                  <a:pt x="9281" y="2375"/>
                </a:cubicBezTo>
                <a:cubicBezTo>
                  <a:pt x="9281" y="2375"/>
                  <a:pt x="9281" y="2375"/>
                  <a:pt x="9281" y="2375"/>
                </a:cubicBezTo>
                <a:cubicBezTo>
                  <a:pt x="9312" y="2375"/>
                  <a:pt x="9312" y="2375"/>
                  <a:pt x="9344" y="2406"/>
                </a:cubicBezTo>
                <a:cubicBezTo>
                  <a:pt x="9375" y="2406"/>
                  <a:pt x="9375" y="2438"/>
                  <a:pt x="9375" y="2500"/>
                </a:cubicBezTo>
                <a:cubicBezTo>
                  <a:pt x="9469" y="2625"/>
                  <a:pt x="9594" y="2719"/>
                  <a:pt x="9719" y="2813"/>
                </a:cubicBezTo>
                <a:cubicBezTo>
                  <a:pt x="9781" y="2875"/>
                  <a:pt x="9875" y="2906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37" y="2969"/>
                  <a:pt x="9937" y="2969"/>
                  <a:pt x="9937" y="2969"/>
                </a:cubicBezTo>
                <a:cubicBezTo>
                  <a:pt x="9969" y="2969"/>
                  <a:pt x="10000" y="3000"/>
                  <a:pt x="10031" y="3031"/>
                </a:cubicBezTo>
                <a:cubicBezTo>
                  <a:pt x="10062" y="3031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094" y="3063"/>
                  <a:pt x="10094" y="3063"/>
                </a:cubicBezTo>
                <a:cubicBezTo>
                  <a:pt x="10094" y="3063"/>
                  <a:pt x="10125" y="3063"/>
                  <a:pt x="10125" y="3063"/>
                </a:cubicBezTo>
                <a:cubicBezTo>
                  <a:pt x="10156" y="3063"/>
                  <a:pt x="10156" y="3063"/>
                  <a:pt x="10156" y="3031"/>
                </a:cubicBezTo>
                <a:cubicBezTo>
                  <a:pt x="10187" y="3031"/>
                  <a:pt x="10187" y="3031"/>
                  <a:pt x="10156" y="3000"/>
                </a:cubicBezTo>
                <a:cubicBezTo>
                  <a:pt x="10031" y="2906"/>
                  <a:pt x="10156" y="2813"/>
                  <a:pt x="10156" y="2719"/>
                </a:cubicBezTo>
                <a:cubicBezTo>
                  <a:pt x="10187" y="2844"/>
                  <a:pt x="10187" y="2938"/>
                  <a:pt x="10250" y="3063"/>
                </a:cubicBezTo>
                <a:cubicBezTo>
                  <a:pt x="10344" y="3000"/>
                  <a:pt x="10406" y="2938"/>
                  <a:pt x="10406" y="2813"/>
                </a:cubicBezTo>
                <a:cubicBezTo>
                  <a:pt x="10469" y="2875"/>
                  <a:pt x="10500" y="2938"/>
                  <a:pt x="10406" y="3000"/>
                </a:cubicBezTo>
                <a:cubicBezTo>
                  <a:pt x="10375" y="3031"/>
                  <a:pt x="10375" y="3094"/>
                  <a:pt x="10406" y="3125"/>
                </a:cubicBezTo>
                <a:cubicBezTo>
                  <a:pt x="10406" y="3156"/>
                  <a:pt x="10437" y="3156"/>
                  <a:pt x="10469" y="3156"/>
                </a:cubicBezTo>
                <a:cubicBezTo>
                  <a:pt x="10500" y="3094"/>
                  <a:pt x="10625" y="3094"/>
                  <a:pt x="10594" y="3031"/>
                </a:cubicBezTo>
                <a:cubicBezTo>
                  <a:pt x="10594" y="2938"/>
                  <a:pt x="10625" y="2875"/>
                  <a:pt x="10656" y="2813"/>
                </a:cubicBezTo>
                <a:cubicBezTo>
                  <a:pt x="10625" y="2813"/>
                  <a:pt x="10625" y="2813"/>
                  <a:pt x="10625" y="2813"/>
                </a:cubicBezTo>
                <a:cubicBezTo>
                  <a:pt x="10594" y="2688"/>
                  <a:pt x="10562" y="2594"/>
                  <a:pt x="10531" y="2500"/>
                </a:cubicBezTo>
                <a:cubicBezTo>
                  <a:pt x="10594" y="2531"/>
                  <a:pt x="10625" y="2563"/>
                  <a:pt x="10625" y="2625"/>
                </a:cubicBezTo>
                <a:cubicBezTo>
                  <a:pt x="10656" y="2656"/>
                  <a:pt x="10656" y="2688"/>
                  <a:pt x="10656" y="2719"/>
                </a:cubicBezTo>
                <a:cubicBezTo>
                  <a:pt x="10656" y="2719"/>
                  <a:pt x="10656" y="2719"/>
                  <a:pt x="10656" y="2719"/>
                </a:cubicBezTo>
                <a:cubicBezTo>
                  <a:pt x="10656" y="2750"/>
                  <a:pt x="10656" y="2781"/>
                  <a:pt x="10656" y="2813"/>
                </a:cubicBezTo>
                <a:cubicBezTo>
                  <a:pt x="10656" y="2844"/>
                  <a:pt x="10656" y="2844"/>
                  <a:pt x="10656" y="2875"/>
                </a:cubicBezTo>
                <a:cubicBezTo>
                  <a:pt x="10687" y="2875"/>
                  <a:pt x="10687" y="2906"/>
                  <a:pt x="10687" y="2906"/>
                </a:cubicBezTo>
                <a:cubicBezTo>
                  <a:pt x="10719" y="2938"/>
                  <a:pt x="10719" y="2938"/>
                  <a:pt x="10750" y="2969"/>
                </a:cubicBezTo>
                <a:cubicBezTo>
                  <a:pt x="10750" y="3000"/>
                  <a:pt x="10781" y="3031"/>
                  <a:pt x="10812" y="3031"/>
                </a:cubicBezTo>
                <a:cubicBezTo>
                  <a:pt x="10906" y="2969"/>
                  <a:pt x="10875" y="2844"/>
                  <a:pt x="10937" y="2750"/>
                </a:cubicBezTo>
                <a:cubicBezTo>
                  <a:pt x="10969" y="2844"/>
                  <a:pt x="10937" y="2938"/>
                  <a:pt x="10906" y="3031"/>
                </a:cubicBezTo>
                <a:cubicBezTo>
                  <a:pt x="10875" y="3125"/>
                  <a:pt x="10906" y="3188"/>
                  <a:pt x="10937" y="3281"/>
                </a:cubicBezTo>
                <a:cubicBezTo>
                  <a:pt x="11000" y="3344"/>
                  <a:pt x="11031" y="3375"/>
                  <a:pt x="11062" y="3250"/>
                </a:cubicBezTo>
                <a:cubicBezTo>
                  <a:pt x="11062" y="3250"/>
                  <a:pt x="11062" y="3281"/>
                  <a:pt x="11062" y="3281"/>
                </a:cubicBezTo>
                <a:cubicBezTo>
                  <a:pt x="11062" y="3281"/>
                  <a:pt x="11062" y="3313"/>
                  <a:pt x="11062" y="3313"/>
                </a:cubicBezTo>
                <a:cubicBezTo>
                  <a:pt x="11094" y="3344"/>
                  <a:pt x="11062" y="3375"/>
                  <a:pt x="11094" y="3406"/>
                </a:cubicBezTo>
                <a:cubicBezTo>
                  <a:pt x="11156" y="3375"/>
                  <a:pt x="11219" y="3313"/>
                  <a:pt x="11281" y="3250"/>
                </a:cubicBezTo>
                <a:cubicBezTo>
                  <a:pt x="11281" y="3250"/>
                  <a:pt x="11312" y="3250"/>
                  <a:pt x="11312" y="3219"/>
                </a:cubicBezTo>
                <a:cubicBezTo>
                  <a:pt x="11312" y="3219"/>
                  <a:pt x="11312" y="3219"/>
                  <a:pt x="11312" y="3219"/>
                </a:cubicBezTo>
                <a:cubicBezTo>
                  <a:pt x="11312" y="3156"/>
                  <a:pt x="11375" y="3094"/>
                  <a:pt x="11312" y="3031"/>
                </a:cubicBezTo>
                <a:cubicBezTo>
                  <a:pt x="11312" y="3000"/>
                  <a:pt x="11312" y="3000"/>
                  <a:pt x="11312" y="3000"/>
                </a:cubicBezTo>
                <a:cubicBezTo>
                  <a:pt x="11437" y="2969"/>
                  <a:pt x="11437" y="2844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781"/>
                  <a:pt x="11562" y="2750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688"/>
                  <a:pt x="11625" y="2688"/>
                  <a:pt x="11625" y="2656"/>
                </a:cubicBezTo>
                <a:cubicBezTo>
                  <a:pt x="11625" y="2688"/>
                  <a:pt x="11625" y="2688"/>
                  <a:pt x="11625" y="2688"/>
                </a:cubicBezTo>
                <a:cubicBezTo>
                  <a:pt x="11594" y="2688"/>
                  <a:pt x="11594" y="2688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62" y="2750"/>
                  <a:pt x="11562" y="2781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31" y="2813"/>
                  <a:pt x="11531" y="2813"/>
                  <a:pt x="11531" y="2813"/>
                </a:cubicBezTo>
                <a:cubicBezTo>
                  <a:pt x="11500" y="2906"/>
                  <a:pt x="11437" y="2969"/>
                  <a:pt x="11437" y="3063"/>
                </a:cubicBezTo>
                <a:cubicBezTo>
                  <a:pt x="11437" y="3063"/>
                  <a:pt x="11437" y="3094"/>
                  <a:pt x="11437" y="3094"/>
                </a:cubicBezTo>
                <a:cubicBezTo>
                  <a:pt x="11437" y="3125"/>
                  <a:pt x="11469" y="3125"/>
                  <a:pt x="11469" y="3156"/>
                </a:cubicBezTo>
                <a:cubicBezTo>
                  <a:pt x="11500" y="3188"/>
                  <a:pt x="11469" y="3250"/>
                  <a:pt x="11531" y="3281"/>
                </a:cubicBezTo>
                <a:cubicBezTo>
                  <a:pt x="11562" y="3281"/>
                  <a:pt x="11562" y="3219"/>
                  <a:pt x="11594" y="3188"/>
                </a:cubicBezTo>
                <a:cubicBezTo>
                  <a:pt x="11625" y="3188"/>
                  <a:pt x="11625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25"/>
                  <a:pt x="11656" y="3125"/>
                  <a:pt x="11656" y="3125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56"/>
                  <a:pt x="11656" y="3156"/>
                  <a:pt x="11656" y="3156"/>
                </a:cubicBezTo>
                <a:cubicBezTo>
                  <a:pt x="11656" y="3188"/>
                  <a:pt x="11656" y="3219"/>
                  <a:pt x="11656" y="3250"/>
                </a:cubicBezTo>
                <a:cubicBezTo>
                  <a:pt x="11656" y="3281"/>
                  <a:pt x="11625" y="3313"/>
                  <a:pt x="11687" y="3313"/>
                </a:cubicBezTo>
                <a:cubicBezTo>
                  <a:pt x="11719" y="3313"/>
                  <a:pt x="11687" y="3281"/>
                  <a:pt x="11719" y="3250"/>
                </a:cubicBezTo>
                <a:cubicBezTo>
                  <a:pt x="11719" y="3188"/>
                  <a:pt x="11750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094"/>
                  <a:pt x="11844" y="3063"/>
                  <a:pt x="11844" y="3000"/>
                </a:cubicBezTo>
                <a:cubicBezTo>
                  <a:pt x="11875" y="3031"/>
                  <a:pt x="11875" y="3063"/>
                  <a:pt x="11875" y="3063"/>
                </a:cubicBezTo>
                <a:cubicBezTo>
                  <a:pt x="11875" y="3094"/>
                  <a:pt x="11875" y="3125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56"/>
                  <a:pt x="11812" y="3156"/>
                  <a:pt x="11812" y="3156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812" y="3188"/>
                  <a:pt x="11812" y="3188"/>
                  <a:pt x="11812" y="3188"/>
                </a:cubicBezTo>
                <a:cubicBezTo>
                  <a:pt x="11719" y="3313"/>
                  <a:pt x="11844" y="3375"/>
                  <a:pt x="11906" y="3469"/>
                </a:cubicBezTo>
                <a:cubicBezTo>
                  <a:pt x="11906" y="3500"/>
                  <a:pt x="11969" y="3500"/>
                  <a:pt x="11937" y="3531"/>
                </a:cubicBezTo>
                <a:cubicBezTo>
                  <a:pt x="11906" y="3563"/>
                  <a:pt x="11875" y="3594"/>
                  <a:pt x="11937" y="3625"/>
                </a:cubicBezTo>
                <a:cubicBezTo>
                  <a:pt x="11969" y="3656"/>
                  <a:pt x="12031" y="3625"/>
                  <a:pt x="12062" y="3563"/>
                </a:cubicBezTo>
                <a:cubicBezTo>
                  <a:pt x="12062" y="3531"/>
                  <a:pt x="12094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00"/>
                  <a:pt x="12125" y="3500"/>
                  <a:pt x="12125" y="3469"/>
                </a:cubicBezTo>
                <a:cubicBezTo>
                  <a:pt x="12156" y="3438"/>
                  <a:pt x="12156" y="3438"/>
                  <a:pt x="12156" y="3406"/>
                </a:cubicBezTo>
                <a:cubicBezTo>
                  <a:pt x="12156" y="3438"/>
                  <a:pt x="12187" y="3438"/>
                  <a:pt x="12156" y="3469"/>
                </a:cubicBezTo>
                <a:cubicBezTo>
                  <a:pt x="12156" y="3500"/>
                  <a:pt x="12156" y="3500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31"/>
                  <a:pt x="12125" y="3531"/>
                  <a:pt x="12125" y="3531"/>
                </a:cubicBezTo>
                <a:cubicBezTo>
                  <a:pt x="12125" y="3563"/>
                  <a:pt x="12125" y="3594"/>
                  <a:pt x="12094" y="3625"/>
                </a:cubicBezTo>
                <a:cubicBezTo>
                  <a:pt x="12094" y="3688"/>
                  <a:pt x="12125" y="3719"/>
                  <a:pt x="12187" y="3719"/>
                </a:cubicBezTo>
                <a:cubicBezTo>
                  <a:pt x="12219" y="3719"/>
                  <a:pt x="12219" y="3656"/>
                  <a:pt x="12219" y="3625"/>
                </a:cubicBezTo>
                <a:cubicBezTo>
                  <a:pt x="12156" y="3563"/>
                  <a:pt x="12250" y="3500"/>
                  <a:pt x="12250" y="3438"/>
                </a:cubicBezTo>
                <a:cubicBezTo>
                  <a:pt x="12281" y="3313"/>
                  <a:pt x="12281" y="3188"/>
                  <a:pt x="12312" y="3063"/>
                </a:cubicBezTo>
                <a:cubicBezTo>
                  <a:pt x="12312" y="3188"/>
                  <a:pt x="12312" y="3281"/>
                  <a:pt x="12344" y="3375"/>
                </a:cubicBezTo>
                <a:cubicBezTo>
                  <a:pt x="12344" y="3438"/>
                  <a:pt x="12344" y="3563"/>
                  <a:pt x="12500" y="3531"/>
                </a:cubicBezTo>
                <a:cubicBezTo>
                  <a:pt x="12531" y="3531"/>
                  <a:pt x="12531" y="3594"/>
                  <a:pt x="12531" y="3625"/>
                </a:cubicBezTo>
                <a:cubicBezTo>
                  <a:pt x="12531" y="3719"/>
                  <a:pt x="12531" y="3813"/>
                  <a:pt x="12531" y="3938"/>
                </a:cubicBezTo>
                <a:cubicBezTo>
                  <a:pt x="12531" y="4031"/>
                  <a:pt x="12594" y="3938"/>
                  <a:pt x="12594" y="3938"/>
                </a:cubicBezTo>
                <a:cubicBezTo>
                  <a:pt x="12625" y="3906"/>
                  <a:pt x="12625" y="3906"/>
                  <a:pt x="12625" y="3875"/>
                </a:cubicBezTo>
                <a:cubicBezTo>
                  <a:pt x="12656" y="3844"/>
                  <a:pt x="12656" y="3844"/>
                  <a:pt x="12687" y="3844"/>
                </a:cubicBezTo>
                <a:cubicBezTo>
                  <a:pt x="12687" y="3844"/>
                  <a:pt x="12687" y="3844"/>
                  <a:pt x="12687" y="3844"/>
                </a:cubicBezTo>
                <a:cubicBezTo>
                  <a:pt x="12687" y="3813"/>
                  <a:pt x="12719" y="3781"/>
                  <a:pt x="12750" y="3781"/>
                </a:cubicBezTo>
                <a:cubicBezTo>
                  <a:pt x="12750" y="3781"/>
                  <a:pt x="12750" y="3750"/>
                  <a:pt x="12781" y="3750"/>
                </a:cubicBezTo>
                <a:cubicBezTo>
                  <a:pt x="12781" y="3750"/>
                  <a:pt x="12781" y="3750"/>
                  <a:pt x="12781" y="3750"/>
                </a:cubicBezTo>
                <a:cubicBezTo>
                  <a:pt x="12781" y="3750"/>
                  <a:pt x="12781" y="3719"/>
                  <a:pt x="12812" y="3719"/>
                </a:cubicBezTo>
                <a:cubicBezTo>
                  <a:pt x="12812" y="3719"/>
                  <a:pt x="12812" y="3719"/>
                  <a:pt x="12812" y="3719"/>
                </a:cubicBezTo>
                <a:cubicBezTo>
                  <a:pt x="12812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88"/>
                  <a:pt x="12844" y="3688"/>
                  <a:pt x="12844" y="3688"/>
                </a:cubicBezTo>
                <a:cubicBezTo>
                  <a:pt x="12844" y="3625"/>
                  <a:pt x="12875" y="3594"/>
                  <a:pt x="12937" y="3563"/>
                </a:cubicBezTo>
                <a:cubicBezTo>
                  <a:pt x="12937" y="3563"/>
                  <a:pt x="12937" y="3563"/>
                  <a:pt x="12969" y="3531"/>
                </a:cubicBezTo>
                <a:cubicBezTo>
                  <a:pt x="12937" y="3688"/>
                  <a:pt x="12969" y="3688"/>
                  <a:pt x="13062" y="3625"/>
                </a:cubicBezTo>
                <a:cubicBezTo>
                  <a:pt x="13094" y="3594"/>
                  <a:pt x="13125" y="3594"/>
                  <a:pt x="13187" y="3594"/>
                </a:cubicBezTo>
                <a:cubicBezTo>
                  <a:pt x="13219" y="3500"/>
                  <a:pt x="13281" y="3531"/>
                  <a:pt x="13375" y="3531"/>
                </a:cubicBezTo>
                <a:cubicBezTo>
                  <a:pt x="13312" y="3563"/>
                  <a:pt x="13250" y="3594"/>
                  <a:pt x="13187" y="3625"/>
                </a:cubicBezTo>
                <a:cubicBezTo>
                  <a:pt x="13187" y="3625"/>
                  <a:pt x="13187" y="3625"/>
                  <a:pt x="13187" y="3625"/>
                </a:cubicBezTo>
                <a:cubicBezTo>
                  <a:pt x="13156" y="3688"/>
                  <a:pt x="13187" y="3781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44"/>
                  <a:pt x="13125" y="3844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125" y="3875"/>
                  <a:pt x="13125" y="3875"/>
                  <a:pt x="13125" y="3875"/>
                </a:cubicBezTo>
                <a:cubicBezTo>
                  <a:pt x="13219" y="3813"/>
                  <a:pt x="13312" y="3813"/>
                  <a:pt x="13375" y="3781"/>
                </a:cubicBezTo>
                <a:cubicBezTo>
                  <a:pt x="13469" y="3688"/>
                  <a:pt x="13594" y="3625"/>
                  <a:pt x="13750" y="3656"/>
                </a:cubicBezTo>
                <a:cubicBezTo>
                  <a:pt x="13625" y="3719"/>
                  <a:pt x="13594" y="3781"/>
                  <a:pt x="13562" y="3938"/>
                </a:cubicBezTo>
                <a:cubicBezTo>
                  <a:pt x="13656" y="3844"/>
                  <a:pt x="13687" y="3781"/>
                  <a:pt x="13750" y="3906"/>
                </a:cubicBezTo>
                <a:cubicBezTo>
                  <a:pt x="13781" y="3969"/>
                  <a:pt x="13812" y="3938"/>
                  <a:pt x="13812" y="3875"/>
                </a:cubicBezTo>
                <a:cubicBezTo>
                  <a:pt x="13812" y="3844"/>
                  <a:pt x="13781" y="3844"/>
                  <a:pt x="13812" y="3813"/>
                </a:cubicBezTo>
                <a:cubicBezTo>
                  <a:pt x="13812" y="3813"/>
                  <a:pt x="13812" y="3813"/>
                  <a:pt x="13812" y="3813"/>
                </a:cubicBezTo>
                <a:cubicBezTo>
                  <a:pt x="13844" y="3781"/>
                  <a:pt x="13844" y="3813"/>
                  <a:pt x="13844" y="3844"/>
                </a:cubicBezTo>
                <a:cubicBezTo>
                  <a:pt x="13844" y="3844"/>
                  <a:pt x="13844" y="3844"/>
                  <a:pt x="13844" y="3844"/>
                </a:cubicBezTo>
                <a:cubicBezTo>
                  <a:pt x="13906" y="3844"/>
                  <a:pt x="13937" y="3844"/>
                  <a:pt x="13969" y="3844"/>
                </a:cubicBezTo>
                <a:cubicBezTo>
                  <a:pt x="13969" y="3813"/>
                  <a:pt x="13969" y="3813"/>
                  <a:pt x="13969" y="3781"/>
                </a:cubicBezTo>
                <a:cubicBezTo>
                  <a:pt x="13969" y="3781"/>
                  <a:pt x="13969" y="3750"/>
                  <a:pt x="13937" y="3750"/>
                </a:cubicBezTo>
                <a:cubicBezTo>
                  <a:pt x="13906" y="3656"/>
                  <a:pt x="13937" y="3531"/>
                  <a:pt x="13781" y="3594"/>
                </a:cubicBezTo>
                <a:cubicBezTo>
                  <a:pt x="13750" y="3594"/>
                  <a:pt x="13750" y="3531"/>
                  <a:pt x="13719" y="3531"/>
                </a:cubicBezTo>
                <a:cubicBezTo>
                  <a:pt x="13719" y="3469"/>
                  <a:pt x="13656" y="3438"/>
                  <a:pt x="13625" y="3500"/>
                </a:cubicBezTo>
                <a:cubicBezTo>
                  <a:pt x="13562" y="3531"/>
                  <a:pt x="13531" y="3531"/>
                  <a:pt x="13500" y="3531"/>
                </a:cubicBezTo>
                <a:cubicBezTo>
                  <a:pt x="13406" y="3500"/>
                  <a:pt x="13312" y="3469"/>
                  <a:pt x="13187" y="3438"/>
                </a:cubicBezTo>
                <a:cubicBezTo>
                  <a:pt x="13312" y="3406"/>
                  <a:pt x="13406" y="3313"/>
                  <a:pt x="13500" y="3375"/>
                </a:cubicBezTo>
                <a:cubicBezTo>
                  <a:pt x="13531" y="3375"/>
                  <a:pt x="13562" y="3375"/>
                  <a:pt x="13562" y="3344"/>
                </a:cubicBezTo>
                <a:cubicBezTo>
                  <a:pt x="13562" y="3344"/>
                  <a:pt x="13562" y="3313"/>
                  <a:pt x="13531" y="3281"/>
                </a:cubicBezTo>
                <a:cubicBezTo>
                  <a:pt x="13531" y="3281"/>
                  <a:pt x="13500" y="3281"/>
                  <a:pt x="13437" y="3250"/>
                </a:cubicBezTo>
                <a:cubicBezTo>
                  <a:pt x="13500" y="3219"/>
                  <a:pt x="13562" y="3250"/>
                  <a:pt x="13594" y="3156"/>
                </a:cubicBezTo>
                <a:cubicBezTo>
                  <a:pt x="13594" y="3250"/>
                  <a:pt x="13562" y="3313"/>
                  <a:pt x="13656" y="3344"/>
                </a:cubicBezTo>
                <a:cubicBezTo>
                  <a:pt x="13687" y="3188"/>
                  <a:pt x="13656" y="3156"/>
                  <a:pt x="13469" y="3094"/>
                </a:cubicBezTo>
                <a:cubicBezTo>
                  <a:pt x="13531" y="3000"/>
                  <a:pt x="13500" y="3000"/>
                  <a:pt x="13625" y="3063"/>
                </a:cubicBezTo>
                <a:cubicBezTo>
                  <a:pt x="13656" y="3063"/>
                  <a:pt x="13687" y="3063"/>
                  <a:pt x="13719" y="3063"/>
                </a:cubicBezTo>
                <a:cubicBezTo>
                  <a:pt x="13687" y="3156"/>
                  <a:pt x="13750" y="3344"/>
                  <a:pt x="13875" y="3375"/>
                </a:cubicBezTo>
                <a:cubicBezTo>
                  <a:pt x="13875" y="3375"/>
                  <a:pt x="13906" y="3375"/>
                  <a:pt x="13906" y="3344"/>
                </a:cubicBezTo>
                <a:cubicBezTo>
                  <a:pt x="13937" y="3313"/>
                  <a:pt x="13906" y="3313"/>
                  <a:pt x="13906" y="3313"/>
                </a:cubicBezTo>
                <a:cubicBezTo>
                  <a:pt x="13875" y="3313"/>
                  <a:pt x="13844" y="3313"/>
                  <a:pt x="13844" y="3250"/>
                </a:cubicBezTo>
                <a:cubicBezTo>
                  <a:pt x="13844" y="3219"/>
                  <a:pt x="13906" y="3250"/>
                  <a:pt x="13906" y="3250"/>
                </a:cubicBezTo>
                <a:cubicBezTo>
                  <a:pt x="13906" y="3156"/>
                  <a:pt x="13969" y="3219"/>
                  <a:pt x="14031" y="3219"/>
                </a:cubicBezTo>
                <a:cubicBezTo>
                  <a:pt x="14031" y="3219"/>
                  <a:pt x="14062" y="3219"/>
                  <a:pt x="14062" y="3219"/>
                </a:cubicBezTo>
                <a:cubicBezTo>
                  <a:pt x="14000" y="3094"/>
                  <a:pt x="14250" y="3156"/>
                  <a:pt x="14187" y="3000"/>
                </a:cubicBezTo>
                <a:cubicBezTo>
                  <a:pt x="14125" y="2906"/>
                  <a:pt x="14062" y="2781"/>
                  <a:pt x="14062" y="2656"/>
                </a:cubicBezTo>
                <a:cubicBezTo>
                  <a:pt x="14062" y="2625"/>
                  <a:pt x="14062" y="2625"/>
                  <a:pt x="14062" y="2563"/>
                </a:cubicBezTo>
                <a:cubicBezTo>
                  <a:pt x="14094" y="2656"/>
                  <a:pt x="14125" y="2688"/>
                  <a:pt x="14156" y="2750"/>
                </a:cubicBezTo>
                <a:cubicBezTo>
                  <a:pt x="14187" y="2563"/>
                  <a:pt x="14250" y="2781"/>
                  <a:pt x="14312" y="2719"/>
                </a:cubicBezTo>
                <a:cubicBezTo>
                  <a:pt x="14281" y="2719"/>
                  <a:pt x="14281" y="2688"/>
                  <a:pt x="14281" y="2688"/>
                </a:cubicBezTo>
                <a:cubicBezTo>
                  <a:pt x="14250" y="2688"/>
                  <a:pt x="14250" y="2688"/>
                  <a:pt x="14250" y="2656"/>
                </a:cubicBezTo>
                <a:cubicBezTo>
                  <a:pt x="14250" y="2656"/>
                  <a:pt x="14250" y="2656"/>
                  <a:pt x="14250" y="2656"/>
                </a:cubicBezTo>
                <a:cubicBezTo>
                  <a:pt x="14250" y="2594"/>
                  <a:pt x="14312" y="2531"/>
                  <a:pt x="14250" y="2469"/>
                </a:cubicBezTo>
                <a:cubicBezTo>
                  <a:pt x="14219" y="2469"/>
                  <a:pt x="14187" y="2469"/>
                  <a:pt x="14187" y="2438"/>
                </a:cubicBezTo>
                <a:cubicBezTo>
                  <a:pt x="14156" y="2438"/>
                  <a:pt x="14156" y="2438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56" y="2406"/>
                  <a:pt x="14156" y="2406"/>
                  <a:pt x="14156" y="2406"/>
                </a:cubicBezTo>
                <a:cubicBezTo>
                  <a:pt x="14125" y="2406"/>
                  <a:pt x="14125" y="2406"/>
                  <a:pt x="14094" y="2375"/>
                </a:cubicBezTo>
                <a:cubicBezTo>
                  <a:pt x="14094" y="2375"/>
                  <a:pt x="14094" y="2375"/>
                  <a:pt x="14094" y="2344"/>
                </a:cubicBezTo>
                <a:cubicBezTo>
                  <a:pt x="14094" y="2344"/>
                  <a:pt x="14125" y="2344"/>
                  <a:pt x="14125" y="2344"/>
                </a:cubicBezTo>
                <a:cubicBezTo>
                  <a:pt x="14156" y="2344"/>
                  <a:pt x="14156" y="2375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219" y="2406"/>
                  <a:pt x="14250" y="2438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250" y="2469"/>
                  <a:pt x="14250" y="2469"/>
                  <a:pt x="14250" y="2469"/>
                </a:cubicBezTo>
                <a:cubicBezTo>
                  <a:pt x="14344" y="2469"/>
                  <a:pt x="14406" y="2469"/>
                  <a:pt x="14437" y="2563"/>
                </a:cubicBezTo>
                <a:cubicBezTo>
                  <a:pt x="14437" y="2531"/>
                  <a:pt x="14437" y="2500"/>
                  <a:pt x="14437" y="2469"/>
                </a:cubicBezTo>
                <a:cubicBezTo>
                  <a:pt x="14437" y="2406"/>
                  <a:pt x="14469" y="2344"/>
                  <a:pt x="14531" y="2281"/>
                </a:cubicBezTo>
                <a:cubicBezTo>
                  <a:pt x="14531" y="2281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00" y="2281"/>
                  <a:pt x="14500" y="2250"/>
                  <a:pt x="14500" y="2188"/>
                </a:cubicBezTo>
                <a:cubicBezTo>
                  <a:pt x="14500" y="2188"/>
                  <a:pt x="14500" y="2188"/>
                  <a:pt x="14500" y="2188"/>
                </a:cubicBezTo>
                <a:cubicBezTo>
                  <a:pt x="14531" y="2188"/>
                  <a:pt x="14562" y="2219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62" y="2250"/>
                  <a:pt x="14562" y="2250"/>
                  <a:pt x="14562" y="2250"/>
                </a:cubicBezTo>
                <a:cubicBezTo>
                  <a:pt x="14594" y="2250"/>
                  <a:pt x="14625" y="2250"/>
                  <a:pt x="14625" y="2219"/>
                </a:cubicBezTo>
                <a:cubicBezTo>
                  <a:pt x="14656" y="2219"/>
                  <a:pt x="14656" y="2219"/>
                  <a:pt x="14656" y="2188"/>
                </a:cubicBezTo>
                <a:cubicBezTo>
                  <a:pt x="14656" y="2188"/>
                  <a:pt x="14656" y="2188"/>
                  <a:pt x="14656" y="2156"/>
                </a:cubicBezTo>
                <a:cubicBezTo>
                  <a:pt x="14656" y="2156"/>
                  <a:pt x="14656" y="2156"/>
                  <a:pt x="14656" y="2156"/>
                </a:cubicBezTo>
                <a:cubicBezTo>
                  <a:pt x="14625" y="2156"/>
                  <a:pt x="14594" y="2156"/>
                  <a:pt x="14594" y="2125"/>
                </a:cubicBezTo>
                <a:cubicBezTo>
                  <a:pt x="14594" y="2125"/>
                  <a:pt x="14594" y="2094"/>
                  <a:pt x="14562" y="2094"/>
                </a:cubicBezTo>
                <a:cubicBezTo>
                  <a:pt x="14500" y="1906"/>
                  <a:pt x="14406" y="1750"/>
                  <a:pt x="14219" y="1625"/>
                </a:cubicBezTo>
                <a:cubicBezTo>
                  <a:pt x="14250" y="1625"/>
                  <a:pt x="14250" y="1625"/>
                  <a:pt x="14281" y="1656"/>
                </a:cubicBezTo>
                <a:cubicBezTo>
                  <a:pt x="14312" y="1656"/>
                  <a:pt x="14312" y="1688"/>
                  <a:pt x="14375" y="1688"/>
                </a:cubicBezTo>
                <a:cubicBezTo>
                  <a:pt x="14344" y="1656"/>
                  <a:pt x="14375" y="1594"/>
                  <a:pt x="14375" y="1563"/>
                </a:cubicBezTo>
                <a:cubicBezTo>
                  <a:pt x="14375" y="1531"/>
                  <a:pt x="14406" y="1500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375" y="1438"/>
                  <a:pt x="14344" y="1438"/>
                  <a:pt x="14344" y="1406"/>
                </a:cubicBezTo>
                <a:cubicBezTo>
                  <a:pt x="14344" y="1406"/>
                  <a:pt x="14375" y="1406"/>
                  <a:pt x="14375" y="1406"/>
                </a:cubicBezTo>
                <a:cubicBezTo>
                  <a:pt x="14406" y="1406"/>
                  <a:pt x="14406" y="1438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406" y="1469"/>
                  <a:pt x="14406" y="1469"/>
                  <a:pt x="14406" y="1469"/>
                </a:cubicBezTo>
                <a:cubicBezTo>
                  <a:pt x="14500" y="1500"/>
                  <a:pt x="14531" y="1594"/>
                  <a:pt x="14594" y="1688"/>
                </a:cubicBezTo>
                <a:cubicBezTo>
                  <a:pt x="14594" y="1688"/>
                  <a:pt x="14625" y="1719"/>
                  <a:pt x="14625" y="1719"/>
                </a:cubicBezTo>
                <a:cubicBezTo>
                  <a:pt x="14656" y="1719"/>
                  <a:pt x="14656" y="1750"/>
                  <a:pt x="14656" y="1750"/>
                </a:cubicBezTo>
                <a:cubicBezTo>
                  <a:pt x="14687" y="1813"/>
                  <a:pt x="14719" y="1844"/>
                  <a:pt x="14781" y="1844"/>
                </a:cubicBezTo>
                <a:cubicBezTo>
                  <a:pt x="14875" y="1813"/>
                  <a:pt x="14781" y="1750"/>
                  <a:pt x="14844" y="1688"/>
                </a:cubicBezTo>
                <a:cubicBezTo>
                  <a:pt x="14875" y="1719"/>
                  <a:pt x="14937" y="1781"/>
                  <a:pt x="15000" y="1688"/>
                </a:cubicBezTo>
                <a:cubicBezTo>
                  <a:pt x="15031" y="1656"/>
                  <a:pt x="15062" y="1688"/>
                  <a:pt x="15062" y="1719"/>
                </a:cubicBezTo>
                <a:cubicBezTo>
                  <a:pt x="15062" y="1781"/>
                  <a:pt x="15187" y="1813"/>
                  <a:pt x="15094" y="1906"/>
                </a:cubicBezTo>
                <a:cubicBezTo>
                  <a:pt x="15062" y="1938"/>
                  <a:pt x="15062" y="1938"/>
                  <a:pt x="15062" y="1969"/>
                </a:cubicBezTo>
                <a:cubicBezTo>
                  <a:pt x="15094" y="1969"/>
                  <a:pt x="15125" y="1969"/>
                  <a:pt x="15156" y="1969"/>
                </a:cubicBezTo>
                <a:cubicBezTo>
                  <a:pt x="15156" y="1969"/>
                  <a:pt x="15156" y="1938"/>
                  <a:pt x="15187" y="1938"/>
                </a:cubicBezTo>
                <a:cubicBezTo>
                  <a:pt x="15187" y="1938"/>
                  <a:pt x="15219" y="1938"/>
                  <a:pt x="15250" y="1969"/>
                </a:cubicBezTo>
                <a:cubicBezTo>
                  <a:pt x="15281" y="2000"/>
                  <a:pt x="15250" y="2031"/>
                  <a:pt x="15219" y="2063"/>
                </a:cubicBezTo>
                <a:cubicBezTo>
                  <a:pt x="15094" y="2156"/>
                  <a:pt x="15000" y="2281"/>
                  <a:pt x="15094" y="2469"/>
                </a:cubicBezTo>
                <a:cubicBezTo>
                  <a:pt x="15094" y="2500"/>
                  <a:pt x="15031" y="2531"/>
                  <a:pt x="15000" y="2563"/>
                </a:cubicBezTo>
                <a:cubicBezTo>
                  <a:pt x="15062" y="2594"/>
                  <a:pt x="15062" y="2625"/>
                  <a:pt x="15031" y="2656"/>
                </a:cubicBezTo>
                <a:cubicBezTo>
                  <a:pt x="15156" y="2750"/>
                  <a:pt x="15312" y="2813"/>
                  <a:pt x="15437" y="2844"/>
                </a:cubicBezTo>
                <a:cubicBezTo>
                  <a:pt x="15437" y="2844"/>
                  <a:pt x="15469" y="2875"/>
                  <a:pt x="15469" y="2844"/>
                </a:cubicBezTo>
                <a:cubicBezTo>
                  <a:pt x="15625" y="2719"/>
                  <a:pt x="15625" y="2906"/>
                  <a:pt x="15656" y="2969"/>
                </a:cubicBezTo>
                <a:cubicBezTo>
                  <a:pt x="15719" y="3031"/>
                  <a:pt x="15750" y="3188"/>
                  <a:pt x="15906" y="3156"/>
                </a:cubicBezTo>
                <a:cubicBezTo>
                  <a:pt x="16000" y="3156"/>
                  <a:pt x="16062" y="3219"/>
                  <a:pt x="16094" y="3313"/>
                </a:cubicBezTo>
                <a:cubicBezTo>
                  <a:pt x="16125" y="3375"/>
                  <a:pt x="16156" y="3469"/>
                  <a:pt x="16250" y="3438"/>
                </a:cubicBezTo>
                <a:cubicBezTo>
                  <a:pt x="16344" y="3406"/>
                  <a:pt x="16281" y="3313"/>
                  <a:pt x="16250" y="3219"/>
                </a:cubicBezTo>
                <a:cubicBezTo>
                  <a:pt x="16219" y="3094"/>
                  <a:pt x="16156" y="2969"/>
                  <a:pt x="16094" y="2844"/>
                </a:cubicBezTo>
                <a:cubicBezTo>
                  <a:pt x="16062" y="2750"/>
                  <a:pt x="16000" y="2719"/>
                  <a:pt x="15906" y="2719"/>
                </a:cubicBezTo>
                <a:cubicBezTo>
                  <a:pt x="15844" y="2750"/>
                  <a:pt x="15781" y="2719"/>
                  <a:pt x="15781" y="2625"/>
                </a:cubicBezTo>
                <a:cubicBezTo>
                  <a:pt x="15781" y="2563"/>
                  <a:pt x="15750" y="2563"/>
                  <a:pt x="15719" y="2625"/>
                </a:cubicBezTo>
                <a:cubicBezTo>
                  <a:pt x="15687" y="2625"/>
                  <a:pt x="15656" y="2656"/>
                  <a:pt x="15656" y="2625"/>
                </a:cubicBezTo>
                <a:cubicBezTo>
                  <a:pt x="15656" y="2625"/>
                  <a:pt x="15625" y="2594"/>
                  <a:pt x="15656" y="2594"/>
                </a:cubicBezTo>
                <a:cubicBezTo>
                  <a:pt x="15719" y="2531"/>
                  <a:pt x="15719" y="2438"/>
                  <a:pt x="15812" y="2406"/>
                </a:cubicBezTo>
                <a:cubicBezTo>
                  <a:pt x="15906" y="2375"/>
                  <a:pt x="16000" y="2250"/>
                  <a:pt x="16125" y="2219"/>
                </a:cubicBezTo>
                <a:cubicBezTo>
                  <a:pt x="16187" y="2219"/>
                  <a:pt x="16219" y="2219"/>
                  <a:pt x="16250" y="2250"/>
                </a:cubicBezTo>
                <a:cubicBezTo>
                  <a:pt x="16312" y="2281"/>
                  <a:pt x="16375" y="2313"/>
                  <a:pt x="16469" y="2344"/>
                </a:cubicBezTo>
                <a:cubicBezTo>
                  <a:pt x="16531" y="2375"/>
                  <a:pt x="16594" y="2406"/>
                  <a:pt x="16625" y="2281"/>
                </a:cubicBezTo>
                <a:cubicBezTo>
                  <a:pt x="16625" y="2250"/>
                  <a:pt x="16656" y="2250"/>
                  <a:pt x="16687" y="2281"/>
                </a:cubicBezTo>
                <a:cubicBezTo>
                  <a:pt x="16719" y="2313"/>
                  <a:pt x="16719" y="2313"/>
                  <a:pt x="16750" y="2344"/>
                </a:cubicBezTo>
                <a:cubicBezTo>
                  <a:pt x="16781" y="2406"/>
                  <a:pt x="16781" y="2500"/>
                  <a:pt x="16781" y="2563"/>
                </a:cubicBezTo>
                <a:cubicBezTo>
                  <a:pt x="16781" y="2563"/>
                  <a:pt x="16781" y="2563"/>
                  <a:pt x="16781" y="2563"/>
                </a:cubicBezTo>
                <a:cubicBezTo>
                  <a:pt x="16812" y="2563"/>
                  <a:pt x="16812" y="2563"/>
                  <a:pt x="16812" y="2563"/>
                </a:cubicBezTo>
                <a:cubicBezTo>
                  <a:pt x="16812" y="2563"/>
                  <a:pt x="16844" y="2563"/>
                  <a:pt x="16844" y="2563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594"/>
                  <a:pt x="16844" y="2594"/>
                </a:cubicBezTo>
                <a:cubicBezTo>
                  <a:pt x="16844" y="2594"/>
                  <a:pt x="16844" y="2625"/>
                  <a:pt x="16844" y="2625"/>
                </a:cubicBezTo>
                <a:cubicBezTo>
                  <a:pt x="16906" y="2656"/>
                  <a:pt x="16937" y="2656"/>
                  <a:pt x="16969" y="2625"/>
                </a:cubicBezTo>
                <a:cubicBezTo>
                  <a:pt x="16969" y="2625"/>
                  <a:pt x="16969" y="2594"/>
                  <a:pt x="16969" y="2563"/>
                </a:cubicBezTo>
                <a:cubicBezTo>
                  <a:pt x="16969" y="2500"/>
                  <a:pt x="16969" y="2438"/>
                  <a:pt x="16937" y="2375"/>
                </a:cubicBezTo>
                <a:cubicBezTo>
                  <a:pt x="16937" y="2375"/>
                  <a:pt x="16906" y="2344"/>
                  <a:pt x="16906" y="2313"/>
                </a:cubicBezTo>
                <a:cubicBezTo>
                  <a:pt x="16906" y="2281"/>
                  <a:pt x="16875" y="2250"/>
                  <a:pt x="16875" y="2250"/>
                </a:cubicBezTo>
                <a:cubicBezTo>
                  <a:pt x="16875" y="2219"/>
                  <a:pt x="16844" y="2219"/>
                  <a:pt x="16844" y="2219"/>
                </a:cubicBezTo>
                <a:cubicBezTo>
                  <a:pt x="16844" y="2188"/>
                  <a:pt x="16844" y="2188"/>
                  <a:pt x="16844" y="2188"/>
                </a:cubicBezTo>
                <a:cubicBezTo>
                  <a:pt x="16812" y="2188"/>
                  <a:pt x="16812" y="2156"/>
                  <a:pt x="16781" y="2156"/>
                </a:cubicBezTo>
                <a:cubicBezTo>
                  <a:pt x="16750" y="2156"/>
                  <a:pt x="16750" y="2156"/>
                  <a:pt x="16750" y="2156"/>
                </a:cubicBezTo>
                <a:cubicBezTo>
                  <a:pt x="16750" y="2156"/>
                  <a:pt x="16719" y="2125"/>
                  <a:pt x="16719" y="2125"/>
                </a:cubicBezTo>
                <a:cubicBezTo>
                  <a:pt x="16719" y="2125"/>
                  <a:pt x="16719" y="2125"/>
                  <a:pt x="16719" y="2094"/>
                </a:cubicBezTo>
                <a:cubicBezTo>
                  <a:pt x="16719" y="2094"/>
                  <a:pt x="16719" y="2094"/>
                  <a:pt x="16687" y="2063"/>
                </a:cubicBezTo>
                <a:cubicBezTo>
                  <a:pt x="16687" y="2063"/>
                  <a:pt x="16687" y="2063"/>
                  <a:pt x="16687" y="2063"/>
                </a:cubicBezTo>
                <a:cubicBezTo>
                  <a:pt x="16687" y="2063"/>
                  <a:pt x="16687" y="2031"/>
                  <a:pt x="16687" y="2031"/>
                </a:cubicBezTo>
                <a:cubicBezTo>
                  <a:pt x="16687" y="2000"/>
                  <a:pt x="16687" y="2000"/>
                  <a:pt x="16687" y="1969"/>
                </a:cubicBezTo>
                <a:cubicBezTo>
                  <a:pt x="16687" y="1969"/>
                  <a:pt x="16656" y="1969"/>
                  <a:pt x="16656" y="1938"/>
                </a:cubicBezTo>
                <a:cubicBezTo>
                  <a:pt x="16656" y="1938"/>
                  <a:pt x="16656" y="1938"/>
                  <a:pt x="16656" y="1938"/>
                </a:cubicBezTo>
                <a:cubicBezTo>
                  <a:pt x="16656" y="1938"/>
                  <a:pt x="16656" y="1906"/>
                  <a:pt x="16656" y="1875"/>
                </a:cubicBezTo>
                <a:cubicBezTo>
                  <a:pt x="16656" y="1875"/>
                  <a:pt x="16656" y="1844"/>
                  <a:pt x="16656" y="1844"/>
                </a:cubicBezTo>
                <a:cubicBezTo>
                  <a:pt x="16656" y="1844"/>
                  <a:pt x="16656" y="1844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56" y="1813"/>
                  <a:pt x="16656" y="1813"/>
                  <a:pt x="16656" y="1813"/>
                </a:cubicBezTo>
                <a:cubicBezTo>
                  <a:pt x="16625" y="1813"/>
                  <a:pt x="16625" y="1813"/>
                  <a:pt x="16625" y="1813"/>
                </a:cubicBezTo>
                <a:cubicBezTo>
                  <a:pt x="16687" y="1594"/>
                  <a:pt x="16469" y="1563"/>
                  <a:pt x="16375" y="1500"/>
                </a:cubicBezTo>
                <a:cubicBezTo>
                  <a:pt x="16219" y="1469"/>
                  <a:pt x="16094" y="1344"/>
                  <a:pt x="15906" y="1406"/>
                </a:cubicBezTo>
                <a:cubicBezTo>
                  <a:pt x="15875" y="1406"/>
                  <a:pt x="15812" y="1438"/>
                  <a:pt x="15812" y="1375"/>
                </a:cubicBezTo>
                <a:cubicBezTo>
                  <a:pt x="15781" y="1344"/>
                  <a:pt x="15750" y="1250"/>
                  <a:pt x="15781" y="1250"/>
                </a:cubicBezTo>
                <a:cubicBezTo>
                  <a:pt x="15906" y="1156"/>
                  <a:pt x="15844" y="1063"/>
                  <a:pt x="15875" y="969"/>
                </a:cubicBezTo>
                <a:cubicBezTo>
                  <a:pt x="15937" y="1031"/>
                  <a:pt x="15937" y="1125"/>
                  <a:pt x="15969" y="1188"/>
                </a:cubicBezTo>
                <a:cubicBezTo>
                  <a:pt x="16000" y="1219"/>
                  <a:pt x="15937" y="1406"/>
                  <a:pt x="16125" y="1281"/>
                </a:cubicBezTo>
                <a:cubicBezTo>
                  <a:pt x="16156" y="1250"/>
                  <a:pt x="16156" y="1313"/>
                  <a:pt x="16187" y="1344"/>
                </a:cubicBezTo>
                <a:cubicBezTo>
                  <a:pt x="16187" y="1375"/>
                  <a:pt x="16219" y="1375"/>
                  <a:pt x="16250" y="1375"/>
                </a:cubicBezTo>
                <a:cubicBezTo>
                  <a:pt x="16281" y="1375"/>
                  <a:pt x="16281" y="1344"/>
                  <a:pt x="16281" y="1313"/>
                </a:cubicBezTo>
                <a:cubicBezTo>
                  <a:pt x="16281" y="1219"/>
                  <a:pt x="16250" y="1125"/>
                  <a:pt x="16281" y="1031"/>
                </a:cubicBezTo>
                <a:cubicBezTo>
                  <a:pt x="16281" y="1031"/>
                  <a:pt x="16312" y="1031"/>
                  <a:pt x="16312" y="1031"/>
                </a:cubicBezTo>
                <a:cubicBezTo>
                  <a:pt x="16344" y="1063"/>
                  <a:pt x="16344" y="1125"/>
                  <a:pt x="16344" y="1156"/>
                </a:cubicBezTo>
                <a:cubicBezTo>
                  <a:pt x="16375" y="1063"/>
                  <a:pt x="16344" y="969"/>
                  <a:pt x="16344" y="875"/>
                </a:cubicBezTo>
                <a:cubicBezTo>
                  <a:pt x="16344" y="875"/>
                  <a:pt x="16344" y="844"/>
                  <a:pt x="16344" y="813"/>
                </a:cubicBezTo>
                <a:cubicBezTo>
                  <a:pt x="16375" y="750"/>
                  <a:pt x="16406" y="719"/>
                  <a:pt x="16437" y="656"/>
                </a:cubicBezTo>
                <a:cubicBezTo>
                  <a:pt x="16437" y="625"/>
                  <a:pt x="16531" y="531"/>
                  <a:pt x="16594" y="625"/>
                </a:cubicBezTo>
                <a:cubicBezTo>
                  <a:pt x="16656" y="688"/>
                  <a:pt x="16750" y="688"/>
                  <a:pt x="16781" y="750"/>
                </a:cubicBezTo>
                <a:cubicBezTo>
                  <a:pt x="16812" y="813"/>
                  <a:pt x="16906" y="781"/>
                  <a:pt x="16906" y="750"/>
                </a:cubicBezTo>
                <a:cubicBezTo>
                  <a:pt x="16906" y="594"/>
                  <a:pt x="17062" y="688"/>
                  <a:pt x="17094" y="594"/>
                </a:cubicBezTo>
                <a:cubicBezTo>
                  <a:pt x="17094" y="594"/>
                  <a:pt x="17125" y="594"/>
                  <a:pt x="17125" y="594"/>
                </a:cubicBezTo>
                <a:cubicBezTo>
                  <a:pt x="17219" y="719"/>
                  <a:pt x="17250" y="688"/>
                  <a:pt x="17281" y="563"/>
                </a:cubicBezTo>
                <a:cubicBezTo>
                  <a:pt x="17281" y="563"/>
                  <a:pt x="17312" y="531"/>
                  <a:pt x="17312" y="531"/>
                </a:cubicBezTo>
                <a:cubicBezTo>
                  <a:pt x="17344" y="563"/>
                  <a:pt x="17344" y="563"/>
                  <a:pt x="17344" y="594"/>
                </a:cubicBezTo>
                <a:cubicBezTo>
                  <a:pt x="17281" y="688"/>
                  <a:pt x="17344" y="781"/>
                  <a:pt x="17406" y="844"/>
                </a:cubicBezTo>
                <a:cubicBezTo>
                  <a:pt x="17437" y="875"/>
                  <a:pt x="17437" y="906"/>
                  <a:pt x="17437" y="938"/>
                </a:cubicBezTo>
                <a:cubicBezTo>
                  <a:pt x="17406" y="969"/>
                  <a:pt x="17437" y="1000"/>
                  <a:pt x="17469" y="1031"/>
                </a:cubicBezTo>
                <a:cubicBezTo>
                  <a:pt x="17625" y="1094"/>
                  <a:pt x="17625" y="1219"/>
                  <a:pt x="17500" y="1344"/>
                </a:cubicBezTo>
                <a:cubicBezTo>
                  <a:pt x="17469" y="1406"/>
                  <a:pt x="17469" y="1438"/>
                  <a:pt x="17469" y="1469"/>
                </a:cubicBezTo>
                <a:cubicBezTo>
                  <a:pt x="17469" y="1625"/>
                  <a:pt x="17531" y="1750"/>
                  <a:pt x="17594" y="1875"/>
                </a:cubicBezTo>
                <a:cubicBezTo>
                  <a:pt x="17625" y="1969"/>
                  <a:pt x="17719" y="1969"/>
                  <a:pt x="17781" y="1938"/>
                </a:cubicBezTo>
                <a:cubicBezTo>
                  <a:pt x="17875" y="1813"/>
                  <a:pt x="18000" y="1844"/>
                  <a:pt x="18094" y="1813"/>
                </a:cubicBezTo>
                <a:cubicBezTo>
                  <a:pt x="18156" y="1813"/>
                  <a:pt x="18219" y="1813"/>
                  <a:pt x="18281" y="1781"/>
                </a:cubicBezTo>
                <a:cubicBezTo>
                  <a:pt x="18344" y="1750"/>
                  <a:pt x="18406" y="1719"/>
                  <a:pt x="18469" y="1813"/>
                </a:cubicBezTo>
                <a:cubicBezTo>
                  <a:pt x="18469" y="1844"/>
                  <a:pt x="18531" y="1875"/>
                  <a:pt x="18594" y="1844"/>
                </a:cubicBezTo>
                <a:cubicBezTo>
                  <a:pt x="18625" y="1844"/>
                  <a:pt x="18656" y="1813"/>
                  <a:pt x="18687" y="1781"/>
                </a:cubicBezTo>
                <a:cubicBezTo>
                  <a:pt x="18750" y="1750"/>
                  <a:pt x="18844" y="1719"/>
                  <a:pt x="18875" y="1656"/>
                </a:cubicBezTo>
                <a:cubicBezTo>
                  <a:pt x="18969" y="1531"/>
                  <a:pt x="19000" y="1688"/>
                  <a:pt x="19062" y="1719"/>
                </a:cubicBezTo>
                <a:cubicBezTo>
                  <a:pt x="19125" y="1750"/>
                  <a:pt x="19187" y="1750"/>
                  <a:pt x="19250" y="1813"/>
                </a:cubicBezTo>
                <a:cubicBezTo>
                  <a:pt x="19312" y="1875"/>
                  <a:pt x="19437" y="1875"/>
                  <a:pt x="19500" y="1938"/>
                </a:cubicBezTo>
                <a:cubicBezTo>
                  <a:pt x="19500" y="1969"/>
                  <a:pt x="19531" y="1969"/>
                  <a:pt x="19562" y="2000"/>
                </a:cubicBezTo>
                <a:cubicBezTo>
                  <a:pt x="19562" y="2031"/>
                  <a:pt x="19594" y="2094"/>
                  <a:pt x="19625" y="2063"/>
                </a:cubicBezTo>
                <a:cubicBezTo>
                  <a:pt x="19656" y="2031"/>
                  <a:pt x="19750" y="1938"/>
                  <a:pt x="19656" y="1875"/>
                </a:cubicBezTo>
                <a:cubicBezTo>
                  <a:pt x="19562" y="1781"/>
                  <a:pt x="19469" y="1719"/>
                  <a:pt x="19406" y="1594"/>
                </a:cubicBezTo>
                <a:cubicBezTo>
                  <a:pt x="19375" y="1531"/>
                  <a:pt x="19281" y="1469"/>
                  <a:pt x="19187" y="1469"/>
                </a:cubicBezTo>
                <a:cubicBezTo>
                  <a:pt x="19219" y="1375"/>
                  <a:pt x="19219" y="1375"/>
                  <a:pt x="19156" y="1156"/>
                </a:cubicBezTo>
                <a:cubicBezTo>
                  <a:pt x="19406" y="1375"/>
                  <a:pt x="19594" y="1594"/>
                  <a:pt x="19812" y="1781"/>
                </a:cubicBezTo>
                <a:cubicBezTo>
                  <a:pt x="20000" y="2000"/>
                  <a:pt x="20219" y="2188"/>
                  <a:pt x="20500" y="2313"/>
                </a:cubicBezTo>
                <a:cubicBezTo>
                  <a:pt x="20437" y="2344"/>
                  <a:pt x="20406" y="2344"/>
                  <a:pt x="20375" y="2313"/>
                </a:cubicBezTo>
                <a:cubicBezTo>
                  <a:pt x="20281" y="2250"/>
                  <a:pt x="20219" y="2250"/>
                  <a:pt x="20125" y="2344"/>
                </a:cubicBezTo>
                <a:cubicBezTo>
                  <a:pt x="20062" y="2438"/>
                  <a:pt x="20000" y="2281"/>
                  <a:pt x="19906" y="2313"/>
                </a:cubicBezTo>
                <a:cubicBezTo>
                  <a:pt x="19844" y="2313"/>
                  <a:pt x="19875" y="2250"/>
                  <a:pt x="19875" y="2219"/>
                </a:cubicBezTo>
                <a:cubicBezTo>
                  <a:pt x="19875" y="2188"/>
                  <a:pt x="19875" y="2156"/>
                  <a:pt x="19844" y="2156"/>
                </a:cubicBezTo>
                <a:cubicBezTo>
                  <a:pt x="19812" y="2156"/>
                  <a:pt x="19781" y="2156"/>
                  <a:pt x="19781" y="2219"/>
                </a:cubicBezTo>
                <a:cubicBezTo>
                  <a:pt x="19781" y="2250"/>
                  <a:pt x="19750" y="2281"/>
                  <a:pt x="19719" y="2313"/>
                </a:cubicBezTo>
                <a:cubicBezTo>
                  <a:pt x="19656" y="2375"/>
                  <a:pt x="19625" y="2469"/>
                  <a:pt x="19750" y="2500"/>
                </a:cubicBezTo>
                <a:cubicBezTo>
                  <a:pt x="19781" y="2500"/>
                  <a:pt x="19781" y="2500"/>
                  <a:pt x="19812" y="2531"/>
                </a:cubicBezTo>
                <a:cubicBezTo>
                  <a:pt x="19719" y="2563"/>
                  <a:pt x="19844" y="2688"/>
                  <a:pt x="19687" y="2750"/>
                </a:cubicBezTo>
                <a:cubicBezTo>
                  <a:pt x="19656" y="2750"/>
                  <a:pt x="19594" y="2813"/>
                  <a:pt x="19562" y="2875"/>
                </a:cubicBezTo>
                <a:cubicBezTo>
                  <a:pt x="19406" y="3000"/>
                  <a:pt x="19406" y="3000"/>
                  <a:pt x="19562" y="3125"/>
                </a:cubicBezTo>
                <a:cubicBezTo>
                  <a:pt x="19594" y="3125"/>
                  <a:pt x="19625" y="3156"/>
                  <a:pt x="19656" y="3156"/>
                </a:cubicBezTo>
                <a:cubicBezTo>
                  <a:pt x="19594" y="3219"/>
                  <a:pt x="19531" y="3219"/>
                  <a:pt x="19500" y="3281"/>
                </a:cubicBezTo>
                <a:cubicBezTo>
                  <a:pt x="19531" y="3344"/>
                  <a:pt x="19594" y="3313"/>
                  <a:pt x="19625" y="3281"/>
                </a:cubicBezTo>
                <a:cubicBezTo>
                  <a:pt x="19750" y="3125"/>
                  <a:pt x="20000" y="3188"/>
                  <a:pt x="20156" y="3094"/>
                </a:cubicBezTo>
                <a:cubicBezTo>
                  <a:pt x="20250" y="3031"/>
                  <a:pt x="20500" y="3125"/>
                  <a:pt x="20562" y="3188"/>
                </a:cubicBezTo>
                <a:cubicBezTo>
                  <a:pt x="20594" y="3219"/>
                  <a:pt x="20625" y="3281"/>
                  <a:pt x="20719" y="3250"/>
                </a:cubicBezTo>
                <a:cubicBezTo>
                  <a:pt x="20719" y="3250"/>
                  <a:pt x="20719" y="3250"/>
                  <a:pt x="20750" y="3281"/>
                </a:cubicBezTo>
                <a:cubicBezTo>
                  <a:pt x="20750" y="3281"/>
                  <a:pt x="20750" y="3281"/>
                  <a:pt x="20750" y="3281"/>
                </a:cubicBezTo>
                <a:cubicBezTo>
                  <a:pt x="20781" y="3313"/>
                  <a:pt x="20781" y="3313"/>
                  <a:pt x="20781" y="3313"/>
                </a:cubicBezTo>
                <a:cubicBezTo>
                  <a:pt x="20781" y="3344"/>
                  <a:pt x="20781" y="3344"/>
                  <a:pt x="20781" y="3344"/>
                </a:cubicBezTo>
                <a:cubicBezTo>
                  <a:pt x="20781" y="3344"/>
                  <a:pt x="20812" y="3375"/>
                  <a:pt x="20812" y="3375"/>
                </a:cubicBezTo>
                <a:cubicBezTo>
                  <a:pt x="20812" y="3375"/>
                  <a:pt x="20812" y="3375"/>
                  <a:pt x="20812" y="3375"/>
                </a:cubicBezTo>
                <a:cubicBezTo>
                  <a:pt x="20812" y="3375"/>
                  <a:pt x="20844" y="3375"/>
                  <a:pt x="20875" y="3375"/>
                </a:cubicBezTo>
                <a:cubicBezTo>
                  <a:pt x="20875" y="3344"/>
                  <a:pt x="20875" y="3281"/>
                  <a:pt x="20906" y="3281"/>
                </a:cubicBezTo>
                <a:cubicBezTo>
                  <a:pt x="20906" y="3281"/>
                  <a:pt x="20906" y="3281"/>
                  <a:pt x="20906" y="3313"/>
                </a:cubicBezTo>
                <a:cubicBezTo>
                  <a:pt x="20969" y="3313"/>
                  <a:pt x="20969" y="3406"/>
                  <a:pt x="20969" y="3438"/>
                </a:cubicBezTo>
                <a:cubicBezTo>
                  <a:pt x="20969" y="3438"/>
                  <a:pt x="20969" y="3438"/>
                  <a:pt x="20969" y="3438"/>
                </a:cubicBezTo>
                <a:cubicBezTo>
                  <a:pt x="21000" y="3438"/>
                  <a:pt x="21000" y="3438"/>
                  <a:pt x="21000" y="3438"/>
                </a:cubicBezTo>
                <a:cubicBezTo>
                  <a:pt x="21000" y="3438"/>
                  <a:pt x="21031" y="3406"/>
                  <a:pt x="21031" y="3406"/>
                </a:cubicBezTo>
                <a:cubicBezTo>
                  <a:pt x="21031" y="3406"/>
                  <a:pt x="21062" y="3406"/>
                  <a:pt x="21062" y="3406"/>
                </a:cubicBezTo>
                <a:cubicBezTo>
                  <a:pt x="21094" y="3406"/>
                  <a:pt x="21062" y="3438"/>
                  <a:pt x="21031" y="3438"/>
                </a:cubicBezTo>
                <a:cubicBezTo>
                  <a:pt x="21031" y="3469"/>
                  <a:pt x="21031" y="3500"/>
                  <a:pt x="21031" y="3531"/>
                </a:cubicBezTo>
                <a:cubicBezTo>
                  <a:pt x="21094" y="3469"/>
                  <a:pt x="21156" y="3438"/>
                  <a:pt x="21156" y="3594"/>
                </a:cubicBezTo>
                <a:cubicBezTo>
                  <a:pt x="21156" y="3625"/>
                  <a:pt x="21187" y="3688"/>
                  <a:pt x="21250" y="3656"/>
                </a:cubicBezTo>
                <a:cubicBezTo>
                  <a:pt x="21344" y="3594"/>
                  <a:pt x="21344" y="3719"/>
                  <a:pt x="21406" y="3719"/>
                </a:cubicBezTo>
                <a:cubicBezTo>
                  <a:pt x="21437" y="3875"/>
                  <a:pt x="21469" y="3750"/>
                  <a:pt x="21531" y="3719"/>
                </a:cubicBezTo>
                <a:cubicBezTo>
                  <a:pt x="21531" y="3719"/>
                  <a:pt x="21562" y="3688"/>
                  <a:pt x="21562" y="3688"/>
                </a:cubicBezTo>
                <a:cubicBezTo>
                  <a:pt x="21594" y="3656"/>
                  <a:pt x="21594" y="3625"/>
                  <a:pt x="21625" y="3656"/>
                </a:cubicBezTo>
                <a:cubicBezTo>
                  <a:pt x="21625" y="3656"/>
                  <a:pt x="21656" y="3688"/>
                  <a:pt x="21625" y="3688"/>
                </a:cubicBezTo>
                <a:cubicBezTo>
                  <a:pt x="21594" y="3813"/>
                  <a:pt x="21719" y="3969"/>
                  <a:pt x="21531" y="4063"/>
                </a:cubicBezTo>
                <a:cubicBezTo>
                  <a:pt x="21500" y="4063"/>
                  <a:pt x="21500" y="4094"/>
                  <a:pt x="21500" y="4156"/>
                </a:cubicBezTo>
                <a:cubicBezTo>
                  <a:pt x="21469" y="4281"/>
                  <a:pt x="21437" y="4438"/>
                  <a:pt x="21406" y="4594"/>
                </a:cubicBezTo>
                <a:cubicBezTo>
                  <a:pt x="21406" y="4656"/>
                  <a:pt x="21406" y="4719"/>
                  <a:pt x="21469" y="4781"/>
                </a:cubicBezTo>
                <a:cubicBezTo>
                  <a:pt x="21500" y="4844"/>
                  <a:pt x="21531" y="4813"/>
                  <a:pt x="21594" y="4781"/>
                </a:cubicBezTo>
                <a:cubicBezTo>
                  <a:pt x="21687" y="4750"/>
                  <a:pt x="21687" y="4875"/>
                  <a:pt x="21719" y="4906"/>
                </a:cubicBezTo>
                <a:cubicBezTo>
                  <a:pt x="21719" y="4875"/>
                  <a:pt x="21719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875"/>
                  <a:pt x="21750" y="4875"/>
                  <a:pt x="21750" y="4875"/>
                </a:cubicBezTo>
                <a:cubicBezTo>
                  <a:pt x="21750" y="4906"/>
                  <a:pt x="21750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38"/>
                  <a:pt x="21719" y="4969"/>
                  <a:pt x="21719" y="5031"/>
                </a:cubicBezTo>
                <a:cubicBezTo>
                  <a:pt x="21687" y="5125"/>
                  <a:pt x="21625" y="5156"/>
                  <a:pt x="21562" y="5031"/>
                </a:cubicBezTo>
                <a:cubicBezTo>
                  <a:pt x="21531" y="5031"/>
                  <a:pt x="21531" y="5031"/>
                  <a:pt x="21531" y="5031"/>
                </a:cubicBezTo>
                <a:cubicBezTo>
                  <a:pt x="21531" y="5031"/>
                  <a:pt x="21531" y="5031"/>
                  <a:pt x="21500" y="5031"/>
                </a:cubicBezTo>
                <a:cubicBezTo>
                  <a:pt x="21500" y="5031"/>
                  <a:pt x="21500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469" y="5063"/>
                  <a:pt x="21469" y="5063"/>
                  <a:pt x="21469" y="5063"/>
                </a:cubicBezTo>
                <a:cubicBezTo>
                  <a:pt x="21531" y="5094"/>
                  <a:pt x="21562" y="5125"/>
                  <a:pt x="21562" y="5156"/>
                </a:cubicBezTo>
                <a:cubicBezTo>
                  <a:pt x="21594" y="5188"/>
                  <a:pt x="21594" y="5188"/>
                  <a:pt x="21594" y="5250"/>
                </a:cubicBezTo>
                <a:cubicBezTo>
                  <a:pt x="21594" y="5250"/>
                  <a:pt x="21594" y="5281"/>
                  <a:pt x="21625" y="5281"/>
                </a:cubicBezTo>
                <a:cubicBezTo>
                  <a:pt x="21625" y="5313"/>
                  <a:pt x="21656" y="5313"/>
                  <a:pt x="21656" y="5313"/>
                </a:cubicBezTo>
                <a:cubicBezTo>
                  <a:pt x="21687" y="5250"/>
                  <a:pt x="21719" y="5219"/>
                  <a:pt x="21781" y="5250"/>
                </a:cubicBezTo>
                <a:cubicBezTo>
                  <a:pt x="21812" y="5281"/>
                  <a:pt x="21844" y="5250"/>
                  <a:pt x="21875" y="5219"/>
                </a:cubicBezTo>
                <a:cubicBezTo>
                  <a:pt x="21937" y="5125"/>
                  <a:pt x="22094" y="5156"/>
                  <a:pt x="22125" y="5000"/>
                </a:cubicBezTo>
                <a:cubicBezTo>
                  <a:pt x="22125" y="4969"/>
                  <a:pt x="22187" y="5000"/>
                  <a:pt x="22219" y="5000"/>
                </a:cubicBezTo>
                <a:cubicBezTo>
                  <a:pt x="22250" y="5000"/>
                  <a:pt x="22281" y="4969"/>
                  <a:pt x="22281" y="4906"/>
                </a:cubicBezTo>
                <a:cubicBezTo>
                  <a:pt x="22250" y="4906"/>
                  <a:pt x="22250" y="4875"/>
                  <a:pt x="22281" y="4875"/>
                </a:cubicBezTo>
                <a:cubicBezTo>
                  <a:pt x="22281" y="4875"/>
                  <a:pt x="22281" y="4844"/>
                  <a:pt x="22281" y="4875"/>
                </a:cubicBezTo>
                <a:cubicBezTo>
                  <a:pt x="22312" y="4875"/>
                  <a:pt x="22312" y="4875"/>
                  <a:pt x="22312" y="4906"/>
                </a:cubicBezTo>
                <a:cubicBezTo>
                  <a:pt x="22312" y="4875"/>
                  <a:pt x="22312" y="4875"/>
                  <a:pt x="22312" y="4844"/>
                </a:cubicBezTo>
                <a:cubicBezTo>
                  <a:pt x="22344" y="4844"/>
                  <a:pt x="22344" y="4813"/>
                  <a:pt x="22375" y="4844"/>
                </a:cubicBezTo>
                <a:cubicBezTo>
                  <a:pt x="22375" y="4844"/>
                  <a:pt x="22375" y="4844"/>
                  <a:pt x="22406" y="4844"/>
                </a:cubicBezTo>
                <a:cubicBezTo>
                  <a:pt x="22469" y="4906"/>
                  <a:pt x="22469" y="4844"/>
                  <a:pt x="22469" y="4781"/>
                </a:cubicBezTo>
                <a:cubicBezTo>
                  <a:pt x="22469" y="4719"/>
                  <a:pt x="22437" y="4625"/>
                  <a:pt x="22437" y="4531"/>
                </a:cubicBezTo>
                <a:cubicBezTo>
                  <a:pt x="22500" y="4563"/>
                  <a:pt x="22562" y="4656"/>
                  <a:pt x="22625" y="4625"/>
                </a:cubicBezTo>
                <a:cubicBezTo>
                  <a:pt x="22625" y="4531"/>
                  <a:pt x="22625" y="4438"/>
                  <a:pt x="22625" y="4344"/>
                </a:cubicBezTo>
                <a:cubicBezTo>
                  <a:pt x="22625" y="4313"/>
                  <a:pt x="22625" y="4250"/>
                  <a:pt x="22687" y="4250"/>
                </a:cubicBezTo>
                <a:cubicBezTo>
                  <a:pt x="22812" y="4281"/>
                  <a:pt x="22812" y="4188"/>
                  <a:pt x="22781" y="4094"/>
                </a:cubicBezTo>
                <a:cubicBezTo>
                  <a:pt x="22781" y="4063"/>
                  <a:pt x="22781" y="4031"/>
                  <a:pt x="22781" y="3969"/>
                </a:cubicBezTo>
                <a:cubicBezTo>
                  <a:pt x="22875" y="4063"/>
                  <a:pt x="22906" y="4094"/>
                  <a:pt x="22969" y="4156"/>
                </a:cubicBezTo>
                <a:cubicBezTo>
                  <a:pt x="23000" y="4094"/>
                  <a:pt x="23000" y="4031"/>
                  <a:pt x="22969" y="3969"/>
                </a:cubicBezTo>
                <a:cubicBezTo>
                  <a:pt x="23000" y="4000"/>
                  <a:pt x="23062" y="4063"/>
                  <a:pt x="23094" y="4125"/>
                </a:cubicBezTo>
                <a:cubicBezTo>
                  <a:pt x="23094" y="4125"/>
                  <a:pt x="23094" y="4125"/>
                  <a:pt x="23094" y="4125"/>
                </a:cubicBezTo>
                <a:cubicBezTo>
                  <a:pt x="23094" y="4094"/>
                  <a:pt x="23125" y="4094"/>
                  <a:pt x="23125" y="4094"/>
                </a:cubicBezTo>
                <a:cubicBezTo>
                  <a:pt x="23125" y="4094"/>
                  <a:pt x="23125" y="4063"/>
                  <a:pt x="23125" y="4063"/>
                </a:cubicBezTo>
                <a:cubicBezTo>
                  <a:pt x="23125" y="4063"/>
                  <a:pt x="23125" y="4063"/>
                  <a:pt x="23125" y="4031"/>
                </a:cubicBezTo>
                <a:cubicBezTo>
                  <a:pt x="23125" y="4031"/>
                  <a:pt x="23094" y="4000"/>
                  <a:pt x="23125" y="3969"/>
                </a:cubicBezTo>
                <a:cubicBezTo>
                  <a:pt x="23187" y="4031"/>
                  <a:pt x="23187" y="4125"/>
                  <a:pt x="23250" y="4156"/>
                </a:cubicBezTo>
                <a:cubicBezTo>
                  <a:pt x="23250" y="4188"/>
                  <a:pt x="23281" y="4219"/>
                  <a:pt x="23312" y="4188"/>
                </a:cubicBezTo>
                <a:cubicBezTo>
                  <a:pt x="23375" y="4188"/>
                  <a:pt x="23344" y="4156"/>
                  <a:pt x="23312" y="4125"/>
                </a:cubicBezTo>
                <a:cubicBezTo>
                  <a:pt x="23281" y="4063"/>
                  <a:pt x="23250" y="3969"/>
                  <a:pt x="23250" y="3875"/>
                </a:cubicBezTo>
                <a:cubicBezTo>
                  <a:pt x="23281" y="3906"/>
                  <a:pt x="23312" y="3938"/>
                  <a:pt x="23375" y="3938"/>
                </a:cubicBezTo>
                <a:cubicBezTo>
                  <a:pt x="23375" y="3938"/>
                  <a:pt x="23375" y="3938"/>
                  <a:pt x="23375" y="3906"/>
                </a:cubicBezTo>
                <a:cubicBezTo>
                  <a:pt x="23375" y="3906"/>
                  <a:pt x="23375" y="3906"/>
                  <a:pt x="23375" y="3906"/>
                </a:cubicBezTo>
                <a:cubicBezTo>
                  <a:pt x="23375" y="3875"/>
                  <a:pt x="23312" y="3844"/>
                  <a:pt x="23312" y="3813"/>
                </a:cubicBezTo>
                <a:cubicBezTo>
                  <a:pt x="23312" y="3781"/>
                  <a:pt x="23344" y="3781"/>
                  <a:pt x="23344" y="3750"/>
                </a:cubicBezTo>
                <a:cubicBezTo>
                  <a:pt x="23406" y="3813"/>
                  <a:pt x="23469" y="3875"/>
                  <a:pt x="23500" y="3938"/>
                </a:cubicBezTo>
                <a:cubicBezTo>
                  <a:pt x="23500" y="3969"/>
                  <a:pt x="23531" y="3969"/>
                  <a:pt x="23531" y="3969"/>
                </a:cubicBezTo>
                <a:cubicBezTo>
                  <a:pt x="23531" y="4000"/>
                  <a:pt x="23531" y="4000"/>
                  <a:pt x="23531" y="4000"/>
                </a:cubicBezTo>
                <a:cubicBezTo>
                  <a:pt x="23531" y="4000"/>
                  <a:pt x="23562" y="4000"/>
                  <a:pt x="23562" y="4000"/>
                </a:cubicBezTo>
                <a:cubicBezTo>
                  <a:pt x="23562" y="3969"/>
                  <a:pt x="23562" y="3969"/>
                  <a:pt x="23562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69"/>
                  <a:pt x="23594" y="3969"/>
                  <a:pt x="23594" y="3969"/>
                </a:cubicBezTo>
                <a:cubicBezTo>
                  <a:pt x="23594" y="3938"/>
                  <a:pt x="23594" y="3906"/>
                  <a:pt x="23594" y="3875"/>
                </a:cubicBezTo>
                <a:cubicBezTo>
                  <a:pt x="23562" y="3875"/>
                  <a:pt x="23531" y="3844"/>
                  <a:pt x="23531" y="3813"/>
                </a:cubicBezTo>
                <a:cubicBezTo>
                  <a:pt x="23531" y="3813"/>
                  <a:pt x="23562" y="3813"/>
                  <a:pt x="23562" y="3813"/>
                </a:cubicBezTo>
                <a:cubicBezTo>
                  <a:pt x="23594" y="3813"/>
                  <a:pt x="23594" y="3844"/>
                  <a:pt x="23594" y="3875"/>
                </a:cubicBezTo>
                <a:cubicBezTo>
                  <a:pt x="23594" y="3875"/>
                  <a:pt x="23594" y="3875"/>
                  <a:pt x="23594" y="3875"/>
                </a:cubicBezTo>
                <a:cubicBezTo>
                  <a:pt x="23656" y="3875"/>
                  <a:pt x="23656" y="3906"/>
                  <a:pt x="23687" y="3938"/>
                </a:cubicBezTo>
                <a:cubicBezTo>
                  <a:pt x="23687" y="3938"/>
                  <a:pt x="23687" y="3938"/>
                  <a:pt x="23687" y="3938"/>
                </a:cubicBezTo>
                <a:cubicBezTo>
                  <a:pt x="23719" y="3969"/>
                  <a:pt x="23719" y="3969"/>
                  <a:pt x="23750" y="4000"/>
                </a:cubicBezTo>
                <a:cubicBezTo>
                  <a:pt x="23750" y="4000"/>
                  <a:pt x="23750" y="4031"/>
                  <a:pt x="23781" y="4000"/>
                </a:cubicBezTo>
                <a:cubicBezTo>
                  <a:pt x="23812" y="3969"/>
                  <a:pt x="23812" y="3969"/>
                  <a:pt x="23781" y="3938"/>
                </a:cubicBezTo>
                <a:cubicBezTo>
                  <a:pt x="23750" y="3938"/>
                  <a:pt x="23719" y="3906"/>
                  <a:pt x="23750" y="3875"/>
                </a:cubicBezTo>
                <a:cubicBezTo>
                  <a:pt x="23781" y="3875"/>
                  <a:pt x="23812" y="3875"/>
                  <a:pt x="23812" y="3875"/>
                </a:cubicBezTo>
                <a:cubicBezTo>
                  <a:pt x="23812" y="3906"/>
                  <a:pt x="23844" y="3906"/>
                  <a:pt x="23844" y="3906"/>
                </a:cubicBezTo>
                <a:cubicBezTo>
                  <a:pt x="23906" y="3938"/>
                  <a:pt x="23937" y="3875"/>
                  <a:pt x="23969" y="3875"/>
                </a:cubicBezTo>
                <a:cubicBezTo>
                  <a:pt x="23969" y="3844"/>
                  <a:pt x="23906" y="3813"/>
                  <a:pt x="23906" y="3781"/>
                </a:cubicBezTo>
                <a:cubicBezTo>
                  <a:pt x="23906" y="3781"/>
                  <a:pt x="23906" y="3750"/>
                  <a:pt x="23906" y="3750"/>
                </a:cubicBezTo>
                <a:cubicBezTo>
                  <a:pt x="23906" y="3750"/>
                  <a:pt x="23906" y="3750"/>
                  <a:pt x="23906" y="3781"/>
                </a:cubicBezTo>
                <a:cubicBezTo>
                  <a:pt x="23906" y="3781"/>
                  <a:pt x="23906" y="3781"/>
                  <a:pt x="23906" y="3781"/>
                </a:cubicBezTo>
                <a:cubicBezTo>
                  <a:pt x="23969" y="3750"/>
                  <a:pt x="24000" y="3781"/>
                  <a:pt x="24031" y="3781"/>
                </a:cubicBezTo>
                <a:cubicBezTo>
                  <a:pt x="24062" y="3781"/>
                  <a:pt x="24062" y="3813"/>
                  <a:pt x="24094" y="3781"/>
                </a:cubicBezTo>
                <a:cubicBezTo>
                  <a:pt x="24031" y="3750"/>
                  <a:pt x="23969" y="3688"/>
                  <a:pt x="24000" y="3625"/>
                </a:cubicBezTo>
                <a:cubicBezTo>
                  <a:pt x="23969" y="3625"/>
                  <a:pt x="23906" y="3625"/>
                  <a:pt x="23937" y="3563"/>
                </a:cubicBezTo>
                <a:cubicBezTo>
                  <a:pt x="23937" y="3563"/>
                  <a:pt x="23969" y="3563"/>
                  <a:pt x="23969" y="3563"/>
                </a:cubicBezTo>
                <a:cubicBezTo>
                  <a:pt x="23969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63"/>
                  <a:pt x="24000" y="3563"/>
                  <a:pt x="24000" y="3563"/>
                </a:cubicBezTo>
                <a:cubicBezTo>
                  <a:pt x="24000" y="3531"/>
                  <a:pt x="24000" y="3531"/>
                  <a:pt x="24000" y="3531"/>
                </a:cubicBezTo>
                <a:cubicBezTo>
                  <a:pt x="23969" y="3469"/>
                  <a:pt x="23906" y="3469"/>
                  <a:pt x="23875" y="3438"/>
                </a:cubicBezTo>
                <a:cubicBezTo>
                  <a:pt x="23875" y="3406"/>
                  <a:pt x="23844" y="3406"/>
                  <a:pt x="23844" y="3375"/>
                </a:cubicBezTo>
                <a:cubicBezTo>
                  <a:pt x="23937" y="3344"/>
                  <a:pt x="24031" y="3406"/>
                  <a:pt x="24125" y="3406"/>
                </a:cubicBezTo>
                <a:cubicBezTo>
                  <a:pt x="24062" y="3375"/>
                  <a:pt x="24000" y="3344"/>
                  <a:pt x="23969" y="3313"/>
                </a:cubicBezTo>
                <a:cubicBezTo>
                  <a:pt x="23937" y="3281"/>
                  <a:pt x="23844" y="3281"/>
                  <a:pt x="23875" y="3219"/>
                </a:cubicBezTo>
                <a:cubicBezTo>
                  <a:pt x="23875" y="3219"/>
                  <a:pt x="23875" y="3219"/>
                  <a:pt x="23906" y="3188"/>
                </a:cubicBezTo>
                <a:cubicBezTo>
                  <a:pt x="23906" y="3188"/>
                  <a:pt x="23906" y="3188"/>
                  <a:pt x="23906" y="3188"/>
                </a:cubicBezTo>
                <a:cubicBezTo>
                  <a:pt x="23937" y="3188"/>
                  <a:pt x="23969" y="3219"/>
                  <a:pt x="24000" y="3219"/>
                </a:cubicBezTo>
                <a:cubicBezTo>
                  <a:pt x="24000" y="3156"/>
                  <a:pt x="23906" y="3156"/>
                  <a:pt x="23875" y="3094"/>
                </a:cubicBezTo>
                <a:cubicBezTo>
                  <a:pt x="23906" y="3031"/>
                  <a:pt x="23969" y="3094"/>
                  <a:pt x="24031" y="3063"/>
                </a:cubicBezTo>
                <a:cubicBezTo>
                  <a:pt x="23969" y="3031"/>
                  <a:pt x="23906" y="3063"/>
                  <a:pt x="23906" y="3000"/>
                </a:cubicBezTo>
                <a:cubicBezTo>
                  <a:pt x="23906" y="3000"/>
                  <a:pt x="23906" y="2969"/>
                  <a:pt x="23906" y="2969"/>
                </a:cubicBezTo>
                <a:cubicBezTo>
                  <a:pt x="23906" y="2969"/>
                  <a:pt x="23906" y="2969"/>
                  <a:pt x="23937" y="2969"/>
                </a:cubicBezTo>
                <a:cubicBezTo>
                  <a:pt x="23937" y="2969"/>
                  <a:pt x="23937" y="2969"/>
                  <a:pt x="23937" y="2969"/>
                </a:cubicBezTo>
                <a:cubicBezTo>
                  <a:pt x="23937" y="2969"/>
                  <a:pt x="23969" y="2969"/>
                  <a:pt x="24000" y="2969"/>
                </a:cubicBezTo>
                <a:cubicBezTo>
                  <a:pt x="24000" y="2938"/>
                  <a:pt x="24000" y="2938"/>
                  <a:pt x="24031" y="2938"/>
                </a:cubicBezTo>
                <a:cubicBezTo>
                  <a:pt x="24031" y="2938"/>
                  <a:pt x="24031" y="2938"/>
                  <a:pt x="24031" y="2938"/>
                </a:cubicBezTo>
                <a:cubicBezTo>
                  <a:pt x="23969" y="2906"/>
                  <a:pt x="23937" y="2906"/>
                  <a:pt x="23969" y="2813"/>
                </a:cubicBezTo>
                <a:cubicBezTo>
                  <a:pt x="24000" y="2688"/>
                  <a:pt x="24000" y="2531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406"/>
                  <a:pt x="24000" y="2406"/>
                  <a:pt x="24000" y="2406"/>
                </a:cubicBezTo>
                <a:cubicBezTo>
                  <a:pt x="24000" y="2375"/>
                  <a:pt x="24000" y="2344"/>
                  <a:pt x="24000" y="2344"/>
                </a:cubicBezTo>
                <a:cubicBezTo>
                  <a:pt x="24000" y="2281"/>
                  <a:pt x="24000" y="2250"/>
                  <a:pt x="24000" y="2188"/>
                </a:cubicBezTo>
                <a:cubicBezTo>
                  <a:pt x="24000" y="2188"/>
                  <a:pt x="24000" y="2156"/>
                  <a:pt x="24000" y="2156"/>
                </a:cubicBezTo>
                <a:cubicBezTo>
                  <a:pt x="24000" y="2125"/>
                  <a:pt x="24000" y="2094"/>
                  <a:pt x="24031" y="2094"/>
                </a:cubicBezTo>
                <a:cubicBezTo>
                  <a:pt x="24000" y="2063"/>
                  <a:pt x="24000" y="2031"/>
                  <a:pt x="24000" y="2031"/>
                </a:cubicBezTo>
                <a:cubicBezTo>
                  <a:pt x="24000" y="2000"/>
                  <a:pt x="24000" y="1969"/>
                  <a:pt x="24031" y="1969"/>
                </a:cubicBezTo>
                <a:cubicBezTo>
                  <a:pt x="24031" y="1938"/>
                  <a:pt x="24031" y="1875"/>
                  <a:pt x="24000" y="1844"/>
                </a:cubicBezTo>
                <a:cubicBezTo>
                  <a:pt x="24000" y="1781"/>
                  <a:pt x="24000" y="1688"/>
                  <a:pt x="24000" y="1625"/>
                </a:cubicBezTo>
                <a:cubicBezTo>
                  <a:pt x="24031" y="1531"/>
                  <a:pt x="24062" y="1406"/>
                  <a:pt x="24094" y="1313"/>
                </a:cubicBezTo>
                <a:cubicBezTo>
                  <a:pt x="24125" y="1250"/>
                  <a:pt x="24125" y="1188"/>
                  <a:pt x="24156" y="1125"/>
                </a:cubicBezTo>
                <a:cubicBezTo>
                  <a:pt x="24187" y="1094"/>
                  <a:pt x="24187" y="1063"/>
                  <a:pt x="24187" y="1031"/>
                </a:cubicBezTo>
                <a:cubicBezTo>
                  <a:pt x="24187" y="1031"/>
                  <a:pt x="24156" y="1031"/>
                  <a:pt x="24187" y="1031"/>
                </a:cubicBezTo>
                <a:cubicBezTo>
                  <a:pt x="24187" y="1000"/>
                  <a:pt x="24187" y="1000"/>
                  <a:pt x="24187" y="1031"/>
                </a:cubicBezTo>
                <a:cubicBezTo>
                  <a:pt x="24187" y="1031"/>
                  <a:pt x="24187" y="1031"/>
                  <a:pt x="24187" y="1031"/>
                </a:cubicBezTo>
                <a:cubicBezTo>
                  <a:pt x="24281" y="1000"/>
                  <a:pt x="24312" y="969"/>
                  <a:pt x="24344" y="938"/>
                </a:cubicBezTo>
                <a:cubicBezTo>
                  <a:pt x="24375" y="906"/>
                  <a:pt x="24375" y="906"/>
                  <a:pt x="24406" y="875"/>
                </a:cubicBezTo>
                <a:cubicBezTo>
                  <a:pt x="24406" y="875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375" y="813"/>
                </a:cubicBezTo>
                <a:cubicBezTo>
                  <a:pt x="24406" y="813"/>
                  <a:pt x="24406" y="813"/>
                  <a:pt x="24406" y="813"/>
                </a:cubicBezTo>
                <a:cubicBezTo>
                  <a:pt x="24406" y="813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06" y="844"/>
                  <a:pt x="24406" y="844"/>
                  <a:pt x="24406" y="844"/>
                </a:cubicBezTo>
                <a:cubicBezTo>
                  <a:pt x="24437" y="844"/>
                  <a:pt x="24469" y="813"/>
                  <a:pt x="24469" y="813"/>
                </a:cubicBezTo>
                <a:cubicBezTo>
                  <a:pt x="24469" y="813"/>
                  <a:pt x="24500" y="813"/>
                  <a:pt x="24500" y="813"/>
                </a:cubicBezTo>
                <a:cubicBezTo>
                  <a:pt x="24500" y="813"/>
                  <a:pt x="24531" y="813"/>
                  <a:pt x="24531" y="813"/>
                </a:cubicBezTo>
                <a:cubicBezTo>
                  <a:pt x="24531" y="813"/>
                  <a:pt x="24562" y="813"/>
                  <a:pt x="24562" y="813"/>
                </a:cubicBezTo>
                <a:cubicBezTo>
                  <a:pt x="24594" y="750"/>
                  <a:pt x="24500" y="750"/>
                  <a:pt x="24500" y="719"/>
                </a:cubicBezTo>
                <a:cubicBezTo>
                  <a:pt x="24500" y="719"/>
                  <a:pt x="24500" y="688"/>
                  <a:pt x="24500" y="688"/>
                </a:cubicBezTo>
                <a:cubicBezTo>
                  <a:pt x="24500" y="688"/>
                  <a:pt x="24500" y="688"/>
                  <a:pt x="24500" y="688"/>
                </a:cubicBezTo>
                <a:cubicBezTo>
                  <a:pt x="24500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31" y="688"/>
                  <a:pt x="24531" y="688"/>
                  <a:pt x="24531" y="688"/>
                </a:cubicBezTo>
                <a:cubicBezTo>
                  <a:pt x="24562" y="688"/>
                  <a:pt x="24594" y="719"/>
                  <a:pt x="24625" y="688"/>
                </a:cubicBezTo>
                <a:cubicBezTo>
                  <a:pt x="24625" y="688"/>
                  <a:pt x="24625" y="688"/>
                  <a:pt x="24656" y="688"/>
                </a:cubicBezTo>
                <a:cubicBezTo>
                  <a:pt x="24656" y="688"/>
                  <a:pt x="24656" y="688"/>
                  <a:pt x="24656" y="688"/>
                </a:cubicBezTo>
                <a:cubicBezTo>
                  <a:pt x="24656" y="688"/>
                  <a:pt x="24656" y="656"/>
                  <a:pt x="24656" y="656"/>
                </a:cubicBezTo>
                <a:cubicBezTo>
                  <a:pt x="24656" y="656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56" y="625"/>
                  <a:pt x="24656" y="625"/>
                </a:cubicBezTo>
                <a:cubicBezTo>
                  <a:pt x="24656" y="625"/>
                  <a:pt x="24687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19" y="625"/>
                  <a:pt x="24719" y="625"/>
                  <a:pt x="24719" y="625"/>
                </a:cubicBezTo>
                <a:cubicBezTo>
                  <a:pt x="24750" y="531"/>
                  <a:pt x="24906" y="469"/>
                  <a:pt x="25000" y="563"/>
                </a:cubicBezTo>
                <a:cubicBezTo>
                  <a:pt x="25125" y="625"/>
                  <a:pt x="25187" y="594"/>
                  <a:pt x="25281" y="531"/>
                </a:cubicBezTo>
                <a:cubicBezTo>
                  <a:pt x="25312" y="469"/>
                  <a:pt x="25375" y="406"/>
                  <a:pt x="25250" y="375"/>
                </a:cubicBezTo>
                <a:cubicBezTo>
                  <a:pt x="25219" y="375"/>
                  <a:pt x="25187" y="344"/>
                  <a:pt x="25219" y="281"/>
                </a:cubicBezTo>
                <a:cubicBezTo>
                  <a:pt x="25250" y="219"/>
                  <a:pt x="25375" y="156"/>
                  <a:pt x="25469" y="156"/>
                </a:cubicBezTo>
                <a:cubicBezTo>
                  <a:pt x="25562" y="156"/>
                  <a:pt x="25625" y="94"/>
                  <a:pt x="25719" y="125"/>
                </a:cubicBezTo>
                <a:cubicBezTo>
                  <a:pt x="25844" y="219"/>
                  <a:pt x="26031" y="125"/>
                  <a:pt x="26125" y="281"/>
                </a:cubicBezTo>
                <a:lnTo>
                  <a:pt x="26125" y="281"/>
                </a:lnTo>
                <a:cubicBezTo>
                  <a:pt x="26281" y="438"/>
                  <a:pt x="26312" y="625"/>
                  <a:pt x="26281" y="844"/>
                </a:cubicBezTo>
                <a:cubicBezTo>
                  <a:pt x="26250" y="1031"/>
                  <a:pt x="26094" y="1125"/>
                  <a:pt x="25906" y="1063"/>
                </a:cubicBezTo>
                <a:cubicBezTo>
                  <a:pt x="25781" y="1000"/>
                  <a:pt x="25625" y="1031"/>
                  <a:pt x="25562" y="875"/>
                </a:cubicBezTo>
                <a:cubicBezTo>
                  <a:pt x="25531" y="844"/>
                  <a:pt x="25469" y="875"/>
                  <a:pt x="25469" y="906"/>
                </a:cubicBezTo>
                <a:cubicBezTo>
                  <a:pt x="25406" y="1000"/>
                  <a:pt x="25312" y="1094"/>
                  <a:pt x="25312" y="1219"/>
                </a:cubicBezTo>
                <a:cubicBezTo>
                  <a:pt x="25312" y="1250"/>
                  <a:pt x="25281" y="1250"/>
                  <a:pt x="25281" y="1281"/>
                </a:cubicBezTo>
                <a:cubicBezTo>
                  <a:pt x="25187" y="1344"/>
                  <a:pt x="25156" y="1469"/>
                  <a:pt x="25125" y="1594"/>
                </a:cubicBezTo>
                <a:cubicBezTo>
                  <a:pt x="25094" y="1844"/>
                  <a:pt x="25062" y="2094"/>
                  <a:pt x="25094" y="2344"/>
                </a:cubicBezTo>
                <a:cubicBezTo>
                  <a:pt x="25125" y="2406"/>
                  <a:pt x="25125" y="2500"/>
                  <a:pt x="25125" y="2563"/>
                </a:cubicBezTo>
                <a:cubicBezTo>
                  <a:pt x="25125" y="2594"/>
                  <a:pt x="25125" y="2656"/>
                  <a:pt x="25125" y="2688"/>
                </a:cubicBezTo>
                <a:cubicBezTo>
                  <a:pt x="25094" y="2875"/>
                  <a:pt x="25062" y="3031"/>
                  <a:pt x="25062" y="3219"/>
                </a:cubicBezTo>
                <a:cubicBezTo>
                  <a:pt x="25062" y="3250"/>
                  <a:pt x="25062" y="3250"/>
                  <a:pt x="25062" y="3250"/>
                </a:cubicBezTo>
                <a:cubicBezTo>
                  <a:pt x="25062" y="3250"/>
                  <a:pt x="25062" y="3250"/>
                  <a:pt x="25031" y="3250"/>
                </a:cubicBezTo>
                <a:cubicBezTo>
                  <a:pt x="25031" y="3281"/>
                  <a:pt x="25031" y="3281"/>
                  <a:pt x="25031" y="3281"/>
                </a:cubicBezTo>
                <a:cubicBezTo>
                  <a:pt x="25031" y="3281"/>
                  <a:pt x="25031" y="3313"/>
                  <a:pt x="25000" y="3313"/>
                </a:cubicBezTo>
                <a:cubicBezTo>
                  <a:pt x="24969" y="3375"/>
                  <a:pt x="24969" y="3469"/>
                  <a:pt x="24937" y="3563"/>
                </a:cubicBezTo>
                <a:cubicBezTo>
                  <a:pt x="24937" y="3594"/>
                  <a:pt x="24937" y="3594"/>
                  <a:pt x="24937" y="3625"/>
                </a:cubicBezTo>
                <a:cubicBezTo>
                  <a:pt x="24937" y="3625"/>
                  <a:pt x="24937" y="3656"/>
                  <a:pt x="24937" y="3656"/>
                </a:cubicBezTo>
                <a:cubicBezTo>
                  <a:pt x="24719" y="4281"/>
                  <a:pt x="24344" y="4781"/>
                  <a:pt x="23812" y="5125"/>
                </a:cubicBezTo>
                <a:cubicBezTo>
                  <a:pt x="23594" y="5281"/>
                  <a:pt x="23344" y="5406"/>
                  <a:pt x="23094" y="5500"/>
                </a:cubicBezTo>
                <a:cubicBezTo>
                  <a:pt x="22906" y="5563"/>
                  <a:pt x="22750" y="5625"/>
                  <a:pt x="22562" y="5688"/>
                </a:cubicBezTo>
                <a:cubicBezTo>
                  <a:pt x="22500" y="5719"/>
                  <a:pt x="22437" y="5750"/>
                  <a:pt x="22344" y="5750"/>
                </a:cubicBezTo>
                <a:cubicBezTo>
                  <a:pt x="22250" y="5750"/>
                  <a:pt x="22094" y="5813"/>
                  <a:pt x="22031" y="5875"/>
                </a:cubicBezTo>
                <a:cubicBezTo>
                  <a:pt x="22000" y="5906"/>
                  <a:pt x="21969" y="5906"/>
                  <a:pt x="21969" y="5906"/>
                </a:cubicBezTo>
                <a:cubicBezTo>
                  <a:pt x="21719" y="5844"/>
                  <a:pt x="21469" y="5938"/>
                  <a:pt x="21250" y="5844"/>
                </a:cubicBezTo>
                <a:cubicBezTo>
                  <a:pt x="21187" y="5813"/>
                  <a:pt x="21187" y="5875"/>
                  <a:pt x="21187" y="5906"/>
                </a:cubicBezTo>
                <a:cubicBezTo>
                  <a:pt x="21250" y="5969"/>
                  <a:pt x="21281" y="6063"/>
                  <a:pt x="21344" y="6125"/>
                </a:cubicBezTo>
                <a:cubicBezTo>
                  <a:pt x="21469" y="6250"/>
                  <a:pt x="21594" y="6406"/>
                  <a:pt x="21719" y="6531"/>
                </a:cubicBezTo>
                <a:cubicBezTo>
                  <a:pt x="21906" y="6688"/>
                  <a:pt x="21969" y="6938"/>
                  <a:pt x="22094" y="7125"/>
                </a:cubicBezTo>
                <a:cubicBezTo>
                  <a:pt x="22156" y="7188"/>
                  <a:pt x="22094" y="7219"/>
                  <a:pt x="22031" y="7250"/>
                </a:cubicBezTo>
                <a:cubicBezTo>
                  <a:pt x="22000" y="7281"/>
                  <a:pt x="21937" y="7250"/>
                  <a:pt x="21906" y="7250"/>
                </a:cubicBezTo>
                <a:cubicBezTo>
                  <a:pt x="21781" y="7188"/>
                  <a:pt x="21687" y="7125"/>
                  <a:pt x="21531" y="7094"/>
                </a:cubicBezTo>
                <a:cubicBezTo>
                  <a:pt x="21469" y="7094"/>
                  <a:pt x="21406" y="7031"/>
                  <a:pt x="21375" y="6969"/>
                </a:cubicBezTo>
                <a:cubicBezTo>
                  <a:pt x="21312" y="6844"/>
                  <a:pt x="21219" y="6813"/>
                  <a:pt x="21125" y="6906"/>
                </a:cubicBezTo>
                <a:cubicBezTo>
                  <a:pt x="21062" y="6969"/>
                  <a:pt x="21000" y="7000"/>
                  <a:pt x="20906" y="6969"/>
                </a:cubicBezTo>
                <a:cubicBezTo>
                  <a:pt x="20844" y="6969"/>
                  <a:pt x="20781" y="6969"/>
                  <a:pt x="20719" y="7000"/>
                </a:cubicBezTo>
                <a:cubicBezTo>
                  <a:pt x="20594" y="7031"/>
                  <a:pt x="20469" y="7063"/>
                  <a:pt x="20344" y="7031"/>
                </a:cubicBezTo>
                <a:cubicBezTo>
                  <a:pt x="20094" y="6969"/>
                  <a:pt x="19844" y="7063"/>
                  <a:pt x="19594" y="7125"/>
                </a:cubicBezTo>
                <a:cubicBezTo>
                  <a:pt x="19406" y="7188"/>
                  <a:pt x="19219" y="7219"/>
                  <a:pt x="19000" y="7188"/>
                </a:cubicBezTo>
                <a:cubicBezTo>
                  <a:pt x="18687" y="7188"/>
                  <a:pt x="18375" y="7094"/>
                  <a:pt x="18094" y="6969"/>
                </a:cubicBezTo>
                <a:cubicBezTo>
                  <a:pt x="18000" y="6906"/>
                  <a:pt x="17875" y="6844"/>
                  <a:pt x="17812" y="6750"/>
                </a:cubicBezTo>
                <a:cubicBezTo>
                  <a:pt x="17719" y="6688"/>
                  <a:pt x="17656" y="6688"/>
                  <a:pt x="17562" y="6719"/>
                </a:cubicBezTo>
                <a:cubicBezTo>
                  <a:pt x="17531" y="6719"/>
                  <a:pt x="17500" y="6719"/>
                  <a:pt x="17500" y="6719"/>
                </a:cubicBezTo>
                <a:cubicBezTo>
                  <a:pt x="17156" y="6719"/>
                  <a:pt x="16812" y="6813"/>
                  <a:pt x="16469" y="6781"/>
                </a:cubicBezTo>
                <a:cubicBezTo>
                  <a:pt x="16375" y="6781"/>
                  <a:pt x="16281" y="6844"/>
                  <a:pt x="16219" y="6906"/>
                </a:cubicBezTo>
                <a:cubicBezTo>
                  <a:pt x="16094" y="6969"/>
                  <a:pt x="16000" y="7063"/>
                  <a:pt x="15906" y="7125"/>
                </a:cubicBezTo>
                <a:cubicBezTo>
                  <a:pt x="15844" y="7188"/>
                  <a:pt x="15812" y="7219"/>
                  <a:pt x="15812" y="7313"/>
                </a:cubicBezTo>
                <a:cubicBezTo>
                  <a:pt x="15844" y="7406"/>
                  <a:pt x="15812" y="7500"/>
                  <a:pt x="15781" y="7563"/>
                </a:cubicBezTo>
                <a:cubicBezTo>
                  <a:pt x="15719" y="7781"/>
                  <a:pt x="15812" y="7969"/>
                  <a:pt x="15781" y="8156"/>
                </a:cubicBezTo>
                <a:cubicBezTo>
                  <a:pt x="15875" y="8375"/>
                  <a:pt x="15969" y="8594"/>
                  <a:pt x="16062" y="8813"/>
                </a:cubicBezTo>
                <a:cubicBezTo>
                  <a:pt x="16219" y="9219"/>
                  <a:pt x="16375" y="9625"/>
                  <a:pt x="16437" y="10063"/>
                </a:cubicBezTo>
                <a:cubicBezTo>
                  <a:pt x="16500" y="10313"/>
                  <a:pt x="16500" y="10563"/>
                  <a:pt x="16531" y="10813"/>
                </a:cubicBezTo>
                <a:cubicBezTo>
                  <a:pt x="16531" y="10844"/>
                  <a:pt x="16531" y="10875"/>
                  <a:pt x="16500" y="10906"/>
                </a:cubicBezTo>
                <a:cubicBezTo>
                  <a:pt x="16531" y="10969"/>
                  <a:pt x="16531" y="11063"/>
                  <a:pt x="16531" y="11125"/>
                </a:cubicBezTo>
                <a:cubicBezTo>
                  <a:pt x="16531" y="11125"/>
                  <a:pt x="16531" y="11125"/>
                  <a:pt x="16531" y="11125"/>
                </a:cubicBezTo>
                <a:cubicBezTo>
                  <a:pt x="16531" y="11156"/>
                  <a:pt x="16531" y="11188"/>
                  <a:pt x="16531" y="11188"/>
                </a:cubicBezTo>
                <a:cubicBezTo>
                  <a:pt x="16531" y="11406"/>
                  <a:pt x="16531" y="11625"/>
                  <a:pt x="16531" y="11719"/>
                </a:cubicBezTo>
                <a:cubicBezTo>
                  <a:pt x="16531" y="11719"/>
                  <a:pt x="16531" y="11719"/>
                  <a:pt x="16531" y="11750"/>
                </a:cubicBezTo>
                <a:cubicBezTo>
                  <a:pt x="16531" y="12031"/>
                  <a:pt x="16500" y="12344"/>
                  <a:pt x="16500" y="12656"/>
                </a:cubicBezTo>
                <a:cubicBezTo>
                  <a:pt x="16531" y="13031"/>
                  <a:pt x="16437" y="13406"/>
                  <a:pt x="16469" y="13813"/>
                </a:cubicBezTo>
                <a:cubicBezTo>
                  <a:pt x="16469" y="13844"/>
                  <a:pt x="16469" y="13875"/>
                  <a:pt x="16469" y="13938"/>
                </a:cubicBezTo>
                <a:cubicBezTo>
                  <a:pt x="16469" y="13938"/>
                  <a:pt x="16469" y="13969"/>
                  <a:pt x="16469" y="13969"/>
                </a:cubicBezTo>
                <a:cubicBezTo>
                  <a:pt x="16469" y="14031"/>
                  <a:pt x="16469" y="14094"/>
                  <a:pt x="16437" y="14156"/>
                </a:cubicBezTo>
                <a:cubicBezTo>
                  <a:pt x="16437" y="14188"/>
                  <a:pt x="16437" y="14188"/>
                  <a:pt x="16437" y="14219"/>
                </a:cubicBezTo>
                <a:cubicBezTo>
                  <a:pt x="16437" y="14219"/>
                  <a:pt x="16437" y="14250"/>
                  <a:pt x="16437" y="14250"/>
                </a:cubicBezTo>
                <a:cubicBezTo>
                  <a:pt x="16437" y="14281"/>
                  <a:pt x="16437" y="14313"/>
                  <a:pt x="16437" y="14344"/>
                </a:cubicBezTo>
                <a:cubicBezTo>
                  <a:pt x="16437" y="14344"/>
                  <a:pt x="16437" y="14375"/>
                  <a:pt x="16406" y="14375"/>
                </a:cubicBezTo>
                <a:cubicBezTo>
                  <a:pt x="16437" y="14438"/>
                  <a:pt x="16437" y="14469"/>
                  <a:pt x="16437" y="14500"/>
                </a:cubicBezTo>
                <a:cubicBezTo>
                  <a:pt x="16437" y="14531"/>
                  <a:pt x="16437" y="14531"/>
                  <a:pt x="16437" y="14563"/>
                </a:cubicBezTo>
                <a:cubicBezTo>
                  <a:pt x="16437" y="14563"/>
                  <a:pt x="16437" y="14563"/>
                  <a:pt x="16406" y="14563"/>
                </a:cubicBezTo>
                <a:cubicBezTo>
                  <a:pt x="16406" y="14594"/>
                  <a:pt x="16406" y="14594"/>
                  <a:pt x="16406" y="14594"/>
                </a:cubicBezTo>
                <a:cubicBezTo>
                  <a:pt x="16375" y="14813"/>
                  <a:pt x="16219" y="14844"/>
                  <a:pt x="16031" y="14844"/>
                </a:cubicBezTo>
                <a:cubicBezTo>
                  <a:pt x="16000" y="14875"/>
                  <a:pt x="15969" y="14844"/>
                  <a:pt x="15906" y="14875"/>
                </a:cubicBezTo>
                <a:cubicBezTo>
                  <a:pt x="16062" y="15000"/>
                  <a:pt x="16219" y="14906"/>
                  <a:pt x="16375" y="14844"/>
                </a:cubicBezTo>
                <a:cubicBezTo>
                  <a:pt x="16406" y="14969"/>
                  <a:pt x="16312" y="15031"/>
                  <a:pt x="16219" y="15063"/>
                </a:cubicBezTo>
                <a:cubicBezTo>
                  <a:pt x="16094" y="15125"/>
                  <a:pt x="15969" y="15156"/>
                  <a:pt x="15844" y="15219"/>
                </a:cubicBezTo>
                <a:cubicBezTo>
                  <a:pt x="16000" y="15219"/>
                  <a:pt x="16187" y="15281"/>
                  <a:pt x="16344" y="15250"/>
                </a:cubicBezTo>
                <a:cubicBezTo>
                  <a:pt x="16312" y="15219"/>
                  <a:pt x="16187" y="15281"/>
                  <a:pt x="16156" y="15156"/>
                </a:cubicBezTo>
                <a:cubicBezTo>
                  <a:pt x="16250" y="15125"/>
                  <a:pt x="16344" y="15125"/>
                  <a:pt x="16437" y="15188"/>
                </a:cubicBezTo>
                <a:cubicBezTo>
                  <a:pt x="16469" y="15188"/>
                  <a:pt x="16437" y="15250"/>
                  <a:pt x="16375" y="15281"/>
                </a:cubicBezTo>
                <a:cubicBezTo>
                  <a:pt x="16375" y="15281"/>
                  <a:pt x="16375" y="15281"/>
                  <a:pt x="16375" y="15281"/>
                </a:cubicBezTo>
                <a:cubicBezTo>
                  <a:pt x="16344" y="15344"/>
                  <a:pt x="16281" y="15375"/>
                  <a:pt x="16219" y="15375"/>
                </a:cubicBezTo>
                <a:cubicBezTo>
                  <a:pt x="16187" y="15344"/>
                  <a:pt x="16187" y="15344"/>
                  <a:pt x="16156" y="15344"/>
                </a:cubicBezTo>
                <a:cubicBezTo>
                  <a:pt x="16125" y="15344"/>
                  <a:pt x="16125" y="15344"/>
                  <a:pt x="16125" y="15344"/>
                </a:cubicBezTo>
                <a:cubicBezTo>
                  <a:pt x="16094" y="15344"/>
                  <a:pt x="16094" y="15344"/>
                  <a:pt x="16094" y="15344"/>
                </a:cubicBezTo>
                <a:cubicBezTo>
                  <a:pt x="16062" y="15344"/>
                  <a:pt x="16062" y="15344"/>
                  <a:pt x="16031" y="15344"/>
                </a:cubicBezTo>
                <a:cubicBezTo>
                  <a:pt x="16031" y="15344"/>
                  <a:pt x="16000" y="15313"/>
                  <a:pt x="15969" y="15313"/>
                </a:cubicBezTo>
                <a:cubicBezTo>
                  <a:pt x="15906" y="15313"/>
                  <a:pt x="15875" y="15406"/>
                  <a:pt x="15812" y="15406"/>
                </a:cubicBezTo>
                <a:cubicBezTo>
                  <a:pt x="15844" y="15469"/>
                  <a:pt x="15906" y="15469"/>
                  <a:pt x="15937" y="15469"/>
                </a:cubicBezTo>
                <a:cubicBezTo>
                  <a:pt x="16062" y="15469"/>
                  <a:pt x="16156" y="15531"/>
                  <a:pt x="16281" y="15469"/>
                </a:cubicBezTo>
                <a:cubicBezTo>
                  <a:pt x="16281" y="15469"/>
                  <a:pt x="16344" y="15469"/>
                  <a:pt x="16344" y="15500"/>
                </a:cubicBezTo>
                <a:cubicBezTo>
                  <a:pt x="16344" y="15531"/>
                  <a:pt x="16312" y="15563"/>
                  <a:pt x="16281" y="15563"/>
                </a:cubicBezTo>
                <a:cubicBezTo>
                  <a:pt x="16219" y="15563"/>
                  <a:pt x="16156" y="15594"/>
                  <a:pt x="16094" y="15563"/>
                </a:cubicBezTo>
                <a:cubicBezTo>
                  <a:pt x="16000" y="15563"/>
                  <a:pt x="15906" y="15563"/>
                  <a:pt x="15812" y="15563"/>
                </a:cubicBezTo>
                <a:cubicBezTo>
                  <a:pt x="15906" y="15625"/>
                  <a:pt x="16031" y="15656"/>
                  <a:pt x="16187" y="15656"/>
                </a:cubicBezTo>
                <a:cubicBezTo>
                  <a:pt x="16312" y="15625"/>
                  <a:pt x="16406" y="15531"/>
                  <a:pt x="16500" y="15469"/>
                </a:cubicBezTo>
                <a:cubicBezTo>
                  <a:pt x="16500" y="15500"/>
                  <a:pt x="16500" y="15500"/>
                  <a:pt x="16500" y="15531"/>
                </a:cubicBezTo>
                <a:cubicBezTo>
                  <a:pt x="16500" y="15563"/>
                  <a:pt x="16437" y="15594"/>
                  <a:pt x="16437" y="15625"/>
                </a:cubicBezTo>
                <a:cubicBezTo>
                  <a:pt x="16437" y="15625"/>
                  <a:pt x="16437" y="15625"/>
                  <a:pt x="16437" y="15656"/>
                </a:cubicBezTo>
                <a:cubicBezTo>
                  <a:pt x="16531" y="15656"/>
                  <a:pt x="16594" y="15625"/>
                  <a:pt x="16656" y="15563"/>
                </a:cubicBezTo>
                <a:cubicBezTo>
                  <a:pt x="16625" y="15656"/>
                  <a:pt x="16625" y="15688"/>
                  <a:pt x="16531" y="15719"/>
                </a:cubicBezTo>
                <a:cubicBezTo>
                  <a:pt x="16375" y="15750"/>
                  <a:pt x="16344" y="15875"/>
                  <a:pt x="16250" y="15969"/>
                </a:cubicBezTo>
                <a:cubicBezTo>
                  <a:pt x="16375" y="15969"/>
                  <a:pt x="16469" y="15938"/>
                  <a:pt x="16562" y="15969"/>
                </a:cubicBezTo>
                <a:cubicBezTo>
                  <a:pt x="16562" y="16000"/>
                  <a:pt x="16500" y="16063"/>
                  <a:pt x="16531" y="16094"/>
                </a:cubicBezTo>
                <a:cubicBezTo>
                  <a:pt x="16562" y="16125"/>
                  <a:pt x="16594" y="16063"/>
                  <a:pt x="16625" y="16063"/>
                </a:cubicBezTo>
                <a:cubicBezTo>
                  <a:pt x="16687" y="16031"/>
                  <a:pt x="16719" y="16063"/>
                  <a:pt x="16781" y="16063"/>
                </a:cubicBezTo>
                <a:cubicBezTo>
                  <a:pt x="16844" y="16063"/>
                  <a:pt x="16812" y="16125"/>
                  <a:pt x="16812" y="16156"/>
                </a:cubicBezTo>
                <a:cubicBezTo>
                  <a:pt x="16812" y="16281"/>
                  <a:pt x="17000" y="16531"/>
                  <a:pt x="17156" y="16563"/>
                </a:cubicBezTo>
                <a:cubicBezTo>
                  <a:pt x="17219" y="16563"/>
                  <a:pt x="17281" y="16563"/>
                  <a:pt x="17312" y="16500"/>
                </a:cubicBezTo>
                <a:cubicBezTo>
                  <a:pt x="17344" y="16469"/>
                  <a:pt x="17344" y="16406"/>
                  <a:pt x="17312" y="16344"/>
                </a:cubicBezTo>
                <a:cubicBezTo>
                  <a:pt x="17281" y="16281"/>
                  <a:pt x="17219" y="16250"/>
                  <a:pt x="17250" y="16156"/>
                </a:cubicBezTo>
                <a:cubicBezTo>
                  <a:pt x="17344" y="16156"/>
                  <a:pt x="17344" y="16250"/>
                  <a:pt x="17375" y="16281"/>
                </a:cubicBezTo>
                <a:cubicBezTo>
                  <a:pt x="17406" y="16313"/>
                  <a:pt x="17375" y="16375"/>
                  <a:pt x="17469" y="16406"/>
                </a:cubicBezTo>
                <a:cubicBezTo>
                  <a:pt x="17531" y="16406"/>
                  <a:pt x="17500" y="16500"/>
                  <a:pt x="17437" y="16531"/>
                </a:cubicBezTo>
                <a:cubicBezTo>
                  <a:pt x="17312" y="16563"/>
                  <a:pt x="17219" y="16625"/>
                  <a:pt x="17125" y="16688"/>
                </a:cubicBezTo>
                <a:cubicBezTo>
                  <a:pt x="17094" y="16688"/>
                  <a:pt x="17094" y="16688"/>
                  <a:pt x="17094" y="16688"/>
                </a:cubicBezTo>
                <a:cubicBezTo>
                  <a:pt x="17062" y="16688"/>
                  <a:pt x="17000" y="16719"/>
                  <a:pt x="16969" y="16719"/>
                </a:cubicBezTo>
                <a:cubicBezTo>
                  <a:pt x="16844" y="16750"/>
                  <a:pt x="16750" y="16781"/>
                  <a:pt x="16625" y="16781"/>
                </a:cubicBezTo>
                <a:cubicBezTo>
                  <a:pt x="16625" y="16781"/>
                  <a:pt x="16594" y="16781"/>
                  <a:pt x="16594" y="16781"/>
                </a:cubicBezTo>
                <a:cubicBezTo>
                  <a:pt x="16594" y="16813"/>
                  <a:pt x="16562" y="16813"/>
                  <a:pt x="16562" y="16813"/>
                </a:cubicBezTo>
                <a:cubicBezTo>
                  <a:pt x="16531" y="16813"/>
                  <a:pt x="16531" y="16813"/>
                  <a:pt x="16531" y="16813"/>
                </a:cubicBezTo>
                <a:cubicBezTo>
                  <a:pt x="16531" y="16813"/>
                  <a:pt x="16500" y="16813"/>
                  <a:pt x="16500" y="16813"/>
                </a:cubicBezTo>
                <a:cubicBezTo>
                  <a:pt x="16500" y="16813"/>
                  <a:pt x="16469" y="16781"/>
                  <a:pt x="16469" y="16781"/>
                </a:cubicBezTo>
                <a:cubicBezTo>
                  <a:pt x="16281" y="16813"/>
                  <a:pt x="16094" y="16844"/>
                  <a:pt x="15906" y="16844"/>
                </a:cubicBezTo>
                <a:cubicBezTo>
                  <a:pt x="15875" y="16844"/>
                  <a:pt x="15844" y="16844"/>
                  <a:pt x="15781" y="16844"/>
                </a:cubicBezTo>
                <a:cubicBezTo>
                  <a:pt x="15781" y="16844"/>
                  <a:pt x="15750" y="16844"/>
                  <a:pt x="15750" y="16844"/>
                </a:cubicBezTo>
                <a:cubicBezTo>
                  <a:pt x="15719" y="16844"/>
                  <a:pt x="15687" y="16844"/>
                  <a:pt x="15687" y="16844"/>
                </a:cubicBezTo>
                <a:cubicBezTo>
                  <a:pt x="15656" y="16844"/>
                  <a:pt x="15656" y="16844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625" y="16875"/>
                </a:cubicBezTo>
                <a:cubicBezTo>
                  <a:pt x="15625" y="16875"/>
                  <a:pt x="15625" y="16875"/>
                  <a:pt x="15594" y="16875"/>
                </a:cubicBezTo>
                <a:cubicBezTo>
                  <a:pt x="15344" y="16844"/>
                  <a:pt x="15094" y="16750"/>
                  <a:pt x="14812" y="16719"/>
                </a:cubicBezTo>
                <a:cubicBezTo>
                  <a:pt x="14781" y="16688"/>
                  <a:pt x="14750" y="16688"/>
                  <a:pt x="14719" y="16625"/>
                </a:cubicBezTo>
                <a:cubicBezTo>
                  <a:pt x="14719" y="16469"/>
                  <a:pt x="14687" y="16344"/>
                  <a:pt x="14750" y="16219"/>
                </a:cubicBezTo>
                <a:cubicBezTo>
                  <a:pt x="14781" y="16156"/>
                  <a:pt x="14750" y="16063"/>
                  <a:pt x="14781" y="16000"/>
                </a:cubicBezTo>
                <a:cubicBezTo>
                  <a:pt x="14750" y="15656"/>
                  <a:pt x="14719" y="15344"/>
                  <a:pt x="14656" y="15031"/>
                </a:cubicBezTo>
                <a:cubicBezTo>
                  <a:pt x="14594" y="14813"/>
                  <a:pt x="14531" y="14563"/>
                  <a:pt x="14437" y="14344"/>
                </a:cubicBezTo>
                <a:cubicBezTo>
                  <a:pt x="14375" y="14125"/>
                  <a:pt x="14344" y="13875"/>
                  <a:pt x="14250" y="13656"/>
                </a:cubicBezTo>
                <a:cubicBezTo>
                  <a:pt x="14094" y="13250"/>
                  <a:pt x="13969" y="12844"/>
                  <a:pt x="13812" y="12469"/>
                </a:cubicBezTo>
                <a:cubicBezTo>
                  <a:pt x="13812" y="12438"/>
                  <a:pt x="13781" y="12438"/>
                  <a:pt x="13781" y="12406"/>
                </a:cubicBezTo>
                <a:cubicBezTo>
                  <a:pt x="13781" y="12375"/>
                  <a:pt x="13750" y="12344"/>
                  <a:pt x="13719" y="12344"/>
                </a:cubicBezTo>
                <a:cubicBezTo>
                  <a:pt x="13656" y="12469"/>
                  <a:pt x="13594" y="12625"/>
                  <a:pt x="13531" y="12781"/>
                </a:cubicBezTo>
                <a:cubicBezTo>
                  <a:pt x="13500" y="12844"/>
                  <a:pt x="13469" y="12938"/>
                  <a:pt x="13437" y="13031"/>
                </a:cubicBezTo>
                <a:cubicBezTo>
                  <a:pt x="13344" y="13469"/>
                  <a:pt x="13125" y="13844"/>
                  <a:pt x="13000" y="14250"/>
                </a:cubicBezTo>
                <a:cubicBezTo>
                  <a:pt x="12969" y="14438"/>
                  <a:pt x="12844" y="14563"/>
                  <a:pt x="12844" y="14750"/>
                </a:cubicBezTo>
                <a:cubicBezTo>
                  <a:pt x="12875" y="14813"/>
                  <a:pt x="12812" y="14875"/>
                  <a:pt x="12781" y="14938"/>
                </a:cubicBezTo>
                <a:cubicBezTo>
                  <a:pt x="12625" y="15063"/>
                  <a:pt x="12687" y="15281"/>
                  <a:pt x="12625" y="15438"/>
                </a:cubicBezTo>
                <a:cubicBezTo>
                  <a:pt x="12625" y="15469"/>
                  <a:pt x="12625" y="15469"/>
                  <a:pt x="12625" y="15469"/>
                </a:cubicBezTo>
                <a:cubicBezTo>
                  <a:pt x="12625" y="15500"/>
                  <a:pt x="12687" y="15531"/>
                  <a:pt x="12687" y="15594"/>
                </a:cubicBezTo>
                <a:cubicBezTo>
                  <a:pt x="12719" y="15594"/>
                  <a:pt x="12719" y="15594"/>
                  <a:pt x="12719" y="15625"/>
                </a:cubicBezTo>
                <a:cubicBezTo>
                  <a:pt x="12719" y="15625"/>
                  <a:pt x="12750" y="15625"/>
                  <a:pt x="12750" y="15656"/>
                </a:cubicBezTo>
                <a:cubicBezTo>
                  <a:pt x="12750" y="15656"/>
                  <a:pt x="12781" y="15656"/>
                  <a:pt x="12781" y="15656"/>
                </a:cubicBezTo>
                <a:cubicBezTo>
                  <a:pt x="12812" y="15750"/>
                  <a:pt x="12875" y="15781"/>
                  <a:pt x="12937" y="15844"/>
                </a:cubicBezTo>
                <a:cubicBezTo>
                  <a:pt x="13062" y="15938"/>
                  <a:pt x="13156" y="16000"/>
                  <a:pt x="13250" y="16125"/>
                </a:cubicBezTo>
                <a:cubicBezTo>
                  <a:pt x="13312" y="16219"/>
                  <a:pt x="13312" y="16281"/>
                  <a:pt x="13312" y="16344"/>
                </a:cubicBezTo>
                <a:cubicBezTo>
                  <a:pt x="13312" y="16438"/>
                  <a:pt x="13250" y="16500"/>
                  <a:pt x="13094" y="16531"/>
                </a:cubicBezTo>
                <a:cubicBezTo>
                  <a:pt x="13094" y="16563"/>
                  <a:pt x="13062" y="16594"/>
                  <a:pt x="13062" y="16594"/>
                </a:cubicBezTo>
                <a:cubicBezTo>
                  <a:pt x="13031" y="16594"/>
                  <a:pt x="13000" y="16594"/>
                  <a:pt x="12969" y="16594"/>
                </a:cubicBezTo>
                <a:cubicBezTo>
                  <a:pt x="12781" y="16625"/>
                  <a:pt x="12625" y="16656"/>
                  <a:pt x="12437" y="16719"/>
                </a:cubicBezTo>
                <a:cubicBezTo>
                  <a:pt x="12406" y="16719"/>
                  <a:pt x="12375" y="16719"/>
                  <a:pt x="12375" y="16719"/>
                </a:cubicBezTo>
                <a:cubicBezTo>
                  <a:pt x="12000" y="16656"/>
                  <a:pt x="11625" y="16688"/>
                  <a:pt x="11250" y="16688"/>
                </a:cubicBezTo>
                <a:cubicBezTo>
                  <a:pt x="11219" y="16688"/>
                  <a:pt x="11156" y="16688"/>
                  <a:pt x="11094" y="16688"/>
                </a:cubicBezTo>
                <a:cubicBezTo>
                  <a:pt x="11094" y="16688"/>
                  <a:pt x="11094" y="16688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62" y="16656"/>
                  <a:pt x="11062" y="16656"/>
                  <a:pt x="11062" y="16656"/>
                </a:cubicBezTo>
                <a:cubicBezTo>
                  <a:pt x="11000" y="16625"/>
                  <a:pt x="10906" y="16625"/>
                  <a:pt x="10844" y="16563"/>
                </a:cubicBezTo>
                <a:cubicBezTo>
                  <a:pt x="10844" y="16531"/>
                  <a:pt x="10844" y="16531"/>
                  <a:pt x="10812" y="16531"/>
                </a:cubicBezTo>
                <a:cubicBezTo>
                  <a:pt x="10812" y="16531"/>
                  <a:pt x="10812" y="16500"/>
                  <a:pt x="10812" y="16500"/>
                </a:cubicBezTo>
                <a:cubicBezTo>
                  <a:pt x="10812" y="16500"/>
                  <a:pt x="10812" y="16500"/>
                  <a:pt x="10812" y="16500"/>
                </a:cubicBezTo>
                <a:cubicBezTo>
                  <a:pt x="10812" y="16469"/>
                  <a:pt x="10812" y="16469"/>
                  <a:pt x="10812" y="16438"/>
                </a:cubicBezTo>
                <a:cubicBezTo>
                  <a:pt x="10781" y="16406"/>
                  <a:pt x="10750" y="16375"/>
                  <a:pt x="10750" y="16344"/>
                </a:cubicBezTo>
                <a:cubicBezTo>
                  <a:pt x="10750" y="16344"/>
                  <a:pt x="10750" y="16344"/>
                  <a:pt x="10750" y="16344"/>
                </a:cubicBezTo>
                <a:cubicBezTo>
                  <a:pt x="10750" y="16313"/>
                  <a:pt x="10750" y="16313"/>
                  <a:pt x="10750" y="16281"/>
                </a:cubicBezTo>
                <a:cubicBezTo>
                  <a:pt x="10750" y="16281"/>
                  <a:pt x="10750" y="16250"/>
                  <a:pt x="10750" y="16250"/>
                </a:cubicBezTo>
                <a:cubicBezTo>
                  <a:pt x="10750" y="16219"/>
                  <a:pt x="10781" y="16219"/>
                  <a:pt x="10781" y="16219"/>
                </a:cubicBezTo>
                <a:cubicBezTo>
                  <a:pt x="10844" y="15969"/>
                  <a:pt x="10937" y="15719"/>
                  <a:pt x="10906" y="15469"/>
                </a:cubicBezTo>
                <a:cubicBezTo>
                  <a:pt x="10906" y="15250"/>
                  <a:pt x="11000" y="15063"/>
                  <a:pt x="11000" y="14844"/>
                </a:cubicBezTo>
                <a:cubicBezTo>
                  <a:pt x="11031" y="14781"/>
                  <a:pt x="11031" y="14719"/>
                  <a:pt x="11031" y="14688"/>
                </a:cubicBezTo>
                <a:cubicBezTo>
                  <a:pt x="11062" y="13938"/>
                  <a:pt x="11125" y="13219"/>
                  <a:pt x="11094" y="12500"/>
                </a:cubicBezTo>
                <a:cubicBezTo>
                  <a:pt x="11094" y="12281"/>
                  <a:pt x="11094" y="12031"/>
                  <a:pt x="11094" y="11813"/>
                </a:cubicBezTo>
                <a:cubicBezTo>
                  <a:pt x="11094" y="11781"/>
                  <a:pt x="11094" y="11750"/>
                  <a:pt x="11094" y="11719"/>
                </a:cubicBezTo>
                <a:cubicBezTo>
                  <a:pt x="11094" y="11719"/>
                  <a:pt x="11094" y="11688"/>
                  <a:pt x="11094" y="11688"/>
                </a:cubicBezTo>
                <a:cubicBezTo>
                  <a:pt x="11094" y="11688"/>
                  <a:pt x="11125" y="11656"/>
                  <a:pt x="11125" y="11656"/>
                </a:cubicBezTo>
                <a:cubicBezTo>
                  <a:pt x="11125" y="11625"/>
                  <a:pt x="11125" y="11594"/>
                  <a:pt x="11125" y="11563"/>
                </a:cubicBezTo>
                <a:cubicBezTo>
                  <a:pt x="11125" y="11563"/>
                  <a:pt x="11125" y="11563"/>
                  <a:pt x="11125" y="11563"/>
                </a:cubicBezTo>
                <a:cubicBezTo>
                  <a:pt x="11125" y="11563"/>
                  <a:pt x="11125" y="11563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31"/>
                  <a:pt x="11125" y="11531"/>
                </a:cubicBezTo>
                <a:cubicBezTo>
                  <a:pt x="11125" y="11531"/>
                  <a:pt x="11125" y="11500"/>
                  <a:pt x="11125" y="11500"/>
                </a:cubicBezTo>
                <a:cubicBezTo>
                  <a:pt x="11156" y="11469"/>
                  <a:pt x="11156" y="11438"/>
                  <a:pt x="11156" y="11375"/>
                </a:cubicBezTo>
                <a:cubicBezTo>
                  <a:pt x="11156" y="11344"/>
                  <a:pt x="11187" y="11281"/>
                  <a:pt x="11187" y="11250"/>
                </a:cubicBezTo>
                <a:cubicBezTo>
                  <a:pt x="11187" y="11219"/>
                  <a:pt x="11187" y="11219"/>
                  <a:pt x="11187" y="11188"/>
                </a:cubicBezTo>
                <a:cubicBezTo>
                  <a:pt x="11219" y="11156"/>
                  <a:pt x="11219" y="11125"/>
                  <a:pt x="11219" y="11094"/>
                </a:cubicBezTo>
                <a:cubicBezTo>
                  <a:pt x="11219" y="11094"/>
                  <a:pt x="11219" y="11094"/>
                  <a:pt x="11219" y="11094"/>
                </a:cubicBezTo>
                <a:cubicBezTo>
                  <a:pt x="11219" y="11063"/>
                  <a:pt x="11219" y="11031"/>
                  <a:pt x="11250" y="11000"/>
                </a:cubicBezTo>
                <a:cubicBezTo>
                  <a:pt x="11250" y="10969"/>
                  <a:pt x="11250" y="10906"/>
                  <a:pt x="11250" y="10844"/>
                </a:cubicBezTo>
                <a:cubicBezTo>
                  <a:pt x="11250" y="10781"/>
                  <a:pt x="11250" y="10719"/>
                  <a:pt x="11250" y="10688"/>
                </a:cubicBezTo>
                <a:cubicBezTo>
                  <a:pt x="11250" y="10594"/>
                  <a:pt x="11281" y="10531"/>
                  <a:pt x="11281" y="10469"/>
                </a:cubicBezTo>
                <a:cubicBezTo>
                  <a:pt x="11281" y="10469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38"/>
                  <a:pt x="11250" y="10438"/>
                </a:cubicBezTo>
                <a:cubicBezTo>
                  <a:pt x="11250" y="10438"/>
                  <a:pt x="11250" y="10406"/>
                  <a:pt x="11250" y="10406"/>
                </a:cubicBezTo>
                <a:cubicBezTo>
                  <a:pt x="11250" y="10406"/>
                  <a:pt x="11250" y="10406"/>
                  <a:pt x="11250" y="10375"/>
                </a:cubicBezTo>
                <a:cubicBezTo>
                  <a:pt x="11250" y="10375"/>
                  <a:pt x="11219" y="10375"/>
                  <a:pt x="11219" y="10375"/>
                </a:cubicBezTo>
                <a:cubicBezTo>
                  <a:pt x="11219" y="10375"/>
                  <a:pt x="11219" y="10375"/>
                  <a:pt x="11187" y="10344"/>
                </a:cubicBezTo>
                <a:cubicBezTo>
                  <a:pt x="11187" y="10344"/>
                  <a:pt x="11187" y="10344"/>
                  <a:pt x="11187" y="10344"/>
                </a:cubicBezTo>
                <a:cubicBezTo>
                  <a:pt x="11156" y="10344"/>
                  <a:pt x="11156" y="10313"/>
                  <a:pt x="11156" y="10313"/>
                </a:cubicBezTo>
                <a:cubicBezTo>
                  <a:pt x="11094" y="10094"/>
                  <a:pt x="11094" y="9844"/>
                  <a:pt x="10937" y="9656"/>
                </a:cubicBezTo>
                <a:cubicBezTo>
                  <a:pt x="10937" y="9625"/>
                  <a:pt x="10906" y="9594"/>
                  <a:pt x="10844" y="9594"/>
                </a:cubicBezTo>
                <a:cubicBezTo>
                  <a:pt x="10594" y="9688"/>
                  <a:pt x="10312" y="9719"/>
                  <a:pt x="10062" y="9781"/>
                </a:cubicBezTo>
                <a:cubicBezTo>
                  <a:pt x="9812" y="9875"/>
                  <a:pt x="9562" y="10000"/>
                  <a:pt x="9312" y="10063"/>
                </a:cubicBezTo>
                <a:cubicBezTo>
                  <a:pt x="9156" y="10125"/>
                  <a:pt x="8969" y="10156"/>
                  <a:pt x="8812" y="10219"/>
                </a:cubicBezTo>
                <a:cubicBezTo>
                  <a:pt x="8375" y="10344"/>
                  <a:pt x="7906" y="10313"/>
                  <a:pt x="7469" y="10313"/>
                </a:cubicBezTo>
                <a:cubicBezTo>
                  <a:pt x="7250" y="10313"/>
                  <a:pt x="7062" y="10406"/>
                  <a:pt x="6906" y="10500"/>
                </a:cubicBezTo>
                <a:cubicBezTo>
                  <a:pt x="6781" y="10531"/>
                  <a:pt x="6594" y="10750"/>
                  <a:pt x="6531" y="10844"/>
                </a:cubicBezTo>
                <a:cubicBezTo>
                  <a:pt x="6469" y="10969"/>
                  <a:pt x="6375" y="11063"/>
                  <a:pt x="6250" y="11156"/>
                </a:cubicBezTo>
                <a:cubicBezTo>
                  <a:pt x="6031" y="11281"/>
                  <a:pt x="5875" y="11500"/>
                  <a:pt x="5687" y="11656"/>
                </a:cubicBezTo>
                <a:cubicBezTo>
                  <a:pt x="5594" y="11688"/>
                  <a:pt x="5594" y="11813"/>
                  <a:pt x="5562" y="11906"/>
                </a:cubicBezTo>
                <a:cubicBezTo>
                  <a:pt x="5500" y="12094"/>
                  <a:pt x="5437" y="12250"/>
                  <a:pt x="5437" y="12438"/>
                </a:cubicBezTo>
                <a:cubicBezTo>
                  <a:pt x="5437" y="12438"/>
                  <a:pt x="5437" y="12438"/>
                  <a:pt x="5437" y="12594"/>
                </a:cubicBezTo>
                <a:cubicBezTo>
                  <a:pt x="5437" y="12625"/>
                  <a:pt x="5437" y="12625"/>
                  <a:pt x="5469" y="12656"/>
                </a:cubicBezTo>
                <a:cubicBezTo>
                  <a:pt x="5469" y="12688"/>
                  <a:pt x="5469" y="12719"/>
                  <a:pt x="5469" y="12750"/>
                </a:cubicBezTo>
                <a:cubicBezTo>
                  <a:pt x="5469" y="12750"/>
                  <a:pt x="5469" y="12750"/>
                  <a:pt x="5562" y="14031"/>
                </a:cubicBezTo>
                <a:cubicBezTo>
                  <a:pt x="5594" y="14125"/>
                  <a:pt x="5625" y="14219"/>
                  <a:pt x="5625" y="14344"/>
                </a:cubicBezTo>
                <a:cubicBezTo>
                  <a:pt x="5656" y="14469"/>
                  <a:pt x="5687" y="14594"/>
                  <a:pt x="5719" y="14750"/>
                </a:cubicBezTo>
                <a:cubicBezTo>
                  <a:pt x="5719" y="14781"/>
                  <a:pt x="5750" y="14813"/>
                  <a:pt x="5750" y="14844"/>
                </a:cubicBezTo>
                <a:cubicBezTo>
                  <a:pt x="5750" y="14875"/>
                  <a:pt x="5750" y="14906"/>
                  <a:pt x="5750" y="14938"/>
                </a:cubicBezTo>
                <a:cubicBezTo>
                  <a:pt x="5750" y="15063"/>
                  <a:pt x="5781" y="15156"/>
                  <a:pt x="5781" y="15281"/>
                </a:cubicBezTo>
                <a:cubicBezTo>
                  <a:pt x="5812" y="15438"/>
                  <a:pt x="5875" y="15594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781"/>
                  <a:pt x="5937" y="15781"/>
                  <a:pt x="5937" y="15781"/>
                </a:cubicBezTo>
                <a:cubicBezTo>
                  <a:pt x="5937" y="15813"/>
                  <a:pt x="5969" y="15844"/>
                  <a:pt x="5937" y="15844"/>
                </a:cubicBezTo>
                <a:cubicBezTo>
                  <a:pt x="5937" y="15875"/>
                  <a:pt x="5937" y="15875"/>
                  <a:pt x="5937" y="15906"/>
                </a:cubicBezTo>
                <a:cubicBezTo>
                  <a:pt x="5937" y="15875"/>
                  <a:pt x="5937" y="15875"/>
                  <a:pt x="5969" y="15875"/>
                </a:cubicBezTo>
                <a:cubicBezTo>
                  <a:pt x="6000" y="15906"/>
                  <a:pt x="6000" y="15938"/>
                  <a:pt x="6000" y="15938"/>
                </a:cubicBezTo>
                <a:cubicBezTo>
                  <a:pt x="6031" y="15969"/>
                  <a:pt x="6031" y="15969"/>
                  <a:pt x="6031" y="16000"/>
                </a:cubicBezTo>
                <a:cubicBezTo>
                  <a:pt x="6125" y="16094"/>
                  <a:pt x="6187" y="16219"/>
                  <a:pt x="6281" y="16313"/>
                </a:cubicBezTo>
                <a:cubicBezTo>
                  <a:pt x="6281" y="16313"/>
                  <a:pt x="6281" y="16313"/>
                  <a:pt x="6281" y="16313"/>
                </a:cubicBezTo>
                <a:cubicBezTo>
                  <a:pt x="6281" y="16313"/>
                  <a:pt x="6281" y="16344"/>
                  <a:pt x="6312" y="16344"/>
                </a:cubicBezTo>
                <a:cubicBezTo>
                  <a:pt x="6437" y="16406"/>
                  <a:pt x="6531" y="16469"/>
                  <a:pt x="6594" y="16563"/>
                </a:cubicBezTo>
                <a:cubicBezTo>
                  <a:pt x="6625" y="16625"/>
                  <a:pt x="6656" y="16688"/>
                  <a:pt x="6687" y="16750"/>
                </a:cubicBezTo>
                <a:cubicBezTo>
                  <a:pt x="6719" y="16781"/>
                  <a:pt x="6750" y="16844"/>
                  <a:pt x="6750" y="16906"/>
                </a:cubicBezTo>
                <a:cubicBezTo>
                  <a:pt x="6781" y="17000"/>
                  <a:pt x="6781" y="17031"/>
                  <a:pt x="6781" y="17094"/>
                </a:cubicBezTo>
                <a:cubicBezTo>
                  <a:pt x="6781" y="17125"/>
                  <a:pt x="6750" y="17156"/>
                  <a:pt x="6625" y="17219"/>
                </a:cubicBezTo>
                <a:cubicBezTo>
                  <a:pt x="6406" y="17375"/>
                  <a:pt x="6156" y="17375"/>
                  <a:pt x="5906" y="17406"/>
                </a:cubicBezTo>
                <a:cubicBezTo>
                  <a:pt x="5594" y="17469"/>
                  <a:pt x="5281" y="17469"/>
                  <a:pt x="4969" y="17531"/>
                </a:cubicBezTo>
                <a:cubicBezTo>
                  <a:pt x="4969" y="17531"/>
                  <a:pt x="4937" y="17531"/>
                  <a:pt x="4906" y="17531"/>
                </a:cubicBezTo>
                <a:cubicBezTo>
                  <a:pt x="4906" y="17531"/>
                  <a:pt x="4875" y="17531"/>
                  <a:pt x="4844" y="17531"/>
                </a:cubicBezTo>
                <a:cubicBezTo>
                  <a:pt x="4844" y="17531"/>
                  <a:pt x="4812" y="17531"/>
                  <a:pt x="4781" y="17531"/>
                </a:cubicBezTo>
                <a:cubicBezTo>
                  <a:pt x="4687" y="17531"/>
                  <a:pt x="4594" y="17500"/>
                  <a:pt x="4469" y="17500"/>
                </a:cubicBezTo>
                <a:cubicBezTo>
                  <a:pt x="4469" y="17500"/>
                  <a:pt x="4469" y="17500"/>
                  <a:pt x="4437" y="17500"/>
                </a:cubicBezTo>
                <a:cubicBezTo>
                  <a:pt x="4406" y="17500"/>
                  <a:pt x="4375" y="17500"/>
                  <a:pt x="4344" y="17469"/>
                </a:cubicBezTo>
                <a:cubicBezTo>
                  <a:pt x="4312" y="17469"/>
                  <a:pt x="4281" y="17469"/>
                  <a:pt x="4250" y="17469"/>
                </a:cubicBezTo>
                <a:cubicBezTo>
                  <a:pt x="4219" y="17500"/>
                  <a:pt x="4219" y="17500"/>
                  <a:pt x="4187" y="17500"/>
                </a:cubicBezTo>
                <a:cubicBezTo>
                  <a:pt x="3937" y="17500"/>
                  <a:pt x="3719" y="17406"/>
                  <a:pt x="3594" y="17156"/>
                </a:cubicBezTo>
                <a:cubicBezTo>
                  <a:pt x="3594" y="17125"/>
                  <a:pt x="3562" y="17094"/>
                  <a:pt x="3562" y="17094"/>
                </a:cubicBezTo>
                <a:cubicBezTo>
                  <a:pt x="3531" y="17031"/>
                  <a:pt x="3500" y="17000"/>
                  <a:pt x="3500" y="16938"/>
                </a:cubicBezTo>
                <a:cubicBezTo>
                  <a:pt x="3500" y="16938"/>
                  <a:pt x="3500" y="16906"/>
                  <a:pt x="3500" y="16906"/>
                </a:cubicBezTo>
                <a:cubicBezTo>
                  <a:pt x="3469" y="16813"/>
                  <a:pt x="3469" y="16750"/>
                  <a:pt x="3469" y="16656"/>
                </a:cubicBezTo>
                <a:cubicBezTo>
                  <a:pt x="3469" y="16594"/>
                  <a:pt x="3469" y="16563"/>
                  <a:pt x="3469" y="16500"/>
                </a:cubicBezTo>
                <a:cubicBezTo>
                  <a:pt x="3469" y="16469"/>
                  <a:pt x="3469" y="16406"/>
                  <a:pt x="3469" y="16344"/>
                </a:cubicBezTo>
                <a:cubicBezTo>
                  <a:pt x="3500" y="16219"/>
                  <a:pt x="3437" y="16094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69"/>
                  <a:pt x="3406" y="15969"/>
                  <a:pt x="3406" y="15969"/>
                </a:cubicBezTo>
                <a:cubicBezTo>
                  <a:pt x="3406" y="15938"/>
                  <a:pt x="3406" y="15938"/>
                  <a:pt x="3406" y="15938"/>
                </a:cubicBezTo>
                <a:cubicBezTo>
                  <a:pt x="3375" y="15938"/>
                  <a:pt x="3375" y="15938"/>
                  <a:pt x="3375" y="15906"/>
                </a:cubicBezTo>
                <a:cubicBezTo>
                  <a:pt x="3375" y="15906"/>
                  <a:pt x="3344" y="15906"/>
                  <a:pt x="3344" y="15875"/>
                </a:cubicBezTo>
                <a:cubicBezTo>
                  <a:pt x="3344" y="15875"/>
                  <a:pt x="3344" y="15844"/>
                  <a:pt x="3344" y="15844"/>
                </a:cubicBezTo>
                <a:cubicBezTo>
                  <a:pt x="3344" y="15844"/>
                  <a:pt x="3344" y="15844"/>
                  <a:pt x="3344" y="15844"/>
                </a:cubicBezTo>
                <a:cubicBezTo>
                  <a:pt x="3281" y="15656"/>
                  <a:pt x="3250" y="15469"/>
                  <a:pt x="3281" y="15281"/>
                </a:cubicBezTo>
                <a:cubicBezTo>
                  <a:pt x="3312" y="15250"/>
                  <a:pt x="3312" y="15188"/>
                  <a:pt x="3312" y="15156"/>
                </a:cubicBezTo>
                <a:cubicBezTo>
                  <a:pt x="3250" y="14625"/>
                  <a:pt x="3219" y="14094"/>
                  <a:pt x="3125" y="13594"/>
                </a:cubicBezTo>
                <a:cubicBezTo>
                  <a:pt x="3125" y="13563"/>
                  <a:pt x="3125" y="13563"/>
                  <a:pt x="3125" y="13531"/>
                </a:cubicBezTo>
                <a:cubicBezTo>
                  <a:pt x="3125" y="13406"/>
                  <a:pt x="3187" y="13313"/>
                  <a:pt x="3156" y="13188"/>
                </a:cubicBezTo>
                <a:cubicBezTo>
                  <a:pt x="3125" y="13156"/>
                  <a:pt x="3125" y="13125"/>
                  <a:pt x="3125" y="13094"/>
                </a:cubicBezTo>
                <a:cubicBezTo>
                  <a:pt x="3094" y="13094"/>
                  <a:pt x="3094" y="13063"/>
                  <a:pt x="3125" y="13031"/>
                </a:cubicBezTo>
                <a:cubicBezTo>
                  <a:pt x="3094" y="13031"/>
                  <a:pt x="3062" y="13031"/>
                  <a:pt x="3062" y="13031"/>
                </a:cubicBezTo>
                <a:cubicBezTo>
                  <a:pt x="3062" y="13031"/>
                  <a:pt x="3062" y="13031"/>
                  <a:pt x="3031" y="13031"/>
                </a:cubicBezTo>
                <a:cubicBezTo>
                  <a:pt x="3031" y="13031"/>
                  <a:pt x="3031" y="13063"/>
                  <a:pt x="3031" y="13063"/>
                </a:cubicBezTo>
                <a:cubicBezTo>
                  <a:pt x="3031" y="13063"/>
                  <a:pt x="3031" y="13063"/>
                  <a:pt x="3031" y="13063"/>
                </a:cubicBezTo>
                <a:cubicBezTo>
                  <a:pt x="2969" y="13188"/>
                  <a:pt x="3000" y="13344"/>
                  <a:pt x="2937" y="13500"/>
                </a:cubicBezTo>
                <a:cubicBezTo>
                  <a:pt x="2812" y="14000"/>
                  <a:pt x="2781" y="14531"/>
                  <a:pt x="2625" y="15031"/>
                </a:cubicBezTo>
                <a:cubicBezTo>
                  <a:pt x="2594" y="15094"/>
                  <a:pt x="2562" y="15125"/>
                  <a:pt x="2531" y="15188"/>
                </a:cubicBezTo>
                <a:cubicBezTo>
                  <a:pt x="2406" y="15344"/>
                  <a:pt x="2406" y="15438"/>
                  <a:pt x="2531" y="15594"/>
                </a:cubicBezTo>
                <a:cubicBezTo>
                  <a:pt x="2531" y="15594"/>
                  <a:pt x="2562" y="15625"/>
                  <a:pt x="2562" y="15625"/>
                </a:cubicBezTo>
                <a:cubicBezTo>
                  <a:pt x="2656" y="15719"/>
                  <a:pt x="2719" y="15844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19" y="15969"/>
                  <a:pt x="2719" y="15969"/>
                  <a:pt x="2719" y="15969"/>
                </a:cubicBezTo>
                <a:cubicBezTo>
                  <a:pt x="2750" y="16000"/>
                  <a:pt x="2781" y="16063"/>
                  <a:pt x="2781" y="16094"/>
                </a:cubicBezTo>
                <a:cubicBezTo>
                  <a:pt x="2781" y="16094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12" y="16125"/>
                  <a:pt x="2812" y="16125"/>
                  <a:pt x="2812" y="16125"/>
                </a:cubicBezTo>
                <a:cubicBezTo>
                  <a:pt x="2844" y="16156"/>
                  <a:pt x="2844" y="16156"/>
                  <a:pt x="2875" y="16188"/>
                </a:cubicBezTo>
                <a:cubicBezTo>
                  <a:pt x="2906" y="16250"/>
                  <a:pt x="2969" y="16313"/>
                  <a:pt x="3000" y="16375"/>
                </a:cubicBezTo>
                <a:cubicBezTo>
                  <a:pt x="3031" y="16406"/>
                  <a:pt x="3062" y="16438"/>
                  <a:pt x="3094" y="16469"/>
                </a:cubicBezTo>
                <a:cubicBezTo>
                  <a:pt x="3125" y="16500"/>
                  <a:pt x="3125" y="16531"/>
                  <a:pt x="3125" y="16531"/>
                </a:cubicBezTo>
                <a:cubicBezTo>
                  <a:pt x="3187" y="16656"/>
                  <a:pt x="3250" y="16813"/>
                  <a:pt x="3281" y="16969"/>
                </a:cubicBezTo>
                <a:cubicBezTo>
                  <a:pt x="3281" y="17094"/>
                  <a:pt x="3156" y="17094"/>
                  <a:pt x="3094" y="17094"/>
                </a:cubicBezTo>
                <a:cubicBezTo>
                  <a:pt x="2531" y="17188"/>
                  <a:pt x="1937" y="17281"/>
                  <a:pt x="1344" y="17250"/>
                </a:cubicBezTo>
                <a:cubicBezTo>
                  <a:pt x="1281" y="17250"/>
                  <a:pt x="1187" y="17281"/>
                  <a:pt x="1125" y="17281"/>
                </a:cubicBezTo>
                <a:cubicBezTo>
                  <a:pt x="1094" y="17281"/>
                  <a:pt x="1094" y="17281"/>
                  <a:pt x="1062" y="17281"/>
                </a:cubicBezTo>
                <a:cubicBezTo>
                  <a:pt x="1031" y="17281"/>
                  <a:pt x="1000" y="17281"/>
                  <a:pt x="1000" y="17281"/>
                </a:cubicBezTo>
                <a:cubicBezTo>
                  <a:pt x="1000" y="17281"/>
                  <a:pt x="1000" y="17281"/>
                  <a:pt x="1000" y="17281"/>
                </a:cubicBezTo>
                <a:cubicBezTo>
                  <a:pt x="969" y="17250"/>
                  <a:pt x="969" y="17250"/>
                  <a:pt x="969" y="17250"/>
                </a:cubicBezTo>
                <a:cubicBezTo>
                  <a:pt x="969" y="17250"/>
                  <a:pt x="937" y="17219"/>
                  <a:pt x="937" y="17219"/>
                </a:cubicBezTo>
                <a:cubicBezTo>
                  <a:pt x="875" y="17188"/>
                  <a:pt x="781" y="17188"/>
                  <a:pt x="719" y="17156"/>
                </a:cubicBezTo>
                <a:cubicBezTo>
                  <a:pt x="750" y="17188"/>
                  <a:pt x="750" y="17188"/>
                  <a:pt x="750" y="17219"/>
                </a:cubicBezTo>
                <a:cubicBezTo>
                  <a:pt x="625" y="17188"/>
                  <a:pt x="531" y="17094"/>
                  <a:pt x="375" y="17094"/>
                </a:cubicBezTo>
                <a:cubicBezTo>
                  <a:pt x="406" y="17063"/>
                  <a:pt x="437" y="17063"/>
                  <a:pt x="437" y="17031"/>
                </a:cubicBezTo>
                <a:cubicBezTo>
                  <a:pt x="375" y="17000"/>
                  <a:pt x="344" y="16969"/>
                  <a:pt x="312" y="16938"/>
                </a:cubicBezTo>
                <a:cubicBezTo>
                  <a:pt x="250" y="16969"/>
                  <a:pt x="219" y="16906"/>
                  <a:pt x="219" y="16875"/>
                </a:cubicBezTo>
                <a:cubicBezTo>
                  <a:pt x="187" y="16813"/>
                  <a:pt x="187" y="16781"/>
                  <a:pt x="187" y="16750"/>
                </a:cubicBezTo>
                <a:cubicBezTo>
                  <a:pt x="94" y="16531"/>
                  <a:pt x="156" y="16344"/>
                  <a:pt x="156" y="16344"/>
                </a:cubicBezTo>
                <a:cubicBezTo>
                  <a:pt x="156" y="16219"/>
                  <a:pt x="187" y="16125"/>
                  <a:pt x="187" y="16031"/>
                </a:cubicBezTo>
                <a:cubicBezTo>
                  <a:pt x="219" y="15781"/>
                  <a:pt x="94" y="15594"/>
                  <a:pt x="62" y="15375"/>
                </a:cubicBezTo>
                <a:cubicBezTo>
                  <a:pt x="31" y="15219"/>
                  <a:pt x="0" y="15094"/>
                  <a:pt x="125" y="14938"/>
                </a:cubicBezTo>
                <a:cubicBezTo>
                  <a:pt x="125" y="15031"/>
                  <a:pt x="94" y="15063"/>
                  <a:pt x="94" y="15125"/>
                </a:cubicBezTo>
                <a:cubicBezTo>
                  <a:pt x="94" y="15250"/>
                  <a:pt x="219" y="15344"/>
                  <a:pt x="344" y="15313"/>
                </a:cubicBezTo>
                <a:cubicBezTo>
                  <a:pt x="406" y="15281"/>
                  <a:pt x="469" y="15281"/>
                  <a:pt x="562" y="15313"/>
                </a:cubicBezTo>
                <a:cubicBezTo>
                  <a:pt x="625" y="15313"/>
                  <a:pt x="687" y="15313"/>
                  <a:pt x="781" y="15313"/>
                </a:cubicBezTo>
                <a:cubicBezTo>
                  <a:pt x="812" y="15313"/>
                  <a:pt x="812" y="15281"/>
                  <a:pt x="812" y="15219"/>
                </a:cubicBezTo>
                <a:cubicBezTo>
                  <a:pt x="844" y="15156"/>
                  <a:pt x="906" y="15156"/>
                  <a:pt x="937" y="15156"/>
                </a:cubicBezTo>
                <a:cubicBezTo>
                  <a:pt x="1125" y="15156"/>
                  <a:pt x="1219" y="14969"/>
                  <a:pt x="1375" y="14906"/>
                </a:cubicBezTo>
                <a:cubicBezTo>
                  <a:pt x="1437" y="14875"/>
                  <a:pt x="1406" y="14750"/>
                  <a:pt x="1406" y="14688"/>
                </a:cubicBezTo>
                <a:cubicBezTo>
                  <a:pt x="1375" y="14594"/>
                  <a:pt x="1281" y="14750"/>
                  <a:pt x="1250" y="14688"/>
                </a:cubicBezTo>
                <a:cubicBezTo>
                  <a:pt x="1250" y="14625"/>
                  <a:pt x="1344" y="14625"/>
                  <a:pt x="1312" y="14563"/>
                </a:cubicBezTo>
                <a:cubicBezTo>
                  <a:pt x="1281" y="14500"/>
                  <a:pt x="1219" y="14438"/>
                  <a:pt x="1219" y="14344"/>
                </a:cubicBezTo>
                <a:cubicBezTo>
                  <a:pt x="1219" y="14313"/>
                  <a:pt x="1125" y="14313"/>
                  <a:pt x="1094" y="14344"/>
                </a:cubicBezTo>
                <a:cubicBezTo>
                  <a:pt x="1062" y="14375"/>
                  <a:pt x="969" y="14344"/>
                  <a:pt x="969" y="14438"/>
                </a:cubicBezTo>
                <a:cubicBezTo>
                  <a:pt x="1000" y="14563"/>
                  <a:pt x="969" y="14594"/>
                  <a:pt x="875" y="14531"/>
                </a:cubicBezTo>
                <a:cubicBezTo>
                  <a:pt x="844" y="14531"/>
                  <a:pt x="812" y="14500"/>
                  <a:pt x="781" y="14500"/>
                </a:cubicBezTo>
                <a:cubicBezTo>
                  <a:pt x="750" y="14500"/>
                  <a:pt x="719" y="14531"/>
                  <a:pt x="719" y="14563"/>
                </a:cubicBezTo>
                <a:cubicBezTo>
                  <a:pt x="719" y="14563"/>
                  <a:pt x="719" y="14594"/>
                  <a:pt x="750" y="14625"/>
                </a:cubicBezTo>
                <a:cubicBezTo>
                  <a:pt x="875" y="14563"/>
                  <a:pt x="812" y="14719"/>
                  <a:pt x="875" y="14750"/>
                </a:cubicBezTo>
                <a:cubicBezTo>
                  <a:pt x="969" y="14781"/>
                  <a:pt x="1062" y="14719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1156" y="14750"/>
                  <a:pt x="1156" y="14750"/>
                  <a:pt x="1156" y="14750"/>
                </a:cubicBezTo>
                <a:cubicBezTo>
                  <a:pt x="937" y="14844"/>
                  <a:pt x="750" y="14906"/>
                  <a:pt x="531" y="14906"/>
                </a:cubicBezTo>
                <a:cubicBezTo>
                  <a:pt x="437" y="14906"/>
                  <a:pt x="312" y="14906"/>
                  <a:pt x="219" y="14875"/>
                </a:cubicBezTo>
                <a:cubicBezTo>
                  <a:pt x="219" y="14844"/>
                  <a:pt x="219" y="14844"/>
                  <a:pt x="219" y="14813"/>
                </a:cubicBezTo>
                <a:cubicBezTo>
                  <a:pt x="281" y="14813"/>
                  <a:pt x="344" y="14813"/>
                  <a:pt x="406" y="14844"/>
                </a:cubicBezTo>
                <a:cubicBezTo>
                  <a:pt x="531" y="14875"/>
                  <a:pt x="625" y="14719"/>
                  <a:pt x="719" y="14813"/>
                </a:cubicBezTo>
                <a:cubicBezTo>
                  <a:pt x="719" y="14781"/>
                  <a:pt x="750" y="14781"/>
                  <a:pt x="750" y="14750"/>
                </a:cubicBezTo>
                <a:cubicBezTo>
                  <a:pt x="750" y="14719"/>
                  <a:pt x="719" y="14688"/>
                  <a:pt x="687" y="14688"/>
                </a:cubicBezTo>
                <a:cubicBezTo>
                  <a:pt x="625" y="14719"/>
                  <a:pt x="594" y="14688"/>
                  <a:pt x="594" y="14625"/>
                </a:cubicBezTo>
                <a:cubicBezTo>
                  <a:pt x="594" y="14594"/>
                  <a:pt x="562" y="14563"/>
                  <a:pt x="531" y="14563"/>
                </a:cubicBezTo>
                <a:cubicBezTo>
                  <a:pt x="437" y="14531"/>
                  <a:pt x="375" y="14500"/>
                  <a:pt x="375" y="14438"/>
                </a:cubicBezTo>
                <a:cubicBezTo>
                  <a:pt x="375" y="14438"/>
                  <a:pt x="375" y="14438"/>
                  <a:pt x="344" y="14438"/>
                </a:cubicBezTo>
                <a:cubicBezTo>
                  <a:pt x="344" y="14375"/>
                  <a:pt x="344" y="14344"/>
                  <a:pt x="344" y="14281"/>
                </a:cubicBezTo>
                <a:cubicBezTo>
                  <a:pt x="344" y="14281"/>
                  <a:pt x="344" y="14250"/>
                  <a:pt x="344" y="14250"/>
                </a:cubicBezTo>
                <a:cubicBezTo>
                  <a:pt x="344" y="14250"/>
                  <a:pt x="312" y="14219"/>
                  <a:pt x="312" y="14188"/>
                </a:cubicBezTo>
                <a:cubicBezTo>
                  <a:pt x="281" y="14125"/>
                  <a:pt x="250" y="14063"/>
                  <a:pt x="250" y="14000"/>
                </a:cubicBezTo>
                <a:cubicBezTo>
                  <a:pt x="250" y="14000"/>
                  <a:pt x="250" y="13969"/>
                  <a:pt x="250" y="13938"/>
                </a:cubicBezTo>
                <a:cubicBezTo>
                  <a:pt x="250" y="13906"/>
                  <a:pt x="250" y="13875"/>
                  <a:pt x="250" y="13844"/>
                </a:cubicBezTo>
                <a:cubicBezTo>
                  <a:pt x="250" y="13781"/>
                  <a:pt x="250" y="13719"/>
                  <a:pt x="250" y="13625"/>
                </a:cubicBezTo>
                <a:cubicBezTo>
                  <a:pt x="281" y="13594"/>
                  <a:pt x="281" y="13563"/>
                  <a:pt x="281" y="13531"/>
                </a:cubicBezTo>
                <a:cubicBezTo>
                  <a:pt x="344" y="13469"/>
                  <a:pt x="406" y="13375"/>
                  <a:pt x="469" y="13313"/>
                </a:cubicBezTo>
                <a:cubicBezTo>
                  <a:pt x="500" y="13250"/>
                  <a:pt x="500" y="13219"/>
                  <a:pt x="500" y="13156"/>
                </a:cubicBezTo>
                <a:cubicBezTo>
                  <a:pt x="500" y="13156"/>
                  <a:pt x="500" y="13125"/>
                  <a:pt x="500" y="13094"/>
                </a:cubicBezTo>
                <a:cubicBezTo>
                  <a:pt x="500" y="12781"/>
                  <a:pt x="406" y="12438"/>
                  <a:pt x="437" y="12125"/>
                </a:cubicBezTo>
                <a:cubicBezTo>
                  <a:pt x="437" y="12094"/>
                  <a:pt x="437" y="12063"/>
                  <a:pt x="437" y="12031"/>
                </a:cubicBezTo>
                <a:cubicBezTo>
                  <a:pt x="437" y="12031"/>
                  <a:pt x="437" y="12031"/>
                  <a:pt x="437" y="12031"/>
                </a:cubicBezTo>
                <a:cubicBezTo>
                  <a:pt x="437" y="11969"/>
                  <a:pt x="437" y="11875"/>
                  <a:pt x="437" y="11813"/>
                </a:cubicBezTo>
                <a:cubicBezTo>
                  <a:pt x="437" y="11781"/>
                  <a:pt x="437" y="11781"/>
                  <a:pt x="406" y="11750"/>
                </a:cubicBezTo>
                <a:cubicBezTo>
                  <a:pt x="406" y="11688"/>
                  <a:pt x="437" y="11625"/>
                  <a:pt x="437" y="11594"/>
                </a:cubicBezTo>
                <a:cubicBezTo>
                  <a:pt x="437" y="11500"/>
                  <a:pt x="437" y="11438"/>
                  <a:pt x="437" y="11344"/>
                </a:cubicBezTo>
                <a:cubicBezTo>
                  <a:pt x="437" y="11094"/>
                  <a:pt x="406" y="10875"/>
                  <a:pt x="406" y="10625"/>
                </a:cubicBezTo>
                <a:cubicBezTo>
                  <a:pt x="375" y="10313"/>
                  <a:pt x="375" y="10000"/>
                  <a:pt x="344" y="9688"/>
                </a:cubicBezTo>
                <a:cubicBezTo>
                  <a:pt x="344" y="9594"/>
                  <a:pt x="344" y="9531"/>
                  <a:pt x="344" y="9438"/>
                </a:cubicBezTo>
                <a:cubicBezTo>
                  <a:pt x="344" y="9344"/>
                  <a:pt x="344" y="9250"/>
                  <a:pt x="344" y="9125"/>
                </a:cubicBezTo>
                <a:cubicBezTo>
                  <a:pt x="312" y="9063"/>
                  <a:pt x="312" y="8969"/>
                  <a:pt x="312" y="8875"/>
                </a:cubicBezTo>
                <a:cubicBezTo>
                  <a:pt x="312" y="8875"/>
                  <a:pt x="312" y="8844"/>
                  <a:pt x="312" y="8844"/>
                </a:cubicBezTo>
                <a:cubicBezTo>
                  <a:pt x="312" y="8781"/>
                  <a:pt x="312" y="8750"/>
                  <a:pt x="312" y="8719"/>
                </a:cubicBezTo>
                <a:cubicBezTo>
                  <a:pt x="312" y="8688"/>
                  <a:pt x="312" y="8688"/>
                  <a:pt x="312" y="8656"/>
                </a:cubicBezTo>
                <a:cubicBezTo>
                  <a:pt x="312" y="8656"/>
                  <a:pt x="312" y="8656"/>
                  <a:pt x="312" y="8656"/>
                </a:cubicBezTo>
                <a:cubicBezTo>
                  <a:pt x="312" y="8625"/>
                  <a:pt x="312" y="8594"/>
                  <a:pt x="312" y="8563"/>
                </a:cubicBezTo>
                <a:cubicBezTo>
                  <a:pt x="312" y="8531"/>
                  <a:pt x="312" y="8500"/>
                  <a:pt x="312" y="8500"/>
                </a:cubicBezTo>
                <a:cubicBezTo>
                  <a:pt x="312" y="8500"/>
                  <a:pt x="312" y="8469"/>
                  <a:pt x="312" y="8469"/>
                </a:cubicBezTo>
                <a:cubicBezTo>
                  <a:pt x="312" y="8438"/>
                  <a:pt x="281" y="8406"/>
                  <a:pt x="312" y="8375"/>
                </a:cubicBezTo>
                <a:cubicBezTo>
                  <a:pt x="312" y="8313"/>
                  <a:pt x="312" y="8250"/>
                  <a:pt x="312" y="8219"/>
                </a:cubicBezTo>
                <a:cubicBezTo>
                  <a:pt x="312" y="8188"/>
                  <a:pt x="312" y="8188"/>
                  <a:pt x="312" y="8156"/>
                </a:cubicBezTo>
                <a:cubicBezTo>
                  <a:pt x="281" y="8094"/>
                  <a:pt x="281" y="8000"/>
                  <a:pt x="281" y="7938"/>
                </a:cubicBezTo>
                <a:cubicBezTo>
                  <a:pt x="281" y="7906"/>
                  <a:pt x="281" y="7906"/>
                  <a:pt x="281" y="7875"/>
                </a:cubicBezTo>
                <a:cubicBezTo>
                  <a:pt x="281" y="7844"/>
                  <a:pt x="281" y="7781"/>
                  <a:pt x="281" y="7719"/>
                </a:cubicBezTo>
                <a:cubicBezTo>
                  <a:pt x="281" y="7281"/>
                  <a:pt x="281" y="6813"/>
                  <a:pt x="312" y="6375"/>
                </a:cubicBezTo>
                <a:cubicBezTo>
                  <a:pt x="344" y="6156"/>
                  <a:pt x="375" y="5938"/>
                  <a:pt x="406" y="5719"/>
                </a:cubicBezTo>
                <a:cubicBezTo>
                  <a:pt x="437" y="5531"/>
                  <a:pt x="437" y="5313"/>
                  <a:pt x="500" y="5125"/>
                </a:cubicBezTo>
                <a:cubicBezTo>
                  <a:pt x="594" y="4875"/>
                  <a:pt x="687" y="4625"/>
                  <a:pt x="781" y="4375"/>
                </a:cubicBezTo>
                <a:cubicBezTo>
                  <a:pt x="906" y="4063"/>
                  <a:pt x="1094" y="3813"/>
                  <a:pt x="1250" y="3531"/>
                </a:cubicBezTo>
                <a:cubicBezTo>
                  <a:pt x="1469" y="3156"/>
                  <a:pt x="1719" y="2844"/>
                  <a:pt x="2000" y="2563"/>
                </a:cubicBezTo>
                <a:cubicBezTo>
                  <a:pt x="2187" y="2344"/>
                  <a:pt x="2375" y="2156"/>
                  <a:pt x="2594" y="1938"/>
                </a:cubicBezTo>
                <a:cubicBezTo>
                  <a:pt x="2812" y="1750"/>
                  <a:pt x="3062" y="1563"/>
                  <a:pt x="3312" y="1375"/>
                </a:cubicBezTo>
                <a:cubicBezTo>
                  <a:pt x="3344" y="1344"/>
                  <a:pt x="3344" y="1375"/>
                  <a:pt x="3375" y="1406"/>
                </a:cubicBezTo>
                <a:cubicBezTo>
                  <a:pt x="3406" y="1469"/>
                  <a:pt x="3469" y="1500"/>
                  <a:pt x="3531" y="1563"/>
                </a:cubicBezTo>
                <a:cubicBezTo>
                  <a:pt x="3594" y="1594"/>
                  <a:pt x="3531" y="1625"/>
                  <a:pt x="3531" y="1688"/>
                </a:cubicBezTo>
                <a:cubicBezTo>
                  <a:pt x="3500" y="1750"/>
                  <a:pt x="3469" y="1688"/>
                  <a:pt x="3437" y="1688"/>
                </a:cubicBezTo>
                <a:cubicBezTo>
                  <a:pt x="3375" y="1656"/>
                  <a:pt x="3344" y="1656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75" y="1750"/>
                </a:cubicBezTo>
                <a:cubicBezTo>
                  <a:pt x="3375" y="1750"/>
                  <a:pt x="3375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44" y="1750"/>
                  <a:pt x="3344" y="1750"/>
                  <a:pt x="3344" y="1750"/>
                </a:cubicBezTo>
                <a:cubicBezTo>
                  <a:pt x="3312" y="1750"/>
                  <a:pt x="3312" y="1781"/>
                  <a:pt x="3312" y="1781"/>
                </a:cubicBezTo>
                <a:cubicBezTo>
                  <a:pt x="3281" y="1781"/>
                  <a:pt x="3281" y="1781"/>
                  <a:pt x="3281" y="1813"/>
                </a:cubicBezTo>
                <a:cubicBezTo>
                  <a:pt x="3250" y="1844"/>
                  <a:pt x="3250" y="1875"/>
                  <a:pt x="3156" y="1844"/>
                </a:cubicBezTo>
                <a:cubicBezTo>
                  <a:pt x="3125" y="1844"/>
                  <a:pt x="3031" y="1938"/>
                  <a:pt x="2969" y="2000"/>
                </a:cubicBezTo>
                <a:cubicBezTo>
                  <a:pt x="2906" y="2063"/>
                  <a:pt x="2844" y="2125"/>
                  <a:pt x="2844" y="2250"/>
                </a:cubicBezTo>
                <a:cubicBezTo>
                  <a:pt x="2844" y="2313"/>
                  <a:pt x="2781" y="2438"/>
                  <a:pt x="2719" y="2469"/>
                </a:cubicBezTo>
                <a:cubicBezTo>
                  <a:pt x="2625" y="2531"/>
                  <a:pt x="2594" y="2625"/>
                  <a:pt x="2500" y="2656"/>
                </a:cubicBezTo>
                <a:cubicBezTo>
                  <a:pt x="2437" y="2688"/>
                  <a:pt x="2437" y="2719"/>
                  <a:pt x="2469" y="2750"/>
                </a:cubicBezTo>
                <a:cubicBezTo>
                  <a:pt x="2531" y="2781"/>
                  <a:pt x="2500" y="2844"/>
                  <a:pt x="2500" y="2875"/>
                </a:cubicBezTo>
                <a:cubicBezTo>
                  <a:pt x="2469" y="3000"/>
                  <a:pt x="2437" y="3000"/>
                  <a:pt x="2344" y="2938"/>
                </a:cubicBezTo>
                <a:cubicBezTo>
                  <a:pt x="2312" y="2938"/>
                  <a:pt x="2312" y="2906"/>
                  <a:pt x="2250" y="2938"/>
                </a:cubicBezTo>
                <a:cubicBezTo>
                  <a:pt x="2219" y="2969"/>
                  <a:pt x="2250" y="3000"/>
                  <a:pt x="2250" y="3031"/>
                </a:cubicBezTo>
                <a:cubicBezTo>
                  <a:pt x="2281" y="3125"/>
                  <a:pt x="2281" y="3125"/>
                  <a:pt x="2187" y="3125"/>
                </a:cubicBezTo>
                <a:cubicBezTo>
                  <a:pt x="2125" y="3125"/>
                  <a:pt x="2094" y="3156"/>
                  <a:pt x="2062" y="3188"/>
                </a:cubicBezTo>
                <a:cubicBezTo>
                  <a:pt x="2031" y="3188"/>
                  <a:pt x="2031" y="3219"/>
                  <a:pt x="2031" y="3250"/>
                </a:cubicBezTo>
                <a:cubicBezTo>
                  <a:pt x="2062" y="3281"/>
                  <a:pt x="2094" y="3281"/>
                  <a:pt x="2125" y="3281"/>
                </a:cubicBezTo>
                <a:cubicBezTo>
                  <a:pt x="2219" y="3250"/>
                  <a:pt x="2312" y="3281"/>
                  <a:pt x="2375" y="3375"/>
                </a:cubicBezTo>
                <a:cubicBezTo>
                  <a:pt x="2469" y="3406"/>
                  <a:pt x="2469" y="3438"/>
                  <a:pt x="2437" y="3500"/>
                </a:cubicBezTo>
                <a:lnTo>
                  <a:pt x="2437" y="3500"/>
                </a:lnTo>
                <a:cubicBezTo>
                  <a:pt x="2406" y="3500"/>
                  <a:pt x="2406" y="3469"/>
                  <a:pt x="2375" y="3438"/>
                </a:cubicBezTo>
                <a:cubicBezTo>
                  <a:pt x="2375" y="3438"/>
                  <a:pt x="2375" y="3406"/>
                  <a:pt x="2375" y="3375"/>
                </a:cubicBezTo>
                <a:cubicBezTo>
                  <a:pt x="2375" y="3375"/>
                  <a:pt x="2344" y="3375"/>
                  <a:pt x="2344" y="3375"/>
                </a:cubicBezTo>
                <a:cubicBezTo>
                  <a:pt x="2281" y="3375"/>
                  <a:pt x="2187" y="3406"/>
                  <a:pt x="2125" y="3375"/>
                </a:cubicBezTo>
                <a:cubicBezTo>
                  <a:pt x="2094" y="3375"/>
                  <a:pt x="2094" y="3375"/>
                  <a:pt x="2094" y="3375"/>
                </a:cubicBezTo>
                <a:cubicBezTo>
                  <a:pt x="2000" y="3344"/>
                  <a:pt x="2125" y="3469"/>
                  <a:pt x="2031" y="3438"/>
                </a:cubicBezTo>
                <a:cubicBezTo>
                  <a:pt x="1969" y="3438"/>
                  <a:pt x="1969" y="3375"/>
                  <a:pt x="1937" y="3375"/>
                </a:cubicBezTo>
                <a:cubicBezTo>
                  <a:pt x="1906" y="3375"/>
                  <a:pt x="1906" y="3406"/>
                  <a:pt x="1906" y="3406"/>
                </a:cubicBezTo>
                <a:cubicBezTo>
                  <a:pt x="1875" y="3438"/>
                  <a:pt x="1906" y="3438"/>
                  <a:pt x="1906" y="3469"/>
                </a:cubicBezTo>
                <a:cubicBezTo>
                  <a:pt x="1969" y="3500"/>
                  <a:pt x="2031" y="3531"/>
                  <a:pt x="2062" y="3594"/>
                </a:cubicBezTo>
                <a:cubicBezTo>
                  <a:pt x="1937" y="3625"/>
                  <a:pt x="1844" y="3688"/>
                  <a:pt x="1781" y="3813"/>
                </a:cubicBezTo>
                <a:cubicBezTo>
                  <a:pt x="1781" y="3844"/>
                  <a:pt x="1750" y="3844"/>
                  <a:pt x="1719" y="3844"/>
                </a:cubicBezTo>
                <a:cubicBezTo>
                  <a:pt x="1594" y="3906"/>
                  <a:pt x="1562" y="4000"/>
                  <a:pt x="1500" y="4125"/>
                </a:cubicBezTo>
                <a:cubicBezTo>
                  <a:pt x="1469" y="4188"/>
                  <a:pt x="1531" y="4219"/>
                  <a:pt x="1562" y="4188"/>
                </a:cubicBezTo>
                <a:cubicBezTo>
                  <a:pt x="1625" y="4156"/>
                  <a:pt x="1656" y="4188"/>
                  <a:pt x="1719" y="4250"/>
                </a:cubicBezTo>
                <a:cubicBezTo>
                  <a:pt x="1687" y="4063"/>
                  <a:pt x="1812" y="4156"/>
                  <a:pt x="1906" y="4094"/>
                </a:cubicBezTo>
                <a:cubicBezTo>
                  <a:pt x="1844" y="4094"/>
                  <a:pt x="1812" y="4094"/>
                  <a:pt x="1750" y="4063"/>
                </a:cubicBezTo>
                <a:cubicBezTo>
                  <a:pt x="1906" y="3969"/>
                  <a:pt x="2062" y="4063"/>
                  <a:pt x="2219" y="4031"/>
                </a:cubicBezTo>
                <a:cubicBezTo>
                  <a:pt x="2219" y="4031"/>
                  <a:pt x="2219" y="4063"/>
                  <a:pt x="2219" y="4063"/>
                </a:cubicBezTo>
                <a:cubicBezTo>
                  <a:pt x="2219" y="4094"/>
                  <a:pt x="2187" y="4125"/>
                  <a:pt x="2156" y="4125"/>
                </a:cubicBezTo>
                <a:cubicBezTo>
                  <a:pt x="2062" y="4094"/>
                  <a:pt x="1969" y="4094"/>
                  <a:pt x="1875" y="4188"/>
                </a:cubicBezTo>
                <a:cubicBezTo>
                  <a:pt x="1781" y="4313"/>
                  <a:pt x="1594" y="4281"/>
                  <a:pt x="1469" y="4344"/>
                </a:cubicBezTo>
                <a:cubicBezTo>
                  <a:pt x="1312" y="4438"/>
                  <a:pt x="1281" y="4625"/>
                  <a:pt x="1219" y="4781"/>
                </a:cubicBezTo>
                <a:cubicBezTo>
                  <a:pt x="1250" y="4813"/>
                  <a:pt x="1281" y="4781"/>
                  <a:pt x="1312" y="4781"/>
                </a:cubicBezTo>
                <a:cubicBezTo>
                  <a:pt x="1375" y="4750"/>
                  <a:pt x="1437" y="4719"/>
                  <a:pt x="1437" y="4750"/>
                </a:cubicBezTo>
                <a:cubicBezTo>
                  <a:pt x="1500" y="4844"/>
                  <a:pt x="1562" y="4781"/>
                  <a:pt x="1594" y="4750"/>
                </a:cubicBezTo>
                <a:cubicBezTo>
                  <a:pt x="1656" y="4688"/>
                  <a:pt x="1781" y="4719"/>
                  <a:pt x="1844" y="4719"/>
                </a:cubicBezTo>
                <a:cubicBezTo>
                  <a:pt x="1937" y="4688"/>
                  <a:pt x="1812" y="4750"/>
                  <a:pt x="1844" y="4813"/>
                </a:cubicBezTo>
                <a:cubicBezTo>
                  <a:pt x="2031" y="4750"/>
                  <a:pt x="2156" y="4594"/>
                  <a:pt x="2344" y="4500"/>
                </a:cubicBezTo>
                <a:cubicBezTo>
                  <a:pt x="2250" y="4500"/>
                  <a:pt x="2156" y="4531"/>
                  <a:pt x="2062" y="4500"/>
                </a:cubicBezTo>
                <a:cubicBezTo>
                  <a:pt x="2000" y="4469"/>
                  <a:pt x="2000" y="4500"/>
                  <a:pt x="2031" y="4625"/>
                </a:cubicBezTo>
                <a:cubicBezTo>
                  <a:pt x="1937" y="4531"/>
                  <a:pt x="1781" y="4594"/>
                  <a:pt x="1687" y="4500"/>
                </a:cubicBezTo>
                <a:cubicBezTo>
                  <a:pt x="1625" y="4469"/>
                  <a:pt x="1531" y="4531"/>
                  <a:pt x="1469" y="4594"/>
                </a:cubicBezTo>
                <a:cubicBezTo>
                  <a:pt x="1469" y="4625"/>
                  <a:pt x="1437" y="4688"/>
                  <a:pt x="1406" y="4656"/>
                </a:cubicBezTo>
                <a:cubicBezTo>
                  <a:pt x="1344" y="4625"/>
                  <a:pt x="1406" y="4594"/>
                  <a:pt x="1437" y="4563"/>
                </a:cubicBezTo>
                <a:cubicBezTo>
                  <a:pt x="1469" y="4500"/>
                  <a:pt x="1531" y="4438"/>
                  <a:pt x="1562" y="4406"/>
                </a:cubicBezTo>
                <a:cubicBezTo>
                  <a:pt x="1625" y="4344"/>
                  <a:pt x="1656" y="4375"/>
                  <a:pt x="1687" y="4406"/>
                </a:cubicBezTo>
                <a:cubicBezTo>
                  <a:pt x="1812" y="4500"/>
                  <a:pt x="1969" y="4469"/>
                  <a:pt x="2062" y="4344"/>
                </a:cubicBezTo>
                <a:cubicBezTo>
                  <a:pt x="2062" y="4313"/>
                  <a:pt x="2062" y="4313"/>
                  <a:pt x="2094" y="4313"/>
                </a:cubicBezTo>
                <a:cubicBezTo>
                  <a:pt x="2125" y="4344"/>
                  <a:pt x="2187" y="4313"/>
                  <a:pt x="2219" y="4313"/>
                </a:cubicBezTo>
                <a:cubicBezTo>
                  <a:pt x="2219" y="4375"/>
                  <a:pt x="2156" y="4344"/>
                  <a:pt x="2156" y="4406"/>
                </a:cubicBezTo>
                <a:cubicBezTo>
                  <a:pt x="2312" y="4438"/>
                  <a:pt x="2312" y="4406"/>
                  <a:pt x="2250" y="4188"/>
                </a:cubicBezTo>
                <a:cubicBezTo>
                  <a:pt x="2344" y="4250"/>
                  <a:pt x="2406" y="4250"/>
                  <a:pt x="2437" y="4156"/>
                </a:cubicBezTo>
                <a:cubicBezTo>
                  <a:pt x="2469" y="4063"/>
                  <a:pt x="2344" y="4031"/>
                  <a:pt x="2312" y="4000"/>
                </a:cubicBezTo>
                <a:cubicBezTo>
                  <a:pt x="2312" y="3938"/>
                  <a:pt x="2375" y="3938"/>
                  <a:pt x="2375" y="3969"/>
                </a:cubicBezTo>
                <a:cubicBezTo>
                  <a:pt x="2469" y="4094"/>
                  <a:pt x="2594" y="4000"/>
                  <a:pt x="2687" y="4063"/>
                </a:cubicBezTo>
                <a:cubicBezTo>
                  <a:pt x="2719" y="4094"/>
                  <a:pt x="2750" y="4063"/>
                  <a:pt x="2750" y="4031"/>
                </a:cubicBezTo>
                <a:cubicBezTo>
                  <a:pt x="2781" y="4000"/>
                  <a:pt x="2750" y="3969"/>
                  <a:pt x="2719" y="3969"/>
                </a:cubicBezTo>
                <a:cubicBezTo>
                  <a:pt x="2687" y="3938"/>
                  <a:pt x="2625" y="3906"/>
                  <a:pt x="2625" y="3781"/>
                </a:cubicBezTo>
                <a:cubicBezTo>
                  <a:pt x="2719" y="3906"/>
                  <a:pt x="2906" y="3906"/>
                  <a:pt x="2969" y="4063"/>
                </a:cubicBezTo>
                <a:cubicBezTo>
                  <a:pt x="2969" y="4094"/>
                  <a:pt x="3000" y="4094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00" y="4031"/>
                  <a:pt x="3000" y="4000"/>
                  <a:pt x="3000" y="4000"/>
                </a:cubicBezTo>
                <a:cubicBezTo>
                  <a:pt x="3000" y="4000"/>
                  <a:pt x="3000" y="4000"/>
                  <a:pt x="3031" y="4000"/>
                </a:cubicBezTo>
                <a:cubicBezTo>
                  <a:pt x="3031" y="4000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31" y="4031"/>
                  <a:pt x="3031" y="4031"/>
                  <a:pt x="3031" y="4031"/>
                </a:cubicBezTo>
                <a:cubicBezTo>
                  <a:pt x="3062" y="4031"/>
                  <a:pt x="3094" y="4031"/>
                  <a:pt x="3125" y="4031"/>
                </a:cubicBezTo>
                <a:cubicBezTo>
                  <a:pt x="3125" y="4031"/>
                  <a:pt x="3125" y="4031"/>
                  <a:pt x="3125" y="4031"/>
                </a:cubicBezTo>
                <a:cubicBezTo>
                  <a:pt x="3125" y="4000"/>
                  <a:pt x="3094" y="3969"/>
                  <a:pt x="3062" y="3875"/>
                </a:cubicBezTo>
                <a:cubicBezTo>
                  <a:pt x="3187" y="3969"/>
                  <a:pt x="3312" y="3906"/>
                  <a:pt x="3375" y="4000"/>
                </a:cubicBezTo>
                <a:cubicBezTo>
                  <a:pt x="3406" y="4031"/>
                  <a:pt x="3469" y="4000"/>
                  <a:pt x="3437" y="3938"/>
                </a:cubicBezTo>
                <a:cubicBezTo>
                  <a:pt x="3437" y="3906"/>
                  <a:pt x="3406" y="3875"/>
                  <a:pt x="3375" y="3781"/>
                </a:cubicBezTo>
                <a:cubicBezTo>
                  <a:pt x="3562" y="3906"/>
                  <a:pt x="3719" y="4000"/>
                  <a:pt x="3875" y="4094"/>
                </a:cubicBezTo>
                <a:cubicBezTo>
                  <a:pt x="3844" y="4156"/>
                  <a:pt x="3750" y="4094"/>
                  <a:pt x="3781" y="4188"/>
                </a:cubicBezTo>
                <a:cubicBezTo>
                  <a:pt x="3781" y="4250"/>
                  <a:pt x="3812" y="4313"/>
                  <a:pt x="3875" y="4344"/>
                </a:cubicBezTo>
                <a:cubicBezTo>
                  <a:pt x="3969" y="4375"/>
                  <a:pt x="4062" y="4375"/>
                  <a:pt x="4156" y="4375"/>
                </a:cubicBezTo>
                <a:cubicBezTo>
                  <a:pt x="4156" y="4313"/>
                  <a:pt x="4094" y="4250"/>
                  <a:pt x="4219" y="4281"/>
                </a:cubicBezTo>
                <a:cubicBezTo>
                  <a:pt x="4219" y="4281"/>
                  <a:pt x="4219" y="4281"/>
                  <a:pt x="4219" y="4281"/>
                </a:cubicBezTo>
                <a:cubicBezTo>
                  <a:pt x="4281" y="4281"/>
                  <a:pt x="4312" y="4250"/>
                  <a:pt x="4344" y="4219"/>
                </a:cubicBezTo>
                <a:cubicBezTo>
                  <a:pt x="4344" y="4188"/>
                  <a:pt x="4344" y="4188"/>
                  <a:pt x="4344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312" y="4188"/>
                  <a:pt x="4312" y="4188"/>
                  <a:pt x="4312" y="4188"/>
                </a:cubicBezTo>
                <a:cubicBezTo>
                  <a:pt x="4250" y="4156"/>
                  <a:pt x="4219" y="4125"/>
                  <a:pt x="4156" y="4094"/>
                </a:cubicBezTo>
                <a:cubicBezTo>
                  <a:pt x="4156" y="4094"/>
                  <a:pt x="4156" y="4063"/>
                  <a:pt x="4125" y="4063"/>
                </a:cubicBezTo>
                <a:cubicBezTo>
                  <a:pt x="4125" y="4063"/>
                  <a:pt x="4094" y="4031"/>
                  <a:pt x="4062" y="4031"/>
                </a:cubicBezTo>
                <a:cubicBezTo>
                  <a:pt x="4062" y="4031"/>
                  <a:pt x="4031" y="4031"/>
                  <a:pt x="4031" y="4000"/>
                </a:cubicBezTo>
                <a:cubicBezTo>
                  <a:pt x="4000" y="4000"/>
                  <a:pt x="3969" y="4000"/>
                  <a:pt x="3969" y="3969"/>
                </a:cubicBezTo>
                <a:cubicBezTo>
                  <a:pt x="3969" y="3969"/>
                  <a:pt x="3969" y="3969"/>
                  <a:pt x="3969" y="3969"/>
                </a:cubicBezTo>
                <a:cubicBezTo>
                  <a:pt x="3906" y="3969"/>
                  <a:pt x="3875" y="3969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844" y="3938"/>
                  <a:pt x="3844" y="3938"/>
                  <a:pt x="3844" y="3938"/>
                </a:cubicBezTo>
                <a:cubicBezTo>
                  <a:pt x="3781" y="3938"/>
                  <a:pt x="3750" y="3906"/>
                  <a:pt x="3750" y="3875"/>
                </a:cubicBezTo>
                <a:cubicBezTo>
                  <a:pt x="3750" y="3875"/>
                  <a:pt x="3750" y="3875"/>
                  <a:pt x="3750" y="3875"/>
                </a:cubicBezTo>
                <a:cubicBezTo>
                  <a:pt x="3719" y="3844"/>
                  <a:pt x="3687" y="3844"/>
                  <a:pt x="3687" y="3813"/>
                </a:cubicBezTo>
                <a:cubicBezTo>
                  <a:pt x="3687" y="3813"/>
                  <a:pt x="3687" y="3813"/>
                  <a:pt x="3687" y="3813"/>
                </a:cubicBezTo>
                <a:cubicBezTo>
                  <a:pt x="3687" y="3781"/>
                  <a:pt x="3687" y="3781"/>
                  <a:pt x="3719" y="3781"/>
                </a:cubicBezTo>
                <a:cubicBezTo>
                  <a:pt x="3750" y="3781"/>
                  <a:pt x="3750" y="3813"/>
                  <a:pt x="3781" y="3844"/>
                </a:cubicBezTo>
                <a:cubicBezTo>
                  <a:pt x="3781" y="3844"/>
                  <a:pt x="3781" y="3844"/>
                  <a:pt x="3781" y="3844"/>
                </a:cubicBezTo>
                <a:cubicBezTo>
                  <a:pt x="3812" y="3875"/>
                  <a:pt x="3844" y="3875"/>
                  <a:pt x="3844" y="3938"/>
                </a:cubicBezTo>
                <a:cubicBezTo>
                  <a:pt x="3875" y="3938"/>
                  <a:pt x="3906" y="3938"/>
                  <a:pt x="3906" y="3938"/>
                </a:cubicBezTo>
                <a:cubicBezTo>
                  <a:pt x="3937" y="3938"/>
                  <a:pt x="3969" y="3938"/>
                  <a:pt x="3969" y="3938"/>
                </a:cubicBezTo>
                <a:cubicBezTo>
                  <a:pt x="3969" y="3938"/>
                  <a:pt x="3969" y="3938"/>
                  <a:pt x="3969" y="3938"/>
                </a:cubicBezTo>
                <a:cubicBezTo>
                  <a:pt x="4000" y="3969"/>
                  <a:pt x="4062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94" y="3969"/>
                  <a:pt x="4094" y="3969"/>
                  <a:pt x="4094" y="3969"/>
                </a:cubicBezTo>
                <a:cubicBezTo>
                  <a:pt x="4062" y="3938"/>
                  <a:pt x="4062" y="3906"/>
                  <a:pt x="4031" y="3875"/>
                </a:cubicBezTo>
                <a:cubicBezTo>
                  <a:pt x="4031" y="3875"/>
                  <a:pt x="4000" y="3844"/>
                  <a:pt x="4000" y="3844"/>
                </a:cubicBezTo>
                <a:cubicBezTo>
                  <a:pt x="3969" y="3813"/>
                  <a:pt x="3937" y="3781"/>
                  <a:pt x="3906" y="3781"/>
                </a:cubicBezTo>
                <a:cubicBezTo>
                  <a:pt x="3875" y="3750"/>
                  <a:pt x="3844" y="3719"/>
                  <a:pt x="3812" y="3656"/>
                </a:cubicBezTo>
                <a:cubicBezTo>
                  <a:pt x="3812" y="3625"/>
                  <a:pt x="3781" y="3625"/>
                  <a:pt x="3750" y="3625"/>
                </a:cubicBezTo>
                <a:cubicBezTo>
                  <a:pt x="3531" y="3688"/>
                  <a:pt x="3406" y="3500"/>
                  <a:pt x="3219" y="3469"/>
                </a:cubicBezTo>
                <a:cubicBezTo>
                  <a:pt x="3187" y="3469"/>
                  <a:pt x="3187" y="3438"/>
                  <a:pt x="3187" y="3406"/>
                </a:cubicBezTo>
                <a:cubicBezTo>
                  <a:pt x="3219" y="3375"/>
                  <a:pt x="3344" y="3531"/>
                  <a:pt x="3344" y="3375"/>
                </a:cubicBezTo>
                <a:cubicBezTo>
                  <a:pt x="3312" y="3344"/>
                  <a:pt x="3312" y="3344"/>
                  <a:pt x="3312" y="3313"/>
                </a:cubicBezTo>
                <a:cubicBezTo>
                  <a:pt x="3312" y="3313"/>
                  <a:pt x="3344" y="3313"/>
                  <a:pt x="3344" y="3313"/>
                </a:cubicBezTo>
                <a:cubicBezTo>
                  <a:pt x="3344" y="3313"/>
                  <a:pt x="3344" y="3313"/>
                  <a:pt x="3344" y="3313"/>
                </a:cubicBezTo>
                <a:cubicBezTo>
                  <a:pt x="3375" y="3313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44" y="3344"/>
                </a:cubicBezTo>
                <a:cubicBezTo>
                  <a:pt x="3344" y="3344"/>
                  <a:pt x="3344" y="3344"/>
                  <a:pt x="3375" y="3344"/>
                </a:cubicBezTo>
                <a:cubicBezTo>
                  <a:pt x="3406" y="3375"/>
                  <a:pt x="3469" y="3406"/>
                  <a:pt x="3500" y="3438"/>
                </a:cubicBezTo>
                <a:cubicBezTo>
                  <a:pt x="3531" y="3469"/>
                  <a:pt x="3594" y="3500"/>
                  <a:pt x="3656" y="3469"/>
                </a:cubicBezTo>
                <a:cubicBezTo>
                  <a:pt x="3687" y="3438"/>
                  <a:pt x="3687" y="3469"/>
                  <a:pt x="3719" y="3500"/>
                </a:cubicBezTo>
                <a:cubicBezTo>
                  <a:pt x="3781" y="3563"/>
                  <a:pt x="3844" y="3594"/>
                  <a:pt x="3906" y="3688"/>
                </a:cubicBezTo>
                <a:cubicBezTo>
                  <a:pt x="3969" y="3750"/>
                  <a:pt x="4031" y="3813"/>
                  <a:pt x="4125" y="3813"/>
                </a:cubicBezTo>
                <a:cubicBezTo>
                  <a:pt x="4156" y="3813"/>
                  <a:pt x="4219" y="3875"/>
                  <a:pt x="4281" y="3844"/>
                </a:cubicBezTo>
                <a:cubicBezTo>
                  <a:pt x="4187" y="3781"/>
                  <a:pt x="4062" y="3719"/>
                  <a:pt x="4000" y="3625"/>
                </a:cubicBezTo>
                <a:cubicBezTo>
                  <a:pt x="3906" y="3531"/>
                  <a:pt x="3812" y="3469"/>
                  <a:pt x="3750" y="3375"/>
                </a:cubicBezTo>
                <a:cubicBezTo>
                  <a:pt x="3719" y="3344"/>
                  <a:pt x="3719" y="3313"/>
                  <a:pt x="3781" y="3313"/>
                </a:cubicBezTo>
                <a:cubicBezTo>
                  <a:pt x="3812" y="3313"/>
                  <a:pt x="3844" y="3250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44" y="3219"/>
                  <a:pt x="3844" y="3219"/>
                  <a:pt x="3844" y="3219"/>
                </a:cubicBezTo>
                <a:cubicBezTo>
                  <a:pt x="3875" y="3188"/>
                  <a:pt x="3875" y="3188"/>
                  <a:pt x="3875" y="3156"/>
                </a:cubicBezTo>
                <a:cubicBezTo>
                  <a:pt x="3844" y="3156"/>
                  <a:pt x="3844" y="3156"/>
                  <a:pt x="3812" y="3125"/>
                </a:cubicBezTo>
                <a:cubicBezTo>
                  <a:pt x="3750" y="3094"/>
                  <a:pt x="3687" y="3031"/>
                  <a:pt x="3656" y="3000"/>
                </a:cubicBezTo>
                <a:cubicBezTo>
                  <a:pt x="3625" y="2969"/>
                  <a:pt x="3562" y="2969"/>
                  <a:pt x="3594" y="2938"/>
                </a:cubicBezTo>
                <a:cubicBezTo>
                  <a:pt x="3625" y="2875"/>
                  <a:pt x="3656" y="2938"/>
                  <a:pt x="3687" y="2938"/>
                </a:cubicBezTo>
                <a:cubicBezTo>
                  <a:pt x="3750" y="2969"/>
                  <a:pt x="3781" y="3094"/>
                  <a:pt x="3875" y="3000"/>
                </a:cubicBezTo>
                <a:cubicBezTo>
                  <a:pt x="3875" y="3000"/>
                  <a:pt x="3937" y="3031"/>
                  <a:pt x="3937" y="3031"/>
                </a:cubicBezTo>
                <a:cubicBezTo>
                  <a:pt x="4094" y="3188"/>
                  <a:pt x="4250" y="3313"/>
                  <a:pt x="4406" y="3469"/>
                </a:cubicBezTo>
                <a:cubicBezTo>
                  <a:pt x="4437" y="3469"/>
                  <a:pt x="4406" y="3281"/>
                  <a:pt x="4500" y="3406"/>
                </a:cubicBezTo>
                <a:cubicBezTo>
                  <a:pt x="4531" y="3438"/>
                  <a:pt x="4562" y="3438"/>
                  <a:pt x="4562" y="3406"/>
                </a:cubicBezTo>
                <a:cubicBezTo>
                  <a:pt x="4594" y="3375"/>
                  <a:pt x="4625" y="3406"/>
                  <a:pt x="4656" y="3438"/>
                </a:cubicBezTo>
                <a:cubicBezTo>
                  <a:pt x="4656" y="3500"/>
                  <a:pt x="4687" y="3531"/>
                  <a:pt x="4719" y="3594"/>
                </a:cubicBezTo>
                <a:cubicBezTo>
                  <a:pt x="4719" y="3594"/>
                  <a:pt x="4750" y="3625"/>
                  <a:pt x="4750" y="3625"/>
                </a:cubicBezTo>
                <a:cubicBezTo>
                  <a:pt x="4781" y="3625"/>
                  <a:pt x="4781" y="3656"/>
                  <a:pt x="4812" y="3656"/>
                </a:cubicBezTo>
                <a:cubicBezTo>
                  <a:pt x="4812" y="3688"/>
                  <a:pt x="4844" y="3688"/>
                  <a:pt x="4844" y="3688"/>
                </a:cubicBezTo>
                <a:cubicBezTo>
                  <a:pt x="4875" y="3719"/>
                  <a:pt x="4906" y="3750"/>
                  <a:pt x="4937" y="3750"/>
                </a:cubicBezTo>
                <a:cubicBezTo>
                  <a:pt x="4937" y="3781"/>
                  <a:pt x="4969" y="3781"/>
                  <a:pt x="4969" y="3781"/>
                </a:cubicBezTo>
                <a:cubicBezTo>
                  <a:pt x="5000" y="3719"/>
                  <a:pt x="4937" y="3719"/>
                  <a:pt x="4906" y="3656"/>
                </a:cubicBezTo>
                <a:cubicBezTo>
                  <a:pt x="4969" y="3594"/>
                  <a:pt x="5031" y="3625"/>
                  <a:pt x="5094" y="3688"/>
                </a:cubicBezTo>
                <a:cubicBezTo>
                  <a:pt x="5219" y="3813"/>
                  <a:pt x="5375" y="3906"/>
                  <a:pt x="5531" y="3969"/>
                </a:cubicBezTo>
                <a:cubicBezTo>
                  <a:pt x="5531" y="3844"/>
                  <a:pt x="5437" y="3844"/>
                  <a:pt x="5375" y="3781"/>
                </a:cubicBezTo>
                <a:cubicBezTo>
                  <a:pt x="5375" y="3750"/>
                  <a:pt x="5375" y="3719"/>
                  <a:pt x="5344" y="3719"/>
                </a:cubicBezTo>
                <a:cubicBezTo>
                  <a:pt x="5344" y="3719"/>
                  <a:pt x="5344" y="3719"/>
                  <a:pt x="5312" y="3688"/>
                </a:cubicBezTo>
                <a:close/>
                <a:moveTo>
                  <a:pt x="21719" y="4906"/>
                </a:move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ubicBezTo>
                  <a:pt x="21719" y="4906"/>
                  <a:pt x="21719" y="4906"/>
                  <a:pt x="21719" y="4906"/>
                </a:cubicBezTo>
                <a:close/>
                <a:moveTo>
                  <a:pt x="1312" y="17219"/>
                </a:moveTo>
                <a:cubicBezTo>
                  <a:pt x="1312" y="17219"/>
                  <a:pt x="1312" y="17219"/>
                  <a:pt x="1312" y="17219"/>
                </a:cubicBezTo>
                <a:cubicBezTo>
                  <a:pt x="1312" y="17219"/>
                  <a:pt x="1312" y="17219"/>
                  <a:pt x="1312" y="17219"/>
                </a:cubicBezTo>
                <a:close/>
                <a:moveTo>
                  <a:pt x="13094" y="3813"/>
                </a:move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ubicBezTo>
                  <a:pt x="13094" y="3813"/>
                  <a:pt x="13094" y="3813"/>
                  <a:pt x="13094" y="3813"/>
                </a:cubicBezTo>
                <a:close/>
                <a:moveTo>
                  <a:pt x="6375" y="625"/>
                </a:moveTo>
                <a:cubicBezTo>
                  <a:pt x="6406" y="625"/>
                  <a:pt x="6469" y="625"/>
                  <a:pt x="6500" y="594"/>
                </a:cubicBezTo>
                <a:cubicBezTo>
                  <a:pt x="6562" y="500"/>
                  <a:pt x="6687" y="531"/>
                  <a:pt x="6750" y="563"/>
                </a:cubicBezTo>
                <a:cubicBezTo>
                  <a:pt x="6875" y="625"/>
                  <a:pt x="7000" y="625"/>
                  <a:pt x="7125" y="656"/>
                </a:cubicBezTo>
                <a:cubicBezTo>
                  <a:pt x="7125" y="656"/>
                  <a:pt x="7125" y="625"/>
                  <a:pt x="7156" y="625"/>
                </a:cubicBezTo>
                <a:cubicBezTo>
                  <a:pt x="7156" y="594"/>
                  <a:pt x="7156" y="531"/>
                  <a:pt x="7187" y="531"/>
                </a:cubicBezTo>
                <a:cubicBezTo>
                  <a:pt x="7250" y="531"/>
                  <a:pt x="7281" y="594"/>
                  <a:pt x="7250" y="688"/>
                </a:cubicBezTo>
                <a:cubicBezTo>
                  <a:pt x="7250" y="719"/>
                  <a:pt x="7250" y="750"/>
                  <a:pt x="7281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12" y="781"/>
                  <a:pt x="7312" y="781"/>
                  <a:pt x="7312" y="781"/>
                </a:cubicBezTo>
                <a:cubicBezTo>
                  <a:pt x="7344" y="813"/>
                  <a:pt x="7312" y="844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312" y="875"/>
                  <a:pt x="7312" y="875"/>
                  <a:pt x="7312" y="875"/>
                </a:cubicBezTo>
                <a:cubicBezTo>
                  <a:pt x="7281" y="875"/>
                  <a:pt x="7250" y="875"/>
                  <a:pt x="7250" y="906"/>
                </a:cubicBezTo>
                <a:cubicBezTo>
                  <a:pt x="7250" y="906"/>
                  <a:pt x="7250" y="938"/>
                  <a:pt x="7250" y="938"/>
                </a:cubicBezTo>
                <a:cubicBezTo>
                  <a:pt x="7250" y="938"/>
                  <a:pt x="7281" y="938"/>
                  <a:pt x="7281" y="938"/>
                </a:cubicBezTo>
                <a:cubicBezTo>
                  <a:pt x="7312" y="938"/>
                  <a:pt x="7312" y="906"/>
                  <a:pt x="7312" y="875"/>
                </a:cubicBezTo>
                <a:cubicBezTo>
                  <a:pt x="7375" y="875"/>
                  <a:pt x="7437" y="938"/>
                  <a:pt x="7469" y="969"/>
                </a:cubicBezTo>
                <a:cubicBezTo>
                  <a:pt x="7562" y="1000"/>
                  <a:pt x="7625" y="1125"/>
                  <a:pt x="7750" y="1094"/>
                </a:cubicBezTo>
                <a:cubicBezTo>
                  <a:pt x="7781" y="1094"/>
                  <a:pt x="7812" y="1125"/>
                  <a:pt x="7812" y="1156"/>
                </a:cubicBezTo>
                <a:cubicBezTo>
                  <a:pt x="7750" y="1250"/>
                  <a:pt x="7844" y="1250"/>
                  <a:pt x="7906" y="1281"/>
                </a:cubicBezTo>
                <a:cubicBezTo>
                  <a:pt x="7937" y="1281"/>
                  <a:pt x="7969" y="1313"/>
                  <a:pt x="7906" y="1344"/>
                </a:cubicBezTo>
                <a:cubicBezTo>
                  <a:pt x="7906" y="1375"/>
                  <a:pt x="7844" y="1375"/>
                  <a:pt x="7875" y="1406"/>
                </a:cubicBezTo>
                <a:cubicBezTo>
                  <a:pt x="7906" y="1438"/>
                  <a:pt x="7937" y="1438"/>
                  <a:pt x="7969" y="1438"/>
                </a:cubicBezTo>
                <a:cubicBezTo>
                  <a:pt x="8125" y="1406"/>
                  <a:pt x="8312" y="1375"/>
                  <a:pt x="8437" y="1531"/>
                </a:cubicBezTo>
                <a:cubicBezTo>
                  <a:pt x="8437" y="1531"/>
                  <a:pt x="8437" y="1531"/>
                  <a:pt x="8406" y="1531"/>
                </a:cubicBezTo>
                <a:cubicBezTo>
                  <a:pt x="8406" y="1531"/>
                  <a:pt x="8406" y="1531"/>
                  <a:pt x="8406" y="1531"/>
                </a:cubicBezTo>
                <a:cubicBezTo>
                  <a:pt x="8406" y="1531"/>
                  <a:pt x="8406" y="1563"/>
                  <a:pt x="8406" y="1563"/>
                </a:cubicBezTo>
                <a:cubicBezTo>
                  <a:pt x="8344" y="1563"/>
                  <a:pt x="8312" y="1563"/>
                  <a:pt x="8250" y="1531"/>
                </a:cubicBezTo>
                <a:cubicBezTo>
                  <a:pt x="8219" y="1531"/>
                  <a:pt x="8156" y="1500"/>
                  <a:pt x="8094" y="1500"/>
                </a:cubicBezTo>
                <a:cubicBezTo>
                  <a:pt x="8062" y="1531"/>
                  <a:pt x="8031" y="1563"/>
                  <a:pt x="8031" y="1594"/>
                </a:cubicBezTo>
                <a:cubicBezTo>
                  <a:pt x="8062" y="1656"/>
                  <a:pt x="8062" y="1688"/>
                  <a:pt x="8125" y="1688"/>
                </a:cubicBezTo>
                <a:cubicBezTo>
                  <a:pt x="8250" y="1656"/>
                  <a:pt x="8156" y="1750"/>
                  <a:pt x="8156" y="1750"/>
                </a:cubicBezTo>
                <a:cubicBezTo>
                  <a:pt x="8187" y="1781"/>
                  <a:pt x="8219" y="1781"/>
                  <a:pt x="8281" y="1781"/>
                </a:cubicBezTo>
                <a:cubicBezTo>
                  <a:pt x="8281" y="1781"/>
                  <a:pt x="8312" y="1844"/>
                  <a:pt x="8344" y="1781"/>
                </a:cubicBezTo>
                <a:cubicBezTo>
                  <a:pt x="8375" y="1781"/>
                  <a:pt x="8344" y="1750"/>
                  <a:pt x="8344" y="1719"/>
                </a:cubicBezTo>
                <a:cubicBezTo>
                  <a:pt x="8312" y="1656"/>
                  <a:pt x="8281" y="1625"/>
                  <a:pt x="8375" y="1625"/>
                </a:cubicBezTo>
                <a:cubicBezTo>
                  <a:pt x="8406" y="1656"/>
                  <a:pt x="8406" y="1594"/>
                  <a:pt x="8406" y="1563"/>
                </a:cubicBezTo>
                <a:cubicBezTo>
                  <a:pt x="8500" y="1563"/>
                  <a:pt x="8656" y="1531"/>
                  <a:pt x="8687" y="1469"/>
                </a:cubicBezTo>
                <a:cubicBezTo>
                  <a:pt x="8750" y="1344"/>
                  <a:pt x="8844" y="1406"/>
                  <a:pt x="8875" y="1406"/>
                </a:cubicBezTo>
                <a:cubicBezTo>
                  <a:pt x="9000" y="1500"/>
                  <a:pt x="9094" y="1281"/>
                  <a:pt x="9219" y="1344"/>
                </a:cubicBezTo>
                <a:cubicBezTo>
                  <a:pt x="9219" y="1188"/>
                  <a:pt x="9250" y="1281"/>
                  <a:pt x="9312" y="1344"/>
                </a:cubicBezTo>
                <a:cubicBezTo>
                  <a:pt x="9344" y="1375"/>
                  <a:pt x="9375" y="1375"/>
                  <a:pt x="9406" y="1344"/>
                </a:cubicBezTo>
                <a:cubicBezTo>
                  <a:pt x="9469" y="1344"/>
                  <a:pt x="9531" y="1344"/>
                  <a:pt x="9562" y="1375"/>
                </a:cubicBezTo>
                <a:cubicBezTo>
                  <a:pt x="9625" y="1406"/>
                  <a:pt x="9656" y="1438"/>
                  <a:pt x="9687" y="1344"/>
                </a:cubicBezTo>
                <a:cubicBezTo>
                  <a:pt x="9687" y="1281"/>
                  <a:pt x="9719" y="1281"/>
                  <a:pt x="9750" y="1313"/>
                </a:cubicBezTo>
                <a:cubicBezTo>
                  <a:pt x="9812" y="1406"/>
                  <a:pt x="9812" y="1469"/>
                  <a:pt x="9937" y="1500"/>
                </a:cubicBezTo>
                <a:cubicBezTo>
                  <a:pt x="9969" y="1500"/>
                  <a:pt x="10000" y="1563"/>
                  <a:pt x="10062" y="1531"/>
                </a:cubicBezTo>
                <a:cubicBezTo>
                  <a:pt x="10062" y="1594"/>
                  <a:pt x="10062" y="1594"/>
                  <a:pt x="10031" y="1594"/>
                </a:cubicBezTo>
                <a:cubicBezTo>
                  <a:pt x="9969" y="1594"/>
                  <a:pt x="9937" y="1625"/>
                  <a:pt x="9937" y="1688"/>
                </a:cubicBezTo>
                <a:cubicBezTo>
                  <a:pt x="9969" y="1719"/>
                  <a:pt x="10031" y="1688"/>
                  <a:pt x="10062" y="1656"/>
                </a:cubicBezTo>
                <a:cubicBezTo>
                  <a:pt x="10125" y="1625"/>
                  <a:pt x="10156" y="1531"/>
                  <a:pt x="10219" y="1563"/>
                </a:cubicBezTo>
                <a:cubicBezTo>
                  <a:pt x="10312" y="1594"/>
                  <a:pt x="10250" y="1688"/>
                  <a:pt x="10281" y="1750"/>
                </a:cubicBezTo>
                <a:cubicBezTo>
                  <a:pt x="10281" y="1750"/>
                  <a:pt x="10312" y="1781"/>
                  <a:pt x="10312" y="1781"/>
                </a:cubicBezTo>
                <a:cubicBezTo>
                  <a:pt x="10281" y="1844"/>
                  <a:pt x="10344" y="1844"/>
                  <a:pt x="10375" y="1875"/>
                </a:cubicBezTo>
                <a:cubicBezTo>
                  <a:pt x="10437" y="1875"/>
                  <a:pt x="10406" y="1813"/>
                  <a:pt x="10437" y="1781"/>
                </a:cubicBezTo>
                <a:cubicBezTo>
                  <a:pt x="10469" y="1750"/>
                  <a:pt x="10437" y="1688"/>
                  <a:pt x="10437" y="1656"/>
                </a:cubicBezTo>
                <a:cubicBezTo>
                  <a:pt x="10531" y="1688"/>
                  <a:pt x="10625" y="1656"/>
                  <a:pt x="10594" y="1813"/>
                </a:cubicBezTo>
                <a:cubicBezTo>
                  <a:pt x="10687" y="1781"/>
                  <a:pt x="10656" y="1719"/>
                  <a:pt x="10656" y="1656"/>
                </a:cubicBezTo>
                <a:cubicBezTo>
                  <a:pt x="10656" y="1563"/>
                  <a:pt x="10719" y="1688"/>
                  <a:pt x="10750" y="1625"/>
                </a:cubicBezTo>
                <a:cubicBezTo>
                  <a:pt x="10812" y="1531"/>
                  <a:pt x="11000" y="1563"/>
                  <a:pt x="11031" y="1656"/>
                </a:cubicBezTo>
                <a:cubicBezTo>
                  <a:pt x="11094" y="1719"/>
                  <a:pt x="11156" y="1719"/>
                  <a:pt x="11156" y="1656"/>
                </a:cubicBezTo>
                <a:cubicBezTo>
                  <a:pt x="11219" y="1594"/>
                  <a:pt x="11281" y="1625"/>
                  <a:pt x="11312" y="1688"/>
                </a:cubicBezTo>
                <a:cubicBezTo>
                  <a:pt x="11375" y="1625"/>
                  <a:pt x="11281" y="1563"/>
                  <a:pt x="11344" y="1531"/>
                </a:cubicBezTo>
                <a:cubicBezTo>
                  <a:pt x="11437" y="1500"/>
                  <a:pt x="11406" y="1625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469" y="1656"/>
                  <a:pt x="11469" y="1656"/>
                </a:cubicBezTo>
                <a:cubicBezTo>
                  <a:pt x="11469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56"/>
                  <a:pt x="11500" y="1656"/>
                  <a:pt x="11500" y="1656"/>
                </a:cubicBezTo>
                <a:cubicBezTo>
                  <a:pt x="11500" y="1625"/>
                  <a:pt x="11500" y="1594"/>
                  <a:pt x="11500" y="1594"/>
                </a:cubicBezTo>
                <a:cubicBezTo>
                  <a:pt x="11500" y="1531"/>
                  <a:pt x="11500" y="1438"/>
                  <a:pt x="11500" y="1375"/>
                </a:cubicBezTo>
                <a:cubicBezTo>
                  <a:pt x="11500" y="1344"/>
                  <a:pt x="11500" y="1313"/>
                  <a:pt x="11469" y="1313"/>
                </a:cubicBezTo>
                <a:cubicBezTo>
                  <a:pt x="11469" y="1281"/>
                  <a:pt x="11469" y="1281"/>
                  <a:pt x="11469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00" y="1281"/>
                  <a:pt x="11500" y="1281"/>
                  <a:pt x="11500" y="1281"/>
                </a:cubicBezTo>
                <a:cubicBezTo>
                  <a:pt x="11531" y="1281"/>
                  <a:pt x="11531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62" y="1281"/>
                </a:cubicBezTo>
                <a:cubicBezTo>
                  <a:pt x="11562" y="1281"/>
                  <a:pt x="11562" y="1281"/>
                  <a:pt x="11594" y="1313"/>
                </a:cubicBezTo>
                <a:cubicBezTo>
                  <a:pt x="11594" y="1313"/>
                  <a:pt x="11625" y="1313"/>
                  <a:pt x="11656" y="1313"/>
                </a:cubicBezTo>
                <a:cubicBezTo>
                  <a:pt x="11656" y="1313"/>
                  <a:pt x="11656" y="1313"/>
                  <a:pt x="11656" y="1313"/>
                </a:cubicBezTo>
                <a:cubicBezTo>
                  <a:pt x="11656" y="1313"/>
                  <a:pt x="11687" y="1281"/>
                  <a:pt x="11687" y="1281"/>
                </a:cubicBezTo>
                <a:cubicBezTo>
                  <a:pt x="11687" y="1281"/>
                  <a:pt x="11719" y="1281"/>
                  <a:pt x="11719" y="1281"/>
                </a:cubicBezTo>
                <a:cubicBezTo>
                  <a:pt x="11812" y="1250"/>
                  <a:pt x="11812" y="1344"/>
                  <a:pt x="11844" y="1406"/>
                </a:cubicBezTo>
                <a:cubicBezTo>
                  <a:pt x="11875" y="1406"/>
                  <a:pt x="11875" y="1438"/>
                  <a:pt x="11875" y="1438"/>
                </a:cubicBezTo>
                <a:cubicBezTo>
                  <a:pt x="11906" y="1344"/>
                  <a:pt x="11906" y="1219"/>
                  <a:pt x="12031" y="1313"/>
                </a:cubicBezTo>
                <a:cubicBezTo>
                  <a:pt x="12031" y="1313"/>
                  <a:pt x="12062" y="1281"/>
                  <a:pt x="12062" y="1281"/>
                </a:cubicBezTo>
                <a:cubicBezTo>
                  <a:pt x="12062" y="1219"/>
                  <a:pt x="12094" y="1250"/>
                  <a:pt x="12125" y="1250"/>
                </a:cubicBezTo>
                <a:cubicBezTo>
                  <a:pt x="12187" y="1313"/>
                  <a:pt x="12219" y="1344"/>
                  <a:pt x="12219" y="1406"/>
                </a:cubicBezTo>
                <a:cubicBezTo>
                  <a:pt x="12219" y="1531"/>
                  <a:pt x="12219" y="1625"/>
                  <a:pt x="12219" y="1750"/>
                </a:cubicBezTo>
                <a:cubicBezTo>
                  <a:pt x="12219" y="1750"/>
                  <a:pt x="12250" y="1750"/>
                  <a:pt x="12250" y="1750"/>
                </a:cubicBezTo>
                <a:cubicBezTo>
                  <a:pt x="12187" y="1469"/>
                  <a:pt x="12375" y="1250"/>
                  <a:pt x="12312" y="969"/>
                </a:cubicBezTo>
                <a:cubicBezTo>
                  <a:pt x="12312" y="1031"/>
                  <a:pt x="12344" y="1094"/>
                  <a:pt x="12406" y="1094"/>
                </a:cubicBezTo>
                <a:cubicBezTo>
                  <a:pt x="12469" y="1094"/>
                  <a:pt x="12500" y="1063"/>
                  <a:pt x="12469" y="1031"/>
                </a:cubicBezTo>
                <a:cubicBezTo>
                  <a:pt x="12469" y="969"/>
                  <a:pt x="12469" y="906"/>
                  <a:pt x="12531" y="906"/>
                </a:cubicBezTo>
                <a:cubicBezTo>
                  <a:pt x="12625" y="938"/>
                  <a:pt x="12562" y="1000"/>
                  <a:pt x="12594" y="1063"/>
                </a:cubicBezTo>
                <a:cubicBezTo>
                  <a:pt x="12594" y="1063"/>
                  <a:pt x="12562" y="1094"/>
                  <a:pt x="12562" y="1125"/>
                </a:cubicBezTo>
                <a:cubicBezTo>
                  <a:pt x="12562" y="1156"/>
                  <a:pt x="12531" y="1156"/>
                  <a:pt x="12531" y="1156"/>
                </a:cubicBezTo>
                <a:cubicBezTo>
                  <a:pt x="12531" y="1188"/>
                  <a:pt x="12531" y="1188"/>
                  <a:pt x="12500" y="1188"/>
                </a:cubicBezTo>
                <a:cubicBezTo>
                  <a:pt x="12500" y="1188"/>
                  <a:pt x="12500" y="1188"/>
                  <a:pt x="12500" y="1188"/>
                </a:cubicBezTo>
                <a:cubicBezTo>
                  <a:pt x="12500" y="1188"/>
                  <a:pt x="12500" y="1188"/>
                  <a:pt x="12469" y="1188"/>
                </a:cubicBezTo>
                <a:cubicBezTo>
                  <a:pt x="12469" y="1188"/>
                  <a:pt x="12469" y="1188"/>
                  <a:pt x="12469" y="1188"/>
                </a:cubicBezTo>
                <a:cubicBezTo>
                  <a:pt x="12437" y="1188"/>
                  <a:pt x="12437" y="1219"/>
                  <a:pt x="12437" y="1219"/>
                </a:cubicBezTo>
                <a:cubicBezTo>
                  <a:pt x="12406" y="1219"/>
                  <a:pt x="12406" y="1219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406" y="1250"/>
                  <a:pt x="12406" y="1250"/>
                  <a:pt x="12406" y="1250"/>
                </a:cubicBezTo>
                <a:cubicBezTo>
                  <a:pt x="12625" y="1250"/>
                  <a:pt x="12625" y="1281"/>
                  <a:pt x="12625" y="1031"/>
                </a:cubicBezTo>
                <a:cubicBezTo>
                  <a:pt x="12625" y="1000"/>
                  <a:pt x="12625" y="969"/>
                  <a:pt x="12625" y="938"/>
                </a:cubicBezTo>
                <a:cubicBezTo>
                  <a:pt x="12625" y="844"/>
                  <a:pt x="12656" y="906"/>
                  <a:pt x="12687" y="938"/>
                </a:cubicBezTo>
                <a:cubicBezTo>
                  <a:pt x="12687" y="969"/>
                  <a:pt x="12687" y="969"/>
                  <a:pt x="12719" y="1000"/>
                </a:cubicBezTo>
                <a:cubicBezTo>
                  <a:pt x="12719" y="1000"/>
                  <a:pt x="12719" y="1000"/>
                  <a:pt x="12719" y="1031"/>
                </a:cubicBezTo>
                <a:cubicBezTo>
                  <a:pt x="12750" y="1031"/>
                  <a:pt x="12750" y="1031"/>
                  <a:pt x="12781" y="1031"/>
                </a:cubicBezTo>
                <a:cubicBezTo>
                  <a:pt x="12781" y="1031"/>
                  <a:pt x="12781" y="1031"/>
                  <a:pt x="12812" y="1031"/>
                </a:cubicBezTo>
                <a:cubicBezTo>
                  <a:pt x="12875" y="1063"/>
                  <a:pt x="13000" y="969"/>
                  <a:pt x="13031" y="1063"/>
                </a:cubicBezTo>
                <a:cubicBezTo>
                  <a:pt x="13094" y="1000"/>
                  <a:pt x="13031" y="813"/>
                  <a:pt x="13219" y="875"/>
                </a:cubicBezTo>
                <a:cubicBezTo>
                  <a:pt x="13219" y="844"/>
                  <a:pt x="13219" y="781"/>
                  <a:pt x="13156" y="813"/>
                </a:cubicBezTo>
                <a:cubicBezTo>
                  <a:pt x="13062" y="844"/>
                  <a:pt x="13094" y="781"/>
                  <a:pt x="13094" y="750"/>
                </a:cubicBezTo>
                <a:cubicBezTo>
                  <a:pt x="13125" y="656"/>
                  <a:pt x="13187" y="594"/>
                  <a:pt x="13281" y="625"/>
                </a:cubicBezTo>
                <a:cubicBezTo>
                  <a:pt x="13312" y="625"/>
                  <a:pt x="13344" y="625"/>
                  <a:pt x="13344" y="594"/>
                </a:cubicBezTo>
                <a:cubicBezTo>
                  <a:pt x="13375" y="563"/>
                  <a:pt x="13344" y="563"/>
                  <a:pt x="13312" y="563"/>
                </a:cubicBezTo>
                <a:cubicBezTo>
                  <a:pt x="13281" y="563"/>
                  <a:pt x="13250" y="563"/>
                  <a:pt x="13219" y="563"/>
                </a:cubicBezTo>
                <a:cubicBezTo>
                  <a:pt x="12844" y="531"/>
                  <a:pt x="12437" y="531"/>
                  <a:pt x="12062" y="438"/>
                </a:cubicBezTo>
                <a:cubicBezTo>
                  <a:pt x="11656" y="313"/>
                  <a:pt x="11250" y="313"/>
                  <a:pt x="10844" y="219"/>
                </a:cubicBezTo>
                <a:cubicBezTo>
                  <a:pt x="10687" y="188"/>
                  <a:pt x="10531" y="156"/>
                  <a:pt x="10344" y="125"/>
                </a:cubicBezTo>
                <a:cubicBezTo>
                  <a:pt x="9844" y="31"/>
                  <a:pt x="9312" y="0"/>
                  <a:pt x="8781" y="0"/>
                </a:cubicBezTo>
                <a:cubicBezTo>
                  <a:pt x="8375" y="0"/>
                  <a:pt x="7969" y="94"/>
                  <a:pt x="7562" y="156"/>
                </a:cubicBezTo>
                <a:cubicBezTo>
                  <a:pt x="7500" y="156"/>
                  <a:pt x="7406" y="188"/>
                  <a:pt x="7375" y="219"/>
                </a:cubicBezTo>
                <a:cubicBezTo>
                  <a:pt x="7344" y="250"/>
                  <a:pt x="7344" y="250"/>
                  <a:pt x="7312" y="281"/>
                </a:cubicBezTo>
                <a:cubicBezTo>
                  <a:pt x="7281" y="281"/>
                  <a:pt x="7281" y="313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50" y="281"/>
                </a:cubicBezTo>
                <a:cubicBezTo>
                  <a:pt x="7250" y="281"/>
                  <a:pt x="7250" y="281"/>
                  <a:pt x="7219" y="281"/>
                </a:cubicBezTo>
                <a:cubicBezTo>
                  <a:pt x="7219" y="281"/>
                  <a:pt x="7219" y="281"/>
                  <a:pt x="7219" y="281"/>
                </a:cubicBezTo>
                <a:cubicBezTo>
                  <a:pt x="7219" y="281"/>
                  <a:pt x="7187" y="281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87" y="250"/>
                  <a:pt x="7187" y="250"/>
                  <a:pt x="7187" y="250"/>
                </a:cubicBezTo>
                <a:cubicBezTo>
                  <a:pt x="7156" y="281"/>
                  <a:pt x="7187" y="313"/>
                  <a:pt x="7156" y="344"/>
                </a:cubicBezTo>
                <a:cubicBezTo>
                  <a:pt x="7156" y="344"/>
                  <a:pt x="7156" y="344"/>
                  <a:pt x="7125" y="375"/>
                </a:cubicBezTo>
                <a:cubicBezTo>
                  <a:pt x="7094" y="375"/>
                  <a:pt x="7062" y="344"/>
                  <a:pt x="7062" y="313"/>
                </a:cubicBezTo>
                <a:cubicBezTo>
                  <a:pt x="7031" y="250"/>
                  <a:pt x="7000" y="250"/>
                  <a:pt x="6969" y="281"/>
                </a:cubicBezTo>
                <a:cubicBezTo>
                  <a:pt x="6937" y="313"/>
                  <a:pt x="6906" y="344"/>
                  <a:pt x="6875" y="344"/>
                </a:cubicBezTo>
                <a:cubicBezTo>
                  <a:pt x="6781" y="313"/>
                  <a:pt x="6812" y="375"/>
                  <a:pt x="6812" y="406"/>
                </a:cubicBezTo>
                <a:cubicBezTo>
                  <a:pt x="6812" y="438"/>
                  <a:pt x="6844" y="438"/>
                  <a:pt x="6844" y="500"/>
                </a:cubicBezTo>
                <a:cubicBezTo>
                  <a:pt x="6781" y="469"/>
                  <a:pt x="6781" y="438"/>
                  <a:pt x="6750" y="406"/>
                </a:cubicBezTo>
                <a:cubicBezTo>
                  <a:pt x="6719" y="344"/>
                  <a:pt x="6687" y="375"/>
                  <a:pt x="6687" y="438"/>
                </a:cubicBezTo>
                <a:cubicBezTo>
                  <a:pt x="6656" y="438"/>
                  <a:pt x="6625" y="406"/>
                  <a:pt x="6594" y="406"/>
                </a:cubicBezTo>
                <a:cubicBezTo>
                  <a:pt x="6594" y="406"/>
                  <a:pt x="6594" y="406"/>
                  <a:pt x="6562" y="406"/>
                </a:cubicBezTo>
                <a:cubicBezTo>
                  <a:pt x="6469" y="563"/>
                  <a:pt x="6437" y="406"/>
                  <a:pt x="6375" y="313"/>
                </a:cubicBezTo>
                <a:cubicBezTo>
                  <a:pt x="6344" y="406"/>
                  <a:pt x="6375" y="469"/>
                  <a:pt x="6375" y="531"/>
                </a:cubicBezTo>
                <a:cubicBezTo>
                  <a:pt x="6344" y="563"/>
                  <a:pt x="6344" y="594"/>
                  <a:pt x="6375" y="625"/>
                </a:cubicBezTo>
                <a:close/>
                <a:moveTo>
                  <a:pt x="3594" y="3688"/>
                </a:moveTo>
                <a:cubicBezTo>
                  <a:pt x="3594" y="3688"/>
                  <a:pt x="3594" y="3688"/>
                  <a:pt x="3594" y="3688"/>
                </a:cubicBezTo>
                <a:cubicBezTo>
                  <a:pt x="3594" y="3688"/>
                  <a:pt x="3594" y="3719"/>
                  <a:pt x="3594" y="3719"/>
                </a:cubicBezTo>
                <a:cubicBezTo>
                  <a:pt x="3594" y="3719"/>
                  <a:pt x="3594" y="3719"/>
                  <a:pt x="3625" y="3719"/>
                </a:cubicBezTo>
                <a:cubicBezTo>
                  <a:pt x="3625" y="3719"/>
                  <a:pt x="3625" y="3719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625" y="3688"/>
                  <a:pt x="3625" y="3688"/>
                  <a:pt x="3625" y="3688"/>
                </a:cubicBezTo>
                <a:cubicBezTo>
                  <a:pt x="3594" y="3688"/>
                  <a:pt x="3594" y="3688"/>
                  <a:pt x="3594" y="3688"/>
                </a:cubicBezTo>
                <a:close/>
                <a:moveTo>
                  <a:pt x="6031" y="4188"/>
                </a:moveTo>
                <a:cubicBezTo>
                  <a:pt x="6062" y="4188"/>
                  <a:pt x="6062" y="4188"/>
                  <a:pt x="6062" y="4188"/>
                </a:cubicBezTo>
                <a:cubicBezTo>
                  <a:pt x="6094" y="4188"/>
                  <a:pt x="6094" y="4188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6125" y="4156"/>
                  <a:pt x="6125" y="4156"/>
                  <a:pt x="6125" y="4156"/>
                </a:cubicBezTo>
                <a:cubicBezTo>
                  <a:pt x="5937" y="4031"/>
                  <a:pt x="5812" y="3906"/>
                  <a:pt x="5625" y="3813"/>
                </a:cubicBezTo>
                <a:cubicBezTo>
                  <a:pt x="5625" y="3813"/>
                  <a:pt x="5625" y="3844"/>
                  <a:pt x="5625" y="3844"/>
                </a:cubicBezTo>
                <a:cubicBezTo>
                  <a:pt x="5750" y="3969"/>
                  <a:pt x="5906" y="4063"/>
                  <a:pt x="6031" y="4188"/>
                </a:cubicBezTo>
                <a:close/>
                <a:moveTo>
                  <a:pt x="8562" y="3219"/>
                </a:moveTo>
                <a:cubicBezTo>
                  <a:pt x="8562" y="3219"/>
                  <a:pt x="8562" y="3219"/>
                  <a:pt x="8562" y="3219"/>
                </a:cubicBezTo>
                <a:cubicBezTo>
                  <a:pt x="8562" y="3219"/>
                  <a:pt x="8562" y="3219"/>
                  <a:pt x="8562" y="3188"/>
                </a:cubicBezTo>
                <a:cubicBezTo>
                  <a:pt x="8562" y="3188"/>
                  <a:pt x="8562" y="3156"/>
                  <a:pt x="8531" y="3156"/>
                </a:cubicBezTo>
                <a:cubicBezTo>
                  <a:pt x="8531" y="3156"/>
                  <a:pt x="8531" y="3156"/>
                  <a:pt x="8531" y="3156"/>
                </a:cubicBezTo>
                <a:cubicBezTo>
                  <a:pt x="8531" y="3188"/>
                  <a:pt x="8531" y="3188"/>
                  <a:pt x="8531" y="3188"/>
                </a:cubicBezTo>
                <a:cubicBezTo>
                  <a:pt x="8531" y="3188"/>
                  <a:pt x="8531" y="3188"/>
                  <a:pt x="8562" y="3188"/>
                </a:cubicBezTo>
                <a:cubicBezTo>
                  <a:pt x="8562" y="3219"/>
                  <a:pt x="8562" y="3219"/>
                  <a:pt x="8562" y="3219"/>
                </a:cubicBezTo>
                <a:close/>
                <a:moveTo>
                  <a:pt x="5062" y="2875"/>
                </a:move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lnTo>
                  <a:pt x="5062" y="2875"/>
                </a:ln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ubicBezTo>
                  <a:pt x="5062" y="2875"/>
                  <a:pt x="5062" y="2875"/>
                  <a:pt x="5062" y="2875"/>
                </a:cubicBezTo>
                <a:close/>
                <a:moveTo>
                  <a:pt x="17969" y="719"/>
                </a:moveTo>
                <a:cubicBezTo>
                  <a:pt x="17969" y="719"/>
                  <a:pt x="18000" y="750"/>
                  <a:pt x="18000" y="750"/>
                </a:cubicBezTo>
                <a:cubicBezTo>
                  <a:pt x="18031" y="750"/>
                  <a:pt x="18031" y="781"/>
                  <a:pt x="18062" y="781"/>
                </a:cubicBezTo>
                <a:cubicBezTo>
                  <a:pt x="18062" y="781"/>
                  <a:pt x="18062" y="781"/>
                  <a:pt x="18062" y="781"/>
                </a:cubicBezTo>
                <a:cubicBezTo>
                  <a:pt x="18062" y="813"/>
                  <a:pt x="18062" y="844"/>
                  <a:pt x="18094" y="875"/>
                </a:cubicBezTo>
                <a:cubicBezTo>
                  <a:pt x="18094" y="906"/>
                  <a:pt x="18094" y="906"/>
                  <a:pt x="18094" y="906"/>
                </a:cubicBezTo>
                <a:cubicBezTo>
                  <a:pt x="18094" y="938"/>
                  <a:pt x="18094" y="969"/>
                  <a:pt x="18125" y="1000"/>
                </a:cubicBezTo>
                <a:cubicBezTo>
                  <a:pt x="18156" y="1031"/>
                  <a:pt x="18125" y="1063"/>
                  <a:pt x="18094" y="1094"/>
                </a:cubicBezTo>
                <a:cubicBezTo>
                  <a:pt x="18062" y="1125"/>
                  <a:pt x="18000" y="1219"/>
                  <a:pt x="17969" y="1188"/>
                </a:cubicBezTo>
                <a:cubicBezTo>
                  <a:pt x="17906" y="1094"/>
                  <a:pt x="17875" y="1156"/>
                  <a:pt x="17812" y="1188"/>
                </a:cubicBezTo>
                <a:cubicBezTo>
                  <a:pt x="17781" y="1219"/>
                  <a:pt x="17781" y="1281"/>
                  <a:pt x="17750" y="1344"/>
                </a:cubicBezTo>
                <a:cubicBezTo>
                  <a:pt x="17750" y="1406"/>
                  <a:pt x="17781" y="1406"/>
                  <a:pt x="17812" y="1406"/>
                </a:cubicBezTo>
                <a:cubicBezTo>
                  <a:pt x="17937" y="1438"/>
                  <a:pt x="18031" y="1313"/>
                  <a:pt x="18156" y="1313"/>
                </a:cubicBezTo>
                <a:cubicBezTo>
                  <a:pt x="18187" y="1313"/>
                  <a:pt x="18156" y="1281"/>
                  <a:pt x="18156" y="1281"/>
                </a:cubicBezTo>
                <a:cubicBezTo>
                  <a:pt x="18125" y="1219"/>
                  <a:pt x="18156" y="1219"/>
                  <a:pt x="18187" y="1188"/>
                </a:cubicBezTo>
                <a:cubicBezTo>
                  <a:pt x="18250" y="1094"/>
                  <a:pt x="18344" y="1063"/>
                  <a:pt x="18406" y="1000"/>
                </a:cubicBezTo>
                <a:cubicBezTo>
                  <a:pt x="18562" y="875"/>
                  <a:pt x="18656" y="1063"/>
                  <a:pt x="18812" y="1031"/>
                </a:cubicBezTo>
                <a:cubicBezTo>
                  <a:pt x="18719" y="938"/>
                  <a:pt x="17906" y="594"/>
                  <a:pt x="17750" y="563"/>
                </a:cubicBezTo>
                <a:cubicBezTo>
                  <a:pt x="17781" y="594"/>
                  <a:pt x="17812" y="594"/>
                  <a:pt x="17812" y="625"/>
                </a:cubicBezTo>
                <a:cubicBezTo>
                  <a:pt x="17875" y="656"/>
                  <a:pt x="17906" y="688"/>
                  <a:pt x="17969" y="71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9C9B78-2424-5241-A089-148170FFDBC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E6ABDC64-C759-F54E-9172-5641F193D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9932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65">
            <a:extLst>
              <a:ext uri="{FF2B5EF4-FFF2-40B4-BE49-F238E27FC236}">
                <a16:creationId xmlns:a16="http://schemas.microsoft.com/office/drawing/2014/main" id="{3CAB747A-BC9A-5243-8512-5E1F35006919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10897442" y="522090"/>
            <a:ext cx="12652719" cy="12910046"/>
          </a:xfrm>
          <a:custGeom>
            <a:avLst/>
            <a:gdLst>
              <a:gd name="T0" fmla="*/ 933 w 980"/>
              <a:gd name="T1" fmla="*/ 770 h 857"/>
              <a:gd name="T2" fmla="*/ 751 w 980"/>
              <a:gd name="T3" fmla="*/ 579 h 857"/>
              <a:gd name="T4" fmla="*/ 914 w 980"/>
              <a:gd name="T5" fmla="*/ 385 h 857"/>
              <a:gd name="T6" fmla="*/ 780 w 980"/>
              <a:gd name="T7" fmla="*/ 412 h 857"/>
              <a:gd name="T8" fmla="*/ 618 w 980"/>
              <a:gd name="T9" fmla="*/ 287 h 857"/>
              <a:gd name="T10" fmla="*/ 866 w 980"/>
              <a:gd name="T11" fmla="*/ 83 h 857"/>
              <a:gd name="T12" fmla="*/ 849 w 980"/>
              <a:gd name="T13" fmla="*/ 77 h 857"/>
              <a:gd name="T14" fmla="*/ 851 w 980"/>
              <a:gd name="T15" fmla="*/ 43 h 857"/>
              <a:gd name="T16" fmla="*/ 549 w 980"/>
              <a:gd name="T17" fmla="*/ 160 h 857"/>
              <a:gd name="T18" fmla="*/ 392 w 980"/>
              <a:gd name="T19" fmla="*/ 105 h 857"/>
              <a:gd name="T20" fmla="*/ 381 w 980"/>
              <a:gd name="T21" fmla="*/ 255 h 857"/>
              <a:gd name="T22" fmla="*/ 106 w 980"/>
              <a:gd name="T23" fmla="*/ 125 h 857"/>
              <a:gd name="T24" fmla="*/ 57 w 980"/>
              <a:gd name="T25" fmla="*/ 117 h 857"/>
              <a:gd name="T26" fmla="*/ 116 w 980"/>
              <a:gd name="T27" fmla="*/ 204 h 857"/>
              <a:gd name="T28" fmla="*/ 309 w 980"/>
              <a:gd name="T29" fmla="*/ 368 h 857"/>
              <a:gd name="T30" fmla="*/ 540 w 980"/>
              <a:gd name="T31" fmla="*/ 512 h 857"/>
              <a:gd name="T32" fmla="*/ 659 w 980"/>
              <a:gd name="T33" fmla="*/ 626 h 857"/>
              <a:gd name="T34" fmla="*/ 908 w 980"/>
              <a:gd name="T35" fmla="*/ 807 h 857"/>
              <a:gd name="T36" fmla="*/ 924 w 980"/>
              <a:gd name="T37" fmla="*/ 379 h 857"/>
              <a:gd name="T38" fmla="*/ 918 w 980"/>
              <a:gd name="T39" fmla="*/ 374 h 857"/>
              <a:gd name="T40" fmla="*/ 903 w 980"/>
              <a:gd name="T41" fmla="*/ 360 h 857"/>
              <a:gd name="T42" fmla="*/ 887 w 980"/>
              <a:gd name="T43" fmla="*/ 369 h 857"/>
              <a:gd name="T44" fmla="*/ 864 w 980"/>
              <a:gd name="T45" fmla="*/ 369 h 857"/>
              <a:gd name="T46" fmla="*/ 826 w 980"/>
              <a:gd name="T47" fmla="*/ 435 h 857"/>
              <a:gd name="T48" fmla="*/ 838 w 980"/>
              <a:gd name="T49" fmla="*/ 79 h 857"/>
              <a:gd name="T50" fmla="*/ 663 w 980"/>
              <a:gd name="T51" fmla="*/ 202 h 857"/>
              <a:gd name="T52" fmla="*/ 622 w 980"/>
              <a:gd name="T53" fmla="*/ 229 h 857"/>
              <a:gd name="T54" fmla="*/ 616 w 980"/>
              <a:gd name="T55" fmla="*/ 249 h 857"/>
              <a:gd name="T56" fmla="*/ 374 w 980"/>
              <a:gd name="T57" fmla="*/ 144 h 857"/>
              <a:gd name="T58" fmla="*/ 167 w 980"/>
              <a:gd name="T59" fmla="*/ 77 h 857"/>
              <a:gd name="T60" fmla="*/ 127 w 980"/>
              <a:gd name="T61" fmla="*/ 58 h 857"/>
              <a:gd name="T62" fmla="*/ 72 w 980"/>
              <a:gd name="T63" fmla="*/ 60 h 857"/>
              <a:gd name="T64" fmla="*/ 52 w 980"/>
              <a:gd name="T65" fmla="*/ 138 h 857"/>
              <a:gd name="T66" fmla="*/ 63 w 980"/>
              <a:gd name="T67" fmla="*/ 147 h 857"/>
              <a:gd name="T68" fmla="*/ 89 w 980"/>
              <a:gd name="T69" fmla="*/ 171 h 857"/>
              <a:gd name="T70" fmla="*/ 148 w 980"/>
              <a:gd name="T71" fmla="*/ 231 h 857"/>
              <a:gd name="T72" fmla="*/ 231 w 980"/>
              <a:gd name="T73" fmla="*/ 259 h 857"/>
              <a:gd name="T74" fmla="*/ 270 w 980"/>
              <a:gd name="T75" fmla="*/ 327 h 857"/>
              <a:gd name="T76" fmla="*/ 382 w 980"/>
              <a:gd name="T77" fmla="*/ 369 h 857"/>
              <a:gd name="T78" fmla="*/ 386 w 980"/>
              <a:gd name="T79" fmla="*/ 238 h 857"/>
              <a:gd name="T80" fmla="*/ 388 w 980"/>
              <a:gd name="T81" fmla="*/ 142 h 857"/>
              <a:gd name="T82" fmla="*/ 413 w 980"/>
              <a:gd name="T83" fmla="*/ 136 h 857"/>
              <a:gd name="T84" fmla="*/ 445 w 980"/>
              <a:gd name="T85" fmla="*/ 233 h 857"/>
              <a:gd name="T86" fmla="*/ 469 w 980"/>
              <a:gd name="T87" fmla="*/ 150 h 857"/>
              <a:gd name="T88" fmla="*/ 556 w 980"/>
              <a:gd name="T89" fmla="*/ 191 h 857"/>
              <a:gd name="T90" fmla="*/ 498 w 980"/>
              <a:gd name="T91" fmla="*/ 468 h 857"/>
              <a:gd name="T92" fmla="*/ 517 w 980"/>
              <a:gd name="T93" fmla="*/ 412 h 857"/>
              <a:gd name="T94" fmla="*/ 562 w 980"/>
              <a:gd name="T95" fmla="*/ 338 h 857"/>
              <a:gd name="T96" fmla="*/ 585 w 980"/>
              <a:gd name="T97" fmla="*/ 360 h 857"/>
              <a:gd name="T98" fmla="*/ 583 w 980"/>
              <a:gd name="T99" fmla="*/ 364 h 857"/>
              <a:gd name="T100" fmla="*/ 644 w 980"/>
              <a:gd name="T101" fmla="*/ 378 h 857"/>
              <a:gd name="T102" fmla="*/ 690 w 980"/>
              <a:gd name="T103" fmla="*/ 539 h 857"/>
              <a:gd name="T104" fmla="*/ 702 w 980"/>
              <a:gd name="T105" fmla="*/ 404 h 857"/>
              <a:gd name="T106" fmla="*/ 751 w 980"/>
              <a:gd name="T107" fmla="*/ 440 h 857"/>
              <a:gd name="T108" fmla="*/ 794 w 980"/>
              <a:gd name="T109" fmla="*/ 681 h 857"/>
              <a:gd name="T110" fmla="*/ 820 w 980"/>
              <a:gd name="T111" fmla="*/ 732 h 857"/>
              <a:gd name="T112" fmla="*/ 883 w 980"/>
              <a:gd name="T113" fmla="*/ 736 h 857"/>
              <a:gd name="T114" fmla="*/ 911 w 980"/>
              <a:gd name="T115" fmla="*/ 761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80" h="857">
                <a:moveTo>
                  <a:pt x="972" y="815"/>
                </a:moveTo>
                <a:cubicBezTo>
                  <a:pt x="971" y="815"/>
                  <a:pt x="970" y="819"/>
                  <a:pt x="969" y="819"/>
                </a:cubicBezTo>
                <a:cubicBezTo>
                  <a:pt x="966" y="818"/>
                  <a:pt x="965" y="816"/>
                  <a:pt x="963" y="814"/>
                </a:cubicBezTo>
                <a:cubicBezTo>
                  <a:pt x="959" y="811"/>
                  <a:pt x="955" y="803"/>
                  <a:pt x="952" y="808"/>
                </a:cubicBezTo>
                <a:cubicBezTo>
                  <a:pt x="948" y="803"/>
                  <a:pt x="942" y="799"/>
                  <a:pt x="938" y="793"/>
                </a:cubicBezTo>
                <a:cubicBezTo>
                  <a:pt x="940" y="793"/>
                  <a:pt x="941" y="791"/>
                  <a:pt x="943" y="791"/>
                </a:cubicBezTo>
                <a:cubicBezTo>
                  <a:pt x="940" y="788"/>
                  <a:pt x="936" y="790"/>
                  <a:pt x="935" y="789"/>
                </a:cubicBezTo>
                <a:cubicBezTo>
                  <a:pt x="933" y="788"/>
                  <a:pt x="933" y="785"/>
                  <a:pt x="931" y="783"/>
                </a:cubicBezTo>
                <a:cubicBezTo>
                  <a:pt x="936" y="783"/>
                  <a:pt x="940" y="784"/>
                  <a:pt x="944" y="786"/>
                </a:cubicBezTo>
                <a:cubicBezTo>
                  <a:pt x="942" y="780"/>
                  <a:pt x="936" y="775"/>
                  <a:pt x="933" y="770"/>
                </a:cubicBezTo>
                <a:cubicBezTo>
                  <a:pt x="928" y="763"/>
                  <a:pt x="924" y="756"/>
                  <a:pt x="920" y="749"/>
                </a:cubicBezTo>
                <a:cubicBezTo>
                  <a:pt x="914" y="741"/>
                  <a:pt x="897" y="721"/>
                  <a:pt x="888" y="735"/>
                </a:cubicBezTo>
                <a:cubicBezTo>
                  <a:pt x="881" y="729"/>
                  <a:pt x="874" y="727"/>
                  <a:pt x="868" y="719"/>
                </a:cubicBezTo>
                <a:cubicBezTo>
                  <a:pt x="863" y="712"/>
                  <a:pt x="859" y="704"/>
                  <a:pt x="853" y="696"/>
                </a:cubicBezTo>
                <a:cubicBezTo>
                  <a:pt x="848" y="690"/>
                  <a:pt x="841" y="685"/>
                  <a:pt x="835" y="679"/>
                </a:cubicBezTo>
                <a:cubicBezTo>
                  <a:pt x="830" y="674"/>
                  <a:pt x="825" y="667"/>
                  <a:pt x="820" y="660"/>
                </a:cubicBezTo>
                <a:cubicBezTo>
                  <a:pt x="816" y="655"/>
                  <a:pt x="812" y="649"/>
                  <a:pt x="808" y="644"/>
                </a:cubicBezTo>
                <a:cubicBezTo>
                  <a:pt x="802" y="637"/>
                  <a:pt x="794" y="631"/>
                  <a:pt x="788" y="623"/>
                </a:cubicBezTo>
                <a:cubicBezTo>
                  <a:pt x="775" y="607"/>
                  <a:pt x="766" y="590"/>
                  <a:pt x="753" y="575"/>
                </a:cubicBezTo>
                <a:cubicBezTo>
                  <a:pt x="753" y="576"/>
                  <a:pt x="752" y="578"/>
                  <a:pt x="751" y="579"/>
                </a:cubicBezTo>
                <a:cubicBezTo>
                  <a:pt x="757" y="566"/>
                  <a:pt x="755" y="553"/>
                  <a:pt x="763" y="541"/>
                </a:cubicBezTo>
                <a:cubicBezTo>
                  <a:pt x="772" y="528"/>
                  <a:pt x="785" y="518"/>
                  <a:pt x="799" y="513"/>
                </a:cubicBezTo>
                <a:cubicBezTo>
                  <a:pt x="819" y="504"/>
                  <a:pt x="841" y="502"/>
                  <a:pt x="862" y="493"/>
                </a:cubicBezTo>
                <a:cubicBezTo>
                  <a:pt x="878" y="486"/>
                  <a:pt x="890" y="482"/>
                  <a:pt x="889" y="462"/>
                </a:cubicBezTo>
                <a:cubicBezTo>
                  <a:pt x="889" y="457"/>
                  <a:pt x="887" y="452"/>
                  <a:pt x="885" y="447"/>
                </a:cubicBezTo>
                <a:cubicBezTo>
                  <a:pt x="883" y="443"/>
                  <a:pt x="877" y="436"/>
                  <a:pt x="876" y="433"/>
                </a:cubicBezTo>
                <a:cubicBezTo>
                  <a:pt x="876" y="429"/>
                  <a:pt x="880" y="424"/>
                  <a:pt x="880" y="420"/>
                </a:cubicBezTo>
                <a:cubicBezTo>
                  <a:pt x="879" y="414"/>
                  <a:pt x="876" y="409"/>
                  <a:pt x="876" y="403"/>
                </a:cubicBezTo>
                <a:cubicBezTo>
                  <a:pt x="877" y="392"/>
                  <a:pt x="881" y="397"/>
                  <a:pt x="891" y="394"/>
                </a:cubicBezTo>
                <a:cubicBezTo>
                  <a:pt x="899" y="392"/>
                  <a:pt x="906" y="387"/>
                  <a:pt x="914" y="385"/>
                </a:cubicBezTo>
                <a:cubicBezTo>
                  <a:pt x="919" y="383"/>
                  <a:pt x="925" y="381"/>
                  <a:pt x="931" y="379"/>
                </a:cubicBezTo>
                <a:cubicBezTo>
                  <a:pt x="938" y="377"/>
                  <a:pt x="947" y="379"/>
                  <a:pt x="949" y="370"/>
                </a:cubicBezTo>
                <a:cubicBezTo>
                  <a:pt x="954" y="351"/>
                  <a:pt x="922" y="342"/>
                  <a:pt x="909" y="341"/>
                </a:cubicBezTo>
                <a:cubicBezTo>
                  <a:pt x="898" y="341"/>
                  <a:pt x="886" y="343"/>
                  <a:pt x="875" y="343"/>
                </a:cubicBezTo>
                <a:cubicBezTo>
                  <a:pt x="866" y="344"/>
                  <a:pt x="856" y="343"/>
                  <a:pt x="848" y="344"/>
                </a:cubicBezTo>
                <a:cubicBezTo>
                  <a:pt x="834" y="345"/>
                  <a:pt x="811" y="362"/>
                  <a:pt x="831" y="376"/>
                </a:cubicBezTo>
                <a:cubicBezTo>
                  <a:pt x="832" y="375"/>
                  <a:pt x="832" y="374"/>
                  <a:pt x="832" y="373"/>
                </a:cubicBezTo>
                <a:cubicBezTo>
                  <a:pt x="838" y="382"/>
                  <a:pt x="836" y="384"/>
                  <a:pt x="828" y="392"/>
                </a:cubicBezTo>
                <a:cubicBezTo>
                  <a:pt x="822" y="398"/>
                  <a:pt x="815" y="408"/>
                  <a:pt x="818" y="418"/>
                </a:cubicBezTo>
                <a:cubicBezTo>
                  <a:pt x="805" y="417"/>
                  <a:pt x="792" y="414"/>
                  <a:pt x="780" y="412"/>
                </a:cubicBezTo>
                <a:cubicBezTo>
                  <a:pt x="770" y="411"/>
                  <a:pt x="759" y="411"/>
                  <a:pt x="749" y="410"/>
                </a:cubicBezTo>
                <a:cubicBezTo>
                  <a:pt x="740" y="410"/>
                  <a:pt x="730" y="414"/>
                  <a:pt x="722" y="413"/>
                </a:cubicBezTo>
                <a:cubicBezTo>
                  <a:pt x="711" y="411"/>
                  <a:pt x="705" y="400"/>
                  <a:pt x="698" y="392"/>
                </a:cubicBezTo>
                <a:cubicBezTo>
                  <a:pt x="693" y="388"/>
                  <a:pt x="684" y="383"/>
                  <a:pt x="676" y="383"/>
                </a:cubicBezTo>
                <a:cubicBezTo>
                  <a:pt x="672" y="383"/>
                  <a:pt x="664" y="386"/>
                  <a:pt x="660" y="381"/>
                </a:cubicBezTo>
                <a:cubicBezTo>
                  <a:pt x="658" y="379"/>
                  <a:pt x="659" y="375"/>
                  <a:pt x="658" y="373"/>
                </a:cubicBezTo>
                <a:cubicBezTo>
                  <a:pt x="656" y="369"/>
                  <a:pt x="652" y="368"/>
                  <a:pt x="650" y="365"/>
                </a:cubicBezTo>
                <a:cubicBezTo>
                  <a:pt x="650" y="364"/>
                  <a:pt x="648" y="359"/>
                  <a:pt x="648" y="358"/>
                </a:cubicBezTo>
                <a:cubicBezTo>
                  <a:pt x="647" y="356"/>
                  <a:pt x="645" y="352"/>
                  <a:pt x="643" y="349"/>
                </a:cubicBezTo>
                <a:cubicBezTo>
                  <a:pt x="633" y="329"/>
                  <a:pt x="625" y="309"/>
                  <a:pt x="618" y="287"/>
                </a:cubicBezTo>
                <a:cubicBezTo>
                  <a:pt x="615" y="277"/>
                  <a:pt x="610" y="268"/>
                  <a:pt x="616" y="259"/>
                </a:cubicBezTo>
                <a:cubicBezTo>
                  <a:pt x="618" y="257"/>
                  <a:pt x="623" y="253"/>
                  <a:pt x="625" y="252"/>
                </a:cubicBezTo>
                <a:cubicBezTo>
                  <a:pt x="637" y="245"/>
                  <a:pt x="648" y="242"/>
                  <a:pt x="657" y="232"/>
                </a:cubicBezTo>
                <a:cubicBezTo>
                  <a:pt x="667" y="222"/>
                  <a:pt x="676" y="215"/>
                  <a:pt x="686" y="207"/>
                </a:cubicBezTo>
                <a:cubicBezTo>
                  <a:pt x="706" y="191"/>
                  <a:pt x="729" y="180"/>
                  <a:pt x="749" y="163"/>
                </a:cubicBezTo>
                <a:cubicBezTo>
                  <a:pt x="764" y="149"/>
                  <a:pt x="779" y="134"/>
                  <a:pt x="794" y="119"/>
                </a:cubicBezTo>
                <a:cubicBezTo>
                  <a:pt x="800" y="114"/>
                  <a:pt x="806" y="108"/>
                  <a:pt x="812" y="105"/>
                </a:cubicBezTo>
                <a:cubicBezTo>
                  <a:pt x="817" y="101"/>
                  <a:pt x="824" y="100"/>
                  <a:pt x="830" y="97"/>
                </a:cubicBezTo>
                <a:cubicBezTo>
                  <a:pt x="835" y="94"/>
                  <a:pt x="840" y="91"/>
                  <a:pt x="844" y="87"/>
                </a:cubicBezTo>
                <a:cubicBezTo>
                  <a:pt x="850" y="90"/>
                  <a:pt x="871" y="97"/>
                  <a:pt x="866" y="83"/>
                </a:cubicBezTo>
                <a:cubicBezTo>
                  <a:pt x="864" y="78"/>
                  <a:pt x="855" y="81"/>
                  <a:pt x="853" y="75"/>
                </a:cubicBezTo>
                <a:cubicBezTo>
                  <a:pt x="851" y="78"/>
                  <a:pt x="850" y="81"/>
                  <a:pt x="853" y="82"/>
                </a:cubicBezTo>
                <a:cubicBezTo>
                  <a:pt x="852" y="83"/>
                  <a:pt x="851" y="84"/>
                  <a:pt x="850" y="85"/>
                </a:cubicBezTo>
                <a:cubicBezTo>
                  <a:pt x="850" y="83"/>
                  <a:pt x="849" y="82"/>
                  <a:pt x="850" y="80"/>
                </a:cubicBezTo>
                <a:cubicBezTo>
                  <a:pt x="849" y="81"/>
                  <a:pt x="848" y="82"/>
                  <a:pt x="847" y="83"/>
                </a:cubicBezTo>
                <a:cubicBezTo>
                  <a:pt x="847" y="81"/>
                  <a:pt x="848" y="80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8" y="78"/>
                  <a:pt x="847" y="79"/>
                  <a:pt x="847" y="79"/>
                </a:cubicBezTo>
                <a:cubicBezTo>
                  <a:pt x="847" y="78"/>
                  <a:pt x="848" y="77"/>
                  <a:pt x="849" y="77"/>
                </a:cubicBezTo>
                <a:cubicBezTo>
                  <a:pt x="849" y="77"/>
                  <a:pt x="849" y="77"/>
                  <a:pt x="849" y="77"/>
                </a:cubicBezTo>
                <a:cubicBezTo>
                  <a:pt x="847" y="74"/>
                  <a:pt x="851" y="71"/>
                  <a:pt x="854" y="68"/>
                </a:cubicBezTo>
                <a:cubicBezTo>
                  <a:pt x="859" y="63"/>
                  <a:pt x="859" y="63"/>
                  <a:pt x="862" y="57"/>
                </a:cubicBezTo>
                <a:cubicBezTo>
                  <a:pt x="862" y="59"/>
                  <a:pt x="863" y="61"/>
                  <a:pt x="862" y="63"/>
                </a:cubicBezTo>
                <a:cubicBezTo>
                  <a:pt x="866" y="62"/>
                  <a:pt x="868" y="60"/>
                  <a:pt x="870" y="58"/>
                </a:cubicBezTo>
                <a:cubicBezTo>
                  <a:pt x="873" y="56"/>
                  <a:pt x="874" y="53"/>
                  <a:pt x="876" y="51"/>
                </a:cubicBezTo>
                <a:cubicBezTo>
                  <a:pt x="879" y="48"/>
                  <a:pt x="894" y="42"/>
                  <a:pt x="891" y="34"/>
                </a:cubicBezTo>
                <a:cubicBezTo>
                  <a:pt x="888" y="25"/>
                  <a:pt x="868" y="41"/>
                  <a:pt x="862" y="43"/>
                </a:cubicBezTo>
                <a:cubicBezTo>
                  <a:pt x="863" y="39"/>
                  <a:pt x="868" y="34"/>
                  <a:pt x="870" y="32"/>
                </a:cubicBezTo>
                <a:cubicBezTo>
                  <a:pt x="874" y="27"/>
                  <a:pt x="879" y="23"/>
                  <a:pt x="884" y="18"/>
                </a:cubicBezTo>
                <a:cubicBezTo>
                  <a:pt x="870" y="23"/>
                  <a:pt x="863" y="36"/>
                  <a:pt x="851" y="43"/>
                </a:cubicBezTo>
                <a:cubicBezTo>
                  <a:pt x="846" y="45"/>
                  <a:pt x="840" y="48"/>
                  <a:pt x="835" y="50"/>
                </a:cubicBezTo>
                <a:cubicBezTo>
                  <a:pt x="827" y="52"/>
                  <a:pt x="822" y="56"/>
                  <a:pt x="816" y="60"/>
                </a:cubicBezTo>
                <a:cubicBezTo>
                  <a:pt x="793" y="73"/>
                  <a:pt x="768" y="89"/>
                  <a:pt x="743" y="102"/>
                </a:cubicBezTo>
                <a:cubicBezTo>
                  <a:pt x="729" y="110"/>
                  <a:pt x="714" y="115"/>
                  <a:pt x="701" y="124"/>
                </a:cubicBezTo>
                <a:cubicBezTo>
                  <a:pt x="688" y="133"/>
                  <a:pt x="678" y="144"/>
                  <a:pt x="667" y="154"/>
                </a:cubicBezTo>
                <a:cubicBezTo>
                  <a:pt x="662" y="158"/>
                  <a:pt x="656" y="162"/>
                  <a:pt x="651" y="164"/>
                </a:cubicBezTo>
                <a:cubicBezTo>
                  <a:pt x="648" y="166"/>
                  <a:pt x="643" y="169"/>
                  <a:pt x="640" y="170"/>
                </a:cubicBezTo>
                <a:cubicBezTo>
                  <a:pt x="634" y="172"/>
                  <a:pt x="636" y="171"/>
                  <a:pt x="631" y="170"/>
                </a:cubicBezTo>
                <a:cubicBezTo>
                  <a:pt x="617" y="165"/>
                  <a:pt x="607" y="151"/>
                  <a:pt x="594" y="146"/>
                </a:cubicBezTo>
                <a:cubicBezTo>
                  <a:pt x="578" y="141"/>
                  <a:pt x="562" y="152"/>
                  <a:pt x="549" y="160"/>
                </a:cubicBezTo>
                <a:cubicBezTo>
                  <a:pt x="539" y="166"/>
                  <a:pt x="510" y="183"/>
                  <a:pt x="509" y="193"/>
                </a:cubicBezTo>
                <a:cubicBezTo>
                  <a:pt x="510" y="193"/>
                  <a:pt x="509" y="193"/>
                  <a:pt x="508" y="194"/>
                </a:cubicBezTo>
                <a:cubicBezTo>
                  <a:pt x="505" y="192"/>
                  <a:pt x="503" y="175"/>
                  <a:pt x="502" y="170"/>
                </a:cubicBezTo>
                <a:cubicBezTo>
                  <a:pt x="500" y="161"/>
                  <a:pt x="501" y="150"/>
                  <a:pt x="495" y="142"/>
                </a:cubicBezTo>
                <a:cubicBezTo>
                  <a:pt x="488" y="146"/>
                  <a:pt x="495" y="151"/>
                  <a:pt x="489" y="155"/>
                </a:cubicBezTo>
                <a:cubicBezTo>
                  <a:pt x="490" y="147"/>
                  <a:pt x="479" y="142"/>
                  <a:pt x="482" y="153"/>
                </a:cubicBezTo>
                <a:cubicBezTo>
                  <a:pt x="475" y="149"/>
                  <a:pt x="484" y="143"/>
                  <a:pt x="487" y="139"/>
                </a:cubicBezTo>
                <a:cubicBezTo>
                  <a:pt x="491" y="132"/>
                  <a:pt x="489" y="130"/>
                  <a:pt x="485" y="123"/>
                </a:cubicBezTo>
                <a:cubicBezTo>
                  <a:pt x="474" y="106"/>
                  <a:pt x="453" y="99"/>
                  <a:pt x="434" y="96"/>
                </a:cubicBezTo>
                <a:cubicBezTo>
                  <a:pt x="419" y="95"/>
                  <a:pt x="406" y="97"/>
                  <a:pt x="392" y="105"/>
                </a:cubicBezTo>
                <a:cubicBezTo>
                  <a:pt x="376" y="115"/>
                  <a:pt x="370" y="129"/>
                  <a:pt x="362" y="145"/>
                </a:cubicBezTo>
                <a:cubicBezTo>
                  <a:pt x="365" y="147"/>
                  <a:pt x="358" y="151"/>
                  <a:pt x="355" y="154"/>
                </a:cubicBezTo>
                <a:cubicBezTo>
                  <a:pt x="349" y="160"/>
                  <a:pt x="349" y="161"/>
                  <a:pt x="350" y="169"/>
                </a:cubicBezTo>
                <a:cubicBezTo>
                  <a:pt x="352" y="180"/>
                  <a:pt x="355" y="191"/>
                  <a:pt x="357" y="202"/>
                </a:cubicBezTo>
                <a:cubicBezTo>
                  <a:pt x="356" y="200"/>
                  <a:pt x="356" y="200"/>
                  <a:pt x="354" y="198"/>
                </a:cubicBezTo>
                <a:cubicBezTo>
                  <a:pt x="355" y="205"/>
                  <a:pt x="350" y="206"/>
                  <a:pt x="351" y="213"/>
                </a:cubicBezTo>
                <a:cubicBezTo>
                  <a:pt x="352" y="221"/>
                  <a:pt x="356" y="220"/>
                  <a:pt x="359" y="223"/>
                </a:cubicBezTo>
                <a:cubicBezTo>
                  <a:pt x="362" y="227"/>
                  <a:pt x="367" y="239"/>
                  <a:pt x="369" y="243"/>
                </a:cubicBezTo>
                <a:cubicBezTo>
                  <a:pt x="370" y="246"/>
                  <a:pt x="367" y="252"/>
                  <a:pt x="373" y="254"/>
                </a:cubicBezTo>
                <a:cubicBezTo>
                  <a:pt x="374" y="254"/>
                  <a:pt x="383" y="248"/>
                  <a:pt x="381" y="255"/>
                </a:cubicBezTo>
                <a:cubicBezTo>
                  <a:pt x="380" y="259"/>
                  <a:pt x="373" y="257"/>
                  <a:pt x="369" y="258"/>
                </a:cubicBezTo>
                <a:cubicBezTo>
                  <a:pt x="360" y="259"/>
                  <a:pt x="352" y="265"/>
                  <a:pt x="344" y="268"/>
                </a:cubicBezTo>
                <a:cubicBezTo>
                  <a:pt x="338" y="271"/>
                  <a:pt x="330" y="276"/>
                  <a:pt x="322" y="278"/>
                </a:cubicBezTo>
                <a:cubicBezTo>
                  <a:pt x="316" y="279"/>
                  <a:pt x="313" y="277"/>
                  <a:pt x="306" y="275"/>
                </a:cubicBezTo>
                <a:cubicBezTo>
                  <a:pt x="294" y="270"/>
                  <a:pt x="280" y="270"/>
                  <a:pt x="267" y="267"/>
                </a:cubicBezTo>
                <a:cubicBezTo>
                  <a:pt x="251" y="263"/>
                  <a:pt x="240" y="243"/>
                  <a:pt x="227" y="234"/>
                </a:cubicBezTo>
                <a:cubicBezTo>
                  <a:pt x="212" y="223"/>
                  <a:pt x="194" y="217"/>
                  <a:pt x="179" y="206"/>
                </a:cubicBezTo>
                <a:cubicBezTo>
                  <a:pt x="164" y="195"/>
                  <a:pt x="144" y="185"/>
                  <a:pt x="130" y="172"/>
                </a:cubicBezTo>
                <a:cubicBezTo>
                  <a:pt x="123" y="165"/>
                  <a:pt x="124" y="156"/>
                  <a:pt x="120" y="148"/>
                </a:cubicBezTo>
                <a:cubicBezTo>
                  <a:pt x="116" y="139"/>
                  <a:pt x="108" y="135"/>
                  <a:pt x="106" y="125"/>
                </a:cubicBezTo>
                <a:cubicBezTo>
                  <a:pt x="123" y="129"/>
                  <a:pt x="144" y="126"/>
                  <a:pt x="160" y="117"/>
                </a:cubicBezTo>
                <a:cubicBezTo>
                  <a:pt x="181" y="105"/>
                  <a:pt x="176" y="82"/>
                  <a:pt x="168" y="64"/>
                </a:cubicBezTo>
                <a:cubicBezTo>
                  <a:pt x="150" y="23"/>
                  <a:pt x="106" y="0"/>
                  <a:pt x="63" y="3"/>
                </a:cubicBezTo>
                <a:cubicBezTo>
                  <a:pt x="53" y="4"/>
                  <a:pt x="8" y="14"/>
                  <a:pt x="15" y="31"/>
                </a:cubicBezTo>
                <a:cubicBezTo>
                  <a:pt x="7" y="29"/>
                  <a:pt x="25" y="72"/>
                  <a:pt x="28" y="77"/>
                </a:cubicBezTo>
                <a:cubicBezTo>
                  <a:pt x="36" y="90"/>
                  <a:pt x="47" y="100"/>
                  <a:pt x="60" y="108"/>
                </a:cubicBezTo>
                <a:cubicBezTo>
                  <a:pt x="69" y="114"/>
                  <a:pt x="80" y="116"/>
                  <a:pt x="89" y="122"/>
                </a:cubicBezTo>
                <a:cubicBezTo>
                  <a:pt x="98" y="128"/>
                  <a:pt x="87" y="134"/>
                  <a:pt x="79" y="131"/>
                </a:cubicBezTo>
                <a:cubicBezTo>
                  <a:pt x="71" y="128"/>
                  <a:pt x="71" y="116"/>
                  <a:pt x="64" y="113"/>
                </a:cubicBezTo>
                <a:cubicBezTo>
                  <a:pt x="55" y="108"/>
                  <a:pt x="58" y="117"/>
                  <a:pt x="57" y="117"/>
                </a:cubicBezTo>
                <a:cubicBezTo>
                  <a:pt x="52" y="119"/>
                  <a:pt x="39" y="106"/>
                  <a:pt x="34" y="103"/>
                </a:cubicBezTo>
                <a:cubicBezTo>
                  <a:pt x="27" y="98"/>
                  <a:pt x="20" y="92"/>
                  <a:pt x="12" y="97"/>
                </a:cubicBezTo>
                <a:cubicBezTo>
                  <a:pt x="12" y="97"/>
                  <a:pt x="12" y="98"/>
                  <a:pt x="13" y="99"/>
                </a:cubicBezTo>
                <a:cubicBezTo>
                  <a:pt x="10" y="95"/>
                  <a:pt x="4" y="91"/>
                  <a:pt x="2" y="98"/>
                </a:cubicBezTo>
                <a:cubicBezTo>
                  <a:pt x="0" y="102"/>
                  <a:pt x="8" y="106"/>
                  <a:pt x="10" y="108"/>
                </a:cubicBezTo>
                <a:cubicBezTo>
                  <a:pt x="23" y="118"/>
                  <a:pt x="39" y="128"/>
                  <a:pt x="51" y="140"/>
                </a:cubicBezTo>
                <a:cubicBezTo>
                  <a:pt x="59" y="147"/>
                  <a:pt x="66" y="155"/>
                  <a:pt x="73" y="162"/>
                </a:cubicBezTo>
                <a:cubicBezTo>
                  <a:pt x="80" y="169"/>
                  <a:pt x="90" y="175"/>
                  <a:pt x="96" y="183"/>
                </a:cubicBezTo>
                <a:cubicBezTo>
                  <a:pt x="98" y="186"/>
                  <a:pt x="100" y="189"/>
                  <a:pt x="102" y="192"/>
                </a:cubicBezTo>
                <a:cubicBezTo>
                  <a:pt x="106" y="200"/>
                  <a:pt x="108" y="200"/>
                  <a:pt x="116" y="204"/>
                </a:cubicBezTo>
                <a:cubicBezTo>
                  <a:pt x="113" y="203"/>
                  <a:pt x="111" y="202"/>
                  <a:pt x="108" y="202"/>
                </a:cubicBezTo>
                <a:cubicBezTo>
                  <a:pt x="120" y="212"/>
                  <a:pt x="131" y="220"/>
                  <a:pt x="141" y="232"/>
                </a:cubicBezTo>
                <a:cubicBezTo>
                  <a:pt x="150" y="243"/>
                  <a:pt x="159" y="254"/>
                  <a:pt x="170" y="263"/>
                </a:cubicBezTo>
                <a:cubicBezTo>
                  <a:pt x="192" y="281"/>
                  <a:pt x="216" y="299"/>
                  <a:pt x="241" y="311"/>
                </a:cubicBezTo>
                <a:cubicBezTo>
                  <a:pt x="241" y="311"/>
                  <a:pt x="241" y="310"/>
                  <a:pt x="241" y="310"/>
                </a:cubicBezTo>
                <a:cubicBezTo>
                  <a:pt x="243" y="314"/>
                  <a:pt x="249" y="314"/>
                  <a:pt x="252" y="318"/>
                </a:cubicBezTo>
                <a:cubicBezTo>
                  <a:pt x="256" y="322"/>
                  <a:pt x="257" y="324"/>
                  <a:pt x="264" y="327"/>
                </a:cubicBezTo>
                <a:cubicBezTo>
                  <a:pt x="273" y="333"/>
                  <a:pt x="285" y="339"/>
                  <a:pt x="294" y="346"/>
                </a:cubicBezTo>
                <a:cubicBezTo>
                  <a:pt x="295" y="348"/>
                  <a:pt x="308" y="370"/>
                  <a:pt x="310" y="367"/>
                </a:cubicBezTo>
                <a:cubicBezTo>
                  <a:pt x="310" y="366"/>
                  <a:pt x="310" y="368"/>
                  <a:pt x="309" y="368"/>
                </a:cubicBezTo>
                <a:cubicBezTo>
                  <a:pt x="322" y="373"/>
                  <a:pt x="329" y="379"/>
                  <a:pt x="344" y="380"/>
                </a:cubicBezTo>
                <a:cubicBezTo>
                  <a:pt x="344" y="379"/>
                  <a:pt x="344" y="379"/>
                  <a:pt x="344" y="378"/>
                </a:cubicBezTo>
                <a:cubicBezTo>
                  <a:pt x="350" y="380"/>
                  <a:pt x="357" y="383"/>
                  <a:pt x="362" y="385"/>
                </a:cubicBezTo>
                <a:cubicBezTo>
                  <a:pt x="368" y="387"/>
                  <a:pt x="376" y="387"/>
                  <a:pt x="382" y="390"/>
                </a:cubicBezTo>
                <a:cubicBezTo>
                  <a:pt x="390" y="395"/>
                  <a:pt x="397" y="401"/>
                  <a:pt x="403" y="408"/>
                </a:cubicBezTo>
                <a:cubicBezTo>
                  <a:pt x="409" y="414"/>
                  <a:pt x="416" y="418"/>
                  <a:pt x="423" y="423"/>
                </a:cubicBezTo>
                <a:cubicBezTo>
                  <a:pt x="436" y="431"/>
                  <a:pt x="453" y="439"/>
                  <a:pt x="464" y="450"/>
                </a:cubicBezTo>
                <a:cubicBezTo>
                  <a:pt x="476" y="461"/>
                  <a:pt x="494" y="470"/>
                  <a:pt x="506" y="483"/>
                </a:cubicBezTo>
                <a:cubicBezTo>
                  <a:pt x="512" y="488"/>
                  <a:pt x="514" y="497"/>
                  <a:pt x="520" y="502"/>
                </a:cubicBezTo>
                <a:cubicBezTo>
                  <a:pt x="526" y="506"/>
                  <a:pt x="534" y="511"/>
                  <a:pt x="540" y="512"/>
                </a:cubicBezTo>
                <a:cubicBezTo>
                  <a:pt x="539" y="512"/>
                  <a:pt x="539" y="512"/>
                  <a:pt x="538" y="512"/>
                </a:cubicBezTo>
                <a:cubicBezTo>
                  <a:pt x="540" y="513"/>
                  <a:pt x="544" y="514"/>
                  <a:pt x="547" y="514"/>
                </a:cubicBezTo>
                <a:cubicBezTo>
                  <a:pt x="546" y="514"/>
                  <a:pt x="546" y="514"/>
                  <a:pt x="546" y="514"/>
                </a:cubicBezTo>
                <a:cubicBezTo>
                  <a:pt x="555" y="515"/>
                  <a:pt x="559" y="528"/>
                  <a:pt x="566" y="532"/>
                </a:cubicBezTo>
                <a:cubicBezTo>
                  <a:pt x="576" y="538"/>
                  <a:pt x="578" y="544"/>
                  <a:pt x="585" y="554"/>
                </a:cubicBezTo>
                <a:cubicBezTo>
                  <a:pt x="587" y="558"/>
                  <a:pt x="590" y="561"/>
                  <a:pt x="594" y="563"/>
                </a:cubicBezTo>
                <a:cubicBezTo>
                  <a:pt x="599" y="565"/>
                  <a:pt x="604" y="563"/>
                  <a:pt x="608" y="566"/>
                </a:cubicBezTo>
                <a:cubicBezTo>
                  <a:pt x="611" y="569"/>
                  <a:pt x="616" y="579"/>
                  <a:pt x="619" y="583"/>
                </a:cubicBezTo>
                <a:cubicBezTo>
                  <a:pt x="624" y="589"/>
                  <a:pt x="628" y="594"/>
                  <a:pt x="632" y="600"/>
                </a:cubicBezTo>
                <a:cubicBezTo>
                  <a:pt x="640" y="610"/>
                  <a:pt x="651" y="616"/>
                  <a:pt x="659" y="626"/>
                </a:cubicBezTo>
                <a:cubicBezTo>
                  <a:pt x="669" y="636"/>
                  <a:pt x="674" y="647"/>
                  <a:pt x="686" y="656"/>
                </a:cubicBezTo>
                <a:cubicBezTo>
                  <a:pt x="707" y="674"/>
                  <a:pt x="730" y="691"/>
                  <a:pt x="757" y="698"/>
                </a:cubicBezTo>
                <a:cubicBezTo>
                  <a:pt x="768" y="700"/>
                  <a:pt x="776" y="707"/>
                  <a:pt x="785" y="715"/>
                </a:cubicBezTo>
                <a:cubicBezTo>
                  <a:pt x="792" y="722"/>
                  <a:pt x="802" y="734"/>
                  <a:pt x="813" y="735"/>
                </a:cubicBezTo>
                <a:cubicBezTo>
                  <a:pt x="813" y="739"/>
                  <a:pt x="840" y="748"/>
                  <a:pt x="846" y="750"/>
                </a:cubicBezTo>
                <a:cubicBezTo>
                  <a:pt x="856" y="753"/>
                  <a:pt x="865" y="758"/>
                  <a:pt x="873" y="764"/>
                </a:cubicBezTo>
                <a:cubicBezTo>
                  <a:pt x="884" y="773"/>
                  <a:pt x="881" y="786"/>
                  <a:pt x="892" y="795"/>
                </a:cubicBezTo>
                <a:cubicBezTo>
                  <a:pt x="894" y="797"/>
                  <a:pt x="900" y="800"/>
                  <a:pt x="901" y="802"/>
                </a:cubicBezTo>
                <a:cubicBezTo>
                  <a:pt x="904" y="805"/>
                  <a:pt x="905" y="809"/>
                  <a:pt x="907" y="814"/>
                </a:cubicBezTo>
                <a:cubicBezTo>
                  <a:pt x="907" y="812"/>
                  <a:pt x="908" y="809"/>
                  <a:pt x="908" y="807"/>
                </a:cubicBezTo>
                <a:cubicBezTo>
                  <a:pt x="910" y="809"/>
                  <a:pt x="912" y="810"/>
                  <a:pt x="914" y="811"/>
                </a:cubicBezTo>
                <a:cubicBezTo>
                  <a:pt x="914" y="810"/>
                  <a:pt x="914" y="810"/>
                  <a:pt x="914" y="810"/>
                </a:cubicBezTo>
                <a:cubicBezTo>
                  <a:pt x="914" y="811"/>
                  <a:pt x="915" y="811"/>
                  <a:pt x="915" y="811"/>
                </a:cubicBezTo>
                <a:cubicBezTo>
                  <a:pt x="915" y="811"/>
                  <a:pt x="914" y="811"/>
                  <a:pt x="914" y="811"/>
                </a:cubicBezTo>
                <a:cubicBezTo>
                  <a:pt x="916" y="819"/>
                  <a:pt x="931" y="831"/>
                  <a:pt x="937" y="837"/>
                </a:cubicBezTo>
                <a:cubicBezTo>
                  <a:pt x="945" y="844"/>
                  <a:pt x="961" y="857"/>
                  <a:pt x="971" y="850"/>
                </a:cubicBezTo>
                <a:cubicBezTo>
                  <a:pt x="980" y="845"/>
                  <a:pt x="980" y="819"/>
                  <a:pt x="972" y="815"/>
                </a:cubicBezTo>
                <a:close/>
                <a:moveTo>
                  <a:pt x="925" y="377"/>
                </a:moveTo>
                <a:cubicBezTo>
                  <a:pt x="926" y="377"/>
                  <a:pt x="927" y="377"/>
                  <a:pt x="928" y="377"/>
                </a:cubicBezTo>
                <a:cubicBezTo>
                  <a:pt x="926" y="377"/>
                  <a:pt x="925" y="378"/>
                  <a:pt x="924" y="379"/>
                </a:cubicBezTo>
                <a:cubicBezTo>
                  <a:pt x="924" y="378"/>
                  <a:pt x="925" y="378"/>
                  <a:pt x="925" y="377"/>
                </a:cubicBezTo>
                <a:close/>
                <a:moveTo>
                  <a:pt x="923" y="361"/>
                </a:moveTo>
                <a:cubicBezTo>
                  <a:pt x="921" y="361"/>
                  <a:pt x="920" y="360"/>
                  <a:pt x="918" y="360"/>
                </a:cubicBezTo>
                <a:cubicBezTo>
                  <a:pt x="920" y="360"/>
                  <a:pt x="921" y="361"/>
                  <a:pt x="923" y="361"/>
                </a:cubicBezTo>
                <a:cubicBezTo>
                  <a:pt x="922" y="360"/>
                  <a:pt x="923" y="358"/>
                  <a:pt x="923" y="361"/>
                </a:cubicBezTo>
                <a:close/>
                <a:moveTo>
                  <a:pt x="919" y="368"/>
                </a:moveTo>
                <a:cubicBezTo>
                  <a:pt x="919" y="370"/>
                  <a:pt x="919" y="372"/>
                  <a:pt x="919" y="373"/>
                </a:cubicBezTo>
                <a:cubicBezTo>
                  <a:pt x="919" y="370"/>
                  <a:pt x="919" y="369"/>
                  <a:pt x="918" y="366"/>
                </a:cubicBezTo>
                <a:cubicBezTo>
                  <a:pt x="918" y="367"/>
                  <a:pt x="919" y="368"/>
                  <a:pt x="919" y="368"/>
                </a:cubicBezTo>
                <a:close/>
                <a:moveTo>
                  <a:pt x="918" y="374"/>
                </a:moveTo>
                <a:cubicBezTo>
                  <a:pt x="919" y="376"/>
                  <a:pt x="918" y="375"/>
                  <a:pt x="920" y="378"/>
                </a:cubicBezTo>
                <a:cubicBezTo>
                  <a:pt x="919" y="377"/>
                  <a:pt x="918" y="376"/>
                  <a:pt x="918" y="376"/>
                </a:cubicBezTo>
                <a:cubicBezTo>
                  <a:pt x="918" y="375"/>
                  <a:pt x="917" y="374"/>
                  <a:pt x="918" y="374"/>
                </a:cubicBezTo>
                <a:close/>
                <a:moveTo>
                  <a:pt x="917" y="365"/>
                </a:moveTo>
                <a:cubicBezTo>
                  <a:pt x="917" y="365"/>
                  <a:pt x="916" y="369"/>
                  <a:pt x="916" y="370"/>
                </a:cubicBezTo>
                <a:cubicBezTo>
                  <a:pt x="916" y="368"/>
                  <a:pt x="916" y="367"/>
                  <a:pt x="917" y="365"/>
                </a:cubicBezTo>
                <a:close/>
                <a:moveTo>
                  <a:pt x="913" y="366"/>
                </a:moveTo>
                <a:cubicBezTo>
                  <a:pt x="914" y="364"/>
                  <a:pt x="912" y="367"/>
                  <a:pt x="911" y="368"/>
                </a:cubicBezTo>
                <a:cubicBezTo>
                  <a:pt x="911" y="367"/>
                  <a:pt x="912" y="367"/>
                  <a:pt x="913" y="366"/>
                </a:cubicBezTo>
                <a:close/>
                <a:moveTo>
                  <a:pt x="903" y="360"/>
                </a:moveTo>
                <a:cubicBezTo>
                  <a:pt x="903" y="361"/>
                  <a:pt x="903" y="363"/>
                  <a:pt x="903" y="363"/>
                </a:cubicBezTo>
                <a:cubicBezTo>
                  <a:pt x="903" y="362"/>
                  <a:pt x="903" y="361"/>
                  <a:pt x="903" y="360"/>
                </a:cubicBezTo>
                <a:cubicBezTo>
                  <a:pt x="901" y="360"/>
                  <a:pt x="901" y="361"/>
                  <a:pt x="899" y="359"/>
                </a:cubicBezTo>
                <a:cubicBezTo>
                  <a:pt x="902" y="360"/>
                  <a:pt x="901" y="360"/>
                  <a:pt x="903" y="360"/>
                </a:cubicBezTo>
                <a:close/>
                <a:moveTo>
                  <a:pt x="892" y="388"/>
                </a:moveTo>
                <a:cubicBezTo>
                  <a:pt x="892" y="388"/>
                  <a:pt x="892" y="390"/>
                  <a:pt x="892" y="391"/>
                </a:cubicBezTo>
                <a:cubicBezTo>
                  <a:pt x="891" y="392"/>
                  <a:pt x="890" y="392"/>
                  <a:pt x="889" y="392"/>
                </a:cubicBezTo>
                <a:cubicBezTo>
                  <a:pt x="891" y="390"/>
                  <a:pt x="891" y="391"/>
                  <a:pt x="892" y="388"/>
                </a:cubicBezTo>
                <a:close/>
                <a:moveTo>
                  <a:pt x="886" y="366"/>
                </a:moveTo>
                <a:cubicBezTo>
                  <a:pt x="887" y="367"/>
                  <a:pt x="887" y="368"/>
                  <a:pt x="887" y="369"/>
                </a:cubicBezTo>
                <a:cubicBezTo>
                  <a:pt x="884" y="366"/>
                  <a:pt x="883" y="365"/>
                  <a:pt x="880" y="362"/>
                </a:cubicBezTo>
                <a:cubicBezTo>
                  <a:pt x="882" y="364"/>
                  <a:pt x="884" y="365"/>
                  <a:pt x="886" y="366"/>
                </a:cubicBezTo>
                <a:close/>
                <a:moveTo>
                  <a:pt x="866" y="434"/>
                </a:moveTo>
                <a:cubicBezTo>
                  <a:pt x="865" y="433"/>
                  <a:pt x="866" y="434"/>
                  <a:pt x="866" y="434"/>
                </a:cubicBezTo>
                <a:close/>
                <a:moveTo>
                  <a:pt x="873" y="480"/>
                </a:moveTo>
                <a:cubicBezTo>
                  <a:pt x="872" y="479"/>
                  <a:pt x="871" y="479"/>
                  <a:pt x="873" y="480"/>
                </a:cubicBezTo>
                <a:close/>
                <a:moveTo>
                  <a:pt x="869" y="373"/>
                </a:moveTo>
                <a:cubicBezTo>
                  <a:pt x="869" y="373"/>
                  <a:pt x="869" y="373"/>
                  <a:pt x="869" y="373"/>
                </a:cubicBezTo>
                <a:cubicBezTo>
                  <a:pt x="869" y="373"/>
                  <a:pt x="869" y="373"/>
                  <a:pt x="868" y="373"/>
                </a:cubicBezTo>
                <a:cubicBezTo>
                  <a:pt x="868" y="372"/>
                  <a:pt x="866" y="370"/>
                  <a:pt x="864" y="369"/>
                </a:cubicBezTo>
                <a:cubicBezTo>
                  <a:pt x="866" y="370"/>
                  <a:pt x="867" y="372"/>
                  <a:pt x="869" y="373"/>
                </a:cubicBezTo>
                <a:close/>
                <a:moveTo>
                  <a:pt x="826" y="361"/>
                </a:moveTo>
                <a:cubicBezTo>
                  <a:pt x="829" y="360"/>
                  <a:pt x="826" y="361"/>
                  <a:pt x="826" y="361"/>
                </a:cubicBezTo>
                <a:close/>
                <a:moveTo>
                  <a:pt x="839" y="357"/>
                </a:moveTo>
                <a:cubicBezTo>
                  <a:pt x="838" y="358"/>
                  <a:pt x="838" y="358"/>
                  <a:pt x="839" y="357"/>
                </a:cubicBezTo>
                <a:close/>
                <a:moveTo>
                  <a:pt x="829" y="491"/>
                </a:moveTo>
                <a:cubicBezTo>
                  <a:pt x="829" y="491"/>
                  <a:pt x="832" y="490"/>
                  <a:pt x="830" y="491"/>
                </a:cubicBezTo>
                <a:cubicBezTo>
                  <a:pt x="829" y="491"/>
                  <a:pt x="828" y="492"/>
                  <a:pt x="829" y="491"/>
                </a:cubicBezTo>
                <a:close/>
                <a:moveTo>
                  <a:pt x="826" y="434"/>
                </a:moveTo>
                <a:cubicBezTo>
                  <a:pt x="827" y="434"/>
                  <a:pt x="826" y="434"/>
                  <a:pt x="826" y="435"/>
                </a:cubicBezTo>
                <a:cubicBezTo>
                  <a:pt x="826" y="435"/>
                  <a:pt x="826" y="434"/>
                  <a:pt x="826" y="434"/>
                </a:cubicBezTo>
                <a:close/>
                <a:moveTo>
                  <a:pt x="774" y="451"/>
                </a:moveTo>
                <a:cubicBezTo>
                  <a:pt x="775" y="453"/>
                  <a:pt x="776" y="453"/>
                  <a:pt x="778" y="455"/>
                </a:cubicBezTo>
                <a:cubicBezTo>
                  <a:pt x="776" y="454"/>
                  <a:pt x="776" y="453"/>
                  <a:pt x="774" y="452"/>
                </a:cubicBezTo>
                <a:cubicBezTo>
                  <a:pt x="774" y="452"/>
                  <a:pt x="774" y="451"/>
                  <a:pt x="774" y="451"/>
                </a:cubicBezTo>
                <a:cubicBezTo>
                  <a:pt x="774" y="451"/>
                  <a:pt x="774" y="451"/>
                  <a:pt x="774" y="451"/>
                </a:cubicBezTo>
                <a:cubicBezTo>
                  <a:pt x="774" y="450"/>
                  <a:pt x="774" y="450"/>
                  <a:pt x="774" y="451"/>
                </a:cubicBezTo>
                <a:close/>
                <a:moveTo>
                  <a:pt x="838" y="79"/>
                </a:moveTo>
                <a:cubicBezTo>
                  <a:pt x="837" y="79"/>
                  <a:pt x="837" y="78"/>
                  <a:pt x="836" y="78"/>
                </a:cubicBezTo>
                <a:cubicBezTo>
                  <a:pt x="837" y="78"/>
                  <a:pt x="837" y="78"/>
                  <a:pt x="838" y="79"/>
                </a:cubicBezTo>
                <a:close/>
                <a:moveTo>
                  <a:pt x="810" y="90"/>
                </a:moveTo>
                <a:cubicBezTo>
                  <a:pt x="811" y="90"/>
                  <a:pt x="811" y="90"/>
                  <a:pt x="812" y="90"/>
                </a:cubicBezTo>
                <a:cubicBezTo>
                  <a:pt x="813" y="90"/>
                  <a:pt x="814" y="91"/>
                  <a:pt x="814" y="92"/>
                </a:cubicBezTo>
                <a:cubicBezTo>
                  <a:pt x="813" y="91"/>
                  <a:pt x="811" y="90"/>
                  <a:pt x="810" y="90"/>
                </a:cubicBezTo>
                <a:cubicBezTo>
                  <a:pt x="808" y="91"/>
                  <a:pt x="806" y="91"/>
                  <a:pt x="804" y="92"/>
                </a:cubicBezTo>
                <a:cubicBezTo>
                  <a:pt x="806" y="91"/>
                  <a:pt x="808" y="90"/>
                  <a:pt x="810" y="90"/>
                </a:cubicBezTo>
                <a:close/>
                <a:moveTo>
                  <a:pt x="663" y="214"/>
                </a:moveTo>
                <a:cubicBezTo>
                  <a:pt x="663" y="213"/>
                  <a:pt x="663" y="212"/>
                  <a:pt x="663" y="211"/>
                </a:cubicBezTo>
                <a:cubicBezTo>
                  <a:pt x="663" y="210"/>
                  <a:pt x="664" y="211"/>
                  <a:pt x="663" y="214"/>
                </a:cubicBezTo>
                <a:close/>
                <a:moveTo>
                  <a:pt x="663" y="202"/>
                </a:moveTo>
                <a:cubicBezTo>
                  <a:pt x="664" y="206"/>
                  <a:pt x="666" y="211"/>
                  <a:pt x="666" y="215"/>
                </a:cubicBezTo>
                <a:cubicBezTo>
                  <a:pt x="665" y="207"/>
                  <a:pt x="662" y="200"/>
                  <a:pt x="657" y="194"/>
                </a:cubicBezTo>
                <a:cubicBezTo>
                  <a:pt x="659" y="196"/>
                  <a:pt x="661" y="199"/>
                  <a:pt x="663" y="202"/>
                </a:cubicBezTo>
                <a:close/>
                <a:moveTo>
                  <a:pt x="648" y="183"/>
                </a:moveTo>
                <a:cubicBezTo>
                  <a:pt x="645" y="181"/>
                  <a:pt x="641" y="179"/>
                  <a:pt x="638" y="177"/>
                </a:cubicBezTo>
                <a:cubicBezTo>
                  <a:pt x="641" y="179"/>
                  <a:pt x="645" y="181"/>
                  <a:pt x="648" y="183"/>
                </a:cubicBezTo>
                <a:close/>
                <a:moveTo>
                  <a:pt x="633" y="222"/>
                </a:moveTo>
                <a:cubicBezTo>
                  <a:pt x="634" y="223"/>
                  <a:pt x="633" y="224"/>
                  <a:pt x="633" y="225"/>
                </a:cubicBezTo>
                <a:cubicBezTo>
                  <a:pt x="633" y="225"/>
                  <a:pt x="633" y="223"/>
                  <a:pt x="633" y="222"/>
                </a:cubicBezTo>
                <a:close/>
                <a:moveTo>
                  <a:pt x="622" y="229"/>
                </a:moveTo>
                <a:cubicBezTo>
                  <a:pt x="622" y="229"/>
                  <a:pt x="622" y="229"/>
                  <a:pt x="622" y="229"/>
                </a:cubicBezTo>
                <a:cubicBezTo>
                  <a:pt x="622" y="229"/>
                  <a:pt x="623" y="228"/>
                  <a:pt x="623" y="228"/>
                </a:cubicBezTo>
                <a:cubicBezTo>
                  <a:pt x="623" y="228"/>
                  <a:pt x="623" y="229"/>
                  <a:pt x="623" y="229"/>
                </a:cubicBezTo>
                <a:cubicBezTo>
                  <a:pt x="624" y="229"/>
                  <a:pt x="624" y="229"/>
                  <a:pt x="624" y="229"/>
                </a:cubicBezTo>
                <a:cubicBezTo>
                  <a:pt x="625" y="230"/>
                  <a:pt x="624" y="229"/>
                  <a:pt x="623" y="229"/>
                </a:cubicBezTo>
                <a:cubicBezTo>
                  <a:pt x="623" y="229"/>
                  <a:pt x="622" y="229"/>
                  <a:pt x="622" y="229"/>
                </a:cubicBezTo>
                <a:cubicBezTo>
                  <a:pt x="622" y="229"/>
                  <a:pt x="621" y="230"/>
                  <a:pt x="622" y="229"/>
                </a:cubicBezTo>
                <a:close/>
                <a:moveTo>
                  <a:pt x="619" y="239"/>
                </a:moveTo>
                <a:cubicBezTo>
                  <a:pt x="619" y="240"/>
                  <a:pt x="619" y="240"/>
                  <a:pt x="618" y="241"/>
                </a:cubicBezTo>
                <a:cubicBezTo>
                  <a:pt x="617" y="243"/>
                  <a:pt x="617" y="246"/>
                  <a:pt x="616" y="249"/>
                </a:cubicBezTo>
                <a:cubicBezTo>
                  <a:pt x="617" y="245"/>
                  <a:pt x="618" y="242"/>
                  <a:pt x="619" y="239"/>
                </a:cubicBezTo>
                <a:close/>
                <a:moveTo>
                  <a:pt x="358" y="191"/>
                </a:moveTo>
                <a:cubicBezTo>
                  <a:pt x="359" y="190"/>
                  <a:pt x="360" y="190"/>
                  <a:pt x="362" y="190"/>
                </a:cubicBezTo>
                <a:cubicBezTo>
                  <a:pt x="364" y="189"/>
                  <a:pt x="359" y="191"/>
                  <a:pt x="358" y="191"/>
                </a:cubicBezTo>
                <a:close/>
                <a:moveTo>
                  <a:pt x="368" y="202"/>
                </a:moveTo>
                <a:cubicBezTo>
                  <a:pt x="368" y="202"/>
                  <a:pt x="368" y="202"/>
                  <a:pt x="369" y="202"/>
                </a:cubicBezTo>
                <a:cubicBezTo>
                  <a:pt x="370" y="203"/>
                  <a:pt x="371" y="202"/>
                  <a:pt x="372" y="204"/>
                </a:cubicBezTo>
                <a:cubicBezTo>
                  <a:pt x="371" y="203"/>
                  <a:pt x="370" y="202"/>
                  <a:pt x="368" y="202"/>
                </a:cubicBezTo>
                <a:close/>
                <a:moveTo>
                  <a:pt x="374" y="144"/>
                </a:moveTo>
                <a:cubicBezTo>
                  <a:pt x="373" y="145"/>
                  <a:pt x="376" y="142"/>
                  <a:pt x="374" y="144"/>
                </a:cubicBezTo>
                <a:close/>
                <a:moveTo>
                  <a:pt x="374" y="215"/>
                </a:moveTo>
                <a:cubicBezTo>
                  <a:pt x="374" y="215"/>
                  <a:pt x="374" y="215"/>
                  <a:pt x="374" y="214"/>
                </a:cubicBezTo>
                <a:cubicBezTo>
                  <a:pt x="374" y="214"/>
                  <a:pt x="374" y="214"/>
                  <a:pt x="374" y="214"/>
                </a:cubicBezTo>
                <a:cubicBezTo>
                  <a:pt x="373" y="213"/>
                  <a:pt x="373" y="214"/>
                  <a:pt x="374" y="214"/>
                </a:cubicBezTo>
                <a:cubicBezTo>
                  <a:pt x="374" y="215"/>
                  <a:pt x="375" y="216"/>
                  <a:pt x="376" y="217"/>
                </a:cubicBezTo>
                <a:cubicBezTo>
                  <a:pt x="375" y="217"/>
                  <a:pt x="375" y="216"/>
                  <a:pt x="374" y="215"/>
                </a:cubicBezTo>
                <a:close/>
                <a:moveTo>
                  <a:pt x="377" y="249"/>
                </a:moveTo>
                <a:cubicBezTo>
                  <a:pt x="376" y="250"/>
                  <a:pt x="376" y="250"/>
                  <a:pt x="377" y="249"/>
                </a:cubicBezTo>
                <a:close/>
                <a:moveTo>
                  <a:pt x="164" y="88"/>
                </a:moveTo>
                <a:cubicBezTo>
                  <a:pt x="166" y="85"/>
                  <a:pt x="167" y="81"/>
                  <a:pt x="167" y="77"/>
                </a:cubicBezTo>
                <a:cubicBezTo>
                  <a:pt x="167" y="87"/>
                  <a:pt x="161" y="99"/>
                  <a:pt x="156" y="107"/>
                </a:cubicBezTo>
                <a:cubicBezTo>
                  <a:pt x="160" y="101"/>
                  <a:pt x="162" y="95"/>
                  <a:pt x="164" y="88"/>
                </a:cubicBezTo>
                <a:close/>
                <a:moveTo>
                  <a:pt x="138" y="71"/>
                </a:moveTo>
                <a:cubicBezTo>
                  <a:pt x="138" y="70"/>
                  <a:pt x="139" y="70"/>
                  <a:pt x="139" y="69"/>
                </a:cubicBezTo>
                <a:cubicBezTo>
                  <a:pt x="141" y="68"/>
                  <a:pt x="139" y="69"/>
                  <a:pt x="138" y="71"/>
                </a:cubicBezTo>
                <a:cubicBezTo>
                  <a:pt x="137" y="72"/>
                  <a:pt x="136" y="73"/>
                  <a:pt x="134" y="74"/>
                </a:cubicBezTo>
                <a:cubicBezTo>
                  <a:pt x="135" y="73"/>
                  <a:pt x="137" y="72"/>
                  <a:pt x="138" y="71"/>
                </a:cubicBezTo>
                <a:close/>
                <a:moveTo>
                  <a:pt x="131" y="58"/>
                </a:moveTo>
                <a:cubicBezTo>
                  <a:pt x="132" y="59"/>
                  <a:pt x="133" y="59"/>
                  <a:pt x="134" y="60"/>
                </a:cubicBezTo>
                <a:cubicBezTo>
                  <a:pt x="131" y="58"/>
                  <a:pt x="130" y="58"/>
                  <a:pt x="127" y="58"/>
                </a:cubicBezTo>
                <a:cubicBezTo>
                  <a:pt x="128" y="58"/>
                  <a:pt x="129" y="58"/>
                  <a:pt x="131" y="58"/>
                </a:cubicBezTo>
                <a:close/>
                <a:moveTo>
                  <a:pt x="44" y="65"/>
                </a:moveTo>
                <a:cubicBezTo>
                  <a:pt x="44" y="65"/>
                  <a:pt x="43" y="65"/>
                  <a:pt x="43" y="65"/>
                </a:cubicBezTo>
                <a:cubicBezTo>
                  <a:pt x="44" y="65"/>
                  <a:pt x="44" y="65"/>
                  <a:pt x="44" y="65"/>
                </a:cubicBezTo>
                <a:cubicBezTo>
                  <a:pt x="44" y="65"/>
                  <a:pt x="44" y="65"/>
                  <a:pt x="44" y="65"/>
                </a:cubicBezTo>
                <a:close/>
                <a:moveTo>
                  <a:pt x="53" y="8"/>
                </a:moveTo>
                <a:cubicBezTo>
                  <a:pt x="52" y="8"/>
                  <a:pt x="51" y="8"/>
                  <a:pt x="49" y="8"/>
                </a:cubicBezTo>
                <a:cubicBezTo>
                  <a:pt x="52" y="8"/>
                  <a:pt x="53" y="8"/>
                  <a:pt x="55" y="7"/>
                </a:cubicBezTo>
                <a:cubicBezTo>
                  <a:pt x="55" y="7"/>
                  <a:pt x="54" y="8"/>
                  <a:pt x="53" y="8"/>
                </a:cubicBezTo>
                <a:close/>
                <a:moveTo>
                  <a:pt x="72" y="60"/>
                </a:moveTo>
                <a:cubicBezTo>
                  <a:pt x="70" y="63"/>
                  <a:pt x="69" y="65"/>
                  <a:pt x="67" y="68"/>
                </a:cubicBezTo>
                <a:cubicBezTo>
                  <a:pt x="69" y="65"/>
                  <a:pt x="70" y="62"/>
                  <a:pt x="72" y="60"/>
                </a:cubicBezTo>
                <a:cubicBezTo>
                  <a:pt x="72" y="60"/>
                  <a:pt x="72" y="60"/>
                  <a:pt x="72" y="60"/>
                </a:cubicBezTo>
                <a:close/>
                <a:moveTo>
                  <a:pt x="87" y="99"/>
                </a:moveTo>
                <a:cubicBezTo>
                  <a:pt x="88" y="100"/>
                  <a:pt x="89" y="100"/>
                  <a:pt x="89" y="101"/>
                </a:cubicBezTo>
                <a:cubicBezTo>
                  <a:pt x="88" y="101"/>
                  <a:pt x="85" y="98"/>
                  <a:pt x="87" y="99"/>
                </a:cubicBezTo>
                <a:close/>
                <a:moveTo>
                  <a:pt x="44" y="133"/>
                </a:moveTo>
                <a:cubicBezTo>
                  <a:pt x="46" y="134"/>
                  <a:pt x="51" y="136"/>
                  <a:pt x="51" y="136"/>
                </a:cubicBezTo>
                <a:cubicBezTo>
                  <a:pt x="49" y="135"/>
                  <a:pt x="46" y="134"/>
                  <a:pt x="44" y="133"/>
                </a:cubicBezTo>
                <a:close/>
                <a:moveTo>
                  <a:pt x="52" y="138"/>
                </a:moveTo>
                <a:cubicBezTo>
                  <a:pt x="52" y="138"/>
                  <a:pt x="52" y="138"/>
                  <a:pt x="52" y="137"/>
                </a:cubicBezTo>
                <a:cubicBezTo>
                  <a:pt x="52" y="137"/>
                  <a:pt x="52" y="138"/>
                  <a:pt x="52" y="138"/>
                </a:cubicBezTo>
                <a:cubicBezTo>
                  <a:pt x="53" y="138"/>
                  <a:pt x="53" y="138"/>
                  <a:pt x="53" y="138"/>
                </a:cubicBezTo>
                <a:cubicBezTo>
                  <a:pt x="54" y="138"/>
                  <a:pt x="54" y="139"/>
                  <a:pt x="55" y="140"/>
                </a:cubicBezTo>
                <a:cubicBezTo>
                  <a:pt x="54" y="139"/>
                  <a:pt x="53" y="138"/>
                  <a:pt x="52" y="138"/>
                </a:cubicBezTo>
                <a:close/>
                <a:moveTo>
                  <a:pt x="62" y="130"/>
                </a:moveTo>
                <a:cubicBezTo>
                  <a:pt x="63" y="128"/>
                  <a:pt x="63" y="128"/>
                  <a:pt x="62" y="130"/>
                </a:cubicBezTo>
                <a:close/>
                <a:moveTo>
                  <a:pt x="63" y="147"/>
                </a:moveTo>
                <a:cubicBezTo>
                  <a:pt x="63" y="147"/>
                  <a:pt x="61" y="144"/>
                  <a:pt x="62" y="146"/>
                </a:cubicBezTo>
                <a:cubicBezTo>
                  <a:pt x="64" y="149"/>
                  <a:pt x="62" y="147"/>
                  <a:pt x="63" y="147"/>
                </a:cubicBezTo>
                <a:close/>
                <a:moveTo>
                  <a:pt x="71" y="154"/>
                </a:moveTo>
                <a:cubicBezTo>
                  <a:pt x="70" y="154"/>
                  <a:pt x="70" y="154"/>
                  <a:pt x="70" y="154"/>
                </a:cubicBezTo>
                <a:cubicBezTo>
                  <a:pt x="70" y="155"/>
                  <a:pt x="71" y="155"/>
                  <a:pt x="69" y="155"/>
                </a:cubicBezTo>
                <a:cubicBezTo>
                  <a:pt x="70" y="154"/>
                  <a:pt x="70" y="155"/>
                  <a:pt x="70" y="154"/>
                </a:cubicBezTo>
                <a:cubicBezTo>
                  <a:pt x="70" y="154"/>
                  <a:pt x="70" y="154"/>
                  <a:pt x="71" y="154"/>
                </a:cubicBezTo>
                <a:cubicBezTo>
                  <a:pt x="72" y="155"/>
                  <a:pt x="74" y="157"/>
                  <a:pt x="74" y="159"/>
                </a:cubicBezTo>
                <a:cubicBezTo>
                  <a:pt x="73" y="157"/>
                  <a:pt x="72" y="156"/>
                  <a:pt x="71" y="154"/>
                </a:cubicBezTo>
                <a:close/>
                <a:moveTo>
                  <a:pt x="88" y="170"/>
                </a:moveTo>
                <a:cubicBezTo>
                  <a:pt x="88" y="170"/>
                  <a:pt x="88" y="170"/>
                  <a:pt x="89" y="171"/>
                </a:cubicBezTo>
                <a:cubicBezTo>
                  <a:pt x="89" y="171"/>
                  <a:pt x="89" y="171"/>
                  <a:pt x="89" y="171"/>
                </a:cubicBezTo>
                <a:cubicBezTo>
                  <a:pt x="89" y="171"/>
                  <a:pt x="88" y="170"/>
                  <a:pt x="88" y="170"/>
                </a:cubicBezTo>
                <a:close/>
                <a:moveTo>
                  <a:pt x="109" y="152"/>
                </a:moveTo>
                <a:cubicBezTo>
                  <a:pt x="108" y="151"/>
                  <a:pt x="106" y="149"/>
                  <a:pt x="103" y="148"/>
                </a:cubicBezTo>
                <a:cubicBezTo>
                  <a:pt x="105" y="149"/>
                  <a:pt x="106" y="150"/>
                  <a:pt x="108" y="151"/>
                </a:cubicBezTo>
                <a:cubicBezTo>
                  <a:pt x="109" y="151"/>
                  <a:pt x="109" y="152"/>
                  <a:pt x="109" y="152"/>
                </a:cubicBezTo>
                <a:cubicBezTo>
                  <a:pt x="111" y="153"/>
                  <a:pt x="112" y="154"/>
                  <a:pt x="114" y="155"/>
                </a:cubicBezTo>
                <a:cubicBezTo>
                  <a:pt x="112" y="155"/>
                  <a:pt x="111" y="154"/>
                  <a:pt x="109" y="152"/>
                </a:cubicBezTo>
                <a:close/>
                <a:moveTo>
                  <a:pt x="149" y="232"/>
                </a:moveTo>
                <a:cubicBezTo>
                  <a:pt x="148" y="231"/>
                  <a:pt x="147" y="231"/>
                  <a:pt x="146" y="231"/>
                </a:cubicBezTo>
                <a:cubicBezTo>
                  <a:pt x="146" y="231"/>
                  <a:pt x="148" y="231"/>
                  <a:pt x="148" y="231"/>
                </a:cubicBezTo>
                <a:cubicBezTo>
                  <a:pt x="148" y="231"/>
                  <a:pt x="148" y="231"/>
                  <a:pt x="149" y="232"/>
                </a:cubicBezTo>
                <a:cubicBezTo>
                  <a:pt x="149" y="232"/>
                  <a:pt x="149" y="232"/>
                  <a:pt x="149" y="232"/>
                </a:cubicBezTo>
                <a:cubicBezTo>
                  <a:pt x="150" y="232"/>
                  <a:pt x="150" y="232"/>
                  <a:pt x="149" y="232"/>
                </a:cubicBezTo>
                <a:close/>
                <a:moveTo>
                  <a:pt x="167" y="249"/>
                </a:moveTo>
                <a:cubicBezTo>
                  <a:pt x="166" y="248"/>
                  <a:pt x="165" y="247"/>
                  <a:pt x="167" y="249"/>
                </a:cubicBezTo>
                <a:close/>
                <a:moveTo>
                  <a:pt x="225" y="253"/>
                </a:moveTo>
                <a:cubicBezTo>
                  <a:pt x="224" y="253"/>
                  <a:pt x="224" y="252"/>
                  <a:pt x="224" y="252"/>
                </a:cubicBezTo>
                <a:cubicBezTo>
                  <a:pt x="224" y="252"/>
                  <a:pt x="223" y="251"/>
                  <a:pt x="223" y="251"/>
                </a:cubicBezTo>
                <a:cubicBezTo>
                  <a:pt x="224" y="251"/>
                  <a:pt x="224" y="252"/>
                  <a:pt x="224" y="252"/>
                </a:cubicBezTo>
                <a:cubicBezTo>
                  <a:pt x="226" y="254"/>
                  <a:pt x="228" y="257"/>
                  <a:pt x="231" y="259"/>
                </a:cubicBezTo>
                <a:cubicBezTo>
                  <a:pt x="229" y="257"/>
                  <a:pt x="227" y="255"/>
                  <a:pt x="225" y="253"/>
                </a:cubicBezTo>
                <a:close/>
                <a:moveTo>
                  <a:pt x="237" y="265"/>
                </a:moveTo>
                <a:cubicBezTo>
                  <a:pt x="238" y="266"/>
                  <a:pt x="239" y="266"/>
                  <a:pt x="240" y="267"/>
                </a:cubicBezTo>
                <a:cubicBezTo>
                  <a:pt x="243" y="267"/>
                  <a:pt x="246" y="270"/>
                  <a:pt x="250" y="271"/>
                </a:cubicBezTo>
                <a:cubicBezTo>
                  <a:pt x="246" y="269"/>
                  <a:pt x="241" y="268"/>
                  <a:pt x="237" y="265"/>
                </a:cubicBezTo>
                <a:close/>
                <a:moveTo>
                  <a:pt x="268" y="325"/>
                </a:moveTo>
                <a:cubicBezTo>
                  <a:pt x="267" y="325"/>
                  <a:pt x="267" y="324"/>
                  <a:pt x="267" y="324"/>
                </a:cubicBezTo>
                <a:cubicBezTo>
                  <a:pt x="267" y="324"/>
                  <a:pt x="267" y="324"/>
                  <a:pt x="268" y="325"/>
                </a:cubicBezTo>
                <a:cubicBezTo>
                  <a:pt x="268" y="325"/>
                  <a:pt x="269" y="324"/>
                  <a:pt x="269" y="325"/>
                </a:cubicBezTo>
                <a:cubicBezTo>
                  <a:pt x="269" y="326"/>
                  <a:pt x="269" y="326"/>
                  <a:pt x="270" y="327"/>
                </a:cubicBezTo>
                <a:cubicBezTo>
                  <a:pt x="269" y="326"/>
                  <a:pt x="268" y="325"/>
                  <a:pt x="268" y="325"/>
                </a:cubicBezTo>
                <a:close/>
                <a:moveTo>
                  <a:pt x="294" y="331"/>
                </a:moveTo>
                <a:cubicBezTo>
                  <a:pt x="293" y="330"/>
                  <a:pt x="294" y="331"/>
                  <a:pt x="295" y="331"/>
                </a:cubicBezTo>
                <a:cubicBezTo>
                  <a:pt x="297" y="333"/>
                  <a:pt x="294" y="331"/>
                  <a:pt x="294" y="331"/>
                </a:cubicBezTo>
                <a:close/>
                <a:moveTo>
                  <a:pt x="367" y="274"/>
                </a:moveTo>
                <a:cubicBezTo>
                  <a:pt x="367" y="275"/>
                  <a:pt x="366" y="275"/>
                  <a:pt x="366" y="275"/>
                </a:cubicBezTo>
                <a:cubicBezTo>
                  <a:pt x="367" y="274"/>
                  <a:pt x="368" y="273"/>
                  <a:pt x="369" y="271"/>
                </a:cubicBezTo>
                <a:cubicBezTo>
                  <a:pt x="369" y="272"/>
                  <a:pt x="370" y="272"/>
                  <a:pt x="367" y="274"/>
                </a:cubicBezTo>
                <a:close/>
                <a:moveTo>
                  <a:pt x="376" y="377"/>
                </a:moveTo>
                <a:cubicBezTo>
                  <a:pt x="377" y="374"/>
                  <a:pt x="379" y="371"/>
                  <a:pt x="382" y="369"/>
                </a:cubicBezTo>
                <a:cubicBezTo>
                  <a:pt x="379" y="371"/>
                  <a:pt x="377" y="374"/>
                  <a:pt x="376" y="377"/>
                </a:cubicBezTo>
                <a:close/>
                <a:moveTo>
                  <a:pt x="385" y="383"/>
                </a:moveTo>
                <a:cubicBezTo>
                  <a:pt x="384" y="385"/>
                  <a:pt x="385" y="382"/>
                  <a:pt x="385" y="382"/>
                </a:cubicBezTo>
                <a:cubicBezTo>
                  <a:pt x="386" y="381"/>
                  <a:pt x="385" y="383"/>
                  <a:pt x="385" y="383"/>
                </a:cubicBezTo>
                <a:close/>
                <a:moveTo>
                  <a:pt x="386" y="238"/>
                </a:moveTo>
                <a:cubicBezTo>
                  <a:pt x="386" y="238"/>
                  <a:pt x="386" y="239"/>
                  <a:pt x="386" y="239"/>
                </a:cubicBezTo>
                <a:cubicBezTo>
                  <a:pt x="386" y="239"/>
                  <a:pt x="383" y="240"/>
                  <a:pt x="385" y="239"/>
                </a:cubicBezTo>
                <a:cubicBezTo>
                  <a:pt x="385" y="239"/>
                  <a:pt x="386" y="239"/>
                  <a:pt x="386" y="238"/>
                </a:cubicBezTo>
                <a:cubicBezTo>
                  <a:pt x="387" y="238"/>
                  <a:pt x="387" y="237"/>
                  <a:pt x="388" y="237"/>
                </a:cubicBezTo>
                <a:cubicBezTo>
                  <a:pt x="388" y="237"/>
                  <a:pt x="387" y="238"/>
                  <a:pt x="386" y="238"/>
                </a:cubicBezTo>
                <a:close/>
                <a:moveTo>
                  <a:pt x="384" y="219"/>
                </a:moveTo>
                <a:cubicBezTo>
                  <a:pt x="387" y="217"/>
                  <a:pt x="389" y="215"/>
                  <a:pt x="391" y="213"/>
                </a:cubicBezTo>
                <a:cubicBezTo>
                  <a:pt x="389" y="215"/>
                  <a:pt x="387" y="217"/>
                  <a:pt x="384" y="219"/>
                </a:cubicBezTo>
                <a:close/>
                <a:moveTo>
                  <a:pt x="394" y="251"/>
                </a:moveTo>
                <a:cubicBezTo>
                  <a:pt x="394" y="250"/>
                  <a:pt x="395" y="249"/>
                  <a:pt x="395" y="248"/>
                </a:cubicBezTo>
                <a:cubicBezTo>
                  <a:pt x="394" y="247"/>
                  <a:pt x="394" y="246"/>
                  <a:pt x="394" y="245"/>
                </a:cubicBezTo>
                <a:cubicBezTo>
                  <a:pt x="394" y="245"/>
                  <a:pt x="393" y="242"/>
                  <a:pt x="394" y="244"/>
                </a:cubicBezTo>
                <a:cubicBezTo>
                  <a:pt x="394" y="246"/>
                  <a:pt x="395" y="247"/>
                  <a:pt x="395" y="248"/>
                </a:cubicBezTo>
                <a:cubicBezTo>
                  <a:pt x="395" y="249"/>
                  <a:pt x="395" y="250"/>
                  <a:pt x="394" y="251"/>
                </a:cubicBezTo>
                <a:close/>
                <a:moveTo>
                  <a:pt x="388" y="142"/>
                </a:moveTo>
                <a:cubicBezTo>
                  <a:pt x="391" y="140"/>
                  <a:pt x="395" y="139"/>
                  <a:pt x="399" y="138"/>
                </a:cubicBezTo>
                <a:cubicBezTo>
                  <a:pt x="395" y="139"/>
                  <a:pt x="391" y="140"/>
                  <a:pt x="388" y="142"/>
                </a:cubicBezTo>
                <a:close/>
                <a:moveTo>
                  <a:pt x="403" y="308"/>
                </a:moveTo>
                <a:cubicBezTo>
                  <a:pt x="403" y="307"/>
                  <a:pt x="403" y="306"/>
                  <a:pt x="403" y="306"/>
                </a:cubicBezTo>
                <a:cubicBezTo>
                  <a:pt x="403" y="306"/>
                  <a:pt x="403" y="309"/>
                  <a:pt x="403" y="308"/>
                </a:cubicBezTo>
                <a:close/>
                <a:moveTo>
                  <a:pt x="413" y="140"/>
                </a:moveTo>
                <a:cubicBezTo>
                  <a:pt x="412" y="139"/>
                  <a:pt x="412" y="138"/>
                  <a:pt x="412" y="136"/>
                </a:cubicBezTo>
                <a:cubicBezTo>
                  <a:pt x="412" y="136"/>
                  <a:pt x="413" y="136"/>
                  <a:pt x="413" y="136"/>
                </a:cubicBezTo>
                <a:cubicBezTo>
                  <a:pt x="413" y="136"/>
                  <a:pt x="413" y="135"/>
                  <a:pt x="413" y="135"/>
                </a:cubicBezTo>
                <a:cubicBezTo>
                  <a:pt x="414" y="136"/>
                  <a:pt x="413" y="136"/>
                  <a:pt x="413" y="136"/>
                </a:cubicBezTo>
                <a:cubicBezTo>
                  <a:pt x="413" y="137"/>
                  <a:pt x="413" y="137"/>
                  <a:pt x="413" y="140"/>
                </a:cubicBezTo>
                <a:close/>
                <a:moveTo>
                  <a:pt x="426" y="413"/>
                </a:moveTo>
                <a:cubicBezTo>
                  <a:pt x="426" y="413"/>
                  <a:pt x="425" y="415"/>
                  <a:pt x="426" y="414"/>
                </a:cubicBezTo>
                <a:cubicBezTo>
                  <a:pt x="426" y="413"/>
                  <a:pt x="426" y="413"/>
                  <a:pt x="426" y="413"/>
                </a:cubicBezTo>
                <a:cubicBezTo>
                  <a:pt x="426" y="414"/>
                  <a:pt x="426" y="415"/>
                  <a:pt x="427" y="416"/>
                </a:cubicBezTo>
                <a:cubicBezTo>
                  <a:pt x="426" y="415"/>
                  <a:pt x="426" y="414"/>
                  <a:pt x="426" y="413"/>
                </a:cubicBezTo>
                <a:close/>
                <a:moveTo>
                  <a:pt x="445" y="233"/>
                </a:moveTo>
                <a:cubicBezTo>
                  <a:pt x="446" y="234"/>
                  <a:pt x="446" y="235"/>
                  <a:pt x="447" y="236"/>
                </a:cubicBezTo>
                <a:cubicBezTo>
                  <a:pt x="447" y="237"/>
                  <a:pt x="448" y="239"/>
                  <a:pt x="448" y="240"/>
                </a:cubicBezTo>
                <a:cubicBezTo>
                  <a:pt x="447" y="238"/>
                  <a:pt x="446" y="236"/>
                  <a:pt x="445" y="233"/>
                </a:cubicBezTo>
                <a:close/>
                <a:moveTo>
                  <a:pt x="452" y="155"/>
                </a:moveTo>
                <a:cubicBezTo>
                  <a:pt x="452" y="155"/>
                  <a:pt x="452" y="154"/>
                  <a:pt x="452" y="153"/>
                </a:cubicBezTo>
                <a:cubicBezTo>
                  <a:pt x="453" y="155"/>
                  <a:pt x="453" y="156"/>
                  <a:pt x="455" y="156"/>
                </a:cubicBezTo>
                <a:cubicBezTo>
                  <a:pt x="454" y="156"/>
                  <a:pt x="453" y="156"/>
                  <a:pt x="452" y="155"/>
                </a:cubicBezTo>
                <a:close/>
                <a:moveTo>
                  <a:pt x="463" y="138"/>
                </a:moveTo>
                <a:cubicBezTo>
                  <a:pt x="463" y="137"/>
                  <a:pt x="463" y="136"/>
                  <a:pt x="462" y="136"/>
                </a:cubicBezTo>
                <a:cubicBezTo>
                  <a:pt x="464" y="139"/>
                  <a:pt x="466" y="142"/>
                  <a:pt x="468" y="146"/>
                </a:cubicBezTo>
                <a:cubicBezTo>
                  <a:pt x="466" y="143"/>
                  <a:pt x="464" y="141"/>
                  <a:pt x="463" y="138"/>
                </a:cubicBezTo>
                <a:close/>
                <a:moveTo>
                  <a:pt x="469" y="148"/>
                </a:moveTo>
                <a:cubicBezTo>
                  <a:pt x="469" y="148"/>
                  <a:pt x="469" y="149"/>
                  <a:pt x="469" y="150"/>
                </a:cubicBezTo>
                <a:cubicBezTo>
                  <a:pt x="469" y="149"/>
                  <a:pt x="469" y="148"/>
                  <a:pt x="469" y="148"/>
                </a:cubicBezTo>
                <a:close/>
                <a:moveTo>
                  <a:pt x="470" y="122"/>
                </a:moveTo>
                <a:cubicBezTo>
                  <a:pt x="470" y="119"/>
                  <a:pt x="470" y="118"/>
                  <a:pt x="470" y="116"/>
                </a:cubicBezTo>
                <a:cubicBezTo>
                  <a:pt x="470" y="118"/>
                  <a:pt x="470" y="119"/>
                  <a:pt x="470" y="122"/>
                </a:cubicBezTo>
                <a:close/>
                <a:moveTo>
                  <a:pt x="599" y="218"/>
                </a:moveTo>
                <a:cubicBezTo>
                  <a:pt x="598" y="217"/>
                  <a:pt x="598" y="216"/>
                  <a:pt x="597" y="216"/>
                </a:cubicBezTo>
                <a:cubicBezTo>
                  <a:pt x="598" y="217"/>
                  <a:pt x="598" y="218"/>
                  <a:pt x="599" y="218"/>
                </a:cubicBezTo>
                <a:close/>
                <a:moveTo>
                  <a:pt x="556" y="191"/>
                </a:moveTo>
                <a:cubicBezTo>
                  <a:pt x="556" y="192"/>
                  <a:pt x="556" y="193"/>
                  <a:pt x="555" y="194"/>
                </a:cubicBezTo>
                <a:cubicBezTo>
                  <a:pt x="555" y="193"/>
                  <a:pt x="556" y="192"/>
                  <a:pt x="556" y="191"/>
                </a:cubicBezTo>
                <a:close/>
                <a:moveTo>
                  <a:pt x="546" y="307"/>
                </a:moveTo>
                <a:cubicBezTo>
                  <a:pt x="546" y="307"/>
                  <a:pt x="545" y="308"/>
                  <a:pt x="544" y="308"/>
                </a:cubicBezTo>
                <a:cubicBezTo>
                  <a:pt x="543" y="308"/>
                  <a:pt x="546" y="307"/>
                  <a:pt x="546" y="307"/>
                </a:cubicBezTo>
                <a:close/>
                <a:moveTo>
                  <a:pt x="496" y="332"/>
                </a:moveTo>
                <a:cubicBezTo>
                  <a:pt x="492" y="336"/>
                  <a:pt x="488" y="340"/>
                  <a:pt x="486" y="346"/>
                </a:cubicBezTo>
                <a:cubicBezTo>
                  <a:pt x="488" y="339"/>
                  <a:pt x="492" y="336"/>
                  <a:pt x="496" y="332"/>
                </a:cubicBezTo>
                <a:close/>
                <a:moveTo>
                  <a:pt x="498" y="468"/>
                </a:moveTo>
                <a:cubicBezTo>
                  <a:pt x="498" y="467"/>
                  <a:pt x="497" y="466"/>
                  <a:pt x="497" y="465"/>
                </a:cubicBezTo>
                <a:cubicBezTo>
                  <a:pt x="497" y="467"/>
                  <a:pt x="498" y="468"/>
                  <a:pt x="499" y="470"/>
                </a:cubicBezTo>
                <a:cubicBezTo>
                  <a:pt x="499" y="469"/>
                  <a:pt x="498" y="469"/>
                  <a:pt x="498" y="468"/>
                </a:cubicBezTo>
                <a:close/>
                <a:moveTo>
                  <a:pt x="587" y="546"/>
                </a:moveTo>
                <a:cubicBezTo>
                  <a:pt x="587" y="548"/>
                  <a:pt x="588" y="549"/>
                  <a:pt x="587" y="550"/>
                </a:cubicBezTo>
                <a:cubicBezTo>
                  <a:pt x="587" y="549"/>
                  <a:pt x="587" y="548"/>
                  <a:pt x="587" y="546"/>
                </a:cubicBezTo>
                <a:cubicBezTo>
                  <a:pt x="588" y="546"/>
                  <a:pt x="589" y="546"/>
                  <a:pt x="590" y="546"/>
                </a:cubicBezTo>
                <a:cubicBezTo>
                  <a:pt x="589" y="546"/>
                  <a:pt x="588" y="546"/>
                  <a:pt x="587" y="546"/>
                </a:cubicBezTo>
                <a:close/>
                <a:moveTo>
                  <a:pt x="595" y="413"/>
                </a:moveTo>
                <a:cubicBezTo>
                  <a:pt x="587" y="420"/>
                  <a:pt x="579" y="430"/>
                  <a:pt x="568" y="435"/>
                </a:cubicBezTo>
                <a:cubicBezTo>
                  <a:pt x="561" y="438"/>
                  <a:pt x="556" y="438"/>
                  <a:pt x="549" y="439"/>
                </a:cubicBezTo>
                <a:cubicBezTo>
                  <a:pt x="542" y="439"/>
                  <a:pt x="545" y="440"/>
                  <a:pt x="540" y="438"/>
                </a:cubicBezTo>
                <a:cubicBezTo>
                  <a:pt x="530" y="433"/>
                  <a:pt x="523" y="422"/>
                  <a:pt x="517" y="412"/>
                </a:cubicBezTo>
                <a:cubicBezTo>
                  <a:pt x="513" y="405"/>
                  <a:pt x="505" y="388"/>
                  <a:pt x="499" y="384"/>
                </a:cubicBezTo>
                <a:cubicBezTo>
                  <a:pt x="500" y="385"/>
                  <a:pt x="501" y="385"/>
                  <a:pt x="502" y="385"/>
                </a:cubicBezTo>
                <a:cubicBezTo>
                  <a:pt x="502" y="382"/>
                  <a:pt x="497" y="368"/>
                  <a:pt x="494" y="376"/>
                </a:cubicBezTo>
                <a:cubicBezTo>
                  <a:pt x="498" y="371"/>
                  <a:pt x="492" y="365"/>
                  <a:pt x="490" y="359"/>
                </a:cubicBezTo>
                <a:cubicBezTo>
                  <a:pt x="489" y="353"/>
                  <a:pt x="489" y="346"/>
                  <a:pt x="493" y="340"/>
                </a:cubicBezTo>
                <a:cubicBezTo>
                  <a:pt x="501" y="330"/>
                  <a:pt x="520" y="323"/>
                  <a:pt x="531" y="318"/>
                </a:cubicBezTo>
                <a:cubicBezTo>
                  <a:pt x="542" y="313"/>
                  <a:pt x="550" y="310"/>
                  <a:pt x="562" y="307"/>
                </a:cubicBezTo>
                <a:cubicBezTo>
                  <a:pt x="569" y="305"/>
                  <a:pt x="576" y="301"/>
                  <a:pt x="581" y="312"/>
                </a:cubicBezTo>
                <a:cubicBezTo>
                  <a:pt x="573" y="313"/>
                  <a:pt x="581" y="324"/>
                  <a:pt x="578" y="329"/>
                </a:cubicBezTo>
                <a:cubicBezTo>
                  <a:pt x="577" y="330"/>
                  <a:pt x="564" y="338"/>
                  <a:pt x="562" y="338"/>
                </a:cubicBezTo>
                <a:cubicBezTo>
                  <a:pt x="557" y="338"/>
                  <a:pt x="561" y="335"/>
                  <a:pt x="557" y="333"/>
                </a:cubicBezTo>
                <a:cubicBezTo>
                  <a:pt x="551" y="329"/>
                  <a:pt x="548" y="333"/>
                  <a:pt x="544" y="336"/>
                </a:cubicBezTo>
                <a:cubicBezTo>
                  <a:pt x="544" y="336"/>
                  <a:pt x="544" y="336"/>
                  <a:pt x="544" y="335"/>
                </a:cubicBezTo>
                <a:cubicBezTo>
                  <a:pt x="539" y="338"/>
                  <a:pt x="539" y="343"/>
                  <a:pt x="532" y="346"/>
                </a:cubicBezTo>
                <a:cubicBezTo>
                  <a:pt x="523" y="349"/>
                  <a:pt x="521" y="348"/>
                  <a:pt x="521" y="356"/>
                </a:cubicBezTo>
                <a:cubicBezTo>
                  <a:pt x="522" y="368"/>
                  <a:pt x="529" y="362"/>
                  <a:pt x="537" y="359"/>
                </a:cubicBezTo>
                <a:cubicBezTo>
                  <a:pt x="546" y="354"/>
                  <a:pt x="556" y="350"/>
                  <a:pt x="565" y="346"/>
                </a:cubicBezTo>
                <a:cubicBezTo>
                  <a:pt x="580" y="340"/>
                  <a:pt x="583" y="350"/>
                  <a:pt x="587" y="360"/>
                </a:cubicBezTo>
                <a:cubicBezTo>
                  <a:pt x="587" y="360"/>
                  <a:pt x="586" y="360"/>
                  <a:pt x="585" y="360"/>
                </a:cubicBezTo>
                <a:cubicBezTo>
                  <a:pt x="585" y="360"/>
                  <a:pt x="585" y="360"/>
                  <a:pt x="585" y="360"/>
                </a:cubicBezTo>
                <a:cubicBezTo>
                  <a:pt x="580" y="358"/>
                  <a:pt x="579" y="362"/>
                  <a:pt x="580" y="368"/>
                </a:cubicBezTo>
                <a:cubicBezTo>
                  <a:pt x="582" y="378"/>
                  <a:pt x="569" y="381"/>
                  <a:pt x="570" y="376"/>
                </a:cubicBezTo>
                <a:cubicBezTo>
                  <a:pt x="571" y="371"/>
                  <a:pt x="560" y="360"/>
                  <a:pt x="566" y="370"/>
                </a:cubicBezTo>
                <a:cubicBezTo>
                  <a:pt x="567" y="373"/>
                  <a:pt x="567" y="375"/>
                  <a:pt x="566" y="377"/>
                </a:cubicBezTo>
                <a:cubicBezTo>
                  <a:pt x="563" y="376"/>
                  <a:pt x="550" y="382"/>
                  <a:pt x="546" y="384"/>
                </a:cubicBezTo>
                <a:cubicBezTo>
                  <a:pt x="538" y="388"/>
                  <a:pt x="535" y="395"/>
                  <a:pt x="544" y="402"/>
                </a:cubicBezTo>
                <a:cubicBezTo>
                  <a:pt x="551" y="407"/>
                  <a:pt x="557" y="401"/>
                  <a:pt x="564" y="396"/>
                </a:cubicBezTo>
                <a:cubicBezTo>
                  <a:pt x="574" y="390"/>
                  <a:pt x="572" y="388"/>
                  <a:pt x="567" y="379"/>
                </a:cubicBezTo>
                <a:cubicBezTo>
                  <a:pt x="570" y="373"/>
                  <a:pt x="568" y="375"/>
                  <a:pt x="571" y="380"/>
                </a:cubicBezTo>
                <a:cubicBezTo>
                  <a:pt x="575" y="385"/>
                  <a:pt x="584" y="377"/>
                  <a:pt x="583" y="364"/>
                </a:cubicBezTo>
                <a:cubicBezTo>
                  <a:pt x="583" y="362"/>
                  <a:pt x="584" y="361"/>
                  <a:pt x="585" y="360"/>
                </a:cubicBezTo>
                <a:cubicBezTo>
                  <a:pt x="586" y="360"/>
                  <a:pt x="587" y="361"/>
                  <a:pt x="588" y="361"/>
                </a:cubicBezTo>
                <a:cubicBezTo>
                  <a:pt x="589" y="364"/>
                  <a:pt x="591" y="368"/>
                  <a:pt x="593" y="371"/>
                </a:cubicBezTo>
                <a:cubicBezTo>
                  <a:pt x="595" y="374"/>
                  <a:pt x="597" y="374"/>
                  <a:pt x="599" y="377"/>
                </a:cubicBezTo>
                <a:cubicBezTo>
                  <a:pt x="600" y="380"/>
                  <a:pt x="602" y="387"/>
                  <a:pt x="602" y="391"/>
                </a:cubicBezTo>
                <a:cubicBezTo>
                  <a:pt x="604" y="399"/>
                  <a:pt x="604" y="408"/>
                  <a:pt x="595" y="413"/>
                </a:cubicBezTo>
                <a:close/>
                <a:moveTo>
                  <a:pt x="629" y="579"/>
                </a:moveTo>
                <a:cubicBezTo>
                  <a:pt x="629" y="577"/>
                  <a:pt x="629" y="578"/>
                  <a:pt x="629" y="579"/>
                </a:cubicBezTo>
                <a:close/>
                <a:moveTo>
                  <a:pt x="643" y="374"/>
                </a:moveTo>
                <a:cubicBezTo>
                  <a:pt x="643" y="375"/>
                  <a:pt x="643" y="377"/>
                  <a:pt x="644" y="378"/>
                </a:cubicBezTo>
                <a:cubicBezTo>
                  <a:pt x="642" y="377"/>
                  <a:pt x="643" y="376"/>
                  <a:pt x="643" y="374"/>
                </a:cubicBezTo>
                <a:close/>
                <a:moveTo>
                  <a:pt x="670" y="565"/>
                </a:moveTo>
                <a:cubicBezTo>
                  <a:pt x="669" y="566"/>
                  <a:pt x="672" y="562"/>
                  <a:pt x="673" y="561"/>
                </a:cubicBezTo>
                <a:cubicBezTo>
                  <a:pt x="673" y="563"/>
                  <a:pt x="672" y="563"/>
                  <a:pt x="670" y="565"/>
                </a:cubicBezTo>
                <a:close/>
                <a:moveTo>
                  <a:pt x="673" y="385"/>
                </a:moveTo>
                <a:cubicBezTo>
                  <a:pt x="673" y="387"/>
                  <a:pt x="673" y="387"/>
                  <a:pt x="673" y="385"/>
                </a:cubicBezTo>
                <a:close/>
                <a:moveTo>
                  <a:pt x="685" y="644"/>
                </a:moveTo>
                <a:cubicBezTo>
                  <a:pt x="684" y="641"/>
                  <a:pt x="685" y="646"/>
                  <a:pt x="686" y="647"/>
                </a:cubicBezTo>
                <a:cubicBezTo>
                  <a:pt x="685" y="646"/>
                  <a:pt x="685" y="645"/>
                  <a:pt x="685" y="644"/>
                </a:cubicBezTo>
                <a:close/>
                <a:moveTo>
                  <a:pt x="690" y="539"/>
                </a:moveTo>
                <a:cubicBezTo>
                  <a:pt x="689" y="539"/>
                  <a:pt x="689" y="538"/>
                  <a:pt x="688" y="538"/>
                </a:cubicBezTo>
                <a:cubicBezTo>
                  <a:pt x="688" y="537"/>
                  <a:pt x="688" y="537"/>
                  <a:pt x="688" y="537"/>
                </a:cubicBezTo>
                <a:cubicBezTo>
                  <a:pt x="688" y="536"/>
                  <a:pt x="687" y="535"/>
                  <a:pt x="686" y="534"/>
                </a:cubicBezTo>
                <a:cubicBezTo>
                  <a:pt x="688" y="535"/>
                  <a:pt x="688" y="536"/>
                  <a:pt x="688" y="537"/>
                </a:cubicBezTo>
                <a:cubicBezTo>
                  <a:pt x="689" y="538"/>
                  <a:pt x="690" y="538"/>
                  <a:pt x="690" y="539"/>
                </a:cubicBezTo>
                <a:cubicBezTo>
                  <a:pt x="691" y="540"/>
                  <a:pt x="692" y="540"/>
                  <a:pt x="692" y="542"/>
                </a:cubicBezTo>
                <a:cubicBezTo>
                  <a:pt x="692" y="541"/>
                  <a:pt x="691" y="540"/>
                  <a:pt x="690" y="539"/>
                </a:cubicBezTo>
                <a:close/>
                <a:moveTo>
                  <a:pt x="702" y="404"/>
                </a:moveTo>
                <a:cubicBezTo>
                  <a:pt x="704" y="405"/>
                  <a:pt x="704" y="406"/>
                  <a:pt x="705" y="407"/>
                </a:cubicBezTo>
                <a:cubicBezTo>
                  <a:pt x="704" y="406"/>
                  <a:pt x="703" y="405"/>
                  <a:pt x="702" y="404"/>
                </a:cubicBezTo>
                <a:close/>
                <a:moveTo>
                  <a:pt x="732" y="423"/>
                </a:moveTo>
                <a:cubicBezTo>
                  <a:pt x="734" y="426"/>
                  <a:pt x="735" y="428"/>
                  <a:pt x="736" y="431"/>
                </a:cubicBezTo>
                <a:cubicBezTo>
                  <a:pt x="737" y="431"/>
                  <a:pt x="737" y="432"/>
                  <a:pt x="737" y="433"/>
                </a:cubicBezTo>
                <a:cubicBezTo>
                  <a:pt x="736" y="430"/>
                  <a:pt x="734" y="427"/>
                  <a:pt x="732" y="423"/>
                </a:cubicBezTo>
                <a:close/>
                <a:moveTo>
                  <a:pt x="742" y="598"/>
                </a:moveTo>
                <a:cubicBezTo>
                  <a:pt x="743" y="596"/>
                  <a:pt x="744" y="593"/>
                  <a:pt x="745" y="590"/>
                </a:cubicBezTo>
                <a:cubicBezTo>
                  <a:pt x="744" y="593"/>
                  <a:pt x="743" y="596"/>
                  <a:pt x="742" y="598"/>
                </a:cubicBezTo>
                <a:close/>
                <a:moveTo>
                  <a:pt x="752" y="440"/>
                </a:moveTo>
                <a:cubicBezTo>
                  <a:pt x="752" y="441"/>
                  <a:pt x="753" y="441"/>
                  <a:pt x="753" y="441"/>
                </a:cubicBezTo>
                <a:cubicBezTo>
                  <a:pt x="752" y="441"/>
                  <a:pt x="751" y="440"/>
                  <a:pt x="751" y="440"/>
                </a:cubicBezTo>
                <a:cubicBezTo>
                  <a:pt x="751" y="440"/>
                  <a:pt x="752" y="440"/>
                  <a:pt x="752" y="440"/>
                </a:cubicBezTo>
                <a:close/>
                <a:moveTo>
                  <a:pt x="754" y="692"/>
                </a:moveTo>
                <a:cubicBezTo>
                  <a:pt x="754" y="692"/>
                  <a:pt x="754" y="692"/>
                  <a:pt x="758" y="690"/>
                </a:cubicBezTo>
                <a:cubicBezTo>
                  <a:pt x="756" y="690"/>
                  <a:pt x="755" y="691"/>
                  <a:pt x="754" y="692"/>
                </a:cubicBezTo>
                <a:close/>
                <a:moveTo>
                  <a:pt x="771" y="696"/>
                </a:moveTo>
                <a:cubicBezTo>
                  <a:pt x="771" y="696"/>
                  <a:pt x="767" y="697"/>
                  <a:pt x="770" y="696"/>
                </a:cubicBezTo>
                <a:cubicBezTo>
                  <a:pt x="770" y="696"/>
                  <a:pt x="772" y="695"/>
                  <a:pt x="771" y="696"/>
                </a:cubicBezTo>
                <a:close/>
                <a:moveTo>
                  <a:pt x="794" y="681"/>
                </a:moveTo>
                <a:cubicBezTo>
                  <a:pt x="794" y="681"/>
                  <a:pt x="794" y="680"/>
                  <a:pt x="794" y="680"/>
                </a:cubicBezTo>
                <a:cubicBezTo>
                  <a:pt x="793" y="678"/>
                  <a:pt x="794" y="680"/>
                  <a:pt x="794" y="681"/>
                </a:cubicBezTo>
                <a:cubicBezTo>
                  <a:pt x="794" y="681"/>
                  <a:pt x="795" y="683"/>
                  <a:pt x="794" y="681"/>
                </a:cubicBezTo>
                <a:close/>
                <a:moveTo>
                  <a:pt x="825" y="701"/>
                </a:moveTo>
                <a:cubicBezTo>
                  <a:pt x="827" y="700"/>
                  <a:pt x="826" y="702"/>
                  <a:pt x="826" y="700"/>
                </a:cubicBezTo>
                <a:cubicBezTo>
                  <a:pt x="827" y="701"/>
                  <a:pt x="826" y="701"/>
                  <a:pt x="825" y="701"/>
                </a:cubicBezTo>
                <a:cubicBezTo>
                  <a:pt x="825" y="701"/>
                  <a:pt x="826" y="701"/>
                  <a:pt x="825" y="702"/>
                </a:cubicBezTo>
                <a:cubicBezTo>
                  <a:pt x="824" y="704"/>
                  <a:pt x="825" y="702"/>
                  <a:pt x="825" y="701"/>
                </a:cubicBezTo>
                <a:close/>
                <a:moveTo>
                  <a:pt x="815" y="718"/>
                </a:moveTo>
                <a:cubicBezTo>
                  <a:pt x="819" y="715"/>
                  <a:pt x="823" y="711"/>
                  <a:pt x="825" y="706"/>
                </a:cubicBezTo>
                <a:cubicBezTo>
                  <a:pt x="823" y="711"/>
                  <a:pt x="819" y="715"/>
                  <a:pt x="815" y="718"/>
                </a:cubicBezTo>
                <a:close/>
                <a:moveTo>
                  <a:pt x="820" y="732"/>
                </a:moveTo>
                <a:cubicBezTo>
                  <a:pt x="830" y="729"/>
                  <a:pt x="838" y="719"/>
                  <a:pt x="838" y="708"/>
                </a:cubicBezTo>
                <a:cubicBezTo>
                  <a:pt x="838" y="719"/>
                  <a:pt x="830" y="729"/>
                  <a:pt x="820" y="732"/>
                </a:cubicBezTo>
                <a:close/>
                <a:moveTo>
                  <a:pt x="880" y="750"/>
                </a:moveTo>
                <a:cubicBezTo>
                  <a:pt x="882" y="747"/>
                  <a:pt x="882" y="744"/>
                  <a:pt x="882" y="741"/>
                </a:cubicBezTo>
                <a:cubicBezTo>
                  <a:pt x="882" y="740"/>
                  <a:pt x="882" y="738"/>
                  <a:pt x="882" y="737"/>
                </a:cubicBezTo>
                <a:cubicBezTo>
                  <a:pt x="881" y="737"/>
                  <a:pt x="881" y="737"/>
                  <a:pt x="881" y="737"/>
                </a:cubicBezTo>
                <a:cubicBezTo>
                  <a:pt x="881" y="735"/>
                  <a:pt x="880" y="733"/>
                  <a:pt x="880" y="731"/>
                </a:cubicBezTo>
                <a:cubicBezTo>
                  <a:pt x="880" y="733"/>
                  <a:pt x="881" y="735"/>
                  <a:pt x="882" y="737"/>
                </a:cubicBezTo>
                <a:cubicBezTo>
                  <a:pt x="882" y="737"/>
                  <a:pt x="882" y="737"/>
                  <a:pt x="882" y="737"/>
                </a:cubicBezTo>
                <a:cubicBezTo>
                  <a:pt x="882" y="737"/>
                  <a:pt x="882" y="736"/>
                  <a:pt x="883" y="736"/>
                </a:cubicBezTo>
                <a:cubicBezTo>
                  <a:pt x="883" y="737"/>
                  <a:pt x="882" y="739"/>
                  <a:pt x="882" y="741"/>
                </a:cubicBezTo>
                <a:cubicBezTo>
                  <a:pt x="883" y="744"/>
                  <a:pt x="882" y="747"/>
                  <a:pt x="880" y="750"/>
                </a:cubicBezTo>
                <a:close/>
                <a:moveTo>
                  <a:pt x="900" y="786"/>
                </a:moveTo>
                <a:cubicBezTo>
                  <a:pt x="900" y="786"/>
                  <a:pt x="899" y="786"/>
                  <a:pt x="898" y="786"/>
                </a:cubicBezTo>
                <a:cubicBezTo>
                  <a:pt x="900" y="785"/>
                  <a:pt x="901" y="785"/>
                  <a:pt x="903" y="784"/>
                </a:cubicBezTo>
                <a:cubicBezTo>
                  <a:pt x="902" y="784"/>
                  <a:pt x="901" y="785"/>
                  <a:pt x="900" y="786"/>
                </a:cubicBezTo>
                <a:close/>
                <a:moveTo>
                  <a:pt x="910" y="778"/>
                </a:moveTo>
                <a:cubicBezTo>
                  <a:pt x="911" y="777"/>
                  <a:pt x="911" y="776"/>
                  <a:pt x="913" y="777"/>
                </a:cubicBezTo>
                <a:cubicBezTo>
                  <a:pt x="912" y="777"/>
                  <a:pt x="911" y="777"/>
                  <a:pt x="910" y="778"/>
                </a:cubicBezTo>
                <a:close/>
                <a:moveTo>
                  <a:pt x="911" y="761"/>
                </a:moveTo>
                <a:cubicBezTo>
                  <a:pt x="911" y="762"/>
                  <a:pt x="912" y="763"/>
                  <a:pt x="912" y="764"/>
                </a:cubicBezTo>
                <a:cubicBezTo>
                  <a:pt x="912" y="767"/>
                  <a:pt x="913" y="769"/>
                  <a:pt x="914" y="772"/>
                </a:cubicBezTo>
                <a:cubicBezTo>
                  <a:pt x="913" y="768"/>
                  <a:pt x="912" y="765"/>
                  <a:pt x="911" y="761"/>
                </a:cubicBezTo>
                <a:close/>
                <a:moveTo>
                  <a:pt x="940" y="801"/>
                </a:moveTo>
                <a:cubicBezTo>
                  <a:pt x="939" y="800"/>
                  <a:pt x="938" y="801"/>
                  <a:pt x="938" y="801"/>
                </a:cubicBezTo>
                <a:cubicBezTo>
                  <a:pt x="939" y="800"/>
                  <a:pt x="939" y="799"/>
                  <a:pt x="940" y="798"/>
                </a:cubicBezTo>
                <a:cubicBezTo>
                  <a:pt x="940" y="799"/>
                  <a:pt x="939" y="800"/>
                  <a:pt x="940" y="80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0AF812-269D-A849-8E22-250EBEFC59F8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8331287-10E9-7E43-81AB-BCA1E614E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3508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1">
            <a:extLst>
              <a:ext uri="{FF2B5EF4-FFF2-40B4-BE49-F238E27FC236}">
                <a16:creationId xmlns:a16="http://schemas.microsoft.com/office/drawing/2014/main" id="{47E91D20-EE2E-AC4A-8213-46B22B6024A1}"/>
              </a:ext>
            </a:extLst>
          </p:cNvPr>
          <p:cNvSpPr>
            <a:spLocks noGrp="1" noEditPoints="1"/>
          </p:cNvSpPr>
          <p:nvPr>
            <p:ph type="pic" sz="quarter" idx="39"/>
          </p:nvPr>
        </p:nvSpPr>
        <p:spPr bwMode="auto">
          <a:xfrm>
            <a:off x="0" y="1101387"/>
            <a:ext cx="12794238" cy="12594277"/>
          </a:xfrm>
          <a:custGeom>
            <a:avLst/>
            <a:gdLst>
              <a:gd name="T0" fmla="*/ 10218 w 21218"/>
              <a:gd name="T1" fmla="*/ 375 h 20656"/>
              <a:gd name="T2" fmla="*/ 8687 w 21218"/>
              <a:gd name="T3" fmla="*/ 17219 h 20656"/>
              <a:gd name="T4" fmla="*/ 10312 w 21218"/>
              <a:gd name="T5" fmla="*/ 13375 h 20656"/>
              <a:gd name="T6" fmla="*/ 14281 w 21218"/>
              <a:gd name="T7" fmla="*/ 13531 h 20656"/>
              <a:gd name="T8" fmla="*/ 15500 w 21218"/>
              <a:gd name="T9" fmla="*/ 4969 h 20656"/>
              <a:gd name="T10" fmla="*/ 13875 w 21218"/>
              <a:gd name="T11" fmla="*/ 812 h 20656"/>
              <a:gd name="T12" fmla="*/ 9343 w 21218"/>
              <a:gd name="T13" fmla="*/ 2406 h 20656"/>
              <a:gd name="T14" fmla="*/ 9250 w 21218"/>
              <a:gd name="T15" fmla="*/ 7375 h 20656"/>
              <a:gd name="T16" fmla="*/ 11937 w 21218"/>
              <a:gd name="T17" fmla="*/ 12937 h 20656"/>
              <a:gd name="T18" fmla="*/ 11906 w 21218"/>
              <a:gd name="T19" fmla="*/ 17500 h 20656"/>
              <a:gd name="T20" fmla="*/ 9281 w 21218"/>
              <a:gd name="T21" fmla="*/ 17906 h 20656"/>
              <a:gd name="T22" fmla="*/ 6281 w 21218"/>
              <a:gd name="T23" fmla="*/ 19812 h 20656"/>
              <a:gd name="T24" fmla="*/ 18781 w 21218"/>
              <a:gd name="T25" fmla="*/ 20594 h 20656"/>
              <a:gd name="T26" fmla="*/ 18000 w 21218"/>
              <a:gd name="T27" fmla="*/ 10687 h 20656"/>
              <a:gd name="T28" fmla="*/ 7812 w 21218"/>
              <a:gd name="T29" fmla="*/ 4406 h 20656"/>
              <a:gd name="T30" fmla="*/ 5718 w 21218"/>
              <a:gd name="T31" fmla="*/ 9844 h 20656"/>
              <a:gd name="T32" fmla="*/ 7093 w 21218"/>
              <a:gd name="T33" fmla="*/ 6437 h 20656"/>
              <a:gd name="T34" fmla="*/ 7125 w 21218"/>
              <a:gd name="T35" fmla="*/ 11531 h 20656"/>
              <a:gd name="T36" fmla="*/ 6781 w 21218"/>
              <a:gd name="T37" fmla="*/ 11219 h 20656"/>
              <a:gd name="T38" fmla="*/ 6625 w 21218"/>
              <a:gd name="T39" fmla="*/ 7656 h 20656"/>
              <a:gd name="T40" fmla="*/ 7687 w 21218"/>
              <a:gd name="T41" fmla="*/ 5812 h 20656"/>
              <a:gd name="T42" fmla="*/ 4062 w 21218"/>
              <a:gd name="T43" fmla="*/ 13094 h 20656"/>
              <a:gd name="T44" fmla="*/ 8812 w 21218"/>
              <a:gd name="T45" fmla="*/ 14250 h 20656"/>
              <a:gd name="T46" fmla="*/ 8906 w 21218"/>
              <a:gd name="T47" fmla="*/ 6844 h 20656"/>
              <a:gd name="T48" fmla="*/ 7718 w 21218"/>
              <a:gd name="T49" fmla="*/ 3406 h 20656"/>
              <a:gd name="T50" fmla="*/ 11968 w 21218"/>
              <a:gd name="T51" fmla="*/ 562 h 20656"/>
              <a:gd name="T52" fmla="*/ 11968 w 21218"/>
              <a:gd name="T53" fmla="*/ 13094 h 20656"/>
              <a:gd name="T54" fmla="*/ 8500 w 21218"/>
              <a:gd name="T55" fmla="*/ 19125 h 20656"/>
              <a:gd name="T56" fmla="*/ 16406 w 21218"/>
              <a:gd name="T57" fmla="*/ 16937 h 20656"/>
              <a:gd name="T58" fmla="*/ 16343 w 21218"/>
              <a:gd name="T59" fmla="*/ 12187 h 20656"/>
              <a:gd name="T60" fmla="*/ 15906 w 21218"/>
              <a:gd name="T61" fmla="*/ 6562 h 20656"/>
              <a:gd name="T62" fmla="*/ 15406 w 21218"/>
              <a:gd name="T63" fmla="*/ 10344 h 20656"/>
              <a:gd name="T64" fmla="*/ 15250 w 21218"/>
              <a:gd name="T65" fmla="*/ 15812 h 20656"/>
              <a:gd name="T66" fmla="*/ 14312 w 21218"/>
              <a:gd name="T67" fmla="*/ 18594 h 20656"/>
              <a:gd name="T68" fmla="*/ 16281 w 21218"/>
              <a:gd name="T69" fmla="*/ 19375 h 20656"/>
              <a:gd name="T70" fmla="*/ 5812 w 21218"/>
              <a:gd name="T71" fmla="*/ 19781 h 20656"/>
              <a:gd name="T72" fmla="*/ 10593 w 21218"/>
              <a:gd name="T73" fmla="*/ 11469 h 20656"/>
              <a:gd name="T74" fmla="*/ 11906 w 21218"/>
              <a:gd name="T75" fmla="*/ 20219 h 20656"/>
              <a:gd name="T76" fmla="*/ 13031 w 21218"/>
              <a:gd name="T77" fmla="*/ 7250 h 20656"/>
              <a:gd name="T78" fmla="*/ 15437 w 21218"/>
              <a:gd name="T79" fmla="*/ 8531 h 20656"/>
              <a:gd name="T80" fmla="*/ 9937 w 21218"/>
              <a:gd name="T81" fmla="*/ 10687 h 20656"/>
              <a:gd name="T82" fmla="*/ 13531 w 21218"/>
              <a:gd name="T83" fmla="*/ 11406 h 20656"/>
              <a:gd name="T84" fmla="*/ 9781 w 21218"/>
              <a:gd name="T85" fmla="*/ 7812 h 20656"/>
              <a:gd name="T86" fmla="*/ 10031 w 21218"/>
              <a:gd name="T87" fmla="*/ 9719 h 20656"/>
              <a:gd name="T88" fmla="*/ 14875 w 21218"/>
              <a:gd name="T89" fmla="*/ 2844 h 20656"/>
              <a:gd name="T90" fmla="*/ 10625 w 21218"/>
              <a:gd name="T91" fmla="*/ 8156 h 20656"/>
              <a:gd name="T92" fmla="*/ 11687 w 21218"/>
              <a:gd name="T93" fmla="*/ 10625 h 20656"/>
              <a:gd name="T94" fmla="*/ 10093 w 21218"/>
              <a:gd name="T95" fmla="*/ 7187 h 20656"/>
              <a:gd name="T96" fmla="*/ 14187 w 21218"/>
              <a:gd name="T97" fmla="*/ 1375 h 20656"/>
              <a:gd name="T98" fmla="*/ 14000 w 21218"/>
              <a:gd name="T99" fmla="*/ 2344 h 20656"/>
              <a:gd name="T100" fmla="*/ 13750 w 21218"/>
              <a:gd name="T101" fmla="*/ 5219 h 20656"/>
              <a:gd name="T102" fmla="*/ 11656 w 21218"/>
              <a:gd name="T103" fmla="*/ 18531 h 20656"/>
              <a:gd name="T104" fmla="*/ 9906 w 21218"/>
              <a:gd name="T105" fmla="*/ 17719 h 20656"/>
              <a:gd name="T106" fmla="*/ 11156 w 21218"/>
              <a:gd name="T107" fmla="*/ 14250 h 20656"/>
              <a:gd name="T108" fmla="*/ 2562 w 21218"/>
              <a:gd name="T109" fmla="*/ 16875 h 20656"/>
              <a:gd name="T110" fmla="*/ 5031 w 21218"/>
              <a:gd name="T111" fmla="*/ 18531 h 20656"/>
              <a:gd name="T112" fmla="*/ 11968 w 21218"/>
              <a:gd name="T113" fmla="*/ 19187 h 20656"/>
              <a:gd name="T114" fmla="*/ 5375 w 21218"/>
              <a:gd name="T115" fmla="*/ 19127 h 20656"/>
              <a:gd name="T116" fmla="*/ 3781 w 21218"/>
              <a:gd name="T117" fmla="*/ 17456 h 20656"/>
              <a:gd name="T118" fmla="*/ 10250 w 21218"/>
              <a:gd name="T119" fmla="*/ 19281 h 20656"/>
              <a:gd name="T120" fmla="*/ 9968 w 21218"/>
              <a:gd name="T121" fmla="*/ 18687 h 20656"/>
              <a:gd name="T122" fmla="*/ 3093 w 21218"/>
              <a:gd name="T123" fmla="*/ 18219 h 20656"/>
              <a:gd name="T124" fmla="*/ 125 w 21218"/>
              <a:gd name="T125" fmla="*/ 20062 h 20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218" h="20656">
                <a:moveTo>
                  <a:pt x="12656" y="469"/>
                </a:moveTo>
                <a:cubicBezTo>
                  <a:pt x="12656" y="469"/>
                  <a:pt x="12656" y="469"/>
                  <a:pt x="12656" y="469"/>
                </a:cubicBezTo>
                <a:cubicBezTo>
                  <a:pt x="12656" y="469"/>
                  <a:pt x="12656" y="469"/>
                  <a:pt x="12656" y="469"/>
                </a:cubicBezTo>
                <a:cubicBezTo>
                  <a:pt x="12625" y="469"/>
                  <a:pt x="12656" y="469"/>
                  <a:pt x="12656" y="500"/>
                </a:cubicBezTo>
                <a:cubicBezTo>
                  <a:pt x="12687" y="500"/>
                  <a:pt x="12687" y="531"/>
                  <a:pt x="12718" y="531"/>
                </a:cubicBezTo>
                <a:cubicBezTo>
                  <a:pt x="12750" y="500"/>
                  <a:pt x="12718" y="469"/>
                  <a:pt x="12656" y="469"/>
                </a:cubicBezTo>
                <a:close/>
                <a:moveTo>
                  <a:pt x="17718" y="20594"/>
                </a:moveTo>
                <a:cubicBezTo>
                  <a:pt x="17781" y="20594"/>
                  <a:pt x="17781" y="20594"/>
                  <a:pt x="17781" y="20594"/>
                </a:cubicBezTo>
                <a:cubicBezTo>
                  <a:pt x="17750" y="20562"/>
                  <a:pt x="17750" y="20562"/>
                  <a:pt x="17718" y="20594"/>
                </a:cubicBezTo>
                <a:close/>
                <a:moveTo>
                  <a:pt x="18062" y="20594"/>
                </a:moveTo>
                <a:cubicBezTo>
                  <a:pt x="18062" y="20594"/>
                  <a:pt x="18062" y="20594"/>
                  <a:pt x="18062" y="20594"/>
                </a:cubicBezTo>
                <a:cubicBezTo>
                  <a:pt x="18156" y="20594"/>
                  <a:pt x="18156" y="20594"/>
                  <a:pt x="18156" y="20594"/>
                </a:cubicBezTo>
                <a:cubicBezTo>
                  <a:pt x="18218" y="20594"/>
                  <a:pt x="18218" y="20594"/>
                  <a:pt x="18218" y="20594"/>
                </a:cubicBezTo>
                <a:cubicBezTo>
                  <a:pt x="18187" y="20562"/>
                  <a:pt x="18187" y="20531"/>
                  <a:pt x="18218" y="20531"/>
                </a:cubicBezTo>
                <a:cubicBezTo>
                  <a:pt x="18218" y="20531"/>
                  <a:pt x="18218" y="20531"/>
                  <a:pt x="18218" y="20531"/>
                </a:cubicBezTo>
                <a:cubicBezTo>
                  <a:pt x="18218" y="20500"/>
                  <a:pt x="18218" y="20500"/>
                  <a:pt x="18250" y="20500"/>
                </a:cubicBezTo>
                <a:cubicBezTo>
                  <a:pt x="18281" y="20500"/>
                  <a:pt x="18312" y="20500"/>
                  <a:pt x="18343" y="20531"/>
                </a:cubicBezTo>
                <a:cubicBezTo>
                  <a:pt x="18375" y="20531"/>
                  <a:pt x="18375" y="20562"/>
                  <a:pt x="18343" y="20562"/>
                </a:cubicBezTo>
                <a:cubicBezTo>
                  <a:pt x="18312" y="20562"/>
                  <a:pt x="18312" y="20594"/>
                  <a:pt x="18312" y="20594"/>
                </a:cubicBezTo>
                <a:cubicBezTo>
                  <a:pt x="18375" y="20594"/>
                  <a:pt x="18375" y="20594"/>
                  <a:pt x="18375" y="20594"/>
                </a:cubicBezTo>
                <a:cubicBezTo>
                  <a:pt x="18375" y="20562"/>
                  <a:pt x="18375" y="20562"/>
                  <a:pt x="18406" y="20531"/>
                </a:cubicBezTo>
                <a:cubicBezTo>
                  <a:pt x="18406" y="20531"/>
                  <a:pt x="18437" y="20531"/>
                  <a:pt x="18437" y="20531"/>
                </a:cubicBezTo>
                <a:cubicBezTo>
                  <a:pt x="18437" y="20562"/>
                  <a:pt x="18437" y="20562"/>
                  <a:pt x="18437" y="20594"/>
                </a:cubicBezTo>
                <a:cubicBezTo>
                  <a:pt x="18562" y="20594"/>
                  <a:pt x="18562" y="20594"/>
                  <a:pt x="18562" y="20594"/>
                </a:cubicBezTo>
                <a:cubicBezTo>
                  <a:pt x="18562" y="20562"/>
                  <a:pt x="18562" y="20531"/>
                  <a:pt x="18593" y="20500"/>
                </a:cubicBezTo>
                <a:cubicBezTo>
                  <a:pt x="18625" y="20500"/>
                  <a:pt x="18656" y="20531"/>
                  <a:pt x="18718" y="20531"/>
                </a:cubicBezTo>
                <a:cubicBezTo>
                  <a:pt x="18687" y="20531"/>
                  <a:pt x="18656" y="20562"/>
                  <a:pt x="18656" y="20594"/>
                </a:cubicBezTo>
                <a:cubicBezTo>
                  <a:pt x="18750" y="20594"/>
                  <a:pt x="18750" y="20594"/>
                  <a:pt x="18750" y="20594"/>
                </a:cubicBezTo>
                <a:cubicBezTo>
                  <a:pt x="18718" y="20594"/>
                  <a:pt x="18750" y="20562"/>
                  <a:pt x="18750" y="20562"/>
                </a:cubicBezTo>
                <a:cubicBezTo>
                  <a:pt x="18781" y="20531"/>
                  <a:pt x="18812" y="20531"/>
                  <a:pt x="18843" y="20531"/>
                </a:cubicBezTo>
                <a:cubicBezTo>
                  <a:pt x="18906" y="20531"/>
                  <a:pt x="18968" y="20562"/>
                  <a:pt x="19031" y="20500"/>
                </a:cubicBezTo>
                <a:cubicBezTo>
                  <a:pt x="19031" y="20469"/>
                  <a:pt x="19031" y="20500"/>
                  <a:pt x="19062" y="20500"/>
                </a:cubicBezTo>
                <a:cubicBezTo>
                  <a:pt x="19093" y="20531"/>
                  <a:pt x="19156" y="20531"/>
                  <a:pt x="19187" y="20531"/>
                </a:cubicBezTo>
                <a:cubicBezTo>
                  <a:pt x="19187" y="20562"/>
                  <a:pt x="19156" y="20562"/>
                  <a:pt x="19156" y="20562"/>
                </a:cubicBezTo>
                <a:cubicBezTo>
                  <a:pt x="19156" y="20594"/>
                  <a:pt x="19156" y="20594"/>
                  <a:pt x="19156" y="20594"/>
                </a:cubicBezTo>
                <a:cubicBezTo>
                  <a:pt x="21218" y="20594"/>
                  <a:pt x="21218" y="20594"/>
                  <a:pt x="21218" y="20594"/>
                </a:cubicBezTo>
                <a:cubicBezTo>
                  <a:pt x="21218" y="20562"/>
                  <a:pt x="21187" y="20531"/>
                  <a:pt x="21187" y="20469"/>
                </a:cubicBezTo>
                <a:cubicBezTo>
                  <a:pt x="21218" y="20469"/>
                  <a:pt x="21218" y="20437"/>
                  <a:pt x="21218" y="20406"/>
                </a:cubicBezTo>
                <a:lnTo>
                  <a:pt x="21218" y="20406"/>
                </a:lnTo>
                <a:cubicBezTo>
                  <a:pt x="21218" y="20406"/>
                  <a:pt x="21187" y="20375"/>
                  <a:pt x="21187" y="20375"/>
                </a:cubicBezTo>
                <a:cubicBezTo>
                  <a:pt x="21187" y="20375"/>
                  <a:pt x="21187" y="20344"/>
                  <a:pt x="21187" y="20344"/>
                </a:cubicBezTo>
                <a:cubicBezTo>
                  <a:pt x="21218" y="20312"/>
                  <a:pt x="21218" y="20312"/>
                  <a:pt x="21187" y="20281"/>
                </a:cubicBezTo>
                <a:cubicBezTo>
                  <a:pt x="21187" y="20281"/>
                  <a:pt x="21187" y="20250"/>
                  <a:pt x="21187" y="20219"/>
                </a:cubicBezTo>
                <a:cubicBezTo>
                  <a:pt x="21187" y="20219"/>
                  <a:pt x="21218" y="20219"/>
                  <a:pt x="21218" y="20219"/>
                </a:cubicBezTo>
                <a:cubicBezTo>
                  <a:pt x="21218" y="20219"/>
                  <a:pt x="21218" y="20219"/>
                  <a:pt x="21218" y="20219"/>
                </a:cubicBezTo>
                <a:cubicBezTo>
                  <a:pt x="21218" y="20219"/>
                  <a:pt x="21218" y="20219"/>
                  <a:pt x="21218" y="20187"/>
                </a:cubicBezTo>
                <a:cubicBezTo>
                  <a:pt x="21218" y="20187"/>
                  <a:pt x="21187" y="20187"/>
                  <a:pt x="21187" y="20156"/>
                </a:cubicBezTo>
                <a:cubicBezTo>
                  <a:pt x="21187" y="20156"/>
                  <a:pt x="21187" y="20156"/>
                  <a:pt x="21187" y="20125"/>
                </a:cubicBezTo>
                <a:cubicBezTo>
                  <a:pt x="21187" y="20125"/>
                  <a:pt x="21187" y="20125"/>
                  <a:pt x="21218" y="20125"/>
                </a:cubicBezTo>
                <a:cubicBezTo>
                  <a:pt x="21218" y="20062"/>
                  <a:pt x="21218" y="20031"/>
                  <a:pt x="21218" y="19969"/>
                </a:cubicBezTo>
                <a:cubicBezTo>
                  <a:pt x="21218" y="19969"/>
                  <a:pt x="21218" y="19937"/>
                  <a:pt x="21218" y="19906"/>
                </a:cubicBezTo>
                <a:cubicBezTo>
                  <a:pt x="21218" y="19906"/>
                  <a:pt x="21218" y="19875"/>
                  <a:pt x="21218" y="19875"/>
                </a:cubicBezTo>
                <a:cubicBezTo>
                  <a:pt x="21187" y="19844"/>
                  <a:pt x="21156" y="19844"/>
                  <a:pt x="21156" y="19844"/>
                </a:cubicBezTo>
                <a:cubicBezTo>
                  <a:pt x="21156" y="19812"/>
                  <a:pt x="21218" y="19812"/>
                  <a:pt x="21187" y="19781"/>
                </a:cubicBezTo>
                <a:cubicBezTo>
                  <a:pt x="21187" y="19750"/>
                  <a:pt x="21156" y="19750"/>
                  <a:pt x="21156" y="19750"/>
                </a:cubicBezTo>
                <a:cubicBezTo>
                  <a:pt x="21125" y="19750"/>
                  <a:pt x="21125" y="19750"/>
                  <a:pt x="21125" y="19750"/>
                </a:cubicBezTo>
                <a:cubicBezTo>
                  <a:pt x="21093" y="19750"/>
                  <a:pt x="21093" y="19719"/>
                  <a:pt x="21093" y="19719"/>
                </a:cubicBezTo>
                <a:cubicBezTo>
                  <a:pt x="21093" y="19719"/>
                  <a:pt x="21125" y="19719"/>
                  <a:pt x="21125" y="19719"/>
                </a:cubicBezTo>
                <a:cubicBezTo>
                  <a:pt x="21187" y="19719"/>
                  <a:pt x="21218" y="19719"/>
                  <a:pt x="21187" y="19625"/>
                </a:cubicBezTo>
                <a:cubicBezTo>
                  <a:pt x="21187" y="19594"/>
                  <a:pt x="21187" y="19562"/>
                  <a:pt x="21156" y="19562"/>
                </a:cubicBezTo>
                <a:cubicBezTo>
                  <a:pt x="21125" y="19562"/>
                  <a:pt x="21093" y="19562"/>
                  <a:pt x="21093" y="19531"/>
                </a:cubicBezTo>
                <a:cubicBezTo>
                  <a:pt x="21125" y="19500"/>
                  <a:pt x="21187" y="19562"/>
                  <a:pt x="21187" y="19500"/>
                </a:cubicBezTo>
                <a:cubicBezTo>
                  <a:pt x="21187" y="19469"/>
                  <a:pt x="21218" y="19375"/>
                  <a:pt x="21125" y="19375"/>
                </a:cubicBezTo>
                <a:cubicBezTo>
                  <a:pt x="21218" y="19344"/>
                  <a:pt x="21218" y="19344"/>
                  <a:pt x="21187" y="19312"/>
                </a:cubicBezTo>
                <a:cubicBezTo>
                  <a:pt x="21187" y="19281"/>
                  <a:pt x="21218" y="19281"/>
                  <a:pt x="21218" y="19250"/>
                </a:cubicBezTo>
                <a:cubicBezTo>
                  <a:pt x="21187" y="19250"/>
                  <a:pt x="21187" y="19281"/>
                  <a:pt x="21187" y="19281"/>
                </a:cubicBezTo>
                <a:cubicBezTo>
                  <a:pt x="21187" y="19281"/>
                  <a:pt x="21187" y="19250"/>
                  <a:pt x="21218" y="19250"/>
                </a:cubicBezTo>
                <a:cubicBezTo>
                  <a:pt x="21218" y="19250"/>
                  <a:pt x="21218" y="19219"/>
                  <a:pt x="21218" y="19187"/>
                </a:cubicBezTo>
                <a:cubicBezTo>
                  <a:pt x="21218" y="19187"/>
                  <a:pt x="21218" y="19156"/>
                  <a:pt x="21218" y="19156"/>
                </a:cubicBezTo>
                <a:cubicBezTo>
                  <a:pt x="21218" y="19156"/>
                  <a:pt x="21218" y="19156"/>
                  <a:pt x="21218" y="19156"/>
                </a:cubicBezTo>
                <a:cubicBezTo>
                  <a:pt x="21218" y="19125"/>
                  <a:pt x="21218" y="19125"/>
                  <a:pt x="21218" y="19125"/>
                </a:cubicBezTo>
                <a:cubicBezTo>
                  <a:pt x="21218" y="19125"/>
                  <a:pt x="21218" y="19125"/>
                  <a:pt x="21218" y="19094"/>
                </a:cubicBezTo>
                <a:cubicBezTo>
                  <a:pt x="21218" y="19094"/>
                  <a:pt x="21218" y="19062"/>
                  <a:pt x="21187" y="19031"/>
                </a:cubicBezTo>
                <a:cubicBezTo>
                  <a:pt x="21218" y="19000"/>
                  <a:pt x="21218" y="19000"/>
                  <a:pt x="21218" y="19000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69"/>
                  <a:pt x="21218" y="18969"/>
                </a:cubicBezTo>
                <a:cubicBezTo>
                  <a:pt x="21218" y="18969"/>
                  <a:pt x="21218" y="18937"/>
                  <a:pt x="21187" y="18937"/>
                </a:cubicBezTo>
                <a:cubicBezTo>
                  <a:pt x="21187" y="18906"/>
                  <a:pt x="21187" y="18844"/>
                  <a:pt x="21125" y="18844"/>
                </a:cubicBezTo>
                <a:cubicBezTo>
                  <a:pt x="21031" y="18812"/>
                  <a:pt x="20937" y="18750"/>
                  <a:pt x="20843" y="18719"/>
                </a:cubicBezTo>
                <a:cubicBezTo>
                  <a:pt x="20781" y="18687"/>
                  <a:pt x="20781" y="18656"/>
                  <a:pt x="20718" y="18656"/>
                </a:cubicBezTo>
                <a:cubicBezTo>
                  <a:pt x="20656" y="18656"/>
                  <a:pt x="20593" y="18594"/>
                  <a:pt x="20531" y="18562"/>
                </a:cubicBezTo>
                <a:cubicBezTo>
                  <a:pt x="20406" y="18500"/>
                  <a:pt x="20312" y="18437"/>
                  <a:pt x="20156" y="18406"/>
                </a:cubicBezTo>
                <a:cubicBezTo>
                  <a:pt x="20093" y="18375"/>
                  <a:pt x="20031" y="18281"/>
                  <a:pt x="19937" y="18281"/>
                </a:cubicBezTo>
                <a:cubicBezTo>
                  <a:pt x="19937" y="18281"/>
                  <a:pt x="19937" y="18250"/>
                  <a:pt x="19937" y="18250"/>
                </a:cubicBezTo>
                <a:cubicBezTo>
                  <a:pt x="19937" y="18187"/>
                  <a:pt x="19906" y="18187"/>
                  <a:pt x="19875" y="18156"/>
                </a:cubicBezTo>
                <a:cubicBezTo>
                  <a:pt x="19843" y="18156"/>
                  <a:pt x="19812" y="18156"/>
                  <a:pt x="19781" y="18125"/>
                </a:cubicBezTo>
                <a:cubicBezTo>
                  <a:pt x="19656" y="18062"/>
                  <a:pt x="19531" y="17937"/>
                  <a:pt x="19406" y="17906"/>
                </a:cubicBezTo>
                <a:cubicBezTo>
                  <a:pt x="19375" y="17906"/>
                  <a:pt x="19343" y="17875"/>
                  <a:pt x="19312" y="17844"/>
                </a:cubicBezTo>
                <a:cubicBezTo>
                  <a:pt x="19250" y="17844"/>
                  <a:pt x="19218" y="17844"/>
                  <a:pt x="19218" y="17750"/>
                </a:cubicBezTo>
                <a:cubicBezTo>
                  <a:pt x="19156" y="17812"/>
                  <a:pt x="19156" y="17812"/>
                  <a:pt x="19093" y="17781"/>
                </a:cubicBezTo>
                <a:cubicBezTo>
                  <a:pt x="19031" y="17719"/>
                  <a:pt x="18968" y="17687"/>
                  <a:pt x="18906" y="17656"/>
                </a:cubicBezTo>
                <a:cubicBezTo>
                  <a:pt x="18781" y="17562"/>
                  <a:pt x="18656" y="17500"/>
                  <a:pt x="18531" y="17406"/>
                </a:cubicBezTo>
                <a:cubicBezTo>
                  <a:pt x="18406" y="17344"/>
                  <a:pt x="18312" y="17281"/>
                  <a:pt x="18218" y="17156"/>
                </a:cubicBezTo>
                <a:cubicBezTo>
                  <a:pt x="18187" y="17125"/>
                  <a:pt x="18125" y="17094"/>
                  <a:pt x="18093" y="17062"/>
                </a:cubicBezTo>
                <a:cubicBezTo>
                  <a:pt x="18062" y="17000"/>
                  <a:pt x="17968" y="16969"/>
                  <a:pt x="17906" y="16875"/>
                </a:cubicBezTo>
                <a:cubicBezTo>
                  <a:pt x="17843" y="16875"/>
                  <a:pt x="17843" y="16812"/>
                  <a:pt x="17781" y="16812"/>
                </a:cubicBezTo>
                <a:cubicBezTo>
                  <a:pt x="17656" y="16750"/>
                  <a:pt x="17625" y="16625"/>
                  <a:pt x="17500" y="16594"/>
                </a:cubicBezTo>
                <a:cubicBezTo>
                  <a:pt x="17437" y="16531"/>
                  <a:pt x="17406" y="16437"/>
                  <a:pt x="17343" y="16375"/>
                </a:cubicBezTo>
                <a:cubicBezTo>
                  <a:pt x="17312" y="16312"/>
                  <a:pt x="17281" y="16281"/>
                  <a:pt x="17218" y="16281"/>
                </a:cubicBezTo>
                <a:cubicBezTo>
                  <a:pt x="17187" y="16219"/>
                  <a:pt x="17156" y="16187"/>
                  <a:pt x="17125" y="16125"/>
                </a:cubicBezTo>
                <a:cubicBezTo>
                  <a:pt x="17093" y="16094"/>
                  <a:pt x="17062" y="16156"/>
                  <a:pt x="17062" y="16125"/>
                </a:cubicBezTo>
                <a:cubicBezTo>
                  <a:pt x="17000" y="16000"/>
                  <a:pt x="16906" y="15969"/>
                  <a:pt x="16812" y="15875"/>
                </a:cubicBezTo>
                <a:cubicBezTo>
                  <a:pt x="16687" y="15750"/>
                  <a:pt x="16531" y="15594"/>
                  <a:pt x="16375" y="15469"/>
                </a:cubicBezTo>
                <a:cubicBezTo>
                  <a:pt x="16312" y="15375"/>
                  <a:pt x="16156" y="15344"/>
                  <a:pt x="16187" y="15156"/>
                </a:cubicBezTo>
                <a:cubicBezTo>
                  <a:pt x="16218" y="15156"/>
                  <a:pt x="16187" y="15156"/>
                  <a:pt x="16187" y="15156"/>
                </a:cubicBezTo>
                <a:cubicBezTo>
                  <a:pt x="16093" y="15094"/>
                  <a:pt x="16156" y="15094"/>
                  <a:pt x="16218" y="15062"/>
                </a:cubicBezTo>
                <a:cubicBezTo>
                  <a:pt x="16250" y="15062"/>
                  <a:pt x="16281" y="15062"/>
                  <a:pt x="16343" y="15062"/>
                </a:cubicBezTo>
                <a:cubicBezTo>
                  <a:pt x="16343" y="15094"/>
                  <a:pt x="16312" y="15156"/>
                  <a:pt x="16375" y="15187"/>
                </a:cubicBezTo>
                <a:cubicBezTo>
                  <a:pt x="16468" y="15250"/>
                  <a:pt x="16593" y="15312"/>
                  <a:pt x="16718" y="15250"/>
                </a:cubicBezTo>
                <a:cubicBezTo>
                  <a:pt x="16718" y="15250"/>
                  <a:pt x="16750" y="15250"/>
                  <a:pt x="16750" y="15281"/>
                </a:cubicBezTo>
                <a:cubicBezTo>
                  <a:pt x="16781" y="15281"/>
                  <a:pt x="16781" y="15281"/>
                  <a:pt x="16812" y="15281"/>
                </a:cubicBezTo>
                <a:cubicBezTo>
                  <a:pt x="16937" y="15281"/>
                  <a:pt x="17062" y="15219"/>
                  <a:pt x="17156" y="15125"/>
                </a:cubicBezTo>
                <a:cubicBezTo>
                  <a:pt x="17218" y="15062"/>
                  <a:pt x="17218" y="15000"/>
                  <a:pt x="17281" y="14937"/>
                </a:cubicBezTo>
                <a:cubicBezTo>
                  <a:pt x="17312" y="14937"/>
                  <a:pt x="17312" y="15000"/>
                  <a:pt x="17343" y="15000"/>
                </a:cubicBezTo>
                <a:cubicBezTo>
                  <a:pt x="17375" y="15000"/>
                  <a:pt x="17312" y="14937"/>
                  <a:pt x="17406" y="14969"/>
                </a:cubicBezTo>
                <a:cubicBezTo>
                  <a:pt x="17406" y="15094"/>
                  <a:pt x="17437" y="15250"/>
                  <a:pt x="17312" y="15375"/>
                </a:cubicBezTo>
                <a:cubicBezTo>
                  <a:pt x="17312" y="15406"/>
                  <a:pt x="17312" y="15406"/>
                  <a:pt x="17312" y="15437"/>
                </a:cubicBezTo>
                <a:cubicBezTo>
                  <a:pt x="17312" y="15406"/>
                  <a:pt x="17281" y="15437"/>
                  <a:pt x="17281" y="15437"/>
                </a:cubicBezTo>
                <a:cubicBezTo>
                  <a:pt x="17250" y="15562"/>
                  <a:pt x="17156" y="15562"/>
                  <a:pt x="17093" y="15625"/>
                </a:cubicBezTo>
                <a:cubicBezTo>
                  <a:pt x="17062" y="15625"/>
                  <a:pt x="17062" y="15656"/>
                  <a:pt x="17031" y="15687"/>
                </a:cubicBezTo>
                <a:cubicBezTo>
                  <a:pt x="17125" y="15687"/>
                  <a:pt x="17187" y="15656"/>
                  <a:pt x="17250" y="15594"/>
                </a:cubicBezTo>
                <a:cubicBezTo>
                  <a:pt x="17312" y="15562"/>
                  <a:pt x="17343" y="15500"/>
                  <a:pt x="17406" y="15469"/>
                </a:cubicBezTo>
                <a:cubicBezTo>
                  <a:pt x="17406" y="15437"/>
                  <a:pt x="17437" y="15406"/>
                  <a:pt x="17437" y="15344"/>
                </a:cubicBezTo>
                <a:cubicBezTo>
                  <a:pt x="17437" y="15344"/>
                  <a:pt x="17437" y="15344"/>
                  <a:pt x="17437" y="15344"/>
                </a:cubicBezTo>
                <a:cubicBezTo>
                  <a:pt x="17437" y="15312"/>
                  <a:pt x="17437" y="15312"/>
                  <a:pt x="17468" y="15312"/>
                </a:cubicBezTo>
                <a:cubicBezTo>
                  <a:pt x="17468" y="15312"/>
                  <a:pt x="17531" y="15344"/>
                  <a:pt x="17531" y="15281"/>
                </a:cubicBezTo>
                <a:cubicBezTo>
                  <a:pt x="17531" y="15281"/>
                  <a:pt x="17531" y="15250"/>
                  <a:pt x="17562" y="15250"/>
                </a:cubicBezTo>
                <a:cubicBezTo>
                  <a:pt x="17656" y="15281"/>
                  <a:pt x="17625" y="15219"/>
                  <a:pt x="17656" y="15187"/>
                </a:cubicBezTo>
                <a:cubicBezTo>
                  <a:pt x="17656" y="15125"/>
                  <a:pt x="17718" y="15094"/>
                  <a:pt x="17750" y="15062"/>
                </a:cubicBezTo>
                <a:cubicBezTo>
                  <a:pt x="17781" y="15031"/>
                  <a:pt x="17781" y="15031"/>
                  <a:pt x="17812" y="15031"/>
                </a:cubicBezTo>
                <a:cubicBezTo>
                  <a:pt x="17843" y="15062"/>
                  <a:pt x="17812" y="15062"/>
                  <a:pt x="17812" y="15094"/>
                </a:cubicBezTo>
                <a:cubicBezTo>
                  <a:pt x="17812" y="15094"/>
                  <a:pt x="17812" y="15125"/>
                  <a:pt x="17812" y="15125"/>
                </a:cubicBezTo>
                <a:cubicBezTo>
                  <a:pt x="17875" y="15062"/>
                  <a:pt x="17875" y="15000"/>
                  <a:pt x="17875" y="14937"/>
                </a:cubicBezTo>
                <a:cubicBezTo>
                  <a:pt x="17875" y="14906"/>
                  <a:pt x="17906" y="14875"/>
                  <a:pt x="17937" y="14844"/>
                </a:cubicBezTo>
                <a:cubicBezTo>
                  <a:pt x="17937" y="14844"/>
                  <a:pt x="17937" y="14844"/>
                  <a:pt x="17937" y="14844"/>
                </a:cubicBezTo>
                <a:cubicBezTo>
                  <a:pt x="17968" y="14875"/>
                  <a:pt x="17937" y="14906"/>
                  <a:pt x="17937" y="14937"/>
                </a:cubicBezTo>
                <a:cubicBezTo>
                  <a:pt x="17937" y="15031"/>
                  <a:pt x="17875" y="15125"/>
                  <a:pt x="17875" y="15219"/>
                </a:cubicBezTo>
                <a:cubicBezTo>
                  <a:pt x="17843" y="15219"/>
                  <a:pt x="17843" y="15219"/>
                  <a:pt x="17843" y="15219"/>
                </a:cubicBezTo>
                <a:cubicBezTo>
                  <a:pt x="17875" y="15250"/>
                  <a:pt x="17906" y="15250"/>
                  <a:pt x="17906" y="15219"/>
                </a:cubicBezTo>
                <a:cubicBezTo>
                  <a:pt x="17937" y="15187"/>
                  <a:pt x="17968" y="15156"/>
                  <a:pt x="18000" y="15125"/>
                </a:cubicBezTo>
                <a:cubicBezTo>
                  <a:pt x="18031" y="15094"/>
                  <a:pt x="18062" y="15094"/>
                  <a:pt x="18062" y="15062"/>
                </a:cubicBezTo>
                <a:cubicBezTo>
                  <a:pt x="18062" y="15062"/>
                  <a:pt x="18062" y="15062"/>
                  <a:pt x="18062" y="15062"/>
                </a:cubicBezTo>
                <a:cubicBezTo>
                  <a:pt x="18062" y="15031"/>
                  <a:pt x="18093" y="15000"/>
                  <a:pt x="18093" y="14969"/>
                </a:cubicBezTo>
                <a:cubicBezTo>
                  <a:pt x="18156" y="15000"/>
                  <a:pt x="18156" y="14969"/>
                  <a:pt x="18156" y="14906"/>
                </a:cubicBezTo>
                <a:cubicBezTo>
                  <a:pt x="18156" y="14875"/>
                  <a:pt x="18187" y="14844"/>
                  <a:pt x="18187" y="14812"/>
                </a:cubicBezTo>
                <a:cubicBezTo>
                  <a:pt x="18187" y="14781"/>
                  <a:pt x="18156" y="14750"/>
                  <a:pt x="18187" y="14750"/>
                </a:cubicBezTo>
                <a:cubicBezTo>
                  <a:pt x="18218" y="14719"/>
                  <a:pt x="18218" y="14781"/>
                  <a:pt x="18250" y="14781"/>
                </a:cubicBezTo>
                <a:cubicBezTo>
                  <a:pt x="18250" y="14781"/>
                  <a:pt x="18250" y="14750"/>
                  <a:pt x="18250" y="14719"/>
                </a:cubicBezTo>
                <a:cubicBezTo>
                  <a:pt x="18281" y="14750"/>
                  <a:pt x="18250" y="14781"/>
                  <a:pt x="18250" y="14812"/>
                </a:cubicBezTo>
                <a:cubicBezTo>
                  <a:pt x="18250" y="14812"/>
                  <a:pt x="18218" y="14812"/>
                  <a:pt x="18218" y="14844"/>
                </a:cubicBezTo>
                <a:cubicBezTo>
                  <a:pt x="18218" y="14875"/>
                  <a:pt x="18218" y="14937"/>
                  <a:pt x="18187" y="14969"/>
                </a:cubicBezTo>
                <a:cubicBezTo>
                  <a:pt x="18187" y="15000"/>
                  <a:pt x="18187" y="15000"/>
                  <a:pt x="18187" y="15000"/>
                </a:cubicBezTo>
                <a:cubicBezTo>
                  <a:pt x="18187" y="15000"/>
                  <a:pt x="18187" y="15000"/>
                  <a:pt x="18187" y="14969"/>
                </a:cubicBezTo>
                <a:cubicBezTo>
                  <a:pt x="18250" y="14937"/>
                  <a:pt x="18218" y="14875"/>
                  <a:pt x="18250" y="14812"/>
                </a:cubicBezTo>
                <a:cubicBezTo>
                  <a:pt x="18312" y="14875"/>
                  <a:pt x="18250" y="14906"/>
                  <a:pt x="18250" y="14969"/>
                </a:cubicBezTo>
                <a:cubicBezTo>
                  <a:pt x="18250" y="15000"/>
                  <a:pt x="18250" y="15031"/>
                  <a:pt x="18250" y="15062"/>
                </a:cubicBezTo>
                <a:cubicBezTo>
                  <a:pt x="18218" y="15094"/>
                  <a:pt x="18218" y="15125"/>
                  <a:pt x="18187" y="15125"/>
                </a:cubicBezTo>
                <a:cubicBezTo>
                  <a:pt x="18156" y="15094"/>
                  <a:pt x="18187" y="15094"/>
                  <a:pt x="18187" y="15062"/>
                </a:cubicBezTo>
                <a:cubicBezTo>
                  <a:pt x="18187" y="15062"/>
                  <a:pt x="18156" y="15062"/>
                  <a:pt x="18156" y="15031"/>
                </a:cubicBezTo>
                <a:cubicBezTo>
                  <a:pt x="18156" y="15000"/>
                  <a:pt x="18187" y="15000"/>
                  <a:pt x="18187" y="15000"/>
                </a:cubicBezTo>
                <a:cubicBezTo>
                  <a:pt x="18187" y="15031"/>
                  <a:pt x="18187" y="15031"/>
                  <a:pt x="18187" y="15062"/>
                </a:cubicBezTo>
                <a:cubicBezTo>
                  <a:pt x="18218" y="15062"/>
                  <a:pt x="18218" y="15062"/>
                  <a:pt x="18250" y="15062"/>
                </a:cubicBezTo>
                <a:cubicBezTo>
                  <a:pt x="18281" y="15031"/>
                  <a:pt x="18281" y="15000"/>
                  <a:pt x="18281" y="14969"/>
                </a:cubicBezTo>
                <a:cubicBezTo>
                  <a:pt x="18312" y="14875"/>
                  <a:pt x="18312" y="14781"/>
                  <a:pt x="18312" y="14687"/>
                </a:cubicBezTo>
                <a:cubicBezTo>
                  <a:pt x="18312" y="14687"/>
                  <a:pt x="18312" y="14656"/>
                  <a:pt x="18312" y="14656"/>
                </a:cubicBezTo>
                <a:cubicBezTo>
                  <a:pt x="18312" y="14656"/>
                  <a:pt x="18312" y="14625"/>
                  <a:pt x="18312" y="14625"/>
                </a:cubicBezTo>
                <a:cubicBezTo>
                  <a:pt x="18312" y="14562"/>
                  <a:pt x="18312" y="14500"/>
                  <a:pt x="18343" y="14437"/>
                </a:cubicBezTo>
                <a:cubicBezTo>
                  <a:pt x="18375" y="14375"/>
                  <a:pt x="18406" y="14344"/>
                  <a:pt x="18437" y="14281"/>
                </a:cubicBezTo>
                <a:cubicBezTo>
                  <a:pt x="18437" y="14281"/>
                  <a:pt x="18437" y="14281"/>
                  <a:pt x="18437" y="14281"/>
                </a:cubicBezTo>
                <a:cubicBezTo>
                  <a:pt x="18468" y="14250"/>
                  <a:pt x="18468" y="14219"/>
                  <a:pt x="18500" y="14187"/>
                </a:cubicBezTo>
                <a:cubicBezTo>
                  <a:pt x="18531" y="14156"/>
                  <a:pt x="18531" y="14094"/>
                  <a:pt x="18562" y="14125"/>
                </a:cubicBezTo>
                <a:cubicBezTo>
                  <a:pt x="18593" y="14125"/>
                  <a:pt x="18593" y="14156"/>
                  <a:pt x="18593" y="14187"/>
                </a:cubicBezTo>
                <a:cubicBezTo>
                  <a:pt x="18593" y="14187"/>
                  <a:pt x="18562" y="14187"/>
                  <a:pt x="18562" y="14219"/>
                </a:cubicBezTo>
                <a:cubicBezTo>
                  <a:pt x="18562" y="14344"/>
                  <a:pt x="18500" y="14469"/>
                  <a:pt x="18375" y="14562"/>
                </a:cubicBezTo>
                <a:cubicBezTo>
                  <a:pt x="18375" y="14594"/>
                  <a:pt x="18343" y="14594"/>
                  <a:pt x="18343" y="14625"/>
                </a:cubicBezTo>
                <a:cubicBezTo>
                  <a:pt x="18437" y="14594"/>
                  <a:pt x="18437" y="14531"/>
                  <a:pt x="18531" y="14500"/>
                </a:cubicBezTo>
                <a:cubicBezTo>
                  <a:pt x="18500" y="14562"/>
                  <a:pt x="18500" y="14562"/>
                  <a:pt x="18531" y="14594"/>
                </a:cubicBezTo>
                <a:cubicBezTo>
                  <a:pt x="18531" y="14500"/>
                  <a:pt x="18625" y="14469"/>
                  <a:pt x="18625" y="14375"/>
                </a:cubicBezTo>
                <a:cubicBezTo>
                  <a:pt x="18656" y="14500"/>
                  <a:pt x="18593" y="14562"/>
                  <a:pt x="18531" y="14594"/>
                </a:cubicBezTo>
                <a:cubicBezTo>
                  <a:pt x="18531" y="14625"/>
                  <a:pt x="18531" y="14625"/>
                  <a:pt x="18500" y="14656"/>
                </a:cubicBezTo>
                <a:cubicBezTo>
                  <a:pt x="18468" y="14656"/>
                  <a:pt x="18468" y="14687"/>
                  <a:pt x="18468" y="14719"/>
                </a:cubicBezTo>
                <a:cubicBezTo>
                  <a:pt x="18500" y="14750"/>
                  <a:pt x="18531" y="14719"/>
                  <a:pt x="18562" y="14719"/>
                </a:cubicBezTo>
                <a:cubicBezTo>
                  <a:pt x="18593" y="14656"/>
                  <a:pt x="18656" y="14594"/>
                  <a:pt x="18718" y="14562"/>
                </a:cubicBezTo>
                <a:cubicBezTo>
                  <a:pt x="18687" y="14531"/>
                  <a:pt x="18687" y="14531"/>
                  <a:pt x="18687" y="14531"/>
                </a:cubicBezTo>
                <a:cubicBezTo>
                  <a:pt x="18687" y="14531"/>
                  <a:pt x="18687" y="14531"/>
                  <a:pt x="18718" y="14562"/>
                </a:cubicBezTo>
                <a:cubicBezTo>
                  <a:pt x="18718" y="14531"/>
                  <a:pt x="18718" y="14531"/>
                  <a:pt x="18718" y="14531"/>
                </a:cubicBezTo>
                <a:cubicBezTo>
                  <a:pt x="18750" y="14531"/>
                  <a:pt x="18750" y="14500"/>
                  <a:pt x="18750" y="14469"/>
                </a:cubicBezTo>
                <a:cubicBezTo>
                  <a:pt x="18750" y="14469"/>
                  <a:pt x="18750" y="14469"/>
                  <a:pt x="18750" y="14469"/>
                </a:cubicBezTo>
                <a:cubicBezTo>
                  <a:pt x="18843" y="14437"/>
                  <a:pt x="18843" y="14344"/>
                  <a:pt x="18875" y="14281"/>
                </a:cubicBezTo>
                <a:cubicBezTo>
                  <a:pt x="18906" y="14250"/>
                  <a:pt x="18843" y="14219"/>
                  <a:pt x="18843" y="14187"/>
                </a:cubicBezTo>
                <a:cubicBezTo>
                  <a:pt x="18812" y="14250"/>
                  <a:pt x="18781" y="14312"/>
                  <a:pt x="18750" y="14375"/>
                </a:cubicBezTo>
                <a:cubicBezTo>
                  <a:pt x="18750" y="14406"/>
                  <a:pt x="18750" y="14437"/>
                  <a:pt x="18718" y="14437"/>
                </a:cubicBezTo>
                <a:cubicBezTo>
                  <a:pt x="18718" y="14406"/>
                  <a:pt x="18718" y="14375"/>
                  <a:pt x="18718" y="14344"/>
                </a:cubicBezTo>
                <a:cubicBezTo>
                  <a:pt x="18750" y="14250"/>
                  <a:pt x="18812" y="14187"/>
                  <a:pt x="18812" y="14094"/>
                </a:cubicBezTo>
                <a:cubicBezTo>
                  <a:pt x="18843" y="14062"/>
                  <a:pt x="18843" y="13969"/>
                  <a:pt x="18906" y="13937"/>
                </a:cubicBezTo>
                <a:cubicBezTo>
                  <a:pt x="18906" y="14000"/>
                  <a:pt x="18843" y="14062"/>
                  <a:pt x="18843" y="14156"/>
                </a:cubicBezTo>
                <a:cubicBezTo>
                  <a:pt x="18875" y="14094"/>
                  <a:pt x="18906" y="14125"/>
                  <a:pt x="18937" y="14156"/>
                </a:cubicBezTo>
                <a:cubicBezTo>
                  <a:pt x="18937" y="14125"/>
                  <a:pt x="18968" y="14094"/>
                  <a:pt x="18968" y="14094"/>
                </a:cubicBezTo>
                <a:cubicBezTo>
                  <a:pt x="18968" y="14062"/>
                  <a:pt x="18968" y="14062"/>
                  <a:pt x="18968" y="14062"/>
                </a:cubicBezTo>
                <a:cubicBezTo>
                  <a:pt x="18906" y="14031"/>
                  <a:pt x="18906" y="14031"/>
                  <a:pt x="18906" y="14000"/>
                </a:cubicBezTo>
                <a:cubicBezTo>
                  <a:pt x="18968" y="13875"/>
                  <a:pt x="18937" y="13750"/>
                  <a:pt x="18937" y="13625"/>
                </a:cubicBezTo>
                <a:cubicBezTo>
                  <a:pt x="18937" y="13562"/>
                  <a:pt x="19000" y="13562"/>
                  <a:pt x="19062" y="13562"/>
                </a:cubicBezTo>
                <a:cubicBezTo>
                  <a:pt x="19031" y="13469"/>
                  <a:pt x="19031" y="13437"/>
                  <a:pt x="18968" y="13344"/>
                </a:cubicBezTo>
                <a:cubicBezTo>
                  <a:pt x="18937" y="13312"/>
                  <a:pt x="18937" y="13281"/>
                  <a:pt x="18906" y="13250"/>
                </a:cubicBezTo>
                <a:cubicBezTo>
                  <a:pt x="18906" y="13250"/>
                  <a:pt x="18906" y="13250"/>
                  <a:pt x="18906" y="13250"/>
                </a:cubicBezTo>
                <a:cubicBezTo>
                  <a:pt x="18812" y="13094"/>
                  <a:pt x="18781" y="12937"/>
                  <a:pt x="18812" y="12781"/>
                </a:cubicBezTo>
                <a:cubicBezTo>
                  <a:pt x="18843" y="12781"/>
                  <a:pt x="18843" y="12812"/>
                  <a:pt x="18843" y="12844"/>
                </a:cubicBezTo>
                <a:cubicBezTo>
                  <a:pt x="18843" y="12906"/>
                  <a:pt x="18812" y="12937"/>
                  <a:pt x="18875" y="12969"/>
                </a:cubicBezTo>
                <a:cubicBezTo>
                  <a:pt x="18875" y="12906"/>
                  <a:pt x="18875" y="12812"/>
                  <a:pt x="18875" y="12750"/>
                </a:cubicBezTo>
                <a:cubicBezTo>
                  <a:pt x="18875" y="12719"/>
                  <a:pt x="18875" y="12656"/>
                  <a:pt x="18875" y="12625"/>
                </a:cubicBezTo>
                <a:cubicBezTo>
                  <a:pt x="18906" y="12594"/>
                  <a:pt x="18937" y="12656"/>
                  <a:pt x="18937" y="12625"/>
                </a:cubicBezTo>
                <a:cubicBezTo>
                  <a:pt x="18937" y="12594"/>
                  <a:pt x="18968" y="12562"/>
                  <a:pt x="18937" y="12531"/>
                </a:cubicBezTo>
                <a:cubicBezTo>
                  <a:pt x="18906" y="12500"/>
                  <a:pt x="18906" y="12500"/>
                  <a:pt x="18906" y="12469"/>
                </a:cubicBezTo>
                <a:cubicBezTo>
                  <a:pt x="18906" y="12437"/>
                  <a:pt x="18906" y="12375"/>
                  <a:pt x="18937" y="12344"/>
                </a:cubicBezTo>
                <a:cubicBezTo>
                  <a:pt x="18937" y="12281"/>
                  <a:pt x="18968" y="12250"/>
                  <a:pt x="18906" y="12250"/>
                </a:cubicBezTo>
                <a:cubicBezTo>
                  <a:pt x="18906" y="12125"/>
                  <a:pt x="18968" y="12031"/>
                  <a:pt x="19000" y="11937"/>
                </a:cubicBezTo>
                <a:cubicBezTo>
                  <a:pt x="19000" y="11969"/>
                  <a:pt x="19000" y="12000"/>
                  <a:pt x="19000" y="12031"/>
                </a:cubicBezTo>
                <a:cubicBezTo>
                  <a:pt x="19000" y="12094"/>
                  <a:pt x="19000" y="12156"/>
                  <a:pt x="19031" y="12219"/>
                </a:cubicBezTo>
                <a:cubicBezTo>
                  <a:pt x="19031" y="12281"/>
                  <a:pt x="19031" y="12375"/>
                  <a:pt x="19093" y="12437"/>
                </a:cubicBezTo>
                <a:cubicBezTo>
                  <a:pt x="19093" y="12344"/>
                  <a:pt x="19062" y="12250"/>
                  <a:pt x="19031" y="12187"/>
                </a:cubicBezTo>
                <a:cubicBezTo>
                  <a:pt x="19031" y="12125"/>
                  <a:pt x="19031" y="12031"/>
                  <a:pt x="19062" y="11969"/>
                </a:cubicBezTo>
                <a:cubicBezTo>
                  <a:pt x="19062" y="12000"/>
                  <a:pt x="19031" y="12031"/>
                  <a:pt x="19093" y="12062"/>
                </a:cubicBezTo>
                <a:cubicBezTo>
                  <a:pt x="19093" y="12312"/>
                  <a:pt x="19125" y="12437"/>
                  <a:pt x="19187" y="12500"/>
                </a:cubicBezTo>
                <a:cubicBezTo>
                  <a:pt x="19187" y="12500"/>
                  <a:pt x="19187" y="12500"/>
                  <a:pt x="19187" y="12500"/>
                </a:cubicBezTo>
                <a:cubicBezTo>
                  <a:pt x="19187" y="12469"/>
                  <a:pt x="19156" y="12406"/>
                  <a:pt x="19187" y="12375"/>
                </a:cubicBezTo>
                <a:cubicBezTo>
                  <a:pt x="19218" y="12344"/>
                  <a:pt x="19218" y="12437"/>
                  <a:pt x="19250" y="12437"/>
                </a:cubicBezTo>
                <a:cubicBezTo>
                  <a:pt x="19281" y="12469"/>
                  <a:pt x="19281" y="12469"/>
                  <a:pt x="19312" y="12437"/>
                </a:cubicBezTo>
                <a:cubicBezTo>
                  <a:pt x="19343" y="12437"/>
                  <a:pt x="19281" y="12406"/>
                  <a:pt x="19281" y="12406"/>
                </a:cubicBezTo>
                <a:cubicBezTo>
                  <a:pt x="19250" y="12344"/>
                  <a:pt x="19218" y="12250"/>
                  <a:pt x="19218" y="12156"/>
                </a:cubicBezTo>
                <a:cubicBezTo>
                  <a:pt x="19218" y="12062"/>
                  <a:pt x="19281" y="11969"/>
                  <a:pt x="19281" y="11875"/>
                </a:cubicBezTo>
                <a:cubicBezTo>
                  <a:pt x="19312" y="11844"/>
                  <a:pt x="19312" y="11781"/>
                  <a:pt x="19312" y="11719"/>
                </a:cubicBezTo>
                <a:cubicBezTo>
                  <a:pt x="19312" y="11719"/>
                  <a:pt x="19312" y="11719"/>
                  <a:pt x="19312" y="11719"/>
                </a:cubicBezTo>
                <a:cubicBezTo>
                  <a:pt x="19312" y="11719"/>
                  <a:pt x="19312" y="11719"/>
                  <a:pt x="19312" y="11719"/>
                </a:cubicBezTo>
                <a:cubicBezTo>
                  <a:pt x="19406" y="11687"/>
                  <a:pt x="19343" y="11781"/>
                  <a:pt x="19375" y="11812"/>
                </a:cubicBezTo>
                <a:cubicBezTo>
                  <a:pt x="19406" y="11656"/>
                  <a:pt x="19437" y="11531"/>
                  <a:pt x="19468" y="11375"/>
                </a:cubicBezTo>
                <a:cubicBezTo>
                  <a:pt x="19468" y="11312"/>
                  <a:pt x="19500" y="11250"/>
                  <a:pt x="19468" y="11156"/>
                </a:cubicBezTo>
                <a:cubicBezTo>
                  <a:pt x="19437" y="11156"/>
                  <a:pt x="19437" y="11125"/>
                  <a:pt x="19468" y="11094"/>
                </a:cubicBezTo>
                <a:cubicBezTo>
                  <a:pt x="19500" y="11094"/>
                  <a:pt x="19500" y="11062"/>
                  <a:pt x="19531" y="11031"/>
                </a:cubicBezTo>
                <a:cubicBezTo>
                  <a:pt x="19531" y="11000"/>
                  <a:pt x="19531" y="11000"/>
                  <a:pt x="19531" y="10969"/>
                </a:cubicBezTo>
                <a:cubicBezTo>
                  <a:pt x="19531" y="10969"/>
                  <a:pt x="19531" y="10969"/>
                  <a:pt x="19531" y="10969"/>
                </a:cubicBezTo>
                <a:cubicBezTo>
                  <a:pt x="19531" y="10937"/>
                  <a:pt x="19531" y="10906"/>
                  <a:pt x="19531" y="10875"/>
                </a:cubicBezTo>
                <a:cubicBezTo>
                  <a:pt x="19531" y="10781"/>
                  <a:pt x="19531" y="10656"/>
                  <a:pt x="19531" y="10531"/>
                </a:cubicBezTo>
                <a:cubicBezTo>
                  <a:pt x="19562" y="10344"/>
                  <a:pt x="19531" y="10125"/>
                  <a:pt x="19437" y="9937"/>
                </a:cubicBezTo>
                <a:cubicBezTo>
                  <a:pt x="19406" y="9906"/>
                  <a:pt x="19375" y="9844"/>
                  <a:pt x="19375" y="9781"/>
                </a:cubicBezTo>
                <a:cubicBezTo>
                  <a:pt x="19343" y="9656"/>
                  <a:pt x="19281" y="9531"/>
                  <a:pt x="19218" y="9437"/>
                </a:cubicBezTo>
                <a:cubicBezTo>
                  <a:pt x="19156" y="9281"/>
                  <a:pt x="19031" y="9156"/>
                  <a:pt x="18906" y="9000"/>
                </a:cubicBezTo>
                <a:cubicBezTo>
                  <a:pt x="18906" y="8969"/>
                  <a:pt x="18906" y="8937"/>
                  <a:pt x="18843" y="8906"/>
                </a:cubicBezTo>
                <a:cubicBezTo>
                  <a:pt x="18812" y="8844"/>
                  <a:pt x="18750" y="8812"/>
                  <a:pt x="18718" y="8750"/>
                </a:cubicBezTo>
                <a:cubicBezTo>
                  <a:pt x="18687" y="8687"/>
                  <a:pt x="18625" y="8625"/>
                  <a:pt x="18593" y="8562"/>
                </a:cubicBezTo>
                <a:cubicBezTo>
                  <a:pt x="18562" y="8500"/>
                  <a:pt x="18531" y="8437"/>
                  <a:pt x="18500" y="8406"/>
                </a:cubicBezTo>
                <a:cubicBezTo>
                  <a:pt x="18500" y="8406"/>
                  <a:pt x="18468" y="8437"/>
                  <a:pt x="18468" y="8437"/>
                </a:cubicBezTo>
                <a:cubicBezTo>
                  <a:pt x="18468" y="8437"/>
                  <a:pt x="18500" y="8406"/>
                  <a:pt x="18500" y="8406"/>
                </a:cubicBezTo>
                <a:cubicBezTo>
                  <a:pt x="18500" y="8406"/>
                  <a:pt x="18500" y="8406"/>
                  <a:pt x="18500" y="8406"/>
                </a:cubicBezTo>
                <a:cubicBezTo>
                  <a:pt x="18500" y="8375"/>
                  <a:pt x="18500" y="8375"/>
                  <a:pt x="18468" y="8344"/>
                </a:cubicBezTo>
                <a:cubicBezTo>
                  <a:pt x="18468" y="8344"/>
                  <a:pt x="18468" y="8344"/>
                  <a:pt x="18468" y="8344"/>
                </a:cubicBezTo>
                <a:cubicBezTo>
                  <a:pt x="18468" y="8312"/>
                  <a:pt x="18468" y="8312"/>
                  <a:pt x="18437" y="8312"/>
                </a:cubicBezTo>
                <a:cubicBezTo>
                  <a:pt x="18437" y="8312"/>
                  <a:pt x="18437" y="8312"/>
                  <a:pt x="18437" y="8312"/>
                </a:cubicBezTo>
                <a:cubicBezTo>
                  <a:pt x="18437" y="8312"/>
                  <a:pt x="18437" y="8281"/>
                  <a:pt x="18406" y="8281"/>
                </a:cubicBezTo>
                <a:cubicBezTo>
                  <a:pt x="18437" y="8250"/>
                  <a:pt x="18375" y="8219"/>
                  <a:pt x="18375" y="8187"/>
                </a:cubicBezTo>
                <a:cubicBezTo>
                  <a:pt x="18343" y="8094"/>
                  <a:pt x="18281" y="7969"/>
                  <a:pt x="18250" y="7875"/>
                </a:cubicBezTo>
                <a:cubicBezTo>
                  <a:pt x="18250" y="7875"/>
                  <a:pt x="18250" y="7875"/>
                  <a:pt x="18250" y="7875"/>
                </a:cubicBezTo>
                <a:cubicBezTo>
                  <a:pt x="18250" y="7875"/>
                  <a:pt x="18250" y="7875"/>
                  <a:pt x="18250" y="7875"/>
                </a:cubicBezTo>
                <a:cubicBezTo>
                  <a:pt x="18250" y="7844"/>
                  <a:pt x="18250" y="7781"/>
                  <a:pt x="18218" y="7750"/>
                </a:cubicBezTo>
                <a:cubicBezTo>
                  <a:pt x="18218" y="7656"/>
                  <a:pt x="18156" y="7594"/>
                  <a:pt x="18156" y="7500"/>
                </a:cubicBezTo>
                <a:cubicBezTo>
                  <a:pt x="18125" y="7437"/>
                  <a:pt x="18125" y="7375"/>
                  <a:pt x="18093" y="7281"/>
                </a:cubicBezTo>
                <a:cubicBezTo>
                  <a:pt x="18093" y="7156"/>
                  <a:pt x="18062" y="7031"/>
                  <a:pt x="18031" y="6906"/>
                </a:cubicBezTo>
                <a:cubicBezTo>
                  <a:pt x="18031" y="6750"/>
                  <a:pt x="18000" y="6594"/>
                  <a:pt x="18000" y="6437"/>
                </a:cubicBezTo>
                <a:cubicBezTo>
                  <a:pt x="18000" y="6375"/>
                  <a:pt x="18000" y="6344"/>
                  <a:pt x="18000" y="6312"/>
                </a:cubicBezTo>
                <a:cubicBezTo>
                  <a:pt x="17968" y="6187"/>
                  <a:pt x="17968" y="6062"/>
                  <a:pt x="17968" y="5937"/>
                </a:cubicBezTo>
                <a:cubicBezTo>
                  <a:pt x="17968" y="5875"/>
                  <a:pt x="17968" y="5781"/>
                  <a:pt x="17937" y="5719"/>
                </a:cubicBezTo>
                <a:cubicBezTo>
                  <a:pt x="17937" y="5750"/>
                  <a:pt x="17906" y="5750"/>
                  <a:pt x="17906" y="5781"/>
                </a:cubicBezTo>
                <a:cubicBezTo>
                  <a:pt x="17906" y="5781"/>
                  <a:pt x="17906" y="5781"/>
                  <a:pt x="17906" y="5781"/>
                </a:cubicBezTo>
                <a:cubicBezTo>
                  <a:pt x="17906" y="5781"/>
                  <a:pt x="17906" y="5781"/>
                  <a:pt x="17906" y="5781"/>
                </a:cubicBezTo>
                <a:cubicBezTo>
                  <a:pt x="17906" y="5781"/>
                  <a:pt x="17906" y="5750"/>
                  <a:pt x="17906" y="5750"/>
                </a:cubicBezTo>
                <a:cubicBezTo>
                  <a:pt x="17906" y="5750"/>
                  <a:pt x="17906" y="5781"/>
                  <a:pt x="17906" y="5781"/>
                </a:cubicBezTo>
                <a:cubicBezTo>
                  <a:pt x="17906" y="5750"/>
                  <a:pt x="17937" y="5750"/>
                  <a:pt x="17937" y="5719"/>
                </a:cubicBezTo>
                <a:cubicBezTo>
                  <a:pt x="17937" y="5719"/>
                  <a:pt x="17937" y="5719"/>
                  <a:pt x="17937" y="5719"/>
                </a:cubicBezTo>
                <a:cubicBezTo>
                  <a:pt x="17937" y="5687"/>
                  <a:pt x="17906" y="5656"/>
                  <a:pt x="17906" y="5625"/>
                </a:cubicBezTo>
                <a:cubicBezTo>
                  <a:pt x="17906" y="5594"/>
                  <a:pt x="17875" y="5594"/>
                  <a:pt x="17875" y="5562"/>
                </a:cubicBezTo>
                <a:cubicBezTo>
                  <a:pt x="17906" y="5437"/>
                  <a:pt x="17875" y="5344"/>
                  <a:pt x="17875" y="5250"/>
                </a:cubicBezTo>
                <a:cubicBezTo>
                  <a:pt x="17875" y="5125"/>
                  <a:pt x="17812" y="5000"/>
                  <a:pt x="17781" y="4875"/>
                </a:cubicBezTo>
                <a:cubicBezTo>
                  <a:pt x="17750" y="4781"/>
                  <a:pt x="17781" y="4687"/>
                  <a:pt x="17718" y="4594"/>
                </a:cubicBezTo>
                <a:cubicBezTo>
                  <a:pt x="17687" y="4500"/>
                  <a:pt x="17625" y="4469"/>
                  <a:pt x="17625" y="4375"/>
                </a:cubicBezTo>
                <a:cubicBezTo>
                  <a:pt x="17593" y="4344"/>
                  <a:pt x="17593" y="4344"/>
                  <a:pt x="17562" y="4312"/>
                </a:cubicBezTo>
                <a:cubicBezTo>
                  <a:pt x="17593" y="4344"/>
                  <a:pt x="17593" y="4344"/>
                  <a:pt x="17625" y="4375"/>
                </a:cubicBezTo>
                <a:cubicBezTo>
                  <a:pt x="17625" y="4281"/>
                  <a:pt x="17593" y="4187"/>
                  <a:pt x="17531" y="4125"/>
                </a:cubicBezTo>
                <a:cubicBezTo>
                  <a:pt x="17500" y="4094"/>
                  <a:pt x="17500" y="4031"/>
                  <a:pt x="17468" y="4000"/>
                </a:cubicBezTo>
                <a:cubicBezTo>
                  <a:pt x="17406" y="3937"/>
                  <a:pt x="17375" y="3875"/>
                  <a:pt x="17406" y="3781"/>
                </a:cubicBezTo>
                <a:cubicBezTo>
                  <a:pt x="17406" y="3781"/>
                  <a:pt x="17406" y="3781"/>
                  <a:pt x="17406" y="3781"/>
                </a:cubicBezTo>
                <a:cubicBezTo>
                  <a:pt x="17437" y="3687"/>
                  <a:pt x="17375" y="3625"/>
                  <a:pt x="17375" y="3562"/>
                </a:cubicBezTo>
                <a:cubicBezTo>
                  <a:pt x="17375" y="3531"/>
                  <a:pt x="17406" y="3500"/>
                  <a:pt x="17375" y="3469"/>
                </a:cubicBezTo>
                <a:cubicBezTo>
                  <a:pt x="17312" y="3406"/>
                  <a:pt x="17312" y="3281"/>
                  <a:pt x="17250" y="3187"/>
                </a:cubicBezTo>
                <a:cubicBezTo>
                  <a:pt x="17250" y="3094"/>
                  <a:pt x="17187" y="3031"/>
                  <a:pt x="17125" y="2969"/>
                </a:cubicBezTo>
                <a:cubicBezTo>
                  <a:pt x="17125" y="2969"/>
                  <a:pt x="17125" y="2969"/>
                  <a:pt x="17125" y="2937"/>
                </a:cubicBezTo>
                <a:cubicBezTo>
                  <a:pt x="17031" y="2875"/>
                  <a:pt x="16968" y="2781"/>
                  <a:pt x="16906" y="2687"/>
                </a:cubicBezTo>
                <a:cubicBezTo>
                  <a:pt x="16906" y="2687"/>
                  <a:pt x="16906" y="2687"/>
                  <a:pt x="16906" y="2687"/>
                </a:cubicBezTo>
                <a:cubicBezTo>
                  <a:pt x="16906" y="2687"/>
                  <a:pt x="16906" y="2656"/>
                  <a:pt x="16906" y="2656"/>
                </a:cubicBezTo>
                <a:cubicBezTo>
                  <a:pt x="16843" y="2625"/>
                  <a:pt x="16812" y="2562"/>
                  <a:pt x="16812" y="2500"/>
                </a:cubicBezTo>
                <a:cubicBezTo>
                  <a:pt x="16812" y="2469"/>
                  <a:pt x="16781" y="2469"/>
                  <a:pt x="16781" y="2469"/>
                </a:cubicBezTo>
                <a:cubicBezTo>
                  <a:pt x="16718" y="2469"/>
                  <a:pt x="16625" y="2375"/>
                  <a:pt x="16656" y="2312"/>
                </a:cubicBezTo>
                <a:cubicBezTo>
                  <a:pt x="16656" y="2250"/>
                  <a:pt x="16625" y="2219"/>
                  <a:pt x="16593" y="2156"/>
                </a:cubicBezTo>
                <a:cubicBezTo>
                  <a:pt x="16406" y="2000"/>
                  <a:pt x="16250" y="1812"/>
                  <a:pt x="16062" y="1656"/>
                </a:cubicBezTo>
                <a:cubicBezTo>
                  <a:pt x="16000" y="1594"/>
                  <a:pt x="15937" y="1562"/>
                  <a:pt x="15875" y="1469"/>
                </a:cubicBezTo>
                <a:cubicBezTo>
                  <a:pt x="15812" y="1437"/>
                  <a:pt x="15750" y="1375"/>
                  <a:pt x="15718" y="1312"/>
                </a:cubicBezTo>
                <a:cubicBezTo>
                  <a:pt x="15687" y="1281"/>
                  <a:pt x="15687" y="1250"/>
                  <a:pt x="15656" y="1250"/>
                </a:cubicBezTo>
                <a:cubicBezTo>
                  <a:pt x="15593" y="1187"/>
                  <a:pt x="15562" y="1062"/>
                  <a:pt x="15437" y="1031"/>
                </a:cubicBezTo>
                <a:cubicBezTo>
                  <a:pt x="15437" y="1031"/>
                  <a:pt x="15437" y="1000"/>
                  <a:pt x="15437" y="1000"/>
                </a:cubicBezTo>
                <a:cubicBezTo>
                  <a:pt x="15375" y="969"/>
                  <a:pt x="15375" y="875"/>
                  <a:pt x="15281" y="937"/>
                </a:cubicBezTo>
                <a:cubicBezTo>
                  <a:pt x="15281" y="937"/>
                  <a:pt x="15250" y="937"/>
                  <a:pt x="15250" y="906"/>
                </a:cubicBezTo>
                <a:cubicBezTo>
                  <a:pt x="15187" y="875"/>
                  <a:pt x="15125" y="812"/>
                  <a:pt x="15062" y="781"/>
                </a:cubicBezTo>
                <a:cubicBezTo>
                  <a:pt x="15093" y="750"/>
                  <a:pt x="15125" y="781"/>
                  <a:pt x="15156" y="781"/>
                </a:cubicBezTo>
                <a:cubicBezTo>
                  <a:pt x="15031" y="656"/>
                  <a:pt x="14906" y="625"/>
                  <a:pt x="14750" y="594"/>
                </a:cubicBezTo>
                <a:cubicBezTo>
                  <a:pt x="14750" y="562"/>
                  <a:pt x="14718" y="594"/>
                  <a:pt x="14718" y="594"/>
                </a:cubicBezTo>
                <a:cubicBezTo>
                  <a:pt x="14718" y="625"/>
                  <a:pt x="14750" y="625"/>
                  <a:pt x="14750" y="625"/>
                </a:cubicBezTo>
                <a:cubicBezTo>
                  <a:pt x="14687" y="625"/>
                  <a:pt x="14593" y="625"/>
                  <a:pt x="14562" y="562"/>
                </a:cubicBezTo>
                <a:cubicBezTo>
                  <a:pt x="14562" y="531"/>
                  <a:pt x="14531" y="500"/>
                  <a:pt x="14500" y="531"/>
                </a:cubicBezTo>
                <a:cubicBezTo>
                  <a:pt x="14468" y="562"/>
                  <a:pt x="14468" y="531"/>
                  <a:pt x="14437" y="531"/>
                </a:cubicBezTo>
                <a:cubicBezTo>
                  <a:pt x="14437" y="500"/>
                  <a:pt x="14375" y="469"/>
                  <a:pt x="14343" y="469"/>
                </a:cubicBezTo>
                <a:cubicBezTo>
                  <a:pt x="14343" y="469"/>
                  <a:pt x="14343" y="469"/>
                  <a:pt x="14343" y="469"/>
                </a:cubicBezTo>
                <a:cubicBezTo>
                  <a:pt x="14343" y="469"/>
                  <a:pt x="14343" y="469"/>
                  <a:pt x="14343" y="469"/>
                </a:cubicBezTo>
                <a:cubicBezTo>
                  <a:pt x="14343" y="406"/>
                  <a:pt x="14281" y="437"/>
                  <a:pt x="14281" y="406"/>
                </a:cubicBezTo>
                <a:cubicBezTo>
                  <a:pt x="14281" y="312"/>
                  <a:pt x="14218" y="312"/>
                  <a:pt x="14187" y="281"/>
                </a:cubicBezTo>
                <a:cubicBezTo>
                  <a:pt x="14187" y="281"/>
                  <a:pt x="14187" y="281"/>
                  <a:pt x="14187" y="281"/>
                </a:cubicBezTo>
                <a:cubicBezTo>
                  <a:pt x="14125" y="281"/>
                  <a:pt x="14062" y="250"/>
                  <a:pt x="14000" y="250"/>
                </a:cubicBezTo>
                <a:cubicBezTo>
                  <a:pt x="13906" y="250"/>
                  <a:pt x="13812" y="281"/>
                  <a:pt x="13750" y="219"/>
                </a:cubicBezTo>
                <a:cubicBezTo>
                  <a:pt x="13687" y="187"/>
                  <a:pt x="13593" y="125"/>
                  <a:pt x="13500" y="94"/>
                </a:cubicBezTo>
                <a:cubicBezTo>
                  <a:pt x="13500" y="94"/>
                  <a:pt x="13500" y="94"/>
                  <a:pt x="13500" y="94"/>
                </a:cubicBezTo>
                <a:cubicBezTo>
                  <a:pt x="13500" y="94"/>
                  <a:pt x="13500" y="94"/>
                  <a:pt x="13468" y="94"/>
                </a:cubicBezTo>
                <a:cubicBezTo>
                  <a:pt x="13468" y="62"/>
                  <a:pt x="13437" y="62"/>
                  <a:pt x="13406" y="94"/>
                </a:cubicBezTo>
                <a:cubicBezTo>
                  <a:pt x="13406" y="94"/>
                  <a:pt x="13406" y="94"/>
                  <a:pt x="13406" y="94"/>
                </a:cubicBezTo>
                <a:cubicBezTo>
                  <a:pt x="13343" y="125"/>
                  <a:pt x="13250" y="125"/>
                  <a:pt x="13187" y="94"/>
                </a:cubicBezTo>
                <a:cubicBezTo>
                  <a:pt x="13156" y="94"/>
                  <a:pt x="13093" y="94"/>
                  <a:pt x="13062" y="125"/>
                </a:cubicBezTo>
                <a:cubicBezTo>
                  <a:pt x="13000" y="125"/>
                  <a:pt x="12906" y="125"/>
                  <a:pt x="12843" y="62"/>
                </a:cubicBezTo>
                <a:cubicBezTo>
                  <a:pt x="12906" y="62"/>
                  <a:pt x="12937" y="62"/>
                  <a:pt x="12968" y="62"/>
                </a:cubicBezTo>
                <a:cubicBezTo>
                  <a:pt x="12968" y="62"/>
                  <a:pt x="12968" y="62"/>
                  <a:pt x="12968" y="62"/>
                </a:cubicBezTo>
                <a:cubicBezTo>
                  <a:pt x="12906" y="31"/>
                  <a:pt x="12843" y="0"/>
                  <a:pt x="12750" y="0"/>
                </a:cubicBezTo>
                <a:cubicBezTo>
                  <a:pt x="12625" y="31"/>
                  <a:pt x="12500" y="0"/>
                  <a:pt x="12375" y="31"/>
                </a:cubicBezTo>
                <a:cubicBezTo>
                  <a:pt x="12312" y="62"/>
                  <a:pt x="12250" y="31"/>
                  <a:pt x="12187" y="94"/>
                </a:cubicBezTo>
                <a:cubicBezTo>
                  <a:pt x="12187" y="94"/>
                  <a:pt x="12187" y="125"/>
                  <a:pt x="12187" y="125"/>
                </a:cubicBezTo>
                <a:cubicBezTo>
                  <a:pt x="12187" y="125"/>
                  <a:pt x="12187" y="94"/>
                  <a:pt x="12187" y="94"/>
                </a:cubicBezTo>
                <a:cubicBezTo>
                  <a:pt x="12125" y="62"/>
                  <a:pt x="12031" y="62"/>
                  <a:pt x="11937" y="62"/>
                </a:cubicBezTo>
                <a:cubicBezTo>
                  <a:pt x="11906" y="62"/>
                  <a:pt x="11906" y="62"/>
                  <a:pt x="11906" y="62"/>
                </a:cubicBezTo>
                <a:cubicBezTo>
                  <a:pt x="11875" y="31"/>
                  <a:pt x="11875" y="31"/>
                  <a:pt x="11812" y="31"/>
                </a:cubicBezTo>
                <a:cubicBezTo>
                  <a:pt x="11718" y="62"/>
                  <a:pt x="11656" y="94"/>
                  <a:pt x="11562" y="94"/>
                </a:cubicBezTo>
                <a:cubicBezTo>
                  <a:pt x="11531" y="94"/>
                  <a:pt x="11500" y="94"/>
                  <a:pt x="11500" y="94"/>
                </a:cubicBezTo>
                <a:cubicBezTo>
                  <a:pt x="11468" y="94"/>
                  <a:pt x="11468" y="94"/>
                  <a:pt x="11468" y="94"/>
                </a:cubicBezTo>
                <a:cubicBezTo>
                  <a:pt x="11468" y="94"/>
                  <a:pt x="11437" y="94"/>
                  <a:pt x="11437" y="94"/>
                </a:cubicBezTo>
                <a:cubicBezTo>
                  <a:pt x="11375" y="125"/>
                  <a:pt x="11312" y="125"/>
                  <a:pt x="11250" y="156"/>
                </a:cubicBezTo>
                <a:cubicBezTo>
                  <a:pt x="11187" y="219"/>
                  <a:pt x="11125" y="187"/>
                  <a:pt x="11062" y="219"/>
                </a:cubicBezTo>
                <a:cubicBezTo>
                  <a:pt x="11031" y="219"/>
                  <a:pt x="11031" y="250"/>
                  <a:pt x="11000" y="250"/>
                </a:cubicBezTo>
                <a:cubicBezTo>
                  <a:pt x="11000" y="250"/>
                  <a:pt x="11000" y="250"/>
                  <a:pt x="11000" y="250"/>
                </a:cubicBezTo>
                <a:cubicBezTo>
                  <a:pt x="10937" y="281"/>
                  <a:pt x="10875" y="281"/>
                  <a:pt x="10812" y="281"/>
                </a:cubicBezTo>
                <a:cubicBezTo>
                  <a:pt x="10812" y="281"/>
                  <a:pt x="10750" y="250"/>
                  <a:pt x="10750" y="281"/>
                </a:cubicBezTo>
                <a:cubicBezTo>
                  <a:pt x="10718" y="281"/>
                  <a:pt x="10718" y="281"/>
                  <a:pt x="10718" y="281"/>
                </a:cubicBezTo>
                <a:cubicBezTo>
                  <a:pt x="10687" y="281"/>
                  <a:pt x="10687" y="281"/>
                  <a:pt x="10656" y="281"/>
                </a:cubicBezTo>
                <a:cubicBezTo>
                  <a:pt x="10625" y="281"/>
                  <a:pt x="10562" y="312"/>
                  <a:pt x="10531" y="312"/>
                </a:cubicBezTo>
                <a:cubicBezTo>
                  <a:pt x="10437" y="344"/>
                  <a:pt x="10312" y="344"/>
                  <a:pt x="10218" y="375"/>
                </a:cubicBezTo>
                <a:cubicBezTo>
                  <a:pt x="10125" y="437"/>
                  <a:pt x="10000" y="469"/>
                  <a:pt x="9906" y="531"/>
                </a:cubicBezTo>
                <a:cubicBezTo>
                  <a:pt x="9812" y="562"/>
                  <a:pt x="9750" y="625"/>
                  <a:pt x="9656" y="625"/>
                </a:cubicBezTo>
                <a:cubicBezTo>
                  <a:pt x="9656" y="594"/>
                  <a:pt x="9656" y="625"/>
                  <a:pt x="9625" y="625"/>
                </a:cubicBezTo>
                <a:cubicBezTo>
                  <a:pt x="9562" y="594"/>
                  <a:pt x="9562" y="594"/>
                  <a:pt x="9531" y="687"/>
                </a:cubicBezTo>
                <a:cubicBezTo>
                  <a:pt x="9468" y="656"/>
                  <a:pt x="9437" y="656"/>
                  <a:pt x="9437" y="750"/>
                </a:cubicBezTo>
                <a:cubicBezTo>
                  <a:pt x="9437" y="781"/>
                  <a:pt x="9406" y="781"/>
                  <a:pt x="9375" y="781"/>
                </a:cubicBezTo>
                <a:cubicBezTo>
                  <a:pt x="9312" y="844"/>
                  <a:pt x="9218" y="875"/>
                  <a:pt x="9187" y="937"/>
                </a:cubicBezTo>
                <a:cubicBezTo>
                  <a:pt x="9187" y="937"/>
                  <a:pt x="9156" y="937"/>
                  <a:pt x="9156" y="937"/>
                </a:cubicBezTo>
                <a:cubicBezTo>
                  <a:pt x="9125" y="937"/>
                  <a:pt x="9093" y="937"/>
                  <a:pt x="9093" y="1000"/>
                </a:cubicBezTo>
                <a:cubicBezTo>
                  <a:pt x="9093" y="1000"/>
                  <a:pt x="9093" y="1000"/>
                  <a:pt x="9093" y="1000"/>
                </a:cubicBezTo>
                <a:cubicBezTo>
                  <a:pt x="9031" y="1000"/>
                  <a:pt x="8937" y="1031"/>
                  <a:pt x="8875" y="1062"/>
                </a:cubicBezTo>
                <a:cubicBezTo>
                  <a:pt x="8875" y="1062"/>
                  <a:pt x="8875" y="1062"/>
                  <a:pt x="8875" y="1062"/>
                </a:cubicBezTo>
                <a:cubicBezTo>
                  <a:pt x="8750" y="1125"/>
                  <a:pt x="8625" y="1250"/>
                  <a:pt x="8531" y="1344"/>
                </a:cubicBezTo>
                <a:cubicBezTo>
                  <a:pt x="8500" y="1344"/>
                  <a:pt x="8468" y="1375"/>
                  <a:pt x="8468" y="1406"/>
                </a:cubicBezTo>
                <a:cubicBezTo>
                  <a:pt x="8531" y="1406"/>
                  <a:pt x="8562" y="1344"/>
                  <a:pt x="8625" y="1344"/>
                </a:cubicBezTo>
                <a:cubicBezTo>
                  <a:pt x="8531" y="1406"/>
                  <a:pt x="8437" y="1500"/>
                  <a:pt x="8312" y="1562"/>
                </a:cubicBezTo>
                <a:cubicBezTo>
                  <a:pt x="8343" y="1500"/>
                  <a:pt x="8406" y="1500"/>
                  <a:pt x="8406" y="1406"/>
                </a:cubicBezTo>
                <a:cubicBezTo>
                  <a:pt x="8375" y="1469"/>
                  <a:pt x="8312" y="1531"/>
                  <a:pt x="8250" y="1469"/>
                </a:cubicBezTo>
                <a:cubicBezTo>
                  <a:pt x="8250" y="1469"/>
                  <a:pt x="8250" y="1469"/>
                  <a:pt x="8218" y="1469"/>
                </a:cubicBezTo>
                <a:cubicBezTo>
                  <a:pt x="8156" y="1500"/>
                  <a:pt x="8093" y="1531"/>
                  <a:pt x="8031" y="1594"/>
                </a:cubicBezTo>
                <a:cubicBezTo>
                  <a:pt x="8031" y="1594"/>
                  <a:pt x="8000" y="1594"/>
                  <a:pt x="8031" y="1625"/>
                </a:cubicBezTo>
                <a:cubicBezTo>
                  <a:pt x="8031" y="1625"/>
                  <a:pt x="8031" y="1625"/>
                  <a:pt x="8062" y="1625"/>
                </a:cubicBezTo>
                <a:cubicBezTo>
                  <a:pt x="7937" y="1750"/>
                  <a:pt x="7812" y="1875"/>
                  <a:pt x="7718" y="2031"/>
                </a:cubicBezTo>
                <a:cubicBezTo>
                  <a:pt x="7718" y="2094"/>
                  <a:pt x="7656" y="2125"/>
                  <a:pt x="7687" y="2187"/>
                </a:cubicBezTo>
                <a:cubicBezTo>
                  <a:pt x="7750" y="2094"/>
                  <a:pt x="7812" y="1969"/>
                  <a:pt x="7875" y="1875"/>
                </a:cubicBezTo>
                <a:cubicBezTo>
                  <a:pt x="7937" y="1781"/>
                  <a:pt x="8031" y="1687"/>
                  <a:pt x="8125" y="1625"/>
                </a:cubicBezTo>
                <a:cubicBezTo>
                  <a:pt x="8187" y="1594"/>
                  <a:pt x="8125" y="1625"/>
                  <a:pt x="8156" y="1656"/>
                </a:cubicBezTo>
                <a:cubicBezTo>
                  <a:pt x="8125" y="1656"/>
                  <a:pt x="8093" y="1687"/>
                  <a:pt x="8093" y="1687"/>
                </a:cubicBezTo>
                <a:cubicBezTo>
                  <a:pt x="7906" y="1875"/>
                  <a:pt x="7781" y="2094"/>
                  <a:pt x="7656" y="2312"/>
                </a:cubicBezTo>
                <a:cubicBezTo>
                  <a:pt x="7625" y="2344"/>
                  <a:pt x="7593" y="2406"/>
                  <a:pt x="7531" y="2406"/>
                </a:cubicBezTo>
                <a:cubicBezTo>
                  <a:pt x="7531" y="2406"/>
                  <a:pt x="7531" y="2406"/>
                  <a:pt x="7531" y="2406"/>
                </a:cubicBezTo>
                <a:cubicBezTo>
                  <a:pt x="7593" y="2375"/>
                  <a:pt x="7625" y="2312"/>
                  <a:pt x="7656" y="2250"/>
                </a:cubicBezTo>
                <a:cubicBezTo>
                  <a:pt x="7625" y="2219"/>
                  <a:pt x="7625" y="2281"/>
                  <a:pt x="7593" y="2250"/>
                </a:cubicBezTo>
                <a:cubicBezTo>
                  <a:pt x="7593" y="2250"/>
                  <a:pt x="7593" y="2187"/>
                  <a:pt x="7562" y="2250"/>
                </a:cubicBezTo>
                <a:lnTo>
                  <a:pt x="7562" y="2250"/>
                </a:lnTo>
                <a:cubicBezTo>
                  <a:pt x="7531" y="2281"/>
                  <a:pt x="7500" y="2312"/>
                  <a:pt x="7468" y="2344"/>
                </a:cubicBezTo>
                <a:cubicBezTo>
                  <a:pt x="7531" y="2312"/>
                  <a:pt x="7562" y="2281"/>
                  <a:pt x="7593" y="2250"/>
                </a:cubicBezTo>
                <a:cubicBezTo>
                  <a:pt x="7625" y="2281"/>
                  <a:pt x="7593" y="2281"/>
                  <a:pt x="7593" y="2312"/>
                </a:cubicBezTo>
                <a:cubicBezTo>
                  <a:pt x="7562" y="2344"/>
                  <a:pt x="7531" y="2344"/>
                  <a:pt x="7531" y="2406"/>
                </a:cubicBezTo>
                <a:cubicBezTo>
                  <a:pt x="7468" y="2469"/>
                  <a:pt x="7406" y="2531"/>
                  <a:pt x="7375" y="2594"/>
                </a:cubicBezTo>
                <a:cubicBezTo>
                  <a:pt x="7343" y="2625"/>
                  <a:pt x="7343" y="2625"/>
                  <a:pt x="7343" y="2625"/>
                </a:cubicBezTo>
                <a:cubicBezTo>
                  <a:pt x="7343" y="2625"/>
                  <a:pt x="7343" y="2625"/>
                  <a:pt x="7312" y="2625"/>
                </a:cubicBezTo>
                <a:cubicBezTo>
                  <a:pt x="7312" y="2594"/>
                  <a:pt x="7312" y="2594"/>
                  <a:pt x="7281" y="2594"/>
                </a:cubicBezTo>
                <a:cubicBezTo>
                  <a:pt x="7281" y="2656"/>
                  <a:pt x="7218" y="2687"/>
                  <a:pt x="7218" y="2750"/>
                </a:cubicBezTo>
                <a:cubicBezTo>
                  <a:pt x="7218" y="2812"/>
                  <a:pt x="7187" y="2875"/>
                  <a:pt x="7156" y="2906"/>
                </a:cubicBezTo>
                <a:cubicBezTo>
                  <a:pt x="7093" y="3062"/>
                  <a:pt x="6968" y="3219"/>
                  <a:pt x="6875" y="3344"/>
                </a:cubicBezTo>
                <a:cubicBezTo>
                  <a:pt x="6781" y="3437"/>
                  <a:pt x="6750" y="3531"/>
                  <a:pt x="6687" y="3594"/>
                </a:cubicBezTo>
                <a:cubicBezTo>
                  <a:pt x="6656" y="3562"/>
                  <a:pt x="6687" y="3531"/>
                  <a:pt x="6687" y="3500"/>
                </a:cubicBezTo>
                <a:cubicBezTo>
                  <a:pt x="6625" y="3531"/>
                  <a:pt x="6593" y="3594"/>
                  <a:pt x="6562" y="3656"/>
                </a:cubicBezTo>
                <a:cubicBezTo>
                  <a:pt x="6468" y="3875"/>
                  <a:pt x="6375" y="4094"/>
                  <a:pt x="6343" y="4312"/>
                </a:cubicBezTo>
                <a:cubicBezTo>
                  <a:pt x="6343" y="4406"/>
                  <a:pt x="6375" y="4406"/>
                  <a:pt x="6437" y="4406"/>
                </a:cubicBezTo>
                <a:cubicBezTo>
                  <a:pt x="6437" y="4406"/>
                  <a:pt x="6437" y="4406"/>
                  <a:pt x="6468" y="4406"/>
                </a:cubicBezTo>
                <a:cubicBezTo>
                  <a:pt x="6468" y="4406"/>
                  <a:pt x="6500" y="4406"/>
                  <a:pt x="6500" y="4437"/>
                </a:cubicBezTo>
                <a:cubicBezTo>
                  <a:pt x="6500" y="4437"/>
                  <a:pt x="6500" y="4500"/>
                  <a:pt x="6468" y="4469"/>
                </a:cubicBezTo>
                <a:cubicBezTo>
                  <a:pt x="6406" y="4469"/>
                  <a:pt x="6406" y="4500"/>
                  <a:pt x="6406" y="4562"/>
                </a:cubicBezTo>
                <a:cubicBezTo>
                  <a:pt x="6406" y="4594"/>
                  <a:pt x="6406" y="4594"/>
                  <a:pt x="6375" y="4625"/>
                </a:cubicBezTo>
                <a:cubicBezTo>
                  <a:pt x="6343" y="4625"/>
                  <a:pt x="6343" y="4656"/>
                  <a:pt x="6343" y="4687"/>
                </a:cubicBezTo>
                <a:cubicBezTo>
                  <a:pt x="6343" y="4656"/>
                  <a:pt x="6312" y="4687"/>
                  <a:pt x="6312" y="4719"/>
                </a:cubicBezTo>
                <a:cubicBezTo>
                  <a:pt x="6281" y="4781"/>
                  <a:pt x="6250" y="4875"/>
                  <a:pt x="6250" y="4937"/>
                </a:cubicBezTo>
                <a:cubicBezTo>
                  <a:pt x="6250" y="4969"/>
                  <a:pt x="6218" y="5000"/>
                  <a:pt x="6281" y="5031"/>
                </a:cubicBezTo>
                <a:cubicBezTo>
                  <a:pt x="6281" y="5031"/>
                  <a:pt x="6281" y="5031"/>
                  <a:pt x="6281" y="5062"/>
                </a:cubicBezTo>
                <a:cubicBezTo>
                  <a:pt x="6250" y="5219"/>
                  <a:pt x="6187" y="5344"/>
                  <a:pt x="6125" y="5500"/>
                </a:cubicBezTo>
                <a:cubicBezTo>
                  <a:pt x="6093" y="5625"/>
                  <a:pt x="6031" y="5750"/>
                  <a:pt x="5968" y="5875"/>
                </a:cubicBezTo>
                <a:cubicBezTo>
                  <a:pt x="5968" y="5875"/>
                  <a:pt x="5968" y="5906"/>
                  <a:pt x="6000" y="5906"/>
                </a:cubicBezTo>
                <a:cubicBezTo>
                  <a:pt x="6031" y="5906"/>
                  <a:pt x="6000" y="5937"/>
                  <a:pt x="6000" y="5969"/>
                </a:cubicBezTo>
                <a:cubicBezTo>
                  <a:pt x="6000" y="5969"/>
                  <a:pt x="5968" y="6000"/>
                  <a:pt x="5968" y="5969"/>
                </a:cubicBezTo>
                <a:cubicBezTo>
                  <a:pt x="5968" y="5937"/>
                  <a:pt x="5937" y="5937"/>
                  <a:pt x="5937" y="5969"/>
                </a:cubicBezTo>
                <a:cubicBezTo>
                  <a:pt x="5906" y="5969"/>
                  <a:pt x="5906" y="5969"/>
                  <a:pt x="5937" y="6000"/>
                </a:cubicBezTo>
                <a:cubicBezTo>
                  <a:pt x="5968" y="6062"/>
                  <a:pt x="5906" y="6094"/>
                  <a:pt x="5875" y="6156"/>
                </a:cubicBezTo>
                <a:cubicBezTo>
                  <a:pt x="5812" y="6219"/>
                  <a:pt x="5750" y="6281"/>
                  <a:pt x="5687" y="6375"/>
                </a:cubicBezTo>
                <a:cubicBezTo>
                  <a:pt x="5625" y="6437"/>
                  <a:pt x="5531" y="6500"/>
                  <a:pt x="5468" y="6594"/>
                </a:cubicBezTo>
                <a:cubicBezTo>
                  <a:pt x="5468" y="6594"/>
                  <a:pt x="5468" y="6594"/>
                  <a:pt x="5468" y="6594"/>
                </a:cubicBezTo>
                <a:cubicBezTo>
                  <a:pt x="5593" y="6562"/>
                  <a:pt x="5625" y="6469"/>
                  <a:pt x="5718" y="6406"/>
                </a:cubicBezTo>
                <a:cubicBezTo>
                  <a:pt x="5718" y="6375"/>
                  <a:pt x="5750" y="6375"/>
                  <a:pt x="5750" y="6344"/>
                </a:cubicBezTo>
                <a:cubicBezTo>
                  <a:pt x="5875" y="6219"/>
                  <a:pt x="5968" y="6062"/>
                  <a:pt x="6062" y="5906"/>
                </a:cubicBezTo>
                <a:cubicBezTo>
                  <a:pt x="6062" y="5906"/>
                  <a:pt x="6062" y="5906"/>
                  <a:pt x="6062" y="5906"/>
                </a:cubicBezTo>
                <a:cubicBezTo>
                  <a:pt x="6093" y="5844"/>
                  <a:pt x="6125" y="5812"/>
                  <a:pt x="6156" y="5750"/>
                </a:cubicBezTo>
                <a:cubicBezTo>
                  <a:pt x="6156" y="5812"/>
                  <a:pt x="6125" y="5875"/>
                  <a:pt x="6062" y="5906"/>
                </a:cubicBezTo>
                <a:lnTo>
                  <a:pt x="6062" y="5906"/>
                </a:lnTo>
                <a:cubicBezTo>
                  <a:pt x="6062" y="5906"/>
                  <a:pt x="6062" y="5906"/>
                  <a:pt x="6062" y="5906"/>
                </a:cubicBezTo>
                <a:cubicBezTo>
                  <a:pt x="6093" y="5969"/>
                  <a:pt x="6031" y="6031"/>
                  <a:pt x="6000" y="6062"/>
                </a:cubicBezTo>
                <a:cubicBezTo>
                  <a:pt x="5937" y="6156"/>
                  <a:pt x="5875" y="6281"/>
                  <a:pt x="5781" y="6375"/>
                </a:cubicBezTo>
                <a:cubicBezTo>
                  <a:pt x="5687" y="6469"/>
                  <a:pt x="5625" y="6594"/>
                  <a:pt x="5531" y="6687"/>
                </a:cubicBezTo>
                <a:cubicBezTo>
                  <a:pt x="5312" y="6906"/>
                  <a:pt x="5093" y="7156"/>
                  <a:pt x="4937" y="7469"/>
                </a:cubicBezTo>
                <a:cubicBezTo>
                  <a:pt x="4812" y="7687"/>
                  <a:pt x="4750" y="7937"/>
                  <a:pt x="4750" y="8187"/>
                </a:cubicBezTo>
                <a:cubicBezTo>
                  <a:pt x="4750" y="8250"/>
                  <a:pt x="4750" y="8312"/>
                  <a:pt x="4781" y="8375"/>
                </a:cubicBezTo>
                <a:cubicBezTo>
                  <a:pt x="4843" y="8469"/>
                  <a:pt x="4812" y="8594"/>
                  <a:pt x="4718" y="8687"/>
                </a:cubicBezTo>
                <a:cubicBezTo>
                  <a:pt x="4687" y="8719"/>
                  <a:pt x="4593" y="8750"/>
                  <a:pt x="4562" y="8812"/>
                </a:cubicBezTo>
                <a:cubicBezTo>
                  <a:pt x="4562" y="8812"/>
                  <a:pt x="4531" y="8812"/>
                  <a:pt x="4531" y="8844"/>
                </a:cubicBezTo>
                <a:cubicBezTo>
                  <a:pt x="4375" y="8937"/>
                  <a:pt x="4250" y="9094"/>
                  <a:pt x="4156" y="9250"/>
                </a:cubicBezTo>
                <a:cubicBezTo>
                  <a:pt x="4062" y="9437"/>
                  <a:pt x="4000" y="9625"/>
                  <a:pt x="4000" y="9812"/>
                </a:cubicBezTo>
                <a:cubicBezTo>
                  <a:pt x="4000" y="10000"/>
                  <a:pt x="4062" y="10187"/>
                  <a:pt x="4093" y="10375"/>
                </a:cubicBezTo>
                <a:cubicBezTo>
                  <a:pt x="4125" y="10500"/>
                  <a:pt x="4218" y="10594"/>
                  <a:pt x="4218" y="10687"/>
                </a:cubicBezTo>
                <a:cubicBezTo>
                  <a:pt x="4218" y="10750"/>
                  <a:pt x="4250" y="10781"/>
                  <a:pt x="4250" y="10844"/>
                </a:cubicBezTo>
                <a:cubicBezTo>
                  <a:pt x="4218" y="10875"/>
                  <a:pt x="4218" y="10937"/>
                  <a:pt x="4156" y="10969"/>
                </a:cubicBezTo>
                <a:cubicBezTo>
                  <a:pt x="4031" y="11125"/>
                  <a:pt x="3906" y="11281"/>
                  <a:pt x="3843" y="11437"/>
                </a:cubicBezTo>
                <a:cubicBezTo>
                  <a:pt x="3812" y="11469"/>
                  <a:pt x="3812" y="11531"/>
                  <a:pt x="3781" y="11531"/>
                </a:cubicBezTo>
                <a:cubicBezTo>
                  <a:pt x="3750" y="11594"/>
                  <a:pt x="3750" y="11625"/>
                  <a:pt x="3750" y="11687"/>
                </a:cubicBezTo>
                <a:cubicBezTo>
                  <a:pt x="3718" y="11719"/>
                  <a:pt x="3718" y="11719"/>
                  <a:pt x="3718" y="11750"/>
                </a:cubicBezTo>
                <a:cubicBezTo>
                  <a:pt x="3687" y="11844"/>
                  <a:pt x="3656" y="11937"/>
                  <a:pt x="3687" y="12062"/>
                </a:cubicBezTo>
                <a:cubicBezTo>
                  <a:pt x="3687" y="12062"/>
                  <a:pt x="3687" y="12062"/>
                  <a:pt x="3687" y="12062"/>
                </a:cubicBezTo>
                <a:cubicBezTo>
                  <a:pt x="3687" y="12187"/>
                  <a:pt x="3593" y="12281"/>
                  <a:pt x="3468" y="12281"/>
                </a:cubicBezTo>
                <a:cubicBezTo>
                  <a:pt x="3312" y="12312"/>
                  <a:pt x="3218" y="12281"/>
                  <a:pt x="3187" y="12125"/>
                </a:cubicBezTo>
                <a:cubicBezTo>
                  <a:pt x="3156" y="12125"/>
                  <a:pt x="3156" y="12125"/>
                  <a:pt x="3156" y="12125"/>
                </a:cubicBezTo>
                <a:cubicBezTo>
                  <a:pt x="3156" y="12125"/>
                  <a:pt x="3156" y="12125"/>
                  <a:pt x="3156" y="12156"/>
                </a:cubicBezTo>
                <a:cubicBezTo>
                  <a:pt x="3125" y="12187"/>
                  <a:pt x="3125" y="12219"/>
                  <a:pt x="3156" y="12281"/>
                </a:cubicBezTo>
                <a:cubicBezTo>
                  <a:pt x="3218" y="12375"/>
                  <a:pt x="3312" y="12406"/>
                  <a:pt x="3406" y="12375"/>
                </a:cubicBezTo>
                <a:cubicBezTo>
                  <a:pt x="3468" y="12375"/>
                  <a:pt x="3500" y="12375"/>
                  <a:pt x="3562" y="12344"/>
                </a:cubicBezTo>
                <a:cubicBezTo>
                  <a:pt x="3468" y="12437"/>
                  <a:pt x="3375" y="12500"/>
                  <a:pt x="3281" y="12531"/>
                </a:cubicBezTo>
                <a:cubicBezTo>
                  <a:pt x="3437" y="12594"/>
                  <a:pt x="3531" y="12500"/>
                  <a:pt x="3687" y="12437"/>
                </a:cubicBezTo>
                <a:cubicBezTo>
                  <a:pt x="3656" y="12500"/>
                  <a:pt x="3593" y="12531"/>
                  <a:pt x="3593" y="12562"/>
                </a:cubicBezTo>
                <a:cubicBezTo>
                  <a:pt x="3562" y="12594"/>
                  <a:pt x="3531" y="12625"/>
                  <a:pt x="3562" y="12625"/>
                </a:cubicBezTo>
                <a:cubicBezTo>
                  <a:pt x="3593" y="12656"/>
                  <a:pt x="3593" y="12625"/>
                  <a:pt x="3625" y="12625"/>
                </a:cubicBezTo>
                <a:cubicBezTo>
                  <a:pt x="3656" y="12625"/>
                  <a:pt x="3687" y="12562"/>
                  <a:pt x="3781" y="12562"/>
                </a:cubicBezTo>
                <a:cubicBezTo>
                  <a:pt x="3687" y="12656"/>
                  <a:pt x="3625" y="12750"/>
                  <a:pt x="3531" y="12812"/>
                </a:cubicBezTo>
                <a:cubicBezTo>
                  <a:pt x="3500" y="12812"/>
                  <a:pt x="3437" y="12812"/>
                  <a:pt x="3437" y="12812"/>
                </a:cubicBezTo>
                <a:cubicBezTo>
                  <a:pt x="3250" y="12906"/>
                  <a:pt x="3187" y="12875"/>
                  <a:pt x="3062" y="12781"/>
                </a:cubicBezTo>
                <a:cubicBezTo>
                  <a:pt x="3031" y="12781"/>
                  <a:pt x="3031" y="12750"/>
                  <a:pt x="3000" y="12781"/>
                </a:cubicBezTo>
                <a:cubicBezTo>
                  <a:pt x="3000" y="12781"/>
                  <a:pt x="2968" y="12812"/>
                  <a:pt x="3000" y="12844"/>
                </a:cubicBezTo>
                <a:cubicBezTo>
                  <a:pt x="3062" y="12906"/>
                  <a:pt x="3125" y="12969"/>
                  <a:pt x="3218" y="12969"/>
                </a:cubicBezTo>
                <a:cubicBezTo>
                  <a:pt x="3312" y="13031"/>
                  <a:pt x="3406" y="13062"/>
                  <a:pt x="3500" y="13000"/>
                </a:cubicBezTo>
                <a:cubicBezTo>
                  <a:pt x="3500" y="13000"/>
                  <a:pt x="3500" y="13000"/>
                  <a:pt x="3500" y="13000"/>
                </a:cubicBezTo>
                <a:cubicBezTo>
                  <a:pt x="3562" y="13000"/>
                  <a:pt x="3593" y="12969"/>
                  <a:pt x="3656" y="12969"/>
                </a:cubicBezTo>
                <a:cubicBezTo>
                  <a:pt x="3625" y="13000"/>
                  <a:pt x="3625" y="13031"/>
                  <a:pt x="3625" y="13062"/>
                </a:cubicBezTo>
                <a:cubicBezTo>
                  <a:pt x="3593" y="13062"/>
                  <a:pt x="3562" y="13094"/>
                  <a:pt x="3531" y="13094"/>
                </a:cubicBezTo>
                <a:cubicBezTo>
                  <a:pt x="3500" y="13094"/>
                  <a:pt x="3468" y="13125"/>
                  <a:pt x="3500" y="13156"/>
                </a:cubicBezTo>
                <a:cubicBezTo>
                  <a:pt x="3500" y="13156"/>
                  <a:pt x="3531" y="13156"/>
                  <a:pt x="3531" y="13187"/>
                </a:cubicBezTo>
                <a:cubicBezTo>
                  <a:pt x="3562" y="13187"/>
                  <a:pt x="3562" y="13156"/>
                  <a:pt x="3593" y="13156"/>
                </a:cubicBezTo>
                <a:cubicBezTo>
                  <a:pt x="3593" y="13125"/>
                  <a:pt x="3593" y="13094"/>
                  <a:pt x="3625" y="13094"/>
                </a:cubicBezTo>
                <a:cubicBezTo>
                  <a:pt x="3625" y="13125"/>
                  <a:pt x="3593" y="13156"/>
                  <a:pt x="3625" y="13187"/>
                </a:cubicBezTo>
                <a:cubicBezTo>
                  <a:pt x="3718" y="13250"/>
                  <a:pt x="3625" y="13312"/>
                  <a:pt x="3625" y="13344"/>
                </a:cubicBezTo>
                <a:cubicBezTo>
                  <a:pt x="3625" y="13375"/>
                  <a:pt x="3593" y="13406"/>
                  <a:pt x="3593" y="13406"/>
                </a:cubicBezTo>
                <a:cubicBezTo>
                  <a:pt x="3593" y="13625"/>
                  <a:pt x="3562" y="13812"/>
                  <a:pt x="3562" y="14031"/>
                </a:cubicBezTo>
                <a:cubicBezTo>
                  <a:pt x="3593" y="14000"/>
                  <a:pt x="3593" y="13937"/>
                  <a:pt x="3593" y="13906"/>
                </a:cubicBezTo>
                <a:cubicBezTo>
                  <a:pt x="3593" y="13906"/>
                  <a:pt x="3593" y="13875"/>
                  <a:pt x="3593" y="13875"/>
                </a:cubicBezTo>
                <a:cubicBezTo>
                  <a:pt x="3593" y="13875"/>
                  <a:pt x="3625" y="13875"/>
                  <a:pt x="3625" y="13906"/>
                </a:cubicBezTo>
                <a:cubicBezTo>
                  <a:pt x="3625" y="13937"/>
                  <a:pt x="3687" y="13969"/>
                  <a:pt x="3656" y="14031"/>
                </a:cubicBezTo>
                <a:cubicBezTo>
                  <a:pt x="3593" y="14125"/>
                  <a:pt x="3593" y="14250"/>
                  <a:pt x="3562" y="14344"/>
                </a:cubicBezTo>
                <a:cubicBezTo>
                  <a:pt x="3562" y="14469"/>
                  <a:pt x="3562" y="14562"/>
                  <a:pt x="3625" y="14687"/>
                </a:cubicBezTo>
                <a:cubicBezTo>
                  <a:pt x="3687" y="14781"/>
                  <a:pt x="3781" y="14844"/>
                  <a:pt x="3843" y="14844"/>
                </a:cubicBezTo>
                <a:cubicBezTo>
                  <a:pt x="3781" y="14781"/>
                  <a:pt x="3718" y="14719"/>
                  <a:pt x="3687" y="14656"/>
                </a:cubicBezTo>
                <a:cubicBezTo>
                  <a:pt x="3656" y="14531"/>
                  <a:pt x="3656" y="14406"/>
                  <a:pt x="3656" y="14281"/>
                </a:cubicBezTo>
                <a:cubicBezTo>
                  <a:pt x="3656" y="14281"/>
                  <a:pt x="3687" y="14250"/>
                  <a:pt x="3687" y="14281"/>
                </a:cubicBezTo>
                <a:cubicBezTo>
                  <a:pt x="3687" y="14281"/>
                  <a:pt x="3656" y="14344"/>
                  <a:pt x="3718" y="14344"/>
                </a:cubicBezTo>
                <a:cubicBezTo>
                  <a:pt x="3718" y="14344"/>
                  <a:pt x="3718" y="14344"/>
                  <a:pt x="3718" y="14344"/>
                </a:cubicBezTo>
                <a:cubicBezTo>
                  <a:pt x="3718" y="14437"/>
                  <a:pt x="3750" y="14531"/>
                  <a:pt x="3812" y="14625"/>
                </a:cubicBezTo>
                <a:cubicBezTo>
                  <a:pt x="3812" y="14625"/>
                  <a:pt x="3812" y="14656"/>
                  <a:pt x="3843" y="14687"/>
                </a:cubicBezTo>
                <a:cubicBezTo>
                  <a:pt x="3906" y="14750"/>
                  <a:pt x="3968" y="14812"/>
                  <a:pt x="4031" y="14875"/>
                </a:cubicBezTo>
                <a:cubicBezTo>
                  <a:pt x="4062" y="14906"/>
                  <a:pt x="4093" y="14969"/>
                  <a:pt x="4156" y="14969"/>
                </a:cubicBezTo>
                <a:cubicBezTo>
                  <a:pt x="4250" y="14969"/>
                  <a:pt x="4343" y="15000"/>
                  <a:pt x="4437" y="15062"/>
                </a:cubicBezTo>
                <a:cubicBezTo>
                  <a:pt x="4468" y="15094"/>
                  <a:pt x="4531" y="15062"/>
                  <a:pt x="4593" y="15094"/>
                </a:cubicBezTo>
                <a:cubicBezTo>
                  <a:pt x="4625" y="15094"/>
                  <a:pt x="4625" y="15062"/>
                  <a:pt x="4593" y="15031"/>
                </a:cubicBezTo>
                <a:cubicBezTo>
                  <a:pt x="4593" y="15000"/>
                  <a:pt x="4593" y="14937"/>
                  <a:pt x="4656" y="14906"/>
                </a:cubicBezTo>
                <a:cubicBezTo>
                  <a:pt x="4687" y="14906"/>
                  <a:pt x="4718" y="14937"/>
                  <a:pt x="4750" y="14937"/>
                </a:cubicBezTo>
                <a:cubicBezTo>
                  <a:pt x="4718" y="14937"/>
                  <a:pt x="4718" y="14969"/>
                  <a:pt x="4718" y="15000"/>
                </a:cubicBezTo>
                <a:cubicBezTo>
                  <a:pt x="4718" y="15062"/>
                  <a:pt x="4750" y="15031"/>
                  <a:pt x="4781" y="15000"/>
                </a:cubicBezTo>
                <a:cubicBezTo>
                  <a:pt x="4812" y="15000"/>
                  <a:pt x="4843" y="14969"/>
                  <a:pt x="4875" y="14969"/>
                </a:cubicBezTo>
                <a:cubicBezTo>
                  <a:pt x="4906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4937" y="14969"/>
                  <a:pt x="4937" y="14969"/>
                  <a:pt x="4937" y="14969"/>
                </a:cubicBezTo>
                <a:cubicBezTo>
                  <a:pt x="5000" y="14937"/>
                  <a:pt x="5031" y="15000"/>
                  <a:pt x="5031" y="15031"/>
                </a:cubicBezTo>
                <a:cubicBezTo>
                  <a:pt x="5031" y="15062"/>
                  <a:pt x="5093" y="15094"/>
                  <a:pt x="5031" y="15094"/>
                </a:cubicBezTo>
                <a:cubicBezTo>
                  <a:pt x="5000" y="15094"/>
                  <a:pt x="4968" y="15094"/>
                  <a:pt x="4937" y="15125"/>
                </a:cubicBezTo>
                <a:cubicBezTo>
                  <a:pt x="4875" y="15062"/>
                  <a:pt x="4812" y="15094"/>
                  <a:pt x="4750" y="15125"/>
                </a:cubicBezTo>
                <a:cubicBezTo>
                  <a:pt x="4687" y="15125"/>
                  <a:pt x="4625" y="15094"/>
                  <a:pt x="4625" y="15125"/>
                </a:cubicBezTo>
                <a:cubicBezTo>
                  <a:pt x="4593" y="15187"/>
                  <a:pt x="4531" y="15187"/>
                  <a:pt x="4500" y="15250"/>
                </a:cubicBezTo>
                <a:cubicBezTo>
                  <a:pt x="4500" y="15250"/>
                  <a:pt x="4500" y="15250"/>
                  <a:pt x="4468" y="15281"/>
                </a:cubicBezTo>
                <a:cubicBezTo>
                  <a:pt x="4468" y="15281"/>
                  <a:pt x="4468" y="15281"/>
                  <a:pt x="4468" y="15281"/>
                </a:cubicBezTo>
                <a:cubicBezTo>
                  <a:pt x="4562" y="15281"/>
                  <a:pt x="4656" y="15312"/>
                  <a:pt x="4750" y="15312"/>
                </a:cubicBezTo>
                <a:cubicBezTo>
                  <a:pt x="4750" y="15312"/>
                  <a:pt x="4750" y="15312"/>
                  <a:pt x="4750" y="15312"/>
                </a:cubicBezTo>
                <a:cubicBezTo>
                  <a:pt x="4750" y="15312"/>
                  <a:pt x="4750" y="15312"/>
                  <a:pt x="4750" y="15312"/>
                </a:cubicBezTo>
                <a:cubicBezTo>
                  <a:pt x="4812" y="15344"/>
                  <a:pt x="4906" y="15312"/>
                  <a:pt x="4968" y="15344"/>
                </a:cubicBezTo>
                <a:cubicBezTo>
                  <a:pt x="5187" y="15375"/>
                  <a:pt x="5375" y="15437"/>
                  <a:pt x="5593" y="15469"/>
                </a:cubicBezTo>
                <a:cubicBezTo>
                  <a:pt x="5656" y="15500"/>
                  <a:pt x="5718" y="15500"/>
                  <a:pt x="5750" y="15531"/>
                </a:cubicBezTo>
                <a:cubicBezTo>
                  <a:pt x="5781" y="15562"/>
                  <a:pt x="5812" y="15562"/>
                  <a:pt x="5843" y="15562"/>
                </a:cubicBezTo>
                <a:cubicBezTo>
                  <a:pt x="5843" y="15562"/>
                  <a:pt x="5875" y="15562"/>
                  <a:pt x="5906" y="15594"/>
                </a:cubicBezTo>
                <a:cubicBezTo>
                  <a:pt x="5937" y="15594"/>
                  <a:pt x="6000" y="15625"/>
                  <a:pt x="6031" y="15625"/>
                </a:cubicBezTo>
                <a:cubicBezTo>
                  <a:pt x="6156" y="15687"/>
                  <a:pt x="6281" y="15719"/>
                  <a:pt x="6375" y="15781"/>
                </a:cubicBezTo>
                <a:cubicBezTo>
                  <a:pt x="6500" y="15812"/>
                  <a:pt x="6593" y="15875"/>
                  <a:pt x="6718" y="15937"/>
                </a:cubicBezTo>
                <a:cubicBezTo>
                  <a:pt x="6843" y="15969"/>
                  <a:pt x="7000" y="16031"/>
                  <a:pt x="7125" y="16094"/>
                </a:cubicBezTo>
                <a:cubicBezTo>
                  <a:pt x="7343" y="16156"/>
                  <a:pt x="7562" y="16219"/>
                  <a:pt x="7750" y="16281"/>
                </a:cubicBezTo>
                <a:cubicBezTo>
                  <a:pt x="7843" y="16344"/>
                  <a:pt x="7968" y="16375"/>
                  <a:pt x="8062" y="16406"/>
                </a:cubicBezTo>
                <a:cubicBezTo>
                  <a:pt x="8125" y="16469"/>
                  <a:pt x="8187" y="16469"/>
                  <a:pt x="8218" y="16500"/>
                </a:cubicBezTo>
                <a:cubicBezTo>
                  <a:pt x="8250" y="16500"/>
                  <a:pt x="8281" y="16531"/>
                  <a:pt x="8281" y="16500"/>
                </a:cubicBezTo>
                <a:cubicBezTo>
                  <a:pt x="8281" y="16500"/>
                  <a:pt x="8281" y="16469"/>
                  <a:pt x="8250" y="16469"/>
                </a:cubicBezTo>
                <a:cubicBezTo>
                  <a:pt x="8156" y="16437"/>
                  <a:pt x="8093" y="16406"/>
                  <a:pt x="8031" y="16344"/>
                </a:cubicBezTo>
                <a:cubicBezTo>
                  <a:pt x="8062" y="16281"/>
                  <a:pt x="8093" y="16344"/>
                  <a:pt x="8125" y="16312"/>
                </a:cubicBezTo>
                <a:cubicBezTo>
                  <a:pt x="8093" y="16281"/>
                  <a:pt x="8062" y="16250"/>
                  <a:pt x="8031" y="16219"/>
                </a:cubicBezTo>
                <a:cubicBezTo>
                  <a:pt x="8000" y="16219"/>
                  <a:pt x="8000" y="16219"/>
                  <a:pt x="8000" y="16219"/>
                </a:cubicBezTo>
                <a:cubicBezTo>
                  <a:pt x="7937" y="16219"/>
                  <a:pt x="7937" y="16219"/>
                  <a:pt x="7968" y="16250"/>
                </a:cubicBezTo>
                <a:cubicBezTo>
                  <a:pt x="7968" y="16281"/>
                  <a:pt x="8000" y="16281"/>
                  <a:pt x="8000" y="16312"/>
                </a:cubicBezTo>
                <a:cubicBezTo>
                  <a:pt x="7937" y="16312"/>
                  <a:pt x="7875" y="16281"/>
                  <a:pt x="7843" y="16281"/>
                </a:cubicBezTo>
                <a:cubicBezTo>
                  <a:pt x="7718" y="16219"/>
                  <a:pt x="7593" y="16187"/>
                  <a:pt x="7468" y="16156"/>
                </a:cubicBezTo>
                <a:cubicBezTo>
                  <a:pt x="7312" y="16094"/>
                  <a:pt x="7156" y="16031"/>
                  <a:pt x="7000" y="15969"/>
                </a:cubicBezTo>
                <a:cubicBezTo>
                  <a:pt x="6875" y="15937"/>
                  <a:pt x="6750" y="15906"/>
                  <a:pt x="6656" y="15844"/>
                </a:cubicBezTo>
                <a:cubicBezTo>
                  <a:pt x="6531" y="15750"/>
                  <a:pt x="6375" y="15687"/>
                  <a:pt x="6218" y="15625"/>
                </a:cubicBezTo>
                <a:cubicBezTo>
                  <a:pt x="6187" y="15625"/>
                  <a:pt x="6156" y="15594"/>
                  <a:pt x="6125" y="15594"/>
                </a:cubicBezTo>
                <a:cubicBezTo>
                  <a:pt x="5906" y="15500"/>
                  <a:pt x="5687" y="15437"/>
                  <a:pt x="5468" y="15375"/>
                </a:cubicBezTo>
                <a:cubicBezTo>
                  <a:pt x="5281" y="15344"/>
                  <a:pt x="5093" y="15281"/>
                  <a:pt x="4906" y="15281"/>
                </a:cubicBezTo>
                <a:cubicBezTo>
                  <a:pt x="4875" y="15281"/>
                  <a:pt x="4812" y="15312"/>
                  <a:pt x="4750" y="15250"/>
                </a:cubicBezTo>
                <a:cubicBezTo>
                  <a:pt x="4718" y="15250"/>
                  <a:pt x="4687" y="15250"/>
                  <a:pt x="4625" y="15250"/>
                </a:cubicBezTo>
                <a:cubicBezTo>
                  <a:pt x="4687" y="15250"/>
                  <a:pt x="4718" y="15250"/>
                  <a:pt x="4750" y="15250"/>
                </a:cubicBezTo>
                <a:cubicBezTo>
                  <a:pt x="4781" y="15219"/>
                  <a:pt x="4812" y="15219"/>
                  <a:pt x="4843" y="15187"/>
                </a:cubicBezTo>
                <a:cubicBezTo>
                  <a:pt x="4812" y="15187"/>
                  <a:pt x="4750" y="15187"/>
                  <a:pt x="4718" y="15187"/>
                </a:cubicBezTo>
                <a:cubicBezTo>
                  <a:pt x="4718" y="15156"/>
                  <a:pt x="4750" y="15156"/>
                  <a:pt x="4750" y="15156"/>
                </a:cubicBezTo>
                <a:cubicBezTo>
                  <a:pt x="4812" y="15156"/>
                  <a:pt x="4875" y="15156"/>
                  <a:pt x="4937" y="15125"/>
                </a:cubicBezTo>
                <a:cubicBezTo>
                  <a:pt x="4968" y="15125"/>
                  <a:pt x="4968" y="15156"/>
                  <a:pt x="5000" y="15156"/>
                </a:cubicBezTo>
                <a:cubicBezTo>
                  <a:pt x="5031" y="15187"/>
                  <a:pt x="5093" y="15156"/>
                  <a:pt x="5125" y="15187"/>
                </a:cubicBezTo>
                <a:cubicBezTo>
                  <a:pt x="5156" y="15187"/>
                  <a:pt x="5187" y="15187"/>
                  <a:pt x="5218" y="15187"/>
                </a:cubicBezTo>
                <a:cubicBezTo>
                  <a:pt x="5312" y="15219"/>
                  <a:pt x="5406" y="15219"/>
                  <a:pt x="5500" y="15250"/>
                </a:cubicBezTo>
                <a:cubicBezTo>
                  <a:pt x="5406" y="15219"/>
                  <a:pt x="5312" y="15219"/>
                  <a:pt x="5218" y="15187"/>
                </a:cubicBezTo>
                <a:cubicBezTo>
                  <a:pt x="5218" y="15219"/>
                  <a:pt x="5187" y="15219"/>
                  <a:pt x="5187" y="15250"/>
                </a:cubicBezTo>
                <a:cubicBezTo>
                  <a:pt x="5218" y="15281"/>
                  <a:pt x="5281" y="15281"/>
                  <a:pt x="5312" y="15281"/>
                </a:cubicBezTo>
                <a:cubicBezTo>
                  <a:pt x="5406" y="15312"/>
                  <a:pt x="5468" y="15312"/>
                  <a:pt x="5562" y="15344"/>
                </a:cubicBezTo>
                <a:cubicBezTo>
                  <a:pt x="5812" y="15406"/>
                  <a:pt x="6062" y="15469"/>
                  <a:pt x="6312" y="15594"/>
                </a:cubicBezTo>
                <a:cubicBezTo>
                  <a:pt x="6406" y="15625"/>
                  <a:pt x="6468" y="15687"/>
                  <a:pt x="6593" y="15719"/>
                </a:cubicBezTo>
                <a:cubicBezTo>
                  <a:pt x="6593" y="15719"/>
                  <a:pt x="6593" y="15719"/>
                  <a:pt x="6593" y="15719"/>
                </a:cubicBezTo>
                <a:cubicBezTo>
                  <a:pt x="6656" y="15750"/>
                  <a:pt x="6718" y="15781"/>
                  <a:pt x="6781" y="15812"/>
                </a:cubicBezTo>
                <a:cubicBezTo>
                  <a:pt x="6875" y="15875"/>
                  <a:pt x="7000" y="15906"/>
                  <a:pt x="7156" y="15937"/>
                </a:cubicBezTo>
                <a:cubicBezTo>
                  <a:pt x="7156" y="15937"/>
                  <a:pt x="7156" y="15937"/>
                  <a:pt x="7156" y="15937"/>
                </a:cubicBezTo>
                <a:cubicBezTo>
                  <a:pt x="7187" y="15969"/>
                  <a:pt x="7218" y="16000"/>
                  <a:pt x="7281" y="15969"/>
                </a:cubicBezTo>
                <a:cubicBezTo>
                  <a:pt x="7250" y="15937"/>
                  <a:pt x="7187" y="15937"/>
                  <a:pt x="7156" y="15937"/>
                </a:cubicBezTo>
                <a:cubicBezTo>
                  <a:pt x="7031" y="15875"/>
                  <a:pt x="6906" y="15844"/>
                  <a:pt x="6781" y="15781"/>
                </a:cubicBezTo>
                <a:cubicBezTo>
                  <a:pt x="6718" y="15750"/>
                  <a:pt x="6656" y="15719"/>
                  <a:pt x="6593" y="15687"/>
                </a:cubicBezTo>
                <a:cubicBezTo>
                  <a:pt x="6531" y="15687"/>
                  <a:pt x="6500" y="15625"/>
                  <a:pt x="6437" y="15625"/>
                </a:cubicBezTo>
                <a:cubicBezTo>
                  <a:pt x="6156" y="15469"/>
                  <a:pt x="5843" y="15344"/>
                  <a:pt x="5500" y="15281"/>
                </a:cubicBezTo>
                <a:cubicBezTo>
                  <a:pt x="5500" y="15281"/>
                  <a:pt x="5500" y="15281"/>
                  <a:pt x="5500" y="15281"/>
                </a:cubicBezTo>
                <a:cubicBezTo>
                  <a:pt x="5625" y="15250"/>
                  <a:pt x="5718" y="15312"/>
                  <a:pt x="5843" y="15344"/>
                </a:cubicBezTo>
                <a:cubicBezTo>
                  <a:pt x="6000" y="15375"/>
                  <a:pt x="6125" y="15437"/>
                  <a:pt x="6281" y="15469"/>
                </a:cubicBezTo>
                <a:cubicBezTo>
                  <a:pt x="6343" y="15500"/>
                  <a:pt x="6437" y="15531"/>
                  <a:pt x="6531" y="15594"/>
                </a:cubicBezTo>
                <a:cubicBezTo>
                  <a:pt x="6781" y="15719"/>
                  <a:pt x="7031" y="15812"/>
                  <a:pt x="7312" y="15906"/>
                </a:cubicBezTo>
                <a:cubicBezTo>
                  <a:pt x="7531" y="15969"/>
                  <a:pt x="7718" y="16031"/>
                  <a:pt x="7906" y="16125"/>
                </a:cubicBezTo>
                <a:cubicBezTo>
                  <a:pt x="7937" y="16156"/>
                  <a:pt x="8000" y="16156"/>
                  <a:pt x="8000" y="16219"/>
                </a:cubicBezTo>
                <a:cubicBezTo>
                  <a:pt x="8000" y="16219"/>
                  <a:pt x="8000" y="16219"/>
                  <a:pt x="8031" y="16219"/>
                </a:cubicBezTo>
                <a:cubicBezTo>
                  <a:pt x="8031" y="16219"/>
                  <a:pt x="8062" y="16219"/>
                  <a:pt x="8093" y="16219"/>
                </a:cubicBezTo>
                <a:cubicBezTo>
                  <a:pt x="8218" y="16250"/>
                  <a:pt x="8312" y="16375"/>
                  <a:pt x="8437" y="16375"/>
                </a:cubicBezTo>
                <a:cubicBezTo>
                  <a:pt x="8437" y="16375"/>
                  <a:pt x="8468" y="16406"/>
                  <a:pt x="8437" y="16406"/>
                </a:cubicBezTo>
                <a:cubicBezTo>
                  <a:pt x="8437" y="16437"/>
                  <a:pt x="8437" y="16437"/>
                  <a:pt x="8406" y="16437"/>
                </a:cubicBezTo>
                <a:cubicBezTo>
                  <a:pt x="8343" y="16406"/>
                  <a:pt x="8281" y="16375"/>
                  <a:pt x="8187" y="16344"/>
                </a:cubicBezTo>
                <a:cubicBezTo>
                  <a:pt x="8312" y="16437"/>
                  <a:pt x="8437" y="16469"/>
                  <a:pt x="8531" y="16562"/>
                </a:cubicBezTo>
                <a:cubicBezTo>
                  <a:pt x="8468" y="16531"/>
                  <a:pt x="8437" y="16500"/>
                  <a:pt x="8375" y="16531"/>
                </a:cubicBezTo>
                <a:cubicBezTo>
                  <a:pt x="8343" y="16531"/>
                  <a:pt x="8343" y="16531"/>
                  <a:pt x="8343" y="16531"/>
                </a:cubicBezTo>
                <a:cubicBezTo>
                  <a:pt x="8343" y="16531"/>
                  <a:pt x="8343" y="16500"/>
                  <a:pt x="8343" y="16500"/>
                </a:cubicBezTo>
                <a:lnTo>
                  <a:pt x="8343" y="16500"/>
                </a:lnTo>
                <a:cubicBezTo>
                  <a:pt x="8375" y="16500"/>
                  <a:pt x="8375" y="16531"/>
                  <a:pt x="8375" y="16531"/>
                </a:cubicBezTo>
                <a:cubicBezTo>
                  <a:pt x="8375" y="16562"/>
                  <a:pt x="8406" y="16562"/>
                  <a:pt x="8437" y="16594"/>
                </a:cubicBezTo>
                <a:cubicBezTo>
                  <a:pt x="8562" y="16594"/>
                  <a:pt x="8625" y="16687"/>
                  <a:pt x="8750" y="16719"/>
                </a:cubicBezTo>
                <a:cubicBezTo>
                  <a:pt x="8750" y="16719"/>
                  <a:pt x="8812" y="16750"/>
                  <a:pt x="8781" y="16781"/>
                </a:cubicBezTo>
                <a:cubicBezTo>
                  <a:pt x="8781" y="16781"/>
                  <a:pt x="8750" y="16750"/>
                  <a:pt x="8718" y="16750"/>
                </a:cubicBezTo>
                <a:cubicBezTo>
                  <a:pt x="8593" y="16687"/>
                  <a:pt x="8500" y="16625"/>
                  <a:pt x="8343" y="16594"/>
                </a:cubicBezTo>
                <a:cubicBezTo>
                  <a:pt x="8250" y="16594"/>
                  <a:pt x="8125" y="16594"/>
                  <a:pt x="8031" y="16531"/>
                </a:cubicBezTo>
                <a:cubicBezTo>
                  <a:pt x="7968" y="16469"/>
                  <a:pt x="7875" y="16437"/>
                  <a:pt x="7781" y="16406"/>
                </a:cubicBezTo>
                <a:cubicBezTo>
                  <a:pt x="7718" y="16375"/>
                  <a:pt x="7656" y="16344"/>
                  <a:pt x="7593" y="16344"/>
                </a:cubicBezTo>
                <a:cubicBezTo>
                  <a:pt x="7500" y="16312"/>
                  <a:pt x="7406" y="16281"/>
                  <a:pt x="7312" y="16250"/>
                </a:cubicBezTo>
                <a:cubicBezTo>
                  <a:pt x="7281" y="16250"/>
                  <a:pt x="7250" y="16250"/>
                  <a:pt x="7250" y="16219"/>
                </a:cubicBezTo>
                <a:cubicBezTo>
                  <a:pt x="7250" y="16219"/>
                  <a:pt x="7250" y="16219"/>
                  <a:pt x="7250" y="16219"/>
                </a:cubicBezTo>
                <a:cubicBezTo>
                  <a:pt x="7093" y="16219"/>
                  <a:pt x="6968" y="16156"/>
                  <a:pt x="6843" y="16094"/>
                </a:cubicBezTo>
                <a:cubicBezTo>
                  <a:pt x="6718" y="16062"/>
                  <a:pt x="6593" y="16000"/>
                  <a:pt x="6468" y="15937"/>
                </a:cubicBezTo>
                <a:cubicBezTo>
                  <a:pt x="6375" y="15875"/>
                  <a:pt x="6250" y="15812"/>
                  <a:pt x="6125" y="15781"/>
                </a:cubicBezTo>
                <a:cubicBezTo>
                  <a:pt x="5937" y="15719"/>
                  <a:pt x="5718" y="15594"/>
                  <a:pt x="5531" y="15562"/>
                </a:cubicBezTo>
                <a:cubicBezTo>
                  <a:pt x="5468" y="15562"/>
                  <a:pt x="5437" y="15531"/>
                  <a:pt x="5406" y="15500"/>
                </a:cubicBezTo>
                <a:cubicBezTo>
                  <a:pt x="5468" y="15500"/>
                  <a:pt x="5531" y="15500"/>
                  <a:pt x="5562" y="15531"/>
                </a:cubicBezTo>
                <a:cubicBezTo>
                  <a:pt x="5750" y="15594"/>
                  <a:pt x="5937" y="15656"/>
                  <a:pt x="6125" y="15750"/>
                </a:cubicBezTo>
                <a:cubicBezTo>
                  <a:pt x="6250" y="15781"/>
                  <a:pt x="6375" y="15844"/>
                  <a:pt x="6468" y="15906"/>
                </a:cubicBezTo>
                <a:cubicBezTo>
                  <a:pt x="6593" y="15906"/>
                  <a:pt x="6656" y="15969"/>
                  <a:pt x="6750" y="16000"/>
                </a:cubicBezTo>
                <a:cubicBezTo>
                  <a:pt x="6843" y="16062"/>
                  <a:pt x="6937" y="16094"/>
                  <a:pt x="7062" y="16125"/>
                </a:cubicBezTo>
                <a:cubicBezTo>
                  <a:pt x="7125" y="16156"/>
                  <a:pt x="7187" y="16187"/>
                  <a:pt x="7250" y="16219"/>
                </a:cubicBezTo>
                <a:cubicBezTo>
                  <a:pt x="7343" y="16219"/>
                  <a:pt x="7437" y="16281"/>
                  <a:pt x="7562" y="16312"/>
                </a:cubicBezTo>
                <a:cubicBezTo>
                  <a:pt x="7593" y="16312"/>
                  <a:pt x="7625" y="16281"/>
                  <a:pt x="7656" y="16344"/>
                </a:cubicBezTo>
                <a:cubicBezTo>
                  <a:pt x="7656" y="16344"/>
                  <a:pt x="7687" y="16344"/>
                  <a:pt x="7687" y="16344"/>
                </a:cubicBezTo>
                <a:cubicBezTo>
                  <a:pt x="7687" y="16344"/>
                  <a:pt x="7687" y="16344"/>
                  <a:pt x="7687" y="16344"/>
                </a:cubicBezTo>
                <a:lnTo>
                  <a:pt x="7687" y="16344"/>
                </a:lnTo>
                <a:cubicBezTo>
                  <a:pt x="7906" y="16406"/>
                  <a:pt x="8062" y="16500"/>
                  <a:pt x="8250" y="16562"/>
                </a:cubicBezTo>
                <a:cubicBezTo>
                  <a:pt x="8281" y="16594"/>
                  <a:pt x="8312" y="16594"/>
                  <a:pt x="8343" y="16594"/>
                </a:cubicBezTo>
                <a:cubicBezTo>
                  <a:pt x="8343" y="16656"/>
                  <a:pt x="8406" y="16656"/>
                  <a:pt x="8437" y="16656"/>
                </a:cubicBezTo>
                <a:cubicBezTo>
                  <a:pt x="8500" y="16687"/>
                  <a:pt x="8562" y="16719"/>
                  <a:pt x="8593" y="16750"/>
                </a:cubicBezTo>
                <a:cubicBezTo>
                  <a:pt x="8593" y="16781"/>
                  <a:pt x="8562" y="16781"/>
                  <a:pt x="8531" y="16781"/>
                </a:cubicBezTo>
                <a:cubicBezTo>
                  <a:pt x="8625" y="16875"/>
                  <a:pt x="8812" y="16969"/>
                  <a:pt x="8875" y="16937"/>
                </a:cubicBezTo>
                <a:cubicBezTo>
                  <a:pt x="8843" y="16906"/>
                  <a:pt x="8843" y="16906"/>
                  <a:pt x="8843" y="16875"/>
                </a:cubicBezTo>
                <a:cubicBezTo>
                  <a:pt x="8906" y="16875"/>
                  <a:pt x="8937" y="16906"/>
                  <a:pt x="8968" y="16937"/>
                </a:cubicBezTo>
                <a:cubicBezTo>
                  <a:pt x="8906" y="16969"/>
                  <a:pt x="9000" y="17000"/>
                  <a:pt x="8968" y="17062"/>
                </a:cubicBezTo>
                <a:cubicBezTo>
                  <a:pt x="9000" y="17062"/>
                  <a:pt x="9000" y="17062"/>
                  <a:pt x="9031" y="17062"/>
                </a:cubicBezTo>
                <a:cubicBezTo>
                  <a:pt x="9031" y="17000"/>
                  <a:pt x="9093" y="17062"/>
                  <a:pt x="9093" y="17062"/>
                </a:cubicBezTo>
                <a:cubicBezTo>
                  <a:pt x="9093" y="17062"/>
                  <a:pt x="9093" y="17062"/>
                  <a:pt x="9093" y="17062"/>
                </a:cubicBezTo>
                <a:cubicBezTo>
                  <a:pt x="9093" y="17062"/>
                  <a:pt x="9093" y="17062"/>
                  <a:pt x="9125" y="17062"/>
                </a:cubicBezTo>
                <a:cubicBezTo>
                  <a:pt x="9093" y="17062"/>
                  <a:pt x="9093" y="17094"/>
                  <a:pt x="9093" y="17094"/>
                </a:cubicBezTo>
                <a:cubicBezTo>
                  <a:pt x="9062" y="17094"/>
                  <a:pt x="9031" y="17094"/>
                  <a:pt x="9031" y="17062"/>
                </a:cubicBezTo>
                <a:cubicBezTo>
                  <a:pt x="9000" y="17062"/>
                  <a:pt x="9000" y="17062"/>
                  <a:pt x="8968" y="17062"/>
                </a:cubicBezTo>
                <a:cubicBezTo>
                  <a:pt x="8875" y="17031"/>
                  <a:pt x="8781" y="16969"/>
                  <a:pt x="8687" y="16937"/>
                </a:cubicBezTo>
                <a:cubicBezTo>
                  <a:pt x="8625" y="16906"/>
                  <a:pt x="8593" y="16875"/>
                  <a:pt x="8500" y="16875"/>
                </a:cubicBezTo>
                <a:cubicBezTo>
                  <a:pt x="8500" y="16875"/>
                  <a:pt x="8500" y="16875"/>
                  <a:pt x="8500" y="16844"/>
                </a:cubicBezTo>
                <a:cubicBezTo>
                  <a:pt x="8437" y="16812"/>
                  <a:pt x="8375" y="16844"/>
                  <a:pt x="8281" y="16812"/>
                </a:cubicBezTo>
                <a:cubicBezTo>
                  <a:pt x="8343" y="16844"/>
                  <a:pt x="8406" y="16906"/>
                  <a:pt x="8500" y="16875"/>
                </a:cubicBezTo>
                <a:cubicBezTo>
                  <a:pt x="8500" y="16875"/>
                  <a:pt x="8500" y="16875"/>
                  <a:pt x="8500" y="16875"/>
                </a:cubicBezTo>
                <a:cubicBezTo>
                  <a:pt x="8562" y="16937"/>
                  <a:pt x="8625" y="16937"/>
                  <a:pt x="8656" y="17000"/>
                </a:cubicBezTo>
                <a:cubicBezTo>
                  <a:pt x="8625" y="17031"/>
                  <a:pt x="8625" y="17062"/>
                  <a:pt x="8625" y="17094"/>
                </a:cubicBezTo>
                <a:cubicBezTo>
                  <a:pt x="8625" y="17094"/>
                  <a:pt x="8625" y="17094"/>
                  <a:pt x="8625" y="17094"/>
                </a:cubicBezTo>
                <a:cubicBezTo>
                  <a:pt x="8625" y="17094"/>
                  <a:pt x="8593" y="17094"/>
                  <a:pt x="8593" y="17094"/>
                </a:cubicBezTo>
                <a:cubicBezTo>
                  <a:pt x="8500" y="17062"/>
                  <a:pt x="8375" y="17062"/>
                  <a:pt x="8281" y="17000"/>
                </a:cubicBezTo>
                <a:cubicBezTo>
                  <a:pt x="8281" y="16969"/>
                  <a:pt x="8281" y="17000"/>
                  <a:pt x="8250" y="16969"/>
                </a:cubicBezTo>
                <a:cubicBezTo>
                  <a:pt x="8250" y="16937"/>
                  <a:pt x="8281" y="16906"/>
                  <a:pt x="8250" y="16875"/>
                </a:cubicBezTo>
                <a:cubicBezTo>
                  <a:pt x="8218" y="16875"/>
                  <a:pt x="8218" y="16844"/>
                  <a:pt x="8218" y="16844"/>
                </a:cubicBezTo>
                <a:cubicBezTo>
                  <a:pt x="8312" y="16750"/>
                  <a:pt x="8218" y="16750"/>
                  <a:pt x="8187" y="16719"/>
                </a:cubicBezTo>
                <a:cubicBezTo>
                  <a:pt x="8187" y="16687"/>
                  <a:pt x="8156" y="16656"/>
                  <a:pt x="8125" y="16656"/>
                </a:cubicBezTo>
                <a:cubicBezTo>
                  <a:pt x="7968" y="16562"/>
                  <a:pt x="7812" y="16500"/>
                  <a:pt x="7656" y="16437"/>
                </a:cubicBezTo>
                <a:cubicBezTo>
                  <a:pt x="7593" y="16437"/>
                  <a:pt x="7500" y="16375"/>
                  <a:pt x="7437" y="16375"/>
                </a:cubicBezTo>
                <a:cubicBezTo>
                  <a:pt x="7343" y="16344"/>
                  <a:pt x="7250" y="16312"/>
                  <a:pt x="7156" y="16281"/>
                </a:cubicBezTo>
                <a:cubicBezTo>
                  <a:pt x="6968" y="16219"/>
                  <a:pt x="6750" y="16125"/>
                  <a:pt x="6562" y="16062"/>
                </a:cubicBezTo>
                <a:cubicBezTo>
                  <a:pt x="6375" y="15969"/>
                  <a:pt x="6187" y="15875"/>
                  <a:pt x="6000" y="15812"/>
                </a:cubicBezTo>
                <a:cubicBezTo>
                  <a:pt x="5843" y="15719"/>
                  <a:pt x="5687" y="15687"/>
                  <a:pt x="5531" y="15625"/>
                </a:cubicBezTo>
                <a:cubicBezTo>
                  <a:pt x="5375" y="15562"/>
                  <a:pt x="5218" y="15531"/>
                  <a:pt x="5062" y="15500"/>
                </a:cubicBezTo>
                <a:cubicBezTo>
                  <a:pt x="4843" y="15437"/>
                  <a:pt x="4656" y="15406"/>
                  <a:pt x="4468" y="15375"/>
                </a:cubicBezTo>
                <a:cubicBezTo>
                  <a:pt x="4375" y="15375"/>
                  <a:pt x="4281" y="15406"/>
                  <a:pt x="4187" y="15437"/>
                </a:cubicBezTo>
                <a:cubicBezTo>
                  <a:pt x="4281" y="15437"/>
                  <a:pt x="4343" y="15437"/>
                  <a:pt x="4406" y="15437"/>
                </a:cubicBezTo>
                <a:cubicBezTo>
                  <a:pt x="4656" y="15469"/>
                  <a:pt x="4875" y="15500"/>
                  <a:pt x="5125" y="15562"/>
                </a:cubicBezTo>
                <a:cubicBezTo>
                  <a:pt x="5375" y="15625"/>
                  <a:pt x="5593" y="15719"/>
                  <a:pt x="5812" y="15781"/>
                </a:cubicBezTo>
                <a:cubicBezTo>
                  <a:pt x="5937" y="15844"/>
                  <a:pt x="6031" y="15906"/>
                  <a:pt x="6156" y="15937"/>
                </a:cubicBezTo>
                <a:cubicBezTo>
                  <a:pt x="6343" y="16000"/>
                  <a:pt x="6468" y="16062"/>
                  <a:pt x="6625" y="16156"/>
                </a:cubicBezTo>
                <a:cubicBezTo>
                  <a:pt x="6718" y="16187"/>
                  <a:pt x="6812" y="16219"/>
                  <a:pt x="6906" y="16250"/>
                </a:cubicBezTo>
                <a:cubicBezTo>
                  <a:pt x="6968" y="16281"/>
                  <a:pt x="7000" y="16312"/>
                  <a:pt x="7062" y="16312"/>
                </a:cubicBezTo>
                <a:cubicBezTo>
                  <a:pt x="7156" y="16344"/>
                  <a:pt x="7218" y="16375"/>
                  <a:pt x="7312" y="16406"/>
                </a:cubicBezTo>
                <a:cubicBezTo>
                  <a:pt x="7437" y="16437"/>
                  <a:pt x="7593" y="16500"/>
                  <a:pt x="7750" y="16562"/>
                </a:cubicBezTo>
                <a:cubicBezTo>
                  <a:pt x="7812" y="16562"/>
                  <a:pt x="7906" y="16594"/>
                  <a:pt x="7937" y="16656"/>
                </a:cubicBezTo>
                <a:cubicBezTo>
                  <a:pt x="7937" y="16687"/>
                  <a:pt x="7906" y="16656"/>
                  <a:pt x="7875" y="16656"/>
                </a:cubicBezTo>
                <a:cubicBezTo>
                  <a:pt x="7781" y="16656"/>
                  <a:pt x="7718" y="16594"/>
                  <a:pt x="7625" y="16594"/>
                </a:cubicBezTo>
                <a:cubicBezTo>
                  <a:pt x="7531" y="16531"/>
                  <a:pt x="7437" y="16500"/>
                  <a:pt x="7312" y="16500"/>
                </a:cubicBezTo>
                <a:cubicBezTo>
                  <a:pt x="7406" y="16562"/>
                  <a:pt x="7500" y="16594"/>
                  <a:pt x="7625" y="16594"/>
                </a:cubicBezTo>
                <a:cubicBezTo>
                  <a:pt x="7656" y="16625"/>
                  <a:pt x="7687" y="16625"/>
                  <a:pt x="7718" y="16656"/>
                </a:cubicBezTo>
                <a:cubicBezTo>
                  <a:pt x="7843" y="16687"/>
                  <a:pt x="8000" y="16750"/>
                  <a:pt x="8125" y="16844"/>
                </a:cubicBezTo>
                <a:cubicBezTo>
                  <a:pt x="8156" y="16844"/>
                  <a:pt x="8218" y="16875"/>
                  <a:pt x="8218" y="16906"/>
                </a:cubicBezTo>
                <a:cubicBezTo>
                  <a:pt x="8218" y="16937"/>
                  <a:pt x="8218" y="16937"/>
                  <a:pt x="8218" y="16937"/>
                </a:cubicBezTo>
                <a:cubicBezTo>
                  <a:pt x="8218" y="16937"/>
                  <a:pt x="8187" y="16937"/>
                  <a:pt x="8187" y="16937"/>
                </a:cubicBezTo>
                <a:cubicBezTo>
                  <a:pt x="8093" y="16844"/>
                  <a:pt x="7968" y="16812"/>
                  <a:pt x="7843" y="16781"/>
                </a:cubicBezTo>
                <a:cubicBezTo>
                  <a:pt x="7687" y="16719"/>
                  <a:pt x="7531" y="16656"/>
                  <a:pt x="7375" y="16625"/>
                </a:cubicBezTo>
                <a:cubicBezTo>
                  <a:pt x="7125" y="16562"/>
                  <a:pt x="6875" y="16437"/>
                  <a:pt x="6656" y="16344"/>
                </a:cubicBezTo>
                <a:cubicBezTo>
                  <a:pt x="6406" y="16250"/>
                  <a:pt x="6187" y="16125"/>
                  <a:pt x="5937" y="16031"/>
                </a:cubicBezTo>
                <a:cubicBezTo>
                  <a:pt x="5781" y="15969"/>
                  <a:pt x="5593" y="15906"/>
                  <a:pt x="5406" y="15812"/>
                </a:cubicBezTo>
                <a:cubicBezTo>
                  <a:pt x="5062" y="15687"/>
                  <a:pt x="4687" y="15594"/>
                  <a:pt x="4312" y="15562"/>
                </a:cubicBezTo>
                <a:cubicBezTo>
                  <a:pt x="4125" y="15562"/>
                  <a:pt x="4125" y="15562"/>
                  <a:pt x="4031" y="15594"/>
                </a:cubicBezTo>
                <a:cubicBezTo>
                  <a:pt x="4250" y="15594"/>
                  <a:pt x="4468" y="15656"/>
                  <a:pt x="4718" y="15687"/>
                </a:cubicBezTo>
                <a:cubicBezTo>
                  <a:pt x="4843" y="15719"/>
                  <a:pt x="4968" y="15719"/>
                  <a:pt x="5093" y="15781"/>
                </a:cubicBezTo>
                <a:cubicBezTo>
                  <a:pt x="5218" y="15844"/>
                  <a:pt x="5343" y="15875"/>
                  <a:pt x="5500" y="15937"/>
                </a:cubicBezTo>
                <a:cubicBezTo>
                  <a:pt x="5625" y="15969"/>
                  <a:pt x="5781" y="16062"/>
                  <a:pt x="5906" y="16094"/>
                </a:cubicBezTo>
                <a:cubicBezTo>
                  <a:pt x="5968" y="16125"/>
                  <a:pt x="6000" y="16125"/>
                  <a:pt x="6062" y="16156"/>
                </a:cubicBezTo>
                <a:cubicBezTo>
                  <a:pt x="6187" y="16219"/>
                  <a:pt x="6312" y="16250"/>
                  <a:pt x="6437" y="16312"/>
                </a:cubicBezTo>
                <a:cubicBezTo>
                  <a:pt x="6531" y="16344"/>
                  <a:pt x="6625" y="16375"/>
                  <a:pt x="6718" y="16406"/>
                </a:cubicBezTo>
                <a:cubicBezTo>
                  <a:pt x="6812" y="16469"/>
                  <a:pt x="6906" y="16531"/>
                  <a:pt x="7031" y="16562"/>
                </a:cubicBezTo>
                <a:cubicBezTo>
                  <a:pt x="7187" y="16594"/>
                  <a:pt x="7343" y="16656"/>
                  <a:pt x="7500" y="16719"/>
                </a:cubicBezTo>
                <a:cubicBezTo>
                  <a:pt x="7531" y="16719"/>
                  <a:pt x="7562" y="16719"/>
                  <a:pt x="7562" y="16750"/>
                </a:cubicBezTo>
                <a:cubicBezTo>
                  <a:pt x="7562" y="16781"/>
                  <a:pt x="7531" y="16812"/>
                  <a:pt x="7593" y="16844"/>
                </a:cubicBezTo>
                <a:cubicBezTo>
                  <a:pt x="7625" y="16844"/>
                  <a:pt x="7656" y="16875"/>
                  <a:pt x="7687" y="16875"/>
                </a:cubicBezTo>
                <a:cubicBezTo>
                  <a:pt x="7656" y="16812"/>
                  <a:pt x="7562" y="16844"/>
                  <a:pt x="7562" y="16781"/>
                </a:cubicBezTo>
                <a:cubicBezTo>
                  <a:pt x="7750" y="16781"/>
                  <a:pt x="7875" y="16844"/>
                  <a:pt x="8000" y="16906"/>
                </a:cubicBezTo>
                <a:cubicBezTo>
                  <a:pt x="8093" y="16937"/>
                  <a:pt x="8187" y="17000"/>
                  <a:pt x="8250" y="17031"/>
                </a:cubicBezTo>
                <a:cubicBezTo>
                  <a:pt x="8281" y="17062"/>
                  <a:pt x="8281" y="17062"/>
                  <a:pt x="8312" y="17062"/>
                </a:cubicBezTo>
                <a:cubicBezTo>
                  <a:pt x="8406" y="17094"/>
                  <a:pt x="8500" y="17094"/>
                  <a:pt x="8593" y="17156"/>
                </a:cubicBezTo>
                <a:cubicBezTo>
                  <a:pt x="8625" y="17156"/>
                  <a:pt x="8656" y="17187"/>
                  <a:pt x="8687" y="17219"/>
                </a:cubicBezTo>
                <a:cubicBezTo>
                  <a:pt x="8656" y="17250"/>
                  <a:pt x="8656" y="17281"/>
                  <a:pt x="8718" y="17312"/>
                </a:cubicBezTo>
                <a:cubicBezTo>
                  <a:pt x="8781" y="17344"/>
                  <a:pt x="8843" y="17375"/>
                  <a:pt x="8906" y="17437"/>
                </a:cubicBezTo>
                <a:cubicBezTo>
                  <a:pt x="8937" y="17469"/>
                  <a:pt x="9000" y="17500"/>
                  <a:pt x="9062" y="17500"/>
                </a:cubicBezTo>
                <a:cubicBezTo>
                  <a:pt x="9125" y="17500"/>
                  <a:pt x="9156" y="17500"/>
                  <a:pt x="9218" y="17531"/>
                </a:cubicBezTo>
                <a:cubicBezTo>
                  <a:pt x="9312" y="17594"/>
                  <a:pt x="9406" y="17625"/>
                  <a:pt x="9500" y="17656"/>
                </a:cubicBezTo>
                <a:cubicBezTo>
                  <a:pt x="9531" y="17687"/>
                  <a:pt x="9562" y="17687"/>
                  <a:pt x="9562" y="17656"/>
                </a:cubicBezTo>
                <a:cubicBezTo>
                  <a:pt x="9500" y="17594"/>
                  <a:pt x="9406" y="17562"/>
                  <a:pt x="9312" y="17531"/>
                </a:cubicBezTo>
                <a:cubicBezTo>
                  <a:pt x="9218" y="17500"/>
                  <a:pt x="9156" y="17437"/>
                  <a:pt x="9062" y="17437"/>
                </a:cubicBezTo>
                <a:cubicBezTo>
                  <a:pt x="9000" y="17437"/>
                  <a:pt x="8937" y="17406"/>
                  <a:pt x="8937" y="17344"/>
                </a:cubicBezTo>
                <a:cubicBezTo>
                  <a:pt x="9000" y="17344"/>
                  <a:pt x="9031" y="17344"/>
                  <a:pt x="9093" y="17375"/>
                </a:cubicBezTo>
                <a:cubicBezTo>
                  <a:pt x="9187" y="17437"/>
                  <a:pt x="9250" y="17469"/>
                  <a:pt x="9343" y="17469"/>
                </a:cubicBezTo>
                <a:cubicBezTo>
                  <a:pt x="9375" y="17500"/>
                  <a:pt x="9375" y="17500"/>
                  <a:pt x="9375" y="17469"/>
                </a:cubicBezTo>
                <a:cubicBezTo>
                  <a:pt x="9312" y="17406"/>
                  <a:pt x="9250" y="17375"/>
                  <a:pt x="9156" y="17344"/>
                </a:cubicBezTo>
                <a:cubicBezTo>
                  <a:pt x="9125" y="17344"/>
                  <a:pt x="9093" y="17312"/>
                  <a:pt x="9156" y="17281"/>
                </a:cubicBezTo>
                <a:cubicBezTo>
                  <a:pt x="9218" y="17344"/>
                  <a:pt x="9343" y="17344"/>
                  <a:pt x="9406" y="17406"/>
                </a:cubicBezTo>
                <a:cubicBezTo>
                  <a:pt x="9406" y="17437"/>
                  <a:pt x="9437" y="17406"/>
                  <a:pt x="9437" y="17406"/>
                </a:cubicBezTo>
                <a:cubicBezTo>
                  <a:pt x="9437" y="17312"/>
                  <a:pt x="9343" y="17250"/>
                  <a:pt x="9343" y="17187"/>
                </a:cubicBezTo>
                <a:cubicBezTo>
                  <a:pt x="9312" y="17187"/>
                  <a:pt x="9312" y="17187"/>
                  <a:pt x="9312" y="17187"/>
                </a:cubicBezTo>
                <a:cubicBezTo>
                  <a:pt x="9250" y="17187"/>
                  <a:pt x="9218" y="17156"/>
                  <a:pt x="9187" y="17156"/>
                </a:cubicBezTo>
                <a:cubicBezTo>
                  <a:pt x="9187" y="17156"/>
                  <a:pt x="9187" y="17156"/>
                  <a:pt x="9187" y="17156"/>
                </a:cubicBezTo>
                <a:cubicBezTo>
                  <a:pt x="9187" y="17156"/>
                  <a:pt x="9187" y="17156"/>
                  <a:pt x="9187" y="17156"/>
                </a:cubicBezTo>
                <a:cubicBezTo>
                  <a:pt x="9156" y="17156"/>
                  <a:pt x="9156" y="17125"/>
                  <a:pt x="9125" y="17094"/>
                </a:cubicBezTo>
                <a:cubicBezTo>
                  <a:pt x="9125" y="17094"/>
                  <a:pt x="9125" y="17094"/>
                  <a:pt x="9125" y="17062"/>
                </a:cubicBezTo>
                <a:cubicBezTo>
                  <a:pt x="9156" y="17062"/>
                  <a:pt x="9156" y="17031"/>
                  <a:pt x="9156" y="17000"/>
                </a:cubicBezTo>
                <a:cubicBezTo>
                  <a:pt x="9125" y="16969"/>
                  <a:pt x="9156" y="16875"/>
                  <a:pt x="9062" y="16875"/>
                </a:cubicBezTo>
                <a:cubicBezTo>
                  <a:pt x="9062" y="16844"/>
                  <a:pt x="9031" y="16844"/>
                  <a:pt x="9000" y="16812"/>
                </a:cubicBezTo>
                <a:cubicBezTo>
                  <a:pt x="8968" y="16812"/>
                  <a:pt x="8937" y="16812"/>
                  <a:pt x="8937" y="16750"/>
                </a:cubicBezTo>
                <a:cubicBezTo>
                  <a:pt x="9093" y="16781"/>
                  <a:pt x="9218" y="16812"/>
                  <a:pt x="9375" y="16844"/>
                </a:cubicBezTo>
                <a:cubicBezTo>
                  <a:pt x="9468" y="16875"/>
                  <a:pt x="9531" y="16906"/>
                  <a:pt x="9625" y="16937"/>
                </a:cubicBezTo>
                <a:cubicBezTo>
                  <a:pt x="9625" y="16969"/>
                  <a:pt x="9656" y="16969"/>
                  <a:pt x="9656" y="16969"/>
                </a:cubicBezTo>
                <a:cubicBezTo>
                  <a:pt x="9656" y="16937"/>
                  <a:pt x="9656" y="16906"/>
                  <a:pt x="9656" y="16906"/>
                </a:cubicBezTo>
                <a:cubicBezTo>
                  <a:pt x="9656" y="16875"/>
                  <a:pt x="9656" y="16875"/>
                  <a:pt x="9625" y="16906"/>
                </a:cubicBezTo>
                <a:cubicBezTo>
                  <a:pt x="9593" y="16906"/>
                  <a:pt x="9593" y="16875"/>
                  <a:pt x="9562" y="16875"/>
                </a:cubicBezTo>
                <a:cubicBezTo>
                  <a:pt x="9437" y="16812"/>
                  <a:pt x="9312" y="16781"/>
                  <a:pt x="9187" y="16750"/>
                </a:cubicBezTo>
                <a:cubicBezTo>
                  <a:pt x="9125" y="16750"/>
                  <a:pt x="9031" y="16719"/>
                  <a:pt x="8937" y="16719"/>
                </a:cubicBezTo>
                <a:cubicBezTo>
                  <a:pt x="8906" y="16719"/>
                  <a:pt x="8843" y="16687"/>
                  <a:pt x="8812" y="16656"/>
                </a:cubicBezTo>
                <a:cubicBezTo>
                  <a:pt x="8843" y="16625"/>
                  <a:pt x="8875" y="16656"/>
                  <a:pt x="8875" y="16594"/>
                </a:cubicBezTo>
                <a:cubicBezTo>
                  <a:pt x="8875" y="16562"/>
                  <a:pt x="8843" y="16594"/>
                  <a:pt x="8812" y="16594"/>
                </a:cubicBezTo>
                <a:cubicBezTo>
                  <a:pt x="8812" y="16531"/>
                  <a:pt x="8781" y="16531"/>
                  <a:pt x="8781" y="16500"/>
                </a:cubicBezTo>
                <a:cubicBezTo>
                  <a:pt x="8750" y="16437"/>
                  <a:pt x="8687" y="16406"/>
                  <a:pt x="8625" y="16344"/>
                </a:cubicBezTo>
                <a:cubicBezTo>
                  <a:pt x="8593" y="16312"/>
                  <a:pt x="8531" y="16312"/>
                  <a:pt x="8500" y="16281"/>
                </a:cubicBezTo>
                <a:cubicBezTo>
                  <a:pt x="8562" y="16219"/>
                  <a:pt x="8593" y="16312"/>
                  <a:pt x="8656" y="16312"/>
                </a:cubicBezTo>
                <a:cubicBezTo>
                  <a:pt x="8656" y="16281"/>
                  <a:pt x="8593" y="16281"/>
                  <a:pt x="8593" y="16219"/>
                </a:cubicBezTo>
                <a:cubicBezTo>
                  <a:pt x="8750" y="16250"/>
                  <a:pt x="8875" y="16312"/>
                  <a:pt x="9000" y="16344"/>
                </a:cubicBezTo>
                <a:cubicBezTo>
                  <a:pt x="9062" y="16344"/>
                  <a:pt x="9125" y="16375"/>
                  <a:pt x="9156" y="16406"/>
                </a:cubicBezTo>
                <a:cubicBezTo>
                  <a:pt x="9187" y="16437"/>
                  <a:pt x="9218" y="16437"/>
                  <a:pt x="9250" y="16406"/>
                </a:cubicBezTo>
                <a:cubicBezTo>
                  <a:pt x="9250" y="16375"/>
                  <a:pt x="9218" y="16375"/>
                  <a:pt x="9218" y="16375"/>
                </a:cubicBezTo>
                <a:cubicBezTo>
                  <a:pt x="9062" y="16312"/>
                  <a:pt x="8875" y="16250"/>
                  <a:pt x="8718" y="16219"/>
                </a:cubicBezTo>
                <a:cubicBezTo>
                  <a:pt x="8656" y="16219"/>
                  <a:pt x="8593" y="16219"/>
                  <a:pt x="8562" y="16125"/>
                </a:cubicBezTo>
                <a:cubicBezTo>
                  <a:pt x="8593" y="16125"/>
                  <a:pt x="8625" y="16156"/>
                  <a:pt x="8687" y="16125"/>
                </a:cubicBezTo>
                <a:cubicBezTo>
                  <a:pt x="8625" y="16062"/>
                  <a:pt x="8593" y="16094"/>
                  <a:pt x="8531" y="16094"/>
                </a:cubicBezTo>
                <a:cubicBezTo>
                  <a:pt x="8531" y="16094"/>
                  <a:pt x="8531" y="16062"/>
                  <a:pt x="8500" y="16062"/>
                </a:cubicBezTo>
                <a:cubicBezTo>
                  <a:pt x="8500" y="16062"/>
                  <a:pt x="8500" y="16031"/>
                  <a:pt x="8468" y="16031"/>
                </a:cubicBezTo>
                <a:cubicBezTo>
                  <a:pt x="8468" y="16031"/>
                  <a:pt x="8468" y="16000"/>
                  <a:pt x="8468" y="16000"/>
                </a:cubicBezTo>
                <a:cubicBezTo>
                  <a:pt x="8468" y="15969"/>
                  <a:pt x="8500" y="15969"/>
                  <a:pt x="8531" y="16000"/>
                </a:cubicBezTo>
                <a:cubicBezTo>
                  <a:pt x="8593" y="16000"/>
                  <a:pt x="8687" y="16031"/>
                  <a:pt x="8750" y="16062"/>
                </a:cubicBezTo>
                <a:cubicBezTo>
                  <a:pt x="8843" y="16094"/>
                  <a:pt x="8937" y="16125"/>
                  <a:pt x="9031" y="16156"/>
                </a:cubicBezTo>
                <a:cubicBezTo>
                  <a:pt x="9062" y="16187"/>
                  <a:pt x="9093" y="16187"/>
                  <a:pt x="9093" y="16156"/>
                </a:cubicBezTo>
                <a:cubicBezTo>
                  <a:pt x="9093" y="16125"/>
                  <a:pt x="9062" y="16125"/>
                  <a:pt x="9031" y="16094"/>
                </a:cubicBezTo>
                <a:cubicBezTo>
                  <a:pt x="9000" y="16094"/>
                  <a:pt x="8937" y="16094"/>
                  <a:pt x="8875" y="16062"/>
                </a:cubicBezTo>
                <a:cubicBezTo>
                  <a:pt x="8781" y="16000"/>
                  <a:pt x="8687" y="16000"/>
                  <a:pt x="8593" y="15969"/>
                </a:cubicBezTo>
                <a:cubicBezTo>
                  <a:pt x="8468" y="15937"/>
                  <a:pt x="8375" y="15875"/>
                  <a:pt x="8281" y="15812"/>
                </a:cubicBezTo>
                <a:cubicBezTo>
                  <a:pt x="8250" y="15812"/>
                  <a:pt x="8250" y="15812"/>
                  <a:pt x="8250" y="15781"/>
                </a:cubicBezTo>
                <a:cubicBezTo>
                  <a:pt x="8250" y="15781"/>
                  <a:pt x="8281" y="15781"/>
                  <a:pt x="8281" y="15781"/>
                </a:cubicBezTo>
                <a:cubicBezTo>
                  <a:pt x="8343" y="15812"/>
                  <a:pt x="8375" y="15875"/>
                  <a:pt x="8437" y="15844"/>
                </a:cubicBezTo>
                <a:cubicBezTo>
                  <a:pt x="8500" y="15875"/>
                  <a:pt x="8562" y="15875"/>
                  <a:pt x="8625" y="15906"/>
                </a:cubicBezTo>
                <a:cubicBezTo>
                  <a:pt x="8656" y="15906"/>
                  <a:pt x="8656" y="15906"/>
                  <a:pt x="8656" y="15906"/>
                </a:cubicBezTo>
                <a:cubicBezTo>
                  <a:pt x="8718" y="15844"/>
                  <a:pt x="8750" y="15906"/>
                  <a:pt x="8781" y="15906"/>
                </a:cubicBezTo>
                <a:cubicBezTo>
                  <a:pt x="8812" y="15906"/>
                  <a:pt x="8843" y="15937"/>
                  <a:pt x="8875" y="15937"/>
                </a:cubicBezTo>
                <a:cubicBezTo>
                  <a:pt x="8875" y="15937"/>
                  <a:pt x="8906" y="15937"/>
                  <a:pt x="8906" y="15937"/>
                </a:cubicBezTo>
                <a:cubicBezTo>
                  <a:pt x="8937" y="15906"/>
                  <a:pt x="8906" y="15875"/>
                  <a:pt x="8875" y="15875"/>
                </a:cubicBezTo>
                <a:cubicBezTo>
                  <a:pt x="8812" y="15844"/>
                  <a:pt x="8750" y="15844"/>
                  <a:pt x="8687" y="15844"/>
                </a:cubicBezTo>
                <a:cubicBezTo>
                  <a:pt x="8625" y="15875"/>
                  <a:pt x="8531" y="15844"/>
                  <a:pt x="8468" y="15812"/>
                </a:cubicBezTo>
                <a:cubicBezTo>
                  <a:pt x="8375" y="15781"/>
                  <a:pt x="8281" y="15750"/>
                  <a:pt x="8218" y="15687"/>
                </a:cubicBezTo>
                <a:cubicBezTo>
                  <a:pt x="8343" y="15719"/>
                  <a:pt x="8468" y="15781"/>
                  <a:pt x="8593" y="15781"/>
                </a:cubicBezTo>
                <a:cubicBezTo>
                  <a:pt x="8625" y="15781"/>
                  <a:pt x="8625" y="15781"/>
                  <a:pt x="8625" y="15781"/>
                </a:cubicBezTo>
                <a:cubicBezTo>
                  <a:pt x="8718" y="15750"/>
                  <a:pt x="8781" y="15812"/>
                  <a:pt x="8843" y="15812"/>
                </a:cubicBezTo>
                <a:cubicBezTo>
                  <a:pt x="8906" y="15844"/>
                  <a:pt x="8906" y="15844"/>
                  <a:pt x="8968" y="15812"/>
                </a:cubicBezTo>
                <a:cubicBezTo>
                  <a:pt x="8937" y="15781"/>
                  <a:pt x="8906" y="15812"/>
                  <a:pt x="8875" y="15812"/>
                </a:cubicBezTo>
                <a:cubicBezTo>
                  <a:pt x="8812" y="15781"/>
                  <a:pt x="8718" y="15750"/>
                  <a:pt x="8656" y="15750"/>
                </a:cubicBezTo>
                <a:cubicBezTo>
                  <a:pt x="8500" y="15750"/>
                  <a:pt x="8343" y="15687"/>
                  <a:pt x="8218" y="15625"/>
                </a:cubicBezTo>
                <a:cubicBezTo>
                  <a:pt x="8187" y="15625"/>
                  <a:pt x="8156" y="15594"/>
                  <a:pt x="8187" y="15562"/>
                </a:cubicBezTo>
                <a:cubicBezTo>
                  <a:pt x="8218" y="15562"/>
                  <a:pt x="8281" y="15594"/>
                  <a:pt x="8312" y="15625"/>
                </a:cubicBezTo>
                <a:cubicBezTo>
                  <a:pt x="8406" y="15656"/>
                  <a:pt x="8500" y="15656"/>
                  <a:pt x="8593" y="15687"/>
                </a:cubicBezTo>
                <a:cubicBezTo>
                  <a:pt x="8593" y="15687"/>
                  <a:pt x="8593" y="15687"/>
                  <a:pt x="8593" y="15687"/>
                </a:cubicBezTo>
                <a:cubicBezTo>
                  <a:pt x="8625" y="15687"/>
                  <a:pt x="8625" y="15687"/>
                  <a:pt x="8625" y="15687"/>
                </a:cubicBezTo>
                <a:cubicBezTo>
                  <a:pt x="8656" y="15687"/>
                  <a:pt x="8656" y="15687"/>
                  <a:pt x="8656" y="15687"/>
                </a:cubicBezTo>
                <a:cubicBezTo>
                  <a:pt x="8656" y="15687"/>
                  <a:pt x="8687" y="15687"/>
                  <a:pt x="8687" y="15687"/>
                </a:cubicBezTo>
                <a:cubicBezTo>
                  <a:pt x="8781" y="15750"/>
                  <a:pt x="8843" y="15719"/>
                  <a:pt x="8937" y="15719"/>
                </a:cubicBezTo>
                <a:cubicBezTo>
                  <a:pt x="8843" y="15719"/>
                  <a:pt x="8781" y="15687"/>
                  <a:pt x="8718" y="15656"/>
                </a:cubicBezTo>
                <a:cubicBezTo>
                  <a:pt x="8593" y="15625"/>
                  <a:pt x="8468" y="15625"/>
                  <a:pt x="8343" y="15594"/>
                </a:cubicBezTo>
                <a:cubicBezTo>
                  <a:pt x="8250" y="15562"/>
                  <a:pt x="8187" y="15531"/>
                  <a:pt x="8125" y="15469"/>
                </a:cubicBezTo>
                <a:cubicBezTo>
                  <a:pt x="8125" y="15469"/>
                  <a:pt x="8125" y="15437"/>
                  <a:pt x="8125" y="15437"/>
                </a:cubicBezTo>
                <a:cubicBezTo>
                  <a:pt x="8218" y="15469"/>
                  <a:pt x="8281" y="15500"/>
                  <a:pt x="8375" y="15531"/>
                </a:cubicBezTo>
                <a:cubicBezTo>
                  <a:pt x="8500" y="15531"/>
                  <a:pt x="8625" y="15562"/>
                  <a:pt x="8750" y="15625"/>
                </a:cubicBezTo>
                <a:cubicBezTo>
                  <a:pt x="8750" y="15625"/>
                  <a:pt x="8750" y="15625"/>
                  <a:pt x="8750" y="15625"/>
                </a:cubicBezTo>
                <a:cubicBezTo>
                  <a:pt x="8781" y="15625"/>
                  <a:pt x="8781" y="15625"/>
                  <a:pt x="8781" y="15594"/>
                </a:cubicBezTo>
                <a:cubicBezTo>
                  <a:pt x="8875" y="15656"/>
                  <a:pt x="8937" y="15625"/>
                  <a:pt x="9031" y="15625"/>
                </a:cubicBezTo>
                <a:cubicBezTo>
                  <a:pt x="8937" y="15625"/>
                  <a:pt x="8875" y="15594"/>
                  <a:pt x="8781" y="15594"/>
                </a:cubicBezTo>
                <a:cubicBezTo>
                  <a:pt x="8718" y="15562"/>
                  <a:pt x="8656" y="15500"/>
                  <a:pt x="8562" y="15500"/>
                </a:cubicBezTo>
                <a:cubicBezTo>
                  <a:pt x="8468" y="15500"/>
                  <a:pt x="8375" y="15469"/>
                  <a:pt x="8281" y="15437"/>
                </a:cubicBezTo>
                <a:cubicBezTo>
                  <a:pt x="8250" y="15437"/>
                  <a:pt x="8187" y="15437"/>
                  <a:pt x="8156" y="15406"/>
                </a:cubicBezTo>
                <a:cubicBezTo>
                  <a:pt x="8156" y="15375"/>
                  <a:pt x="8125" y="15375"/>
                  <a:pt x="8125" y="15375"/>
                </a:cubicBezTo>
                <a:cubicBezTo>
                  <a:pt x="8156" y="15344"/>
                  <a:pt x="8156" y="15344"/>
                  <a:pt x="8187" y="15344"/>
                </a:cubicBezTo>
                <a:cubicBezTo>
                  <a:pt x="8343" y="15406"/>
                  <a:pt x="8531" y="15406"/>
                  <a:pt x="8687" y="15469"/>
                </a:cubicBezTo>
                <a:cubicBezTo>
                  <a:pt x="8687" y="15469"/>
                  <a:pt x="8687" y="15469"/>
                  <a:pt x="8687" y="15469"/>
                </a:cubicBezTo>
                <a:cubicBezTo>
                  <a:pt x="8687" y="15469"/>
                  <a:pt x="8687" y="15500"/>
                  <a:pt x="8687" y="15500"/>
                </a:cubicBezTo>
                <a:cubicBezTo>
                  <a:pt x="8750" y="15531"/>
                  <a:pt x="8812" y="15500"/>
                  <a:pt x="8875" y="15500"/>
                </a:cubicBezTo>
                <a:cubicBezTo>
                  <a:pt x="8812" y="15500"/>
                  <a:pt x="8781" y="15469"/>
                  <a:pt x="8718" y="15469"/>
                </a:cubicBezTo>
                <a:cubicBezTo>
                  <a:pt x="8718" y="15469"/>
                  <a:pt x="8718" y="15469"/>
                  <a:pt x="8687" y="15469"/>
                </a:cubicBezTo>
                <a:cubicBezTo>
                  <a:pt x="8687" y="15437"/>
                  <a:pt x="8656" y="15437"/>
                  <a:pt x="8625" y="15406"/>
                </a:cubicBezTo>
                <a:cubicBezTo>
                  <a:pt x="8500" y="15375"/>
                  <a:pt x="8343" y="15375"/>
                  <a:pt x="8218" y="15344"/>
                </a:cubicBezTo>
                <a:cubicBezTo>
                  <a:pt x="8156" y="15312"/>
                  <a:pt x="8093" y="15312"/>
                  <a:pt x="8062" y="15219"/>
                </a:cubicBezTo>
                <a:cubicBezTo>
                  <a:pt x="8281" y="15281"/>
                  <a:pt x="8468" y="15312"/>
                  <a:pt x="8656" y="15375"/>
                </a:cubicBezTo>
                <a:cubicBezTo>
                  <a:pt x="8656" y="15312"/>
                  <a:pt x="8593" y="15312"/>
                  <a:pt x="8562" y="15312"/>
                </a:cubicBezTo>
                <a:cubicBezTo>
                  <a:pt x="8500" y="15281"/>
                  <a:pt x="8468" y="15250"/>
                  <a:pt x="8406" y="15250"/>
                </a:cubicBezTo>
                <a:cubicBezTo>
                  <a:pt x="8281" y="15219"/>
                  <a:pt x="8156" y="15219"/>
                  <a:pt x="8062" y="15156"/>
                </a:cubicBezTo>
                <a:cubicBezTo>
                  <a:pt x="8031" y="15156"/>
                  <a:pt x="8031" y="15156"/>
                  <a:pt x="8031" y="15125"/>
                </a:cubicBezTo>
                <a:cubicBezTo>
                  <a:pt x="8031" y="15094"/>
                  <a:pt x="8062" y="15094"/>
                  <a:pt x="8093" y="15125"/>
                </a:cubicBezTo>
                <a:cubicBezTo>
                  <a:pt x="8250" y="15156"/>
                  <a:pt x="8406" y="15187"/>
                  <a:pt x="8562" y="15250"/>
                </a:cubicBezTo>
                <a:cubicBezTo>
                  <a:pt x="8562" y="15250"/>
                  <a:pt x="8593" y="15250"/>
                  <a:pt x="8593" y="15219"/>
                </a:cubicBezTo>
                <a:cubicBezTo>
                  <a:pt x="8406" y="15094"/>
                  <a:pt x="8156" y="15125"/>
                  <a:pt x="7968" y="15000"/>
                </a:cubicBezTo>
                <a:cubicBezTo>
                  <a:pt x="8156" y="15000"/>
                  <a:pt x="8343" y="15094"/>
                  <a:pt x="8531" y="15125"/>
                </a:cubicBezTo>
                <a:cubicBezTo>
                  <a:pt x="8468" y="15062"/>
                  <a:pt x="8375" y="15031"/>
                  <a:pt x="8281" y="15000"/>
                </a:cubicBezTo>
                <a:cubicBezTo>
                  <a:pt x="8156" y="14969"/>
                  <a:pt x="8031" y="14969"/>
                  <a:pt x="7937" y="14906"/>
                </a:cubicBezTo>
                <a:cubicBezTo>
                  <a:pt x="7937" y="14906"/>
                  <a:pt x="7906" y="14906"/>
                  <a:pt x="7906" y="14875"/>
                </a:cubicBezTo>
                <a:cubicBezTo>
                  <a:pt x="7906" y="14844"/>
                  <a:pt x="7937" y="14875"/>
                  <a:pt x="7937" y="14875"/>
                </a:cubicBezTo>
                <a:cubicBezTo>
                  <a:pt x="8000" y="14875"/>
                  <a:pt x="8031" y="14906"/>
                  <a:pt x="8062" y="14906"/>
                </a:cubicBezTo>
                <a:cubicBezTo>
                  <a:pt x="8156" y="14906"/>
                  <a:pt x="8250" y="14937"/>
                  <a:pt x="8312" y="14969"/>
                </a:cubicBezTo>
                <a:cubicBezTo>
                  <a:pt x="8406" y="15031"/>
                  <a:pt x="8500" y="15031"/>
                  <a:pt x="8593" y="15000"/>
                </a:cubicBezTo>
                <a:cubicBezTo>
                  <a:pt x="8531" y="15000"/>
                  <a:pt x="8437" y="15000"/>
                  <a:pt x="8343" y="14937"/>
                </a:cubicBezTo>
                <a:cubicBezTo>
                  <a:pt x="8468" y="14937"/>
                  <a:pt x="8593" y="14937"/>
                  <a:pt x="8687" y="14969"/>
                </a:cubicBezTo>
                <a:cubicBezTo>
                  <a:pt x="8781" y="15000"/>
                  <a:pt x="8875" y="15000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cubicBezTo>
                  <a:pt x="8875" y="14969"/>
                  <a:pt x="8750" y="14969"/>
                  <a:pt x="8625" y="14906"/>
                </a:cubicBezTo>
                <a:cubicBezTo>
                  <a:pt x="8625" y="14906"/>
                  <a:pt x="8625" y="14906"/>
                  <a:pt x="8593" y="14906"/>
                </a:cubicBezTo>
                <a:cubicBezTo>
                  <a:pt x="8468" y="14906"/>
                  <a:pt x="8343" y="14906"/>
                  <a:pt x="8250" y="14812"/>
                </a:cubicBezTo>
                <a:cubicBezTo>
                  <a:pt x="8156" y="14750"/>
                  <a:pt x="8031" y="14750"/>
                  <a:pt x="7906" y="14719"/>
                </a:cubicBezTo>
                <a:cubicBezTo>
                  <a:pt x="7875" y="14719"/>
                  <a:pt x="7812" y="14687"/>
                  <a:pt x="7781" y="14625"/>
                </a:cubicBezTo>
                <a:cubicBezTo>
                  <a:pt x="7937" y="14687"/>
                  <a:pt x="8125" y="14687"/>
                  <a:pt x="8281" y="14781"/>
                </a:cubicBezTo>
                <a:cubicBezTo>
                  <a:pt x="8250" y="14750"/>
                  <a:pt x="8156" y="14687"/>
                  <a:pt x="8125" y="14656"/>
                </a:cubicBezTo>
                <a:cubicBezTo>
                  <a:pt x="8031" y="14625"/>
                  <a:pt x="7906" y="14656"/>
                  <a:pt x="7812" y="14594"/>
                </a:cubicBezTo>
                <a:cubicBezTo>
                  <a:pt x="7781" y="14562"/>
                  <a:pt x="7750" y="14562"/>
                  <a:pt x="7718" y="14531"/>
                </a:cubicBezTo>
                <a:cubicBezTo>
                  <a:pt x="7875" y="14562"/>
                  <a:pt x="8062" y="14594"/>
                  <a:pt x="8218" y="14656"/>
                </a:cubicBezTo>
                <a:cubicBezTo>
                  <a:pt x="8218" y="14687"/>
                  <a:pt x="8250" y="14687"/>
                  <a:pt x="8250" y="14656"/>
                </a:cubicBezTo>
                <a:cubicBezTo>
                  <a:pt x="8281" y="14594"/>
                  <a:pt x="8312" y="14625"/>
                  <a:pt x="8343" y="14625"/>
                </a:cubicBezTo>
                <a:cubicBezTo>
                  <a:pt x="8468" y="14625"/>
                  <a:pt x="8562" y="14719"/>
                  <a:pt x="8687" y="14687"/>
                </a:cubicBezTo>
                <a:cubicBezTo>
                  <a:pt x="8656" y="14687"/>
                  <a:pt x="8625" y="14656"/>
                  <a:pt x="8562" y="14656"/>
                </a:cubicBezTo>
                <a:cubicBezTo>
                  <a:pt x="8500" y="14625"/>
                  <a:pt x="8437" y="14594"/>
                  <a:pt x="8343" y="14625"/>
                </a:cubicBezTo>
                <a:cubicBezTo>
                  <a:pt x="8312" y="14625"/>
                  <a:pt x="8218" y="14625"/>
                  <a:pt x="8187" y="14594"/>
                </a:cubicBezTo>
                <a:cubicBezTo>
                  <a:pt x="8031" y="14531"/>
                  <a:pt x="7843" y="14531"/>
                  <a:pt x="7718" y="14437"/>
                </a:cubicBezTo>
                <a:cubicBezTo>
                  <a:pt x="7968" y="14500"/>
                  <a:pt x="8218" y="14531"/>
                  <a:pt x="8468" y="14562"/>
                </a:cubicBezTo>
                <a:cubicBezTo>
                  <a:pt x="8468" y="14562"/>
                  <a:pt x="8468" y="14562"/>
                  <a:pt x="8468" y="14562"/>
                </a:cubicBezTo>
                <a:cubicBezTo>
                  <a:pt x="8593" y="14625"/>
                  <a:pt x="8718" y="14562"/>
                  <a:pt x="8843" y="14531"/>
                </a:cubicBezTo>
                <a:cubicBezTo>
                  <a:pt x="8906" y="14531"/>
                  <a:pt x="8968" y="14531"/>
                  <a:pt x="9031" y="14531"/>
                </a:cubicBezTo>
                <a:cubicBezTo>
                  <a:pt x="9093" y="14562"/>
                  <a:pt x="9062" y="14594"/>
                  <a:pt x="9000" y="14594"/>
                </a:cubicBezTo>
                <a:cubicBezTo>
                  <a:pt x="8968" y="14625"/>
                  <a:pt x="8937" y="14625"/>
                  <a:pt x="8875" y="14625"/>
                </a:cubicBezTo>
                <a:cubicBezTo>
                  <a:pt x="8843" y="14625"/>
                  <a:pt x="8812" y="14625"/>
                  <a:pt x="8781" y="14656"/>
                </a:cubicBezTo>
                <a:cubicBezTo>
                  <a:pt x="8812" y="14656"/>
                  <a:pt x="8843" y="14656"/>
                  <a:pt x="8875" y="14656"/>
                </a:cubicBezTo>
                <a:cubicBezTo>
                  <a:pt x="8937" y="14625"/>
                  <a:pt x="9000" y="14625"/>
                  <a:pt x="9062" y="14656"/>
                </a:cubicBezTo>
                <a:cubicBezTo>
                  <a:pt x="9125" y="14656"/>
                  <a:pt x="9093" y="14687"/>
                  <a:pt x="9093" y="14719"/>
                </a:cubicBezTo>
                <a:cubicBezTo>
                  <a:pt x="9093" y="14719"/>
                  <a:pt x="9093" y="14719"/>
                  <a:pt x="9093" y="14719"/>
                </a:cubicBezTo>
                <a:cubicBezTo>
                  <a:pt x="9031" y="14719"/>
                  <a:pt x="9000" y="14719"/>
                  <a:pt x="8937" y="14719"/>
                </a:cubicBezTo>
                <a:cubicBezTo>
                  <a:pt x="8906" y="14719"/>
                  <a:pt x="8875" y="14750"/>
                  <a:pt x="8843" y="14750"/>
                </a:cubicBezTo>
                <a:cubicBezTo>
                  <a:pt x="8781" y="14750"/>
                  <a:pt x="8687" y="14781"/>
                  <a:pt x="8625" y="14750"/>
                </a:cubicBezTo>
                <a:cubicBezTo>
                  <a:pt x="8531" y="14687"/>
                  <a:pt x="8437" y="14719"/>
                  <a:pt x="8312" y="14719"/>
                </a:cubicBezTo>
                <a:cubicBezTo>
                  <a:pt x="8312" y="14719"/>
                  <a:pt x="8343" y="14719"/>
                  <a:pt x="8343" y="14719"/>
                </a:cubicBezTo>
                <a:cubicBezTo>
                  <a:pt x="8437" y="14750"/>
                  <a:pt x="8531" y="14750"/>
                  <a:pt x="8593" y="14781"/>
                </a:cubicBezTo>
                <a:cubicBezTo>
                  <a:pt x="8687" y="14812"/>
                  <a:pt x="8750" y="14781"/>
                  <a:pt x="8812" y="14781"/>
                </a:cubicBezTo>
                <a:cubicBezTo>
                  <a:pt x="8875" y="14750"/>
                  <a:pt x="8937" y="14781"/>
                  <a:pt x="8968" y="14750"/>
                </a:cubicBezTo>
                <a:cubicBezTo>
                  <a:pt x="9000" y="14750"/>
                  <a:pt x="9000" y="14750"/>
                  <a:pt x="9031" y="14750"/>
                </a:cubicBezTo>
                <a:cubicBezTo>
                  <a:pt x="9031" y="14750"/>
                  <a:pt x="9031" y="14750"/>
                  <a:pt x="9031" y="14750"/>
                </a:cubicBezTo>
                <a:cubicBezTo>
                  <a:pt x="9062" y="14750"/>
                  <a:pt x="9093" y="14750"/>
                  <a:pt x="9093" y="14750"/>
                </a:cubicBezTo>
                <a:cubicBezTo>
                  <a:pt x="9125" y="14750"/>
                  <a:pt x="9125" y="14750"/>
                  <a:pt x="9125" y="14750"/>
                </a:cubicBezTo>
                <a:cubicBezTo>
                  <a:pt x="9156" y="14750"/>
                  <a:pt x="9187" y="14750"/>
                  <a:pt x="9218" y="14750"/>
                </a:cubicBezTo>
                <a:cubicBezTo>
                  <a:pt x="9218" y="14750"/>
                  <a:pt x="9218" y="14750"/>
                  <a:pt x="9218" y="14750"/>
                </a:cubicBezTo>
                <a:cubicBezTo>
                  <a:pt x="9281" y="14781"/>
                  <a:pt x="9187" y="14844"/>
                  <a:pt x="9250" y="14875"/>
                </a:cubicBezTo>
                <a:cubicBezTo>
                  <a:pt x="9187" y="14937"/>
                  <a:pt x="9125" y="14875"/>
                  <a:pt x="9062" y="14937"/>
                </a:cubicBezTo>
                <a:cubicBezTo>
                  <a:pt x="9062" y="14937"/>
                  <a:pt x="9062" y="14937"/>
                  <a:pt x="9062" y="14937"/>
                </a:cubicBezTo>
                <a:cubicBezTo>
                  <a:pt x="9062" y="14937"/>
                  <a:pt x="9031" y="14937"/>
                  <a:pt x="9031" y="14937"/>
                </a:cubicBezTo>
                <a:cubicBezTo>
                  <a:pt x="9031" y="14937"/>
                  <a:pt x="9031" y="14937"/>
                  <a:pt x="9000" y="14937"/>
                </a:cubicBezTo>
                <a:cubicBezTo>
                  <a:pt x="9000" y="14937"/>
                  <a:pt x="8968" y="14937"/>
                  <a:pt x="8968" y="14969"/>
                </a:cubicBezTo>
                <a:lnTo>
                  <a:pt x="8968" y="14969"/>
                </a:lnTo>
                <a:cubicBezTo>
                  <a:pt x="8968" y="14969"/>
                  <a:pt x="8968" y="14969"/>
                  <a:pt x="8968" y="14969"/>
                </a:cubicBezTo>
                <a:cubicBezTo>
                  <a:pt x="9000" y="14969"/>
                  <a:pt x="9031" y="14969"/>
                  <a:pt x="9062" y="14937"/>
                </a:cubicBezTo>
                <a:cubicBezTo>
                  <a:pt x="9156" y="14937"/>
                  <a:pt x="9250" y="14906"/>
                  <a:pt x="9343" y="14937"/>
                </a:cubicBezTo>
                <a:cubicBezTo>
                  <a:pt x="9375" y="14937"/>
                  <a:pt x="9375" y="14937"/>
                  <a:pt x="9406" y="14906"/>
                </a:cubicBezTo>
                <a:cubicBezTo>
                  <a:pt x="9406" y="14906"/>
                  <a:pt x="9375" y="14875"/>
                  <a:pt x="9375" y="14875"/>
                </a:cubicBezTo>
                <a:cubicBezTo>
                  <a:pt x="9312" y="14844"/>
                  <a:pt x="9281" y="14750"/>
                  <a:pt x="9218" y="14719"/>
                </a:cubicBezTo>
                <a:cubicBezTo>
                  <a:pt x="9218" y="14719"/>
                  <a:pt x="9187" y="14687"/>
                  <a:pt x="9187" y="14687"/>
                </a:cubicBezTo>
                <a:cubicBezTo>
                  <a:pt x="9125" y="14594"/>
                  <a:pt x="9062" y="14500"/>
                  <a:pt x="9000" y="14406"/>
                </a:cubicBezTo>
                <a:cubicBezTo>
                  <a:pt x="8968" y="14406"/>
                  <a:pt x="9000" y="14344"/>
                  <a:pt x="8937" y="14344"/>
                </a:cubicBezTo>
                <a:cubicBezTo>
                  <a:pt x="8906" y="14344"/>
                  <a:pt x="8906" y="14344"/>
                  <a:pt x="8906" y="14312"/>
                </a:cubicBezTo>
                <a:cubicBezTo>
                  <a:pt x="8906" y="14312"/>
                  <a:pt x="8906" y="14281"/>
                  <a:pt x="8875" y="14281"/>
                </a:cubicBezTo>
                <a:cubicBezTo>
                  <a:pt x="8875" y="14250"/>
                  <a:pt x="8875" y="14250"/>
                  <a:pt x="8875" y="14250"/>
                </a:cubicBezTo>
                <a:cubicBezTo>
                  <a:pt x="8875" y="14219"/>
                  <a:pt x="8875" y="14219"/>
                  <a:pt x="8843" y="14219"/>
                </a:cubicBezTo>
                <a:cubicBezTo>
                  <a:pt x="8812" y="14125"/>
                  <a:pt x="8781" y="14062"/>
                  <a:pt x="8718" y="13969"/>
                </a:cubicBezTo>
                <a:cubicBezTo>
                  <a:pt x="8656" y="13875"/>
                  <a:pt x="8656" y="13875"/>
                  <a:pt x="8593" y="13875"/>
                </a:cubicBezTo>
                <a:cubicBezTo>
                  <a:pt x="8625" y="13906"/>
                  <a:pt x="8656" y="13906"/>
                  <a:pt x="8656" y="13906"/>
                </a:cubicBezTo>
                <a:cubicBezTo>
                  <a:pt x="8625" y="13937"/>
                  <a:pt x="8625" y="13969"/>
                  <a:pt x="8593" y="13969"/>
                </a:cubicBezTo>
                <a:cubicBezTo>
                  <a:pt x="8593" y="13969"/>
                  <a:pt x="8562" y="13969"/>
                  <a:pt x="8562" y="13969"/>
                </a:cubicBezTo>
                <a:cubicBezTo>
                  <a:pt x="8375" y="13969"/>
                  <a:pt x="8156" y="14000"/>
                  <a:pt x="8000" y="13875"/>
                </a:cubicBezTo>
                <a:cubicBezTo>
                  <a:pt x="8000" y="13875"/>
                  <a:pt x="8031" y="13844"/>
                  <a:pt x="8031" y="13844"/>
                </a:cubicBezTo>
                <a:cubicBezTo>
                  <a:pt x="8156" y="13906"/>
                  <a:pt x="8343" y="13937"/>
                  <a:pt x="8375" y="13875"/>
                </a:cubicBezTo>
                <a:cubicBezTo>
                  <a:pt x="8281" y="13875"/>
                  <a:pt x="8156" y="13875"/>
                  <a:pt x="8062" y="13812"/>
                </a:cubicBezTo>
                <a:cubicBezTo>
                  <a:pt x="7968" y="13750"/>
                  <a:pt x="7843" y="13750"/>
                  <a:pt x="7750" y="13687"/>
                </a:cubicBezTo>
                <a:cubicBezTo>
                  <a:pt x="7812" y="13687"/>
                  <a:pt x="7843" y="13687"/>
                  <a:pt x="7875" y="13687"/>
                </a:cubicBezTo>
                <a:cubicBezTo>
                  <a:pt x="8000" y="13719"/>
                  <a:pt x="8093" y="13812"/>
                  <a:pt x="8218" y="13812"/>
                </a:cubicBezTo>
                <a:cubicBezTo>
                  <a:pt x="8343" y="13812"/>
                  <a:pt x="8500" y="13781"/>
                  <a:pt x="8625" y="13812"/>
                </a:cubicBezTo>
                <a:cubicBezTo>
                  <a:pt x="8625" y="13844"/>
                  <a:pt x="8656" y="13844"/>
                  <a:pt x="8656" y="13812"/>
                </a:cubicBezTo>
                <a:cubicBezTo>
                  <a:pt x="8656" y="13781"/>
                  <a:pt x="8625" y="13781"/>
                  <a:pt x="8625" y="13781"/>
                </a:cubicBezTo>
                <a:cubicBezTo>
                  <a:pt x="8593" y="13781"/>
                  <a:pt x="8562" y="13750"/>
                  <a:pt x="8593" y="13750"/>
                </a:cubicBezTo>
                <a:cubicBezTo>
                  <a:pt x="8656" y="13719"/>
                  <a:pt x="8625" y="13687"/>
                  <a:pt x="8593" y="13656"/>
                </a:cubicBezTo>
                <a:cubicBezTo>
                  <a:pt x="8562" y="13625"/>
                  <a:pt x="8531" y="13562"/>
                  <a:pt x="8562" y="13531"/>
                </a:cubicBezTo>
                <a:cubicBezTo>
                  <a:pt x="8562" y="13469"/>
                  <a:pt x="8531" y="13437"/>
                  <a:pt x="8531" y="13375"/>
                </a:cubicBezTo>
                <a:cubicBezTo>
                  <a:pt x="8500" y="13281"/>
                  <a:pt x="8437" y="13187"/>
                  <a:pt x="8406" y="13094"/>
                </a:cubicBezTo>
                <a:cubicBezTo>
                  <a:pt x="8437" y="13094"/>
                  <a:pt x="8406" y="13062"/>
                  <a:pt x="8437" y="13062"/>
                </a:cubicBezTo>
                <a:lnTo>
                  <a:pt x="8437" y="13062"/>
                </a:lnTo>
                <a:cubicBezTo>
                  <a:pt x="8437" y="13062"/>
                  <a:pt x="8437" y="13094"/>
                  <a:pt x="8437" y="13094"/>
                </a:cubicBezTo>
                <a:cubicBezTo>
                  <a:pt x="8437" y="13094"/>
                  <a:pt x="8437" y="13094"/>
                  <a:pt x="8406" y="13094"/>
                </a:cubicBezTo>
                <a:cubicBezTo>
                  <a:pt x="8375" y="13094"/>
                  <a:pt x="8406" y="13062"/>
                  <a:pt x="8406" y="13031"/>
                </a:cubicBezTo>
                <a:cubicBezTo>
                  <a:pt x="8437" y="13031"/>
                  <a:pt x="8406" y="13000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69"/>
                </a:cubicBezTo>
                <a:cubicBezTo>
                  <a:pt x="8406" y="12969"/>
                  <a:pt x="8406" y="12969"/>
                  <a:pt x="8406" y="12937"/>
                </a:cubicBezTo>
                <a:cubicBezTo>
                  <a:pt x="8406" y="12937"/>
                  <a:pt x="8406" y="12937"/>
                  <a:pt x="8406" y="12937"/>
                </a:cubicBezTo>
                <a:cubicBezTo>
                  <a:pt x="8437" y="12937"/>
                  <a:pt x="8406" y="12969"/>
                  <a:pt x="8406" y="12969"/>
                </a:cubicBezTo>
                <a:cubicBezTo>
                  <a:pt x="8468" y="12969"/>
                  <a:pt x="8468" y="12937"/>
                  <a:pt x="8437" y="12906"/>
                </a:cubicBezTo>
                <a:cubicBezTo>
                  <a:pt x="8406" y="12875"/>
                  <a:pt x="8406" y="12812"/>
                  <a:pt x="8375" y="12750"/>
                </a:cubicBezTo>
                <a:cubicBezTo>
                  <a:pt x="8375" y="12719"/>
                  <a:pt x="8375" y="12719"/>
                  <a:pt x="8375" y="12719"/>
                </a:cubicBezTo>
                <a:cubicBezTo>
                  <a:pt x="8406" y="12719"/>
                  <a:pt x="8406" y="12719"/>
                  <a:pt x="8406" y="12719"/>
                </a:cubicBezTo>
                <a:cubicBezTo>
                  <a:pt x="8437" y="12781"/>
                  <a:pt x="8500" y="12844"/>
                  <a:pt x="8500" y="12906"/>
                </a:cubicBezTo>
                <a:cubicBezTo>
                  <a:pt x="8500" y="12937"/>
                  <a:pt x="8531" y="12937"/>
                  <a:pt x="8562" y="12969"/>
                </a:cubicBezTo>
                <a:cubicBezTo>
                  <a:pt x="8500" y="12844"/>
                  <a:pt x="8468" y="12750"/>
                  <a:pt x="8468" y="12625"/>
                </a:cubicBezTo>
                <a:cubicBezTo>
                  <a:pt x="8531" y="12719"/>
                  <a:pt x="8562" y="12844"/>
                  <a:pt x="8656" y="12937"/>
                </a:cubicBezTo>
                <a:cubicBezTo>
                  <a:pt x="8625" y="12844"/>
                  <a:pt x="8562" y="12781"/>
                  <a:pt x="8531" y="12687"/>
                </a:cubicBezTo>
                <a:cubicBezTo>
                  <a:pt x="8500" y="12625"/>
                  <a:pt x="8468" y="12562"/>
                  <a:pt x="8468" y="12500"/>
                </a:cubicBezTo>
                <a:cubicBezTo>
                  <a:pt x="8468" y="12469"/>
                  <a:pt x="8500" y="12469"/>
                  <a:pt x="8468" y="12437"/>
                </a:cubicBezTo>
                <a:cubicBezTo>
                  <a:pt x="8468" y="12406"/>
                  <a:pt x="8437" y="12469"/>
                  <a:pt x="8437" y="12469"/>
                </a:cubicBezTo>
                <a:cubicBezTo>
                  <a:pt x="8406" y="12406"/>
                  <a:pt x="8406" y="12375"/>
                  <a:pt x="8437" y="12344"/>
                </a:cubicBezTo>
                <a:cubicBezTo>
                  <a:pt x="8468" y="12312"/>
                  <a:pt x="8437" y="12281"/>
                  <a:pt x="8437" y="12281"/>
                </a:cubicBezTo>
                <a:cubicBezTo>
                  <a:pt x="8437" y="12281"/>
                  <a:pt x="8437" y="12281"/>
                  <a:pt x="8437" y="12281"/>
                </a:cubicBezTo>
                <a:cubicBezTo>
                  <a:pt x="8468" y="12281"/>
                  <a:pt x="8468" y="12281"/>
                  <a:pt x="8500" y="12312"/>
                </a:cubicBezTo>
                <a:cubicBezTo>
                  <a:pt x="8531" y="12406"/>
                  <a:pt x="8562" y="12469"/>
                  <a:pt x="8625" y="12500"/>
                </a:cubicBezTo>
                <a:cubicBezTo>
                  <a:pt x="8593" y="12437"/>
                  <a:pt x="8562" y="12406"/>
                  <a:pt x="8562" y="12344"/>
                </a:cubicBezTo>
                <a:cubicBezTo>
                  <a:pt x="8562" y="12344"/>
                  <a:pt x="8562" y="12312"/>
                  <a:pt x="8562" y="12312"/>
                </a:cubicBezTo>
                <a:cubicBezTo>
                  <a:pt x="8562" y="12312"/>
                  <a:pt x="8562" y="12312"/>
                  <a:pt x="8562" y="12312"/>
                </a:cubicBezTo>
                <a:cubicBezTo>
                  <a:pt x="8593" y="12312"/>
                  <a:pt x="8593" y="12375"/>
                  <a:pt x="8656" y="12375"/>
                </a:cubicBezTo>
                <a:cubicBezTo>
                  <a:pt x="8593" y="12312"/>
                  <a:pt x="8593" y="12250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56"/>
                  <a:pt x="8593" y="12156"/>
                </a:cubicBezTo>
                <a:cubicBezTo>
                  <a:pt x="8593" y="12156"/>
                  <a:pt x="8593" y="12156"/>
                  <a:pt x="8593" y="12156"/>
                </a:cubicBezTo>
                <a:cubicBezTo>
                  <a:pt x="8593" y="12156"/>
                  <a:pt x="8625" y="12187"/>
                  <a:pt x="8593" y="12187"/>
                </a:cubicBezTo>
                <a:lnTo>
                  <a:pt x="8593" y="12187"/>
                </a:lnTo>
                <a:cubicBezTo>
                  <a:pt x="8625" y="12156"/>
                  <a:pt x="8656" y="12250"/>
                  <a:pt x="8687" y="12187"/>
                </a:cubicBezTo>
                <a:cubicBezTo>
                  <a:pt x="8687" y="12219"/>
                  <a:pt x="8718" y="12219"/>
                  <a:pt x="8750" y="12250"/>
                </a:cubicBezTo>
                <a:cubicBezTo>
                  <a:pt x="8750" y="12250"/>
                  <a:pt x="8750" y="12250"/>
                  <a:pt x="8750" y="12281"/>
                </a:cubicBezTo>
                <a:cubicBezTo>
                  <a:pt x="8718" y="12281"/>
                  <a:pt x="8718" y="12312"/>
                  <a:pt x="8750" y="12312"/>
                </a:cubicBezTo>
                <a:cubicBezTo>
                  <a:pt x="8781" y="12312"/>
                  <a:pt x="8781" y="12281"/>
                  <a:pt x="8781" y="12281"/>
                </a:cubicBezTo>
                <a:cubicBezTo>
                  <a:pt x="8781" y="12281"/>
                  <a:pt x="8781" y="12281"/>
                  <a:pt x="8781" y="12281"/>
                </a:cubicBezTo>
                <a:cubicBezTo>
                  <a:pt x="8781" y="12250"/>
                  <a:pt x="8781" y="12250"/>
                  <a:pt x="8781" y="12250"/>
                </a:cubicBezTo>
                <a:cubicBezTo>
                  <a:pt x="8781" y="12250"/>
                  <a:pt x="8781" y="12250"/>
                  <a:pt x="8781" y="12281"/>
                </a:cubicBezTo>
                <a:cubicBezTo>
                  <a:pt x="8812" y="12281"/>
                  <a:pt x="8812" y="12312"/>
                  <a:pt x="8812" y="12344"/>
                </a:cubicBezTo>
                <a:cubicBezTo>
                  <a:pt x="8812" y="12344"/>
                  <a:pt x="8812" y="12375"/>
                  <a:pt x="8843" y="12375"/>
                </a:cubicBezTo>
                <a:cubicBezTo>
                  <a:pt x="8875" y="12375"/>
                  <a:pt x="8875" y="12406"/>
                  <a:pt x="8875" y="12406"/>
                </a:cubicBezTo>
                <a:cubicBezTo>
                  <a:pt x="8906" y="12469"/>
                  <a:pt x="8968" y="12531"/>
                  <a:pt x="9031" y="12562"/>
                </a:cubicBezTo>
                <a:cubicBezTo>
                  <a:pt x="9031" y="12562"/>
                  <a:pt x="9031" y="12562"/>
                  <a:pt x="9031" y="12594"/>
                </a:cubicBezTo>
                <a:cubicBezTo>
                  <a:pt x="9062" y="12625"/>
                  <a:pt x="9093" y="12625"/>
                  <a:pt x="9125" y="12687"/>
                </a:cubicBezTo>
                <a:cubicBezTo>
                  <a:pt x="9125" y="12719"/>
                  <a:pt x="9156" y="12719"/>
                  <a:pt x="9156" y="12719"/>
                </a:cubicBezTo>
                <a:cubicBezTo>
                  <a:pt x="9156" y="12719"/>
                  <a:pt x="9156" y="12687"/>
                  <a:pt x="9156" y="12687"/>
                </a:cubicBezTo>
                <a:cubicBezTo>
                  <a:pt x="9156" y="12687"/>
                  <a:pt x="9156" y="12719"/>
                  <a:pt x="9156" y="12719"/>
                </a:cubicBezTo>
                <a:cubicBezTo>
                  <a:pt x="9156" y="12719"/>
                  <a:pt x="9156" y="12719"/>
                  <a:pt x="9156" y="12719"/>
                </a:cubicBezTo>
                <a:cubicBezTo>
                  <a:pt x="9187" y="12750"/>
                  <a:pt x="9218" y="12781"/>
                  <a:pt x="9218" y="12812"/>
                </a:cubicBezTo>
                <a:cubicBezTo>
                  <a:pt x="9281" y="12844"/>
                  <a:pt x="9312" y="12875"/>
                  <a:pt x="9343" y="12906"/>
                </a:cubicBezTo>
                <a:cubicBezTo>
                  <a:pt x="9375" y="13000"/>
                  <a:pt x="9406" y="12937"/>
                  <a:pt x="9437" y="12937"/>
                </a:cubicBezTo>
                <a:cubicBezTo>
                  <a:pt x="9468" y="12906"/>
                  <a:pt x="9468" y="12844"/>
                  <a:pt x="9500" y="12812"/>
                </a:cubicBezTo>
                <a:cubicBezTo>
                  <a:pt x="9531" y="12812"/>
                  <a:pt x="9531" y="12812"/>
                  <a:pt x="9531" y="12781"/>
                </a:cubicBezTo>
                <a:cubicBezTo>
                  <a:pt x="9500" y="12750"/>
                  <a:pt x="9500" y="12781"/>
                  <a:pt x="9468" y="12781"/>
                </a:cubicBezTo>
                <a:cubicBezTo>
                  <a:pt x="9468" y="12781"/>
                  <a:pt x="9437" y="12781"/>
                  <a:pt x="9437" y="12812"/>
                </a:cubicBezTo>
                <a:cubicBezTo>
                  <a:pt x="9437" y="12844"/>
                  <a:pt x="9437" y="12844"/>
                  <a:pt x="9406" y="12875"/>
                </a:cubicBezTo>
                <a:cubicBezTo>
                  <a:pt x="9406" y="12875"/>
                  <a:pt x="9375" y="12875"/>
                  <a:pt x="9375" y="12844"/>
                </a:cubicBezTo>
                <a:cubicBezTo>
                  <a:pt x="9343" y="12812"/>
                  <a:pt x="9406" y="12812"/>
                  <a:pt x="9406" y="12812"/>
                </a:cubicBezTo>
                <a:cubicBezTo>
                  <a:pt x="9406" y="12750"/>
                  <a:pt x="9468" y="12719"/>
                  <a:pt x="9437" y="12656"/>
                </a:cubicBezTo>
                <a:cubicBezTo>
                  <a:pt x="9437" y="12687"/>
                  <a:pt x="9406" y="12719"/>
                  <a:pt x="9375" y="12719"/>
                </a:cubicBezTo>
                <a:cubicBezTo>
                  <a:pt x="9375" y="12750"/>
                  <a:pt x="9375" y="12750"/>
                  <a:pt x="9343" y="12750"/>
                </a:cubicBezTo>
                <a:cubicBezTo>
                  <a:pt x="9343" y="12719"/>
                  <a:pt x="9343" y="12719"/>
                  <a:pt x="9343" y="12687"/>
                </a:cubicBezTo>
                <a:cubicBezTo>
                  <a:pt x="9375" y="12687"/>
                  <a:pt x="9375" y="12656"/>
                  <a:pt x="9406" y="12625"/>
                </a:cubicBezTo>
                <a:cubicBezTo>
                  <a:pt x="9375" y="12594"/>
                  <a:pt x="9343" y="12625"/>
                  <a:pt x="9343" y="12656"/>
                </a:cubicBezTo>
                <a:cubicBezTo>
                  <a:pt x="9312" y="12687"/>
                  <a:pt x="9281" y="12719"/>
                  <a:pt x="9250" y="12719"/>
                </a:cubicBezTo>
                <a:cubicBezTo>
                  <a:pt x="9250" y="12625"/>
                  <a:pt x="9187" y="12719"/>
                  <a:pt x="9156" y="12687"/>
                </a:cubicBezTo>
                <a:cubicBezTo>
                  <a:pt x="9156" y="12656"/>
                  <a:pt x="9125" y="12594"/>
                  <a:pt x="9218" y="12625"/>
                </a:cubicBezTo>
                <a:cubicBezTo>
                  <a:pt x="9218" y="12625"/>
                  <a:pt x="9250" y="12625"/>
                  <a:pt x="9218" y="12594"/>
                </a:cubicBezTo>
                <a:cubicBezTo>
                  <a:pt x="9187" y="12500"/>
                  <a:pt x="9281" y="12500"/>
                  <a:pt x="9312" y="12469"/>
                </a:cubicBezTo>
                <a:cubicBezTo>
                  <a:pt x="9312" y="12437"/>
                  <a:pt x="9312" y="12437"/>
                  <a:pt x="9343" y="12469"/>
                </a:cubicBezTo>
                <a:cubicBezTo>
                  <a:pt x="9343" y="12469"/>
                  <a:pt x="9343" y="12500"/>
                  <a:pt x="9375" y="12500"/>
                </a:cubicBezTo>
                <a:cubicBezTo>
                  <a:pt x="9406" y="12500"/>
                  <a:pt x="9437" y="12469"/>
                  <a:pt x="9437" y="12437"/>
                </a:cubicBezTo>
                <a:cubicBezTo>
                  <a:pt x="9406" y="12437"/>
                  <a:pt x="9375" y="12469"/>
                  <a:pt x="9343" y="12437"/>
                </a:cubicBezTo>
                <a:cubicBezTo>
                  <a:pt x="9343" y="12406"/>
                  <a:pt x="9343" y="12375"/>
                  <a:pt x="9375" y="12375"/>
                </a:cubicBezTo>
                <a:cubicBezTo>
                  <a:pt x="9406" y="12344"/>
                  <a:pt x="9437" y="12375"/>
                  <a:pt x="9437" y="12375"/>
                </a:cubicBezTo>
                <a:cubicBezTo>
                  <a:pt x="9468" y="12469"/>
                  <a:pt x="9500" y="12406"/>
                  <a:pt x="9531" y="12375"/>
                </a:cubicBezTo>
                <a:cubicBezTo>
                  <a:pt x="9531" y="12375"/>
                  <a:pt x="9531" y="12406"/>
                  <a:pt x="9531" y="12406"/>
                </a:cubicBezTo>
                <a:cubicBezTo>
                  <a:pt x="9500" y="12437"/>
                  <a:pt x="9468" y="12437"/>
                  <a:pt x="9531" y="12469"/>
                </a:cubicBezTo>
                <a:cubicBezTo>
                  <a:pt x="9531" y="12500"/>
                  <a:pt x="9531" y="12531"/>
                  <a:pt x="9500" y="12562"/>
                </a:cubicBezTo>
                <a:cubicBezTo>
                  <a:pt x="9500" y="12594"/>
                  <a:pt x="9500" y="12594"/>
                  <a:pt x="9531" y="12594"/>
                </a:cubicBezTo>
                <a:cubicBezTo>
                  <a:pt x="9531" y="12625"/>
                  <a:pt x="9562" y="12656"/>
                  <a:pt x="9562" y="12656"/>
                </a:cubicBezTo>
                <a:cubicBezTo>
                  <a:pt x="9625" y="12625"/>
                  <a:pt x="9625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687" y="12437"/>
                  <a:pt x="9750" y="12406"/>
                  <a:pt x="9781" y="12375"/>
                </a:cubicBezTo>
                <a:cubicBezTo>
                  <a:pt x="9812" y="12344"/>
                  <a:pt x="9812" y="12344"/>
                  <a:pt x="9812" y="12312"/>
                </a:cubicBezTo>
                <a:cubicBezTo>
                  <a:pt x="9875" y="12312"/>
                  <a:pt x="9875" y="12250"/>
                  <a:pt x="9906" y="12250"/>
                </a:cubicBezTo>
                <a:cubicBezTo>
                  <a:pt x="9937" y="12281"/>
                  <a:pt x="10000" y="12281"/>
                  <a:pt x="9968" y="12344"/>
                </a:cubicBezTo>
                <a:cubicBezTo>
                  <a:pt x="9937" y="12344"/>
                  <a:pt x="9906" y="12344"/>
                  <a:pt x="9843" y="12344"/>
                </a:cubicBezTo>
                <a:cubicBezTo>
                  <a:pt x="9906" y="12375"/>
                  <a:pt x="9906" y="12406"/>
                  <a:pt x="9875" y="12437"/>
                </a:cubicBezTo>
                <a:cubicBezTo>
                  <a:pt x="9843" y="12437"/>
                  <a:pt x="9812" y="12469"/>
                  <a:pt x="9812" y="12500"/>
                </a:cubicBezTo>
                <a:cubicBezTo>
                  <a:pt x="9812" y="12500"/>
                  <a:pt x="9812" y="12500"/>
                  <a:pt x="9812" y="12531"/>
                </a:cubicBezTo>
                <a:cubicBezTo>
                  <a:pt x="9781" y="12531"/>
                  <a:pt x="9750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50" y="12594"/>
                  <a:pt x="9718" y="12625"/>
                  <a:pt x="9656" y="12625"/>
                </a:cubicBezTo>
                <a:cubicBezTo>
                  <a:pt x="9656" y="12625"/>
                  <a:pt x="9656" y="12656"/>
                  <a:pt x="9656" y="12656"/>
                </a:cubicBezTo>
                <a:cubicBezTo>
                  <a:pt x="9687" y="12687"/>
                  <a:pt x="9656" y="12687"/>
                  <a:pt x="9656" y="12719"/>
                </a:cubicBezTo>
                <a:cubicBezTo>
                  <a:pt x="9625" y="12750"/>
                  <a:pt x="9656" y="12750"/>
                  <a:pt x="9656" y="12781"/>
                </a:cubicBezTo>
                <a:cubicBezTo>
                  <a:pt x="9625" y="12781"/>
                  <a:pt x="9625" y="12781"/>
                  <a:pt x="9625" y="12812"/>
                </a:cubicBezTo>
                <a:cubicBezTo>
                  <a:pt x="9593" y="12844"/>
                  <a:pt x="9562" y="12906"/>
                  <a:pt x="9531" y="12906"/>
                </a:cubicBezTo>
                <a:cubicBezTo>
                  <a:pt x="9437" y="12906"/>
                  <a:pt x="9437" y="13000"/>
                  <a:pt x="9468" y="13031"/>
                </a:cubicBezTo>
                <a:cubicBezTo>
                  <a:pt x="9500" y="13094"/>
                  <a:pt x="9531" y="13156"/>
                  <a:pt x="9625" y="13219"/>
                </a:cubicBezTo>
                <a:cubicBezTo>
                  <a:pt x="9625" y="13125"/>
                  <a:pt x="9656" y="13094"/>
                  <a:pt x="9718" y="13156"/>
                </a:cubicBezTo>
                <a:cubicBezTo>
                  <a:pt x="9781" y="13156"/>
                  <a:pt x="9812" y="13187"/>
                  <a:pt x="9843" y="13187"/>
                </a:cubicBezTo>
                <a:cubicBezTo>
                  <a:pt x="9906" y="13187"/>
                  <a:pt x="9937" y="13219"/>
                  <a:pt x="9906" y="13250"/>
                </a:cubicBezTo>
                <a:cubicBezTo>
                  <a:pt x="9906" y="13281"/>
                  <a:pt x="9906" y="13312"/>
                  <a:pt x="9937" y="13281"/>
                </a:cubicBezTo>
                <a:cubicBezTo>
                  <a:pt x="9968" y="13250"/>
                  <a:pt x="9968" y="13312"/>
                  <a:pt x="10000" y="13344"/>
                </a:cubicBezTo>
                <a:cubicBezTo>
                  <a:pt x="10000" y="13344"/>
                  <a:pt x="9968" y="13344"/>
                  <a:pt x="9968" y="13344"/>
                </a:cubicBezTo>
                <a:cubicBezTo>
                  <a:pt x="9937" y="13344"/>
                  <a:pt x="9937" y="13312"/>
                  <a:pt x="9906" y="13312"/>
                </a:cubicBezTo>
                <a:cubicBezTo>
                  <a:pt x="9906" y="13344"/>
                  <a:pt x="9937" y="13344"/>
                  <a:pt x="9937" y="13375"/>
                </a:cubicBezTo>
                <a:cubicBezTo>
                  <a:pt x="9937" y="13375"/>
                  <a:pt x="9937" y="13375"/>
                  <a:pt x="9906" y="13406"/>
                </a:cubicBezTo>
                <a:cubicBezTo>
                  <a:pt x="9906" y="13406"/>
                  <a:pt x="9875" y="13406"/>
                  <a:pt x="9875" y="13406"/>
                </a:cubicBezTo>
                <a:cubicBezTo>
                  <a:pt x="9843" y="13437"/>
                  <a:pt x="9843" y="13437"/>
                  <a:pt x="9843" y="13437"/>
                </a:cubicBezTo>
                <a:cubicBezTo>
                  <a:pt x="9843" y="13469"/>
                  <a:pt x="9875" y="13469"/>
                  <a:pt x="9875" y="13469"/>
                </a:cubicBezTo>
                <a:cubicBezTo>
                  <a:pt x="9906" y="13437"/>
                  <a:pt x="9968" y="13437"/>
                  <a:pt x="9968" y="13375"/>
                </a:cubicBezTo>
                <a:cubicBezTo>
                  <a:pt x="9968" y="13375"/>
                  <a:pt x="10000" y="13375"/>
                  <a:pt x="10000" y="13375"/>
                </a:cubicBezTo>
                <a:cubicBezTo>
                  <a:pt x="10000" y="13375"/>
                  <a:pt x="10031" y="13344"/>
                  <a:pt x="10031" y="13344"/>
                </a:cubicBezTo>
                <a:cubicBezTo>
                  <a:pt x="10031" y="13344"/>
                  <a:pt x="10000" y="13375"/>
                  <a:pt x="10000" y="13375"/>
                </a:cubicBezTo>
                <a:cubicBezTo>
                  <a:pt x="10000" y="13406"/>
                  <a:pt x="10000" y="13406"/>
                  <a:pt x="10031" y="13437"/>
                </a:cubicBezTo>
                <a:cubicBezTo>
                  <a:pt x="10031" y="13437"/>
                  <a:pt x="10031" y="13406"/>
                  <a:pt x="10031" y="13406"/>
                </a:cubicBezTo>
                <a:cubicBezTo>
                  <a:pt x="10062" y="13437"/>
                  <a:pt x="10093" y="13469"/>
                  <a:pt x="10125" y="13437"/>
                </a:cubicBezTo>
                <a:cubicBezTo>
                  <a:pt x="10156" y="13437"/>
                  <a:pt x="10156" y="13437"/>
                  <a:pt x="10156" y="13437"/>
                </a:cubicBezTo>
                <a:cubicBezTo>
                  <a:pt x="10187" y="13469"/>
                  <a:pt x="10250" y="13437"/>
                  <a:pt x="10281" y="13406"/>
                </a:cubicBezTo>
                <a:cubicBezTo>
                  <a:pt x="10312" y="13406"/>
                  <a:pt x="10343" y="13406"/>
                  <a:pt x="10343" y="13375"/>
                </a:cubicBezTo>
                <a:cubicBezTo>
                  <a:pt x="10343" y="13375"/>
                  <a:pt x="10375" y="13406"/>
                  <a:pt x="10406" y="13406"/>
                </a:cubicBezTo>
                <a:cubicBezTo>
                  <a:pt x="10406" y="13406"/>
                  <a:pt x="10406" y="13406"/>
                  <a:pt x="10437" y="13406"/>
                </a:cubicBezTo>
                <a:cubicBezTo>
                  <a:pt x="10437" y="13406"/>
                  <a:pt x="10437" y="13375"/>
                  <a:pt x="10437" y="13375"/>
                </a:cubicBezTo>
                <a:cubicBezTo>
                  <a:pt x="10406" y="13312"/>
                  <a:pt x="10406" y="13312"/>
                  <a:pt x="10468" y="13312"/>
                </a:cubicBezTo>
                <a:cubicBezTo>
                  <a:pt x="10500" y="13250"/>
                  <a:pt x="10562" y="13281"/>
                  <a:pt x="10593" y="13250"/>
                </a:cubicBezTo>
                <a:cubicBezTo>
                  <a:pt x="10500" y="13219"/>
                  <a:pt x="10468" y="13219"/>
                  <a:pt x="10406" y="13281"/>
                </a:cubicBezTo>
                <a:cubicBezTo>
                  <a:pt x="10375" y="13312"/>
                  <a:pt x="10375" y="13344"/>
                  <a:pt x="10312" y="13375"/>
                </a:cubicBezTo>
                <a:cubicBezTo>
                  <a:pt x="10312" y="13344"/>
                  <a:pt x="10312" y="13344"/>
                  <a:pt x="10281" y="13344"/>
                </a:cubicBezTo>
                <a:cubicBezTo>
                  <a:pt x="10250" y="13312"/>
                  <a:pt x="10250" y="13281"/>
                  <a:pt x="10281" y="13250"/>
                </a:cubicBezTo>
                <a:cubicBezTo>
                  <a:pt x="10218" y="13281"/>
                  <a:pt x="10187" y="13312"/>
                  <a:pt x="10156" y="13344"/>
                </a:cubicBezTo>
                <a:cubicBezTo>
                  <a:pt x="10156" y="13375"/>
                  <a:pt x="10093" y="13437"/>
                  <a:pt x="10031" y="13375"/>
                </a:cubicBezTo>
                <a:cubicBezTo>
                  <a:pt x="10031" y="13375"/>
                  <a:pt x="10031" y="13344"/>
                  <a:pt x="10031" y="13344"/>
                </a:cubicBezTo>
                <a:cubicBezTo>
                  <a:pt x="10093" y="13281"/>
                  <a:pt x="10156" y="13219"/>
                  <a:pt x="10218" y="13156"/>
                </a:cubicBezTo>
                <a:cubicBezTo>
                  <a:pt x="10218" y="13125"/>
                  <a:pt x="10218" y="13125"/>
                  <a:pt x="10218" y="13125"/>
                </a:cubicBezTo>
                <a:cubicBezTo>
                  <a:pt x="10187" y="13156"/>
                  <a:pt x="10156" y="13156"/>
                  <a:pt x="10156" y="13156"/>
                </a:cubicBezTo>
                <a:cubicBezTo>
                  <a:pt x="10156" y="13156"/>
                  <a:pt x="10156" y="13187"/>
                  <a:pt x="10156" y="13187"/>
                </a:cubicBezTo>
                <a:cubicBezTo>
                  <a:pt x="10156" y="13219"/>
                  <a:pt x="10125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ubicBezTo>
                  <a:pt x="10093" y="13250"/>
                  <a:pt x="10093" y="13250"/>
                  <a:pt x="10062" y="13250"/>
                </a:cubicBezTo>
                <a:cubicBezTo>
                  <a:pt x="10062" y="13250"/>
                  <a:pt x="10062" y="13250"/>
                  <a:pt x="10062" y="13219"/>
                </a:cubicBezTo>
                <a:cubicBezTo>
                  <a:pt x="10062" y="13219"/>
                  <a:pt x="10062" y="13219"/>
                  <a:pt x="10093" y="13219"/>
                </a:cubicBezTo>
                <a:lnTo>
                  <a:pt x="10093" y="13219"/>
                </a:ln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187"/>
                  <a:pt x="10093" y="13187"/>
                </a:cubicBezTo>
                <a:cubicBezTo>
                  <a:pt x="10031" y="13125"/>
                  <a:pt x="10062" y="13125"/>
                  <a:pt x="10093" y="13125"/>
                </a:cubicBezTo>
                <a:cubicBezTo>
                  <a:pt x="10093" y="13125"/>
                  <a:pt x="10093" y="13125"/>
                  <a:pt x="10093" y="13125"/>
                </a:cubicBezTo>
                <a:cubicBezTo>
                  <a:pt x="10125" y="13125"/>
                  <a:pt x="10125" y="13156"/>
                  <a:pt x="10156" y="13156"/>
                </a:cubicBezTo>
                <a:cubicBezTo>
                  <a:pt x="10125" y="13125"/>
                  <a:pt x="10125" y="13125"/>
                  <a:pt x="10093" y="13125"/>
                </a:cubicBezTo>
                <a:cubicBezTo>
                  <a:pt x="10125" y="13062"/>
                  <a:pt x="10156" y="13031"/>
                  <a:pt x="10187" y="13031"/>
                </a:cubicBezTo>
                <a:cubicBezTo>
                  <a:pt x="10281" y="13125"/>
                  <a:pt x="10281" y="13125"/>
                  <a:pt x="10343" y="13031"/>
                </a:cubicBezTo>
                <a:cubicBezTo>
                  <a:pt x="10375" y="13000"/>
                  <a:pt x="10406" y="13000"/>
                  <a:pt x="10406" y="12937"/>
                </a:cubicBezTo>
                <a:cubicBezTo>
                  <a:pt x="10312" y="12937"/>
                  <a:pt x="10281" y="12937"/>
                  <a:pt x="10312" y="12875"/>
                </a:cubicBezTo>
                <a:cubicBezTo>
                  <a:pt x="10343" y="12844"/>
                  <a:pt x="10343" y="12844"/>
                  <a:pt x="10375" y="12812"/>
                </a:cubicBezTo>
                <a:cubicBezTo>
                  <a:pt x="10312" y="12812"/>
                  <a:pt x="10281" y="12812"/>
                  <a:pt x="10250" y="12781"/>
                </a:cubicBezTo>
                <a:cubicBezTo>
                  <a:pt x="10218" y="12750"/>
                  <a:pt x="10281" y="12750"/>
                  <a:pt x="10281" y="12719"/>
                </a:cubicBezTo>
                <a:cubicBezTo>
                  <a:pt x="10281" y="12719"/>
                  <a:pt x="10312" y="12719"/>
                  <a:pt x="10312" y="12687"/>
                </a:cubicBezTo>
                <a:cubicBezTo>
                  <a:pt x="10312" y="12656"/>
                  <a:pt x="10281" y="12656"/>
                  <a:pt x="10281" y="12656"/>
                </a:cubicBezTo>
                <a:cubicBezTo>
                  <a:pt x="10250" y="12656"/>
                  <a:pt x="10218" y="12656"/>
                  <a:pt x="10187" y="12656"/>
                </a:cubicBezTo>
                <a:cubicBezTo>
                  <a:pt x="10218" y="12625"/>
                  <a:pt x="10250" y="12594"/>
                  <a:pt x="10250" y="12562"/>
                </a:cubicBezTo>
                <a:cubicBezTo>
                  <a:pt x="10281" y="12562"/>
                  <a:pt x="10312" y="12531"/>
                  <a:pt x="10312" y="12500"/>
                </a:cubicBezTo>
                <a:cubicBezTo>
                  <a:pt x="10343" y="12469"/>
                  <a:pt x="10312" y="12437"/>
                  <a:pt x="10281" y="12437"/>
                </a:cubicBezTo>
                <a:cubicBezTo>
                  <a:pt x="10312" y="12437"/>
                  <a:pt x="10312" y="12437"/>
                  <a:pt x="10343" y="12437"/>
                </a:cubicBezTo>
                <a:cubicBezTo>
                  <a:pt x="10375" y="12437"/>
                  <a:pt x="10406" y="12469"/>
                  <a:pt x="10406" y="12406"/>
                </a:cubicBezTo>
                <a:cubicBezTo>
                  <a:pt x="10437" y="12375"/>
                  <a:pt x="10406" y="12344"/>
                  <a:pt x="10375" y="12312"/>
                </a:cubicBezTo>
                <a:cubicBezTo>
                  <a:pt x="10375" y="12312"/>
                  <a:pt x="10375" y="12312"/>
                  <a:pt x="10375" y="12281"/>
                </a:cubicBezTo>
                <a:cubicBezTo>
                  <a:pt x="10406" y="12250"/>
                  <a:pt x="10343" y="12250"/>
                  <a:pt x="10343" y="12250"/>
                </a:cubicBezTo>
                <a:cubicBezTo>
                  <a:pt x="10343" y="12250"/>
                  <a:pt x="10343" y="12219"/>
                  <a:pt x="10343" y="12219"/>
                </a:cubicBezTo>
                <a:lnTo>
                  <a:pt x="10343" y="12219"/>
                </a:lnTo>
                <a:cubicBezTo>
                  <a:pt x="10343" y="12219"/>
                  <a:pt x="10343" y="12219"/>
                  <a:pt x="10343" y="12219"/>
                </a:cubicBezTo>
                <a:cubicBezTo>
                  <a:pt x="10343" y="12219"/>
                  <a:pt x="10343" y="12250"/>
                  <a:pt x="10343" y="12250"/>
                </a:cubicBezTo>
                <a:cubicBezTo>
                  <a:pt x="10375" y="12250"/>
                  <a:pt x="10437" y="12250"/>
                  <a:pt x="10437" y="12187"/>
                </a:cubicBezTo>
                <a:cubicBezTo>
                  <a:pt x="10468" y="12219"/>
                  <a:pt x="10437" y="12250"/>
                  <a:pt x="10437" y="12281"/>
                </a:cubicBezTo>
                <a:cubicBezTo>
                  <a:pt x="10437" y="12281"/>
                  <a:pt x="10500" y="12219"/>
                  <a:pt x="10500" y="12281"/>
                </a:cubicBezTo>
                <a:cubicBezTo>
                  <a:pt x="10531" y="12281"/>
                  <a:pt x="10531" y="12281"/>
                  <a:pt x="10562" y="12281"/>
                </a:cubicBezTo>
                <a:cubicBezTo>
                  <a:pt x="10562" y="12312"/>
                  <a:pt x="10562" y="12312"/>
                  <a:pt x="10562" y="12312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31" y="12406"/>
                  <a:pt x="10562" y="12375"/>
                  <a:pt x="10593" y="12406"/>
                </a:cubicBezTo>
                <a:cubicBezTo>
                  <a:pt x="10593" y="12375"/>
                  <a:pt x="10625" y="12375"/>
                  <a:pt x="10625" y="12375"/>
                </a:cubicBezTo>
                <a:cubicBezTo>
                  <a:pt x="10656" y="12281"/>
                  <a:pt x="10750" y="12281"/>
                  <a:pt x="10781" y="12219"/>
                </a:cubicBezTo>
                <a:cubicBezTo>
                  <a:pt x="10781" y="12219"/>
                  <a:pt x="10781" y="12219"/>
                  <a:pt x="10812" y="12219"/>
                </a:cubicBezTo>
                <a:cubicBezTo>
                  <a:pt x="10812" y="12219"/>
                  <a:pt x="10812" y="12250"/>
                  <a:pt x="10781" y="12250"/>
                </a:cubicBezTo>
                <a:cubicBezTo>
                  <a:pt x="10750" y="12281"/>
                  <a:pt x="10718" y="12281"/>
                  <a:pt x="10718" y="12344"/>
                </a:cubicBezTo>
                <a:cubicBezTo>
                  <a:pt x="10750" y="12344"/>
                  <a:pt x="10781" y="12312"/>
                  <a:pt x="10843" y="12344"/>
                </a:cubicBezTo>
                <a:cubicBezTo>
                  <a:pt x="10843" y="12312"/>
                  <a:pt x="10875" y="12312"/>
                  <a:pt x="10875" y="12312"/>
                </a:cubicBezTo>
                <a:cubicBezTo>
                  <a:pt x="10875" y="12250"/>
                  <a:pt x="10937" y="12250"/>
                  <a:pt x="10968" y="12219"/>
                </a:cubicBezTo>
                <a:cubicBezTo>
                  <a:pt x="11000" y="12187"/>
                  <a:pt x="11031" y="12156"/>
                  <a:pt x="11062" y="12125"/>
                </a:cubicBezTo>
                <a:cubicBezTo>
                  <a:pt x="11000" y="12125"/>
                  <a:pt x="10937" y="12094"/>
                  <a:pt x="10875" y="12156"/>
                </a:cubicBezTo>
                <a:cubicBezTo>
                  <a:pt x="10906" y="12187"/>
                  <a:pt x="10875" y="12187"/>
                  <a:pt x="10843" y="12187"/>
                </a:cubicBezTo>
                <a:cubicBezTo>
                  <a:pt x="10781" y="12219"/>
                  <a:pt x="10812" y="12156"/>
                  <a:pt x="10812" y="12156"/>
                </a:cubicBezTo>
                <a:cubicBezTo>
                  <a:pt x="10781" y="12156"/>
                  <a:pt x="10750" y="12125"/>
                  <a:pt x="10718" y="12125"/>
                </a:cubicBezTo>
                <a:cubicBezTo>
                  <a:pt x="10687" y="12156"/>
                  <a:pt x="10687" y="12125"/>
                  <a:pt x="10687" y="12125"/>
                </a:cubicBezTo>
                <a:cubicBezTo>
                  <a:pt x="10781" y="12062"/>
                  <a:pt x="10781" y="12062"/>
                  <a:pt x="10718" y="12000"/>
                </a:cubicBezTo>
                <a:cubicBezTo>
                  <a:pt x="10750" y="11906"/>
                  <a:pt x="10812" y="11969"/>
                  <a:pt x="10843" y="11969"/>
                </a:cubicBezTo>
                <a:cubicBezTo>
                  <a:pt x="10843" y="12031"/>
                  <a:pt x="10750" y="12000"/>
                  <a:pt x="10718" y="12000"/>
                </a:cubicBezTo>
                <a:cubicBezTo>
                  <a:pt x="10687" y="12000"/>
                  <a:pt x="10656" y="12031"/>
                  <a:pt x="10625" y="12000"/>
                </a:cubicBezTo>
                <a:cubicBezTo>
                  <a:pt x="10656" y="11969"/>
                  <a:pt x="10718" y="11969"/>
                  <a:pt x="10718" y="11937"/>
                </a:cubicBezTo>
                <a:cubicBezTo>
                  <a:pt x="10687" y="11906"/>
                  <a:pt x="10687" y="11906"/>
                  <a:pt x="10656" y="11906"/>
                </a:cubicBezTo>
                <a:cubicBezTo>
                  <a:pt x="10687" y="11875"/>
                  <a:pt x="10718" y="11875"/>
                  <a:pt x="10750" y="11812"/>
                </a:cubicBezTo>
                <a:cubicBezTo>
                  <a:pt x="10750" y="11812"/>
                  <a:pt x="10750" y="11812"/>
                  <a:pt x="10750" y="11812"/>
                </a:cubicBezTo>
                <a:cubicBezTo>
                  <a:pt x="10781" y="11812"/>
                  <a:pt x="10781" y="11812"/>
                  <a:pt x="10812" y="11844"/>
                </a:cubicBezTo>
                <a:cubicBezTo>
                  <a:pt x="10812" y="11781"/>
                  <a:pt x="10875" y="11750"/>
                  <a:pt x="10875" y="11719"/>
                </a:cubicBezTo>
                <a:cubicBezTo>
                  <a:pt x="10875" y="11719"/>
                  <a:pt x="10875" y="11719"/>
                  <a:pt x="10875" y="11719"/>
                </a:cubicBezTo>
                <a:cubicBezTo>
                  <a:pt x="10875" y="11719"/>
                  <a:pt x="10875" y="11719"/>
                  <a:pt x="10875" y="11719"/>
                </a:cubicBezTo>
                <a:cubicBezTo>
                  <a:pt x="10843" y="11750"/>
                  <a:pt x="10812" y="11687"/>
                  <a:pt x="10781" y="11719"/>
                </a:cubicBezTo>
                <a:cubicBezTo>
                  <a:pt x="10781" y="11719"/>
                  <a:pt x="10781" y="11719"/>
                  <a:pt x="10781" y="11719"/>
                </a:cubicBezTo>
                <a:cubicBezTo>
                  <a:pt x="10781" y="11750"/>
                  <a:pt x="10750" y="11781"/>
                  <a:pt x="10750" y="11812"/>
                </a:cubicBezTo>
                <a:cubicBezTo>
                  <a:pt x="10750" y="11812"/>
                  <a:pt x="10750" y="11812"/>
                  <a:pt x="10750" y="11812"/>
                </a:cubicBezTo>
                <a:cubicBezTo>
                  <a:pt x="10687" y="11812"/>
                  <a:pt x="10687" y="11875"/>
                  <a:pt x="10656" y="11875"/>
                </a:cubicBezTo>
                <a:cubicBezTo>
                  <a:pt x="10625" y="11844"/>
                  <a:pt x="10656" y="11812"/>
                  <a:pt x="10656" y="11812"/>
                </a:cubicBezTo>
                <a:cubicBezTo>
                  <a:pt x="10625" y="11812"/>
                  <a:pt x="10593" y="11844"/>
                  <a:pt x="10593" y="11875"/>
                </a:cubicBezTo>
                <a:cubicBezTo>
                  <a:pt x="10625" y="11906"/>
                  <a:pt x="10625" y="11906"/>
                  <a:pt x="10562" y="11969"/>
                </a:cubicBezTo>
                <a:cubicBezTo>
                  <a:pt x="10531" y="11937"/>
                  <a:pt x="10593" y="11875"/>
                  <a:pt x="10531" y="11875"/>
                </a:cubicBezTo>
                <a:cubicBezTo>
                  <a:pt x="10562" y="11844"/>
                  <a:pt x="10562" y="11844"/>
                  <a:pt x="10562" y="11875"/>
                </a:cubicBezTo>
                <a:cubicBezTo>
                  <a:pt x="10562" y="11844"/>
                  <a:pt x="10593" y="11812"/>
                  <a:pt x="10593" y="11781"/>
                </a:cubicBezTo>
                <a:cubicBezTo>
                  <a:pt x="10531" y="11812"/>
                  <a:pt x="10500" y="11781"/>
                  <a:pt x="10468" y="11750"/>
                </a:cubicBezTo>
                <a:cubicBezTo>
                  <a:pt x="10468" y="11750"/>
                  <a:pt x="10468" y="11750"/>
                  <a:pt x="10468" y="11750"/>
                </a:cubicBezTo>
                <a:cubicBezTo>
                  <a:pt x="10468" y="11750"/>
                  <a:pt x="10468" y="11750"/>
                  <a:pt x="10468" y="11750"/>
                </a:cubicBezTo>
                <a:cubicBezTo>
                  <a:pt x="10437" y="11719"/>
                  <a:pt x="10406" y="11812"/>
                  <a:pt x="10375" y="11750"/>
                </a:cubicBezTo>
                <a:cubicBezTo>
                  <a:pt x="10343" y="11719"/>
                  <a:pt x="10406" y="11719"/>
                  <a:pt x="10437" y="11687"/>
                </a:cubicBezTo>
                <a:cubicBezTo>
                  <a:pt x="10468" y="11656"/>
                  <a:pt x="10531" y="11625"/>
                  <a:pt x="10562" y="11562"/>
                </a:cubicBezTo>
                <a:cubicBezTo>
                  <a:pt x="10531" y="11562"/>
                  <a:pt x="10500" y="11562"/>
                  <a:pt x="10500" y="11531"/>
                </a:cubicBezTo>
                <a:cubicBezTo>
                  <a:pt x="10500" y="11531"/>
                  <a:pt x="10531" y="11531"/>
                  <a:pt x="10531" y="11531"/>
                </a:cubicBezTo>
                <a:cubicBezTo>
                  <a:pt x="10562" y="11531"/>
                  <a:pt x="10562" y="11531"/>
                  <a:pt x="10562" y="11562"/>
                </a:cubicBezTo>
                <a:cubicBezTo>
                  <a:pt x="10562" y="11562"/>
                  <a:pt x="10562" y="11562"/>
                  <a:pt x="10562" y="11562"/>
                </a:cubicBezTo>
                <a:cubicBezTo>
                  <a:pt x="10562" y="11562"/>
                  <a:pt x="10593" y="11562"/>
                  <a:pt x="10593" y="11562"/>
                </a:cubicBezTo>
                <a:cubicBezTo>
                  <a:pt x="10593" y="11531"/>
                  <a:pt x="10625" y="11500"/>
                  <a:pt x="10562" y="11500"/>
                </a:cubicBezTo>
                <a:cubicBezTo>
                  <a:pt x="10531" y="11469"/>
                  <a:pt x="10500" y="11500"/>
                  <a:pt x="10500" y="11500"/>
                </a:cubicBezTo>
                <a:cubicBezTo>
                  <a:pt x="10468" y="11531"/>
                  <a:pt x="10468" y="11531"/>
                  <a:pt x="10437" y="11531"/>
                </a:cubicBezTo>
                <a:cubicBezTo>
                  <a:pt x="10406" y="11562"/>
                  <a:pt x="10375" y="11562"/>
                  <a:pt x="10375" y="11594"/>
                </a:cubicBezTo>
                <a:lnTo>
                  <a:pt x="10375" y="11594"/>
                </a:lnTo>
                <a:cubicBezTo>
                  <a:pt x="10406" y="11656"/>
                  <a:pt x="10437" y="11625"/>
                  <a:pt x="10468" y="11625"/>
                </a:cubicBezTo>
                <a:cubicBezTo>
                  <a:pt x="10375" y="11625"/>
                  <a:pt x="10437" y="11562"/>
                  <a:pt x="10437" y="11531"/>
                </a:cubicBezTo>
                <a:cubicBezTo>
                  <a:pt x="10437" y="11531"/>
                  <a:pt x="10437" y="11531"/>
                  <a:pt x="10437" y="11500"/>
                </a:cubicBezTo>
                <a:cubicBezTo>
                  <a:pt x="10500" y="11469"/>
                  <a:pt x="10500" y="11469"/>
                  <a:pt x="10437" y="11406"/>
                </a:cubicBezTo>
                <a:cubicBezTo>
                  <a:pt x="10437" y="11406"/>
                  <a:pt x="10437" y="11406"/>
                  <a:pt x="10468" y="11406"/>
                </a:cubicBezTo>
                <a:cubicBezTo>
                  <a:pt x="10468" y="11375"/>
                  <a:pt x="10531" y="11437"/>
                  <a:pt x="10531" y="11375"/>
                </a:cubicBezTo>
                <a:cubicBezTo>
                  <a:pt x="10531" y="11344"/>
                  <a:pt x="10500" y="11344"/>
                  <a:pt x="10468" y="11344"/>
                </a:cubicBezTo>
                <a:cubicBezTo>
                  <a:pt x="10406" y="11375"/>
                  <a:pt x="10437" y="11312"/>
                  <a:pt x="10406" y="11312"/>
                </a:cubicBezTo>
                <a:cubicBezTo>
                  <a:pt x="10406" y="11312"/>
                  <a:pt x="10406" y="11312"/>
                  <a:pt x="10375" y="11281"/>
                </a:cubicBezTo>
                <a:cubicBezTo>
                  <a:pt x="10375" y="11281"/>
                  <a:pt x="10406" y="11281"/>
                  <a:pt x="10406" y="11281"/>
                </a:cubicBezTo>
                <a:lnTo>
                  <a:pt x="10406" y="11281"/>
                </a:lnTo>
                <a:cubicBezTo>
                  <a:pt x="10406" y="11281"/>
                  <a:pt x="10437" y="11281"/>
                  <a:pt x="10406" y="11312"/>
                </a:cubicBezTo>
                <a:cubicBezTo>
                  <a:pt x="10468" y="11312"/>
                  <a:pt x="10500" y="11344"/>
                  <a:pt x="10562" y="11344"/>
                </a:cubicBezTo>
                <a:cubicBezTo>
                  <a:pt x="10562" y="11312"/>
                  <a:pt x="10562" y="11281"/>
                  <a:pt x="10593" y="11250"/>
                </a:cubicBezTo>
                <a:cubicBezTo>
                  <a:pt x="10593" y="11250"/>
                  <a:pt x="10593" y="11250"/>
                  <a:pt x="10593" y="11250"/>
                </a:cubicBezTo>
                <a:cubicBezTo>
                  <a:pt x="10625" y="11187"/>
                  <a:pt x="10625" y="11156"/>
                  <a:pt x="10656" y="11125"/>
                </a:cubicBezTo>
                <a:cubicBezTo>
                  <a:pt x="10687" y="11094"/>
                  <a:pt x="10718" y="11062"/>
                  <a:pt x="10718" y="11125"/>
                </a:cubicBezTo>
                <a:cubicBezTo>
                  <a:pt x="10718" y="11156"/>
                  <a:pt x="10718" y="11156"/>
                  <a:pt x="10718" y="11156"/>
                </a:cubicBezTo>
                <a:cubicBezTo>
                  <a:pt x="10812" y="11187"/>
                  <a:pt x="10812" y="11219"/>
                  <a:pt x="10781" y="11281"/>
                </a:cubicBezTo>
                <a:cubicBezTo>
                  <a:pt x="10843" y="11312"/>
                  <a:pt x="10875" y="11281"/>
                  <a:pt x="10906" y="11250"/>
                </a:cubicBezTo>
                <a:cubicBezTo>
                  <a:pt x="10937" y="11219"/>
                  <a:pt x="10968" y="11156"/>
                  <a:pt x="11031" y="11125"/>
                </a:cubicBezTo>
                <a:cubicBezTo>
                  <a:pt x="10968" y="11094"/>
                  <a:pt x="10906" y="11031"/>
                  <a:pt x="10875" y="11156"/>
                </a:cubicBezTo>
                <a:cubicBezTo>
                  <a:pt x="10875" y="11094"/>
                  <a:pt x="10875" y="11094"/>
                  <a:pt x="10937" y="11062"/>
                </a:cubicBezTo>
                <a:cubicBezTo>
                  <a:pt x="10937" y="11031"/>
                  <a:pt x="10937" y="11031"/>
                  <a:pt x="10937" y="11031"/>
                </a:cubicBezTo>
                <a:cubicBezTo>
                  <a:pt x="10937" y="11031"/>
                  <a:pt x="10937" y="11031"/>
                  <a:pt x="10937" y="11031"/>
                </a:cubicBezTo>
                <a:cubicBezTo>
                  <a:pt x="10937" y="11031"/>
                  <a:pt x="10937" y="11031"/>
                  <a:pt x="10937" y="11062"/>
                </a:cubicBezTo>
                <a:cubicBezTo>
                  <a:pt x="10968" y="11094"/>
                  <a:pt x="11000" y="11062"/>
                  <a:pt x="11031" y="11094"/>
                </a:cubicBezTo>
                <a:cubicBezTo>
                  <a:pt x="11093" y="11125"/>
                  <a:pt x="11031" y="11125"/>
                  <a:pt x="11031" y="11125"/>
                </a:cubicBezTo>
                <a:cubicBezTo>
                  <a:pt x="11031" y="11156"/>
                  <a:pt x="10968" y="11219"/>
                  <a:pt x="11062" y="11219"/>
                </a:cubicBezTo>
                <a:cubicBezTo>
                  <a:pt x="11000" y="11250"/>
                  <a:pt x="10906" y="11250"/>
                  <a:pt x="10906" y="11344"/>
                </a:cubicBezTo>
                <a:cubicBezTo>
                  <a:pt x="10906" y="11375"/>
                  <a:pt x="10968" y="11344"/>
                  <a:pt x="10937" y="11406"/>
                </a:cubicBezTo>
                <a:lnTo>
                  <a:pt x="10937" y="11406"/>
                </a:lnTo>
                <a:cubicBezTo>
                  <a:pt x="10937" y="11406"/>
                  <a:pt x="10906" y="11437"/>
                  <a:pt x="10937" y="11437"/>
                </a:cubicBezTo>
                <a:cubicBezTo>
                  <a:pt x="10968" y="11437"/>
                  <a:pt x="10968" y="11437"/>
                  <a:pt x="11000" y="11406"/>
                </a:cubicBezTo>
                <a:cubicBezTo>
                  <a:pt x="11000" y="11375"/>
                  <a:pt x="11000" y="11375"/>
                  <a:pt x="11062" y="11375"/>
                </a:cubicBezTo>
                <a:cubicBezTo>
                  <a:pt x="11062" y="11406"/>
                  <a:pt x="11093" y="11406"/>
                  <a:pt x="11093" y="11437"/>
                </a:cubicBezTo>
                <a:cubicBezTo>
                  <a:pt x="11156" y="11406"/>
                  <a:pt x="11156" y="11406"/>
                  <a:pt x="11156" y="11375"/>
                </a:cubicBezTo>
                <a:cubicBezTo>
                  <a:pt x="11156" y="11375"/>
                  <a:pt x="11156" y="11375"/>
                  <a:pt x="11156" y="11375"/>
                </a:cubicBezTo>
                <a:cubicBezTo>
                  <a:pt x="11187" y="11375"/>
                  <a:pt x="11187" y="11344"/>
                  <a:pt x="11187" y="11344"/>
                </a:cubicBezTo>
                <a:cubicBezTo>
                  <a:pt x="11218" y="11344"/>
                  <a:pt x="11218" y="11344"/>
                  <a:pt x="11218" y="11312"/>
                </a:cubicBezTo>
                <a:cubicBezTo>
                  <a:pt x="11218" y="11312"/>
                  <a:pt x="11218" y="11312"/>
                  <a:pt x="11218" y="11312"/>
                </a:cubicBezTo>
                <a:cubicBezTo>
                  <a:pt x="11187" y="11281"/>
                  <a:pt x="11156" y="11312"/>
                  <a:pt x="11156" y="11344"/>
                </a:cubicBezTo>
                <a:cubicBezTo>
                  <a:pt x="11156" y="11344"/>
                  <a:pt x="11156" y="11344"/>
                  <a:pt x="11156" y="11375"/>
                </a:cubicBezTo>
                <a:cubicBezTo>
                  <a:pt x="11093" y="11375"/>
                  <a:pt x="11062" y="11375"/>
                  <a:pt x="11062" y="11312"/>
                </a:cubicBezTo>
                <a:cubicBezTo>
                  <a:pt x="11062" y="11281"/>
                  <a:pt x="11062" y="11281"/>
                  <a:pt x="11062" y="11281"/>
                </a:cubicBezTo>
                <a:cubicBezTo>
                  <a:pt x="11062" y="11281"/>
                  <a:pt x="11031" y="11281"/>
                  <a:pt x="11031" y="11281"/>
                </a:cubicBezTo>
                <a:cubicBezTo>
                  <a:pt x="11000" y="11344"/>
                  <a:pt x="10968" y="11344"/>
                  <a:pt x="10906" y="11344"/>
                </a:cubicBezTo>
                <a:cubicBezTo>
                  <a:pt x="10875" y="11344"/>
                  <a:pt x="10843" y="11375"/>
                  <a:pt x="10843" y="11406"/>
                </a:cubicBezTo>
                <a:cubicBezTo>
                  <a:pt x="10875" y="11469"/>
                  <a:pt x="10781" y="11469"/>
                  <a:pt x="10781" y="11500"/>
                </a:cubicBezTo>
                <a:cubicBezTo>
                  <a:pt x="10781" y="11562"/>
                  <a:pt x="10750" y="11594"/>
                  <a:pt x="10718" y="11625"/>
                </a:cubicBezTo>
                <a:cubicBezTo>
                  <a:pt x="10781" y="11625"/>
                  <a:pt x="10843" y="11625"/>
                  <a:pt x="10875" y="11687"/>
                </a:cubicBezTo>
                <a:cubicBezTo>
                  <a:pt x="10937" y="11594"/>
                  <a:pt x="10968" y="11719"/>
                  <a:pt x="11031" y="11719"/>
                </a:cubicBezTo>
                <a:cubicBezTo>
                  <a:pt x="11000" y="11750"/>
                  <a:pt x="10906" y="11687"/>
                  <a:pt x="10906" y="11781"/>
                </a:cubicBezTo>
                <a:cubicBezTo>
                  <a:pt x="10937" y="11781"/>
                  <a:pt x="11000" y="11844"/>
                  <a:pt x="11031" y="11781"/>
                </a:cubicBezTo>
                <a:cubicBezTo>
                  <a:pt x="11031" y="11750"/>
                  <a:pt x="11031" y="11719"/>
                  <a:pt x="11062" y="11719"/>
                </a:cubicBezTo>
                <a:cubicBezTo>
                  <a:pt x="11093" y="11750"/>
                  <a:pt x="11062" y="11781"/>
                  <a:pt x="11031" y="11781"/>
                </a:cubicBezTo>
                <a:cubicBezTo>
                  <a:pt x="11062" y="11812"/>
                  <a:pt x="11031" y="11812"/>
                  <a:pt x="11031" y="11844"/>
                </a:cubicBezTo>
                <a:cubicBezTo>
                  <a:pt x="10937" y="11875"/>
                  <a:pt x="11000" y="11906"/>
                  <a:pt x="11031" y="11937"/>
                </a:cubicBezTo>
                <a:cubicBezTo>
                  <a:pt x="11062" y="11937"/>
                  <a:pt x="11062" y="11906"/>
                  <a:pt x="11093" y="11937"/>
                </a:cubicBezTo>
                <a:cubicBezTo>
                  <a:pt x="11093" y="11937"/>
                  <a:pt x="11093" y="11937"/>
                  <a:pt x="11125" y="11937"/>
                </a:cubicBezTo>
                <a:cubicBezTo>
                  <a:pt x="11156" y="11937"/>
                  <a:pt x="11187" y="11937"/>
                  <a:pt x="11187" y="11969"/>
                </a:cubicBezTo>
                <a:cubicBezTo>
                  <a:pt x="11187" y="11969"/>
                  <a:pt x="11187" y="12000"/>
                  <a:pt x="11156" y="12000"/>
                </a:cubicBezTo>
                <a:cubicBezTo>
                  <a:pt x="11125" y="12000"/>
                  <a:pt x="11093" y="12000"/>
                  <a:pt x="11062" y="11969"/>
                </a:cubicBezTo>
                <a:cubicBezTo>
                  <a:pt x="11062" y="11969"/>
                  <a:pt x="11062" y="11969"/>
                  <a:pt x="11031" y="11969"/>
                </a:cubicBezTo>
                <a:cubicBezTo>
                  <a:pt x="11031" y="12031"/>
                  <a:pt x="11093" y="12031"/>
                  <a:pt x="11125" y="12000"/>
                </a:cubicBezTo>
                <a:cubicBezTo>
                  <a:pt x="11156" y="12000"/>
                  <a:pt x="11156" y="12000"/>
                  <a:pt x="11187" y="12031"/>
                </a:cubicBezTo>
                <a:cubicBezTo>
                  <a:pt x="11187" y="12062"/>
                  <a:pt x="11250" y="12062"/>
                  <a:pt x="11312" y="12031"/>
                </a:cubicBezTo>
                <a:cubicBezTo>
                  <a:pt x="11312" y="12031"/>
                  <a:pt x="11312" y="12000"/>
                  <a:pt x="11343" y="12000"/>
                </a:cubicBezTo>
                <a:cubicBezTo>
                  <a:pt x="11343" y="12000"/>
                  <a:pt x="11343" y="12000"/>
                  <a:pt x="11343" y="12031"/>
                </a:cubicBezTo>
                <a:cubicBezTo>
                  <a:pt x="11343" y="12062"/>
                  <a:pt x="11343" y="12062"/>
                  <a:pt x="11312" y="12062"/>
                </a:cubicBezTo>
                <a:cubicBezTo>
                  <a:pt x="11281" y="12094"/>
                  <a:pt x="11218" y="12094"/>
                  <a:pt x="11218" y="12187"/>
                </a:cubicBezTo>
                <a:cubicBezTo>
                  <a:pt x="11218" y="12219"/>
                  <a:pt x="11250" y="12219"/>
                  <a:pt x="11281" y="12187"/>
                </a:cubicBezTo>
                <a:cubicBezTo>
                  <a:pt x="11312" y="12156"/>
                  <a:pt x="11312" y="12125"/>
                  <a:pt x="11375" y="12156"/>
                </a:cubicBezTo>
                <a:cubicBezTo>
                  <a:pt x="11375" y="12125"/>
                  <a:pt x="11375" y="12094"/>
                  <a:pt x="11406" y="12094"/>
                </a:cubicBezTo>
                <a:cubicBezTo>
                  <a:pt x="11437" y="12094"/>
                  <a:pt x="11468" y="12062"/>
                  <a:pt x="11468" y="12031"/>
                </a:cubicBezTo>
                <a:cubicBezTo>
                  <a:pt x="11437" y="12031"/>
                  <a:pt x="11437" y="12031"/>
                  <a:pt x="11406" y="12000"/>
                </a:cubicBezTo>
                <a:lnTo>
                  <a:pt x="11406" y="12000"/>
                </a:lnTo>
                <a:cubicBezTo>
                  <a:pt x="11437" y="12000"/>
                  <a:pt x="11437" y="12000"/>
                  <a:pt x="11468" y="12031"/>
                </a:cubicBezTo>
                <a:cubicBezTo>
                  <a:pt x="11468" y="12031"/>
                  <a:pt x="11500" y="12000"/>
                  <a:pt x="11500" y="12031"/>
                </a:cubicBezTo>
                <a:cubicBezTo>
                  <a:pt x="11531" y="12062"/>
                  <a:pt x="11468" y="12062"/>
                  <a:pt x="11468" y="12094"/>
                </a:cubicBezTo>
                <a:cubicBezTo>
                  <a:pt x="11437" y="12125"/>
                  <a:pt x="11406" y="12156"/>
                  <a:pt x="11375" y="12156"/>
                </a:cubicBezTo>
                <a:cubicBezTo>
                  <a:pt x="11375" y="12219"/>
                  <a:pt x="11437" y="12187"/>
                  <a:pt x="11468" y="12187"/>
                </a:cubicBezTo>
                <a:cubicBezTo>
                  <a:pt x="11500" y="12219"/>
                  <a:pt x="11500" y="12219"/>
                  <a:pt x="11531" y="12187"/>
                </a:cubicBezTo>
                <a:cubicBezTo>
                  <a:pt x="11593" y="12094"/>
                  <a:pt x="11500" y="12125"/>
                  <a:pt x="11468" y="12094"/>
                </a:cubicBezTo>
                <a:cubicBezTo>
                  <a:pt x="11468" y="12125"/>
                  <a:pt x="11500" y="12156"/>
                  <a:pt x="11468" y="12187"/>
                </a:cubicBezTo>
                <a:cubicBezTo>
                  <a:pt x="11468" y="12219"/>
                  <a:pt x="11468" y="12250"/>
                  <a:pt x="11500" y="12250"/>
                </a:cubicBezTo>
                <a:cubicBezTo>
                  <a:pt x="11531" y="12250"/>
                  <a:pt x="11562" y="12187"/>
                  <a:pt x="11593" y="12219"/>
                </a:cubicBezTo>
                <a:cubicBezTo>
                  <a:pt x="11562" y="12281"/>
                  <a:pt x="11500" y="12312"/>
                  <a:pt x="11437" y="12312"/>
                </a:cubicBezTo>
                <a:cubicBezTo>
                  <a:pt x="11531" y="12375"/>
                  <a:pt x="11437" y="12406"/>
                  <a:pt x="11406" y="12437"/>
                </a:cubicBezTo>
                <a:cubicBezTo>
                  <a:pt x="11406" y="12469"/>
                  <a:pt x="11375" y="12437"/>
                  <a:pt x="11375" y="12437"/>
                </a:cubicBezTo>
                <a:cubicBezTo>
                  <a:pt x="11406" y="12406"/>
                  <a:pt x="11343" y="12375"/>
                  <a:pt x="11343" y="12344"/>
                </a:cubicBezTo>
                <a:cubicBezTo>
                  <a:pt x="11343" y="12312"/>
                  <a:pt x="11375" y="12312"/>
                  <a:pt x="11406" y="12281"/>
                </a:cubicBezTo>
                <a:cubicBezTo>
                  <a:pt x="11375" y="12281"/>
                  <a:pt x="11343" y="12281"/>
                  <a:pt x="11312" y="12281"/>
                </a:cubicBezTo>
                <a:cubicBezTo>
                  <a:pt x="11250" y="12219"/>
                  <a:pt x="11187" y="12250"/>
                  <a:pt x="11125" y="12312"/>
                </a:cubicBezTo>
                <a:cubicBezTo>
                  <a:pt x="11093" y="12344"/>
                  <a:pt x="11031" y="12375"/>
                  <a:pt x="10968" y="12406"/>
                </a:cubicBezTo>
                <a:cubicBezTo>
                  <a:pt x="10968" y="12437"/>
                  <a:pt x="10937" y="12437"/>
                  <a:pt x="10937" y="12469"/>
                </a:cubicBezTo>
                <a:cubicBezTo>
                  <a:pt x="10968" y="12500"/>
                  <a:pt x="11000" y="12500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62" y="12437"/>
                  <a:pt x="11093" y="12406"/>
                  <a:pt x="11156" y="12406"/>
                </a:cubicBezTo>
                <a:cubicBezTo>
                  <a:pt x="11218" y="12344"/>
                  <a:pt x="11156" y="12344"/>
                  <a:pt x="11125" y="12312"/>
                </a:cubicBezTo>
                <a:cubicBezTo>
                  <a:pt x="11156" y="12312"/>
                  <a:pt x="11187" y="12281"/>
                  <a:pt x="11218" y="12312"/>
                </a:cubicBezTo>
                <a:cubicBezTo>
                  <a:pt x="11218" y="12344"/>
                  <a:pt x="11250" y="12344"/>
                  <a:pt x="11250" y="12312"/>
                </a:cubicBezTo>
                <a:cubicBezTo>
                  <a:pt x="11281" y="12312"/>
                  <a:pt x="11281" y="12281"/>
                  <a:pt x="11312" y="12312"/>
                </a:cubicBezTo>
                <a:cubicBezTo>
                  <a:pt x="11312" y="12344"/>
                  <a:pt x="11281" y="12344"/>
                  <a:pt x="11281" y="12344"/>
                </a:cubicBezTo>
                <a:cubicBezTo>
                  <a:pt x="11250" y="12375"/>
                  <a:pt x="11187" y="12406"/>
                  <a:pt x="11156" y="12437"/>
                </a:cubicBezTo>
                <a:lnTo>
                  <a:pt x="11156" y="12437"/>
                </a:lnTo>
                <a:cubicBezTo>
                  <a:pt x="11187" y="12469"/>
                  <a:pt x="11218" y="12406"/>
                  <a:pt x="11218" y="12469"/>
                </a:cubicBezTo>
                <a:cubicBezTo>
                  <a:pt x="11281" y="12469"/>
                  <a:pt x="11281" y="12437"/>
                  <a:pt x="11312" y="12437"/>
                </a:cubicBezTo>
                <a:cubicBezTo>
                  <a:pt x="11312" y="12437"/>
                  <a:pt x="11312" y="12406"/>
                  <a:pt x="11343" y="12406"/>
                </a:cubicBezTo>
                <a:cubicBezTo>
                  <a:pt x="11343" y="12406"/>
                  <a:pt x="11343" y="12406"/>
                  <a:pt x="11343" y="12437"/>
                </a:cubicBezTo>
                <a:cubicBezTo>
                  <a:pt x="11343" y="12437"/>
                  <a:pt x="11343" y="12437"/>
                  <a:pt x="11312" y="12437"/>
                </a:cubicBezTo>
                <a:cubicBezTo>
                  <a:pt x="11312" y="12469"/>
                  <a:pt x="11312" y="12500"/>
                  <a:pt x="11375" y="12531"/>
                </a:cubicBezTo>
                <a:cubicBezTo>
                  <a:pt x="11312" y="12562"/>
                  <a:pt x="11281" y="12594"/>
                  <a:pt x="11218" y="12562"/>
                </a:cubicBezTo>
                <a:cubicBezTo>
                  <a:pt x="11218" y="12469"/>
                  <a:pt x="11281" y="12500"/>
                  <a:pt x="11375" y="12531"/>
                </a:cubicBezTo>
                <a:cubicBezTo>
                  <a:pt x="11343" y="12562"/>
                  <a:pt x="11312" y="12594"/>
                  <a:pt x="11375" y="12625"/>
                </a:cubicBezTo>
                <a:cubicBezTo>
                  <a:pt x="11406" y="12625"/>
                  <a:pt x="11437" y="12625"/>
                  <a:pt x="11468" y="12562"/>
                </a:cubicBezTo>
                <a:cubicBezTo>
                  <a:pt x="11437" y="12562"/>
                  <a:pt x="11375" y="12562"/>
                  <a:pt x="11406" y="12500"/>
                </a:cubicBezTo>
                <a:cubicBezTo>
                  <a:pt x="11437" y="12469"/>
                  <a:pt x="11468" y="12406"/>
                  <a:pt x="11500" y="12437"/>
                </a:cubicBezTo>
                <a:cubicBezTo>
                  <a:pt x="11562" y="12469"/>
                  <a:pt x="11625" y="12500"/>
                  <a:pt x="11687" y="12469"/>
                </a:cubicBezTo>
                <a:cubicBezTo>
                  <a:pt x="11625" y="12531"/>
                  <a:pt x="11531" y="12531"/>
                  <a:pt x="11500" y="12500"/>
                </a:cubicBezTo>
                <a:cubicBezTo>
                  <a:pt x="11468" y="12469"/>
                  <a:pt x="11468" y="12500"/>
                  <a:pt x="11437" y="12500"/>
                </a:cubicBezTo>
                <a:lnTo>
                  <a:pt x="11437" y="12500"/>
                </a:lnTo>
                <a:cubicBezTo>
                  <a:pt x="11406" y="12531"/>
                  <a:pt x="11468" y="12531"/>
                  <a:pt x="11468" y="12562"/>
                </a:cubicBezTo>
                <a:cubicBezTo>
                  <a:pt x="11468" y="12562"/>
                  <a:pt x="11500" y="12562"/>
                  <a:pt x="11531" y="12562"/>
                </a:cubicBezTo>
                <a:cubicBezTo>
                  <a:pt x="11500" y="12594"/>
                  <a:pt x="11437" y="12656"/>
                  <a:pt x="11406" y="12656"/>
                </a:cubicBezTo>
                <a:cubicBezTo>
                  <a:pt x="11343" y="12687"/>
                  <a:pt x="11375" y="12719"/>
                  <a:pt x="11406" y="12719"/>
                </a:cubicBezTo>
                <a:cubicBezTo>
                  <a:pt x="11437" y="12750"/>
                  <a:pt x="11437" y="12750"/>
                  <a:pt x="11468" y="12719"/>
                </a:cubicBezTo>
                <a:cubicBezTo>
                  <a:pt x="11468" y="12719"/>
                  <a:pt x="11468" y="12719"/>
                  <a:pt x="11468" y="12719"/>
                </a:cubicBezTo>
                <a:cubicBezTo>
                  <a:pt x="11468" y="12719"/>
                  <a:pt x="11500" y="12750"/>
                  <a:pt x="11500" y="12750"/>
                </a:cubicBezTo>
                <a:cubicBezTo>
                  <a:pt x="11531" y="12750"/>
                  <a:pt x="11562" y="12781"/>
                  <a:pt x="11562" y="12750"/>
                </a:cubicBezTo>
                <a:cubicBezTo>
                  <a:pt x="11593" y="12719"/>
                  <a:pt x="11531" y="12719"/>
                  <a:pt x="11562" y="12687"/>
                </a:cubicBezTo>
                <a:cubicBezTo>
                  <a:pt x="11531" y="12687"/>
                  <a:pt x="11531" y="12687"/>
                  <a:pt x="11531" y="12687"/>
                </a:cubicBezTo>
                <a:cubicBezTo>
                  <a:pt x="11531" y="12687"/>
                  <a:pt x="11562" y="12687"/>
                  <a:pt x="11562" y="12687"/>
                </a:cubicBezTo>
                <a:cubicBezTo>
                  <a:pt x="11562" y="12687"/>
                  <a:pt x="11562" y="12687"/>
                  <a:pt x="11562" y="12687"/>
                </a:cubicBezTo>
                <a:cubicBezTo>
                  <a:pt x="11593" y="12687"/>
                  <a:pt x="11625" y="12687"/>
                  <a:pt x="11625" y="12687"/>
                </a:cubicBezTo>
                <a:cubicBezTo>
                  <a:pt x="11656" y="12719"/>
                  <a:pt x="11687" y="12687"/>
                  <a:pt x="11687" y="12656"/>
                </a:cubicBezTo>
                <a:cubicBezTo>
                  <a:pt x="11656" y="12625"/>
                  <a:pt x="11625" y="12594"/>
                  <a:pt x="11593" y="12594"/>
                </a:cubicBezTo>
                <a:cubicBezTo>
                  <a:pt x="11625" y="12531"/>
                  <a:pt x="11687" y="12562"/>
                  <a:pt x="11750" y="12500"/>
                </a:cubicBezTo>
                <a:cubicBezTo>
                  <a:pt x="11750" y="12500"/>
                  <a:pt x="11750" y="12500"/>
                  <a:pt x="11750" y="12500"/>
                </a:cubicBezTo>
                <a:cubicBezTo>
                  <a:pt x="11781" y="12531"/>
                  <a:pt x="11750" y="12531"/>
                  <a:pt x="11750" y="12531"/>
                </a:cubicBezTo>
                <a:cubicBezTo>
                  <a:pt x="11750" y="12562"/>
                  <a:pt x="11718" y="12562"/>
                  <a:pt x="11750" y="12562"/>
                </a:cubicBezTo>
                <a:cubicBezTo>
                  <a:pt x="11750" y="12594"/>
                  <a:pt x="11781" y="12594"/>
                  <a:pt x="11781" y="12562"/>
                </a:cubicBezTo>
                <a:cubicBezTo>
                  <a:pt x="11781" y="12531"/>
                  <a:pt x="11906" y="12594"/>
                  <a:pt x="11906" y="12625"/>
                </a:cubicBezTo>
                <a:cubicBezTo>
                  <a:pt x="11906" y="12687"/>
                  <a:pt x="11937" y="12656"/>
                  <a:pt x="11968" y="12656"/>
                </a:cubicBezTo>
                <a:cubicBezTo>
                  <a:pt x="11968" y="12625"/>
                  <a:pt x="12000" y="12594"/>
                  <a:pt x="11968" y="12562"/>
                </a:cubicBezTo>
                <a:cubicBezTo>
                  <a:pt x="11937" y="12562"/>
                  <a:pt x="11906" y="12562"/>
                  <a:pt x="11937" y="12531"/>
                </a:cubicBezTo>
                <a:cubicBezTo>
                  <a:pt x="11968" y="12500"/>
                  <a:pt x="12000" y="12531"/>
                  <a:pt x="12000" y="12531"/>
                </a:cubicBezTo>
                <a:cubicBezTo>
                  <a:pt x="12000" y="12562"/>
                  <a:pt x="12000" y="12594"/>
                  <a:pt x="12031" y="12594"/>
                </a:cubicBezTo>
                <a:cubicBezTo>
                  <a:pt x="12031" y="12625"/>
                  <a:pt x="12031" y="12656"/>
                  <a:pt x="12062" y="12656"/>
                </a:cubicBezTo>
                <a:cubicBezTo>
                  <a:pt x="12093" y="12656"/>
                  <a:pt x="12062" y="12625"/>
                  <a:pt x="12093" y="12625"/>
                </a:cubicBezTo>
                <a:cubicBezTo>
                  <a:pt x="12125" y="12687"/>
                  <a:pt x="12187" y="12687"/>
                  <a:pt x="12250" y="12625"/>
                </a:cubicBezTo>
                <a:cubicBezTo>
                  <a:pt x="12250" y="12594"/>
                  <a:pt x="12250" y="12562"/>
                  <a:pt x="12281" y="12531"/>
                </a:cubicBezTo>
                <a:lnTo>
                  <a:pt x="12281" y="12531"/>
                </a:lnTo>
                <a:cubicBezTo>
                  <a:pt x="12312" y="12531"/>
                  <a:pt x="12343" y="12500"/>
                  <a:pt x="12343" y="12469"/>
                </a:cubicBezTo>
                <a:cubicBezTo>
                  <a:pt x="12375" y="12437"/>
                  <a:pt x="12406" y="12406"/>
                  <a:pt x="12343" y="12375"/>
                </a:cubicBezTo>
                <a:cubicBezTo>
                  <a:pt x="12312" y="12312"/>
                  <a:pt x="12312" y="12312"/>
                  <a:pt x="12375" y="12281"/>
                </a:cubicBezTo>
                <a:lnTo>
                  <a:pt x="12375" y="12281"/>
                </a:lnTo>
                <a:cubicBezTo>
                  <a:pt x="12375" y="12312"/>
                  <a:pt x="12343" y="12344"/>
                  <a:pt x="12343" y="12375"/>
                </a:cubicBezTo>
                <a:cubicBezTo>
                  <a:pt x="12375" y="12344"/>
                  <a:pt x="12437" y="12406"/>
                  <a:pt x="12468" y="12344"/>
                </a:cubicBezTo>
                <a:cubicBezTo>
                  <a:pt x="12468" y="12344"/>
                  <a:pt x="12468" y="12344"/>
                  <a:pt x="12500" y="12344"/>
                </a:cubicBezTo>
                <a:cubicBezTo>
                  <a:pt x="12500" y="12344"/>
                  <a:pt x="12500" y="12375"/>
                  <a:pt x="12468" y="12375"/>
                </a:cubicBezTo>
                <a:lnTo>
                  <a:pt x="12468" y="12375"/>
                </a:lnTo>
                <a:cubicBezTo>
                  <a:pt x="12437" y="12406"/>
                  <a:pt x="12406" y="12469"/>
                  <a:pt x="12343" y="12469"/>
                </a:cubicBezTo>
                <a:cubicBezTo>
                  <a:pt x="12312" y="12500"/>
                  <a:pt x="12250" y="12469"/>
                  <a:pt x="12187" y="12469"/>
                </a:cubicBezTo>
                <a:cubicBezTo>
                  <a:pt x="12218" y="12500"/>
                  <a:pt x="12281" y="12531"/>
                  <a:pt x="12187" y="12562"/>
                </a:cubicBezTo>
                <a:cubicBezTo>
                  <a:pt x="12156" y="12562"/>
                  <a:pt x="12187" y="12594"/>
                  <a:pt x="12187" y="12594"/>
                </a:cubicBezTo>
                <a:cubicBezTo>
                  <a:pt x="12218" y="12594"/>
                  <a:pt x="12218" y="12594"/>
                  <a:pt x="12250" y="12625"/>
                </a:cubicBezTo>
                <a:cubicBezTo>
                  <a:pt x="12312" y="12625"/>
                  <a:pt x="12375" y="12594"/>
                  <a:pt x="12406" y="12562"/>
                </a:cubicBezTo>
                <a:cubicBezTo>
                  <a:pt x="12468" y="12500"/>
                  <a:pt x="12500" y="12531"/>
                  <a:pt x="12531" y="12562"/>
                </a:cubicBezTo>
                <a:cubicBezTo>
                  <a:pt x="12562" y="12594"/>
                  <a:pt x="12531" y="12625"/>
                  <a:pt x="12531" y="12656"/>
                </a:cubicBezTo>
                <a:cubicBezTo>
                  <a:pt x="12531" y="12687"/>
                  <a:pt x="12562" y="12719"/>
                  <a:pt x="12593" y="12687"/>
                </a:cubicBezTo>
                <a:cubicBezTo>
                  <a:pt x="12625" y="12687"/>
                  <a:pt x="12687" y="12687"/>
                  <a:pt x="12687" y="12625"/>
                </a:cubicBezTo>
                <a:cubicBezTo>
                  <a:pt x="12656" y="12594"/>
                  <a:pt x="12625" y="12594"/>
                  <a:pt x="12593" y="12594"/>
                </a:cubicBezTo>
                <a:cubicBezTo>
                  <a:pt x="12625" y="12531"/>
                  <a:pt x="12656" y="12500"/>
                  <a:pt x="12718" y="12469"/>
                </a:cubicBezTo>
                <a:lnTo>
                  <a:pt x="12718" y="12469"/>
                </a:lnTo>
                <a:cubicBezTo>
                  <a:pt x="12687" y="12531"/>
                  <a:pt x="12625" y="12562"/>
                  <a:pt x="12687" y="12625"/>
                </a:cubicBezTo>
                <a:cubicBezTo>
                  <a:pt x="12718" y="12625"/>
                  <a:pt x="12750" y="12656"/>
                  <a:pt x="12687" y="12687"/>
                </a:cubicBezTo>
                <a:cubicBezTo>
                  <a:pt x="12687" y="12687"/>
                  <a:pt x="12656" y="12719"/>
                  <a:pt x="12687" y="12750"/>
                </a:cubicBezTo>
                <a:cubicBezTo>
                  <a:pt x="12750" y="12781"/>
                  <a:pt x="12718" y="12812"/>
                  <a:pt x="12656" y="12844"/>
                </a:cubicBezTo>
                <a:cubicBezTo>
                  <a:pt x="12656" y="12844"/>
                  <a:pt x="12656" y="12844"/>
                  <a:pt x="12656" y="12875"/>
                </a:cubicBezTo>
                <a:cubicBezTo>
                  <a:pt x="12718" y="12906"/>
                  <a:pt x="12656" y="12969"/>
                  <a:pt x="12656" y="13000"/>
                </a:cubicBezTo>
                <a:cubicBezTo>
                  <a:pt x="12625" y="13000"/>
                  <a:pt x="12593" y="12969"/>
                  <a:pt x="12625" y="12937"/>
                </a:cubicBezTo>
                <a:cubicBezTo>
                  <a:pt x="12687" y="12906"/>
                  <a:pt x="12656" y="12875"/>
                  <a:pt x="12625" y="12875"/>
                </a:cubicBezTo>
                <a:cubicBezTo>
                  <a:pt x="12593" y="12844"/>
                  <a:pt x="12593" y="12844"/>
                  <a:pt x="12625" y="12812"/>
                </a:cubicBezTo>
                <a:cubicBezTo>
                  <a:pt x="12656" y="12812"/>
                  <a:pt x="12656" y="12812"/>
                  <a:pt x="12656" y="12781"/>
                </a:cubicBezTo>
                <a:cubicBezTo>
                  <a:pt x="12656" y="12750"/>
                  <a:pt x="12625" y="12750"/>
                  <a:pt x="12625" y="12719"/>
                </a:cubicBezTo>
                <a:cubicBezTo>
                  <a:pt x="12562" y="12719"/>
                  <a:pt x="12562" y="12750"/>
                  <a:pt x="12531" y="12750"/>
                </a:cubicBezTo>
                <a:cubicBezTo>
                  <a:pt x="12531" y="12750"/>
                  <a:pt x="12531" y="12750"/>
                  <a:pt x="12500" y="12750"/>
                </a:cubicBezTo>
                <a:lnTo>
                  <a:pt x="12500" y="12750"/>
                </a:lnTo>
                <a:cubicBezTo>
                  <a:pt x="12531" y="12750"/>
                  <a:pt x="12531" y="12750"/>
                  <a:pt x="12531" y="12750"/>
                </a:cubicBezTo>
                <a:cubicBezTo>
                  <a:pt x="12531" y="12719"/>
                  <a:pt x="12500" y="12687"/>
                  <a:pt x="12500" y="12687"/>
                </a:cubicBezTo>
                <a:cubicBezTo>
                  <a:pt x="12500" y="12656"/>
                  <a:pt x="12468" y="12656"/>
                  <a:pt x="12500" y="12625"/>
                </a:cubicBezTo>
                <a:cubicBezTo>
                  <a:pt x="12500" y="12625"/>
                  <a:pt x="12531" y="12625"/>
                  <a:pt x="12500" y="12562"/>
                </a:cubicBezTo>
                <a:cubicBezTo>
                  <a:pt x="12468" y="12562"/>
                  <a:pt x="12468" y="12562"/>
                  <a:pt x="12437" y="12562"/>
                </a:cubicBezTo>
                <a:cubicBezTo>
                  <a:pt x="12375" y="12594"/>
                  <a:pt x="12375" y="12656"/>
                  <a:pt x="12312" y="12656"/>
                </a:cubicBezTo>
                <a:cubicBezTo>
                  <a:pt x="12312" y="12656"/>
                  <a:pt x="12312" y="12687"/>
                  <a:pt x="12312" y="12687"/>
                </a:cubicBezTo>
                <a:cubicBezTo>
                  <a:pt x="12343" y="12687"/>
                  <a:pt x="12343" y="12687"/>
                  <a:pt x="12375" y="12719"/>
                </a:cubicBezTo>
                <a:cubicBezTo>
                  <a:pt x="12343" y="12750"/>
                  <a:pt x="12312" y="12719"/>
                  <a:pt x="12281" y="12781"/>
                </a:cubicBezTo>
                <a:cubicBezTo>
                  <a:pt x="12250" y="12844"/>
                  <a:pt x="12218" y="12875"/>
                  <a:pt x="12125" y="12875"/>
                </a:cubicBezTo>
                <a:cubicBezTo>
                  <a:pt x="12093" y="12875"/>
                  <a:pt x="12093" y="12875"/>
                  <a:pt x="12062" y="12906"/>
                </a:cubicBezTo>
                <a:cubicBezTo>
                  <a:pt x="12062" y="12937"/>
                  <a:pt x="12093" y="12937"/>
                  <a:pt x="12125" y="12937"/>
                </a:cubicBezTo>
                <a:cubicBezTo>
                  <a:pt x="12125" y="12937"/>
                  <a:pt x="12156" y="12937"/>
                  <a:pt x="12156" y="12937"/>
                </a:cubicBezTo>
                <a:cubicBezTo>
                  <a:pt x="12187" y="12937"/>
                  <a:pt x="12218" y="12937"/>
                  <a:pt x="12218" y="12937"/>
                </a:cubicBezTo>
                <a:cubicBezTo>
                  <a:pt x="12187" y="12906"/>
                  <a:pt x="12187" y="12937"/>
                  <a:pt x="12156" y="12937"/>
                </a:cubicBezTo>
                <a:cubicBezTo>
                  <a:pt x="12156" y="13000"/>
                  <a:pt x="12187" y="13031"/>
                  <a:pt x="12250" y="13031"/>
                </a:cubicBezTo>
                <a:cubicBezTo>
                  <a:pt x="12281" y="13031"/>
                  <a:pt x="12281" y="13031"/>
                  <a:pt x="12281" y="13062"/>
                </a:cubicBezTo>
                <a:cubicBezTo>
                  <a:pt x="12281" y="13094"/>
                  <a:pt x="12281" y="13062"/>
                  <a:pt x="12250" y="13062"/>
                </a:cubicBezTo>
                <a:cubicBezTo>
                  <a:pt x="12218" y="13062"/>
                  <a:pt x="12187" y="13094"/>
                  <a:pt x="12156" y="13094"/>
                </a:cubicBezTo>
                <a:cubicBezTo>
                  <a:pt x="12218" y="13125"/>
                  <a:pt x="12281" y="13187"/>
                  <a:pt x="12343" y="13187"/>
                </a:cubicBezTo>
                <a:cubicBezTo>
                  <a:pt x="12406" y="13219"/>
                  <a:pt x="12437" y="13281"/>
                  <a:pt x="12500" y="13281"/>
                </a:cubicBezTo>
                <a:cubicBezTo>
                  <a:pt x="12531" y="13312"/>
                  <a:pt x="12593" y="13344"/>
                  <a:pt x="12593" y="13312"/>
                </a:cubicBezTo>
                <a:cubicBezTo>
                  <a:pt x="12656" y="13281"/>
                  <a:pt x="12718" y="13281"/>
                  <a:pt x="12750" y="13281"/>
                </a:cubicBezTo>
                <a:cubicBezTo>
                  <a:pt x="12750" y="13312"/>
                  <a:pt x="12750" y="13344"/>
                  <a:pt x="12812" y="13344"/>
                </a:cubicBezTo>
                <a:cubicBezTo>
                  <a:pt x="12843" y="13344"/>
                  <a:pt x="12875" y="13375"/>
                  <a:pt x="12875" y="13406"/>
                </a:cubicBezTo>
                <a:cubicBezTo>
                  <a:pt x="12875" y="13437"/>
                  <a:pt x="12906" y="13437"/>
                  <a:pt x="12906" y="13437"/>
                </a:cubicBezTo>
                <a:cubicBezTo>
                  <a:pt x="13000" y="13437"/>
                  <a:pt x="13031" y="13531"/>
                  <a:pt x="13093" y="13500"/>
                </a:cubicBezTo>
                <a:cubicBezTo>
                  <a:pt x="13125" y="13500"/>
                  <a:pt x="13125" y="13531"/>
                  <a:pt x="13125" y="13531"/>
                </a:cubicBezTo>
                <a:cubicBezTo>
                  <a:pt x="13125" y="13562"/>
                  <a:pt x="13156" y="13562"/>
                  <a:pt x="13187" y="13594"/>
                </a:cubicBezTo>
                <a:cubicBezTo>
                  <a:pt x="13218" y="13594"/>
                  <a:pt x="13218" y="13625"/>
                  <a:pt x="13218" y="13656"/>
                </a:cubicBezTo>
                <a:cubicBezTo>
                  <a:pt x="13218" y="13656"/>
                  <a:pt x="13187" y="13656"/>
                  <a:pt x="13187" y="13656"/>
                </a:cubicBezTo>
                <a:cubicBezTo>
                  <a:pt x="13187" y="13656"/>
                  <a:pt x="13218" y="13656"/>
                  <a:pt x="13218" y="13656"/>
                </a:cubicBezTo>
                <a:cubicBezTo>
                  <a:pt x="13250" y="13687"/>
                  <a:pt x="13250" y="13687"/>
                  <a:pt x="13250" y="13687"/>
                </a:cubicBezTo>
                <a:cubicBezTo>
                  <a:pt x="13281" y="13687"/>
                  <a:pt x="13312" y="13687"/>
                  <a:pt x="13343" y="13719"/>
                </a:cubicBezTo>
                <a:cubicBezTo>
                  <a:pt x="13343" y="13750"/>
                  <a:pt x="13375" y="13750"/>
                  <a:pt x="13406" y="13750"/>
                </a:cubicBezTo>
                <a:cubicBezTo>
                  <a:pt x="13437" y="13719"/>
                  <a:pt x="13406" y="13719"/>
                  <a:pt x="13375" y="13687"/>
                </a:cubicBezTo>
                <a:cubicBezTo>
                  <a:pt x="13343" y="13625"/>
                  <a:pt x="13406" y="13594"/>
                  <a:pt x="13406" y="13562"/>
                </a:cubicBezTo>
                <a:cubicBezTo>
                  <a:pt x="13437" y="13594"/>
                  <a:pt x="13437" y="13594"/>
                  <a:pt x="13437" y="13625"/>
                </a:cubicBezTo>
                <a:cubicBezTo>
                  <a:pt x="13437" y="13594"/>
                  <a:pt x="13437" y="13594"/>
                  <a:pt x="13406" y="13562"/>
                </a:cubicBezTo>
                <a:cubicBezTo>
                  <a:pt x="13406" y="13562"/>
                  <a:pt x="13406" y="13562"/>
                  <a:pt x="13406" y="13531"/>
                </a:cubicBezTo>
                <a:cubicBezTo>
                  <a:pt x="13343" y="13562"/>
                  <a:pt x="13312" y="13500"/>
                  <a:pt x="13250" y="13469"/>
                </a:cubicBezTo>
                <a:cubicBezTo>
                  <a:pt x="13218" y="13469"/>
                  <a:pt x="13218" y="13406"/>
                  <a:pt x="13250" y="13406"/>
                </a:cubicBezTo>
                <a:cubicBezTo>
                  <a:pt x="13312" y="13406"/>
                  <a:pt x="13375" y="13406"/>
                  <a:pt x="13437" y="13375"/>
                </a:cubicBezTo>
                <a:cubicBezTo>
                  <a:pt x="13437" y="13437"/>
                  <a:pt x="13375" y="13437"/>
                  <a:pt x="13406" y="13500"/>
                </a:cubicBezTo>
                <a:cubicBezTo>
                  <a:pt x="13406" y="13500"/>
                  <a:pt x="13406" y="13531"/>
                  <a:pt x="13406" y="13531"/>
                </a:cubicBezTo>
                <a:cubicBezTo>
                  <a:pt x="13406" y="13531"/>
                  <a:pt x="13406" y="13500"/>
                  <a:pt x="13406" y="13500"/>
                </a:cubicBezTo>
                <a:cubicBezTo>
                  <a:pt x="13406" y="13500"/>
                  <a:pt x="13437" y="13500"/>
                  <a:pt x="13468" y="13500"/>
                </a:cubicBezTo>
                <a:cubicBezTo>
                  <a:pt x="13500" y="13500"/>
                  <a:pt x="13468" y="13469"/>
                  <a:pt x="13531" y="13469"/>
                </a:cubicBezTo>
                <a:cubicBezTo>
                  <a:pt x="13593" y="13469"/>
                  <a:pt x="13531" y="13531"/>
                  <a:pt x="13562" y="13531"/>
                </a:cubicBezTo>
                <a:cubicBezTo>
                  <a:pt x="13562" y="13562"/>
                  <a:pt x="13562" y="13562"/>
                  <a:pt x="13531" y="13562"/>
                </a:cubicBezTo>
                <a:cubicBezTo>
                  <a:pt x="13562" y="13562"/>
                  <a:pt x="13562" y="13562"/>
                  <a:pt x="13562" y="13531"/>
                </a:cubicBezTo>
                <a:cubicBezTo>
                  <a:pt x="13562" y="13531"/>
                  <a:pt x="13562" y="13562"/>
                  <a:pt x="13562" y="13562"/>
                </a:cubicBezTo>
                <a:cubicBezTo>
                  <a:pt x="13625" y="13562"/>
                  <a:pt x="13625" y="13500"/>
                  <a:pt x="13687" y="13500"/>
                </a:cubicBezTo>
                <a:cubicBezTo>
                  <a:pt x="13718" y="13500"/>
                  <a:pt x="13750" y="13500"/>
                  <a:pt x="13750" y="13531"/>
                </a:cubicBezTo>
                <a:cubicBezTo>
                  <a:pt x="13781" y="13594"/>
                  <a:pt x="13843" y="13562"/>
                  <a:pt x="13875" y="13531"/>
                </a:cubicBezTo>
                <a:cubicBezTo>
                  <a:pt x="13937" y="13500"/>
                  <a:pt x="13968" y="13469"/>
                  <a:pt x="14031" y="13531"/>
                </a:cubicBezTo>
                <a:cubicBezTo>
                  <a:pt x="14031" y="13562"/>
                  <a:pt x="14062" y="13562"/>
                  <a:pt x="14062" y="13531"/>
                </a:cubicBezTo>
                <a:cubicBezTo>
                  <a:pt x="14093" y="13531"/>
                  <a:pt x="14093" y="13500"/>
                  <a:pt x="14093" y="13500"/>
                </a:cubicBezTo>
                <a:cubicBezTo>
                  <a:pt x="14031" y="13469"/>
                  <a:pt x="14062" y="13406"/>
                  <a:pt x="14000" y="13375"/>
                </a:cubicBezTo>
                <a:cubicBezTo>
                  <a:pt x="14000" y="13375"/>
                  <a:pt x="14000" y="13344"/>
                  <a:pt x="14000" y="13344"/>
                </a:cubicBezTo>
                <a:cubicBezTo>
                  <a:pt x="14031" y="13312"/>
                  <a:pt x="14062" y="13344"/>
                  <a:pt x="14062" y="13344"/>
                </a:cubicBezTo>
                <a:cubicBezTo>
                  <a:pt x="14031" y="13406"/>
                  <a:pt x="14093" y="13437"/>
                  <a:pt x="14125" y="13469"/>
                </a:cubicBezTo>
                <a:cubicBezTo>
                  <a:pt x="14125" y="13500"/>
                  <a:pt x="14125" y="13500"/>
                  <a:pt x="14156" y="13500"/>
                </a:cubicBezTo>
                <a:cubicBezTo>
                  <a:pt x="14218" y="13469"/>
                  <a:pt x="14218" y="13500"/>
                  <a:pt x="14218" y="13531"/>
                </a:cubicBezTo>
                <a:cubicBezTo>
                  <a:pt x="14218" y="13562"/>
                  <a:pt x="14250" y="13562"/>
                  <a:pt x="14250" y="13562"/>
                </a:cubicBezTo>
                <a:cubicBezTo>
                  <a:pt x="14281" y="13562"/>
                  <a:pt x="14281" y="13531"/>
                  <a:pt x="14281" y="13531"/>
                </a:cubicBezTo>
                <a:cubicBezTo>
                  <a:pt x="14281" y="13500"/>
                  <a:pt x="14281" y="13469"/>
                  <a:pt x="14312" y="13437"/>
                </a:cubicBezTo>
                <a:cubicBezTo>
                  <a:pt x="14312" y="13469"/>
                  <a:pt x="14343" y="13469"/>
                  <a:pt x="14343" y="13500"/>
                </a:cubicBezTo>
                <a:cubicBezTo>
                  <a:pt x="14343" y="13500"/>
                  <a:pt x="14375" y="13500"/>
                  <a:pt x="14375" y="13500"/>
                </a:cubicBezTo>
                <a:cubicBezTo>
                  <a:pt x="14406" y="13500"/>
                  <a:pt x="14406" y="13469"/>
                  <a:pt x="14375" y="13469"/>
                </a:cubicBezTo>
                <a:cubicBezTo>
                  <a:pt x="14375" y="13437"/>
                  <a:pt x="14375" y="13437"/>
                  <a:pt x="14406" y="13406"/>
                </a:cubicBezTo>
                <a:cubicBezTo>
                  <a:pt x="14437" y="13406"/>
                  <a:pt x="14437" y="13437"/>
                  <a:pt x="14437" y="13437"/>
                </a:cubicBezTo>
                <a:cubicBezTo>
                  <a:pt x="14468" y="13469"/>
                  <a:pt x="14500" y="13469"/>
                  <a:pt x="14500" y="13469"/>
                </a:cubicBezTo>
                <a:cubicBezTo>
                  <a:pt x="14562" y="13437"/>
                  <a:pt x="14531" y="13406"/>
                  <a:pt x="14531" y="13375"/>
                </a:cubicBezTo>
                <a:cubicBezTo>
                  <a:pt x="14500" y="13375"/>
                  <a:pt x="14500" y="13375"/>
                  <a:pt x="14531" y="13344"/>
                </a:cubicBezTo>
                <a:cubicBezTo>
                  <a:pt x="14531" y="13344"/>
                  <a:pt x="14562" y="13344"/>
                  <a:pt x="14562" y="13375"/>
                </a:cubicBezTo>
                <a:cubicBezTo>
                  <a:pt x="14593" y="13406"/>
                  <a:pt x="14593" y="13406"/>
                  <a:pt x="14656" y="13375"/>
                </a:cubicBezTo>
                <a:cubicBezTo>
                  <a:pt x="14750" y="13312"/>
                  <a:pt x="14843" y="13219"/>
                  <a:pt x="14937" y="13156"/>
                </a:cubicBezTo>
                <a:cubicBezTo>
                  <a:pt x="14937" y="13219"/>
                  <a:pt x="14937" y="13219"/>
                  <a:pt x="14875" y="13250"/>
                </a:cubicBezTo>
                <a:cubicBezTo>
                  <a:pt x="14875" y="13250"/>
                  <a:pt x="14875" y="13281"/>
                  <a:pt x="14875" y="13281"/>
                </a:cubicBezTo>
                <a:cubicBezTo>
                  <a:pt x="14875" y="13312"/>
                  <a:pt x="14875" y="13344"/>
                  <a:pt x="14875" y="13375"/>
                </a:cubicBezTo>
                <a:cubicBezTo>
                  <a:pt x="14937" y="13437"/>
                  <a:pt x="14906" y="13469"/>
                  <a:pt x="14843" y="13531"/>
                </a:cubicBezTo>
                <a:cubicBezTo>
                  <a:pt x="14812" y="13562"/>
                  <a:pt x="14843" y="13750"/>
                  <a:pt x="14875" y="13781"/>
                </a:cubicBezTo>
                <a:cubicBezTo>
                  <a:pt x="14875" y="13781"/>
                  <a:pt x="14906" y="13812"/>
                  <a:pt x="14906" y="13781"/>
                </a:cubicBezTo>
                <a:cubicBezTo>
                  <a:pt x="14906" y="13781"/>
                  <a:pt x="14906" y="13781"/>
                  <a:pt x="14906" y="13750"/>
                </a:cubicBezTo>
                <a:cubicBezTo>
                  <a:pt x="14875" y="13719"/>
                  <a:pt x="14906" y="13656"/>
                  <a:pt x="14875" y="13625"/>
                </a:cubicBezTo>
                <a:cubicBezTo>
                  <a:pt x="14875" y="13625"/>
                  <a:pt x="14875" y="13594"/>
                  <a:pt x="14875" y="13594"/>
                </a:cubicBezTo>
                <a:cubicBezTo>
                  <a:pt x="14906" y="13594"/>
                  <a:pt x="14906" y="13594"/>
                  <a:pt x="14906" y="13625"/>
                </a:cubicBezTo>
                <a:cubicBezTo>
                  <a:pt x="14906" y="13656"/>
                  <a:pt x="14937" y="13687"/>
                  <a:pt x="14937" y="13719"/>
                </a:cubicBezTo>
                <a:cubicBezTo>
                  <a:pt x="14937" y="13719"/>
                  <a:pt x="14937" y="13750"/>
                  <a:pt x="14968" y="13750"/>
                </a:cubicBezTo>
                <a:cubicBezTo>
                  <a:pt x="15000" y="13750"/>
                  <a:pt x="15031" y="13719"/>
                  <a:pt x="15031" y="13687"/>
                </a:cubicBezTo>
                <a:cubicBezTo>
                  <a:pt x="15000" y="13625"/>
                  <a:pt x="15000" y="13531"/>
                  <a:pt x="15000" y="13469"/>
                </a:cubicBezTo>
                <a:cubicBezTo>
                  <a:pt x="14968" y="13437"/>
                  <a:pt x="14968" y="13437"/>
                  <a:pt x="14968" y="13406"/>
                </a:cubicBezTo>
                <a:cubicBezTo>
                  <a:pt x="14968" y="13406"/>
                  <a:pt x="14968" y="13375"/>
                  <a:pt x="15000" y="13375"/>
                </a:cubicBezTo>
                <a:lnTo>
                  <a:pt x="15000" y="13375"/>
                </a:lnTo>
                <a:cubicBezTo>
                  <a:pt x="15031" y="13406"/>
                  <a:pt x="15000" y="13437"/>
                  <a:pt x="15000" y="13469"/>
                </a:cubicBezTo>
                <a:cubicBezTo>
                  <a:pt x="15031" y="13469"/>
                  <a:pt x="15062" y="13469"/>
                  <a:pt x="15031" y="13469"/>
                </a:cubicBezTo>
                <a:cubicBezTo>
                  <a:pt x="15000" y="13531"/>
                  <a:pt x="15093" y="13562"/>
                  <a:pt x="15062" y="13625"/>
                </a:cubicBezTo>
                <a:cubicBezTo>
                  <a:pt x="15062" y="13625"/>
                  <a:pt x="15062" y="13656"/>
                  <a:pt x="15093" y="13656"/>
                </a:cubicBezTo>
                <a:cubicBezTo>
                  <a:pt x="15093" y="13656"/>
                  <a:pt x="15125" y="13656"/>
                  <a:pt x="15125" y="13625"/>
                </a:cubicBezTo>
                <a:cubicBezTo>
                  <a:pt x="15156" y="13625"/>
                  <a:pt x="15156" y="13594"/>
                  <a:pt x="15125" y="13594"/>
                </a:cubicBezTo>
                <a:cubicBezTo>
                  <a:pt x="15093" y="13562"/>
                  <a:pt x="15125" y="13531"/>
                  <a:pt x="15156" y="13500"/>
                </a:cubicBezTo>
                <a:cubicBezTo>
                  <a:pt x="15156" y="13531"/>
                  <a:pt x="15187" y="13562"/>
                  <a:pt x="15218" y="13562"/>
                </a:cubicBezTo>
                <a:cubicBezTo>
                  <a:pt x="15218" y="13562"/>
                  <a:pt x="15218" y="13562"/>
                  <a:pt x="15218" y="13562"/>
                </a:cubicBezTo>
                <a:cubicBezTo>
                  <a:pt x="15218" y="13562"/>
                  <a:pt x="15218" y="13562"/>
                  <a:pt x="15250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81" y="13562"/>
                </a:cubicBezTo>
                <a:cubicBezTo>
                  <a:pt x="15250" y="13562"/>
                  <a:pt x="15250" y="13562"/>
                  <a:pt x="15250" y="13562"/>
                </a:cubicBezTo>
                <a:cubicBezTo>
                  <a:pt x="15250" y="13531"/>
                  <a:pt x="15250" y="13531"/>
                  <a:pt x="15250" y="13531"/>
                </a:cubicBezTo>
                <a:cubicBezTo>
                  <a:pt x="15250" y="13469"/>
                  <a:pt x="15250" y="13406"/>
                  <a:pt x="15312" y="13375"/>
                </a:cubicBezTo>
                <a:cubicBezTo>
                  <a:pt x="15343" y="13375"/>
                  <a:pt x="15343" y="13344"/>
                  <a:pt x="15343" y="13344"/>
                </a:cubicBezTo>
                <a:cubicBezTo>
                  <a:pt x="15312" y="13281"/>
                  <a:pt x="15343" y="13250"/>
                  <a:pt x="15343" y="13219"/>
                </a:cubicBezTo>
                <a:cubicBezTo>
                  <a:pt x="15343" y="13187"/>
                  <a:pt x="15375" y="13187"/>
                  <a:pt x="15375" y="13187"/>
                </a:cubicBezTo>
                <a:cubicBezTo>
                  <a:pt x="15500" y="13187"/>
                  <a:pt x="15406" y="13062"/>
                  <a:pt x="15437" y="13031"/>
                </a:cubicBezTo>
                <a:cubicBezTo>
                  <a:pt x="15437" y="13000"/>
                  <a:pt x="15437" y="13000"/>
                  <a:pt x="15437" y="12969"/>
                </a:cubicBezTo>
                <a:cubicBezTo>
                  <a:pt x="15406" y="12937"/>
                  <a:pt x="15437" y="12906"/>
                  <a:pt x="15500" y="12875"/>
                </a:cubicBezTo>
                <a:cubicBezTo>
                  <a:pt x="15531" y="12875"/>
                  <a:pt x="15593" y="12844"/>
                  <a:pt x="15562" y="12781"/>
                </a:cubicBezTo>
                <a:cubicBezTo>
                  <a:pt x="15562" y="12719"/>
                  <a:pt x="15625" y="12719"/>
                  <a:pt x="15656" y="12719"/>
                </a:cubicBezTo>
                <a:lnTo>
                  <a:pt x="15656" y="12719"/>
                </a:lnTo>
                <a:cubicBezTo>
                  <a:pt x="15625" y="12687"/>
                  <a:pt x="15593" y="12719"/>
                  <a:pt x="15562" y="12719"/>
                </a:cubicBezTo>
                <a:cubicBezTo>
                  <a:pt x="15531" y="12719"/>
                  <a:pt x="15531" y="12750"/>
                  <a:pt x="15531" y="12781"/>
                </a:cubicBezTo>
                <a:cubicBezTo>
                  <a:pt x="15531" y="12781"/>
                  <a:pt x="15562" y="12781"/>
                  <a:pt x="15562" y="12781"/>
                </a:cubicBezTo>
                <a:cubicBezTo>
                  <a:pt x="15625" y="12781"/>
                  <a:pt x="15656" y="12781"/>
                  <a:pt x="15718" y="12719"/>
                </a:cubicBezTo>
                <a:cubicBezTo>
                  <a:pt x="15687" y="12812"/>
                  <a:pt x="15750" y="12875"/>
                  <a:pt x="15687" y="12937"/>
                </a:cubicBezTo>
                <a:cubicBezTo>
                  <a:pt x="15656" y="12969"/>
                  <a:pt x="15718" y="13000"/>
                  <a:pt x="15718" y="13031"/>
                </a:cubicBezTo>
                <a:cubicBezTo>
                  <a:pt x="15718" y="13062"/>
                  <a:pt x="15750" y="13062"/>
                  <a:pt x="15750" y="13031"/>
                </a:cubicBezTo>
                <a:cubicBezTo>
                  <a:pt x="15750" y="13000"/>
                  <a:pt x="15812" y="12969"/>
                  <a:pt x="15781" y="12906"/>
                </a:cubicBezTo>
                <a:cubicBezTo>
                  <a:pt x="15781" y="12906"/>
                  <a:pt x="15750" y="12875"/>
                  <a:pt x="15781" y="12875"/>
                </a:cubicBezTo>
                <a:cubicBezTo>
                  <a:pt x="15781" y="12875"/>
                  <a:pt x="15812" y="12875"/>
                  <a:pt x="15812" y="12875"/>
                </a:cubicBezTo>
                <a:cubicBezTo>
                  <a:pt x="15843" y="12906"/>
                  <a:pt x="15875" y="12937"/>
                  <a:pt x="15906" y="12937"/>
                </a:cubicBezTo>
                <a:cubicBezTo>
                  <a:pt x="15906" y="12969"/>
                  <a:pt x="15875" y="13000"/>
                  <a:pt x="15843" y="13031"/>
                </a:cubicBezTo>
                <a:cubicBezTo>
                  <a:pt x="15875" y="13000"/>
                  <a:pt x="15906" y="12969"/>
                  <a:pt x="15906" y="12937"/>
                </a:cubicBezTo>
                <a:cubicBezTo>
                  <a:pt x="15906" y="12906"/>
                  <a:pt x="15906" y="12906"/>
                  <a:pt x="15906" y="12906"/>
                </a:cubicBezTo>
                <a:cubicBezTo>
                  <a:pt x="15875" y="12875"/>
                  <a:pt x="15843" y="12844"/>
                  <a:pt x="15875" y="12781"/>
                </a:cubicBezTo>
                <a:cubicBezTo>
                  <a:pt x="15906" y="12750"/>
                  <a:pt x="15875" y="12687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ubicBezTo>
                  <a:pt x="15968" y="12719"/>
                  <a:pt x="16000" y="12719"/>
                  <a:pt x="16000" y="12719"/>
                </a:cubicBezTo>
                <a:cubicBezTo>
                  <a:pt x="16000" y="12719"/>
                  <a:pt x="16000" y="12687"/>
                  <a:pt x="16031" y="12687"/>
                </a:cubicBezTo>
                <a:cubicBezTo>
                  <a:pt x="16000" y="12687"/>
                  <a:pt x="16000" y="12719"/>
                  <a:pt x="16000" y="12719"/>
                </a:cubicBezTo>
                <a:cubicBezTo>
                  <a:pt x="16000" y="12719"/>
                  <a:pt x="16062" y="12719"/>
                  <a:pt x="16031" y="12750"/>
                </a:cubicBezTo>
                <a:cubicBezTo>
                  <a:pt x="16000" y="12750"/>
                  <a:pt x="15937" y="12781"/>
                  <a:pt x="15937" y="12719"/>
                </a:cubicBezTo>
                <a:lnTo>
                  <a:pt x="15937" y="12719"/>
                </a:lnTo>
                <a:cubicBezTo>
                  <a:pt x="15937" y="12656"/>
                  <a:pt x="15906" y="12656"/>
                  <a:pt x="15875" y="12625"/>
                </a:cubicBezTo>
                <a:cubicBezTo>
                  <a:pt x="15906" y="12594"/>
                  <a:pt x="15937" y="12625"/>
                  <a:pt x="15937" y="12594"/>
                </a:cubicBezTo>
                <a:cubicBezTo>
                  <a:pt x="15937" y="12531"/>
                  <a:pt x="15906" y="12562"/>
                  <a:pt x="15875" y="12562"/>
                </a:cubicBezTo>
                <a:cubicBezTo>
                  <a:pt x="15875" y="12531"/>
                  <a:pt x="15843" y="12500"/>
                  <a:pt x="15812" y="12531"/>
                </a:cubicBezTo>
                <a:cubicBezTo>
                  <a:pt x="15812" y="12562"/>
                  <a:pt x="15781" y="12531"/>
                  <a:pt x="15781" y="12531"/>
                </a:cubicBezTo>
                <a:cubicBezTo>
                  <a:pt x="15781" y="12531"/>
                  <a:pt x="15781" y="12531"/>
                  <a:pt x="15781" y="12531"/>
                </a:cubicBezTo>
                <a:cubicBezTo>
                  <a:pt x="15812" y="12469"/>
                  <a:pt x="15843" y="12469"/>
                  <a:pt x="15875" y="12469"/>
                </a:cubicBezTo>
                <a:cubicBezTo>
                  <a:pt x="15906" y="12469"/>
                  <a:pt x="15937" y="12500"/>
                  <a:pt x="15968" y="12469"/>
                </a:cubicBezTo>
                <a:cubicBezTo>
                  <a:pt x="15937" y="12437"/>
                  <a:pt x="15906" y="12437"/>
                  <a:pt x="15906" y="12406"/>
                </a:cubicBezTo>
                <a:cubicBezTo>
                  <a:pt x="15906" y="12406"/>
                  <a:pt x="15906" y="12406"/>
                  <a:pt x="15906" y="12406"/>
                </a:cubicBezTo>
                <a:cubicBezTo>
                  <a:pt x="15906" y="12406"/>
                  <a:pt x="15906" y="12406"/>
                  <a:pt x="15906" y="12406"/>
                </a:cubicBezTo>
                <a:cubicBezTo>
                  <a:pt x="15875" y="12406"/>
                  <a:pt x="15875" y="12406"/>
                  <a:pt x="15875" y="12406"/>
                </a:cubicBezTo>
                <a:cubicBezTo>
                  <a:pt x="15875" y="12375"/>
                  <a:pt x="15875" y="12375"/>
                  <a:pt x="15875" y="12375"/>
                </a:cubicBezTo>
                <a:cubicBezTo>
                  <a:pt x="15812" y="12406"/>
                  <a:pt x="15812" y="12344"/>
                  <a:pt x="15781" y="12344"/>
                </a:cubicBezTo>
                <a:cubicBezTo>
                  <a:pt x="15750" y="12344"/>
                  <a:pt x="15718" y="12344"/>
                  <a:pt x="15718" y="12375"/>
                </a:cubicBezTo>
                <a:cubicBezTo>
                  <a:pt x="15718" y="12406"/>
                  <a:pt x="15750" y="12406"/>
                  <a:pt x="15781" y="12375"/>
                </a:cubicBezTo>
                <a:cubicBezTo>
                  <a:pt x="15781" y="12375"/>
                  <a:pt x="15812" y="12406"/>
                  <a:pt x="15812" y="12406"/>
                </a:cubicBezTo>
                <a:cubicBezTo>
                  <a:pt x="15812" y="12437"/>
                  <a:pt x="15812" y="12437"/>
                  <a:pt x="15781" y="12437"/>
                </a:cubicBezTo>
                <a:cubicBezTo>
                  <a:pt x="15750" y="12469"/>
                  <a:pt x="15687" y="12469"/>
                  <a:pt x="15656" y="12500"/>
                </a:cubicBezTo>
                <a:cubicBezTo>
                  <a:pt x="15656" y="12531"/>
                  <a:pt x="15593" y="12531"/>
                  <a:pt x="15593" y="12469"/>
                </a:cubicBezTo>
                <a:cubicBezTo>
                  <a:pt x="15562" y="12437"/>
                  <a:pt x="15562" y="12437"/>
                  <a:pt x="15531" y="12437"/>
                </a:cubicBezTo>
                <a:cubicBezTo>
                  <a:pt x="15500" y="12469"/>
                  <a:pt x="15500" y="12500"/>
                  <a:pt x="15562" y="12500"/>
                </a:cubicBezTo>
                <a:cubicBezTo>
                  <a:pt x="15562" y="12500"/>
                  <a:pt x="15562" y="12500"/>
                  <a:pt x="15562" y="12531"/>
                </a:cubicBezTo>
                <a:cubicBezTo>
                  <a:pt x="15531" y="12531"/>
                  <a:pt x="15531" y="12562"/>
                  <a:pt x="15500" y="12562"/>
                </a:cubicBezTo>
                <a:cubicBezTo>
                  <a:pt x="15500" y="12562"/>
                  <a:pt x="15500" y="12531"/>
                  <a:pt x="15468" y="12562"/>
                </a:cubicBezTo>
                <a:cubicBezTo>
                  <a:pt x="15468" y="12594"/>
                  <a:pt x="15437" y="12594"/>
                  <a:pt x="15406" y="12594"/>
                </a:cubicBezTo>
                <a:cubicBezTo>
                  <a:pt x="15375" y="12562"/>
                  <a:pt x="15375" y="12531"/>
                  <a:pt x="15406" y="12500"/>
                </a:cubicBezTo>
                <a:cubicBezTo>
                  <a:pt x="15406" y="12437"/>
                  <a:pt x="15468" y="12406"/>
                  <a:pt x="15406" y="12375"/>
                </a:cubicBezTo>
                <a:cubicBezTo>
                  <a:pt x="15406" y="12375"/>
                  <a:pt x="15406" y="12344"/>
                  <a:pt x="15406" y="12344"/>
                </a:cubicBezTo>
                <a:cubicBezTo>
                  <a:pt x="15437" y="12344"/>
                  <a:pt x="15437" y="12344"/>
                  <a:pt x="15437" y="12344"/>
                </a:cubicBezTo>
                <a:cubicBezTo>
                  <a:pt x="15437" y="12375"/>
                  <a:pt x="15468" y="12375"/>
                  <a:pt x="15500" y="12406"/>
                </a:cubicBezTo>
                <a:cubicBezTo>
                  <a:pt x="15531" y="12406"/>
                  <a:pt x="15531" y="12375"/>
                  <a:pt x="15531" y="12375"/>
                </a:cubicBezTo>
                <a:cubicBezTo>
                  <a:pt x="15500" y="12344"/>
                  <a:pt x="15468" y="12281"/>
                  <a:pt x="15437" y="12281"/>
                </a:cubicBezTo>
                <a:cubicBezTo>
                  <a:pt x="15406" y="12281"/>
                  <a:pt x="15343" y="12281"/>
                  <a:pt x="15343" y="12375"/>
                </a:cubicBezTo>
                <a:cubicBezTo>
                  <a:pt x="15343" y="12406"/>
                  <a:pt x="15281" y="12406"/>
                  <a:pt x="15281" y="12437"/>
                </a:cubicBezTo>
                <a:cubicBezTo>
                  <a:pt x="15250" y="12375"/>
                  <a:pt x="15281" y="12344"/>
                  <a:pt x="15312" y="12312"/>
                </a:cubicBezTo>
                <a:cubicBezTo>
                  <a:pt x="15312" y="12281"/>
                  <a:pt x="15312" y="12250"/>
                  <a:pt x="15250" y="12250"/>
                </a:cubicBezTo>
                <a:cubicBezTo>
                  <a:pt x="15218" y="12219"/>
                  <a:pt x="15187" y="12219"/>
                  <a:pt x="15187" y="12187"/>
                </a:cubicBezTo>
                <a:cubicBezTo>
                  <a:pt x="15187" y="12187"/>
                  <a:pt x="15156" y="12187"/>
                  <a:pt x="15156" y="12187"/>
                </a:cubicBezTo>
                <a:cubicBezTo>
                  <a:pt x="15093" y="12219"/>
                  <a:pt x="15062" y="12250"/>
                  <a:pt x="15031" y="12187"/>
                </a:cubicBezTo>
                <a:cubicBezTo>
                  <a:pt x="15000" y="12187"/>
                  <a:pt x="15000" y="12187"/>
                  <a:pt x="15000" y="12187"/>
                </a:cubicBezTo>
                <a:cubicBezTo>
                  <a:pt x="14906" y="12219"/>
                  <a:pt x="14906" y="12094"/>
                  <a:pt x="14843" y="12094"/>
                </a:cubicBezTo>
                <a:cubicBezTo>
                  <a:pt x="14781" y="12094"/>
                  <a:pt x="14812" y="12031"/>
                  <a:pt x="14812" y="12000"/>
                </a:cubicBezTo>
                <a:cubicBezTo>
                  <a:pt x="14781" y="12000"/>
                  <a:pt x="14781" y="12031"/>
                  <a:pt x="14750" y="12031"/>
                </a:cubicBezTo>
                <a:cubicBezTo>
                  <a:pt x="14750" y="12031"/>
                  <a:pt x="14750" y="12031"/>
                  <a:pt x="14750" y="12031"/>
                </a:cubicBezTo>
                <a:cubicBezTo>
                  <a:pt x="14750" y="12000"/>
                  <a:pt x="14750" y="11969"/>
                  <a:pt x="14687" y="12000"/>
                </a:cubicBezTo>
                <a:cubicBezTo>
                  <a:pt x="14656" y="12000"/>
                  <a:pt x="14687" y="12031"/>
                  <a:pt x="14687" y="12062"/>
                </a:cubicBezTo>
                <a:cubicBezTo>
                  <a:pt x="14656" y="12000"/>
                  <a:pt x="14593" y="12062"/>
                  <a:pt x="14593" y="12000"/>
                </a:cubicBezTo>
                <a:cubicBezTo>
                  <a:pt x="14500" y="11969"/>
                  <a:pt x="14437" y="12031"/>
                  <a:pt x="14375" y="12062"/>
                </a:cubicBezTo>
                <a:cubicBezTo>
                  <a:pt x="14437" y="12000"/>
                  <a:pt x="14406" y="11937"/>
                  <a:pt x="14375" y="11875"/>
                </a:cubicBezTo>
                <a:cubicBezTo>
                  <a:pt x="14406" y="11875"/>
                  <a:pt x="14406" y="11875"/>
                  <a:pt x="14406" y="11875"/>
                </a:cubicBezTo>
                <a:cubicBezTo>
                  <a:pt x="14437" y="11937"/>
                  <a:pt x="14468" y="11875"/>
                  <a:pt x="14500" y="11875"/>
                </a:cubicBezTo>
                <a:cubicBezTo>
                  <a:pt x="14500" y="11875"/>
                  <a:pt x="14500" y="11875"/>
                  <a:pt x="14500" y="11844"/>
                </a:cubicBezTo>
                <a:cubicBezTo>
                  <a:pt x="14468" y="11844"/>
                  <a:pt x="14437" y="11844"/>
                  <a:pt x="14406" y="11844"/>
                </a:cubicBezTo>
                <a:cubicBezTo>
                  <a:pt x="14406" y="11844"/>
                  <a:pt x="14406" y="11844"/>
                  <a:pt x="14406" y="11875"/>
                </a:cubicBezTo>
                <a:cubicBezTo>
                  <a:pt x="14406" y="11875"/>
                  <a:pt x="14406" y="11875"/>
                  <a:pt x="14375" y="11875"/>
                </a:cubicBezTo>
                <a:cubicBezTo>
                  <a:pt x="14375" y="11844"/>
                  <a:pt x="14375" y="11844"/>
                  <a:pt x="14375" y="11812"/>
                </a:cubicBezTo>
                <a:cubicBezTo>
                  <a:pt x="14250" y="11844"/>
                  <a:pt x="14218" y="11750"/>
                  <a:pt x="14218" y="11687"/>
                </a:cubicBezTo>
                <a:cubicBezTo>
                  <a:pt x="14250" y="11687"/>
                  <a:pt x="14250" y="11687"/>
                  <a:pt x="14250" y="11750"/>
                </a:cubicBezTo>
                <a:cubicBezTo>
                  <a:pt x="14250" y="11781"/>
                  <a:pt x="14281" y="11781"/>
                  <a:pt x="14312" y="11781"/>
                </a:cubicBezTo>
                <a:cubicBezTo>
                  <a:pt x="14343" y="11781"/>
                  <a:pt x="14375" y="11781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406" y="11719"/>
                  <a:pt x="14437" y="11687"/>
                  <a:pt x="14406" y="11625"/>
                </a:cubicBezTo>
                <a:cubicBezTo>
                  <a:pt x="14468" y="11625"/>
                  <a:pt x="14500" y="11656"/>
                  <a:pt x="14531" y="11625"/>
                </a:cubicBezTo>
                <a:cubicBezTo>
                  <a:pt x="14562" y="11562"/>
                  <a:pt x="14500" y="11594"/>
                  <a:pt x="14500" y="11562"/>
                </a:cubicBezTo>
                <a:cubicBezTo>
                  <a:pt x="14531" y="11562"/>
                  <a:pt x="14593" y="11594"/>
                  <a:pt x="14625" y="11531"/>
                </a:cubicBezTo>
                <a:cubicBezTo>
                  <a:pt x="14562" y="11469"/>
                  <a:pt x="14500" y="11500"/>
                  <a:pt x="14437" y="11437"/>
                </a:cubicBezTo>
                <a:cubicBezTo>
                  <a:pt x="14500" y="11469"/>
                  <a:pt x="14562" y="11437"/>
                  <a:pt x="14625" y="11469"/>
                </a:cubicBezTo>
                <a:cubicBezTo>
                  <a:pt x="14656" y="11500"/>
                  <a:pt x="14687" y="11500"/>
                  <a:pt x="14750" y="11500"/>
                </a:cubicBezTo>
                <a:cubicBezTo>
                  <a:pt x="14781" y="11500"/>
                  <a:pt x="14750" y="11469"/>
                  <a:pt x="14781" y="11437"/>
                </a:cubicBezTo>
                <a:cubicBezTo>
                  <a:pt x="14750" y="11406"/>
                  <a:pt x="14718" y="11406"/>
                  <a:pt x="14718" y="11344"/>
                </a:cubicBezTo>
                <a:lnTo>
                  <a:pt x="14718" y="11344"/>
                </a:lnTo>
                <a:cubicBezTo>
                  <a:pt x="14687" y="11375"/>
                  <a:pt x="14625" y="11375"/>
                  <a:pt x="14593" y="11437"/>
                </a:cubicBezTo>
                <a:cubicBezTo>
                  <a:pt x="14656" y="11406"/>
                  <a:pt x="14718" y="11437"/>
                  <a:pt x="14781" y="11437"/>
                </a:cubicBezTo>
                <a:cubicBezTo>
                  <a:pt x="14812" y="11437"/>
                  <a:pt x="14843" y="11469"/>
                  <a:pt x="14906" y="11469"/>
                </a:cubicBezTo>
                <a:cubicBezTo>
                  <a:pt x="14906" y="11469"/>
                  <a:pt x="14937" y="11469"/>
                  <a:pt x="14968" y="11469"/>
                </a:cubicBezTo>
                <a:cubicBezTo>
                  <a:pt x="14968" y="11406"/>
                  <a:pt x="15031" y="11437"/>
                  <a:pt x="15062" y="11406"/>
                </a:cubicBezTo>
                <a:cubicBezTo>
                  <a:pt x="15062" y="11406"/>
                  <a:pt x="15062" y="11406"/>
                  <a:pt x="15062" y="11406"/>
                </a:cubicBezTo>
                <a:cubicBezTo>
                  <a:pt x="15062" y="11406"/>
                  <a:pt x="15062" y="11406"/>
                  <a:pt x="15062" y="11406"/>
                </a:cubicBezTo>
                <a:cubicBezTo>
                  <a:pt x="15093" y="11375"/>
                  <a:pt x="15093" y="11344"/>
                  <a:pt x="15156" y="11344"/>
                </a:cubicBezTo>
                <a:cubicBezTo>
                  <a:pt x="15218" y="11344"/>
                  <a:pt x="15218" y="11313"/>
                  <a:pt x="15188" y="11312"/>
                </a:cubicBezTo>
                <a:lnTo>
                  <a:pt x="15218" y="11312"/>
                </a:lnTo>
                <a:cubicBezTo>
                  <a:pt x="15218" y="11312"/>
                  <a:pt x="15250" y="11312"/>
                  <a:pt x="15250" y="11281"/>
                </a:cubicBezTo>
                <a:cubicBezTo>
                  <a:pt x="15250" y="11281"/>
                  <a:pt x="15250" y="11250"/>
                  <a:pt x="15250" y="11250"/>
                </a:cubicBezTo>
                <a:cubicBezTo>
                  <a:pt x="15156" y="11250"/>
                  <a:pt x="15156" y="11156"/>
                  <a:pt x="15125" y="11125"/>
                </a:cubicBezTo>
                <a:cubicBezTo>
                  <a:pt x="15156" y="11094"/>
                  <a:pt x="15156" y="11125"/>
                  <a:pt x="15187" y="11156"/>
                </a:cubicBezTo>
                <a:cubicBezTo>
                  <a:pt x="15187" y="11156"/>
                  <a:pt x="15187" y="11219"/>
                  <a:pt x="15250" y="11156"/>
                </a:cubicBezTo>
                <a:cubicBezTo>
                  <a:pt x="15281" y="11125"/>
                  <a:pt x="15281" y="11187"/>
                  <a:pt x="15312" y="11219"/>
                </a:cubicBezTo>
                <a:cubicBezTo>
                  <a:pt x="15312" y="11219"/>
                  <a:pt x="15312" y="11219"/>
                  <a:pt x="15312" y="11250"/>
                </a:cubicBezTo>
                <a:cubicBezTo>
                  <a:pt x="15312" y="11219"/>
                  <a:pt x="15312" y="11219"/>
                  <a:pt x="15312" y="11219"/>
                </a:cubicBezTo>
                <a:cubicBezTo>
                  <a:pt x="15375" y="11219"/>
                  <a:pt x="15437" y="11156"/>
                  <a:pt x="15500" y="11187"/>
                </a:cubicBezTo>
                <a:cubicBezTo>
                  <a:pt x="15500" y="11187"/>
                  <a:pt x="15500" y="11156"/>
                  <a:pt x="15500" y="11156"/>
                </a:cubicBezTo>
                <a:cubicBezTo>
                  <a:pt x="15468" y="11094"/>
                  <a:pt x="15531" y="11125"/>
                  <a:pt x="15531" y="11125"/>
                </a:cubicBezTo>
                <a:cubicBezTo>
                  <a:pt x="15562" y="11062"/>
                  <a:pt x="15500" y="11062"/>
                  <a:pt x="15468" y="11031"/>
                </a:cubicBezTo>
                <a:cubicBezTo>
                  <a:pt x="15437" y="11000"/>
                  <a:pt x="15437" y="11000"/>
                  <a:pt x="15468" y="10969"/>
                </a:cubicBezTo>
                <a:cubicBezTo>
                  <a:pt x="15500" y="10969"/>
                  <a:pt x="15500" y="10969"/>
                  <a:pt x="15531" y="10969"/>
                </a:cubicBezTo>
                <a:cubicBezTo>
                  <a:pt x="15500" y="10969"/>
                  <a:pt x="15500" y="10969"/>
                  <a:pt x="15468" y="10969"/>
                </a:cubicBezTo>
                <a:cubicBezTo>
                  <a:pt x="15468" y="10969"/>
                  <a:pt x="15437" y="10969"/>
                  <a:pt x="15437" y="10969"/>
                </a:cubicBezTo>
                <a:cubicBezTo>
                  <a:pt x="15406" y="11000"/>
                  <a:pt x="15343" y="11000"/>
                  <a:pt x="15312" y="10969"/>
                </a:cubicBezTo>
                <a:lnTo>
                  <a:pt x="15312" y="10969"/>
                </a:lnTo>
                <a:cubicBezTo>
                  <a:pt x="15375" y="10937"/>
                  <a:pt x="15406" y="11000"/>
                  <a:pt x="15437" y="10969"/>
                </a:cubicBezTo>
                <a:cubicBezTo>
                  <a:pt x="15437" y="10937"/>
                  <a:pt x="15468" y="10937"/>
                  <a:pt x="15468" y="10906"/>
                </a:cubicBezTo>
                <a:cubicBezTo>
                  <a:pt x="15468" y="10906"/>
                  <a:pt x="15406" y="10875"/>
                  <a:pt x="15468" y="10844"/>
                </a:cubicBezTo>
                <a:cubicBezTo>
                  <a:pt x="15437" y="10844"/>
                  <a:pt x="15375" y="10812"/>
                  <a:pt x="15375" y="10906"/>
                </a:cubicBezTo>
                <a:cubicBezTo>
                  <a:pt x="15375" y="10906"/>
                  <a:pt x="15343" y="10906"/>
                  <a:pt x="15312" y="10906"/>
                </a:cubicBezTo>
                <a:cubicBezTo>
                  <a:pt x="15250" y="10844"/>
                  <a:pt x="15187" y="10875"/>
                  <a:pt x="15125" y="10875"/>
                </a:cubicBezTo>
                <a:cubicBezTo>
                  <a:pt x="15093" y="10875"/>
                  <a:pt x="15062" y="10906"/>
                  <a:pt x="15062" y="10844"/>
                </a:cubicBezTo>
                <a:cubicBezTo>
                  <a:pt x="15062" y="10812"/>
                  <a:pt x="15093" y="10781"/>
                  <a:pt x="15125" y="10812"/>
                </a:cubicBezTo>
                <a:cubicBezTo>
                  <a:pt x="15187" y="10812"/>
                  <a:pt x="15218" y="10781"/>
                  <a:pt x="15250" y="10750"/>
                </a:cubicBezTo>
                <a:cubicBezTo>
                  <a:pt x="15250" y="10719"/>
                  <a:pt x="15281" y="10719"/>
                  <a:pt x="15281" y="10719"/>
                </a:cubicBezTo>
                <a:cubicBezTo>
                  <a:pt x="15343" y="10719"/>
                  <a:pt x="15375" y="10687"/>
                  <a:pt x="15375" y="10656"/>
                </a:cubicBezTo>
                <a:cubicBezTo>
                  <a:pt x="15406" y="10625"/>
                  <a:pt x="15406" y="10594"/>
                  <a:pt x="15343" y="10531"/>
                </a:cubicBezTo>
                <a:cubicBezTo>
                  <a:pt x="15406" y="10562"/>
                  <a:pt x="15437" y="10562"/>
                  <a:pt x="15437" y="10594"/>
                </a:cubicBezTo>
                <a:cubicBezTo>
                  <a:pt x="15437" y="10656"/>
                  <a:pt x="15468" y="10625"/>
                  <a:pt x="15468" y="10594"/>
                </a:cubicBezTo>
                <a:cubicBezTo>
                  <a:pt x="15468" y="10562"/>
                  <a:pt x="15468" y="10531"/>
                  <a:pt x="15468" y="10500"/>
                </a:cubicBezTo>
                <a:cubicBezTo>
                  <a:pt x="15468" y="10500"/>
                  <a:pt x="15468" y="10469"/>
                  <a:pt x="15500" y="10469"/>
                </a:cubicBezTo>
                <a:cubicBezTo>
                  <a:pt x="15468" y="10469"/>
                  <a:pt x="15468" y="10500"/>
                  <a:pt x="15468" y="10500"/>
                </a:cubicBezTo>
                <a:cubicBezTo>
                  <a:pt x="15437" y="10500"/>
                  <a:pt x="15406" y="10469"/>
                  <a:pt x="15437" y="10469"/>
                </a:cubicBezTo>
                <a:cubicBezTo>
                  <a:pt x="15468" y="10437"/>
                  <a:pt x="15406" y="10406"/>
                  <a:pt x="15437" y="10344"/>
                </a:cubicBezTo>
                <a:cubicBezTo>
                  <a:pt x="15406" y="10375"/>
                  <a:pt x="15375" y="10406"/>
                  <a:pt x="15343" y="10406"/>
                </a:cubicBezTo>
                <a:cubicBezTo>
                  <a:pt x="15312" y="10406"/>
                  <a:pt x="15281" y="10437"/>
                  <a:pt x="15250" y="10469"/>
                </a:cubicBezTo>
                <a:lnTo>
                  <a:pt x="15250" y="10469"/>
                </a:lnTo>
                <a:cubicBezTo>
                  <a:pt x="15312" y="10469"/>
                  <a:pt x="15343" y="10469"/>
                  <a:pt x="15343" y="10406"/>
                </a:cubicBezTo>
                <a:cubicBezTo>
                  <a:pt x="15343" y="10375"/>
                  <a:pt x="15375" y="10344"/>
                  <a:pt x="15343" y="10375"/>
                </a:cubicBezTo>
                <a:cubicBezTo>
                  <a:pt x="15281" y="10375"/>
                  <a:pt x="15218" y="10312"/>
                  <a:pt x="15156" y="10312"/>
                </a:cubicBezTo>
                <a:cubicBezTo>
                  <a:pt x="15156" y="10312"/>
                  <a:pt x="15156" y="10312"/>
                  <a:pt x="15156" y="10344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56" y="10312"/>
                  <a:pt x="15156" y="10312"/>
                  <a:pt x="15156" y="10312"/>
                </a:cubicBezTo>
                <a:cubicBezTo>
                  <a:pt x="15187" y="10281"/>
                  <a:pt x="15218" y="10281"/>
                  <a:pt x="15250" y="10312"/>
                </a:cubicBezTo>
                <a:cubicBezTo>
                  <a:pt x="15281" y="10312"/>
                  <a:pt x="15312" y="10281"/>
                  <a:pt x="15343" y="10312"/>
                </a:cubicBezTo>
                <a:cubicBezTo>
                  <a:pt x="15343" y="10312"/>
                  <a:pt x="15375" y="10250"/>
                  <a:pt x="15375" y="10250"/>
                </a:cubicBezTo>
                <a:cubicBezTo>
                  <a:pt x="15375" y="10219"/>
                  <a:pt x="15343" y="10219"/>
                  <a:pt x="15312" y="10219"/>
                </a:cubicBezTo>
                <a:cubicBezTo>
                  <a:pt x="15250" y="10250"/>
                  <a:pt x="15218" y="10156"/>
                  <a:pt x="15187" y="10219"/>
                </a:cubicBezTo>
                <a:cubicBezTo>
                  <a:pt x="15187" y="10187"/>
                  <a:pt x="15156" y="10187"/>
                  <a:pt x="15156" y="10187"/>
                </a:cubicBezTo>
                <a:cubicBezTo>
                  <a:pt x="15187" y="10156"/>
                  <a:pt x="15250" y="10156"/>
                  <a:pt x="15250" y="10156"/>
                </a:cubicBezTo>
                <a:cubicBezTo>
                  <a:pt x="15312" y="10219"/>
                  <a:pt x="15343" y="10219"/>
                  <a:pt x="15375" y="10125"/>
                </a:cubicBezTo>
                <a:cubicBezTo>
                  <a:pt x="15343" y="10125"/>
                  <a:pt x="15343" y="10125"/>
                  <a:pt x="15312" y="10094"/>
                </a:cubicBezTo>
                <a:cubicBezTo>
                  <a:pt x="15343" y="10062"/>
                  <a:pt x="15406" y="10062"/>
                  <a:pt x="15375" y="10031"/>
                </a:cubicBezTo>
                <a:cubicBezTo>
                  <a:pt x="15343" y="9969"/>
                  <a:pt x="15312" y="10000"/>
                  <a:pt x="15281" y="10031"/>
                </a:cubicBezTo>
                <a:cubicBezTo>
                  <a:pt x="15250" y="10000"/>
                  <a:pt x="15281" y="9969"/>
                  <a:pt x="15312" y="9969"/>
                </a:cubicBezTo>
                <a:cubicBezTo>
                  <a:pt x="15343" y="9969"/>
                  <a:pt x="15375" y="9937"/>
                  <a:pt x="15375" y="9906"/>
                </a:cubicBezTo>
                <a:cubicBezTo>
                  <a:pt x="15343" y="9875"/>
                  <a:pt x="15312" y="9906"/>
                  <a:pt x="15281" y="9906"/>
                </a:cubicBezTo>
                <a:cubicBezTo>
                  <a:pt x="15281" y="9906"/>
                  <a:pt x="15250" y="9906"/>
                  <a:pt x="15250" y="9906"/>
                </a:cubicBezTo>
                <a:cubicBezTo>
                  <a:pt x="15250" y="9937"/>
                  <a:pt x="15187" y="9937"/>
                  <a:pt x="15218" y="10000"/>
                </a:cubicBezTo>
                <a:cubicBezTo>
                  <a:pt x="15218" y="10031"/>
                  <a:pt x="15187" y="10000"/>
                  <a:pt x="15156" y="10000"/>
                </a:cubicBezTo>
                <a:cubicBezTo>
                  <a:pt x="15156" y="10000"/>
                  <a:pt x="15125" y="10000"/>
                  <a:pt x="15125" y="9969"/>
                </a:cubicBezTo>
                <a:lnTo>
                  <a:pt x="15125" y="9969"/>
                </a:lnTo>
                <a:cubicBezTo>
                  <a:pt x="15156" y="9906"/>
                  <a:pt x="15187" y="9906"/>
                  <a:pt x="15250" y="9906"/>
                </a:cubicBezTo>
                <a:cubicBezTo>
                  <a:pt x="15250" y="9906"/>
                  <a:pt x="15281" y="9875"/>
                  <a:pt x="15250" y="9844"/>
                </a:cubicBezTo>
                <a:cubicBezTo>
                  <a:pt x="15218" y="9812"/>
                  <a:pt x="15218" y="9781"/>
                  <a:pt x="15250" y="9750"/>
                </a:cubicBezTo>
                <a:cubicBezTo>
                  <a:pt x="15250" y="9750"/>
                  <a:pt x="15250" y="9750"/>
                  <a:pt x="15250" y="9750"/>
                </a:cubicBezTo>
                <a:cubicBezTo>
                  <a:pt x="15187" y="9719"/>
                  <a:pt x="15250" y="9656"/>
                  <a:pt x="15250" y="9625"/>
                </a:cubicBezTo>
                <a:cubicBezTo>
                  <a:pt x="15250" y="9625"/>
                  <a:pt x="15250" y="9625"/>
                  <a:pt x="15281" y="9625"/>
                </a:cubicBezTo>
                <a:cubicBezTo>
                  <a:pt x="15250" y="9625"/>
                  <a:pt x="15250" y="9625"/>
                  <a:pt x="15250" y="9625"/>
                </a:cubicBezTo>
                <a:cubicBezTo>
                  <a:pt x="15218" y="9625"/>
                  <a:pt x="15218" y="9625"/>
                  <a:pt x="15187" y="9625"/>
                </a:cubicBezTo>
                <a:cubicBezTo>
                  <a:pt x="15156" y="9656"/>
                  <a:pt x="15156" y="9687"/>
                  <a:pt x="15156" y="9625"/>
                </a:cubicBezTo>
                <a:cubicBezTo>
                  <a:pt x="15125" y="9562"/>
                  <a:pt x="15093" y="9562"/>
                  <a:pt x="15031" y="9594"/>
                </a:cubicBezTo>
                <a:cubicBezTo>
                  <a:pt x="15000" y="9656"/>
                  <a:pt x="14906" y="9656"/>
                  <a:pt x="14843" y="9687"/>
                </a:cubicBezTo>
                <a:cubicBezTo>
                  <a:pt x="14843" y="9687"/>
                  <a:pt x="14812" y="9687"/>
                  <a:pt x="14812" y="9656"/>
                </a:cubicBezTo>
                <a:cubicBezTo>
                  <a:pt x="14812" y="9625"/>
                  <a:pt x="14812" y="9625"/>
                  <a:pt x="14843" y="9625"/>
                </a:cubicBezTo>
                <a:cubicBezTo>
                  <a:pt x="14843" y="9625"/>
                  <a:pt x="14875" y="9625"/>
                  <a:pt x="14875" y="9594"/>
                </a:cubicBezTo>
                <a:cubicBezTo>
                  <a:pt x="14875" y="9562"/>
                  <a:pt x="14843" y="9562"/>
                  <a:pt x="14843" y="9562"/>
                </a:cubicBezTo>
                <a:cubicBezTo>
                  <a:pt x="14843" y="9500"/>
                  <a:pt x="14812" y="9469"/>
                  <a:pt x="14781" y="9469"/>
                </a:cubicBezTo>
                <a:cubicBezTo>
                  <a:pt x="14718" y="9469"/>
                  <a:pt x="14687" y="9469"/>
                  <a:pt x="14656" y="9406"/>
                </a:cubicBezTo>
                <a:cubicBezTo>
                  <a:pt x="14656" y="9406"/>
                  <a:pt x="14656" y="9375"/>
                  <a:pt x="14625" y="9375"/>
                </a:cubicBezTo>
                <a:cubicBezTo>
                  <a:pt x="14593" y="9375"/>
                  <a:pt x="14593" y="9344"/>
                  <a:pt x="14562" y="9312"/>
                </a:cubicBezTo>
                <a:cubicBezTo>
                  <a:pt x="14531" y="9344"/>
                  <a:pt x="14531" y="9406"/>
                  <a:pt x="14468" y="9344"/>
                </a:cubicBezTo>
                <a:cubicBezTo>
                  <a:pt x="14437" y="9312"/>
                  <a:pt x="14375" y="9344"/>
                  <a:pt x="14343" y="9312"/>
                </a:cubicBezTo>
                <a:cubicBezTo>
                  <a:pt x="14343" y="9312"/>
                  <a:pt x="14343" y="9312"/>
                  <a:pt x="14343" y="9312"/>
                </a:cubicBezTo>
                <a:cubicBezTo>
                  <a:pt x="14343" y="9312"/>
                  <a:pt x="14343" y="9312"/>
                  <a:pt x="14343" y="9312"/>
                </a:cubicBezTo>
                <a:cubicBezTo>
                  <a:pt x="14312" y="9344"/>
                  <a:pt x="14281" y="9344"/>
                  <a:pt x="14250" y="9312"/>
                </a:cubicBezTo>
                <a:cubicBezTo>
                  <a:pt x="14250" y="9344"/>
                  <a:pt x="14250" y="9344"/>
                  <a:pt x="14218" y="9344"/>
                </a:cubicBezTo>
                <a:cubicBezTo>
                  <a:pt x="14218" y="9344"/>
                  <a:pt x="14218" y="9312"/>
                  <a:pt x="14218" y="9312"/>
                </a:cubicBezTo>
                <a:cubicBezTo>
                  <a:pt x="14218" y="9312"/>
                  <a:pt x="14218" y="9344"/>
                  <a:pt x="14218" y="9344"/>
                </a:cubicBezTo>
                <a:cubicBezTo>
                  <a:pt x="14187" y="9375"/>
                  <a:pt x="14156" y="9344"/>
                  <a:pt x="14125" y="9375"/>
                </a:cubicBezTo>
                <a:cubicBezTo>
                  <a:pt x="14062" y="9375"/>
                  <a:pt x="14000" y="9406"/>
                  <a:pt x="13906" y="9375"/>
                </a:cubicBezTo>
                <a:cubicBezTo>
                  <a:pt x="13750" y="9312"/>
                  <a:pt x="13656" y="9187"/>
                  <a:pt x="13593" y="9000"/>
                </a:cubicBezTo>
                <a:cubicBezTo>
                  <a:pt x="13562" y="9000"/>
                  <a:pt x="13562" y="8969"/>
                  <a:pt x="13593" y="8937"/>
                </a:cubicBezTo>
                <a:cubicBezTo>
                  <a:pt x="13593" y="8969"/>
                  <a:pt x="13593" y="8969"/>
                  <a:pt x="13593" y="9000"/>
                </a:cubicBezTo>
                <a:cubicBezTo>
                  <a:pt x="13593" y="8969"/>
                  <a:pt x="13593" y="8969"/>
                  <a:pt x="13593" y="8937"/>
                </a:cubicBezTo>
                <a:cubicBezTo>
                  <a:pt x="13593" y="8937"/>
                  <a:pt x="13593" y="8937"/>
                  <a:pt x="13593" y="8906"/>
                </a:cubicBezTo>
                <a:cubicBezTo>
                  <a:pt x="13531" y="8875"/>
                  <a:pt x="13562" y="8781"/>
                  <a:pt x="13531" y="8719"/>
                </a:cubicBezTo>
                <a:cubicBezTo>
                  <a:pt x="13531" y="8844"/>
                  <a:pt x="13468" y="8937"/>
                  <a:pt x="13437" y="9031"/>
                </a:cubicBezTo>
                <a:cubicBezTo>
                  <a:pt x="13375" y="9125"/>
                  <a:pt x="13312" y="9219"/>
                  <a:pt x="13218" y="9281"/>
                </a:cubicBezTo>
                <a:cubicBezTo>
                  <a:pt x="13187" y="9312"/>
                  <a:pt x="13187" y="9281"/>
                  <a:pt x="13156" y="9281"/>
                </a:cubicBezTo>
                <a:cubicBezTo>
                  <a:pt x="13125" y="9250"/>
                  <a:pt x="13125" y="9219"/>
                  <a:pt x="13156" y="9187"/>
                </a:cubicBezTo>
                <a:cubicBezTo>
                  <a:pt x="13156" y="9187"/>
                  <a:pt x="13187" y="9187"/>
                  <a:pt x="13187" y="9187"/>
                </a:cubicBezTo>
                <a:cubicBezTo>
                  <a:pt x="13125" y="9062"/>
                  <a:pt x="13125" y="9062"/>
                  <a:pt x="13218" y="9000"/>
                </a:cubicBezTo>
                <a:cubicBezTo>
                  <a:pt x="13218" y="8969"/>
                  <a:pt x="13218" y="8969"/>
                  <a:pt x="13187" y="8969"/>
                </a:cubicBezTo>
                <a:cubicBezTo>
                  <a:pt x="13156" y="8937"/>
                  <a:pt x="13156" y="8906"/>
                  <a:pt x="13187" y="8875"/>
                </a:cubicBezTo>
                <a:cubicBezTo>
                  <a:pt x="13281" y="8844"/>
                  <a:pt x="13312" y="8750"/>
                  <a:pt x="13250" y="8719"/>
                </a:cubicBezTo>
                <a:cubicBezTo>
                  <a:pt x="13281" y="8687"/>
                  <a:pt x="13343" y="8687"/>
                  <a:pt x="13343" y="8625"/>
                </a:cubicBezTo>
                <a:cubicBezTo>
                  <a:pt x="13375" y="8625"/>
                  <a:pt x="13375" y="8625"/>
                  <a:pt x="13375" y="8625"/>
                </a:cubicBezTo>
                <a:cubicBezTo>
                  <a:pt x="13468" y="8687"/>
                  <a:pt x="13500" y="8562"/>
                  <a:pt x="13562" y="8562"/>
                </a:cubicBezTo>
                <a:cubicBezTo>
                  <a:pt x="13593" y="8531"/>
                  <a:pt x="13656" y="8562"/>
                  <a:pt x="13656" y="8594"/>
                </a:cubicBezTo>
                <a:cubicBezTo>
                  <a:pt x="13687" y="8625"/>
                  <a:pt x="13750" y="8625"/>
                  <a:pt x="13781" y="8656"/>
                </a:cubicBezTo>
                <a:cubicBezTo>
                  <a:pt x="13781" y="8687"/>
                  <a:pt x="13781" y="8687"/>
                  <a:pt x="13812" y="8656"/>
                </a:cubicBezTo>
                <a:cubicBezTo>
                  <a:pt x="13875" y="8625"/>
                  <a:pt x="13843" y="8687"/>
                  <a:pt x="13843" y="8719"/>
                </a:cubicBezTo>
                <a:cubicBezTo>
                  <a:pt x="13906" y="8719"/>
                  <a:pt x="13906" y="8750"/>
                  <a:pt x="13875" y="8781"/>
                </a:cubicBezTo>
                <a:cubicBezTo>
                  <a:pt x="13843" y="8781"/>
                  <a:pt x="13812" y="8812"/>
                  <a:pt x="13843" y="8844"/>
                </a:cubicBezTo>
                <a:cubicBezTo>
                  <a:pt x="13968" y="8844"/>
                  <a:pt x="13968" y="8937"/>
                  <a:pt x="13968" y="9000"/>
                </a:cubicBezTo>
                <a:cubicBezTo>
                  <a:pt x="14031" y="8844"/>
                  <a:pt x="14062" y="8812"/>
                  <a:pt x="14156" y="8906"/>
                </a:cubicBezTo>
                <a:cubicBezTo>
                  <a:pt x="14187" y="8906"/>
                  <a:pt x="14156" y="8844"/>
                  <a:pt x="14187" y="8844"/>
                </a:cubicBezTo>
                <a:cubicBezTo>
                  <a:pt x="14218" y="8844"/>
                  <a:pt x="14218" y="8937"/>
                  <a:pt x="14250" y="8875"/>
                </a:cubicBezTo>
                <a:cubicBezTo>
                  <a:pt x="14281" y="8875"/>
                  <a:pt x="14281" y="8875"/>
                  <a:pt x="14281" y="8875"/>
                </a:cubicBezTo>
                <a:cubicBezTo>
                  <a:pt x="14343" y="8937"/>
                  <a:pt x="14468" y="8937"/>
                  <a:pt x="14531" y="8875"/>
                </a:cubicBezTo>
                <a:cubicBezTo>
                  <a:pt x="14562" y="8875"/>
                  <a:pt x="14562" y="8844"/>
                  <a:pt x="14562" y="8844"/>
                </a:cubicBezTo>
                <a:cubicBezTo>
                  <a:pt x="14656" y="8875"/>
                  <a:pt x="14656" y="8812"/>
                  <a:pt x="14625" y="8750"/>
                </a:cubicBezTo>
                <a:cubicBezTo>
                  <a:pt x="14625" y="8750"/>
                  <a:pt x="14625" y="8719"/>
                  <a:pt x="14656" y="8719"/>
                </a:cubicBezTo>
                <a:cubicBezTo>
                  <a:pt x="14718" y="8781"/>
                  <a:pt x="14781" y="8781"/>
                  <a:pt x="14875" y="8687"/>
                </a:cubicBezTo>
                <a:cubicBezTo>
                  <a:pt x="14875" y="8719"/>
                  <a:pt x="14875" y="8750"/>
                  <a:pt x="14875" y="8750"/>
                </a:cubicBezTo>
                <a:cubicBezTo>
                  <a:pt x="14843" y="8781"/>
                  <a:pt x="14843" y="8812"/>
                  <a:pt x="14875" y="8812"/>
                </a:cubicBezTo>
                <a:cubicBezTo>
                  <a:pt x="14906" y="8781"/>
                  <a:pt x="14906" y="8812"/>
                  <a:pt x="14906" y="8812"/>
                </a:cubicBezTo>
                <a:cubicBezTo>
                  <a:pt x="14906" y="8844"/>
                  <a:pt x="14906" y="8875"/>
                  <a:pt x="14937" y="8875"/>
                </a:cubicBezTo>
                <a:cubicBezTo>
                  <a:pt x="14968" y="8875"/>
                  <a:pt x="14968" y="8844"/>
                  <a:pt x="14968" y="8812"/>
                </a:cubicBezTo>
                <a:cubicBezTo>
                  <a:pt x="14968" y="8781"/>
                  <a:pt x="14968" y="8750"/>
                  <a:pt x="15000" y="8750"/>
                </a:cubicBezTo>
                <a:cubicBezTo>
                  <a:pt x="15031" y="8750"/>
                  <a:pt x="14968" y="8812"/>
                  <a:pt x="15031" y="8812"/>
                </a:cubicBezTo>
                <a:cubicBezTo>
                  <a:pt x="15093" y="8812"/>
                  <a:pt x="15031" y="8750"/>
                  <a:pt x="15062" y="8719"/>
                </a:cubicBezTo>
                <a:cubicBezTo>
                  <a:pt x="15125" y="8812"/>
                  <a:pt x="15187" y="8750"/>
                  <a:pt x="15218" y="8719"/>
                </a:cubicBezTo>
                <a:cubicBezTo>
                  <a:pt x="15281" y="8719"/>
                  <a:pt x="15312" y="8687"/>
                  <a:pt x="15375" y="8656"/>
                </a:cubicBezTo>
                <a:cubicBezTo>
                  <a:pt x="15437" y="8656"/>
                  <a:pt x="15468" y="8594"/>
                  <a:pt x="15437" y="8531"/>
                </a:cubicBezTo>
                <a:cubicBezTo>
                  <a:pt x="15437" y="8531"/>
                  <a:pt x="15437" y="8531"/>
                  <a:pt x="15437" y="8500"/>
                </a:cubicBezTo>
                <a:lnTo>
                  <a:pt x="15437" y="8500"/>
                </a:lnTo>
                <a:cubicBezTo>
                  <a:pt x="15437" y="8500"/>
                  <a:pt x="15437" y="8500"/>
                  <a:pt x="15437" y="8500"/>
                </a:cubicBezTo>
                <a:cubicBezTo>
                  <a:pt x="15437" y="8531"/>
                  <a:pt x="15437" y="8531"/>
                  <a:pt x="15437" y="8531"/>
                </a:cubicBezTo>
                <a:cubicBezTo>
                  <a:pt x="15500" y="8562"/>
                  <a:pt x="15531" y="8562"/>
                  <a:pt x="15531" y="8500"/>
                </a:cubicBezTo>
                <a:cubicBezTo>
                  <a:pt x="15531" y="8437"/>
                  <a:pt x="15500" y="8375"/>
                  <a:pt x="15562" y="8375"/>
                </a:cubicBezTo>
                <a:cubicBezTo>
                  <a:pt x="15593" y="8344"/>
                  <a:pt x="15593" y="8344"/>
                  <a:pt x="15562" y="8312"/>
                </a:cubicBezTo>
                <a:cubicBezTo>
                  <a:pt x="15531" y="8312"/>
                  <a:pt x="15531" y="8281"/>
                  <a:pt x="15500" y="8312"/>
                </a:cubicBezTo>
                <a:cubicBezTo>
                  <a:pt x="15500" y="8344"/>
                  <a:pt x="15500" y="8344"/>
                  <a:pt x="15468" y="8375"/>
                </a:cubicBezTo>
                <a:cubicBezTo>
                  <a:pt x="15468" y="8312"/>
                  <a:pt x="15468" y="8250"/>
                  <a:pt x="15562" y="8250"/>
                </a:cubicBezTo>
                <a:cubicBezTo>
                  <a:pt x="15531" y="8187"/>
                  <a:pt x="15500" y="8187"/>
                  <a:pt x="15437" y="8219"/>
                </a:cubicBezTo>
                <a:cubicBezTo>
                  <a:pt x="15437" y="8219"/>
                  <a:pt x="15437" y="8187"/>
                  <a:pt x="15437" y="8187"/>
                </a:cubicBezTo>
                <a:cubicBezTo>
                  <a:pt x="15437" y="8156"/>
                  <a:pt x="15437" y="8156"/>
                  <a:pt x="15437" y="8156"/>
                </a:cubicBezTo>
                <a:cubicBezTo>
                  <a:pt x="15468" y="8156"/>
                  <a:pt x="15468" y="8219"/>
                  <a:pt x="15531" y="8187"/>
                </a:cubicBezTo>
                <a:cubicBezTo>
                  <a:pt x="15562" y="8156"/>
                  <a:pt x="15531" y="8125"/>
                  <a:pt x="15531" y="8094"/>
                </a:cubicBezTo>
                <a:cubicBezTo>
                  <a:pt x="15500" y="8062"/>
                  <a:pt x="15468" y="8000"/>
                  <a:pt x="15531" y="7969"/>
                </a:cubicBezTo>
                <a:cubicBezTo>
                  <a:pt x="15531" y="7969"/>
                  <a:pt x="15531" y="7937"/>
                  <a:pt x="15531" y="7937"/>
                </a:cubicBezTo>
                <a:cubicBezTo>
                  <a:pt x="15500" y="7906"/>
                  <a:pt x="15468" y="7875"/>
                  <a:pt x="15531" y="7875"/>
                </a:cubicBezTo>
                <a:cubicBezTo>
                  <a:pt x="15531" y="7875"/>
                  <a:pt x="15531" y="7844"/>
                  <a:pt x="15531" y="7844"/>
                </a:cubicBezTo>
                <a:cubicBezTo>
                  <a:pt x="15500" y="7844"/>
                  <a:pt x="15500" y="7812"/>
                  <a:pt x="15500" y="7812"/>
                </a:cubicBezTo>
                <a:cubicBezTo>
                  <a:pt x="15500" y="7781"/>
                  <a:pt x="15500" y="7781"/>
                  <a:pt x="15468" y="7781"/>
                </a:cubicBezTo>
                <a:cubicBezTo>
                  <a:pt x="15437" y="7781"/>
                  <a:pt x="15437" y="7750"/>
                  <a:pt x="15437" y="7750"/>
                </a:cubicBezTo>
                <a:cubicBezTo>
                  <a:pt x="15468" y="7687"/>
                  <a:pt x="15468" y="7656"/>
                  <a:pt x="15406" y="7656"/>
                </a:cubicBezTo>
                <a:cubicBezTo>
                  <a:pt x="15375" y="7625"/>
                  <a:pt x="15375" y="7562"/>
                  <a:pt x="15343" y="7531"/>
                </a:cubicBezTo>
                <a:cubicBezTo>
                  <a:pt x="15312" y="7437"/>
                  <a:pt x="15281" y="7312"/>
                  <a:pt x="15281" y="7219"/>
                </a:cubicBezTo>
                <a:cubicBezTo>
                  <a:pt x="15281" y="7187"/>
                  <a:pt x="15281" y="7156"/>
                  <a:pt x="15281" y="7125"/>
                </a:cubicBezTo>
                <a:cubicBezTo>
                  <a:pt x="15250" y="7125"/>
                  <a:pt x="15250" y="7094"/>
                  <a:pt x="15250" y="7062"/>
                </a:cubicBezTo>
                <a:cubicBezTo>
                  <a:pt x="15281" y="7031"/>
                  <a:pt x="15312" y="7000"/>
                  <a:pt x="15250" y="6969"/>
                </a:cubicBezTo>
                <a:cubicBezTo>
                  <a:pt x="15218" y="6969"/>
                  <a:pt x="15250" y="6937"/>
                  <a:pt x="15250" y="6906"/>
                </a:cubicBezTo>
                <a:cubicBezTo>
                  <a:pt x="15281" y="6875"/>
                  <a:pt x="15281" y="6875"/>
                  <a:pt x="15250" y="6812"/>
                </a:cubicBezTo>
                <a:cubicBezTo>
                  <a:pt x="15187" y="6687"/>
                  <a:pt x="15156" y="6531"/>
                  <a:pt x="15156" y="6344"/>
                </a:cubicBezTo>
                <a:cubicBezTo>
                  <a:pt x="15156" y="6344"/>
                  <a:pt x="15156" y="6312"/>
                  <a:pt x="15125" y="6281"/>
                </a:cubicBezTo>
                <a:lnTo>
                  <a:pt x="15125" y="6281"/>
                </a:lnTo>
                <a:cubicBezTo>
                  <a:pt x="15125" y="6281"/>
                  <a:pt x="15125" y="6312"/>
                  <a:pt x="15093" y="6312"/>
                </a:cubicBezTo>
                <a:cubicBezTo>
                  <a:pt x="15093" y="6344"/>
                  <a:pt x="15125" y="6344"/>
                  <a:pt x="15156" y="6344"/>
                </a:cubicBezTo>
                <a:cubicBezTo>
                  <a:pt x="15187" y="6344"/>
                  <a:pt x="15156" y="6312"/>
                  <a:pt x="15156" y="6281"/>
                </a:cubicBezTo>
                <a:cubicBezTo>
                  <a:pt x="15125" y="6219"/>
                  <a:pt x="15125" y="6156"/>
                  <a:pt x="15156" y="6094"/>
                </a:cubicBezTo>
                <a:cubicBezTo>
                  <a:pt x="15125" y="6094"/>
                  <a:pt x="15125" y="6094"/>
                  <a:pt x="15093" y="6094"/>
                </a:cubicBezTo>
                <a:cubicBezTo>
                  <a:pt x="15093" y="6031"/>
                  <a:pt x="15062" y="6031"/>
                  <a:pt x="15062" y="6094"/>
                </a:cubicBezTo>
                <a:cubicBezTo>
                  <a:pt x="15062" y="6094"/>
                  <a:pt x="15031" y="6094"/>
                  <a:pt x="15031" y="6094"/>
                </a:cubicBezTo>
                <a:cubicBezTo>
                  <a:pt x="15000" y="6062"/>
                  <a:pt x="15031" y="6031"/>
                  <a:pt x="15000" y="6000"/>
                </a:cubicBezTo>
                <a:cubicBezTo>
                  <a:pt x="15000" y="5969"/>
                  <a:pt x="15031" y="5937"/>
                  <a:pt x="15031" y="5937"/>
                </a:cubicBezTo>
                <a:cubicBezTo>
                  <a:pt x="15125" y="5969"/>
                  <a:pt x="15093" y="5906"/>
                  <a:pt x="15093" y="5875"/>
                </a:cubicBezTo>
                <a:cubicBezTo>
                  <a:pt x="15093" y="5875"/>
                  <a:pt x="15093" y="5875"/>
                  <a:pt x="15093" y="5875"/>
                </a:cubicBezTo>
                <a:cubicBezTo>
                  <a:pt x="15187" y="5875"/>
                  <a:pt x="15187" y="5844"/>
                  <a:pt x="15125" y="5781"/>
                </a:cubicBezTo>
                <a:cubicBezTo>
                  <a:pt x="15125" y="5750"/>
                  <a:pt x="15093" y="5719"/>
                  <a:pt x="15156" y="5687"/>
                </a:cubicBezTo>
                <a:cubicBezTo>
                  <a:pt x="15187" y="5719"/>
                  <a:pt x="15187" y="5750"/>
                  <a:pt x="15187" y="5750"/>
                </a:cubicBezTo>
                <a:cubicBezTo>
                  <a:pt x="15187" y="5750"/>
                  <a:pt x="15187" y="5719"/>
                  <a:pt x="15156" y="5687"/>
                </a:cubicBezTo>
                <a:cubicBezTo>
                  <a:pt x="15187" y="5687"/>
                  <a:pt x="15218" y="5687"/>
                  <a:pt x="15218" y="5656"/>
                </a:cubicBezTo>
                <a:cubicBezTo>
                  <a:pt x="15187" y="5594"/>
                  <a:pt x="15156" y="5594"/>
                  <a:pt x="15093" y="5625"/>
                </a:cubicBezTo>
                <a:cubicBezTo>
                  <a:pt x="15125" y="5531"/>
                  <a:pt x="15156" y="5469"/>
                  <a:pt x="15156" y="5375"/>
                </a:cubicBezTo>
                <a:cubicBezTo>
                  <a:pt x="15156" y="5344"/>
                  <a:pt x="15156" y="5344"/>
                  <a:pt x="15156" y="5344"/>
                </a:cubicBezTo>
                <a:cubicBezTo>
                  <a:pt x="15218" y="5312"/>
                  <a:pt x="15218" y="5312"/>
                  <a:pt x="15218" y="5250"/>
                </a:cubicBezTo>
                <a:cubicBezTo>
                  <a:pt x="15187" y="5156"/>
                  <a:pt x="15250" y="5094"/>
                  <a:pt x="15281" y="5000"/>
                </a:cubicBezTo>
                <a:cubicBezTo>
                  <a:pt x="15281" y="4969"/>
                  <a:pt x="15343" y="5000"/>
                  <a:pt x="15375" y="5000"/>
                </a:cubicBezTo>
                <a:cubicBezTo>
                  <a:pt x="15406" y="5000"/>
                  <a:pt x="15406" y="5000"/>
                  <a:pt x="15406" y="5000"/>
                </a:cubicBezTo>
                <a:cubicBezTo>
                  <a:pt x="15406" y="5000"/>
                  <a:pt x="15437" y="4969"/>
                  <a:pt x="15437" y="4969"/>
                </a:cubicBezTo>
                <a:cubicBezTo>
                  <a:pt x="15437" y="4937"/>
                  <a:pt x="15437" y="4937"/>
                  <a:pt x="15468" y="4937"/>
                </a:cubicBezTo>
                <a:cubicBezTo>
                  <a:pt x="15500" y="4937"/>
                  <a:pt x="15500" y="4969"/>
                  <a:pt x="15500" y="4969"/>
                </a:cubicBezTo>
                <a:cubicBezTo>
                  <a:pt x="15531" y="5000"/>
                  <a:pt x="15562" y="5000"/>
                  <a:pt x="15562" y="4937"/>
                </a:cubicBezTo>
                <a:cubicBezTo>
                  <a:pt x="15562" y="4906"/>
                  <a:pt x="15562" y="4906"/>
                  <a:pt x="15593" y="4875"/>
                </a:cubicBezTo>
                <a:cubicBezTo>
                  <a:pt x="15656" y="4875"/>
                  <a:pt x="15656" y="4937"/>
                  <a:pt x="15718" y="4937"/>
                </a:cubicBezTo>
                <a:cubicBezTo>
                  <a:pt x="15718" y="4969"/>
                  <a:pt x="15687" y="5000"/>
                  <a:pt x="15687" y="5000"/>
                </a:cubicBezTo>
                <a:cubicBezTo>
                  <a:pt x="15656" y="5031"/>
                  <a:pt x="15656" y="5062"/>
                  <a:pt x="15656" y="5062"/>
                </a:cubicBezTo>
                <a:cubicBezTo>
                  <a:pt x="15687" y="5094"/>
                  <a:pt x="15687" y="5125"/>
                  <a:pt x="15718" y="5156"/>
                </a:cubicBezTo>
                <a:cubicBezTo>
                  <a:pt x="15718" y="5125"/>
                  <a:pt x="15750" y="5125"/>
                  <a:pt x="15750" y="5125"/>
                </a:cubicBezTo>
                <a:cubicBezTo>
                  <a:pt x="15750" y="5125"/>
                  <a:pt x="15781" y="5125"/>
                  <a:pt x="15781" y="5125"/>
                </a:cubicBezTo>
                <a:cubicBezTo>
                  <a:pt x="15781" y="5125"/>
                  <a:pt x="15812" y="5125"/>
                  <a:pt x="15843" y="5125"/>
                </a:cubicBezTo>
                <a:cubicBezTo>
                  <a:pt x="15875" y="5125"/>
                  <a:pt x="15875" y="5156"/>
                  <a:pt x="15875" y="5156"/>
                </a:cubicBezTo>
                <a:cubicBezTo>
                  <a:pt x="15906" y="5219"/>
                  <a:pt x="15968" y="5250"/>
                  <a:pt x="16000" y="5344"/>
                </a:cubicBezTo>
                <a:cubicBezTo>
                  <a:pt x="16000" y="5344"/>
                  <a:pt x="16000" y="5344"/>
                  <a:pt x="16000" y="5344"/>
                </a:cubicBezTo>
                <a:cubicBezTo>
                  <a:pt x="16000" y="5344"/>
                  <a:pt x="16000" y="5344"/>
                  <a:pt x="16000" y="5344"/>
                </a:cubicBezTo>
                <a:cubicBezTo>
                  <a:pt x="16093" y="5281"/>
                  <a:pt x="16031" y="5250"/>
                  <a:pt x="16000" y="5187"/>
                </a:cubicBezTo>
                <a:cubicBezTo>
                  <a:pt x="16000" y="5156"/>
                  <a:pt x="15937" y="5125"/>
                  <a:pt x="15968" y="5094"/>
                </a:cubicBezTo>
                <a:cubicBezTo>
                  <a:pt x="15968" y="5062"/>
                  <a:pt x="16031" y="5125"/>
                  <a:pt x="16062" y="5125"/>
                </a:cubicBezTo>
                <a:cubicBezTo>
                  <a:pt x="16062" y="5094"/>
                  <a:pt x="16062" y="5125"/>
                  <a:pt x="16062" y="5125"/>
                </a:cubicBezTo>
                <a:cubicBezTo>
                  <a:pt x="16156" y="5156"/>
                  <a:pt x="16187" y="5156"/>
                  <a:pt x="16218" y="5125"/>
                </a:cubicBezTo>
                <a:cubicBezTo>
                  <a:pt x="16218" y="5125"/>
                  <a:pt x="16218" y="5125"/>
                  <a:pt x="16218" y="5094"/>
                </a:cubicBezTo>
                <a:cubicBezTo>
                  <a:pt x="16218" y="5094"/>
                  <a:pt x="16218" y="5094"/>
                  <a:pt x="16218" y="5094"/>
                </a:cubicBezTo>
                <a:cubicBezTo>
                  <a:pt x="16218" y="5094"/>
                  <a:pt x="16218" y="5094"/>
                  <a:pt x="16218" y="5094"/>
                </a:cubicBezTo>
                <a:cubicBezTo>
                  <a:pt x="16218" y="5094"/>
                  <a:pt x="16250" y="5094"/>
                  <a:pt x="16250" y="5094"/>
                </a:cubicBezTo>
                <a:cubicBezTo>
                  <a:pt x="16250" y="5094"/>
                  <a:pt x="16218" y="5094"/>
                  <a:pt x="16218" y="5094"/>
                </a:cubicBezTo>
                <a:cubicBezTo>
                  <a:pt x="16218" y="5094"/>
                  <a:pt x="16218" y="5062"/>
                  <a:pt x="16218" y="5062"/>
                </a:cubicBezTo>
                <a:cubicBezTo>
                  <a:pt x="16156" y="5094"/>
                  <a:pt x="16156" y="5062"/>
                  <a:pt x="16187" y="5000"/>
                </a:cubicBezTo>
                <a:cubicBezTo>
                  <a:pt x="16218" y="4937"/>
                  <a:pt x="16250" y="4937"/>
                  <a:pt x="16312" y="4969"/>
                </a:cubicBezTo>
                <a:cubicBezTo>
                  <a:pt x="16343" y="4969"/>
                  <a:pt x="16343" y="5000"/>
                  <a:pt x="16343" y="5000"/>
                </a:cubicBezTo>
                <a:cubicBezTo>
                  <a:pt x="16375" y="5000"/>
                  <a:pt x="16375" y="5031"/>
                  <a:pt x="16375" y="5031"/>
                </a:cubicBezTo>
                <a:cubicBezTo>
                  <a:pt x="16437" y="5094"/>
                  <a:pt x="16468" y="5125"/>
                  <a:pt x="16562" y="5094"/>
                </a:cubicBezTo>
                <a:cubicBezTo>
                  <a:pt x="16500" y="5062"/>
                  <a:pt x="16500" y="4969"/>
                  <a:pt x="16437" y="4969"/>
                </a:cubicBezTo>
                <a:cubicBezTo>
                  <a:pt x="16437" y="4969"/>
                  <a:pt x="16437" y="4937"/>
                  <a:pt x="16437" y="4937"/>
                </a:cubicBezTo>
                <a:cubicBezTo>
                  <a:pt x="16500" y="4875"/>
                  <a:pt x="16437" y="4875"/>
                  <a:pt x="16406" y="4875"/>
                </a:cubicBezTo>
                <a:cubicBezTo>
                  <a:pt x="16343" y="4875"/>
                  <a:pt x="16375" y="4844"/>
                  <a:pt x="16375" y="4812"/>
                </a:cubicBezTo>
                <a:cubicBezTo>
                  <a:pt x="16406" y="4750"/>
                  <a:pt x="16406" y="4750"/>
                  <a:pt x="16375" y="4719"/>
                </a:cubicBezTo>
                <a:cubicBezTo>
                  <a:pt x="16468" y="4750"/>
                  <a:pt x="16562" y="4781"/>
                  <a:pt x="16593" y="4875"/>
                </a:cubicBezTo>
                <a:cubicBezTo>
                  <a:pt x="16593" y="4906"/>
                  <a:pt x="16625" y="4937"/>
                  <a:pt x="16656" y="4906"/>
                </a:cubicBezTo>
                <a:cubicBezTo>
                  <a:pt x="16687" y="4844"/>
                  <a:pt x="16750" y="4906"/>
                  <a:pt x="16781" y="4906"/>
                </a:cubicBezTo>
                <a:cubicBezTo>
                  <a:pt x="16781" y="4906"/>
                  <a:pt x="16781" y="4906"/>
                  <a:pt x="16781" y="4906"/>
                </a:cubicBezTo>
                <a:cubicBezTo>
                  <a:pt x="16812" y="4844"/>
                  <a:pt x="16781" y="4844"/>
                  <a:pt x="16750" y="4812"/>
                </a:cubicBezTo>
                <a:cubicBezTo>
                  <a:pt x="16750" y="4812"/>
                  <a:pt x="16718" y="4812"/>
                  <a:pt x="16718" y="4812"/>
                </a:cubicBezTo>
                <a:cubicBezTo>
                  <a:pt x="16687" y="4812"/>
                  <a:pt x="16656" y="4812"/>
                  <a:pt x="16656" y="4781"/>
                </a:cubicBezTo>
                <a:cubicBezTo>
                  <a:pt x="16656" y="4750"/>
                  <a:pt x="16687" y="4781"/>
                  <a:pt x="16718" y="4750"/>
                </a:cubicBezTo>
                <a:cubicBezTo>
                  <a:pt x="16718" y="4719"/>
                  <a:pt x="16718" y="4719"/>
                  <a:pt x="16750" y="4687"/>
                </a:cubicBezTo>
                <a:cubicBezTo>
                  <a:pt x="16781" y="4687"/>
                  <a:pt x="16781" y="4625"/>
                  <a:pt x="16750" y="4594"/>
                </a:cubicBezTo>
                <a:cubicBezTo>
                  <a:pt x="16718" y="4625"/>
                  <a:pt x="16656" y="4594"/>
                  <a:pt x="16656" y="4656"/>
                </a:cubicBezTo>
                <a:cubicBezTo>
                  <a:pt x="16656" y="4687"/>
                  <a:pt x="16625" y="4687"/>
                  <a:pt x="16625" y="4656"/>
                </a:cubicBezTo>
                <a:cubicBezTo>
                  <a:pt x="16593" y="4656"/>
                  <a:pt x="16562" y="4656"/>
                  <a:pt x="16562" y="4625"/>
                </a:cubicBezTo>
                <a:cubicBezTo>
                  <a:pt x="16562" y="4594"/>
                  <a:pt x="16593" y="4594"/>
                  <a:pt x="16593" y="4594"/>
                </a:cubicBezTo>
                <a:lnTo>
                  <a:pt x="16593" y="4594"/>
                </a:lnTo>
                <a:cubicBezTo>
                  <a:pt x="16656" y="4562"/>
                  <a:pt x="16718" y="4562"/>
                  <a:pt x="16750" y="4594"/>
                </a:cubicBezTo>
                <a:cubicBezTo>
                  <a:pt x="16781" y="4594"/>
                  <a:pt x="16812" y="4625"/>
                  <a:pt x="16812" y="4625"/>
                </a:cubicBezTo>
                <a:cubicBezTo>
                  <a:pt x="16843" y="4594"/>
                  <a:pt x="16843" y="4594"/>
                  <a:pt x="16812" y="4562"/>
                </a:cubicBezTo>
                <a:cubicBezTo>
                  <a:pt x="16750" y="4500"/>
                  <a:pt x="16687" y="4469"/>
                  <a:pt x="16625" y="4437"/>
                </a:cubicBezTo>
                <a:cubicBezTo>
                  <a:pt x="16593" y="4406"/>
                  <a:pt x="16531" y="4437"/>
                  <a:pt x="16500" y="4406"/>
                </a:cubicBezTo>
                <a:cubicBezTo>
                  <a:pt x="16500" y="4406"/>
                  <a:pt x="16468" y="4406"/>
                  <a:pt x="16468" y="4375"/>
                </a:cubicBezTo>
                <a:cubicBezTo>
                  <a:pt x="16468" y="4375"/>
                  <a:pt x="16500" y="4344"/>
                  <a:pt x="16531" y="4344"/>
                </a:cubicBezTo>
                <a:cubicBezTo>
                  <a:pt x="16531" y="4375"/>
                  <a:pt x="16562" y="4375"/>
                  <a:pt x="16562" y="4344"/>
                </a:cubicBezTo>
                <a:cubicBezTo>
                  <a:pt x="16562" y="4312"/>
                  <a:pt x="16531" y="4312"/>
                  <a:pt x="16531" y="4312"/>
                </a:cubicBezTo>
                <a:cubicBezTo>
                  <a:pt x="16500" y="4312"/>
                  <a:pt x="16500" y="4312"/>
                  <a:pt x="16468" y="4281"/>
                </a:cubicBezTo>
                <a:cubicBezTo>
                  <a:pt x="16468" y="4281"/>
                  <a:pt x="16437" y="4250"/>
                  <a:pt x="16468" y="4250"/>
                </a:cubicBezTo>
                <a:cubicBezTo>
                  <a:pt x="16468" y="4219"/>
                  <a:pt x="16500" y="4219"/>
                  <a:pt x="16500" y="4250"/>
                </a:cubicBezTo>
                <a:cubicBezTo>
                  <a:pt x="16531" y="4250"/>
                  <a:pt x="16593" y="4250"/>
                  <a:pt x="16593" y="4281"/>
                </a:cubicBezTo>
                <a:cubicBezTo>
                  <a:pt x="16593" y="4281"/>
                  <a:pt x="16593" y="4281"/>
                  <a:pt x="16593" y="4281"/>
                </a:cubicBezTo>
                <a:cubicBezTo>
                  <a:pt x="16625" y="4312"/>
                  <a:pt x="16625" y="4312"/>
                  <a:pt x="16656" y="4312"/>
                </a:cubicBezTo>
                <a:cubicBezTo>
                  <a:pt x="16656" y="4281"/>
                  <a:pt x="16656" y="4250"/>
                  <a:pt x="16625" y="4250"/>
                </a:cubicBezTo>
                <a:cubicBezTo>
                  <a:pt x="16562" y="4219"/>
                  <a:pt x="16562" y="4187"/>
                  <a:pt x="16625" y="4187"/>
                </a:cubicBezTo>
                <a:cubicBezTo>
                  <a:pt x="16656" y="4156"/>
                  <a:pt x="16593" y="4156"/>
                  <a:pt x="16625" y="4125"/>
                </a:cubicBezTo>
                <a:cubicBezTo>
                  <a:pt x="16593" y="4125"/>
                  <a:pt x="16593" y="4125"/>
                  <a:pt x="16562" y="4125"/>
                </a:cubicBezTo>
                <a:cubicBezTo>
                  <a:pt x="16562" y="4187"/>
                  <a:pt x="16531" y="4187"/>
                  <a:pt x="16468" y="4156"/>
                </a:cubicBezTo>
                <a:cubicBezTo>
                  <a:pt x="16468" y="4156"/>
                  <a:pt x="16437" y="4125"/>
                  <a:pt x="16437" y="4156"/>
                </a:cubicBezTo>
                <a:cubicBezTo>
                  <a:pt x="16375" y="4219"/>
                  <a:pt x="16343" y="4156"/>
                  <a:pt x="16281" y="4156"/>
                </a:cubicBezTo>
                <a:cubicBezTo>
                  <a:pt x="16312" y="4125"/>
                  <a:pt x="16343" y="4125"/>
                  <a:pt x="16343" y="4062"/>
                </a:cubicBezTo>
                <a:cubicBezTo>
                  <a:pt x="16312" y="4062"/>
                  <a:pt x="16312" y="4062"/>
                  <a:pt x="16312" y="4062"/>
                </a:cubicBezTo>
                <a:cubicBezTo>
                  <a:pt x="16312" y="4000"/>
                  <a:pt x="16250" y="4000"/>
                  <a:pt x="16187" y="3969"/>
                </a:cubicBezTo>
                <a:cubicBezTo>
                  <a:pt x="16250" y="3969"/>
                  <a:pt x="16312" y="3969"/>
                  <a:pt x="16343" y="3969"/>
                </a:cubicBezTo>
                <a:cubicBezTo>
                  <a:pt x="16343" y="3969"/>
                  <a:pt x="16343" y="3969"/>
                  <a:pt x="16375" y="3969"/>
                </a:cubicBezTo>
                <a:cubicBezTo>
                  <a:pt x="16343" y="3906"/>
                  <a:pt x="16312" y="3906"/>
                  <a:pt x="16250" y="3906"/>
                </a:cubicBezTo>
                <a:cubicBezTo>
                  <a:pt x="16187" y="3906"/>
                  <a:pt x="16156" y="3906"/>
                  <a:pt x="16093" y="3906"/>
                </a:cubicBezTo>
                <a:cubicBezTo>
                  <a:pt x="16093" y="3906"/>
                  <a:pt x="16062" y="3906"/>
                  <a:pt x="16062" y="3937"/>
                </a:cubicBezTo>
                <a:cubicBezTo>
                  <a:pt x="16062" y="3937"/>
                  <a:pt x="16093" y="3937"/>
                  <a:pt x="16093" y="3937"/>
                </a:cubicBezTo>
                <a:cubicBezTo>
                  <a:pt x="16125" y="3937"/>
                  <a:pt x="16156" y="3937"/>
                  <a:pt x="16156" y="3969"/>
                </a:cubicBezTo>
                <a:cubicBezTo>
                  <a:pt x="16062" y="3969"/>
                  <a:pt x="15968" y="3969"/>
                  <a:pt x="15875" y="3969"/>
                </a:cubicBezTo>
                <a:cubicBezTo>
                  <a:pt x="15875" y="3969"/>
                  <a:pt x="15843" y="3969"/>
                  <a:pt x="15843" y="3969"/>
                </a:cubicBezTo>
                <a:cubicBezTo>
                  <a:pt x="15843" y="3937"/>
                  <a:pt x="15875" y="3937"/>
                  <a:pt x="15906" y="3937"/>
                </a:cubicBezTo>
                <a:cubicBezTo>
                  <a:pt x="15968" y="3937"/>
                  <a:pt x="16031" y="3906"/>
                  <a:pt x="16031" y="3812"/>
                </a:cubicBezTo>
                <a:cubicBezTo>
                  <a:pt x="16031" y="3781"/>
                  <a:pt x="16031" y="3781"/>
                  <a:pt x="16000" y="3781"/>
                </a:cubicBezTo>
                <a:cubicBezTo>
                  <a:pt x="15968" y="3781"/>
                  <a:pt x="15906" y="3781"/>
                  <a:pt x="15875" y="3750"/>
                </a:cubicBezTo>
                <a:cubicBezTo>
                  <a:pt x="15906" y="3750"/>
                  <a:pt x="15906" y="3750"/>
                  <a:pt x="15906" y="3750"/>
                </a:cubicBezTo>
                <a:cubicBezTo>
                  <a:pt x="15968" y="3750"/>
                  <a:pt x="16062" y="3750"/>
                  <a:pt x="16125" y="3750"/>
                </a:cubicBezTo>
                <a:cubicBezTo>
                  <a:pt x="16125" y="3781"/>
                  <a:pt x="16093" y="3781"/>
                  <a:pt x="16093" y="3812"/>
                </a:cubicBezTo>
                <a:cubicBezTo>
                  <a:pt x="16093" y="3844"/>
                  <a:pt x="16093" y="3844"/>
                  <a:pt x="16125" y="3844"/>
                </a:cubicBezTo>
                <a:cubicBezTo>
                  <a:pt x="16187" y="3844"/>
                  <a:pt x="16250" y="3875"/>
                  <a:pt x="16343" y="3875"/>
                </a:cubicBezTo>
                <a:cubicBezTo>
                  <a:pt x="16343" y="3875"/>
                  <a:pt x="16375" y="3875"/>
                  <a:pt x="16375" y="3844"/>
                </a:cubicBezTo>
                <a:cubicBezTo>
                  <a:pt x="16375" y="3812"/>
                  <a:pt x="16343" y="3844"/>
                  <a:pt x="16343" y="3844"/>
                </a:cubicBezTo>
                <a:cubicBezTo>
                  <a:pt x="16281" y="3781"/>
                  <a:pt x="16218" y="3812"/>
                  <a:pt x="16156" y="3781"/>
                </a:cubicBezTo>
                <a:cubicBezTo>
                  <a:pt x="16250" y="3750"/>
                  <a:pt x="16343" y="3781"/>
                  <a:pt x="16437" y="3812"/>
                </a:cubicBezTo>
                <a:cubicBezTo>
                  <a:pt x="16468" y="3812"/>
                  <a:pt x="16500" y="3844"/>
                  <a:pt x="16531" y="3781"/>
                </a:cubicBezTo>
                <a:cubicBezTo>
                  <a:pt x="16531" y="3750"/>
                  <a:pt x="16468" y="3750"/>
                  <a:pt x="16437" y="3750"/>
                </a:cubicBezTo>
                <a:cubicBezTo>
                  <a:pt x="16406" y="3719"/>
                  <a:pt x="16375" y="3750"/>
                  <a:pt x="16343" y="3687"/>
                </a:cubicBezTo>
                <a:cubicBezTo>
                  <a:pt x="16375" y="3687"/>
                  <a:pt x="16437" y="3719"/>
                  <a:pt x="16468" y="3719"/>
                </a:cubicBezTo>
                <a:cubicBezTo>
                  <a:pt x="16500" y="3719"/>
                  <a:pt x="16500" y="3719"/>
                  <a:pt x="16500" y="3687"/>
                </a:cubicBezTo>
                <a:cubicBezTo>
                  <a:pt x="16500" y="3687"/>
                  <a:pt x="16500" y="3656"/>
                  <a:pt x="16500" y="3656"/>
                </a:cubicBezTo>
                <a:cubicBezTo>
                  <a:pt x="16468" y="3656"/>
                  <a:pt x="16437" y="3594"/>
                  <a:pt x="16406" y="3625"/>
                </a:cubicBezTo>
                <a:cubicBezTo>
                  <a:pt x="16375" y="3656"/>
                  <a:pt x="16343" y="3625"/>
                  <a:pt x="16343" y="3594"/>
                </a:cubicBezTo>
                <a:cubicBezTo>
                  <a:pt x="16343" y="3594"/>
                  <a:pt x="16375" y="3562"/>
                  <a:pt x="16406" y="3562"/>
                </a:cubicBezTo>
                <a:cubicBezTo>
                  <a:pt x="16437" y="3562"/>
                  <a:pt x="16437" y="3594"/>
                  <a:pt x="16468" y="3594"/>
                </a:cubicBezTo>
                <a:cubicBezTo>
                  <a:pt x="16500" y="3625"/>
                  <a:pt x="16531" y="3656"/>
                  <a:pt x="16593" y="3625"/>
                </a:cubicBezTo>
                <a:cubicBezTo>
                  <a:pt x="16531" y="3594"/>
                  <a:pt x="16531" y="3531"/>
                  <a:pt x="16468" y="3531"/>
                </a:cubicBezTo>
                <a:cubicBezTo>
                  <a:pt x="16406" y="3531"/>
                  <a:pt x="16375" y="3531"/>
                  <a:pt x="16343" y="3500"/>
                </a:cubicBezTo>
                <a:cubicBezTo>
                  <a:pt x="16312" y="3500"/>
                  <a:pt x="16312" y="3531"/>
                  <a:pt x="16281" y="3531"/>
                </a:cubicBezTo>
                <a:cubicBezTo>
                  <a:pt x="16281" y="3562"/>
                  <a:pt x="16281" y="3562"/>
                  <a:pt x="16281" y="3625"/>
                </a:cubicBezTo>
                <a:cubicBezTo>
                  <a:pt x="16218" y="3562"/>
                  <a:pt x="16156" y="3594"/>
                  <a:pt x="16125" y="3562"/>
                </a:cubicBezTo>
                <a:cubicBezTo>
                  <a:pt x="16156" y="3500"/>
                  <a:pt x="16156" y="3500"/>
                  <a:pt x="16031" y="3437"/>
                </a:cubicBezTo>
                <a:cubicBezTo>
                  <a:pt x="16125" y="3437"/>
                  <a:pt x="16250" y="3406"/>
                  <a:pt x="16343" y="3469"/>
                </a:cubicBezTo>
                <a:cubicBezTo>
                  <a:pt x="16343" y="3469"/>
                  <a:pt x="16343" y="3469"/>
                  <a:pt x="16343" y="3469"/>
                </a:cubicBezTo>
                <a:cubicBezTo>
                  <a:pt x="16375" y="3469"/>
                  <a:pt x="16406" y="3469"/>
                  <a:pt x="16468" y="3469"/>
                </a:cubicBezTo>
                <a:cubicBezTo>
                  <a:pt x="16468" y="3469"/>
                  <a:pt x="16468" y="3469"/>
                  <a:pt x="16468" y="3469"/>
                </a:cubicBezTo>
                <a:cubicBezTo>
                  <a:pt x="16468" y="3469"/>
                  <a:pt x="16531" y="3469"/>
                  <a:pt x="16500" y="3406"/>
                </a:cubicBezTo>
                <a:cubicBezTo>
                  <a:pt x="16500" y="3406"/>
                  <a:pt x="16500" y="3406"/>
                  <a:pt x="16468" y="3406"/>
                </a:cubicBezTo>
                <a:cubicBezTo>
                  <a:pt x="16468" y="3406"/>
                  <a:pt x="16468" y="3406"/>
                  <a:pt x="16468" y="3375"/>
                </a:cubicBezTo>
                <a:cubicBezTo>
                  <a:pt x="16437" y="3375"/>
                  <a:pt x="16406" y="3375"/>
                  <a:pt x="16375" y="3375"/>
                </a:cubicBezTo>
                <a:cubicBezTo>
                  <a:pt x="16375" y="3375"/>
                  <a:pt x="16375" y="3375"/>
                  <a:pt x="16343" y="3375"/>
                </a:cubicBezTo>
                <a:cubicBezTo>
                  <a:pt x="16281" y="3406"/>
                  <a:pt x="16218" y="3344"/>
                  <a:pt x="16125" y="3344"/>
                </a:cubicBezTo>
                <a:cubicBezTo>
                  <a:pt x="16187" y="3312"/>
                  <a:pt x="16250" y="3344"/>
                  <a:pt x="16281" y="3344"/>
                </a:cubicBezTo>
                <a:cubicBezTo>
                  <a:pt x="16281" y="3281"/>
                  <a:pt x="16218" y="3312"/>
                  <a:pt x="16218" y="3250"/>
                </a:cubicBezTo>
                <a:cubicBezTo>
                  <a:pt x="16156" y="3219"/>
                  <a:pt x="16062" y="3219"/>
                  <a:pt x="15968" y="3219"/>
                </a:cubicBezTo>
                <a:cubicBezTo>
                  <a:pt x="16000" y="3187"/>
                  <a:pt x="16062" y="3187"/>
                  <a:pt x="16093" y="3187"/>
                </a:cubicBezTo>
                <a:cubicBezTo>
                  <a:pt x="16156" y="3187"/>
                  <a:pt x="16218" y="3219"/>
                  <a:pt x="16281" y="3219"/>
                </a:cubicBezTo>
                <a:cubicBezTo>
                  <a:pt x="16312" y="3219"/>
                  <a:pt x="16343" y="3219"/>
                  <a:pt x="16343" y="3187"/>
                </a:cubicBezTo>
                <a:cubicBezTo>
                  <a:pt x="16343" y="3156"/>
                  <a:pt x="16312" y="3156"/>
                  <a:pt x="16281" y="3156"/>
                </a:cubicBezTo>
                <a:cubicBezTo>
                  <a:pt x="16187" y="3125"/>
                  <a:pt x="16125" y="3125"/>
                  <a:pt x="16031" y="3094"/>
                </a:cubicBezTo>
                <a:cubicBezTo>
                  <a:pt x="16031" y="3062"/>
                  <a:pt x="16062" y="3062"/>
                  <a:pt x="16093" y="3062"/>
                </a:cubicBezTo>
                <a:cubicBezTo>
                  <a:pt x="16156" y="3125"/>
                  <a:pt x="16218" y="3125"/>
                  <a:pt x="16281" y="3094"/>
                </a:cubicBezTo>
                <a:cubicBezTo>
                  <a:pt x="16312" y="3094"/>
                  <a:pt x="16312" y="3094"/>
                  <a:pt x="16312" y="3062"/>
                </a:cubicBezTo>
                <a:cubicBezTo>
                  <a:pt x="16312" y="3062"/>
                  <a:pt x="16312" y="3062"/>
                  <a:pt x="16312" y="3062"/>
                </a:cubicBezTo>
                <a:cubicBezTo>
                  <a:pt x="16218" y="3000"/>
                  <a:pt x="16093" y="2969"/>
                  <a:pt x="16000" y="2969"/>
                </a:cubicBezTo>
                <a:cubicBezTo>
                  <a:pt x="15968" y="2969"/>
                  <a:pt x="15968" y="2969"/>
                  <a:pt x="15906" y="2937"/>
                </a:cubicBezTo>
                <a:cubicBezTo>
                  <a:pt x="16000" y="2969"/>
                  <a:pt x="16062" y="2906"/>
                  <a:pt x="16125" y="2969"/>
                </a:cubicBezTo>
                <a:cubicBezTo>
                  <a:pt x="16125" y="2969"/>
                  <a:pt x="16156" y="2969"/>
                  <a:pt x="16156" y="2969"/>
                </a:cubicBezTo>
                <a:cubicBezTo>
                  <a:pt x="16187" y="2937"/>
                  <a:pt x="16218" y="2937"/>
                  <a:pt x="16218" y="2969"/>
                </a:cubicBezTo>
                <a:cubicBezTo>
                  <a:pt x="16250" y="3000"/>
                  <a:pt x="16250" y="2969"/>
                  <a:pt x="16250" y="2969"/>
                </a:cubicBezTo>
                <a:cubicBezTo>
                  <a:pt x="16281" y="2937"/>
                  <a:pt x="16281" y="2937"/>
                  <a:pt x="16250" y="2937"/>
                </a:cubicBezTo>
                <a:cubicBezTo>
                  <a:pt x="16250" y="2906"/>
                  <a:pt x="16218" y="2906"/>
                  <a:pt x="16187" y="2906"/>
                </a:cubicBezTo>
                <a:cubicBezTo>
                  <a:pt x="16093" y="2875"/>
                  <a:pt x="16000" y="2875"/>
                  <a:pt x="15906" y="2875"/>
                </a:cubicBezTo>
                <a:cubicBezTo>
                  <a:pt x="15781" y="2875"/>
                  <a:pt x="15687" y="2875"/>
                  <a:pt x="15562" y="2875"/>
                </a:cubicBezTo>
                <a:cubicBezTo>
                  <a:pt x="15562" y="2875"/>
                  <a:pt x="15562" y="2875"/>
                  <a:pt x="15562" y="2906"/>
                </a:cubicBezTo>
                <a:lnTo>
                  <a:pt x="15562" y="2906"/>
                </a:lnTo>
                <a:cubicBezTo>
                  <a:pt x="15656" y="2875"/>
                  <a:pt x="15781" y="2906"/>
                  <a:pt x="15875" y="2906"/>
                </a:cubicBezTo>
                <a:cubicBezTo>
                  <a:pt x="15906" y="2906"/>
                  <a:pt x="15906" y="2875"/>
                  <a:pt x="15906" y="2875"/>
                </a:cubicBezTo>
                <a:cubicBezTo>
                  <a:pt x="15937" y="2812"/>
                  <a:pt x="16000" y="2812"/>
                  <a:pt x="16062" y="2844"/>
                </a:cubicBezTo>
                <a:cubicBezTo>
                  <a:pt x="16093" y="2875"/>
                  <a:pt x="16156" y="2875"/>
                  <a:pt x="16187" y="2875"/>
                </a:cubicBezTo>
                <a:cubicBezTo>
                  <a:pt x="16187" y="2875"/>
                  <a:pt x="16187" y="2875"/>
                  <a:pt x="16187" y="2875"/>
                </a:cubicBezTo>
                <a:cubicBezTo>
                  <a:pt x="16187" y="2875"/>
                  <a:pt x="16187" y="2875"/>
                  <a:pt x="16187" y="2875"/>
                </a:cubicBezTo>
                <a:cubicBezTo>
                  <a:pt x="16187" y="2844"/>
                  <a:pt x="16218" y="2844"/>
                  <a:pt x="16218" y="2844"/>
                </a:cubicBezTo>
                <a:cubicBezTo>
                  <a:pt x="16250" y="2844"/>
                  <a:pt x="16281" y="2844"/>
                  <a:pt x="16281" y="2844"/>
                </a:cubicBezTo>
                <a:cubicBezTo>
                  <a:pt x="16281" y="2844"/>
                  <a:pt x="16250" y="2844"/>
                  <a:pt x="16218" y="2844"/>
                </a:cubicBezTo>
                <a:cubicBezTo>
                  <a:pt x="16218" y="2812"/>
                  <a:pt x="16187" y="2812"/>
                  <a:pt x="16187" y="2812"/>
                </a:cubicBezTo>
                <a:cubicBezTo>
                  <a:pt x="16156" y="2812"/>
                  <a:pt x="16125" y="2812"/>
                  <a:pt x="16125" y="2781"/>
                </a:cubicBezTo>
                <a:cubicBezTo>
                  <a:pt x="16093" y="2781"/>
                  <a:pt x="16093" y="2750"/>
                  <a:pt x="16125" y="2750"/>
                </a:cubicBezTo>
                <a:cubicBezTo>
                  <a:pt x="16156" y="2719"/>
                  <a:pt x="16156" y="2719"/>
                  <a:pt x="16156" y="2687"/>
                </a:cubicBezTo>
                <a:cubicBezTo>
                  <a:pt x="16125" y="2687"/>
                  <a:pt x="16093" y="2687"/>
                  <a:pt x="16093" y="2687"/>
                </a:cubicBezTo>
                <a:cubicBezTo>
                  <a:pt x="16093" y="2719"/>
                  <a:pt x="16062" y="2719"/>
                  <a:pt x="16062" y="2719"/>
                </a:cubicBezTo>
                <a:cubicBezTo>
                  <a:pt x="16062" y="2750"/>
                  <a:pt x="16062" y="2750"/>
                  <a:pt x="16031" y="2750"/>
                </a:cubicBezTo>
                <a:cubicBezTo>
                  <a:pt x="15968" y="2750"/>
                  <a:pt x="15937" y="2750"/>
                  <a:pt x="15875" y="2719"/>
                </a:cubicBezTo>
                <a:cubicBezTo>
                  <a:pt x="15875" y="2719"/>
                  <a:pt x="15875" y="2719"/>
                  <a:pt x="15875" y="2719"/>
                </a:cubicBezTo>
                <a:cubicBezTo>
                  <a:pt x="15875" y="2719"/>
                  <a:pt x="15875" y="2719"/>
                  <a:pt x="15875" y="2719"/>
                </a:cubicBezTo>
                <a:cubicBezTo>
                  <a:pt x="15875" y="2687"/>
                  <a:pt x="15906" y="2687"/>
                  <a:pt x="15906" y="2687"/>
                </a:cubicBezTo>
                <a:cubicBezTo>
                  <a:pt x="15937" y="2719"/>
                  <a:pt x="15968" y="2719"/>
                  <a:pt x="15968" y="2719"/>
                </a:cubicBezTo>
                <a:cubicBezTo>
                  <a:pt x="15968" y="2687"/>
                  <a:pt x="16000" y="2687"/>
                  <a:pt x="16000" y="2719"/>
                </a:cubicBezTo>
                <a:cubicBezTo>
                  <a:pt x="16000" y="2719"/>
                  <a:pt x="16000" y="2719"/>
                  <a:pt x="16031" y="2719"/>
                </a:cubicBezTo>
                <a:cubicBezTo>
                  <a:pt x="16031" y="2687"/>
                  <a:pt x="16031" y="2687"/>
                  <a:pt x="16031" y="2656"/>
                </a:cubicBezTo>
                <a:cubicBezTo>
                  <a:pt x="16062" y="2656"/>
                  <a:pt x="16062" y="2656"/>
                  <a:pt x="16062" y="2656"/>
                </a:cubicBezTo>
                <a:cubicBezTo>
                  <a:pt x="16062" y="2656"/>
                  <a:pt x="16062" y="2656"/>
                  <a:pt x="16031" y="2656"/>
                </a:cubicBezTo>
                <a:cubicBezTo>
                  <a:pt x="16031" y="2656"/>
                  <a:pt x="16031" y="2656"/>
                  <a:pt x="16031" y="2656"/>
                </a:cubicBezTo>
                <a:cubicBezTo>
                  <a:pt x="16000" y="2656"/>
                  <a:pt x="15968" y="2625"/>
                  <a:pt x="15937" y="2656"/>
                </a:cubicBezTo>
                <a:cubicBezTo>
                  <a:pt x="15937" y="2656"/>
                  <a:pt x="15937" y="2687"/>
                  <a:pt x="15937" y="2656"/>
                </a:cubicBezTo>
                <a:cubicBezTo>
                  <a:pt x="15906" y="2594"/>
                  <a:pt x="15843" y="2625"/>
                  <a:pt x="15812" y="2594"/>
                </a:cubicBezTo>
                <a:cubicBezTo>
                  <a:pt x="15906" y="2594"/>
                  <a:pt x="15968" y="2562"/>
                  <a:pt x="16031" y="2625"/>
                </a:cubicBezTo>
                <a:cubicBezTo>
                  <a:pt x="16125" y="2625"/>
                  <a:pt x="16250" y="2656"/>
                  <a:pt x="16343" y="2719"/>
                </a:cubicBezTo>
                <a:cubicBezTo>
                  <a:pt x="16343" y="2719"/>
                  <a:pt x="16343" y="2719"/>
                  <a:pt x="16343" y="2719"/>
                </a:cubicBezTo>
                <a:cubicBezTo>
                  <a:pt x="16343" y="2719"/>
                  <a:pt x="16375" y="2719"/>
                  <a:pt x="16375" y="2719"/>
                </a:cubicBezTo>
                <a:cubicBezTo>
                  <a:pt x="16375" y="2687"/>
                  <a:pt x="16375" y="2687"/>
                  <a:pt x="16375" y="2656"/>
                </a:cubicBezTo>
                <a:cubicBezTo>
                  <a:pt x="16375" y="2656"/>
                  <a:pt x="16375" y="2656"/>
                  <a:pt x="16375" y="2625"/>
                </a:cubicBezTo>
                <a:cubicBezTo>
                  <a:pt x="16312" y="2656"/>
                  <a:pt x="16250" y="2594"/>
                  <a:pt x="16187" y="2625"/>
                </a:cubicBezTo>
                <a:cubicBezTo>
                  <a:pt x="16156" y="2594"/>
                  <a:pt x="16093" y="2594"/>
                  <a:pt x="16031" y="2562"/>
                </a:cubicBezTo>
                <a:cubicBezTo>
                  <a:pt x="16093" y="2500"/>
                  <a:pt x="16125" y="2562"/>
                  <a:pt x="16187" y="2562"/>
                </a:cubicBezTo>
                <a:cubicBezTo>
                  <a:pt x="16250" y="2562"/>
                  <a:pt x="16281" y="2594"/>
                  <a:pt x="16343" y="2594"/>
                </a:cubicBezTo>
                <a:cubicBezTo>
                  <a:pt x="16375" y="2594"/>
                  <a:pt x="16375" y="2625"/>
                  <a:pt x="16375" y="2625"/>
                </a:cubicBezTo>
                <a:cubicBezTo>
                  <a:pt x="16375" y="2625"/>
                  <a:pt x="16375" y="2625"/>
                  <a:pt x="16375" y="2625"/>
                </a:cubicBezTo>
                <a:cubicBezTo>
                  <a:pt x="16406" y="2625"/>
                  <a:pt x="16437" y="2656"/>
                  <a:pt x="16468" y="2625"/>
                </a:cubicBezTo>
                <a:cubicBezTo>
                  <a:pt x="16468" y="2594"/>
                  <a:pt x="16406" y="2562"/>
                  <a:pt x="16406" y="2562"/>
                </a:cubicBezTo>
                <a:cubicBezTo>
                  <a:pt x="16375" y="2562"/>
                  <a:pt x="16343" y="2531"/>
                  <a:pt x="16312" y="2500"/>
                </a:cubicBezTo>
                <a:cubicBezTo>
                  <a:pt x="16218" y="2469"/>
                  <a:pt x="16312" y="2437"/>
                  <a:pt x="16281" y="2406"/>
                </a:cubicBezTo>
                <a:cubicBezTo>
                  <a:pt x="16250" y="2406"/>
                  <a:pt x="16187" y="2375"/>
                  <a:pt x="16125" y="2406"/>
                </a:cubicBezTo>
                <a:cubicBezTo>
                  <a:pt x="16125" y="2437"/>
                  <a:pt x="16156" y="2437"/>
                  <a:pt x="16187" y="2437"/>
                </a:cubicBezTo>
                <a:cubicBezTo>
                  <a:pt x="16187" y="2469"/>
                  <a:pt x="16250" y="2469"/>
                  <a:pt x="16250" y="2500"/>
                </a:cubicBezTo>
                <a:cubicBezTo>
                  <a:pt x="16156" y="2500"/>
                  <a:pt x="16062" y="2437"/>
                  <a:pt x="15968" y="2406"/>
                </a:cubicBezTo>
                <a:lnTo>
                  <a:pt x="15968" y="2406"/>
                </a:lnTo>
                <a:cubicBezTo>
                  <a:pt x="16031" y="2375"/>
                  <a:pt x="16093" y="2437"/>
                  <a:pt x="16125" y="2406"/>
                </a:cubicBezTo>
                <a:cubicBezTo>
                  <a:pt x="16125" y="2375"/>
                  <a:pt x="16125" y="2375"/>
                  <a:pt x="16093" y="2344"/>
                </a:cubicBezTo>
                <a:cubicBezTo>
                  <a:pt x="16031" y="2344"/>
                  <a:pt x="15968" y="2312"/>
                  <a:pt x="15906" y="2281"/>
                </a:cubicBezTo>
                <a:cubicBezTo>
                  <a:pt x="15906" y="2281"/>
                  <a:pt x="15875" y="2281"/>
                  <a:pt x="15875" y="2281"/>
                </a:cubicBezTo>
                <a:cubicBezTo>
                  <a:pt x="15843" y="2281"/>
                  <a:pt x="15812" y="2281"/>
                  <a:pt x="15781" y="2250"/>
                </a:cubicBezTo>
                <a:cubicBezTo>
                  <a:pt x="15781" y="2250"/>
                  <a:pt x="15781" y="2219"/>
                  <a:pt x="15781" y="2219"/>
                </a:cubicBezTo>
                <a:cubicBezTo>
                  <a:pt x="15812" y="2219"/>
                  <a:pt x="15875" y="2250"/>
                  <a:pt x="15906" y="2250"/>
                </a:cubicBezTo>
                <a:cubicBezTo>
                  <a:pt x="15906" y="2250"/>
                  <a:pt x="15937" y="2250"/>
                  <a:pt x="15968" y="2281"/>
                </a:cubicBezTo>
                <a:cubicBezTo>
                  <a:pt x="16062" y="2312"/>
                  <a:pt x="16125" y="2312"/>
                  <a:pt x="16218" y="2344"/>
                </a:cubicBezTo>
                <a:cubicBezTo>
                  <a:pt x="16250" y="2344"/>
                  <a:pt x="16281" y="2375"/>
                  <a:pt x="16281" y="2344"/>
                </a:cubicBezTo>
                <a:cubicBezTo>
                  <a:pt x="16312" y="2312"/>
                  <a:pt x="16281" y="2312"/>
                  <a:pt x="16250" y="2281"/>
                </a:cubicBezTo>
                <a:cubicBezTo>
                  <a:pt x="16250" y="2281"/>
                  <a:pt x="16250" y="2250"/>
                  <a:pt x="16218" y="2250"/>
                </a:cubicBezTo>
                <a:cubicBezTo>
                  <a:pt x="16156" y="2250"/>
                  <a:pt x="16125" y="2250"/>
                  <a:pt x="16062" y="2219"/>
                </a:cubicBezTo>
                <a:cubicBezTo>
                  <a:pt x="15968" y="2187"/>
                  <a:pt x="15875" y="2156"/>
                  <a:pt x="15781" y="2125"/>
                </a:cubicBezTo>
                <a:cubicBezTo>
                  <a:pt x="15781" y="2125"/>
                  <a:pt x="15750" y="2094"/>
                  <a:pt x="15718" y="2094"/>
                </a:cubicBezTo>
                <a:cubicBezTo>
                  <a:pt x="15812" y="2094"/>
                  <a:pt x="15875" y="2094"/>
                  <a:pt x="15937" y="2125"/>
                </a:cubicBezTo>
                <a:cubicBezTo>
                  <a:pt x="15968" y="2156"/>
                  <a:pt x="15968" y="2187"/>
                  <a:pt x="16000" y="2125"/>
                </a:cubicBezTo>
                <a:cubicBezTo>
                  <a:pt x="16000" y="2125"/>
                  <a:pt x="16031" y="2125"/>
                  <a:pt x="16000" y="2125"/>
                </a:cubicBezTo>
                <a:cubicBezTo>
                  <a:pt x="16000" y="2187"/>
                  <a:pt x="16062" y="2156"/>
                  <a:pt x="16093" y="2187"/>
                </a:cubicBezTo>
                <a:cubicBezTo>
                  <a:pt x="16125" y="2219"/>
                  <a:pt x="16187" y="2187"/>
                  <a:pt x="16218" y="2250"/>
                </a:cubicBezTo>
                <a:cubicBezTo>
                  <a:pt x="16218" y="2250"/>
                  <a:pt x="16250" y="2250"/>
                  <a:pt x="16250" y="2219"/>
                </a:cubicBezTo>
                <a:cubicBezTo>
                  <a:pt x="16281" y="2219"/>
                  <a:pt x="16250" y="2219"/>
                  <a:pt x="16250" y="2187"/>
                </a:cubicBezTo>
                <a:cubicBezTo>
                  <a:pt x="16218" y="2156"/>
                  <a:pt x="16156" y="2125"/>
                  <a:pt x="16093" y="2125"/>
                </a:cubicBezTo>
                <a:cubicBezTo>
                  <a:pt x="16062" y="2125"/>
                  <a:pt x="16031" y="2125"/>
                  <a:pt x="16031" y="2062"/>
                </a:cubicBezTo>
                <a:cubicBezTo>
                  <a:pt x="16062" y="2062"/>
                  <a:pt x="16093" y="2062"/>
                  <a:pt x="16125" y="2062"/>
                </a:cubicBezTo>
                <a:cubicBezTo>
                  <a:pt x="16125" y="2062"/>
                  <a:pt x="16156" y="2031"/>
                  <a:pt x="16125" y="2031"/>
                </a:cubicBezTo>
                <a:cubicBezTo>
                  <a:pt x="16062" y="2000"/>
                  <a:pt x="16000" y="1937"/>
                  <a:pt x="15937" y="1937"/>
                </a:cubicBezTo>
                <a:cubicBezTo>
                  <a:pt x="15875" y="1906"/>
                  <a:pt x="15812" y="1875"/>
                  <a:pt x="15750" y="1844"/>
                </a:cubicBezTo>
                <a:cubicBezTo>
                  <a:pt x="15750" y="1844"/>
                  <a:pt x="15750" y="1844"/>
                  <a:pt x="15750" y="1844"/>
                </a:cubicBezTo>
                <a:cubicBezTo>
                  <a:pt x="15718" y="1844"/>
                  <a:pt x="15656" y="1812"/>
                  <a:pt x="15625" y="1812"/>
                </a:cubicBezTo>
                <a:cubicBezTo>
                  <a:pt x="15593" y="1812"/>
                  <a:pt x="15593" y="1781"/>
                  <a:pt x="15562" y="1781"/>
                </a:cubicBezTo>
                <a:cubicBezTo>
                  <a:pt x="15593" y="1781"/>
                  <a:pt x="15593" y="1781"/>
                  <a:pt x="15593" y="1750"/>
                </a:cubicBezTo>
                <a:cubicBezTo>
                  <a:pt x="15625" y="1812"/>
                  <a:pt x="15687" y="1781"/>
                  <a:pt x="15718" y="1812"/>
                </a:cubicBezTo>
                <a:cubicBezTo>
                  <a:pt x="15718" y="1812"/>
                  <a:pt x="15750" y="1812"/>
                  <a:pt x="15750" y="1844"/>
                </a:cubicBezTo>
                <a:cubicBezTo>
                  <a:pt x="15875" y="1844"/>
                  <a:pt x="16000" y="1906"/>
                  <a:pt x="16093" y="1969"/>
                </a:cubicBezTo>
                <a:cubicBezTo>
                  <a:pt x="16125" y="1969"/>
                  <a:pt x="16156" y="1969"/>
                  <a:pt x="16187" y="1969"/>
                </a:cubicBezTo>
                <a:cubicBezTo>
                  <a:pt x="16187" y="1969"/>
                  <a:pt x="16187" y="1969"/>
                  <a:pt x="16187" y="2000"/>
                </a:cubicBezTo>
                <a:cubicBezTo>
                  <a:pt x="16187" y="2000"/>
                  <a:pt x="16218" y="2000"/>
                  <a:pt x="16218" y="2000"/>
                </a:cubicBezTo>
                <a:cubicBezTo>
                  <a:pt x="16250" y="1969"/>
                  <a:pt x="16218" y="1969"/>
                  <a:pt x="16218" y="1969"/>
                </a:cubicBezTo>
                <a:cubicBezTo>
                  <a:pt x="16218" y="1969"/>
                  <a:pt x="16187" y="1969"/>
                  <a:pt x="16187" y="1969"/>
                </a:cubicBezTo>
                <a:cubicBezTo>
                  <a:pt x="16125" y="1906"/>
                  <a:pt x="16031" y="1875"/>
                  <a:pt x="16000" y="1812"/>
                </a:cubicBezTo>
                <a:cubicBezTo>
                  <a:pt x="15906" y="1812"/>
                  <a:pt x="15843" y="1781"/>
                  <a:pt x="15781" y="1750"/>
                </a:cubicBezTo>
                <a:cubicBezTo>
                  <a:pt x="15718" y="1719"/>
                  <a:pt x="15687" y="1719"/>
                  <a:pt x="15625" y="1750"/>
                </a:cubicBezTo>
                <a:cubicBezTo>
                  <a:pt x="15625" y="1719"/>
                  <a:pt x="15656" y="1719"/>
                  <a:pt x="15625" y="1687"/>
                </a:cubicBezTo>
                <a:cubicBezTo>
                  <a:pt x="15593" y="1687"/>
                  <a:pt x="15562" y="1656"/>
                  <a:pt x="15531" y="1687"/>
                </a:cubicBezTo>
                <a:cubicBezTo>
                  <a:pt x="15500" y="1719"/>
                  <a:pt x="15500" y="1656"/>
                  <a:pt x="15500" y="1656"/>
                </a:cubicBezTo>
                <a:cubicBezTo>
                  <a:pt x="15468" y="1656"/>
                  <a:pt x="15437" y="1656"/>
                  <a:pt x="15406" y="1625"/>
                </a:cubicBezTo>
                <a:cubicBezTo>
                  <a:pt x="15437" y="1594"/>
                  <a:pt x="15468" y="1656"/>
                  <a:pt x="15531" y="1625"/>
                </a:cubicBezTo>
                <a:cubicBezTo>
                  <a:pt x="15531" y="1625"/>
                  <a:pt x="15562" y="1625"/>
                  <a:pt x="15562" y="1625"/>
                </a:cubicBezTo>
                <a:cubicBezTo>
                  <a:pt x="15625" y="1656"/>
                  <a:pt x="15656" y="1656"/>
                  <a:pt x="15687" y="1625"/>
                </a:cubicBezTo>
                <a:cubicBezTo>
                  <a:pt x="15718" y="1625"/>
                  <a:pt x="15687" y="1656"/>
                  <a:pt x="15656" y="1687"/>
                </a:cubicBezTo>
                <a:cubicBezTo>
                  <a:pt x="15687" y="1687"/>
                  <a:pt x="15718" y="1687"/>
                  <a:pt x="15718" y="1687"/>
                </a:cubicBezTo>
                <a:cubicBezTo>
                  <a:pt x="15718" y="1687"/>
                  <a:pt x="15718" y="1687"/>
                  <a:pt x="15718" y="1687"/>
                </a:cubicBezTo>
                <a:cubicBezTo>
                  <a:pt x="15750" y="1656"/>
                  <a:pt x="15750" y="1656"/>
                  <a:pt x="15781" y="1656"/>
                </a:cubicBezTo>
                <a:cubicBezTo>
                  <a:pt x="15781" y="1656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81" y="1625"/>
                  <a:pt x="15781" y="1625"/>
                  <a:pt x="15781" y="1625"/>
                </a:cubicBezTo>
                <a:cubicBezTo>
                  <a:pt x="15750" y="1625"/>
                  <a:pt x="15718" y="1594"/>
                  <a:pt x="15687" y="1594"/>
                </a:cubicBezTo>
                <a:cubicBezTo>
                  <a:pt x="15656" y="1562"/>
                  <a:pt x="15593" y="1562"/>
                  <a:pt x="15562" y="1531"/>
                </a:cubicBezTo>
                <a:cubicBezTo>
                  <a:pt x="15531" y="1531"/>
                  <a:pt x="15468" y="1469"/>
                  <a:pt x="15437" y="1469"/>
                </a:cubicBezTo>
                <a:cubicBezTo>
                  <a:pt x="15343" y="1437"/>
                  <a:pt x="15250" y="1406"/>
                  <a:pt x="15187" y="1375"/>
                </a:cubicBezTo>
                <a:cubicBezTo>
                  <a:pt x="15156" y="1375"/>
                  <a:pt x="15156" y="1375"/>
                  <a:pt x="15125" y="1375"/>
                </a:cubicBezTo>
                <a:cubicBezTo>
                  <a:pt x="15125" y="1375"/>
                  <a:pt x="15125" y="1406"/>
                  <a:pt x="15125" y="1406"/>
                </a:cubicBezTo>
                <a:cubicBezTo>
                  <a:pt x="15156" y="1406"/>
                  <a:pt x="15156" y="1437"/>
                  <a:pt x="15156" y="1469"/>
                </a:cubicBezTo>
                <a:cubicBezTo>
                  <a:pt x="15156" y="1500"/>
                  <a:pt x="15187" y="1500"/>
                  <a:pt x="15187" y="1469"/>
                </a:cubicBezTo>
                <a:cubicBezTo>
                  <a:pt x="15250" y="1437"/>
                  <a:pt x="15281" y="1469"/>
                  <a:pt x="15343" y="1469"/>
                </a:cubicBezTo>
                <a:cubicBezTo>
                  <a:pt x="15406" y="1500"/>
                  <a:pt x="15500" y="1562"/>
                  <a:pt x="15562" y="1531"/>
                </a:cubicBezTo>
                <a:cubicBezTo>
                  <a:pt x="15593" y="1531"/>
                  <a:pt x="15593" y="1531"/>
                  <a:pt x="15593" y="1531"/>
                </a:cubicBezTo>
                <a:cubicBezTo>
                  <a:pt x="15593" y="1500"/>
                  <a:pt x="15562" y="1500"/>
                  <a:pt x="15593" y="1469"/>
                </a:cubicBezTo>
                <a:cubicBezTo>
                  <a:pt x="15593" y="1469"/>
                  <a:pt x="15593" y="1469"/>
                  <a:pt x="15593" y="1469"/>
                </a:cubicBezTo>
                <a:cubicBezTo>
                  <a:pt x="15593" y="1469"/>
                  <a:pt x="15593" y="1469"/>
                  <a:pt x="15593" y="1469"/>
                </a:cubicBezTo>
                <a:cubicBezTo>
                  <a:pt x="15500" y="1469"/>
                  <a:pt x="15468" y="1406"/>
                  <a:pt x="15375" y="1375"/>
                </a:cubicBezTo>
                <a:cubicBezTo>
                  <a:pt x="15375" y="1375"/>
                  <a:pt x="15375" y="1375"/>
                  <a:pt x="15375" y="1375"/>
                </a:cubicBezTo>
                <a:cubicBezTo>
                  <a:pt x="15343" y="1375"/>
                  <a:pt x="15312" y="1344"/>
                  <a:pt x="15281" y="1344"/>
                </a:cubicBezTo>
                <a:cubicBezTo>
                  <a:pt x="15312" y="1312"/>
                  <a:pt x="15343" y="1312"/>
                  <a:pt x="15343" y="1281"/>
                </a:cubicBezTo>
                <a:cubicBezTo>
                  <a:pt x="15343" y="1250"/>
                  <a:pt x="15312" y="1250"/>
                  <a:pt x="15281" y="1250"/>
                </a:cubicBezTo>
                <a:cubicBezTo>
                  <a:pt x="15281" y="1281"/>
                  <a:pt x="15281" y="1281"/>
                  <a:pt x="15250" y="1281"/>
                </a:cubicBezTo>
                <a:cubicBezTo>
                  <a:pt x="15250" y="1281"/>
                  <a:pt x="15250" y="1312"/>
                  <a:pt x="15250" y="1312"/>
                </a:cubicBezTo>
                <a:cubicBezTo>
                  <a:pt x="15250" y="1312"/>
                  <a:pt x="15218" y="1281"/>
                  <a:pt x="15218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81"/>
                  <a:pt x="15250" y="1281"/>
                  <a:pt x="15250" y="1281"/>
                </a:cubicBezTo>
                <a:cubicBezTo>
                  <a:pt x="15250" y="1250"/>
                  <a:pt x="15281" y="1219"/>
                  <a:pt x="15250" y="1219"/>
                </a:cubicBezTo>
                <a:cubicBezTo>
                  <a:pt x="15218" y="1219"/>
                  <a:pt x="15187" y="1219"/>
                  <a:pt x="15187" y="1187"/>
                </a:cubicBezTo>
                <a:cubicBezTo>
                  <a:pt x="15093" y="1187"/>
                  <a:pt x="15031" y="1156"/>
                  <a:pt x="15000" y="1094"/>
                </a:cubicBezTo>
                <a:cubicBezTo>
                  <a:pt x="15062" y="1094"/>
                  <a:pt x="15125" y="1156"/>
                  <a:pt x="15187" y="1187"/>
                </a:cubicBezTo>
                <a:cubicBezTo>
                  <a:pt x="15187" y="1187"/>
                  <a:pt x="15187" y="1187"/>
                  <a:pt x="15187" y="1187"/>
                </a:cubicBezTo>
                <a:cubicBezTo>
                  <a:pt x="15250" y="1187"/>
                  <a:pt x="15281" y="1156"/>
                  <a:pt x="15312" y="1156"/>
                </a:cubicBezTo>
                <a:cubicBezTo>
                  <a:pt x="15281" y="1125"/>
                  <a:pt x="15250" y="1156"/>
                  <a:pt x="15250" y="1125"/>
                </a:cubicBezTo>
                <a:cubicBezTo>
                  <a:pt x="15218" y="1125"/>
                  <a:pt x="15187" y="1156"/>
                  <a:pt x="15187" y="1094"/>
                </a:cubicBezTo>
                <a:cubicBezTo>
                  <a:pt x="15218" y="1062"/>
                  <a:pt x="15250" y="1094"/>
                  <a:pt x="15250" y="1094"/>
                </a:cubicBezTo>
                <a:cubicBezTo>
                  <a:pt x="15281" y="1094"/>
                  <a:pt x="15312" y="1125"/>
                  <a:pt x="15312" y="1125"/>
                </a:cubicBezTo>
                <a:cubicBezTo>
                  <a:pt x="15343" y="1094"/>
                  <a:pt x="15281" y="1094"/>
                  <a:pt x="15281" y="1062"/>
                </a:cubicBezTo>
                <a:cubicBezTo>
                  <a:pt x="15281" y="1062"/>
                  <a:pt x="15281" y="1031"/>
                  <a:pt x="15250" y="1031"/>
                </a:cubicBezTo>
                <a:cubicBezTo>
                  <a:pt x="15218" y="1062"/>
                  <a:pt x="15218" y="969"/>
                  <a:pt x="15156" y="1000"/>
                </a:cubicBezTo>
                <a:cubicBezTo>
                  <a:pt x="15156" y="937"/>
                  <a:pt x="15156" y="937"/>
                  <a:pt x="15093" y="937"/>
                </a:cubicBezTo>
                <a:cubicBezTo>
                  <a:pt x="15062" y="937"/>
                  <a:pt x="15062" y="937"/>
                  <a:pt x="15031" y="906"/>
                </a:cubicBezTo>
                <a:cubicBezTo>
                  <a:pt x="15000" y="906"/>
                  <a:pt x="15000" y="906"/>
                  <a:pt x="14968" y="875"/>
                </a:cubicBezTo>
                <a:lnTo>
                  <a:pt x="14968" y="875"/>
                </a:lnTo>
                <a:cubicBezTo>
                  <a:pt x="14968" y="937"/>
                  <a:pt x="15000" y="937"/>
                  <a:pt x="15031" y="937"/>
                </a:cubicBezTo>
                <a:cubicBezTo>
                  <a:pt x="15031" y="969"/>
                  <a:pt x="15062" y="969"/>
                  <a:pt x="15093" y="969"/>
                </a:cubicBezTo>
                <a:cubicBezTo>
                  <a:pt x="15125" y="969"/>
                  <a:pt x="15093" y="937"/>
                  <a:pt x="15093" y="937"/>
                </a:cubicBezTo>
                <a:cubicBezTo>
                  <a:pt x="15000" y="844"/>
                  <a:pt x="14906" y="812"/>
                  <a:pt x="14781" y="781"/>
                </a:cubicBezTo>
                <a:cubicBezTo>
                  <a:pt x="14781" y="781"/>
                  <a:pt x="14781" y="781"/>
                  <a:pt x="14781" y="781"/>
                </a:cubicBezTo>
                <a:cubicBezTo>
                  <a:pt x="14781" y="844"/>
                  <a:pt x="14843" y="844"/>
                  <a:pt x="14843" y="906"/>
                </a:cubicBezTo>
                <a:cubicBezTo>
                  <a:pt x="14812" y="875"/>
                  <a:pt x="14781" y="875"/>
                  <a:pt x="14781" y="875"/>
                </a:cubicBezTo>
                <a:cubicBezTo>
                  <a:pt x="14750" y="906"/>
                  <a:pt x="14812" y="906"/>
                  <a:pt x="14812" y="937"/>
                </a:cubicBezTo>
                <a:cubicBezTo>
                  <a:pt x="14781" y="969"/>
                  <a:pt x="14750" y="969"/>
                  <a:pt x="14718" y="906"/>
                </a:cubicBezTo>
                <a:cubicBezTo>
                  <a:pt x="14718" y="906"/>
                  <a:pt x="14687" y="906"/>
                  <a:pt x="14687" y="906"/>
                </a:cubicBezTo>
                <a:cubicBezTo>
                  <a:pt x="14656" y="969"/>
                  <a:pt x="14625" y="937"/>
                  <a:pt x="14593" y="906"/>
                </a:cubicBezTo>
                <a:cubicBezTo>
                  <a:pt x="14593" y="906"/>
                  <a:pt x="14593" y="906"/>
                  <a:pt x="14593" y="906"/>
                </a:cubicBezTo>
                <a:cubicBezTo>
                  <a:pt x="14593" y="906"/>
                  <a:pt x="14593" y="875"/>
                  <a:pt x="14593" y="875"/>
                </a:cubicBezTo>
                <a:cubicBezTo>
                  <a:pt x="14625" y="906"/>
                  <a:pt x="14656" y="906"/>
                  <a:pt x="14687" y="906"/>
                </a:cubicBezTo>
                <a:cubicBezTo>
                  <a:pt x="14656" y="812"/>
                  <a:pt x="14593" y="781"/>
                  <a:pt x="14500" y="781"/>
                </a:cubicBezTo>
                <a:cubicBezTo>
                  <a:pt x="14531" y="750"/>
                  <a:pt x="14562" y="781"/>
                  <a:pt x="14562" y="750"/>
                </a:cubicBezTo>
                <a:cubicBezTo>
                  <a:pt x="14562" y="719"/>
                  <a:pt x="14531" y="719"/>
                  <a:pt x="14531" y="719"/>
                </a:cubicBezTo>
                <a:cubicBezTo>
                  <a:pt x="14500" y="719"/>
                  <a:pt x="14500" y="719"/>
                  <a:pt x="14500" y="687"/>
                </a:cubicBezTo>
                <a:cubicBezTo>
                  <a:pt x="14562" y="625"/>
                  <a:pt x="14468" y="625"/>
                  <a:pt x="14437" y="625"/>
                </a:cubicBezTo>
                <a:cubicBezTo>
                  <a:pt x="14375" y="594"/>
                  <a:pt x="14281" y="594"/>
                  <a:pt x="14187" y="531"/>
                </a:cubicBezTo>
                <a:cubicBezTo>
                  <a:pt x="14187" y="531"/>
                  <a:pt x="14156" y="500"/>
                  <a:pt x="14093" y="531"/>
                </a:cubicBezTo>
                <a:cubicBezTo>
                  <a:pt x="14156" y="594"/>
                  <a:pt x="14218" y="625"/>
                  <a:pt x="14281" y="656"/>
                </a:cubicBezTo>
                <a:cubicBezTo>
                  <a:pt x="14281" y="656"/>
                  <a:pt x="14250" y="656"/>
                  <a:pt x="14250" y="687"/>
                </a:cubicBezTo>
                <a:cubicBezTo>
                  <a:pt x="14187" y="656"/>
                  <a:pt x="14156" y="594"/>
                  <a:pt x="14125" y="562"/>
                </a:cubicBezTo>
                <a:cubicBezTo>
                  <a:pt x="14093" y="562"/>
                  <a:pt x="14093" y="562"/>
                  <a:pt x="14093" y="562"/>
                </a:cubicBezTo>
                <a:cubicBezTo>
                  <a:pt x="14156" y="625"/>
                  <a:pt x="14187" y="719"/>
                  <a:pt x="14281" y="719"/>
                </a:cubicBezTo>
                <a:cubicBezTo>
                  <a:pt x="14218" y="781"/>
                  <a:pt x="14281" y="781"/>
                  <a:pt x="14312" y="812"/>
                </a:cubicBezTo>
                <a:cubicBezTo>
                  <a:pt x="14375" y="812"/>
                  <a:pt x="14437" y="844"/>
                  <a:pt x="14500" y="875"/>
                </a:cubicBezTo>
                <a:cubicBezTo>
                  <a:pt x="14531" y="875"/>
                  <a:pt x="14531" y="875"/>
                  <a:pt x="14531" y="875"/>
                </a:cubicBezTo>
                <a:cubicBezTo>
                  <a:pt x="14531" y="906"/>
                  <a:pt x="14500" y="906"/>
                  <a:pt x="14500" y="906"/>
                </a:cubicBezTo>
                <a:cubicBezTo>
                  <a:pt x="14437" y="875"/>
                  <a:pt x="14406" y="875"/>
                  <a:pt x="14343" y="875"/>
                </a:cubicBezTo>
                <a:cubicBezTo>
                  <a:pt x="14343" y="844"/>
                  <a:pt x="14312" y="844"/>
                  <a:pt x="14312" y="844"/>
                </a:cubicBezTo>
                <a:cubicBezTo>
                  <a:pt x="14281" y="844"/>
                  <a:pt x="14281" y="844"/>
                  <a:pt x="14281" y="844"/>
                </a:cubicBezTo>
                <a:cubicBezTo>
                  <a:pt x="14250" y="844"/>
                  <a:pt x="14250" y="844"/>
                  <a:pt x="14218" y="844"/>
                </a:cubicBezTo>
                <a:cubicBezTo>
                  <a:pt x="14218" y="844"/>
                  <a:pt x="14250" y="844"/>
                  <a:pt x="14250" y="844"/>
                </a:cubicBezTo>
                <a:cubicBezTo>
                  <a:pt x="14250" y="844"/>
                  <a:pt x="14218" y="844"/>
                  <a:pt x="14218" y="844"/>
                </a:cubicBezTo>
                <a:cubicBezTo>
                  <a:pt x="14218" y="844"/>
                  <a:pt x="14187" y="844"/>
                  <a:pt x="14156" y="812"/>
                </a:cubicBezTo>
                <a:cubicBezTo>
                  <a:pt x="14156" y="844"/>
                  <a:pt x="14156" y="844"/>
                  <a:pt x="14156" y="812"/>
                </a:cubicBezTo>
                <a:cubicBezTo>
                  <a:pt x="14125" y="812"/>
                  <a:pt x="14156" y="812"/>
                  <a:pt x="14156" y="812"/>
                </a:cubicBezTo>
                <a:cubicBezTo>
                  <a:pt x="14156" y="812"/>
                  <a:pt x="14156" y="812"/>
                  <a:pt x="14156" y="812"/>
                </a:cubicBezTo>
                <a:cubicBezTo>
                  <a:pt x="14187" y="781"/>
                  <a:pt x="14250" y="781"/>
                  <a:pt x="14187" y="750"/>
                </a:cubicBezTo>
                <a:cubicBezTo>
                  <a:pt x="14187" y="750"/>
                  <a:pt x="14156" y="719"/>
                  <a:pt x="14156" y="719"/>
                </a:cubicBezTo>
                <a:cubicBezTo>
                  <a:pt x="14156" y="719"/>
                  <a:pt x="14125" y="719"/>
                  <a:pt x="14125" y="687"/>
                </a:cubicBezTo>
                <a:cubicBezTo>
                  <a:pt x="14125" y="687"/>
                  <a:pt x="14125" y="687"/>
                  <a:pt x="14125" y="687"/>
                </a:cubicBezTo>
                <a:cubicBezTo>
                  <a:pt x="14125" y="687"/>
                  <a:pt x="14125" y="687"/>
                  <a:pt x="14125" y="687"/>
                </a:cubicBezTo>
                <a:cubicBezTo>
                  <a:pt x="14093" y="656"/>
                  <a:pt x="14062" y="719"/>
                  <a:pt x="14000" y="719"/>
                </a:cubicBezTo>
                <a:cubicBezTo>
                  <a:pt x="14000" y="719"/>
                  <a:pt x="13937" y="719"/>
                  <a:pt x="13937" y="687"/>
                </a:cubicBezTo>
                <a:cubicBezTo>
                  <a:pt x="13937" y="656"/>
                  <a:pt x="14000" y="687"/>
                  <a:pt x="14000" y="656"/>
                </a:cubicBezTo>
                <a:cubicBezTo>
                  <a:pt x="14000" y="656"/>
                  <a:pt x="14000" y="656"/>
                  <a:pt x="14031" y="625"/>
                </a:cubicBezTo>
                <a:cubicBezTo>
                  <a:pt x="13968" y="656"/>
                  <a:pt x="13937" y="562"/>
                  <a:pt x="13875" y="594"/>
                </a:cubicBezTo>
                <a:cubicBezTo>
                  <a:pt x="13875" y="594"/>
                  <a:pt x="13843" y="594"/>
                  <a:pt x="13843" y="594"/>
                </a:cubicBezTo>
                <a:cubicBezTo>
                  <a:pt x="13875" y="531"/>
                  <a:pt x="13843" y="500"/>
                  <a:pt x="13781" y="469"/>
                </a:cubicBezTo>
                <a:cubicBezTo>
                  <a:pt x="13812" y="531"/>
                  <a:pt x="13812" y="562"/>
                  <a:pt x="13781" y="562"/>
                </a:cubicBezTo>
                <a:cubicBezTo>
                  <a:pt x="13718" y="594"/>
                  <a:pt x="13750" y="531"/>
                  <a:pt x="13750" y="531"/>
                </a:cubicBezTo>
                <a:cubicBezTo>
                  <a:pt x="13718" y="531"/>
                  <a:pt x="13718" y="531"/>
                  <a:pt x="13718" y="500"/>
                </a:cubicBezTo>
                <a:cubicBezTo>
                  <a:pt x="13656" y="500"/>
                  <a:pt x="13625" y="500"/>
                  <a:pt x="13593" y="500"/>
                </a:cubicBezTo>
                <a:cubicBezTo>
                  <a:pt x="13593" y="500"/>
                  <a:pt x="13593" y="500"/>
                  <a:pt x="13593" y="500"/>
                </a:cubicBezTo>
                <a:cubicBezTo>
                  <a:pt x="13593" y="500"/>
                  <a:pt x="13593" y="500"/>
                  <a:pt x="13593" y="500"/>
                </a:cubicBezTo>
                <a:cubicBezTo>
                  <a:pt x="13656" y="625"/>
                  <a:pt x="13781" y="719"/>
                  <a:pt x="13875" y="812"/>
                </a:cubicBezTo>
                <a:cubicBezTo>
                  <a:pt x="13843" y="812"/>
                  <a:pt x="13812" y="812"/>
                  <a:pt x="13812" y="812"/>
                </a:cubicBezTo>
                <a:cubicBezTo>
                  <a:pt x="13750" y="719"/>
                  <a:pt x="13625" y="719"/>
                  <a:pt x="13562" y="656"/>
                </a:cubicBezTo>
                <a:cubicBezTo>
                  <a:pt x="13531" y="625"/>
                  <a:pt x="13531" y="625"/>
                  <a:pt x="13531" y="656"/>
                </a:cubicBezTo>
                <a:cubicBezTo>
                  <a:pt x="13468" y="687"/>
                  <a:pt x="13437" y="719"/>
                  <a:pt x="13375" y="687"/>
                </a:cubicBezTo>
                <a:cubicBezTo>
                  <a:pt x="13343" y="656"/>
                  <a:pt x="13281" y="656"/>
                  <a:pt x="13250" y="625"/>
                </a:cubicBezTo>
                <a:cubicBezTo>
                  <a:pt x="13218" y="594"/>
                  <a:pt x="13218" y="562"/>
                  <a:pt x="13187" y="562"/>
                </a:cubicBezTo>
                <a:cubicBezTo>
                  <a:pt x="13125" y="531"/>
                  <a:pt x="13093" y="469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62" y="406"/>
                  <a:pt x="13062" y="406"/>
                  <a:pt x="13062" y="406"/>
                </a:cubicBezTo>
                <a:cubicBezTo>
                  <a:pt x="13031" y="406"/>
                  <a:pt x="13000" y="406"/>
                  <a:pt x="13000" y="375"/>
                </a:cubicBezTo>
                <a:cubicBezTo>
                  <a:pt x="13000" y="375"/>
                  <a:pt x="13000" y="375"/>
                  <a:pt x="13000" y="375"/>
                </a:cubicBezTo>
                <a:cubicBezTo>
                  <a:pt x="13000" y="375"/>
                  <a:pt x="13000" y="375"/>
                  <a:pt x="13000" y="375"/>
                </a:cubicBezTo>
                <a:cubicBezTo>
                  <a:pt x="13000" y="375"/>
                  <a:pt x="12968" y="375"/>
                  <a:pt x="12968" y="375"/>
                </a:cubicBezTo>
                <a:cubicBezTo>
                  <a:pt x="12968" y="375"/>
                  <a:pt x="12968" y="375"/>
                  <a:pt x="12968" y="375"/>
                </a:cubicBezTo>
                <a:cubicBezTo>
                  <a:pt x="12968" y="375"/>
                  <a:pt x="12968" y="375"/>
                  <a:pt x="12968" y="375"/>
                </a:cubicBezTo>
                <a:cubicBezTo>
                  <a:pt x="12937" y="437"/>
                  <a:pt x="13000" y="469"/>
                  <a:pt x="12906" y="500"/>
                </a:cubicBezTo>
                <a:cubicBezTo>
                  <a:pt x="12906" y="500"/>
                  <a:pt x="12875" y="531"/>
                  <a:pt x="12843" y="500"/>
                </a:cubicBezTo>
                <a:cubicBezTo>
                  <a:pt x="12843" y="469"/>
                  <a:pt x="12875" y="469"/>
                  <a:pt x="12875" y="437"/>
                </a:cubicBezTo>
                <a:cubicBezTo>
                  <a:pt x="12812" y="406"/>
                  <a:pt x="12750" y="406"/>
                  <a:pt x="12687" y="344"/>
                </a:cubicBezTo>
                <a:cubicBezTo>
                  <a:pt x="12750" y="312"/>
                  <a:pt x="12750" y="344"/>
                  <a:pt x="12781" y="344"/>
                </a:cubicBezTo>
                <a:cubicBezTo>
                  <a:pt x="12781" y="312"/>
                  <a:pt x="12750" y="312"/>
                  <a:pt x="12750" y="281"/>
                </a:cubicBezTo>
                <a:cubicBezTo>
                  <a:pt x="12781" y="281"/>
                  <a:pt x="12812" y="281"/>
                  <a:pt x="12843" y="281"/>
                </a:cubicBezTo>
                <a:cubicBezTo>
                  <a:pt x="12843" y="281"/>
                  <a:pt x="12875" y="281"/>
                  <a:pt x="12875" y="281"/>
                </a:cubicBezTo>
                <a:cubicBezTo>
                  <a:pt x="12875" y="281"/>
                  <a:pt x="12843" y="281"/>
                  <a:pt x="12843" y="281"/>
                </a:cubicBezTo>
                <a:cubicBezTo>
                  <a:pt x="12843" y="281"/>
                  <a:pt x="12843" y="281"/>
                  <a:pt x="12812" y="250"/>
                </a:cubicBezTo>
                <a:cubicBezTo>
                  <a:pt x="12718" y="219"/>
                  <a:pt x="12625" y="219"/>
                  <a:pt x="12500" y="187"/>
                </a:cubicBezTo>
                <a:cubicBezTo>
                  <a:pt x="12500" y="187"/>
                  <a:pt x="12500" y="219"/>
                  <a:pt x="12500" y="219"/>
                </a:cubicBezTo>
                <a:cubicBezTo>
                  <a:pt x="12437" y="281"/>
                  <a:pt x="12500" y="312"/>
                  <a:pt x="12531" y="312"/>
                </a:cubicBezTo>
                <a:cubicBezTo>
                  <a:pt x="12531" y="312"/>
                  <a:pt x="12531" y="312"/>
                  <a:pt x="12531" y="312"/>
                </a:cubicBezTo>
                <a:cubicBezTo>
                  <a:pt x="12593" y="375"/>
                  <a:pt x="12625" y="375"/>
                  <a:pt x="12562" y="469"/>
                </a:cubicBezTo>
                <a:cubicBezTo>
                  <a:pt x="12531" y="500"/>
                  <a:pt x="12500" y="406"/>
                  <a:pt x="12468" y="437"/>
                </a:cubicBezTo>
                <a:cubicBezTo>
                  <a:pt x="12500" y="500"/>
                  <a:pt x="12531" y="500"/>
                  <a:pt x="12593" y="531"/>
                </a:cubicBezTo>
                <a:cubicBezTo>
                  <a:pt x="12593" y="562"/>
                  <a:pt x="12593" y="562"/>
                  <a:pt x="12625" y="562"/>
                </a:cubicBezTo>
                <a:cubicBezTo>
                  <a:pt x="12625" y="531"/>
                  <a:pt x="12625" y="531"/>
                  <a:pt x="12593" y="531"/>
                </a:cubicBezTo>
                <a:cubicBezTo>
                  <a:pt x="12593" y="500"/>
                  <a:pt x="12593" y="500"/>
                  <a:pt x="12562" y="469"/>
                </a:cubicBezTo>
                <a:cubicBezTo>
                  <a:pt x="12656" y="469"/>
                  <a:pt x="12656" y="562"/>
                  <a:pt x="12687" y="562"/>
                </a:cubicBezTo>
                <a:cubicBezTo>
                  <a:pt x="12718" y="594"/>
                  <a:pt x="12687" y="625"/>
                  <a:pt x="12687" y="656"/>
                </a:cubicBezTo>
                <a:cubicBezTo>
                  <a:pt x="12718" y="687"/>
                  <a:pt x="12687" y="687"/>
                  <a:pt x="12656" y="687"/>
                </a:cubicBezTo>
                <a:cubicBezTo>
                  <a:pt x="12656" y="687"/>
                  <a:pt x="12562" y="687"/>
                  <a:pt x="12625" y="656"/>
                </a:cubicBezTo>
                <a:cubicBezTo>
                  <a:pt x="12625" y="625"/>
                  <a:pt x="12625" y="625"/>
                  <a:pt x="12593" y="625"/>
                </a:cubicBezTo>
                <a:cubicBezTo>
                  <a:pt x="12562" y="625"/>
                  <a:pt x="12531" y="625"/>
                  <a:pt x="12531" y="562"/>
                </a:cubicBezTo>
                <a:cubicBezTo>
                  <a:pt x="12531" y="562"/>
                  <a:pt x="12500" y="531"/>
                  <a:pt x="12500" y="562"/>
                </a:cubicBezTo>
                <a:cubicBezTo>
                  <a:pt x="12468" y="562"/>
                  <a:pt x="12468" y="687"/>
                  <a:pt x="12500" y="687"/>
                </a:cubicBezTo>
                <a:cubicBezTo>
                  <a:pt x="12531" y="687"/>
                  <a:pt x="12562" y="750"/>
                  <a:pt x="12562" y="750"/>
                </a:cubicBezTo>
                <a:cubicBezTo>
                  <a:pt x="12593" y="781"/>
                  <a:pt x="12593" y="781"/>
                  <a:pt x="12593" y="781"/>
                </a:cubicBezTo>
                <a:cubicBezTo>
                  <a:pt x="12593" y="781"/>
                  <a:pt x="12593" y="781"/>
                  <a:pt x="12562" y="812"/>
                </a:cubicBezTo>
                <a:lnTo>
                  <a:pt x="12562" y="812"/>
                </a:lnTo>
                <a:cubicBezTo>
                  <a:pt x="12562" y="781"/>
                  <a:pt x="12562" y="781"/>
                  <a:pt x="12562" y="781"/>
                </a:cubicBezTo>
                <a:cubicBezTo>
                  <a:pt x="12437" y="750"/>
                  <a:pt x="12281" y="719"/>
                  <a:pt x="12156" y="625"/>
                </a:cubicBezTo>
                <a:cubicBezTo>
                  <a:pt x="12093" y="562"/>
                  <a:pt x="12093" y="594"/>
                  <a:pt x="12062" y="656"/>
                </a:cubicBezTo>
                <a:cubicBezTo>
                  <a:pt x="12156" y="656"/>
                  <a:pt x="12218" y="719"/>
                  <a:pt x="12281" y="781"/>
                </a:cubicBezTo>
                <a:lnTo>
                  <a:pt x="12281" y="781"/>
                </a:lnTo>
                <a:cubicBezTo>
                  <a:pt x="12218" y="750"/>
                  <a:pt x="12125" y="750"/>
                  <a:pt x="12062" y="656"/>
                </a:cubicBezTo>
                <a:cubicBezTo>
                  <a:pt x="12062" y="656"/>
                  <a:pt x="12062" y="656"/>
                  <a:pt x="12031" y="656"/>
                </a:cubicBezTo>
                <a:cubicBezTo>
                  <a:pt x="12000" y="594"/>
                  <a:pt x="11937" y="562"/>
                  <a:pt x="11875" y="625"/>
                </a:cubicBezTo>
                <a:cubicBezTo>
                  <a:pt x="11843" y="656"/>
                  <a:pt x="11781" y="625"/>
                  <a:pt x="11781" y="562"/>
                </a:cubicBezTo>
                <a:cubicBezTo>
                  <a:pt x="11812" y="562"/>
                  <a:pt x="11812" y="562"/>
                  <a:pt x="11812" y="562"/>
                </a:cubicBezTo>
                <a:cubicBezTo>
                  <a:pt x="11812" y="562"/>
                  <a:pt x="11812" y="562"/>
                  <a:pt x="11781" y="562"/>
                </a:cubicBezTo>
                <a:cubicBezTo>
                  <a:pt x="11812" y="562"/>
                  <a:pt x="11812" y="562"/>
                  <a:pt x="11812" y="562"/>
                </a:cubicBezTo>
                <a:cubicBezTo>
                  <a:pt x="11812" y="562"/>
                  <a:pt x="11812" y="562"/>
                  <a:pt x="11781" y="562"/>
                </a:cubicBezTo>
                <a:cubicBezTo>
                  <a:pt x="11750" y="562"/>
                  <a:pt x="11718" y="594"/>
                  <a:pt x="11687" y="594"/>
                </a:cubicBezTo>
                <a:cubicBezTo>
                  <a:pt x="11625" y="562"/>
                  <a:pt x="11593" y="562"/>
                  <a:pt x="11531" y="562"/>
                </a:cubicBezTo>
                <a:cubicBezTo>
                  <a:pt x="11593" y="562"/>
                  <a:pt x="11625" y="562"/>
                  <a:pt x="11687" y="594"/>
                </a:cubicBezTo>
                <a:cubicBezTo>
                  <a:pt x="11656" y="625"/>
                  <a:pt x="11500" y="625"/>
                  <a:pt x="11437" y="594"/>
                </a:cubicBezTo>
                <a:cubicBezTo>
                  <a:pt x="11437" y="594"/>
                  <a:pt x="11437" y="594"/>
                  <a:pt x="11437" y="594"/>
                </a:cubicBezTo>
                <a:cubicBezTo>
                  <a:pt x="11437" y="594"/>
                  <a:pt x="11437" y="594"/>
                  <a:pt x="11437" y="594"/>
                </a:cubicBezTo>
                <a:cubicBezTo>
                  <a:pt x="11406" y="594"/>
                  <a:pt x="11375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ubicBezTo>
                  <a:pt x="11375" y="562"/>
                  <a:pt x="11406" y="594"/>
                  <a:pt x="11437" y="594"/>
                </a:cubicBezTo>
                <a:cubicBezTo>
                  <a:pt x="11406" y="594"/>
                  <a:pt x="11375" y="625"/>
                  <a:pt x="11343" y="562"/>
                </a:cubicBezTo>
                <a:cubicBezTo>
                  <a:pt x="11281" y="562"/>
                  <a:pt x="11218" y="562"/>
                  <a:pt x="11156" y="562"/>
                </a:cubicBezTo>
                <a:cubicBezTo>
                  <a:pt x="11062" y="562"/>
                  <a:pt x="10968" y="531"/>
                  <a:pt x="10906" y="562"/>
                </a:cubicBezTo>
                <a:cubicBezTo>
                  <a:pt x="11031" y="594"/>
                  <a:pt x="11156" y="594"/>
                  <a:pt x="11312" y="625"/>
                </a:cubicBezTo>
                <a:cubicBezTo>
                  <a:pt x="11343" y="625"/>
                  <a:pt x="11375" y="625"/>
                  <a:pt x="11406" y="687"/>
                </a:cubicBezTo>
                <a:cubicBezTo>
                  <a:pt x="11187" y="625"/>
                  <a:pt x="10968" y="594"/>
                  <a:pt x="10750" y="656"/>
                </a:cubicBezTo>
                <a:cubicBezTo>
                  <a:pt x="10750" y="656"/>
                  <a:pt x="10750" y="656"/>
                  <a:pt x="10750" y="656"/>
                </a:cubicBezTo>
                <a:cubicBezTo>
                  <a:pt x="10718" y="656"/>
                  <a:pt x="10687" y="656"/>
                  <a:pt x="10687" y="687"/>
                </a:cubicBezTo>
                <a:cubicBezTo>
                  <a:pt x="10718" y="719"/>
                  <a:pt x="10718" y="719"/>
                  <a:pt x="10750" y="719"/>
                </a:cubicBezTo>
                <a:cubicBezTo>
                  <a:pt x="10812" y="687"/>
                  <a:pt x="10843" y="687"/>
                  <a:pt x="10906" y="656"/>
                </a:cubicBezTo>
                <a:cubicBezTo>
                  <a:pt x="11062" y="656"/>
                  <a:pt x="11218" y="656"/>
                  <a:pt x="11343" y="687"/>
                </a:cubicBezTo>
                <a:cubicBezTo>
                  <a:pt x="11406" y="656"/>
                  <a:pt x="11437" y="719"/>
                  <a:pt x="11500" y="719"/>
                </a:cubicBezTo>
                <a:cubicBezTo>
                  <a:pt x="11500" y="719"/>
                  <a:pt x="11531" y="719"/>
                  <a:pt x="11562" y="719"/>
                </a:cubicBezTo>
                <a:cubicBezTo>
                  <a:pt x="11625" y="719"/>
                  <a:pt x="11656" y="687"/>
                  <a:pt x="11687" y="750"/>
                </a:cubicBezTo>
                <a:cubicBezTo>
                  <a:pt x="11687" y="781"/>
                  <a:pt x="11718" y="781"/>
                  <a:pt x="11718" y="812"/>
                </a:cubicBezTo>
                <a:cubicBezTo>
                  <a:pt x="11687" y="812"/>
                  <a:pt x="11687" y="812"/>
                  <a:pt x="11656" y="781"/>
                </a:cubicBezTo>
                <a:cubicBezTo>
                  <a:pt x="11593" y="750"/>
                  <a:pt x="11531" y="781"/>
                  <a:pt x="11437" y="750"/>
                </a:cubicBezTo>
                <a:cubicBezTo>
                  <a:pt x="11406" y="750"/>
                  <a:pt x="11375" y="750"/>
                  <a:pt x="11312" y="719"/>
                </a:cubicBezTo>
                <a:cubicBezTo>
                  <a:pt x="11312" y="719"/>
                  <a:pt x="11312" y="719"/>
                  <a:pt x="11312" y="719"/>
                </a:cubicBezTo>
                <a:cubicBezTo>
                  <a:pt x="11250" y="719"/>
                  <a:pt x="11156" y="719"/>
                  <a:pt x="11093" y="719"/>
                </a:cubicBezTo>
                <a:cubicBezTo>
                  <a:pt x="10906" y="687"/>
                  <a:pt x="10718" y="719"/>
                  <a:pt x="10562" y="781"/>
                </a:cubicBezTo>
                <a:cubicBezTo>
                  <a:pt x="10406" y="844"/>
                  <a:pt x="10250" y="844"/>
                  <a:pt x="10125" y="906"/>
                </a:cubicBezTo>
                <a:cubicBezTo>
                  <a:pt x="9937" y="937"/>
                  <a:pt x="9781" y="1000"/>
                  <a:pt x="9687" y="1125"/>
                </a:cubicBezTo>
                <a:cubicBezTo>
                  <a:pt x="9656" y="1125"/>
                  <a:pt x="9625" y="1125"/>
                  <a:pt x="9625" y="1125"/>
                </a:cubicBezTo>
                <a:cubicBezTo>
                  <a:pt x="9625" y="1062"/>
                  <a:pt x="9593" y="1125"/>
                  <a:pt x="9593" y="1125"/>
                </a:cubicBezTo>
                <a:cubicBezTo>
                  <a:pt x="9562" y="1156"/>
                  <a:pt x="9531" y="1156"/>
                  <a:pt x="9531" y="1156"/>
                </a:cubicBezTo>
                <a:cubicBezTo>
                  <a:pt x="9437" y="1219"/>
                  <a:pt x="9343" y="1281"/>
                  <a:pt x="9250" y="1375"/>
                </a:cubicBezTo>
                <a:cubicBezTo>
                  <a:pt x="9343" y="1344"/>
                  <a:pt x="9406" y="1281"/>
                  <a:pt x="9468" y="1281"/>
                </a:cubicBezTo>
                <a:cubicBezTo>
                  <a:pt x="9562" y="1250"/>
                  <a:pt x="9625" y="1187"/>
                  <a:pt x="9687" y="1125"/>
                </a:cubicBezTo>
                <a:cubicBezTo>
                  <a:pt x="9687" y="1125"/>
                  <a:pt x="9718" y="1125"/>
                  <a:pt x="9718" y="1125"/>
                </a:cubicBezTo>
                <a:cubicBezTo>
                  <a:pt x="9750" y="1094"/>
                  <a:pt x="9781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75" y="1031"/>
                  <a:pt x="9875" y="1031"/>
                  <a:pt x="9875" y="1031"/>
                </a:cubicBezTo>
                <a:cubicBezTo>
                  <a:pt x="9843" y="1094"/>
                  <a:pt x="9781" y="1125"/>
                  <a:pt x="9750" y="1156"/>
                </a:cubicBezTo>
                <a:cubicBezTo>
                  <a:pt x="9750" y="1156"/>
                  <a:pt x="9750" y="1156"/>
                  <a:pt x="9750" y="1156"/>
                </a:cubicBezTo>
                <a:cubicBezTo>
                  <a:pt x="9687" y="1250"/>
                  <a:pt x="9593" y="1281"/>
                  <a:pt x="9468" y="1312"/>
                </a:cubicBezTo>
                <a:cubicBezTo>
                  <a:pt x="9437" y="1344"/>
                  <a:pt x="9406" y="1344"/>
                  <a:pt x="9375" y="1375"/>
                </a:cubicBezTo>
                <a:cubicBezTo>
                  <a:pt x="9375" y="1375"/>
                  <a:pt x="9343" y="1406"/>
                  <a:pt x="9343" y="1406"/>
                </a:cubicBezTo>
                <a:cubicBezTo>
                  <a:pt x="9343" y="1406"/>
                  <a:pt x="9343" y="1406"/>
                  <a:pt x="9343" y="1375"/>
                </a:cubicBezTo>
                <a:cubicBezTo>
                  <a:pt x="9343" y="1406"/>
                  <a:pt x="9343" y="1406"/>
                  <a:pt x="9343" y="1406"/>
                </a:cubicBezTo>
                <a:cubicBezTo>
                  <a:pt x="9343" y="1406"/>
                  <a:pt x="9343" y="1406"/>
                  <a:pt x="9343" y="1406"/>
                </a:cubicBezTo>
                <a:cubicBezTo>
                  <a:pt x="9343" y="1406"/>
                  <a:pt x="9343" y="1437"/>
                  <a:pt x="9343" y="1437"/>
                </a:cubicBezTo>
                <a:cubicBezTo>
                  <a:pt x="9375" y="1406"/>
                  <a:pt x="9406" y="1406"/>
                  <a:pt x="9437" y="1406"/>
                </a:cubicBezTo>
                <a:cubicBezTo>
                  <a:pt x="9531" y="1344"/>
                  <a:pt x="9593" y="1312"/>
                  <a:pt x="9687" y="1281"/>
                </a:cubicBezTo>
                <a:cubicBezTo>
                  <a:pt x="9750" y="1250"/>
                  <a:pt x="9843" y="1219"/>
                  <a:pt x="9906" y="1187"/>
                </a:cubicBezTo>
                <a:cubicBezTo>
                  <a:pt x="9968" y="1156"/>
                  <a:pt x="10062" y="1125"/>
                  <a:pt x="10093" y="1031"/>
                </a:cubicBezTo>
                <a:cubicBezTo>
                  <a:pt x="10125" y="1031"/>
                  <a:pt x="10125" y="1031"/>
                  <a:pt x="10156" y="1031"/>
                </a:cubicBezTo>
                <a:cubicBezTo>
                  <a:pt x="10156" y="1031"/>
                  <a:pt x="10156" y="1062"/>
                  <a:pt x="10125" y="1062"/>
                </a:cubicBezTo>
                <a:cubicBezTo>
                  <a:pt x="10093" y="1125"/>
                  <a:pt x="10000" y="1156"/>
                  <a:pt x="9968" y="1187"/>
                </a:cubicBezTo>
                <a:cubicBezTo>
                  <a:pt x="9937" y="1219"/>
                  <a:pt x="9937" y="1219"/>
                  <a:pt x="9906" y="1219"/>
                </a:cubicBezTo>
                <a:cubicBezTo>
                  <a:pt x="9812" y="1281"/>
                  <a:pt x="9718" y="1344"/>
                  <a:pt x="9593" y="1375"/>
                </a:cubicBezTo>
                <a:cubicBezTo>
                  <a:pt x="9562" y="1375"/>
                  <a:pt x="9500" y="1437"/>
                  <a:pt x="9437" y="1406"/>
                </a:cubicBezTo>
                <a:cubicBezTo>
                  <a:pt x="9375" y="1437"/>
                  <a:pt x="9312" y="1500"/>
                  <a:pt x="9250" y="1500"/>
                </a:cubicBezTo>
                <a:cubicBezTo>
                  <a:pt x="9218" y="1531"/>
                  <a:pt x="9218" y="1562"/>
                  <a:pt x="9156" y="1562"/>
                </a:cubicBezTo>
                <a:cubicBezTo>
                  <a:pt x="9156" y="1594"/>
                  <a:pt x="9156" y="1594"/>
                  <a:pt x="9125" y="1594"/>
                </a:cubicBezTo>
                <a:cubicBezTo>
                  <a:pt x="9125" y="1625"/>
                  <a:pt x="9093" y="1656"/>
                  <a:pt x="9062" y="1656"/>
                </a:cubicBezTo>
                <a:cubicBezTo>
                  <a:pt x="9031" y="1687"/>
                  <a:pt x="9000" y="1750"/>
                  <a:pt x="8968" y="1781"/>
                </a:cubicBezTo>
                <a:cubicBezTo>
                  <a:pt x="8968" y="1781"/>
                  <a:pt x="8968" y="1781"/>
                  <a:pt x="8937" y="1781"/>
                </a:cubicBezTo>
                <a:cubicBezTo>
                  <a:pt x="8937" y="1781"/>
                  <a:pt x="8937" y="1781"/>
                  <a:pt x="8937" y="1781"/>
                </a:cubicBezTo>
                <a:cubicBezTo>
                  <a:pt x="8937" y="1781"/>
                  <a:pt x="8937" y="1781"/>
                  <a:pt x="8937" y="1781"/>
                </a:cubicBezTo>
                <a:cubicBezTo>
                  <a:pt x="8937" y="1812"/>
                  <a:pt x="8937" y="1844"/>
                  <a:pt x="8875" y="1844"/>
                </a:cubicBezTo>
                <a:cubicBezTo>
                  <a:pt x="8906" y="1875"/>
                  <a:pt x="8875" y="1906"/>
                  <a:pt x="8812" y="1937"/>
                </a:cubicBezTo>
                <a:cubicBezTo>
                  <a:pt x="8812" y="1937"/>
                  <a:pt x="8812" y="1937"/>
                  <a:pt x="8812" y="1937"/>
                </a:cubicBezTo>
                <a:cubicBezTo>
                  <a:pt x="8812" y="1969"/>
                  <a:pt x="8812" y="1969"/>
                  <a:pt x="8781" y="1969"/>
                </a:cubicBezTo>
                <a:cubicBezTo>
                  <a:pt x="8781" y="2062"/>
                  <a:pt x="8718" y="2156"/>
                  <a:pt x="8656" y="2219"/>
                </a:cubicBezTo>
                <a:cubicBezTo>
                  <a:pt x="8562" y="2312"/>
                  <a:pt x="8468" y="2406"/>
                  <a:pt x="8406" y="2500"/>
                </a:cubicBezTo>
                <a:cubicBezTo>
                  <a:pt x="8406" y="2500"/>
                  <a:pt x="8406" y="2500"/>
                  <a:pt x="8406" y="2500"/>
                </a:cubicBezTo>
                <a:cubicBezTo>
                  <a:pt x="8406" y="2531"/>
                  <a:pt x="8375" y="2531"/>
                  <a:pt x="8375" y="2562"/>
                </a:cubicBezTo>
                <a:cubicBezTo>
                  <a:pt x="8375" y="2531"/>
                  <a:pt x="8406" y="2531"/>
                  <a:pt x="8406" y="2500"/>
                </a:cubicBezTo>
                <a:cubicBezTo>
                  <a:pt x="8406" y="2500"/>
                  <a:pt x="8437" y="2500"/>
                  <a:pt x="8437" y="2500"/>
                </a:cubicBezTo>
                <a:cubicBezTo>
                  <a:pt x="8437" y="2469"/>
                  <a:pt x="8437" y="2469"/>
                  <a:pt x="8468" y="2469"/>
                </a:cubicBezTo>
                <a:cubicBezTo>
                  <a:pt x="8562" y="2344"/>
                  <a:pt x="8687" y="2281"/>
                  <a:pt x="8750" y="2125"/>
                </a:cubicBezTo>
                <a:cubicBezTo>
                  <a:pt x="8843" y="1937"/>
                  <a:pt x="9031" y="1781"/>
                  <a:pt x="9218" y="1625"/>
                </a:cubicBezTo>
                <a:cubicBezTo>
                  <a:pt x="9312" y="1531"/>
                  <a:pt x="9406" y="1500"/>
                  <a:pt x="9531" y="1469"/>
                </a:cubicBezTo>
                <a:cubicBezTo>
                  <a:pt x="9593" y="1437"/>
                  <a:pt x="9625" y="1406"/>
                  <a:pt x="9687" y="1375"/>
                </a:cubicBezTo>
                <a:cubicBezTo>
                  <a:pt x="9718" y="1375"/>
                  <a:pt x="9718" y="1375"/>
                  <a:pt x="9750" y="1375"/>
                </a:cubicBezTo>
                <a:cubicBezTo>
                  <a:pt x="9781" y="1344"/>
                  <a:pt x="9781" y="1344"/>
                  <a:pt x="9812" y="1344"/>
                </a:cubicBezTo>
                <a:cubicBezTo>
                  <a:pt x="9812" y="1344"/>
                  <a:pt x="9812" y="1344"/>
                  <a:pt x="9812" y="1312"/>
                </a:cubicBezTo>
                <a:cubicBezTo>
                  <a:pt x="9843" y="1312"/>
                  <a:pt x="9843" y="1312"/>
                  <a:pt x="9843" y="1312"/>
                </a:cubicBezTo>
                <a:cubicBezTo>
                  <a:pt x="9843" y="1312"/>
                  <a:pt x="9843" y="1312"/>
                  <a:pt x="9843" y="1312"/>
                </a:cubicBezTo>
                <a:cubicBezTo>
                  <a:pt x="9843" y="1281"/>
                  <a:pt x="9875" y="1281"/>
                  <a:pt x="9906" y="1281"/>
                </a:cubicBezTo>
                <a:cubicBezTo>
                  <a:pt x="9937" y="1281"/>
                  <a:pt x="9937" y="1281"/>
                  <a:pt x="9937" y="1281"/>
                </a:cubicBezTo>
                <a:cubicBezTo>
                  <a:pt x="9968" y="1219"/>
                  <a:pt x="10031" y="1219"/>
                  <a:pt x="10062" y="1187"/>
                </a:cubicBezTo>
                <a:cubicBezTo>
                  <a:pt x="10125" y="1156"/>
                  <a:pt x="10187" y="1125"/>
                  <a:pt x="10250" y="1094"/>
                </a:cubicBezTo>
                <a:cubicBezTo>
                  <a:pt x="10250" y="1094"/>
                  <a:pt x="10250" y="1094"/>
                  <a:pt x="10250" y="1094"/>
                </a:cubicBezTo>
                <a:cubicBezTo>
                  <a:pt x="10250" y="1031"/>
                  <a:pt x="10343" y="1031"/>
                  <a:pt x="10343" y="969"/>
                </a:cubicBezTo>
                <a:cubicBezTo>
                  <a:pt x="10312" y="969"/>
                  <a:pt x="10250" y="1031"/>
                  <a:pt x="10218" y="1000"/>
                </a:cubicBezTo>
                <a:cubicBezTo>
                  <a:pt x="10218" y="937"/>
                  <a:pt x="10281" y="937"/>
                  <a:pt x="10312" y="937"/>
                </a:cubicBezTo>
                <a:cubicBezTo>
                  <a:pt x="10375" y="875"/>
                  <a:pt x="10437" y="875"/>
                  <a:pt x="10500" y="844"/>
                </a:cubicBezTo>
                <a:cubicBezTo>
                  <a:pt x="10562" y="844"/>
                  <a:pt x="10593" y="812"/>
                  <a:pt x="10656" y="812"/>
                </a:cubicBezTo>
                <a:cubicBezTo>
                  <a:pt x="10750" y="781"/>
                  <a:pt x="10812" y="750"/>
                  <a:pt x="10906" y="750"/>
                </a:cubicBezTo>
                <a:cubicBezTo>
                  <a:pt x="10937" y="719"/>
                  <a:pt x="10968" y="719"/>
                  <a:pt x="10968" y="750"/>
                </a:cubicBezTo>
                <a:cubicBezTo>
                  <a:pt x="11000" y="750"/>
                  <a:pt x="11000" y="750"/>
                  <a:pt x="11031" y="750"/>
                </a:cubicBezTo>
                <a:cubicBezTo>
                  <a:pt x="11031" y="750"/>
                  <a:pt x="11062" y="750"/>
                  <a:pt x="11062" y="750"/>
                </a:cubicBezTo>
                <a:cubicBezTo>
                  <a:pt x="11093" y="750"/>
                  <a:pt x="11093" y="750"/>
                  <a:pt x="11093" y="750"/>
                </a:cubicBezTo>
                <a:cubicBezTo>
                  <a:pt x="11125" y="750"/>
                  <a:pt x="11125" y="719"/>
                  <a:pt x="11156" y="750"/>
                </a:cubicBezTo>
                <a:cubicBezTo>
                  <a:pt x="11187" y="750"/>
                  <a:pt x="11250" y="750"/>
                  <a:pt x="11312" y="750"/>
                </a:cubicBezTo>
                <a:cubicBezTo>
                  <a:pt x="11375" y="781"/>
                  <a:pt x="11437" y="781"/>
                  <a:pt x="11500" y="812"/>
                </a:cubicBezTo>
                <a:cubicBezTo>
                  <a:pt x="11406" y="844"/>
                  <a:pt x="11343" y="812"/>
                  <a:pt x="11250" y="812"/>
                </a:cubicBezTo>
                <a:cubicBezTo>
                  <a:pt x="11187" y="781"/>
                  <a:pt x="11125" y="781"/>
                  <a:pt x="11062" y="812"/>
                </a:cubicBezTo>
                <a:cubicBezTo>
                  <a:pt x="11062" y="812"/>
                  <a:pt x="11093" y="812"/>
                  <a:pt x="11093" y="844"/>
                </a:cubicBezTo>
                <a:cubicBezTo>
                  <a:pt x="11062" y="844"/>
                  <a:pt x="11031" y="844"/>
                  <a:pt x="11000" y="875"/>
                </a:cubicBezTo>
                <a:cubicBezTo>
                  <a:pt x="11031" y="844"/>
                  <a:pt x="11062" y="844"/>
                  <a:pt x="11093" y="844"/>
                </a:cubicBezTo>
                <a:cubicBezTo>
                  <a:pt x="11093" y="844"/>
                  <a:pt x="11093" y="844"/>
                  <a:pt x="11093" y="844"/>
                </a:cubicBezTo>
                <a:cubicBezTo>
                  <a:pt x="11093" y="844"/>
                  <a:pt x="11125" y="844"/>
                  <a:pt x="11125" y="844"/>
                </a:cubicBezTo>
                <a:cubicBezTo>
                  <a:pt x="11125" y="844"/>
                  <a:pt x="11125" y="844"/>
                  <a:pt x="11125" y="844"/>
                </a:cubicBezTo>
                <a:cubicBezTo>
                  <a:pt x="11125" y="812"/>
                  <a:pt x="11156" y="812"/>
                  <a:pt x="11187" y="844"/>
                </a:cubicBezTo>
                <a:cubicBezTo>
                  <a:pt x="11187" y="844"/>
                  <a:pt x="11187" y="844"/>
                  <a:pt x="11187" y="844"/>
                </a:cubicBezTo>
                <a:cubicBezTo>
                  <a:pt x="11250" y="812"/>
                  <a:pt x="11406" y="844"/>
                  <a:pt x="11437" y="906"/>
                </a:cubicBezTo>
                <a:cubicBezTo>
                  <a:pt x="11343" y="875"/>
                  <a:pt x="11218" y="906"/>
                  <a:pt x="11125" y="875"/>
                </a:cubicBezTo>
                <a:cubicBezTo>
                  <a:pt x="11093" y="875"/>
                  <a:pt x="11062" y="875"/>
                  <a:pt x="11031" y="875"/>
                </a:cubicBezTo>
                <a:cubicBezTo>
                  <a:pt x="11031" y="875"/>
                  <a:pt x="11031" y="875"/>
                  <a:pt x="11031" y="875"/>
                </a:cubicBezTo>
                <a:cubicBezTo>
                  <a:pt x="10968" y="906"/>
                  <a:pt x="10937" y="906"/>
                  <a:pt x="10875" y="937"/>
                </a:cubicBezTo>
                <a:cubicBezTo>
                  <a:pt x="10875" y="969"/>
                  <a:pt x="10843" y="937"/>
                  <a:pt x="10812" y="969"/>
                </a:cubicBezTo>
                <a:cubicBezTo>
                  <a:pt x="10812" y="969"/>
                  <a:pt x="10812" y="969"/>
                  <a:pt x="10812" y="969"/>
                </a:cubicBezTo>
                <a:cubicBezTo>
                  <a:pt x="10812" y="969"/>
                  <a:pt x="10812" y="969"/>
                  <a:pt x="10781" y="1000"/>
                </a:cubicBezTo>
                <a:cubicBezTo>
                  <a:pt x="10875" y="1000"/>
                  <a:pt x="10937" y="937"/>
                  <a:pt x="11031" y="937"/>
                </a:cubicBezTo>
                <a:cubicBezTo>
                  <a:pt x="11062" y="937"/>
                  <a:pt x="11062" y="937"/>
                  <a:pt x="11093" y="937"/>
                </a:cubicBezTo>
                <a:cubicBezTo>
                  <a:pt x="11125" y="937"/>
                  <a:pt x="11125" y="969"/>
                  <a:pt x="11125" y="969"/>
                </a:cubicBezTo>
                <a:cubicBezTo>
                  <a:pt x="11125" y="1000"/>
                  <a:pt x="11093" y="1000"/>
                  <a:pt x="11093" y="1000"/>
                </a:cubicBezTo>
                <a:cubicBezTo>
                  <a:pt x="10968" y="1000"/>
                  <a:pt x="10875" y="1031"/>
                  <a:pt x="10750" y="1062"/>
                </a:cubicBezTo>
                <a:cubicBezTo>
                  <a:pt x="10718" y="1062"/>
                  <a:pt x="10687" y="1094"/>
                  <a:pt x="10656" y="1094"/>
                </a:cubicBezTo>
                <a:cubicBezTo>
                  <a:pt x="10687" y="1094"/>
                  <a:pt x="10718" y="1125"/>
                  <a:pt x="10781" y="1125"/>
                </a:cubicBezTo>
                <a:cubicBezTo>
                  <a:pt x="10656" y="1156"/>
                  <a:pt x="10531" y="1156"/>
                  <a:pt x="10437" y="1250"/>
                </a:cubicBezTo>
                <a:cubicBezTo>
                  <a:pt x="10468" y="1250"/>
                  <a:pt x="10531" y="1219"/>
                  <a:pt x="10531" y="1250"/>
                </a:cubicBezTo>
                <a:cubicBezTo>
                  <a:pt x="10500" y="1312"/>
                  <a:pt x="10437" y="1281"/>
                  <a:pt x="10375" y="1312"/>
                </a:cubicBezTo>
                <a:cubicBezTo>
                  <a:pt x="10343" y="1344"/>
                  <a:pt x="10250" y="1312"/>
                  <a:pt x="10312" y="1406"/>
                </a:cubicBezTo>
                <a:cubicBezTo>
                  <a:pt x="10312" y="1406"/>
                  <a:pt x="10281" y="1437"/>
                  <a:pt x="10281" y="1437"/>
                </a:cubicBezTo>
                <a:cubicBezTo>
                  <a:pt x="10218" y="1437"/>
                  <a:pt x="10218" y="1375"/>
                  <a:pt x="10187" y="1344"/>
                </a:cubicBezTo>
                <a:cubicBezTo>
                  <a:pt x="10187" y="1344"/>
                  <a:pt x="10187" y="1312"/>
                  <a:pt x="10218" y="1312"/>
                </a:cubicBezTo>
                <a:cubicBezTo>
                  <a:pt x="10250" y="1312"/>
                  <a:pt x="10281" y="1281"/>
                  <a:pt x="10312" y="1281"/>
                </a:cubicBezTo>
                <a:cubicBezTo>
                  <a:pt x="10312" y="1281"/>
                  <a:pt x="10343" y="1250"/>
                  <a:pt x="10343" y="1250"/>
                </a:cubicBezTo>
                <a:cubicBezTo>
                  <a:pt x="10312" y="1219"/>
                  <a:pt x="10312" y="1219"/>
                  <a:pt x="10281" y="1250"/>
                </a:cubicBezTo>
                <a:cubicBezTo>
                  <a:pt x="10250" y="1281"/>
                  <a:pt x="10218" y="1281"/>
                  <a:pt x="10156" y="1312"/>
                </a:cubicBezTo>
                <a:cubicBezTo>
                  <a:pt x="10125" y="1281"/>
                  <a:pt x="10187" y="1219"/>
                  <a:pt x="10125" y="1219"/>
                </a:cubicBezTo>
                <a:cubicBezTo>
                  <a:pt x="10125" y="1250"/>
                  <a:pt x="10125" y="1250"/>
                  <a:pt x="10093" y="1250"/>
                </a:cubicBezTo>
                <a:cubicBezTo>
                  <a:pt x="10093" y="1250"/>
                  <a:pt x="10062" y="1281"/>
                  <a:pt x="10062" y="1281"/>
                </a:cubicBezTo>
                <a:cubicBezTo>
                  <a:pt x="10062" y="1281"/>
                  <a:pt x="10062" y="1281"/>
                  <a:pt x="10031" y="1281"/>
                </a:cubicBezTo>
                <a:cubicBezTo>
                  <a:pt x="10062" y="1312"/>
                  <a:pt x="10031" y="1312"/>
                  <a:pt x="10031" y="1312"/>
                </a:cubicBezTo>
                <a:cubicBezTo>
                  <a:pt x="10031" y="1344"/>
                  <a:pt x="10062" y="1344"/>
                  <a:pt x="10062" y="1375"/>
                </a:cubicBezTo>
                <a:lnTo>
                  <a:pt x="10062" y="1375"/>
                </a:lnTo>
                <a:cubicBezTo>
                  <a:pt x="10093" y="1406"/>
                  <a:pt x="10187" y="1437"/>
                  <a:pt x="10156" y="1500"/>
                </a:cubicBezTo>
                <a:cubicBezTo>
                  <a:pt x="10218" y="1500"/>
                  <a:pt x="10218" y="1469"/>
                  <a:pt x="10187" y="1437"/>
                </a:cubicBezTo>
                <a:cubicBezTo>
                  <a:pt x="10156" y="1375"/>
                  <a:pt x="10093" y="1344"/>
                  <a:pt x="10031" y="1312"/>
                </a:cubicBezTo>
                <a:cubicBezTo>
                  <a:pt x="10000" y="1344"/>
                  <a:pt x="9937" y="1344"/>
                  <a:pt x="9906" y="1375"/>
                </a:cubicBezTo>
                <a:cubicBezTo>
                  <a:pt x="9906" y="1406"/>
                  <a:pt x="9906" y="1469"/>
                  <a:pt x="9968" y="1500"/>
                </a:cubicBezTo>
                <a:cubicBezTo>
                  <a:pt x="9968" y="1531"/>
                  <a:pt x="9968" y="1531"/>
                  <a:pt x="9937" y="1562"/>
                </a:cubicBezTo>
                <a:cubicBezTo>
                  <a:pt x="9906" y="1594"/>
                  <a:pt x="9875" y="1562"/>
                  <a:pt x="9875" y="1531"/>
                </a:cubicBezTo>
                <a:cubicBezTo>
                  <a:pt x="9875" y="1500"/>
                  <a:pt x="9843" y="1469"/>
                  <a:pt x="9812" y="1469"/>
                </a:cubicBezTo>
                <a:cubicBezTo>
                  <a:pt x="9812" y="1469"/>
                  <a:pt x="9812" y="1437"/>
                  <a:pt x="9781" y="1437"/>
                </a:cubicBezTo>
                <a:cubicBezTo>
                  <a:pt x="9781" y="1437"/>
                  <a:pt x="9781" y="1437"/>
                  <a:pt x="9781" y="1437"/>
                </a:cubicBezTo>
                <a:cubicBezTo>
                  <a:pt x="9781" y="1437"/>
                  <a:pt x="9781" y="1437"/>
                  <a:pt x="9781" y="1437"/>
                </a:cubicBezTo>
                <a:cubicBezTo>
                  <a:pt x="9750" y="1406"/>
                  <a:pt x="9718" y="1406"/>
                  <a:pt x="9687" y="1437"/>
                </a:cubicBezTo>
                <a:cubicBezTo>
                  <a:pt x="9593" y="1500"/>
                  <a:pt x="9500" y="1500"/>
                  <a:pt x="9406" y="1562"/>
                </a:cubicBezTo>
                <a:cubicBezTo>
                  <a:pt x="9343" y="1562"/>
                  <a:pt x="9312" y="1656"/>
                  <a:pt x="9250" y="1656"/>
                </a:cubicBezTo>
                <a:cubicBezTo>
                  <a:pt x="9218" y="1656"/>
                  <a:pt x="9218" y="1687"/>
                  <a:pt x="9187" y="1687"/>
                </a:cubicBezTo>
                <a:cubicBezTo>
                  <a:pt x="9062" y="1812"/>
                  <a:pt x="8937" y="1906"/>
                  <a:pt x="8843" y="2062"/>
                </a:cubicBezTo>
                <a:cubicBezTo>
                  <a:pt x="8812" y="2125"/>
                  <a:pt x="8781" y="2219"/>
                  <a:pt x="8718" y="2281"/>
                </a:cubicBezTo>
                <a:cubicBezTo>
                  <a:pt x="8625" y="2375"/>
                  <a:pt x="8531" y="2469"/>
                  <a:pt x="8437" y="2562"/>
                </a:cubicBezTo>
                <a:cubicBezTo>
                  <a:pt x="8437" y="2594"/>
                  <a:pt x="8406" y="2594"/>
                  <a:pt x="8437" y="2625"/>
                </a:cubicBezTo>
                <a:cubicBezTo>
                  <a:pt x="8437" y="2625"/>
                  <a:pt x="8468" y="2625"/>
                  <a:pt x="8468" y="2594"/>
                </a:cubicBezTo>
                <a:cubicBezTo>
                  <a:pt x="8500" y="2562"/>
                  <a:pt x="8531" y="2500"/>
                  <a:pt x="8593" y="2500"/>
                </a:cubicBezTo>
                <a:cubicBezTo>
                  <a:pt x="8562" y="2531"/>
                  <a:pt x="8531" y="2562"/>
                  <a:pt x="8531" y="2594"/>
                </a:cubicBezTo>
                <a:cubicBezTo>
                  <a:pt x="8531" y="2625"/>
                  <a:pt x="8500" y="2656"/>
                  <a:pt x="8468" y="2656"/>
                </a:cubicBezTo>
                <a:cubicBezTo>
                  <a:pt x="8375" y="2594"/>
                  <a:pt x="8343" y="2656"/>
                  <a:pt x="8312" y="2750"/>
                </a:cubicBezTo>
                <a:cubicBezTo>
                  <a:pt x="8312" y="2750"/>
                  <a:pt x="8281" y="2750"/>
                  <a:pt x="8281" y="2781"/>
                </a:cubicBezTo>
                <a:cubicBezTo>
                  <a:pt x="8218" y="2812"/>
                  <a:pt x="8187" y="2844"/>
                  <a:pt x="8187" y="2875"/>
                </a:cubicBezTo>
                <a:cubicBezTo>
                  <a:pt x="8187" y="2937"/>
                  <a:pt x="8156" y="2937"/>
                  <a:pt x="8125" y="2906"/>
                </a:cubicBezTo>
                <a:cubicBezTo>
                  <a:pt x="8125" y="2906"/>
                  <a:pt x="8093" y="2906"/>
                  <a:pt x="8093" y="2906"/>
                </a:cubicBezTo>
                <a:cubicBezTo>
                  <a:pt x="8093" y="2875"/>
                  <a:pt x="8125" y="2844"/>
                  <a:pt x="8125" y="2812"/>
                </a:cubicBezTo>
                <a:cubicBezTo>
                  <a:pt x="8125" y="2844"/>
                  <a:pt x="8093" y="2875"/>
                  <a:pt x="8093" y="2906"/>
                </a:cubicBezTo>
                <a:cubicBezTo>
                  <a:pt x="8062" y="2937"/>
                  <a:pt x="8062" y="2937"/>
                  <a:pt x="8031" y="2969"/>
                </a:cubicBezTo>
                <a:cubicBezTo>
                  <a:pt x="8031" y="2906"/>
                  <a:pt x="8062" y="2844"/>
                  <a:pt x="8093" y="2781"/>
                </a:cubicBezTo>
                <a:cubicBezTo>
                  <a:pt x="8093" y="2781"/>
                  <a:pt x="8093" y="2750"/>
                  <a:pt x="8093" y="2719"/>
                </a:cubicBezTo>
                <a:cubicBezTo>
                  <a:pt x="8062" y="2781"/>
                  <a:pt x="8031" y="2844"/>
                  <a:pt x="8000" y="2906"/>
                </a:cubicBezTo>
                <a:cubicBezTo>
                  <a:pt x="7968" y="2906"/>
                  <a:pt x="7968" y="2906"/>
                  <a:pt x="7968" y="2906"/>
                </a:cubicBezTo>
                <a:cubicBezTo>
                  <a:pt x="7968" y="2906"/>
                  <a:pt x="7968" y="2906"/>
                  <a:pt x="8000" y="2906"/>
                </a:cubicBezTo>
                <a:cubicBezTo>
                  <a:pt x="8000" y="2937"/>
                  <a:pt x="7968" y="2906"/>
                  <a:pt x="7937" y="2937"/>
                </a:cubicBezTo>
                <a:cubicBezTo>
                  <a:pt x="7937" y="2969"/>
                  <a:pt x="7937" y="2969"/>
                  <a:pt x="7906" y="2969"/>
                </a:cubicBezTo>
                <a:cubicBezTo>
                  <a:pt x="7906" y="2937"/>
                  <a:pt x="7906" y="2937"/>
                  <a:pt x="7906" y="2906"/>
                </a:cubicBezTo>
                <a:cubicBezTo>
                  <a:pt x="7906" y="2906"/>
                  <a:pt x="7906" y="2906"/>
                  <a:pt x="7906" y="2906"/>
                </a:cubicBezTo>
                <a:cubicBezTo>
                  <a:pt x="7906" y="2906"/>
                  <a:pt x="7906" y="2906"/>
                  <a:pt x="7906" y="2906"/>
                </a:cubicBezTo>
                <a:cubicBezTo>
                  <a:pt x="7875" y="2937"/>
                  <a:pt x="7875" y="2937"/>
                  <a:pt x="7843" y="2969"/>
                </a:cubicBezTo>
                <a:cubicBezTo>
                  <a:pt x="7843" y="3000"/>
                  <a:pt x="7812" y="3000"/>
                  <a:pt x="7781" y="3000"/>
                </a:cubicBezTo>
                <a:cubicBezTo>
                  <a:pt x="7781" y="3000"/>
                  <a:pt x="7781" y="3000"/>
                  <a:pt x="7781" y="3000"/>
                </a:cubicBezTo>
                <a:cubicBezTo>
                  <a:pt x="7750" y="3031"/>
                  <a:pt x="7718" y="3062"/>
                  <a:pt x="7718" y="3094"/>
                </a:cubicBezTo>
                <a:cubicBezTo>
                  <a:pt x="7718" y="3125"/>
                  <a:pt x="7750" y="3125"/>
                  <a:pt x="7718" y="3125"/>
                </a:cubicBezTo>
                <a:cubicBezTo>
                  <a:pt x="7687" y="3187"/>
                  <a:pt x="7625" y="3281"/>
                  <a:pt x="7562" y="3344"/>
                </a:cubicBezTo>
                <a:cubicBezTo>
                  <a:pt x="7625" y="3281"/>
                  <a:pt x="7687" y="3187"/>
                  <a:pt x="7718" y="3125"/>
                </a:cubicBezTo>
                <a:cubicBezTo>
                  <a:pt x="7750" y="3156"/>
                  <a:pt x="7750" y="3156"/>
                  <a:pt x="7750" y="3187"/>
                </a:cubicBezTo>
                <a:cubicBezTo>
                  <a:pt x="7750" y="3156"/>
                  <a:pt x="7781" y="3156"/>
                  <a:pt x="7781" y="3156"/>
                </a:cubicBezTo>
                <a:cubicBezTo>
                  <a:pt x="7812" y="3156"/>
                  <a:pt x="7812" y="3187"/>
                  <a:pt x="7812" y="3187"/>
                </a:cubicBezTo>
                <a:cubicBezTo>
                  <a:pt x="7875" y="3219"/>
                  <a:pt x="7875" y="3250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06" y="3312"/>
                  <a:pt x="7906" y="3312"/>
                </a:cubicBezTo>
                <a:cubicBezTo>
                  <a:pt x="7906" y="3312"/>
                  <a:pt x="7937" y="3312"/>
                  <a:pt x="7937" y="3281"/>
                </a:cubicBezTo>
                <a:cubicBezTo>
                  <a:pt x="7937" y="3281"/>
                  <a:pt x="7937" y="3281"/>
                  <a:pt x="7937" y="3281"/>
                </a:cubicBezTo>
                <a:cubicBezTo>
                  <a:pt x="7937" y="3281"/>
                  <a:pt x="7937" y="3281"/>
                  <a:pt x="7937" y="3281"/>
                </a:cubicBezTo>
                <a:cubicBezTo>
                  <a:pt x="7937" y="3281"/>
                  <a:pt x="7937" y="3250"/>
                  <a:pt x="7937" y="3250"/>
                </a:cubicBezTo>
                <a:cubicBezTo>
                  <a:pt x="7968" y="3250"/>
                  <a:pt x="7968" y="3219"/>
                  <a:pt x="7968" y="3219"/>
                </a:cubicBezTo>
                <a:cubicBezTo>
                  <a:pt x="7968" y="3219"/>
                  <a:pt x="7968" y="3250"/>
                  <a:pt x="7937" y="3250"/>
                </a:cubicBezTo>
                <a:cubicBezTo>
                  <a:pt x="7906" y="3250"/>
                  <a:pt x="7906" y="3219"/>
                  <a:pt x="7906" y="3219"/>
                </a:cubicBezTo>
                <a:cubicBezTo>
                  <a:pt x="7968" y="3156"/>
                  <a:pt x="7968" y="3094"/>
                  <a:pt x="7968" y="3031"/>
                </a:cubicBezTo>
                <a:cubicBezTo>
                  <a:pt x="7968" y="3031"/>
                  <a:pt x="7968" y="3031"/>
                  <a:pt x="7968" y="3031"/>
                </a:cubicBezTo>
                <a:cubicBezTo>
                  <a:pt x="8031" y="3062"/>
                  <a:pt x="8031" y="3156"/>
                  <a:pt x="8125" y="3156"/>
                </a:cubicBezTo>
                <a:cubicBezTo>
                  <a:pt x="8125" y="3094"/>
                  <a:pt x="8093" y="3094"/>
                  <a:pt x="8062" y="3031"/>
                </a:cubicBezTo>
                <a:cubicBezTo>
                  <a:pt x="8031" y="3000"/>
                  <a:pt x="8062" y="3000"/>
                  <a:pt x="8062" y="2969"/>
                </a:cubicBezTo>
                <a:cubicBezTo>
                  <a:pt x="8093" y="2969"/>
                  <a:pt x="8125" y="2937"/>
                  <a:pt x="8125" y="2969"/>
                </a:cubicBezTo>
                <a:cubicBezTo>
                  <a:pt x="8125" y="3031"/>
                  <a:pt x="8187" y="3031"/>
                  <a:pt x="8187" y="3094"/>
                </a:cubicBezTo>
                <a:cubicBezTo>
                  <a:pt x="8250" y="3094"/>
                  <a:pt x="8250" y="2969"/>
                  <a:pt x="8343" y="3000"/>
                </a:cubicBezTo>
                <a:cubicBezTo>
                  <a:pt x="8093" y="3250"/>
                  <a:pt x="8093" y="3594"/>
                  <a:pt x="7875" y="3844"/>
                </a:cubicBezTo>
                <a:cubicBezTo>
                  <a:pt x="7906" y="3844"/>
                  <a:pt x="7937" y="3844"/>
                  <a:pt x="7937" y="3844"/>
                </a:cubicBezTo>
                <a:cubicBezTo>
                  <a:pt x="8031" y="3719"/>
                  <a:pt x="8093" y="3562"/>
                  <a:pt x="8156" y="3437"/>
                </a:cubicBezTo>
                <a:cubicBezTo>
                  <a:pt x="8250" y="3281"/>
                  <a:pt x="8312" y="3156"/>
                  <a:pt x="8406" y="3000"/>
                </a:cubicBezTo>
                <a:cubicBezTo>
                  <a:pt x="8437" y="2937"/>
                  <a:pt x="8468" y="2844"/>
                  <a:pt x="8531" y="2812"/>
                </a:cubicBezTo>
                <a:cubicBezTo>
                  <a:pt x="8562" y="2781"/>
                  <a:pt x="8593" y="2781"/>
                  <a:pt x="8562" y="2750"/>
                </a:cubicBezTo>
                <a:cubicBezTo>
                  <a:pt x="8593" y="2750"/>
                  <a:pt x="8593" y="2750"/>
                  <a:pt x="8593" y="2750"/>
                </a:cubicBezTo>
                <a:cubicBezTo>
                  <a:pt x="8593" y="2750"/>
                  <a:pt x="8593" y="2750"/>
                  <a:pt x="8562" y="2750"/>
                </a:cubicBezTo>
                <a:cubicBezTo>
                  <a:pt x="8562" y="2750"/>
                  <a:pt x="8562" y="2719"/>
                  <a:pt x="8531" y="2750"/>
                </a:cubicBezTo>
                <a:cubicBezTo>
                  <a:pt x="8531" y="2750"/>
                  <a:pt x="8500" y="2781"/>
                  <a:pt x="8500" y="2750"/>
                </a:cubicBezTo>
                <a:cubicBezTo>
                  <a:pt x="8500" y="2719"/>
                  <a:pt x="8500" y="2687"/>
                  <a:pt x="8531" y="2687"/>
                </a:cubicBezTo>
                <a:cubicBezTo>
                  <a:pt x="8531" y="2656"/>
                  <a:pt x="8562" y="2656"/>
                  <a:pt x="8562" y="2687"/>
                </a:cubicBezTo>
                <a:cubicBezTo>
                  <a:pt x="8625" y="2719"/>
                  <a:pt x="8656" y="2719"/>
                  <a:pt x="8687" y="2687"/>
                </a:cubicBezTo>
                <a:cubicBezTo>
                  <a:pt x="8718" y="2656"/>
                  <a:pt x="8718" y="2656"/>
                  <a:pt x="8718" y="2656"/>
                </a:cubicBezTo>
                <a:cubicBezTo>
                  <a:pt x="8718" y="2594"/>
                  <a:pt x="8750" y="2562"/>
                  <a:pt x="8812" y="2500"/>
                </a:cubicBezTo>
                <a:cubicBezTo>
                  <a:pt x="8812" y="2500"/>
                  <a:pt x="8812" y="2469"/>
                  <a:pt x="8843" y="2500"/>
                </a:cubicBezTo>
                <a:cubicBezTo>
                  <a:pt x="8843" y="2500"/>
                  <a:pt x="8843" y="2531"/>
                  <a:pt x="8843" y="2531"/>
                </a:cubicBezTo>
                <a:cubicBezTo>
                  <a:pt x="8875" y="2562"/>
                  <a:pt x="8875" y="2531"/>
                  <a:pt x="8906" y="2500"/>
                </a:cubicBezTo>
                <a:cubicBezTo>
                  <a:pt x="8937" y="2469"/>
                  <a:pt x="8968" y="2406"/>
                  <a:pt x="9000" y="2406"/>
                </a:cubicBezTo>
                <a:cubicBezTo>
                  <a:pt x="9062" y="2406"/>
                  <a:pt x="9093" y="2375"/>
                  <a:pt x="9125" y="2312"/>
                </a:cubicBezTo>
                <a:cubicBezTo>
                  <a:pt x="9156" y="2281"/>
                  <a:pt x="9187" y="2250"/>
                  <a:pt x="9250" y="2187"/>
                </a:cubicBezTo>
                <a:cubicBezTo>
                  <a:pt x="9187" y="2344"/>
                  <a:pt x="9093" y="2437"/>
                  <a:pt x="9000" y="2531"/>
                </a:cubicBezTo>
                <a:cubicBezTo>
                  <a:pt x="8968" y="2594"/>
                  <a:pt x="8937" y="2656"/>
                  <a:pt x="8875" y="2687"/>
                </a:cubicBezTo>
                <a:cubicBezTo>
                  <a:pt x="8875" y="2719"/>
                  <a:pt x="8843" y="2750"/>
                  <a:pt x="8812" y="2781"/>
                </a:cubicBezTo>
                <a:cubicBezTo>
                  <a:pt x="8781" y="2875"/>
                  <a:pt x="8718" y="3000"/>
                  <a:pt x="8656" y="3094"/>
                </a:cubicBezTo>
                <a:cubicBezTo>
                  <a:pt x="8593" y="3250"/>
                  <a:pt x="8500" y="3344"/>
                  <a:pt x="8437" y="3469"/>
                </a:cubicBezTo>
                <a:cubicBezTo>
                  <a:pt x="8406" y="3562"/>
                  <a:pt x="8375" y="3625"/>
                  <a:pt x="8375" y="3687"/>
                </a:cubicBezTo>
                <a:cubicBezTo>
                  <a:pt x="8406" y="3625"/>
                  <a:pt x="8468" y="3562"/>
                  <a:pt x="8500" y="3469"/>
                </a:cubicBezTo>
                <a:cubicBezTo>
                  <a:pt x="8593" y="3375"/>
                  <a:pt x="8656" y="3250"/>
                  <a:pt x="8718" y="3156"/>
                </a:cubicBezTo>
                <a:cubicBezTo>
                  <a:pt x="8718" y="3125"/>
                  <a:pt x="8750" y="3125"/>
                  <a:pt x="8750" y="3094"/>
                </a:cubicBezTo>
                <a:cubicBezTo>
                  <a:pt x="8750" y="3094"/>
                  <a:pt x="8750" y="3094"/>
                  <a:pt x="8750" y="3094"/>
                </a:cubicBezTo>
                <a:cubicBezTo>
                  <a:pt x="8781" y="3031"/>
                  <a:pt x="8812" y="2969"/>
                  <a:pt x="8843" y="2875"/>
                </a:cubicBezTo>
                <a:cubicBezTo>
                  <a:pt x="8875" y="2812"/>
                  <a:pt x="8875" y="2750"/>
                  <a:pt x="8937" y="2719"/>
                </a:cubicBezTo>
                <a:cubicBezTo>
                  <a:pt x="8968" y="2719"/>
                  <a:pt x="8968" y="2687"/>
                  <a:pt x="9000" y="2656"/>
                </a:cubicBezTo>
                <a:lnTo>
                  <a:pt x="9000" y="2656"/>
                </a:lnTo>
                <a:cubicBezTo>
                  <a:pt x="9000" y="2656"/>
                  <a:pt x="9000" y="2656"/>
                  <a:pt x="9000" y="2656"/>
                </a:cubicBezTo>
                <a:cubicBezTo>
                  <a:pt x="9000" y="2656"/>
                  <a:pt x="9031" y="2625"/>
                  <a:pt x="9031" y="2594"/>
                </a:cubicBezTo>
                <a:cubicBezTo>
                  <a:pt x="9000" y="2625"/>
                  <a:pt x="9000" y="2625"/>
                  <a:pt x="8968" y="2656"/>
                </a:cubicBezTo>
                <a:cubicBezTo>
                  <a:pt x="8968" y="2687"/>
                  <a:pt x="8937" y="2687"/>
                  <a:pt x="8937" y="2719"/>
                </a:cubicBezTo>
                <a:cubicBezTo>
                  <a:pt x="8937" y="2781"/>
                  <a:pt x="8906" y="2812"/>
                  <a:pt x="8875" y="2875"/>
                </a:cubicBezTo>
                <a:cubicBezTo>
                  <a:pt x="8875" y="2937"/>
                  <a:pt x="8875" y="3000"/>
                  <a:pt x="8875" y="3062"/>
                </a:cubicBezTo>
                <a:cubicBezTo>
                  <a:pt x="8937" y="2937"/>
                  <a:pt x="8968" y="2812"/>
                  <a:pt x="9031" y="2687"/>
                </a:cubicBezTo>
                <a:cubicBezTo>
                  <a:pt x="9156" y="2500"/>
                  <a:pt x="9343" y="2312"/>
                  <a:pt x="9500" y="2156"/>
                </a:cubicBezTo>
                <a:cubicBezTo>
                  <a:pt x="9562" y="2094"/>
                  <a:pt x="9593" y="2031"/>
                  <a:pt x="9687" y="2031"/>
                </a:cubicBezTo>
                <a:cubicBezTo>
                  <a:pt x="9718" y="1969"/>
                  <a:pt x="9781" y="1937"/>
                  <a:pt x="9843" y="1906"/>
                </a:cubicBezTo>
                <a:cubicBezTo>
                  <a:pt x="9843" y="1906"/>
                  <a:pt x="9843" y="1906"/>
                  <a:pt x="9875" y="1906"/>
                </a:cubicBezTo>
                <a:cubicBezTo>
                  <a:pt x="9875" y="1906"/>
                  <a:pt x="9875" y="1875"/>
                  <a:pt x="9875" y="1875"/>
                </a:cubicBezTo>
                <a:cubicBezTo>
                  <a:pt x="9875" y="1875"/>
                  <a:pt x="9875" y="1875"/>
                  <a:pt x="9875" y="1875"/>
                </a:cubicBezTo>
                <a:cubicBezTo>
                  <a:pt x="9906" y="1844"/>
                  <a:pt x="9937" y="1750"/>
                  <a:pt x="10000" y="1719"/>
                </a:cubicBezTo>
                <a:cubicBezTo>
                  <a:pt x="10031" y="1781"/>
                  <a:pt x="10000" y="1781"/>
                  <a:pt x="9968" y="1781"/>
                </a:cubicBezTo>
                <a:cubicBezTo>
                  <a:pt x="9968" y="1812"/>
                  <a:pt x="9937" y="1812"/>
                  <a:pt x="9968" y="1844"/>
                </a:cubicBezTo>
                <a:cubicBezTo>
                  <a:pt x="9968" y="1875"/>
                  <a:pt x="10000" y="1875"/>
                  <a:pt x="10000" y="1844"/>
                </a:cubicBezTo>
                <a:cubicBezTo>
                  <a:pt x="10031" y="1844"/>
                  <a:pt x="10031" y="1844"/>
                  <a:pt x="10062" y="1844"/>
                </a:cubicBezTo>
                <a:cubicBezTo>
                  <a:pt x="10062" y="1781"/>
                  <a:pt x="10093" y="1781"/>
                  <a:pt x="10125" y="1750"/>
                </a:cubicBezTo>
                <a:lnTo>
                  <a:pt x="10125" y="1750"/>
                </a:lnTo>
                <a:cubicBezTo>
                  <a:pt x="10125" y="1812"/>
                  <a:pt x="10093" y="1812"/>
                  <a:pt x="10062" y="1844"/>
                </a:cubicBezTo>
                <a:cubicBezTo>
                  <a:pt x="10031" y="1906"/>
                  <a:pt x="9968" y="1906"/>
                  <a:pt x="9906" y="1969"/>
                </a:cubicBezTo>
                <a:cubicBezTo>
                  <a:pt x="9906" y="1937"/>
                  <a:pt x="9937" y="1906"/>
                  <a:pt x="9968" y="1906"/>
                </a:cubicBezTo>
                <a:lnTo>
                  <a:pt x="9968" y="1906"/>
                </a:lnTo>
                <a:cubicBezTo>
                  <a:pt x="9937" y="1844"/>
                  <a:pt x="9906" y="1875"/>
                  <a:pt x="9875" y="1875"/>
                </a:cubicBezTo>
                <a:cubicBezTo>
                  <a:pt x="9875" y="1875"/>
                  <a:pt x="9875" y="1906"/>
                  <a:pt x="9875" y="1906"/>
                </a:cubicBezTo>
                <a:cubicBezTo>
                  <a:pt x="9843" y="1906"/>
                  <a:pt x="9843" y="1906"/>
                  <a:pt x="9843" y="1906"/>
                </a:cubicBezTo>
                <a:cubicBezTo>
                  <a:pt x="9812" y="1969"/>
                  <a:pt x="9750" y="2000"/>
                  <a:pt x="9687" y="2031"/>
                </a:cubicBezTo>
                <a:cubicBezTo>
                  <a:pt x="9531" y="2156"/>
                  <a:pt x="9406" y="2281"/>
                  <a:pt x="9312" y="2437"/>
                </a:cubicBezTo>
                <a:cubicBezTo>
                  <a:pt x="9281" y="2437"/>
                  <a:pt x="9250" y="2437"/>
                  <a:pt x="9250" y="2469"/>
                </a:cubicBezTo>
                <a:cubicBezTo>
                  <a:pt x="9250" y="2500"/>
                  <a:pt x="9218" y="2500"/>
                  <a:pt x="9218" y="2531"/>
                </a:cubicBezTo>
                <a:cubicBezTo>
                  <a:pt x="9218" y="2531"/>
                  <a:pt x="9218" y="2531"/>
                  <a:pt x="9218" y="2531"/>
                </a:cubicBezTo>
                <a:cubicBezTo>
                  <a:pt x="9250" y="2531"/>
                  <a:pt x="9250" y="2500"/>
                  <a:pt x="9281" y="2500"/>
                </a:cubicBezTo>
                <a:cubicBezTo>
                  <a:pt x="9281" y="2469"/>
                  <a:pt x="9312" y="2469"/>
                  <a:pt x="9312" y="2437"/>
                </a:cubicBezTo>
                <a:cubicBezTo>
                  <a:pt x="9312" y="2437"/>
                  <a:pt x="9343" y="2437"/>
                  <a:pt x="9343" y="2406"/>
                </a:cubicBezTo>
                <a:cubicBezTo>
                  <a:pt x="9406" y="2406"/>
                  <a:pt x="9406" y="2375"/>
                  <a:pt x="9437" y="2344"/>
                </a:cubicBezTo>
                <a:lnTo>
                  <a:pt x="9437" y="2344"/>
                </a:lnTo>
                <a:cubicBezTo>
                  <a:pt x="9468" y="2344"/>
                  <a:pt x="9500" y="2281"/>
                  <a:pt x="9531" y="2250"/>
                </a:cubicBezTo>
                <a:cubicBezTo>
                  <a:pt x="9468" y="2281"/>
                  <a:pt x="9437" y="2312"/>
                  <a:pt x="9406" y="2344"/>
                </a:cubicBezTo>
                <a:cubicBezTo>
                  <a:pt x="9406" y="2375"/>
                  <a:pt x="9375" y="2375"/>
                  <a:pt x="9343" y="2406"/>
                </a:cubicBezTo>
                <a:cubicBezTo>
                  <a:pt x="9375" y="2437"/>
                  <a:pt x="9343" y="2437"/>
                  <a:pt x="9343" y="2469"/>
                </a:cubicBezTo>
                <a:cubicBezTo>
                  <a:pt x="9281" y="2562"/>
                  <a:pt x="9218" y="2656"/>
                  <a:pt x="9156" y="2750"/>
                </a:cubicBezTo>
                <a:cubicBezTo>
                  <a:pt x="9125" y="2812"/>
                  <a:pt x="9125" y="2844"/>
                  <a:pt x="9187" y="2812"/>
                </a:cubicBezTo>
                <a:cubicBezTo>
                  <a:pt x="9187" y="2875"/>
                  <a:pt x="9125" y="2906"/>
                  <a:pt x="9125" y="2969"/>
                </a:cubicBezTo>
                <a:cubicBezTo>
                  <a:pt x="9093" y="3000"/>
                  <a:pt x="9062" y="3031"/>
                  <a:pt x="9062" y="3062"/>
                </a:cubicBezTo>
                <a:cubicBezTo>
                  <a:pt x="9062" y="3062"/>
                  <a:pt x="9062" y="3062"/>
                  <a:pt x="9062" y="3062"/>
                </a:cubicBezTo>
                <a:cubicBezTo>
                  <a:pt x="9093" y="3031"/>
                  <a:pt x="9125" y="3000"/>
                  <a:pt x="9125" y="2969"/>
                </a:cubicBezTo>
                <a:cubicBezTo>
                  <a:pt x="9156" y="2937"/>
                  <a:pt x="9218" y="2875"/>
                  <a:pt x="9218" y="2812"/>
                </a:cubicBezTo>
                <a:cubicBezTo>
                  <a:pt x="9187" y="2687"/>
                  <a:pt x="9250" y="2625"/>
                  <a:pt x="9343" y="2531"/>
                </a:cubicBezTo>
                <a:cubicBezTo>
                  <a:pt x="9343" y="2500"/>
                  <a:pt x="9406" y="2469"/>
                  <a:pt x="9437" y="2437"/>
                </a:cubicBezTo>
                <a:cubicBezTo>
                  <a:pt x="9468" y="2375"/>
                  <a:pt x="9500" y="2344"/>
                  <a:pt x="9562" y="2281"/>
                </a:cubicBezTo>
                <a:cubicBezTo>
                  <a:pt x="9562" y="2281"/>
                  <a:pt x="9562" y="2281"/>
                  <a:pt x="9562" y="2281"/>
                </a:cubicBezTo>
                <a:cubicBezTo>
                  <a:pt x="9562" y="2281"/>
                  <a:pt x="9562" y="2281"/>
                  <a:pt x="9593" y="2281"/>
                </a:cubicBezTo>
                <a:cubicBezTo>
                  <a:pt x="9593" y="2281"/>
                  <a:pt x="9593" y="2281"/>
                  <a:pt x="9593" y="2281"/>
                </a:cubicBezTo>
                <a:cubicBezTo>
                  <a:pt x="9593" y="2281"/>
                  <a:pt x="9562" y="2281"/>
                  <a:pt x="9562" y="2281"/>
                </a:cubicBezTo>
                <a:cubicBezTo>
                  <a:pt x="9531" y="2344"/>
                  <a:pt x="9500" y="2406"/>
                  <a:pt x="9437" y="2469"/>
                </a:cubicBezTo>
                <a:cubicBezTo>
                  <a:pt x="9375" y="2562"/>
                  <a:pt x="9281" y="2625"/>
                  <a:pt x="9250" y="2750"/>
                </a:cubicBezTo>
                <a:cubicBezTo>
                  <a:pt x="9375" y="2594"/>
                  <a:pt x="9562" y="2469"/>
                  <a:pt x="9718" y="2344"/>
                </a:cubicBezTo>
                <a:cubicBezTo>
                  <a:pt x="9750" y="2250"/>
                  <a:pt x="9812" y="2187"/>
                  <a:pt x="9875" y="2125"/>
                </a:cubicBezTo>
                <a:cubicBezTo>
                  <a:pt x="9968" y="2031"/>
                  <a:pt x="10062" y="1969"/>
                  <a:pt x="10156" y="1906"/>
                </a:cubicBezTo>
                <a:cubicBezTo>
                  <a:pt x="10218" y="1844"/>
                  <a:pt x="10281" y="1781"/>
                  <a:pt x="10375" y="1750"/>
                </a:cubicBezTo>
                <a:cubicBezTo>
                  <a:pt x="10375" y="1750"/>
                  <a:pt x="10406" y="1750"/>
                  <a:pt x="10406" y="1750"/>
                </a:cubicBezTo>
                <a:cubicBezTo>
                  <a:pt x="10375" y="1812"/>
                  <a:pt x="10312" y="1844"/>
                  <a:pt x="10250" y="1875"/>
                </a:cubicBezTo>
                <a:cubicBezTo>
                  <a:pt x="10062" y="2000"/>
                  <a:pt x="9875" y="2125"/>
                  <a:pt x="9750" y="2312"/>
                </a:cubicBezTo>
                <a:cubicBezTo>
                  <a:pt x="9750" y="2344"/>
                  <a:pt x="9750" y="2344"/>
                  <a:pt x="9718" y="2344"/>
                </a:cubicBezTo>
                <a:cubicBezTo>
                  <a:pt x="9718" y="2344"/>
                  <a:pt x="9718" y="2344"/>
                  <a:pt x="9718" y="2344"/>
                </a:cubicBezTo>
                <a:cubicBezTo>
                  <a:pt x="9656" y="2437"/>
                  <a:pt x="9593" y="2469"/>
                  <a:pt x="9531" y="2531"/>
                </a:cubicBezTo>
                <a:cubicBezTo>
                  <a:pt x="9500" y="2562"/>
                  <a:pt x="9500" y="2562"/>
                  <a:pt x="9500" y="2594"/>
                </a:cubicBezTo>
                <a:cubicBezTo>
                  <a:pt x="9437" y="2594"/>
                  <a:pt x="9375" y="2656"/>
                  <a:pt x="9343" y="2719"/>
                </a:cubicBezTo>
                <a:cubicBezTo>
                  <a:pt x="9312" y="2719"/>
                  <a:pt x="9312" y="2750"/>
                  <a:pt x="9281" y="2781"/>
                </a:cubicBezTo>
                <a:cubicBezTo>
                  <a:pt x="9250" y="2781"/>
                  <a:pt x="9250" y="2812"/>
                  <a:pt x="9281" y="2812"/>
                </a:cubicBezTo>
                <a:cubicBezTo>
                  <a:pt x="9281" y="2844"/>
                  <a:pt x="9281" y="2812"/>
                  <a:pt x="9312" y="2812"/>
                </a:cubicBezTo>
                <a:cubicBezTo>
                  <a:pt x="9312" y="2781"/>
                  <a:pt x="9343" y="2750"/>
                  <a:pt x="9375" y="2719"/>
                </a:cubicBezTo>
                <a:cubicBezTo>
                  <a:pt x="9406" y="2687"/>
                  <a:pt x="9468" y="2656"/>
                  <a:pt x="9500" y="2594"/>
                </a:cubicBezTo>
                <a:cubicBezTo>
                  <a:pt x="9500" y="2594"/>
                  <a:pt x="9531" y="2594"/>
                  <a:pt x="9531" y="2594"/>
                </a:cubicBezTo>
                <a:cubicBezTo>
                  <a:pt x="9562" y="2594"/>
                  <a:pt x="9531" y="2625"/>
                  <a:pt x="9531" y="2625"/>
                </a:cubicBezTo>
                <a:cubicBezTo>
                  <a:pt x="9468" y="2687"/>
                  <a:pt x="9375" y="2719"/>
                  <a:pt x="9343" y="2812"/>
                </a:cubicBezTo>
                <a:cubicBezTo>
                  <a:pt x="9343" y="2812"/>
                  <a:pt x="9312" y="2844"/>
                  <a:pt x="9312" y="2875"/>
                </a:cubicBezTo>
                <a:cubicBezTo>
                  <a:pt x="9281" y="2875"/>
                  <a:pt x="9281" y="2875"/>
                  <a:pt x="9281" y="2875"/>
                </a:cubicBezTo>
                <a:cubicBezTo>
                  <a:pt x="9250" y="2875"/>
                  <a:pt x="9250" y="2906"/>
                  <a:pt x="9250" y="2906"/>
                </a:cubicBezTo>
                <a:cubicBezTo>
                  <a:pt x="9250" y="2906"/>
                  <a:pt x="9250" y="2906"/>
                  <a:pt x="9250" y="2906"/>
                </a:cubicBezTo>
                <a:cubicBezTo>
                  <a:pt x="9281" y="2906"/>
                  <a:pt x="9281" y="2906"/>
                  <a:pt x="9281" y="2906"/>
                </a:cubicBezTo>
                <a:cubicBezTo>
                  <a:pt x="9312" y="2906"/>
                  <a:pt x="9312" y="2906"/>
                  <a:pt x="9312" y="2906"/>
                </a:cubicBezTo>
                <a:cubicBezTo>
                  <a:pt x="9312" y="2906"/>
                  <a:pt x="9312" y="2875"/>
                  <a:pt x="9312" y="2875"/>
                </a:cubicBezTo>
                <a:cubicBezTo>
                  <a:pt x="9343" y="2875"/>
                  <a:pt x="9343" y="2844"/>
                  <a:pt x="9375" y="2812"/>
                </a:cubicBezTo>
                <a:cubicBezTo>
                  <a:pt x="9406" y="2812"/>
                  <a:pt x="9437" y="2781"/>
                  <a:pt x="9437" y="2750"/>
                </a:cubicBezTo>
                <a:cubicBezTo>
                  <a:pt x="9500" y="2719"/>
                  <a:pt x="9562" y="2656"/>
                  <a:pt x="9625" y="2625"/>
                </a:cubicBezTo>
                <a:cubicBezTo>
                  <a:pt x="9625" y="2656"/>
                  <a:pt x="9562" y="2687"/>
                  <a:pt x="9593" y="2719"/>
                </a:cubicBezTo>
                <a:cubicBezTo>
                  <a:pt x="9593" y="2719"/>
                  <a:pt x="9625" y="2719"/>
                  <a:pt x="9625" y="2719"/>
                </a:cubicBezTo>
                <a:cubicBezTo>
                  <a:pt x="9625" y="2719"/>
                  <a:pt x="9625" y="2719"/>
                  <a:pt x="9625" y="2719"/>
                </a:cubicBezTo>
                <a:cubicBezTo>
                  <a:pt x="9625" y="2750"/>
                  <a:pt x="9625" y="2781"/>
                  <a:pt x="9562" y="2781"/>
                </a:cubicBezTo>
                <a:cubicBezTo>
                  <a:pt x="9562" y="2750"/>
                  <a:pt x="9593" y="2750"/>
                  <a:pt x="9593" y="2719"/>
                </a:cubicBezTo>
                <a:cubicBezTo>
                  <a:pt x="9593" y="2719"/>
                  <a:pt x="9593" y="2719"/>
                  <a:pt x="9593" y="2719"/>
                </a:cubicBezTo>
                <a:lnTo>
                  <a:pt x="9593" y="2719"/>
                </a:lnTo>
                <a:cubicBezTo>
                  <a:pt x="9531" y="2719"/>
                  <a:pt x="9500" y="2750"/>
                  <a:pt x="9468" y="2750"/>
                </a:cubicBezTo>
                <a:cubicBezTo>
                  <a:pt x="9406" y="2812"/>
                  <a:pt x="9343" y="2875"/>
                  <a:pt x="9312" y="2937"/>
                </a:cubicBezTo>
                <a:cubicBezTo>
                  <a:pt x="9218" y="3062"/>
                  <a:pt x="9156" y="3219"/>
                  <a:pt x="9031" y="3344"/>
                </a:cubicBezTo>
                <a:cubicBezTo>
                  <a:pt x="8843" y="3531"/>
                  <a:pt x="8687" y="3719"/>
                  <a:pt x="8593" y="3969"/>
                </a:cubicBezTo>
                <a:cubicBezTo>
                  <a:pt x="8531" y="4094"/>
                  <a:pt x="8468" y="4219"/>
                  <a:pt x="8437" y="4344"/>
                </a:cubicBezTo>
                <a:cubicBezTo>
                  <a:pt x="8437" y="4344"/>
                  <a:pt x="8437" y="4344"/>
                  <a:pt x="8468" y="4344"/>
                </a:cubicBezTo>
                <a:cubicBezTo>
                  <a:pt x="8468" y="4281"/>
                  <a:pt x="8500" y="4281"/>
                  <a:pt x="8500" y="4219"/>
                </a:cubicBezTo>
                <a:cubicBezTo>
                  <a:pt x="8593" y="4031"/>
                  <a:pt x="8656" y="3875"/>
                  <a:pt x="8781" y="3719"/>
                </a:cubicBezTo>
                <a:cubicBezTo>
                  <a:pt x="8937" y="3500"/>
                  <a:pt x="9093" y="3312"/>
                  <a:pt x="9281" y="3125"/>
                </a:cubicBezTo>
                <a:cubicBezTo>
                  <a:pt x="9312" y="3094"/>
                  <a:pt x="9375" y="3062"/>
                  <a:pt x="9343" y="3031"/>
                </a:cubicBezTo>
                <a:cubicBezTo>
                  <a:pt x="9343" y="3000"/>
                  <a:pt x="9312" y="3000"/>
                  <a:pt x="9343" y="2969"/>
                </a:cubicBezTo>
                <a:cubicBezTo>
                  <a:pt x="9343" y="2937"/>
                  <a:pt x="9375" y="2906"/>
                  <a:pt x="9406" y="2906"/>
                </a:cubicBezTo>
                <a:cubicBezTo>
                  <a:pt x="9437" y="2937"/>
                  <a:pt x="9406" y="2937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3000"/>
                  <a:pt x="9406" y="3031"/>
                  <a:pt x="9343" y="3000"/>
                </a:cubicBezTo>
                <a:cubicBezTo>
                  <a:pt x="9343" y="2969"/>
                  <a:pt x="9375" y="2969"/>
                  <a:pt x="9406" y="2969"/>
                </a:cubicBezTo>
                <a:lnTo>
                  <a:pt x="9406" y="2969"/>
                </a:lnTo>
                <a:cubicBezTo>
                  <a:pt x="9437" y="2969"/>
                  <a:pt x="9468" y="2969"/>
                  <a:pt x="9500" y="2937"/>
                </a:cubicBezTo>
                <a:cubicBezTo>
                  <a:pt x="9531" y="2875"/>
                  <a:pt x="9593" y="2844"/>
                  <a:pt x="9625" y="2781"/>
                </a:cubicBezTo>
                <a:cubicBezTo>
                  <a:pt x="9656" y="2781"/>
                  <a:pt x="9656" y="2781"/>
                  <a:pt x="9687" y="2781"/>
                </a:cubicBezTo>
                <a:cubicBezTo>
                  <a:pt x="9687" y="2781"/>
                  <a:pt x="9656" y="2812"/>
                  <a:pt x="9656" y="2812"/>
                </a:cubicBezTo>
                <a:cubicBezTo>
                  <a:pt x="9593" y="2844"/>
                  <a:pt x="9562" y="2906"/>
                  <a:pt x="9531" y="2969"/>
                </a:cubicBezTo>
                <a:cubicBezTo>
                  <a:pt x="9593" y="2906"/>
                  <a:pt x="9656" y="2906"/>
                  <a:pt x="9687" y="2844"/>
                </a:cubicBezTo>
                <a:cubicBezTo>
                  <a:pt x="9781" y="2781"/>
                  <a:pt x="9812" y="2687"/>
                  <a:pt x="9906" y="2625"/>
                </a:cubicBezTo>
                <a:cubicBezTo>
                  <a:pt x="9906" y="2656"/>
                  <a:pt x="9906" y="2656"/>
                  <a:pt x="9906" y="2656"/>
                </a:cubicBezTo>
                <a:cubicBezTo>
                  <a:pt x="9812" y="2781"/>
                  <a:pt x="9687" y="2906"/>
                  <a:pt x="9562" y="3000"/>
                </a:cubicBezTo>
                <a:cubicBezTo>
                  <a:pt x="9531" y="3031"/>
                  <a:pt x="9500" y="3031"/>
                  <a:pt x="9500" y="3031"/>
                </a:cubicBezTo>
                <a:cubicBezTo>
                  <a:pt x="9437" y="3000"/>
                  <a:pt x="9437" y="3000"/>
                  <a:pt x="9437" y="3031"/>
                </a:cubicBezTo>
                <a:cubicBezTo>
                  <a:pt x="9406" y="3031"/>
                  <a:pt x="9375" y="3062"/>
                  <a:pt x="9375" y="3062"/>
                </a:cubicBezTo>
                <a:cubicBezTo>
                  <a:pt x="9312" y="3125"/>
                  <a:pt x="9250" y="3187"/>
                  <a:pt x="9218" y="3250"/>
                </a:cubicBezTo>
                <a:cubicBezTo>
                  <a:pt x="9281" y="3250"/>
                  <a:pt x="9312" y="3187"/>
                  <a:pt x="9343" y="3156"/>
                </a:cubicBezTo>
                <a:cubicBezTo>
                  <a:pt x="9375" y="3125"/>
                  <a:pt x="9406" y="3062"/>
                  <a:pt x="9468" y="3062"/>
                </a:cubicBezTo>
                <a:cubicBezTo>
                  <a:pt x="9281" y="3250"/>
                  <a:pt x="9093" y="3500"/>
                  <a:pt x="8937" y="3750"/>
                </a:cubicBezTo>
                <a:cubicBezTo>
                  <a:pt x="8937" y="3750"/>
                  <a:pt x="8937" y="3750"/>
                  <a:pt x="8968" y="3750"/>
                </a:cubicBezTo>
                <a:cubicBezTo>
                  <a:pt x="9125" y="3562"/>
                  <a:pt x="9281" y="3312"/>
                  <a:pt x="9500" y="3156"/>
                </a:cubicBezTo>
                <a:cubicBezTo>
                  <a:pt x="9437" y="3281"/>
                  <a:pt x="9312" y="3375"/>
                  <a:pt x="9250" y="3500"/>
                </a:cubicBezTo>
                <a:cubicBezTo>
                  <a:pt x="9343" y="3437"/>
                  <a:pt x="9437" y="3344"/>
                  <a:pt x="9531" y="3281"/>
                </a:cubicBezTo>
                <a:cubicBezTo>
                  <a:pt x="9531" y="3281"/>
                  <a:pt x="9531" y="3281"/>
                  <a:pt x="9531" y="3250"/>
                </a:cubicBezTo>
                <a:cubicBezTo>
                  <a:pt x="9562" y="3219"/>
                  <a:pt x="9593" y="3219"/>
                  <a:pt x="9625" y="3187"/>
                </a:cubicBezTo>
                <a:cubicBezTo>
                  <a:pt x="9625" y="3156"/>
                  <a:pt x="9656" y="3156"/>
                  <a:pt x="9656" y="3156"/>
                </a:cubicBezTo>
                <a:cubicBezTo>
                  <a:pt x="9656" y="3156"/>
                  <a:pt x="9656" y="3156"/>
                  <a:pt x="9656" y="3156"/>
                </a:cubicBezTo>
                <a:cubicBezTo>
                  <a:pt x="9718" y="3062"/>
                  <a:pt x="9781" y="3000"/>
                  <a:pt x="9843" y="2969"/>
                </a:cubicBezTo>
                <a:cubicBezTo>
                  <a:pt x="9906" y="2969"/>
                  <a:pt x="9906" y="2906"/>
                  <a:pt x="9937" y="2906"/>
                </a:cubicBezTo>
                <a:lnTo>
                  <a:pt x="9937" y="2906"/>
                </a:lnTo>
                <a:cubicBezTo>
                  <a:pt x="9906" y="2906"/>
                  <a:pt x="9875" y="2906"/>
                  <a:pt x="9843" y="2969"/>
                </a:cubicBezTo>
                <a:cubicBezTo>
                  <a:pt x="9812" y="3031"/>
                  <a:pt x="9750" y="3125"/>
                  <a:pt x="9656" y="3156"/>
                </a:cubicBezTo>
                <a:cubicBezTo>
                  <a:pt x="9656" y="3156"/>
                  <a:pt x="9656" y="3187"/>
                  <a:pt x="9625" y="3187"/>
                </a:cubicBezTo>
                <a:cubicBezTo>
                  <a:pt x="9625" y="3187"/>
                  <a:pt x="9625" y="3187"/>
                  <a:pt x="9625" y="3187"/>
                </a:cubicBezTo>
                <a:cubicBezTo>
                  <a:pt x="9625" y="3219"/>
                  <a:pt x="9593" y="3250"/>
                  <a:pt x="9593" y="3250"/>
                </a:cubicBezTo>
                <a:lnTo>
                  <a:pt x="9593" y="3250"/>
                </a:lnTo>
                <a:cubicBezTo>
                  <a:pt x="9562" y="3281"/>
                  <a:pt x="9562" y="3281"/>
                  <a:pt x="9531" y="3281"/>
                </a:cubicBezTo>
                <a:cubicBezTo>
                  <a:pt x="9531" y="3344"/>
                  <a:pt x="9468" y="3344"/>
                  <a:pt x="9437" y="3375"/>
                </a:cubicBezTo>
                <a:cubicBezTo>
                  <a:pt x="9281" y="3531"/>
                  <a:pt x="9156" y="3687"/>
                  <a:pt x="9031" y="3875"/>
                </a:cubicBezTo>
                <a:cubicBezTo>
                  <a:pt x="9031" y="3906"/>
                  <a:pt x="9000" y="3906"/>
                  <a:pt x="9031" y="3937"/>
                </a:cubicBezTo>
                <a:cubicBezTo>
                  <a:pt x="9062" y="3937"/>
                  <a:pt x="9062" y="3906"/>
                  <a:pt x="9062" y="3906"/>
                </a:cubicBezTo>
                <a:cubicBezTo>
                  <a:pt x="9156" y="3719"/>
                  <a:pt x="9312" y="3594"/>
                  <a:pt x="9437" y="3437"/>
                </a:cubicBezTo>
                <a:cubicBezTo>
                  <a:pt x="9468" y="3437"/>
                  <a:pt x="9468" y="3406"/>
                  <a:pt x="9531" y="3375"/>
                </a:cubicBezTo>
                <a:cubicBezTo>
                  <a:pt x="9500" y="3437"/>
                  <a:pt x="9500" y="3469"/>
                  <a:pt x="9437" y="3469"/>
                </a:cubicBezTo>
                <a:cubicBezTo>
                  <a:pt x="9437" y="3531"/>
                  <a:pt x="9375" y="3531"/>
                  <a:pt x="9375" y="3562"/>
                </a:cubicBezTo>
                <a:cubicBezTo>
                  <a:pt x="9437" y="3562"/>
                  <a:pt x="9468" y="3531"/>
                  <a:pt x="9500" y="3531"/>
                </a:cubicBezTo>
                <a:cubicBezTo>
                  <a:pt x="9500" y="3500"/>
                  <a:pt x="9500" y="3469"/>
                  <a:pt x="9531" y="3469"/>
                </a:cubicBezTo>
                <a:cubicBezTo>
                  <a:pt x="9531" y="3469"/>
                  <a:pt x="9562" y="3469"/>
                  <a:pt x="9562" y="3469"/>
                </a:cubicBezTo>
                <a:cubicBezTo>
                  <a:pt x="9562" y="3469"/>
                  <a:pt x="9562" y="3469"/>
                  <a:pt x="9562" y="3469"/>
                </a:cubicBezTo>
                <a:cubicBezTo>
                  <a:pt x="9593" y="3406"/>
                  <a:pt x="9593" y="3312"/>
                  <a:pt x="9687" y="3281"/>
                </a:cubicBezTo>
                <a:cubicBezTo>
                  <a:pt x="9656" y="3344"/>
                  <a:pt x="9656" y="3437"/>
                  <a:pt x="9562" y="3469"/>
                </a:cubicBezTo>
                <a:cubicBezTo>
                  <a:pt x="9562" y="3469"/>
                  <a:pt x="9531" y="3500"/>
                  <a:pt x="9531" y="3500"/>
                </a:cubicBezTo>
                <a:cubicBezTo>
                  <a:pt x="9531" y="3500"/>
                  <a:pt x="9531" y="3531"/>
                  <a:pt x="9500" y="3531"/>
                </a:cubicBezTo>
                <a:cubicBezTo>
                  <a:pt x="9500" y="3531"/>
                  <a:pt x="9500" y="3562"/>
                  <a:pt x="9468" y="3562"/>
                </a:cubicBezTo>
                <a:cubicBezTo>
                  <a:pt x="9281" y="3719"/>
                  <a:pt x="9125" y="3937"/>
                  <a:pt x="9031" y="4187"/>
                </a:cubicBezTo>
                <a:cubicBezTo>
                  <a:pt x="9031" y="4187"/>
                  <a:pt x="9031" y="4219"/>
                  <a:pt x="9062" y="4219"/>
                </a:cubicBezTo>
                <a:cubicBezTo>
                  <a:pt x="9093" y="4250"/>
                  <a:pt x="9062" y="4219"/>
                  <a:pt x="9093" y="4187"/>
                </a:cubicBezTo>
                <a:cubicBezTo>
                  <a:pt x="9125" y="4062"/>
                  <a:pt x="9218" y="3937"/>
                  <a:pt x="9312" y="3812"/>
                </a:cubicBezTo>
                <a:cubicBezTo>
                  <a:pt x="9312" y="3812"/>
                  <a:pt x="9312" y="3812"/>
                  <a:pt x="9343" y="3812"/>
                </a:cubicBezTo>
                <a:cubicBezTo>
                  <a:pt x="9343" y="3750"/>
                  <a:pt x="9343" y="3750"/>
                  <a:pt x="9406" y="3750"/>
                </a:cubicBezTo>
                <a:cubicBezTo>
                  <a:pt x="9375" y="3781"/>
                  <a:pt x="9375" y="3812"/>
                  <a:pt x="9343" y="3812"/>
                </a:cubicBezTo>
                <a:cubicBezTo>
                  <a:pt x="9250" y="3937"/>
                  <a:pt x="9156" y="4062"/>
                  <a:pt x="9125" y="4250"/>
                </a:cubicBezTo>
                <a:cubicBezTo>
                  <a:pt x="9156" y="4219"/>
                  <a:pt x="9156" y="4187"/>
                  <a:pt x="9187" y="4156"/>
                </a:cubicBezTo>
                <a:cubicBezTo>
                  <a:pt x="9250" y="4031"/>
                  <a:pt x="9343" y="3937"/>
                  <a:pt x="9406" y="3812"/>
                </a:cubicBezTo>
                <a:cubicBezTo>
                  <a:pt x="9437" y="3781"/>
                  <a:pt x="9468" y="3719"/>
                  <a:pt x="9531" y="3719"/>
                </a:cubicBezTo>
                <a:cubicBezTo>
                  <a:pt x="9531" y="3687"/>
                  <a:pt x="9562" y="3687"/>
                  <a:pt x="9593" y="3656"/>
                </a:cubicBezTo>
                <a:cubicBezTo>
                  <a:pt x="9562" y="3656"/>
                  <a:pt x="9562" y="3656"/>
                  <a:pt x="9593" y="3625"/>
                </a:cubicBezTo>
                <a:cubicBezTo>
                  <a:pt x="9593" y="3625"/>
                  <a:pt x="9593" y="3625"/>
                  <a:pt x="9593" y="3625"/>
                </a:cubicBezTo>
                <a:cubicBezTo>
                  <a:pt x="9593" y="3625"/>
                  <a:pt x="9562" y="3625"/>
                  <a:pt x="9562" y="3625"/>
                </a:cubicBezTo>
                <a:cubicBezTo>
                  <a:pt x="9500" y="3656"/>
                  <a:pt x="9468" y="3719"/>
                  <a:pt x="9406" y="3750"/>
                </a:cubicBezTo>
                <a:cubicBezTo>
                  <a:pt x="9406" y="3687"/>
                  <a:pt x="9468" y="3656"/>
                  <a:pt x="9500" y="3625"/>
                </a:cubicBezTo>
                <a:cubicBezTo>
                  <a:pt x="9531" y="3594"/>
                  <a:pt x="9593" y="3562"/>
                  <a:pt x="9625" y="3531"/>
                </a:cubicBezTo>
                <a:cubicBezTo>
                  <a:pt x="9625" y="3500"/>
                  <a:pt x="9656" y="3469"/>
                  <a:pt x="9687" y="3469"/>
                </a:cubicBezTo>
                <a:cubicBezTo>
                  <a:pt x="9687" y="3500"/>
                  <a:pt x="9656" y="3531"/>
                  <a:pt x="9656" y="3531"/>
                </a:cubicBezTo>
                <a:cubicBezTo>
                  <a:pt x="9656" y="3531"/>
                  <a:pt x="9656" y="3531"/>
                  <a:pt x="9656" y="3531"/>
                </a:cubicBezTo>
                <a:cubicBezTo>
                  <a:pt x="9593" y="3562"/>
                  <a:pt x="9625" y="3625"/>
                  <a:pt x="9625" y="3656"/>
                </a:cubicBezTo>
                <a:cubicBezTo>
                  <a:pt x="9687" y="3656"/>
                  <a:pt x="9687" y="3562"/>
                  <a:pt x="9750" y="3562"/>
                </a:cubicBezTo>
                <a:cubicBezTo>
                  <a:pt x="9750" y="3594"/>
                  <a:pt x="9718" y="3625"/>
                  <a:pt x="9687" y="3656"/>
                </a:cubicBezTo>
                <a:cubicBezTo>
                  <a:pt x="9656" y="3719"/>
                  <a:pt x="9656" y="3687"/>
                  <a:pt x="9625" y="3656"/>
                </a:cubicBezTo>
                <a:cubicBezTo>
                  <a:pt x="9625" y="3656"/>
                  <a:pt x="9625" y="3656"/>
                  <a:pt x="9625" y="3656"/>
                </a:cubicBezTo>
                <a:cubicBezTo>
                  <a:pt x="9625" y="3656"/>
                  <a:pt x="9593" y="3656"/>
                  <a:pt x="9593" y="3656"/>
                </a:cubicBezTo>
                <a:cubicBezTo>
                  <a:pt x="9562" y="3687"/>
                  <a:pt x="9593" y="3719"/>
                  <a:pt x="9531" y="3719"/>
                </a:cubicBezTo>
                <a:cubicBezTo>
                  <a:pt x="9531" y="3719"/>
                  <a:pt x="9531" y="3719"/>
                  <a:pt x="9531" y="3750"/>
                </a:cubicBezTo>
                <a:cubicBezTo>
                  <a:pt x="9375" y="3906"/>
                  <a:pt x="9250" y="4094"/>
                  <a:pt x="9156" y="4312"/>
                </a:cubicBezTo>
                <a:cubicBezTo>
                  <a:pt x="9125" y="4344"/>
                  <a:pt x="9125" y="4344"/>
                  <a:pt x="9125" y="4375"/>
                </a:cubicBezTo>
                <a:cubicBezTo>
                  <a:pt x="9156" y="4375"/>
                  <a:pt x="9156" y="4344"/>
                  <a:pt x="9156" y="4344"/>
                </a:cubicBezTo>
                <a:cubicBezTo>
                  <a:pt x="9218" y="4281"/>
                  <a:pt x="9218" y="4187"/>
                  <a:pt x="9281" y="4156"/>
                </a:cubicBezTo>
                <a:cubicBezTo>
                  <a:pt x="9312" y="4062"/>
                  <a:pt x="9375" y="4031"/>
                  <a:pt x="9406" y="3969"/>
                </a:cubicBezTo>
                <a:cubicBezTo>
                  <a:pt x="9468" y="3906"/>
                  <a:pt x="9531" y="3875"/>
                  <a:pt x="9593" y="3812"/>
                </a:cubicBezTo>
                <a:cubicBezTo>
                  <a:pt x="9593" y="3781"/>
                  <a:pt x="9625" y="3750"/>
                  <a:pt x="9625" y="3719"/>
                </a:cubicBezTo>
                <a:cubicBezTo>
                  <a:pt x="9656" y="3719"/>
                  <a:pt x="9656" y="3719"/>
                  <a:pt x="9656" y="3719"/>
                </a:cubicBezTo>
                <a:cubicBezTo>
                  <a:pt x="9656" y="3781"/>
                  <a:pt x="9625" y="3781"/>
                  <a:pt x="9625" y="3812"/>
                </a:cubicBezTo>
                <a:lnTo>
                  <a:pt x="9625" y="3812"/>
                </a:lnTo>
                <a:cubicBezTo>
                  <a:pt x="9625" y="3812"/>
                  <a:pt x="9593" y="3812"/>
                  <a:pt x="9593" y="3844"/>
                </a:cubicBezTo>
                <a:cubicBezTo>
                  <a:pt x="9500" y="3937"/>
                  <a:pt x="9406" y="4031"/>
                  <a:pt x="9281" y="4156"/>
                </a:cubicBezTo>
                <a:cubicBezTo>
                  <a:pt x="9281" y="4219"/>
                  <a:pt x="9218" y="4312"/>
                  <a:pt x="9187" y="4375"/>
                </a:cubicBezTo>
                <a:cubicBezTo>
                  <a:pt x="9125" y="4500"/>
                  <a:pt x="9093" y="4594"/>
                  <a:pt x="9062" y="4719"/>
                </a:cubicBezTo>
                <a:cubicBezTo>
                  <a:pt x="9031" y="4812"/>
                  <a:pt x="9000" y="4875"/>
                  <a:pt x="8937" y="4937"/>
                </a:cubicBezTo>
                <a:cubicBezTo>
                  <a:pt x="8937" y="4937"/>
                  <a:pt x="8937" y="4937"/>
                  <a:pt x="8937" y="4937"/>
                </a:cubicBezTo>
                <a:cubicBezTo>
                  <a:pt x="8906" y="5031"/>
                  <a:pt x="8875" y="5125"/>
                  <a:pt x="8812" y="5219"/>
                </a:cubicBezTo>
                <a:cubicBezTo>
                  <a:pt x="8812" y="5219"/>
                  <a:pt x="8812" y="5250"/>
                  <a:pt x="8812" y="5281"/>
                </a:cubicBezTo>
                <a:cubicBezTo>
                  <a:pt x="8812" y="5281"/>
                  <a:pt x="8843" y="5281"/>
                  <a:pt x="8843" y="5312"/>
                </a:cubicBezTo>
                <a:cubicBezTo>
                  <a:pt x="8843" y="5312"/>
                  <a:pt x="8843" y="5312"/>
                  <a:pt x="8843" y="5312"/>
                </a:cubicBezTo>
                <a:cubicBezTo>
                  <a:pt x="8875" y="5250"/>
                  <a:pt x="8906" y="5187"/>
                  <a:pt x="8906" y="5094"/>
                </a:cubicBezTo>
                <a:cubicBezTo>
                  <a:pt x="8937" y="4969"/>
                  <a:pt x="9062" y="4875"/>
                  <a:pt x="9093" y="4719"/>
                </a:cubicBezTo>
                <a:cubicBezTo>
                  <a:pt x="9125" y="4562"/>
                  <a:pt x="9187" y="4406"/>
                  <a:pt x="9312" y="4281"/>
                </a:cubicBezTo>
                <a:cubicBezTo>
                  <a:pt x="9343" y="4219"/>
                  <a:pt x="9375" y="4125"/>
                  <a:pt x="9406" y="4062"/>
                </a:cubicBezTo>
                <a:cubicBezTo>
                  <a:pt x="9468" y="4125"/>
                  <a:pt x="9375" y="4156"/>
                  <a:pt x="9406" y="4219"/>
                </a:cubicBezTo>
                <a:cubicBezTo>
                  <a:pt x="9437" y="4156"/>
                  <a:pt x="9500" y="4094"/>
                  <a:pt x="9562" y="4031"/>
                </a:cubicBezTo>
                <a:cubicBezTo>
                  <a:pt x="9593" y="4156"/>
                  <a:pt x="9500" y="4219"/>
                  <a:pt x="9468" y="4281"/>
                </a:cubicBezTo>
                <a:cubicBezTo>
                  <a:pt x="9437" y="4312"/>
                  <a:pt x="9406" y="4312"/>
                  <a:pt x="9375" y="4281"/>
                </a:cubicBezTo>
                <a:cubicBezTo>
                  <a:pt x="9343" y="4250"/>
                  <a:pt x="9343" y="4312"/>
                  <a:pt x="9312" y="4281"/>
                </a:cubicBezTo>
                <a:cubicBezTo>
                  <a:pt x="9312" y="4281"/>
                  <a:pt x="9312" y="4281"/>
                  <a:pt x="9312" y="4281"/>
                </a:cubicBezTo>
                <a:cubicBezTo>
                  <a:pt x="9312" y="4312"/>
                  <a:pt x="9312" y="4344"/>
                  <a:pt x="9312" y="4344"/>
                </a:cubicBezTo>
                <a:cubicBezTo>
                  <a:pt x="9281" y="4375"/>
                  <a:pt x="9250" y="4406"/>
                  <a:pt x="9250" y="4469"/>
                </a:cubicBezTo>
                <a:cubicBezTo>
                  <a:pt x="9250" y="4469"/>
                  <a:pt x="9250" y="4469"/>
                  <a:pt x="9250" y="4469"/>
                </a:cubicBezTo>
                <a:cubicBezTo>
                  <a:pt x="9250" y="4500"/>
                  <a:pt x="9250" y="4500"/>
                  <a:pt x="9250" y="4531"/>
                </a:cubicBezTo>
                <a:cubicBezTo>
                  <a:pt x="9250" y="4500"/>
                  <a:pt x="9250" y="4500"/>
                  <a:pt x="9250" y="4469"/>
                </a:cubicBezTo>
                <a:cubicBezTo>
                  <a:pt x="9281" y="4437"/>
                  <a:pt x="9312" y="4406"/>
                  <a:pt x="9312" y="4344"/>
                </a:cubicBezTo>
                <a:cubicBezTo>
                  <a:pt x="9343" y="4344"/>
                  <a:pt x="9343" y="4312"/>
                  <a:pt x="9375" y="4312"/>
                </a:cubicBezTo>
                <a:cubicBezTo>
                  <a:pt x="9406" y="4312"/>
                  <a:pt x="9437" y="4312"/>
                  <a:pt x="9406" y="4375"/>
                </a:cubicBezTo>
                <a:cubicBezTo>
                  <a:pt x="9406" y="4375"/>
                  <a:pt x="9375" y="4406"/>
                  <a:pt x="9406" y="4406"/>
                </a:cubicBezTo>
                <a:cubicBezTo>
                  <a:pt x="9406" y="4406"/>
                  <a:pt x="9437" y="4406"/>
                  <a:pt x="9437" y="4406"/>
                </a:cubicBezTo>
                <a:cubicBezTo>
                  <a:pt x="9468" y="4344"/>
                  <a:pt x="9500" y="4406"/>
                  <a:pt x="9500" y="4406"/>
                </a:cubicBezTo>
                <a:cubicBezTo>
                  <a:pt x="9500" y="4406"/>
                  <a:pt x="9500" y="4406"/>
                  <a:pt x="9500" y="4406"/>
                </a:cubicBezTo>
                <a:cubicBezTo>
                  <a:pt x="9468" y="4406"/>
                  <a:pt x="9437" y="4406"/>
                  <a:pt x="9437" y="4437"/>
                </a:cubicBezTo>
                <a:cubicBezTo>
                  <a:pt x="9437" y="4469"/>
                  <a:pt x="9437" y="4500"/>
                  <a:pt x="9406" y="4500"/>
                </a:cubicBezTo>
                <a:cubicBezTo>
                  <a:pt x="9406" y="4562"/>
                  <a:pt x="9406" y="4594"/>
                  <a:pt x="9406" y="4625"/>
                </a:cubicBezTo>
                <a:cubicBezTo>
                  <a:pt x="9437" y="4562"/>
                  <a:pt x="9500" y="4500"/>
                  <a:pt x="9500" y="4406"/>
                </a:cubicBezTo>
                <a:cubicBezTo>
                  <a:pt x="9500" y="4406"/>
                  <a:pt x="9500" y="4406"/>
                  <a:pt x="9500" y="4406"/>
                </a:cubicBezTo>
                <a:cubicBezTo>
                  <a:pt x="9562" y="4406"/>
                  <a:pt x="9531" y="4344"/>
                  <a:pt x="9562" y="4312"/>
                </a:cubicBezTo>
                <a:cubicBezTo>
                  <a:pt x="9593" y="4281"/>
                  <a:pt x="9625" y="4219"/>
                  <a:pt x="9687" y="4187"/>
                </a:cubicBezTo>
                <a:cubicBezTo>
                  <a:pt x="9718" y="4187"/>
                  <a:pt x="9750" y="4125"/>
                  <a:pt x="9781" y="4094"/>
                </a:cubicBezTo>
                <a:lnTo>
                  <a:pt x="9781" y="4094"/>
                </a:lnTo>
                <a:cubicBezTo>
                  <a:pt x="9781" y="4094"/>
                  <a:pt x="9812" y="4062"/>
                  <a:pt x="9812" y="4031"/>
                </a:cubicBezTo>
                <a:cubicBezTo>
                  <a:pt x="9843" y="3969"/>
                  <a:pt x="9937" y="3875"/>
                  <a:pt x="10000" y="3844"/>
                </a:cubicBezTo>
                <a:cubicBezTo>
                  <a:pt x="9937" y="3937"/>
                  <a:pt x="9906" y="4000"/>
                  <a:pt x="9812" y="4031"/>
                </a:cubicBezTo>
                <a:cubicBezTo>
                  <a:pt x="9781" y="4031"/>
                  <a:pt x="9781" y="4062"/>
                  <a:pt x="9750" y="4094"/>
                </a:cubicBezTo>
                <a:cubicBezTo>
                  <a:pt x="9718" y="4125"/>
                  <a:pt x="9687" y="4156"/>
                  <a:pt x="9687" y="4187"/>
                </a:cubicBezTo>
                <a:cubicBezTo>
                  <a:pt x="9656" y="4250"/>
                  <a:pt x="9625" y="4281"/>
                  <a:pt x="9593" y="4344"/>
                </a:cubicBezTo>
                <a:cubicBezTo>
                  <a:pt x="9593" y="4344"/>
                  <a:pt x="9593" y="4375"/>
                  <a:pt x="9593" y="4375"/>
                </a:cubicBezTo>
                <a:cubicBezTo>
                  <a:pt x="9625" y="4375"/>
                  <a:pt x="9656" y="4437"/>
                  <a:pt x="9687" y="4375"/>
                </a:cubicBezTo>
                <a:cubicBezTo>
                  <a:pt x="9687" y="4375"/>
                  <a:pt x="9687" y="4375"/>
                  <a:pt x="9687" y="4375"/>
                </a:cubicBezTo>
                <a:cubicBezTo>
                  <a:pt x="9718" y="4375"/>
                  <a:pt x="9718" y="4406"/>
                  <a:pt x="9718" y="4406"/>
                </a:cubicBezTo>
                <a:cubicBezTo>
                  <a:pt x="9656" y="4437"/>
                  <a:pt x="9656" y="4500"/>
                  <a:pt x="9718" y="4531"/>
                </a:cubicBezTo>
                <a:cubicBezTo>
                  <a:pt x="9718" y="4531"/>
                  <a:pt x="9718" y="4531"/>
                  <a:pt x="9718" y="4562"/>
                </a:cubicBezTo>
                <a:cubicBezTo>
                  <a:pt x="9687" y="4562"/>
                  <a:pt x="9687" y="4562"/>
                  <a:pt x="9687" y="4562"/>
                </a:cubicBezTo>
                <a:cubicBezTo>
                  <a:pt x="9625" y="4469"/>
                  <a:pt x="9625" y="4562"/>
                  <a:pt x="9625" y="4562"/>
                </a:cubicBezTo>
                <a:cubicBezTo>
                  <a:pt x="9593" y="4594"/>
                  <a:pt x="9593" y="4594"/>
                  <a:pt x="9593" y="4594"/>
                </a:cubicBezTo>
                <a:cubicBezTo>
                  <a:pt x="9562" y="4687"/>
                  <a:pt x="9562" y="4750"/>
                  <a:pt x="9500" y="4781"/>
                </a:cubicBezTo>
                <a:cubicBezTo>
                  <a:pt x="9468" y="4781"/>
                  <a:pt x="9468" y="4781"/>
                  <a:pt x="9468" y="4781"/>
                </a:cubicBezTo>
                <a:cubicBezTo>
                  <a:pt x="9468" y="4781"/>
                  <a:pt x="9468" y="4781"/>
                  <a:pt x="9500" y="4781"/>
                </a:cubicBezTo>
                <a:cubicBezTo>
                  <a:pt x="9500" y="4812"/>
                  <a:pt x="9468" y="4844"/>
                  <a:pt x="9468" y="4875"/>
                </a:cubicBezTo>
                <a:cubicBezTo>
                  <a:pt x="9406" y="5000"/>
                  <a:pt x="9312" y="5094"/>
                  <a:pt x="9281" y="5219"/>
                </a:cubicBezTo>
                <a:cubicBezTo>
                  <a:pt x="9218" y="5250"/>
                  <a:pt x="9218" y="5312"/>
                  <a:pt x="9187" y="5375"/>
                </a:cubicBezTo>
                <a:cubicBezTo>
                  <a:pt x="9156" y="5375"/>
                  <a:pt x="9156" y="5406"/>
                  <a:pt x="9187" y="5406"/>
                </a:cubicBezTo>
                <a:cubicBezTo>
                  <a:pt x="9187" y="5437"/>
                  <a:pt x="9187" y="5406"/>
                  <a:pt x="9218" y="5406"/>
                </a:cubicBezTo>
                <a:cubicBezTo>
                  <a:pt x="9218" y="5375"/>
                  <a:pt x="9218" y="5344"/>
                  <a:pt x="9250" y="5344"/>
                </a:cubicBezTo>
                <a:cubicBezTo>
                  <a:pt x="9218" y="5281"/>
                  <a:pt x="9281" y="5250"/>
                  <a:pt x="9281" y="5219"/>
                </a:cubicBezTo>
                <a:cubicBezTo>
                  <a:pt x="9343" y="5187"/>
                  <a:pt x="9343" y="5125"/>
                  <a:pt x="9375" y="5094"/>
                </a:cubicBezTo>
                <a:cubicBezTo>
                  <a:pt x="9375" y="5094"/>
                  <a:pt x="9406" y="5094"/>
                  <a:pt x="9406" y="5094"/>
                </a:cubicBezTo>
                <a:cubicBezTo>
                  <a:pt x="9437" y="5000"/>
                  <a:pt x="9468" y="4875"/>
                  <a:pt x="9593" y="4844"/>
                </a:cubicBezTo>
                <a:cubicBezTo>
                  <a:pt x="9593" y="4781"/>
                  <a:pt x="9625" y="4781"/>
                  <a:pt x="9656" y="4750"/>
                </a:cubicBezTo>
                <a:cubicBezTo>
                  <a:pt x="9656" y="4750"/>
                  <a:pt x="9656" y="4750"/>
                  <a:pt x="9656" y="4781"/>
                </a:cubicBezTo>
                <a:lnTo>
                  <a:pt x="9656" y="4781"/>
                </a:lnTo>
                <a:cubicBezTo>
                  <a:pt x="9656" y="4812"/>
                  <a:pt x="9625" y="4844"/>
                  <a:pt x="9593" y="4844"/>
                </a:cubicBezTo>
                <a:cubicBezTo>
                  <a:pt x="9593" y="4844"/>
                  <a:pt x="9593" y="4844"/>
                  <a:pt x="9593" y="4844"/>
                </a:cubicBezTo>
                <a:cubicBezTo>
                  <a:pt x="9593" y="4875"/>
                  <a:pt x="9625" y="4875"/>
                  <a:pt x="9625" y="4906"/>
                </a:cubicBezTo>
                <a:cubicBezTo>
                  <a:pt x="9625" y="4906"/>
                  <a:pt x="9656" y="4875"/>
                  <a:pt x="9656" y="4875"/>
                </a:cubicBezTo>
                <a:cubicBezTo>
                  <a:pt x="9687" y="4875"/>
                  <a:pt x="9687" y="4812"/>
                  <a:pt x="9718" y="4844"/>
                </a:cubicBezTo>
                <a:cubicBezTo>
                  <a:pt x="9718" y="4875"/>
                  <a:pt x="9687" y="4875"/>
                  <a:pt x="9687" y="4906"/>
                </a:cubicBezTo>
                <a:cubicBezTo>
                  <a:pt x="9656" y="4937"/>
                  <a:pt x="9625" y="4937"/>
                  <a:pt x="9625" y="4906"/>
                </a:cubicBezTo>
                <a:cubicBezTo>
                  <a:pt x="9625" y="4906"/>
                  <a:pt x="9625" y="4906"/>
                  <a:pt x="9625" y="4906"/>
                </a:cubicBezTo>
                <a:cubicBezTo>
                  <a:pt x="9562" y="4875"/>
                  <a:pt x="9531" y="4906"/>
                  <a:pt x="9500" y="4969"/>
                </a:cubicBezTo>
                <a:lnTo>
                  <a:pt x="9500" y="4969"/>
                </a:lnTo>
                <a:cubicBezTo>
                  <a:pt x="9468" y="5031"/>
                  <a:pt x="9437" y="5062"/>
                  <a:pt x="9406" y="5094"/>
                </a:cubicBezTo>
                <a:cubicBezTo>
                  <a:pt x="9406" y="5094"/>
                  <a:pt x="9375" y="5094"/>
                  <a:pt x="9375" y="5094"/>
                </a:cubicBezTo>
                <a:cubicBezTo>
                  <a:pt x="9375" y="5187"/>
                  <a:pt x="9312" y="5250"/>
                  <a:pt x="9281" y="5312"/>
                </a:cubicBezTo>
                <a:cubicBezTo>
                  <a:pt x="9312" y="5312"/>
                  <a:pt x="9312" y="5312"/>
                  <a:pt x="9343" y="5312"/>
                </a:cubicBezTo>
                <a:cubicBezTo>
                  <a:pt x="9312" y="5344"/>
                  <a:pt x="9312" y="5375"/>
                  <a:pt x="9281" y="5406"/>
                </a:cubicBezTo>
                <a:cubicBezTo>
                  <a:pt x="9312" y="5375"/>
                  <a:pt x="9312" y="5344"/>
                  <a:pt x="9343" y="5312"/>
                </a:cubicBezTo>
                <a:cubicBezTo>
                  <a:pt x="9375" y="5281"/>
                  <a:pt x="9406" y="5219"/>
                  <a:pt x="9437" y="5156"/>
                </a:cubicBezTo>
                <a:cubicBezTo>
                  <a:pt x="9468" y="5125"/>
                  <a:pt x="9500" y="5062"/>
                  <a:pt x="9562" y="5031"/>
                </a:cubicBezTo>
                <a:cubicBezTo>
                  <a:pt x="9531" y="5094"/>
                  <a:pt x="9500" y="5156"/>
                  <a:pt x="9437" y="5187"/>
                </a:cubicBezTo>
                <a:cubicBezTo>
                  <a:pt x="9437" y="5187"/>
                  <a:pt x="9437" y="5187"/>
                  <a:pt x="9437" y="5187"/>
                </a:cubicBezTo>
                <a:cubicBezTo>
                  <a:pt x="9406" y="5250"/>
                  <a:pt x="9375" y="5312"/>
                  <a:pt x="9343" y="5375"/>
                </a:cubicBezTo>
                <a:cubicBezTo>
                  <a:pt x="9343" y="5375"/>
                  <a:pt x="9312" y="5406"/>
                  <a:pt x="9343" y="5406"/>
                </a:cubicBezTo>
                <a:cubicBezTo>
                  <a:pt x="9406" y="5406"/>
                  <a:pt x="9375" y="5437"/>
                  <a:pt x="9375" y="5469"/>
                </a:cubicBezTo>
                <a:cubicBezTo>
                  <a:pt x="9343" y="5531"/>
                  <a:pt x="9281" y="5594"/>
                  <a:pt x="9312" y="5687"/>
                </a:cubicBezTo>
                <a:cubicBezTo>
                  <a:pt x="9343" y="5687"/>
                  <a:pt x="9343" y="5625"/>
                  <a:pt x="9375" y="5625"/>
                </a:cubicBezTo>
                <a:cubicBezTo>
                  <a:pt x="9406" y="5594"/>
                  <a:pt x="9406" y="5531"/>
                  <a:pt x="9500" y="5500"/>
                </a:cubicBezTo>
                <a:cubicBezTo>
                  <a:pt x="9468" y="5562"/>
                  <a:pt x="9406" y="5594"/>
                  <a:pt x="9375" y="5656"/>
                </a:cubicBezTo>
                <a:cubicBezTo>
                  <a:pt x="9375" y="5687"/>
                  <a:pt x="9343" y="5687"/>
                  <a:pt x="9343" y="5719"/>
                </a:cubicBezTo>
                <a:cubicBezTo>
                  <a:pt x="9312" y="5781"/>
                  <a:pt x="9281" y="5844"/>
                  <a:pt x="9250" y="5937"/>
                </a:cubicBezTo>
                <a:cubicBezTo>
                  <a:pt x="9250" y="5937"/>
                  <a:pt x="9218" y="5969"/>
                  <a:pt x="9250" y="5969"/>
                </a:cubicBezTo>
                <a:cubicBezTo>
                  <a:pt x="9250" y="6031"/>
                  <a:pt x="9218" y="6094"/>
                  <a:pt x="9187" y="6156"/>
                </a:cubicBezTo>
                <a:cubicBezTo>
                  <a:pt x="9218" y="6094"/>
                  <a:pt x="9250" y="6031"/>
                  <a:pt x="9250" y="5969"/>
                </a:cubicBezTo>
                <a:cubicBezTo>
                  <a:pt x="9343" y="5875"/>
                  <a:pt x="9375" y="5750"/>
                  <a:pt x="9500" y="5687"/>
                </a:cubicBezTo>
                <a:cubicBezTo>
                  <a:pt x="9500" y="5656"/>
                  <a:pt x="9531" y="5625"/>
                  <a:pt x="9562" y="5625"/>
                </a:cubicBezTo>
                <a:cubicBezTo>
                  <a:pt x="9562" y="5656"/>
                  <a:pt x="9531" y="5687"/>
                  <a:pt x="9500" y="5719"/>
                </a:cubicBezTo>
                <a:cubicBezTo>
                  <a:pt x="9500" y="5719"/>
                  <a:pt x="9500" y="5719"/>
                  <a:pt x="9500" y="5719"/>
                </a:cubicBezTo>
                <a:cubicBezTo>
                  <a:pt x="9437" y="5781"/>
                  <a:pt x="9343" y="5844"/>
                  <a:pt x="9343" y="5969"/>
                </a:cubicBezTo>
                <a:cubicBezTo>
                  <a:pt x="9406" y="5937"/>
                  <a:pt x="9437" y="5875"/>
                  <a:pt x="9468" y="5812"/>
                </a:cubicBezTo>
                <a:cubicBezTo>
                  <a:pt x="9500" y="5781"/>
                  <a:pt x="9500" y="5750"/>
                  <a:pt x="9531" y="5750"/>
                </a:cubicBezTo>
                <a:cubicBezTo>
                  <a:pt x="9625" y="5719"/>
                  <a:pt x="9656" y="5656"/>
                  <a:pt x="9687" y="5594"/>
                </a:cubicBezTo>
                <a:lnTo>
                  <a:pt x="9687" y="5594"/>
                </a:lnTo>
                <a:cubicBezTo>
                  <a:pt x="9625" y="5625"/>
                  <a:pt x="9562" y="5656"/>
                  <a:pt x="9531" y="5750"/>
                </a:cubicBezTo>
                <a:cubicBezTo>
                  <a:pt x="9531" y="5812"/>
                  <a:pt x="9468" y="5875"/>
                  <a:pt x="9406" y="5937"/>
                </a:cubicBezTo>
                <a:cubicBezTo>
                  <a:pt x="9375" y="6000"/>
                  <a:pt x="9343" y="6062"/>
                  <a:pt x="9343" y="6156"/>
                </a:cubicBezTo>
                <a:cubicBezTo>
                  <a:pt x="9343" y="6156"/>
                  <a:pt x="9343" y="6187"/>
                  <a:pt x="9343" y="6187"/>
                </a:cubicBezTo>
                <a:cubicBezTo>
                  <a:pt x="9375" y="6187"/>
                  <a:pt x="9343" y="6156"/>
                  <a:pt x="9375" y="6156"/>
                </a:cubicBezTo>
                <a:cubicBezTo>
                  <a:pt x="9406" y="6094"/>
                  <a:pt x="9437" y="6031"/>
                  <a:pt x="9500" y="5969"/>
                </a:cubicBezTo>
                <a:cubicBezTo>
                  <a:pt x="9500" y="5937"/>
                  <a:pt x="9500" y="5906"/>
                  <a:pt x="9531" y="5937"/>
                </a:cubicBezTo>
                <a:cubicBezTo>
                  <a:pt x="9562" y="5937"/>
                  <a:pt x="9531" y="5969"/>
                  <a:pt x="9531" y="5969"/>
                </a:cubicBezTo>
                <a:cubicBezTo>
                  <a:pt x="9437" y="6062"/>
                  <a:pt x="9406" y="6156"/>
                  <a:pt x="9375" y="6250"/>
                </a:cubicBezTo>
                <a:cubicBezTo>
                  <a:pt x="9343" y="6250"/>
                  <a:pt x="9343" y="6281"/>
                  <a:pt x="9343" y="6281"/>
                </a:cubicBezTo>
                <a:cubicBezTo>
                  <a:pt x="9375" y="6312"/>
                  <a:pt x="9375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250"/>
                  <a:pt x="9437" y="6219"/>
                  <a:pt x="9468" y="6187"/>
                </a:cubicBezTo>
                <a:cubicBezTo>
                  <a:pt x="9500" y="6187"/>
                  <a:pt x="9531" y="6156"/>
                  <a:pt x="9531" y="6125"/>
                </a:cubicBezTo>
                <a:lnTo>
                  <a:pt x="9531" y="6125"/>
                </a:lnTo>
                <a:cubicBezTo>
                  <a:pt x="9500" y="6156"/>
                  <a:pt x="9468" y="6156"/>
                  <a:pt x="9468" y="6187"/>
                </a:cubicBezTo>
                <a:cubicBezTo>
                  <a:pt x="9468" y="6250"/>
                  <a:pt x="9437" y="6281"/>
                  <a:pt x="9406" y="6281"/>
                </a:cubicBezTo>
                <a:cubicBezTo>
                  <a:pt x="9406" y="6281"/>
                  <a:pt x="9406" y="6281"/>
                  <a:pt x="9406" y="6281"/>
                </a:cubicBezTo>
                <a:cubicBezTo>
                  <a:pt x="9406" y="6344"/>
                  <a:pt x="9343" y="6375"/>
                  <a:pt x="9343" y="6437"/>
                </a:cubicBezTo>
                <a:cubicBezTo>
                  <a:pt x="9343" y="6437"/>
                  <a:pt x="9312" y="6469"/>
                  <a:pt x="9312" y="6469"/>
                </a:cubicBezTo>
                <a:cubicBezTo>
                  <a:pt x="9312" y="6437"/>
                  <a:pt x="9281" y="6437"/>
                  <a:pt x="9281" y="6406"/>
                </a:cubicBezTo>
                <a:cubicBezTo>
                  <a:pt x="9281" y="6437"/>
                  <a:pt x="9312" y="6437"/>
                  <a:pt x="9312" y="6469"/>
                </a:cubicBezTo>
                <a:cubicBezTo>
                  <a:pt x="9312" y="6469"/>
                  <a:pt x="9281" y="6500"/>
                  <a:pt x="9281" y="6500"/>
                </a:cubicBezTo>
                <a:cubicBezTo>
                  <a:pt x="9281" y="6531"/>
                  <a:pt x="9281" y="6531"/>
                  <a:pt x="9281" y="6531"/>
                </a:cubicBezTo>
                <a:cubicBezTo>
                  <a:pt x="9281" y="6531"/>
                  <a:pt x="9281" y="6531"/>
                  <a:pt x="9281" y="6500"/>
                </a:cubicBezTo>
                <a:cubicBezTo>
                  <a:pt x="9281" y="6531"/>
                  <a:pt x="9312" y="6531"/>
                  <a:pt x="9312" y="6531"/>
                </a:cubicBezTo>
                <a:cubicBezTo>
                  <a:pt x="9375" y="6531"/>
                  <a:pt x="9437" y="6469"/>
                  <a:pt x="9406" y="6406"/>
                </a:cubicBezTo>
                <a:cubicBezTo>
                  <a:pt x="9406" y="6406"/>
                  <a:pt x="9375" y="6437"/>
                  <a:pt x="9375" y="6469"/>
                </a:cubicBezTo>
                <a:lnTo>
                  <a:pt x="9375" y="6469"/>
                </a:lnTo>
                <a:cubicBezTo>
                  <a:pt x="9343" y="6500"/>
                  <a:pt x="9343" y="6500"/>
                  <a:pt x="9312" y="6531"/>
                </a:cubicBezTo>
                <a:cubicBezTo>
                  <a:pt x="9312" y="6562"/>
                  <a:pt x="9312" y="6594"/>
                  <a:pt x="9312" y="6625"/>
                </a:cubicBezTo>
                <a:cubicBezTo>
                  <a:pt x="9281" y="6625"/>
                  <a:pt x="9250" y="6625"/>
                  <a:pt x="9281" y="6656"/>
                </a:cubicBezTo>
                <a:cubicBezTo>
                  <a:pt x="9281" y="6656"/>
                  <a:pt x="9281" y="6656"/>
                  <a:pt x="9281" y="6656"/>
                </a:cubicBezTo>
                <a:cubicBezTo>
                  <a:pt x="9312" y="6656"/>
                  <a:pt x="9312" y="6656"/>
                  <a:pt x="9312" y="6625"/>
                </a:cubicBezTo>
                <a:cubicBezTo>
                  <a:pt x="9343" y="6625"/>
                  <a:pt x="9343" y="6625"/>
                  <a:pt x="9375" y="6594"/>
                </a:cubicBezTo>
                <a:cubicBezTo>
                  <a:pt x="9343" y="6687"/>
                  <a:pt x="9281" y="6750"/>
                  <a:pt x="9218" y="6812"/>
                </a:cubicBezTo>
                <a:cubicBezTo>
                  <a:pt x="9125" y="6906"/>
                  <a:pt x="9062" y="6969"/>
                  <a:pt x="8968" y="7062"/>
                </a:cubicBezTo>
                <a:cubicBezTo>
                  <a:pt x="8968" y="7094"/>
                  <a:pt x="8937" y="7094"/>
                  <a:pt x="8937" y="7125"/>
                </a:cubicBezTo>
                <a:cubicBezTo>
                  <a:pt x="8937" y="7125"/>
                  <a:pt x="8968" y="7156"/>
                  <a:pt x="8968" y="7125"/>
                </a:cubicBezTo>
                <a:cubicBezTo>
                  <a:pt x="8968" y="7125"/>
                  <a:pt x="9000" y="7125"/>
                  <a:pt x="9000" y="7094"/>
                </a:cubicBezTo>
                <a:cubicBezTo>
                  <a:pt x="9031" y="7062"/>
                  <a:pt x="9093" y="7031"/>
                  <a:pt x="9125" y="7000"/>
                </a:cubicBezTo>
                <a:cubicBezTo>
                  <a:pt x="9187" y="6937"/>
                  <a:pt x="9281" y="6844"/>
                  <a:pt x="9343" y="6781"/>
                </a:cubicBezTo>
                <a:lnTo>
                  <a:pt x="9343" y="6781"/>
                </a:lnTo>
                <a:cubicBezTo>
                  <a:pt x="9281" y="6844"/>
                  <a:pt x="9250" y="6969"/>
                  <a:pt x="9125" y="7031"/>
                </a:cubicBezTo>
                <a:cubicBezTo>
                  <a:pt x="9125" y="7094"/>
                  <a:pt x="9125" y="7094"/>
                  <a:pt x="9156" y="7094"/>
                </a:cubicBezTo>
                <a:cubicBezTo>
                  <a:pt x="9156" y="7094"/>
                  <a:pt x="9156" y="7094"/>
                  <a:pt x="9156" y="7094"/>
                </a:cubicBezTo>
                <a:cubicBezTo>
                  <a:pt x="9187" y="7094"/>
                  <a:pt x="9187" y="7062"/>
                  <a:pt x="9187" y="7062"/>
                </a:cubicBezTo>
                <a:cubicBezTo>
                  <a:pt x="9218" y="7000"/>
                  <a:pt x="9312" y="6969"/>
                  <a:pt x="9343" y="6937"/>
                </a:cubicBezTo>
                <a:cubicBezTo>
                  <a:pt x="9343" y="6906"/>
                  <a:pt x="9343" y="6906"/>
                  <a:pt x="9375" y="6875"/>
                </a:cubicBezTo>
                <a:cubicBezTo>
                  <a:pt x="9375" y="6875"/>
                  <a:pt x="9375" y="6875"/>
                  <a:pt x="9375" y="6875"/>
                </a:cubicBezTo>
                <a:cubicBezTo>
                  <a:pt x="9375" y="6844"/>
                  <a:pt x="9406" y="6812"/>
                  <a:pt x="9437" y="6812"/>
                </a:cubicBezTo>
                <a:cubicBezTo>
                  <a:pt x="9468" y="6875"/>
                  <a:pt x="9406" y="6875"/>
                  <a:pt x="9406" y="6906"/>
                </a:cubicBezTo>
                <a:cubicBezTo>
                  <a:pt x="9406" y="6906"/>
                  <a:pt x="9406" y="6906"/>
                  <a:pt x="9406" y="6906"/>
                </a:cubicBezTo>
                <a:cubicBezTo>
                  <a:pt x="9406" y="6906"/>
                  <a:pt x="9406" y="6906"/>
                  <a:pt x="9406" y="6906"/>
                </a:cubicBezTo>
                <a:cubicBezTo>
                  <a:pt x="9375" y="6906"/>
                  <a:pt x="9375" y="6937"/>
                  <a:pt x="9375" y="6937"/>
                </a:cubicBezTo>
                <a:cubicBezTo>
                  <a:pt x="9375" y="6937"/>
                  <a:pt x="9375" y="6937"/>
                  <a:pt x="9375" y="6937"/>
                </a:cubicBezTo>
                <a:lnTo>
                  <a:pt x="9375" y="6937"/>
                </a:lnTo>
                <a:cubicBezTo>
                  <a:pt x="9343" y="7000"/>
                  <a:pt x="9281" y="7031"/>
                  <a:pt x="9218" y="7094"/>
                </a:cubicBezTo>
                <a:cubicBezTo>
                  <a:pt x="9187" y="7156"/>
                  <a:pt x="9093" y="7187"/>
                  <a:pt x="9062" y="7250"/>
                </a:cubicBezTo>
                <a:cubicBezTo>
                  <a:pt x="9062" y="7281"/>
                  <a:pt x="9031" y="7281"/>
                  <a:pt x="9031" y="7312"/>
                </a:cubicBezTo>
                <a:cubicBezTo>
                  <a:pt x="9000" y="7312"/>
                  <a:pt x="9000" y="7344"/>
                  <a:pt x="9000" y="7375"/>
                </a:cubicBezTo>
                <a:cubicBezTo>
                  <a:pt x="9000" y="7375"/>
                  <a:pt x="9000" y="7375"/>
                  <a:pt x="9031" y="7375"/>
                </a:cubicBezTo>
                <a:cubicBezTo>
                  <a:pt x="9062" y="7375"/>
                  <a:pt x="9062" y="7375"/>
                  <a:pt x="9093" y="7344"/>
                </a:cubicBezTo>
                <a:cubicBezTo>
                  <a:pt x="9093" y="7312"/>
                  <a:pt x="9093" y="7281"/>
                  <a:pt x="9093" y="7281"/>
                </a:cubicBezTo>
                <a:cubicBezTo>
                  <a:pt x="9156" y="7312"/>
                  <a:pt x="9187" y="7219"/>
                  <a:pt x="9218" y="7219"/>
                </a:cubicBezTo>
                <a:cubicBezTo>
                  <a:pt x="9250" y="7156"/>
                  <a:pt x="9312" y="7125"/>
                  <a:pt x="9343" y="7062"/>
                </a:cubicBezTo>
                <a:cubicBezTo>
                  <a:pt x="9406" y="7031"/>
                  <a:pt x="9437" y="7000"/>
                  <a:pt x="9468" y="6906"/>
                </a:cubicBezTo>
                <a:cubicBezTo>
                  <a:pt x="9468" y="6906"/>
                  <a:pt x="9500" y="6906"/>
                  <a:pt x="9500" y="6906"/>
                </a:cubicBezTo>
                <a:cubicBezTo>
                  <a:pt x="9531" y="6906"/>
                  <a:pt x="9531" y="6937"/>
                  <a:pt x="9500" y="6937"/>
                </a:cubicBezTo>
                <a:cubicBezTo>
                  <a:pt x="9437" y="7031"/>
                  <a:pt x="9343" y="7156"/>
                  <a:pt x="9250" y="7250"/>
                </a:cubicBezTo>
                <a:cubicBezTo>
                  <a:pt x="9250" y="7250"/>
                  <a:pt x="9250" y="7250"/>
                  <a:pt x="9250" y="7250"/>
                </a:cubicBezTo>
                <a:cubicBezTo>
                  <a:pt x="9250" y="7250"/>
                  <a:pt x="9218" y="7281"/>
                  <a:pt x="9218" y="7281"/>
                </a:cubicBezTo>
                <a:cubicBezTo>
                  <a:pt x="9218" y="7281"/>
                  <a:pt x="9218" y="7281"/>
                  <a:pt x="9218" y="7281"/>
                </a:cubicBezTo>
                <a:cubicBezTo>
                  <a:pt x="9156" y="7344"/>
                  <a:pt x="9093" y="7406"/>
                  <a:pt x="9031" y="7469"/>
                </a:cubicBezTo>
                <a:cubicBezTo>
                  <a:pt x="9031" y="7469"/>
                  <a:pt x="9031" y="7500"/>
                  <a:pt x="9031" y="7500"/>
                </a:cubicBezTo>
                <a:cubicBezTo>
                  <a:pt x="9031" y="7500"/>
                  <a:pt x="9031" y="7500"/>
                  <a:pt x="9000" y="7500"/>
                </a:cubicBezTo>
                <a:cubicBezTo>
                  <a:pt x="9000" y="7500"/>
                  <a:pt x="9000" y="7500"/>
                  <a:pt x="9000" y="7500"/>
                </a:cubicBezTo>
                <a:cubicBezTo>
                  <a:pt x="9031" y="7500"/>
                  <a:pt x="9031" y="7500"/>
                  <a:pt x="9031" y="7531"/>
                </a:cubicBezTo>
                <a:cubicBezTo>
                  <a:pt x="9031" y="7500"/>
                  <a:pt x="9031" y="7500"/>
                  <a:pt x="9000" y="7500"/>
                </a:cubicBezTo>
                <a:cubicBezTo>
                  <a:pt x="9031" y="7500"/>
                  <a:pt x="9031" y="7500"/>
                  <a:pt x="9031" y="7500"/>
                </a:cubicBezTo>
                <a:cubicBezTo>
                  <a:pt x="9062" y="7500"/>
                  <a:pt x="9125" y="7531"/>
                  <a:pt x="9125" y="7469"/>
                </a:cubicBezTo>
                <a:cubicBezTo>
                  <a:pt x="9125" y="7437"/>
                  <a:pt x="9187" y="7406"/>
                  <a:pt x="9218" y="7406"/>
                </a:cubicBezTo>
                <a:cubicBezTo>
                  <a:pt x="9218" y="7375"/>
                  <a:pt x="9218" y="7375"/>
                  <a:pt x="9250" y="7375"/>
                </a:cubicBezTo>
                <a:cubicBezTo>
                  <a:pt x="9250" y="7375"/>
                  <a:pt x="9281" y="7281"/>
                  <a:pt x="9312" y="7344"/>
                </a:cubicBezTo>
                <a:cubicBezTo>
                  <a:pt x="9312" y="7344"/>
                  <a:pt x="9281" y="7375"/>
                  <a:pt x="9250" y="7406"/>
                </a:cubicBezTo>
                <a:lnTo>
                  <a:pt x="9250" y="7406"/>
                </a:lnTo>
                <a:cubicBezTo>
                  <a:pt x="9250" y="7406"/>
                  <a:pt x="9250" y="7406"/>
                  <a:pt x="9218" y="7406"/>
                </a:cubicBezTo>
                <a:cubicBezTo>
                  <a:pt x="9218" y="7406"/>
                  <a:pt x="9218" y="7437"/>
                  <a:pt x="9218" y="7437"/>
                </a:cubicBezTo>
                <a:cubicBezTo>
                  <a:pt x="9218" y="7437"/>
                  <a:pt x="9218" y="7437"/>
                  <a:pt x="9187" y="7437"/>
                </a:cubicBezTo>
                <a:cubicBezTo>
                  <a:pt x="9156" y="7531"/>
                  <a:pt x="9093" y="7562"/>
                  <a:pt x="9031" y="7625"/>
                </a:cubicBezTo>
                <a:cubicBezTo>
                  <a:pt x="8968" y="7687"/>
                  <a:pt x="8937" y="7750"/>
                  <a:pt x="8875" y="7812"/>
                </a:cubicBezTo>
                <a:cubicBezTo>
                  <a:pt x="8906" y="7812"/>
                  <a:pt x="8937" y="7781"/>
                  <a:pt x="8968" y="7781"/>
                </a:cubicBezTo>
                <a:cubicBezTo>
                  <a:pt x="8937" y="7812"/>
                  <a:pt x="8906" y="7875"/>
                  <a:pt x="8906" y="7906"/>
                </a:cubicBezTo>
                <a:cubicBezTo>
                  <a:pt x="8906" y="7875"/>
                  <a:pt x="8937" y="7812"/>
                  <a:pt x="8968" y="7781"/>
                </a:cubicBezTo>
                <a:cubicBezTo>
                  <a:pt x="8968" y="7781"/>
                  <a:pt x="8968" y="7750"/>
                  <a:pt x="9000" y="7750"/>
                </a:cubicBezTo>
                <a:cubicBezTo>
                  <a:pt x="9062" y="7719"/>
                  <a:pt x="9093" y="7625"/>
                  <a:pt x="9156" y="7594"/>
                </a:cubicBezTo>
                <a:cubicBezTo>
                  <a:pt x="9156" y="7562"/>
                  <a:pt x="9156" y="7531"/>
                  <a:pt x="9218" y="7531"/>
                </a:cubicBezTo>
                <a:cubicBezTo>
                  <a:pt x="9250" y="7562"/>
                  <a:pt x="9250" y="7531"/>
                  <a:pt x="9250" y="7500"/>
                </a:cubicBezTo>
                <a:cubicBezTo>
                  <a:pt x="9281" y="7469"/>
                  <a:pt x="9312" y="7469"/>
                  <a:pt x="9343" y="7469"/>
                </a:cubicBezTo>
                <a:cubicBezTo>
                  <a:pt x="9375" y="7375"/>
                  <a:pt x="9437" y="7344"/>
                  <a:pt x="9500" y="7281"/>
                </a:cubicBezTo>
                <a:cubicBezTo>
                  <a:pt x="9500" y="7281"/>
                  <a:pt x="9500" y="7281"/>
                  <a:pt x="9531" y="7281"/>
                </a:cubicBezTo>
                <a:cubicBezTo>
                  <a:pt x="9531" y="7281"/>
                  <a:pt x="9531" y="7312"/>
                  <a:pt x="9500" y="7312"/>
                </a:cubicBezTo>
                <a:cubicBezTo>
                  <a:pt x="9468" y="7375"/>
                  <a:pt x="9406" y="7437"/>
                  <a:pt x="9343" y="7469"/>
                </a:cubicBezTo>
                <a:cubicBezTo>
                  <a:pt x="9343" y="7469"/>
                  <a:pt x="9343" y="7469"/>
                  <a:pt x="9343" y="7469"/>
                </a:cubicBezTo>
                <a:cubicBezTo>
                  <a:pt x="9312" y="7531"/>
                  <a:pt x="9281" y="7594"/>
                  <a:pt x="9218" y="7625"/>
                </a:cubicBezTo>
                <a:cubicBezTo>
                  <a:pt x="9156" y="7656"/>
                  <a:pt x="9125" y="7719"/>
                  <a:pt x="9062" y="7750"/>
                </a:cubicBezTo>
                <a:cubicBezTo>
                  <a:pt x="9000" y="7812"/>
                  <a:pt x="9000" y="7875"/>
                  <a:pt x="8937" y="7906"/>
                </a:cubicBezTo>
                <a:cubicBezTo>
                  <a:pt x="8906" y="7937"/>
                  <a:pt x="8875" y="7969"/>
                  <a:pt x="8875" y="8000"/>
                </a:cubicBezTo>
                <a:cubicBezTo>
                  <a:pt x="8875" y="8031"/>
                  <a:pt x="8875" y="8031"/>
                  <a:pt x="8875" y="8062"/>
                </a:cubicBezTo>
                <a:cubicBezTo>
                  <a:pt x="8906" y="8062"/>
                  <a:pt x="8906" y="8062"/>
                  <a:pt x="8906" y="8031"/>
                </a:cubicBezTo>
                <a:cubicBezTo>
                  <a:pt x="8937" y="7969"/>
                  <a:pt x="9000" y="7969"/>
                  <a:pt x="9000" y="7937"/>
                </a:cubicBezTo>
                <a:cubicBezTo>
                  <a:pt x="9031" y="7844"/>
                  <a:pt x="9156" y="7844"/>
                  <a:pt x="9125" y="7750"/>
                </a:cubicBezTo>
                <a:cubicBezTo>
                  <a:pt x="9125" y="7750"/>
                  <a:pt x="9125" y="7750"/>
                  <a:pt x="9156" y="7750"/>
                </a:cubicBezTo>
                <a:cubicBezTo>
                  <a:pt x="9187" y="7750"/>
                  <a:pt x="9218" y="7719"/>
                  <a:pt x="9250" y="7687"/>
                </a:cubicBezTo>
                <a:cubicBezTo>
                  <a:pt x="9281" y="7687"/>
                  <a:pt x="9281" y="7687"/>
                  <a:pt x="9281" y="7687"/>
                </a:cubicBezTo>
                <a:cubicBezTo>
                  <a:pt x="9281" y="7719"/>
                  <a:pt x="9281" y="7719"/>
                  <a:pt x="9250" y="7719"/>
                </a:cubicBezTo>
                <a:cubicBezTo>
                  <a:pt x="9187" y="7812"/>
                  <a:pt x="9093" y="7906"/>
                  <a:pt x="9000" y="8000"/>
                </a:cubicBezTo>
                <a:cubicBezTo>
                  <a:pt x="8968" y="8000"/>
                  <a:pt x="8968" y="8031"/>
                  <a:pt x="8968" y="8062"/>
                </a:cubicBezTo>
                <a:cubicBezTo>
                  <a:pt x="8968" y="8062"/>
                  <a:pt x="8968" y="8094"/>
                  <a:pt x="8937" y="8094"/>
                </a:cubicBezTo>
                <a:cubicBezTo>
                  <a:pt x="8875" y="8156"/>
                  <a:pt x="8843" y="8250"/>
                  <a:pt x="8781" y="8312"/>
                </a:cubicBezTo>
                <a:cubicBezTo>
                  <a:pt x="8781" y="8344"/>
                  <a:pt x="8781" y="8344"/>
                  <a:pt x="8750" y="8344"/>
                </a:cubicBezTo>
                <a:cubicBezTo>
                  <a:pt x="8750" y="8344"/>
                  <a:pt x="8750" y="8312"/>
                  <a:pt x="8750" y="8312"/>
                </a:cubicBezTo>
                <a:cubicBezTo>
                  <a:pt x="8781" y="8281"/>
                  <a:pt x="8812" y="8250"/>
                  <a:pt x="8781" y="8187"/>
                </a:cubicBezTo>
                <a:cubicBezTo>
                  <a:pt x="8718" y="8250"/>
                  <a:pt x="8687" y="8281"/>
                  <a:pt x="8656" y="8344"/>
                </a:cubicBezTo>
                <a:cubicBezTo>
                  <a:pt x="8625" y="8375"/>
                  <a:pt x="8625" y="8375"/>
                  <a:pt x="8625" y="8312"/>
                </a:cubicBezTo>
                <a:cubicBezTo>
                  <a:pt x="8625" y="8312"/>
                  <a:pt x="8625" y="8312"/>
                  <a:pt x="8625" y="8312"/>
                </a:cubicBezTo>
                <a:cubicBezTo>
                  <a:pt x="8625" y="8312"/>
                  <a:pt x="8625" y="8312"/>
                  <a:pt x="8625" y="8312"/>
                </a:cubicBezTo>
                <a:cubicBezTo>
                  <a:pt x="8593" y="8344"/>
                  <a:pt x="8593" y="8375"/>
                  <a:pt x="8562" y="8437"/>
                </a:cubicBezTo>
                <a:cubicBezTo>
                  <a:pt x="8593" y="8437"/>
                  <a:pt x="8593" y="8375"/>
                  <a:pt x="8625" y="8375"/>
                </a:cubicBezTo>
                <a:cubicBezTo>
                  <a:pt x="8625" y="8469"/>
                  <a:pt x="8625" y="8500"/>
                  <a:pt x="8531" y="8500"/>
                </a:cubicBezTo>
                <a:cubicBezTo>
                  <a:pt x="8500" y="8594"/>
                  <a:pt x="8531" y="8719"/>
                  <a:pt x="8625" y="8781"/>
                </a:cubicBezTo>
                <a:cubicBezTo>
                  <a:pt x="8656" y="8812"/>
                  <a:pt x="8687" y="8812"/>
                  <a:pt x="8718" y="8781"/>
                </a:cubicBezTo>
                <a:cubicBezTo>
                  <a:pt x="8750" y="8812"/>
                  <a:pt x="8687" y="8875"/>
                  <a:pt x="8750" y="8906"/>
                </a:cubicBezTo>
                <a:cubicBezTo>
                  <a:pt x="8781" y="8875"/>
                  <a:pt x="8781" y="8844"/>
                  <a:pt x="8843" y="8844"/>
                </a:cubicBezTo>
                <a:cubicBezTo>
                  <a:pt x="8812" y="8875"/>
                  <a:pt x="8812" y="8937"/>
                  <a:pt x="8750" y="8969"/>
                </a:cubicBezTo>
                <a:cubicBezTo>
                  <a:pt x="8718" y="8937"/>
                  <a:pt x="8687" y="8937"/>
                  <a:pt x="8687" y="8906"/>
                </a:cubicBezTo>
                <a:cubicBezTo>
                  <a:pt x="8687" y="8937"/>
                  <a:pt x="8718" y="8937"/>
                  <a:pt x="8750" y="8969"/>
                </a:cubicBezTo>
                <a:cubicBezTo>
                  <a:pt x="8750" y="8969"/>
                  <a:pt x="8750" y="9000"/>
                  <a:pt x="8750" y="9000"/>
                </a:cubicBezTo>
                <a:cubicBezTo>
                  <a:pt x="8750" y="9000"/>
                  <a:pt x="8750" y="9031"/>
                  <a:pt x="8750" y="9031"/>
                </a:cubicBezTo>
                <a:cubicBezTo>
                  <a:pt x="8750" y="9031"/>
                  <a:pt x="8750" y="9000"/>
                  <a:pt x="8750" y="9000"/>
                </a:cubicBezTo>
                <a:cubicBezTo>
                  <a:pt x="8750" y="9031"/>
                  <a:pt x="8750" y="9062"/>
                  <a:pt x="8750" y="9062"/>
                </a:cubicBezTo>
                <a:cubicBezTo>
                  <a:pt x="8750" y="9125"/>
                  <a:pt x="8750" y="9156"/>
                  <a:pt x="8718" y="9187"/>
                </a:cubicBezTo>
                <a:cubicBezTo>
                  <a:pt x="8718" y="9219"/>
                  <a:pt x="8718" y="9250"/>
                  <a:pt x="8687" y="9250"/>
                </a:cubicBezTo>
                <a:cubicBezTo>
                  <a:pt x="8687" y="9250"/>
                  <a:pt x="8687" y="9250"/>
                  <a:pt x="8687" y="9250"/>
                </a:cubicBezTo>
                <a:cubicBezTo>
                  <a:pt x="8656" y="9281"/>
                  <a:pt x="8593" y="9281"/>
                  <a:pt x="8562" y="9281"/>
                </a:cubicBezTo>
                <a:cubicBezTo>
                  <a:pt x="8500" y="9312"/>
                  <a:pt x="8468" y="9281"/>
                  <a:pt x="8406" y="9281"/>
                </a:cubicBezTo>
                <a:cubicBezTo>
                  <a:pt x="8312" y="9281"/>
                  <a:pt x="8281" y="9250"/>
                  <a:pt x="8281" y="9187"/>
                </a:cubicBezTo>
                <a:cubicBezTo>
                  <a:pt x="8218" y="9187"/>
                  <a:pt x="8156" y="9250"/>
                  <a:pt x="8093" y="9281"/>
                </a:cubicBezTo>
                <a:cubicBezTo>
                  <a:pt x="8093" y="9312"/>
                  <a:pt x="8062" y="9344"/>
                  <a:pt x="8062" y="9375"/>
                </a:cubicBezTo>
                <a:cubicBezTo>
                  <a:pt x="8093" y="9406"/>
                  <a:pt x="8125" y="9375"/>
                  <a:pt x="8125" y="9344"/>
                </a:cubicBezTo>
                <a:cubicBezTo>
                  <a:pt x="8125" y="9344"/>
                  <a:pt x="8156" y="9344"/>
                  <a:pt x="8156" y="9344"/>
                </a:cubicBezTo>
                <a:cubicBezTo>
                  <a:pt x="8156" y="9375"/>
                  <a:pt x="8156" y="9375"/>
                  <a:pt x="8156" y="9375"/>
                </a:cubicBezTo>
                <a:cubicBezTo>
                  <a:pt x="8125" y="9406"/>
                  <a:pt x="8093" y="9469"/>
                  <a:pt x="8062" y="9469"/>
                </a:cubicBezTo>
                <a:cubicBezTo>
                  <a:pt x="8031" y="9500"/>
                  <a:pt x="8031" y="9500"/>
                  <a:pt x="8031" y="9531"/>
                </a:cubicBezTo>
                <a:cubicBezTo>
                  <a:pt x="8062" y="9562"/>
                  <a:pt x="8062" y="9531"/>
                  <a:pt x="8093" y="9531"/>
                </a:cubicBezTo>
                <a:cubicBezTo>
                  <a:pt x="8093" y="9531"/>
                  <a:pt x="8125" y="9531"/>
                  <a:pt x="8125" y="9531"/>
                </a:cubicBezTo>
                <a:cubicBezTo>
                  <a:pt x="8125" y="9562"/>
                  <a:pt x="8125" y="9562"/>
                  <a:pt x="8125" y="9594"/>
                </a:cubicBezTo>
                <a:cubicBezTo>
                  <a:pt x="8093" y="9594"/>
                  <a:pt x="8093" y="9594"/>
                  <a:pt x="8093" y="9594"/>
                </a:cubicBezTo>
                <a:cubicBezTo>
                  <a:pt x="8062" y="9594"/>
                  <a:pt x="8031" y="9562"/>
                  <a:pt x="8031" y="9594"/>
                </a:cubicBezTo>
                <a:cubicBezTo>
                  <a:pt x="8000" y="9594"/>
                  <a:pt x="8031" y="9625"/>
                  <a:pt x="8062" y="9625"/>
                </a:cubicBezTo>
                <a:cubicBezTo>
                  <a:pt x="8062" y="9656"/>
                  <a:pt x="8062" y="9656"/>
                  <a:pt x="8062" y="9687"/>
                </a:cubicBezTo>
                <a:cubicBezTo>
                  <a:pt x="8062" y="9687"/>
                  <a:pt x="8062" y="9687"/>
                  <a:pt x="8062" y="9687"/>
                </a:cubicBezTo>
                <a:cubicBezTo>
                  <a:pt x="8093" y="9781"/>
                  <a:pt x="8093" y="9844"/>
                  <a:pt x="8062" y="9937"/>
                </a:cubicBezTo>
                <a:cubicBezTo>
                  <a:pt x="8031" y="9937"/>
                  <a:pt x="8031" y="9969"/>
                  <a:pt x="8031" y="9969"/>
                </a:cubicBezTo>
                <a:cubicBezTo>
                  <a:pt x="8093" y="10000"/>
                  <a:pt x="8031" y="10031"/>
                  <a:pt x="8062" y="10094"/>
                </a:cubicBezTo>
                <a:cubicBezTo>
                  <a:pt x="8062" y="10094"/>
                  <a:pt x="8062" y="10062"/>
                  <a:pt x="8093" y="10062"/>
                </a:cubicBezTo>
                <a:cubicBezTo>
                  <a:pt x="8093" y="10031"/>
                  <a:pt x="8093" y="10000"/>
                  <a:pt x="8125" y="10000"/>
                </a:cubicBezTo>
                <a:cubicBezTo>
                  <a:pt x="8156" y="10000"/>
                  <a:pt x="8187" y="10031"/>
                  <a:pt x="8187" y="10062"/>
                </a:cubicBezTo>
                <a:cubicBezTo>
                  <a:pt x="8187" y="10094"/>
                  <a:pt x="8187" y="10125"/>
                  <a:pt x="8187" y="10125"/>
                </a:cubicBezTo>
                <a:cubicBezTo>
                  <a:pt x="8281" y="10125"/>
                  <a:pt x="8281" y="10156"/>
                  <a:pt x="8281" y="10219"/>
                </a:cubicBezTo>
                <a:cubicBezTo>
                  <a:pt x="8281" y="10219"/>
                  <a:pt x="8281" y="10219"/>
                  <a:pt x="8312" y="10250"/>
                </a:cubicBezTo>
                <a:cubicBezTo>
                  <a:pt x="8312" y="10219"/>
                  <a:pt x="8312" y="10187"/>
                  <a:pt x="8343" y="10219"/>
                </a:cubicBezTo>
                <a:cubicBezTo>
                  <a:pt x="8343" y="10219"/>
                  <a:pt x="8343" y="10219"/>
                  <a:pt x="8343" y="10219"/>
                </a:cubicBezTo>
                <a:lnTo>
                  <a:pt x="8343" y="10219"/>
                </a:lnTo>
                <a:cubicBezTo>
                  <a:pt x="8343" y="10250"/>
                  <a:pt x="8343" y="10250"/>
                  <a:pt x="8312" y="10250"/>
                </a:cubicBezTo>
                <a:cubicBezTo>
                  <a:pt x="8343" y="10312"/>
                  <a:pt x="8312" y="10375"/>
                  <a:pt x="8312" y="10437"/>
                </a:cubicBezTo>
                <a:cubicBezTo>
                  <a:pt x="8281" y="10437"/>
                  <a:pt x="8281" y="10406"/>
                  <a:pt x="8250" y="10406"/>
                </a:cubicBezTo>
                <a:cubicBezTo>
                  <a:pt x="8281" y="10406"/>
                  <a:pt x="8281" y="10437"/>
                  <a:pt x="8312" y="10437"/>
                </a:cubicBezTo>
                <a:cubicBezTo>
                  <a:pt x="8312" y="10437"/>
                  <a:pt x="8312" y="10437"/>
                  <a:pt x="8312" y="10437"/>
                </a:cubicBezTo>
                <a:cubicBezTo>
                  <a:pt x="8343" y="10406"/>
                  <a:pt x="8375" y="10375"/>
                  <a:pt x="8375" y="10281"/>
                </a:cubicBezTo>
                <a:cubicBezTo>
                  <a:pt x="8375" y="10281"/>
                  <a:pt x="8375" y="10281"/>
                  <a:pt x="8375" y="10281"/>
                </a:cubicBezTo>
                <a:cubicBezTo>
                  <a:pt x="8437" y="10312"/>
                  <a:pt x="8468" y="10312"/>
                  <a:pt x="8500" y="10344"/>
                </a:cubicBezTo>
                <a:cubicBezTo>
                  <a:pt x="8531" y="10344"/>
                  <a:pt x="8500" y="10375"/>
                  <a:pt x="8468" y="10406"/>
                </a:cubicBezTo>
                <a:cubicBezTo>
                  <a:pt x="8468" y="10406"/>
                  <a:pt x="8468" y="10406"/>
                  <a:pt x="8468" y="10437"/>
                </a:cubicBezTo>
                <a:cubicBezTo>
                  <a:pt x="8531" y="10469"/>
                  <a:pt x="8562" y="10469"/>
                  <a:pt x="8593" y="10375"/>
                </a:cubicBezTo>
                <a:cubicBezTo>
                  <a:pt x="8625" y="10344"/>
                  <a:pt x="8687" y="10312"/>
                  <a:pt x="8718" y="10250"/>
                </a:cubicBezTo>
                <a:cubicBezTo>
                  <a:pt x="8718" y="10250"/>
                  <a:pt x="8750" y="10250"/>
                  <a:pt x="8750" y="10250"/>
                </a:cubicBezTo>
                <a:cubicBezTo>
                  <a:pt x="8781" y="10250"/>
                  <a:pt x="8750" y="10281"/>
                  <a:pt x="8750" y="10281"/>
                </a:cubicBezTo>
                <a:cubicBezTo>
                  <a:pt x="8750" y="10312"/>
                  <a:pt x="8718" y="10312"/>
                  <a:pt x="8750" y="10344"/>
                </a:cubicBezTo>
                <a:cubicBezTo>
                  <a:pt x="8781" y="10375"/>
                  <a:pt x="8781" y="10344"/>
                  <a:pt x="8812" y="10312"/>
                </a:cubicBezTo>
                <a:cubicBezTo>
                  <a:pt x="8812" y="10281"/>
                  <a:pt x="8812" y="10281"/>
                  <a:pt x="8812" y="10312"/>
                </a:cubicBezTo>
                <a:cubicBezTo>
                  <a:pt x="8875" y="10375"/>
                  <a:pt x="8875" y="10312"/>
                  <a:pt x="8906" y="10312"/>
                </a:cubicBezTo>
                <a:cubicBezTo>
                  <a:pt x="8937" y="10281"/>
                  <a:pt x="8937" y="10250"/>
                  <a:pt x="8968" y="10250"/>
                </a:cubicBezTo>
                <a:cubicBezTo>
                  <a:pt x="8968" y="10250"/>
                  <a:pt x="8968" y="10250"/>
                  <a:pt x="8968" y="10250"/>
                </a:cubicBezTo>
                <a:cubicBezTo>
                  <a:pt x="8968" y="10219"/>
                  <a:pt x="9000" y="10219"/>
                  <a:pt x="9000" y="10187"/>
                </a:cubicBezTo>
                <a:cubicBezTo>
                  <a:pt x="9031" y="10125"/>
                  <a:pt x="9093" y="10094"/>
                  <a:pt x="9125" y="10125"/>
                </a:cubicBezTo>
                <a:cubicBezTo>
                  <a:pt x="9156" y="10156"/>
                  <a:pt x="9156" y="10125"/>
                  <a:pt x="9156" y="10125"/>
                </a:cubicBezTo>
                <a:cubicBezTo>
                  <a:pt x="9187" y="10094"/>
                  <a:pt x="9187" y="10062"/>
                  <a:pt x="9218" y="10062"/>
                </a:cubicBezTo>
                <a:cubicBezTo>
                  <a:pt x="9218" y="10125"/>
                  <a:pt x="9187" y="10156"/>
                  <a:pt x="9156" y="10187"/>
                </a:cubicBezTo>
                <a:cubicBezTo>
                  <a:pt x="9093" y="10219"/>
                  <a:pt x="9093" y="10250"/>
                  <a:pt x="9125" y="10281"/>
                </a:cubicBezTo>
                <a:cubicBezTo>
                  <a:pt x="9156" y="10281"/>
                  <a:pt x="9187" y="10281"/>
                  <a:pt x="9218" y="10250"/>
                </a:cubicBezTo>
                <a:cubicBezTo>
                  <a:pt x="9218" y="10219"/>
                  <a:pt x="9250" y="10187"/>
                  <a:pt x="9281" y="10156"/>
                </a:cubicBezTo>
                <a:cubicBezTo>
                  <a:pt x="9281" y="10156"/>
                  <a:pt x="9281" y="10094"/>
                  <a:pt x="9312" y="10125"/>
                </a:cubicBezTo>
                <a:cubicBezTo>
                  <a:pt x="9343" y="10156"/>
                  <a:pt x="9312" y="10156"/>
                  <a:pt x="9312" y="10187"/>
                </a:cubicBezTo>
                <a:cubicBezTo>
                  <a:pt x="9312" y="10219"/>
                  <a:pt x="9312" y="10219"/>
                  <a:pt x="9343" y="10250"/>
                </a:cubicBezTo>
                <a:cubicBezTo>
                  <a:pt x="9343" y="10281"/>
                  <a:pt x="9375" y="10250"/>
                  <a:pt x="9375" y="10250"/>
                </a:cubicBezTo>
                <a:cubicBezTo>
                  <a:pt x="9437" y="10219"/>
                  <a:pt x="9437" y="10281"/>
                  <a:pt x="9437" y="10281"/>
                </a:cubicBezTo>
                <a:cubicBezTo>
                  <a:pt x="9406" y="10281"/>
                  <a:pt x="9406" y="10250"/>
                  <a:pt x="9375" y="10312"/>
                </a:cubicBezTo>
                <a:cubicBezTo>
                  <a:pt x="9343" y="10344"/>
                  <a:pt x="9343" y="10375"/>
                  <a:pt x="9343" y="10406"/>
                </a:cubicBezTo>
                <a:cubicBezTo>
                  <a:pt x="9343" y="10437"/>
                  <a:pt x="9375" y="10469"/>
                  <a:pt x="9406" y="10469"/>
                </a:cubicBezTo>
                <a:lnTo>
                  <a:pt x="9406" y="10469"/>
                </a:lnTo>
                <a:cubicBezTo>
                  <a:pt x="9437" y="10437"/>
                  <a:pt x="9468" y="10469"/>
                  <a:pt x="9437" y="10531"/>
                </a:cubicBezTo>
                <a:cubicBezTo>
                  <a:pt x="9406" y="10531"/>
                  <a:pt x="9375" y="10531"/>
                  <a:pt x="9375" y="10594"/>
                </a:cubicBezTo>
                <a:lnTo>
                  <a:pt x="9375" y="10594"/>
                </a:lnTo>
                <a:cubicBezTo>
                  <a:pt x="9375" y="10594"/>
                  <a:pt x="9406" y="10594"/>
                  <a:pt x="9406" y="10594"/>
                </a:cubicBezTo>
                <a:cubicBezTo>
                  <a:pt x="9437" y="10594"/>
                  <a:pt x="9437" y="10562"/>
                  <a:pt x="9468" y="10531"/>
                </a:cubicBezTo>
                <a:cubicBezTo>
                  <a:pt x="9500" y="10531"/>
                  <a:pt x="9531" y="10500"/>
                  <a:pt x="9531" y="10469"/>
                </a:cubicBezTo>
                <a:cubicBezTo>
                  <a:pt x="9531" y="10406"/>
                  <a:pt x="9500" y="10469"/>
                  <a:pt x="9468" y="10437"/>
                </a:cubicBezTo>
                <a:cubicBezTo>
                  <a:pt x="9468" y="10437"/>
                  <a:pt x="9437" y="10437"/>
                  <a:pt x="9437" y="10437"/>
                </a:cubicBezTo>
                <a:cubicBezTo>
                  <a:pt x="9437" y="10344"/>
                  <a:pt x="9375" y="10406"/>
                  <a:pt x="9343" y="10406"/>
                </a:cubicBezTo>
                <a:cubicBezTo>
                  <a:pt x="9343" y="10406"/>
                  <a:pt x="9343" y="10406"/>
                  <a:pt x="9312" y="10406"/>
                </a:cubicBezTo>
                <a:cubicBezTo>
                  <a:pt x="9281" y="10344"/>
                  <a:pt x="9250" y="10406"/>
                  <a:pt x="9250" y="10437"/>
                </a:cubicBezTo>
                <a:cubicBezTo>
                  <a:pt x="9250" y="10500"/>
                  <a:pt x="9218" y="10500"/>
                  <a:pt x="9156" y="10500"/>
                </a:cubicBezTo>
                <a:cubicBezTo>
                  <a:pt x="9156" y="10500"/>
                  <a:pt x="9156" y="10500"/>
                  <a:pt x="9156" y="10500"/>
                </a:cubicBezTo>
                <a:cubicBezTo>
                  <a:pt x="9156" y="10500"/>
                  <a:pt x="9156" y="10500"/>
                  <a:pt x="9156" y="10500"/>
                </a:cubicBezTo>
                <a:cubicBezTo>
                  <a:pt x="9156" y="10531"/>
                  <a:pt x="9156" y="10531"/>
                  <a:pt x="9156" y="10562"/>
                </a:cubicBezTo>
                <a:cubicBezTo>
                  <a:pt x="9218" y="10594"/>
                  <a:pt x="9343" y="10562"/>
                  <a:pt x="9218" y="10656"/>
                </a:cubicBezTo>
                <a:cubicBezTo>
                  <a:pt x="9187" y="10656"/>
                  <a:pt x="9187" y="10687"/>
                  <a:pt x="9187" y="10687"/>
                </a:cubicBezTo>
                <a:cubicBezTo>
                  <a:pt x="9218" y="10719"/>
                  <a:pt x="9281" y="10750"/>
                  <a:pt x="9250" y="10844"/>
                </a:cubicBezTo>
                <a:cubicBezTo>
                  <a:pt x="9250" y="10844"/>
                  <a:pt x="9281" y="10844"/>
                  <a:pt x="9281" y="10844"/>
                </a:cubicBezTo>
                <a:cubicBezTo>
                  <a:pt x="9312" y="10844"/>
                  <a:pt x="9312" y="10812"/>
                  <a:pt x="9343" y="10844"/>
                </a:cubicBezTo>
                <a:cubicBezTo>
                  <a:pt x="9343" y="10875"/>
                  <a:pt x="9312" y="10875"/>
                  <a:pt x="9312" y="10875"/>
                </a:cubicBezTo>
                <a:cubicBezTo>
                  <a:pt x="9281" y="10906"/>
                  <a:pt x="9281" y="10906"/>
                  <a:pt x="9250" y="10875"/>
                </a:cubicBezTo>
                <a:cubicBezTo>
                  <a:pt x="9250" y="10875"/>
                  <a:pt x="9218" y="10875"/>
                  <a:pt x="9218" y="10875"/>
                </a:cubicBezTo>
                <a:cubicBezTo>
                  <a:pt x="9218" y="10875"/>
                  <a:pt x="9187" y="10875"/>
                  <a:pt x="9187" y="10906"/>
                </a:cubicBezTo>
                <a:cubicBezTo>
                  <a:pt x="9187" y="10906"/>
                  <a:pt x="9218" y="10906"/>
                  <a:pt x="9218" y="10937"/>
                </a:cubicBezTo>
                <a:cubicBezTo>
                  <a:pt x="9281" y="10937"/>
                  <a:pt x="9312" y="11000"/>
                  <a:pt x="9375" y="10969"/>
                </a:cubicBezTo>
                <a:cubicBezTo>
                  <a:pt x="9375" y="10969"/>
                  <a:pt x="9406" y="11000"/>
                  <a:pt x="9375" y="11000"/>
                </a:cubicBezTo>
                <a:cubicBezTo>
                  <a:pt x="9312" y="11031"/>
                  <a:pt x="9312" y="11156"/>
                  <a:pt x="9218" y="11156"/>
                </a:cubicBezTo>
                <a:cubicBezTo>
                  <a:pt x="9187" y="11156"/>
                  <a:pt x="9156" y="11156"/>
                  <a:pt x="9156" y="11125"/>
                </a:cubicBezTo>
                <a:cubicBezTo>
                  <a:pt x="9156" y="11156"/>
                  <a:pt x="9187" y="11156"/>
                  <a:pt x="9218" y="11156"/>
                </a:cubicBezTo>
                <a:cubicBezTo>
                  <a:pt x="9250" y="11187"/>
                  <a:pt x="9250" y="11187"/>
                  <a:pt x="9250" y="11219"/>
                </a:cubicBezTo>
                <a:cubicBezTo>
                  <a:pt x="9281" y="11187"/>
                  <a:pt x="9312" y="11156"/>
                  <a:pt x="9343" y="11187"/>
                </a:cubicBezTo>
                <a:cubicBezTo>
                  <a:pt x="9375" y="11187"/>
                  <a:pt x="9343" y="11219"/>
                  <a:pt x="9343" y="11250"/>
                </a:cubicBezTo>
                <a:cubicBezTo>
                  <a:pt x="9375" y="11250"/>
                  <a:pt x="9406" y="11250"/>
                  <a:pt x="9406" y="11250"/>
                </a:cubicBezTo>
                <a:cubicBezTo>
                  <a:pt x="9437" y="11250"/>
                  <a:pt x="9437" y="11250"/>
                  <a:pt x="9437" y="11250"/>
                </a:cubicBezTo>
                <a:cubicBezTo>
                  <a:pt x="9437" y="11281"/>
                  <a:pt x="9437" y="11281"/>
                  <a:pt x="9437" y="11281"/>
                </a:cubicBezTo>
                <a:cubicBezTo>
                  <a:pt x="9437" y="11312"/>
                  <a:pt x="9406" y="11312"/>
                  <a:pt x="9406" y="11281"/>
                </a:cubicBezTo>
                <a:cubicBezTo>
                  <a:pt x="9375" y="11281"/>
                  <a:pt x="9375" y="11281"/>
                  <a:pt x="9343" y="11250"/>
                </a:cubicBezTo>
                <a:cubicBezTo>
                  <a:pt x="9343" y="11250"/>
                  <a:pt x="9343" y="11250"/>
                  <a:pt x="9343" y="11250"/>
                </a:cubicBezTo>
                <a:cubicBezTo>
                  <a:pt x="9312" y="11250"/>
                  <a:pt x="9281" y="11250"/>
                  <a:pt x="9281" y="11312"/>
                </a:cubicBezTo>
                <a:cubicBezTo>
                  <a:pt x="9281" y="11312"/>
                  <a:pt x="9281" y="11344"/>
                  <a:pt x="9250" y="11375"/>
                </a:cubicBezTo>
                <a:cubicBezTo>
                  <a:pt x="9250" y="11375"/>
                  <a:pt x="9218" y="11406"/>
                  <a:pt x="9250" y="11437"/>
                </a:cubicBezTo>
                <a:cubicBezTo>
                  <a:pt x="9312" y="11469"/>
                  <a:pt x="9281" y="11406"/>
                  <a:pt x="9312" y="11406"/>
                </a:cubicBezTo>
                <a:cubicBezTo>
                  <a:pt x="9375" y="11500"/>
                  <a:pt x="9375" y="11594"/>
                  <a:pt x="9281" y="11687"/>
                </a:cubicBezTo>
                <a:cubicBezTo>
                  <a:pt x="9281" y="11687"/>
                  <a:pt x="9281" y="11687"/>
                  <a:pt x="9281" y="11687"/>
                </a:cubicBezTo>
                <a:cubicBezTo>
                  <a:pt x="9312" y="11750"/>
                  <a:pt x="9312" y="11750"/>
                  <a:pt x="9312" y="11781"/>
                </a:cubicBezTo>
                <a:cubicBezTo>
                  <a:pt x="9343" y="11812"/>
                  <a:pt x="9343" y="11844"/>
                  <a:pt x="9312" y="11875"/>
                </a:cubicBezTo>
                <a:cubicBezTo>
                  <a:pt x="9312" y="11906"/>
                  <a:pt x="9312" y="11937"/>
                  <a:pt x="9343" y="11937"/>
                </a:cubicBezTo>
                <a:cubicBezTo>
                  <a:pt x="9375" y="11969"/>
                  <a:pt x="9343" y="11937"/>
                  <a:pt x="9343" y="11937"/>
                </a:cubicBezTo>
                <a:cubicBezTo>
                  <a:pt x="9343" y="11875"/>
                  <a:pt x="9343" y="11844"/>
                  <a:pt x="9406" y="11844"/>
                </a:cubicBezTo>
                <a:cubicBezTo>
                  <a:pt x="9406" y="11844"/>
                  <a:pt x="9406" y="11844"/>
                  <a:pt x="9406" y="11844"/>
                </a:cubicBezTo>
                <a:cubicBezTo>
                  <a:pt x="9437" y="11812"/>
                  <a:pt x="9437" y="11750"/>
                  <a:pt x="9468" y="11781"/>
                </a:cubicBezTo>
                <a:cubicBezTo>
                  <a:pt x="9500" y="11812"/>
                  <a:pt x="9437" y="11844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68" y="11906"/>
                  <a:pt x="9500" y="11937"/>
                  <a:pt x="9468" y="11969"/>
                </a:cubicBezTo>
                <a:cubicBezTo>
                  <a:pt x="9468" y="11969"/>
                  <a:pt x="9437" y="11969"/>
                  <a:pt x="9437" y="11969"/>
                </a:cubicBezTo>
                <a:cubicBezTo>
                  <a:pt x="9375" y="11937"/>
                  <a:pt x="9406" y="11906"/>
                  <a:pt x="9406" y="11875"/>
                </a:cubicBezTo>
                <a:cubicBezTo>
                  <a:pt x="9437" y="11875"/>
                  <a:pt x="9437" y="11875"/>
                  <a:pt x="9437" y="11875"/>
                </a:cubicBezTo>
                <a:lnTo>
                  <a:pt x="9437" y="11875"/>
                </a:lnTo>
                <a:cubicBezTo>
                  <a:pt x="9468" y="11875"/>
                  <a:pt x="9500" y="11906"/>
                  <a:pt x="9531" y="11906"/>
                </a:cubicBezTo>
                <a:cubicBezTo>
                  <a:pt x="9562" y="11875"/>
                  <a:pt x="9593" y="11812"/>
                  <a:pt x="9656" y="11844"/>
                </a:cubicBezTo>
                <a:cubicBezTo>
                  <a:pt x="9656" y="11844"/>
                  <a:pt x="9687" y="11875"/>
                  <a:pt x="9687" y="11906"/>
                </a:cubicBezTo>
                <a:lnTo>
                  <a:pt x="9687" y="11906"/>
                </a:lnTo>
                <a:cubicBezTo>
                  <a:pt x="9687" y="11906"/>
                  <a:pt x="9687" y="11906"/>
                  <a:pt x="9687" y="11906"/>
                </a:cubicBezTo>
                <a:cubicBezTo>
                  <a:pt x="9656" y="11906"/>
                  <a:pt x="9656" y="11906"/>
                  <a:pt x="9656" y="11937"/>
                </a:cubicBezTo>
                <a:cubicBezTo>
                  <a:pt x="9656" y="11937"/>
                  <a:pt x="9687" y="11937"/>
                  <a:pt x="9687" y="11937"/>
                </a:cubicBezTo>
                <a:cubicBezTo>
                  <a:pt x="9687" y="11937"/>
                  <a:pt x="9687" y="11937"/>
                  <a:pt x="9687" y="11906"/>
                </a:cubicBezTo>
                <a:cubicBezTo>
                  <a:pt x="9718" y="11875"/>
                  <a:pt x="9781" y="11844"/>
                  <a:pt x="9781" y="11781"/>
                </a:cubicBezTo>
                <a:cubicBezTo>
                  <a:pt x="9750" y="11812"/>
                  <a:pt x="9718" y="11844"/>
                  <a:pt x="9656" y="11844"/>
                </a:cubicBezTo>
                <a:cubicBezTo>
                  <a:pt x="9656" y="11812"/>
                  <a:pt x="9656" y="11812"/>
                  <a:pt x="9625" y="11812"/>
                </a:cubicBezTo>
                <a:lnTo>
                  <a:pt x="9625" y="11812"/>
                </a:lnTo>
                <a:cubicBezTo>
                  <a:pt x="9593" y="11781"/>
                  <a:pt x="9562" y="11812"/>
                  <a:pt x="9531" y="11812"/>
                </a:cubicBezTo>
                <a:cubicBezTo>
                  <a:pt x="9562" y="11844"/>
                  <a:pt x="9531" y="11875"/>
                  <a:pt x="9531" y="11906"/>
                </a:cubicBezTo>
                <a:cubicBezTo>
                  <a:pt x="9531" y="11937"/>
                  <a:pt x="9468" y="12000"/>
                  <a:pt x="9531" y="12031"/>
                </a:cubicBezTo>
                <a:cubicBezTo>
                  <a:pt x="9593" y="12031"/>
                  <a:pt x="9593" y="11969"/>
                  <a:pt x="9625" y="11969"/>
                </a:cubicBezTo>
                <a:cubicBezTo>
                  <a:pt x="9625" y="12031"/>
                  <a:pt x="9562" y="12062"/>
                  <a:pt x="9531" y="12156"/>
                </a:cubicBezTo>
                <a:cubicBezTo>
                  <a:pt x="9531" y="12156"/>
                  <a:pt x="9531" y="12156"/>
                  <a:pt x="9531" y="12156"/>
                </a:cubicBezTo>
                <a:cubicBezTo>
                  <a:pt x="9625" y="12156"/>
                  <a:pt x="9656" y="12062"/>
                  <a:pt x="9718" y="12062"/>
                </a:cubicBezTo>
                <a:cubicBezTo>
                  <a:pt x="9718" y="12062"/>
                  <a:pt x="9718" y="12094"/>
                  <a:pt x="9687" y="12094"/>
                </a:cubicBezTo>
                <a:cubicBezTo>
                  <a:pt x="9656" y="12187"/>
                  <a:pt x="9562" y="12250"/>
                  <a:pt x="9531" y="12375"/>
                </a:cubicBezTo>
                <a:cubicBezTo>
                  <a:pt x="9531" y="12375"/>
                  <a:pt x="9531" y="12375"/>
                  <a:pt x="9531" y="12375"/>
                </a:cubicBezTo>
                <a:cubicBezTo>
                  <a:pt x="9593" y="12375"/>
                  <a:pt x="9656" y="12344"/>
                  <a:pt x="9656" y="12281"/>
                </a:cubicBezTo>
                <a:cubicBezTo>
                  <a:pt x="9656" y="12281"/>
                  <a:pt x="9687" y="12281"/>
                  <a:pt x="9687" y="12281"/>
                </a:cubicBezTo>
                <a:cubicBezTo>
                  <a:pt x="9687" y="12281"/>
                  <a:pt x="9687" y="12281"/>
                  <a:pt x="9687" y="12281"/>
                </a:cubicBezTo>
                <a:cubicBezTo>
                  <a:pt x="9718" y="12250"/>
                  <a:pt x="9687" y="12187"/>
                  <a:pt x="9750" y="12219"/>
                </a:cubicBezTo>
                <a:cubicBezTo>
                  <a:pt x="9781" y="12219"/>
                  <a:pt x="9718" y="12250"/>
                  <a:pt x="9718" y="12281"/>
                </a:cubicBezTo>
                <a:cubicBezTo>
                  <a:pt x="9718" y="12281"/>
                  <a:pt x="9687" y="12281"/>
                  <a:pt x="9687" y="12281"/>
                </a:cubicBezTo>
                <a:cubicBezTo>
                  <a:pt x="9687" y="12312"/>
                  <a:pt x="9656" y="12344"/>
                  <a:pt x="9625" y="12375"/>
                </a:cubicBezTo>
                <a:cubicBezTo>
                  <a:pt x="9656" y="12375"/>
                  <a:pt x="9656" y="12375"/>
                  <a:pt x="9687" y="12375"/>
                </a:cubicBezTo>
                <a:cubicBezTo>
                  <a:pt x="9718" y="12406"/>
                  <a:pt x="9750" y="12375"/>
                  <a:pt x="9750" y="12344"/>
                </a:cubicBezTo>
                <a:cubicBezTo>
                  <a:pt x="9781" y="12312"/>
                  <a:pt x="9750" y="12344"/>
                  <a:pt x="9750" y="12312"/>
                </a:cubicBezTo>
                <a:cubicBezTo>
                  <a:pt x="9718" y="12312"/>
                  <a:pt x="9718" y="12312"/>
                  <a:pt x="9718" y="12281"/>
                </a:cubicBezTo>
                <a:cubicBezTo>
                  <a:pt x="9750" y="12312"/>
                  <a:pt x="9781" y="12312"/>
                  <a:pt x="9812" y="12312"/>
                </a:cubicBezTo>
                <a:cubicBezTo>
                  <a:pt x="9812" y="12250"/>
                  <a:pt x="9843" y="12250"/>
                  <a:pt x="9875" y="12219"/>
                </a:cubicBezTo>
                <a:cubicBezTo>
                  <a:pt x="9937" y="12187"/>
                  <a:pt x="9937" y="12156"/>
                  <a:pt x="9875" y="12125"/>
                </a:cubicBezTo>
                <a:cubicBezTo>
                  <a:pt x="9843" y="12125"/>
                  <a:pt x="9812" y="12125"/>
                  <a:pt x="9843" y="12094"/>
                </a:cubicBezTo>
                <a:cubicBezTo>
                  <a:pt x="9843" y="12062"/>
                  <a:pt x="9843" y="12031"/>
                  <a:pt x="9906" y="12062"/>
                </a:cubicBezTo>
                <a:cubicBezTo>
                  <a:pt x="9906" y="12031"/>
                  <a:pt x="9875" y="12031"/>
                  <a:pt x="9906" y="12000"/>
                </a:cubicBezTo>
                <a:cubicBezTo>
                  <a:pt x="9968" y="11969"/>
                  <a:pt x="10031" y="11875"/>
                  <a:pt x="10125" y="11812"/>
                </a:cubicBezTo>
                <a:cubicBezTo>
                  <a:pt x="10125" y="11812"/>
                  <a:pt x="10125" y="11781"/>
                  <a:pt x="10125" y="11781"/>
                </a:cubicBezTo>
                <a:cubicBezTo>
                  <a:pt x="10093" y="11781"/>
                  <a:pt x="10093" y="11781"/>
                  <a:pt x="10093" y="11750"/>
                </a:cubicBezTo>
                <a:cubicBezTo>
                  <a:pt x="10093" y="11750"/>
                  <a:pt x="10125" y="11750"/>
                  <a:pt x="10125" y="11750"/>
                </a:cubicBezTo>
                <a:cubicBezTo>
                  <a:pt x="10125" y="11750"/>
                  <a:pt x="10125" y="11750"/>
                  <a:pt x="10125" y="11750"/>
                </a:cubicBezTo>
                <a:cubicBezTo>
                  <a:pt x="10156" y="11750"/>
                  <a:pt x="10187" y="11750"/>
                  <a:pt x="10218" y="11781"/>
                </a:cubicBezTo>
                <a:cubicBezTo>
                  <a:pt x="10250" y="11781"/>
                  <a:pt x="10281" y="11781"/>
                  <a:pt x="10250" y="11812"/>
                </a:cubicBezTo>
                <a:cubicBezTo>
                  <a:pt x="10250" y="11812"/>
                  <a:pt x="10218" y="11812"/>
                  <a:pt x="10218" y="11812"/>
                </a:cubicBezTo>
                <a:lnTo>
                  <a:pt x="10218" y="11812"/>
                </a:lnTo>
                <a:cubicBezTo>
                  <a:pt x="10187" y="11812"/>
                  <a:pt x="10187" y="11812"/>
                  <a:pt x="10156" y="11812"/>
                </a:cubicBezTo>
                <a:cubicBezTo>
                  <a:pt x="10062" y="11906"/>
                  <a:pt x="10000" y="11969"/>
                  <a:pt x="9906" y="12062"/>
                </a:cubicBezTo>
                <a:cubicBezTo>
                  <a:pt x="9906" y="12062"/>
                  <a:pt x="9843" y="12094"/>
                  <a:pt x="9875" y="12125"/>
                </a:cubicBezTo>
                <a:cubicBezTo>
                  <a:pt x="9906" y="12125"/>
                  <a:pt x="9968" y="12156"/>
                  <a:pt x="10000" y="12156"/>
                </a:cubicBezTo>
                <a:cubicBezTo>
                  <a:pt x="10031" y="12125"/>
                  <a:pt x="10062" y="12094"/>
                  <a:pt x="10062" y="12062"/>
                </a:cubicBezTo>
                <a:lnTo>
                  <a:pt x="10062" y="12062"/>
                </a:lnTo>
                <a:cubicBezTo>
                  <a:pt x="10062" y="12031"/>
                  <a:pt x="10031" y="12031"/>
                  <a:pt x="10000" y="12031"/>
                </a:cubicBezTo>
                <a:cubicBezTo>
                  <a:pt x="10031" y="12062"/>
                  <a:pt x="9968" y="12094"/>
                  <a:pt x="10000" y="12156"/>
                </a:cubicBezTo>
                <a:cubicBezTo>
                  <a:pt x="9968" y="12187"/>
                  <a:pt x="9937" y="12187"/>
                  <a:pt x="9906" y="12250"/>
                </a:cubicBezTo>
                <a:cubicBezTo>
                  <a:pt x="9968" y="12250"/>
                  <a:pt x="10062" y="12281"/>
                  <a:pt x="10093" y="12187"/>
                </a:cubicBezTo>
                <a:cubicBezTo>
                  <a:pt x="10093" y="12219"/>
                  <a:pt x="10062" y="12250"/>
                  <a:pt x="10125" y="12281"/>
                </a:cubicBezTo>
                <a:cubicBezTo>
                  <a:pt x="10125" y="12281"/>
                  <a:pt x="10125" y="12281"/>
                  <a:pt x="10125" y="12281"/>
                </a:cubicBezTo>
                <a:cubicBezTo>
                  <a:pt x="10062" y="12281"/>
                  <a:pt x="10000" y="12312"/>
                  <a:pt x="9968" y="12344"/>
                </a:cubicBezTo>
                <a:cubicBezTo>
                  <a:pt x="9968" y="12375"/>
                  <a:pt x="10000" y="12344"/>
                  <a:pt x="10031" y="12375"/>
                </a:cubicBezTo>
                <a:cubicBezTo>
                  <a:pt x="9937" y="12344"/>
                  <a:pt x="9906" y="12406"/>
                  <a:pt x="9875" y="12469"/>
                </a:cubicBezTo>
                <a:cubicBezTo>
                  <a:pt x="9843" y="12469"/>
                  <a:pt x="9843" y="12500"/>
                  <a:pt x="9812" y="12500"/>
                </a:cubicBezTo>
                <a:cubicBezTo>
                  <a:pt x="9812" y="12500"/>
                  <a:pt x="9812" y="12500"/>
                  <a:pt x="9812" y="12531"/>
                </a:cubicBezTo>
                <a:cubicBezTo>
                  <a:pt x="9812" y="12594"/>
                  <a:pt x="9750" y="12594"/>
                  <a:pt x="9750" y="12656"/>
                </a:cubicBezTo>
                <a:cubicBezTo>
                  <a:pt x="9812" y="12687"/>
                  <a:pt x="9843" y="12625"/>
                  <a:pt x="9875" y="12625"/>
                </a:cubicBezTo>
                <a:cubicBezTo>
                  <a:pt x="9843" y="12687"/>
                  <a:pt x="9812" y="12750"/>
                  <a:pt x="9750" y="12812"/>
                </a:cubicBezTo>
                <a:cubicBezTo>
                  <a:pt x="9750" y="12812"/>
                  <a:pt x="9750" y="12812"/>
                  <a:pt x="9750" y="12844"/>
                </a:cubicBezTo>
                <a:cubicBezTo>
                  <a:pt x="9750" y="12844"/>
                  <a:pt x="9750" y="12875"/>
                  <a:pt x="9781" y="12875"/>
                </a:cubicBezTo>
                <a:cubicBezTo>
                  <a:pt x="9781" y="12875"/>
                  <a:pt x="9781" y="12844"/>
                  <a:pt x="9781" y="12844"/>
                </a:cubicBezTo>
                <a:cubicBezTo>
                  <a:pt x="9781" y="12844"/>
                  <a:pt x="9781" y="12844"/>
                  <a:pt x="9781" y="12844"/>
                </a:cubicBezTo>
                <a:cubicBezTo>
                  <a:pt x="9781" y="12844"/>
                  <a:pt x="9750" y="12844"/>
                  <a:pt x="9750" y="12844"/>
                </a:cubicBezTo>
                <a:cubicBezTo>
                  <a:pt x="9750" y="12844"/>
                  <a:pt x="9750" y="12844"/>
                  <a:pt x="9718" y="12844"/>
                </a:cubicBezTo>
                <a:cubicBezTo>
                  <a:pt x="9750" y="12875"/>
                  <a:pt x="9750" y="12906"/>
                  <a:pt x="9781" y="12906"/>
                </a:cubicBezTo>
                <a:cubicBezTo>
                  <a:pt x="9781" y="12875"/>
                  <a:pt x="9812" y="12844"/>
                  <a:pt x="9812" y="12875"/>
                </a:cubicBezTo>
                <a:cubicBezTo>
                  <a:pt x="9812" y="12844"/>
                  <a:pt x="9812" y="12812"/>
                  <a:pt x="9781" y="12812"/>
                </a:cubicBezTo>
                <a:cubicBezTo>
                  <a:pt x="9843" y="12812"/>
                  <a:pt x="9875" y="12781"/>
                  <a:pt x="9906" y="12750"/>
                </a:cubicBezTo>
                <a:cubicBezTo>
                  <a:pt x="9906" y="12719"/>
                  <a:pt x="9843" y="12750"/>
                  <a:pt x="9875" y="12687"/>
                </a:cubicBezTo>
                <a:cubicBezTo>
                  <a:pt x="9937" y="12750"/>
                  <a:pt x="9937" y="12656"/>
                  <a:pt x="10000" y="12656"/>
                </a:cubicBezTo>
                <a:cubicBezTo>
                  <a:pt x="9968" y="12625"/>
                  <a:pt x="9968" y="12625"/>
                  <a:pt x="9937" y="12594"/>
                </a:cubicBezTo>
                <a:cubicBezTo>
                  <a:pt x="10062" y="12625"/>
                  <a:pt x="10093" y="12500"/>
                  <a:pt x="10156" y="12437"/>
                </a:cubicBezTo>
                <a:cubicBezTo>
                  <a:pt x="10187" y="12406"/>
                  <a:pt x="10125" y="12406"/>
                  <a:pt x="10125" y="12375"/>
                </a:cubicBezTo>
                <a:cubicBezTo>
                  <a:pt x="10125" y="12375"/>
                  <a:pt x="10125" y="12375"/>
                  <a:pt x="10093" y="12375"/>
                </a:cubicBezTo>
                <a:cubicBezTo>
                  <a:pt x="10093" y="12406"/>
                  <a:pt x="10062" y="12406"/>
                  <a:pt x="10062" y="12375"/>
                </a:cubicBezTo>
                <a:cubicBezTo>
                  <a:pt x="10062" y="12375"/>
                  <a:pt x="10093" y="12375"/>
                  <a:pt x="10093" y="12375"/>
                </a:cubicBezTo>
                <a:lnTo>
                  <a:pt x="10093" y="12375"/>
                </a:lnTo>
                <a:cubicBezTo>
                  <a:pt x="10093" y="12344"/>
                  <a:pt x="10125" y="12344"/>
                  <a:pt x="10125" y="12375"/>
                </a:cubicBezTo>
                <a:cubicBezTo>
                  <a:pt x="10218" y="12406"/>
                  <a:pt x="10218" y="12406"/>
                  <a:pt x="10187" y="12469"/>
                </a:cubicBezTo>
                <a:cubicBezTo>
                  <a:pt x="10156" y="12531"/>
                  <a:pt x="10218" y="12500"/>
                  <a:pt x="10218" y="12531"/>
                </a:cubicBezTo>
                <a:cubicBezTo>
                  <a:pt x="10156" y="12500"/>
                  <a:pt x="10093" y="12531"/>
                  <a:pt x="10062" y="12625"/>
                </a:cubicBezTo>
                <a:lnTo>
                  <a:pt x="10062" y="12625"/>
                </a:lnTo>
                <a:cubicBezTo>
                  <a:pt x="10125" y="12625"/>
                  <a:pt x="10187" y="12625"/>
                  <a:pt x="10250" y="12562"/>
                </a:cubicBezTo>
                <a:cubicBezTo>
                  <a:pt x="10281" y="12531"/>
                  <a:pt x="10281" y="12500"/>
                  <a:pt x="10312" y="12500"/>
                </a:cubicBezTo>
                <a:cubicBezTo>
                  <a:pt x="10375" y="12469"/>
                  <a:pt x="10437" y="12500"/>
                  <a:pt x="10500" y="12500"/>
                </a:cubicBezTo>
                <a:cubicBezTo>
                  <a:pt x="10562" y="12500"/>
                  <a:pt x="10593" y="12531"/>
                  <a:pt x="10625" y="12594"/>
                </a:cubicBezTo>
                <a:cubicBezTo>
                  <a:pt x="10625" y="12594"/>
                  <a:pt x="10656" y="12562"/>
                  <a:pt x="10656" y="12562"/>
                </a:cubicBezTo>
                <a:cubicBezTo>
                  <a:pt x="10656" y="12562"/>
                  <a:pt x="10656" y="12594"/>
                  <a:pt x="10656" y="12594"/>
                </a:cubicBezTo>
                <a:cubicBezTo>
                  <a:pt x="10656" y="12625"/>
                  <a:pt x="10625" y="12625"/>
                  <a:pt x="10625" y="12594"/>
                </a:cubicBezTo>
                <a:cubicBezTo>
                  <a:pt x="10562" y="12656"/>
                  <a:pt x="10500" y="12594"/>
                  <a:pt x="10468" y="12562"/>
                </a:cubicBezTo>
                <a:cubicBezTo>
                  <a:pt x="10437" y="12562"/>
                  <a:pt x="10468" y="12531"/>
                  <a:pt x="10437" y="12562"/>
                </a:cubicBezTo>
                <a:cubicBezTo>
                  <a:pt x="10437" y="12562"/>
                  <a:pt x="10406" y="12594"/>
                  <a:pt x="10437" y="12594"/>
                </a:cubicBezTo>
                <a:cubicBezTo>
                  <a:pt x="10531" y="12625"/>
                  <a:pt x="10531" y="12656"/>
                  <a:pt x="10468" y="12687"/>
                </a:cubicBezTo>
                <a:cubicBezTo>
                  <a:pt x="10468" y="12719"/>
                  <a:pt x="10468" y="12719"/>
                  <a:pt x="10437" y="12750"/>
                </a:cubicBezTo>
                <a:cubicBezTo>
                  <a:pt x="10468" y="12719"/>
                  <a:pt x="10500" y="12719"/>
                  <a:pt x="10500" y="12687"/>
                </a:cubicBezTo>
                <a:cubicBezTo>
                  <a:pt x="10531" y="12625"/>
                  <a:pt x="10562" y="12656"/>
                  <a:pt x="10625" y="12656"/>
                </a:cubicBezTo>
                <a:cubicBezTo>
                  <a:pt x="10625" y="12656"/>
                  <a:pt x="10656" y="12656"/>
                  <a:pt x="10656" y="12656"/>
                </a:cubicBezTo>
                <a:cubicBezTo>
                  <a:pt x="10656" y="12687"/>
                  <a:pt x="10656" y="12687"/>
                  <a:pt x="10687" y="12687"/>
                </a:cubicBezTo>
                <a:cubicBezTo>
                  <a:pt x="10687" y="12687"/>
                  <a:pt x="10718" y="12656"/>
                  <a:pt x="10718" y="12656"/>
                </a:cubicBezTo>
                <a:cubicBezTo>
                  <a:pt x="10718" y="12656"/>
                  <a:pt x="10750" y="12625"/>
                  <a:pt x="10750" y="12625"/>
                </a:cubicBezTo>
                <a:cubicBezTo>
                  <a:pt x="10781" y="12594"/>
                  <a:pt x="10781" y="12594"/>
                  <a:pt x="10781" y="12562"/>
                </a:cubicBezTo>
                <a:cubicBezTo>
                  <a:pt x="10781" y="12562"/>
                  <a:pt x="10781" y="12562"/>
                  <a:pt x="10781" y="12562"/>
                </a:cubicBezTo>
                <a:cubicBezTo>
                  <a:pt x="10781" y="12562"/>
                  <a:pt x="10750" y="12562"/>
                  <a:pt x="10750" y="12562"/>
                </a:cubicBezTo>
                <a:cubicBezTo>
                  <a:pt x="10750" y="12531"/>
                  <a:pt x="10718" y="12562"/>
                  <a:pt x="10687" y="12531"/>
                </a:cubicBezTo>
                <a:cubicBezTo>
                  <a:pt x="10687" y="12531"/>
                  <a:pt x="10687" y="12500"/>
                  <a:pt x="10687" y="12500"/>
                </a:cubicBezTo>
                <a:cubicBezTo>
                  <a:pt x="10750" y="12500"/>
                  <a:pt x="10781" y="12469"/>
                  <a:pt x="10812" y="12469"/>
                </a:cubicBezTo>
                <a:cubicBezTo>
                  <a:pt x="10812" y="12531"/>
                  <a:pt x="10843" y="12500"/>
                  <a:pt x="10875" y="12500"/>
                </a:cubicBezTo>
                <a:cubicBezTo>
                  <a:pt x="10906" y="12469"/>
                  <a:pt x="10937" y="12500"/>
                  <a:pt x="10937" y="12531"/>
                </a:cubicBezTo>
                <a:cubicBezTo>
                  <a:pt x="10968" y="12531"/>
                  <a:pt x="10937" y="12562"/>
                  <a:pt x="10906" y="12562"/>
                </a:cubicBezTo>
                <a:cubicBezTo>
                  <a:pt x="10875" y="12594"/>
                  <a:pt x="10875" y="12562"/>
                  <a:pt x="10843" y="12562"/>
                </a:cubicBezTo>
                <a:cubicBezTo>
                  <a:pt x="10843" y="12625"/>
                  <a:pt x="10937" y="12594"/>
                  <a:pt x="10937" y="12656"/>
                </a:cubicBezTo>
                <a:cubicBezTo>
                  <a:pt x="10968" y="12656"/>
                  <a:pt x="11000" y="12625"/>
                  <a:pt x="11000" y="12625"/>
                </a:cubicBezTo>
                <a:cubicBezTo>
                  <a:pt x="11031" y="12625"/>
                  <a:pt x="11031" y="12594"/>
                  <a:pt x="11031" y="12594"/>
                </a:cubicBezTo>
                <a:cubicBezTo>
                  <a:pt x="10968" y="12531"/>
                  <a:pt x="11062" y="12531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31" y="12500"/>
                  <a:pt x="11031" y="12500"/>
                  <a:pt x="11031" y="12500"/>
                </a:cubicBezTo>
                <a:cubicBezTo>
                  <a:pt x="11093" y="12469"/>
                  <a:pt x="11156" y="12469"/>
                  <a:pt x="11218" y="12469"/>
                </a:cubicBezTo>
                <a:cubicBezTo>
                  <a:pt x="11218" y="12500"/>
                  <a:pt x="11187" y="12531"/>
                  <a:pt x="11156" y="12531"/>
                </a:cubicBezTo>
                <a:cubicBezTo>
                  <a:pt x="11156" y="12562"/>
                  <a:pt x="11156" y="12562"/>
                  <a:pt x="11156" y="12562"/>
                </a:cubicBezTo>
                <a:lnTo>
                  <a:pt x="11156" y="12562"/>
                </a:lnTo>
                <a:cubicBezTo>
                  <a:pt x="11156" y="12562"/>
                  <a:pt x="11156" y="12562"/>
                  <a:pt x="11156" y="12562"/>
                </a:cubicBezTo>
                <a:cubicBezTo>
                  <a:pt x="11156" y="12562"/>
                  <a:pt x="11156" y="12562"/>
                  <a:pt x="11156" y="12531"/>
                </a:cubicBezTo>
                <a:cubicBezTo>
                  <a:pt x="11187" y="12531"/>
                  <a:pt x="11187" y="12562"/>
                  <a:pt x="11218" y="12562"/>
                </a:cubicBezTo>
                <a:cubicBezTo>
                  <a:pt x="11218" y="12594"/>
                  <a:pt x="11250" y="12625"/>
                  <a:pt x="11218" y="12656"/>
                </a:cubicBezTo>
                <a:cubicBezTo>
                  <a:pt x="11187" y="12656"/>
                  <a:pt x="11156" y="12687"/>
                  <a:pt x="11125" y="12719"/>
                </a:cubicBezTo>
                <a:cubicBezTo>
                  <a:pt x="11093" y="12719"/>
                  <a:pt x="11093" y="12687"/>
                  <a:pt x="11093" y="12719"/>
                </a:cubicBezTo>
                <a:cubicBezTo>
                  <a:pt x="11093" y="12750"/>
                  <a:pt x="11125" y="12750"/>
                  <a:pt x="11125" y="12750"/>
                </a:cubicBezTo>
                <a:cubicBezTo>
                  <a:pt x="11125" y="12750"/>
                  <a:pt x="11125" y="12750"/>
                  <a:pt x="11125" y="12750"/>
                </a:cubicBezTo>
                <a:cubicBezTo>
                  <a:pt x="11156" y="12687"/>
                  <a:pt x="11218" y="12687"/>
                  <a:pt x="11281" y="12719"/>
                </a:cubicBezTo>
                <a:cubicBezTo>
                  <a:pt x="11281" y="12687"/>
                  <a:pt x="11218" y="12656"/>
                  <a:pt x="11250" y="12625"/>
                </a:cubicBezTo>
                <a:cubicBezTo>
                  <a:pt x="11312" y="12594"/>
                  <a:pt x="11343" y="12625"/>
                  <a:pt x="11375" y="12656"/>
                </a:cubicBezTo>
                <a:cubicBezTo>
                  <a:pt x="11343" y="12687"/>
                  <a:pt x="11312" y="12719"/>
                  <a:pt x="11250" y="12750"/>
                </a:cubicBezTo>
                <a:cubicBezTo>
                  <a:pt x="11250" y="12750"/>
                  <a:pt x="11250" y="12750"/>
                  <a:pt x="11250" y="12750"/>
                </a:cubicBezTo>
                <a:cubicBezTo>
                  <a:pt x="11250" y="12750"/>
                  <a:pt x="11250" y="12750"/>
                  <a:pt x="11250" y="12750"/>
                </a:cubicBezTo>
                <a:cubicBezTo>
                  <a:pt x="11218" y="12781"/>
                  <a:pt x="11187" y="12750"/>
                  <a:pt x="11125" y="12750"/>
                </a:cubicBezTo>
                <a:lnTo>
                  <a:pt x="11125" y="12750"/>
                </a:lnTo>
                <a:cubicBezTo>
                  <a:pt x="11125" y="12750"/>
                  <a:pt x="11125" y="12750"/>
                  <a:pt x="11125" y="12750"/>
                </a:cubicBezTo>
                <a:cubicBezTo>
                  <a:pt x="11187" y="12781"/>
                  <a:pt x="11187" y="12812"/>
                  <a:pt x="11250" y="12812"/>
                </a:cubicBezTo>
                <a:cubicBezTo>
                  <a:pt x="11250" y="12844"/>
                  <a:pt x="11218" y="12906"/>
                  <a:pt x="11281" y="12937"/>
                </a:cubicBezTo>
                <a:cubicBezTo>
                  <a:pt x="11281" y="12937"/>
                  <a:pt x="11312" y="12937"/>
                  <a:pt x="11281" y="12969"/>
                </a:cubicBezTo>
                <a:cubicBezTo>
                  <a:pt x="11281" y="13000"/>
                  <a:pt x="11281" y="13000"/>
                  <a:pt x="11312" y="12969"/>
                </a:cubicBezTo>
                <a:cubicBezTo>
                  <a:pt x="11312" y="12969"/>
                  <a:pt x="11343" y="12969"/>
                  <a:pt x="11343" y="12969"/>
                </a:cubicBezTo>
                <a:cubicBezTo>
                  <a:pt x="11375" y="12937"/>
                  <a:pt x="11406" y="12937"/>
                  <a:pt x="11406" y="12969"/>
                </a:cubicBezTo>
                <a:cubicBezTo>
                  <a:pt x="11437" y="13000"/>
                  <a:pt x="11406" y="13000"/>
                  <a:pt x="11406" y="13031"/>
                </a:cubicBezTo>
                <a:cubicBezTo>
                  <a:pt x="11375" y="13031"/>
                  <a:pt x="11343" y="13031"/>
                  <a:pt x="11343" y="13062"/>
                </a:cubicBezTo>
                <a:cubicBezTo>
                  <a:pt x="11375" y="13062"/>
                  <a:pt x="11375" y="13062"/>
                  <a:pt x="11375" y="13062"/>
                </a:cubicBezTo>
                <a:cubicBezTo>
                  <a:pt x="11406" y="13062"/>
                  <a:pt x="11437" y="13125"/>
                  <a:pt x="11437" y="13031"/>
                </a:cubicBezTo>
                <a:cubicBezTo>
                  <a:pt x="11437" y="13031"/>
                  <a:pt x="11468" y="13000"/>
                  <a:pt x="11500" y="13000"/>
                </a:cubicBezTo>
                <a:cubicBezTo>
                  <a:pt x="11531" y="13000"/>
                  <a:pt x="11531" y="13000"/>
                  <a:pt x="11531" y="13031"/>
                </a:cubicBezTo>
                <a:cubicBezTo>
                  <a:pt x="11531" y="13062"/>
                  <a:pt x="11500" y="13062"/>
                  <a:pt x="11500" y="13094"/>
                </a:cubicBezTo>
                <a:cubicBezTo>
                  <a:pt x="11468" y="13094"/>
                  <a:pt x="11437" y="13094"/>
                  <a:pt x="11437" y="13125"/>
                </a:cubicBezTo>
                <a:cubicBezTo>
                  <a:pt x="11437" y="13125"/>
                  <a:pt x="11437" y="13125"/>
                  <a:pt x="11437" y="13125"/>
                </a:cubicBezTo>
                <a:cubicBezTo>
                  <a:pt x="11406" y="13125"/>
                  <a:pt x="11406" y="13156"/>
                  <a:pt x="11406" y="13187"/>
                </a:cubicBezTo>
                <a:cubicBezTo>
                  <a:pt x="11437" y="13156"/>
                  <a:pt x="11437" y="13156"/>
                  <a:pt x="11468" y="13125"/>
                </a:cubicBezTo>
                <a:cubicBezTo>
                  <a:pt x="11468" y="13125"/>
                  <a:pt x="11468" y="13125"/>
                  <a:pt x="11500" y="13125"/>
                </a:cubicBezTo>
                <a:cubicBezTo>
                  <a:pt x="11531" y="13125"/>
                  <a:pt x="11531" y="13125"/>
                  <a:pt x="11562" y="13125"/>
                </a:cubicBezTo>
                <a:cubicBezTo>
                  <a:pt x="11562" y="13156"/>
                  <a:pt x="11531" y="13187"/>
                  <a:pt x="11531" y="13187"/>
                </a:cubicBezTo>
                <a:cubicBezTo>
                  <a:pt x="11500" y="13187"/>
                  <a:pt x="11500" y="13219"/>
                  <a:pt x="11500" y="13219"/>
                </a:cubicBezTo>
                <a:cubicBezTo>
                  <a:pt x="11531" y="13219"/>
                  <a:pt x="11531" y="13219"/>
                  <a:pt x="11562" y="13219"/>
                </a:cubicBezTo>
                <a:cubicBezTo>
                  <a:pt x="11687" y="13125"/>
                  <a:pt x="11812" y="13031"/>
                  <a:pt x="11937" y="12937"/>
                </a:cubicBezTo>
                <a:cubicBezTo>
                  <a:pt x="11937" y="12937"/>
                  <a:pt x="11937" y="12937"/>
                  <a:pt x="11937" y="12937"/>
                </a:cubicBezTo>
                <a:cubicBezTo>
                  <a:pt x="11968" y="12937"/>
                  <a:pt x="12000" y="12906"/>
                  <a:pt x="12031" y="12906"/>
                </a:cubicBezTo>
                <a:cubicBezTo>
                  <a:pt x="12031" y="12906"/>
                  <a:pt x="12062" y="12937"/>
                  <a:pt x="12062" y="12937"/>
                </a:cubicBezTo>
                <a:cubicBezTo>
                  <a:pt x="12062" y="12969"/>
                  <a:pt x="12031" y="12969"/>
                  <a:pt x="12031" y="12969"/>
                </a:cubicBezTo>
                <a:cubicBezTo>
                  <a:pt x="12031" y="12969"/>
                  <a:pt x="12031" y="12969"/>
                  <a:pt x="12031" y="12969"/>
                </a:cubicBezTo>
                <a:cubicBezTo>
                  <a:pt x="11968" y="13031"/>
                  <a:pt x="11937" y="13062"/>
                  <a:pt x="11843" y="13125"/>
                </a:cubicBezTo>
                <a:cubicBezTo>
                  <a:pt x="11843" y="13125"/>
                  <a:pt x="11812" y="13156"/>
                  <a:pt x="11781" y="13156"/>
                </a:cubicBezTo>
                <a:cubicBezTo>
                  <a:pt x="11750" y="13187"/>
                  <a:pt x="11718" y="13187"/>
                  <a:pt x="11718" y="13219"/>
                </a:cubicBezTo>
                <a:lnTo>
                  <a:pt x="11718" y="13219"/>
                </a:lnTo>
                <a:cubicBezTo>
                  <a:pt x="11656" y="13219"/>
                  <a:pt x="11593" y="13250"/>
                  <a:pt x="11562" y="13312"/>
                </a:cubicBezTo>
                <a:cubicBezTo>
                  <a:pt x="11562" y="13312"/>
                  <a:pt x="11562" y="13312"/>
                  <a:pt x="11562" y="13312"/>
                </a:cubicBezTo>
                <a:cubicBezTo>
                  <a:pt x="11531" y="13312"/>
                  <a:pt x="11531" y="13312"/>
                  <a:pt x="11531" y="13344"/>
                </a:cubicBezTo>
                <a:cubicBezTo>
                  <a:pt x="11562" y="13344"/>
                  <a:pt x="11562" y="13312"/>
                  <a:pt x="11562" y="13312"/>
                </a:cubicBezTo>
                <a:cubicBezTo>
                  <a:pt x="11625" y="13312"/>
                  <a:pt x="11687" y="13312"/>
                  <a:pt x="11718" y="13219"/>
                </a:cubicBezTo>
                <a:cubicBezTo>
                  <a:pt x="11750" y="13219"/>
                  <a:pt x="11781" y="13219"/>
                  <a:pt x="11781" y="13187"/>
                </a:cubicBezTo>
                <a:cubicBezTo>
                  <a:pt x="11843" y="13187"/>
                  <a:pt x="11843" y="13156"/>
                  <a:pt x="11875" y="13125"/>
                </a:cubicBezTo>
                <a:cubicBezTo>
                  <a:pt x="11906" y="13125"/>
                  <a:pt x="11937" y="13094"/>
                  <a:pt x="11968" y="13125"/>
                </a:cubicBezTo>
                <a:cubicBezTo>
                  <a:pt x="12000" y="13156"/>
                  <a:pt x="11968" y="13187"/>
                  <a:pt x="11937" y="13219"/>
                </a:cubicBezTo>
                <a:cubicBezTo>
                  <a:pt x="11875" y="13250"/>
                  <a:pt x="11843" y="13281"/>
                  <a:pt x="11781" y="13312"/>
                </a:cubicBezTo>
                <a:cubicBezTo>
                  <a:pt x="11781" y="13312"/>
                  <a:pt x="11781" y="13312"/>
                  <a:pt x="11781" y="13312"/>
                </a:cubicBezTo>
                <a:cubicBezTo>
                  <a:pt x="11750" y="13312"/>
                  <a:pt x="11687" y="13344"/>
                  <a:pt x="11656" y="13375"/>
                </a:cubicBezTo>
                <a:cubicBezTo>
                  <a:pt x="11625" y="13375"/>
                  <a:pt x="11625" y="13375"/>
                  <a:pt x="11625" y="13406"/>
                </a:cubicBezTo>
                <a:cubicBezTo>
                  <a:pt x="11656" y="13406"/>
                  <a:pt x="11656" y="13406"/>
                  <a:pt x="11656" y="13406"/>
                </a:cubicBezTo>
                <a:cubicBezTo>
                  <a:pt x="11718" y="13375"/>
                  <a:pt x="11781" y="13375"/>
                  <a:pt x="11812" y="13312"/>
                </a:cubicBezTo>
                <a:cubicBezTo>
                  <a:pt x="11812" y="13312"/>
                  <a:pt x="11843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312"/>
                  <a:pt x="11906" y="13344"/>
                  <a:pt x="11906" y="13344"/>
                </a:cubicBezTo>
                <a:cubicBezTo>
                  <a:pt x="11906" y="13375"/>
                  <a:pt x="11875" y="13375"/>
                  <a:pt x="11843" y="13375"/>
                </a:cubicBezTo>
                <a:cubicBezTo>
                  <a:pt x="11812" y="13406"/>
                  <a:pt x="11781" y="13406"/>
                  <a:pt x="11781" y="13437"/>
                </a:cubicBezTo>
                <a:cubicBezTo>
                  <a:pt x="11781" y="13469"/>
                  <a:pt x="11843" y="13437"/>
                  <a:pt x="11843" y="13437"/>
                </a:cubicBezTo>
                <a:cubicBezTo>
                  <a:pt x="11875" y="13406"/>
                  <a:pt x="11906" y="13406"/>
                  <a:pt x="11937" y="13375"/>
                </a:cubicBezTo>
                <a:cubicBezTo>
                  <a:pt x="11968" y="13375"/>
                  <a:pt x="12000" y="13375"/>
                  <a:pt x="12031" y="13406"/>
                </a:cubicBezTo>
                <a:cubicBezTo>
                  <a:pt x="12031" y="13437"/>
                  <a:pt x="12000" y="13437"/>
                  <a:pt x="11968" y="13437"/>
                </a:cubicBezTo>
                <a:cubicBezTo>
                  <a:pt x="11937" y="13469"/>
                  <a:pt x="11906" y="13500"/>
                  <a:pt x="11875" y="13469"/>
                </a:cubicBezTo>
                <a:cubicBezTo>
                  <a:pt x="11843" y="13469"/>
                  <a:pt x="11812" y="13500"/>
                  <a:pt x="11812" y="13531"/>
                </a:cubicBezTo>
                <a:cubicBezTo>
                  <a:pt x="11812" y="13531"/>
                  <a:pt x="11843" y="13562"/>
                  <a:pt x="11843" y="13531"/>
                </a:cubicBezTo>
                <a:cubicBezTo>
                  <a:pt x="11937" y="13500"/>
                  <a:pt x="12031" y="13500"/>
                  <a:pt x="12093" y="13406"/>
                </a:cubicBezTo>
                <a:cubicBezTo>
                  <a:pt x="12156" y="13375"/>
                  <a:pt x="12187" y="13344"/>
                  <a:pt x="12250" y="13375"/>
                </a:cubicBezTo>
                <a:cubicBezTo>
                  <a:pt x="12250" y="13375"/>
                  <a:pt x="12250" y="13375"/>
                  <a:pt x="12250" y="13375"/>
                </a:cubicBezTo>
                <a:cubicBezTo>
                  <a:pt x="12250" y="13312"/>
                  <a:pt x="12250" y="13312"/>
                  <a:pt x="12281" y="13312"/>
                </a:cubicBezTo>
                <a:cubicBezTo>
                  <a:pt x="12312" y="13312"/>
                  <a:pt x="12343" y="13312"/>
                  <a:pt x="12343" y="13344"/>
                </a:cubicBezTo>
                <a:cubicBezTo>
                  <a:pt x="12312" y="13375"/>
                  <a:pt x="12281" y="13375"/>
                  <a:pt x="12250" y="13375"/>
                </a:cubicBezTo>
                <a:lnTo>
                  <a:pt x="12250" y="13375"/>
                </a:lnTo>
                <a:cubicBezTo>
                  <a:pt x="12250" y="13375"/>
                  <a:pt x="12250" y="13375"/>
                  <a:pt x="12250" y="13375"/>
                </a:cubicBezTo>
                <a:cubicBezTo>
                  <a:pt x="12250" y="13375"/>
                  <a:pt x="12250" y="13406"/>
                  <a:pt x="12250" y="13406"/>
                </a:cubicBezTo>
                <a:cubicBezTo>
                  <a:pt x="12281" y="13406"/>
                  <a:pt x="12312" y="13406"/>
                  <a:pt x="12343" y="13375"/>
                </a:cubicBezTo>
                <a:cubicBezTo>
                  <a:pt x="12375" y="13344"/>
                  <a:pt x="12437" y="13312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06" y="13406"/>
                  <a:pt x="12343" y="13406"/>
                  <a:pt x="12343" y="13469"/>
                </a:cubicBezTo>
                <a:cubicBezTo>
                  <a:pt x="12312" y="13469"/>
                  <a:pt x="12281" y="13469"/>
                  <a:pt x="12250" y="13500"/>
                </a:cubicBezTo>
                <a:cubicBezTo>
                  <a:pt x="12250" y="13562"/>
                  <a:pt x="12187" y="13562"/>
                  <a:pt x="12156" y="13562"/>
                </a:cubicBezTo>
                <a:cubicBezTo>
                  <a:pt x="12156" y="13562"/>
                  <a:pt x="12125" y="13594"/>
                  <a:pt x="12125" y="13594"/>
                </a:cubicBezTo>
                <a:cubicBezTo>
                  <a:pt x="12093" y="13594"/>
                  <a:pt x="12062" y="13594"/>
                  <a:pt x="12031" y="13594"/>
                </a:cubicBezTo>
                <a:cubicBezTo>
                  <a:pt x="12000" y="13594"/>
                  <a:pt x="12000" y="13594"/>
                  <a:pt x="12000" y="13594"/>
                </a:cubicBezTo>
                <a:cubicBezTo>
                  <a:pt x="11968" y="13594"/>
                  <a:pt x="11937" y="13625"/>
                  <a:pt x="11937" y="13594"/>
                </a:cubicBezTo>
                <a:cubicBezTo>
                  <a:pt x="11937" y="13562"/>
                  <a:pt x="11968" y="13562"/>
                  <a:pt x="12000" y="13531"/>
                </a:cubicBezTo>
                <a:cubicBezTo>
                  <a:pt x="12031" y="13500"/>
                  <a:pt x="12093" y="13500"/>
                  <a:pt x="12156" y="13469"/>
                </a:cubicBezTo>
                <a:cubicBezTo>
                  <a:pt x="12187" y="13469"/>
                  <a:pt x="12218" y="13469"/>
                  <a:pt x="12250" y="13437"/>
                </a:cubicBezTo>
                <a:lnTo>
                  <a:pt x="12250" y="13437"/>
                </a:lnTo>
                <a:cubicBezTo>
                  <a:pt x="12218" y="13437"/>
                  <a:pt x="12156" y="13437"/>
                  <a:pt x="12156" y="13469"/>
                </a:cubicBezTo>
                <a:cubicBezTo>
                  <a:pt x="12156" y="13500"/>
                  <a:pt x="12125" y="13531"/>
                  <a:pt x="12093" y="13531"/>
                </a:cubicBezTo>
                <a:lnTo>
                  <a:pt x="12093" y="13531"/>
                </a:lnTo>
                <a:cubicBezTo>
                  <a:pt x="12062" y="13531"/>
                  <a:pt x="12031" y="13562"/>
                  <a:pt x="12031" y="13594"/>
                </a:cubicBezTo>
                <a:cubicBezTo>
                  <a:pt x="11968" y="13656"/>
                  <a:pt x="11906" y="13719"/>
                  <a:pt x="11843" y="13719"/>
                </a:cubicBezTo>
                <a:cubicBezTo>
                  <a:pt x="11812" y="13750"/>
                  <a:pt x="11781" y="13719"/>
                  <a:pt x="11781" y="13750"/>
                </a:cubicBezTo>
                <a:cubicBezTo>
                  <a:pt x="11812" y="13781"/>
                  <a:pt x="11812" y="13781"/>
                  <a:pt x="11843" y="13781"/>
                </a:cubicBezTo>
                <a:cubicBezTo>
                  <a:pt x="11875" y="13750"/>
                  <a:pt x="11875" y="13781"/>
                  <a:pt x="11906" y="13781"/>
                </a:cubicBezTo>
                <a:cubicBezTo>
                  <a:pt x="11906" y="13812"/>
                  <a:pt x="11875" y="13844"/>
                  <a:pt x="11875" y="13844"/>
                </a:cubicBezTo>
                <a:cubicBezTo>
                  <a:pt x="11843" y="13844"/>
                  <a:pt x="11843" y="13844"/>
                  <a:pt x="11843" y="13875"/>
                </a:cubicBezTo>
                <a:cubicBezTo>
                  <a:pt x="11812" y="13875"/>
                  <a:pt x="11812" y="13875"/>
                  <a:pt x="11812" y="13906"/>
                </a:cubicBezTo>
                <a:cubicBezTo>
                  <a:pt x="11812" y="13937"/>
                  <a:pt x="11843" y="13906"/>
                  <a:pt x="11843" y="13937"/>
                </a:cubicBezTo>
                <a:cubicBezTo>
                  <a:pt x="11875" y="13937"/>
                  <a:pt x="11906" y="13906"/>
                  <a:pt x="11906" y="13937"/>
                </a:cubicBezTo>
                <a:cubicBezTo>
                  <a:pt x="11906" y="13969"/>
                  <a:pt x="11875" y="14000"/>
                  <a:pt x="11843" y="14000"/>
                </a:cubicBezTo>
                <a:cubicBezTo>
                  <a:pt x="11781" y="14000"/>
                  <a:pt x="11781" y="14031"/>
                  <a:pt x="11781" y="14062"/>
                </a:cubicBezTo>
                <a:cubicBezTo>
                  <a:pt x="11750" y="14062"/>
                  <a:pt x="11718" y="14094"/>
                  <a:pt x="11687" y="14094"/>
                </a:cubicBezTo>
                <a:cubicBezTo>
                  <a:pt x="11687" y="14062"/>
                  <a:pt x="11687" y="14031"/>
                  <a:pt x="11687" y="14031"/>
                </a:cubicBezTo>
                <a:cubicBezTo>
                  <a:pt x="11718" y="14000"/>
                  <a:pt x="11750" y="13969"/>
                  <a:pt x="11750" y="13969"/>
                </a:cubicBezTo>
                <a:cubicBezTo>
                  <a:pt x="11687" y="13906"/>
                  <a:pt x="11687" y="13969"/>
                  <a:pt x="11687" y="14031"/>
                </a:cubicBezTo>
                <a:cubicBezTo>
                  <a:pt x="11656" y="14031"/>
                  <a:pt x="11656" y="14031"/>
                  <a:pt x="11656" y="14000"/>
                </a:cubicBezTo>
                <a:cubicBezTo>
                  <a:pt x="11625" y="14000"/>
                  <a:pt x="11593" y="14031"/>
                  <a:pt x="11562" y="14000"/>
                </a:cubicBezTo>
                <a:cubicBezTo>
                  <a:pt x="11562" y="13969"/>
                  <a:pt x="11593" y="13937"/>
                  <a:pt x="11625" y="13937"/>
                </a:cubicBezTo>
                <a:cubicBezTo>
                  <a:pt x="11656" y="13906"/>
                  <a:pt x="11656" y="13906"/>
                  <a:pt x="11656" y="13875"/>
                </a:cubicBezTo>
                <a:cubicBezTo>
                  <a:pt x="11656" y="13875"/>
                  <a:pt x="11656" y="13875"/>
                  <a:pt x="11656" y="13875"/>
                </a:cubicBezTo>
                <a:cubicBezTo>
                  <a:pt x="11687" y="13875"/>
                  <a:pt x="11718" y="13875"/>
                  <a:pt x="11718" y="13844"/>
                </a:cubicBezTo>
                <a:cubicBezTo>
                  <a:pt x="11718" y="13844"/>
                  <a:pt x="11718" y="13844"/>
                  <a:pt x="11718" y="13844"/>
                </a:cubicBezTo>
                <a:cubicBezTo>
                  <a:pt x="11687" y="13812"/>
                  <a:pt x="11687" y="13875"/>
                  <a:pt x="11656" y="13875"/>
                </a:cubicBezTo>
                <a:cubicBezTo>
                  <a:pt x="11656" y="13875"/>
                  <a:pt x="11656" y="13875"/>
                  <a:pt x="11656" y="13875"/>
                </a:cubicBezTo>
                <a:cubicBezTo>
                  <a:pt x="11562" y="13875"/>
                  <a:pt x="11531" y="13969"/>
                  <a:pt x="11437" y="14000"/>
                </a:cubicBezTo>
                <a:cubicBezTo>
                  <a:pt x="11437" y="14000"/>
                  <a:pt x="11437" y="14000"/>
                  <a:pt x="11437" y="14031"/>
                </a:cubicBezTo>
                <a:cubicBezTo>
                  <a:pt x="11468" y="14031"/>
                  <a:pt x="11500" y="14031"/>
                  <a:pt x="11531" y="14031"/>
                </a:cubicBezTo>
                <a:cubicBezTo>
                  <a:pt x="11531" y="14031"/>
                  <a:pt x="11562" y="14031"/>
                  <a:pt x="11562" y="14031"/>
                </a:cubicBezTo>
                <a:cubicBezTo>
                  <a:pt x="11562" y="14062"/>
                  <a:pt x="11562" y="14062"/>
                  <a:pt x="11531" y="14062"/>
                </a:cubicBezTo>
                <a:cubicBezTo>
                  <a:pt x="11468" y="14094"/>
                  <a:pt x="11500" y="14125"/>
                  <a:pt x="11531" y="14125"/>
                </a:cubicBezTo>
                <a:cubicBezTo>
                  <a:pt x="11562" y="14125"/>
                  <a:pt x="11562" y="14156"/>
                  <a:pt x="11562" y="14156"/>
                </a:cubicBezTo>
                <a:cubicBezTo>
                  <a:pt x="11593" y="14219"/>
                  <a:pt x="11656" y="14219"/>
                  <a:pt x="11687" y="14281"/>
                </a:cubicBezTo>
                <a:cubicBezTo>
                  <a:pt x="11687" y="14281"/>
                  <a:pt x="11687" y="14281"/>
                  <a:pt x="11687" y="14281"/>
                </a:cubicBezTo>
                <a:cubicBezTo>
                  <a:pt x="11718" y="14250"/>
                  <a:pt x="11750" y="14281"/>
                  <a:pt x="11750" y="14250"/>
                </a:cubicBezTo>
                <a:cubicBezTo>
                  <a:pt x="11781" y="14250"/>
                  <a:pt x="11812" y="14281"/>
                  <a:pt x="11781" y="14312"/>
                </a:cubicBezTo>
                <a:cubicBezTo>
                  <a:pt x="11781" y="14344"/>
                  <a:pt x="11812" y="14437"/>
                  <a:pt x="11875" y="14437"/>
                </a:cubicBezTo>
                <a:cubicBezTo>
                  <a:pt x="11875" y="14469"/>
                  <a:pt x="11937" y="14469"/>
                  <a:pt x="11875" y="14500"/>
                </a:cubicBezTo>
                <a:cubicBezTo>
                  <a:pt x="11812" y="14500"/>
                  <a:pt x="11750" y="14562"/>
                  <a:pt x="11687" y="14594"/>
                </a:cubicBezTo>
                <a:cubicBezTo>
                  <a:pt x="11656" y="14625"/>
                  <a:pt x="11625" y="14625"/>
                  <a:pt x="11593" y="14625"/>
                </a:cubicBezTo>
                <a:cubicBezTo>
                  <a:pt x="11593" y="14656"/>
                  <a:pt x="11593" y="14625"/>
                  <a:pt x="11593" y="14625"/>
                </a:cubicBezTo>
                <a:cubicBezTo>
                  <a:pt x="11593" y="14594"/>
                  <a:pt x="11625" y="14562"/>
                  <a:pt x="11656" y="14562"/>
                </a:cubicBezTo>
                <a:cubicBezTo>
                  <a:pt x="11656" y="14531"/>
                  <a:pt x="11687" y="14531"/>
                  <a:pt x="11687" y="14500"/>
                </a:cubicBezTo>
                <a:cubicBezTo>
                  <a:pt x="11687" y="14500"/>
                  <a:pt x="11687" y="14500"/>
                  <a:pt x="11656" y="14500"/>
                </a:cubicBezTo>
                <a:cubicBezTo>
                  <a:pt x="11656" y="14500"/>
                  <a:pt x="11625" y="14500"/>
                  <a:pt x="11593" y="14531"/>
                </a:cubicBezTo>
                <a:cubicBezTo>
                  <a:pt x="11593" y="14531"/>
                  <a:pt x="11593" y="14562"/>
                  <a:pt x="11562" y="14562"/>
                </a:cubicBezTo>
                <a:cubicBezTo>
                  <a:pt x="11531" y="14562"/>
                  <a:pt x="11500" y="14625"/>
                  <a:pt x="11468" y="14594"/>
                </a:cubicBezTo>
                <a:cubicBezTo>
                  <a:pt x="11437" y="14594"/>
                  <a:pt x="11468" y="14531"/>
                  <a:pt x="11468" y="14531"/>
                </a:cubicBezTo>
                <a:cubicBezTo>
                  <a:pt x="11531" y="14531"/>
                  <a:pt x="11562" y="14469"/>
                  <a:pt x="11625" y="14437"/>
                </a:cubicBezTo>
                <a:lnTo>
                  <a:pt x="11625" y="14437"/>
                </a:lnTo>
                <a:cubicBezTo>
                  <a:pt x="11625" y="14437"/>
                  <a:pt x="11625" y="14406"/>
                  <a:pt x="11625" y="14406"/>
                </a:cubicBezTo>
                <a:cubicBezTo>
                  <a:pt x="11625" y="14406"/>
                  <a:pt x="11593" y="14406"/>
                  <a:pt x="11593" y="14406"/>
                </a:cubicBezTo>
                <a:cubicBezTo>
                  <a:pt x="11562" y="14437"/>
                  <a:pt x="11531" y="14469"/>
                  <a:pt x="11500" y="14469"/>
                </a:cubicBezTo>
                <a:cubicBezTo>
                  <a:pt x="11437" y="14469"/>
                  <a:pt x="11468" y="14500"/>
                  <a:pt x="11468" y="14531"/>
                </a:cubicBezTo>
                <a:cubicBezTo>
                  <a:pt x="11375" y="14531"/>
                  <a:pt x="11312" y="14594"/>
                  <a:pt x="11218" y="14656"/>
                </a:cubicBezTo>
                <a:cubicBezTo>
                  <a:pt x="11218" y="14656"/>
                  <a:pt x="11218" y="14656"/>
                  <a:pt x="11218" y="14687"/>
                </a:cubicBezTo>
                <a:cubicBezTo>
                  <a:pt x="11218" y="14687"/>
                  <a:pt x="11250" y="14687"/>
                  <a:pt x="11250" y="14687"/>
                </a:cubicBezTo>
                <a:cubicBezTo>
                  <a:pt x="11281" y="14625"/>
                  <a:pt x="11343" y="14656"/>
                  <a:pt x="11375" y="14594"/>
                </a:cubicBezTo>
                <a:cubicBezTo>
                  <a:pt x="11375" y="14562"/>
                  <a:pt x="11406" y="14594"/>
                  <a:pt x="11406" y="14594"/>
                </a:cubicBezTo>
                <a:cubicBezTo>
                  <a:pt x="11437" y="14594"/>
                  <a:pt x="11437" y="14594"/>
                  <a:pt x="11437" y="14625"/>
                </a:cubicBezTo>
                <a:cubicBezTo>
                  <a:pt x="11437" y="14656"/>
                  <a:pt x="11406" y="14625"/>
                  <a:pt x="11406" y="14656"/>
                </a:cubicBezTo>
                <a:cubicBezTo>
                  <a:pt x="11375" y="14656"/>
                  <a:pt x="11343" y="14687"/>
                  <a:pt x="11312" y="14719"/>
                </a:cubicBezTo>
                <a:cubicBezTo>
                  <a:pt x="11281" y="14719"/>
                  <a:pt x="11281" y="14750"/>
                  <a:pt x="11312" y="14750"/>
                </a:cubicBezTo>
                <a:cubicBezTo>
                  <a:pt x="11343" y="14750"/>
                  <a:pt x="11343" y="14750"/>
                  <a:pt x="11375" y="14781"/>
                </a:cubicBezTo>
                <a:cubicBezTo>
                  <a:pt x="11375" y="14781"/>
                  <a:pt x="11375" y="14812"/>
                  <a:pt x="11375" y="14844"/>
                </a:cubicBezTo>
                <a:cubicBezTo>
                  <a:pt x="11406" y="14844"/>
                  <a:pt x="11437" y="14812"/>
                  <a:pt x="11437" y="14812"/>
                </a:cubicBezTo>
                <a:cubicBezTo>
                  <a:pt x="11500" y="14750"/>
                  <a:pt x="11562" y="14750"/>
                  <a:pt x="11625" y="14719"/>
                </a:cubicBezTo>
                <a:cubicBezTo>
                  <a:pt x="11656" y="14719"/>
                  <a:pt x="11687" y="14687"/>
                  <a:pt x="11687" y="14656"/>
                </a:cubicBezTo>
                <a:cubicBezTo>
                  <a:pt x="11718" y="14594"/>
                  <a:pt x="11781" y="14594"/>
                  <a:pt x="11812" y="14625"/>
                </a:cubicBezTo>
                <a:cubicBezTo>
                  <a:pt x="11875" y="14687"/>
                  <a:pt x="11906" y="14656"/>
                  <a:pt x="11968" y="14687"/>
                </a:cubicBezTo>
                <a:cubicBezTo>
                  <a:pt x="11968" y="14719"/>
                  <a:pt x="12000" y="14719"/>
                  <a:pt x="12031" y="14719"/>
                </a:cubicBezTo>
                <a:cubicBezTo>
                  <a:pt x="12062" y="14719"/>
                  <a:pt x="12062" y="14719"/>
                  <a:pt x="12062" y="14656"/>
                </a:cubicBezTo>
                <a:cubicBezTo>
                  <a:pt x="12093" y="14656"/>
                  <a:pt x="12093" y="14656"/>
                  <a:pt x="12125" y="14656"/>
                </a:cubicBezTo>
                <a:cubicBezTo>
                  <a:pt x="12125" y="14687"/>
                  <a:pt x="12125" y="14719"/>
                  <a:pt x="12125" y="14750"/>
                </a:cubicBezTo>
                <a:cubicBezTo>
                  <a:pt x="12125" y="14750"/>
                  <a:pt x="12125" y="14750"/>
                  <a:pt x="12125" y="14750"/>
                </a:cubicBezTo>
                <a:cubicBezTo>
                  <a:pt x="12156" y="14750"/>
                  <a:pt x="12187" y="14687"/>
                  <a:pt x="12218" y="14719"/>
                </a:cubicBezTo>
                <a:cubicBezTo>
                  <a:pt x="12218" y="14812"/>
                  <a:pt x="12125" y="14906"/>
                  <a:pt x="12031" y="14937"/>
                </a:cubicBezTo>
                <a:cubicBezTo>
                  <a:pt x="11968" y="14969"/>
                  <a:pt x="11906" y="14937"/>
                  <a:pt x="11843" y="15000"/>
                </a:cubicBezTo>
                <a:cubicBezTo>
                  <a:pt x="11875" y="14969"/>
                  <a:pt x="11875" y="14969"/>
                  <a:pt x="11843" y="14937"/>
                </a:cubicBezTo>
                <a:cubicBezTo>
                  <a:pt x="11843" y="14906"/>
                  <a:pt x="11812" y="14937"/>
                  <a:pt x="11781" y="14937"/>
                </a:cubicBezTo>
                <a:cubicBezTo>
                  <a:pt x="11750" y="14937"/>
                  <a:pt x="11687" y="14969"/>
                  <a:pt x="11656" y="14969"/>
                </a:cubicBezTo>
                <a:cubicBezTo>
                  <a:pt x="11656" y="14969"/>
                  <a:pt x="11656" y="14937"/>
                  <a:pt x="11656" y="14937"/>
                </a:cubicBezTo>
                <a:cubicBezTo>
                  <a:pt x="11656" y="14906"/>
                  <a:pt x="11625" y="14906"/>
                  <a:pt x="11625" y="14906"/>
                </a:cubicBezTo>
                <a:lnTo>
                  <a:pt x="11625" y="14906"/>
                </a:lnTo>
                <a:cubicBezTo>
                  <a:pt x="11593" y="14906"/>
                  <a:pt x="11593" y="14906"/>
                  <a:pt x="11562" y="14906"/>
                </a:cubicBezTo>
                <a:cubicBezTo>
                  <a:pt x="11562" y="14937"/>
                  <a:pt x="11593" y="14969"/>
                  <a:pt x="11593" y="14969"/>
                </a:cubicBezTo>
                <a:cubicBezTo>
                  <a:pt x="11625" y="14969"/>
                  <a:pt x="11625" y="14969"/>
                  <a:pt x="11656" y="14969"/>
                </a:cubicBezTo>
                <a:cubicBezTo>
                  <a:pt x="11656" y="15000"/>
                  <a:pt x="11625" y="15062"/>
                  <a:pt x="11718" y="15000"/>
                </a:cubicBezTo>
                <a:cubicBezTo>
                  <a:pt x="11750" y="15000"/>
                  <a:pt x="11781" y="15000"/>
                  <a:pt x="11781" y="15062"/>
                </a:cubicBezTo>
                <a:cubicBezTo>
                  <a:pt x="11781" y="15062"/>
                  <a:pt x="11781" y="15125"/>
                  <a:pt x="11812" y="15094"/>
                </a:cubicBezTo>
                <a:cubicBezTo>
                  <a:pt x="11843" y="15125"/>
                  <a:pt x="11875" y="15125"/>
                  <a:pt x="11875" y="15156"/>
                </a:cubicBezTo>
                <a:cubicBezTo>
                  <a:pt x="11937" y="15187"/>
                  <a:pt x="12031" y="15187"/>
                  <a:pt x="12062" y="15281"/>
                </a:cubicBezTo>
                <a:cubicBezTo>
                  <a:pt x="12062" y="15312"/>
                  <a:pt x="12062" y="15344"/>
                  <a:pt x="12062" y="15344"/>
                </a:cubicBezTo>
                <a:cubicBezTo>
                  <a:pt x="12156" y="15437"/>
                  <a:pt x="12218" y="15531"/>
                  <a:pt x="12312" y="15594"/>
                </a:cubicBezTo>
                <a:cubicBezTo>
                  <a:pt x="12406" y="15719"/>
                  <a:pt x="12531" y="15781"/>
                  <a:pt x="12656" y="15844"/>
                </a:cubicBezTo>
                <a:cubicBezTo>
                  <a:pt x="12687" y="15844"/>
                  <a:pt x="12687" y="15875"/>
                  <a:pt x="12718" y="15875"/>
                </a:cubicBezTo>
                <a:cubicBezTo>
                  <a:pt x="12781" y="16000"/>
                  <a:pt x="12937" y="16062"/>
                  <a:pt x="13062" y="16125"/>
                </a:cubicBezTo>
                <a:cubicBezTo>
                  <a:pt x="13187" y="16219"/>
                  <a:pt x="13343" y="16281"/>
                  <a:pt x="13468" y="16344"/>
                </a:cubicBezTo>
                <a:cubicBezTo>
                  <a:pt x="13562" y="16406"/>
                  <a:pt x="13687" y="16437"/>
                  <a:pt x="13812" y="16437"/>
                </a:cubicBezTo>
                <a:cubicBezTo>
                  <a:pt x="13843" y="16437"/>
                  <a:pt x="13875" y="16469"/>
                  <a:pt x="13906" y="16469"/>
                </a:cubicBezTo>
                <a:cubicBezTo>
                  <a:pt x="14062" y="16531"/>
                  <a:pt x="14187" y="16531"/>
                  <a:pt x="14343" y="16531"/>
                </a:cubicBezTo>
                <a:cubicBezTo>
                  <a:pt x="14531" y="16500"/>
                  <a:pt x="14687" y="16437"/>
                  <a:pt x="14843" y="16344"/>
                </a:cubicBezTo>
                <a:cubicBezTo>
                  <a:pt x="15031" y="16250"/>
                  <a:pt x="15187" y="16125"/>
                  <a:pt x="15312" y="15969"/>
                </a:cubicBezTo>
                <a:cubicBezTo>
                  <a:pt x="15375" y="15875"/>
                  <a:pt x="15437" y="15812"/>
                  <a:pt x="15468" y="15687"/>
                </a:cubicBezTo>
                <a:cubicBezTo>
                  <a:pt x="15500" y="15750"/>
                  <a:pt x="15500" y="15781"/>
                  <a:pt x="15468" y="15812"/>
                </a:cubicBezTo>
                <a:cubicBezTo>
                  <a:pt x="15468" y="15844"/>
                  <a:pt x="15437" y="15875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ubicBezTo>
                  <a:pt x="15468" y="15937"/>
                  <a:pt x="15437" y="15906"/>
                  <a:pt x="15500" y="15906"/>
                </a:cubicBezTo>
                <a:cubicBezTo>
                  <a:pt x="15468" y="15969"/>
                  <a:pt x="15500" y="16031"/>
                  <a:pt x="15437" y="16094"/>
                </a:cubicBezTo>
                <a:cubicBezTo>
                  <a:pt x="15437" y="16062"/>
                  <a:pt x="15437" y="16062"/>
                  <a:pt x="15437" y="16031"/>
                </a:cubicBezTo>
                <a:cubicBezTo>
                  <a:pt x="15375" y="16062"/>
                  <a:pt x="15406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12" y="16187"/>
                  <a:pt x="15281" y="16219"/>
                  <a:pt x="15250" y="16219"/>
                </a:cubicBezTo>
                <a:cubicBezTo>
                  <a:pt x="15250" y="16219"/>
                  <a:pt x="15250" y="16219"/>
                  <a:pt x="15250" y="16219"/>
                </a:cubicBezTo>
                <a:cubicBezTo>
                  <a:pt x="15250" y="16281"/>
                  <a:pt x="15187" y="16281"/>
                  <a:pt x="15156" y="16312"/>
                </a:cubicBezTo>
                <a:cubicBezTo>
                  <a:pt x="15031" y="16437"/>
                  <a:pt x="14906" y="16500"/>
                  <a:pt x="14750" y="16531"/>
                </a:cubicBezTo>
                <a:cubicBezTo>
                  <a:pt x="14718" y="16562"/>
                  <a:pt x="14718" y="16562"/>
                  <a:pt x="14687" y="16562"/>
                </a:cubicBezTo>
                <a:cubicBezTo>
                  <a:pt x="14750" y="16500"/>
                  <a:pt x="14812" y="16500"/>
                  <a:pt x="14875" y="16437"/>
                </a:cubicBezTo>
                <a:cubicBezTo>
                  <a:pt x="14937" y="16406"/>
                  <a:pt x="15000" y="16375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125" y="16312"/>
                  <a:pt x="15156" y="16281"/>
                  <a:pt x="15187" y="16250"/>
                </a:cubicBezTo>
                <a:cubicBezTo>
                  <a:pt x="15218" y="16219"/>
                  <a:pt x="15218" y="16219"/>
                  <a:pt x="15250" y="16219"/>
                </a:cubicBezTo>
                <a:lnTo>
                  <a:pt x="15250" y="16219"/>
                </a:lnTo>
                <a:cubicBezTo>
                  <a:pt x="15250" y="16219"/>
                  <a:pt x="15250" y="16219"/>
                  <a:pt x="15250" y="16219"/>
                </a:cubicBezTo>
                <a:cubicBezTo>
                  <a:pt x="15250" y="16187"/>
                  <a:pt x="15281" y="16125"/>
                  <a:pt x="15343" y="16125"/>
                </a:cubicBezTo>
                <a:lnTo>
                  <a:pt x="15343" y="16125"/>
                </a:lnTo>
                <a:cubicBezTo>
                  <a:pt x="15343" y="16125"/>
                  <a:pt x="15343" y="16125"/>
                  <a:pt x="15343" y="16125"/>
                </a:cubicBezTo>
                <a:cubicBezTo>
                  <a:pt x="15312" y="16062"/>
                  <a:pt x="15406" y="16031"/>
                  <a:pt x="15406" y="16000"/>
                </a:cubicBezTo>
                <a:cubicBezTo>
                  <a:pt x="15437" y="15969"/>
                  <a:pt x="15437" y="15969"/>
                  <a:pt x="15437" y="15937"/>
                </a:cubicBezTo>
                <a:lnTo>
                  <a:pt x="15437" y="15937"/>
                </a:lnTo>
                <a:cubicBezTo>
                  <a:pt x="15437" y="15937"/>
                  <a:pt x="15437" y="15937"/>
                  <a:pt x="15437" y="15937"/>
                </a:cubicBezTo>
                <a:cubicBezTo>
                  <a:pt x="15406" y="15937"/>
                  <a:pt x="15406" y="15969"/>
                  <a:pt x="15375" y="15969"/>
                </a:cubicBezTo>
                <a:cubicBezTo>
                  <a:pt x="15343" y="16031"/>
                  <a:pt x="15312" y="16062"/>
                  <a:pt x="15281" y="16094"/>
                </a:cubicBezTo>
                <a:cubicBezTo>
                  <a:pt x="15218" y="16187"/>
                  <a:pt x="15125" y="16219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062" y="16312"/>
                  <a:pt x="15062" y="16312"/>
                  <a:pt x="15062" y="16312"/>
                </a:cubicBezTo>
                <a:cubicBezTo>
                  <a:pt x="15000" y="16344"/>
                  <a:pt x="14937" y="16375"/>
                  <a:pt x="14875" y="16406"/>
                </a:cubicBezTo>
                <a:cubicBezTo>
                  <a:pt x="14562" y="16562"/>
                  <a:pt x="14250" y="16594"/>
                  <a:pt x="13906" y="16562"/>
                </a:cubicBezTo>
                <a:cubicBezTo>
                  <a:pt x="14062" y="16594"/>
                  <a:pt x="14218" y="16594"/>
                  <a:pt x="14343" y="16594"/>
                </a:cubicBezTo>
                <a:cubicBezTo>
                  <a:pt x="14468" y="16594"/>
                  <a:pt x="14562" y="16562"/>
                  <a:pt x="14687" y="16562"/>
                </a:cubicBezTo>
                <a:cubicBezTo>
                  <a:pt x="14656" y="16625"/>
                  <a:pt x="14562" y="16562"/>
                  <a:pt x="14531" y="16625"/>
                </a:cubicBezTo>
                <a:cubicBezTo>
                  <a:pt x="14562" y="16656"/>
                  <a:pt x="14625" y="16625"/>
                  <a:pt x="14656" y="16625"/>
                </a:cubicBezTo>
                <a:cubicBezTo>
                  <a:pt x="14531" y="16687"/>
                  <a:pt x="14375" y="16719"/>
                  <a:pt x="14218" y="16719"/>
                </a:cubicBezTo>
                <a:cubicBezTo>
                  <a:pt x="14125" y="16750"/>
                  <a:pt x="14031" y="16719"/>
                  <a:pt x="13937" y="16719"/>
                </a:cubicBezTo>
                <a:cubicBezTo>
                  <a:pt x="13781" y="16656"/>
                  <a:pt x="13625" y="16594"/>
                  <a:pt x="13468" y="16562"/>
                </a:cubicBezTo>
                <a:cubicBezTo>
                  <a:pt x="13500" y="16594"/>
                  <a:pt x="13531" y="16625"/>
                  <a:pt x="13562" y="16656"/>
                </a:cubicBezTo>
                <a:cubicBezTo>
                  <a:pt x="13656" y="16656"/>
                  <a:pt x="13750" y="16687"/>
                  <a:pt x="13812" y="16750"/>
                </a:cubicBezTo>
                <a:cubicBezTo>
                  <a:pt x="13781" y="16750"/>
                  <a:pt x="13750" y="16750"/>
                  <a:pt x="13718" y="16750"/>
                </a:cubicBezTo>
                <a:cubicBezTo>
                  <a:pt x="13812" y="16781"/>
                  <a:pt x="13875" y="16812"/>
                  <a:pt x="13968" y="16812"/>
                </a:cubicBezTo>
                <a:cubicBezTo>
                  <a:pt x="14125" y="16844"/>
                  <a:pt x="14250" y="16844"/>
                  <a:pt x="14406" y="16812"/>
                </a:cubicBezTo>
                <a:cubicBezTo>
                  <a:pt x="14562" y="16812"/>
                  <a:pt x="14718" y="16750"/>
                  <a:pt x="14812" y="16625"/>
                </a:cubicBezTo>
                <a:cubicBezTo>
                  <a:pt x="14843" y="16625"/>
                  <a:pt x="14843" y="16594"/>
                  <a:pt x="14875" y="16594"/>
                </a:cubicBezTo>
                <a:cubicBezTo>
                  <a:pt x="15031" y="16531"/>
                  <a:pt x="15156" y="16469"/>
                  <a:pt x="15250" y="16344"/>
                </a:cubicBezTo>
                <a:cubicBezTo>
                  <a:pt x="15312" y="16312"/>
                  <a:pt x="15375" y="16250"/>
                  <a:pt x="15406" y="16187"/>
                </a:cubicBezTo>
                <a:cubicBezTo>
                  <a:pt x="15437" y="16250"/>
                  <a:pt x="15406" y="16281"/>
                  <a:pt x="15406" y="16281"/>
                </a:cubicBezTo>
                <a:cubicBezTo>
                  <a:pt x="15312" y="16375"/>
                  <a:pt x="15218" y="16469"/>
                  <a:pt x="15125" y="16562"/>
                </a:cubicBezTo>
                <a:cubicBezTo>
                  <a:pt x="15000" y="16625"/>
                  <a:pt x="14906" y="16656"/>
                  <a:pt x="14781" y="16750"/>
                </a:cubicBezTo>
                <a:cubicBezTo>
                  <a:pt x="14656" y="16812"/>
                  <a:pt x="14531" y="16875"/>
                  <a:pt x="14406" y="16875"/>
                </a:cubicBezTo>
                <a:cubicBezTo>
                  <a:pt x="14250" y="16906"/>
                  <a:pt x="14125" y="16906"/>
                  <a:pt x="13968" y="16875"/>
                </a:cubicBezTo>
                <a:cubicBezTo>
                  <a:pt x="13937" y="16875"/>
                  <a:pt x="13906" y="16844"/>
                  <a:pt x="13843" y="16844"/>
                </a:cubicBezTo>
                <a:cubicBezTo>
                  <a:pt x="13843" y="16844"/>
                  <a:pt x="13812" y="16844"/>
                  <a:pt x="13812" y="16844"/>
                </a:cubicBezTo>
                <a:cubicBezTo>
                  <a:pt x="13812" y="16875"/>
                  <a:pt x="13843" y="16906"/>
                  <a:pt x="13843" y="16906"/>
                </a:cubicBezTo>
                <a:cubicBezTo>
                  <a:pt x="13875" y="16906"/>
                  <a:pt x="13937" y="16937"/>
                  <a:pt x="13968" y="16906"/>
                </a:cubicBezTo>
                <a:cubicBezTo>
                  <a:pt x="14125" y="16937"/>
                  <a:pt x="14250" y="16969"/>
                  <a:pt x="14406" y="16937"/>
                </a:cubicBezTo>
                <a:cubicBezTo>
                  <a:pt x="14437" y="16937"/>
                  <a:pt x="14500" y="16906"/>
                  <a:pt x="14531" y="16906"/>
                </a:cubicBezTo>
                <a:cubicBezTo>
                  <a:pt x="14500" y="16969"/>
                  <a:pt x="14468" y="16937"/>
                  <a:pt x="14406" y="16937"/>
                </a:cubicBezTo>
                <a:cubicBezTo>
                  <a:pt x="14375" y="17000"/>
                  <a:pt x="14312" y="16969"/>
                  <a:pt x="14250" y="16969"/>
                </a:cubicBezTo>
                <a:cubicBezTo>
                  <a:pt x="14250" y="17000"/>
                  <a:pt x="14281" y="16969"/>
                  <a:pt x="14312" y="16969"/>
                </a:cubicBezTo>
                <a:cubicBezTo>
                  <a:pt x="14281" y="16969"/>
                  <a:pt x="14250" y="17000"/>
                  <a:pt x="14250" y="16969"/>
                </a:cubicBezTo>
                <a:cubicBezTo>
                  <a:pt x="14156" y="17000"/>
                  <a:pt x="14062" y="16969"/>
                  <a:pt x="13937" y="16969"/>
                </a:cubicBezTo>
                <a:cubicBezTo>
                  <a:pt x="13906" y="16969"/>
                  <a:pt x="13906" y="16969"/>
                  <a:pt x="13906" y="17031"/>
                </a:cubicBezTo>
                <a:cubicBezTo>
                  <a:pt x="13812" y="17000"/>
                  <a:pt x="13750" y="16969"/>
                  <a:pt x="13656" y="16969"/>
                </a:cubicBezTo>
                <a:cubicBezTo>
                  <a:pt x="13625" y="16906"/>
                  <a:pt x="13562" y="16937"/>
                  <a:pt x="13531" y="16906"/>
                </a:cubicBezTo>
                <a:cubicBezTo>
                  <a:pt x="13468" y="16875"/>
                  <a:pt x="13406" y="16844"/>
                  <a:pt x="13343" y="16812"/>
                </a:cubicBezTo>
                <a:cubicBezTo>
                  <a:pt x="13218" y="16750"/>
                  <a:pt x="13093" y="16687"/>
                  <a:pt x="12968" y="16625"/>
                </a:cubicBezTo>
                <a:cubicBezTo>
                  <a:pt x="12906" y="16594"/>
                  <a:pt x="12812" y="16594"/>
                  <a:pt x="12781" y="16531"/>
                </a:cubicBezTo>
                <a:cubicBezTo>
                  <a:pt x="12750" y="16500"/>
                  <a:pt x="12718" y="16500"/>
                  <a:pt x="12687" y="16500"/>
                </a:cubicBezTo>
                <a:cubicBezTo>
                  <a:pt x="12625" y="16531"/>
                  <a:pt x="12656" y="16562"/>
                  <a:pt x="12656" y="16594"/>
                </a:cubicBezTo>
                <a:cubicBezTo>
                  <a:pt x="12687" y="16656"/>
                  <a:pt x="12656" y="16687"/>
                  <a:pt x="12593" y="16656"/>
                </a:cubicBezTo>
                <a:cubicBezTo>
                  <a:pt x="12593" y="16656"/>
                  <a:pt x="12562" y="16656"/>
                  <a:pt x="12562" y="16656"/>
                </a:cubicBezTo>
                <a:cubicBezTo>
                  <a:pt x="12531" y="16656"/>
                  <a:pt x="12500" y="16625"/>
                  <a:pt x="12500" y="16656"/>
                </a:cubicBezTo>
                <a:cubicBezTo>
                  <a:pt x="12500" y="16687"/>
                  <a:pt x="12500" y="16719"/>
                  <a:pt x="12500" y="16750"/>
                </a:cubicBezTo>
                <a:cubicBezTo>
                  <a:pt x="12531" y="16781"/>
                  <a:pt x="12531" y="16750"/>
                  <a:pt x="12562" y="16750"/>
                </a:cubicBezTo>
                <a:cubicBezTo>
                  <a:pt x="12593" y="16750"/>
                  <a:pt x="12625" y="16719"/>
                  <a:pt x="12625" y="16750"/>
                </a:cubicBezTo>
                <a:cubicBezTo>
                  <a:pt x="12687" y="16750"/>
                  <a:pt x="12750" y="16781"/>
                  <a:pt x="12781" y="16812"/>
                </a:cubicBezTo>
                <a:cubicBezTo>
                  <a:pt x="12937" y="16875"/>
                  <a:pt x="13062" y="16969"/>
                  <a:pt x="13218" y="17031"/>
                </a:cubicBezTo>
                <a:cubicBezTo>
                  <a:pt x="13250" y="17031"/>
                  <a:pt x="13250" y="17062"/>
                  <a:pt x="13218" y="17094"/>
                </a:cubicBezTo>
                <a:cubicBezTo>
                  <a:pt x="13125" y="17062"/>
                  <a:pt x="13000" y="17000"/>
                  <a:pt x="12906" y="16969"/>
                </a:cubicBezTo>
                <a:cubicBezTo>
                  <a:pt x="12906" y="16969"/>
                  <a:pt x="12875" y="16969"/>
                  <a:pt x="12875" y="16937"/>
                </a:cubicBezTo>
                <a:cubicBezTo>
                  <a:pt x="12875" y="16969"/>
                  <a:pt x="12906" y="16969"/>
                  <a:pt x="12906" y="16969"/>
                </a:cubicBezTo>
                <a:cubicBezTo>
                  <a:pt x="12843" y="16906"/>
                  <a:pt x="12750" y="16875"/>
                  <a:pt x="12687" y="16844"/>
                </a:cubicBezTo>
                <a:cubicBezTo>
                  <a:pt x="12656" y="16875"/>
                  <a:pt x="12718" y="16875"/>
                  <a:pt x="12687" y="16906"/>
                </a:cubicBezTo>
                <a:cubicBezTo>
                  <a:pt x="12656" y="16937"/>
                  <a:pt x="12656" y="16906"/>
                  <a:pt x="12625" y="16906"/>
                </a:cubicBezTo>
                <a:cubicBezTo>
                  <a:pt x="12468" y="16844"/>
                  <a:pt x="12343" y="16750"/>
                  <a:pt x="12187" y="16687"/>
                </a:cubicBezTo>
                <a:cubicBezTo>
                  <a:pt x="12187" y="16687"/>
                  <a:pt x="12187" y="16687"/>
                  <a:pt x="12187" y="16719"/>
                </a:cubicBezTo>
                <a:cubicBezTo>
                  <a:pt x="12312" y="16812"/>
                  <a:pt x="12437" y="16906"/>
                  <a:pt x="12625" y="16969"/>
                </a:cubicBezTo>
                <a:cubicBezTo>
                  <a:pt x="12687" y="17000"/>
                  <a:pt x="12750" y="17062"/>
                  <a:pt x="12843" y="17062"/>
                </a:cubicBezTo>
                <a:cubicBezTo>
                  <a:pt x="12875" y="17062"/>
                  <a:pt x="12937" y="17094"/>
                  <a:pt x="12968" y="17094"/>
                </a:cubicBezTo>
                <a:cubicBezTo>
                  <a:pt x="13218" y="17219"/>
                  <a:pt x="13437" y="17312"/>
                  <a:pt x="13687" y="17375"/>
                </a:cubicBezTo>
                <a:cubicBezTo>
                  <a:pt x="14000" y="17437"/>
                  <a:pt x="14281" y="17500"/>
                  <a:pt x="14593" y="17469"/>
                </a:cubicBezTo>
                <a:cubicBezTo>
                  <a:pt x="14593" y="17469"/>
                  <a:pt x="14593" y="17500"/>
                  <a:pt x="14593" y="17500"/>
                </a:cubicBezTo>
                <a:cubicBezTo>
                  <a:pt x="14562" y="17500"/>
                  <a:pt x="14500" y="17531"/>
                  <a:pt x="14437" y="17531"/>
                </a:cubicBezTo>
                <a:cubicBezTo>
                  <a:pt x="14156" y="17531"/>
                  <a:pt x="13906" y="17500"/>
                  <a:pt x="13625" y="17469"/>
                </a:cubicBezTo>
                <a:cubicBezTo>
                  <a:pt x="13718" y="17531"/>
                  <a:pt x="13812" y="17531"/>
                  <a:pt x="13906" y="17531"/>
                </a:cubicBezTo>
                <a:cubicBezTo>
                  <a:pt x="14125" y="17594"/>
                  <a:pt x="14312" y="17594"/>
                  <a:pt x="14531" y="17562"/>
                </a:cubicBezTo>
                <a:cubicBezTo>
                  <a:pt x="14656" y="17531"/>
                  <a:pt x="14781" y="17500"/>
                  <a:pt x="14906" y="17469"/>
                </a:cubicBezTo>
                <a:cubicBezTo>
                  <a:pt x="14875" y="17531"/>
                  <a:pt x="14812" y="17531"/>
                  <a:pt x="14750" y="17562"/>
                </a:cubicBezTo>
                <a:cubicBezTo>
                  <a:pt x="14468" y="17656"/>
                  <a:pt x="14156" y="17687"/>
                  <a:pt x="13875" y="17625"/>
                </a:cubicBezTo>
                <a:cubicBezTo>
                  <a:pt x="13750" y="17594"/>
                  <a:pt x="13656" y="17562"/>
                  <a:pt x="13562" y="17531"/>
                </a:cubicBezTo>
                <a:cubicBezTo>
                  <a:pt x="13531" y="17531"/>
                  <a:pt x="13531" y="17531"/>
                  <a:pt x="13531" y="17531"/>
                </a:cubicBezTo>
                <a:cubicBezTo>
                  <a:pt x="13500" y="17562"/>
                  <a:pt x="13531" y="17562"/>
                  <a:pt x="13562" y="17562"/>
                </a:cubicBezTo>
                <a:cubicBezTo>
                  <a:pt x="13656" y="17594"/>
                  <a:pt x="13750" y="17625"/>
                  <a:pt x="13843" y="17625"/>
                </a:cubicBezTo>
                <a:cubicBezTo>
                  <a:pt x="14062" y="17719"/>
                  <a:pt x="14281" y="17687"/>
                  <a:pt x="14500" y="17656"/>
                </a:cubicBezTo>
                <a:cubicBezTo>
                  <a:pt x="14593" y="17656"/>
                  <a:pt x="14656" y="17594"/>
                  <a:pt x="14750" y="17594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750" y="17625"/>
                  <a:pt x="14750" y="17625"/>
                  <a:pt x="14750" y="17625"/>
                </a:cubicBezTo>
                <a:cubicBezTo>
                  <a:pt x="14593" y="17687"/>
                  <a:pt x="14406" y="17719"/>
                  <a:pt x="14218" y="17719"/>
                </a:cubicBezTo>
                <a:cubicBezTo>
                  <a:pt x="13937" y="17719"/>
                  <a:pt x="13718" y="17656"/>
                  <a:pt x="13468" y="17562"/>
                </a:cubicBezTo>
                <a:cubicBezTo>
                  <a:pt x="13468" y="17531"/>
                  <a:pt x="13468" y="17531"/>
                  <a:pt x="13437" y="17500"/>
                </a:cubicBezTo>
                <a:cubicBezTo>
                  <a:pt x="13375" y="17469"/>
                  <a:pt x="13343" y="17469"/>
                  <a:pt x="13281" y="17500"/>
                </a:cubicBezTo>
                <a:cubicBezTo>
                  <a:pt x="13250" y="17500"/>
                  <a:pt x="13250" y="17500"/>
                  <a:pt x="13218" y="17469"/>
                </a:cubicBezTo>
                <a:cubicBezTo>
                  <a:pt x="13125" y="17437"/>
                  <a:pt x="13031" y="17375"/>
                  <a:pt x="12906" y="17344"/>
                </a:cubicBezTo>
                <a:cubicBezTo>
                  <a:pt x="13000" y="17406"/>
                  <a:pt x="13093" y="17469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00"/>
                  <a:pt x="13187" y="17500"/>
                </a:cubicBezTo>
                <a:cubicBezTo>
                  <a:pt x="13187" y="17500"/>
                  <a:pt x="13187" y="17531"/>
                  <a:pt x="13187" y="17531"/>
                </a:cubicBezTo>
                <a:cubicBezTo>
                  <a:pt x="13187" y="17531"/>
                  <a:pt x="13218" y="17531"/>
                  <a:pt x="13218" y="17531"/>
                </a:cubicBezTo>
                <a:cubicBezTo>
                  <a:pt x="13250" y="17531"/>
                  <a:pt x="13250" y="17531"/>
                  <a:pt x="13281" y="17531"/>
                </a:cubicBezTo>
                <a:cubicBezTo>
                  <a:pt x="13312" y="17594"/>
                  <a:pt x="13406" y="17594"/>
                  <a:pt x="13468" y="17594"/>
                </a:cubicBezTo>
                <a:cubicBezTo>
                  <a:pt x="13625" y="17687"/>
                  <a:pt x="13812" y="17750"/>
                  <a:pt x="14000" y="17750"/>
                </a:cubicBezTo>
                <a:cubicBezTo>
                  <a:pt x="14187" y="17781"/>
                  <a:pt x="14375" y="17781"/>
                  <a:pt x="14562" y="17719"/>
                </a:cubicBezTo>
                <a:cubicBezTo>
                  <a:pt x="14562" y="17750"/>
                  <a:pt x="14562" y="17750"/>
                  <a:pt x="14593" y="17750"/>
                </a:cubicBezTo>
                <a:cubicBezTo>
                  <a:pt x="14531" y="17750"/>
                  <a:pt x="14500" y="17781"/>
                  <a:pt x="14468" y="17781"/>
                </a:cubicBezTo>
                <a:cubicBezTo>
                  <a:pt x="14218" y="17844"/>
                  <a:pt x="13968" y="17812"/>
                  <a:pt x="13718" y="17750"/>
                </a:cubicBezTo>
                <a:cubicBezTo>
                  <a:pt x="13531" y="17719"/>
                  <a:pt x="13375" y="17625"/>
                  <a:pt x="13187" y="17562"/>
                </a:cubicBezTo>
                <a:cubicBezTo>
                  <a:pt x="13000" y="17469"/>
                  <a:pt x="12812" y="17406"/>
                  <a:pt x="12656" y="17312"/>
                </a:cubicBezTo>
                <a:cubicBezTo>
                  <a:pt x="12812" y="17437"/>
                  <a:pt x="13000" y="17531"/>
                  <a:pt x="13187" y="17594"/>
                </a:cubicBezTo>
                <a:cubicBezTo>
                  <a:pt x="13312" y="17656"/>
                  <a:pt x="13468" y="17719"/>
                  <a:pt x="13593" y="17750"/>
                </a:cubicBezTo>
                <a:cubicBezTo>
                  <a:pt x="13843" y="17844"/>
                  <a:pt x="14093" y="17875"/>
                  <a:pt x="14343" y="17844"/>
                </a:cubicBezTo>
                <a:cubicBezTo>
                  <a:pt x="14406" y="17844"/>
                  <a:pt x="14500" y="17812"/>
                  <a:pt x="14562" y="17812"/>
                </a:cubicBezTo>
                <a:cubicBezTo>
                  <a:pt x="14468" y="17875"/>
                  <a:pt x="14375" y="17875"/>
                  <a:pt x="14250" y="17875"/>
                </a:cubicBezTo>
                <a:cubicBezTo>
                  <a:pt x="14156" y="17875"/>
                  <a:pt x="14031" y="17875"/>
                  <a:pt x="13906" y="17875"/>
                </a:cubicBezTo>
                <a:cubicBezTo>
                  <a:pt x="13687" y="17844"/>
                  <a:pt x="13500" y="17781"/>
                  <a:pt x="13281" y="17687"/>
                </a:cubicBezTo>
                <a:cubicBezTo>
                  <a:pt x="13218" y="17656"/>
                  <a:pt x="13156" y="17594"/>
                  <a:pt x="13031" y="17625"/>
                </a:cubicBezTo>
                <a:cubicBezTo>
                  <a:pt x="13156" y="17687"/>
                  <a:pt x="13250" y="17719"/>
                  <a:pt x="13343" y="17750"/>
                </a:cubicBezTo>
                <a:cubicBezTo>
                  <a:pt x="13531" y="17844"/>
                  <a:pt x="13718" y="17906"/>
                  <a:pt x="13937" y="17906"/>
                </a:cubicBezTo>
                <a:cubicBezTo>
                  <a:pt x="13937" y="17937"/>
                  <a:pt x="13937" y="17937"/>
                  <a:pt x="13937" y="17937"/>
                </a:cubicBezTo>
                <a:cubicBezTo>
                  <a:pt x="13718" y="17906"/>
                  <a:pt x="13500" y="17875"/>
                  <a:pt x="13281" y="17781"/>
                </a:cubicBezTo>
                <a:cubicBezTo>
                  <a:pt x="13250" y="17781"/>
                  <a:pt x="13218" y="17750"/>
                  <a:pt x="13187" y="17719"/>
                </a:cubicBezTo>
                <a:cubicBezTo>
                  <a:pt x="13156" y="17719"/>
                  <a:pt x="13156" y="17719"/>
                  <a:pt x="13156" y="17719"/>
                </a:cubicBezTo>
                <a:cubicBezTo>
                  <a:pt x="13125" y="17750"/>
                  <a:pt x="13156" y="17750"/>
                  <a:pt x="13156" y="17750"/>
                </a:cubicBezTo>
                <a:cubicBezTo>
                  <a:pt x="13218" y="17781"/>
                  <a:pt x="13250" y="17781"/>
                  <a:pt x="13281" y="17812"/>
                </a:cubicBezTo>
                <a:cubicBezTo>
                  <a:pt x="13343" y="17844"/>
                  <a:pt x="13406" y="17844"/>
                  <a:pt x="13468" y="17937"/>
                </a:cubicBezTo>
                <a:cubicBezTo>
                  <a:pt x="13281" y="17875"/>
                  <a:pt x="13156" y="17812"/>
                  <a:pt x="13000" y="17750"/>
                </a:cubicBezTo>
                <a:cubicBezTo>
                  <a:pt x="13000" y="17719"/>
                  <a:pt x="13000" y="17719"/>
                  <a:pt x="13000" y="17719"/>
                </a:cubicBezTo>
                <a:cubicBezTo>
                  <a:pt x="13000" y="17719"/>
                  <a:pt x="13000" y="17719"/>
                  <a:pt x="13000" y="17719"/>
                </a:cubicBezTo>
                <a:cubicBezTo>
                  <a:pt x="12781" y="17594"/>
                  <a:pt x="12531" y="17500"/>
                  <a:pt x="12343" y="17344"/>
                </a:cubicBezTo>
                <a:cubicBezTo>
                  <a:pt x="12218" y="17281"/>
                  <a:pt x="12093" y="17219"/>
                  <a:pt x="12000" y="17125"/>
                </a:cubicBezTo>
                <a:cubicBezTo>
                  <a:pt x="11968" y="17125"/>
                  <a:pt x="11937" y="17125"/>
                  <a:pt x="11906" y="17094"/>
                </a:cubicBezTo>
                <a:cubicBezTo>
                  <a:pt x="11906" y="17094"/>
                  <a:pt x="11906" y="17094"/>
                  <a:pt x="11906" y="17094"/>
                </a:cubicBezTo>
                <a:cubicBezTo>
                  <a:pt x="11906" y="17094"/>
                  <a:pt x="11906" y="17094"/>
                  <a:pt x="11875" y="17094"/>
                </a:cubicBezTo>
                <a:cubicBezTo>
                  <a:pt x="11781" y="17000"/>
                  <a:pt x="11656" y="16937"/>
                  <a:pt x="11531" y="16844"/>
                </a:cubicBezTo>
                <a:cubicBezTo>
                  <a:pt x="11531" y="16906"/>
                  <a:pt x="11593" y="16906"/>
                  <a:pt x="11593" y="16937"/>
                </a:cubicBezTo>
                <a:cubicBezTo>
                  <a:pt x="11593" y="16969"/>
                  <a:pt x="11656" y="16969"/>
                  <a:pt x="11687" y="17000"/>
                </a:cubicBezTo>
                <a:cubicBezTo>
                  <a:pt x="11718" y="17062"/>
                  <a:pt x="11812" y="17062"/>
                  <a:pt x="11875" y="17125"/>
                </a:cubicBezTo>
                <a:cubicBezTo>
                  <a:pt x="11875" y="17187"/>
                  <a:pt x="11937" y="17187"/>
                  <a:pt x="12000" y="17219"/>
                </a:cubicBezTo>
                <a:cubicBezTo>
                  <a:pt x="12000" y="17219"/>
                  <a:pt x="11968" y="17250"/>
                  <a:pt x="11968" y="17250"/>
                </a:cubicBezTo>
                <a:cubicBezTo>
                  <a:pt x="11875" y="17219"/>
                  <a:pt x="11781" y="17312"/>
                  <a:pt x="11656" y="17312"/>
                </a:cubicBezTo>
                <a:lnTo>
                  <a:pt x="11656" y="17312"/>
                </a:lnTo>
                <a:cubicBezTo>
                  <a:pt x="11687" y="17375"/>
                  <a:pt x="11718" y="17344"/>
                  <a:pt x="11750" y="17312"/>
                </a:cubicBezTo>
                <a:cubicBezTo>
                  <a:pt x="11843" y="17281"/>
                  <a:pt x="11906" y="17281"/>
                  <a:pt x="11968" y="17250"/>
                </a:cubicBezTo>
                <a:cubicBezTo>
                  <a:pt x="12000" y="17250"/>
                  <a:pt x="12000" y="17250"/>
                  <a:pt x="12000" y="17250"/>
                </a:cubicBezTo>
                <a:cubicBezTo>
                  <a:pt x="12062" y="17250"/>
                  <a:pt x="12093" y="17312"/>
                  <a:pt x="12156" y="17344"/>
                </a:cubicBezTo>
                <a:cubicBezTo>
                  <a:pt x="12125" y="17344"/>
                  <a:pt x="12125" y="17344"/>
                  <a:pt x="12125" y="17375"/>
                </a:cubicBezTo>
                <a:cubicBezTo>
                  <a:pt x="12031" y="17375"/>
                  <a:pt x="11968" y="17406"/>
                  <a:pt x="11875" y="17437"/>
                </a:cubicBezTo>
                <a:cubicBezTo>
                  <a:pt x="11843" y="17437"/>
                  <a:pt x="11812" y="17437"/>
                  <a:pt x="11781" y="17406"/>
                </a:cubicBezTo>
                <a:cubicBezTo>
                  <a:pt x="11750" y="17344"/>
                  <a:pt x="11718" y="17406"/>
                  <a:pt x="11718" y="17437"/>
                </a:cubicBezTo>
                <a:cubicBezTo>
                  <a:pt x="11656" y="17469"/>
                  <a:pt x="11656" y="17500"/>
                  <a:pt x="11718" y="17562"/>
                </a:cubicBezTo>
                <a:cubicBezTo>
                  <a:pt x="11718" y="17562"/>
                  <a:pt x="11718" y="17562"/>
                  <a:pt x="11750" y="17562"/>
                </a:cubicBezTo>
                <a:cubicBezTo>
                  <a:pt x="11781" y="17562"/>
                  <a:pt x="11781" y="17531"/>
                  <a:pt x="11781" y="17500"/>
                </a:cubicBezTo>
                <a:cubicBezTo>
                  <a:pt x="11781" y="17500"/>
                  <a:pt x="11781" y="17500"/>
                  <a:pt x="11781" y="17500"/>
                </a:cubicBezTo>
                <a:cubicBezTo>
                  <a:pt x="11812" y="17469"/>
                  <a:pt x="11812" y="17469"/>
                  <a:pt x="11843" y="17500"/>
                </a:cubicBezTo>
                <a:cubicBezTo>
                  <a:pt x="11875" y="17531"/>
                  <a:pt x="11812" y="17531"/>
                  <a:pt x="11812" y="17562"/>
                </a:cubicBezTo>
                <a:cubicBezTo>
                  <a:pt x="11812" y="17625"/>
                  <a:pt x="11843" y="17625"/>
                  <a:pt x="11875" y="17625"/>
                </a:cubicBezTo>
                <a:cubicBezTo>
                  <a:pt x="11937" y="17625"/>
                  <a:pt x="11906" y="17531"/>
                  <a:pt x="11968" y="17562"/>
                </a:cubicBezTo>
                <a:cubicBezTo>
                  <a:pt x="11968" y="17562"/>
                  <a:pt x="11968" y="17594"/>
                  <a:pt x="11968" y="17594"/>
                </a:cubicBezTo>
                <a:cubicBezTo>
                  <a:pt x="11968" y="17594"/>
                  <a:pt x="11968" y="17594"/>
                  <a:pt x="12000" y="17594"/>
                </a:cubicBezTo>
                <a:lnTo>
                  <a:pt x="12000" y="17594"/>
                </a:lnTo>
                <a:cubicBezTo>
                  <a:pt x="12000" y="17594"/>
                  <a:pt x="12000" y="17594"/>
                  <a:pt x="12000" y="17594"/>
                </a:cubicBezTo>
                <a:cubicBezTo>
                  <a:pt x="11968" y="17594"/>
                  <a:pt x="11968" y="17594"/>
                  <a:pt x="11968" y="17594"/>
                </a:cubicBezTo>
                <a:cubicBezTo>
                  <a:pt x="11968" y="17562"/>
                  <a:pt x="11968" y="17562"/>
                  <a:pt x="11968" y="17562"/>
                </a:cubicBezTo>
                <a:cubicBezTo>
                  <a:pt x="11968" y="17562"/>
                  <a:pt x="11968" y="17562"/>
                  <a:pt x="11937" y="17531"/>
                </a:cubicBezTo>
                <a:cubicBezTo>
                  <a:pt x="11937" y="17531"/>
                  <a:pt x="11875" y="17531"/>
                  <a:pt x="11906" y="17500"/>
                </a:cubicBezTo>
                <a:cubicBezTo>
                  <a:pt x="11906" y="17469"/>
                  <a:pt x="11968" y="17437"/>
                  <a:pt x="12000" y="17437"/>
                </a:cubicBezTo>
                <a:cubicBezTo>
                  <a:pt x="12062" y="17437"/>
                  <a:pt x="12125" y="17406"/>
                  <a:pt x="12187" y="17375"/>
                </a:cubicBezTo>
                <a:cubicBezTo>
                  <a:pt x="12281" y="17344"/>
                  <a:pt x="12312" y="17437"/>
                  <a:pt x="12375" y="17469"/>
                </a:cubicBezTo>
                <a:cubicBezTo>
                  <a:pt x="12375" y="17469"/>
                  <a:pt x="12375" y="17469"/>
                  <a:pt x="12375" y="17469"/>
                </a:cubicBezTo>
                <a:cubicBezTo>
                  <a:pt x="12375" y="17469"/>
                  <a:pt x="12375" y="17469"/>
                  <a:pt x="12375" y="17469"/>
                </a:cubicBezTo>
                <a:cubicBezTo>
                  <a:pt x="12375" y="17500"/>
                  <a:pt x="12375" y="17500"/>
                  <a:pt x="12343" y="17500"/>
                </a:cubicBezTo>
                <a:cubicBezTo>
                  <a:pt x="12343" y="17500"/>
                  <a:pt x="12343" y="17500"/>
                  <a:pt x="12343" y="17531"/>
                </a:cubicBezTo>
                <a:cubicBezTo>
                  <a:pt x="12250" y="17500"/>
                  <a:pt x="12156" y="17562"/>
                  <a:pt x="12062" y="17594"/>
                </a:cubicBezTo>
                <a:cubicBezTo>
                  <a:pt x="12031" y="17594"/>
                  <a:pt x="12031" y="17594"/>
                  <a:pt x="12031" y="17625"/>
                </a:cubicBezTo>
                <a:cubicBezTo>
                  <a:pt x="12031" y="17656"/>
                  <a:pt x="12000" y="17656"/>
                  <a:pt x="11968" y="17687"/>
                </a:cubicBezTo>
                <a:cubicBezTo>
                  <a:pt x="11937" y="17687"/>
                  <a:pt x="11843" y="17687"/>
                  <a:pt x="11937" y="17781"/>
                </a:cubicBezTo>
                <a:cubicBezTo>
                  <a:pt x="11937" y="17812"/>
                  <a:pt x="11937" y="17812"/>
                  <a:pt x="11906" y="17812"/>
                </a:cubicBezTo>
                <a:cubicBezTo>
                  <a:pt x="11875" y="17812"/>
                  <a:pt x="11875" y="17844"/>
                  <a:pt x="11843" y="17844"/>
                </a:cubicBezTo>
                <a:cubicBezTo>
                  <a:pt x="11968" y="17875"/>
                  <a:pt x="12062" y="17844"/>
                  <a:pt x="12062" y="17750"/>
                </a:cubicBezTo>
                <a:cubicBezTo>
                  <a:pt x="12093" y="17687"/>
                  <a:pt x="12125" y="17687"/>
                  <a:pt x="12156" y="17719"/>
                </a:cubicBezTo>
                <a:cubicBezTo>
                  <a:pt x="12156" y="17750"/>
                  <a:pt x="12187" y="17750"/>
                  <a:pt x="12187" y="17781"/>
                </a:cubicBezTo>
                <a:cubicBezTo>
                  <a:pt x="12187" y="17781"/>
                  <a:pt x="12156" y="17781"/>
                  <a:pt x="12156" y="17781"/>
                </a:cubicBezTo>
                <a:cubicBezTo>
                  <a:pt x="12125" y="17750"/>
                  <a:pt x="12093" y="17750"/>
                  <a:pt x="12093" y="17781"/>
                </a:cubicBezTo>
                <a:lnTo>
                  <a:pt x="12093" y="17781"/>
                </a:lnTo>
                <a:cubicBezTo>
                  <a:pt x="12093" y="17812"/>
                  <a:pt x="12093" y="17844"/>
                  <a:pt x="12125" y="17844"/>
                </a:cubicBezTo>
                <a:cubicBezTo>
                  <a:pt x="12156" y="17844"/>
                  <a:pt x="12187" y="17844"/>
                  <a:pt x="12187" y="17781"/>
                </a:cubicBezTo>
                <a:cubicBezTo>
                  <a:pt x="12250" y="17812"/>
                  <a:pt x="12281" y="17812"/>
                  <a:pt x="12312" y="17750"/>
                </a:cubicBezTo>
                <a:cubicBezTo>
                  <a:pt x="12312" y="17750"/>
                  <a:pt x="12343" y="17750"/>
                  <a:pt x="12375" y="17750"/>
                </a:cubicBezTo>
                <a:cubicBezTo>
                  <a:pt x="12468" y="17719"/>
                  <a:pt x="12562" y="17719"/>
                  <a:pt x="12656" y="17656"/>
                </a:cubicBezTo>
                <a:cubicBezTo>
                  <a:pt x="12656" y="17656"/>
                  <a:pt x="12687" y="17656"/>
                  <a:pt x="12687" y="17656"/>
                </a:cubicBezTo>
                <a:cubicBezTo>
                  <a:pt x="12687" y="17719"/>
                  <a:pt x="12625" y="17719"/>
                  <a:pt x="12593" y="17750"/>
                </a:cubicBezTo>
                <a:cubicBezTo>
                  <a:pt x="12562" y="17750"/>
                  <a:pt x="12562" y="17719"/>
                  <a:pt x="12562" y="17750"/>
                </a:cubicBezTo>
                <a:cubicBezTo>
                  <a:pt x="12562" y="17781"/>
                  <a:pt x="12593" y="17781"/>
                  <a:pt x="12593" y="17781"/>
                </a:cubicBezTo>
                <a:cubicBezTo>
                  <a:pt x="12656" y="17750"/>
                  <a:pt x="12687" y="17750"/>
                  <a:pt x="12718" y="17719"/>
                </a:cubicBezTo>
                <a:cubicBezTo>
                  <a:pt x="12812" y="17719"/>
                  <a:pt x="12812" y="17719"/>
                  <a:pt x="12812" y="17781"/>
                </a:cubicBezTo>
                <a:cubicBezTo>
                  <a:pt x="12687" y="17781"/>
                  <a:pt x="12593" y="17875"/>
                  <a:pt x="12500" y="17875"/>
                </a:cubicBezTo>
                <a:cubicBezTo>
                  <a:pt x="12437" y="17875"/>
                  <a:pt x="12406" y="17906"/>
                  <a:pt x="12406" y="17937"/>
                </a:cubicBezTo>
                <a:cubicBezTo>
                  <a:pt x="12375" y="17969"/>
                  <a:pt x="12375" y="17969"/>
                  <a:pt x="12406" y="18000"/>
                </a:cubicBezTo>
                <a:cubicBezTo>
                  <a:pt x="12468" y="18031"/>
                  <a:pt x="12531" y="18094"/>
                  <a:pt x="12593" y="18156"/>
                </a:cubicBezTo>
                <a:cubicBezTo>
                  <a:pt x="12500" y="18125"/>
                  <a:pt x="12437" y="18187"/>
                  <a:pt x="12343" y="18187"/>
                </a:cubicBezTo>
                <a:cubicBezTo>
                  <a:pt x="12218" y="18187"/>
                  <a:pt x="12125" y="18219"/>
                  <a:pt x="12000" y="18250"/>
                </a:cubicBezTo>
                <a:cubicBezTo>
                  <a:pt x="12000" y="18250"/>
                  <a:pt x="11968" y="18250"/>
                  <a:pt x="11968" y="18250"/>
                </a:cubicBezTo>
                <a:cubicBezTo>
                  <a:pt x="11875" y="18250"/>
                  <a:pt x="11781" y="18281"/>
                  <a:pt x="11687" y="18281"/>
                </a:cubicBezTo>
                <a:cubicBezTo>
                  <a:pt x="11687" y="18281"/>
                  <a:pt x="11656" y="18281"/>
                  <a:pt x="11687" y="18312"/>
                </a:cubicBezTo>
                <a:cubicBezTo>
                  <a:pt x="11687" y="18312"/>
                  <a:pt x="11687" y="18312"/>
                  <a:pt x="11718" y="18312"/>
                </a:cubicBezTo>
                <a:cubicBezTo>
                  <a:pt x="11812" y="18281"/>
                  <a:pt x="11937" y="18312"/>
                  <a:pt x="12062" y="18281"/>
                </a:cubicBezTo>
                <a:cubicBezTo>
                  <a:pt x="12125" y="18250"/>
                  <a:pt x="12187" y="18250"/>
                  <a:pt x="12218" y="18250"/>
                </a:cubicBezTo>
                <a:cubicBezTo>
                  <a:pt x="12343" y="18219"/>
                  <a:pt x="12437" y="18187"/>
                  <a:pt x="12562" y="18187"/>
                </a:cubicBezTo>
                <a:cubicBezTo>
                  <a:pt x="12593" y="18187"/>
                  <a:pt x="12656" y="18187"/>
                  <a:pt x="12656" y="18094"/>
                </a:cubicBezTo>
                <a:cubicBezTo>
                  <a:pt x="12656" y="18094"/>
                  <a:pt x="12687" y="18094"/>
                  <a:pt x="12687" y="18094"/>
                </a:cubicBezTo>
                <a:cubicBezTo>
                  <a:pt x="12687" y="18156"/>
                  <a:pt x="12750" y="18156"/>
                  <a:pt x="12781" y="18187"/>
                </a:cubicBezTo>
                <a:lnTo>
                  <a:pt x="12781" y="18187"/>
                </a:lnTo>
                <a:cubicBezTo>
                  <a:pt x="12781" y="18187"/>
                  <a:pt x="12812" y="18187"/>
                  <a:pt x="12812" y="18187"/>
                </a:cubicBezTo>
                <a:cubicBezTo>
                  <a:pt x="12812" y="18156"/>
                  <a:pt x="12812" y="18156"/>
                  <a:pt x="12812" y="18156"/>
                </a:cubicBezTo>
                <a:cubicBezTo>
                  <a:pt x="12781" y="18125"/>
                  <a:pt x="12750" y="18062"/>
                  <a:pt x="12687" y="18094"/>
                </a:cubicBezTo>
                <a:cubicBezTo>
                  <a:pt x="12687" y="18062"/>
                  <a:pt x="12687" y="18062"/>
                  <a:pt x="12718" y="18031"/>
                </a:cubicBezTo>
                <a:cubicBezTo>
                  <a:pt x="12750" y="18062"/>
                  <a:pt x="12781" y="18062"/>
                  <a:pt x="12781" y="18062"/>
                </a:cubicBezTo>
                <a:cubicBezTo>
                  <a:pt x="12781" y="18000"/>
                  <a:pt x="12812" y="18000"/>
                  <a:pt x="12843" y="18000"/>
                </a:cubicBezTo>
                <a:cubicBezTo>
                  <a:pt x="12875" y="18000"/>
                  <a:pt x="12906" y="18000"/>
                  <a:pt x="12906" y="17969"/>
                </a:cubicBezTo>
                <a:cubicBezTo>
                  <a:pt x="12906" y="17937"/>
                  <a:pt x="12906" y="17937"/>
                  <a:pt x="12906" y="17937"/>
                </a:cubicBezTo>
                <a:cubicBezTo>
                  <a:pt x="12968" y="17937"/>
                  <a:pt x="13031" y="17937"/>
                  <a:pt x="13062" y="17937"/>
                </a:cubicBezTo>
                <a:cubicBezTo>
                  <a:pt x="13093" y="17937"/>
                  <a:pt x="13125" y="17906"/>
                  <a:pt x="13187" y="17906"/>
                </a:cubicBezTo>
                <a:cubicBezTo>
                  <a:pt x="13250" y="17937"/>
                  <a:pt x="13312" y="17969"/>
                  <a:pt x="13375" y="18000"/>
                </a:cubicBezTo>
                <a:cubicBezTo>
                  <a:pt x="13281" y="18031"/>
                  <a:pt x="13218" y="18031"/>
                  <a:pt x="13125" y="18094"/>
                </a:cubicBezTo>
                <a:cubicBezTo>
                  <a:pt x="13125" y="18094"/>
                  <a:pt x="13125" y="18094"/>
                  <a:pt x="13125" y="18094"/>
                </a:cubicBezTo>
                <a:cubicBezTo>
                  <a:pt x="13125" y="18094"/>
                  <a:pt x="13093" y="18094"/>
                  <a:pt x="13062" y="18094"/>
                </a:cubicBezTo>
                <a:cubicBezTo>
                  <a:pt x="13000" y="18125"/>
                  <a:pt x="12937" y="18125"/>
                  <a:pt x="12906" y="18125"/>
                </a:cubicBezTo>
                <a:cubicBezTo>
                  <a:pt x="12875" y="18125"/>
                  <a:pt x="12875" y="18094"/>
                  <a:pt x="12812" y="18094"/>
                </a:cubicBezTo>
                <a:lnTo>
                  <a:pt x="12812" y="18094"/>
                </a:lnTo>
                <a:cubicBezTo>
                  <a:pt x="12843" y="18125"/>
                  <a:pt x="12875" y="18156"/>
                  <a:pt x="12906" y="18125"/>
                </a:cubicBezTo>
                <a:cubicBezTo>
                  <a:pt x="12937" y="18187"/>
                  <a:pt x="13000" y="18187"/>
                  <a:pt x="13062" y="18094"/>
                </a:cubicBezTo>
                <a:cubicBezTo>
                  <a:pt x="13093" y="18125"/>
                  <a:pt x="13125" y="18125"/>
                  <a:pt x="13156" y="18094"/>
                </a:cubicBezTo>
                <a:cubicBezTo>
                  <a:pt x="13156" y="18094"/>
                  <a:pt x="13187" y="18094"/>
                  <a:pt x="13218" y="18094"/>
                </a:cubicBezTo>
                <a:cubicBezTo>
                  <a:pt x="13343" y="18062"/>
                  <a:pt x="13437" y="18031"/>
                  <a:pt x="13562" y="18094"/>
                </a:cubicBezTo>
                <a:cubicBezTo>
                  <a:pt x="13593" y="18094"/>
                  <a:pt x="13625" y="18094"/>
                  <a:pt x="13625" y="18125"/>
                </a:cubicBezTo>
                <a:cubicBezTo>
                  <a:pt x="13625" y="18156"/>
                  <a:pt x="13593" y="18156"/>
                  <a:pt x="13562" y="18156"/>
                </a:cubicBezTo>
                <a:cubicBezTo>
                  <a:pt x="13531" y="18187"/>
                  <a:pt x="13468" y="18187"/>
                  <a:pt x="13406" y="18187"/>
                </a:cubicBezTo>
                <a:cubicBezTo>
                  <a:pt x="13281" y="18219"/>
                  <a:pt x="13187" y="18281"/>
                  <a:pt x="13093" y="18281"/>
                </a:cubicBezTo>
                <a:cubicBezTo>
                  <a:pt x="13093" y="18250"/>
                  <a:pt x="13062" y="18250"/>
                  <a:pt x="13062" y="18250"/>
                </a:cubicBezTo>
                <a:lnTo>
                  <a:pt x="13062" y="18250"/>
                </a:lnTo>
                <a:cubicBezTo>
                  <a:pt x="13062" y="18281"/>
                  <a:pt x="13062" y="18281"/>
                  <a:pt x="13093" y="18281"/>
                </a:cubicBezTo>
                <a:cubicBezTo>
                  <a:pt x="13093" y="18281"/>
                  <a:pt x="13093" y="18312"/>
                  <a:pt x="13093" y="18312"/>
                </a:cubicBezTo>
                <a:cubicBezTo>
                  <a:pt x="13312" y="18281"/>
                  <a:pt x="13531" y="18187"/>
                  <a:pt x="13750" y="18187"/>
                </a:cubicBezTo>
                <a:cubicBezTo>
                  <a:pt x="13750" y="18219"/>
                  <a:pt x="13718" y="18219"/>
                  <a:pt x="13687" y="18219"/>
                </a:cubicBezTo>
                <a:cubicBezTo>
                  <a:pt x="13625" y="18219"/>
                  <a:pt x="13593" y="18219"/>
                  <a:pt x="13562" y="18281"/>
                </a:cubicBezTo>
                <a:cubicBezTo>
                  <a:pt x="13437" y="18281"/>
                  <a:pt x="13343" y="18344"/>
                  <a:pt x="13218" y="18344"/>
                </a:cubicBezTo>
                <a:cubicBezTo>
                  <a:pt x="13187" y="18375"/>
                  <a:pt x="13125" y="18344"/>
                  <a:pt x="13156" y="18406"/>
                </a:cubicBezTo>
                <a:cubicBezTo>
                  <a:pt x="13156" y="18406"/>
                  <a:pt x="13156" y="18406"/>
                  <a:pt x="13156" y="18406"/>
                </a:cubicBezTo>
                <a:cubicBezTo>
                  <a:pt x="13125" y="18406"/>
                  <a:pt x="13125" y="18406"/>
                  <a:pt x="13125" y="18437"/>
                </a:cubicBezTo>
                <a:cubicBezTo>
                  <a:pt x="13125" y="18406"/>
                  <a:pt x="13093" y="18406"/>
                  <a:pt x="13093" y="18375"/>
                </a:cubicBezTo>
                <a:cubicBezTo>
                  <a:pt x="13093" y="18375"/>
                  <a:pt x="13125" y="18375"/>
                  <a:pt x="13125" y="18375"/>
                </a:cubicBezTo>
                <a:cubicBezTo>
                  <a:pt x="13093" y="18375"/>
                  <a:pt x="13093" y="18375"/>
                  <a:pt x="13093" y="18344"/>
                </a:cubicBezTo>
                <a:cubicBezTo>
                  <a:pt x="13093" y="18344"/>
                  <a:pt x="13093" y="18344"/>
                  <a:pt x="13093" y="18312"/>
                </a:cubicBezTo>
                <a:cubicBezTo>
                  <a:pt x="13093" y="18312"/>
                  <a:pt x="13093" y="18344"/>
                  <a:pt x="13093" y="18344"/>
                </a:cubicBezTo>
                <a:cubicBezTo>
                  <a:pt x="13062" y="18344"/>
                  <a:pt x="13031" y="18312"/>
                  <a:pt x="13000" y="18375"/>
                </a:cubicBezTo>
                <a:cubicBezTo>
                  <a:pt x="13062" y="18375"/>
                  <a:pt x="13093" y="18406"/>
                  <a:pt x="13062" y="18469"/>
                </a:cubicBezTo>
                <a:cubicBezTo>
                  <a:pt x="13062" y="18469"/>
                  <a:pt x="13093" y="18469"/>
                  <a:pt x="13093" y="18469"/>
                </a:cubicBezTo>
                <a:cubicBezTo>
                  <a:pt x="13093" y="18469"/>
                  <a:pt x="13093" y="18469"/>
                  <a:pt x="13125" y="18437"/>
                </a:cubicBezTo>
                <a:cubicBezTo>
                  <a:pt x="13125" y="18469"/>
                  <a:pt x="13125" y="18469"/>
                  <a:pt x="13156" y="18469"/>
                </a:cubicBezTo>
                <a:cubicBezTo>
                  <a:pt x="13187" y="18469"/>
                  <a:pt x="13218" y="18500"/>
                  <a:pt x="13187" y="18500"/>
                </a:cubicBezTo>
                <a:cubicBezTo>
                  <a:pt x="13156" y="18531"/>
                  <a:pt x="13156" y="18562"/>
                  <a:pt x="13125" y="18594"/>
                </a:cubicBezTo>
                <a:cubicBezTo>
                  <a:pt x="13093" y="18656"/>
                  <a:pt x="13125" y="18656"/>
                  <a:pt x="13156" y="18656"/>
                </a:cubicBezTo>
                <a:cubicBezTo>
                  <a:pt x="13187" y="18656"/>
                  <a:pt x="13187" y="18625"/>
                  <a:pt x="13218" y="18656"/>
                </a:cubicBezTo>
                <a:cubicBezTo>
                  <a:pt x="13125" y="18656"/>
                  <a:pt x="13125" y="18750"/>
                  <a:pt x="13093" y="18781"/>
                </a:cubicBezTo>
                <a:cubicBezTo>
                  <a:pt x="13093" y="18844"/>
                  <a:pt x="13093" y="18906"/>
                  <a:pt x="13093" y="18969"/>
                </a:cubicBezTo>
                <a:cubicBezTo>
                  <a:pt x="12968" y="18969"/>
                  <a:pt x="12875" y="19031"/>
                  <a:pt x="12750" y="19031"/>
                </a:cubicBezTo>
                <a:cubicBezTo>
                  <a:pt x="12781" y="19062"/>
                  <a:pt x="12843" y="19062"/>
                  <a:pt x="12875" y="19031"/>
                </a:cubicBezTo>
                <a:cubicBezTo>
                  <a:pt x="12937" y="19031"/>
                  <a:pt x="13000" y="19000"/>
                  <a:pt x="13062" y="19000"/>
                </a:cubicBezTo>
                <a:cubicBezTo>
                  <a:pt x="13062" y="19000"/>
                  <a:pt x="13062" y="19000"/>
                  <a:pt x="13062" y="19031"/>
                </a:cubicBezTo>
                <a:cubicBezTo>
                  <a:pt x="13062" y="19094"/>
                  <a:pt x="13031" y="19156"/>
                  <a:pt x="13031" y="19219"/>
                </a:cubicBezTo>
                <a:cubicBezTo>
                  <a:pt x="13031" y="19250"/>
                  <a:pt x="13000" y="19250"/>
                  <a:pt x="13031" y="19281"/>
                </a:cubicBezTo>
                <a:cubicBezTo>
                  <a:pt x="13031" y="19281"/>
                  <a:pt x="13031" y="19312"/>
                  <a:pt x="13031" y="19312"/>
                </a:cubicBezTo>
                <a:cubicBezTo>
                  <a:pt x="12937" y="19344"/>
                  <a:pt x="13062" y="19344"/>
                  <a:pt x="13031" y="19375"/>
                </a:cubicBezTo>
                <a:cubicBezTo>
                  <a:pt x="12906" y="19406"/>
                  <a:pt x="12750" y="19344"/>
                  <a:pt x="12625" y="19406"/>
                </a:cubicBezTo>
                <a:cubicBezTo>
                  <a:pt x="12718" y="19406"/>
                  <a:pt x="12843" y="19437"/>
                  <a:pt x="12968" y="19406"/>
                </a:cubicBezTo>
                <a:cubicBezTo>
                  <a:pt x="13000" y="19406"/>
                  <a:pt x="13031" y="19375"/>
                  <a:pt x="13062" y="19437"/>
                </a:cubicBezTo>
                <a:cubicBezTo>
                  <a:pt x="13062" y="19469"/>
                  <a:pt x="13000" y="19469"/>
                  <a:pt x="12968" y="19469"/>
                </a:cubicBezTo>
                <a:cubicBezTo>
                  <a:pt x="12937" y="19469"/>
                  <a:pt x="12906" y="19500"/>
                  <a:pt x="12875" y="19500"/>
                </a:cubicBezTo>
                <a:cubicBezTo>
                  <a:pt x="12937" y="19469"/>
                  <a:pt x="13000" y="19531"/>
                  <a:pt x="13031" y="19500"/>
                </a:cubicBezTo>
                <a:cubicBezTo>
                  <a:pt x="13062" y="19500"/>
                  <a:pt x="13062" y="19469"/>
                  <a:pt x="13062" y="19500"/>
                </a:cubicBezTo>
                <a:cubicBezTo>
                  <a:pt x="13093" y="19531"/>
                  <a:pt x="13093" y="19531"/>
                  <a:pt x="13093" y="19562"/>
                </a:cubicBezTo>
                <a:cubicBezTo>
                  <a:pt x="13093" y="19594"/>
                  <a:pt x="13062" y="19594"/>
                  <a:pt x="13062" y="19594"/>
                </a:cubicBezTo>
                <a:cubicBezTo>
                  <a:pt x="12843" y="19594"/>
                  <a:pt x="12625" y="19594"/>
                  <a:pt x="12406" y="19594"/>
                </a:cubicBezTo>
                <a:cubicBezTo>
                  <a:pt x="12312" y="19594"/>
                  <a:pt x="12187" y="19562"/>
                  <a:pt x="12093" y="19500"/>
                </a:cubicBezTo>
                <a:cubicBezTo>
                  <a:pt x="12156" y="19469"/>
                  <a:pt x="12218" y="19531"/>
                  <a:pt x="12281" y="19500"/>
                </a:cubicBezTo>
                <a:cubicBezTo>
                  <a:pt x="12218" y="19500"/>
                  <a:pt x="12125" y="19469"/>
                  <a:pt x="12031" y="19437"/>
                </a:cubicBezTo>
                <a:cubicBezTo>
                  <a:pt x="11968" y="19437"/>
                  <a:pt x="11875" y="19406"/>
                  <a:pt x="11812" y="19344"/>
                </a:cubicBezTo>
                <a:cubicBezTo>
                  <a:pt x="11750" y="19312"/>
                  <a:pt x="11656" y="19281"/>
                  <a:pt x="11562" y="19250"/>
                </a:cubicBezTo>
                <a:cubicBezTo>
                  <a:pt x="11406" y="19219"/>
                  <a:pt x="11250" y="19187"/>
                  <a:pt x="11093" y="19156"/>
                </a:cubicBezTo>
                <a:cubicBezTo>
                  <a:pt x="10968" y="19156"/>
                  <a:pt x="10875" y="19125"/>
                  <a:pt x="10750" y="19094"/>
                </a:cubicBezTo>
                <a:cubicBezTo>
                  <a:pt x="10718" y="19094"/>
                  <a:pt x="10687" y="19094"/>
                  <a:pt x="10656" y="19062"/>
                </a:cubicBezTo>
                <a:cubicBezTo>
                  <a:pt x="10531" y="19062"/>
                  <a:pt x="10406" y="19062"/>
                  <a:pt x="10281" y="19000"/>
                </a:cubicBezTo>
                <a:cubicBezTo>
                  <a:pt x="10250" y="19000"/>
                  <a:pt x="10218" y="19000"/>
                  <a:pt x="10187" y="19000"/>
                </a:cubicBezTo>
                <a:cubicBezTo>
                  <a:pt x="10187" y="19062"/>
                  <a:pt x="10156" y="19031"/>
                  <a:pt x="10125" y="19000"/>
                </a:cubicBezTo>
                <a:cubicBezTo>
                  <a:pt x="10000" y="18937"/>
                  <a:pt x="9843" y="18875"/>
                  <a:pt x="9687" y="18844"/>
                </a:cubicBezTo>
                <a:cubicBezTo>
                  <a:pt x="9593" y="18844"/>
                  <a:pt x="9531" y="18812"/>
                  <a:pt x="9468" y="18781"/>
                </a:cubicBezTo>
                <a:cubicBezTo>
                  <a:pt x="9343" y="18750"/>
                  <a:pt x="9187" y="18719"/>
                  <a:pt x="9062" y="18625"/>
                </a:cubicBezTo>
                <a:cubicBezTo>
                  <a:pt x="8968" y="18562"/>
                  <a:pt x="8875" y="18531"/>
                  <a:pt x="8812" y="18469"/>
                </a:cubicBezTo>
                <a:cubicBezTo>
                  <a:pt x="8750" y="18437"/>
                  <a:pt x="8718" y="18437"/>
                  <a:pt x="8656" y="18406"/>
                </a:cubicBezTo>
                <a:cubicBezTo>
                  <a:pt x="8781" y="18406"/>
                  <a:pt x="8843" y="18437"/>
                  <a:pt x="8937" y="18500"/>
                </a:cubicBezTo>
                <a:cubicBezTo>
                  <a:pt x="9031" y="18562"/>
                  <a:pt x="9156" y="18625"/>
                  <a:pt x="9281" y="18687"/>
                </a:cubicBezTo>
                <a:cubicBezTo>
                  <a:pt x="9343" y="18719"/>
                  <a:pt x="9437" y="18719"/>
                  <a:pt x="9500" y="18750"/>
                </a:cubicBezTo>
                <a:cubicBezTo>
                  <a:pt x="9593" y="18781"/>
                  <a:pt x="9656" y="18781"/>
                  <a:pt x="9718" y="18812"/>
                </a:cubicBezTo>
                <a:cubicBezTo>
                  <a:pt x="9875" y="18844"/>
                  <a:pt x="10031" y="18906"/>
                  <a:pt x="10187" y="19000"/>
                </a:cubicBezTo>
                <a:cubicBezTo>
                  <a:pt x="10250" y="18937"/>
                  <a:pt x="10312" y="19000"/>
                  <a:pt x="10375" y="19000"/>
                </a:cubicBezTo>
                <a:lnTo>
                  <a:pt x="10375" y="19000"/>
                </a:lnTo>
                <a:cubicBezTo>
                  <a:pt x="10500" y="19031"/>
                  <a:pt x="10593" y="19031"/>
                  <a:pt x="10687" y="19031"/>
                </a:cubicBezTo>
                <a:cubicBezTo>
                  <a:pt x="10812" y="19062"/>
                  <a:pt x="10937" y="19094"/>
                  <a:pt x="11062" y="19125"/>
                </a:cubicBezTo>
                <a:cubicBezTo>
                  <a:pt x="11125" y="19156"/>
                  <a:pt x="11218" y="19156"/>
                  <a:pt x="11312" y="19156"/>
                </a:cubicBezTo>
                <a:cubicBezTo>
                  <a:pt x="11406" y="19156"/>
                  <a:pt x="11531" y="19219"/>
                  <a:pt x="11625" y="19250"/>
                </a:cubicBezTo>
                <a:cubicBezTo>
                  <a:pt x="11656" y="19250"/>
                  <a:pt x="11687" y="19281"/>
                  <a:pt x="11718" y="19250"/>
                </a:cubicBezTo>
                <a:cubicBezTo>
                  <a:pt x="11593" y="19156"/>
                  <a:pt x="11406" y="19094"/>
                  <a:pt x="11218" y="19062"/>
                </a:cubicBezTo>
                <a:cubicBezTo>
                  <a:pt x="11187" y="19062"/>
                  <a:pt x="11187" y="19062"/>
                  <a:pt x="11156" y="19031"/>
                </a:cubicBezTo>
                <a:cubicBezTo>
                  <a:pt x="11312" y="19062"/>
                  <a:pt x="11437" y="19062"/>
                  <a:pt x="11593" y="19125"/>
                </a:cubicBezTo>
                <a:cubicBezTo>
                  <a:pt x="11593" y="19125"/>
                  <a:pt x="11593" y="19125"/>
                  <a:pt x="11593" y="19125"/>
                </a:cubicBezTo>
                <a:cubicBezTo>
                  <a:pt x="11656" y="19219"/>
                  <a:pt x="11750" y="19219"/>
                  <a:pt x="11843" y="19250"/>
                </a:cubicBezTo>
                <a:cubicBezTo>
                  <a:pt x="11843" y="19250"/>
                  <a:pt x="11875" y="19250"/>
                  <a:pt x="11906" y="19281"/>
                </a:cubicBezTo>
                <a:cubicBezTo>
                  <a:pt x="11843" y="19281"/>
                  <a:pt x="11781" y="19250"/>
                  <a:pt x="11718" y="19250"/>
                </a:cubicBezTo>
                <a:cubicBezTo>
                  <a:pt x="11781" y="19344"/>
                  <a:pt x="11875" y="19312"/>
                  <a:pt x="11937" y="19344"/>
                </a:cubicBezTo>
                <a:cubicBezTo>
                  <a:pt x="11968" y="19344"/>
                  <a:pt x="12031" y="19344"/>
                  <a:pt x="12062" y="19375"/>
                </a:cubicBezTo>
                <a:cubicBezTo>
                  <a:pt x="12125" y="19375"/>
                  <a:pt x="12187" y="19375"/>
                  <a:pt x="12281" y="19375"/>
                </a:cubicBezTo>
                <a:cubicBezTo>
                  <a:pt x="12281" y="19375"/>
                  <a:pt x="12312" y="19375"/>
                  <a:pt x="12312" y="19375"/>
                </a:cubicBezTo>
                <a:cubicBezTo>
                  <a:pt x="12312" y="19406"/>
                  <a:pt x="12281" y="19406"/>
                  <a:pt x="12281" y="19406"/>
                </a:cubicBezTo>
                <a:cubicBezTo>
                  <a:pt x="12156" y="19406"/>
                  <a:pt x="12062" y="19406"/>
                  <a:pt x="11968" y="19375"/>
                </a:cubicBezTo>
                <a:cubicBezTo>
                  <a:pt x="11906" y="19344"/>
                  <a:pt x="11875" y="19344"/>
                  <a:pt x="11812" y="19344"/>
                </a:cubicBezTo>
                <a:cubicBezTo>
                  <a:pt x="11750" y="19375"/>
                  <a:pt x="11687" y="19344"/>
                  <a:pt x="11593" y="19344"/>
                </a:cubicBezTo>
                <a:cubicBezTo>
                  <a:pt x="11593" y="19312"/>
                  <a:pt x="11593" y="19312"/>
                  <a:pt x="11593" y="19312"/>
                </a:cubicBezTo>
                <a:cubicBezTo>
                  <a:pt x="11500" y="19312"/>
                  <a:pt x="11406" y="19281"/>
                  <a:pt x="11312" y="19281"/>
                </a:cubicBezTo>
                <a:cubicBezTo>
                  <a:pt x="11250" y="19281"/>
                  <a:pt x="11187" y="19281"/>
                  <a:pt x="11125" y="19250"/>
                </a:cubicBezTo>
                <a:cubicBezTo>
                  <a:pt x="11062" y="19219"/>
                  <a:pt x="10937" y="19187"/>
                  <a:pt x="10843" y="19187"/>
                </a:cubicBezTo>
                <a:cubicBezTo>
                  <a:pt x="10812" y="19156"/>
                  <a:pt x="10781" y="19125"/>
                  <a:pt x="10718" y="19187"/>
                </a:cubicBezTo>
                <a:cubicBezTo>
                  <a:pt x="10875" y="19187"/>
                  <a:pt x="11031" y="19281"/>
                  <a:pt x="11187" y="19281"/>
                </a:cubicBezTo>
                <a:cubicBezTo>
                  <a:pt x="11312" y="19312"/>
                  <a:pt x="11468" y="19344"/>
                  <a:pt x="11593" y="19344"/>
                </a:cubicBezTo>
                <a:cubicBezTo>
                  <a:pt x="11750" y="19375"/>
                  <a:pt x="11906" y="19437"/>
                  <a:pt x="12062" y="19500"/>
                </a:cubicBezTo>
                <a:cubicBezTo>
                  <a:pt x="12000" y="19500"/>
                  <a:pt x="11968" y="19500"/>
                  <a:pt x="11937" y="19500"/>
                </a:cubicBezTo>
                <a:cubicBezTo>
                  <a:pt x="11781" y="19437"/>
                  <a:pt x="11625" y="19406"/>
                  <a:pt x="11437" y="19406"/>
                </a:cubicBezTo>
                <a:cubicBezTo>
                  <a:pt x="11375" y="19406"/>
                  <a:pt x="11312" y="19375"/>
                  <a:pt x="11218" y="19375"/>
                </a:cubicBezTo>
                <a:cubicBezTo>
                  <a:pt x="11093" y="19344"/>
                  <a:pt x="10968" y="19312"/>
                  <a:pt x="10843" y="19312"/>
                </a:cubicBezTo>
                <a:cubicBezTo>
                  <a:pt x="10843" y="19281"/>
                  <a:pt x="10812" y="19281"/>
                  <a:pt x="10781" y="19281"/>
                </a:cubicBezTo>
                <a:cubicBezTo>
                  <a:pt x="10687" y="19281"/>
                  <a:pt x="10593" y="19250"/>
                  <a:pt x="10468" y="19250"/>
                </a:cubicBezTo>
                <a:cubicBezTo>
                  <a:pt x="10406" y="19219"/>
                  <a:pt x="10343" y="19187"/>
                  <a:pt x="10250" y="19187"/>
                </a:cubicBezTo>
                <a:cubicBezTo>
                  <a:pt x="10218" y="19156"/>
                  <a:pt x="10218" y="19125"/>
                  <a:pt x="10187" y="19094"/>
                </a:cubicBezTo>
                <a:cubicBezTo>
                  <a:pt x="9906" y="18969"/>
                  <a:pt x="9625" y="18906"/>
                  <a:pt x="9312" y="18781"/>
                </a:cubicBezTo>
                <a:cubicBezTo>
                  <a:pt x="9218" y="18750"/>
                  <a:pt x="9156" y="18719"/>
                  <a:pt x="9062" y="18687"/>
                </a:cubicBezTo>
                <a:cubicBezTo>
                  <a:pt x="8968" y="18625"/>
                  <a:pt x="8906" y="18562"/>
                  <a:pt x="8781" y="18562"/>
                </a:cubicBezTo>
                <a:cubicBezTo>
                  <a:pt x="8781" y="18562"/>
                  <a:pt x="8750" y="18562"/>
                  <a:pt x="8750" y="18531"/>
                </a:cubicBezTo>
                <a:lnTo>
                  <a:pt x="8750" y="18531"/>
                </a:lnTo>
                <a:cubicBezTo>
                  <a:pt x="8750" y="18531"/>
                  <a:pt x="8750" y="18531"/>
                  <a:pt x="8750" y="18531"/>
                </a:cubicBezTo>
                <a:cubicBezTo>
                  <a:pt x="8750" y="18562"/>
                  <a:pt x="8781" y="18562"/>
                  <a:pt x="8781" y="18562"/>
                </a:cubicBezTo>
                <a:cubicBezTo>
                  <a:pt x="8781" y="18562"/>
                  <a:pt x="8812" y="18594"/>
                  <a:pt x="8812" y="18594"/>
                </a:cubicBezTo>
                <a:lnTo>
                  <a:pt x="8812" y="18594"/>
                </a:lnTo>
                <a:cubicBezTo>
                  <a:pt x="9000" y="18750"/>
                  <a:pt x="9250" y="18812"/>
                  <a:pt x="9500" y="18906"/>
                </a:cubicBezTo>
                <a:cubicBezTo>
                  <a:pt x="9687" y="18937"/>
                  <a:pt x="9843" y="19031"/>
                  <a:pt x="10031" y="19094"/>
                </a:cubicBezTo>
                <a:cubicBezTo>
                  <a:pt x="10093" y="19125"/>
                  <a:pt x="10156" y="19156"/>
                  <a:pt x="10250" y="19187"/>
                </a:cubicBezTo>
                <a:cubicBezTo>
                  <a:pt x="10312" y="19250"/>
                  <a:pt x="10375" y="19281"/>
                  <a:pt x="10468" y="19281"/>
                </a:cubicBezTo>
                <a:cubicBezTo>
                  <a:pt x="10593" y="19312"/>
                  <a:pt x="10718" y="19312"/>
                  <a:pt x="10843" y="19312"/>
                </a:cubicBezTo>
                <a:cubicBezTo>
                  <a:pt x="10937" y="19344"/>
                  <a:pt x="11031" y="19375"/>
                  <a:pt x="11093" y="19375"/>
                </a:cubicBezTo>
                <a:cubicBezTo>
                  <a:pt x="11343" y="19437"/>
                  <a:pt x="11593" y="19437"/>
                  <a:pt x="11812" y="19500"/>
                </a:cubicBezTo>
                <a:cubicBezTo>
                  <a:pt x="11906" y="19531"/>
                  <a:pt x="12000" y="19531"/>
                  <a:pt x="12093" y="19562"/>
                </a:cubicBezTo>
                <a:cubicBezTo>
                  <a:pt x="12218" y="19594"/>
                  <a:pt x="12312" y="19625"/>
                  <a:pt x="12437" y="19625"/>
                </a:cubicBezTo>
                <a:cubicBezTo>
                  <a:pt x="12500" y="19625"/>
                  <a:pt x="12562" y="19594"/>
                  <a:pt x="12656" y="19594"/>
                </a:cubicBezTo>
                <a:cubicBezTo>
                  <a:pt x="12781" y="19625"/>
                  <a:pt x="12906" y="19625"/>
                  <a:pt x="13031" y="19594"/>
                </a:cubicBezTo>
                <a:cubicBezTo>
                  <a:pt x="13093" y="19594"/>
                  <a:pt x="13187" y="19562"/>
                  <a:pt x="13218" y="19625"/>
                </a:cubicBezTo>
                <a:cubicBezTo>
                  <a:pt x="13187" y="19719"/>
                  <a:pt x="13093" y="19687"/>
                  <a:pt x="13031" y="19687"/>
                </a:cubicBezTo>
                <a:cubicBezTo>
                  <a:pt x="13000" y="19687"/>
                  <a:pt x="12968" y="19687"/>
                  <a:pt x="12968" y="19719"/>
                </a:cubicBezTo>
                <a:cubicBezTo>
                  <a:pt x="12906" y="19750"/>
                  <a:pt x="12875" y="19750"/>
                  <a:pt x="12812" y="19750"/>
                </a:cubicBezTo>
                <a:cubicBezTo>
                  <a:pt x="12812" y="19687"/>
                  <a:pt x="12781" y="19687"/>
                  <a:pt x="12750" y="19687"/>
                </a:cubicBezTo>
                <a:cubicBezTo>
                  <a:pt x="12625" y="19687"/>
                  <a:pt x="12531" y="19687"/>
                  <a:pt x="12437" y="19687"/>
                </a:cubicBezTo>
                <a:cubicBezTo>
                  <a:pt x="12218" y="19625"/>
                  <a:pt x="12031" y="19594"/>
                  <a:pt x="11843" y="19562"/>
                </a:cubicBezTo>
                <a:cubicBezTo>
                  <a:pt x="11843" y="19562"/>
                  <a:pt x="11812" y="19562"/>
                  <a:pt x="11812" y="19562"/>
                </a:cubicBezTo>
                <a:cubicBezTo>
                  <a:pt x="11812" y="19562"/>
                  <a:pt x="11812" y="19562"/>
                  <a:pt x="11781" y="19562"/>
                </a:cubicBezTo>
                <a:cubicBezTo>
                  <a:pt x="11781" y="19562"/>
                  <a:pt x="11781" y="19562"/>
                  <a:pt x="11781" y="19562"/>
                </a:cubicBezTo>
                <a:cubicBezTo>
                  <a:pt x="11750" y="19562"/>
                  <a:pt x="11750" y="19562"/>
                  <a:pt x="11718" y="19594"/>
                </a:cubicBezTo>
                <a:cubicBezTo>
                  <a:pt x="11687" y="19531"/>
                  <a:pt x="11656" y="19531"/>
                  <a:pt x="11593" y="19531"/>
                </a:cubicBezTo>
                <a:cubicBezTo>
                  <a:pt x="11406" y="19562"/>
                  <a:pt x="11250" y="19469"/>
                  <a:pt x="11062" y="19437"/>
                </a:cubicBezTo>
                <a:cubicBezTo>
                  <a:pt x="10968" y="19406"/>
                  <a:pt x="10906" y="19406"/>
                  <a:pt x="10812" y="19406"/>
                </a:cubicBezTo>
                <a:cubicBezTo>
                  <a:pt x="10843" y="19437"/>
                  <a:pt x="10875" y="19437"/>
                  <a:pt x="10906" y="19437"/>
                </a:cubicBezTo>
                <a:cubicBezTo>
                  <a:pt x="11062" y="19437"/>
                  <a:pt x="11218" y="19500"/>
                  <a:pt x="11343" y="19531"/>
                </a:cubicBezTo>
                <a:cubicBezTo>
                  <a:pt x="11468" y="19562"/>
                  <a:pt x="11593" y="19594"/>
                  <a:pt x="11718" y="19594"/>
                </a:cubicBezTo>
                <a:cubicBezTo>
                  <a:pt x="11750" y="19594"/>
                  <a:pt x="11750" y="19594"/>
                  <a:pt x="11781" y="19594"/>
                </a:cubicBezTo>
                <a:cubicBezTo>
                  <a:pt x="11875" y="19562"/>
                  <a:pt x="11968" y="19594"/>
                  <a:pt x="12062" y="19625"/>
                </a:cubicBezTo>
                <a:cubicBezTo>
                  <a:pt x="12156" y="19656"/>
                  <a:pt x="12250" y="19687"/>
                  <a:pt x="12375" y="19719"/>
                </a:cubicBezTo>
                <a:cubicBezTo>
                  <a:pt x="12406" y="19750"/>
                  <a:pt x="12343" y="19750"/>
                  <a:pt x="12343" y="19750"/>
                </a:cubicBezTo>
                <a:cubicBezTo>
                  <a:pt x="12312" y="19719"/>
                  <a:pt x="12281" y="19750"/>
                  <a:pt x="12250" y="19750"/>
                </a:cubicBezTo>
                <a:cubicBezTo>
                  <a:pt x="12218" y="19750"/>
                  <a:pt x="12218" y="19750"/>
                  <a:pt x="12187" y="19750"/>
                </a:cubicBezTo>
                <a:cubicBezTo>
                  <a:pt x="12218" y="19750"/>
                  <a:pt x="12218" y="19750"/>
                  <a:pt x="12250" y="19750"/>
                </a:cubicBezTo>
                <a:cubicBezTo>
                  <a:pt x="12250" y="19719"/>
                  <a:pt x="12218" y="19719"/>
                  <a:pt x="12218" y="19719"/>
                </a:cubicBezTo>
                <a:cubicBezTo>
                  <a:pt x="12156" y="19687"/>
                  <a:pt x="12125" y="19687"/>
                  <a:pt x="12093" y="19687"/>
                </a:cubicBezTo>
                <a:cubicBezTo>
                  <a:pt x="11781" y="19687"/>
                  <a:pt x="11500" y="19656"/>
                  <a:pt x="11218" y="19594"/>
                </a:cubicBezTo>
                <a:cubicBezTo>
                  <a:pt x="11093" y="19562"/>
                  <a:pt x="11000" y="19562"/>
                  <a:pt x="10875" y="19531"/>
                </a:cubicBezTo>
                <a:cubicBezTo>
                  <a:pt x="10718" y="19500"/>
                  <a:pt x="10531" y="19531"/>
                  <a:pt x="10375" y="19469"/>
                </a:cubicBezTo>
                <a:cubicBezTo>
                  <a:pt x="10375" y="19437"/>
                  <a:pt x="10343" y="19437"/>
                  <a:pt x="10343" y="19469"/>
                </a:cubicBezTo>
                <a:cubicBezTo>
                  <a:pt x="10343" y="19500"/>
                  <a:pt x="10343" y="19500"/>
                  <a:pt x="10375" y="19500"/>
                </a:cubicBezTo>
                <a:cubicBezTo>
                  <a:pt x="10437" y="19500"/>
                  <a:pt x="10468" y="19531"/>
                  <a:pt x="10531" y="19531"/>
                </a:cubicBezTo>
                <a:cubicBezTo>
                  <a:pt x="10718" y="19562"/>
                  <a:pt x="10906" y="19562"/>
                  <a:pt x="11062" y="19594"/>
                </a:cubicBezTo>
                <a:cubicBezTo>
                  <a:pt x="11093" y="19594"/>
                  <a:pt x="11093" y="19594"/>
                  <a:pt x="11125" y="19562"/>
                </a:cubicBezTo>
                <a:cubicBezTo>
                  <a:pt x="11093" y="19594"/>
                  <a:pt x="11093" y="19594"/>
                  <a:pt x="11062" y="19594"/>
                </a:cubicBezTo>
                <a:cubicBezTo>
                  <a:pt x="11218" y="19594"/>
                  <a:pt x="11312" y="19656"/>
                  <a:pt x="11437" y="19656"/>
                </a:cubicBezTo>
                <a:cubicBezTo>
                  <a:pt x="11656" y="19719"/>
                  <a:pt x="11875" y="19719"/>
                  <a:pt x="12062" y="19750"/>
                </a:cubicBezTo>
                <a:cubicBezTo>
                  <a:pt x="12062" y="19750"/>
                  <a:pt x="12062" y="19750"/>
                  <a:pt x="12062" y="19750"/>
                </a:cubicBezTo>
                <a:cubicBezTo>
                  <a:pt x="11906" y="19781"/>
                  <a:pt x="11718" y="19750"/>
                  <a:pt x="11531" y="19750"/>
                </a:cubicBezTo>
                <a:cubicBezTo>
                  <a:pt x="11468" y="19750"/>
                  <a:pt x="11375" y="19781"/>
                  <a:pt x="11312" y="19719"/>
                </a:cubicBezTo>
                <a:cubicBezTo>
                  <a:pt x="11218" y="19687"/>
                  <a:pt x="11093" y="19656"/>
                  <a:pt x="10968" y="19687"/>
                </a:cubicBezTo>
                <a:cubicBezTo>
                  <a:pt x="11062" y="19687"/>
                  <a:pt x="11156" y="19719"/>
                  <a:pt x="11250" y="19719"/>
                </a:cubicBezTo>
                <a:cubicBezTo>
                  <a:pt x="11281" y="19719"/>
                  <a:pt x="11281" y="19719"/>
                  <a:pt x="11281" y="19719"/>
                </a:cubicBezTo>
                <a:cubicBezTo>
                  <a:pt x="11281" y="19719"/>
                  <a:pt x="11281" y="19719"/>
                  <a:pt x="11250" y="19719"/>
                </a:cubicBezTo>
                <a:cubicBezTo>
                  <a:pt x="11281" y="19719"/>
                  <a:pt x="11281" y="19750"/>
                  <a:pt x="11281" y="19750"/>
                </a:cubicBezTo>
                <a:cubicBezTo>
                  <a:pt x="11281" y="19750"/>
                  <a:pt x="11250" y="19750"/>
                  <a:pt x="11250" y="19750"/>
                </a:cubicBezTo>
                <a:cubicBezTo>
                  <a:pt x="11156" y="19750"/>
                  <a:pt x="11062" y="19750"/>
                  <a:pt x="10968" y="19750"/>
                </a:cubicBezTo>
                <a:cubicBezTo>
                  <a:pt x="10781" y="19750"/>
                  <a:pt x="10593" y="19750"/>
                  <a:pt x="10406" y="19750"/>
                </a:cubicBezTo>
                <a:cubicBezTo>
                  <a:pt x="10375" y="19750"/>
                  <a:pt x="10312" y="19781"/>
                  <a:pt x="10281" y="19750"/>
                </a:cubicBezTo>
                <a:cubicBezTo>
                  <a:pt x="10187" y="19687"/>
                  <a:pt x="10093" y="19625"/>
                  <a:pt x="9968" y="19594"/>
                </a:cubicBezTo>
                <a:cubicBezTo>
                  <a:pt x="9937" y="19531"/>
                  <a:pt x="9906" y="19562"/>
                  <a:pt x="9843" y="19531"/>
                </a:cubicBezTo>
                <a:cubicBezTo>
                  <a:pt x="9718" y="19469"/>
                  <a:pt x="9593" y="19437"/>
                  <a:pt x="9468" y="19406"/>
                </a:cubicBezTo>
                <a:cubicBezTo>
                  <a:pt x="9343" y="19375"/>
                  <a:pt x="9218" y="19312"/>
                  <a:pt x="9093" y="19250"/>
                </a:cubicBezTo>
                <a:cubicBezTo>
                  <a:pt x="9062" y="19219"/>
                  <a:pt x="9062" y="19219"/>
                  <a:pt x="9031" y="19219"/>
                </a:cubicBezTo>
                <a:cubicBezTo>
                  <a:pt x="9062" y="19281"/>
                  <a:pt x="9125" y="19312"/>
                  <a:pt x="9218" y="19344"/>
                </a:cubicBezTo>
                <a:cubicBezTo>
                  <a:pt x="9375" y="19406"/>
                  <a:pt x="9562" y="19500"/>
                  <a:pt x="9750" y="19531"/>
                </a:cubicBezTo>
                <a:cubicBezTo>
                  <a:pt x="9812" y="19562"/>
                  <a:pt x="9875" y="19594"/>
                  <a:pt x="9937" y="19594"/>
                </a:cubicBezTo>
                <a:cubicBezTo>
                  <a:pt x="10031" y="19656"/>
                  <a:pt x="10093" y="19687"/>
                  <a:pt x="10187" y="19750"/>
                </a:cubicBezTo>
                <a:cubicBezTo>
                  <a:pt x="10125" y="19781"/>
                  <a:pt x="10093" y="19750"/>
                  <a:pt x="10062" y="19719"/>
                </a:cubicBezTo>
                <a:cubicBezTo>
                  <a:pt x="9937" y="19656"/>
                  <a:pt x="9843" y="19625"/>
                  <a:pt x="9718" y="19594"/>
                </a:cubicBezTo>
                <a:cubicBezTo>
                  <a:pt x="9656" y="19562"/>
                  <a:pt x="9625" y="19562"/>
                  <a:pt x="9562" y="19562"/>
                </a:cubicBezTo>
                <a:cubicBezTo>
                  <a:pt x="9531" y="19562"/>
                  <a:pt x="9468" y="19531"/>
                  <a:pt x="9406" y="19500"/>
                </a:cubicBezTo>
                <a:cubicBezTo>
                  <a:pt x="9250" y="19437"/>
                  <a:pt x="9062" y="19344"/>
                  <a:pt x="8906" y="19250"/>
                </a:cubicBezTo>
                <a:cubicBezTo>
                  <a:pt x="8843" y="19219"/>
                  <a:pt x="8781" y="19187"/>
                  <a:pt x="8687" y="19187"/>
                </a:cubicBezTo>
                <a:cubicBezTo>
                  <a:pt x="8750" y="19219"/>
                  <a:pt x="8812" y="19250"/>
                  <a:pt x="8875" y="19281"/>
                </a:cubicBezTo>
                <a:cubicBezTo>
                  <a:pt x="9000" y="19375"/>
                  <a:pt x="9125" y="19469"/>
                  <a:pt x="9281" y="19500"/>
                </a:cubicBezTo>
                <a:cubicBezTo>
                  <a:pt x="9312" y="19500"/>
                  <a:pt x="9375" y="19500"/>
                  <a:pt x="9343" y="19531"/>
                </a:cubicBezTo>
                <a:cubicBezTo>
                  <a:pt x="9343" y="19594"/>
                  <a:pt x="9312" y="19562"/>
                  <a:pt x="9281" y="19562"/>
                </a:cubicBezTo>
                <a:cubicBezTo>
                  <a:pt x="9187" y="19531"/>
                  <a:pt x="9125" y="19500"/>
                  <a:pt x="9062" y="19437"/>
                </a:cubicBezTo>
                <a:cubicBezTo>
                  <a:pt x="9031" y="19437"/>
                  <a:pt x="9000" y="19406"/>
                  <a:pt x="8937" y="19406"/>
                </a:cubicBezTo>
                <a:cubicBezTo>
                  <a:pt x="8968" y="19437"/>
                  <a:pt x="9000" y="19437"/>
                  <a:pt x="9031" y="19437"/>
                </a:cubicBezTo>
                <a:cubicBezTo>
                  <a:pt x="9062" y="19500"/>
                  <a:pt x="9156" y="19531"/>
                  <a:pt x="9218" y="19594"/>
                </a:cubicBezTo>
                <a:cubicBezTo>
                  <a:pt x="9093" y="19562"/>
                  <a:pt x="9000" y="19500"/>
                  <a:pt x="8875" y="19500"/>
                </a:cubicBezTo>
                <a:cubicBezTo>
                  <a:pt x="8937" y="19531"/>
                  <a:pt x="9000" y="19562"/>
                  <a:pt x="9062" y="19594"/>
                </a:cubicBezTo>
                <a:cubicBezTo>
                  <a:pt x="9125" y="19625"/>
                  <a:pt x="9125" y="19625"/>
                  <a:pt x="9093" y="19656"/>
                </a:cubicBezTo>
                <a:cubicBezTo>
                  <a:pt x="9062" y="19687"/>
                  <a:pt x="9031" y="19687"/>
                  <a:pt x="9000" y="19719"/>
                </a:cubicBezTo>
                <a:cubicBezTo>
                  <a:pt x="8968" y="19750"/>
                  <a:pt x="8906" y="19719"/>
                  <a:pt x="8906" y="19656"/>
                </a:cubicBezTo>
                <a:cubicBezTo>
                  <a:pt x="8906" y="19625"/>
                  <a:pt x="8875" y="19625"/>
                  <a:pt x="8875" y="19594"/>
                </a:cubicBezTo>
                <a:cubicBezTo>
                  <a:pt x="8875" y="19562"/>
                  <a:pt x="8875" y="19562"/>
                  <a:pt x="8843" y="19562"/>
                </a:cubicBezTo>
                <a:cubicBezTo>
                  <a:pt x="8812" y="19562"/>
                  <a:pt x="8843" y="19594"/>
                  <a:pt x="8843" y="19594"/>
                </a:cubicBezTo>
                <a:cubicBezTo>
                  <a:pt x="8875" y="19625"/>
                  <a:pt x="8875" y="19625"/>
                  <a:pt x="8875" y="19656"/>
                </a:cubicBezTo>
                <a:cubicBezTo>
                  <a:pt x="8843" y="19687"/>
                  <a:pt x="8906" y="19719"/>
                  <a:pt x="8875" y="19750"/>
                </a:cubicBezTo>
                <a:cubicBezTo>
                  <a:pt x="8812" y="19750"/>
                  <a:pt x="8843" y="19687"/>
                  <a:pt x="8812" y="19656"/>
                </a:cubicBezTo>
                <a:cubicBezTo>
                  <a:pt x="8781" y="19687"/>
                  <a:pt x="8812" y="19750"/>
                  <a:pt x="8781" y="19781"/>
                </a:cubicBezTo>
                <a:cubicBezTo>
                  <a:pt x="8750" y="19750"/>
                  <a:pt x="8812" y="19687"/>
                  <a:pt x="8750" y="19687"/>
                </a:cubicBezTo>
                <a:cubicBezTo>
                  <a:pt x="8718" y="19656"/>
                  <a:pt x="8687" y="19687"/>
                  <a:pt x="8656" y="19687"/>
                </a:cubicBezTo>
                <a:cubicBezTo>
                  <a:pt x="8687" y="19625"/>
                  <a:pt x="8718" y="19656"/>
                  <a:pt x="8750" y="19625"/>
                </a:cubicBezTo>
                <a:cubicBezTo>
                  <a:pt x="8781" y="19625"/>
                  <a:pt x="8812" y="19625"/>
                  <a:pt x="8812" y="19594"/>
                </a:cubicBezTo>
                <a:cubicBezTo>
                  <a:pt x="8812" y="19594"/>
                  <a:pt x="8812" y="19562"/>
                  <a:pt x="8781" y="19562"/>
                </a:cubicBezTo>
                <a:cubicBezTo>
                  <a:pt x="8750" y="19562"/>
                  <a:pt x="8750" y="19562"/>
                  <a:pt x="8750" y="19562"/>
                </a:cubicBezTo>
                <a:cubicBezTo>
                  <a:pt x="8750" y="19562"/>
                  <a:pt x="8750" y="19562"/>
                  <a:pt x="8750" y="19562"/>
                </a:cubicBezTo>
                <a:lnTo>
                  <a:pt x="8750" y="19562"/>
                </a:lnTo>
                <a:cubicBezTo>
                  <a:pt x="8750" y="19531"/>
                  <a:pt x="8781" y="19531"/>
                  <a:pt x="8781" y="19562"/>
                </a:cubicBezTo>
                <a:cubicBezTo>
                  <a:pt x="8781" y="19594"/>
                  <a:pt x="8750" y="19594"/>
                  <a:pt x="8718" y="19594"/>
                </a:cubicBezTo>
                <a:cubicBezTo>
                  <a:pt x="8687" y="19594"/>
                  <a:pt x="8687" y="19594"/>
                  <a:pt x="8656" y="19562"/>
                </a:cubicBezTo>
                <a:cubicBezTo>
                  <a:pt x="8656" y="19531"/>
                  <a:pt x="8687" y="19562"/>
                  <a:pt x="8687" y="19531"/>
                </a:cubicBezTo>
                <a:cubicBezTo>
                  <a:pt x="8687" y="19500"/>
                  <a:pt x="8687" y="19469"/>
                  <a:pt x="8687" y="19406"/>
                </a:cubicBezTo>
                <a:cubicBezTo>
                  <a:pt x="8687" y="19344"/>
                  <a:pt x="8656" y="19281"/>
                  <a:pt x="8656" y="19219"/>
                </a:cubicBezTo>
                <a:cubicBezTo>
                  <a:pt x="8656" y="19125"/>
                  <a:pt x="8625" y="19062"/>
                  <a:pt x="8625" y="18969"/>
                </a:cubicBezTo>
                <a:cubicBezTo>
                  <a:pt x="8625" y="18906"/>
                  <a:pt x="8625" y="18844"/>
                  <a:pt x="8625" y="18781"/>
                </a:cubicBezTo>
                <a:cubicBezTo>
                  <a:pt x="8656" y="18719"/>
                  <a:pt x="8625" y="18656"/>
                  <a:pt x="8625" y="18594"/>
                </a:cubicBezTo>
                <a:cubicBezTo>
                  <a:pt x="8593" y="18500"/>
                  <a:pt x="8625" y="18500"/>
                  <a:pt x="8687" y="18500"/>
                </a:cubicBezTo>
                <a:cubicBezTo>
                  <a:pt x="8625" y="18500"/>
                  <a:pt x="8593" y="18469"/>
                  <a:pt x="8531" y="18437"/>
                </a:cubicBezTo>
                <a:cubicBezTo>
                  <a:pt x="8531" y="18437"/>
                  <a:pt x="8562" y="18437"/>
                  <a:pt x="8562" y="18406"/>
                </a:cubicBezTo>
                <a:cubicBezTo>
                  <a:pt x="8593" y="18406"/>
                  <a:pt x="8593" y="18406"/>
                  <a:pt x="8531" y="18344"/>
                </a:cubicBezTo>
                <a:cubicBezTo>
                  <a:pt x="8531" y="18344"/>
                  <a:pt x="8531" y="18312"/>
                  <a:pt x="8531" y="18312"/>
                </a:cubicBezTo>
                <a:cubicBezTo>
                  <a:pt x="8562" y="18312"/>
                  <a:pt x="8562" y="18312"/>
                  <a:pt x="8562" y="18312"/>
                </a:cubicBezTo>
                <a:cubicBezTo>
                  <a:pt x="8562" y="18312"/>
                  <a:pt x="8562" y="18312"/>
                  <a:pt x="8562" y="18312"/>
                </a:cubicBezTo>
                <a:cubicBezTo>
                  <a:pt x="8593" y="18281"/>
                  <a:pt x="8625" y="18312"/>
                  <a:pt x="8656" y="18312"/>
                </a:cubicBezTo>
                <a:cubicBezTo>
                  <a:pt x="8687" y="18344"/>
                  <a:pt x="8750" y="18375"/>
                  <a:pt x="8781" y="18344"/>
                </a:cubicBezTo>
                <a:cubicBezTo>
                  <a:pt x="8781" y="18344"/>
                  <a:pt x="8781" y="18344"/>
                  <a:pt x="8812" y="18344"/>
                </a:cubicBezTo>
                <a:cubicBezTo>
                  <a:pt x="8812" y="18375"/>
                  <a:pt x="8812" y="18375"/>
                  <a:pt x="8812" y="18375"/>
                </a:cubicBezTo>
                <a:cubicBezTo>
                  <a:pt x="8875" y="18406"/>
                  <a:pt x="8906" y="18437"/>
                  <a:pt x="8968" y="18469"/>
                </a:cubicBezTo>
                <a:cubicBezTo>
                  <a:pt x="9093" y="18531"/>
                  <a:pt x="9218" y="18594"/>
                  <a:pt x="9343" y="18625"/>
                </a:cubicBezTo>
                <a:cubicBezTo>
                  <a:pt x="9468" y="18656"/>
                  <a:pt x="9593" y="18687"/>
                  <a:pt x="9718" y="18750"/>
                </a:cubicBezTo>
                <a:cubicBezTo>
                  <a:pt x="9843" y="18781"/>
                  <a:pt x="9968" y="18812"/>
                  <a:pt x="10093" y="18875"/>
                </a:cubicBezTo>
                <a:cubicBezTo>
                  <a:pt x="10093" y="18906"/>
                  <a:pt x="10125" y="18906"/>
                  <a:pt x="10125" y="18875"/>
                </a:cubicBezTo>
                <a:cubicBezTo>
                  <a:pt x="10156" y="18875"/>
                  <a:pt x="10125" y="18844"/>
                  <a:pt x="10125" y="18844"/>
                </a:cubicBezTo>
                <a:cubicBezTo>
                  <a:pt x="9968" y="18781"/>
                  <a:pt x="9812" y="18719"/>
                  <a:pt x="9625" y="18656"/>
                </a:cubicBezTo>
                <a:cubicBezTo>
                  <a:pt x="9406" y="18594"/>
                  <a:pt x="9156" y="18500"/>
                  <a:pt x="8937" y="18375"/>
                </a:cubicBezTo>
                <a:cubicBezTo>
                  <a:pt x="8906" y="18344"/>
                  <a:pt x="8843" y="18312"/>
                  <a:pt x="8781" y="18312"/>
                </a:cubicBezTo>
                <a:cubicBezTo>
                  <a:pt x="8781" y="18281"/>
                  <a:pt x="8718" y="18281"/>
                  <a:pt x="8687" y="18281"/>
                </a:cubicBezTo>
                <a:cubicBezTo>
                  <a:pt x="8625" y="18250"/>
                  <a:pt x="8593" y="18250"/>
                  <a:pt x="8562" y="18187"/>
                </a:cubicBezTo>
                <a:cubicBezTo>
                  <a:pt x="8562" y="18187"/>
                  <a:pt x="8531" y="18156"/>
                  <a:pt x="8531" y="18156"/>
                </a:cubicBezTo>
                <a:cubicBezTo>
                  <a:pt x="8531" y="18125"/>
                  <a:pt x="8593" y="18125"/>
                  <a:pt x="8562" y="18094"/>
                </a:cubicBezTo>
                <a:cubicBezTo>
                  <a:pt x="8562" y="18094"/>
                  <a:pt x="8562" y="18094"/>
                  <a:pt x="8562" y="18062"/>
                </a:cubicBezTo>
                <a:cubicBezTo>
                  <a:pt x="8562" y="18062"/>
                  <a:pt x="8562" y="18062"/>
                  <a:pt x="8562" y="18062"/>
                </a:cubicBezTo>
                <a:cubicBezTo>
                  <a:pt x="8593" y="18031"/>
                  <a:pt x="8625" y="18062"/>
                  <a:pt x="8656" y="18062"/>
                </a:cubicBezTo>
                <a:cubicBezTo>
                  <a:pt x="8687" y="18094"/>
                  <a:pt x="8687" y="18094"/>
                  <a:pt x="8718" y="18094"/>
                </a:cubicBezTo>
                <a:cubicBezTo>
                  <a:pt x="8781" y="18094"/>
                  <a:pt x="8812" y="18125"/>
                  <a:pt x="8843" y="18156"/>
                </a:cubicBezTo>
                <a:cubicBezTo>
                  <a:pt x="8906" y="18187"/>
                  <a:pt x="9000" y="18250"/>
                  <a:pt x="9062" y="18281"/>
                </a:cubicBezTo>
                <a:cubicBezTo>
                  <a:pt x="9187" y="18344"/>
                  <a:pt x="9343" y="18375"/>
                  <a:pt x="9468" y="18437"/>
                </a:cubicBezTo>
                <a:cubicBezTo>
                  <a:pt x="9625" y="18469"/>
                  <a:pt x="9781" y="18531"/>
                  <a:pt x="9906" y="18594"/>
                </a:cubicBezTo>
                <a:cubicBezTo>
                  <a:pt x="9937" y="18625"/>
                  <a:pt x="10000" y="18625"/>
                  <a:pt x="10031" y="18625"/>
                </a:cubicBezTo>
                <a:cubicBezTo>
                  <a:pt x="10031" y="18594"/>
                  <a:pt x="10000" y="18562"/>
                  <a:pt x="10000" y="18562"/>
                </a:cubicBezTo>
                <a:cubicBezTo>
                  <a:pt x="9906" y="18562"/>
                  <a:pt x="9812" y="18500"/>
                  <a:pt x="9718" y="18469"/>
                </a:cubicBezTo>
                <a:cubicBezTo>
                  <a:pt x="9531" y="18406"/>
                  <a:pt x="9343" y="18375"/>
                  <a:pt x="9156" y="18281"/>
                </a:cubicBezTo>
                <a:cubicBezTo>
                  <a:pt x="9031" y="18219"/>
                  <a:pt x="8875" y="18125"/>
                  <a:pt x="8718" y="18062"/>
                </a:cubicBezTo>
                <a:cubicBezTo>
                  <a:pt x="8687" y="18031"/>
                  <a:pt x="8625" y="18031"/>
                  <a:pt x="8562" y="18000"/>
                </a:cubicBezTo>
                <a:cubicBezTo>
                  <a:pt x="8531" y="17937"/>
                  <a:pt x="8562" y="17875"/>
                  <a:pt x="8500" y="17812"/>
                </a:cubicBezTo>
                <a:cubicBezTo>
                  <a:pt x="8562" y="17781"/>
                  <a:pt x="8625" y="17844"/>
                  <a:pt x="8687" y="17844"/>
                </a:cubicBezTo>
                <a:cubicBezTo>
                  <a:pt x="8781" y="17875"/>
                  <a:pt x="8843" y="17937"/>
                  <a:pt x="8937" y="17969"/>
                </a:cubicBezTo>
                <a:cubicBezTo>
                  <a:pt x="9031" y="18031"/>
                  <a:pt x="9125" y="18094"/>
                  <a:pt x="9250" y="18125"/>
                </a:cubicBezTo>
                <a:cubicBezTo>
                  <a:pt x="9312" y="18156"/>
                  <a:pt x="9406" y="18187"/>
                  <a:pt x="9500" y="18219"/>
                </a:cubicBezTo>
                <a:cubicBezTo>
                  <a:pt x="9625" y="18250"/>
                  <a:pt x="9750" y="18281"/>
                  <a:pt x="9875" y="18375"/>
                </a:cubicBezTo>
                <a:cubicBezTo>
                  <a:pt x="9875" y="18375"/>
                  <a:pt x="9906" y="18375"/>
                  <a:pt x="9937" y="18344"/>
                </a:cubicBezTo>
                <a:cubicBezTo>
                  <a:pt x="9875" y="18312"/>
                  <a:pt x="9781" y="18250"/>
                  <a:pt x="9687" y="18219"/>
                </a:cubicBezTo>
                <a:cubicBezTo>
                  <a:pt x="9562" y="18187"/>
                  <a:pt x="9406" y="18125"/>
                  <a:pt x="9250" y="18094"/>
                </a:cubicBezTo>
                <a:cubicBezTo>
                  <a:pt x="9187" y="18062"/>
                  <a:pt x="9093" y="18031"/>
                  <a:pt x="9031" y="17969"/>
                </a:cubicBezTo>
                <a:cubicBezTo>
                  <a:pt x="8937" y="17906"/>
                  <a:pt x="8843" y="17844"/>
                  <a:pt x="8718" y="17844"/>
                </a:cubicBezTo>
                <a:cubicBezTo>
                  <a:pt x="8656" y="17781"/>
                  <a:pt x="8562" y="17781"/>
                  <a:pt x="8500" y="17750"/>
                </a:cubicBezTo>
                <a:cubicBezTo>
                  <a:pt x="8500" y="17750"/>
                  <a:pt x="8500" y="17719"/>
                  <a:pt x="8500" y="17719"/>
                </a:cubicBezTo>
                <a:cubicBezTo>
                  <a:pt x="8500" y="17719"/>
                  <a:pt x="8500" y="17719"/>
                  <a:pt x="8500" y="17719"/>
                </a:cubicBezTo>
                <a:cubicBezTo>
                  <a:pt x="8500" y="17687"/>
                  <a:pt x="8531" y="17687"/>
                  <a:pt x="8531" y="17656"/>
                </a:cubicBezTo>
                <a:cubicBezTo>
                  <a:pt x="8531" y="17562"/>
                  <a:pt x="8593" y="17594"/>
                  <a:pt x="8656" y="17625"/>
                </a:cubicBezTo>
                <a:cubicBezTo>
                  <a:pt x="8656" y="17625"/>
                  <a:pt x="8687" y="17625"/>
                  <a:pt x="8687" y="17625"/>
                </a:cubicBezTo>
                <a:cubicBezTo>
                  <a:pt x="8750" y="17687"/>
                  <a:pt x="8843" y="17719"/>
                  <a:pt x="8906" y="17750"/>
                </a:cubicBezTo>
                <a:cubicBezTo>
                  <a:pt x="8968" y="17812"/>
                  <a:pt x="9062" y="17844"/>
                  <a:pt x="9156" y="17875"/>
                </a:cubicBezTo>
                <a:cubicBezTo>
                  <a:pt x="9156" y="17875"/>
                  <a:pt x="9156" y="17875"/>
                  <a:pt x="9187" y="17875"/>
                </a:cubicBezTo>
                <a:cubicBezTo>
                  <a:pt x="9187" y="17875"/>
                  <a:pt x="9218" y="17875"/>
                  <a:pt x="9250" y="17875"/>
                </a:cubicBezTo>
                <a:cubicBezTo>
                  <a:pt x="9250" y="17906"/>
                  <a:pt x="9250" y="17906"/>
                  <a:pt x="9281" y="17906"/>
                </a:cubicBezTo>
                <a:cubicBezTo>
                  <a:pt x="9375" y="17937"/>
                  <a:pt x="9468" y="17969"/>
                  <a:pt x="9562" y="18000"/>
                </a:cubicBezTo>
                <a:cubicBezTo>
                  <a:pt x="9593" y="18031"/>
                  <a:pt x="9687" y="18031"/>
                  <a:pt x="9593" y="18094"/>
                </a:cubicBezTo>
                <a:cubicBezTo>
                  <a:pt x="9593" y="18125"/>
                  <a:pt x="9593" y="18125"/>
                  <a:pt x="9625" y="18125"/>
                </a:cubicBezTo>
                <a:cubicBezTo>
                  <a:pt x="9687" y="18156"/>
                  <a:pt x="9750" y="18187"/>
                  <a:pt x="9812" y="18219"/>
                </a:cubicBezTo>
                <a:cubicBezTo>
                  <a:pt x="9843" y="18250"/>
                  <a:pt x="9843" y="18250"/>
                  <a:pt x="9875" y="18219"/>
                </a:cubicBezTo>
                <a:cubicBezTo>
                  <a:pt x="9875" y="18219"/>
                  <a:pt x="9875" y="18187"/>
                  <a:pt x="9843" y="18187"/>
                </a:cubicBezTo>
                <a:cubicBezTo>
                  <a:pt x="9812" y="18187"/>
                  <a:pt x="9781" y="18156"/>
                  <a:pt x="9750" y="18156"/>
                </a:cubicBezTo>
                <a:cubicBezTo>
                  <a:pt x="9750" y="18125"/>
                  <a:pt x="9718" y="18125"/>
                  <a:pt x="9750" y="18125"/>
                </a:cubicBezTo>
                <a:cubicBezTo>
                  <a:pt x="9750" y="18094"/>
                  <a:pt x="9750" y="18094"/>
                  <a:pt x="9781" y="18094"/>
                </a:cubicBezTo>
                <a:cubicBezTo>
                  <a:pt x="9781" y="18094"/>
                  <a:pt x="9781" y="18094"/>
                  <a:pt x="9812" y="18094"/>
                </a:cubicBezTo>
                <a:cubicBezTo>
                  <a:pt x="9812" y="18062"/>
                  <a:pt x="9781" y="18062"/>
                  <a:pt x="9781" y="18062"/>
                </a:cubicBezTo>
                <a:cubicBezTo>
                  <a:pt x="9687" y="17969"/>
                  <a:pt x="9593" y="17937"/>
                  <a:pt x="9468" y="17906"/>
                </a:cubicBezTo>
                <a:cubicBezTo>
                  <a:pt x="9406" y="17875"/>
                  <a:pt x="9343" y="17844"/>
                  <a:pt x="9250" y="17844"/>
                </a:cubicBezTo>
                <a:cubicBezTo>
                  <a:pt x="9187" y="17844"/>
                  <a:pt x="9125" y="17812"/>
                  <a:pt x="9062" y="17781"/>
                </a:cubicBezTo>
                <a:cubicBezTo>
                  <a:pt x="8937" y="17719"/>
                  <a:pt x="8843" y="17625"/>
                  <a:pt x="8718" y="17625"/>
                </a:cubicBezTo>
                <a:cubicBezTo>
                  <a:pt x="8718" y="17625"/>
                  <a:pt x="8718" y="17625"/>
                  <a:pt x="8718" y="17625"/>
                </a:cubicBezTo>
                <a:cubicBezTo>
                  <a:pt x="8718" y="17594"/>
                  <a:pt x="8718" y="17594"/>
                  <a:pt x="8687" y="17594"/>
                </a:cubicBezTo>
                <a:cubicBezTo>
                  <a:pt x="8625" y="17562"/>
                  <a:pt x="8562" y="17531"/>
                  <a:pt x="8500" y="17531"/>
                </a:cubicBezTo>
                <a:cubicBezTo>
                  <a:pt x="8437" y="17500"/>
                  <a:pt x="8406" y="17500"/>
                  <a:pt x="8406" y="17437"/>
                </a:cubicBezTo>
                <a:cubicBezTo>
                  <a:pt x="8406" y="17406"/>
                  <a:pt x="8406" y="17375"/>
                  <a:pt x="8375" y="17406"/>
                </a:cubicBezTo>
                <a:cubicBezTo>
                  <a:pt x="8343" y="17375"/>
                  <a:pt x="8312" y="17344"/>
                  <a:pt x="8250" y="17312"/>
                </a:cubicBezTo>
                <a:cubicBezTo>
                  <a:pt x="8281" y="17312"/>
                  <a:pt x="8281" y="17312"/>
                  <a:pt x="8312" y="17312"/>
                </a:cubicBezTo>
                <a:cubicBezTo>
                  <a:pt x="8343" y="17344"/>
                  <a:pt x="8375" y="17344"/>
                  <a:pt x="8375" y="17312"/>
                </a:cubicBezTo>
                <a:cubicBezTo>
                  <a:pt x="8375" y="17281"/>
                  <a:pt x="8343" y="17250"/>
                  <a:pt x="8312" y="17250"/>
                </a:cubicBezTo>
                <a:cubicBezTo>
                  <a:pt x="8281" y="17250"/>
                  <a:pt x="8250" y="17219"/>
                  <a:pt x="8187" y="17187"/>
                </a:cubicBezTo>
                <a:cubicBezTo>
                  <a:pt x="8125" y="17156"/>
                  <a:pt x="8031" y="17094"/>
                  <a:pt x="7937" y="17062"/>
                </a:cubicBezTo>
                <a:cubicBezTo>
                  <a:pt x="7937" y="17062"/>
                  <a:pt x="7906" y="17031"/>
                  <a:pt x="7875" y="17062"/>
                </a:cubicBezTo>
                <a:cubicBezTo>
                  <a:pt x="7875" y="17094"/>
                  <a:pt x="7906" y="17125"/>
                  <a:pt x="7937" y="17125"/>
                </a:cubicBezTo>
                <a:cubicBezTo>
                  <a:pt x="8031" y="17156"/>
                  <a:pt x="8156" y="17219"/>
                  <a:pt x="8250" y="17312"/>
                </a:cubicBezTo>
                <a:cubicBezTo>
                  <a:pt x="8218" y="17312"/>
                  <a:pt x="8187" y="17312"/>
                  <a:pt x="8187" y="17344"/>
                </a:cubicBezTo>
                <a:cubicBezTo>
                  <a:pt x="8218" y="17375"/>
                  <a:pt x="8250" y="17375"/>
                  <a:pt x="8281" y="17406"/>
                </a:cubicBezTo>
                <a:cubicBezTo>
                  <a:pt x="8281" y="17437"/>
                  <a:pt x="8281" y="17437"/>
                  <a:pt x="8281" y="17469"/>
                </a:cubicBezTo>
                <a:cubicBezTo>
                  <a:pt x="8156" y="17406"/>
                  <a:pt x="8000" y="17344"/>
                  <a:pt x="7875" y="17312"/>
                </a:cubicBezTo>
                <a:cubicBezTo>
                  <a:pt x="8031" y="17406"/>
                  <a:pt x="8187" y="17469"/>
                  <a:pt x="8343" y="17594"/>
                </a:cubicBezTo>
                <a:cubicBezTo>
                  <a:pt x="8250" y="17594"/>
                  <a:pt x="8218" y="17531"/>
                  <a:pt x="8156" y="17531"/>
                </a:cubicBezTo>
                <a:cubicBezTo>
                  <a:pt x="8093" y="17469"/>
                  <a:pt x="8000" y="17500"/>
                  <a:pt x="7937" y="17437"/>
                </a:cubicBezTo>
                <a:cubicBezTo>
                  <a:pt x="8000" y="17500"/>
                  <a:pt x="8062" y="17531"/>
                  <a:pt x="8125" y="17562"/>
                </a:cubicBezTo>
                <a:cubicBezTo>
                  <a:pt x="8218" y="17625"/>
                  <a:pt x="8343" y="17656"/>
                  <a:pt x="8437" y="17719"/>
                </a:cubicBezTo>
                <a:cubicBezTo>
                  <a:pt x="8406" y="17750"/>
                  <a:pt x="8406" y="17750"/>
                  <a:pt x="8375" y="17750"/>
                </a:cubicBezTo>
                <a:cubicBezTo>
                  <a:pt x="8343" y="17719"/>
                  <a:pt x="8281" y="17719"/>
                  <a:pt x="8218" y="17687"/>
                </a:cubicBezTo>
                <a:cubicBezTo>
                  <a:pt x="8093" y="17625"/>
                  <a:pt x="7968" y="17594"/>
                  <a:pt x="7843" y="17531"/>
                </a:cubicBezTo>
                <a:cubicBezTo>
                  <a:pt x="7812" y="17531"/>
                  <a:pt x="7812" y="17500"/>
                  <a:pt x="7781" y="17531"/>
                </a:cubicBezTo>
                <a:cubicBezTo>
                  <a:pt x="7781" y="17562"/>
                  <a:pt x="7812" y="17562"/>
                  <a:pt x="7812" y="17562"/>
                </a:cubicBezTo>
                <a:cubicBezTo>
                  <a:pt x="7875" y="17594"/>
                  <a:pt x="7906" y="17594"/>
                  <a:pt x="7937" y="17625"/>
                </a:cubicBezTo>
                <a:cubicBezTo>
                  <a:pt x="8031" y="17625"/>
                  <a:pt x="8125" y="17687"/>
                  <a:pt x="8218" y="17719"/>
                </a:cubicBezTo>
                <a:cubicBezTo>
                  <a:pt x="8281" y="17750"/>
                  <a:pt x="8343" y="17781"/>
                  <a:pt x="8406" y="17844"/>
                </a:cubicBezTo>
                <a:cubicBezTo>
                  <a:pt x="8312" y="17875"/>
                  <a:pt x="8250" y="17781"/>
                  <a:pt x="8125" y="17781"/>
                </a:cubicBezTo>
                <a:cubicBezTo>
                  <a:pt x="8250" y="17875"/>
                  <a:pt x="8406" y="17906"/>
                  <a:pt x="8500" y="18000"/>
                </a:cubicBezTo>
                <a:cubicBezTo>
                  <a:pt x="8156" y="17875"/>
                  <a:pt x="7812" y="17750"/>
                  <a:pt x="7468" y="17656"/>
                </a:cubicBezTo>
                <a:cubicBezTo>
                  <a:pt x="7468" y="17687"/>
                  <a:pt x="7468" y="17719"/>
                  <a:pt x="7500" y="17719"/>
                </a:cubicBezTo>
                <a:cubicBezTo>
                  <a:pt x="7750" y="17781"/>
                  <a:pt x="7968" y="17844"/>
                  <a:pt x="8218" y="17969"/>
                </a:cubicBezTo>
                <a:cubicBezTo>
                  <a:pt x="8250" y="17969"/>
                  <a:pt x="8312" y="17969"/>
                  <a:pt x="8343" y="18031"/>
                </a:cubicBezTo>
                <a:cubicBezTo>
                  <a:pt x="8281" y="18062"/>
                  <a:pt x="8250" y="18062"/>
                  <a:pt x="8187" y="18031"/>
                </a:cubicBezTo>
                <a:cubicBezTo>
                  <a:pt x="8125" y="18000"/>
                  <a:pt x="8062" y="17969"/>
                  <a:pt x="8000" y="17969"/>
                </a:cubicBezTo>
                <a:cubicBezTo>
                  <a:pt x="8062" y="18031"/>
                  <a:pt x="8156" y="18031"/>
                  <a:pt x="8218" y="18094"/>
                </a:cubicBezTo>
                <a:cubicBezTo>
                  <a:pt x="8218" y="18094"/>
                  <a:pt x="8250" y="18125"/>
                  <a:pt x="8250" y="18125"/>
                </a:cubicBezTo>
                <a:cubicBezTo>
                  <a:pt x="8281" y="18125"/>
                  <a:pt x="8281" y="18125"/>
                  <a:pt x="8281" y="18156"/>
                </a:cubicBezTo>
                <a:cubicBezTo>
                  <a:pt x="8281" y="18156"/>
                  <a:pt x="8281" y="18187"/>
                  <a:pt x="8281" y="18187"/>
                </a:cubicBezTo>
                <a:cubicBezTo>
                  <a:pt x="8281" y="18187"/>
                  <a:pt x="8281" y="18187"/>
                  <a:pt x="8281" y="18187"/>
                </a:cubicBezTo>
                <a:cubicBezTo>
                  <a:pt x="8281" y="18187"/>
                  <a:pt x="8281" y="18187"/>
                  <a:pt x="8281" y="18187"/>
                </a:cubicBezTo>
                <a:cubicBezTo>
                  <a:pt x="8218" y="18187"/>
                  <a:pt x="8156" y="18156"/>
                  <a:pt x="8093" y="18125"/>
                </a:cubicBezTo>
                <a:cubicBezTo>
                  <a:pt x="7968" y="18062"/>
                  <a:pt x="7812" y="18000"/>
                  <a:pt x="7687" y="17969"/>
                </a:cubicBezTo>
                <a:cubicBezTo>
                  <a:pt x="7531" y="17937"/>
                  <a:pt x="7375" y="17875"/>
                  <a:pt x="7250" y="17844"/>
                </a:cubicBezTo>
                <a:cubicBezTo>
                  <a:pt x="7218" y="17781"/>
                  <a:pt x="7156" y="17812"/>
                  <a:pt x="7125" y="17781"/>
                </a:cubicBezTo>
                <a:cubicBezTo>
                  <a:pt x="7156" y="17812"/>
                  <a:pt x="7156" y="17844"/>
                  <a:pt x="7218" y="17844"/>
                </a:cubicBezTo>
                <a:cubicBezTo>
                  <a:pt x="7312" y="17875"/>
                  <a:pt x="7406" y="17937"/>
                  <a:pt x="7500" y="17969"/>
                </a:cubicBezTo>
                <a:cubicBezTo>
                  <a:pt x="7750" y="18031"/>
                  <a:pt x="8000" y="18125"/>
                  <a:pt x="8218" y="18219"/>
                </a:cubicBezTo>
                <a:cubicBezTo>
                  <a:pt x="8281" y="18250"/>
                  <a:pt x="8312" y="18281"/>
                  <a:pt x="8312" y="18312"/>
                </a:cubicBezTo>
                <a:cubicBezTo>
                  <a:pt x="8343" y="18312"/>
                  <a:pt x="8343" y="18312"/>
                  <a:pt x="8375" y="18344"/>
                </a:cubicBezTo>
                <a:cubicBezTo>
                  <a:pt x="8343" y="18344"/>
                  <a:pt x="8343" y="18344"/>
                  <a:pt x="8312" y="18344"/>
                </a:cubicBezTo>
                <a:cubicBezTo>
                  <a:pt x="8312" y="18344"/>
                  <a:pt x="8281" y="18344"/>
                  <a:pt x="8250" y="18312"/>
                </a:cubicBezTo>
                <a:cubicBezTo>
                  <a:pt x="8218" y="18281"/>
                  <a:pt x="8187" y="18281"/>
                  <a:pt x="8125" y="18281"/>
                </a:cubicBezTo>
                <a:cubicBezTo>
                  <a:pt x="8031" y="18250"/>
                  <a:pt x="7937" y="18219"/>
                  <a:pt x="7843" y="18156"/>
                </a:cubicBezTo>
                <a:cubicBezTo>
                  <a:pt x="7875" y="18156"/>
                  <a:pt x="8000" y="18187"/>
                  <a:pt x="8031" y="18219"/>
                </a:cubicBezTo>
                <a:lnTo>
                  <a:pt x="8031" y="18219"/>
                </a:lnTo>
                <a:cubicBezTo>
                  <a:pt x="8062" y="18250"/>
                  <a:pt x="8125" y="18219"/>
                  <a:pt x="8125" y="18281"/>
                </a:cubicBezTo>
                <a:cubicBezTo>
                  <a:pt x="8156" y="18344"/>
                  <a:pt x="8187" y="18344"/>
                  <a:pt x="8218" y="18344"/>
                </a:cubicBezTo>
                <a:cubicBezTo>
                  <a:pt x="8250" y="18344"/>
                  <a:pt x="8281" y="18375"/>
                  <a:pt x="8312" y="18375"/>
                </a:cubicBezTo>
                <a:cubicBezTo>
                  <a:pt x="8343" y="18406"/>
                  <a:pt x="8343" y="18437"/>
                  <a:pt x="8312" y="18469"/>
                </a:cubicBezTo>
                <a:cubicBezTo>
                  <a:pt x="8312" y="18469"/>
                  <a:pt x="8281" y="18469"/>
                  <a:pt x="8281" y="18437"/>
                </a:cubicBezTo>
                <a:cubicBezTo>
                  <a:pt x="8156" y="18406"/>
                  <a:pt x="8093" y="18375"/>
                  <a:pt x="8000" y="18312"/>
                </a:cubicBezTo>
                <a:cubicBezTo>
                  <a:pt x="7812" y="18219"/>
                  <a:pt x="7593" y="18219"/>
                  <a:pt x="7406" y="18125"/>
                </a:cubicBezTo>
                <a:cubicBezTo>
                  <a:pt x="7343" y="18094"/>
                  <a:pt x="7250" y="18062"/>
                  <a:pt x="7156" y="18031"/>
                </a:cubicBezTo>
                <a:cubicBezTo>
                  <a:pt x="7500" y="18250"/>
                  <a:pt x="7937" y="18281"/>
                  <a:pt x="8281" y="18500"/>
                </a:cubicBezTo>
                <a:cubicBezTo>
                  <a:pt x="8281" y="18531"/>
                  <a:pt x="8312" y="18531"/>
                  <a:pt x="8312" y="18531"/>
                </a:cubicBezTo>
                <a:cubicBezTo>
                  <a:pt x="8312" y="18562"/>
                  <a:pt x="8312" y="18594"/>
                  <a:pt x="8281" y="18562"/>
                </a:cubicBezTo>
                <a:cubicBezTo>
                  <a:pt x="8250" y="18562"/>
                  <a:pt x="8218" y="18562"/>
                  <a:pt x="8187" y="18531"/>
                </a:cubicBezTo>
                <a:cubicBezTo>
                  <a:pt x="8093" y="18437"/>
                  <a:pt x="7937" y="18469"/>
                  <a:pt x="7812" y="18375"/>
                </a:cubicBezTo>
                <a:cubicBezTo>
                  <a:pt x="7812" y="18375"/>
                  <a:pt x="7812" y="18375"/>
                  <a:pt x="7812" y="18406"/>
                </a:cubicBezTo>
                <a:cubicBezTo>
                  <a:pt x="7937" y="18437"/>
                  <a:pt x="8062" y="18500"/>
                  <a:pt x="8156" y="18562"/>
                </a:cubicBezTo>
                <a:cubicBezTo>
                  <a:pt x="8250" y="18625"/>
                  <a:pt x="8343" y="18625"/>
                  <a:pt x="8375" y="18687"/>
                </a:cubicBezTo>
                <a:cubicBezTo>
                  <a:pt x="8406" y="18687"/>
                  <a:pt x="8437" y="18687"/>
                  <a:pt x="8406" y="18719"/>
                </a:cubicBezTo>
                <a:cubicBezTo>
                  <a:pt x="8406" y="18750"/>
                  <a:pt x="8375" y="18719"/>
                  <a:pt x="8375" y="18719"/>
                </a:cubicBezTo>
                <a:cubicBezTo>
                  <a:pt x="8312" y="18719"/>
                  <a:pt x="8281" y="18687"/>
                  <a:pt x="8218" y="18656"/>
                </a:cubicBezTo>
                <a:cubicBezTo>
                  <a:pt x="8093" y="18594"/>
                  <a:pt x="7906" y="18531"/>
                  <a:pt x="7750" y="18469"/>
                </a:cubicBezTo>
                <a:cubicBezTo>
                  <a:pt x="7625" y="18437"/>
                  <a:pt x="7500" y="18406"/>
                  <a:pt x="7343" y="18344"/>
                </a:cubicBezTo>
                <a:cubicBezTo>
                  <a:pt x="7281" y="18312"/>
                  <a:pt x="7218" y="18281"/>
                  <a:pt x="7156" y="18281"/>
                </a:cubicBezTo>
                <a:cubicBezTo>
                  <a:pt x="7125" y="18250"/>
                  <a:pt x="7093" y="18219"/>
                  <a:pt x="7062" y="18250"/>
                </a:cubicBezTo>
                <a:cubicBezTo>
                  <a:pt x="7000" y="18281"/>
                  <a:pt x="6968" y="18219"/>
                  <a:pt x="6906" y="18187"/>
                </a:cubicBezTo>
                <a:cubicBezTo>
                  <a:pt x="6968" y="18156"/>
                  <a:pt x="7000" y="18219"/>
                  <a:pt x="7000" y="18187"/>
                </a:cubicBezTo>
                <a:cubicBezTo>
                  <a:pt x="7000" y="18125"/>
                  <a:pt x="6937" y="18125"/>
                  <a:pt x="6906" y="18094"/>
                </a:cubicBezTo>
                <a:cubicBezTo>
                  <a:pt x="6875" y="18031"/>
                  <a:pt x="6812" y="18031"/>
                  <a:pt x="6781" y="18000"/>
                </a:cubicBezTo>
                <a:cubicBezTo>
                  <a:pt x="6750" y="18000"/>
                  <a:pt x="6718" y="17969"/>
                  <a:pt x="6718" y="17937"/>
                </a:cubicBezTo>
                <a:cubicBezTo>
                  <a:pt x="6812" y="17969"/>
                  <a:pt x="6906" y="18031"/>
                  <a:pt x="7000" y="18062"/>
                </a:cubicBezTo>
                <a:lnTo>
                  <a:pt x="7000" y="18062"/>
                </a:lnTo>
                <a:cubicBezTo>
                  <a:pt x="6968" y="18094"/>
                  <a:pt x="6937" y="18062"/>
                  <a:pt x="6906" y="18094"/>
                </a:cubicBezTo>
                <a:cubicBezTo>
                  <a:pt x="6875" y="18125"/>
                  <a:pt x="6875" y="18094"/>
                  <a:pt x="6843" y="18094"/>
                </a:cubicBezTo>
                <a:cubicBezTo>
                  <a:pt x="6843" y="18125"/>
                  <a:pt x="6937" y="18125"/>
                  <a:pt x="6906" y="18187"/>
                </a:cubicBezTo>
                <a:cubicBezTo>
                  <a:pt x="6875" y="18250"/>
                  <a:pt x="6906" y="18250"/>
                  <a:pt x="6937" y="18281"/>
                </a:cubicBezTo>
                <a:cubicBezTo>
                  <a:pt x="7000" y="18312"/>
                  <a:pt x="7093" y="18281"/>
                  <a:pt x="7156" y="18281"/>
                </a:cubicBezTo>
                <a:cubicBezTo>
                  <a:pt x="7156" y="18281"/>
                  <a:pt x="7156" y="18281"/>
                  <a:pt x="7156" y="18281"/>
                </a:cubicBezTo>
                <a:cubicBezTo>
                  <a:pt x="7218" y="18344"/>
                  <a:pt x="7281" y="18344"/>
                  <a:pt x="7343" y="18375"/>
                </a:cubicBezTo>
                <a:cubicBezTo>
                  <a:pt x="7500" y="18469"/>
                  <a:pt x="7656" y="18500"/>
                  <a:pt x="7812" y="18562"/>
                </a:cubicBezTo>
                <a:cubicBezTo>
                  <a:pt x="8031" y="18625"/>
                  <a:pt x="8218" y="18719"/>
                  <a:pt x="8406" y="18812"/>
                </a:cubicBezTo>
                <a:cubicBezTo>
                  <a:pt x="8375" y="18875"/>
                  <a:pt x="8343" y="18844"/>
                  <a:pt x="8281" y="18812"/>
                </a:cubicBezTo>
                <a:cubicBezTo>
                  <a:pt x="8281" y="18812"/>
                  <a:pt x="8250" y="18812"/>
                  <a:pt x="8218" y="18781"/>
                </a:cubicBezTo>
                <a:cubicBezTo>
                  <a:pt x="8187" y="18750"/>
                  <a:pt x="8125" y="18750"/>
                  <a:pt x="8093" y="18719"/>
                </a:cubicBezTo>
                <a:cubicBezTo>
                  <a:pt x="8000" y="18687"/>
                  <a:pt x="7937" y="18656"/>
                  <a:pt x="7843" y="18656"/>
                </a:cubicBezTo>
                <a:cubicBezTo>
                  <a:pt x="7968" y="18719"/>
                  <a:pt x="8062" y="18750"/>
                  <a:pt x="8156" y="18812"/>
                </a:cubicBezTo>
                <a:cubicBezTo>
                  <a:pt x="8187" y="18812"/>
                  <a:pt x="8187" y="18812"/>
                  <a:pt x="8218" y="18812"/>
                </a:cubicBezTo>
                <a:cubicBezTo>
                  <a:pt x="8218" y="18812"/>
                  <a:pt x="8250" y="18844"/>
                  <a:pt x="8250" y="18844"/>
                </a:cubicBezTo>
                <a:cubicBezTo>
                  <a:pt x="8312" y="18875"/>
                  <a:pt x="8375" y="18906"/>
                  <a:pt x="8406" y="18969"/>
                </a:cubicBezTo>
                <a:cubicBezTo>
                  <a:pt x="8406" y="18969"/>
                  <a:pt x="8406" y="19000"/>
                  <a:pt x="8406" y="19000"/>
                </a:cubicBezTo>
                <a:cubicBezTo>
                  <a:pt x="8375" y="18969"/>
                  <a:pt x="8343" y="18969"/>
                  <a:pt x="8343" y="18969"/>
                </a:cubicBezTo>
                <a:cubicBezTo>
                  <a:pt x="8281" y="18906"/>
                  <a:pt x="8218" y="18875"/>
                  <a:pt x="8156" y="18844"/>
                </a:cubicBezTo>
                <a:cubicBezTo>
                  <a:pt x="8000" y="18812"/>
                  <a:pt x="7843" y="18750"/>
                  <a:pt x="7718" y="18719"/>
                </a:cubicBezTo>
                <a:cubicBezTo>
                  <a:pt x="7562" y="18687"/>
                  <a:pt x="7406" y="18594"/>
                  <a:pt x="7250" y="18562"/>
                </a:cubicBezTo>
                <a:cubicBezTo>
                  <a:pt x="7343" y="18656"/>
                  <a:pt x="7437" y="18656"/>
                  <a:pt x="7531" y="18687"/>
                </a:cubicBezTo>
                <a:cubicBezTo>
                  <a:pt x="7593" y="18719"/>
                  <a:pt x="7625" y="18750"/>
                  <a:pt x="7687" y="18750"/>
                </a:cubicBezTo>
                <a:cubicBezTo>
                  <a:pt x="7750" y="18750"/>
                  <a:pt x="7781" y="18781"/>
                  <a:pt x="7812" y="18781"/>
                </a:cubicBezTo>
                <a:cubicBezTo>
                  <a:pt x="8000" y="18844"/>
                  <a:pt x="8156" y="18937"/>
                  <a:pt x="8312" y="19000"/>
                </a:cubicBezTo>
                <a:cubicBezTo>
                  <a:pt x="8343" y="19000"/>
                  <a:pt x="8406" y="19000"/>
                  <a:pt x="8406" y="19062"/>
                </a:cubicBezTo>
                <a:cubicBezTo>
                  <a:pt x="8375" y="19094"/>
                  <a:pt x="8375" y="19094"/>
                  <a:pt x="8343" y="19094"/>
                </a:cubicBezTo>
                <a:cubicBezTo>
                  <a:pt x="8281" y="19062"/>
                  <a:pt x="8218" y="19031"/>
                  <a:pt x="8187" y="19031"/>
                </a:cubicBezTo>
                <a:cubicBezTo>
                  <a:pt x="8187" y="19031"/>
                  <a:pt x="8187" y="19031"/>
                  <a:pt x="8187" y="19031"/>
                </a:cubicBezTo>
                <a:cubicBezTo>
                  <a:pt x="8093" y="18937"/>
                  <a:pt x="7968" y="18937"/>
                  <a:pt x="7875" y="18906"/>
                </a:cubicBezTo>
                <a:cubicBezTo>
                  <a:pt x="7968" y="18969"/>
                  <a:pt x="8062" y="19000"/>
                  <a:pt x="8187" y="19031"/>
                </a:cubicBezTo>
                <a:cubicBezTo>
                  <a:pt x="8250" y="19094"/>
                  <a:pt x="8312" y="19125"/>
                  <a:pt x="8406" y="19156"/>
                </a:cubicBezTo>
                <a:cubicBezTo>
                  <a:pt x="8406" y="19156"/>
                  <a:pt x="8406" y="19156"/>
                  <a:pt x="8406" y="19156"/>
                </a:cubicBezTo>
                <a:cubicBezTo>
                  <a:pt x="8406" y="19187"/>
                  <a:pt x="8406" y="19187"/>
                  <a:pt x="8406" y="19187"/>
                </a:cubicBezTo>
                <a:cubicBezTo>
                  <a:pt x="8406" y="19187"/>
                  <a:pt x="8406" y="19219"/>
                  <a:pt x="8406" y="19219"/>
                </a:cubicBezTo>
                <a:cubicBezTo>
                  <a:pt x="8375" y="19219"/>
                  <a:pt x="8343" y="19219"/>
                  <a:pt x="8343" y="19187"/>
                </a:cubicBezTo>
                <a:cubicBezTo>
                  <a:pt x="8218" y="19125"/>
                  <a:pt x="8093" y="19062"/>
                  <a:pt x="7968" y="19031"/>
                </a:cubicBezTo>
                <a:cubicBezTo>
                  <a:pt x="7781" y="18969"/>
                  <a:pt x="7562" y="18937"/>
                  <a:pt x="7375" y="18844"/>
                </a:cubicBezTo>
                <a:cubicBezTo>
                  <a:pt x="7218" y="18781"/>
                  <a:pt x="7093" y="18687"/>
                  <a:pt x="6968" y="18625"/>
                </a:cubicBezTo>
                <a:cubicBezTo>
                  <a:pt x="6812" y="18562"/>
                  <a:pt x="6687" y="18500"/>
                  <a:pt x="6531" y="18469"/>
                </a:cubicBezTo>
                <a:cubicBezTo>
                  <a:pt x="6531" y="18469"/>
                  <a:pt x="6562" y="18500"/>
                  <a:pt x="6593" y="18531"/>
                </a:cubicBezTo>
                <a:cubicBezTo>
                  <a:pt x="6781" y="18562"/>
                  <a:pt x="6937" y="18656"/>
                  <a:pt x="7093" y="18750"/>
                </a:cubicBezTo>
                <a:cubicBezTo>
                  <a:pt x="7250" y="18844"/>
                  <a:pt x="7406" y="18906"/>
                  <a:pt x="7593" y="18969"/>
                </a:cubicBezTo>
                <a:cubicBezTo>
                  <a:pt x="7750" y="19031"/>
                  <a:pt x="7906" y="19062"/>
                  <a:pt x="8062" y="19125"/>
                </a:cubicBezTo>
                <a:cubicBezTo>
                  <a:pt x="8156" y="19156"/>
                  <a:pt x="8218" y="19187"/>
                  <a:pt x="8312" y="19219"/>
                </a:cubicBezTo>
                <a:cubicBezTo>
                  <a:pt x="8375" y="19250"/>
                  <a:pt x="8406" y="19312"/>
                  <a:pt x="8468" y="19344"/>
                </a:cubicBezTo>
                <a:cubicBezTo>
                  <a:pt x="8375" y="19375"/>
                  <a:pt x="8312" y="19312"/>
                  <a:pt x="8250" y="19281"/>
                </a:cubicBezTo>
                <a:cubicBezTo>
                  <a:pt x="8156" y="19219"/>
                  <a:pt x="8031" y="19156"/>
                  <a:pt x="7906" y="19187"/>
                </a:cubicBezTo>
                <a:cubicBezTo>
                  <a:pt x="8031" y="19219"/>
                  <a:pt x="8125" y="19250"/>
                  <a:pt x="8218" y="19281"/>
                </a:cubicBezTo>
                <a:cubicBezTo>
                  <a:pt x="8250" y="19344"/>
                  <a:pt x="8281" y="19344"/>
                  <a:pt x="8312" y="19344"/>
                </a:cubicBezTo>
                <a:cubicBezTo>
                  <a:pt x="8375" y="19375"/>
                  <a:pt x="8437" y="19375"/>
                  <a:pt x="8468" y="19437"/>
                </a:cubicBezTo>
                <a:cubicBezTo>
                  <a:pt x="8406" y="19469"/>
                  <a:pt x="8343" y="19437"/>
                  <a:pt x="8281" y="19406"/>
                </a:cubicBezTo>
                <a:cubicBezTo>
                  <a:pt x="8250" y="19406"/>
                  <a:pt x="8218" y="19375"/>
                  <a:pt x="8187" y="19375"/>
                </a:cubicBezTo>
                <a:cubicBezTo>
                  <a:pt x="8031" y="19312"/>
                  <a:pt x="7875" y="19250"/>
                  <a:pt x="7718" y="19219"/>
                </a:cubicBezTo>
                <a:cubicBezTo>
                  <a:pt x="7656" y="19187"/>
                  <a:pt x="7593" y="19156"/>
                  <a:pt x="7531" y="19187"/>
                </a:cubicBezTo>
                <a:cubicBezTo>
                  <a:pt x="7562" y="19219"/>
                  <a:pt x="7625" y="19219"/>
                  <a:pt x="7656" y="19250"/>
                </a:cubicBezTo>
                <a:cubicBezTo>
                  <a:pt x="7906" y="19281"/>
                  <a:pt x="8125" y="19375"/>
                  <a:pt x="8343" y="19500"/>
                </a:cubicBezTo>
                <a:cubicBezTo>
                  <a:pt x="8375" y="19500"/>
                  <a:pt x="8437" y="19531"/>
                  <a:pt x="8406" y="19594"/>
                </a:cubicBezTo>
                <a:cubicBezTo>
                  <a:pt x="8375" y="19562"/>
                  <a:pt x="8312" y="19531"/>
                  <a:pt x="8250" y="19500"/>
                </a:cubicBezTo>
                <a:cubicBezTo>
                  <a:pt x="8156" y="19469"/>
                  <a:pt x="8093" y="19437"/>
                  <a:pt x="7968" y="19437"/>
                </a:cubicBezTo>
                <a:cubicBezTo>
                  <a:pt x="7968" y="19406"/>
                  <a:pt x="7968" y="19406"/>
                  <a:pt x="7937" y="19406"/>
                </a:cubicBezTo>
                <a:cubicBezTo>
                  <a:pt x="7937" y="19406"/>
                  <a:pt x="7937" y="19406"/>
                  <a:pt x="7937" y="19406"/>
                </a:cubicBezTo>
                <a:cubicBezTo>
                  <a:pt x="7937" y="19437"/>
                  <a:pt x="7968" y="19437"/>
                  <a:pt x="7968" y="19437"/>
                </a:cubicBezTo>
                <a:cubicBezTo>
                  <a:pt x="8062" y="19469"/>
                  <a:pt x="8156" y="19531"/>
                  <a:pt x="8218" y="19531"/>
                </a:cubicBezTo>
                <a:cubicBezTo>
                  <a:pt x="8312" y="19594"/>
                  <a:pt x="8375" y="19625"/>
                  <a:pt x="8437" y="19687"/>
                </a:cubicBezTo>
                <a:cubicBezTo>
                  <a:pt x="8437" y="19687"/>
                  <a:pt x="8437" y="19719"/>
                  <a:pt x="8437" y="19719"/>
                </a:cubicBezTo>
                <a:cubicBezTo>
                  <a:pt x="8406" y="19719"/>
                  <a:pt x="8375" y="19687"/>
                  <a:pt x="8375" y="19687"/>
                </a:cubicBezTo>
                <a:cubicBezTo>
                  <a:pt x="8187" y="19594"/>
                  <a:pt x="8000" y="19531"/>
                  <a:pt x="7812" y="19469"/>
                </a:cubicBezTo>
                <a:cubicBezTo>
                  <a:pt x="7812" y="19469"/>
                  <a:pt x="7781" y="19469"/>
                  <a:pt x="7781" y="19469"/>
                </a:cubicBezTo>
                <a:cubicBezTo>
                  <a:pt x="7750" y="19469"/>
                  <a:pt x="7750" y="19469"/>
                  <a:pt x="7718" y="19469"/>
                </a:cubicBezTo>
                <a:cubicBezTo>
                  <a:pt x="7625" y="19437"/>
                  <a:pt x="7531" y="19406"/>
                  <a:pt x="7437" y="19406"/>
                </a:cubicBezTo>
                <a:cubicBezTo>
                  <a:pt x="7531" y="19437"/>
                  <a:pt x="7593" y="19469"/>
                  <a:pt x="7687" y="19500"/>
                </a:cubicBezTo>
                <a:cubicBezTo>
                  <a:pt x="7812" y="19531"/>
                  <a:pt x="7906" y="19562"/>
                  <a:pt x="8031" y="19594"/>
                </a:cubicBezTo>
                <a:cubicBezTo>
                  <a:pt x="8125" y="19625"/>
                  <a:pt x="8218" y="19687"/>
                  <a:pt x="8312" y="19719"/>
                </a:cubicBezTo>
                <a:cubicBezTo>
                  <a:pt x="8375" y="19750"/>
                  <a:pt x="8406" y="19781"/>
                  <a:pt x="8406" y="19844"/>
                </a:cubicBezTo>
                <a:cubicBezTo>
                  <a:pt x="8312" y="19812"/>
                  <a:pt x="8218" y="19750"/>
                  <a:pt x="8125" y="19719"/>
                </a:cubicBezTo>
                <a:cubicBezTo>
                  <a:pt x="8062" y="19687"/>
                  <a:pt x="7968" y="19625"/>
                  <a:pt x="7875" y="19625"/>
                </a:cubicBezTo>
                <a:cubicBezTo>
                  <a:pt x="7937" y="19656"/>
                  <a:pt x="8000" y="19719"/>
                  <a:pt x="8062" y="19719"/>
                </a:cubicBezTo>
                <a:cubicBezTo>
                  <a:pt x="8218" y="19781"/>
                  <a:pt x="8312" y="19875"/>
                  <a:pt x="8437" y="19937"/>
                </a:cubicBezTo>
                <a:cubicBezTo>
                  <a:pt x="8437" y="19937"/>
                  <a:pt x="8437" y="19937"/>
                  <a:pt x="8437" y="19937"/>
                </a:cubicBezTo>
                <a:cubicBezTo>
                  <a:pt x="8437" y="19969"/>
                  <a:pt x="8468" y="19969"/>
                  <a:pt x="8500" y="19969"/>
                </a:cubicBezTo>
                <a:cubicBezTo>
                  <a:pt x="8562" y="20000"/>
                  <a:pt x="8625" y="20000"/>
                  <a:pt x="8656" y="20062"/>
                </a:cubicBezTo>
                <a:cubicBezTo>
                  <a:pt x="8656" y="20062"/>
                  <a:pt x="8656" y="20062"/>
                  <a:pt x="8656" y="20062"/>
                </a:cubicBezTo>
                <a:cubicBezTo>
                  <a:pt x="8562" y="20031"/>
                  <a:pt x="8500" y="20000"/>
                  <a:pt x="8437" y="19969"/>
                </a:cubicBezTo>
                <a:cubicBezTo>
                  <a:pt x="8187" y="19844"/>
                  <a:pt x="7968" y="19750"/>
                  <a:pt x="7718" y="19687"/>
                </a:cubicBezTo>
                <a:cubicBezTo>
                  <a:pt x="7656" y="19687"/>
                  <a:pt x="7593" y="19656"/>
                  <a:pt x="7500" y="19625"/>
                </a:cubicBezTo>
                <a:cubicBezTo>
                  <a:pt x="7656" y="19750"/>
                  <a:pt x="7812" y="19781"/>
                  <a:pt x="7968" y="19812"/>
                </a:cubicBezTo>
                <a:cubicBezTo>
                  <a:pt x="8125" y="19875"/>
                  <a:pt x="8281" y="19969"/>
                  <a:pt x="8437" y="20031"/>
                </a:cubicBezTo>
                <a:cubicBezTo>
                  <a:pt x="8468" y="20062"/>
                  <a:pt x="8437" y="20062"/>
                  <a:pt x="8437" y="20094"/>
                </a:cubicBezTo>
                <a:cubicBezTo>
                  <a:pt x="8437" y="20125"/>
                  <a:pt x="8406" y="20094"/>
                  <a:pt x="8406" y="20094"/>
                </a:cubicBezTo>
                <a:cubicBezTo>
                  <a:pt x="8343" y="20062"/>
                  <a:pt x="8281" y="20031"/>
                  <a:pt x="8218" y="20000"/>
                </a:cubicBezTo>
                <a:cubicBezTo>
                  <a:pt x="8125" y="19937"/>
                  <a:pt x="8031" y="19906"/>
                  <a:pt x="7906" y="19875"/>
                </a:cubicBezTo>
                <a:cubicBezTo>
                  <a:pt x="8000" y="19937"/>
                  <a:pt x="8093" y="20000"/>
                  <a:pt x="8218" y="20031"/>
                </a:cubicBezTo>
                <a:cubicBezTo>
                  <a:pt x="8218" y="20031"/>
                  <a:pt x="8250" y="20031"/>
                  <a:pt x="8281" y="20062"/>
                </a:cubicBezTo>
                <a:cubicBezTo>
                  <a:pt x="8343" y="20094"/>
                  <a:pt x="8406" y="20156"/>
                  <a:pt x="8468" y="20187"/>
                </a:cubicBezTo>
                <a:cubicBezTo>
                  <a:pt x="8437" y="20187"/>
                  <a:pt x="8437" y="20219"/>
                  <a:pt x="8406" y="20219"/>
                </a:cubicBezTo>
                <a:cubicBezTo>
                  <a:pt x="8375" y="20187"/>
                  <a:pt x="8312" y="20156"/>
                  <a:pt x="8250" y="20125"/>
                </a:cubicBezTo>
                <a:cubicBezTo>
                  <a:pt x="8031" y="20031"/>
                  <a:pt x="7812" y="19969"/>
                  <a:pt x="7593" y="19906"/>
                </a:cubicBezTo>
                <a:cubicBezTo>
                  <a:pt x="7531" y="19875"/>
                  <a:pt x="7468" y="19844"/>
                  <a:pt x="7437" y="19781"/>
                </a:cubicBezTo>
                <a:cubicBezTo>
                  <a:pt x="7468" y="19750"/>
                  <a:pt x="7468" y="19781"/>
                  <a:pt x="7500" y="19781"/>
                </a:cubicBezTo>
                <a:cubicBezTo>
                  <a:pt x="7375" y="19594"/>
                  <a:pt x="7062" y="19469"/>
                  <a:pt x="6843" y="19469"/>
                </a:cubicBezTo>
                <a:cubicBezTo>
                  <a:pt x="6843" y="19469"/>
                  <a:pt x="6875" y="19500"/>
                  <a:pt x="6906" y="19500"/>
                </a:cubicBezTo>
                <a:cubicBezTo>
                  <a:pt x="7031" y="19500"/>
                  <a:pt x="7125" y="19562"/>
                  <a:pt x="7218" y="19594"/>
                </a:cubicBezTo>
                <a:cubicBezTo>
                  <a:pt x="7281" y="19625"/>
                  <a:pt x="7343" y="19656"/>
                  <a:pt x="7375" y="19719"/>
                </a:cubicBezTo>
                <a:cubicBezTo>
                  <a:pt x="7375" y="19719"/>
                  <a:pt x="7343" y="19719"/>
                  <a:pt x="7312" y="19719"/>
                </a:cubicBezTo>
                <a:cubicBezTo>
                  <a:pt x="7343" y="19750"/>
                  <a:pt x="7375" y="19781"/>
                  <a:pt x="7406" y="19812"/>
                </a:cubicBezTo>
                <a:cubicBezTo>
                  <a:pt x="7437" y="19844"/>
                  <a:pt x="7500" y="19844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468" y="19937"/>
                  <a:pt x="7468" y="19906"/>
                  <a:pt x="7437" y="19906"/>
                </a:cubicBezTo>
                <a:cubicBezTo>
                  <a:pt x="7312" y="19781"/>
                  <a:pt x="7156" y="19750"/>
                  <a:pt x="7031" y="19687"/>
                </a:cubicBezTo>
                <a:cubicBezTo>
                  <a:pt x="6968" y="19687"/>
                  <a:pt x="6906" y="19687"/>
                  <a:pt x="6843" y="19687"/>
                </a:cubicBezTo>
                <a:cubicBezTo>
                  <a:pt x="6937" y="19719"/>
                  <a:pt x="7031" y="19719"/>
                  <a:pt x="7125" y="19781"/>
                </a:cubicBezTo>
                <a:cubicBezTo>
                  <a:pt x="7281" y="19812"/>
                  <a:pt x="7406" y="19906"/>
                  <a:pt x="7531" y="20000"/>
                </a:cubicBezTo>
                <a:cubicBezTo>
                  <a:pt x="7531" y="20031"/>
                  <a:pt x="7562" y="20031"/>
                  <a:pt x="7562" y="20062"/>
                </a:cubicBezTo>
                <a:cubicBezTo>
                  <a:pt x="7562" y="20094"/>
                  <a:pt x="7531" y="20094"/>
                  <a:pt x="7531" y="20062"/>
                </a:cubicBezTo>
                <a:cubicBezTo>
                  <a:pt x="7500" y="20062"/>
                  <a:pt x="7500" y="20062"/>
                  <a:pt x="7468" y="20062"/>
                </a:cubicBezTo>
                <a:cubicBezTo>
                  <a:pt x="7468" y="20062"/>
                  <a:pt x="7468" y="20094"/>
                  <a:pt x="7468" y="20062"/>
                </a:cubicBezTo>
                <a:cubicBezTo>
                  <a:pt x="7437" y="20031"/>
                  <a:pt x="7406" y="20031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375" y="19969"/>
                  <a:pt x="7375" y="19969"/>
                  <a:pt x="7375" y="19969"/>
                </a:cubicBezTo>
                <a:cubicBezTo>
                  <a:pt x="7437" y="20000"/>
                  <a:pt x="7500" y="20031"/>
                  <a:pt x="7531" y="20062"/>
                </a:cubicBezTo>
                <a:cubicBezTo>
                  <a:pt x="7531" y="20062"/>
                  <a:pt x="7562" y="20062"/>
                  <a:pt x="7562" y="20062"/>
                </a:cubicBezTo>
                <a:cubicBezTo>
                  <a:pt x="7562" y="20094"/>
                  <a:pt x="7562" y="20094"/>
                  <a:pt x="7593" y="20062"/>
                </a:cubicBezTo>
                <a:lnTo>
                  <a:pt x="7593" y="20062"/>
                </a:lnTo>
                <a:cubicBezTo>
                  <a:pt x="7562" y="20062"/>
                  <a:pt x="7562" y="20000"/>
                  <a:pt x="7531" y="20000"/>
                </a:cubicBezTo>
                <a:cubicBezTo>
                  <a:pt x="7531" y="20000"/>
                  <a:pt x="7531" y="19969"/>
                  <a:pt x="7500" y="19969"/>
                </a:cubicBezTo>
                <a:cubicBezTo>
                  <a:pt x="7500" y="19937"/>
                  <a:pt x="7468" y="19937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468" y="19906"/>
                  <a:pt x="7468" y="19906"/>
                  <a:pt x="7468" y="19906"/>
                </a:cubicBezTo>
                <a:cubicBezTo>
                  <a:pt x="7687" y="19969"/>
                  <a:pt x="7906" y="20031"/>
                  <a:pt x="8093" y="20125"/>
                </a:cubicBezTo>
                <a:cubicBezTo>
                  <a:pt x="8218" y="20156"/>
                  <a:pt x="8343" y="20219"/>
                  <a:pt x="8468" y="20281"/>
                </a:cubicBezTo>
                <a:cubicBezTo>
                  <a:pt x="8468" y="20312"/>
                  <a:pt x="8468" y="20312"/>
                  <a:pt x="8468" y="20344"/>
                </a:cubicBezTo>
                <a:cubicBezTo>
                  <a:pt x="8406" y="20375"/>
                  <a:pt x="8343" y="20312"/>
                  <a:pt x="8312" y="20281"/>
                </a:cubicBezTo>
                <a:cubicBezTo>
                  <a:pt x="8250" y="20281"/>
                  <a:pt x="8218" y="20250"/>
                  <a:pt x="8156" y="20219"/>
                </a:cubicBezTo>
                <a:cubicBezTo>
                  <a:pt x="8093" y="20187"/>
                  <a:pt x="8031" y="20156"/>
                  <a:pt x="7937" y="20125"/>
                </a:cubicBezTo>
                <a:lnTo>
                  <a:pt x="7937" y="20125"/>
                </a:lnTo>
                <a:cubicBezTo>
                  <a:pt x="8000" y="20219"/>
                  <a:pt x="8062" y="20187"/>
                  <a:pt x="8125" y="20219"/>
                </a:cubicBezTo>
                <a:cubicBezTo>
                  <a:pt x="8218" y="20281"/>
                  <a:pt x="8312" y="20312"/>
                  <a:pt x="8406" y="20375"/>
                </a:cubicBezTo>
                <a:cubicBezTo>
                  <a:pt x="8468" y="20437"/>
                  <a:pt x="8468" y="20500"/>
                  <a:pt x="8531" y="20531"/>
                </a:cubicBezTo>
                <a:cubicBezTo>
                  <a:pt x="8531" y="20531"/>
                  <a:pt x="8531" y="20531"/>
                  <a:pt x="8500" y="20531"/>
                </a:cubicBezTo>
                <a:cubicBezTo>
                  <a:pt x="8375" y="20406"/>
                  <a:pt x="8218" y="20344"/>
                  <a:pt x="8062" y="20281"/>
                </a:cubicBezTo>
                <a:cubicBezTo>
                  <a:pt x="7937" y="20250"/>
                  <a:pt x="7781" y="20219"/>
                  <a:pt x="7656" y="20156"/>
                </a:cubicBezTo>
                <a:cubicBezTo>
                  <a:pt x="7656" y="20156"/>
                  <a:pt x="7656" y="20156"/>
                  <a:pt x="7656" y="20156"/>
                </a:cubicBezTo>
                <a:cubicBezTo>
                  <a:pt x="7562" y="20219"/>
                  <a:pt x="7531" y="20125"/>
                  <a:pt x="7468" y="20062"/>
                </a:cubicBezTo>
                <a:cubicBezTo>
                  <a:pt x="7437" y="20094"/>
                  <a:pt x="7406" y="20062"/>
                  <a:pt x="7406" y="20062"/>
                </a:cubicBezTo>
                <a:cubicBezTo>
                  <a:pt x="7343" y="20000"/>
                  <a:pt x="7250" y="19969"/>
                  <a:pt x="7187" y="19969"/>
                </a:cubicBezTo>
                <a:cubicBezTo>
                  <a:pt x="7093" y="19937"/>
                  <a:pt x="7031" y="19937"/>
                  <a:pt x="6937" y="19906"/>
                </a:cubicBezTo>
                <a:cubicBezTo>
                  <a:pt x="6937" y="19906"/>
                  <a:pt x="6937" y="19906"/>
                  <a:pt x="6937" y="19906"/>
                </a:cubicBezTo>
                <a:cubicBezTo>
                  <a:pt x="6906" y="19875"/>
                  <a:pt x="6843" y="19875"/>
                  <a:pt x="6781" y="19844"/>
                </a:cubicBezTo>
                <a:cubicBezTo>
                  <a:pt x="6781" y="19844"/>
                  <a:pt x="6750" y="19844"/>
                  <a:pt x="6750" y="19844"/>
                </a:cubicBezTo>
                <a:cubicBezTo>
                  <a:pt x="6593" y="19781"/>
                  <a:pt x="6468" y="19750"/>
                  <a:pt x="6312" y="19719"/>
                </a:cubicBezTo>
                <a:cubicBezTo>
                  <a:pt x="6187" y="19656"/>
                  <a:pt x="6031" y="19656"/>
                  <a:pt x="5906" y="19594"/>
                </a:cubicBezTo>
                <a:cubicBezTo>
                  <a:pt x="5812" y="19562"/>
                  <a:pt x="5718" y="19531"/>
                  <a:pt x="5625" y="19500"/>
                </a:cubicBezTo>
                <a:cubicBezTo>
                  <a:pt x="5531" y="19469"/>
                  <a:pt x="5437" y="19469"/>
                  <a:pt x="5343" y="19437"/>
                </a:cubicBezTo>
                <a:cubicBezTo>
                  <a:pt x="5250" y="19406"/>
                  <a:pt x="5156" y="19406"/>
                  <a:pt x="5062" y="19375"/>
                </a:cubicBezTo>
                <a:cubicBezTo>
                  <a:pt x="5093" y="19437"/>
                  <a:pt x="5125" y="19437"/>
                  <a:pt x="5187" y="19437"/>
                </a:cubicBezTo>
                <a:cubicBezTo>
                  <a:pt x="5250" y="19469"/>
                  <a:pt x="5312" y="19469"/>
                  <a:pt x="5375" y="19469"/>
                </a:cubicBezTo>
                <a:cubicBezTo>
                  <a:pt x="5500" y="19500"/>
                  <a:pt x="5625" y="19531"/>
                  <a:pt x="5750" y="19594"/>
                </a:cubicBezTo>
                <a:cubicBezTo>
                  <a:pt x="5750" y="19594"/>
                  <a:pt x="5750" y="19625"/>
                  <a:pt x="5750" y="19625"/>
                </a:cubicBezTo>
                <a:cubicBezTo>
                  <a:pt x="5718" y="19625"/>
                  <a:pt x="5718" y="19625"/>
                  <a:pt x="5687" y="19625"/>
                </a:cubicBezTo>
                <a:cubicBezTo>
                  <a:pt x="5687" y="19625"/>
                  <a:pt x="5687" y="19625"/>
                  <a:pt x="5656" y="19625"/>
                </a:cubicBezTo>
                <a:cubicBezTo>
                  <a:pt x="5468" y="19562"/>
                  <a:pt x="5281" y="19531"/>
                  <a:pt x="5093" y="19500"/>
                </a:cubicBezTo>
                <a:cubicBezTo>
                  <a:pt x="5062" y="19500"/>
                  <a:pt x="5062" y="19500"/>
                  <a:pt x="5062" y="19500"/>
                </a:cubicBezTo>
                <a:cubicBezTo>
                  <a:pt x="4968" y="19406"/>
                  <a:pt x="4843" y="19344"/>
                  <a:pt x="4718" y="19281"/>
                </a:cubicBezTo>
                <a:cubicBezTo>
                  <a:pt x="4562" y="19219"/>
                  <a:pt x="4437" y="19156"/>
                  <a:pt x="4281" y="19125"/>
                </a:cubicBezTo>
                <a:lnTo>
                  <a:pt x="4281" y="19125"/>
                </a:lnTo>
                <a:cubicBezTo>
                  <a:pt x="4093" y="19062"/>
                  <a:pt x="3906" y="19031"/>
                  <a:pt x="3718" y="19000"/>
                </a:cubicBezTo>
                <a:cubicBezTo>
                  <a:pt x="3593" y="18969"/>
                  <a:pt x="3468" y="18937"/>
                  <a:pt x="3343" y="18906"/>
                </a:cubicBezTo>
                <a:cubicBezTo>
                  <a:pt x="3156" y="18875"/>
                  <a:pt x="2937" y="18844"/>
                  <a:pt x="2750" y="18781"/>
                </a:cubicBezTo>
                <a:cubicBezTo>
                  <a:pt x="2500" y="18719"/>
                  <a:pt x="2281" y="18656"/>
                  <a:pt x="2062" y="18594"/>
                </a:cubicBezTo>
                <a:cubicBezTo>
                  <a:pt x="1843" y="18531"/>
                  <a:pt x="1656" y="18500"/>
                  <a:pt x="1437" y="18469"/>
                </a:cubicBezTo>
                <a:cubicBezTo>
                  <a:pt x="1437" y="18406"/>
                  <a:pt x="1468" y="18406"/>
                  <a:pt x="1500" y="18437"/>
                </a:cubicBezTo>
                <a:cubicBezTo>
                  <a:pt x="1562" y="18437"/>
                  <a:pt x="1625" y="18437"/>
                  <a:pt x="1687" y="18469"/>
                </a:cubicBezTo>
                <a:cubicBezTo>
                  <a:pt x="1750" y="18469"/>
                  <a:pt x="1843" y="18500"/>
                  <a:pt x="1906" y="18500"/>
                </a:cubicBezTo>
                <a:cubicBezTo>
                  <a:pt x="1906" y="18500"/>
                  <a:pt x="1906" y="18469"/>
                  <a:pt x="1906" y="18469"/>
                </a:cubicBezTo>
                <a:cubicBezTo>
                  <a:pt x="1781" y="18437"/>
                  <a:pt x="1656" y="18406"/>
                  <a:pt x="1531" y="18406"/>
                </a:cubicBezTo>
                <a:cubicBezTo>
                  <a:pt x="1500" y="18406"/>
                  <a:pt x="1437" y="18406"/>
                  <a:pt x="1437" y="18344"/>
                </a:cubicBezTo>
                <a:cubicBezTo>
                  <a:pt x="1656" y="18375"/>
                  <a:pt x="1906" y="18406"/>
                  <a:pt x="2125" y="18500"/>
                </a:cubicBezTo>
                <a:cubicBezTo>
                  <a:pt x="2312" y="18531"/>
                  <a:pt x="2468" y="18562"/>
                  <a:pt x="2656" y="18625"/>
                </a:cubicBezTo>
                <a:cubicBezTo>
                  <a:pt x="2875" y="18687"/>
                  <a:pt x="3093" y="18719"/>
                  <a:pt x="3312" y="18750"/>
                </a:cubicBezTo>
                <a:cubicBezTo>
                  <a:pt x="3562" y="18812"/>
                  <a:pt x="3812" y="18844"/>
                  <a:pt x="4062" y="18906"/>
                </a:cubicBezTo>
                <a:cubicBezTo>
                  <a:pt x="4125" y="18937"/>
                  <a:pt x="4218" y="18969"/>
                  <a:pt x="4312" y="18969"/>
                </a:cubicBezTo>
                <a:cubicBezTo>
                  <a:pt x="4437" y="18969"/>
                  <a:pt x="4531" y="19031"/>
                  <a:pt x="4656" y="19062"/>
                </a:cubicBezTo>
                <a:cubicBezTo>
                  <a:pt x="4812" y="19094"/>
                  <a:pt x="4937" y="19187"/>
                  <a:pt x="5093" y="19187"/>
                </a:cubicBezTo>
                <a:cubicBezTo>
                  <a:pt x="5125" y="19187"/>
                  <a:pt x="5125" y="19187"/>
                  <a:pt x="5156" y="19187"/>
                </a:cubicBezTo>
                <a:cubicBezTo>
                  <a:pt x="5218" y="19187"/>
                  <a:pt x="5281" y="19281"/>
                  <a:pt x="5343" y="19281"/>
                </a:cubicBezTo>
                <a:cubicBezTo>
                  <a:pt x="5375" y="19281"/>
                  <a:pt x="5375" y="19281"/>
                  <a:pt x="5375" y="19281"/>
                </a:cubicBezTo>
                <a:cubicBezTo>
                  <a:pt x="5468" y="19312"/>
                  <a:pt x="5562" y="19312"/>
                  <a:pt x="5625" y="19344"/>
                </a:cubicBezTo>
                <a:cubicBezTo>
                  <a:pt x="5656" y="19375"/>
                  <a:pt x="5687" y="19344"/>
                  <a:pt x="5687" y="19406"/>
                </a:cubicBezTo>
                <a:cubicBezTo>
                  <a:pt x="5687" y="19406"/>
                  <a:pt x="5656" y="19406"/>
                  <a:pt x="5625" y="19406"/>
                </a:cubicBezTo>
                <a:cubicBezTo>
                  <a:pt x="5531" y="19375"/>
                  <a:pt x="5406" y="19344"/>
                  <a:pt x="5312" y="19344"/>
                </a:cubicBezTo>
                <a:lnTo>
                  <a:pt x="5312" y="19344"/>
                </a:lnTo>
                <a:cubicBezTo>
                  <a:pt x="5281" y="19344"/>
                  <a:pt x="5250" y="19344"/>
                  <a:pt x="5218" y="19312"/>
                </a:cubicBezTo>
                <a:cubicBezTo>
                  <a:pt x="5187" y="19281"/>
                  <a:pt x="5125" y="19281"/>
                  <a:pt x="5062" y="19281"/>
                </a:cubicBezTo>
                <a:cubicBezTo>
                  <a:pt x="5062" y="19250"/>
                  <a:pt x="5031" y="19281"/>
                  <a:pt x="5031" y="19281"/>
                </a:cubicBezTo>
                <a:cubicBezTo>
                  <a:pt x="5031" y="19281"/>
                  <a:pt x="5062" y="19312"/>
                  <a:pt x="5062" y="19312"/>
                </a:cubicBezTo>
                <a:cubicBezTo>
                  <a:pt x="5125" y="19312"/>
                  <a:pt x="5187" y="19375"/>
                  <a:pt x="5250" y="19344"/>
                </a:cubicBezTo>
                <a:cubicBezTo>
                  <a:pt x="5281" y="19344"/>
                  <a:pt x="5312" y="19344"/>
                  <a:pt x="5343" y="19344"/>
                </a:cubicBezTo>
                <a:cubicBezTo>
                  <a:pt x="5562" y="19437"/>
                  <a:pt x="5781" y="19500"/>
                  <a:pt x="5968" y="19594"/>
                </a:cubicBezTo>
                <a:cubicBezTo>
                  <a:pt x="6031" y="19625"/>
                  <a:pt x="6093" y="19625"/>
                  <a:pt x="6156" y="19625"/>
                </a:cubicBezTo>
                <a:cubicBezTo>
                  <a:pt x="6343" y="19656"/>
                  <a:pt x="6531" y="19687"/>
                  <a:pt x="6687" y="19781"/>
                </a:cubicBezTo>
                <a:cubicBezTo>
                  <a:pt x="6718" y="19781"/>
                  <a:pt x="6781" y="19812"/>
                  <a:pt x="6812" y="19812"/>
                </a:cubicBezTo>
                <a:cubicBezTo>
                  <a:pt x="6812" y="19812"/>
                  <a:pt x="6812" y="19781"/>
                  <a:pt x="6812" y="19781"/>
                </a:cubicBezTo>
                <a:cubicBezTo>
                  <a:pt x="6718" y="19750"/>
                  <a:pt x="6656" y="19719"/>
                  <a:pt x="6562" y="19687"/>
                </a:cubicBezTo>
                <a:cubicBezTo>
                  <a:pt x="6281" y="19625"/>
                  <a:pt x="6000" y="19562"/>
                  <a:pt x="5750" y="19437"/>
                </a:cubicBezTo>
                <a:cubicBezTo>
                  <a:pt x="5718" y="19437"/>
                  <a:pt x="5687" y="19437"/>
                  <a:pt x="5687" y="19406"/>
                </a:cubicBezTo>
                <a:cubicBezTo>
                  <a:pt x="5750" y="19375"/>
                  <a:pt x="5812" y="19437"/>
                  <a:pt x="5843" y="19437"/>
                </a:cubicBezTo>
                <a:cubicBezTo>
                  <a:pt x="6125" y="19531"/>
                  <a:pt x="6406" y="19594"/>
                  <a:pt x="6656" y="19687"/>
                </a:cubicBezTo>
                <a:cubicBezTo>
                  <a:pt x="6718" y="19687"/>
                  <a:pt x="6750" y="19750"/>
                  <a:pt x="6812" y="19719"/>
                </a:cubicBezTo>
                <a:cubicBezTo>
                  <a:pt x="6781" y="19687"/>
                  <a:pt x="6750" y="19687"/>
                  <a:pt x="6750" y="19656"/>
                </a:cubicBezTo>
                <a:cubicBezTo>
                  <a:pt x="6625" y="19594"/>
                  <a:pt x="6500" y="19562"/>
                  <a:pt x="6406" y="19531"/>
                </a:cubicBezTo>
                <a:cubicBezTo>
                  <a:pt x="6250" y="19500"/>
                  <a:pt x="6125" y="19469"/>
                  <a:pt x="5968" y="19437"/>
                </a:cubicBezTo>
                <a:cubicBezTo>
                  <a:pt x="5875" y="19406"/>
                  <a:pt x="5781" y="19344"/>
                  <a:pt x="5656" y="19312"/>
                </a:cubicBezTo>
                <a:cubicBezTo>
                  <a:pt x="5562" y="19281"/>
                  <a:pt x="5437" y="19250"/>
                  <a:pt x="5343" y="19219"/>
                </a:cubicBezTo>
                <a:cubicBezTo>
                  <a:pt x="5218" y="19187"/>
                  <a:pt x="5093" y="19156"/>
                  <a:pt x="5000" y="19094"/>
                </a:cubicBezTo>
                <a:cubicBezTo>
                  <a:pt x="4875" y="19062"/>
                  <a:pt x="4718" y="19031"/>
                  <a:pt x="4593" y="18969"/>
                </a:cubicBezTo>
                <a:cubicBezTo>
                  <a:pt x="4437" y="18937"/>
                  <a:pt x="4312" y="18906"/>
                  <a:pt x="4156" y="18875"/>
                </a:cubicBezTo>
                <a:cubicBezTo>
                  <a:pt x="3937" y="18844"/>
                  <a:pt x="3718" y="18812"/>
                  <a:pt x="3531" y="18750"/>
                </a:cubicBezTo>
                <a:cubicBezTo>
                  <a:pt x="3437" y="18719"/>
                  <a:pt x="3343" y="18719"/>
                  <a:pt x="3250" y="18687"/>
                </a:cubicBezTo>
                <a:cubicBezTo>
                  <a:pt x="3156" y="18656"/>
                  <a:pt x="3093" y="18625"/>
                  <a:pt x="3031" y="18625"/>
                </a:cubicBezTo>
                <a:cubicBezTo>
                  <a:pt x="2812" y="18594"/>
                  <a:pt x="2625" y="18531"/>
                  <a:pt x="2406" y="18500"/>
                </a:cubicBezTo>
                <a:cubicBezTo>
                  <a:pt x="2281" y="18469"/>
                  <a:pt x="2156" y="18437"/>
                  <a:pt x="2000" y="18375"/>
                </a:cubicBezTo>
                <a:cubicBezTo>
                  <a:pt x="1875" y="18344"/>
                  <a:pt x="1718" y="18312"/>
                  <a:pt x="1562" y="18281"/>
                </a:cubicBezTo>
                <a:cubicBezTo>
                  <a:pt x="1468" y="18281"/>
                  <a:pt x="1343" y="18250"/>
                  <a:pt x="1250" y="18219"/>
                </a:cubicBezTo>
                <a:cubicBezTo>
                  <a:pt x="1218" y="18219"/>
                  <a:pt x="1187" y="18219"/>
                  <a:pt x="1187" y="18250"/>
                </a:cubicBezTo>
                <a:cubicBezTo>
                  <a:pt x="1187" y="18281"/>
                  <a:pt x="1218" y="18312"/>
                  <a:pt x="1218" y="18312"/>
                </a:cubicBezTo>
                <a:cubicBezTo>
                  <a:pt x="1250" y="18312"/>
                  <a:pt x="1281" y="18312"/>
                  <a:pt x="1312" y="18312"/>
                </a:cubicBezTo>
                <a:cubicBezTo>
                  <a:pt x="1312" y="18344"/>
                  <a:pt x="1343" y="18344"/>
                  <a:pt x="1343" y="18344"/>
                </a:cubicBezTo>
                <a:cubicBezTo>
                  <a:pt x="1312" y="18375"/>
                  <a:pt x="1312" y="18406"/>
                  <a:pt x="1312" y="18437"/>
                </a:cubicBezTo>
                <a:cubicBezTo>
                  <a:pt x="1281" y="18531"/>
                  <a:pt x="1343" y="18531"/>
                  <a:pt x="1375" y="18531"/>
                </a:cubicBezTo>
                <a:cubicBezTo>
                  <a:pt x="1562" y="18531"/>
                  <a:pt x="1750" y="18594"/>
                  <a:pt x="1906" y="18625"/>
                </a:cubicBezTo>
                <a:cubicBezTo>
                  <a:pt x="2125" y="18656"/>
                  <a:pt x="2343" y="18750"/>
                  <a:pt x="2562" y="18812"/>
                </a:cubicBezTo>
                <a:cubicBezTo>
                  <a:pt x="2750" y="18844"/>
                  <a:pt x="2968" y="18906"/>
                  <a:pt x="3187" y="18937"/>
                </a:cubicBezTo>
                <a:cubicBezTo>
                  <a:pt x="3406" y="19000"/>
                  <a:pt x="3625" y="19031"/>
                  <a:pt x="3843" y="19094"/>
                </a:cubicBezTo>
                <a:cubicBezTo>
                  <a:pt x="3968" y="19094"/>
                  <a:pt x="4062" y="19125"/>
                  <a:pt x="4187" y="19125"/>
                </a:cubicBezTo>
                <a:cubicBezTo>
                  <a:pt x="4281" y="19156"/>
                  <a:pt x="4375" y="19219"/>
                  <a:pt x="4468" y="19250"/>
                </a:cubicBezTo>
                <a:cubicBezTo>
                  <a:pt x="4593" y="19250"/>
                  <a:pt x="4687" y="19344"/>
                  <a:pt x="4781" y="19375"/>
                </a:cubicBezTo>
                <a:cubicBezTo>
                  <a:pt x="4875" y="19406"/>
                  <a:pt x="4968" y="19500"/>
                  <a:pt x="5062" y="19500"/>
                </a:cubicBezTo>
                <a:cubicBezTo>
                  <a:pt x="5062" y="19500"/>
                  <a:pt x="5062" y="19500"/>
                  <a:pt x="5093" y="19500"/>
                </a:cubicBezTo>
                <a:cubicBezTo>
                  <a:pt x="5156" y="19531"/>
                  <a:pt x="5250" y="19594"/>
                  <a:pt x="5375" y="19594"/>
                </a:cubicBezTo>
                <a:cubicBezTo>
                  <a:pt x="5468" y="19594"/>
                  <a:pt x="5562" y="19625"/>
                  <a:pt x="5656" y="19656"/>
                </a:cubicBezTo>
                <a:cubicBezTo>
                  <a:pt x="5843" y="19687"/>
                  <a:pt x="6062" y="19781"/>
                  <a:pt x="6250" y="19844"/>
                </a:cubicBezTo>
                <a:cubicBezTo>
                  <a:pt x="6343" y="19875"/>
                  <a:pt x="6437" y="19906"/>
                  <a:pt x="6531" y="19906"/>
                </a:cubicBezTo>
                <a:cubicBezTo>
                  <a:pt x="6625" y="19906"/>
                  <a:pt x="6687" y="19969"/>
                  <a:pt x="6781" y="19937"/>
                </a:cubicBezTo>
                <a:lnTo>
                  <a:pt x="6781" y="19937"/>
                </a:lnTo>
                <a:cubicBezTo>
                  <a:pt x="6718" y="19906"/>
                  <a:pt x="6687" y="19906"/>
                  <a:pt x="6625" y="19906"/>
                </a:cubicBezTo>
                <a:cubicBezTo>
                  <a:pt x="6625" y="19906"/>
                  <a:pt x="6593" y="19875"/>
                  <a:pt x="6562" y="19875"/>
                </a:cubicBezTo>
                <a:cubicBezTo>
                  <a:pt x="6562" y="19875"/>
                  <a:pt x="6562" y="19875"/>
                  <a:pt x="6531" y="19875"/>
                </a:cubicBezTo>
                <a:cubicBezTo>
                  <a:pt x="6468" y="19875"/>
                  <a:pt x="6375" y="19812"/>
                  <a:pt x="6281" y="19812"/>
                </a:cubicBezTo>
                <a:cubicBezTo>
                  <a:pt x="6187" y="19781"/>
                  <a:pt x="6093" y="19750"/>
                  <a:pt x="5968" y="19719"/>
                </a:cubicBezTo>
                <a:cubicBezTo>
                  <a:pt x="6000" y="19719"/>
                  <a:pt x="6031" y="19719"/>
                  <a:pt x="6062" y="19719"/>
                </a:cubicBezTo>
                <a:cubicBezTo>
                  <a:pt x="6312" y="19781"/>
                  <a:pt x="6531" y="19812"/>
                  <a:pt x="6781" y="19875"/>
                </a:cubicBezTo>
                <a:cubicBezTo>
                  <a:pt x="6812" y="19875"/>
                  <a:pt x="6843" y="19906"/>
                  <a:pt x="6875" y="19906"/>
                </a:cubicBezTo>
                <a:cubicBezTo>
                  <a:pt x="6906" y="19906"/>
                  <a:pt x="6937" y="19937"/>
                  <a:pt x="6968" y="19937"/>
                </a:cubicBezTo>
                <a:cubicBezTo>
                  <a:pt x="7125" y="19969"/>
                  <a:pt x="7250" y="20000"/>
                  <a:pt x="7375" y="20062"/>
                </a:cubicBezTo>
                <a:cubicBezTo>
                  <a:pt x="7468" y="20094"/>
                  <a:pt x="7531" y="20187"/>
                  <a:pt x="7656" y="20219"/>
                </a:cubicBezTo>
                <a:cubicBezTo>
                  <a:pt x="7750" y="20219"/>
                  <a:pt x="7843" y="20250"/>
                  <a:pt x="7906" y="20281"/>
                </a:cubicBezTo>
                <a:cubicBezTo>
                  <a:pt x="8125" y="20375"/>
                  <a:pt x="8343" y="20469"/>
                  <a:pt x="8531" y="20594"/>
                </a:cubicBezTo>
                <a:cubicBezTo>
                  <a:pt x="8531" y="20594"/>
                  <a:pt x="8531" y="20594"/>
                  <a:pt x="8531" y="20594"/>
                </a:cubicBezTo>
                <a:cubicBezTo>
                  <a:pt x="8625" y="20594"/>
                  <a:pt x="8625" y="20594"/>
                  <a:pt x="8625" y="20594"/>
                </a:cubicBezTo>
                <a:cubicBezTo>
                  <a:pt x="8625" y="20594"/>
                  <a:pt x="8656" y="20594"/>
                  <a:pt x="8656" y="20594"/>
                </a:cubicBezTo>
                <a:cubicBezTo>
                  <a:pt x="8656" y="20594"/>
                  <a:pt x="8656" y="20594"/>
                  <a:pt x="8656" y="20594"/>
                </a:cubicBezTo>
                <a:cubicBezTo>
                  <a:pt x="8718" y="20594"/>
                  <a:pt x="8718" y="20594"/>
                  <a:pt x="8718" y="20594"/>
                </a:cubicBezTo>
                <a:cubicBezTo>
                  <a:pt x="8750" y="20594"/>
                  <a:pt x="8781" y="20562"/>
                  <a:pt x="8812" y="20562"/>
                </a:cubicBezTo>
                <a:cubicBezTo>
                  <a:pt x="8812" y="20562"/>
                  <a:pt x="8812" y="20562"/>
                  <a:pt x="8812" y="20562"/>
                </a:cubicBezTo>
                <a:cubicBezTo>
                  <a:pt x="8718" y="20531"/>
                  <a:pt x="8718" y="20437"/>
                  <a:pt x="8718" y="20375"/>
                </a:cubicBezTo>
                <a:cubicBezTo>
                  <a:pt x="8687" y="20344"/>
                  <a:pt x="8718" y="20281"/>
                  <a:pt x="8687" y="20281"/>
                </a:cubicBezTo>
                <a:cubicBezTo>
                  <a:pt x="8687" y="20281"/>
                  <a:pt x="8687" y="20281"/>
                  <a:pt x="8687" y="20281"/>
                </a:cubicBezTo>
                <a:cubicBezTo>
                  <a:pt x="8687" y="20250"/>
                  <a:pt x="8687" y="20250"/>
                  <a:pt x="8687" y="20250"/>
                </a:cubicBezTo>
                <a:cubicBezTo>
                  <a:pt x="8718" y="20219"/>
                  <a:pt x="8781" y="20219"/>
                  <a:pt x="8718" y="20187"/>
                </a:cubicBezTo>
                <a:cubicBezTo>
                  <a:pt x="8687" y="20156"/>
                  <a:pt x="8718" y="20156"/>
                  <a:pt x="8718" y="20125"/>
                </a:cubicBezTo>
                <a:cubicBezTo>
                  <a:pt x="8718" y="20125"/>
                  <a:pt x="8718" y="20125"/>
                  <a:pt x="8718" y="20094"/>
                </a:cubicBezTo>
                <a:cubicBezTo>
                  <a:pt x="8750" y="20094"/>
                  <a:pt x="8750" y="20125"/>
                  <a:pt x="8781" y="20125"/>
                </a:cubicBezTo>
                <a:cubicBezTo>
                  <a:pt x="8750" y="20156"/>
                  <a:pt x="8812" y="20125"/>
                  <a:pt x="8812" y="20156"/>
                </a:cubicBezTo>
                <a:cubicBezTo>
                  <a:pt x="8812" y="20187"/>
                  <a:pt x="8875" y="20219"/>
                  <a:pt x="8812" y="20250"/>
                </a:cubicBezTo>
                <a:cubicBezTo>
                  <a:pt x="8843" y="20281"/>
                  <a:pt x="8906" y="20312"/>
                  <a:pt x="8875" y="20375"/>
                </a:cubicBezTo>
                <a:cubicBezTo>
                  <a:pt x="8843" y="20406"/>
                  <a:pt x="8812" y="20312"/>
                  <a:pt x="8781" y="20344"/>
                </a:cubicBezTo>
                <a:cubicBezTo>
                  <a:pt x="8781" y="20375"/>
                  <a:pt x="8812" y="20375"/>
                  <a:pt x="8843" y="20406"/>
                </a:cubicBezTo>
                <a:cubicBezTo>
                  <a:pt x="8875" y="20406"/>
                  <a:pt x="8906" y="20437"/>
                  <a:pt x="8937" y="20469"/>
                </a:cubicBezTo>
                <a:cubicBezTo>
                  <a:pt x="8968" y="20531"/>
                  <a:pt x="9031" y="20500"/>
                  <a:pt x="9093" y="20531"/>
                </a:cubicBezTo>
                <a:cubicBezTo>
                  <a:pt x="9125" y="20531"/>
                  <a:pt x="9187" y="20562"/>
                  <a:pt x="9218" y="20594"/>
                </a:cubicBezTo>
                <a:cubicBezTo>
                  <a:pt x="9218" y="20594"/>
                  <a:pt x="9218" y="20594"/>
                  <a:pt x="9218" y="20594"/>
                </a:cubicBezTo>
                <a:cubicBezTo>
                  <a:pt x="9343" y="20594"/>
                  <a:pt x="9343" y="20594"/>
                  <a:pt x="9343" y="20594"/>
                </a:cubicBezTo>
                <a:cubicBezTo>
                  <a:pt x="9343" y="20594"/>
                  <a:pt x="9343" y="20594"/>
                  <a:pt x="9343" y="20594"/>
                </a:cubicBezTo>
                <a:cubicBezTo>
                  <a:pt x="9312" y="20562"/>
                  <a:pt x="9218" y="20531"/>
                  <a:pt x="9250" y="20500"/>
                </a:cubicBezTo>
                <a:cubicBezTo>
                  <a:pt x="9250" y="20469"/>
                  <a:pt x="9312" y="20531"/>
                  <a:pt x="9343" y="20531"/>
                </a:cubicBezTo>
                <a:cubicBezTo>
                  <a:pt x="9406" y="20531"/>
                  <a:pt x="9468" y="20594"/>
                  <a:pt x="9531" y="20562"/>
                </a:cubicBezTo>
                <a:cubicBezTo>
                  <a:pt x="9531" y="20594"/>
                  <a:pt x="9531" y="20594"/>
                  <a:pt x="9531" y="20594"/>
                </a:cubicBezTo>
                <a:cubicBezTo>
                  <a:pt x="9593" y="20594"/>
                  <a:pt x="9593" y="20594"/>
                  <a:pt x="9593" y="20594"/>
                </a:cubicBezTo>
                <a:cubicBezTo>
                  <a:pt x="9562" y="20562"/>
                  <a:pt x="9562" y="20562"/>
                  <a:pt x="9531" y="20562"/>
                </a:cubicBezTo>
                <a:cubicBezTo>
                  <a:pt x="9531" y="20562"/>
                  <a:pt x="9531" y="20562"/>
                  <a:pt x="9531" y="20562"/>
                </a:cubicBezTo>
                <a:cubicBezTo>
                  <a:pt x="9437" y="20531"/>
                  <a:pt x="9406" y="20500"/>
                  <a:pt x="9312" y="20469"/>
                </a:cubicBezTo>
                <a:cubicBezTo>
                  <a:pt x="9343" y="20437"/>
                  <a:pt x="9343" y="20437"/>
                  <a:pt x="9375" y="20437"/>
                </a:cubicBezTo>
                <a:cubicBezTo>
                  <a:pt x="9500" y="20500"/>
                  <a:pt x="9625" y="20500"/>
                  <a:pt x="9750" y="20562"/>
                </a:cubicBezTo>
                <a:cubicBezTo>
                  <a:pt x="9750" y="20594"/>
                  <a:pt x="9812" y="20594"/>
                  <a:pt x="9843" y="20594"/>
                </a:cubicBezTo>
                <a:cubicBezTo>
                  <a:pt x="9906" y="20594"/>
                  <a:pt x="9906" y="20594"/>
                  <a:pt x="9906" y="20594"/>
                </a:cubicBezTo>
                <a:cubicBezTo>
                  <a:pt x="9875" y="20562"/>
                  <a:pt x="9843" y="20531"/>
                  <a:pt x="9781" y="20531"/>
                </a:cubicBezTo>
                <a:cubicBezTo>
                  <a:pt x="9875" y="20500"/>
                  <a:pt x="9968" y="20500"/>
                  <a:pt x="10031" y="20562"/>
                </a:cubicBezTo>
                <a:cubicBezTo>
                  <a:pt x="10093" y="20562"/>
                  <a:pt x="10125" y="20594"/>
                  <a:pt x="10156" y="20594"/>
                </a:cubicBezTo>
                <a:cubicBezTo>
                  <a:pt x="10218" y="20594"/>
                  <a:pt x="10218" y="20594"/>
                  <a:pt x="10218" y="20594"/>
                </a:cubicBezTo>
                <a:cubicBezTo>
                  <a:pt x="10156" y="20562"/>
                  <a:pt x="10125" y="20531"/>
                  <a:pt x="10062" y="20531"/>
                </a:cubicBezTo>
                <a:cubicBezTo>
                  <a:pt x="10093" y="20500"/>
                  <a:pt x="10156" y="20500"/>
                  <a:pt x="10187" y="20531"/>
                </a:cubicBezTo>
                <a:cubicBezTo>
                  <a:pt x="10218" y="20562"/>
                  <a:pt x="10281" y="20562"/>
                  <a:pt x="10312" y="20594"/>
                </a:cubicBezTo>
                <a:cubicBezTo>
                  <a:pt x="10375" y="20594"/>
                  <a:pt x="10375" y="20594"/>
                  <a:pt x="10375" y="20594"/>
                </a:cubicBezTo>
                <a:cubicBezTo>
                  <a:pt x="10406" y="20594"/>
                  <a:pt x="10375" y="20562"/>
                  <a:pt x="10375" y="20562"/>
                </a:cubicBezTo>
                <a:cubicBezTo>
                  <a:pt x="10343" y="20562"/>
                  <a:pt x="10312" y="20531"/>
                  <a:pt x="10312" y="20531"/>
                </a:cubicBezTo>
                <a:cubicBezTo>
                  <a:pt x="10343" y="20500"/>
                  <a:pt x="10406" y="20500"/>
                  <a:pt x="10437" y="20531"/>
                </a:cubicBezTo>
                <a:cubicBezTo>
                  <a:pt x="10468" y="20562"/>
                  <a:pt x="10468" y="20594"/>
                  <a:pt x="10500" y="20594"/>
                </a:cubicBezTo>
                <a:cubicBezTo>
                  <a:pt x="10500" y="20594"/>
                  <a:pt x="10500" y="20594"/>
                  <a:pt x="10500" y="20594"/>
                </a:cubicBezTo>
                <a:cubicBezTo>
                  <a:pt x="10562" y="20594"/>
                  <a:pt x="10562" y="20594"/>
                  <a:pt x="10562" y="20594"/>
                </a:cubicBezTo>
                <a:cubicBezTo>
                  <a:pt x="10562" y="20594"/>
                  <a:pt x="10562" y="20594"/>
                  <a:pt x="10562" y="20594"/>
                </a:cubicBezTo>
                <a:cubicBezTo>
                  <a:pt x="10593" y="20594"/>
                  <a:pt x="10593" y="20562"/>
                  <a:pt x="10562" y="20562"/>
                </a:cubicBezTo>
                <a:cubicBezTo>
                  <a:pt x="10562" y="20531"/>
                  <a:pt x="10531" y="20531"/>
                  <a:pt x="10500" y="20531"/>
                </a:cubicBezTo>
                <a:cubicBezTo>
                  <a:pt x="10531" y="20469"/>
                  <a:pt x="10562" y="20531"/>
                  <a:pt x="10625" y="20531"/>
                </a:cubicBezTo>
                <a:cubicBezTo>
                  <a:pt x="10656" y="20562"/>
                  <a:pt x="10656" y="20594"/>
                  <a:pt x="10687" y="20594"/>
                </a:cubicBezTo>
                <a:cubicBezTo>
                  <a:pt x="10687" y="20594"/>
                  <a:pt x="10687" y="20594"/>
                  <a:pt x="10687" y="20594"/>
                </a:cubicBezTo>
                <a:cubicBezTo>
                  <a:pt x="10750" y="20594"/>
                  <a:pt x="10750" y="20594"/>
                  <a:pt x="10750" y="20594"/>
                </a:cubicBezTo>
                <a:cubicBezTo>
                  <a:pt x="10812" y="20531"/>
                  <a:pt x="10906" y="20594"/>
                  <a:pt x="11000" y="20562"/>
                </a:cubicBezTo>
                <a:cubicBezTo>
                  <a:pt x="10968" y="20562"/>
                  <a:pt x="10937" y="20531"/>
                  <a:pt x="10906" y="20531"/>
                </a:cubicBezTo>
                <a:cubicBezTo>
                  <a:pt x="10875" y="20531"/>
                  <a:pt x="10843" y="20531"/>
                  <a:pt x="10843" y="20500"/>
                </a:cubicBezTo>
                <a:cubicBezTo>
                  <a:pt x="10843" y="20500"/>
                  <a:pt x="10875" y="20500"/>
                  <a:pt x="10875" y="20500"/>
                </a:cubicBezTo>
                <a:cubicBezTo>
                  <a:pt x="10875" y="20500"/>
                  <a:pt x="10906" y="20500"/>
                  <a:pt x="10906" y="20500"/>
                </a:cubicBezTo>
                <a:cubicBezTo>
                  <a:pt x="11000" y="20500"/>
                  <a:pt x="11093" y="20531"/>
                  <a:pt x="11218" y="20531"/>
                </a:cubicBezTo>
                <a:cubicBezTo>
                  <a:pt x="11375" y="20531"/>
                  <a:pt x="11500" y="20562"/>
                  <a:pt x="11656" y="20594"/>
                </a:cubicBezTo>
                <a:cubicBezTo>
                  <a:pt x="11687" y="20594"/>
                  <a:pt x="11687" y="20594"/>
                  <a:pt x="11750" y="20562"/>
                </a:cubicBezTo>
                <a:cubicBezTo>
                  <a:pt x="11656" y="20562"/>
                  <a:pt x="11593" y="20531"/>
                  <a:pt x="11531" y="20531"/>
                </a:cubicBezTo>
                <a:cubicBezTo>
                  <a:pt x="11500" y="20531"/>
                  <a:pt x="11500" y="20531"/>
                  <a:pt x="11500" y="20500"/>
                </a:cubicBezTo>
                <a:cubicBezTo>
                  <a:pt x="11500" y="20469"/>
                  <a:pt x="11500" y="20500"/>
                  <a:pt x="11531" y="20500"/>
                </a:cubicBezTo>
                <a:cubicBezTo>
                  <a:pt x="11843" y="20500"/>
                  <a:pt x="12187" y="20500"/>
                  <a:pt x="12500" y="20500"/>
                </a:cubicBezTo>
                <a:cubicBezTo>
                  <a:pt x="12593" y="20469"/>
                  <a:pt x="12687" y="20531"/>
                  <a:pt x="12781" y="20531"/>
                </a:cubicBezTo>
                <a:cubicBezTo>
                  <a:pt x="12843" y="20562"/>
                  <a:pt x="12937" y="20562"/>
                  <a:pt x="13031" y="20562"/>
                </a:cubicBezTo>
                <a:cubicBezTo>
                  <a:pt x="13156" y="20531"/>
                  <a:pt x="13281" y="20531"/>
                  <a:pt x="13437" y="20562"/>
                </a:cubicBezTo>
                <a:cubicBezTo>
                  <a:pt x="13468" y="20562"/>
                  <a:pt x="13500" y="20531"/>
                  <a:pt x="13562" y="20531"/>
                </a:cubicBezTo>
                <a:cubicBezTo>
                  <a:pt x="13562" y="20531"/>
                  <a:pt x="13562" y="20531"/>
                  <a:pt x="13562" y="20531"/>
                </a:cubicBezTo>
                <a:cubicBezTo>
                  <a:pt x="13562" y="20500"/>
                  <a:pt x="13562" y="20500"/>
                  <a:pt x="13531" y="20500"/>
                </a:cubicBezTo>
                <a:cubicBezTo>
                  <a:pt x="13468" y="20531"/>
                  <a:pt x="13406" y="20531"/>
                  <a:pt x="13312" y="20500"/>
                </a:cubicBezTo>
                <a:cubicBezTo>
                  <a:pt x="13281" y="20500"/>
                  <a:pt x="13281" y="20531"/>
                  <a:pt x="13250" y="20531"/>
                </a:cubicBezTo>
                <a:cubicBezTo>
                  <a:pt x="13156" y="20531"/>
                  <a:pt x="13062" y="20531"/>
                  <a:pt x="12968" y="20531"/>
                </a:cubicBezTo>
                <a:cubicBezTo>
                  <a:pt x="12906" y="20531"/>
                  <a:pt x="12843" y="20531"/>
                  <a:pt x="12781" y="20469"/>
                </a:cubicBezTo>
                <a:cubicBezTo>
                  <a:pt x="12875" y="20469"/>
                  <a:pt x="13000" y="20469"/>
                  <a:pt x="13125" y="20469"/>
                </a:cubicBezTo>
                <a:cubicBezTo>
                  <a:pt x="13250" y="20469"/>
                  <a:pt x="13406" y="20469"/>
                  <a:pt x="13531" y="20469"/>
                </a:cubicBezTo>
                <a:cubicBezTo>
                  <a:pt x="13562" y="20469"/>
                  <a:pt x="13593" y="20469"/>
                  <a:pt x="13593" y="20531"/>
                </a:cubicBezTo>
                <a:cubicBezTo>
                  <a:pt x="13593" y="20594"/>
                  <a:pt x="13656" y="20594"/>
                  <a:pt x="13687" y="20562"/>
                </a:cubicBezTo>
                <a:cubicBezTo>
                  <a:pt x="13718" y="20531"/>
                  <a:pt x="13750" y="20562"/>
                  <a:pt x="13781" y="20594"/>
                </a:cubicBezTo>
                <a:cubicBezTo>
                  <a:pt x="13781" y="20594"/>
                  <a:pt x="13781" y="20594"/>
                  <a:pt x="13781" y="20594"/>
                </a:cubicBezTo>
                <a:cubicBezTo>
                  <a:pt x="13812" y="20594"/>
                  <a:pt x="13812" y="20594"/>
                  <a:pt x="13812" y="20594"/>
                </a:cubicBezTo>
                <a:cubicBezTo>
                  <a:pt x="13812" y="20594"/>
                  <a:pt x="13812" y="20594"/>
                  <a:pt x="13812" y="20594"/>
                </a:cubicBezTo>
                <a:cubicBezTo>
                  <a:pt x="13812" y="20562"/>
                  <a:pt x="13812" y="20562"/>
                  <a:pt x="13781" y="20562"/>
                </a:cubicBezTo>
                <a:cubicBezTo>
                  <a:pt x="13781" y="20531"/>
                  <a:pt x="13750" y="20531"/>
                  <a:pt x="13781" y="20500"/>
                </a:cubicBezTo>
                <a:cubicBezTo>
                  <a:pt x="13843" y="20500"/>
                  <a:pt x="13937" y="20469"/>
                  <a:pt x="14000" y="20469"/>
                </a:cubicBezTo>
                <a:cubicBezTo>
                  <a:pt x="14000" y="20469"/>
                  <a:pt x="14000" y="20469"/>
                  <a:pt x="14031" y="20469"/>
                </a:cubicBezTo>
                <a:cubicBezTo>
                  <a:pt x="13968" y="20531"/>
                  <a:pt x="13937" y="20531"/>
                  <a:pt x="13875" y="20531"/>
                </a:cubicBezTo>
                <a:cubicBezTo>
                  <a:pt x="13875" y="20531"/>
                  <a:pt x="13843" y="20531"/>
                  <a:pt x="13843" y="20562"/>
                </a:cubicBezTo>
                <a:cubicBezTo>
                  <a:pt x="13843" y="20562"/>
                  <a:pt x="13875" y="20562"/>
                  <a:pt x="13875" y="20562"/>
                </a:cubicBezTo>
                <a:cubicBezTo>
                  <a:pt x="13937" y="20562"/>
                  <a:pt x="14031" y="20531"/>
                  <a:pt x="14093" y="20531"/>
                </a:cubicBezTo>
                <a:cubicBezTo>
                  <a:pt x="14125" y="20500"/>
                  <a:pt x="14156" y="20531"/>
                  <a:pt x="14187" y="20500"/>
                </a:cubicBezTo>
                <a:cubicBezTo>
                  <a:pt x="14187" y="20469"/>
                  <a:pt x="14156" y="20469"/>
                  <a:pt x="14125" y="20469"/>
                </a:cubicBezTo>
                <a:cubicBezTo>
                  <a:pt x="14093" y="20469"/>
                  <a:pt x="14062" y="20469"/>
                  <a:pt x="14062" y="20406"/>
                </a:cubicBezTo>
                <a:cubicBezTo>
                  <a:pt x="14062" y="20375"/>
                  <a:pt x="14062" y="20375"/>
                  <a:pt x="14031" y="20375"/>
                </a:cubicBezTo>
                <a:cubicBezTo>
                  <a:pt x="13968" y="20437"/>
                  <a:pt x="14000" y="20344"/>
                  <a:pt x="14000" y="20344"/>
                </a:cubicBezTo>
                <a:cubicBezTo>
                  <a:pt x="13968" y="20406"/>
                  <a:pt x="13937" y="20406"/>
                  <a:pt x="13937" y="20344"/>
                </a:cubicBezTo>
                <a:cubicBezTo>
                  <a:pt x="13937" y="20312"/>
                  <a:pt x="13937" y="20312"/>
                  <a:pt x="13937" y="20281"/>
                </a:cubicBezTo>
                <a:cubicBezTo>
                  <a:pt x="13906" y="20281"/>
                  <a:pt x="13906" y="20312"/>
                  <a:pt x="13875" y="20344"/>
                </a:cubicBezTo>
                <a:cubicBezTo>
                  <a:pt x="13875" y="20281"/>
                  <a:pt x="13937" y="20281"/>
                  <a:pt x="13906" y="20219"/>
                </a:cubicBezTo>
                <a:cubicBezTo>
                  <a:pt x="13875" y="20250"/>
                  <a:pt x="13875" y="20281"/>
                  <a:pt x="13843" y="20312"/>
                </a:cubicBezTo>
                <a:cubicBezTo>
                  <a:pt x="13812" y="20219"/>
                  <a:pt x="13875" y="20156"/>
                  <a:pt x="13906" y="20094"/>
                </a:cubicBezTo>
                <a:cubicBezTo>
                  <a:pt x="13906" y="20125"/>
                  <a:pt x="13875" y="20156"/>
                  <a:pt x="13906" y="20187"/>
                </a:cubicBezTo>
                <a:lnTo>
                  <a:pt x="13906" y="20187"/>
                </a:lnTo>
                <a:cubicBezTo>
                  <a:pt x="13937" y="20156"/>
                  <a:pt x="13968" y="20125"/>
                  <a:pt x="13937" y="20094"/>
                </a:cubicBezTo>
                <a:cubicBezTo>
                  <a:pt x="13937" y="20094"/>
                  <a:pt x="13906" y="20125"/>
                  <a:pt x="13906" y="20094"/>
                </a:cubicBezTo>
                <a:cubicBezTo>
                  <a:pt x="13906" y="20094"/>
                  <a:pt x="13937" y="20062"/>
                  <a:pt x="13875" y="20062"/>
                </a:cubicBezTo>
                <a:cubicBezTo>
                  <a:pt x="13906" y="20000"/>
                  <a:pt x="13937" y="19969"/>
                  <a:pt x="13968" y="19906"/>
                </a:cubicBezTo>
                <a:cubicBezTo>
                  <a:pt x="14000" y="19906"/>
                  <a:pt x="14000" y="19906"/>
                  <a:pt x="14000" y="19906"/>
                </a:cubicBezTo>
                <a:cubicBezTo>
                  <a:pt x="14031" y="19906"/>
                  <a:pt x="14031" y="19937"/>
                  <a:pt x="14000" y="19937"/>
                </a:cubicBezTo>
                <a:cubicBezTo>
                  <a:pt x="13968" y="19969"/>
                  <a:pt x="13968" y="20031"/>
                  <a:pt x="13937" y="20031"/>
                </a:cubicBezTo>
                <a:lnTo>
                  <a:pt x="13937" y="20031"/>
                </a:lnTo>
                <a:cubicBezTo>
                  <a:pt x="13937" y="20000"/>
                  <a:pt x="14000" y="19969"/>
                  <a:pt x="13968" y="19906"/>
                </a:cubicBezTo>
                <a:cubicBezTo>
                  <a:pt x="13968" y="19875"/>
                  <a:pt x="14000" y="19844"/>
                  <a:pt x="14000" y="19812"/>
                </a:cubicBezTo>
                <a:cubicBezTo>
                  <a:pt x="14000" y="19781"/>
                  <a:pt x="14093" y="19750"/>
                  <a:pt x="13968" y="19719"/>
                </a:cubicBezTo>
                <a:cubicBezTo>
                  <a:pt x="13968" y="19719"/>
                  <a:pt x="14000" y="19687"/>
                  <a:pt x="14000" y="19656"/>
                </a:cubicBezTo>
                <a:cubicBezTo>
                  <a:pt x="14031" y="19656"/>
                  <a:pt x="14031" y="19625"/>
                  <a:pt x="14062" y="19656"/>
                </a:cubicBezTo>
                <a:cubicBezTo>
                  <a:pt x="14125" y="19719"/>
                  <a:pt x="14218" y="19781"/>
                  <a:pt x="14312" y="19781"/>
                </a:cubicBezTo>
                <a:cubicBezTo>
                  <a:pt x="14343" y="19812"/>
                  <a:pt x="14406" y="19812"/>
                  <a:pt x="14437" y="19812"/>
                </a:cubicBezTo>
                <a:cubicBezTo>
                  <a:pt x="14468" y="19812"/>
                  <a:pt x="14500" y="19812"/>
                  <a:pt x="14500" y="19750"/>
                </a:cubicBezTo>
                <a:cubicBezTo>
                  <a:pt x="14500" y="19719"/>
                  <a:pt x="14468" y="19719"/>
                  <a:pt x="14437" y="19687"/>
                </a:cubicBezTo>
                <a:cubicBezTo>
                  <a:pt x="14437" y="19687"/>
                  <a:pt x="14406" y="19687"/>
                  <a:pt x="14375" y="19656"/>
                </a:cubicBezTo>
                <a:cubicBezTo>
                  <a:pt x="14375" y="19656"/>
                  <a:pt x="14375" y="19656"/>
                  <a:pt x="14375" y="19625"/>
                </a:cubicBezTo>
                <a:cubicBezTo>
                  <a:pt x="14375" y="19625"/>
                  <a:pt x="14406" y="19625"/>
                  <a:pt x="14406" y="19625"/>
                </a:cubicBezTo>
                <a:cubicBezTo>
                  <a:pt x="14500" y="19656"/>
                  <a:pt x="14562" y="19750"/>
                  <a:pt x="14531" y="19812"/>
                </a:cubicBezTo>
                <a:cubicBezTo>
                  <a:pt x="14500" y="19844"/>
                  <a:pt x="14500" y="19875"/>
                  <a:pt x="14500" y="19906"/>
                </a:cubicBezTo>
                <a:cubicBezTo>
                  <a:pt x="14468" y="19969"/>
                  <a:pt x="14468" y="20031"/>
                  <a:pt x="14406" y="20094"/>
                </a:cubicBezTo>
                <a:cubicBezTo>
                  <a:pt x="14343" y="20156"/>
                  <a:pt x="14312" y="20219"/>
                  <a:pt x="14312" y="20281"/>
                </a:cubicBezTo>
                <a:cubicBezTo>
                  <a:pt x="14281" y="20344"/>
                  <a:pt x="14281" y="20406"/>
                  <a:pt x="14218" y="20437"/>
                </a:cubicBezTo>
                <a:cubicBezTo>
                  <a:pt x="14218" y="20469"/>
                  <a:pt x="14218" y="20469"/>
                  <a:pt x="14218" y="20469"/>
                </a:cubicBezTo>
                <a:cubicBezTo>
                  <a:pt x="14218" y="20469"/>
                  <a:pt x="14250" y="20500"/>
                  <a:pt x="14250" y="20500"/>
                </a:cubicBezTo>
                <a:cubicBezTo>
                  <a:pt x="14281" y="20469"/>
                  <a:pt x="14312" y="20469"/>
                  <a:pt x="14312" y="20437"/>
                </a:cubicBezTo>
                <a:cubicBezTo>
                  <a:pt x="14312" y="20375"/>
                  <a:pt x="14343" y="20344"/>
                  <a:pt x="14406" y="20344"/>
                </a:cubicBezTo>
                <a:cubicBezTo>
                  <a:pt x="14375" y="20312"/>
                  <a:pt x="14312" y="20281"/>
                  <a:pt x="14343" y="20281"/>
                </a:cubicBezTo>
                <a:cubicBezTo>
                  <a:pt x="14406" y="20250"/>
                  <a:pt x="14375" y="20187"/>
                  <a:pt x="14406" y="20156"/>
                </a:cubicBezTo>
                <a:cubicBezTo>
                  <a:pt x="14406" y="20156"/>
                  <a:pt x="14437" y="20125"/>
                  <a:pt x="14468" y="20125"/>
                </a:cubicBezTo>
                <a:cubicBezTo>
                  <a:pt x="14500" y="20125"/>
                  <a:pt x="14531" y="20094"/>
                  <a:pt x="14593" y="20125"/>
                </a:cubicBezTo>
                <a:cubicBezTo>
                  <a:pt x="14562" y="20062"/>
                  <a:pt x="14500" y="20094"/>
                  <a:pt x="14468" y="20062"/>
                </a:cubicBezTo>
                <a:cubicBezTo>
                  <a:pt x="14468" y="20031"/>
                  <a:pt x="14531" y="20031"/>
                  <a:pt x="14500" y="20000"/>
                </a:cubicBezTo>
                <a:cubicBezTo>
                  <a:pt x="14468" y="19937"/>
                  <a:pt x="14531" y="19937"/>
                  <a:pt x="14562" y="19906"/>
                </a:cubicBezTo>
                <a:cubicBezTo>
                  <a:pt x="14687" y="19906"/>
                  <a:pt x="14812" y="19875"/>
                  <a:pt x="14937" y="19844"/>
                </a:cubicBezTo>
                <a:cubicBezTo>
                  <a:pt x="14968" y="19812"/>
                  <a:pt x="15000" y="19812"/>
                  <a:pt x="15031" y="19812"/>
                </a:cubicBezTo>
                <a:cubicBezTo>
                  <a:pt x="15187" y="19750"/>
                  <a:pt x="15343" y="19719"/>
                  <a:pt x="15468" y="19687"/>
                </a:cubicBezTo>
                <a:cubicBezTo>
                  <a:pt x="15500" y="19687"/>
                  <a:pt x="15562" y="19656"/>
                  <a:pt x="15562" y="19719"/>
                </a:cubicBezTo>
                <a:cubicBezTo>
                  <a:pt x="15593" y="19750"/>
                  <a:pt x="15531" y="19719"/>
                  <a:pt x="15500" y="19750"/>
                </a:cubicBezTo>
                <a:cubicBezTo>
                  <a:pt x="15500" y="19750"/>
                  <a:pt x="15531" y="19750"/>
                  <a:pt x="15531" y="19750"/>
                </a:cubicBezTo>
                <a:cubicBezTo>
                  <a:pt x="15562" y="19750"/>
                  <a:pt x="15625" y="19719"/>
                  <a:pt x="15625" y="19812"/>
                </a:cubicBezTo>
                <a:cubicBezTo>
                  <a:pt x="15625" y="19844"/>
                  <a:pt x="15656" y="19844"/>
                  <a:pt x="15687" y="19812"/>
                </a:cubicBezTo>
                <a:cubicBezTo>
                  <a:pt x="15687" y="19812"/>
                  <a:pt x="15718" y="19812"/>
                  <a:pt x="15687" y="19781"/>
                </a:cubicBezTo>
                <a:cubicBezTo>
                  <a:pt x="15656" y="19750"/>
                  <a:pt x="15625" y="19687"/>
                  <a:pt x="15593" y="19656"/>
                </a:cubicBezTo>
                <a:cubicBezTo>
                  <a:pt x="15593" y="19656"/>
                  <a:pt x="15562" y="19625"/>
                  <a:pt x="15562" y="19656"/>
                </a:cubicBezTo>
                <a:cubicBezTo>
                  <a:pt x="15375" y="19687"/>
                  <a:pt x="15218" y="19687"/>
                  <a:pt x="15031" y="19781"/>
                </a:cubicBezTo>
                <a:cubicBezTo>
                  <a:pt x="15000" y="19781"/>
                  <a:pt x="14937" y="19781"/>
                  <a:pt x="14906" y="19812"/>
                </a:cubicBezTo>
                <a:cubicBezTo>
                  <a:pt x="14781" y="19844"/>
                  <a:pt x="14687" y="19875"/>
                  <a:pt x="14593" y="19875"/>
                </a:cubicBezTo>
                <a:cubicBezTo>
                  <a:pt x="14562" y="19906"/>
                  <a:pt x="14531" y="19906"/>
                  <a:pt x="14531" y="19875"/>
                </a:cubicBezTo>
                <a:cubicBezTo>
                  <a:pt x="14531" y="19844"/>
                  <a:pt x="14531" y="19844"/>
                  <a:pt x="14562" y="19812"/>
                </a:cubicBezTo>
                <a:cubicBezTo>
                  <a:pt x="14625" y="19812"/>
                  <a:pt x="14687" y="19781"/>
                  <a:pt x="14781" y="19781"/>
                </a:cubicBezTo>
                <a:cubicBezTo>
                  <a:pt x="14875" y="19750"/>
                  <a:pt x="15000" y="19750"/>
                  <a:pt x="15093" y="19656"/>
                </a:cubicBezTo>
                <a:cubicBezTo>
                  <a:pt x="15031" y="19656"/>
                  <a:pt x="15000" y="19687"/>
                  <a:pt x="14968" y="19687"/>
                </a:cubicBezTo>
                <a:cubicBezTo>
                  <a:pt x="14906" y="19719"/>
                  <a:pt x="14812" y="19719"/>
                  <a:pt x="14750" y="19750"/>
                </a:cubicBezTo>
                <a:cubicBezTo>
                  <a:pt x="14718" y="19750"/>
                  <a:pt x="14687" y="19781"/>
                  <a:pt x="14656" y="19781"/>
                </a:cubicBezTo>
                <a:cubicBezTo>
                  <a:pt x="14625" y="19781"/>
                  <a:pt x="14593" y="19812"/>
                  <a:pt x="14593" y="19781"/>
                </a:cubicBezTo>
                <a:cubicBezTo>
                  <a:pt x="14562" y="19719"/>
                  <a:pt x="14593" y="19719"/>
                  <a:pt x="14656" y="19719"/>
                </a:cubicBezTo>
                <a:cubicBezTo>
                  <a:pt x="14656" y="19719"/>
                  <a:pt x="14687" y="19719"/>
                  <a:pt x="14718" y="19687"/>
                </a:cubicBezTo>
                <a:cubicBezTo>
                  <a:pt x="14812" y="19687"/>
                  <a:pt x="14906" y="19656"/>
                  <a:pt x="15000" y="19625"/>
                </a:cubicBezTo>
                <a:cubicBezTo>
                  <a:pt x="15125" y="19562"/>
                  <a:pt x="15312" y="19531"/>
                  <a:pt x="15468" y="19500"/>
                </a:cubicBezTo>
                <a:cubicBezTo>
                  <a:pt x="15437" y="19469"/>
                  <a:pt x="15437" y="19469"/>
                  <a:pt x="15406" y="19469"/>
                </a:cubicBezTo>
                <a:cubicBezTo>
                  <a:pt x="15187" y="19500"/>
                  <a:pt x="14968" y="19594"/>
                  <a:pt x="14750" y="19656"/>
                </a:cubicBezTo>
                <a:cubicBezTo>
                  <a:pt x="14687" y="19687"/>
                  <a:pt x="14593" y="19719"/>
                  <a:pt x="14531" y="19656"/>
                </a:cubicBezTo>
                <a:cubicBezTo>
                  <a:pt x="14468" y="19625"/>
                  <a:pt x="14437" y="19594"/>
                  <a:pt x="14343" y="19594"/>
                </a:cubicBezTo>
                <a:cubicBezTo>
                  <a:pt x="14500" y="19531"/>
                  <a:pt x="14593" y="19500"/>
                  <a:pt x="14718" y="19469"/>
                </a:cubicBezTo>
                <a:cubicBezTo>
                  <a:pt x="14812" y="19437"/>
                  <a:pt x="14968" y="19406"/>
                  <a:pt x="15062" y="19375"/>
                </a:cubicBezTo>
                <a:cubicBezTo>
                  <a:pt x="15093" y="19375"/>
                  <a:pt x="15125" y="19375"/>
                  <a:pt x="15156" y="19375"/>
                </a:cubicBezTo>
                <a:cubicBezTo>
                  <a:pt x="15281" y="19344"/>
                  <a:pt x="15406" y="19281"/>
                  <a:pt x="15531" y="19312"/>
                </a:cubicBezTo>
                <a:cubicBezTo>
                  <a:pt x="15562" y="19312"/>
                  <a:pt x="15625" y="19312"/>
                  <a:pt x="15656" y="19281"/>
                </a:cubicBezTo>
                <a:cubicBezTo>
                  <a:pt x="15687" y="19281"/>
                  <a:pt x="15718" y="19312"/>
                  <a:pt x="15750" y="19281"/>
                </a:cubicBezTo>
                <a:cubicBezTo>
                  <a:pt x="15656" y="19281"/>
                  <a:pt x="15562" y="19281"/>
                  <a:pt x="15468" y="19281"/>
                </a:cubicBezTo>
                <a:cubicBezTo>
                  <a:pt x="15437" y="19281"/>
                  <a:pt x="15375" y="19281"/>
                  <a:pt x="15343" y="19281"/>
                </a:cubicBezTo>
                <a:cubicBezTo>
                  <a:pt x="15250" y="19312"/>
                  <a:pt x="15156" y="19312"/>
                  <a:pt x="15062" y="19344"/>
                </a:cubicBezTo>
                <a:cubicBezTo>
                  <a:pt x="14906" y="19375"/>
                  <a:pt x="14781" y="19437"/>
                  <a:pt x="14656" y="19469"/>
                </a:cubicBezTo>
                <a:cubicBezTo>
                  <a:pt x="14531" y="19500"/>
                  <a:pt x="14437" y="19500"/>
                  <a:pt x="14343" y="19562"/>
                </a:cubicBezTo>
                <a:cubicBezTo>
                  <a:pt x="14250" y="19531"/>
                  <a:pt x="14156" y="19594"/>
                  <a:pt x="14062" y="19625"/>
                </a:cubicBezTo>
                <a:cubicBezTo>
                  <a:pt x="14093" y="19625"/>
                  <a:pt x="14093" y="19656"/>
                  <a:pt x="14125" y="19656"/>
                </a:cubicBezTo>
                <a:cubicBezTo>
                  <a:pt x="14093" y="19656"/>
                  <a:pt x="14093" y="19625"/>
                  <a:pt x="14062" y="19625"/>
                </a:cubicBezTo>
                <a:cubicBezTo>
                  <a:pt x="14062" y="19625"/>
                  <a:pt x="14031" y="19594"/>
                  <a:pt x="14031" y="19562"/>
                </a:cubicBezTo>
                <a:cubicBezTo>
                  <a:pt x="14156" y="19531"/>
                  <a:pt x="14281" y="19500"/>
                  <a:pt x="14437" y="19469"/>
                </a:cubicBezTo>
                <a:cubicBezTo>
                  <a:pt x="14375" y="19437"/>
                  <a:pt x="14343" y="19469"/>
                  <a:pt x="14312" y="19469"/>
                </a:cubicBezTo>
                <a:cubicBezTo>
                  <a:pt x="14218" y="19500"/>
                  <a:pt x="14093" y="19531"/>
                  <a:pt x="13968" y="19562"/>
                </a:cubicBezTo>
                <a:cubicBezTo>
                  <a:pt x="13937" y="19531"/>
                  <a:pt x="13906" y="19562"/>
                  <a:pt x="13875" y="19500"/>
                </a:cubicBezTo>
                <a:cubicBezTo>
                  <a:pt x="14062" y="19469"/>
                  <a:pt x="14218" y="19406"/>
                  <a:pt x="14406" y="19375"/>
                </a:cubicBezTo>
                <a:cubicBezTo>
                  <a:pt x="14718" y="19281"/>
                  <a:pt x="15031" y="19187"/>
                  <a:pt x="15343" y="19125"/>
                </a:cubicBezTo>
                <a:cubicBezTo>
                  <a:pt x="15437" y="19094"/>
                  <a:pt x="15562" y="19125"/>
                  <a:pt x="15656" y="19125"/>
                </a:cubicBezTo>
                <a:cubicBezTo>
                  <a:pt x="15687" y="19125"/>
                  <a:pt x="15718" y="19125"/>
                  <a:pt x="15718" y="19156"/>
                </a:cubicBezTo>
                <a:cubicBezTo>
                  <a:pt x="15750" y="19187"/>
                  <a:pt x="15781" y="19156"/>
                  <a:pt x="15781" y="19187"/>
                </a:cubicBezTo>
                <a:cubicBezTo>
                  <a:pt x="15781" y="19156"/>
                  <a:pt x="15750" y="19187"/>
                  <a:pt x="15718" y="19156"/>
                </a:cubicBezTo>
                <a:cubicBezTo>
                  <a:pt x="15687" y="19156"/>
                  <a:pt x="15656" y="19187"/>
                  <a:pt x="15593" y="19187"/>
                </a:cubicBezTo>
                <a:cubicBezTo>
                  <a:pt x="15687" y="19187"/>
                  <a:pt x="15750" y="19187"/>
                  <a:pt x="15812" y="19219"/>
                </a:cubicBezTo>
                <a:cubicBezTo>
                  <a:pt x="15875" y="19281"/>
                  <a:pt x="15968" y="19344"/>
                  <a:pt x="16062" y="19406"/>
                </a:cubicBezTo>
                <a:cubicBezTo>
                  <a:pt x="16093" y="19469"/>
                  <a:pt x="16062" y="19531"/>
                  <a:pt x="16125" y="19562"/>
                </a:cubicBezTo>
                <a:cubicBezTo>
                  <a:pt x="16125" y="19562"/>
                  <a:pt x="16125" y="19562"/>
                  <a:pt x="16125" y="19562"/>
                </a:cubicBezTo>
                <a:cubicBezTo>
                  <a:pt x="16156" y="19562"/>
                  <a:pt x="16156" y="19594"/>
                  <a:pt x="16187" y="19594"/>
                </a:cubicBezTo>
                <a:cubicBezTo>
                  <a:pt x="16156" y="19594"/>
                  <a:pt x="16156" y="19562"/>
                  <a:pt x="16125" y="19562"/>
                </a:cubicBezTo>
                <a:cubicBezTo>
                  <a:pt x="16156" y="19625"/>
                  <a:pt x="16187" y="19719"/>
                  <a:pt x="16093" y="19750"/>
                </a:cubicBezTo>
                <a:cubicBezTo>
                  <a:pt x="16000" y="19812"/>
                  <a:pt x="15937" y="19875"/>
                  <a:pt x="15843" y="19781"/>
                </a:cubicBezTo>
                <a:cubicBezTo>
                  <a:pt x="15843" y="19781"/>
                  <a:pt x="15812" y="19750"/>
                  <a:pt x="15812" y="19812"/>
                </a:cubicBezTo>
                <a:cubicBezTo>
                  <a:pt x="15781" y="19812"/>
                  <a:pt x="15750" y="19844"/>
                  <a:pt x="15812" y="19875"/>
                </a:cubicBezTo>
                <a:cubicBezTo>
                  <a:pt x="15843" y="19875"/>
                  <a:pt x="15875" y="19844"/>
                  <a:pt x="15906" y="19906"/>
                </a:cubicBezTo>
                <a:cubicBezTo>
                  <a:pt x="15781" y="19937"/>
                  <a:pt x="15625" y="19937"/>
                  <a:pt x="15531" y="20000"/>
                </a:cubicBezTo>
                <a:cubicBezTo>
                  <a:pt x="15468" y="20094"/>
                  <a:pt x="15375" y="20062"/>
                  <a:pt x="15343" y="20094"/>
                </a:cubicBezTo>
                <a:cubicBezTo>
                  <a:pt x="15312" y="20094"/>
                  <a:pt x="15312" y="20094"/>
                  <a:pt x="15312" y="20062"/>
                </a:cubicBezTo>
                <a:cubicBezTo>
                  <a:pt x="15312" y="20062"/>
                  <a:pt x="15312" y="20062"/>
                  <a:pt x="15312" y="20062"/>
                </a:cubicBezTo>
                <a:lnTo>
                  <a:pt x="15312" y="20062"/>
                </a:lnTo>
                <a:cubicBezTo>
                  <a:pt x="15375" y="20031"/>
                  <a:pt x="15437" y="20000"/>
                  <a:pt x="15531" y="20000"/>
                </a:cubicBezTo>
                <a:cubicBezTo>
                  <a:pt x="15531" y="20000"/>
                  <a:pt x="15562" y="20000"/>
                  <a:pt x="15562" y="20000"/>
                </a:cubicBezTo>
                <a:cubicBezTo>
                  <a:pt x="15750" y="19969"/>
                  <a:pt x="15906" y="19937"/>
                  <a:pt x="16062" y="19906"/>
                </a:cubicBezTo>
                <a:cubicBezTo>
                  <a:pt x="16156" y="19906"/>
                  <a:pt x="16250" y="19875"/>
                  <a:pt x="16375" y="19875"/>
                </a:cubicBezTo>
                <a:cubicBezTo>
                  <a:pt x="16312" y="19875"/>
                  <a:pt x="16250" y="19875"/>
                  <a:pt x="16187" y="19875"/>
                </a:cubicBezTo>
                <a:cubicBezTo>
                  <a:pt x="16156" y="19875"/>
                  <a:pt x="16156" y="19875"/>
                  <a:pt x="16125" y="19844"/>
                </a:cubicBezTo>
                <a:cubicBezTo>
                  <a:pt x="16125" y="19844"/>
                  <a:pt x="16156" y="19844"/>
                  <a:pt x="16187" y="19812"/>
                </a:cubicBezTo>
                <a:cubicBezTo>
                  <a:pt x="16187" y="19812"/>
                  <a:pt x="16250" y="19812"/>
                  <a:pt x="16218" y="19781"/>
                </a:cubicBezTo>
                <a:cubicBezTo>
                  <a:pt x="16250" y="19719"/>
                  <a:pt x="16281" y="19750"/>
                  <a:pt x="16312" y="19719"/>
                </a:cubicBezTo>
                <a:cubicBezTo>
                  <a:pt x="16406" y="19812"/>
                  <a:pt x="16500" y="19906"/>
                  <a:pt x="16500" y="20031"/>
                </a:cubicBezTo>
                <a:cubicBezTo>
                  <a:pt x="16437" y="20031"/>
                  <a:pt x="16343" y="20031"/>
                  <a:pt x="16281" y="20031"/>
                </a:cubicBezTo>
                <a:cubicBezTo>
                  <a:pt x="16156" y="20062"/>
                  <a:pt x="16031" y="20062"/>
                  <a:pt x="15906" y="20094"/>
                </a:cubicBezTo>
                <a:cubicBezTo>
                  <a:pt x="15500" y="20187"/>
                  <a:pt x="15093" y="20344"/>
                  <a:pt x="14687" y="20437"/>
                </a:cubicBezTo>
                <a:cubicBezTo>
                  <a:pt x="14750" y="20437"/>
                  <a:pt x="14750" y="20469"/>
                  <a:pt x="14781" y="20469"/>
                </a:cubicBezTo>
                <a:cubicBezTo>
                  <a:pt x="15093" y="20375"/>
                  <a:pt x="15375" y="20281"/>
                  <a:pt x="15656" y="20187"/>
                </a:cubicBezTo>
                <a:cubicBezTo>
                  <a:pt x="15750" y="20156"/>
                  <a:pt x="15843" y="20156"/>
                  <a:pt x="15906" y="20125"/>
                </a:cubicBezTo>
                <a:cubicBezTo>
                  <a:pt x="16125" y="20094"/>
                  <a:pt x="16312" y="20094"/>
                  <a:pt x="16500" y="20062"/>
                </a:cubicBezTo>
                <a:cubicBezTo>
                  <a:pt x="16500" y="20062"/>
                  <a:pt x="16500" y="20062"/>
                  <a:pt x="16500" y="20031"/>
                </a:cubicBezTo>
                <a:cubicBezTo>
                  <a:pt x="16500" y="20062"/>
                  <a:pt x="16500" y="20062"/>
                  <a:pt x="16500" y="20062"/>
                </a:cubicBezTo>
                <a:cubicBezTo>
                  <a:pt x="16531" y="20062"/>
                  <a:pt x="16531" y="20062"/>
                  <a:pt x="16531" y="20094"/>
                </a:cubicBezTo>
                <a:cubicBezTo>
                  <a:pt x="16562" y="20094"/>
                  <a:pt x="16562" y="20094"/>
                  <a:pt x="16562" y="20125"/>
                </a:cubicBezTo>
                <a:cubicBezTo>
                  <a:pt x="16562" y="20094"/>
                  <a:pt x="16562" y="20094"/>
                  <a:pt x="16531" y="20094"/>
                </a:cubicBezTo>
                <a:cubicBezTo>
                  <a:pt x="16500" y="20125"/>
                  <a:pt x="16437" y="20094"/>
                  <a:pt x="16406" y="20125"/>
                </a:cubicBezTo>
                <a:cubicBezTo>
                  <a:pt x="16218" y="20156"/>
                  <a:pt x="16000" y="20156"/>
                  <a:pt x="15812" y="20219"/>
                </a:cubicBezTo>
                <a:cubicBezTo>
                  <a:pt x="15750" y="20250"/>
                  <a:pt x="15656" y="20250"/>
                  <a:pt x="15593" y="20281"/>
                </a:cubicBezTo>
                <a:cubicBezTo>
                  <a:pt x="15656" y="20281"/>
                  <a:pt x="15718" y="20281"/>
                  <a:pt x="15750" y="20281"/>
                </a:cubicBezTo>
                <a:cubicBezTo>
                  <a:pt x="15843" y="20250"/>
                  <a:pt x="15937" y="20219"/>
                  <a:pt x="16031" y="20187"/>
                </a:cubicBezTo>
                <a:cubicBezTo>
                  <a:pt x="16156" y="20187"/>
                  <a:pt x="16250" y="20156"/>
                  <a:pt x="16375" y="20156"/>
                </a:cubicBezTo>
                <a:cubicBezTo>
                  <a:pt x="16437" y="20156"/>
                  <a:pt x="16500" y="20156"/>
                  <a:pt x="16562" y="20187"/>
                </a:cubicBezTo>
                <a:cubicBezTo>
                  <a:pt x="16562" y="20187"/>
                  <a:pt x="16562" y="20187"/>
                  <a:pt x="16562" y="20187"/>
                </a:cubicBezTo>
                <a:cubicBezTo>
                  <a:pt x="16531" y="20219"/>
                  <a:pt x="16500" y="20187"/>
                  <a:pt x="16437" y="20187"/>
                </a:cubicBezTo>
                <a:cubicBezTo>
                  <a:pt x="16343" y="20187"/>
                  <a:pt x="16250" y="20219"/>
                  <a:pt x="16125" y="20250"/>
                </a:cubicBezTo>
                <a:cubicBezTo>
                  <a:pt x="16093" y="20250"/>
                  <a:pt x="16031" y="20250"/>
                  <a:pt x="16000" y="20250"/>
                </a:cubicBezTo>
                <a:cubicBezTo>
                  <a:pt x="15843" y="20312"/>
                  <a:pt x="15718" y="20344"/>
                  <a:pt x="15562" y="20406"/>
                </a:cubicBezTo>
                <a:cubicBezTo>
                  <a:pt x="15468" y="20406"/>
                  <a:pt x="15375" y="20437"/>
                  <a:pt x="15281" y="20469"/>
                </a:cubicBezTo>
                <a:cubicBezTo>
                  <a:pt x="15218" y="20469"/>
                  <a:pt x="15187" y="20500"/>
                  <a:pt x="15125" y="20531"/>
                </a:cubicBezTo>
                <a:lnTo>
                  <a:pt x="15125" y="20531"/>
                </a:lnTo>
                <a:cubicBezTo>
                  <a:pt x="15187" y="20531"/>
                  <a:pt x="15250" y="20500"/>
                  <a:pt x="15281" y="20469"/>
                </a:cubicBezTo>
                <a:cubicBezTo>
                  <a:pt x="15312" y="20500"/>
                  <a:pt x="15343" y="20469"/>
                  <a:pt x="15343" y="20469"/>
                </a:cubicBezTo>
                <a:cubicBezTo>
                  <a:pt x="15468" y="20469"/>
                  <a:pt x="15593" y="20406"/>
                  <a:pt x="15687" y="20375"/>
                </a:cubicBezTo>
                <a:cubicBezTo>
                  <a:pt x="15843" y="20344"/>
                  <a:pt x="16000" y="20312"/>
                  <a:pt x="16156" y="20250"/>
                </a:cubicBezTo>
                <a:cubicBezTo>
                  <a:pt x="16312" y="20250"/>
                  <a:pt x="16437" y="20250"/>
                  <a:pt x="16593" y="20250"/>
                </a:cubicBezTo>
                <a:cubicBezTo>
                  <a:pt x="16593" y="20281"/>
                  <a:pt x="16625" y="20344"/>
                  <a:pt x="16625" y="20375"/>
                </a:cubicBezTo>
                <a:cubicBezTo>
                  <a:pt x="16312" y="20406"/>
                  <a:pt x="16031" y="20437"/>
                  <a:pt x="15781" y="20531"/>
                </a:cubicBezTo>
                <a:cubicBezTo>
                  <a:pt x="15812" y="20562"/>
                  <a:pt x="15843" y="20531"/>
                  <a:pt x="15875" y="20531"/>
                </a:cubicBezTo>
                <a:cubicBezTo>
                  <a:pt x="15875" y="20531"/>
                  <a:pt x="15875" y="20531"/>
                  <a:pt x="15875" y="20531"/>
                </a:cubicBezTo>
                <a:cubicBezTo>
                  <a:pt x="15875" y="20531"/>
                  <a:pt x="15875" y="20531"/>
                  <a:pt x="15875" y="20531"/>
                </a:cubicBezTo>
                <a:cubicBezTo>
                  <a:pt x="15875" y="20562"/>
                  <a:pt x="15843" y="20594"/>
                  <a:pt x="15843" y="20594"/>
                </a:cubicBezTo>
                <a:cubicBezTo>
                  <a:pt x="15937" y="20594"/>
                  <a:pt x="15937" y="20594"/>
                  <a:pt x="15937" y="20594"/>
                </a:cubicBezTo>
                <a:cubicBezTo>
                  <a:pt x="15906" y="20594"/>
                  <a:pt x="15906" y="20562"/>
                  <a:pt x="15906" y="20531"/>
                </a:cubicBezTo>
                <a:cubicBezTo>
                  <a:pt x="16031" y="20500"/>
                  <a:pt x="16187" y="20469"/>
                  <a:pt x="16312" y="20437"/>
                </a:cubicBezTo>
                <a:cubicBezTo>
                  <a:pt x="16437" y="20406"/>
                  <a:pt x="16531" y="20437"/>
                  <a:pt x="16625" y="20406"/>
                </a:cubicBezTo>
                <a:cubicBezTo>
                  <a:pt x="16656" y="20406"/>
                  <a:pt x="16687" y="20437"/>
                  <a:pt x="16687" y="20469"/>
                </a:cubicBezTo>
                <a:cubicBezTo>
                  <a:pt x="16656" y="20469"/>
                  <a:pt x="16593" y="20469"/>
                  <a:pt x="16531" y="20469"/>
                </a:cubicBezTo>
                <a:cubicBezTo>
                  <a:pt x="16437" y="20469"/>
                  <a:pt x="16375" y="20500"/>
                  <a:pt x="16281" y="20500"/>
                </a:cubicBezTo>
                <a:cubicBezTo>
                  <a:pt x="16281" y="20531"/>
                  <a:pt x="16250" y="20500"/>
                  <a:pt x="16250" y="20531"/>
                </a:cubicBezTo>
                <a:cubicBezTo>
                  <a:pt x="16250" y="20531"/>
                  <a:pt x="16250" y="20531"/>
                  <a:pt x="16250" y="20531"/>
                </a:cubicBezTo>
                <a:cubicBezTo>
                  <a:pt x="16250" y="20562"/>
                  <a:pt x="16281" y="20531"/>
                  <a:pt x="16281" y="20531"/>
                </a:cubicBezTo>
                <a:cubicBezTo>
                  <a:pt x="16406" y="20500"/>
                  <a:pt x="16531" y="20500"/>
                  <a:pt x="16656" y="20531"/>
                </a:cubicBezTo>
                <a:cubicBezTo>
                  <a:pt x="16687" y="20531"/>
                  <a:pt x="16687" y="20531"/>
                  <a:pt x="16718" y="20500"/>
                </a:cubicBezTo>
                <a:cubicBezTo>
                  <a:pt x="16750" y="20531"/>
                  <a:pt x="16781" y="20562"/>
                  <a:pt x="16843" y="20531"/>
                </a:cubicBezTo>
                <a:cubicBezTo>
                  <a:pt x="16843" y="20531"/>
                  <a:pt x="16875" y="20562"/>
                  <a:pt x="16875" y="20531"/>
                </a:cubicBezTo>
                <a:cubicBezTo>
                  <a:pt x="16875" y="20500"/>
                  <a:pt x="16875" y="20500"/>
                  <a:pt x="16875" y="20500"/>
                </a:cubicBezTo>
                <a:cubicBezTo>
                  <a:pt x="16781" y="20437"/>
                  <a:pt x="16750" y="20344"/>
                  <a:pt x="16750" y="20250"/>
                </a:cubicBezTo>
                <a:cubicBezTo>
                  <a:pt x="16718" y="20187"/>
                  <a:pt x="16687" y="20125"/>
                  <a:pt x="16656" y="20094"/>
                </a:cubicBezTo>
                <a:cubicBezTo>
                  <a:pt x="16625" y="20000"/>
                  <a:pt x="16625" y="20000"/>
                  <a:pt x="16718" y="19969"/>
                </a:cubicBezTo>
                <a:cubicBezTo>
                  <a:pt x="16718" y="20000"/>
                  <a:pt x="16750" y="20031"/>
                  <a:pt x="16718" y="20062"/>
                </a:cubicBezTo>
                <a:cubicBezTo>
                  <a:pt x="16687" y="20125"/>
                  <a:pt x="16750" y="20094"/>
                  <a:pt x="16781" y="20125"/>
                </a:cubicBezTo>
                <a:cubicBezTo>
                  <a:pt x="16781" y="20156"/>
                  <a:pt x="16812" y="20187"/>
                  <a:pt x="16843" y="20219"/>
                </a:cubicBezTo>
                <a:cubicBezTo>
                  <a:pt x="16875" y="20281"/>
                  <a:pt x="16875" y="20375"/>
                  <a:pt x="16906" y="20437"/>
                </a:cubicBezTo>
                <a:cubicBezTo>
                  <a:pt x="16843" y="20469"/>
                  <a:pt x="16875" y="20500"/>
                  <a:pt x="16906" y="20500"/>
                </a:cubicBezTo>
                <a:cubicBezTo>
                  <a:pt x="16906" y="20531"/>
                  <a:pt x="16937" y="20531"/>
                  <a:pt x="16906" y="20562"/>
                </a:cubicBezTo>
                <a:cubicBezTo>
                  <a:pt x="16906" y="20562"/>
                  <a:pt x="16906" y="20594"/>
                  <a:pt x="16906" y="20594"/>
                </a:cubicBezTo>
                <a:cubicBezTo>
                  <a:pt x="16968" y="20594"/>
                  <a:pt x="16968" y="20594"/>
                  <a:pt x="16968" y="20594"/>
                </a:cubicBezTo>
                <a:cubicBezTo>
                  <a:pt x="16968" y="20594"/>
                  <a:pt x="16968" y="20594"/>
                  <a:pt x="16968" y="20594"/>
                </a:cubicBezTo>
                <a:cubicBezTo>
                  <a:pt x="16937" y="20562"/>
                  <a:pt x="17000" y="20562"/>
                  <a:pt x="17000" y="20531"/>
                </a:cubicBezTo>
                <a:cubicBezTo>
                  <a:pt x="17000" y="20531"/>
                  <a:pt x="17031" y="20531"/>
                  <a:pt x="17031" y="20531"/>
                </a:cubicBezTo>
                <a:cubicBezTo>
                  <a:pt x="17031" y="20562"/>
                  <a:pt x="17031" y="20562"/>
                  <a:pt x="17031" y="20594"/>
                </a:cubicBezTo>
                <a:cubicBezTo>
                  <a:pt x="17031" y="20594"/>
                  <a:pt x="17031" y="20594"/>
                  <a:pt x="17031" y="20594"/>
                </a:cubicBezTo>
                <a:cubicBezTo>
                  <a:pt x="17093" y="20594"/>
                  <a:pt x="17093" y="20594"/>
                  <a:pt x="17093" y="20594"/>
                </a:cubicBezTo>
                <a:cubicBezTo>
                  <a:pt x="17062" y="20562"/>
                  <a:pt x="17062" y="20531"/>
                  <a:pt x="17125" y="20531"/>
                </a:cubicBezTo>
                <a:cubicBezTo>
                  <a:pt x="17125" y="20531"/>
                  <a:pt x="17125" y="20500"/>
                  <a:pt x="17125" y="20500"/>
                </a:cubicBezTo>
                <a:cubicBezTo>
                  <a:pt x="17125" y="20500"/>
                  <a:pt x="17125" y="20531"/>
                  <a:pt x="17125" y="20531"/>
                </a:cubicBezTo>
                <a:cubicBezTo>
                  <a:pt x="17125" y="20531"/>
                  <a:pt x="17125" y="20531"/>
                  <a:pt x="17156" y="20531"/>
                </a:cubicBezTo>
                <a:cubicBezTo>
                  <a:pt x="17156" y="20562"/>
                  <a:pt x="17156" y="20531"/>
                  <a:pt x="17156" y="20531"/>
                </a:cubicBezTo>
                <a:cubicBezTo>
                  <a:pt x="17156" y="20531"/>
                  <a:pt x="17156" y="20531"/>
                  <a:pt x="17156" y="20531"/>
                </a:cubicBezTo>
                <a:cubicBezTo>
                  <a:pt x="17156" y="20531"/>
                  <a:pt x="17187" y="20531"/>
                  <a:pt x="17187" y="20500"/>
                </a:cubicBezTo>
                <a:cubicBezTo>
                  <a:pt x="17187" y="20500"/>
                  <a:pt x="17187" y="20500"/>
                  <a:pt x="17218" y="20500"/>
                </a:cubicBezTo>
                <a:cubicBezTo>
                  <a:pt x="17218" y="20531"/>
                  <a:pt x="17218" y="20531"/>
                  <a:pt x="17250" y="20531"/>
                </a:cubicBezTo>
                <a:cubicBezTo>
                  <a:pt x="17281" y="20562"/>
                  <a:pt x="17281" y="20562"/>
                  <a:pt x="17250" y="20562"/>
                </a:cubicBezTo>
                <a:cubicBezTo>
                  <a:pt x="17218" y="20562"/>
                  <a:pt x="17218" y="20594"/>
                  <a:pt x="17187" y="20594"/>
                </a:cubicBezTo>
                <a:cubicBezTo>
                  <a:pt x="17437" y="20594"/>
                  <a:pt x="17437" y="20594"/>
                  <a:pt x="17437" y="20594"/>
                </a:cubicBezTo>
                <a:cubicBezTo>
                  <a:pt x="17437" y="20594"/>
                  <a:pt x="17406" y="20562"/>
                  <a:pt x="17406" y="20562"/>
                </a:cubicBezTo>
                <a:cubicBezTo>
                  <a:pt x="17406" y="20531"/>
                  <a:pt x="17406" y="20500"/>
                  <a:pt x="17406" y="20469"/>
                </a:cubicBezTo>
                <a:cubicBezTo>
                  <a:pt x="17406" y="20500"/>
                  <a:pt x="17437" y="20500"/>
                  <a:pt x="17437" y="20500"/>
                </a:cubicBezTo>
                <a:cubicBezTo>
                  <a:pt x="17468" y="20562"/>
                  <a:pt x="17500" y="20531"/>
                  <a:pt x="17500" y="20531"/>
                </a:cubicBezTo>
                <a:cubicBezTo>
                  <a:pt x="17531" y="20500"/>
                  <a:pt x="17562" y="20469"/>
                  <a:pt x="17593" y="20500"/>
                </a:cubicBezTo>
                <a:cubicBezTo>
                  <a:pt x="17625" y="20531"/>
                  <a:pt x="17625" y="20500"/>
                  <a:pt x="17625" y="20500"/>
                </a:cubicBezTo>
                <a:cubicBezTo>
                  <a:pt x="17625" y="20469"/>
                  <a:pt x="17593" y="20469"/>
                  <a:pt x="17625" y="20469"/>
                </a:cubicBezTo>
                <a:cubicBezTo>
                  <a:pt x="17687" y="20469"/>
                  <a:pt x="17718" y="20406"/>
                  <a:pt x="17781" y="20469"/>
                </a:cubicBezTo>
                <a:cubicBezTo>
                  <a:pt x="17781" y="20469"/>
                  <a:pt x="17812" y="20469"/>
                  <a:pt x="17812" y="20437"/>
                </a:cubicBezTo>
                <a:cubicBezTo>
                  <a:pt x="17781" y="20406"/>
                  <a:pt x="17718" y="20437"/>
                  <a:pt x="17718" y="20375"/>
                </a:cubicBezTo>
                <a:cubicBezTo>
                  <a:pt x="17718" y="20281"/>
                  <a:pt x="17812" y="20344"/>
                  <a:pt x="17875" y="20344"/>
                </a:cubicBezTo>
                <a:cubicBezTo>
                  <a:pt x="17843" y="20312"/>
                  <a:pt x="17812" y="20312"/>
                  <a:pt x="17781" y="20312"/>
                </a:cubicBezTo>
                <a:cubicBezTo>
                  <a:pt x="17750" y="20281"/>
                  <a:pt x="17750" y="20281"/>
                  <a:pt x="17781" y="20250"/>
                </a:cubicBezTo>
                <a:cubicBezTo>
                  <a:pt x="17781" y="20250"/>
                  <a:pt x="17812" y="20219"/>
                  <a:pt x="17812" y="20219"/>
                </a:cubicBezTo>
                <a:cubicBezTo>
                  <a:pt x="17812" y="20219"/>
                  <a:pt x="17812" y="20250"/>
                  <a:pt x="17843" y="20250"/>
                </a:cubicBezTo>
                <a:cubicBezTo>
                  <a:pt x="17937" y="20281"/>
                  <a:pt x="17937" y="20281"/>
                  <a:pt x="17906" y="20406"/>
                </a:cubicBezTo>
                <a:cubicBezTo>
                  <a:pt x="17875" y="20469"/>
                  <a:pt x="17812" y="20531"/>
                  <a:pt x="17812" y="20594"/>
                </a:cubicBezTo>
                <a:cubicBezTo>
                  <a:pt x="17843" y="20594"/>
                  <a:pt x="17843" y="20594"/>
                  <a:pt x="17843" y="20594"/>
                </a:cubicBezTo>
                <a:cubicBezTo>
                  <a:pt x="17843" y="20594"/>
                  <a:pt x="17843" y="20594"/>
                  <a:pt x="17843" y="20562"/>
                </a:cubicBezTo>
                <a:cubicBezTo>
                  <a:pt x="17875" y="20531"/>
                  <a:pt x="17906" y="20531"/>
                  <a:pt x="17937" y="20531"/>
                </a:cubicBezTo>
                <a:cubicBezTo>
                  <a:pt x="17937" y="20531"/>
                  <a:pt x="17968" y="20531"/>
                  <a:pt x="17968" y="20562"/>
                </a:cubicBezTo>
                <a:cubicBezTo>
                  <a:pt x="17968" y="20562"/>
                  <a:pt x="17937" y="20594"/>
                  <a:pt x="17937" y="20562"/>
                </a:cubicBezTo>
                <a:cubicBezTo>
                  <a:pt x="17906" y="20562"/>
                  <a:pt x="17906" y="20594"/>
                  <a:pt x="17906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7937" y="20594"/>
                  <a:pt x="17937" y="20594"/>
                  <a:pt x="17937" y="20594"/>
                </a:cubicBezTo>
                <a:cubicBezTo>
                  <a:pt x="18031" y="20594"/>
                  <a:pt x="18031" y="20594"/>
                  <a:pt x="18031" y="20594"/>
                </a:cubicBezTo>
                <a:cubicBezTo>
                  <a:pt x="18000" y="20562"/>
                  <a:pt x="17968" y="20594"/>
                  <a:pt x="17968" y="20562"/>
                </a:cubicBezTo>
                <a:cubicBezTo>
                  <a:pt x="18000" y="20500"/>
                  <a:pt x="18031" y="20562"/>
                  <a:pt x="18031" y="20531"/>
                </a:cubicBezTo>
                <a:cubicBezTo>
                  <a:pt x="18093" y="20500"/>
                  <a:pt x="18125" y="20531"/>
                  <a:pt x="18156" y="20531"/>
                </a:cubicBezTo>
                <a:cubicBezTo>
                  <a:pt x="18156" y="20531"/>
                  <a:pt x="18187" y="20562"/>
                  <a:pt x="18187" y="20562"/>
                </a:cubicBezTo>
                <a:cubicBezTo>
                  <a:pt x="18187" y="20562"/>
                  <a:pt x="18156" y="20594"/>
                  <a:pt x="18156" y="20594"/>
                </a:cubicBezTo>
                <a:cubicBezTo>
                  <a:pt x="18156" y="20594"/>
                  <a:pt x="18156" y="20594"/>
                  <a:pt x="18125" y="20594"/>
                </a:cubicBezTo>
                <a:cubicBezTo>
                  <a:pt x="18125" y="20562"/>
                  <a:pt x="18093" y="20562"/>
                  <a:pt x="18062" y="20594"/>
                </a:cubicBezTo>
                <a:close/>
                <a:moveTo>
                  <a:pt x="18781" y="20594"/>
                </a:moveTo>
                <a:cubicBezTo>
                  <a:pt x="18781" y="20594"/>
                  <a:pt x="18781" y="20594"/>
                  <a:pt x="18781" y="20594"/>
                </a:cubicBezTo>
                <a:cubicBezTo>
                  <a:pt x="18875" y="20594"/>
                  <a:pt x="18875" y="20594"/>
                  <a:pt x="18875" y="20594"/>
                </a:cubicBezTo>
                <a:cubicBezTo>
                  <a:pt x="18875" y="20594"/>
                  <a:pt x="18875" y="20594"/>
                  <a:pt x="18875" y="20594"/>
                </a:cubicBezTo>
                <a:cubicBezTo>
                  <a:pt x="18843" y="20531"/>
                  <a:pt x="18812" y="20531"/>
                  <a:pt x="18781" y="20594"/>
                </a:cubicBezTo>
                <a:close/>
                <a:moveTo>
                  <a:pt x="18250" y="20594"/>
                </a:moveTo>
                <a:cubicBezTo>
                  <a:pt x="18281" y="20594"/>
                  <a:pt x="18281" y="20594"/>
                  <a:pt x="18281" y="20594"/>
                </a:cubicBezTo>
                <a:cubicBezTo>
                  <a:pt x="18281" y="20594"/>
                  <a:pt x="18281" y="20562"/>
                  <a:pt x="18281" y="20562"/>
                </a:cubicBezTo>
                <a:cubicBezTo>
                  <a:pt x="18250" y="20562"/>
                  <a:pt x="18250" y="20562"/>
                  <a:pt x="18250" y="20594"/>
                </a:cubicBezTo>
                <a:close/>
                <a:moveTo>
                  <a:pt x="16437" y="20594"/>
                </a:moveTo>
                <a:cubicBezTo>
                  <a:pt x="16468" y="20594"/>
                  <a:pt x="16468" y="20594"/>
                  <a:pt x="16468" y="20594"/>
                </a:cubicBezTo>
                <a:cubicBezTo>
                  <a:pt x="16468" y="20594"/>
                  <a:pt x="16468" y="20594"/>
                  <a:pt x="16468" y="20562"/>
                </a:cubicBezTo>
                <a:cubicBezTo>
                  <a:pt x="16437" y="20594"/>
                  <a:pt x="16437" y="20594"/>
                  <a:pt x="16437" y="20594"/>
                </a:cubicBezTo>
                <a:close/>
                <a:moveTo>
                  <a:pt x="16343" y="20594"/>
                </a:moveTo>
                <a:cubicBezTo>
                  <a:pt x="16375" y="20594"/>
                  <a:pt x="16375" y="20594"/>
                  <a:pt x="16375" y="20594"/>
                </a:cubicBezTo>
                <a:cubicBezTo>
                  <a:pt x="16375" y="20594"/>
                  <a:pt x="16375" y="20594"/>
                  <a:pt x="16375" y="20594"/>
                </a:cubicBezTo>
                <a:cubicBezTo>
                  <a:pt x="16375" y="20562"/>
                  <a:pt x="16343" y="20562"/>
                  <a:pt x="16343" y="20594"/>
                </a:cubicBezTo>
                <a:close/>
                <a:moveTo>
                  <a:pt x="343" y="20531"/>
                </a:moveTo>
                <a:cubicBezTo>
                  <a:pt x="250" y="20500"/>
                  <a:pt x="156" y="20500"/>
                  <a:pt x="93" y="20500"/>
                </a:cubicBezTo>
                <a:cubicBezTo>
                  <a:pt x="62" y="20500"/>
                  <a:pt x="31" y="20469"/>
                  <a:pt x="31" y="20500"/>
                </a:cubicBezTo>
                <a:cubicBezTo>
                  <a:pt x="31" y="20531"/>
                  <a:pt x="62" y="20531"/>
                  <a:pt x="62" y="20531"/>
                </a:cubicBezTo>
                <a:cubicBezTo>
                  <a:pt x="187" y="20531"/>
                  <a:pt x="312" y="20594"/>
                  <a:pt x="437" y="20594"/>
                </a:cubicBezTo>
                <a:cubicBezTo>
                  <a:pt x="437" y="20594"/>
                  <a:pt x="437" y="20594"/>
                  <a:pt x="437" y="20594"/>
                </a:cubicBezTo>
                <a:cubicBezTo>
                  <a:pt x="468" y="20594"/>
                  <a:pt x="468" y="20594"/>
                  <a:pt x="468" y="20594"/>
                </a:cubicBezTo>
                <a:cubicBezTo>
                  <a:pt x="625" y="20594"/>
                  <a:pt x="625" y="20594"/>
                  <a:pt x="625" y="20594"/>
                </a:cubicBezTo>
                <a:cubicBezTo>
                  <a:pt x="562" y="20594"/>
                  <a:pt x="500" y="20562"/>
                  <a:pt x="468" y="20562"/>
                </a:cubicBezTo>
                <a:cubicBezTo>
                  <a:pt x="437" y="20531"/>
                  <a:pt x="375" y="20562"/>
                  <a:pt x="343" y="20531"/>
                </a:cubicBezTo>
                <a:close/>
                <a:moveTo>
                  <a:pt x="16156" y="20562"/>
                </a:moveTo>
                <a:cubicBezTo>
                  <a:pt x="16156" y="20562"/>
                  <a:pt x="16156" y="20594"/>
                  <a:pt x="16156" y="20594"/>
                </a:cubicBezTo>
                <a:cubicBezTo>
                  <a:pt x="16187" y="20594"/>
                  <a:pt x="16187" y="20594"/>
                  <a:pt x="16187" y="20594"/>
                </a:cubicBezTo>
                <a:cubicBezTo>
                  <a:pt x="16187" y="20594"/>
                  <a:pt x="16156" y="20594"/>
                  <a:pt x="16156" y="20562"/>
                </a:cubicBezTo>
                <a:close/>
                <a:moveTo>
                  <a:pt x="17625" y="20562"/>
                </a:moveTo>
                <a:cubicBezTo>
                  <a:pt x="17593" y="20594"/>
                  <a:pt x="17593" y="20594"/>
                  <a:pt x="17593" y="20594"/>
                </a:cubicBezTo>
                <a:cubicBezTo>
                  <a:pt x="17687" y="20594"/>
                  <a:pt x="17687" y="20594"/>
                  <a:pt x="17687" y="20594"/>
                </a:cubicBezTo>
                <a:cubicBezTo>
                  <a:pt x="17656" y="20562"/>
                  <a:pt x="17625" y="20562"/>
                  <a:pt x="17625" y="20562"/>
                </a:cubicBezTo>
                <a:close/>
                <a:moveTo>
                  <a:pt x="17500" y="20594"/>
                </a:moveTo>
                <a:cubicBezTo>
                  <a:pt x="17500" y="20594"/>
                  <a:pt x="17500" y="20594"/>
                  <a:pt x="17500" y="20562"/>
                </a:cubicBezTo>
                <a:cubicBezTo>
                  <a:pt x="17500" y="20594"/>
                  <a:pt x="17500" y="20594"/>
                  <a:pt x="17468" y="20594"/>
                </a:cubicBezTo>
                <a:lnTo>
                  <a:pt x="17500" y="20594"/>
                </a:lnTo>
                <a:close/>
                <a:moveTo>
                  <a:pt x="4312" y="20406"/>
                </a:moveTo>
                <a:cubicBezTo>
                  <a:pt x="4156" y="20281"/>
                  <a:pt x="3968" y="20187"/>
                  <a:pt x="3812" y="20094"/>
                </a:cubicBezTo>
                <a:cubicBezTo>
                  <a:pt x="3531" y="19875"/>
                  <a:pt x="3187" y="19719"/>
                  <a:pt x="2843" y="19625"/>
                </a:cubicBezTo>
                <a:cubicBezTo>
                  <a:pt x="2687" y="19594"/>
                  <a:pt x="2531" y="19562"/>
                  <a:pt x="2406" y="19500"/>
                </a:cubicBezTo>
                <a:cubicBezTo>
                  <a:pt x="2375" y="19469"/>
                  <a:pt x="2343" y="19469"/>
                  <a:pt x="2343" y="19469"/>
                </a:cubicBezTo>
                <a:cubicBezTo>
                  <a:pt x="2343" y="19469"/>
                  <a:pt x="2312" y="19469"/>
                  <a:pt x="2312" y="19469"/>
                </a:cubicBezTo>
                <a:cubicBezTo>
                  <a:pt x="2312" y="19469"/>
                  <a:pt x="2312" y="19469"/>
                  <a:pt x="2281" y="19469"/>
                </a:cubicBezTo>
                <a:cubicBezTo>
                  <a:pt x="2218" y="19437"/>
                  <a:pt x="2156" y="19437"/>
                  <a:pt x="2093" y="19406"/>
                </a:cubicBezTo>
                <a:cubicBezTo>
                  <a:pt x="1875" y="19344"/>
                  <a:pt x="1687" y="19312"/>
                  <a:pt x="1468" y="19250"/>
                </a:cubicBezTo>
                <a:cubicBezTo>
                  <a:pt x="1218" y="19187"/>
                  <a:pt x="937" y="19187"/>
                  <a:pt x="687" y="19125"/>
                </a:cubicBezTo>
                <a:cubicBezTo>
                  <a:pt x="500" y="19094"/>
                  <a:pt x="281" y="19094"/>
                  <a:pt x="93" y="19031"/>
                </a:cubicBezTo>
                <a:cubicBezTo>
                  <a:pt x="62" y="19031"/>
                  <a:pt x="31" y="19031"/>
                  <a:pt x="31" y="19062"/>
                </a:cubicBezTo>
                <a:cubicBezTo>
                  <a:pt x="31" y="19094"/>
                  <a:pt x="31" y="19094"/>
                  <a:pt x="62" y="19094"/>
                </a:cubicBezTo>
                <a:cubicBezTo>
                  <a:pt x="156" y="19125"/>
                  <a:pt x="250" y="19125"/>
                  <a:pt x="343" y="19156"/>
                </a:cubicBezTo>
                <a:cubicBezTo>
                  <a:pt x="531" y="19156"/>
                  <a:pt x="750" y="19187"/>
                  <a:pt x="937" y="19219"/>
                </a:cubicBezTo>
                <a:cubicBezTo>
                  <a:pt x="1187" y="19250"/>
                  <a:pt x="1406" y="19312"/>
                  <a:pt x="1625" y="19344"/>
                </a:cubicBezTo>
                <a:cubicBezTo>
                  <a:pt x="1843" y="19406"/>
                  <a:pt x="2062" y="19437"/>
                  <a:pt x="2281" y="19531"/>
                </a:cubicBezTo>
                <a:cubicBezTo>
                  <a:pt x="2531" y="19625"/>
                  <a:pt x="2812" y="19687"/>
                  <a:pt x="3093" y="19781"/>
                </a:cubicBezTo>
                <a:cubicBezTo>
                  <a:pt x="3250" y="19844"/>
                  <a:pt x="3406" y="19906"/>
                  <a:pt x="3531" y="19969"/>
                </a:cubicBezTo>
                <a:cubicBezTo>
                  <a:pt x="3718" y="20094"/>
                  <a:pt x="3906" y="20219"/>
                  <a:pt x="4093" y="20344"/>
                </a:cubicBezTo>
                <a:cubicBezTo>
                  <a:pt x="4218" y="20437"/>
                  <a:pt x="4375" y="20500"/>
                  <a:pt x="4500" y="20594"/>
                </a:cubicBezTo>
                <a:cubicBezTo>
                  <a:pt x="4656" y="20594"/>
                  <a:pt x="4656" y="20594"/>
                  <a:pt x="4656" y="20594"/>
                </a:cubicBezTo>
                <a:cubicBezTo>
                  <a:pt x="4625" y="20594"/>
                  <a:pt x="4593" y="20562"/>
                  <a:pt x="4593" y="20562"/>
                </a:cubicBezTo>
                <a:cubicBezTo>
                  <a:pt x="4500" y="20500"/>
                  <a:pt x="4406" y="20437"/>
                  <a:pt x="4312" y="20406"/>
                </a:cubicBezTo>
                <a:close/>
                <a:moveTo>
                  <a:pt x="4500" y="20125"/>
                </a:moveTo>
                <a:cubicBezTo>
                  <a:pt x="4218" y="19969"/>
                  <a:pt x="3968" y="19812"/>
                  <a:pt x="3687" y="19656"/>
                </a:cubicBezTo>
                <a:cubicBezTo>
                  <a:pt x="3468" y="19562"/>
                  <a:pt x="3250" y="19531"/>
                  <a:pt x="3031" y="19469"/>
                </a:cubicBezTo>
                <a:cubicBezTo>
                  <a:pt x="2812" y="19406"/>
                  <a:pt x="2593" y="19344"/>
                  <a:pt x="2343" y="19312"/>
                </a:cubicBezTo>
                <a:cubicBezTo>
                  <a:pt x="2187" y="19250"/>
                  <a:pt x="2031" y="19187"/>
                  <a:pt x="1875" y="19156"/>
                </a:cubicBezTo>
                <a:cubicBezTo>
                  <a:pt x="1656" y="19094"/>
                  <a:pt x="1437" y="19062"/>
                  <a:pt x="1218" y="19000"/>
                </a:cubicBezTo>
                <a:cubicBezTo>
                  <a:pt x="1062" y="19000"/>
                  <a:pt x="906" y="18969"/>
                  <a:pt x="750" y="18937"/>
                </a:cubicBezTo>
                <a:cubicBezTo>
                  <a:pt x="656" y="18937"/>
                  <a:pt x="593" y="18937"/>
                  <a:pt x="500" y="18906"/>
                </a:cubicBezTo>
                <a:cubicBezTo>
                  <a:pt x="375" y="18906"/>
                  <a:pt x="218" y="18875"/>
                  <a:pt x="93" y="18875"/>
                </a:cubicBezTo>
                <a:cubicBezTo>
                  <a:pt x="62" y="18844"/>
                  <a:pt x="31" y="18844"/>
                  <a:pt x="31" y="18875"/>
                </a:cubicBezTo>
                <a:cubicBezTo>
                  <a:pt x="31" y="18906"/>
                  <a:pt x="31" y="18937"/>
                  <a:pt x="62" y="18937"/>
                </a:cubicBezTo>
                <a:cubicBezTo>
                  <a:pt x="93" y="18937"/>
                  <a:pt x="156" y="18937"/>
                  <a:pt x="187" y="18937"/>
                </a:cubicBezTo>
                <a:cubicBezTo>
                  <a:pt x="375" y="18937"/>
                  <a:pt x="531" y="19000"/>
                  <a:pt x="718" y="19000"/>
                </a:cubicBezTo>
                <a:cubicBezTo>
                  <a:pt x="1031" y="19031"/>
                  <a:pt x="1312" y="19094"/>
                  <a:pt x="1625" y="19156"/>
                </a:cubicBezTo>
                <a:cubicBezTo>
                  <a:pt x="1843" y="19187"/>
                  <a:pt x="2062" y="19250"/>
                  <a:pt x="2281" y="19312"/>
                </a:cubicBezTo>
                <a:cubicBezTo>
                  <a:pt x="2312" y="19344"/>
                  <a:pt x="2343" y="19344"/>
                  <a:pt x="2375" y="19375"/>
                </a:cubicBezTo>
                <a:cubicBezTo>
                  <a:pt x="2343" y="19437"/>
                  <a:pt x="2312" y="19406"/>
                  <a:pt x="2281" y="19375"/>
                </a:cubicBezTo>
                <a:cubicBezTo>
                  <a:pt x="2187" y="19375"/>
                  <a:pt x="2093" y="19312"/>
                  <a:pt x="2000" y="19312"/>
                </a:cubicBezTo>
                <a:cubicBezTo>
                  <a:pt x="1875" y="19281"/>
                  <a:pt x="1750" y="19250"/>
                  <a:pt x="1593" y="19219"/>
                </a:cubicBezTo>
                <a:cubicBezTo>
                  <a:pt x="1625" y="19219"/>
                  <a:pt x="1625" y="19219"/>
                  <a:pt x="1656" y="19219"/>
                </a:cubicBezTo>
                <a:cubicBezTo>
                  <a:pt x="1750" y="19219"/>
                  <a:pt x="1843" y="19250"/>
                  <a:pt x="1968" y="19281"/>
                </a:cubicBezTo>
                <a:lnTo>
                  <a:pt x="1968" y="19281"/>
                </a:lnTo>
                <a:cubicBezTo>
                  <a:pt x="1968" y="19281"/>
                  <a:pt x="2000" y="19281"/>
                  <a:pt x="2000" y="19312"/>
                </a:cubicBezTo>
                <a:cubicBezTo>
                  <a:pt x="2000" y="19312"/>
                  <a:pt x="2031" y="19344"/>
                  <a:pt x="2031" y="19344"/>
                </a:cubicBezTo>
                <a:cubicBezTo>
                  <a:pt x="2156" y="19375"/>
                  <a:pt x="2250" y="19406"/>
                  <a:pt x="2343" y="19437"/>
                </a:cubicBezTo>
                <a:cubicBezTo>
                  <a:pt x="2406" y="19469"/>
                  <a:pt x="2468" y="19469"/>
                  <a:pt x="2562" y="19500"/>
                </a:cubicBezTo>
                <a:cubicBezTo>
                  <a:pt x="2500" y="19437"/>
                  <a:pt x="2406" y="19469"/>
                  <a:pt x="2406" y="19375"/>
                </a:cubicBezTo>
                <a:cubicBezTo>
                  <a:pt x="2531" y="19375"/>
                  <a:pt x="2656" y="19437"/>
                  <a:pt x="2781" y="19469"/>
                </a:cubicBezTo>
                <a:cubicBezTo>
                  <a:pt x="2937" y="19500"/>
                  <a:pt x="3093" y="19562"/>
                  <a:pt x="3250" y="19594"/>
                </a:cubicBezTo>
                <a:cubicBezTo>
                  <a:pt x="3437" y="19625"/>
                  <a:pt x="3625" y="19719"/>
                  <a:pt x="3812" y="19781"/>
                </a:cubicBezTo>
                <a:cubicBezTo>
                  <a:pt x="4031" y="19906"/>
                  <a:pt x="4218" y="20031"/>
                  <a:pt x="4437" y="20156"/>
                </a:cubicBezTo>
                <a:cubicBezTo>
                  <a:pt x="4656" y="20312"/>
                  <a:pt x="4875" y="20437"/>
                  <a:pt x="5125" y="20562"/>
                </a:cubicBezTo>
                <a:cubicBezTo>
                  <a:pt x="5156" y="20562"/>
                  <a:pt x="5187" y="20562"/>
                  <a:pt x="5218" y="20594"/>
                </a:cubicBezTo>
                <a:cubicBezTo>
                  <a:pt x="5406" y="20594"/>
                  <a:pt x="5406" y="20594"/>
                  <a:pt x="5406" y="20594"/>
                </a:cubicBezTo>
                <a:cubicBezTo>
                  <a:pt x="5218" y="20562"/>
                  <a:pt x="5062" y="20437"/>
                  <a:pt x="4906" y="20375"/>
                </a:cubicBezTo>
                <a:cubicBezTo>
                  <a:pt x="4750" y="20312"/>
                  <a:pt x="4625" y="20219"/>
                  <a:pt x="4500" y="20125"/>
                </a:cubicBezTo>
                <a:close/>
                <a:moveTo>
                  <a:pt x="2281" y="20094"/>
                </a:moveTo>
                <a:cubicBezTo>
                  <a:pt x="2093" y="20031"/>
                  <a:pt x="1937" y="19969"/>
                  <a:pt x="1781" y="19937"/>
                </a:cubicBezTo>
                <a:cubicBezTo>
                  <a:pt x="1656" y="19906"/>
                  <a:pt x="1531" y="19844"/>
                  <a:pt x="1406" y="19844"/>
                </a:cubicBezTo>
                <a:cubicBezTo>
                  <a:pt x="1281" y="19812"/>
                  <a:pt x="1156" y="19781"/>
                  <a:pt x="1031" y="19750"/>
                </a:cubicBezTo>
                <a:cubicBezTo>
                  <a:pt x="906" y="19719"/>
                  <a:pt x="781" y="19687"/>
                  <a:pt x="625" y="19687"/>
                </a:cubicBezTo>
                <a:cubicBezTo>
                  <a:pt x="437" y="19656"/>
                  <a:pt x="250" y="19625"/>
                  <a:pt x="31" y="19594"/>
                </a:cubicBezTo>
                <a:cubicBezTo>
                  <a:pt x="0" y="19687"/>
                  <a:pt x="62" y="19687"/>
                  <a:pt x="125" y="19687"/>
                </a:cubicBezTo>
                <a:cubicBezTo>
                  <a:pt x="281" y="19719"/>
                  <a:pt x="437" y="19719"/>
                  <a:pt x="625" y="19750"/>
                </a:cubicBezTo>
                <a:cubicBezTo>
                  <a:pt x="843" y="19781"/>
                  <a:pt x="1062" y="19844"/>
                  <a:pt x="1281" y="19875"/>
                </a:cubicBezTo>
                <a:cubicBezTo>
                  <a:pt x="1375" y="19906"/>
                  <a:pt x="1468" y="19906"/>
                  <a:pt x="1562" y="19937"/>
                </a:cubicBezTo>
                <a:cubicBezTo>
                  <a:pt x="1812" y="20000"/>
                  <a:pt x="2031" y="20062"/>
                  <a:pt x="2250" y="20156"/>
                </a:cubicBezTo>
                <a:cubicBezTo>
                  <a:pt x="2406" y="20219"/>
                  <a:pt x="2531" y="20281"/>
                  <a:pt x="2656" y="20375"/>
                </a:cubicBezTo>
                <a:cubicBezTo>
                  <a:pt x="2750" y="20437"/>
                  <a:pt x="2843" y="20531"/>
                  <a:pt x="2937" y="20594"/>
                </a:cubicBezTo>
                <a:cubicBezTo>
                  <a:pt x="3093" y="20594"/>
                  <a:pt x="3093" y="20594"/>
                  <a:pt x="3093" y="20594"/>
                </a:cubicBezTo>
                <a:cubicBezTo>
                  <a:pt x="2968" y="20562"/>
                  <a:pt x="2875" y="20469"/>
                  <a:pt x="2781" y="20406"/>
                </a:cubicBezTo>
                <a:cubicBezTo>
                  <a:pt x="2625" y="20281"/>
                  <a:pt x="2468" y="20156"/>
                  <a:pt x="2281" y="20094"/>
                </a:cubicBezTo>
                <a:close/>
                <a:moveTo>
                  <a:pt x="7375" y="2594"/>
                </a:moveTo>
                <a:cubicBezTo>
                  <a:pt x="7406" y="2594"/>
                  <a:pt x="7406" y="2594"/>
                  <a:pt x="7437" y="2562"/>
                </a:cubicBezTo>
                <a:cubicBezTo>
                  <a:pt x="7437" y="2625"/>
                  <a:pt x="7375" y="2656"/>
                  <a:pt x="7343" y="2719"/>
                </a:cubicBezTo>
                <a:cubicBezTo>
                  <a:pt x="7343" y="2687"/>
                  <a:pt x="7343" y="2656"/>
                  <a:pt x="7343" y="2625"/>
                </a:cubicBezTo>
                <a:cubicBezTo>
                  <a:pt x="7375" y="2625"/>
                  <a:pt x="7375" y="2625"/>
                  <a:pt x="7375" y="2594"/>
                </a:cubicBezTo>
                <a:close/>
                <a:moveTo>
                  <a:pt x="3156" y="12125"/>
                </a:moveTo>
                <a:cubicBezTo>
                  <a:pt x="3187" y="12156"/>
                  <a:pt x="3187" y="12187"/>
                  <a:pt x="3156" y="12219"/>
                </a:cubicBezTo>
                <a:cubicBezTo>
                  <a:pt x="3156" y="12187"/>
                  <a:pt x="3156" y="12187"/>
                  <a:pt x="3156" y="12156"/>
                </a:cubicBezTo>
                <a:cubicBezTo>
                  <a:pt x="3156" y="12156"/>
                  <a:pt x="3156" y="12156"/>
                  <a:pt x="3156" y="12125"/>
                </a:cubicBezTo>
                <a:close/>
                <a:moveTo>
                  <a:pt x="9687" y="12781"/>
                </a:moveTo>
                <a:cubicBezTo>
                  <a:pt x="9687" y="12781"/>
                  <a:pt x="9687" y="12781"/>
                  <a:pt x="9718" y="12781"/>
                </a:cubicBezTo>
                <a:cubicBezTo>
                  <a:pt x="9718" y="12781"/>
                  <a:pt x="9718" y="12750"/>
                  <a:pt x="9718" y="12750"/>
                </a:cubicBezTo>
                <a:cubicBezTo>
                  <a:pt x="9687" y="12750"/>
                  <a:pt x="9687" y="12719"/>
                  <a:pt x="9687" y="12687"/>
                </a:cubicBezTo>
                <a:cubicBezTo>
                  <a:pt x="9718" y="12687"/>
                  <a:pt x="9750" y="12656"/>
                  <a:pt x="9750" y="12687"/>
                </a:cubicBezTo>
                <a:cubicBezTo>
                  <a:pt x="9781" y="12719"/>
                  <a:pt x="9750" y="12750"/>
                  <a:pt x="9718" y="12750"/>
                </a:cubicBezTo>
                <a:cubicBezTo>
                  <a:pt x="9718" y="12750"/>
                  <a:pt x="9718" y="12750"/>
                  <a:pt x="9718" y="12750"/>
                </a:cubicBezTo>
                <a:cubicBezTo>
                  <a:pt x="9718" y="12750"/>
                  <a:pt x="9718" y="12781"/>
                  <a:pt x="9718" y="12781"/>
                </a:cubicBezTo>
                <a:cubicBezTo>
                  <a:pt x="9718" y="12781"/>
                  <a:pt x="9718" y="12781"/>
                  <a:pt x="9718" y="12781"/>
                </a:cubicBezTo>
                <a:cubicBezTo>
                  <a:pt x="9718" y="12812"/>
                  <a:pt x="9718" y="12812"/>
                  <a:pt x="9718" y="12844"/>
                </a:cubicBezTo>
                <a:cubicBezTo>
                  <a:pt x="9718" y="12875"/>
                  <a:pt x="9656" y="12875"/>
                  <a:pt x="9687" y="12937"/>
                </a:cubicBezTo>
                <a:cubicBezTo>
                  <a:pt x="9656" y="12906"/>
                  <a:pt x="9656" y="12937"/>
                  <a:pt x="9656" y="12937"/>
                </a:cubicBezTo>
                <a:cubicBezTo>
                  <a:pt x="9593" y="12969"/>
                  <a:pt x="9593" y="12969"/>
                  <a:pt x="9562" y="13031"/>
                </a:cubicBezTo>
                <a:cubicBezTo>
                  <a:pt x="9531" y="12937"/>
                  <a:pt x="9562" y="12875"/>
                  <a:pt x="9656" y="12875"/>
                </a:cubicBezTo>
                <a:cubicBezTo>
                  <a:pt x="9687" y="12844"/>
                  <a:pt x="9625" y="12844"/>
                  <a:pt x="9656" y="12812"/>
                </a:cubicBezTo>
                <a:cubicBezTo>
                  <a:pt x="9656" y="12812"/>
                  <a:pt x="9687" y="12812"/>
                  <a:pt x="9687" y="12781"/>
                </a:cubicBezTo>
                <a:close/>
                <a:moveTo>
                  <a:pt x="12718" y="18000"/>
                </a:moveTo>
                <a:cubicBezTo>
                  <a:pt x="12687" y="18000"/>
                  <a:pt x="12656" y="17969"/>
                  <a:pt x="12625" y="17969"/>
                </a:cubicBezTo>
                <a:cubicBezTo>
                  <a:pt x="12625" y="17969"/>
                  <a:pt x="12625" y="17969"/>
                  <a:pt x="12625" y="17969"/>
                </a:cubicBezTo>
                <a:cubicBezTo>
                  <a:pt x="12625" y="18000"/>
                  <a:pt x="12656" y="18000"/>
                  <a:pt x="12593" y="18031"/>
                </a:cubicBezTo>
                <a:cubicBezTo>
                  <a:pt x="12531" y="18031"/>
                  <a:pt x="12500" y="17969"/>
                  <a:pt x="12437" y="17969"/>
                </a:cubicBezTo>
                <a:cubicBezTo>
                  <a:pt x="12437" y="17937"/>
                  <a:pt x="12437" y="17937"/>
                  <a:pt x="12468" y="17906"/>
                </a:cubicBezTo>
                <a:cubicBezTo>
                  <a:pt x="12625" y="17875"/>
                  <a:pt x="12750" y="17812"/>
                  <a:pt x="12906" y="17781"/>
                </a:cubicBezTo>
                <a:cubicBezTo>
                  <a:pt x="12906" y="17781"/>
                  <a:pt x="12937" y="17812"/>
                  <a:pt x="12937" y="17812"/>
                </a:cubicBezTo>
                <a:cubicBezTo>
                  <a:pt x="12937" y="17812"/>
                  <a:pt x="12937" y="17812"/>
                  <a:pt x="12937" y="17812"/>
                </a:cubicBezTo>
                <a:cubicBezTo>
                  <a:pt x="12968" y="17844"/>
                  <a:pt x="13031" y="17844"/>
                  <a:pt x="13000" y="17875"/>
                </a:cubicBezTo>
                <a:cubicBezTo>
                  <a:pt x="13000" y="17906"/>
                  <a:pt x="12937" y="17937"/>
                  <a:pt x="12906" y="17937"/>
                </a:cubicBezTo>
                <a:cubicBezTo>
                  <a:pt x="12906" y="17937"/>
                  <a:pt x="12906" y="17937"/>
                  <a:pt x="12906" y="17969"/>
                </a:cubicBezTo>
                <a:cubicBezTo>
                  <a:pt x="12843" y="17937"/>
                  <a:pt x="12781" y="18000"/>
                  <a:pt x="12718" y="18000"/>
                </a:cubicBezTo>
                <a:close/>
                <a:moveTo>
                  <a:pt x="7437" y="19781"/>
                </a:moveTo>
                <a:cubicBezTo>
                  <a:pt x="7406" y="19781"/>
                  <a:pt x="7406" y="19750"/>
                  <a:pt x="7375" y="19719"/>
                </a:cubicBezTo>
                <a:cubicBezTo>
                  <a:pt x="7437" y="19719"/>
                  <a:pt x="7437" y="19750"/>
                  <a:pt x="7437" y="19781"/>
                </a:cubicBezTo>
                <a:close/>
                <a:moveTo>
                  <a:pt x="19093" y="9437"/>
                </a:move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37"/>
                  <a:pt x="19093" y="9437"/>
                </a:cubicBezTo>
                <a:cubicBezTo>
                  <a:pt x="19093" y="9437"/>
                  <a:pt x="19093" y="9469"/>
                  <a:pt x="19093" y="9469"/>
                </a:cubicBezTo>
                <a:cubicBezTo>
                  <a:pt x="19093" y="9469"/>
                  <a:pt x="19093" y="9437"/>
                  <a:pt x="19093" y="9437"/>
                </a:cubicBezTo>
                <a:cubicBezTo>
                  <a:pt x="19062" y="9437"/>
                  <a:pt x="19062" y="9437"/>
                  <a:pt x="19062" y="9406"/>
                </a:cubicBezTo>
                <a:cubicBezTo>
                  <a:pt x="19062" y="9437"/>
                  <a:pt x="19062" y="9437"/>
                  <a:pt x="19093" y="9437"/>
                </a:cubicBezTo>
                <a:close/>
                <a:moveTo>
                  <a:pt x="19062" y="9656"/>
                </a:moveTo>
                <a:cubicBezTo>
                  <a:pt x="19093" y="9781"/>
                  <a:pt x="19156" y="9875"/>
                  <a:pt x="19125" y="10000"/>
                </a:cubicBezTo>
                <a:cubicBezTo>
                  <a:pt x="19093" y="9906"/>
                  <a:pt x="19062" y="9781"/>
                  <a:pt x="19031" y="9687"/>
                </a:cubicBezTo>
                <a:cubicBezTo>
                  <a:pt x="19031" y="9687"/>
                  <a:pt x="19031" y="9656"/>
                  <a:pt x="19062" y="9656"/>
                </a:cubicBezTo>
                <a:close/>
                <a:moveTo>
                  <a:pt x="18843" y="11531"/>
                </a:moveTo>
                <a:cubicBezTo>
                  <a:pt x="18843" y="11531"/>
                  <a:pt x="18843" y="11562"/>
                  <a:pt x="18843" y="11562"/>
                </a:cubicBezTo>
                <a:cubicBezTo>
                  <a:pt x="18843" y="11562"/>
                  <a:pt x="18843" y="11531"/>
                  <a:pt x="18843" y="11531"/>
                </a:cubicBezTo>
                <a:cubicBezTo>
                  <a:pt x="18843" y="11531"/>
                  <a:pt x="18843" y="11531"/>
                  <a:pt x="18843" y="11531"/>
                </a:cubicBezTo>
                <a:close/>
                <a:moveTo>
                  <a:pt x="18906" y="11969"/>
                </a:moveTo>
                <a:cubicBezTo>
                  <a:pt x="18875" y="11906"/>
                  <a:pt x="18937" y="11875"/>
                  <a:pt x="18968" y="11812"/>
                </a:cubicBezTo>
                <a:cubicBezTo>
                  <a:pt x="18937" y="11875"/>
                  <a:pt x="18937" y="11937"/>
                  <a:pt x="18906" y="11969"/>
                </a:cubicBezTo>
                <a:close/>
                <a:moveTo>
                  <a:pt x="18937" y="9187"/>
                </a:move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ubicBezTo>
                  <a:pt x="18937" y="9187"/>
                  <a:pt x="18937" y="9187"/>
                  <a:pt x="18937" y="9187"/>
                </a:cubicBezTo>
                <a:close/>
                <a:moveTo>
                  <a:pt x="18937" y="9375"/>
                </a:moveTo>
                <a:cubicBezTo>
                  <a:pt x="18937" y="9375"/>
                  <a:pt x="18937" y="9375"/>
                  <a:pt x="18968" y="9406"/>
                </a:cubicBezTo>
                <a:cubicBezTo>
                  <a:pt x="18937" y="9375"/>
                  <a:pt x="18937" y="9375"/>
                  <a:pt x="18937" y="9375"/>
                </a:cubicBezTo>
                <a:close/>
                <a:moveTo>
                  <a:pt x="18906" y="9344"/>
                </a:moveTo>
                <a:cubicBezTo>
                  <a:pt x="18906" y="9344"/>
                  <a:pt x="18906" y="9344"/>
                  <a:pt x="18906" y="9344"/>
                </a:cubicBezTo>
                <a:cubicBezTo>
                  <a:pt x="18906" y="9344"/>
                  <a:pt x="18906" y="9344"/>
                  <a:pt x="18906" y="9344"/>
                </a:cubicBezTo>
                <a:cubicBezTo>
                  <a:pt x="18906" y="9344"/>
                  <a:pt x="18906" y="9344"/>
                  <a:pt x="18906" y="9344"/>
                </a:cubicBezTo>
                <a:close/>
                <a:moveTo>
                  <a:pt x="18875" y="11250"/>
                </a:moveTo>
                <a:cubicBezTo>
                  <a:pt x="18906" y="11094"/>
                  <a:pt x="18906" y="10906"/>
                  <a:pt x="18906" y="10750"/>
                </a:cubicBezTo>
                <a:cubicBezTo>
                  <a:pt x="18906" y="10719"/>
                  <a:pt x="18906" y="10719"/>
                  <a:pt x="18875" y="10687"/>
                </a:cubicBezTo>
                <a:cubicBezTo>
                  <a:pt x="18875" y="10625"/>
                  <a:pt x="18843" y="10562"/>
                  <a:pt x="18843" y="10500"/>
                </a:cubicBezTo>
                <a:cubicBezTo>
                  <a:pt x="18843" y="10562"/>
                  <a:pt x="18875" y="10625"/>
                  <a:pt x="18875" y="10687"/>
                </a:cubicBezTo>
                <a:cubicBezTo>
                  <a:pt x="18875" y="10656"/>
                  <a:pt x="18875" y="10625"/>
                  <a:pt x="18906" y="10594"/>
                </a:cubicBezTo>
                <a:cubicBezTo>
                  <a:pt x="18906" y="10719"/>
                  <a:pt x="18937" y="10844"/>
                  <a:pt x="18937" y="10969"/>
                </a:cubicBezTo>
                <a:cubicBezTo>
                  <a:pt x="18906" y="11125"/>
                  <a:pt x="18906" y="11281"/>
                  <a:pt x="18843" y="11437"/>
                </a:cubicBezTo>
                <a:cubicBezTo>
                  <a:pt x="18843" y="11437"/>
                  <a:pt x="18843" y="11437"/>
                  <a:pt x="18843" y="11437"/>
                </a:cubicBezTo>
                <a:cubicBezTo>
                  <a:pt x="18843" y="11406"/>
                  <a:pt x="18843" y="11375"/>
                  <a:pt x="18843" y="11312"/>
                </a:cubicBezTo>
                <a:cubicBezTo>
                  <a:pt x="18875" y="11312"/>
                  <a:pt x="18875" y="11281"/>
                  <a:pt x="18875" y="11250"/>
                </a:cubicBezTo>
                <a:close/>
                <a:moveTo>
                  <a:pt x="18843" y="11500"/>
                </a:moveTo>
                <a:cubicBezTo>
                  <a:pt x="18843" y="11500"/>
                  <a:pt x="18843" y="11531"/>
                  <a:pt x="18843" y="11531"/>
                </a:cubicBezTo>
                <a:cubicBezTo>
                  <a:pt x="18843" y="11531"/>
                  <a:pt x="18812" y="11531"/>
                  <a:pt x="18812" y="11500"/>
                </a:cubicBezTo>
                <a:cubicBezTo>
                  <a:pt x="18843" y="11500"/>
                  <a:pt x="18843" y="11500"/>
                  <a:pt x="18843" y="11500"/>
                </a:cubicBezTo>
                <a:close/>
                <a:moveTo>
                  <a:pt x="18812" y="12687"/>
                </a:moveTo>
                <a:cubicBezTo>
                  <a:pt x="18812" y="12687"/>
                  <a:pt x="18843" y="12719"/>
                  <a:pt x="18812" y="12719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50"/>
                  <a:pt x="18812" y="12750"/>
                  <a:pt x="18812" y="12750"/>
                </a:cubicBezTo>
                <a:cubicBezTo>
                  <a:pt x="18812" y="12719"/>
                  <a:pt x="18781" y="12687"/>
                  <a:pt x="18812" y="12687"/>
                </a:cubicBezTo>
                <a:close/>
                <a:moveTo>
                  <a:pt x="18468" y="13687"/>
                </a:moveTo>
                <a:cubicBezTo>
                  <a:pt x="18468" y="13687"/>
                  <a:pt x="18468" y="13687"/>
                  <a:pt x="18468" y="13687"/>
                </a:cubicBezTo>
                <a:cubicBezTo>
                  <a:pt x="18468" y="13687"/>
                  <a:pt x="18468" y="13687"/>
                  <a:pt x="18468" y="13687"/>
                </a:cubicBezTo>
                <a:close/>
                <a:moveTo>
                  <a:pt x="18437" y="9312"/>
                </a:moveTo>
                <a:cubicBezTo>
                  <a:pt x="18500" y="9344"/>
                  <a:pt x="18531" y="9406"/>
                  <a:pt x="18531" y="9437"/>
                </a:cubicBezTo>
                <a:cubicBezTo>
                  <a:pt x="18531" y="9437"/>
                  <a:pt x="18531" y="9437"/>
                  <a:pt x="18531" y="9437"/>
                </a:cubicBezTo>
                <a:cubicBezTo>
                  <a:pt x="18531" y="9406"/>
                  <a:pt x="18500" y="9344"/>
                  <a:pt x="18437" y="9312"/>
                </a:cubicBezTo>
                <a:close/>
                <a:moveTo>
                  <a:pt x="18531" y="13281"/>
                </a:moveTo>
                <a:cubicBezTo>
                  <a:pt x="18531" y="13281"/>
                  <a:pt x="18531" y="13281"/>
                  <a:pt x="18531" y="13281"/>
                </a:cubicBezTo>
                <a:cubicBezTo>
                  <a:pt x="18500" y="13250"/>
                  <a:pt x="18500" y="13219"/>
                  <a:pt x="18468" y="13187"/>
                </a:cubicBezTo>
                <a:cubicBezTo>
                  <a:pt x="18500" y="13219"/>
                  <a:pt x="18500" y="13250"/>
                  <a:pt x="18531" y="13281"/>
                </a:cubicBezTo>
                <a:close/>
                <a:moveTo>
                  <a:pt x="18531" y="13344"/>
                </a:moveTo>
                <a:cubicBezTo>
                  <a:pt x="18531" y="13312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281"/>
                  <a:pt x="18531" y="13281"/>
                </a:cubicBezTo>
                <a:cubicBezTo>
                  <a:pt x="18531" y="13281"/>
                  <a:pt x="18531" y="13312"/>
                  <a:pt x="18531" y="13344"/>
                </a:cubicBezTo>
                <a:close/>
                <a:moveTo>
                  <a:pt x="18531" y="13375"/>
                </a:moveTo>
                <a:cubicBezTo>
                  <a:pt x="18531" y="13344"/>
                  <a:pt x="18531" y="13344"/>
                  <a:pt x="18531" y="13344"/>
                </a:cubicBezTo>
                <a:cubicBezTo>
                  <a:pt x="18531" y="13344"/>
                  <a:pt x="18531" y="13344"/>
                  <a:pt x="18531" y="13375"/>
                </a:cubicBezTo>
                <a:cubicBezTo>
                  <a:pt x="18531" y="13375"/>
                  <a:pt x="18531" y="13375"/>
                  <a:pt x="18531" y="13375"/>
                </a:cubicBezTo>
                <a:close/>
                <a:moveTo>
                  <a:pt x="18531" y="13375"/>
                </a:moveTo>
                <a:cubicBezTo>
                  <a:pt x="18531" y="13375"/>
                  <a:pt x="18531" y="13375"/>
                  <a:pt x="18531" y="13375"/>
                </a:cubicBezTo>
                <a:cubicBezTo>
                  <a:pt x="18593" y="13406"/>
                  <a:pt x="18593" y="13437"/>
                  <a:pt x="18625" y="13500"/>
                </a:cubicBezTo>
                <a:cubicBezTo>
                  <a:pt x="18593" y="13437"/>
                  <a:pt x="18593" y="13406"/>
                  <a:pt x="18531" y="13375"/>
                </a:cubicBezTo>
                <a:close/>
                <a:moveTo>
                  <a:pt x="18656" y="14406"/>
                </a:moveTo>
                <a:cubicBezTo>
                  <a:pt x="18625" y="14344"/>
                  <a:pt x="18656" y="14312"/>
                  <a:pt x="18656" y="14250"/>
                </a:cubicBezTo>
                <a:cubicBezTo>
                  <a:pt x="18687" y="14312"/>
                  <a:pt x="18687" y="14344"/>
                  <a:pt x="18656" y="14406"/>
                </a:cubicBezTo>
                <a:close/>
                <a:moveTo>
                  <a:pt x="18750" y="11812"/>
                </a:moveTo>
                <a:cubicBezTo>
                  <a:pt x="18750" y="11781"/>
                  <a:pt x="18750" y="11750"/>
                  <a:pt x="18750" y="11719"/>
                </a:cubicBezTo>
                <a:cubicBezTo>
                  <a:pt x="18750" y="11750"/>
                  <a:pt x="18750" y="11781"/>
                  <a:pt x="18750" y="11812"/>
                </a:cubicBezTo>
                <a:cubicBezTo>
                  <a:pt x="18750" y="11812"/>
                  <a:pt x="18750" y="11812"/>
                  <a:pt x="18750" y="11812"/>
                </a:cubicBezTo>
                <a:cubicBezTo>
                  <a:pt x="18750" y="11812"/>
                  <a:pt x="18750" y="11812"/>
                  <a:pt x="18750" y="11812"/>
                </a:cubicBezTo>
                <a:close/>
                <a:moveTo>
                  <a:pt x="18718" y="9531"/>
                </a:moveTo>
                <a:cubicBezTo>
                  <a:pt x="18718" y="9500"/>
                  <a:pt x="18718" y="9500"/>
                  <a:pt x="18718" y="9469"/>
                </a:cubicBezTo>
                <a:cubicBezTo>
                  <a:pt x="18718" y="9500"/>
                  <a:pt x="18718" y="9500"/>
                  <a:pt x="18718" y="9531"/>
                </a:cubicBezTo>
                <a:close/>
                <a:moveTo>
                  <a:pt x="18718" y="14187"/>
                </a:moveTo>
                <a:cubicBezTo>
                  <a:pt x="18718" y="14219"/>
                  <a:pt x="18718" y="14219"/>
                  <a:pt x="18718" y="14219"/>
                </a:cubicBezTo>
                <a:cubicBezTo>
                  <a:pt x="18687" y="14219"/>
                  <a:pt x="18687" y="14219"/>
                  <a:pt x="18687" y="14187"/>
                </a:cubicBezTo>
                <a:cubicBezTo>
                  <a:pt x="18687" y="14187"/>
                  <a:pt x="18718" y="14187"/>
                  <a:pt x="18718" y="14187"/>
                </a:cubicBezTo>
                <a:cubicBezTo>
                  <a:pt x="18718" y="14187"/>
                  <a:pt x="18718" y="14187"/>
                  <a:pt x="18718" y="14187"/>
                </a:cubicBezTo>
                <a:close/>
                <a:moveTo>
                  <a:pt x="18687" y="8969"/>
                </a:moveTo>
                <a:cubicBezTo>
                  <a:pt x="18687" y="8969"/>
                  <a:pt x="18687" y="8969"/>
                  <a:pt x="18687" y="8969"/>
                </a:cubicBezTo>
                <a:cubicBezTo>
                  <a:pt x="18687" y="8969"/>
                  <a:pt x="18687" y="8969"/>
                  <a:pt x="18687" y="8969"/>
                </a:cubicBezTo>
                <a:close/>
                <a:moveTo>
                  <a:pt x="18656" y="9875"/>
                </a:moveTo>
                <a:cubicBezTo>
                  <a:pt x="18687" y="9906"/>
                  <a:pt x="18687" y="9969"/>
                  <a:pt x="18718" y="10000"/>
                </a:cubicBezTo>
                <a:cubicBezTo>
                  <a:pt x="18687" y="9969"/>
                  <a:pt x="18687" y="9906"/>
                  <a:pt x="18656" y="9875"/>
                </a:cubicBezTo>
                <a:cubicBezTo>
                  <a:pt x="18656" y="9875"/>
                  <a:pt x="18656" y="9875"/>
                  <a:pt x="18656" y="9875"/>
                </a:cubicBezTo>
                <a:close/>
                <a:moveTo>
                  <a:pt x="18656" y="9875"/>
                </a:moveTo>
                <a:cubicBezTo>
                  <a:pt x="18656" y="9875"/>
                  <a:pt x="18656" y="9875"/>
                  <a:pt x="18656" y="9875"/>
                </a:cubicBezTo>
                <a:cubicBezTo>
                  <a:pt x="18593" y="9781"/>
                  <a:pt x="18562" y="9687"/>
                  <a:pt x="18500" y="9594"/>
                </a:cubicBezTo>
                <a:cubicBezTo>
                  <a:pt x="18562" y="9687"/>
                  <a:pt x="18593" y="9781"/>
                  <a:pt x="18656" y="9875"/>
                </a:cubicBezTo>
                <a:close/>
                <a:moveTo>
                  <a:pt x="18531" y="8937"/>
                </a:moveTo>
                <a:cubicBezTo>
                  <a:pt x="18531" y="8937"/>
                  <a:pt x="18531" y="8937"/>
                  <a:pt x="18531" y="8937"/>
                </a:cubicBezTo>
                <a:cubicBezTo>
                  <a:pt x="18531" y="8969"/>
                  <a:pt x="18562" y="8969"/>
                  <a:pt x="18562" y="9000"/>
                </a:cubicBezTo>
                <a:cubicBezTo>
                  <a:pt x="18562" y="8969"/>
                  <a:pt x="18531" y="8969"/>
                  <a:pt x="18531" y="8937"/>
                </a:cubicBezTo>
                <a:cubicBezTo>
                  <a:pt x="18531" y="8969"/>
                  <a:pt x="18531" y="9000"/>
                  <a:pt x="18531" y="9000"/>
                </a:cubicBezTo>
                <a:cubicBezTo>
                  <a:pt x="18531" y="9000"/>
                  <a:pt x="18531" y="8969"/>
                  <a:pt x="18531" y="8937"/>
                </a:cubicBezTo>
                <a:close/>
                <a:moveTo>
                  <a:pt x="18531" y="8625"/>
                </a:moveTo>
                <a:cubicBezTo>
                  <a:pt x="18531" y="8625"/>
                  <a:pt x="18531" y="8625"/>
                  <a:pt x="18531" y="8625"/>
                </a:cubicBezTo>
                <a:cubicBezTo>
                  <a:pt x="18500" y="8625"/>
                  <a:pt x="18500" y="8625"/>
                  <a:pt x="18500" y="8594"/>
                </a:cubicBezTo>
                <a:cubicBezTo>
                  <a:pt x="18500" y="8625"/>
                  <a:pt x="18500" y="8625"/>
                  <a:pt x="18531" y="8625"/>
                </a:cubicBezTo>
                <a:close/>
                <a:moveTo>
                  <a:pt x="18531" y="8937"/>
                </a:moveTo>
                <a:cubicBezTo>
                  <a:pt x="18531" y="8937"/>
                  <a:pt x="18531" y="8937"/>
                  <a:pt x="18531" y="8937"/>
                </a:cubicBezTo>
                <a:cubicBezTo>
                  <a:pt x="18500" y="8937"/>
                  <a:pt x="18468" y="8875"/>
                  <a:pt x="18437" y="8875"/>
                </a:cubicBezTo>
                <a:cubicBezTo>
                  <a:pt x="18468" y="8875"/>
                  <a:pt x="18500" y="8937"/>
                  <a:pt x="18531" y="8937"/>
                </a:cubicBezTo>
                <a:close/>
                <a:moveTo>
                  <a:pt x="18468" y="9187"/>
                </a:moveTo>
                <a:cubicBezTo>
                  <a:pt x="18468" y="9187"/>
                  <a:pt x="18468" y="9187"/>
                  <a:pt x="18468" y="9187"/>
                </a:cubicBezTo>
                <a:cubicBezTo>
                  <a:pt x="18437" y="9187"/>
                  <a:pt x="18437" y="9156"/>
                  <a:pt x="18437" y="9125"/>
                </a:cubicBezTo>
                <a:cubicBezTo>
                  <a:pt x="18437" y="9156"/>
                  <a:pt x="18437" y="9187"/>
                  <a:pt x="18468" y="9187"/>
                </a:cubicBezTo>
                <a:close/>
                <a:moveTo>
                  <a:pt x="18437" y="14062"/>
                </a:moveTo>
                <a:cubicBezTo>
                  <a:pt x="18437" y="14062"/>
                  <a:pt x="18437" y="14062"/>
                  <a:pt x="18437" y="14062"/>
                </a:cubicBezTo>
                <a:cubicBezTo>
                  <a:pt x="18437" y="14062"/>
                  <a:pt x="18437" y="14062"/>
                  <a:pt x="18437" y="14094"/>
                </a:cubicBezTo>
                <a:cubicBezTo>
                  <a:pt x="18437" y="14062"/>
                  <a:pt x="18437" y="14062"/>
                  <a:pt x="18437" y="14062"/>
                </a:cubicBezTo>
                <a:cubicBezTo>
                  <a:pt x="18437" y="14062"/>
                  <a:pt x="18437" y="14062"/>
                  <a:pt x="18437" y="14062"/>
                </a:cubicBezTo>
                <a:close/>
                <a:moveTo>
                  <a:pt x="18187" y="14250"/>
                </a:moveTo>
                <a:cubicBezTo>
                  <a:pt x="18187" y="14250"/>
                  <a:pt x="18187" y="14250"/>
                  <a:pt x="18187" y="14250"/>
                </a:cubicBezTo>
                <a:cubicBezTo>
                  <a:pt x="18187" y="14250"/>
                  <a:pt x="18187" y="14219"/>
                  <a:pt x="18187" y="14219"/>
                </a:cubicBezTo>
                <a:cubicBezTo>
                  <a:pt x="18187" y="14219"/>
                  <a:pt x="18187" y="14250"/>
                  <a:pt x="18187" y="14250"/>
                </a:cubicBezTo>
                <a:close/>
                <a:moveTo>
                  <a:pt x="18187" y="12375"/>
                </a:moveTo>
                <a:cubicBezTo>
                  <a:pt x="18187" y="12406"/>
                  <a:pt x="18156" y="12437"/>
                  <a:pt x="18156" y="12469"/>
                </a:cubicBezTo>
                <a:cubicBezTo>
                  <a:pt x="18156" y="12437"/>
                  <a:pt x="18187" y="12406"/>
                  <a:pt x="18187" y="12375"/>
                </a:cubicBezTo>
                <a:cubicBezTo>
                  <a:pt x="18187" y="12375"/>
                  <a:pt x="18187" y="12375"/>
                  <a:pt x="18187" y="12375"/>
                </a:cubicBezTo>
                <a:cubicBezTo>
                  <a:pt x="18218" y="12344"/>
                  <a:pt x="18250" y="12281"/>
                  <a:pt x="18281" y="12250"/>
                </a:cubicBezTo>
                <a:cubicBezTo>
                  <a:pt x="18250" y="12281"/>
                  <a:pt x="18218" y="12344"/>
                  <a:pt x="18187" y="12375"/>
                </a:cubicBezTo>
                <a:close/>
                <a:moveTo>
                  <a:pt x="18281" y="14687"/>
                </a:moveTo>
                <a:cubicBezTo>
                  <a:pt x="18250" y="14687"/>
                  <a:pt x="18250" y="14687"/>
                  <a:pt x="18250" y="14719"/>
                </a:cubicBezTo>
                <a:cubicBezTo>
                  <a:pt x="18218" y="14625"/>
                  <a:pt x="18250" y="14562"/>
                  <a:pt x="18250" y="14500"/>
                </a:cubicBezTo>
                <a:cubicBezTo>
                  <a:pt x="18281" y="14500"/>
                  <a:pt x="18281" y="14500"/>
                  <a:pt x="18281" y="14500"/>
                </a:cubicBezTo>
                <a:cubicBezTo>
                  <a:pt x="18281" y="14562"/>
                  <a:pt x="18250" y="14625"/>
                  <a:pt x="18281" y="14687"/>
                </a:cubicBezTo>
                <a:close/>
                <a:moveTo>
                  <a:pt x="18281" y="13594"/>
                </a:moveTo>
                <a:cubicBezTo>
                  <a:pt x="18281" y="13562"/>
                  <a:pt x="18281" y="13562"/>
                  <a:pt x="18281" y="13531"/>
                </a:cubicBezTo>
                <a:cubicBezTo>
                  <a:pt x="18281" y="13531"/>
                  <a:pt x="18281" y="13531"/>
                  <a:pt x="18281" y="13531"/>
                </a:cubicBezTo>
                <a:cubicBezTo>
                  <a:pt x="18281" y="13562"/>
                  <a:pt x="18281" y="13562"/>
                  <a:pt x="18281" y="13594"/>
                </a:cubicBezTo>
                <a:close/>
                <a:moveTo>
                  <a:pt x="18281" y="12562"/>
                </a:moveTo>
                <a:cubicBezTo>
                  <a:pt x="18281" y="12562"/>
                  <a:pt x="18250" y="12594"/>
                  <a:pt x="18218" y="12594"/>
                </a:cubicBezTo>
                <a:cubicBezTo>
                  <a:pt x="18218" y="12531"/>
                  <a:pt x="18187" y="12469"/>
                  <a:pt x="18281" y="12500"/>
                </a:cubicBezTo>
                <a:cubicBezTo>
                  <a:pt x="18281" y="12531"/>
                  <a:pt x="18281" y="12531"/>
                  <a:pt x="18281" y="12562"/>
                </a:cubicBezTo>
                <a:close/>
                <a:moveTo>
                  <a:pt x="18281" y="11687"/>
                </a:moveTo>
                <a:cubicBezTo>
                  <a:pt x="18281" y="11687"/>
                  <a:pt x="18281" y="11687"/>
                  <a:pt x="18281" y="11687"/>
                </a:cubicBezTo>
                <a:cubicBezTo>
                  <a:pt x="18281" y="11687"/>
                  <a:pt x="18250" y="11719"/>
                  <a:pt x="18250" y="11719"/>
                </a:cubicBezTo>
                <a:cubicBezTo>
                  <a:pt x="18250" y="11719"/>
                  <a:pt x="18281" y="11687"/>
                  <a:pt x="18281" y="11687"/>
                </a:cubicBezTo>
                <a:cubicBezTo>
                  <a:pt x="18312" y="11594"/>
                  <a:pt x="18343" y="11500"/>
                  <a:pt x="18343" y="11437"/>
                </a:cubicBezTo>
                <a:cubicBezTo>
                  <a:pt x="18343" y="11500"/>
                  <a:pt x="18312" y="11594"/>
                  <a:pt x="18281" y="11687"/>
                </a:cubicBezTo>
                <a:close/>
                <a:moveTo>
                  <a:pt x="18343" y="11594"/>
                </a:moveTo>
                <a:cubicBezTo>
                  <a:pt x="18343" y="11594"/>
                  <a:pt x="18343" y="11594"/>
                  <a:pt x="18343" y="11594"/>
                </a:cubicBezTo>
                <a:cubicBezTo>
                  <a:pt x="18343" y="11562"/>
                  <a:pt x="18343" y="11531"/>
                  <a:pt x="18343" y="11531"/>
                </a:cubicBezTo>
                <a:cubicBezTo>
                  <a:pt x="18343" y="11531"/>
                  <a:pt x="18343" y="11562"/>
                  <a:pt x="18343" y="11594"/>
                </a:cubicBezTo>
                <a:cubicBezTo>
                  <a:pt x="18375" y="11594"/>
                  <a:pt x="18375" y="11594"/>
                  <a:pt x="18375" y="11562"/>
                </a:cubicBezTo>
                <a:cubicBezTo>
                  <a:pt x="18375" y="11594"/>
                  <a:pt x="18375" y="11594"/>
                  <a:pt x="18343" y="11594"/>
                </a:cubicBezTo>
                <a:close/>
                <a:moveTo>
                  <a:pt x="18406" y="8437"/>
                </a:moveTo>
                <a:cubicBezTo>
                  <a:pt x="18406" y="8406"/>
                  <a:pt x="18406" y="8406"/>
                  <a:pt x="18375" y="8375"/>
                </a:cubicBezTo>
                <a:cubicBezTo>
                  <a:pt x="18406" y="8406"/>
                  <a:pt x="18406" y="8406"/>
                  <a:pt x="18406" y="8437"/>
                </a:cubicBezTo>
                <a:close/>
                <a:moveTo>
                  <a:pt x="18375" y="8344"/>
                </a:moveTo>
                <a:cubicBezTo>
                  <a:pt x="18375" y="8344"/>
                  <a:pt x="18375" y="8344"/>
                  <a:pt x="18375" y="8344"/>
                </a:cubicBezTo>
                <a:cubicBezTo>
                  <a:pt x="18375" y="8344"/>
                  <a:pt x="18375" y="8344"/>
                  <a:pt x="18375" y="8344"/>
                </a:cubicBezTo>
                <a:cubicBezTo>
                  <a:pt x="18375" y="8344"/>
                  <a:pt x="18375" y="8344"/>
                  <a:pt x="18375" y="8344"/>
                </a:cubicBezTo>
                <a:close/>
                <a:moveTo>
                  <a:pt x="18218" y="10406"/>
                </a:moveTo>
                <a:cubicBezTo>
                  <a:pt x="18281" y="10625"/>
                  <a:pt x="18343" y="10812"/>
                  <a:pt x="18375" y="11031"/>
                </a:cubicBezTo>
                <a:cubicBezTo>
                  <a:pt x="18343" y="10812"/>
                  <a:pt x="18281" y="10625"/>
                  <a:pt x="18218" y="10406"/>
                </a:cubicBezTo>
                <a:cubicBezTo>
                  <a:pt x="18218" y="10406"/>
                  <a:pt x="18218" y="10406"/>
                  <a:pt x="18218" y="10406"/>
                </a:cubicBezTo>
                <a:close/>
                <a:moveTo>
                  <a:pt x="18281" y="10969"/>
                </a:moveTo>
                <a:cubicBezTo>
                  <a:pt x="18281" y="10969"/>
                  <a:pt x="18281" y="10969"/>
                  <a:pt x="18281" y="10969"/>
                </a:cubicBezTo>
                <a:cubicBezTo>
                  <a:pt x="18250" y="10781"/>
                  <a:pt x="18187" y="10625"/>
                  <a:pt x="18125" y="10437"/>
                </a:cubicBezTo>
                <a:cubicBezTo>
                  <a:pt x="18187" y="10625"/>
                  <a:pt x="18250" y="10781"/>
                  <a:pt x="18281" y="10969"/>
                </a:cubicBezTo>
                <a:close/>
                <a:moveTo>
                  <a:pt x="18218" y="8250"/>
                </a:moveTo>
                <a:cubicBezTo>
                  <a:pt x="18187" y="8250"/>
                  <a:pt x="18187" y="8219"/>
                  <a:pt x="18156" y="8219"/>
                </a:cubicBezTo>
                <a:cubicBezTo>
                  <a:pt x="18156" y="8219"/>
                  <a:pt x="18156" y="8219"/>
                  <a:pt x="18156" y="8219"/>
                </a:cubicBezTo>
                <a:cubicBezTo>
                  <a:pt x="18187" y="8219"/>
                  <a:pt x="18187" y="8250"/>
                  <a:pt x="18218" y="8250"/>
                </a:cubicBezTo>
                <a:close/>
                <a:moveTo>
                  <a:pt x="18156" y="7875"/>
                </a:moveTo>
                <a:cubicBezTo>
                  <a:pt x="18156" y="7875"/>
                  <a:pt x="18156" y="7875"/>
                  <a:pt x="18156" y="7875"/>
                </a:cubicBezTo>
                <a:cubicBezTo>
                  <a:pt x="18156" y="7875"/>
                  <a:pt x="18156" y="7875"/>
                  <a:pt x="18156" y="7875"/>
                </a:cubicBezTo>
                <a:close/>
                <a:moveTo>
                  <a:pt x="18156" y="7875"/>
                </a:moveTo>
                <a:cubicBezTo>
                  <a:pt x="18156" y="7875"/>
                  <a:pt x="18156" y="7875"/>
                  <a:pt x="18156" y="7875"/>
                </a:cubicBezTo>
                <a:cubicBezTo>
                  <a:pt x="18156" y="7875"/>
                  <a:pt x="18156" y="7906"/>
                  <a:pt x="18156" y="7906"/>
                </a:cubicBezTo>
                <a:cubicBezTo>
                  <a:pt x="18156" y="7906"/>
                  <a:pt x="18156" y="7875"/>
                  <a:pt x="18156" y="7875"/>
                </a:cubicBezTo>
                <a:close/>
                <a:moveTo>
                  <a:pt x="18093" y="8000"/>
                </a:moveTo>
                <a:cubicBezTo>
                  <a:pt x="18093" y="8062"/>
                  <a:pt x="18125" y="8094"/>
                  <a:pt x="18156" y="8156"/>
                </a:cubicBezTo>
                <a:cubicBezTo>
                  <a:pt x="18156" y="8156"/>
                  <a:pt x="18156" y="8156"/>
                  <a:pt x="18156" y="8156"/>
                </a:cubicBezTo>
                <a:cubicBezTo>
                  <a:pt x="18156" y="8156"/>
                  <a:pt x="18156" y="8156"/>
                  <a:pt x="18156" y="8156"/>
                </a:cubicBezTo>
                <a:cubicBezTo>
                  <a:pt x="18125" y="8125"/>
                  <a:pt x="18093" y="8094"/>
                  <a:pt x="18093" y="8031"/>
                </a:cubicBezTo>
                <a:cubicBezTo>
                  <a:pt x="18093" y="8094"/>
                  <a:pt x="18125" y="8125"/>
                  <a:pt x="18156" y="8156"/>
                </a:cubicBezTo>
                <a:cubicBezTo>
                  <a:pt x="18125" y="8094"/>
                  <a:pt x="18093" y="8062"/>
                  <a:pt x="18093" y="8000"/>
                </a:cubicBezTo>
                <a:close/>
                <a:moveTo>
                  <a:pt x="18062" y="12281"/>
                </a:moveTo>
                <a:cubicBezTo>
                  <a:pt x="18062" y="12281"/>
                  <a:pt x="18093" y="12281"/>
                  <a:pt x="18093" y="12281"/>
                </a:cubicBezTo>
                <a:cubicBezTo>
                  <a:pt x="18093" y="12281"/>
                  <a:pt x="18062" y="12281"/>
                  <a:pt x="18062" y="12281"/>
                </a:cubicBezTo>
                <a:cubicBezTo>
                  <a:pt x="18062" y="12312"/>
                  <a:pt x="18062" y="12312"/>
                  <a:pt x="18062" y="12312"/>
                </a:cubicBezTo>
                <a:cubicBezTo>
                  <a:pt x="18062" y="12312"/>
                  <a:pt x="18062" y="12312"/>
                  <a:pt x="18062" y="12281"/>
                </a:cubicBezTo>
                <a:close/>
                <a:moveTo>
                  <a:pt x="18000" y="13687"/>
                </a:moveTo>
                <a:cubicBezTo>
                  <a:pt x="18000" y="13687"/>
                  <a:pt x="18000" y="13687"/>
                  <a:pt x="18000" y="13687"/>
                </a:cubicBezTo>
                <a:cubicBezTo>
                  <a:pt x="18000" y="13781"/>
                  <a:pt x="18000" y="13875"/>
                  <a:pt x="18000" y="13937"/>
                </a:cubicBezTo>
                <a:cubicBezTo>
                  <a:pt x="18000" y="13875"/>
                  <a:pt x="18000" y="13781"/>
                  <a:pt x="18000" y="13687"/>
                </a:cubicBezTo>
                <a:close/>
                <a:moveTo>
                  <a:pt x="17968" y="10625"/>
                </a:moveTo>
                <a:cubicBezTo>
                  <a:pt x="17968" y="10656"/>
                  <a:pt x="17968" y="10656"/>
                  <a:pt x="18000" y="10687"/>
                </a:cubicBezTo>
                <a:cubicBezTo>
                  <a:pt x="17968" y="10656"/>
                  <a:pt x="17968" y="10656"/>
                  <a:pt x="17968" y="10625"/>
                </a:cubicBezTo>
                <a:cubicBezTo>
                  <a:pt x="17968" y="10625"/>
                  <a:pt x="17968" y="10625"/>
                  <a:pt x="17968" y="10625"/>
                </a:cubicBezTo>
                <a:close/>
                <a:moveTo>
                  <a:pt x="17968" y="11719"/>
                </a:moveTo>
                <a:cubicBezTo>
                  <a:pt x="17968" y="11719"/>
                  <a:pt x="17968" y="11719"/>
                  <a:pt x="17968" y="11719"/>
                </a:cubicBezTo>
                <a:cubicBezTo>
                  <a:pt x="17968" y="11719"/>
                  <a:pt x="17968" y="11719"/>
                  <a:pt x="17968" y="11719"/>
                </a:cubicBezTo>
                <a:cubicBezTo>
                  <a:pt x="18000" y="11719"/>
                  <a:pt x="18000" y="11719"/>
                  <a:pt x="18000" y="11719"/>
                </a:cubicBezTo>
                <a:cubicBezTo>
                  <a:pt x="18000" y="11719"/>
                  <a:pt x="18000" y="11719"/>
                  <a:pt x="17968" y="11719"/>
                </a:cubicBezTo>
                <a:cubicBezTo>
                  <a:pt x="17968" y="11750"/>
                  <a:pt x="17968" y="11781"/>
                  <a:pt x="17968" y="11812"/>
                </a:cubicBezTo>
                <a:cubicBezTo>
                  <a:pt x="17968" y="11781"/>
                  <a:pt x="17968" y="11750"/>
                  <a:pt x="17968" y="11719"/>
                </a:cubicBezTo>
                <a:cubicBezTo>
                  <a:pt x="17968" y="11719"/>
                  <a:pt x="17968" y="11719"/>
                  <a:pt x="17968" y="11719"/>
                </a:cubicBezTo>
                <a:close/>
                <a:moveTo>
                  <a:pt x="18000" y="13687"/>
                </a:moveTo>
                <a:cubicBezTo>
                  <a:pt x="18000" y="13687"/>
                  <a:pt x="17968" y="13687"/>
                  <a:pt x="17968" y="13656"/>
                </a:cubicBezTo>
                <a:cubicBezTo>
                  <a:pt x="17968" y="13687"/>
                  <a:pt x="18000" y="13687"/>
                  <a:pt x="18000" y="13687"/>
                </a:cubicBezTo>
                <a:cubicBezTo>
                  <a:pt x="18000" y="13687"/>
                  <a:pt x="18000" y="13687"/>
                  <a:pt x="18000" y="13687"/>
                </a:cubicBezTo>
                <a:close/>
                <a:moveTo>
                  <a:pt x="18000" y="7562"/>
                </a:moveTo>
                <a:cubicBezTo>
                  <a:pt x="18000" y="7562"/>
                  <a:pt x="18000" y="7562"/>
                  <a:pt x="18000" y="7562"/>
                </a:cubicBezTo>
                <a:cubicBezTo>
                  <a:pt x="18000" y="7500"/>
                  <a:pt x="17968" y="7469"/>
                  <a:pt x="17968" y="7406"/>
                </a:cubicBezTo>
                <a:cubicBezTo>
                  <a:pt x="17968" y="7469"/>
                  <a:pt x="18000" y="7500"/>
                  <a:pt x="18000" y="7562"/>
                </a:cubicBezTo>
                <a:close/>
                <a:moveTo>
                  <a:pt x="17968" y="10625"/>
                </a:moveTo>
                <a:cubicBezTo>
                  <a:pt x="17968" y="10625"/>
                  <a:pt x="17968" y="10625"/>
                  <a:pt x="17968" y="10625"/>
                </a:cubicBezTo>
                <a:cubicBezTo>
                  <a:pt x="17937" y="10594"/>
                  <a:pt x="17937" y="10562"/>
                  <a:pt x="17937" y="10531"/>
                </a:cubicBezTo>
                <a:cubicBezTo>
                  <a:pt x="17937" y="10562"/>
                  <a:pt x="17937" y="10594"/>
                  <a:pt x="17968" y="10625"/>
                </a:cubicBezTo>
                <a:close/>
                <a:moveTo>
                  <a:pt x="17906" y="11875"/>
                </a:moveTo>
                <a:cubicBezTo>
                  <a:pt x="17906" y="11875"/>
                  <a:pt x="17906" y="11875"/>
                  <a:pt x="17906" y="11875"/>
                </a:cubicBezTo>
                <a:cubicBezTo>
                  <a:pt x="17906" y="11875"/>
                  <a:pt x="17906" y="11875"/>
                  <a:pt x="17906" y="11875"/>
                </a:cubicBezTo>
                <a:cubicBezTo>
                  <a:pt x="17906" y="11875"/>
                  <a:pt x="17906" y="11875"/>
                  <a:pt x="17906" y="11875"/>
                </a:cubicBezTo>
                <a:close/>
                <a:moveTo>
                  <a:pt x="17812" y="7562"/>
                </a:moveTo>
                <a:cubicBezTo>
                  <a:pt x="17812" y="7562"/>
                  <a:pt x="17812" y="7562"/>
                  <a:pt x="17812" y="7562"/>
                </a:cubicBezTo>
                <a:cubicBezTo>
                  <a:pt x="17781" y="7531"/>
                  <a:pt x="17781" y="7500"/>
                  <a:pt x="17750" y="7469"/>
                </a:cubicBezTo>
                <a:cubicBezTo>
                  <a:pt x="17781" y="7500"/>
                  <a:pt x="17781" y="7531"/>
                  <a:pt x="17812" y="7562"/>
                </a:cubicBezTo>
                <a:close/>
                <a:moveTo>
                  <a:pt x="17718" y="8781"/>
                </a:moveTo>
                <a:cubicBezTo>
                  <a:pt x="17718" y="8781"/>
                  <a:pt x="17718" y="8781"/>
                  <a:pt x="17687" y="8781"/>
                </a:cubicBezTo>
                <a:cubicBezTo>
                  <a:pt x="17687" y="8781"/>
                  <a:pt x="17687" y="8781"/>
                  <a:pt x="17687" y="8781"/>
                </a:cubicBezTo>
                <a:cubicBezTo>
                  <a:pt x="17687" y="8781"/>
                  <a:pt x="17687" y="8781"/>
                  <a:pt x="17687" y="8781"/>
                </a:cubicBezTo>
                <a:cubicBezTo>
                  <a:pt x="17718" y="8781"/>
                  <a:pt x="17718" y="8781"/>
                  <a:pt x="17718" y="8781"/>
                </a:cubicBezTo>
                <a:close/>
                <a:moveTo>
                  <a:pt x="17687" y="8531"/>
                </a:moveTo>
                <a:cubicBezTo>
                  <a:pt x="17687" y="8531"/>
                  <a:pt x="17687" y="8531"/>
                  <a:pt x="17687" y="8531"/>
                </a:cubicBezTo>
                <a:cubicBezTo>
                  <a:pt x="17687" y="8531"/>
                  <a:pt x="17687" y="8531"/>
                  <a:pt x="17687" y="8531"/>
                </a:cubicBezTo>
                <a:cubicBezTo>
                  <a:pt x="17687" y="8500"/>
                  <a:pt x="17687" y="8500"/>
                  <a:pt x="17687" y="8500"/>
                </a:cubicBezTo>
                <a:cubicBezTo>
                  <a:pt x="17687" y="8500"/>
                  <a:pt x="17687" y="8500"/>
                  <a:pt x="17687" y="8531"/>
                </a:cubicBezTo>
                <a:close/>
                <a:moveTo>
                  <a:pt x="17687" y="11687"/>
                </a:moveTo>
                <a:cubicBezTo>
                  <a:pt x="17687" y="11687"/>
                  <a:pt x="17687" y="11687"/>
                  <a:pt x="17687" y="11687"/>
                </a:cubicBezTo>
                <a:cubicBezTo>
                  <a:pt x="17687" y="11656"/>
                  <a:pt x="17687" y="11656"/>
                  <a:pt x="17687" y="11656"/>
                </a:cubicBezTo>
                <a:cubicBezTo>
                  <a:pt x="17687" y="11656"/>
                  <a:pt x="17687" y="11656"/>
                  <a:pt x="17687" y="11687"/>
                </a:cubicBezTo>
                <a:close/>
                <a:moveTo>
                  <a:pt x="17687" y="11687"/>
                </a:moveTo>
                <a:cubicBezTo>
                  <a:pt x="17687" y="11687"/>
                  <a:pt x="17687" y="11687"/>
                  <a:pt x="17687" y="11687"/>
                </a:cubicBezTo>
                <a:cubicBezTo>
                  <a:pt x="17687" y="11687"/>
                  <a:pt x="17656" y="11687"/>
                  <a:pt x="17656" y="11687"/>
                </a:cubicBezTo>
                <a:cubicBezTo>
                  <a:pt x="17656" y="11687"/>
                  <a:pt x="17687" y="11687"/>
                  <a:pt x="17687" y="11687"/>
                </a:cubicBezTo>
                <a:close/>
                <a:moveTo>
                  <a:pt x="17687" y="11781"/>
                </a:moveTo>
                <a:cubicBezTo>
                  <a:pt x="17656" y="11781"/>
                  <a:pt x="17656" y="11781"/>
                  <a:pt x="17656" y="11781"/>
                </a:cubicBezTo>
                <a:cubicBezTo>
                  <a:pt x="17656" y="11781"/>
                  <a:pt x="17656" y="11781"/>
                  <a:pt x="17656" y="11781"/>
                </a:cubicBezTo>
                <a:cubicBezTo>
                  <a:pt x="17656" y="11781"/>
                  <a:pt x="17656" y="11750"/>
                  <a:pt x="17656" y="11750"/>
                </a:cubicBezTo>
                <a:cubicBezTo>
                  <a:pt x="17656" y="11750"/>
                  <a:pt x="17656" y="11781"/>
                  <a:pt x="17656" y="11781"/>
                </a:cubicBezTo>
                <a:cubicBezTo>
                  <a:pt x="17656" y="11781"/>
                  <a:pt x="17656" y="11781"/>
                  <a:pt x="17687" y="11781"/>
                </a:cubicBezTo>
                <a:close/>
                <a:moveTo>
                  <a:pt x="17625" y="6250"/>
                </a:moveTo>
                <a:cubicBezTo>
                  <a:pt x="17625" y="6250"/>
                  <a:pt x="17656" y="6250"/>
                  <a:pt x="17656" y="6281"/>
                </a:cubicBezTo>
                <a:cubicBezTo>
                  <a:pt x="17656" y="6250"/>
                  <a:pt x="17625" y="6250"/>
                  <a:pt x="17625" y="6250"/>
                </a:cubicBezTo>
                <a:cubicBezTo>
                  <a:pt x="17625" y="6250"/>
                  <a:pt x="17625" y="6250"/>
                  <a:pt x="17625" y="6250"/>
                </a:cubicBezTo>
                <a:cubicBezTo>
                  <a:pt x="17625" y="6219"/>
                  <a:pt x="17625" y="6219"/>
                  <a:pt x="17625" y="6219"/>
                </a:cubicBezTo>
                <a:cubicBezTo>
                  <a:pt x="17625" y="6219"/>
                  <a:pt x="17625" y="6219"/>
                  <a:pt x="17625" y="6250"/>
                </a:cubicBezTo>
                <a:close/>
                <a:moveTo>
                  <a:pt x="17625" y="6250"/>
                </a:moveTo>
                <a:cubicBezTo>
                  <a:pt x="17625" y="6281"/>
                  <a:pt x="17625" y="6281"/>
                  <a:pt x="17656" y="6312"/>
                </a:cubicBezTo>
                <a:cubicBezTo>
                  <a:pt x="17625" y="6281"/>
                  <a:pt x="17625" y="6281"/>
                  <a:pt x="17625" y="6250"/>
                </a:cubicBezTo>
                <a:cubicBezTo>
                  <a:pt x="17593" y="6250"/>
                  <a:pt x="17593" y="6219"/>
                  <a:pt x="17593" y="6219"/>
                </a:cubicBezTo>
                <a:cubicBezTo>
                  <a:pt x="17593" y="6219"/>
                  <a:pt x="17593" y="6250"/>
                  <a:pt x="17625" y="6250"/>
                </a:cubicBezTo>
                <a:close/>
                <a:moveTo>
                  <a:pt x="17625" y="8344"/>
                </a:moveTo>
                <a:cubicBezTo>
                  <a:pt x="17625" y="8344"/>
                  <a:pt x="17625" y="8344"/>
                  <a:pt x="17625" y="8344"/>
                </a:cubicBezTo>
                <a:cubicBezTo>
                  <a:pt x="17625" y="8344"/>
                  <a:pt x="17625" y="8344"/>
                  <a:pt x="17625" y="8344"/>
                </a:cubicBezTo>
                <a:cubicBezTo>
                  <a:pt x="17593" y="8344"/>
                  <a:pt x="17593" y="8344"/>
                  <a:pt x="17593" y="8344"/>
                </a:cubicBezTo>
                <a:cubicBezTo>
                  <a:pt x="17593" y="8344"/>
                  <a:pt x="17593" y="8344"/>
                  <a:pt x="17625" y="8344"/>
                </a:cubicBezTo>
                <a:close/>
                <a:moveTo>
                  <a:pt x="17593" y="10250"/>
                </a:moveTo>
                <a:cubicBezTo>
                  <a:pt x="17593" y="10250"/>
                  <a:pt x="17593" y="10250"/>
                  <a:pt x="17593" y="10250"/>
                </a:cubicBezTo>
                <a:cubicBezTo>
                  <a:pt x="17593" y="10250"/>
                  <a:pt x="17593" y="10250"/>
                  <a:pt x="17593" y="10250"/>
                </a:cubicBezTo>
                <a:cubicBezTo>
                  <a:pt x="17593" y="10250"/>
                  <a:pt x="17593" y="10250"/>
                  <a:pt x="17593" y="10250"/>
                </a:cubicBezTo>
                <a:close/>
                <a:moveTo>
                  <a:pt x="17625" y="12375"/>
                </a:moveTo>
                <a:cubicBezTo>
                  <a:pt x="17625" y="12375"/>
                  <a:pt x="17625" y="12375"/>
                  <a:pt x="17625" y="12375"/>
                </a:cubicBezTo>
                <a:cubicBezTo>
                  <a:pt x="17625" y="12375"/>
                  <a:pt x="17625" y="12375"/>
                  <a:pt x="17625" y="12375"/>
                </a:cubicBezTo>
                <a:cubicBezTo>
                  <a:pt x="17593" y="12406"/>
                  <a:pt x="17593" y="12406"/>
                  <a:pt x="17562" y="12437"/>
                </a:cubicBezTo>
                <a:cubicBezTo>
                  <a:pt x="17593" y="12406"/>
                  <a:pt x="17593" y="12406"/>
                  <a:pt x="17625" y="12375"/>
                </a:cubicBezTo>
                <a:close/>
                <a:moveTo>
                  <a:pt x="17531" y="12375"/>
                </a:moveTo>
                <a:cubicBezTo>
                  <a:pt x="17531" y="12375"/>
                  <a:pt x="17531" y="12375"/>
                  <a:pt x="17531" y="12375"/>
                </a:cubicBezTo>
                <a:cubicBezTo>
                  <a:pt x="17531" y="12375"/>
                  <a:pt x="17531" y="12375"/>
                  <a:pt x="17531" y="12375"/>
                </a:cubicBezTo>
                <a:close/>
                <a:moveTo>
                  <a:pt x="17562" y="9469"/>
                </a:moveTo>
                <a:cubicBezTo>
                  <a:pt x="17562" y="9469"/>
                  <a:pt x="17531" y="9469"/>
                  <a:pt x="17531" y="9469"/>
                </a:cubicBezTo>
                <a:cubicBezTo>
                  <a:pt x="17531" y="9469"/>
                  <a:pt x="17531" y="9500"/>
                  <a:pt x="17531" y="9500"/>
                </a:cubicBezTo>
                <a:cubicBezTo>
                  <a:pt x="17531" y="9500"/>
                  <a:pt x="17531" y="9469"/>
                  <a:pt x="17531" y="9469"/>
                </a:cubicBezTo>
                <a:cubicBezTo>
                  <a:pt x="17531" y="9469"/>
                  <a:pt x="17562" y="9469"/>
                  <a:pt x="17562" y="9469"/>
                </a:cubicBezTo>
                <a:close/>
                <a:moveTo>
                  <a:pt x="17531" y="9469"/>
                </a:moveTo>
                <a:cubicBezTo>
                  <a:pt x="17531" y="9469"/>
                  <a:pt x="17531" y="9469"/>
                  <a:pt x="17531" y="9469"/>
                </a:cubicBezTo>
                <a:cubicBezTo>
                  <a:pt x="17531" y="9469"/>
                  <a:pt x="17531" y="9469"/>
                  <a:pt x="17500" y="9469"/>
                </a:cubicBezTo>
                <a:cubicBezTo>
                  <a:pt x="17531" y="9469"/>
                  <a:pt x="17531" y="9469"/>
                  <a:pt x="17531" y="9469"/>
                </a:cubicBezTo>
                <a:close/>
                <a:moveTo>
                  <a:pt x="17500" y="10312"/>
                </a:moveTo>
                <a:cubicBezTo>
                  <a:pt x="17531" y="10312"/>
                  <a:pt x="17531" y="10312"/>
                  <a:pt x="17531" y="10312"/>
                </a:cubicBezTo>
                <a:cubicBezTo>
                  <a:pt x="17531" y="10312"/>
                  <a:pt x="17531" y="10312"/>
                  <a:pt x="17500" y="10312"/>
                </a:cubicBezTo>
                <a:close/>
                <a:moveTo>
                  <a:pt x="17500" y="13594"/>
                </a:moveTo>
                <a:cubicBezTo>
                  <a:pt x="17500" y="13594"/>
                  <a:pt x="17500" y="13594"/>
                  <a:pt x="17500" y="13594"/>
                </a:cubicBezTo>
                <a:cubicBezTo>
                  <a:pt x="17500" y="13594"/>
                  <a:pt x="17500" y="13594"/>
                  <a:pt x="17500" y="13594"/>
                </a:cubicBezTo>
                <a:cubicBezTo>
                  <a:pt x="17500" y="13594"/>
                  <a:pt x="17500" y="13594"/>
                  <a:pt x="17500" y="13594"/>
                </a:cubicBezTo>
                <a:close/>
                <a:moveTo>
                  <a:pt x="6375" y="4375"/>
                </a:moveTo>
                <a:cubicBezTo>
                  <a:pt x="6375" y="4375"/>
                  <a:pt x="6343" y="4375"/>
                  <a:pt x="6343" y="4375"/>
                </a:cubicBezTo>
                <a:cubicBezTo>
                  <a:pt x="6375" y="4344"/>
                  <a:pt x="6375" y="4344"/>
                  <a:pt x="6375" y="4344"/>
                </a:cubicBezTo>
                <a:cubicBezTo>
                  <a:pt x="6375" y="4344"/>
                  <a:pt x="6375" y="4344"/>
                  <a:pt x="6375" y="4375"/>
                </a:cubicBezTo>
                <a:cubicBezTo>
                  <a:pt x="6375" y="4375"/>
                  <a:pt x="6375" y="4375"/>
                  <a:pt x="6375" y="4375"/>
                </a:cubicBezTo>
                <a:close/>
                <a:moveTo>
                  <a:pt x="4062" y="10000"/>
                </a:moveTo>
                <a:cubicBezTo>
                  <a:pt x="4062" y="10000"/>
                  <a:pt x="4062" y="10000"/>
                  <a:pt x="4062" y="10000"/>
                </a:cubicBezTo>
                <a:cubicBezTo>
                  <a:pt x="4062" y="10000"/>
                  <a:pt x="4062" y="10000"/>
                  <a:pt x="4062" y="10000"/>
                </a:cubicBezTo>
                <a:cubicBezTo>
                  <a:pt x="4062" y="10000"/>
                  <a:pt x="4062" y="10000"/>
                  <a:pt x="4062" y="10000"/>
                </a:cubicBezTo>
                <a:close/>
                <a:moveTo>
                  <a:pt x="3562" y="12437"/>
                </a:move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ubicBezTo>
                  <a:pt x="3562" y="12437"/>
                  <a:pt x="3562" y="12437"/>
                  <a:pt x="3562" y="12437"/>
                </a:cubicBezTo>
                <a:close/>
                <a:moveTo>
                  <a:pt x="3593" y="12844"/>
                </a:moveTo>
                <a:cubicBezTo>
                  <a:pt x="3593" y="12812"/>
                  <a:pt x="3593" y="12812"/>
                  <a:pt x="3593" y="12812"/>
                </a:cubicBezTo>
                <a:cubicBezTo>
                  <a:pt x="3593" y="12812"/>
                  <a:pt x="3593" y="12812"/>
                  <a:pt x="3593" y="12844"/>
                </a:cubicBezTo>
                <a:cubicBezTo>
                  <a:pt x="3593" y="12844"/>
                  <a:pt x="3593" y="12844"/>
                  <a:pt x="3593" y="12812"/>
                </a:cubicBezTo>
                <a:cubicBezTo>
                  <a:pt x="3593" y="12844"/>
                  <a:pt x="3593" y="12844"/>
                  <a:pt x="3593" y="12844"/>
                </a:cubicBezTo>
                <a:cubicBezTo>
                  <a:pt x="3593" y="12844"/>
                  <a:pt x="3593" y="12844"/>
                  <a:pt x="3593" y="12844"/>
                </a:cubicBezTo>
                <a:close/>
                <a:moveTo>
                  <a:pt x="3593" y="12844"/>
                </a:moveTo>
                <a:cubicBezTo>
                  <a:pt x="3593" y="12844"/>
                  <a:pt x="3593" y="12844"/>
                  <a:pt x="3593" y="12844"/>
                </a:cubicBezTo>
                <a:cubicBezTo>
                  <a:pt x="3593" y="12844"/>
                  <a:pt x="3593" y="12844"/>
                  <a:pt x="3562" y="12844"/>
                </a:cubicBezTo>
                <a:cubicBezTo>
                  <a:pt x="3593" y="12844"/>
                  <a:pt x="3593" y="12844"/>
                  <a:pt x="3593" y="12844"/>
                </a:cubicBezTo>
                <a:close/>
                <a:moveTo>
                  <a:pt x="3500" y="12969"/>
                </a:moveTo>
                <a:cubicBezTo>
                  <a:pt x="3500" y="12969"/>
                  <a:pt x="3500" y="12969"/>
                  <a:pt x="3500" y="13000"/>
                </a:cubicBezTo>
                <a:cubicBezTo>
                  <a:pt x="3500" y="12969"/>
                  <a:pt x="3500" y="12969"/>
                  <a:pt x="3500" y="12969"/>
                </a:cubicBezTo>
                <a:cubicBezTo>
                  <a:pt x="3500" y="12969"/>
                  <a:pt x="3468" y="12937"/>
                  <a:pt x="3500" y="12937"/>
                </a:cubicBezTo>
                <a:cubicBezTo>
                  <a:pt x="3531" y="12937"/>
                  <a:pt x="3562" y="12875"/>
                  <a:pt x="3593" y="12875"/>
                </a:cubicBezTo>
                <a:cubicBezTo>
                  <a:pt x="3593" y="12969"/>
                  <a:pt x="3531" y="12937"/>
                  <a:pt x="3500" y="12969"/>
                </a:cubicBezTo>
                <a:close/>
                <a:moveTo>
                  <a:pt x="3625" y="12781"/>
                </a:moveTo>
                <a:cubicBezTo>
                  <a:pt x="3625" y="12781"/>
                  <a:pt x="3625" y="12781"/>
                  <a:pt x="3625" y="12781"/>
                </a:cubicBezTo>
                <a:cubicBezTo>
                  <a:pt x="3593" y="12781"/>
                  <a:pt x="3593" y="12812"/>
                  <a:pt x="3593" y="12812"/>
                </a:cubicBezTo>
                <a:cubicBezTo>
                  <a:pt x="3593" y="12812"/>
                  <a:pt x="3593" y="12781"/>
                  <a:pt x="3625" y="12781"/>
                </a:cubicBezTo>
                <a:cubicBezTo>
                  <a:pt x="3625" y="12781"/>
                  <a:pt x="3625" y="12781"/>
                  <a:pt x="3625" y="12781"/>
                </a:cubicBezTo>
                <a:close/>
                <a:moveTo>
                  <a:pt x="9375" y="17312"/>
                </a:moveTo>
                <a:cubicBezTo>
                  <a:pt x="9375" y="17312"/>
                  <a:pt x="9375" y="17312"/>
                  <a:pt x="9375" y="17312"/>
                </a:cubicBezTo>
                <a:cubicBezTo>
                  <a:pt x="9375" y="17344"/>
                  <a:pt x="9375" y="17344"/>
                  <a:pt x="9375" y="17344"/>
                </a:cubicBezTo>
                <a:cubicBezTo>
                  <a:pt x="9375" y="17344"/>
                  <a:pt x="9375" y="17312"/>
                  <a:pt x="9375" y="17312"/>
                </a:cubicBezTo>
                <a:close/>
                <a:moveTo>
                  <a:pt x="8812" y="17062"/>
                </a:moveTo>
                <a:cubicBezTo>
                  <a:pt x="8843" y="17062"/>
                  <a:pt x="8843" y="17062"/>
                  <a:pt x="8843" y="17062"/>
                </a:cubicBezTo>
                <a:cubicBezTo>
                  <a:pt x="8843" y="17062"/>
                  <a:pt x="8843" y="17062"/>
                  <a:pt x="8812" y="17062"/>
                </a:cubicBezTo>
                <a:cubicBezTo>
                  <a:pt x="8812" y="17094"/>
                  <a:pt x="8812" y="17125"/>
                  <a:pt x="8781" y="17094"/>
                </a:cubicBezTo>
                <a:cubicBezTo>
                  <a:pt x="8750" y="17094"/>
                  <a:pt x="8687" y="17094"/>
                  <a:pt x="8687" y="17000"/>
                </a:cubicBezTo>
                <a:cubicBezTo>
                  <a:pt x="8750" y="17000"/>
                  <a:pt x="8781" y="17062"/>
                  <a:pt x="8812" y="17062"/>
                </a:cubicBezTo>
                <a:close/>
                <a:moveTo>
                  <a:pt x="8656" y="17125"/>
                </a:moveTo>
                <a:cubicBezTo>
                  <a:pt x="8687" y="17094"/>
                  <a:pt x="8750" y="17125"/>
                  <a:pt x="8781" y="17187"/>
                </a:cubicBezTo>
                <a:cubicBezTo>
                  <a:pt x="8718" y="17187"/>
                  <a:pt x="8687" y="17156"/>
                  <a:pt x="8656" y="17125"/>
                </a:cubicBezTo>
                <a:close/>
                <a:moveTo>
                  <a:pt x="8843" y="17281"/>
                </a:moveTo>
                <a:cubicBezTo>
                  <a:pt x="8781" y="17312"/>
                  <a:pt x="8750" y="17312"/>
                  <a:pt x="8750" y="17250"/>
                </a:cubicBezTo>
                <a:cubicBezTo>
                  <a:pt x="8781" y="17250"/>
                  <a:pt x="8812" y="17250"/>
                  <a:pt x="8843" y="17281"/>
                </a:cubicBezTo>
                <a:cubicBezTo>
                  <a:pt x="8875" y="17312"/>
                  <a:pt x="8875" y="17312"/>
                  <a:pt x="8906" y="17312"/>
                </a:cubicBezTo>
                <a:cubicBezTo>
                  <a:pt x="8875" y="17312"/>
                  <a:pt x="8875" y="17312"/>
                  <a:pt x="8843" y="17281"/>
                </a:cubicBezTo>
                <a:close/>
                <a:moveTo>
                  <a:pt x="9156" y="17187"/>
                </a:moveTo>
                <a:cubicBezTo>
                  <a:pt x="9156" y="17187"/>
                  <a:pt x="9156" y="17187"/>
                  <a:pt x="9156" y="17187"/>
                </a:cubicBezTo>
                <a:cubicBezTo>
                  <a:pt x="9156" y="17187"/>
                  <a:pt x="9156" y="17187"/>
                  <a:pt x="9156" y="17187"/>
                </a:cubicBezTo>
                <a:cubicBezTo>
                  <a:pt x="9156" y="17187"/>
                  <a:pt x="9156" y="17187"/>
                  <a:pt x="9187" y="17219"/>
                </a:cubicBezTo>
                <a:cubicBezTo>
                  <a:pt x="9187" y="17219"/>
                  <a:pt x="9218" y="17219"/>
                  <a:pt x="9218" y="17250"/>
                </a:cubicBezTo>
                <a:cubicBezTo>
                  <a:pt x="9187" y="17250"/>
                  <a:pt x="9187" y="17250"/>
                  <a:pt x="9156" y="17250"/>
                </a:cubicBezTo>
                <a:cubicBezTo>
                  <a:pt x="9093" y="17219"/>
                  <a:pt x="9031" y="17187"/>
                  <a:pt x="8968" y="17156"/>
                </a:cubicBezTo>
                <a:cubicBezTo>
                  <a:pt x="8906" y="17156"/>
                  <a:pt x="8843" y="17156"/>
                  <a:pt x="8843" y="17094"/>
                </a:cubicBezTo>
                <a:cubicBezTo>
                  <a:pt x="8968" y="17125"/>
                  <a:pt x="9062" y="17125"/>
                  <a:pt x="9156" y="17187"/>
                </a:cubicBezTo>
                <a:close/>
                <a:moveTo>
                  <a:pt x="9125" y="14656"/>
                </a:moveTo>
                <a:cubicBezTo>
                  <a:pt x="9125" y="14656"/>
                  <a:pt x="9125" y="14656"/>
                  <a:pt x="9156" y="14656"/>
                </a:cubicBezTo>
                <a:cubicBezTo>
                  <a:pt x="9156" y="14656"/>
                  <a:pt x="9125" y="14687"/>
                  <a:pt x="9125" y="14687"/>
                </a:cubicBezTo>
                <a:cubicBezTo>
                  <a:pt x="9125" y="14656"/>
                  <a:pt x="9125" y="14656"/>
                  <a:pt x="9125" y="14656"/>
                </a:cubicBezTo>
                <a:cubicBezTo>
                  <a:pt x="9125" y="14656"/>
                  <a:pt x="9125" y="14656"/>
                  <a:pt x="9125" y="14656"/>
                </a:cubicBezTo>
                <a:close/>
                <a:moveTo>
                  <a:pt x="8437" y="12531"/>
                </a:moveTo>
                <a:cubicBezTo>
                  <a:pt x="8437" y="12562"/>
                  <a:pt x="8468" y="12562"/>
                  <a:pt x="8437" y="12594"/>
                </a:cubicBezTo>
                <a:cubicBezTo>
                  <a:pt x="8406" y="12562"/>
                  <a:pt x="8437" y="12562"/>
                  <a:pt x="8437" y="12531"/>
                </a:cubicBezTo>
                <a:close/>
                <a:moveTo>
                  <a:pt x="9593" y="12437"/>
                </a:moveTo>
                <a:cubicBezTo>
                  <a:pt x="9593" y="12406"/>
                  <a:pt x="9625" y="12406"/>
                  <a:pt x="9625" y="12375"/>
                </a:cubicBezTo>
                <a:cubicBezTo>
                  <a:pt x="9656" y="12375"/>
                  <a:pt x="9656" y="12406"/>
                  <a:pt x="9656" y="12406"/>
                </a:cubicBezTo>
                <a:cubicBezTo>
                  <a:pt x="9687" y="12437"/>
                  <a:pt x="9687" y="12437"/>
                  <a:pt x="9687" y="12469"/>
                </a:cubicBezTo>
                <a:cubicBezTo>
                  <a:pt x="9656" y="12500"/>
                  <a:pt x="9656" y="12500"/>
                  <a:pt x="9625" y="12500"/>
                </a:cubicBezTo>
                <a:cubicBezTo>
                  <a:pt x="9593" y="12469"/>
                  <a:pt x="9593" y="12469"/>
                  <a:pt x="9593" y="12437"/>
                </a:cubicBezTo>
                <a:close/>
                <a:moveTo>
                  <a:pt x="9531" y="12531"/>
                </a:moveTo>
                <a:cubicBezTo>
                  <a:pt x="9562" y="12500"/>
                  <a:pt x="9562" y="12500"/>
                  <a:pt x="9593" y="12500"/>
                </a:cubicBezTo>
                <a:cubicBezTo>
                  <a:pt x="9593" y="12500"/>
                  <a:pt x="9625" y="12500"/>
                  <a:pt x="9625" y="12531"/>
                </a:cubicBezTo>
                <a:cubicBezTo>
                  <a:pt x="9625" y="12562"/>
                  <a:pt x="9593" y="12562"/>
                  <a:pt x="9593" y="12594"/>
                </a:cubicBezTo>
                <a:cubicBezTo>
                  <a:pt x="9562" y="12594"/>
                  <a:pt x="9562" y="12594"/>
                  <a:pt x="9531" y="12594"/>
                </a:cubicBezTo>
                <a:cubicBezTo>
                  <a:pt x="9531" y="12562"/>
                  <a:pt x="9531" y="12531"/>
                  <a:pt x="9531" y="12531"/>
                </a:cubicBezTo>
                <a:close/>
                <a:moveTo>
                  <a:pt x="9468" y="12156"/>
                </a:moveTo>
                <a:cubicBezTo>
                  <a:pt x="9468" y="12156"/>
                  <a:pt x="9468" y="12187"/>
                  <a:pt x="9437" y="12187"/>
                </a:cubicBezTo>
                <a:cubicBezTo>
                  <a:pt x="9437" y="12156"/>
                  <a:pt x="9406" y="12125"/>
                  <a:pt x="9406" y="12094"/>
                </a:cubicBezTo>
                <a:cubicBezTo>
                  <a:pt x="9437" y="12125"/>
                  <a:pt x="9468" y="12094"/>
                  <a:pt x="9468" y="12156"/>
                </a:cubicBezTo>
                <a:close/>
                <a:moveTo>
                  <a:pt x="9343" y="12031"/>
                </a:moveTo>
                <a:cubicBezTo>
                  <a:pt x="9375" y="12000"/>
                  <a:pt x="9375" y="12000"/>
                  <a:pt x="9406" y="12000"/>
                </a:cubicBezTo>
                <a:cubicBezTo>
                  <a:pt x="9406" y="12000"/>
                  <a:pt x="9437" y="12000"/>
                  <a:pt x="9437" y="12031"/>
                </a:cubicBezTo>
                <a:cubicBezTo>
                  <a:pt x="9406" y="12031"/>
                  <a:pt x="9406" y="12062"/>
                  <a:pt x="9375" y="12062"/>
                </a:cubicBezTo>
                <a:cubicBezTo>
                  <a:pt x="9375" y="12062"/>
                  <a:pt x="9343" y="12062"/>
                  <a:pt x="9343" y="12031"/>
                </a:cubicBezTo>
                <a:close/>
                <a:moveTo>
                  <a:pt x="8843" y="11781"/>
                </a:moveTo>
                <a:cubicBezTo>
                  <a:pt x="8843" y="11781"/>
                  <a:pt x="8843" y="11781"/>
                  <a:pt x="8843" y="11781"/>
                </a:cubicBezTo>
                <a:cubicBezTo>
                  <a:pt x="8812" y="11781"/>
                  <a:pt x="8812" y="11812"/>
                  <a:pt x="8781" y="11844"/>
                </a:cubicBezTo>
                <a:cubicBezTo>
                  <a:pt x="8750" y="11812"/>
                  <a:pt x="8718" y="11781"/>
                  <a:pt x="8781" y="11750"/>
                </a:cubicBezTo>
                <a:cubicBezTo>
                  <a:pt x="8781" y="11719"/>
                  <a:pt x="8781" y="11719"/>
                  <a:pt x="8812" y="11719"/>
                </a:cubicBezTo>
                <a:cubicBezTo>
                  <a:pt x="8843" y="11719"/>
                  <a:pt x="8843" y="11750"/>
                  <a:pt x="8843" y="11781"/>
                </a:cubicBezTo>
                <a:close/>
                <a:moveTo>
                  <a:pt x="9031" y="12281"/>
                </a:moveTo>
                <a:cubicBezTo>
                  <a:pt x="9031" y="12281"/>
                  <a:pt x="9031" y="12281"/>
                  <a:pt x="9031" y="12281"/>
                </a:cubicBezTo>
                <a:cubicBezTo>
                  <a:pt x="9031" y="12281"/>
                  <a:pt x="9031" y="12281"/>
                  <a:pt x="9031" y="12281"/>
                </a:cubicBezTo>
                <a:cubicBezTo>
                  <a:pt x="9031" y="12281"/>
                  <a:pt x="9031" y="12281"/>
                  <a:pt x="9031" y="12281"/>
                </a:cubicBezTo>
                <a:close/>
                <a:moveTo>
                  <a:pt x="9312" y="11781"/>
                </a:moveTo>
                <a:cubicBezTo>
                  <a:pt x="9312" y="11812"/>
                  <a:pt x="9312" y="11812"/>
                  <a:pt x="9312" y="11844"/>
                </a:cubicBezTo>
                <a:cubicBezTo>
                  <a:pt x="9281" y="11812"/>
                  <a:pt x="9281" y="11812"/>
                  <a:pt x="9312" y="11781"/>
                </a:cubicBezTo>
                <a:close/>
                <a:moveTo>
                  <a:pt x="9218" y="10312"/>
                </a:moveTo>
                <a:cubicBezTo>
                  <a:pt x="9218" y="10281"/>
                  <a:pt x="9250" y="10250"/>
                  <a:pt x="9281" y="10250"/>
                </a:cubicBezTo>
                <a:cubicBezTo>
                  <a:pt x="9312" y="10250"/>
                  <a:pt x="9312" y="10281"/>
                  <a:pt x="9312" y="10281"/>
                </a:cubicBezTo>
                <a:cubicBezTo>
                  <a:pt x="9281" y="10312"/>
                  <a:pt x="9281" y="10344"/>
                  <a:pt x="9250" y="10375"/>
                </a:cubicBezTo>
                <a:cubicBezTo>
                  <a:pt x="9218" y="10344"/>
                  <a:pt x="9218" y="10344"/>
                  <a:pt x="9218" y="10312"/>
                </a:cubicBezTo>
                <a:close/>
                <a:moveTo>
                  <a:pt x="9156" y="10406"/>
                </a:moveTo>
                <a:cubicBezTo>
                  <a:pt x="9156" y="10375"/>
                  <a:pt x="9156" y="10375"/>
                  <a:pt x="9187" y="10375"/>
                </a:cubicBezTo>
                <a:cubicBezTo>
                  <a:pt x="9218" y="10375"/>
                  <a:pt x="9218" y="10375"/>
                  <a:pt x="9218" y="10406"/>
                </a:cubicBezTo>
                <a:cubicBezTo>
                  <a:pt x="9218" y="10437"/>
                  <a:pt x="9218" y="10437"/>
                  <a:pt x="9187" y="10437"/>
                </a:cubicBezTo>
                <a:cubicBezTo>
                  <a:pt x="9156" y="10469"/>
                  <a:pt x="9156" y="10437"/>
                  <a:pt x="9156" y="10406"/>
                </a:cubicBezTo>
                <a:close/>
                <a:moveTo>
                  <a:pt x="9218" y="11875"/>
                </a:moveTo>
                <a:cubicBezTo>
                  <a:pt x="9218" y="11875"/>
                  <a:pt x="9218" y="11875"/>
                  <a:pt x="9218" y="11875"/>
                </a:cubicBezTo>
                <a:cubicBezTo>
                  <a:pt x="9218" y="11875"/>
                  <a:pt x="9218" y="11875"/>
                  <a:pt x="9218" y="11875"/>
                </a:cubicBezTo>
                <a:cubicBezTo>
                  <a:pt x="9218" y="11875"/>
                  <a:pt x="9218" y="11875"/>
                  <a:pt x="9218" y="11875"/>
                </a:cubicBezTo>
                <a:cubicBezTo>
                  <a:pt x="9218" y="11906"/>
                  <a:pt x="9187" y="11937"/>
                  <a:pt x="9156" y="11937"/>
                </a:cubicBezTo>
                <a:cubicBezTo>
                  <a:pt x="9093" y="12000"/>
                  <a:pt x="9093" y="12031"/>
                  <a:pt x="9156" y="12094"/>
                </a:cubicBezTo>
                <a:cubicBezTo>
                  <a:pt x="9156" y="12094"/>
                  <a:pt x="9156" y="12125"/>
                  <a:pt x="9187" y="12094"/>
                </a:cubicBezTo>
                <a:cubicBezTo>
                  <a:pt x="9187" y="12062"/>
                  <a:pt x="9187" y="12062"/>
                  <a:pt x="9156" y="12062"/>
                </a:cubicBezTo>
                <a:cubicBezTo>
                  <a:pt x="9093" y="12031"/>
                  <a:pt x="9156" y="12000"/>
                  <a:pt x="9187" y="11969"/>
                </a:cubicBezTo>
                <a:cubicBezTo>
                  <a:pt x="9187" y="11969"/>
                  <a:pt x="9218" y="11937"/>
                  <a:pt x="9250" y="11937"/>
                </a:cubicBezTo>
                <a:cubicBezTo>
                  <a:pt x="9281" y="12000"/>
                  <a:pt x="9281" y="12062"/>
                  <a:pt x="9312" y="12125"/>
                </a:cubicBezTo>
                <a:cubicBezTo>
                  <a:pt x="9250" y="12125"/>
                  <a:pt x="9218" y="12156"/>
                  <a:pt x="9187" y="12219"/>
                </a:cubicBezTo>
                <a:cubicBezTo>
                  <a:pt x="9187" y="12219"/>
                  <a:pt x="9187" y="12219"/>
                  <a:pt x="9187" y="12219"/>
                </a:cubicBezTo>
                <a:cubicBezTo>
                  <a:pt x="9187" y="12219"/>
                  <a:pt x="9187" y="12219"/>
                  <a:pt x="9156" y="12219"/>
                </a:cubicBezTo>
                <a:cubicBezTo>
                  <a:pt x="9156" y="12187"/>
                  <a:pt x="9156" y="12156"/>
                  <a:pt x="9125" y="12156"/>
                </a:cubicBezTo>
                <a:cubicBezTo>
                  <a:pt x="9125" y="12125"/>
                  <a:pt x="9093" y="12125"/>
                  <a:pt x="9062" y="12156"/>
                </a:cubicBezTo>
                <a:cubicBezTo>
                  <a:pt x="9062" y="12156"/>
                  <a:pt x="9000" y="12125"/>
                  <a:pt x="9031" y="12094"/>
                </a:cubicBezTo>
                <a:cubicBezTo>
                  <a:pt x="9093" y="12062"/>
                  <a:pt x="8968" y="11969"/>
                  <a:pt x="9062" y="11937"/>
                </a:cubicBezTo>
                <a:cubicBezTo>
                  <a:pt x="9093" y="11906"/>
                  <a:pt x="9125" y="11906"/>
                  <a:pt x="9125" y="11875"/>
                </a:cubicBezTo>
                <a:cubicBezTo>
                  <a:pt x="9125" y="11844"/>
                  <a:pt x="9187" y="11875"/>
                  <a:pt x="9218" y="11875"/>
                </a:cubicBezTo>
                <a:close/>
                <a:moveTo>
                  <a:pt x="9062" y="11406"/>
                </a:moveTo>
                <a:cubicBezTo>
                  <a:pt x="9062" y="11437"/>
                  <a:pt x="9093" y="11469"/>
                  <a:pt x="9062" y="11500"/>
                </a:cubicBezTo>
                <a:cubicBezTo>
                  <a:pt x="9062" y="11469"/>
                  <a:pt x="9031" y="11437"/>
                  <a:pt x="9062" y="11406"/>
                </a:cubicBezTo>
                <a:close/>
                <a:moveTo>
                  <a:pt x="9031" y="10219"/>
                </a:moveTo>
                <a:cubicBezTo>
                  <a:pt x="9031" y="10219"/>
                  <a:pt x="9031" y="10219"/>
                  <a:pt x="9031" y="10250"/>
                </a:cubicBezTo>
                <a:cubicBezTo>
                  <a:pt x="9031" y="10250"/>
                  <a:pt x="9031" y="10250"/>
                  <a:pt x="9000" y="10250"/>
                </a:cubicBezTo>
                <a:cubicBezTo>
                  <a:pt x="9000" y="10250"/>
                  <a:pt x="9000" y="10250"/>
                  <a:pt x="9000" y="10219"/>
                </a:cubicBezTo>
                <a:cubicBezTo>
                  <a:pt x="9000" y="10219"/>
                  <a:pt x="9000" y="10219"/>
                  <a:pt x="9031" y="10219"/>
                </a:cubicBezTo>
                <a:close/>
                <a:moveTo>
                  <a:pt x="8718" y="11406"/>
                </a:moveTo>
                <a:cubicBezTo>
                  <a:pt x="8750" y="11406"/>
                  <a:pt x="8781" y="11375"/>
                  <a:pt x="8781" y="11375"/>
                </a:cubicBezTo>
                <a:cubicBezTo>
                  <a:pt x="8812" y="11312"/>
                  <a:pt x="8812" y="11281"/>
                  <a:pt x="8781" y="11281"/>
                </a:cubicBezTo>
                <a:cubicBezTo>
                  <a:pt x="8750" y="11250"/>
                  <a:pt x="8750" y="11250"/>
                  <a:pt x="8750" y="11219"/>
                </a:cubicBezTo>
                <a:cubicBezTo>
                  <a:pt x="8781" y="11219"/>
                  <a:pt x="8812" y="11187"/>
                  <a:pt x="8781" y="11156"/>
                </a:cubicBezTo>
                <a:cubicBezTo>
                  <a:pt x="8781" y="11125"/>
                  <a:pt x="8781" y="11094"/>
                  <a:pt x="8812" y="11125"/>
                </a:cubicBezTo>
                <a:cubicBezTo>
                  <a:pt x="8843" y="11156"/>
                  <a:pt x="8906" y="11125"/>
                  <a:pt x="8906" y="11156"/>
                </a:cubicBezTo>
                <a:cubicBezTo>
                  <a:pt x="8937" y="11156"/>
                  <a:pt x="8937" y="11125"/>
                  <a:pt x="8937" y="11125"/>
                </a:cubicBezTo>
                <a:cubicBezTo>
                  <a:pt x="8937" y="11125"/>
                  <a:pt x="8937" y="11156"/>
                  <a:pt x="8906" y="11156"/>
                </a:cubicBezTo>
                <a:cubicBezTo>
                  <a:pt x="8968" y="11187"/>
                  <a:pt x="8906" y="11250"/>
                  <a:pt x="8968" y="11250"/>
                </a:cubicBezTo>
                <a:cubicBezTo>
                  <a:pt x="9000" y="11250"/>
                  <a:pt x="9000" y="11250"/>
                  <a:pt x="9000" y="11250"/>
                </a:cubicBezTo>
                <a:cubicBezTo>
                  <a:pt x="9000" y="11250"/>
                  <a:pt x="9000" y="11250"/>
                  <a:pt x="8968" y="11250"/>
                </a:cubicBezTo>
                <a:cubicBezTo>
                  <a:pt x="9000" y="11281"/>
                  <a:pt x="9000" y="11312"/>
                  <a:pt x="9000" y="11312"/>
                </a:cubicBezTo>
                <a:cubicBezTo>
                  <a:pt x="9000" y="11375"/>
                  <a:pt x="9000" y="11437"/>
                  <a:pt x="9062" y="11500"/>
                </a:cubicBezTo>
                <a:cubicBezTo>
                  <a:pt x="9062" y="11500"/>
                  <a:pt x="9062" y="11500"/>
                  <a:pt x="9062" y="11500"/>
                </a:cubicBezTo>
                <a:cubicBezTo>
                  <a:pt x="9062" y="11500"/>
                  <a:pt x="9093" y="11531"/>
                  <a:pt x="9093" y="11531"/>
                </a:cubicBezTo>
                <a:cubicBezTo>
                  <a:pt x="9125" y="11500"/>
                  <a:pt x="9125" y="11500"/>
                  <a:pt x="9125" y="11469"/>
                </a:cubicBezTo>
                <a:cubicBezTo>
                  <a:pt x="9125" y="11500"/>
                  <a:pt x="9125" y="11500"/>
                  <a:pt x="9093" y="11531"/>
                </a:cubicBezTo>
                <a:cubicBezTo>
                  <a:pt x="9125" y="11562"/>
                  <a:pt x="9125" y="11594"/>
                  <a:pt x="9125" y="11625"/>
                </a:cubicBezTo>
                <a:cubicBezTo>
                  <a:pt x="9125" y="11625"/>
                  <a:pt x="9125" y="11625"/>
                  <a:pt x="9125" y="11625"/>
                </a:cubicBezTo>
                <a:cubicBezTo>
                  <a:pt x="9062" y="11594"/>
                  <a:pt x="9000" y="11625"/>
                  <a:pt x="8968" y="11656"/>
                </a:cubicBezTo>
                <a:cubicBezTo>
                  <a:pt x="8937" y="11656"/>
                  <a:pt x="8937" y="11687"/>
                  <a:pt x="8937" y="11687"/>
                </a:cubicBezTo>
                <a:cubicBezTo>
                  <a:pt x="8906" y="11687"/>
                  <a:pt x="8875" y="11719"/>
                  <a:pt x="8843" y="11687"/>
                </a:cubicBezTo>
                <a:cubicBezTo>
                  <a:pt x="8843" y="11656"/>
                  <a:pt x="8843" y="11625"/>
                  <a:pt x="8875" y="11625"/>
                </a:cubicBezTo>
                <a:cubicBezTo>
                  <a:pt x="8875" y="11594"/>
                  <a:pt x="8906" y="11594"/>
                  <a:pt x="8906" y="11594"/>
                </a:cubicBezTo>
                <a:cubicBezTo>
                  <a:pt x="8906" y="11594"/>
                  <a:pt x="8937" y="11562"/>
                  <a:pt x="8937" y="11562"/>
                </a:cubicBezTo>
                <a:cubicBezTo>
                  <a:pt x="8906" y="11531"/>
                  <a:pt x="8906" y="11531"/>
                  <a:pt x="8875" y="11562"/>
                </a:cubicBezTo>
                <a:cubicBezTo>
                  <a:pt x="8843" y="11594"/>
                  <a:pt x="8812" y="11562"/>
                  <a:pt x="8781" y="11531"/>
                </a:cubicBezTo>
                <a:cubicBezTo>
                  <a:pt x="8781" y="11500"/>
                  <a:pt x="8781" y="11469"/>
                  <a:pt x="8750" y="11500"/>
                </a:cubicBezTo>
                <a:cubicBezTo>
                  <a:pt x="8718" y="11531"/>
                  <a:pt x="8718" y="11562"/>
                  <a:pt x="8687" y="11500"/>
                </a:cubicBezTo>
                <a:cubicBezTo>
                  <a:pt x="8656" y="11469"/>
                  <a:pt x="8687" y="11437"/>
                  <a:pt x="8718" y="11406"/>
                </a:cubicBezTo>
                <a:close/>
                <a:moveTo>
                  <a:pt x="8687" y="11156"/>
                </a:moveTo>
                <a:cubicBezTo>
                  <a:pt x="8687" y="11156"/>
                  <a:pt x="8687" y="11156"/>
                  <a:pt x="8687" y="11156"/>
                </a:cubicBezTo>
                <a:cubicBezTo>
                  <a:pt x="8656" y="11156"/>
                  <a:pt x="8656" y="11156"/>
                  <a:pt x="8656" y="11187"/>
                </a:cubicBezTo>
                <a:cubicBezTo>
                  <a:pt x="8656" y="11156"/>
                  <a:pt x="8656" y="11156"/>
                  <a:pt x="8687" y="11156"/>
                </a:cubicBezTo>
                <a:close/>
                <a:moveTo>
                  <a:pt x="8593" y="11656"/>
                </a:moveTo>
                <a:cubicBezTo>
                  <a:pt x="8593" y="11594"/>
                  <a:pt x="8593" y="11562"/>
                  <a:pt x="8656" y="11531"/>
                </a:cubicBezTo>
                <a:cubicBezTo>
                  <a:pt x="8656" y="11562"/>
                  <a:pt x="8687" y="11562"/>
                  <a:pt x="8656" y="11594"/>
                </a:cubicBezTo>
                <a:cubicBezTo>
                  <a:pt x="8625" y="11594"/>
                  <a:pt x="8625" y="11594"/>
                  <a:pt x="8656" y="11625"/>
                </a:cubicBezTo>
                <a:cubicBezTo>
                  <a:pt x="8656" y="11625"/>
                  <a:pt x="8687" y="11625"/>
                  <a:pt x="8687" y="11625"/>
                </a:cubicBezTo>
                <a:cubicBezTo>
                  <a:pt x="8687" y="11625"/>
                  <a:pt x="8718" y="11625"/>
                  <a:pt x="8718" y="11594"/>
                </a:cubicBezTo>
                <a:cubicBezTo>
                  <a:pt x="8750" y="11562"/>
                  <a:pt x="8781" y="11562"/>
                  <a:pt x="8812" y="11594"/>
                </a:cubicBezTo>
                <a:cubicBezTo>
                  <a:pt x="8843" y="11625"/>
                  <a:pt x="8781" y="11656"/>
                  <a:pt x="8781" y="11656"/>
                </a:cubicBezTo>
                <a:cubicBezTo>
                  <a:pt x="8718" y="11687"/>
                  <a:pt x="8718" y="11719"/>
                  <a:pt x="8718" y="11750"/>
                </a:cubicBezTo>
                <a:cubicBezTo>
                  <a:pt x="8718" y="11750"/>
                  <a:pt x="8718" y="11750"/>
                  <a:pt x="8718" y="11750"/>
                </a:cubicBezTo>
                <a:cubicBezTo>
                  <a:pt x="8687" y="11781"/>
                  <a:pt x="8687" y="11812"/>
                  <a:pt x="8656" y="11844"/>
                </a:cubicBezTo>
                <a:cubicBezTo>
                  <a:pt x="8656" y="11844"/>
                  <a:pt x="8656" y="11844"/>
                  <a:pt x="8656" y="11844"/>
                </a:cubicBezTo>
                <a:cubicBezTo>
                  <a:pt x="8656" y="11844"/>
                  <a:pt x="8656" y="11844"/>
                  <a:pt x="8656" y="11844"/>
                </a:cubicBezTo>
                <a:cubicBezTo>
                  <a:pt x="8625" y="11812"/>
                  <a:pt x="8625" y="11812"/>
                  <a:pt x="8593" y="11812"/>
                </a:cubicBezTo>
                <a:cubicBezTo>
                  <a:pt x="8593" y="11812"/>
                  <a:pt x="8593" y="11781"/>
                  <a:pt x="8593" y="11781"/>
                </a:cubicBezTo>
                <a:cubicBezTo>
                  <a:pt x="8593" y="11781"/>
                  <a:pt x="8593" y="11781"/>
                  <a:pt x="8593" y="11781"/>
                </a:cubicBezTo>
                <a:cubicBezTo>
                  <a:pt x="8593" y="11781"/>
                  <a:pt x="8593" y="11781"/>
                  <a:pt x="8593" y="11781"/>
                </a:cubicBezTo>
                <a:cubicBezTo>
                  <a:pt x="8625" y="11750"/>
                  <a:pt x="8593" y="11750"/>
                  <a:pt x="8625" y="11719"/>
                </a:cubicBezTo>
                <a:cubicBezTo>
                  <a:pt x="8656" y="11719"/>
                  <a:pt x="8656" y="11687"/>
                  <a:pt x="8656" y="11656"/>
                </a:cubicBezTo>
                <a:cubicBezTo>
                  <a:pt x="8656" y="11625"/>
                  <a:pt x="8625" y="11656"/>
                  <a:pt x="8593" y="11656"/>
                </a:cubicBezTo>
                <a:cubicBezTo>
                  <a:pt x="8593" y="11656"/>
                  <a:pt x="8593" y="11656"/>
                  <a:pt x="8593" y="11656"/>
                </a:cubicBezTo>
                <a:close/>
                <a:moveTo>
                  <a:pt x="8500" y="12187"/>
                </a:moveTo>
                <a:cubicBezTo>
                  <a:pt x="8500" y="12187"/>
                  <a:pt x="8500" y="12187"/>
                  <a:pt x="8500" y="12187"/>
                </a:cubicBezTo>
                <a:cubicBezTo>
                  <a:pt x="8500" y="12187"/>
                  <a:pt x="8500" y="12187"/>
                  <a:pt x="8500" y="12187"/>
                </a:cubicBezTo>
                <a:close/>
                <a:moveTo>
                  <a:pt x="8437" y="12281"/>
                </a:moveTo>
                <a:cubicBezTo>
                  <a:pt x="8437" y="12250"/>
                  <a:pt x="8437" y="12250"/>
                  <a:pt x="8437" y="12250"/>
                </a:cubicBezTo>
                <a:cubicBezTo>
                  <a:pt x="8437" y="12250"/>
                  <a:pt x="8437" y="12250"/>
                  <a:pt x="8437" y="12281"/>
                </a:cubicBezTo>
                <a:close/>
                <a:moveTo>
                  <a:pt x="9343" y="5969"/>
                </a:moveTo>
                <a:cubicBezTo>
                  <a:pt x="9343" y="6031"/>
                  <a:pt x="9343" y="6062"/>
                  <a:pt x="9281" y="6062"/>
                </a:cubicBezTo>
                <a:cubicBezTo>
                  <a:pt x="9281" y="6031"/>
                  <a:pt x="9281" y="5969"/>
                  <a:pt x="9343" y="5969"/>
                </a:cubicBezTo>
                <a:close/>
                <a:moveTo>
                  <a:pt x="8031" y="3406"/>
                </a:moveTo>
                <a:cubicBezTo>
                  <a:pt x="8031" y="3406"/>
                  <a:pt x="8062" y="3406"/>
                  <a:pt x="8062" y="3406"/>
                </a:cubicBezTo>
                <a:cubicBezTo>
                  <a:pt x="8062" y="3406"/>
                  <a:pt x="8031" y="3406"/>
                  <a:pt x="8031" y="3406"/>
                </a:cubicBezTo>
                <a:cubicBezTo>
                  <a:pt x="8031" y="3406"/>
                  <a:pt x="8031" y="3406"/>
                  <a:pt x="8031" y="3406"/>
                </a:cubicBezTo>
                <a:cubicBezTo>
                  <a:pt x="8031" y="3406"/>
                  <a:pt x="8031" y="3406"/>
                  <a:pt x="8031" y="3406"/>
                </a:cubicBezTo>
                <a:close/>
                <a:moveTo>
                  <a:pt x="7781" y="2312"/>
                </a:moveTo>
                <a:cubicBezTo>
                  <a:pt x="7812" y="2312"/>
                  <a:pt x="7812" y="2312"/>
                  <a:pt x="7812" y="2312"/>
                </a:cubicBezTo>
                <a:cubicBezTo>
                  <a:pt x="7750" y="2437"/>
                  <a:pt x="7656" y="2531"/>
                  <a:pt x="7625" y="2656"/>
                </a:cubicBezTo>
                <a:cubicBezTo>
                  <a:pt x="7625" y="2531"/>
                  <a:pt x="7718" y="2406"/>
                  <a:pt x="7781" y="2312"/>
                </a:cubicBezTo>
                <a:close/>
                <a:moveTo>
                  <a:pt x="7593" y="2500"/>
                </a:moveTo>
                <a:cubicBezTo>
                  <a:pt x="7593" y="2500"/>
                  <a:pt x="7593" y="2500"/>
                  <a:pt x="7625" y="2500"/>
                </a:cubicBezTo>
                <a:cubicBezTo>
                  <a:pt x="7593" y="2500"/>
                  <a:pt x="7593" y="2500"/>
                  <a:pt x="7593" y="2500"/>
                </a:cubicBezTo>
                <a:close/>
                <a:moveTo>
                  <a:pt x="7562" y="2500"/>
                </a:moveTo>
                <a:cubicBezTo>
                  <a:pt x="7531" y="2531"/>
                  <a:pt x="7531" y="2562"/>
                  <a:pt x="7531" y="2594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94"/>
                  <a:pt x="7562" y="2594"/>
                  <a:pt x="7562" y="2562"/>
                </a:cubicBezTo>
                <a:cubicBezTo>
                  <a:pt x="7562" y="2594"/>
                  <a:pt x="7531" y="2594"/>
                  <a:pt x="7531" y="2594"/>
                </a:cubicBezTo>
                <a:cubicBezTo>
                  <a:pt x="7531" y="2594"/>
                  <a:pt x="7531" y="2594"/>
                  <a:pt x="7531" y="2625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94"/>
                  <a:pt x="7531" y="2594"/>
                  <a:pt x="7531" y="2594"/>
                </a:cubicBezTo>
                <a:cubicBezTo>
                  <a:pt x="7531" y="2562"/>
                  <a:pt x="7531" y="2531"/>
                  <a:pt x="7562" y="2500"/>
                </a:cubicBezTo>
                <a:close/>
                <a:moveTo>
                  <a:pt x="7531" y="2437"/>
                </a:moveTo>
                <a:cubicBezTo>
                  <a:pt x="7531" y="2500"/>
                  <a:pt x="7468" y="2531"/>
                  <a:pt x="7437" y="2562"/>
                </a:cubicBezTo>
                <a:cubicBezTo>
                  <a:pt x="7406" y="2500"/>
                  <a:pt x="7500" y="2500"/>
                  <a:pt x="7531" y="2437"/>
                </a:cubicBezTo>
                <a:close/>
                <a:moveTo>
                  <a:pt x="7437" y="4750"/>
                </a:moveTo>
                <a:cubicBezTo>
                  <a:pt x="7375" y="4906"/>
                  <a:pt x="7281" y="5031"/>
                  <a:pt x="7281" y="5219"/>
                </a:cubicBezTo>
                <a:cubicBezTo>
                  <a:pt x="7312" y="5187"/>
                  <a:pt x="7343" y="5125"/>
                  <a:pt x="7343" y="5094"/>
                </a:cubicBezTo>
                <a:cubicBezTo>
                  <a:pt x="7343" y="5062"/>
                  <a:pt x="7375" y="5000"/>
                  <a:pt x="7375" y="4969"/>
                </a:cubicBezTo>
                <a:cubicBezTo>
                  <a:pt x="7406" y="4937"/>
                  <a:pt x="7406" y="4937"/>
                  <a:pt x="7406" y="4906"/>
                </a:cubicBezTo>
                <a:cubicBezTo>
                  <a:pt x="7468" y="4844"/>
                  <a:pt x="7500" y="4750"/>
                  <a:pt x="7531" y="4687"/>
                </a:cubicBezTo>
                <a:cubicBezTo>
                  <a:pt x="7500" y="4750"/>
                  <a:pt x="7468" y="4844"/>
                  <a:pt x="7406" y="4906"/>
                </a:cubicBezTo>
                <a:cubicBezTo>
                  <a:pt x="7437" y="4906"/>
                  <a:pt x="7437" y="4937"/>
                  <a:pt x="7437" y="4937"/>
                </a:cubicBezTo>
                <a:cubicBezTo>
                  <a:pt x="7406" y="5031"/>
                  <a:pt x="7343" y="5156"/>
                  <a:pt x="7312" y="5250"/>
                </a:cubicBezTo>
                <a:cubicBezTo>
                  <a:pt x="7250" y="5375"/>
                  <a:pt x="7187" y="5531"/>
                  <a:pt x="7156" y="5687"/>
                </a:cubicBezTo>
                <a:cubicBezTo>
                  <a:pt x="7125" y="5750"/>
                  <a:pt x="7093" y="5844"/>
                  <a:pt x="7093" y="5937"/>
                </a:cubicBezTo>
                <a:cubicBezTo>
                  <a:pt x="7093" y="5937"/>
                  <a:pt x="7093" y="5937"/>
                  <a:pt x="7093" y="5937"/>
                </a:cubicBezTo>
                <a:cubicBezTo>
                  <a:pt x="7031" y="5906"/>
                  <a:pt x="7062" y="5875"/>
                  <a:pt x="7062" y="5844"/>
                </a:cubicBezTo>
                <a:cubicBezTo>
                  <a:pt x="7093" y="5781"/>
                  <a:pt x="7093" y="5687"/>
                  <a:pt x="7125" y="5594"/>
                </a:cubicBezTo>
                <a:cubicBezTo>
                  <a:pt x="7187" y="5437"/>
                  <a:pt x="7218" y="5281"/>
                  <a:pt x="7250" y="5125"/>
                </a:cubicBezTo>
                <a:cubicBezTo>
                  <a:pt x="7281" y="5000"/>
                  <a:pt x="7343" y="4844"/>
                  <a:pt x="7437" y="4750"/>
                </a:cubicBezTo>
                <a:close/>
                <a:moveTo>
                  <a:pt x="7281" y="4562"/>
                </a:moveTo>
                <a:cubicBezTo>
                  <a:pt x="7281" y="4562"/>
                  <a:pt x="7281" y="4562"/>
                  <a:pt x="7281" y="4562"/>
                </a:cubicBezTo>
                <a:cubicBezTo>
                  <a:pt x="7281" y="4562"/>
                  <a:pt x="7281" y="4562"/>
                  <a:pt x="7312" y="4594"/>
                </a:cubicBezTo>
                <a:cubicBezTo>
                  <a:pt x="7281" y="4562"/>
                  <a:pt x="7281" y="4562"/>
                  <a:pt x="7281" y="4562"/>
                </a:cubicBezTo>
                <a:close/>
                <a:moveTo>
                  <a:pt x="7656" y="3719"/>
                </a:moveTo>
                <a:cubicBezTo>
                  <a:pt x="7656" y="3750"/>
                  <a:pt x="7656" y="3750"/>
                  <a:pt x="7656" y="3750"/>
                </a:cubicBezTo>
                <a:cubicBezTo>
                  <a:pt x="7687" y="3750"/>
                  <a:pt x="7687" y="3719"/>
                  <a:pt x="7687" y="3719"/>
                </a:cubicBezTo>
                <a:cubicBezTo>
                  <a:pt x="7687" y="3719"/>
                  <a:pt x="7687" y="3750"/>
                  <a:pt x="7656" y="3750"/>
                </a:cubicBezTo>
                <a:cubicBezTo>
                  <a:pt x="7656" y="3750"/>
                  <a:pt x="7656" y="3750"/>
                  <a:pt x="7656" y="3750"/>
                </a:cubicBezTo>
                <a:cubicBezTo>
                  <a:pt x="7656" y="3750"/>
                  <a:pt x="7656" y="3750"/>
                  <a:pt x="7656" y="3719"/>
                </a:cubicBezTo>
                <a:close/>
                <a:moveTo>
                  <a:pt x="7812" y="4406"/>
                </a:moveTo>
                <a:cubicBezTo>
                  <a:pt x="7812" y="4406"/>
                  <a:pt x="7812" y="4406"/>
                  <a:pt x="7812" y="4406"/>
                </a:cubicBezTo>
                <a:cubicBezTo>
                  <a:pt x="7812" y="4406"/>
                  <a:pt x="7812" y="4406"/>
                  <a:pt x="7812" y="4406"/>
                </a:cubicBezTo>
                <a:cubicBezTo>
                  <a:pt x="7781" y="4500"/>
                  <a:pt x="7687" y="4625"/>
                  <a:pt x="7656" y="4719"/>
                </a:cubicBezTo>
                <a:cubicBezTo>
                  <a:pt x="7562" y="4875"/>
                  <a:pt x="7500" y="5062"/>
                  <a:pt x="7406" y="5219"/>
                </a:cubicBezTo>
                <a:cubicBezTo>
                  <a:pt x="7343" y="5344"/>
                  <a:pt x="7312" y="5500"/>
                  <a:pt x="7250" y="5625"/>
                </a:cubicBezTo>
                <a:cubicBezTo>
                  <a:pt x="7218" y="5687"/>
                  <a:pt x="7218" y="5781"/>
                  <a:pt x="7187" y="5875"/>
                </a:cubicBezTo>
                <a:cubicBezTo>
                  <a:pt x="7156" y="5937"/>
                  <a:pt x="7156" y="6031"/>
                  <a:pt x="7125" y="6125"/>
                </a:cubicBezTo>
                <a:cubicBezTo>
                  <a:pt x="7093" y="6187"/>
                  <a:pt x="7093" y="6281"/>
                  <a:pt x="7062" y="6375"/>
                </a:cubicBezTo>
                <a:cubicBezTo>
                  <a:pt x="7031" y="6437"/>
                  <a:pt x="7000" y="6469"/>
                  <a:pt x="7000" y="6500"/>
                </a:cubicBezTo>
                <a:cubicBezTo>
                  <a:pt x="6968" y="6531"/>
                  <a:pt x="6906" y="6531"/>
                  <a:pt x="6875" y="6562"/>
                </a:cubicBezTo>
                <a:cubicBezTo>
                  <a:pt x="6875" y="6594"/>
                  <a:pt x="6875" y="6594"/>
                  <a:pt x="6875" y="6625"/>
                </a:cubicBezTo>
                <a:cubicBezTo>
                  <a:pt x="6906" y="6625"/>
                  <a:pt x="6906" y="6562"/>
                  <a:pt x="6937" y="6562"/>
                </a:cubicBezTo>
                <a:cubicBezTo>
                  <a:pt x="6968" y="6594"/>
                  <a:pt x="6937" y="6625"/>
                  <a:pt x="6906" y="6656"/>
                </a:cubicBezTo>
                <a:cubicBezTo>
                  <a:pt x="6875" y="6687"/>
                  <a:pt x="6875" y="6750"/>
                  <a:pt x="6812" y="6781"/>
                </a:cubicBezTo>
                <a:cubicBezTo>
                  <a:pt x="6781" y="6719"/>
                  <a:pt x="6875" y="6719"/>
                  <a:pt x="6843" y="6656"/>
                </a:cubicBezTo>
                <a:cubicBezTo>
                  <a:pt x="6812" y="6656"/>
                  <a:pt x="6812" y="6687"/>
                  <a:pt x="6812" y="6687"/>
                </a:cubicBezTo>
                <a:cubicBezTo>
                  <a:pt x="6812" y="6687"/>
                  <a:pt x="6812" y="6719"/>
                  <a:pt x="6781" y="6719"/>
                </a:cubicBezTo>
                <a:cubicBezTo>
                  <a:pt x="6750" y="6625"/>
                  <a:pt x="6718" y="6719"/>
                  <a:pt x="6687" y="6719"/>
                </a:cubicBezTo>
                <a:cubicBezTo>
                  <a:pt x="6687" y="6719"/>
                  <a:pt x="6687" y="6719"/>
                  <a:pt x="6687" y="6719"/>
                </a:cubicBezTo>
                <a:cubicBezTo>
                  <a:pt x="6687" y="6719"/>
                  <a:pt x="6687" y="6719"/>
                  <a:pt x="6656" y="6719"/>
                </a:cubicBezTo>
                <a:cubicBezTo>
                  <a:pt x="6687" y="6625"/>
                  <a:pt x="6781" y="6594"/>
                  <a:pt x="6843" y="6531"/>
                </a:cubicBezTo>
                <a:cubicBezTo>
                  <a:pt x="6937" y="6406"/>
                  <a:pt x="7000" y="6312"/>
                  <a:pt x="7062" y="6156"/>
                </a:cubicBezTo>
                <a:cubicBezTo>
                  <a:pt x="7125" y="6000"/>
                  <a:pt x="7156" y="5812"/>
                  <a:pt x="7218" y="5656"/>
                </a:cubicBezTo>
                <a:cubicBezTo>
                  <a:pt x="7281" y="5500"/>
                  <a:pt x="7343" y="5312"/>
                  <a:pt x="7406" y="5156"/>
                </a:cubicBezTo>
                <a:cubicBezTo>
                  <a:pt x="7500" y="4969"/>
                  <a:pt x="7562" y="4812"/>
                  <a:pt x="7656" y="4625"/>
                </a:cubicBezTo>
                <a:cubicBezTo>
                  <a:pt x="7687" y="4562"/>
                  <a:pt x="7750" y="4469"/>
                  <a:pt x="7812" y="4406"/>
                </a:cubicBezTo>
                <a:close/>
                <a:moveTo>
                  <a:pt x="7906" y="4531"/>
                </a:moveTo>
                <a:cubicBezTo>
                  <a:pt x="7906" y="4656"/>
                  <a:pt x="7812" y="4719"/>
                  <a:pt x="7781" y="4844"/>
                </a:cubicBezTo>
                <a:cubicBezTo>
                  <a:pt x="7750" y="4906"/>
                  <a:pt x="7687" y="5000"/>
                  <a:pt x="7656" y="5062"/>
                </a:cubicBezTo>
                <a:cubicBezTo>
                  <a:pt x="7656" y="5062"/>
                  <a:pt x="7625" y="5094"/>
                  <a:pt x="7625" y="5094"/>
                </a:cubicBezTo>
                <a:cubicBezTo>
                  <a:pt x="7562" y="5156"/>
                  <a:pt x="7531" y="5250"/>
                  <a:pt x="7500" y="5344"/>
                </a:cubicBezTo>
                <a:cubicBezTo>
                  <a:pt x="7531" y="5250"/>
                  <a:pt x="7562" y="5156"/>
                  <a:pt x="7625" y="5094"/>
                </a:cubicBezTo>
                <a:cubicBezTo>
                  <a:pt x="7718" y="4906"/>
                  <a:pt x="7781" y="4719"/>
                  <a:pt x="7906" y="4531"/>
                </a:cubicBezTo>
                <a:close/>
                <a:moveTo>
                  <a:pt x="7875" y="4312"/>
                </a:moveTo>
                <a:cubicBezTo>
                  <a:pt x="7875" y="4281"/>
                  <a:pt x="7906" y="4250"/>
                  <a:pt x="7906" y="4250"/>
                </a:cubicBezTo>
                <a:cubicBezTo>
                  <a:pt x="7906" y="4250"/>
                  <a:pt x="7937" y="4219"/>
                  <a:pt x="7937" y="4219"/>
                </a:cubicBezTo>
                <a:cubicBezTo>
                  <a:pt x="7937" y="4219"/>
                  <a:pt x="7906" y="4250"/>
                  <a:pt x="7906" y="4250"/>
                </a:cubicBezTo>
                <a:cubicBezTo>
                  <a:pt x="7906" y="4250"/>
                  <a:pt x="7875" y="4281"/>
                  <a:pt x="7875" y="4312"/>
                </a:cubicBezTo>
                <a:close/>
                <a:moveTo>
                  <a:pt x="7812" y="5906"/>
                </a:moveTo>
                <a:cubicBezTo>
                  <a:pt x="7781" y="6031"/>
                  <a:pt x="7812" y="6125"/>
                  <a:pt x="7750" y="6219"/>
                </a:cubicBezTo>
                <a:cubicBezTo>
                  <a:pt x="7718" y="6156"/>
                  <a:pt x="7750" y="5969"/>
                  <a:pt x="7812" y="5906"/>
                </a:cubicBezTo>
                <a:close/>
                <a:moveTo>
                  <a:pt x="7781" y="5875"/>
                </a:moveTo>
                <a:cubicBezTo>
                  <a:pt x="7781" y="5844"/>
                  <a:pt x="7781" y="5812"/>
                  <a:pt x="7781" y="5781"/>
                </a:cubicBezTo>
                <a:cubicBezTo>
                  <a:pt x="7812" y="5781"/>
                  <a:pt x="7812" y="5812"/>
                  <a:pt x="7812" y="5812"/>
                </a:cubicBezTo>
                <a:cubicBezTo>
                  <a:pt x="7812" y="5812"/>
                  <a:pt x="7812" y="5781"/>
                  <a:pt x="7812" y="5781"/>
                </a:cubicBezTo>
                <a:cubicBezTo>
                  <a:pt x="7812" y="5781"/>
                  <a:pt x="7812" y="5812"/>
                  <a:pt x="7812" y="5812"/>
                </a:cubicBezTo>
                <a:cubicBezTo>
                  <a:pt x="7812" y="5844"/>
                  <a:pt x="7812" y="5844"/>
                  <a:pt x="7812" y="5875"/>
                </a:cubicBezTo>
                <a:cubicBezTo>
                  <a:pt x="7812" y="5875"/>
                  <a:pt x="7781" y="5875"/>
                  <a:pt x="7781" y="5875"/>
                </a:cubicBezTo>
                <a:close/>
                <a:moveTo>
                  <a:pt x="7718" y="5812"/>
                </a:moveTo>
                <a:cubicBezTo>
                  <a:pt x="7781" y="5781"/>
                  <a:pt x="7718" y="5844"/>
                  <a:pt x="7750" y="5844"/>
                </a:cubicBezTo>
                <a:cubicBezTo>
                  <a:pt x="7750" y="5937"/>
                  <a:pt x="7718" y="6062"/>
                  <a:pt x="7718" y="6156"/>
                </a:cubicBezTo>
                <a:cubicBezTo>
                  <a:pt x="7687" y="6250"/>
                  <a:pt x="7687" y="6250"/>
                  <a:pt x="7781" y="6250"/>
                </a:cubicBezTo>
                <a:cubicBezTo>
                  <a:pt x="7781" y="6250"/>
                  <a:pt x="7781" y="6219"/>
                  <a:pt x="7812" y="6219"/>
                </a:cubicBezTo>
                <a:cubicBezTo>
                  <a:pt x="7812" y="6219"/>
                  <a:pt x="7812" y="6219"/>
                  <a:pt x="7812" y="6219"/>
                </a:cubicBezTo>
                <a:cubicBezTo>
                  <a:pt x="7812" y="6250"/>
                  <a:pt x="7812" y="6250"/>
                  <a:pt x="7781" y="6250"/>
                </a:cubicBezTo>
                <a:cubicBezTo>
                  <a:pt x="7718" y="6437"/>
                  <a:pt x="7625" y="6594"/>
                  <a:pt x="7562" y="6781"/>
                </a:cubicBezTo>
                <a:cubicBezTo>
                  <a:pt x="7625" y="6719"/>
                  <a:pt x="7656" y="6844"/>
                  <a:pt x="7687" y="6781"/>
                </a:cubicBezTo>
                <a:cubicBezTo>
                  <a:pt x="7718" y="6750"/>
                  <a:pt x="7750" y="6719"/>
                  <a:pt x="7718" y="6656"/>
                </a:cubicBezTo>
                <a:cubicBezTo>
                  <a:pt x="7718" y="6656"/>
                  <a:pt x="7750" y="6687"/>
                  <a:pt x="7750" y="6656"/>
                </a:cubicBezTo>
                <a:cubicBezTo>
                  <a:pt x="7750" y="6562"/>
                  <a:pt x="7812" y="6500"/>
                  <a:pt x="7843" y="6437"/>
                </a:cubicBezTo>
                <a:cubicBezTo>
                  <a:pt x="7875" y="6437"/>
                  <a:pt x="7875" y="6437"/>
                  <a:pt x="7906" y="6437"/>
                </a:cubicBezTo>
                <a:cubicBezTo>
                  <a:pt x="7875" y="6500"/>
                  <a:pt x="7875" y="6562"/>
                  <a:pt x="7843" y="6625"/>
                </a:cubicBezTo>
                <a:cubicBezTo>
                  <a:pt x="7812" y="6687"/>
                  <a:pt x="7812" y="6719"/>
                  <a:pt x="7812" y="6781"/>
                </a:cubicBezTo>
                <a:cubicBezTo>
                  <a:pt x="7843" y="6750"/>
                  <a:pt x="7843" y="6719"/>
                  <a:pt x="7843" y="6687"/>
                </a:cubicBezTo>
                <a:cubicBezTo>
                  <a:pt x="7875" y="6656"/>
                  <a:pt x="7875" y="6594"/>
                  <a:pt x="7937" y="6594"/>
                </a:cubicBezTo>
                <a:cubicBezTo>
                  <a:pt x="7937" y="6594"/>
                  <a:pt x="7937" y="6594"/>
                  <a:pt x="7937" y="6562"/>
                </a:cubicBezTo>
                <a:cubicBezTo>
                  <a:pt x="7906" y="6531"/>
                  <a:pt x="7937" y="6437"/>
                  <a:pt x="7968" y="6437"/>
                </a:cubicBezTo>
                <a:cubicBezTo>
                  <a:pt x="8000" y="6437"/>
                  <a:pt x="8031" y="6437"/>
                  <a:pt x="8000" y="6437"/>
                </a:cubicBezTo>
                <a:cubicBezTo>
                  <a:pt x="8000" y="6500"/>
                  <a:pt x="7968" y="6531"/>
                  <a:pt x="8031" y="6531"/>
                </a:cubicBezTo>
                <a:cubicBezTo>
                  <a:pt x="8031" y="6531"/>
                  <a:pt x="8031" y="6562"/>
                  <a:pt x="8031" y="6562"/>
                </a:cubicBezTo>
                <a:cubicBezTo>
                  <a:pt x="8031" y="6594"/>
                  <a:pt x="7968" y="6625"/>
                  <a:pt x="8000" y="6656"/>
                </a:cubicBezTo>
                <a:cubicBezTo>
                  <a:pt x="8031" y="6656"/>
                  <a:pt x="8031" y="6625"/>
                  <a:pt x="8062" y="6594"/>
                </a:cubicBezTo>
                <a:cubicBezTo>
                  <a:pt x="8093" y="6562"/>
                  <a:pt x="8093" y="6500"/>
                  <a:pt x="8125" y="6469"/>
                </a:cubicBezTo>
                <a:cubicBezTo>
                  <a:pt x="8125" y="6562"/>
                  <a:pt x="8062" y="6594"/>
                  <a:pt x="8062" y="6656"/>
                </a:cubicBezTo>
                <a:cubicBezTo>
                  <a:pt x="8062" y="6656"/>
                  <a:pt x="8062" y="6656"/>
                  <a:pt x="8062" y="6656"/>
                </a:cubicBezTo>
                <a:cubicBezTo>
                  <a:pt x="8031" y="6687"/>
                  <a:pt x="8031" y="6719"/>
                  <a:pt x="8031" y="6750"/>
                </a:cubicBezTo>
                <a:cubicBezTo>
                  <a:pt x="8062" y="6719"/>
                  <a:pt x="8093" y="6719"/>
                  <a:pt x="8062" y="6656"/>
                </a:cubicBezTo>
                <a:cubicBezTo>
                  <a:pt x="8125" y="6687"/>
                  <a:pt x="8125" y="6719"/>
                  <a:pt x="8093" y="6781"/>
                </a:cubicBezTo>
                <a:cubicBezTo>
                  <a:pt x="8031" y="6875"/>
                  <a:pt x="7937" y="7000"/>
                  <a:pt x="7937" y="7125"/>
                </a:cubicBezTo>
                <a:cubicBezTo>
                  <a:pt x="7937" y="7125"/>
                  <a:pt x="7906" y="7156"/>
                  <a:pt x="7906" y="7156"/>
                </a:cubicBezTo>
                <a:cubicBezTo>
                  <a:pt x="7906" y="7312"/>
                  <a:pt x="7843" y="7437"/>
                  <a:pt x="7812" y="7594"/>
                </a:cubicBezTo>
                <a:cubicBezTo>
                  <a:pt x="7781" y="7594"/>
                  <a:pt x="7781" y="7562"/>
                  <a:pt x="7750" y="7562"/>
                </a:cubicBezTo>
                <a:cubicBezTo>
                  <a:pt x="7781" y="7406"/>
                  <a:pt x="7843" y="7281"/>
                  <a:pt x="7906" y="7156"/>
                </a:cubicBezTo>
                <a:cubicBezTo>
                  <a:pt x="7906" y="7125"/>
                  <a:pt x="7906" y="7125"/>
                  <a:pt x="7906" y="7094"/>
                </a:cubicBezTo>
                <a:cubicBezTo>
                  <a:pt x="7812" y="7250"/>
                  <a:pt x="7781" y="7437"/>
                  <a:pt x="7687" y="7594"/>
                </a:cubicBezTo>
                <a:cubicBezTo>
                  <a:pt x="7687" y="7594"/>
                  <a:pt x="7656" y="7594"/>
                  <a:pt x="7656" y="7594"/>
                </a:cubicBezTo>
                <a:cubicBezTo>
                  <a:pt x="7718" y="7469"/>
                  <a:pt x="7750" y="7312"/>
                  <a:pt x="7812" y="7156"/>
                </a:cubicBezTo>
                <a:cubicBezTo>
                  <a:pt x="7687" y="7312"/>
                  <a:pt x="7656" y="7531"/>
                  <a:pt x="7562" y="7687"/>
                </a:cubicBezTo>
                <a:cubicBezTo>
                  <a:pt x="7562" y="7719"/>
                  <a:pt x="7562" y="7719"/>
                  <a:pt x="7531" y="7750"/>
                </a:cubicBezTo>
                <a:cubicBezTo>
                  <a:pt x="7562" y="7719"/>
                  <a:pt x="7562" y="7719"/>
                  <a:pt x="7562" y="7687"/>
                </a:cubicBezTo>
                <a:cubicBezTo>
                  <a:pt x="7562" y="7687"/>
                  <a:pt x="7562" y="7656"/>
                  <a:pt x="7562" y="7656"/>
                </a:cubicBezTo>
                <a:cubicBezTo>
                  <a:pt x="7562" y="7656"/>
                  <a:pt x="7562" y="7656"/>
                  <a:pt x="7562" y="7656"/>
                </a:cubicBezTo>
                <a:cubicBezTo>
                  <a:pt x="7625" y="7500"/>
                  <a:pt x="7687" y="7375"/>
                  <a:pt x="7718" y="7219"/>
                </a:cubicBezTo>
                <a:cubicBezTo>
                  <a:pt x="7750" y="7156"/>
                  <a:pt x="7781" y="7062"/>
                  <a:pt x="7812" y="7000"/>
                </a:cubicBezTo>
                <a:cubicBezTo>
                  <a:pt x="7781" y="7000"/>
                  <a:pt x="7781" y="7031"/>
                  <a:pt x="7750" y="7031"/>
                </a:cubicBezTo>
                <a:cubicBezTo>
                  <a:pt x="7718" y="7000"/>
                  <a:pt x="7781" y="6969"/>
                  <a:pt x="7750" y="6906"/>
                </a:cubicBezTo>
                <a:cubicBezTo>
                  <a:pt x="7718" y="6937"/>
                  <a:pt x="7718" y="6969"/>
                  <a:pt x="7687" y="6969"/>
                </a:cubicBezTo>
                <a:cubicBezTo>
                  <a:pt x="7687" y="6969"/>
                  <a:pt x="7687" y="6969"/>
                  <a:pt x="7687" y="6969"/>
                </a:cubicBezTo>
                <a:cubicBezTo>
                  <a:pt x="7656" y="6969"/>
                  <a:pt x="7656" y="7000"/>
                  <a:pt x="7625" y="7031"/>
                </a:cubicBezTo>
                <a:cubicBezTo>
                  <a:pt x="7593" y="7094"/>
                  <a:pt x="7593" y="7156"/>
                  <a:pt x="7531" y="7187"/>
                </a:cubicBezTo>
                <a:cubicBezTo>
                  <a:pt x="7500" y="7125"/>
                  <a:pt x="7562" y="7094"/>
                  <a:pt x="7531" y="7031"/>
                </a:cubicBezTo>
                <a:cubicBezTo>
                  <a:pt x="7500" y="7031"/>
                  <a:pt x="7531" y="7094"/>
                  <a:pt x="7500" y="7094"/>
                </a:cubicBezTo>
                <a:cubicBezTo>
                  <a:pt x="7468" y="7125"/>
                  <a:pt x="7468" y="7156"/>
                  <a:pt x="7437" y="7156"/>
                </a:cubicBezTo>
                <a:cubicBezTo>
                  <a:pt x="7468" y="7156"/>
                  <a:pt x="7468" y="7125"/>
                  <a:pt x="7500" y="7094"/>
                </a:cubicBezTo>
                <a:cubicBezTo>
                  <a:pt x="7468" y="7062"/>
                  <a:pt x="7468" y="7031"/>
                  <a:pt x="7468" y="7031"/>
                </a:cubicBezTo>
                <a:cubicBezTo>
                  <a:pt x="7468" y="7031"/>
                  <a:pt x="7468" y="7031"/>
                  <a:pt x="7468" y="7031"/>
                </a:cubicBezTo>
                <a:cubicBezTo>
                  <a:pt x="7531" y="7000"/>
                  <a:pt x="7562" y="6937"/>
                  <a:pt x="7562" y="6875"/>
                </a:cubicBezTo>
                <a:cubicBezTo>
                  <a:pt x="7593" y="6844"/>
                  <a:pt x="7531" y="6844"/>
                  <a:pt x="7531" y="6844"/>
                </a:cubicBezTo>
                <a:cubicBezTo>
                  <a:pt x="7468" y="6844"/>
                  <a:pt x="7468" y="6812"/>
                  <a:pt x="7500" y="6781"/>
                </a:cubicBezTo>
                <a:cubicBezTo>
                  <a:pt x="7531" y="6781"/>
                  <a:pt x="7531" y="6750"/>
                  <a:pt x="7531" y="6750"/>
                </a:cubicBezTo>
                <a:cubicBezTo>
                  <a:pt x="7562" y="6687"/>
                  <a:pt x="7562" y="6656"/>
                  <a:pt x="7593" y="6594"/>
                </a:cubicBezTo>
                <a:cubicBezTo>
                  <a:pt x="7656" y="6437"/>
                  <a:pt x="7656" y="6281"/>
                  <a:pt x="7656" y="6125"/>
                </a:cubicBezTo>
                <a:cubicBezTo>
                  <a:pt x="7656" y="6125"/>
                  <a:pt x="7656" y="6125"/>
                  <a:pt x="7656" y="6125"/>
                </a:cubicBezTo>
                <a:cubicBezTo>
                  <a:pt x="7656" y="6125"/>
                  <a:pt x="7656" y="6125"/>
                  <a:pt x="7656" y="6125"/>
                </a:cubicBezTo>
                <a:cubicBezTo>
                  <a:pt x="7656" y="6000"/>
                  <a:pt x="7718" y="5906"/>
                  <a:pt x="7718" y="5812"/>
                </a:cubicBezTo>
                <a:close/>
                <a:moveTo>
                  <a:pt x="7718" y="5562"/>
                </a:moveTo>
                <a:cubicBezTo>
                  <a:pt x="7718" y="5500"/>
                  <a:pt x="7750" y="5437"/>
                  <a:pt x="7781" y="5406"/>
                </a:cubicBezTo>
                <a:cubicBezTo>
                  <a:pt x="7750" y="5437"/>
                  <a:pt x="7718" y="5500"/>
                  <a:pt x="7718" y="5562"/>
                </a:cubicBezTo>
                <a:close/>
                <a:moveTo>
                  <a:pt x="7875" y="6406"/>
                </a:moveTo>
                <a:cubicBezTo>
                  <a:pt x="7906" y="6406"/>
                  <a:pt x="7906" y="6406"/>
                  <a:pt x="7906" y="6437"/>
                </a:cubicBezTo>
                <a:cubicBezTo>
                  <a:pt x="7906" y="6437"/>
                  <a:pt x="7906" y="6437"/>
                  <a:pt x="7906" y="6437"/>
                </a:cubicBezTo>
                <a:cubicBezTo>
                  <a:pt x="7906" y="6437"/>
                  <a:pt x="7906" y="6437"/>
                  <a:pt x="7875" y="6437"/>
                </a:cubicBezTo>
                <a:cubicBezTo>
                  <a:pt x="7875" y="6437"/>
                  <a:pt x="7875" y="6437"/>
                  <a:pt x="7875" y="6406"/>
                </a:cubicBezTo>
                <a:close/>
                <a:moveTo>
                  <a:pt x="8156" y="4937"/>
                </a:moveTo>
                <a:cubicBezTo>
                  <a:pt x="8218" y="4812"/>
                  <a:pt x="8281" y="4656"/>
                  <a:pt x="8343" y="4500"/>
                </a:cubicBezTo>
                <a:cubicBezTo>
                  <a:pt x="8375" y="4500"/>
                  <a:pt x="8375" y="4531"/>
                  <a:pt x="8375" y="4531"/>
                </a:cubicBezTo>
                <a:cubicBezTo>
                  <a:pt x="8312" y="4656"/>
                  <a:pt x="8281" y="4844"/>
                  <a:pt x="8156" y="4937"/>
                </a:cubicBezTo>
                <a:close/>
                <a:moveTo>
                  <a:pt x="8250" y="5312"/>
                </a:moveTo>
                <a:cubicBezTo>
                  <a:pt x="8250" y="5375"/>
                  <a:pt x="8218" y="5469"/>
                  <a:pt x="8187" y="5562"/>
                </a:cubicBezTo>
                <a:cubicBezTo>
                  <a:pt x="8187" y="5656"/>
                  <a:pt x="8156" y="5750"/>
                  <a:pt x="8125" y="5844"/>
                </a:cubicBezTo>
                <a:cubicBezTo>
                  <a:pt x="8125" y="5844"/>
                  <a:pt x="8125" y="5844"/>
                  <a:pt x="8125" y="5844"/>
                </a:cubicBezTo>
                <a:cubicBezTo>
                  <a:pt x="8125" y="5687"/>
                  <a:pt x="8156" y="5594"/>
                  <a:pt x="8187" y="5469"/>
                </a:cubicBezTo>
                <a:cubicBezTo>
                  <a:pt x="8218" y="5406"/>
                  <a:pt x="8218" y="5344"/>
                  <a:pt x="8250" y="5281"/>
                </a:cubicBezTo>
                <a:cubicBezTo>
                  <a:pt x="8250" y="5281"/>
                  <a:pt x="8250" y="5281"/>
                  <a:pt x="8250" y="5312"/>
                </a:cubicBezTo>
                <a:close/>
                <a:moveTo>
                  <a:pt x="8156" y="5187"/>
                </a:moveTo>
                <a:cubicBezTo>
                  <a:pt x="8156" y="5187"/>
                  <a:pt x="8156" y="5156"/>
                  <a:pt x="8187" y="5156"/>
                </a:cubicBezTo>
                <a:cubicBezTo>
                  <a:pt x="8187" y="5156"/>
                  <a:pt x="8187" y="5156"/>
                  <a:pt x="8187" y="5156"/>
                </a:cubicBezTo>
                <a:cubicBezTo>
                  <a:pt x="8218" y="5156"/>
                  <a:pt x="8218" y="5125"/>
                  <a:pt x="8218" y="5094"/>
                </a:cubicBezTo>
                <a:cubicBezTo>
                  <a:pt x="8218" y="5125"/>
                  <a:pt x="8218" y="5156"/>
                  <a:pt x="8187" y="5156"/>
                </a:cubicBezTo>
                <a:cubicBezTo>
                  <a:pt x="8187" y="5250"/>
                  <a:pt x="8125" y="5344"/>
                  <a:pt x="8093" y="5469"/>
                </a:cubicBezTo>
                <a:cubicBezTo>
                  <a:pt x="8093" y="5531"/>
                  <a:pt x="8093" y="5594"/>
                  <a:pt x="8062" y="5656"/>
                </a:cubicBezTo>
                <a:cubicBezTo>
                  <a:pt x="8062" y="5656"/>
                  <a:pt x="8031" y="5656"/>
                  <a:pt x="8031" y="5625"/>
                </a:cubicBezTo>
                <a:cubicBezTo>
                  <a:pt x="8062" y="5469"/>
                  <a:pt x="8093" y="5344"/>
                  <a:pt x="8156" y="5187"/>
                </a:cubicBezTo>
                <a:close/>
                <a:moveTo>
                  <a:pt x="8031" y="5156"/>
                </a:moveTo>
                <a:cubicBezTo>
                  <a:pt x="8031" y="5094"/>
                  <a:pt x="8062" y="5094"/>
                  <a:pt x="8093" y="5062"/>
                </a:cubicBezTo>
                <a:cubicBezTo>
                  <a:pt x="8093" y="5094"/>
                  <a:pt x="8093" y="5125"/>
                  <a:pt x="8031" y="5156"/>
                </a:cubicBezTo>
                <a:close/>
                <a:moveTo>
                  <a:pt x="8000" y="5062"/>
                </a:moveTo>
                <a:cubicBezTo>
                  <a:pt x="8000" y="5094"/>
                  <a:pt x="8000" y="5125"/>
                  <a:pt x="7937" y="5125"/>
                </a:cubicBezTo>
                <a:cubicBezTo>
                  <a:pt x="8000" y="5031"/>
                  <a:pt x="8062" y="4906"/>
                  <a:pt x="8125" y="4812"/>
                </a:cubicBezTo>
                <a:cubicBezTo>
                  <a:pt x="8125" y="4906"/>
                  <a:pt x="8062" y="5000"/>
                  <a:pt x="8000" y="5062"/>
                </a:cubicBezTo>
                <a:close/>
                <a:moveTo>
                  <a:pt x="7937" y="5031"/>
                </a:moveTo>
                <a:cubicBezTo>
                  <a:pt x="8031" y="4844"/>
                  <a:pt x="8093" y="4625"/>
                  <a:pt x="8218" y="4437"/>
                </a:cubicBezTo>
                <a:cubicBezTo>
                  <a:pt x="8156" y="4656"/>
                  <a:pt x="8062" y="4844"/>
                  <a:pt x="7937" y="5031"/>
                </a:cubicBezTo>
                <a:close/>
                <a:moveTo>
                  <a:pt x="7968" y="7562"/>
                </a:moveTo>
                <a:cubicBezTo>
                  <a:pt x="7968" y="7562"/>
                  <a:pt x="7968" y="7562"/>
                  <a:pt x="7968" y="7562"/>
                </a:cubicBezTo>
                <a:cubicBezTo>
                  <a:pt x="7968" y="7562"/>
                  <a:pt x="7968" y="7562"/>
                  <a:pt x="8000" y="7562"/>
                </a:cubicBezTo>
                <a:cubicBezTo>
                  <a:pt x="7937" y="7750"/>
                  <a:pt x="7843" y="7906"/>
                  <a:pt x="7750" y="8031"/>
                </a:cubicBezTo>
                <a:cubicBezTo>
                  <a:pt x="7812" y="7875"/>
                  <a:pt x="7906" y="7750"/>
                  <a:pt x="7968" y="7562"/>
                </a:cubicBezTo>
                <a:close/>
                <a:moveTo>
                  <a:pt x="7937" y="7406"/>
                </a:moveTo>
                <a:cubicBezTo>
                  <a:pt x="7937" y="7375"/>
                  <a:pt x="7937" y="7375"/>
                  <a:pt x="7937" y="7375"/>
                </a:cubicBezTo>
                <a:cubicBezTo>
                  <a:pt x="7937" y="7375"/>
                  <a:pt x="7937" y="7375"/>
                  <a:pt x="7937" y="7406"/>
                </a:cubicBezTo>
                <a:close/>
                <a:moveTo>
                  <a:pt x="7843" y="7687"/>
                </a:moveTo>
                <a:cubicBezTo>
                  <a:pt x="7843" y="7625"/>
                  <a:pt x="7843" y="7594"/>
                  <a:pt x="7875" y="7562"/>
                </a:cubicBezTo>
                <a:cubicBezTo>
                  <a:pt x="7906" y="7594"/>
                  <a:pt x="7875" y="7625"/>
                  <a:pt x="7843" y="7687"/>
                </a:cubicBezTo>
                <a:cubicBezTo>
                  <a:pt x="7843" y="7687"/>
                  <a:pt x="7843" y="7687"/>
                  <a:pt x="7843" y="7687"/>
                </a:cubicBezTo>
                <a:cubicBezTo>
                  <a:pt x="7843" y="7687"/>
                  <a:pt x="7843" y="7687"/>
                  <a:pt x="7843" y="7687"/>
                </a:cubicBezTo>
                <a:close/>
                <a:moveTo>
                  <a:pt x="7843" y="7719"/>
                </a:moveTo>
                <a:cubicBezTo>
                  <a:pt x="7843" y="7750"/>
                  <a:pt x="7812" y="7781"/>
                  <a:pt x="7781" y="7781"/>
                </a:cubicBezTo>
                <a:cubicBezTo>
                  <a:pt x="7781" y="7781"/>
                  <a:pt x="7781" y="7812"/>
                  <a:pt x="7781" y="7812"/>
                </a:cubicBezTo>
                <a:cubicBezTo>
                  <a:pt x="7781" y="7812"/>
                  <a:pt x="7781" y="7781"/>
                  <a:pt x="7781" y="7781"/>
                </a:cubicBezTo>
                <a:cubicBezTo>
                  <a:pt x="7812" y="7781"/>
                  <a:pt x="7843" y="7750"/>
                  <a:pt x="7843" y="7719"/>
                </a:cubicBezTo>
                <a:close/>
                <a:moveTo>
                  <a:pt x="7656" y="7187"/>
                </a:moveTo>
                <a:cubicBezTo>
                  <a:pt x="7656" y="7156"/>
                  <a:pt x="7687" y="7094"/>
                  <a:pt x="7687" y="7031"/>
                </a:cubicBezTo>
                <a:cubicBezTo>
                  <a:pt x="7687" y="7094"/>
                  <a:pt x="7656" y="7156"/>
                  <a:pt x="7656" y="7187"/>
                </a:cubicBezTo>
                <a:close/>
                <a:moveTo>
                  <a:pt x="7531" y="7187"/>
                </a:moveTo>
                <a:cubicBezTo>
                  <a:pt x="7531" y="7187"/>
                  <a:pt x="7531" y="7187"/>
                  <a:pt x="7531" y="7187"/>
                </a:cubicBezTo>
                <a:cubicBezTo>
                  <a:pt x="7531" y="7187"/>
                  <a:pt x="7531" y="7187"/>
                  <a:pt x="7531" y="7187"/>
                </a:cubicBezTo>
                <a:close/>
                <a:moveTo>
                  <a:pt x="7500" y="7781"/>
                </a:moveTo>
                <a:cubicBezTo>
                  <a:pt x="7500" y="7781"/>
                  <a:pt x="7500" y="7781"/>
                  <a:pt x="7500" y="7781"/>
                </a:cubicBezTo>
                <a:cubicBezTo>
                  <a:pt x="7500" y="7781"/>
                  <a:pt x="7500" y="7781"/>
                  <a:pt x="7500" y="7781"/>
                </a:cubicBezTo>
                <a:close/>
                <a:moveTo>
                  <a:pt x="7031" y="8312"/>
                </a:moveTo>
                <a:cubicBezTo>
                  <a:pt x="6843" y="8531"/>
                  <a:pt x="6656" y="8750"/>
                  <a:pt x="6437" y="8906"/>
                </a:cubicBezTo>
                <a:cubicBezTo>
                  <a:pt x="6375" y="8937"/>
                  <a:pt x="6343" y="9000"/>
                  <a:pt x="6281" y="9031"/>
                </a:cubicBezTo>
                <a:cubicBezTo>
                  <a:pt x="6281" y="9031"/>
                  <a:pt x="6281" y="9062"/>
                  <a:pt x="6281" y="9062"/>
                </a:cubicBezTo>
                <a:cubicBezTo>
                  <a:pt x="6250" y="9062"/>
                  <a:pt x="6250" y="9062"/>
                  <a:pt x="6250" y="9062"/>
                </a:cubicBezTo>
                <a:cubicBezTo>
                  <a:pt x="6250" y="9062"/>
                  <a:pt x="6250" y="9062"/>
                  <a:pt x="6250" y="9062"/>
                </a:cubicBezTo>
                <a:cubicBezTo>
                  <a:pt x="6156" y="9125"/>
                  <a:pt x="6062" y="9187"/>
                  <a:pt x="6031" y="9281"/>
                </a:cubicBezTo>
                <a:cubicBezTo>
                  <a:pt x="6093" y="9250"/>
                  <a:pt x="6156" y="9156"/>
                  <a:pt x="6250" y="9125"/>
                </a:cubicBezTo>
                <a:cubicBezTo>
                  <a:pt x="6281" y="9125"/>
                  <a:pt x="6281" y="9094"/>
                  <a:pt x="6281" y="9062"/>
                </a:cubicBezTo>
                <a:cubicBezTo>
                  <a:pt x="6312" y="9062"/>
                  <a:pt x="6312" y="9062"/>
                  <a:pt x="6312" y="9031"/>
                </a:cubicBezTo>
                <a:cubicBezTo>
                  <a:pt x="6312" y="9031"/>
                  <a:pt x="6343" y="9031"/>
                  <a:pt x="6343" y="9031"/>
                </a:cubicBezTo>
                <a:cubicBezTo>
                  <a:pt x="6343" y="9031"/>
                  <a:pt x="6312" y="9031"/>
                  <a:pt x="6312" y="9031"/>
                </a:cubicBezTo>
                <a:cubicBezTo>
                  <a:pt x="6343" y="9062"/>
                  <a:pt x="6343" y="9031"/>
                  <a:pt x="6343" y="9031"/>
                </a:cubicBezTo>
                <a:cubicBezTo>
                  <a:pt x="6406" y="9000"/>
                  <a:pt x="6406" y="9031"/>
                  <a:pt x="6375" y="9062"/>
                </a:cubicBezTo>
                <a:cubicBezTo>
                  <a:pt x="6375" y="9062"/>
                  <a:pt x="6343" y="9094"/>
                  <a:pt x="6343" y="9125"/>
                </a:cubicBezTo>
                <a:cubicBezTo>
                  <a:pt x="6312" y="9125"/>
                  <a:pt x="6312" y="9125"/>
                  <a:pt x="6312" y="9156"/>
                </a:cubicBezTo>
                <a:cubicBezTo>
                  <a:pt x="6312" y="9156"/>
                  <a:pt x="6312" y="9156"/>
                  <a:pt x="6312" y="9156"/>
                </a:cubicBezTo>
                <a:cubicBezTo>
                  <a:pt x="6218" y="9219"/>
                  <a:pt x="6156" y="9312"/>
                  <a:pt x="6093" y="9406"/>
                </a:cubicBezTo>
                <a:cubicBezTo>
                  <a:pt x="6062" y="9406"/>
                  <a:pt x="6062" y="9437"/>
                  <a:pt x="6093" y="9437"/>
                </a:cubicBezTo>
                <a:cubicBezTo>
                  <a:pt x="6093" y="9469"/>
                  <a:pt x="6125" y="9437"/>
                  <a:pt x="6125" y="9437"/>
                </a:cubicBezTo>
                <a:cubicBezTo>
                  <a:pt x="6187" y="9344"/>
                  <a:pt x="6187" y="9250"/>
                  <a:pt x="6312" y="9219"/>
                </a:cubicBezTo>
                <a:cubicBezTo>
                  <a:pt x="6312" y="9219"/>
                  <a:pt x="6312" y="9187"/>
                  <a:pt x="6312" y="9156"/>
                </a:cubicBezTo>
                <a:cubicBezTo>
                  <a:pt x="6312" y="9156"/>
                  <a:pt x="6343" y="9156"/>
                  <a:pt x="6343" y="9156"/>
                </a:cubicBezTo>
                <a:cubicBezTo>
                  <a:pt x="6406" y="9094"/>
                  <a:pt x="6468" y="9062"/>
                  <a:pt x="6531" y="8969"/>
                </a:cubicBezTo>
                <a:cubicBezTo>
                  <a:pt x="6531" y="8969"/>
                  <a:pt x="6562" y="8969"/>
                  <a:pt x="6562" y="8969"/>
                </a:cubicBezTo>
                <a:cubicBezTo>
                  <a:pt x="6562" y="8969"/>
                  <a:pt x="6562" y="8969"/>
                  <a:pt x="6562" y="9000"/>
                </a:cubicBezTo>
                <a:cubicBezTo>
                  <a:pt x="6531" y="9031"/>
                  <a:pt x="6531" y="9062"/>
                  <a:pt x="6593" y="9062"/>
                </a:cubicBezTo>
                <a:cubicBezTo>
                  <a:pt x="6593" y="9062"/>
                  <a:pt x="6625" y="9062"/>
                  <a:pt x="6625" y="9062"/>
                </a:cubicBezTo>
                <a:cubicBezTo>
                  <a:pt x="6625" y="9094"/>
                  <a:pt x="6625" y="9094"/>
                  <a:pt x="6656" y="9094"/>
                </a:cubicBezTo>
                <a:cubicBezTo>
                  <a:pt x="6687" y="9062"/>
                  <a:pt x="6687" y="9062"/>
                  <a:pt x="6687" y="9031"/>
                </a:cubicBezTo>
                <a:cubicBezTo>
                  <a:pt x="6656" y="9000"/>
                  <a:pt x="6656" y="9000"/>
                  <a:pt x="6625" y="9000"/>
                </a:cubicBezTo>
                <a:cubicBezTo>
                  <a:pt x="6625" y="8969"/>
                  <a:pt x="6593" y="9000"/>
                  <a:pt x="6593" y="9000"/>
                </a:cubicBezTo>
                <a:cubicBezTo>
                  <a:pt x="6562" y="9000"/>
                  <a:pt x="6562" y="9000"/>
                  <a:pt x="6562" y="9000"/>
                </a:cubicBezTo>
                <a:cubicBezTo>
                  <a:pt x="6562" y="8969"/>
                  <a:pt x="6562" y="8969"/>
                  <a:pt x="6562" y="8969"/>
                </a:cubicBezTo>
                <a:cubicBezTo>
                  <a:pt x="6562" y="8937"/>
                  <a:pt x="6593" y="8937"/>
                  <a:pt x="6562" y="8906"/>
                </a:cubicBezTo>
                <a:cubicBezTo>
                  <a:pt x="6562" y="8906"/>
                  <a:pt x="6562" y="8906"/>
                  <a:pt x="6562" y="8906"/>
                </a:cubicBezTo>
                <a:cubicBezTo>
                  <a:pt x="6531" y="8906"/>
                  <a:pt x="6531" y="8906"/>
                  <a:pt x="6531" y="8906"/>
                </a:cubicBezTo>
                <a:cubicBezTo>
                  <a:pt x="6531" y="8875"/>
                  <a:pt x="6562" y="8844"/>
                  <a:pt x="6593" y="8844"/>
                </a:cubicBezTo>
                <a:cubicBezTo>
                  <a:pt x="6593" y="8844"/>
                  <a:pt x="6593" y="8812"/>
                  <a:pt x="6593" y="8812"/>
                </a:cubicBezTo>
                <a:cubicBezTo>
                  <a:pt x="6593" y="8812"/>
                  <a:pt x="6593" y="8844"/>
                  <a:pt x="6593" y="8844"/>
                </a:cubicBezTo>
                <a:cubicBezTo>
                  <a:pt x="6593" y="8844"/>
                  <a:pt x="6593" y="8875"/>
                  <a:pt x="6593" y="8875"/>
                </a:cubicBezTo>
                <a:cubicBezTo>
                  <a:pt x="6625" y="8906"/>
                  <a:pt x="6656" y="8937"/>
                  <a:pt x="6656" y="8937"/>
                </a:cubicBezTo>
                <a:cubicBezTo>
                  <a:pt x="6687" y="8969"/>
                  <a:pt x="6718" y="9031"/>
                  <a:pt x="6750" y="9000"/>
                </a:cubicBezTo>
                <a:cubicBezTo>
                  <a:pt x="6812" y="8969"/>
                  <a:pt x="6843" y="8937"/>
                  <a:pt x="6875" y="8906"/>
                </a:cubicBezTo>
                <a:cubicBezTo>
                  <a:pt x="6812" y="8875"/>
                  <a:pt x="6781" y="8969"/>
                  <a:pt x="6750" y="8969"/>
                </a:cubicBezTo>
                <a:cubicBezTo>
                  <a:pt x="6750" y="8906"/>
                  <a:pt x="6812" y="8906"/>
                  <a:pt x="6781" y="8844"/>
                </a:cubicBezTo>
                <a:cubicBezTo>
                  <a:pt x="6750" y="8844"/>
                  <a:pt x="6718" y="8875"/>
                  <a:pt x="6718" y="8812"/>
                </a:cubicBezTo>
                <a:cubicBezTo>
                  <a:pt x="6687" y="8781"/>
                  <a:pt x="6656" y="8812"/>
                  <a:pt x="6656" y="8812"/>
                </a:cubicBezTo>
                <a:cubicBezTo>
                  <a:pt x="6656" y="8812"/>
                  <a:pt x="6625" y="8812"/>
                  <a:pt x="6625" y="8812"/>
                </a:cubicBezTo>
                <a:cubicBezTo>
                  <a:pt x="6656" y="8750"/>
                  <a:pt x="6687" y="8719"/>
                  <a:pt x="6750" y="8781"/>
                </a:cubicBezTo>
                <a:cubicBezTo>
                  <a:pt x="6750" y="8781"/>
                  <a:pt x="6750" y="8781"/>
                  <a:pt x="6750" y="8781"/>
                </a:cubicBezTo>
                <a:cubicBezTo>
                  <a:pt x="6781" y="8781"/>
                  <a:pt x="6812" y="8781"/>
                  <a:pt x="6812" y="8750"/>
                </a:cubicBezTo>
                <a:cubicBezTo>
                  <a:pt x="6812" y="8719"/>
                  <a:pt x="6843" y="8719"/>
                  <a:pt x="6812" y="8719"/>
                </a:cubicBezTo>
                <a:cubicBezTo>
                  <a:pt x="6781" y="8687"/>
                  <a:pt x="6781" y="8719"/>
                  <a:pt x="6750" y="8719"/>
                </a:cubicBezTo>
                <a:cubicBezTo>
                  <a:pt x="6750" y="8656"/>
                  <a:pt x="6781" y="8625"/>
                  <a:pt x="6812" y="8625"/>
                </a:cubicBezTo>
                <a:cubicBezTo>
                  <a:pt x="6906" y="8531"/>
                  <a:pt x="6968" y="8469"/>
                  <a:pt x="7062" y="8375"/>
                </a:cubicBezTo>
                <a:cubicBezTo>
                  <a:pt x="7062" y="8344"/>
                  <a:pt x="7062" y="8344"/>
                  <a:pt x="7093" y="8344"/>
                </a:cubicBezTo>
                <a:cubicBezTo>
                  <a:pt x="7093" y="8281"/>
                  <a:pt x="7125" y="8250"/>
                  <a:pt x="7187" y="8219"/>
                </a:cubicBezTo>
                <a:cubicBezTo>
                  <a:pt x="7156" y="8281"/>
                  <a:pt x="7125" y="8312"/>
                  <a:pt x="7093" y="8344"/>
                </a:cubicBezTo>
                <a:cubicBezTo>
                  <a:pt x="7031" y="8437"/>
                  <a:pt x="6968" y="8531"/>
                  <a:pt x="6875" y="8625"/>
                </a:cubicBezTo>
                <a:cubicBezTo>
                  <a:pt x="6843" y="8656"/>
                  <a:pt x="6812" y="8687"/>
                  <a:pt x="6906" y="8687"/>
                </a:cubicBezTo>
                <a:cubicBezTo>
                  <a:pt x="6906" y="8719"/>
                  <a:pt x="6875" y="8750"/>
                  <a:pt x="6906" y="8781"/>
                </a:cubicBezTo>
                <a:lnTo>
                  <a:pt x="6906" y="8781"/>
                </a:lnTo>
                <a:cubicBezTo>
                  <a:pt x="6937" y="8781"/>
                  <a:pt x="6937" y="8750"/>
                  <a:pt x="6937" y="8750"/>
                </a:cubicBezTo>
                <a:cubicBezTo>
                  <a:pt x="6968" y="8687"/>
                  <a:pt x="6937" y="8687"/>
                  <a:pt x="6906" y="8687"/>
                </a:cubicBezTo>
                <a:cubicBezTo>
                  <a:pt x="6906" y="8625"/>
                  <a:pt x="6937" y="8594"/>
                  <a:pt x="6968" y="8562"/>
                </a:cubicBezTo>
                <a:cubicBezTo>
                  <a:pt x="7062" y="8500"/>
                  <a:pt x="7125" y="8375"/>
                  <a:pt x="7218" y="8281"/>
                </a:cubicBezTo>
                <a:cubicBezTo>
                  <a:pt x="7250" y="8219"/>
                  <a:pt x="7281" y="8156"/>
                  <a:pt x="7312" y="8094"/>
                </a:cubicBezTo>
                <a:cubicBezTo>
                  <a:pt x="7281" y="8156"/>
                  <a:pt x="7250" y="8219"/>
                  <a:pt x="7218" y="8281"/>
                </a:cubicBezTo>
                <a:cubicBezTo>
                  <a:pt x="7218" y="8281"/>
                  <a:pt x="7250" y="8312"/>
                  <a:pt x="7281" y="8281"/>
                </a:cubicBezTo>
                <a:cubicBezTo>
                  <a:pt x="7281" y="8281"/>
                  <a:pt x="7312" y="8250"/>
                  <a:pt x="7312" y="8281"/>
                </a:cubicBezTo>
                <a:cubicBezTo>
                  <a:pt x="7312" y="8281"/>
                  <a:pt x="7312" y="8281"/>
                  <a:pt x="7312" y="8281"/>
                </a:cubicBezTo>
                <a:cubicBezTo>
                  <a:pt x="7312" y="8281"/>
                  <a:pt x="7312" y="8281"/>
                  <a:pt x="7312" y="8281"/>
                </a:cubicBezTo>
                <a:cubicBezTo>
                  <a:pt x="7343" y="8312"/>
                  <a:pt x="7375" y="8344"/>
                  <a:pt x="7343" y="8375"/>
                </a:cubicBezTo>
                <a:cubicBezTo>
                  <a:pt x="7343" y="8375"/>
                  <a:pt x="7375" y="8406"/>
                  <a:pt x="7375" y="8406"/>
                </a:cubicBezTo>
                <a:cubicBezTo>
                  <a:pt x="7406" y="8437"/>
                  <a:pt x="7375" y="8469"/>
                  <a:pt x="7437" y="8437"/>
                </a:cubicBezTo>
                <a:cubicBezTo>
                  <a:pt x="7468" y="8437"/>
                  <a:pt x="7468" y="8469"/>
                  <a:pt x="7468" y="8469"/>
                </a:cubicBezTo>
                <a:cubicBezTo>
                  <a:pt x="7468" y="8500"/>
                  <a:pt x="7437" y="8500"/>
                  <a:pt x="7406" y="8531"/>
                </a:cubicBezTo>
                <a:cubicBezTo>
                  <a:pt x="7375" y="8531"/>
                  <a:pt x="7406" y="8500"/>
                  <a:pt x="7375" y="8500"/>
                </a:cubicBezTo>
                <a:cubicBezTo>
                  <a:pt x="7375" y="8469"/>
                  <a:pt x="7343" y="8469"/>
                  <a:pt x="7312" y="8500"/>
                </a:cubicBezTo>
                <a:cubicBezTo>
                  <a:pt x="7281" y="8500"/>
                  <a:pt x="7250" y="8531"/>
                  <a:pt x="7250" y="8562"/>
                </a:cubicBezTo>
                <a:cubicBezTo>
                  <a:pt x="7218" y="8594"/>
                  <a:pt x="7187" y="8594"/>
                  <a:pt x="7187" y="8531"/>
                </a:cubicBezTo>
                <a:cubicBezTo>
                  <a:pt x="7156" y="8531"/>
                  <a:pt x="7125" y="8500"/>
                  <a:pt x="7156" y="8469"/>
                </a:cubicBezTo>
                <a:cubicBezTo>
                  <a:pt x="7156" y="8437"/>
                  <a:pt x="7187" y="8437"/>
                  <a:pt x="7218" y="8437"/>
                </a:cubicBezTo>
                <a:cubicBezTo>
                  <a:pt x="7218" y="8437"/>
                  <a:pt x="7218" y="8437"/>
                  <a:pt x="7218" y="8406"/>
                </a:cubicBezTo>
                <a:cubicBezTo>
                  <a:pt x="7125" y="8375"/>
                  <a:pt x="7218" y="8344"/>
                  <a:pt x="7218" y="8312"/>
                </a:cubicBezTo>
                <a:cubicBezTo>
                  <a:pt x="7281" y="8344"/>
                  <a:pt x="7218" y="8375"/>
                  <a:pt x="7250" y="8375"/>
                </a:cubicBezTo>
                <a:cubicBezTo>
                  <a:pt x="7281" y="8375"/>
                  <a:pt x="7281" y="8375"/>
                  <a:pt x="7312" y="8406"/>
                </a:cubicBezTo>
                <a:lnTo>
                  <a:pt x="7312" y="8406"/>
                </a:lnTo>
                <a:cubicBezTo>
                  <a:pt x="7343" y="8437"/>
                  <a:pt x="7343" y="8469"/>
                  <a:pt x="7312" y="8500"/>
                </a:cubicBezTo>
                <a:cubicBezTo>
                  <a:pt x="7312" y="8594"/>
                  <a:pt x="7218" y="8625"/>
                  <a:pt x="7156" y="8687"/>
                </a:cubicBezTo>
                <a:cubicBezTo>
                  <a:pt x="7093" y="8750"/>
                  <a:pt x="7031" y="8812"/>
                  <a:pt x="6968" y="8875"/>
                </a:cubicBezTo>
                <a:cubicBezTo>
                  <a:pt x="6968" y="8875"/>
                  <a:pt x="6937" y="8875"/>
                  <a:pt x="6968" y="8906"/>
                </a:cubicBezTo>
                <a:cubicBezTo>
                  <a:pt x="6937" y="8906"/>
                  <a:pt x="6937" y="8906"/>
                  <a:pt x="6937" y="8906"/>
                </a:cubicBezTo>
                <a:cubicBezTo>
                  <a:pt x="6875" y="8969"/>
                  <a:pt x="6843" y="9000"/>
                  <a:pt x="6812" y="9031"/>
                </a:cubicBezTo>
                <a:cubicBezTo>
                  <a:pt x="6718" y="9094"/>
                  <a:pt x="6656" y="9156"/>
                  <a:pt x="6593" y="9219"/>
                </a:cubicBezTo>
                <a:cubicBezTo>
                  <a:pt x="6593" y="9219"/>
                  <a:pt x="6593" y="9250"/>
                  <a:pt x="6593" y="9250"/>
                </a:cubicBezTo>
                <a:cubicBezTo>
                  <a:pt x="6500" y="9281"/>
                  <a:pt x="6375" y="9437"/>
                  <a:pt x="6375" y="9531"/>
                </a:cubicBezTo>
                <a:lnTo>
                  <a:pt x="6375" y="9531"/>
                </a:lnTo>
                <a:cubicBezTo>
                  <a:pt x="6437" y="9437"/>
                  <a:pt x="6500" y="9375"/>
                  <a:pt x="6593" y="9250"/>
                </a:cubicBezTo>
                <a:cubicBezTo>
                  <a:pt x="6687" y="9312"/>
                  <a:pt x="6562" y="9312"/>
                  <a:pt x="6562" y="9375"/>
                </a:cubicBezTo>
                <a:cubicBezTo>
                  <a:pt x="6531" y="9406"/>
                  <a:pt x="6468" y="9406"/>
                  <a:pt x="6500" y="9469"/>
                </a:cubicBezTo>
                <a:cubicBezTo>
                  <a:pt x="6500" y="9469"/>
                  <a:pt x="6531" y="9469"/>
                  <a:pt x="6531" y="9469"/>
                </a:cubicBezTo>
                <a:cubicBezTo>
                  <a:pt x="6656" y="9312"/>
                  <a:pt x="6812" y="9187"/>
                  <a:pt x="6968" y="9062"/>
                </a:cubicBezTo>
                <a:cubicBezTo>
                  <a:pt x="7000" y="9062"/>
                  <a:pt x="7000" y="9062"/>
                  <a:pt x="7000" y="9094"/>
                </a:cubicBezTo>
                <a:cubicBezTo>
                  <a:pt x="6937" y="9187"/>
                  <a:pt x="6812" y="9219"/>
                  <a:pt x="6750" y="9312"/>
                </a:cubicBezTo>
                <a:cubicBezTo>
                  <a:pt x="6750" y="9344"/>
                  <a:pt x="6750" y="9344"/>
                  <a:pt x="6718" y="9344"/>
                </a:cubicBezTo>
                <a:cubicBezTo>
                  <a:pt x="6718" y="9344"/>
                  <a:pt x="6687" y="9375"/>
                  <a:pt x="6687" y="9375"/>
                </a:cubicBezTo>
                <a:cubicBezTo>
                  <a:pt x="6593" y="9437"/>
                  <a:pt x="6562" y="9500"/>
                  <a:pt x="6531" y="9625"/>
                </a:cubicBezTo>
                <a:cubicBezTo>
                  <a:pt x="6593" y="9531"/>
                  <a:pt x="6625" y="9437"/>
                  <a:pt x="6718" y="9375"/>
                </a:cubicBezTo>
                <a:cubicBezTo>
                  <a:pt x="6718" y="9375"/>
                  <a:pt x="6718" y="9375"/>
                  <a:pt x="6718" y="9344"/>
                </a:cubicBezTo>
                <a:cubicBezTo>
                  <a:pt x="6750" y="9344"/>
                  <a:pt x="6781" y="9344"/>
                  <a:pt x="6781" y="9344"/>
                </a:cubicBezTo>
                <a:cubicBezTo>
                  <a:pt x="6750" y="9437"/>
                  <a:pt x="6687" y="9500"/>
                  <a:pt x="6656" y="9594"/>
                </a:cubicBezTo>
                <a:cubicBezTo>
                  <a:pt x="6593" y="9687"/>
                  <a:pt x="6593" y="9812"/>
                  <a:pt x="6593" y="9937"/>
                </a:cubicBezTo>
                <a:cubicBezTo>
                  <a:pt x="6593" y="9969"/>
                  <a:pt x="6593" y="9969"/>
                  <a:pt x="6593" y="10000"/>
                </a:cubicBezTo>
                <a:cubicBezTo>
                  <a:pt x="6593" y="10031"/>
                  <a:pt x="6593" y="10031"/>
                  <a:pt x="6531" y="10000"/>
                </a:cubicBezTo>
                <a:cubicBezTo>
                  <a:pt x="6562" y="10125"/>
                  <a:pt x="6593" y="10250"/>
                  <a:pt x="6656" y="10375"/>
                </a:cubicBezTo>
                <a:cubicBezTo>
                  <a:pt x="6656" y="10375"/>
                  <a:pt x="6656" y="10375"/>
                  <a:pt x="6687" y="10344"/>
                </a:cubicBezTo>
                <a:cubicBezTo>
                  <a:pt x="6687" y="10344"/>
                  <a:pt x="6687" y="10344"/>
                  <a:pt x="6687" y="10375"/>
                </a:cubicBezTo>
                <a:cubicBezTo>
                  <a:pt x="6687" y="10375"/>
                  <a:pt x="6687" y="10375"/>
                  <a:pt x="6687" y="10375"/>
                </a:cubicBezTo>
                <a:cubicBezTo>
                  <a:pt x="6656" y="10469"/>
                  <a:pt x="6718" y="10562"/>
                  <a:pt x="6750" y="10625"/>
                </a:cubicBezTo>
                <a:cubicBezTo>
                  <a:pt x="6781" y="10687"/>
                  <a:pt x="6812" y="10750"/>
                  <a:pt x="6812" y="10781"/>
                </a:cubicBezTo>
                <a:cubicBezTo>
                  <a:pt x="6812" y="10781"/>
                  <a:pt x="6812" y="10781"/>
                  <a:pt x="6843" y="10781"/>
                </a:cubicBezTo>
                <a:cubicBezTo>
                  <a:pt x="6812" y="10781"/>
                  <a:pt x="6812" y="10781"/>
                  <a:pt x="6812" y="10781"/>
                </a:cubicBezTo>
                <a:cubicBezTo>
                  <a:pt x="6812" y="10781"/>
                  <a:pt x="6812" y="10781"/>
                  <a:pt x="6812" y="10812"/>
                </a:cubicBezTo>
                <a:cubicBezTo>
                  <a:pt x="6750" y="10719"/>
                  <a:pt x="6718" y="10656"/>
                  <a:pt x="6687" y="10562"/>
                </a:cubicBezTo>
                <a:cubicBezTo>
                  <a:pt x="6656" y="10500"/>
                  <a:pt x="6625" y="10406"/>
                  <a:pt x="6562" y="10375"/>
                </a:cubicBezTo>
                <a:cubicBezTo>
                  <a:pt x="6562" y="10312"/>
                  <a:pt x="6562" y="10281"/>
                  <a:pt x="6531" y="10250"/>
                </a:cubicBezTo>
                <a:cubicBezTo>
                  <a:pt x="6531" y="10125"/>
                  <a:pt x="6500" y="10031"/>
                  <a:pt x="6500" y="9906"/>
                </a:cubicBezTo>
                <a:cubicBezTo>
                  <a:pt x="6500" y="9812"/>
                  <a:pt x="6500" y="9719"/>
                  <a:pt x="6531" y="9625"/>
                </a:cubicBezTo>
                <a:cubicBezTo>
                  <a:pt x="6468" y="9750"/>
                  <a:pt x="6437" y="9875"/>
                  <a:pt x="6468" y="10000"/>
                </a:cubicBezTo>
                <a:cubicBezTo>
                  <a:pt x="6468" y="10031"/>
                  <a:pt x="6500" y="10094"/>
                  <a:pt x="6437" y="10125"/>
                </a:cubicBezTo>
                <a:cubicBezTo>
                  <a:pt x="6437" y="10156"/>
                  <a:pt x="6437" y="10156"/>
                  <a:pt x="6437" y="10156"/>
                </a:cubicBezTo>
                <a:cubicBezTo>
                  <a:pt x="6437" y="10156"/>
                  <a:pt x="6437" y="10156"/>
                  <a:pt x="6437" y="10125"/>
                </a:cubicBezTo>
                <a:cubicBezTo>
                  <a:pt x="6437" y="10125"/>
                  <a:pt x="6437" y="10125"/>
                  <a:pt x="6437" y="10125"/>
                </a:cubicBezTo>
                <a:cubicBezTo>
                  <a:pt x="6437" y="10031"/>
                  <a:pt x="6406" y="9969"/>
                  <a:pt x="6437" y="9906"/>
                </a:cubicBezTo>
                <a:cubicBezTo>
                  <a:pt x="6437" y="9906"/>
                  <a:pt x="6406" y="9875"/>
                  <a:pt x="6406" y="9875"/>
                </a:cubicBezTo>
                <a:cubicBezTo>
                  <a:pt x="6406" y="9875"/>
                  <a:pt x="6406" y="9875"/>
                  <a:pt x="6406" y="9875"/>
                </a:cubicBezTo>
                <a:cubicBezTo>
                  <a:pt x="6406" y="9906"/>
                  <a:pt x="6437" y="9969"/>
                  <a:pt x="6375" y="9969"/>
                </a:cubicBezTo>
                <a:cubicBezTo>
                  <a:pt x="6375" y="10062"/>
                  <a:pt x="6343" y="10187"/>
                  <a:pt x="6375" y="10250"/>
                </a:cubicBezTo>
                <a:cubicBezTo>
                  <a:pt x="6406" y="10250"/>
                  <a:pt x="6406" y="10219"/>
                  <a:pt x="6375" y="10219"/>
                </a:cubicBezTo>
                <a:cubicBezTo>
                  <a:pt x="6406" y="10219"/>
                  <a:pt x="6406" y="10250"/>
                  <a:pt x="6375" y="10250"/>
                </a:cubicBezTo>
                <a:cubicBezTo>
                  <a:pt x="6406" y="10312"/>
                  <a:pt x="6406" y="10344"/>
                  <a:pt x="6406" y="10406"/>
                </a:cubicBezTo>
                <a:cubicBezTo>
                  <a:pt x="6406" y="10406"/>
                  <a:pt x="6406" y="10406"/>
                  <a:pt x="6406" y="10406"/>
                </a:cubicBezTo>
                <a:cubicBezTo>
                  <a:pt x="6406" y="10406"/>
                  <a:pt x="6437" y="10406"/>
                  <a:pt x="6437" y="10406"/>
                </a:cubicBezTo>
                <a:cubicBezTo>
                  <a:pt x="6437" y="10500"/>
                  <a:pt x="6468" y="10562"/>
                  <a:pt x="6468" y="10656"/>
                </a:cubicBezTo>
                <a:cubicBezTo>
                  <a:pt x="6437" y="10562"/>
                  <a:pt x="6406" y="10500"/>
                  <a:pt x="6406" y="10406"/>
                </a:cubicBezTo>
                <a:cubicBezTo>
                  <a:pt x="6406" y="10406"/>
                  <a:pt x="6406" y="10406"/>
                  <a:pt x="6406" y="10406"/>
                </a:cubicBezTo>
                <a:cubicBezTo>
                  <a:pt x="6375" y="10406"/>
                  <a:pt x="6375" y="10375"/>
                  <a:pt x="6343" y="10375"/>
                </a:cubicBezTo>
                <a:cubicBezTo>
                  <a:pt x="6343" y="10469"/>
                  <a:pt x="6406" y="10531"/>
                  <a:pt x="6406" y="10594"/>
                </a:cubicBezTo>
                <a:cubicBezTo>
                  <a:pt x="6375" y="10562"/>
                  <a:pt x="6375" y="10562"/>
                  <a:pt x="6343" y="10531"/>
                </a:cubicBezTo>
                <a:cubicBezTo>
                  <a:pt x="6312" y="10437"/>
                  <a:pt x="6312" y="10344"/>
                  <a:pt x="6312" y="10281"/>
                </a:cubicBezTo>
                <a:cubicBezTo>
                  <a:pt x="6281" y="10031"/>
                  <a:pt x="6312" y="9781"/>
                  <a:pt x="6437" y="9594"/>
                </a:cubicBezTo>
                <a:cubicBezTo>
                  <a:pt x="6468" y="9562"/>
                  <a:pt x="6500" y="9531"/>
                  <a:pt x="6500" y="9469"/>
                </a:cubicBezTo>
                <a:cubicBezTo>
                  <a:pt x="6437" y="9469"/>
                  <a:pt x="6437" y="9531"/>
                  <a:pt x="6406" y="9562"/>
                </a:cubicBezTo>
                <a:cubicBezTo>
                  <a:pt x="6343" y="9719"/>
                  <a:pt x="6250" y="9906"/>
                  <a:pt x="6250" y="10094"/>
                </a:cubicBezTo>
                <a:cubicBezTo>
                  <a:pt x="6250" y="10094"/>
                  <a:pt x="6250" y="10125"/>
                  <a:pt x="6250" y="10125"/>
                </a:cubicBezTo>
                <a:cubicBezTo>
                  <a:pt x="6250" y="10156"/>
                  <a:pt x="6250" y="10156"/>
                  <a:pt x="6250" y="10156"/>
                </a:cubicBezTo>
                <a:cubicBezTo>
                  <a:pt x="6250" y="10156"/>
                  <a:pt x="6250" y="10156"/>
                  <a:pt x="6250" y="10125"/>
                </a:cubicBezTo>
                <a:cubicBezTo>
                  <a:pt x="6218" y="10125"/>
                  <a:pt x="6218" y="10094"/>
                  <a:pt x="6250" y="10094"/>
                </a:cubicBezTo>
                <a:cubicBezTo>
                  <a:pt x="6218" y="10094"/>
                  <a:pt x="6218" y="10094"/>
                  <a:pt x="6218" y="10094"/>
                </a:cubicBezTo>
                <a:cubicBezTo>
                  <a:pt x="6218" y="10094"/>
                  <a:pt x="6218" y="10094"/>
                  <a:pt x="6250" y="10094"/>
                </a:cubicBezTo>
                <a:cubicBezTo>
                  <a:pt x="6250" y="9906"/>
                  <a:pt x="6250" y="9750"/>
                  <a:pt x="6343" y="9594"/>
                </a:cubicBezTo>
                <a:cubicBezTo>
                  <a:pt x="6281" y="9625"/>
                  <a:pt x="6281" y="9625"/>
                  <a:pt x="6281" y="9656"/>
                </a:cubicBezTo>
                <a:cubicBezTo>
                  <a:pt x="6250" y="9687"/>
                  <a:pt x="6250" y="9719"/>
                  <a:pt x="6250" y="9750"/>
                </a:cubicBezTo>
                <a:cubicBezTo>
                  <a:pt x="6250" y="9781"/>
                  <a:pt x="6250" y="9812"/>
                  <a:pt x="6187" y="9844"/>
                </a:cubicBezTo>
                <a:cubicBezTo>
                  <a:pt x="6187" y="9750"/>
                  <a:pt x="6187" y="9750"/>
                  <a:pt x="6125" y="9781"/>
                </a:cubicBezTo>
                <a:cubicBezTo>
                  <a:pt x="6093" y="9844"/>
                  <a:pt x="6062" y="9875"/>
                  <a:pt x="6031" y="9937"/>
                </a:cubicBezTo>
                <a:cubicBezTo>
                  <a:pt x="5968" y="10062"/>
                  <a:pt x="5968" y="10187"/>
                  <a:pt x="5906" y="10312"/>
                </a:cubicBezTo>
                <a:cubicBezTo>
                  <a:pt x="5875" y="10281"/>
                  <a:pt x="5875" y="10219"/>
                  <a:pt x="5875" y="10187"/>
                </a:cubicBezTo>
                <a:cubicBezTo>
                  <a:pt x="5875" y="10219"/>
                  <a:pt x="5875" y="10250"/>
                  <a:pt x="5875" y="10281"/>
                </a:cubicBezTo>
                <a:cubicBezTo>
                  <a:pt x="5812" y="10312"/>
                  <a:pt x="5843" y="10375"/>
                  <a:pt x="5843" y="10437"/>
                </a:cubicBezTo>
                <a:cubicBezTo>
                  <a:pt x="5843" y="10469"/>
                  <a:pt x="5843" y="10469"/>
                  <a:pt x="5843" y="10500"/>
                </a:cubicBezTo>
                <a:cubicBezTo>
                  <a:pt x="5843" y="10500"/>
                  <a:pt x="5843" y="10500"/>
                  <a:pt x="5843" y="10531"/>
                </a:cubicBezTo>
                <a:cubicBezTo>
                  <a:pt x="5843" y="10500"/>
                  <a:pt x="5843" y="10500"/>
                  <a:pt x="5843" y="10500"/>
                </a:cubicBezTo>
                <a:cubicBezTo>
                  <a:pt x="5843" y="10500"/>
                  <a:pt x="5812" y="10500"/>
                  <a:pt x="5812" y="10500"/>
                </a:cubicBezTo>
                <a:cubicBezTo>
                  <a:pt x="5843" y="10312"/>
                  <a:pt x="5812" y="10125"/>
                  <a:pt x="5843" y="9906"/>
                </a:cubicBezTo>
                <a:cubicBezTo>
                  <a:pt x="5843" y="9906"/>
                  <a:pt x="5843" y="9906"/>
                  <a:pt x="5812" y="9875"/>
                </a:cubicBezTo>
                <a:cubicBezTo>
                  <a:pt x="5812" y="9844"/>
                  <a:pt x="5812" y="9937"/>
                  <a:pt x="5781" y="9875"/>
                </a:cubicBezTo>
                <a:cubicBezTo>
                  <a:pt x="5781" y="9875"/>
                  <a:pt x="5750" y="9844"/>
                  <a:pt x="5718" y="9844"/>
                </a:cubicBezTo>
                <a:cubicBezTo>
                  <a:pt x="5687" y="9844"/>
                  <a:pt x="5718" y="9875"/>
                  <a:pt x="5718" y="9906"/>
                </a:cubicBezTo>
                <a:cubicBezTo>
                  <a:pt x="5750" y="9906"/>
                  <a:pt x="5781" y="9937"/>
                  <a:pt x="5687" y="9937"/>
                </a:cubicBezTo>
                <a:cubicBezTo>
                  <a:pt x="5687" y="9937"/>
                  <a:pt x="5687" y="9937"/>
                  <a:pt x="5687" y="9969"/>
                </a:cubicBezTo>
                <a:cubicBezTo>
                  <a:pt x="5687" y="10000"/>
                  <a:pt x="5656" y="10031"/>
                  <a:pt x="5656" y="10094"/>
                </a:cubicBezTo>
                <a:cubicBezTo>
                  <a:pt x="5656" y="10094"/>
                  <a:pt x="5656" y="10094"/>
                  <a:pt x="5656" y="10094"/>
                </a:cubicBezTo>
                <a:cubicBezTo>
                  <a:pt x="5625" y="10062"/>
                  <a:pt x="5656" y="10000"/>
                  <a:pt x="5625" y="9969"/>
                </a:cubicBezTo>
                <a:cubicBezTo>
                  <a:pt x="5656" y="9937"/>
                  <a:pt x="5656" y="9906"/>
                  <a:pt x="5656" y="9875"/>
                </a:cubicBezTo>
                <a:cubicBezTo>
                  <a:pt x="5656" y="9844"/>
                  <a:pt x="5625" y="9844"/>
                  <a:pt x="5625" y="9844"/>
                </a:cubicBezTo>
                <a:cubicBezTo>
                  <a:pt x="5593" y="9875"/>
                  <a:pt x="5593" y="9906"/>
                  <a:pt x="5625" y="9969"/>
                </a:cubicBezTo>
                <a:cubicBezTo>
                  <a:pt x="5593" y="10000"/>
                  <a:pt x="5562" y="10031"/>
                  <a:pt x="5562" y="10094"/>
                </a:cubicBezTo>
                <a:cubicBezTo>
                  <a:pt x="5562" y="10187"/>
                  <a:pt x="5562" y="10281"/>
                  <a:pt x="5531" y="10375"/>
                </a:cubicBezTo>
                <a:cubicBezTo>
                  <a:pt x="5531" y="10531"/>
                  <a:pt x="5500" y="10687"/>
                  <a:pt x="5468" y="10812"/>
                </a:cubicBezTo>
                <a:cubicBezTo>
                  <a:pt x="5468" y="10812"/>
                  <a:pt x="5468" y="10812"/>
                  <a:pt x="5468" y="10844"/>
                </a:cubicBezTo>
                <a:cubicBezTo>
                  <a:pt x="5468" y="10812"/>
                  <a:pt x="5468" y="10812"/>
                  <a:pt x="5468" y="10812"/>
                </a:cubicBezTo>
                <a:cubicBezTo>
                  <a:pt x="5468" y="10812"/>
                  <a:pt x="5468" y="10781"/>
                  <a:pt x="5437" y="10781"/>
                </a:cubicBezTo>
                <a:cubicBezTo>
                  <a:pt x="5468" y="10531"/>
                  <a:pt x="5531" y="10281"/>
                  <a:pt x="5500" y="10031"/>
                </a:cubicBezTo>
                <a:cubicBezTo>
                  <a:pt x="5437" y="10219"/>
                  <a:pt x="5437" y="10406"/>
                  <a:pt x="5406" y="10625"/>
                </a:cubicBezTo>
                <a:cubicBezTo>
                  <a:pt x="5406" y="10625"/>
                  <a:pt x="5406" y="10625"/>
                  <a:pt x="5406" y="10625"/>
                </a:cubicBezTo>
                <a:cubicBezTo>
                  <a:pt x="5406" y="10562"/>
                  <a:pt x="5375" y="10531"/>
                  <a:pt x="5375" y="10469"/>
                </a:cubicBezTo>
                <a:cubicBezTo>
                  <a:pt x="5375" y="10375"/>
                  <a:pt x="5437" y="10281"/>
                  <a:pt x="5437" y="10187"/>
                </a:cubicBezTo>
                <a:cubicBezTo>
                  <a:pt x="5406" y="10125"/>
                  <a:pt x="5437" y="10094"/>
                  <a:pt x="5375" y="10094"/>
                </a:cubicBezTo>
                <a:cubicBezTo>
                  <a:pt x="5343" y="10125"/>
                  <a:pt x="5375" y="10187"/>
                  <a:pt x="5312" y="10250"/>
                </a:cubicBezTo>
                <a:cubicBezTo>
                  <a:pt x="5312" y="10187"/>
                  <a:pt x="5343" y="10125"/>
                  <a:pt x="5343" y="10062"/>
                </a:cubicBezTo>
                <a:cubicBezTo>
                  <a:pt x="5343" y="10062"/>
                  <a:pt x="5343" y="10000"/>
                  <a:pt x="5312" y="10000"/>
                </a:cubicBezTo>
                <a:cubicBezTo>
                  <a:pt x="5281" y="10000"/>
                  <a:pt x="5281" y="10031"/>
                  <a:pt x="5281" y="10062"/>
                </a:cubicBezTo>
                <a:cubicBezTo>
                  <a:pt x="5281" y="10094"/>
                  <a:pt x="5281" y="10125"/>
                  <a:pt x="5281" y="10125"/>
                </a:cubicBezTo>
                <a:cubicBezTo>
                  <a:pt x="5250" y="10125"/>
                  <a:pt x="5250" y="10125"/>
                  <a:pt x="5250" y="10125"/>
                </a:cubicBezTo>
                <a:cubicBezTo>
                  <a:pt x="5250" y="10125"/>
                  <a:pt x="5250" y="10125"/>
                  <a:pt x="5250" y="10125"/>
                </a:cubicBezTo>
                <a:cubicBezTo>
                  <a:pt x="5250" y="10125"/>
                  <a:pt x="5250" y="10094"/>
                  <a:pt x="5250" y="10094"/>
                </a:cubicBezTo>
                <a:cubicBezTo>
                  <a:pt x="5250" y="10031"/>
                  <a:pt x="5312" y="9969"/>
                  <a:pt x="5250" y="9906"/>
                </a:cubicBezTo>
                <a:cubicBezTo>
                  <a:pt x="5250" y="9937"/>
                  <a:pt x="5218" y="9937"/>
                  <a:pt x="5218" y="9969"/>
                </a:cubicBezTo>
                <a:cubicBezTo>
                  <a:pt x="5218" y="9937"/>
                  <a:pt x="5250" y="9937"/>
                  <a:pt x="5250" y="9906"/>
                </a:cubicBezTo>
                <a:cubicBezTo>
                  <a:pt x="5250" y="9906"/>
                  <a:pt x="5250" y="9875"/>
                  <a:pt x="5281" y="9875"/>
                </a:cubicBezTo>
                <a:cubicBezTo>
                  <a:pt x="5343" y="9812"/>
                  <a:pt x="5312" y="9750"/>
                  <a:pt x="5375" y="9687"/>
                </a:cubicBezTo>
                <a:cubicBezTo>
                  <a:pt x="5375" y="9687"/>
                  <a:pt x="5375" y="9687"/>
                  <a:pt x="5375" y="9719"/>
                </a:cubicBezTo>
                <a:cubicBezTo>
                  <a:pt x="5375" y="9719"/>
                  <a:pt x="5375" y="9750"/>
                  <a:pt x="5375" y="9781"/>
                </a:cubicBezTo>
                <a:cubicBezTo>
                  <a:pt x="5343" y="9781"/>
                  <a:pt x="5343" y="9812"/>
                  <a:pt x="5375" y="9812"/>
                </a:cubicBezTo>
                <a:cubicBezTo>
                  <a:pt x="5406" y="9812"/>
                  <a:pt x="5406" y="9812"/>
                  <a:pt x="5406" y="9781"/>
                </a:cubicBezTo>
                <a:cubicBezTo>
                  <a:pt x="5437" y="9719"/>
                  <a:pt x="5468" y="9687"/>
                  <a:pt x="5468" y="9625"/>
                </a:cubicBezTo>
                <a:cubicBezTo>
                  <a:pt x="5468" y="9625"/>
                  <a:pt x="5468" y="9625"/>
                  <a:pt x="5468" y="9625"/>
                </a:cubicBezTo>
                <a:cubicBezTo>
                  <a:pt x="5500" y="9625"/>
                  <a:pt x="5500" y="9562"/>
                  <a:pt x="5531" y="9594"/>
                </a:cubicBezTo>
                <a:cubicBezTo>
                  <a:pt x="5531" y="9625"/>
                  <a:pt x="5500" y="9656"/>
                  <a:pt x="5468" y="9719"/>
                </a:cubicBezTo>
                <a:cubicBezTo>
                  <a:pt x="5468" y="9750"/>
                  <a:pt x="5468" y="9750"/>
                  <a:pt x="5500" y="9781"/>
                </a:cubicBezTo>
                <a:cubicBezTo>
                  <a:pt x="5500" y="9781"/>
                  <a:pt x="5500" y="9750"/>
                  <a:pt x="5531" y="9719"/>
                </a:cubicBezTo>
                <a:cubicBezTo>
                  <a:pt x="5625" y="9500"/>
                  <a:pt x="5750" y="9281"/>
                  <a:pt x="5906" y="9062"/>
                </a:cubicBezTo>
                <a:cubicBezTo>
                  <a:pt x="5968" y="8969"/>
                  <a:pt x="6031" y="8875"/>
                  <a:pt x="6125" y="8781"/>
                </a:cubicBezTo>
                <a:cubicBezTo>
                  <a:pt x="6218" y="8719"/>
                  <a:pt x="6312" y="8625"/>
                  <a:pt x="6406" y="8562"/>
                </a:cubicBezTo>
                <a:cubicBezTo>
                  <a:pt x="6468" y="8500"/>
                  <a:pt x="6562" y="8406"/>
                  <a:pt x="6656" y="8344"/>
                </a:cubicBezTo>
                <a:cubicBezTo>
                  <a:pt x="6687" y="8312"/>
                  <a:pt x="6750" y="8281"/>
                  <a:pt x="6750" y="8219"/>
                </a:cubicBezTo>
                <a:cubicBezTo>
                  <a:pt x="6750" y="8187"/>
                  <a:pt x="6718" y="8219"/>
                  <a:pt x="6718" y="8219"/>
                </a:cubicBezTo>
                <a:cubicBezTo>
                  <a:pt x="6625" y="8344"/>
                  <a:pt x="6531" y="8406"/>
                  <a:pt x="6406" y="8469"/>
                </a:cubicBezTo>
                <a:cubicBezTo>
                  <a:pt x="6218" y="8656"/>
                  <a:pt x="6000" y="8844"/>
                  <a:pt x="5812" y="9094"/>
                </a:cubicBezTo>
                <a:cubicBezTo>
                  <a:pt x="5812" y="9094"/>
                  <a:pt x="5781" y="9062"/>
                  <a:pt x="5781" y="9062"/>
                </a:cubicBezTo>
                <a:cubicBezTo>
                  <a:pt x="5906" y="8875"/>
                  <a:pt x="6062" y="8719"/>
                  <a:pt x="6218" y="8562"/>
                </a:cubicBezTo>
                <a:cubicBezTo>
                  <a:pt x="6375" y="8437"/>
                  <a:pt x="6531" y="8312"/>
                  <a:pt x="6687" y="8156"/>
                </a:cubicBezTo>
                <a:cubicBezTo>
                  <a:pt x="6750" y="8125"/>
                  <a:pt x="6781" y="8094"/>
                  <a:pt x="6812" y="8062"/>
                </a:cubicBezTo>
                <a:cubicBezTo>
                  <a:pt x="6812" y="8062"/>
                  <a:pt x="6812" y="8062"/>
                  <a:pt x="6812" y="8062"/>
                </a:cubicBezTo>
                <a:cubicBezTo>
                  <a:pt x="6843" y="8094"/>
                  <a:pt x="6812" y="8094"/>
                  <a:pt x="6812" y="8125"/>
                </a:cubicBezTo>
                <a:cubicBezTo>
                  <a:pt x="6812" y="8156"/>
                  <a:pt x="6750" y="8156"/>
                  <a:pt x="6750" y="8219"/>
                </a:cubicBezTo>
                <a:cubicBezTo>
                  <a:pt x="6781" y="8219"/>
                  <a:pt x="6781" y="8219"/>
                  <a:pt x="6812" y="8219"/>
                </a:cubicBezTo>
                <a:cubicBezTo>
                  <a:pt x="6843" y="8219"/>
                  <a:pt x="6812" y="8250"/>
                  <a:pt x="6812" y="8250"/>
                </a:cubicBezTo>
                <a:cubicBezTo>
                  <a:pt x="6718" y="8375"/>
                  <a:pt x="6625" y="8469"/>
                  <a:pt x="6500" y="8562"/>
                </a:cubicBezTo>
                <a:cubicBezTo>
                  <a:pt x="6437" y="8594"/>
                  <a:pt x="6375" y="8687"/>
                  <a:pt x="6281" y="8750"/>
                </a:cubicBezTo>
                <a:cubicBezTo>
                  <a:pt x="6250" y="8750"/>
                  <a:pt x="6250" y="8781"/>
                  <a:pt x="6250" y="8812"/>
                </a:cubicBezTo>
                <a:cubicBezTo>
                  <a:pt x="6531" y="8594"/>
                  <a:pt x="6812" y="8375"/>
                  <a:pt x="7062" y="8062"/>
                </a:cubicBezTo>
                <a:cubicBezTo>
                  <a:pt x="7062" y="8094"/>
                  <a:pt x="7062" y="8094"/>
                  <a:pt x="7062" y="8094"/>
                </a:cubicBezTo>
                <a:cubicBezTo>
                  <a:pt x="6843" y="8406"/>
                  <a:pt x="6562" y="8687"/>
                  <a:pt x="6250" y="8906"/>
                </a:cubicBezTo>
                <a:cubicBezTo>
                  <a:pt x="6312" y="8906"/>
                  <a:pt x="6375" y="8875"/>
                  <a:pt x="6406" y="8844"/>
                </a:cubicBezTo>
                <a:cubicBezTo>
                  <a:pt x="6468" y="8781"/>
                  <a:pt x="6562" y="8719"/>
                  <a:pt x="6625" y="8656"/>
                </a:cubicBezTo>
                <a:cubicBezTo>
                  <a:pt x="6750" y="8562"/>
                  <a:pt x="6843" y="8437"/>
                  <a:pt x="6937" y="8344"/>
                </a:cubicBezTo>
                <a:cubicBezTo>
                  <a:pt x="7031" y="8250"/>
                  <a:pt x="7125" y="8125"/>
                  <a:pt x="7218" y="8000"/>
                </a:cubicBezTo>
                <a:cubicBezTo>
                  <a:pt x="7281" y="7875"/>
                  <a:pt x="7343" y="7719"/>
                  <a:pt x="7437" y="7594"/>
                </a:cubicBezTo>
                <a:cubicBezTo>
                  <a:pt x="7437" y="7562"/>
                  <a:pt x="7468" y="7562"/>
                  <a:pt x="7468" y="7531"/>
                </a:cubicBezTo>
                <a:cubicBezTo>
                  <a:pt x="7500" y="7594"/>
                  <a:pt x="7437" y="7656"/>
                  <a:pt x="7406" y="7719"/>
                </a:cubicBezTo>
                <a:cubicBezTo>
                  <a:pt x="7281" y="7906"/>
                  <a:pt x="7187" y="8125"/>
                  <a:pt x="7031" y="8312"/>
                </a:cubicBezTo>
                <a:close/>
                <a:moveTo>
                  <a:pt x="7406" y="8375"/>
                </a:moveTo>
                <a:cubicBezTo>
                  <a:pt x="7406" y="8375"/>
                  <a:pt x="7406" y="8406"/>
                  <a:pt x="7406" y="8406"/>
                </a:cubicBezTo>
                <a:cubicBezTo>
                  <a:pt x="7406" y="8406"/>
                  <a:pt x="7406" y="8406"/>
                  <a:pt x="7375" y="8406"/>
                </a:cubicBezTo>
                <a:cubicBezTo>
                  <a:pt x="7406" y="8375"/>
                  <a:pt x="7406" y="8375"/>
                  <a:pt x="7406" y="8375"/>
                </a:cubicBezTo>
                <a:close/>
                <a:moveTo>
                  <a:pt x="7531" y="8844"/>
                </a:moveTo>
                <a:cubicBezTo>
                  <a:pt x="7562" y="8844"/>
                  <a:pt x="7562" y="8812"/>
                  <a:pt x="7562" y="8812"/>
                </a:cubicBezTo>
                <a:cubicBezTo>
                  <a:pt x="7593" y="8812"/>
                  <a:pt x="7625" y="8812"/>
                  <a:pt x="7625" y="8812"/>
                </a:cubicBezTo>
                <a:cubicBezTo>
                  <a:pt x="7593" y="8875"/>
                  <a:pt x="7531" y="8937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69"/>
                  <a:pt x="7468" y="8969"/>
                  <a:pt x="7468" y="8969"/>
                </a:cubicBezTo>
                <a:cubicBezTo>
                  <a:pt x="7468" y="8906"/>
                  <a:pt x="7468" y="8875"/>
                  <a:pt x="7531" y="8844"/>
                </a:cubicBezTo>
                <a:close/>
                <a:moveTo>
                  <a:pt x="7656" y="10375"/>
                </a:moveTo>
                <a:cubicBezTo>
                  <a:pt x="7625" y="10375"/>
                  <a:pt x="7625" y="10375"/>
                  <a:pt x="7625" y="10375"/>
                </a:cubicBezTo>
                <a:cubicBezTo>
                  <a:pt x="7625" y="10375"/>
                  <a:pt x="7625" y="10375"/>
                  <a:pt x="7656" y="10375"/>
                </a:cubicBezTo>
                <a:close/>
                <a:moveTo>
                  <a:pt x="7656" y="8500"/>
                </a:moveTo>
                <a:cubicBezTo>
                  <a:pt x="7656" y="8469"/>
                  <a:pt x="7656" y="8469"/>
                  <a:pt x="7656" y="8437"/>
                </a:cubicBezTo>
                <a:cubicBezTo>
                  <a:pt x="7656" y="8469"/>
                  <a:pt x="7656" y="8469"/>
                  <a:pt x="7656" y="8500"/>
                </a:cubicBezTo>
                <a:close/>
                <a:moveTo>
                  <a:pt x="7406" y="12781"/>
                </a:moveTo>
                <a:cubicBezTo>
                  <a:pt x="7406" y="12781"/>
                  <a:pt x="7375" y="12812"/>
                  <a:pt x="7343" y="12812"/>
                </a:cubicBezTo>
                <a:cubicBezTo>
                  <a:pt x="7343" y="12812"/>
                  <a:pt x="7343" y="12812"/>
                  <a:pt x="7343" y="12812"/>
                </a:cubicBezTo>
                <a:cubicBezTo>
                  <a:pt x="7343" y="12812"/>
                  <a:pt x="7343" y="12812"/>
                  <a:pt x="7343" y="12812"/>
                </a:cubicBezTo>
                <a:cubicBezTo>
                  <a:pt x="7343" y="12781"/>
                  <a:pt x="7343" y="12781"/>
                  <a:pt x="7343" y="12781"/>
                </a:cubicBezTo>
                <a:cubicBezTo>
                  <a:pt x="7375" y="12750"/>
                  <a:pt x="7375" y="12750"/>
                  <a:pt x="7375" y="12719"/>
                </a:cubicBezTo>
                <a:cubicBezTo>
                  <a:pt x="7437" y="12687"/>
                  <a:pt x="7437" y="12656"/>
                  <a:pt x="7437" y="12625"/>
                </a:cubicBezTo>
                <a:cubicBezTo>
                  <a:pt x="7437" y="12594"/>
                  <a:pt x="7468" y="12594"/>
                  <a:pt x="7468" y="12594"/>
                </a:cubicBezTo>
                <a:cubicBezTo>
                  <a:pt x="7468" y="12594"/>
                  <a:pt x="7468" y="12594"/>
                  <a:pt x="7468" y="12594"/>
                </a:cubicBezTo>
                <a:cubicBezTo>
                  <a:pt x="7468" y="12594"/>
                  <a:pt x="7468" y="12594"/>
                  <a:pt x="7468" y="12594"/>
                </a:cubicBezTo>
                <a:cubicBezTo>
                  <a:pt x="7500" y="12625"/>
                  <a:pt x="7468" y="12656"/>
                  <a:pt x="7468" y="12687"/>
                </a:cubicBezTo>
                <a:cubicBezTo>
                  <a:pt x="7437" y="12719"/>
                  <a:pt x="7406" y="12750"/>
                  <a:pt x="7406" y="12781"/>
                </a:cubicBezTo>
                <a:close/>
                <a:moveTo>
                  <a:pt x="7375" y="12719"/>
                </a:moveTo>
                <a:cubicBezTo>
                  <a:pt x="7343" y="12719"/>
                  <a:pt x="7343" y="12719"/>
                  <a:pt x="7312" y="12750"/>
                </a:cubicBezTo>
                <a:cubicBezTo>
                  <a:pt x="7312" y="12781"/>
                  <a:pt x="7281" y="12781"/>
                  <a:pt x="7281" y="12812"/>
                </a:cubicBezTo>
                <a:cubicBezTo>
                  <a:pt x="7281" y="12812"/>
                  <a:pt x="7281" y="12812"/>
                  <a:pt x="7281" y="12812"/>
                </a:cubicBezTo>
                <a:cubicBezTo>
                  <a:pt x="7281" y="12812"/>
                  <a:pt x="7281" y="12812"/>
                  <a:pt x="7281" y="12812"/>
                </a:cubicBezTo>
                <a:cubicBezTo>
                  <a:pt x="7281" y="12812"/>
                  <a:pt x="7281" y="12812"/>
                  <a:pt x="7281" y="12781"/>
                </a:cubicBezTo>
                <a:cubicBezTo>
                  <a:pt x="7312" y="12719"/>
                  <a:pt x="7375" y="12656"/>
                  <a:pt x="7406" y="12562"/>
                </a:cubicBezTo>
                <a:cubicBezTo>
                  <a:pt x="7406" y="12562"/>
                  <a:pt x="7406" y="12562"/>
                  <a:pt x="7406" y="12594"/>
                </a:cubicBezTo>
                <a:cubicBezTo>
                  <a:pt x="7406" y="12594"/>
                  <a:pt x="7406" y="12594"/>
                  <a:pt x="7406" y="12625"/>
                </a:cubicBezTo>
                <a:cubicBezTo>
                  <a:pt x="7375" y="12625"/>
                  <a:pt x="7406" y="12687"/>
                  <a:pt x="7375" y="12719"/>
                </a:cubicBezTo>
                <a:close/>
                <a:moveTo>
                  <a:pt x="7437" y="14906"/>
                </a:moveTo>
                <a:cubicBezTo>
                  <a:pt x="7437" y="14906"/>
                  <a:pt x="7437" y="14906"/>
                  <a:pt x="7437" y="14906"/>
                </a:cubicBezTo>
                <a:cubicBezTo>
                  <a:pt x="7437" y="14906"/>
                  <a:pt x="7437" y="14906"/>
                  <a:pt x="7406" y="14906"/>
                </a:cubicBezTo>
                <a:cubicBezTo>
                  <a:pt x="7437" y="14906"/>
                  <a:pt x="7437" y="14906"/>
                  <a:pt x="7437" y="14906"/>
                </a:cubicBezTo>
                <a:close/>
                <a:moveTo>
                  <a:pt x="7343" y="14937"/>
                </a:moveTo>
                <a:cubicBezTo>
                  <a:pt x="7343" y="14906"/>
                  <a:pt x="7343" y="14906"/>
                  <a:pt x="7343" y="14906"/>
                </a:cubicBezTo>
                <a:cubicBezTo>
                  <a:pt x="7250" y="14906"/>
                  <a:pt x="7156" y="14937"/>
                  <a:pt x="7062" y="14906"/>
                </a:cubicBezTo>
                <a:cubicBezTo>
                  <a:pt x="7187" y="14875"/>
                  <a:pt x="7281" y="14875"/>
                  <a:pt x="7375" y="14812"/>
                </a:cubicBezTo>
                <a:cubicBezTo>
                  <a:pt x="7406" y="14812"/>
                  <a:pt x="7406" y="14844"/>
                  <a:pt x="7406" y="14844"/>
                </a:cubicBezTo>
                <a:cubicBezTo>
                  <a:pt x="7375" y="14875"/>
                  <a:pt x="7343" y="14875"/>
                  <a:pt x="7343" y="14906"/>
                </a:cubicBezTo>
                <a:cubicBezTo>
                  <a:pt x="7343" y="14906"/>
                  <a:pt x="7343" y="14906"/>
                  <a:pt x="7343" y="14906"/>
                </a:cubicBezTo>
                <a:cubicBezTo>
                  <a:pt x="7343" y="14906"/>
                  <a:pt x="7343" y="14906"/>
                  <a:pt x="7343" y="14937"/>
                </a:cubicBezTo>
                <a:close/>
                <a:moveTo>
                  <a:pt x="6250" y="14719"/>
                </a:moveTo>
                <a:cubicBezTo>
                  <a:pt x="6406" y="14750"/>
                  <a:pt x="6562" y="14781"/>
                  <a:pt x="6718" y="14875"/>
                </a:cubicBezTo>
                <a:cubicBezTo>
                  <a:pt x="6718" y="14875"/>
                  <a:pt x="6718" y="14875"/>
                  <a:pt x="6718" y="14875"/>
                </a:cubicBezTo>
                <a:cubicBezTo>
                  <a:pt x="6562" y="14844"/>
                  <a:pt x="6406" y="14781"/>
                  <a:pt x="6250" y="14719"/>
                </a:cubicBezTo>
                <a:close/>
                <a:moveTo>
                  <a:pt x="6343" y="15031"/>
                </a:moveTo>
                <a:cubicBezTo>
                  <a:pt x="6343" y="15031"/>
                  <a:pt x="6343" y="15031"/>
                  <a:pt x="6343" y="15031"/>
                </a:cubicBezTo>
                <a:cubicBezTo>
                  <a:pt x="6343" y="15031"/>
                  <a:pt x="6343" y="15031"/>
                  <a:pt x="6343" y="15031"/>
                </a:cubicBezTo>
                <a:cubicBezTo>
                  <a:pt x="6343" y="15031"/>
                  <a:pt x="6343" y="15031"/>
                  <a:pt x="6343" y="15031"/>
                </a:cubicBezTo>
                <a:close/>
                <a:moveTo>
                  <a:pt x="6093" y="14531"/>
                </a:moveTo>
                <a:cubicBezTo>
                  <a:pt x="6093" y="14531"/>
                  <a:pt x="6062" y="14531"/>
                  <a:pt x="6062" y="14500"/>
                </a:cubicBezTo>
                <a:cubicBezTo>
                  <a:pt x="6062" y="14469"/>
                  <a:pt x="6093" y="14469"/>
                  <a:pt x="6093" y="14500"/>
                </a:cubicBezTo>
                <a:cubicBezTo>
                  <a:pt x="6187" y="14531"/>
                  <a:pt x="6312" y="14531"/>
                  <a:pt x="6406" y="14594"/>
                </a:cubicBezTo>
                <a:cubicBezTo>
                  <a:pt x="6343" y="14594"/>
                  <a:pt x="6281" y="14594"/>
                  <a:pt x="6250" y="14562"/>
                </a:cubicBezTo>
                <a:cubicBezTo>
                  <a:pt x="6187" y="14562"/>
                  <a:pt x="6156" y="14531"/>
                  <a:pt x="6093" y="14531"/>
                </a:cubicBezTo>
                <a:close/>
                <a:moveTo>
                  <a:pt x="6218" y="14687"/>
                </a:moveTo>
                <a:cubicBezTo>
                  <a:pt x="6218" y="14687"/>
                  <a:pt x="6218" y="14687"/>
                  <a:pt x="6218" y="14687"/>
                </a:cubicBezTo>
                <a:cubicBezTo>
                  <a:pt x="6218" y="14687"/>
                  <a:pt x="6218" y="14687"/>
                  <a:pt x="6218" y="14687"/>
                </a:cubicBezTo>
                <a:close/>
                <a:moveTo>
                  <a:pt x="5093" y="13312"/>
                </a:moveTo>
                <a:cubicBezTo>
                  <a:pt x="5093" y="13312"/>
                  <a:pt x="5093" y="13312"/>
                  <a:pt x="5093" y="13312"/>
                </a:cubicBezTo>
                <a:cubicBezTo>
                  <a:pt x="5031" y="13469"/>
                  <a:pt x="5031" y="13625"/>
                  <a:pt x="5062" y="13812"/>
                </a:cubicBezTo>
                <a:cubicBezTo>
                  <a:pt x="5062" y="13844"/>
                  <a:pt x="5093" y="13875"/>
                  <a:pt x="5093" y="13906"/>
                </a:cubicBezTo>
                <a:cubicBezTo>
                  <a:pt x="5000" y="13844"/>
                  <a:pt x="5000" y="13344"/>
                  <a:pt x="5093" y="13250"/>
                </a:cubicBezTo>
                <a:cubicBezTo>
                  <a:pt x="5093" y="13250"/>
                  <a:pt x="5062" y="13281"/>
                  <a:pt x="5093" y="13312"/>
                </a:cubicBezTo>
                <a:close/>
                <a:moveTo>
                  <a:pt x="5062" y="14250"/>
                </a:moveTo>
                <a:cubicBezTo>
                  <a:pt x="5062" y="14250"/>
                  <a:pt x="5031" y="14250"/>
                  <a:pt x="5031" y="14250"/>
                </a:cubicBezTo>
                <a:cubicBezTo>
                  <a:pt x="5031" y="14250"/>
                  <a:pt x="5031" y="14250"/>
                  <a:pt x="5031" y="14250"/>
                </a:cubicBezTo>
                <a:cubicBezTo>
                  <a:pt x="5031" y="14250"/>
                  <a:pt x="5062" y="14250"/>
                  <a:pt x="5062" y="14250"/>
                </a:cubicBezTo>
                <a:close/>
                <a:moveTo>
                  <a:pt x="5093" y="13312"/>
                </a:moveTo>
                <a:cubicBezTo>
                  <a:pt x="5093" y="13344"/>
                  <a:pt x="5093" y="13344"/>
                  <a:pt x="5125" y="13344"/>
                </a:cubicBezTo>
                <a:cubicBezTo>
                  <a:pt x="5093" y="13344"/>
                  <a:pt x="5093" y="13344"/>
                  <a:pt x="5093" y="13312"/>
                </a:cubicBezTo>
                <a:close/>
                <a:moveTo>
                  <a:pt x="5031" y="12844"/>
                </a:moveTo>
                <a:cubicBezTo>
                  <a:pt x="5000" y="12844"/>
                  <a:pt x="5000" y="12875"/>
                  <a:pt x="5000" y="12906"/>
                </a:cubicBezTo>
                <a:cubicBezTo>
                  <a:pt x="5000" y="12937"/>
                  <a:pt x="4968" y="12937"/>
                  <a:pt x="4937" y="12969"/>
                </a:cubicBezTo>
                <a:cubicBezTo>
                  <a:pt x="4968" y="12875"/>
                  <a:pt x="5000" y="12781"/>
                  <a:pt x="5000" y="12656"/>
                </a:cubicBezTo>
                <a:cubicBezTo>
                  <a:pt x="5000" y="12562"/>
                  <a:pt x="5000" y="12469"/>
                  <a:pt x="5000" y="12344"/>
                </a:cubicBezTo>
                <a:cubicBezTo>
                  <a:pt x="5000" y="12250"/>
                  <a:pt x="5031" y="12187"/>
                  <a:pt x="5031" y="12094"/>
                </a:cubicBezTo>
                <a:cubicBezTo>
                  <a:pt x="5031" y="12281"/>
                  <a:pt x="5031" y="12469"/>
                  <a:pt x="5031" y="12656"/>
                </a:cubicBezTo>
                <a:cubicBezTo>
                  <a:pt x="5031" y="12687"/>
                  <a:pt x="5031" y="12687"/>
                  <a:pt x="5062" y="12719"/>
                </a:cubicBezTo>
                <a:cubicBezTo>
                  <a:pt x="5062" y="12750"/>
                  <a:pt x="5031" y="12781"/>
                  <a:pt x="5031" y="12844"/>
                </a:cubicBezTo>
                <a:cubicBezTo>
                  <a:pt x="5062" y="12812"/>
                  <a:pt x="5093" y="12781"/>
                  <a:pt x="5125" y="12719"/>
                </a:cubicBezTo>
                <a:cubicBezTo>
                  <a:pt x="5093" y="12781"/>
                  <a:pt x="5062" y="12812"/>
                  <a:pt x="5031" y="12844"/>
                </a:cubicBezTo>
                <a:close/>
                <a:moveTo>
                  <a:pt x="4906" y="13562"/>
                </a:moveTo>
                <a:cubicBezTo>
                  <a:pt x="4906" y="13594"/>
                  <a:pt x="4906" y="13656"/>
                  <a:pt x="4906" y="13687"/>
                </a:cubicBezTo>
                <a:cubicBezTo>
                  <a:pt x="4906" y="13687"/>
                  <a:pt x="4937" y="13687"/>
                  <a:pt x="4937" y="13656"/>
                </a:cubicBezTo>
                <a:cubicBezTo>
                  <a:pt x="4937" y="13687"/>
                  <a:pt x="4906" y="13687"/>
                  <a:pt x="4906" y="13687"/>
                </a:cubicBezTo>
                <a:cubicBezTo>
                  <a:pt x="4906" y="13656"/>
                  <a:pt x="4906" y="13594"/>
                  <a:pt x="4906" y="13562"/>
                </a:cubicBezTo>
                <a:close/>
                <a:moveTo>
                  <a:pt x="4906" y="13687"/>
                </a:moveTo>
                <a:cubicBezTo>
                  <a:pt x="4906" y="13687"/>
                  <a:pt x="4906" y="13687"/>
                  <a:pt x="4906" y="13687"/>
                </a:cubicBezTo>
                <a:cubicBezTo>
                  <a:pt x="4906" y="13687"/>
                  <a:pt x="4906" y="13687"/>
                  <a:pt x="4906" y="13687"/>
                </a:cubicBezTo>
                <a:close/>
                <a:moveTo>
                  <a:pt x="4906" y="13219"/>
                </a:moveTo>
                <a:cubicBezTo>
                  <a:pt x="4906" y="13187"/>
                  <a:pt x="4906" y="13187"/>
                  <a:pt x="4906" y="13219"/>
                </a:cubicBezTo>
                <a:cubicBezTo>
                  <a:pt x="4875" y="13125"/>
                  <a:pt x="4906" y="13062"/>
                  <a:pt x="4937" y="13000"/>
                </a:cubicBezTo>
                <a:cubicBezTo>
                  <a:pt x="4968" y="13062"/>
                  <a:pt x="4906" y="13125"/>
                  <a:pt x="4906" y="13219"/>
                </a:cubicBezTo>
                <a:close/>
                <a:moveTo>
                  <a:pt x="4781" y="11750"/>
                </a:moveTo>
                <a:cubicBezTo>
                  <a:pt x="4843" y="11656"/>
                  <a:pt x="4906" y="11594"/>
                  <a:pt x="4937" y="11469"/>
                </a:cubicBezTo>
                <a:cubicBezTo>
                  <a:pt x="4906" y="11469"/>
                  <a:pt x="4875" y="11500"/>
                  <a:pt x="4875" y="11531"/>
                </a:cubicBezTo>
                <a:cubicBezTo>
                  <a:pt x="4812" y="11656"/>
                  <a:pt x="4687" y="11781"/>
                  <a:pt x="4625" y="11906"/>
                </a:cubicBezTo>
                <a:cubicBezTo>
                  <a:pt x="4562" y="12094"/>
                  <a:pt x="4531" y="12250"/>
                  <a:pt x="4500" y="12406"/>
                </a:cubicBezTo>
                <a:cubicBezTo>
                  <a:pt x="4500" y="12500"/>
                  <a:pt x="4500" y="12594"/>
                  <a:pt x="4437" y="12656"/>
                </a:cubicBezTo>
                <a:cubicBezTo>
                  <a:pt x="4468" y="12469"/>
                  <a:pt x="4500" y="12281"/>
                  <a:pt x="4531" y="12094"/>
                </a:cubicBezTo>
                <a:cubicBezTo>
                  <a:pt x="4500" y="12125"/>
                  <a:pt x="4500" y="12125"/>
                  <a:pt x="4500" y="12156"/>
                </a:cubicBezTo>
                <a:cubicBezTo>
                  <a:pt x="4500" y="12125"/>
                  <a:pt x="4500" y="12125"/>
                  <a:pt x="4531" y="12094"/>
                </a:cubicBezTo>
                <a:cubicBezTo>
                  <a:pt x="4531" y="12062"/>
                  <a:pt x="4625" y="12031"/>
                  <a:pt x="4562" y="11969"/>
                </a:cubicBezTo>
                <a:cubicBezTo>
                  <a:pt x="4562" y="11906"/>
                  <a:pt x="4625" y="11812"/>
                  <a:pt x="4687" y="11750"/>
                </a:cubicBezTo>
                <a:cubicBezTo>
                  <a:pt x="4781" y="11625"/>
                  <a:pt x="4843" y="11469"/>
                  <a:pt x="4937" y="11312"/>
                </a:cubicBezTo>
                <a:cubicBezTo>
                  <a:pt x="4937" y="11312"/>
                  <a:pt x="4937" y="11281"/>
                  <a:pt x="4968" y="11281"/>
                </a:cubicBezTo>
                <a:cubicBezTo>
                  <a:pt x="5000" y="11312"/>
                  <a:pt x="4937" y="11344"/>
                  <a:pt x="4937" y="11406"/>
                </a:cubicBezTo>
                <a:cubicBezTo>
                  <a:pt x="4937" y="11406"/>
                  <a:pt x="4906" y="11437"/>
                  <a:pt x="4937" y="11437"/>
                </a:cubicBezTo>
                <a:cubicBezTo>
                  <a:pt x="4968" y="11437"/>
                  <a:pt x="4968" y="11406"/>
                  <a:pt x="4968" y="11406"/>
                </a:cubicBezTo>
                <a:cubicBezTo>
                  <a:pt x="5031" y="11250"/>
                  <a:pt x="5031" y="11094"/>
                  <a:pt x="5062" y="10937"/>
                </a:cubicBezTo>
                <a:cubicBezTo>
                  <a:pt x="5062" y="10937"/>
                  <a:pt x="5062" y="10969"/>
                  <a:pt x="5062" y="11000"/>
                </a:cubicBezTo>
                <a:cubicBezTo>
                  <a:pt x="5062" y="11125"/>
                  <a:pt x="5093" y="11250"/>
                  <a:pt x="5062" y="11375"/>
                </a:cubicBezTo>
                <a:cubicBezTo>
                  <a:pt x="5031" y="11437"/>
                  <a:pt x="5000" y="11469"/>
                  <a:pt x="4968" y="11531"/>
                </a:cubicBezTo>
                <a:cubicBezTo>
                  <a:pt x="4968" y="11531"/>
                  <a:pt x="4937" y="11562"/>
                  <a:pt x="4937" y="11594"/>
                </a:cubicBezTo>
                <a:cubicBezTo>
                  <a:pt x="4937" y="11594"/>
                  <a:pt x="4937" y="11594"/>
                  <a:pt x="4937" y="11594"/>
                </a:cubicBezTo>
                <a:cubicBezTo>
                  <a:pt x="4937" y="11594"/>
                  <a:pt x="4937" y="11594"/>
                  <a:pt x="4937" y="11594"/>
                </a:cubicBezTo>
                <a:cubicBezTo>
                  <a:pt x="4875" y="11656"/>
                  <a:pt x="4843" y="11750"/>
                  <a:pt x="4812" y="11844"/>
                </a:cubicBezTo>
                <a:cubicBezTo>
                  <a:pt x="4812" y="11844"/>
                  <a:pt x="4812" y="11844"/>
                  <a:pt x="4812" y="11875"/>
                </a:cubicBezTo>
                <a:cubicBezTo>
                  <a:pt x="4781" y="11969"/>
                  <a:pt x="4750" y="12062"/>
                  <a:pt x="4750" y="12156"/>
                </a:cubicBezTo>
                <a:cubicBezTo>
                  <a:pt x="4750" y="12062"/>
                  <a:pt x="4781" y="11969"/>
                  <a:pt x="4812" y="11875"/>
                </a:cubicBezTo>
                <a:cubicBezTo>
                  <a:pt x="4781" y="11812"/>
                  <a:pt x="4781" y="11781"/>
                  <a:pt x="4781" y="11750"/>
                </a:cubicBezTo>
                <a:close/>
                <a:moveTo>
                  <a:pt x="5000" y="10687"/>
                </a:moveTo>
                <a:cubicBezTo>
                  <a:pt x="5031" y="10844"/>
                  <a:pt x="5000" y="11000"/>
                  <a:pt x="4968" y="11156"/>
                </a:cubicBezTo>
                <a:cubicBezTo>
                  <a:pt x="4937" y="11281"/>
                  <a:pt x="4843" y="11375"/>
                  <a:pt x="4781" y="11469"/>
                </a:cubicBezTo>
                <a:cubicBezTo>
                  <a:pt x="4687" y="11656"/>
                  <a:pt x="4562" y="11812"/>
                  <a:pt x="4437" y="12000"/>
                </a:cubicBezTo>
                <a:cubicBezTo>
                  <a:pt x="4437" y="12000"/>
                  <a:pt x="4437" y="12031"/>
                  <a:pt x="4437" y="12031"/>
                </a:cubicBezTo>
                <a:cubicBezTo>
                  <a:pt x="4437" y="12031"/>
                  <a:pt x="4437" y="12031"/>
                  <a:pt x="4437" y="12031"/>
                </a:cubicBezTo>
                <a:cubicBezTo>
                  <a:pt x="4437" y="12062"/>
                  <a:pt x="4406" y="12062"/>
                  <a:pt x="4406" y="12062"/>
                </a:cubicBezTo>
                <a:cubicBezTo>
                  <a:pt x="4406" y="12094"/>
                  <a:pt x="4406" y="12094"/>
                  <a:pt x="4406" y="12094"/>
                </a:cubicBezTo>
                <a:cubicBezTo>
                  <a:pt x="4406" y="12094"/>
                  <a:pt x="4375" y="12062"/>
                  <a:pt x="4375" y="12062"/>
                </a:cubicBezTo>
                <a:cubicBezTo>
                  <a:pt x="4406" y="11937"/>
                  <a:pt x="4500" y="11875"/>
                  <a:pt x="4531" y="11781"/>
                </a:cubicBezTo>
                <a:cubicBezTo>
                  <a:pt x="4656" y="11625"/>
                  <a:pt x="4781" y="11437"/>
                  <a:pt x="4875" y="11281"/>
                </a:cubicBezTo>
                <a:cubicBezTo>
                  <a:pt x="4937" y="11187"/>
                  <a:pt x="4968" y="11094"/>
                  <a:pt x="4968" y="10969"/>
                </a:cubicBezTo>
                <a:cubicBezTo>
                  <a:pt x="4968" y="10937"/>
                  <a:pt x="4968" y="10875"/>
                  <a:pt x="4968" y="10812"/>
                </a:cubicBezTo>
                <a:cubicBezTo>
                  <a:pt x="4968" y="10750"/>
                  <a:pt x="4968" y="10719"/>
                  <a:pt x="5000" y="10687"/>
                </a:cubicBezTo>
                <a:close/>
                <a:moveTo>
                  <a:pt x="4843" y="10875"/>
                </a:moveTo>
                <a:cubicBezTo>
                  <a:pt x="4843" y="10906"/>
                  <a:pt x="4843" y="10906"/>
                  <a:pt x="4843" y="10906"/>
                </a:cubicBezTo>
                <a:cubicBezTo>
                  <a:pt x="4812" y="10906"/>
                  <a:pt x="4812" y="10937"/>
                  <a:pt x="4843" y="10937"/>
                </a:cubicBezTo>
                <a:cubicBezTo>
                  <a:pt x="4843" y="10937"/>
                  <a:pt x="4843" y="10906"/>
                  <a:pt x="4843" y="10906"/>
                </a:cubicBezTo>
                <a:cubicBezTo>
                  <a:pt x="4843" y="10906"/>
                  <a:pt x="4843" y="10906"/>
                  <a:pt x="4843" y="10906"/>
                </a:cubicBezTo>
                <a:cubicBezTo>
                  <a:pt x="4843" y="10906"/>
                  <a:pt x="4843" y="10937"/>
                  <a:pt x="4843" y="10937"/>
                </a:cubicBezTo>
                <a:cubicBezTo>
                  <a:pt x="4843" y="10937"/>
                  <a:pt x="4843" y="10969"/>
                  <a:pt x="4843" y="10969"/>
                </a:cubicBezTo>
                <a:cubicBezTo>
                  <a:pt x="4812" y="10969"/>
                  <a:pt x="4812" y="10969"/>
                  <a:pt x="4812" y="10969"/>
                </a:cubicBezTo>
                <a:cubicBezTo>
                  <a:pt x="4812" y="10937"/>
                  <a:pt x="4843" y="10875"/>
                  <a:pt x="4781" y="10875"/>
                </a:cubicBezTo>
                <a:cubicBezTo>
                  <a:pt x="4781" y="10875"/>
                  <a:pt x="4781" y="10844"/>
                  <a:pt x="4781" y="10844"/>
                </a:cubicBezTo>
                <a:cubicBezTo>
                  <a:pt x="4812" y="10750"/>
                  <a:pt x="4812" y="10656"/>
                  <a:pt x="4812" y="10562"/>
                </a:cubicBezTo>
                <a:cubicBezTo>
                  <a:pt x="4812" y="10500"/>
                  <a:pt x="4843" y="10406"/>
                  <a:pt x="4875" y="10344"/>
                </a:cubicBezTo>
                <a:cubicBezTo>
                  <a:pt x="4906" y="10187"/>
                  <a:pt x="4937" y="10031"/>
                  <a:pt x="4968" y="9906"/>
                </a:cubicBezTo>
                <a:cubicBezTo>
                  <a:pt x="5000" y="9719"/>
                  <a:pt x="5000" y="9531"/>
                  <a:pt x="5093" y="9344"/>
                </a:cubicBezTo>
                <a:cubicBezTo>
                  <a:pt x="5093" y="9375"/>
                  <a:pt x="5093" y="9406"/>
                  <a:pt x="5093" y="9437"/>
                </a:cubicBezTo>
                <a:cubicBezTo>
                  <a:pt x="5062" y="9594"/>
                  <a:pt x="5062" y="9719"/>
                  <a:pt x="5000" y="9875"/>
                </a:cubicBezTo>
                <a:cubicBezTo>
                  <a:pt x="5000" y="9875"/>
                  <a:pt x="5000" y="9906"/>
                  <a:pt x="5031" y="9906"/>
                </a:cubicBezTo>
                <a:cubicBezTo>
                  <a:pt x="5062" y="9844"/>
                  <a:pt x="5062" y="9781"/>
                  <a:pt x="5093" y="9687"/>
                </a:cubicBezTo>
                <a:cubicBezTo>
                  <a:pt x="5062" y="9781"/>
                  <a:pt x="5062" y="9844"/>
                  <a:pt x="5031" y="9906"/>
                </a:cubicBezTo>
                <a:cubicBezTo>
                  <a:pt x="5062" y="9906"/>
                  <a:pt x="5031" y="9937"/>
                  <a:pt x="5031" y="9969"/>
                </a:cubicBezTo>
                <a:cubicBezTo>
                  <a:pt x="5000" y="10125"/>
                  <a:pt x="5000" y="10312"/>
                  <a:pt x="4906" y="10469"/>
                </a:cubicBezTo>
                <a:cubicBezTo>
                  <a:pt x="4875" y="10562"/>
                  <a:pt x="4843" y="10687"/>
                  <a:pt x="4843" y="10812"/>
                </a:cubicBezTo>
                <a:cubicBezTo>
                  <a:pt x="4812" y="10844"/>
                  <a:pt x="4812" y="10844"/>
                  <a:pt x="4843" y="10875"/>
                </a:cubicBezTo>
                <a:close/>
                <a:moveTo>
                  <a:pt x="4250" y="12031"/>
                </a:moveTo>
                <a:cubicBezTo>
                  <a:pt x="4218" y="12031"/>
                  <a:pt x="4218" y="12031"/>
                  <a:pt x="4218" y="12031"/>
                </a:cubicBezTo>
                <a:cubicBezTo>
                  <a:pt x="4250" y="11969"/>
                  <a:pt x="4250" y="11875"/>
                  <a:pt x="4281" y="11812"/>
                </a:cubicBezTo>
                <a:cubicBezTo>
                  <a:pt x="4343" y="11625"/>
                  <a:pt x="4437" y="11437"/>
                  <a:pt x="4562" y="11281"/>
                </a:cubicBezTo>
                <a:cubicBezTo>
                  <a:pt x="4562" y="11281"/>
                  <a:pt x="4562" y="11281"/>
                  <a:pt x="4562" y="11281"/>
                </a:cubicBezTo>
                <a:cubicBezTo>
                  <a:pt x="4562" y="11281"/>
                  <a:pt x="4562" y="11281"/>
                  <a:pt x="4593" y="11281"/>
                </a:cubicBezTo>
                <a:cubicBezTo>
                  <a:pt x="4437" y="11500"/>
                  <a:pt x="4343" y="11750"/>
                  <a:pt x="4250" y="12000"/>
                </a:cubicBezTo>
                <a:cubicBezTo>
                  <a:pt x="4250" y="12000"/>
                  <a:pt x="4250" y="12000"/>
                  <a:pt x="4250" y="12031"/>
                </a:cubicBezTo>
                <a:close/>
                <a:moveTo>
                  <a:pt x="4281" y="11500"/>
                </a:moveTo>
                <a:cubicBezTo>
                  <a:pt x="4312" y="11500"/>
                  <a:pt x="4312" y="11531"/>
                  <a:pt x="4312" y="11531"/>
                </a:cubicBezTo>
                <a:cubicBezTo>
                  <a:pt x="4312" y="11531"/>
                  <a:pt x="4312" y="11531"/>
                  <a:pt x="4312" y="11531"/>
                </a:cubicBezTo>
                <a:cubicBezTo>
                  <a:pt x="4250" y="11625"/>
                  <a:pt x="4218" y="11719"/>
                  <a:pt x="4187" y="11812"/>
                </a:cubicBezTo>
                <a:cubicBezTo>
                  <a:pt x="4187" y="11687"/>
                  <a:pt x="4250" y="11594"/>
                  <a:pt x="4281" y="11500"/>
                </a:cubicBezTo>
                <a:close/>
                <a:moveTo>
                  <a:pt x="4187" y="11469"/>
                </a:moveTo>
                <a:cubicBezTo>
                  <a:pt x="4218" y="11437"/>
                  <a:pt x="4218" y="11406"/>
                  <a:pt x="4250" y="11406"/>
                </a:cubicBezTo>
                <a:cubicBezTo>
                  <a:pt x="4250" y="11375"/>
                  <a:pt x="4250" y="11375"/>
                  <a:pt x="4281" y="11344"/>
                </a:cubicBezTo>
                <a:cubicBezTo>
                  <a:pt x="4250" y="11375"/>
                  <a:pt x="4250" y="11375"/>
                  <a:pt x="4250" y="11406"/>
                </a:cubicBezTo>
                <a:cubicBezTo>
                  <a:pt x="4218" y="11406"/>
                  <a:pt x="4218" y="11437"/>
                  <a:pt x="4187" y="11469"/>
                </a:cubicBezTo>
                <a:close/>
                <a:moveTo>
                  <a:pt x="4406" y="9531"/>
                </a:moveTo>
                <a:cubicBezTo>
                  <a:pt x="4468" y="9375"/>
                  <a:pt x="4593" y="9250"/>
                  <a:pt x="4656" y="9094"/>
                </a:cubicBezTo>
                <a:cubicBezTo>
                  <a:pt x="4593" y="9281"/>
                  <a:pt x="4531" y="9406"/>
                  <a:pt x="4406" y="9531"/>
                </a:cubicBezTo>
                <a:close/>
                <a:moveTo>
                  <a:pt x="4437" y="9281"/>
                </a:moveTo>
                <a:cubicBezTo>
                  <a:pt x="4437" y="9281"/>
                  <a:pt x="4437" y="9281"/>
                  <a:pt x="4437" y="9281"/>
                </a:cubicBezTo>
                <a:cubicBezTo>
                  <a:pt x="4437" y="9281"/>
                  <a:pt x="4437" y="9281"/>
                  <a:pt x="4437" y="9281"/>
                </a:cubicBezTo>
                <a:cubicBezTo>
                  <a:pt x="4437" y="9281"/>
                  <a:pt x="4437" y="9281"/>
                  <a:pt x="4437" y="9281"/>
                </a:cubicBezTo>
                <a:close/>
                <a:moveTo>
                  <a:pt x="4875" y="9437"/>
                </a:moveTo>
                <a:cubicBezTo>
                  <a:pt x="4906" y="9406"/>
                  <a:pt x="4906" y="9375"/>
                  <a:pt x="4937" y="9375"/>
                </a:cubicBezTo>
                <a:cubicBezTo>
                  <a:pt x="4906" y="9281"/>
                  <a:pt x="5000" y="9219"/>
                  <a:pt x="5000" y="9156"/>
                </a:cubicBezTo>
                <a:cubicBezTo>
                  <a:pt x="5000" y="9156"/>
                  <a:pt x="5000" y="9156"/>
                  <a:pt x="4968" y="9156"/>
                </a:cubicBezTo>
                <a:cubicBezTo>
                  <a:pt x="5000" y="9156"/>
                  <a:pt x="5000" y="9156"/>
                  <a:pt x="5000" y="9156"/>
                </a:cubicBezTo>
                <a:cubicBezTo>
                  <a:pt x="5000" y="9156"/>
                  <a:pt x="5000" y="9156"/>
                  <a:pt x="5000" y="9156"/>
                </a:cubicBezTo>
                <a:cubicBezTo>
                  <a:pt x="5031" y="9156"/>
                  <a:pt x="5031" y="9156"/>
                  <a:pt x="5031" y="9156"/>
                </a:cubicBezTo>
                <a:cubicBezTo>
                  <a:pt x="5031" y="9094"/>
                  <a:pt x="5062" y="9031"/>
                  <a:pt x="5093" y="8969"/>
                </a:cubicBezTo>
                <a:cubicBezTo>
                  <a:pt x="5125" y="9031"/>
                  <a:pt x="5093" y="9062"/>
                  <a:pt x="5093" y="9094"/>
                </a:cubicBezTo>
                <a:cubicBezTo>
                  <a:pt x="5031" y="9156"/>
                  <a:pt x="5031" y="9250"/>
                  <a:pt x="5000" y="9344"/>
                </a:cubicBezTo>
                <a:cubicBezTo>
                  <a:pt x="4968" y="9375"/>
                  <a:pt x="4968" y="9375"/>
                  <a:pt x="4937" y="9375"/>
                </a:cubicBezTo>
                <a:cubicBezTo>
                  <a:pt x="4937" y="9406"/>
                  <a:pt x="4937" y="9437"/>
                  <a:pt x="4937" y="9469"/>
                </a:cubicBezTo>
                <a:cubicBezTo>
                  <a:pt x="4906" y="9469"/>
                  <a:pt x="4906" y="9500"/>
                  <a:pt x="4906" y="9531"/>
                </a:cubicBezTo>
                <a:cubicBezTo>
                  <a:pt x="4875" y="9500"/>
                  <a:pt x="4875" y="9531"/>
                  <a:pt x="4843" y="9562"/>
                </a:cubicBezTo>
                <a:cubicBezTo>
                  <a:pt x="4812" y="9625"/>
                  <a:pt x="4781" y="9687"/>
                  <a:pt x="4750" y="9750"/>
                </a:cubicBezTo>
                <a:cubicBezTo>
                  <a:pt x="4750" y="9781"/>
                  <a:pt x="4718" y="9812"/>
                  <a:pt x="4687" y="9812"/>
                </a:cubicBezTo>
                <a:cubicBezTo>
                  <a:pt x="4750" y="9656"/>
                  <a:pt x="4812" y="9531"/>
                  <a:pt x="4875" y="9437"/>
                </a:cubicBezTo>
                <a:close/>
                <a:moveTo>
                  <a:pt x="4843" y="8937"/>
                </a:moveTo>
                <a:cubicBezTo>
                  <a:pt x="4843" y="8937"/>
                  <a:pt x="4843" y="8906"/>
                  <a:pt x="4843" y="8906"/>
                </a:cubicBezTo>
                <a:cubicBezTo>
                  <a:pt x="4843" y="8906"/>
                  <a:pt x="4843" y="8937"/>
                  <a:pt x="4843" y="8937"/>
                </a:cubicBezTo>
                <a:cubicBezTo>
                  <a:pt x="4843" y="8937"/>
                  <a:pt x="4843" y="8937"/>
                  <a:pt x="4843" y="8937"/>
                </a:cubicBezTo>
                <a:close/>
                <a:moveTo>
                  <a:pt x="6062" y="6281"/>
                </a:moveTo>
                <a:cubicBezTo>
                  <a:pt x="6031" y="6312"/>
                  <a:pt x="5968" y="6375"/>
                  <a:pt x="5906" y="6437"/>
                </a:cubicBezTo>
                <a:cubicBezTo>
                  <a:pt x="5906" y="6437"/>
                  <a:pt x="5906" y="6437"/>
                  <a:pt x="5906" y="6437"/>
                </a:cubicBezTo>
                <a:cubicBezTo>
                  <a:pt x="5937" y="6375"/>
                  <a:pt x="6000" y="6312"/>
                  <a:pt x="6031" y="6250"/>
                </a:cubicBezTo>
                <a:cubicBezTo>
                  <a:pt x="6062" y="6250"/>
                  <a:pt x="6062" y="6219"/>
                  <a:pt x="6093" y="6219"/>
                </a:cubicBezTo>
                <a:cubicBezTo>
                  <a:pt x="6093" y="6250"/>
                  <a:pt x="6093" y="6250"/>
                  <a:pt x="6062" y="6281"/>
                </a:cubicBezTo>
                <a:close/>
                <a:moveTo>
                  <a:pt x="6125" y="6344"/>
                </a:moveTo>
                <a:cubicBezTo>
                  <a:pt x="6093" y="6344"/>
                  <a:pt x="6093" y="6344"/>
                  <a:pt x="6062" y="6344"/>
                </a:cubicBezTo>
                <a:cubicBezTo>
                  <a:pt x="6062" y="6375"/>
                  <a:pt x="6062" y="6375"/>
                  <a:pt x="6062" y="6406"/>
                </a:cubicBezTo>
                <a:cubicBezTo>
                  <a:pt x="6062" y="6375"/>
                  <a:pt x="6062" y="6375"/>
                  <a:pt x="6062" y="6344"/>
                </a:cubicBezTo>
                <a:cubicBezTo>
                  <a:pt x="6093" y="6344"/>
                  <a:pt x="6093" y="6344"/>
                  <a:pt x="6125" y="6344"/>
                </a:cubicBezTo>
                <a:close/>
                <a:moveTo>
                  <a:pt x="6062" y="6562"/>
                </a:moveTo>
                <a:cubicBezTo>
                  <a:pt x="6062" y="6562"/>
                  <a:pt x="6093" y="6562"/>
                  <a:pt x="6093" y="6562"/>
                </a:cubicBezTo>
                <a:cubicBezTo>
                  <a:pt x="6125" y="6594"/>
                  <a:pt x="6093" y="6594"/>
                  <a:pt x="6093" y="6625"/>
                </a:cubicBezTo>
                <a:cubicBezTo>
                  <a:pt x="6000" y="6656"/>
                  <a:pt x="5968" y="6719"/>
                  <a:pt x="5875" y="6750"/>
                </a:cubicBezTo>
                <a:cubicBezTo>
                  <a:pt x="5906" y="6687"/>
                  <a:pt x="6000" y="6625"/>
                  <a:pt x="6062" y="6562"/>
                </a:cubicBezTo>
                <a:close/>
                <a:moveTo>
                  <a:pt x="6156" y="6625"/>
                </a:moveTo>
                <a:cubicBezTo>
                  <a:pt x="6250" y="6531"/>
                  <a:pt x="6375" y="6469"/>
                  <a:pt x="6437" y="6406"/>
                </a:cubicBezTo>
                <a:cubicBezTo>
                  <a:pt x="6468" y="6375"/>
                  <a:pt x="6468" y="6375"/>
                  <a:pt x="6500" y="6375"/>
                </a:cubicBezTo>
                <a:cubicBezTo>
                  <a:pt x="6468" y="6375"/>
                  <a:pt x="6468" y="6375"/>
                  <a:pt x="6437" y="6406"/>
                </a:cubicBezTo>
                <a:cubicBezTo>
                  <a:pt x="6468" y="6406"/>
                  <a:pt x="6468" y="6406"/>
                  <a:pt x="6500" y="6406"/>
                </a:cubicBezTo>
                <a:cubicBezTo>
                  <a:pt x="6375" y="6562"/>
                  <a:pt x="6218" y="6656"/>
                  <a:pt x="6093" y="6750"/>
                </a:cubicBezTo>
                <a:cubicBezTo>
                  <a:pt x="5968" y="6844"/>
                  <a:pt x="5843" y="6937"/>
                  <a:pt x="5750" y="7031"/>
                </a:cubicBezTo>
                <a:cubicBezTo>
                  <a:pt x="5656" y="7156"/>
                  <a:pt x="5531" y="7250"/>
                  <a:pt x="5437" y="7375"/>
                </a:cubicBezTo>
                <a:cubicBezTo>
                  <a:pt x="5437" y="7375"/>
                  <a:pt x="5406" y="7375"/>
                  <a:pt x="5406" y="7406"/>
                </a:cubicBezTo>
                <a:cubicBezTo>
                  <a:pt x="5406" y="7406"/>
                  <a:pt x="5406" y="7406"/>
                  <a:pt x="5375" y="7406"/>
                </a:cubicBezTo>
                <a:cubicBezTo>
                  <a:pt x="5375" y="7469"/>
                  <a:pt x="5343" y="7500"/>
                  <a:pt x="5281" y="7531"/>
                </a:cubicBezTo>
                <a:cubicBezTo>
                  <a:pt x="5281" y="7469"/>
                  <a:pt x="5343" y="7437"/>
                  <a:pt x="5375" y="7406"/>
                </a:cubicBezTo>
                <a:cubicBezTo>
                  <a:pt x="5437" y="7312"/>
                  <a:pt x="5500" y="7219"/>
                  <a:pt x="5593" y="7125"/>
                </a:cubicBezTo>
                <a:cubicBezTo>
                  <a:pt x="5687" y="7062"/>
                  <a:pt x="5750" y="6969"/>
                  <a:pt x="5812" y="6906"/>
                </a:cubicBezTo>
                <a:cubicBezTo>
                  <a:pt x="5906" y="6781"/>
                  <a:pt x="6031" y="6687"/>
                  <a:pt x="6156" y="6625"/>
                </a:cubicBezTo>
                <a:close/>
                <a:moveTo>
                  <a:pt x="6312" y="6406"/>
                </a:moveTo>
                <a:cubicBezTo>
                  <a:pt x="6312" y="6375"/>
                  <a:pt x="6343" y="6375"/>
                  <a:pt x="6343" y="6375"/>
                </a:cubicBezTo>
                <a:cubicBezTo>
                  <a:pt x="6343" y="6406"/>
                  <a:pt x="6343" y="6406"/>
                  <a:pt x="6343" y="6406"/>
                </a:cubicBezTo>
                <a:cubicBezTo>
                  <a:pt x="6312" y="6437"/>
                  <a:pt x="6281" y="6500"/>
                  <a:pt x="6218" y="6531"/>
                </a:cubicBezTo>
                <a:cubicBezTo>
                  <a:pt x="6218" y="6531"/>
                  <a:pt x="6187" y="6500"/>
                  <a:pt x="6187" y="6500"/>
                </a:cubicBezTo>
                <a:cubicBezTo>
                  <a:pt x="6187" y="6500"/>
                  <a:pt x="6187" y="6500"/>
                  <a:pt x="6218" y="6469"/>
                </a:cubicBezTo>
                <a:cubicBezTo>
                  <a:pt x="6250" y="6469"/>
                  <a:pt x="6281" y="6437"/>
                  <a:pt x="6312" y="6406"/>
                </a:cubicBezTo>
                <a:close/>
                <a:moveTo>
                  <a:pt x="6218" y="6312"/>
                </a:moveTo>
                <a:cubicBezTo>
                  <a:pt x="6218" y="6312"/>
                  <a:pt x="6218" y="6312"/>
                  <a:pt x="6218" y="6281"/>
                </a:cubicBezTo>
                <a:cubicBezTo>
                  <a:pt x="6218" y="6281"/>
                  <a:pt x="6218" y="6281"/>
                  <a:pt x="6218" y="6281"/>
                </a:cubicBezTo>
                <a:cubicBezTo>
                  <a:pt x="6218" y="6312"/>
                  <a:pt x="6218" y="6312"/>
                  <a:pt x="6218" y="6312"/>
                </a:cubicBezTo>
                <a:close/>
                <a:moveTo>
                  <a:pt x="6250" y="6250"/>
                </a:moveTo>
                <a:cubicBezTo>
                  <a:pt x="6250" y="6250"/>
                  <a:pt x="6250" y="6250"/>
                  <a:pt x="6250" y="6250"/>
                </a:cubicBezTo>
                <a:cubicBezTo>
                  <a:pt x="6250" y="6250"/>
                  <a:pt x="6250" y="6250"/>
                  <a:pt x="6250" y="6250"/>
                </a:cubicBezTo>
                <a:cubicBezTo>
                  <a:pt x="6250" y="6250"/>
                  <a:pt x="6250" y="6250"/>
                  <a:pt x="6250" y="6250"/>
                </a:cubicBezTo>
                <a:close/>
                <a:moveTo>
                  <a:pt x="6250" y="6250"/>
                </a:moveTo>
                <a:cubicBezTo>
                  <a:pt x="6281" y="6219"/>
                  <a:pt x="6281" y="6219"/>
                  <a:pt x="6281" y="6187"/>
                </a:cubicBezTo>
                <a:cubicBezTo>
                  <a:pt x="6281" y="6219"/>
                  <a:pt x="6281" y="6219"/>
                  <a:pt x="6250" y="6250"/>
                </a:cubicBezTo>
                <a:close/>
                <a:moveTo>
                  <a:pt x="6750" y="7031"/>
                </a:moveTo>
                <a:cubicBezTo>
                  <a:pt x="6781" y="6969"/>
                  <a:pt x="6843" y="6937"/>
                  <a:pt x="6875" y="6875"/>
                </a:cubicBezTo>
                <a:cubicBezTo>
                  <a:pt x="6906" y="6844"/>
                  <a:pt x="6937" y="6844"/>
                  <a:pt x="6906" y="6812"/>
                </a:cubicBezTo>
                <a:cubicBezTo>
                  <a:pt x="6937" y="6812"/>
                  <a:pt x="6968" y="6781"/>
                  <a:pt x="6968" y="6812"/>
                </a:cubicBezTo>
                <a:cubicBezTo>
                  <a:pt x="6968" y="6812"/>
                  <a:pt x="6968" y="6844"/>
                  <a:pt x="6968" y="6844"/>
                </a:cubicBezTo>
                <a:cubicBezTo>
                  <a:pt x="6906" y="6906"/>
                  <a:pt x="6843" y="7000"/>
                  <a:pt x="6750" y="7031"/>
                </a:cubicBezTo>
                <a:cubicBezTo>
                  <a:pt x="6750" y="7062"/>
                  <a:pt x="6750" y="7062"/>
                  <a:pt x="6750" y="7062"/>
                </a:cubicBezTo>
                <a:cubicBezTo>
                  <a:pt x="6750" y="7062"/>
                  <a:pt x="6750" y="7062"/>
                  <a:pt x="6750" y="7031"/>
                </a:cubicBezTo>
                <a:cubicBezTo>
                  <a:pt x="6750" y="7031"/>
                  <a:pt x="6750" y="7031"/>
                  <a:pt x="6750" y="7031"/>
                </a:cubicBezTo>
                <a:close/>
                <a:moveTo>
                  <a:pt x="7093" y="6437"/>
                </a:moveTo>
                <a:cubicBezTo>
                  <a:pt x="7093" y="6406"/>
                  <a:pt x="7093" y="6312"/>
                  <a:pt x="7125" y="6344"/>
                </a:cubicBezTo>
                <a:cubicBezTo>
                  <a:pt x="7187" y="6344"/>
                  <a:pt x="7125" y="6406"/>
                  <a:pt x="7125" y="6437"/>
                </a:cubicBezTo>
                <a:cubicBezTo>
                  <a:pt x="7093" y="6500"/>
                  <a:pt x="7125" y="6562"/>
                  <a:pt x="7062" y="6594"/>
                </a:cubicBezTo>
                <a:cubicBezTo>
                  <a:pt x="7031" y="6594"/>
                  <a:pt x="7031" y="6625"/>
                  <a:pt x="7000" y="6656"/>
                </a:cubicBezTo>
                <a:cubicBezTo>
                  <a:pt x="6937" y="6687"/>
                  <a:pt x="6906" y="6750"/>
                  <a:pt x="6875" y="6812"/>
                </a:cubicBezTo>
                <a:cubicBezTo>
                  <a:pt x="6906" y="6750"/>
                  <a:pt x="6937" y="6687"/>
                  <a:pt x="7000" y="6656"/>
                </a:cubicBezTo>
                <a:cubicBezTo>
                  <a:pt x="7000" y="6594"/>
                  <a:pt x="7000" y="6531"/>
                  <a:pt x="7062" y="6500"/>
                </a:cubicBezTo>
                <a:cubicBezTo>
                  <a:pt x="7093" y="6500"/>
                  <a:pt x="7062" y="6469"/>
                  <a:pt x="7093" y="6437"/>
                </a:cubicBezTo>
                <a:close/>
                <a:moveTo>
                  <a:pt x="7250" y="6281"/>
                </a:moveTo>
                <a:cubicBezTo>
                  <a:pt x="7218" y="6375"/>
                  <a:pt x="7218" y="6500"/>
                  <a:pt x="7156" y="6562"/>
                </a:cubicBezTo>
                <a:cubicBezTo>
                  <a:pt x="7187" y="6437"/>
                  <a:pt x="7218" y="6281"/>
                  <a:pt x="7250" y="6156"/>
                </a:cubicBezTo>
                <a:cubicBezTo>
                  <a:pt x="7281" y="6156"/>
                  <a:pt x="7281" y="6156"/>
                  <a:pt x="7281" y="6156"/>
                </a:cubicBezTo>
                <a:cubicBezTo>
                  <a:pt x="7281" y="6156"/>
                  <a:pt x="7281" y="6156"/>
                  <a:pt x="7281" y="6156"/>
                </a:cubicBezTo>
                <a:cubicBezTo>
                  <a:pt x="7281" y="6187"/>
                  <a:pt x="7281" y="6219"/>
                  <a:pt x="7250" y="6250"/>
                </a:cubicBezTo>
                <a:cubicBezTo>
                  <a:pt x="7250" y="6250"/>
                  <a:pt x="7250" y="6281"/>
                  <a:pt x="7250" y="6281"/>
                </a:cubicBezTo>
                <a:close/>
                <a:moveTo>
                  <a:pt x="6812" y="7906"/>
                </a:moveTo>
                <a:cubicBezTo>
                  <a:pt x="6812" y="7937"/>
                  <a:pt x="6812" y="7937"/>
                  <a:pt x="6843" y="7937"/>
                </a:cubicBezTo>
                <a:cubicBezTo>
                  <a:pt x="6750" y="8094"/>
                  <a:pt x="6625" y="8187"/>
                  <a:pt x="6500" y="8281"/>
                </a:cubicBezTo>
                <a:cubicBezTo>
                  <a:pt x="6375" y="8375"/>
                  <a:pt x="6281" y="8500"/>
                  <a:pt x="6156" y="8594"/>
                </a:cubicBezTo>
                <a:cubicBezTo>
                  <a:pt x="6031" y="8687"/>
                  <a:pt x="5906" y="8812"/>
                  <a:pt x="5812" y="8937"/>
                </a:cubicBezTo>
                <a:cubicBezTo>
                  <a:pt x="5781" y="8969"/>
                  <a:pt x="5750" y="9031"/>
                  <a:pt x="5687" y="9062"/>
                </a:cubicBezTo>
                <a:cubicBezTo>
                  <a:pt x="5687" y="9062"/>
                  <a:pt x="5687" y="9062"/>
                  <a:pt x="5687" y="9062"/>
                </a:cubicBezTo>
                <a:cubicBezTo>
                  <a:pt x="5687" y="9000"/>
                  <a:pt x="5750" y="8937"/>
                  <a:pt x="5812" y="8875"/>
                </a:cubicBezTo>
                <a:cubicBezTo>
                  <a:pt x="5875" y="8781"/>
                  <a:pt x="5937" y="8687"/>
                  <a:pt x="6000" y="8594"/>
                </a:cubicBezTo>
                <a:cubicBezTo>
                  <a:pt x="6062" y="8531"/>
                  <a:pt x="6156" y="8469"/>
                  <a:pt x="6218" y="8406"/>
                </a:cubicBezTo>
                <a:cubicBezTo>
                  <a:pt x="6250" y="8344"/>
                  <a:pt x="6312" y="8312"/>
                  <a:pt x="6343" y="8250"/>
                </a:cubicBezTo>
                <a:cubicBezTo>
                  <a:pt x="6343" y="8312"/>
                  <a:pt x="6375" y="8344"/>
                  <a:pt x="6406" y="8312"/>
                </a:cubicBezTo>
                <a:cubicBezTo>
                  <a:pt x="6468" y="8250"/>
                  <a:pt x="6531" y="8250"/>
                  <a:pt x="6531" y="8156"/>
                </a:cubicBezTo>
                <a:cubicBezTo>
                  <a:pt x="6593" y="8187"/>
                  <a:pt x="6593" y="8125"/>
                  <a:pt x="6625" y="8125"/>
                </a:cubicBezTo>
                <a:cubicBezTo>
                  <a:pt x="6656" y="8062"/>
                  <a:pt x="6718" y="8062"/>
                  <a:pt x="6718" y="7969"/>
                </a:cubicBezTo>
                <a:cubicBezTo>
                  <a:pt x="6781" y="8000"/>
                  <a:pt x="6781" y="7937"/>
                  <a:pt x="6812" y="7906"/>
                </a:cubicBezTo>
                <a:cubicBezTo>
                  <a:pt x="6843" y="7875"/>
                  <a:pt x="6875" y="7812"/>
                  <a:pt x="6906" y="7781"/>
                </a:cubicBezTo>
                <a:cubicBezTo>
                  <a:pt x="6875" y="7812"/>
                  <a:pt x="6843" y="7875"/>
                  <a:pt x="6812" y="7906"/>
                </a:cubicBezTo>
                <a:close/>
                <a:moveTo>
                  <a:pt x="6875" y="8031"/>
                </a:moveTo>
                <a:cubicBezTo>
                  <a:pt x="6875" y="8031"/>
                  <a:pt x="6875" y="8031"/>
                  <a:pt x="6875" y="8031"/>
                </a:cubicBezTo>
                <a:cubicBezTo>
                  <a:pt x="6875" y="8031"/>
                  <a:pt x="6875" y="8031"/>
                  <a:pt x="6875" y="8062"/>
                </a:cubicBezTo>
                <a:cubicBezTo>
                  <a:pt x="6875" y="8031"/>
                  <a:pt x="6875" y="8031"/>
                  <a:pt x="6875" y="8031"/>
                </a:cubicBezTo>
                <a:cubicBezTo>
                  <a:pt x="6875" y="8031"/>
                  <a:pt x="6875" y="8031"/>
                  <a:pt x="6875" y="8031"/>
                </a:cubicBezTo>
                <a:close/>
                <a:moveTo>
                  <a:pt x="5468" y="9031"/>
                </a:moveTo>
                <a:cubicBezTo>
                  <a:pt x="5562" y="8875"/>
                  <a:pt x="5687" y="8750"/>
                  <a:pt x="5781" y="8594"/>
                </a:cubicBezTo>
                <a:cubicBezTo>
                  <a:pt x="5812" y="8594"/>
                  <a:pt x="5812" y="8562"/>
                  <a:pt x="5843" y="8531"/>
                </a:cubicBezTo>
                <a:cubicBezTo>
                  <a:pt x="5843" y="8531"/>
                  <a:pt x="5843" y="8531"/>
                  <a:pt x="5843" y="8531"/>
                </a:cubicBezTo>
                <a:cubicBezTo>
                  <a:pt x="5906" y="8469"/>
                  <a:pt x="5968" y="8406"/>
                  <a:pt x="5968" y="8312"/>
                </a:cubicBezTo>
                <a:cubicBezTo>
                  <a:pt x="6031" y="8312"/>
                  <a:pt x="6062" y="8250"/>
                  <a:pt x="6093" y="8219"/>
                </a:cubicBezTo>
                <a:lnTo>
                  <a:pt x="6093" y="8219"/>
                </a:lnTo>
                <a:cubicBezTo>
                  <a:pt x="6125" y="8125"/>
                  <a:pt x="6218" y="8094"/>
                  <a:pt x="6250" y="8031"/>
                </a:cubicBezTo>
                <a:cubicBezTo>
                  <a:pt x="6187" y="8062"/>
                  <a:pt x="6125" y="8125"/>
                  <a:pt x="6062" y="8219"/>
                </a:cubicBezTo>
                <a:cubicBezTo>
                  <a:pt x="6031" y="8250"/>
                  <a:pt x="6000" y="8281"/>
                  <a:pt x="5968" y="8312"/>
                </a:cubicBezTo>
                <a:cubicBezTo>
                  <a:pt x="5906" y="8375"/>
                  <a:pt x="5875" y="8469"/>
                  <a:pt x="5781" y="8531"/>
                </a:cubicBezTo>
                <a:cubicBezTo>
                  <a:pt x="5687" y="8687"/>
                  <a:pt x="5531" y="8812"/>
                  <a:pt x="5437" y="8969"/>
                </a:cubicBezTo>
                <a:cubicBezTo>
                  <a:pt x="5312" y="9125"/>
                  <a:pt x="5218" y="9281"/>
                  <a:pt x="5187" y="9500"/>
                </a:cubicBezTo>
                <a:cubicBezTo>
                  <a:pt x="5187" y="9500"/>
                  <a:pt x="5187" y="9500"/>
                  <a:pt x="5156" y="9531"/>
                </a:cubicBezTo>
                <a:cubicBezTo>
                  <a:pt x="5156" y="9531"/>
                  <a:pt x="5156" y="9531"/>
                  <a:pt x="5125" y="9500"/>
                </a:cubicBezTo>
                <a:cubicBezTo>
                  <a:pt x="5125" y="9531"/>
                  <a:pt x="5125" y="9562"/>
                  <a:pt x="5093" y="9594"/>
                </a:cubicBezTo>
                <a:cubicBezTo>
                  <a:pt x="5125" y="9562"/>
                  <a:pt x="5125" y="9531"/>
                  <a:pt x="5125" y="9500"/>
                </a:cubicBezTo>
                <a:cubicBezTo>
                  <a:pt x="5156" y="9344"/>
                  <a:pt x="5250" y="9187"/>
                  <a:pt x="5312" y="9031"/>
                </a:cubicBezTo>
                <a:cubicBezTo>
                  <a:pt x="5375" y="8937"/>
                  <a:pt x="5468" y="8844"/>
                  <a:pt x="5531" y="8719"/>
                </a:cubicBezTo>
                <a:cubicBezTo>
                  <a:pt x="5500" y="8719"/>
                  <a:pt x="5500" y="8719"/>
                  <a:pt x="5500" y="8719"/>
                </a:cubicBezTo>
                <a:cubicBezTo>
                  <a:pt x="5500" y="8719"/>
                  <a:pt x="5500" y="8719"/>
                  <a:pt x="5531" y="8719"/>
                </a:cubicBezTo>
                <a:cubicBezTo>
                  <a:pt x="5562" y="8719"/>
                  <a:pt x="5562" y="8656"/>
                  <a:pt x="5625" y="8625"/>
                </a:cubicBezTo>
                <a:cubicBezTo>
                  <a:pt x="5625" y="8594"/>
                  <a:pt x="5625" y="8594"/>
                  <a:pt x="5625" y="8562"/>
                </a:cubicBezTo>
                <a:cubicBezTo>
                  <a:pt x="5687" y="8469"/>
                  <a:pt x="5718" y="8375"/>
                  <a:pt x="5781" y="8250"/>
                </a:cubicBezTo>
                <a:cubicBezTo>
                  <a:pt x="5781" y="8250"/>
                  <a:pt x="5812" y="8219"/>
                  <a:pt x="5781" y="8219"/>
                </a:cubicBezTo>
                <a:cubicBezTo>
                  <a:pt x="5781" y="8187"/>
                  <a:pt x="5750" y="8219"/>
                  <a:pt x="5750" y="8250"/>
                </a:cubicBezTo>
                <a:cubicBezTo>
                  <a:pt x="5656" y="8344"/>
                  <a:pt x="5656" y="8469"/>
                  <a:pt x="5593" y="8594"/>
                </a:cubicBezTo>
                <a:cubicBezTo>
                  <a:pt x="5562" y="8625"/>
                  <a:pt x="5531" y="8656"/>
                  <a:pt x="5500" y="8719"/>
                </a:cubicBezTo>
                <a:cubicBezTo>
                  <a:pt x="5437" y="8750"/>
                  <a:pt x="5437" y="8812"/>
                  <a:pt x="5375" y="8875"/>
                </a:cubicBezTo>
                <a:cubicBezTo>
                  <a:pt x="5375" y="8875"/>
                  <a:pt x="5343" y="8906"/>
                  <a:pt x="5343" y="8906"/>
                </a:cubicBezTo>
                <a:cubicBezTo>
                  <a:pt x="5281" y="9000"/>
                  <a:pt x="5250" y="9062"/>
                  <a:pt x="5187" y="9156"/>
                </a:cubicBezTo>
                <a:cubicBezTo>
                  <a:pt x="5187" y="9062"/>
                  <a:pt x="5250" y="8937"/>
                  <a:pt x="5312" y="8906"/>
                </a:cubicBezTo>
                <a:cubicBezTo>
                  <a:pt x="5375" y="8812"/>
                  <a:pt x="5468" y="8719"/>
                  <a:pt x="5531" y="8625"/>
                </a:cubicBezTo>
                <a:cubicBezTo>
                  <a:pt x="5593" y="8469"/>
                  <a:pt x="5656" y="8312"/>
                  <a:pt x="5750" y="8187"/>
                </a:cubicBezTo>
                <a:cubicBezTo>
                  <a:pt x="5781" y="8125"/>
                  <a:pt x="5812" y="8062"/>
                  <a:pt x="5843" y="7969"/>
                </a:cubicBezTo>
                <a:cubicBezTo>
                  <a:pt x="5937" y="7906"/>
                  <a:pt x="6000" y="7844"/>
                  <a:pt x="6093" y="7781"/>
                </a:cubicBezTo>
                <a:cubicBezTo>
                  <a:pt x="5937" y="7781"/>
                  <a:pt x="5906" y="7875"/>
                  <a:pt x="5843" y="7969"/>
                </a:cubicBezTo>
                <a:cubicBezTo>
                  <a:pt x="5750" y="8000"/>
                  <a:pt x="5750" y="8094"/>
                  <a:pt x="5687" y="8156"/>
                </a:cubicBezTo>
                <a:cubicBezTo>
                  <a:pt x="5687" y="8187"/>
                  <a:pt x="5656" y="8219"/>
                  <a:pt x="5656" y="8219"/>
                </a:cubicBezTo>
                <a:cubicBezTo>
                  <a:pt x="5656" y="8250"/>
                  <a:pt x="5656" y="8250"/>
                  <a:pt x="5656" y="8250"/>
                </a:cubicBezTo>
                <a:cubicBezTo>
                  <a:pt x="5656" y="8250"/>
                  <a:pt x="5656" y="8250"/>
                  <a:pt x="5656" y="8219"/>
                </a:cubicBezTo>
                <a:cubicBezTo>
                  <a:pt x="5656" y="8219"/>
                  <a:pt x="5656" y="8219"/>
                  <a:pt x="5625" y="8219"/>
                </a:cubicBezTo>
                <a:cubicBezTo>
                  <a:pt x="5718" y="8031"/>
                  <a:pt x="5843" y="7875"/>
                  <a:pt x="6000" y="7719"/>
                </a:cubicBezTo>
                <a:cubicBezTo>
                  <a:pt x="6156" y="7594"/>
                  <a:pt x="6343" y="7531"/>
                  <a:pt x="6531" y="7437"/>
                </a:cubicBezTo>
                <a:cubicBezTo>
                  <a:pt x="6500" y="7500"/>
                  <a:pt x="6406" y="7562"/>
                  <a:pt x="6312" y="7594"/>
                </a:cubicBezTo>
                <a:cubicBezTo>
                  <a:pt x="6281" y="7625"/>
                  <a:pt x="6218" y="7656"/>
                  <a:pt x="6156" y="7687"/>
                </a:cubicBezTo>
                <a:cubicBezTo>
                  <a:pt x="6125" y="7687"/>
                  <a:pt x="6093" y="7719"/>
                  <a:pt x="6125" y="7719"/>
                </a:cubicBezTo>
                <a:cubicBezTo>
                  <a:pt x="6125" y="7750"/>
                  <a:pt x="6156" y="7750"/>
                  <a:pt x="6156" y="7750"/>
                </a:cubicBezTo>
                <a:cubicBezTo>
                  <a:pt x="6218" y="7719"/>
                  <a:pt x="6250" y="7687"/>
                  <a:pt x="6312" y="7687"/>
                </a:cubicBezTo>
                <a:cubicBezTo>
                  <a:pt x="6281" y="7750"/>
                  <a:pt x="6187" y="7781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062" y="7844"/>
                  <a:pt x="6000" y="7906"/>
                  <a:pt x="5968" y="7969"/>
                </a:cubicBezTo>
                <a:cubicBezTo>
                  <a:pt x="5906" y="8000"/>
                  <a:pt x="5875" y="8062"/>
                  <a:pt x="5843" y="8125"/>
                </a:cubicBezTo>
                <a:cubicBezTo>
                  <a:pt x="5812" y="8125"/>
                  <a:pt x="5812" y="8156"/>
                  <a:pt x="5843" y="8156"/>
                </a:cubicBezTo>
                <a:cubicBezTo>
                  <a:pt x="5843" y="8156"/>
                  <a:pt x="5875" y="8156"/>
                  <a:pt x="5875" y="8156"/>
                </a:cubicBezTo>
                <a:cubicBezTo>
                  <a:pt x="5875" y="8094"/>
                  <a:pt x="5937" y="8062"/>
                  <a:pt x="5968" y="8000"/>
                </a:cubicBezTo>
                <a:cubicBezTo>
                  <a:pt x="6031" y="7937"/>
                  <a:pt x="6093" y="7906"/>
                  <a:pt x="6156" y="7844"/>
                </a:cubicBezTo>
                <a:cubicBezTo>
                  <a:pt x="6156" y="7844"/>
                  <a:pt x="6156" y="7844"/>
                  <a:pt x="6156" y="7844"/>
                </a:cubicBezTo>
                <a:cubicBezTo>
                  <a:pt x="6218" y="7844"/>
                  <a:pt x="6250" y="7781"/>
                  <a:pt x="6281" y="7781"/>
                </a:cubicBezTo>
                <a:cubicBezTo>
                  <a:pt x="6312" y="7750"/>
                  <a:pt x="6343" y="7719"/>
                  <a:pt x="6375" y="7719"/>
                </a:cubicBezTo>
                <a:cubicBezTo>
                  <a:pt x="6375" y="7719"/>
                  <a:pt x="6375" y="7719"/>
                  <a:pt x="6375" y="7719"/>
                </a:cubicBezTo>
                <a:cubicBezTo>
                  <a:pt x="6375" y="7750"/>
                  <a:pt x="6375" y="7750"/>
                  <a:pt x="6375" y="7750"/>
                </a:cubicBezTo>
                <a:cubicBezTo>
                  <a:pt x="6375" y="7750"/>
                  <a:pt x="6375" y="7750"/>
                  <a:pt x="6375" y="7750"/>
                </a:cubicBezTo>
                <a:cubicBezTo>
                  <a:pt x="6281" y="7844"/>
                  <a:pt x="6187" y="7906"/>
                  <a:pt x="6093" y="7969"/>
                </a:cubicBezTo>
                <a:cubicBezTo>
                  <a:pt x="6031" y="8000"/>
                  <a:pt x="6000" y="8062"/>
                  <a:pt x="5937" y="8125"/>
                </a:cubicBezTo>
                <a:cubicBezTo>
                  <a:pt x="5937" y="8125"/>
                  <a:pt x="5937" y="8156"/>
                  <a:pt x="5937" y="8156"/>
                </a:cubicBezTo>
                <a:cubicBezTo>
                  <a:pt x="5937" y="8187"/>
                  <a:pt x="5906" y="8187"/>
                  <a:pt x="5906" y="8219"/>
                </a:cubicBezTo>
                <a:cubicBezTo>
                  <a:pt x="5843" y="8312"/>
                  <a:pt x="5781" y="8406"/>
                  <a:pt x="5718" y="8531"/>
                </a:cubicBezTo>
                <a:cubicBezTo>
                  <a:pt x="5750" y="8406"/>
                  <a:pt x="5812" y="8281"/>
                  <a:pt x="5875" y="8187"/>
                </a:cubicBezTo>
                <a:lnTo>
                  <a:pt x="5875" y="8187"/>
                </a:lnTo>
                <a:cubicBezTo>
                  <a:pt x="5906" y="8156"/>
                  <a:pt x="5906" y="8156"/>
                  <a:pt x="5937" y="8156"/>
                </a:cubicBezTo>
                <a:cubicBezTo>
                  <a:pt x="6093" y="8000"/>
                  <a:pt x="6281" y="7906"/>
                  <a:pt x="6437" y="7781"/>
                </a:cubicBezTo>
                <a:cubicBezTo>
                  <a:pt x="6468" y="7750"/>
                  <a:pt x="6468" y="7750"/>
                  <a:pt x="6500" y="7750"/>
                </a:cubicBezTo>
                <a:cubicBezTo>
                  <a:pt x="6468" y="7750"/>
                  <a:pt x="6468" y="7750"/>
                  <a:pt x="6437" y="7781"/>
                </a:cubicBezTo>
                <a:cubicBezTo>
                  <a:pt x="6468" y="7781"/>
                  <a:pt x="6468" y="7781"/>
                  <a:pt x="6500" y="7781"/>
                </a:cubicBezTo>
                <a:cubicBezTo>
                  <a:pt x="6406" y="7844"/>
                  <a:pt x="6343" y="7937"/>
                  <a:pt x="6281" y="8000"/>
                </a:cubicBezTo>
                <a:cubicBezTo>
                  <a:pt x="6343" y="8000"/>
                  <a:pt x="6375" y="7969"/>
                  <a:pt x="6406" y="7937"/>
                </a:cubicBezTo>
                <a:cubicBezTo>
                  <a:pt x="6437" y="7906"/>
                  <a:pt x="6468" y="7875"/>
                  <a:pt x="6500" y="7875"/>
                </a:cubicBezTo>
                <a:cubicBezTo>
                  <a:pt x="6500" y="7844"/>
                  <a:pt x="6531" y="7844"/>
                  <a:pt x="6531" y="7844"/>
                </a:cubicBezTo>
                <a:cubicBezTo>
                  <a:pt x="6531" y="7844"/>
                  <a:pt x="6500" y="7844"/>
                  <a:pt x="6500" y="7875"/>
                </a:cubicBezTo>
                <a:cubicBezTo>
                  <a:pt x="6500" y="7875"/>
                  <a:pt x="6500" y="7906"/>
                  <a:pt x="6500" y="7906"/>
                </a:cubicBezTo>
                <a:cubicBezTo>
                  <a:pt x="6437" y="8000"/>
                  <a:pt x="6375" y="8031"/>
                  <a:pt x="6312" y="8125"/>
                </a:cubicBezTo>
                <a:cubicBezTo>
                  <a:pt x="6312" y="8125"/>
                  <a:pt x="6281" y="8125"/>
                  <a:pt x="6281" y="8156"/>
                </a:cubicBezTo>
                <a:cubicBezTo>
                  <a:pt x="6187" y="8250"/>
                  <a:pt x="6093" y="8312"/>
                  <a:pt x="6000" y="8437"/>
                </a:cubicBezTo>
                <a:cubicBezTo>
                  <a:pt x="6000" y="8437"/>
                  <a:pt x="6000" y="8437"/>
                  <a:pt x="6000" y="8437"/>
                </a:cubicBezTo>
                <a:cubicBezTo>
                  <a:pt x="6000" y="8437"/>
                  <a:pt x="6000" y="8437"/>
                  <a:pt x="6000" y="8437"/>
                </a:cubicBezTo>
                <a:cubicBezTo>
                  <a:pt x="5875" y="8531"/>
                  <a:pt x="5781" y="8687"/>
                  <a:pt x="5656" y="8812"/>
                </a:cubicBezTo>
                <a:cubicBezTo>
                  <a:pt x="5593" y="8906"/>
                  <a:pt x="5531" y="8969"/>
                  <a:pt x="5468" y="9062"/>
                </a:cubicBezTo>
                <a:cubicBezTo>
                  <a:pt x="5468" y="9062"/>
                  <a:pt x="5468" y="9031"/>
                  <a:pt x="5468" y="9031"/>
                </a:cubicBezTo>
                <a:close/>
                <a:moveTo>
                  <a:pt x="5468" y="9250"/>
                </a:moveTo>
                <a:cubicBezTo>
                  <a:pt x="5468" y="9250"/>
                  <a:pt x="5468" y="9250"/>
                  <a:pt x="5468" y="9250"/>
                </a:cubicBezTo>
                <a:cubicBezTo>
                  <a:pt x="5468" y="9250"/>
                  <a:pt x="5468" y="9250"/>
                  <a:pt x="5468" y="9250"/>
                </a:cubicBezTo>
                <a:close/>
                <a:moveTo>
                  <a:pt x="5312" y="10875"/>
                </a:moveTo>
                <a:cubicBezTo>
                  <a:pt x="5343" y="10875"/>
                  <a:pt x="5343" y="10875"/>
                  <a:pt x="5343" y="10875"/>
                </a:cubicBezTo>
                <a:cubicBezTo>
                  <a:pt x="5343" y="10875"/>
                  <a:pt x="5343" y="10875"/>
                  <a:pt x="5312" y="10875"/>
                </a:cubicBezTo>
                <a:cubicBezTo>
                  <a:pt x="5312" y="10906"/>
                  <a:pt x="5312" y="10937"/>
                  <a:pt x="5281" y="10969"/>
                </a:cubicBezTo>
                <a:cubicBezTo>
                  <a:pt x="5281" y="10969"/>
                  <a:pt x="5250" y="10969"/>
                  <a:pt x="5281" y="10969"/>
                </a:cubicBezTo>
                <a:cubicBezTo>
                  <a:pt x="5281" y="10875"/>
                  <a:pt x="5281" y="10781"/>
                  <a:pt x="5343" y="10687"/>
                </a:cubicBezTo>
                <a:cubicBezTo>
                  <a:pt x="5375" y="10750"/>
                  <a:pt x="5312" y="10812"/>
                  <a:pt x="5312" y="10875"/>
                </a:cubicBezTo>
                <a:close/>
                <a:moveTo>
                  <a:pt x="5625" y="11844"/>
                </a:moveTo>
                <a:cubicBezTo>
                  <a:pt x="5625" y="11844"/>
                  <a:pt x="5625" y="11844"/>
                  <a:pt x="5625" y="11844"/>
                </a:cubicBezTo>
                <a:cubicBezTo>
                  <a:pt x="5625" y="11844"/>
                  <a:pt x="5625" y="11844"/>
                  <a:pt x="5593" y="11875"/>
                </a:cubicBezTo>
                <a:cubicBezTo>
                  <a:pt x="5625" y="11844"/>
                  <a:pt x="5625" y="11844"/>
                  <a:pt x="5625" y="11844"/>
                </a:cubicBezTo>
                <a:cubicBezTo>
                  <a:pt x="5593" y="11812"/>
                  <a:pt x="5593" y="11781"/>
                  <a:pt x="5593" y="11750"/>
                </a:cubicBezTo>
                <a:cubicBezTo>
                  <a:pt x="5593" y="11719"/>
                  <a:pt x="5593" y="11687"/>
                  <a:pt x="5562" y="11687"/>
                </a:cubicBezTo>
                <a:cubicBezTo>
                  <a:pt x="5531" y="11656"/>
                  <a:pt x="5500" y="11687"/>
                  <a:pt x="5500" y="11625"/>
                </a:cubicBezTo>
                <a:cubicBezTo>
                  <a:pt x="5468" y="11562"/>
                  <a:pt x="5437" y="11469"/>
                  <a:pt x="5468" y="11375"/>
                </a:cubicBezTo>
                <a:cubicBezTo>
                  <a:pt x="5468" y="11375"/>
                  <a:pt x="5500" y="11344"/>
                  <a:pt x="5500" y="11344"/>
                </a:cubicBezTo>
                <a:cubicBezTo>
                  <a:pt x="5500" y="11437"/>
                  <a:pt x="5500" y="11500"/>
                  <a:pt x="5531" y="11562"/>
                </a:cubicBezTo>
                <a:cubicBezTo>
                  <a:pt x="5531" y="11562"/>
                  <a:pt x="5531" y="11562"/>
                  <a:pt x="5531" y="11562"/>
                </a:cubicBezTo>
                <a:cubicBezTo>
                  <a:pt x="5562" y="11437"/>
                  <a:pt x="5531" y="11312"/>
                  <a:pt x="5562" y="11187"/>
                </a:cubicBezTo>
                <a:cubicBezTo>
                  <a:pt x="5593" y="11219"/>
                  <a:pt x="5593" y="11219"/>
                  <a:pt x="5593" y="11219"/>
                </a:cubicBezTo>
                <a:cubicBezTo>
                  <a:pt x="5593" y="11437"/>
                  <a:pt x="5593" y="11625"/>
                  <a:pt x="5625" y="11844"/>
                </a:cubicBezTo>
                <a:close/>
                <a:moveTo>
                  <a:pt x="5750" y="10687"/>
                </a:moveTo>
                <a:cubicBezTo>
                  <a:pt x="5750" y="10687"/>
                  <a:pt x="5750" y="10656"/>
                  <a:pt x="5750" y="10656"/>
                </a:cubicBezTo>
                <a:cubicBezTo>
                  <a:pt x="5750" y="10656"/>
                  <a:pt x="5750" y="10687"/>
                  <a:pt x="5750" y="10687"/>
                </a:cubicBezTo>
                <a:cubicBezTo>
                  <a:pt x="5812" y="10687"/>
                  <a:pt x="5781" y="10656"/>
                  <a:pt x="5812" y="10625"/>
                </a:cubicBezTo>
                <a:cubicBezTo>
                  <a:pt x="5812" y="10594"/>
                  <a:pt x="5812" y="10594"/>
                  <a:pt x="5843" y="10562"/>
                </a:cubicBezTo>
                <a:cubicBezTo>
                  <a:pt x="5843" y="10562"/>
                  <a:pt x="5843" y="10562"/>
                  <a:pt x="5843" y="10562"/>
                </a:cubicBezTo>
                <a:cubicBezTo>
                  <a:pt x="5843" y="10594"/>
                  <a:pt x="5843" y="10656"/>
                  <a:pt x="5812" y="10687"/>
                </a:cubicBezTo>
                <a:cubicBezTo>
                  <a:pt x="5812" y="10719"/>
                  <a:pt x="5812" y="10781"/>
                  <a:pt x="5781" y="10750"/>
                </a:cubicBezTo>
                <a:cubicBezTo>
                  <a:pt x="5718" y="10750"/>
                  <a:pt x="5781" y="10719"/>
                  <a:pt x="5750" y="10687"/>
                </a:cubicBezTo>
                <a:cubicBezTo>
                  <a:pt x="5718" y="10719"/>
                  <a:pt x="5718" y="10781"/>
                  <a:pt x="5687" y="10844"/>
                </a:cubicBezTo>
                <a:cubicBezTo>
                  <a:pt x="5718" y="10781"/>
                  <a:pt x="5718" y="10719"/>
                  <a:pt x="5750" y="10687"/>
                </a:cubicBezTo>
                <a:close/>
                <a:moveTo>
                  <a:pt x="5906" y="10844"/>
                </a:moveTo>
                <a:cubicBezTo>
                  <a:pt x="5906" y="10875"/>
                  <a:pt x="5906" y="10906"/>
                  <a:pt x="5875" y="10906"/>
                </a:cubicBezTo>
                <a:cubicBezTo>
                  <a:pt x="5875" y="10812"/>
                  <a:pt x="5875" y="10719"/>
                  <a:pt x="5875" y="10594"/>
                </a:cubicBezTo>
                <a:cubicBezTo>
                  <a:pt x="5875" y="10594"/>
                  <a:pt x="5875" y="10594"/>
                  <a:pt x="5875" y="10594"/>
                </a:cubicBezTo>
                <a:cubicBezTo>
                  <a:pt x="5875" y="10656"/>
                  <a:pt x="5906" y="10687"/>
                  <a:pt x="5906" y="10750"/>
                </a:cubicBezTo>
                <a:cubicBezTo>
                  <a:pt x="5875" y="10781"/>
                  <a:pt x="5875" y="10812"/>
                  <a:pt x="5906" y="10844"/>
                </a:cubicBezTo>
                <a:close/>
                <a:moveTo>
                  <a:pt x="5906" y="10969"/>
                </a:moveTo>
                <a:cubicBezTo>
                  <a:pt x="5906" y="10937"/>
                  <a:pt x="5875" y="10937"/>
                  <a:pt x="5875" y="10906"/>
                </a:cubicBezTo>
                <a:cubicBezTo>
                  <a:pt x="5875" y="10906"/>
                  <a:pt x="5875" y="10906"/>
                  <a:pt x="5875" y="10906"/>
                </a:cubicBezTo>
                <a:cubicBezTo>
                  <a:pt x="5875" y="10937"/>
                  <a:pt x="5906" y="10937"/>
                  <a:pt x="5906" y="10969"/>
                </a:cubicBezTo>
                <a:close/>
                <a:moveTo>
                  <a:pt x="6000" y="10344"/>
                </a:moveTo>
                <a:cubicBezTo>
                  <a:pt x="6000" y="10500"/>
                  <a:pt x="5968" y="10687"/>
                  <a:pt x="6000" y="10844"/>
                </a:cubicBezTo>
                <a:cubicBezTo>
                  <a:pt x="6031" y="11000"/>
                  <a:pt x="6093" y="11187"/>
                  <a:pt x="6125" y="11344"/>
                </a:cubicBezTo>
                <a:cubicBezTo>
                  <a:pt x="6000" y="11281"/>
                  <a:pt x="5906" y="10594"/>
                  <a:pt x="5968" y="10250"/>
                </a:cubicBezTo>
                <a:cubicBezTo>
                  <a:pt x="6000" y="10281"/>
                  <a:pt x="5968" y="10312"/>
                  <a:pt x="6000" y="10344"/>
                </a:cubicBezTo>
                <a:close/>
                <a:moveTo>
                  <a:pt x="6156" y="10344"/>
                </a:moveTo>
                <a:cubicBezTo>
                  <a:pt x="6187" y="10250"/>
                  <a:pt x="6156" y="10125"/>
                  <a:pt x="6156" y="10031"/>
                </a:cubicBezTo>
                <a:cubicBezTo>
                  <a:pt x="6156" y="10031"/>
                  <a:pt x="6156" y="10031"/>
                  <a:pt x="6156" y="10031"/>
                </a:cubicBezTo>
                <a:cubicBezTo>
                  <a:pt x="6156" y="10000"/>
                  <a:pt x="6187" y="9969"/>
                  <a:pt x="6187" y="9937"/>
                </a:cubicBezTo>
                <a:cubicBezTo>
                  <a:pt x="6187" y="10062"/>
                  <a:pt x="6187" y="10156"/>
                  <a:pt x="6187" y="10250"/>
                </a:cubicBezTo>
                <a:cubicBezTo>
                  <a:pt x="6187" y="10281"/>
                  <a:pt x="6187" y="10312"/>
                  <a:pt x="6218" y="10312"/>
                </a:cubicBezTo>
                <a:cubicBezTo>
                  <a:pt x="6218" y="10312"/>
                  <a:pt x="6218" y="10312"/>
                  <a:pt x="6218" y="10312"/>
                </a:cubicBezTo>
                <a:cubicBezTo>
                  <a:pt x="6250" y="10469"/>
                  <a:pt x="6281" y="10625"/>
                  <a:pt x="6343" y="10750"/>
                </a:cubicBezTo>
                <a:cubicBezTo>
                  <a:pt x="6343" y="10750"/>
                  <a:pt x="6343" y="10781"/>
                  <a:pt x="6312" y="10781"/>
                </a:cubicBezTo>
                <a:cubicBezTo>
                  <a:pt x="6281" y="10719"/>
                  <a:pt x="6250" y="10625"/>
                  <a:pt x="6218" y="10562"/>
                </a:cubicBezTo>
                <a:cubicBezTo>
                  <a:pt x="6218" y="10562"/>
                  <a:pt x="6218" y="10562"/>
                  <a:pt x="6187" y="10562"/>
                </a:cubicBezTo>
                <a:cubicBezTo>
                  <a:pt x="6187" y="10594"/>
                  <a:pt x="6187" y="10625"/>
                  <a:pt x="6187" y="10656"/>
                </a:cubicBezTo>
                <a:cubicBezTo>
                  <a:pt x="6187" y="10656"/>
                  <a:pt x="6187" y="10656"/>
                  <a:pt x="6187" y="10656"/>
                </a:cubicBezTo>
                <a:cubicBezTo>
                  <a:pt x="6281" y="10750"/>
                  <a:pt x="6312" y="10844"/>
                  <a:pt x="6375" y="10937"/>
                </a:cubicBezTo>
                <a:cubicBezTo>
                  <a:pt x="6500" y="11094"/>
                  <a:pt x="6593" y="11250"/>
                  <a:pt x="6718" y="11406"/>
                </a:cubicBezTo>
                <a:cubicBezTo>
                  <a:pt x="6812" y="11562"/>
                  <a:pt x="6875" y="11750"/>
                  <a:pt x="6906" y="11906"/>
                </a:cubicBezTo>
                <a:cubicBezTo>
                  <a:pt x="6937" y="11969"/>
                  <a:pt x="6968" y="12031"/>
                  <a:pt x="6937" y="12094"/>
                </a:cubicBezTo>
                <a:cubicBezTo>
                  <a:pt x="6906" y="12000"/>
                  <a:pt x="6875" y="11875"/>
                  <a:pt x="6875" y="11781"/>
                </a:cubicBezTo>
                <a:cubicBezTo>
                  <a:pt x="6843" y="11687"/>
                  <a:pt x="6781" y="11594"/>
                  <a:pt x="6718" y="11500"/>
                </a:cubicBezTo>
                <a:cubicBezTo>
                  <a:pt x="6718" y="11500"/>
                  <a:pt x="6718" y="11469"/>
                  <a:pt x="6687" y="11500"/>
                </a:cubicBezTo>
                <a:cubicBezTo>
                  <a:pt x="6687" y="11562"/>
                  <a:pt x="6750" y="11594"/>
                  <a:pt x="6750" y="11687"/>
                </a:cubicBezTo>
                <a:cubicBezTo>
                  <a:pt x="6750" y="11687"/>
                  <a:pt x="6750" y="11687"/>
                  <a:pt x="6750" y="11687"/>
                </a:cubicBezTo>
                <a:cubicBezTo>
                  <a:pt x="6750" y="11687"/>
                  <a:pt x="6750" y="11687"/>
                  <a:pt x="6750" y="11687"/>
                </a:cubicBezTo>
                <a:cubicBezTo>
                  <a:pt x="6656" y="11531"/>
                  <a:pt x="6562" y="11375"/>
                  <a:pt x="6437" y="11250"/>
                </a:cubicBezTo>
                <a:cubicBezTo>
                  <a:pt x="6437" y="11344"/>
                  <a:pt x="6531" y="11406"/>
                  <a:pt x="6562" y="11469"/>
                </a:cubicBezTo>
                <a:cubicBezTo>
                  <a:pt x="6625" y="11625"/>
                  <a:pt x="6718" y="11750"/>
                  <a:pt x="6781" y="11906"/>
                </a:cubicBezTo>
                <a:cubicBezTo>
                  <a:pt x="6781" y="11969"/>
                  <a:pt x="6781" y="12000"/>
                  <a:pt x="6781" y="12031"/>
                </a:cubicBezTo>
                <a:cubicBezTo>
                  <a:pt x="6718" y="11781"/>
                  <a:pt x="6593" y="11594"/>
                  <a:pt x="6468" y="11375"/>
                </a:cubicBezTo>
                <a:cubicBezTo>
                  <a:pt x="6343" y="11219"/>
                  <a:pt x="6250" y="11062"/>
                  <a:pt x="6187" y="10875"/>
                </a:cubicBezTo>
                <a:cubicBezTo>
                  <a:pt x="6187" y="10875"/>
                  <a:pt x="6187" y="10875"/>
                  <a:pt x="6187" y="10875"/>
                </a:cubicBezTo>
                <a:cubicBezTo>
                  <a:pt x="6187" y="10812"/>
                  <a:pt x="6156" y="10781"/>
                  <a:pt x="6156" y="10719"/>
                </a:cubicBezTo>
                <a:cubicBezTo>
                  <a:pt x="6125" y="10719"/>
                  <a:pt x="6125" y="10687"/>
                  <a:pt x="6125" y="10687"/>
                </a:cubicBezTo>
                <a:cubicBezTo>
                  <a:pt x="6156" y="10687"/>
                  <a:pt x="6156" y="10719"/>
                  <a:pt x="6156" y="10719"/>
                </a:cubicBezTo>
                <a:cubicBezTo>
                  <a:pt x="6218" y="10812"/>
                  <a:pt x="6250" y="10875"/>
                  <a:pt x="6312" y="10969"/>
                </a:cubicBezTo>
                <a:cubicBezTo>
                  <a:pt x="6312" y="10969"/>
                  <a:pt x="6312" y="10969"/>
                  <a:pt x="6312" y="10969"/>
                </a:cubicBezTo>
                <a:cubicBezTo>
                  <a:pt x="6406" y="11125"/>
                  <a:pt x="6531" y="11281"/>
                  <a:pt x="6625" y="11437"/>
                </a:cubicBezTo>
                <a:cubicBezTo>
                  <a:pt x="6625" y="11469"/>
                  <a:pt x="6625" y="11500"/>
                  <a:pt x="6687" y="11500"/>
                </a:cubicBezTo>
                <a:cubicBezTo>
                  <a:pt x="6718" y="11469"/>
                  <a:pt x="6687" y="11469"/>
                  <a:pt x="6687" y="11437"/>
                </a:cubicBezTo>
                <a:cubicBezTo>
                  <a:pt x="6562" y="11281"/>
                  <a:pt x="6437" y="11094"/>
                  <a:pt x="6312" y="10906"/>
                </a:cubicBezTo>
                <a:cubicBezTo>
                  <a:pt x="6281" y="10844"/>
                  <a:pt x="6250" y="10781"/>
                  <a:pt x="6218" y="10719"/>
                </a:cubicBezTo>
                <a:cubicBezTo>
                  <a:pt x="6187" y="10719"/>
                  <a:pt x="6187" y="10687"/>
                  <a:pt x="6187" y="10656"/>
                </a:cubicBezTo>
                <a:cubicBezTo>
                  <a:pt x="6187" y="10656"/>
                  <a:pt x="6187" y="10656"/>
                  <a:pt x="6187" y="10656"/>
                </a:cubicBezTo>
                <a:cubicBezTo>
                  <a:pt x="6156" y="10625"/>
                  <a:pt x="6156" y="10531"/>
                  <a:pt x="6125" y="10500"/>
                </a:cubicBezTo>
                <a:cubicBezTo>
                  <a:pt x="6093" y="10375"/>
                  <a:pt x="6093" y="10281"/>
                  <a:pt x="6125" y="10125"/>
                </a:cubicBezTo>
                <a:cubicBezTo>
                  <a:pt x="6125" y="10281"/>
                  <a:pt x="6156" y="10375"/>
                  <a:pt x="6156" y="10500"/>
                </a:cubicBezTo>
                <a:cubicBezTo>
                  <a:pt x="6187" y="10531"/>
                  <a:pt x="6187" y="10562"/>
                  <a:pt x="6187" y="10562"/>
                </a:cubicBezTo>
                <a:cubicBezTo>
                  <a:pt x="6218" y="10562"/>
                  <a:pt x="6218" y="10562"/>
                  <a:pt x="6218" y="10562"/>
                </a:cubicBezTo>
                <a:cubicBezTo>
                  <a:pt x="6250" y="10500"/>
                  <a:pt x="6156" y="10437"/>
                  <a:pt x="6156" y="10344"/>
                </a:cubicBezTo>
                <a:close/>
                <a:moveTo>
                  <a:pt x="6343" y="10656"/>
                </a:moveTo>
                <a:cubicBezTo>
                  <a:pt x="6343" y="10656"/>
                  <a:pt x="6343" y="10656"/>
                  <a:pt x="6343" y="10656"/>
                </a:cubicBezTo>
                <a:cubicBezTo>
                  <a:pt x="6312" y="10594"/>
                  <a:pt x="6312" y="10531"/>
                  <a:pt x="6281" y="10469"/>
                </a:cubicBezTo>
                <a:cubicBezTo>
                  <a:pt x="6250" y="10469"/>
                  <a:pt x="6250" y="10437"/>
                  <a:pt x="6281" y="10406"/>
                </a:cubicBezTo>
                <a:cubicBezTo>
                  <a:pt x="6281" y="10500"/>
                  <a:pt x="6343" y="10562"/>
                  <a:pt x="6343" y="10656"/>
                </a:cubicBezTo>
                <a:cubicBezTo>
                  <a:pt x="6375" y="10656"/>
                  <a:pt x="6375" y="10687"/>
                  <a:pt x="6406" y="10687"/>
                </a:cubicBezTo>
                <a:cubicBezTo>
                  <a:pt x="6406" y="10719"/>
                  <a:pt x="6437" y="10750"/>
                  <a:pt x="6437" y="10812"/>
                </a:cubicBezTo>
                <a:cubicBezTo>
                  <a:pt x="6406" y="10750"/>
                  <a:pt x="6343" y="10719"/>
                  <a:pt x="6343" y="10656"/>
                </a:cubicBezTo>
                <a:cubicBezTo>
                  <a:pt x="6343" y="10656"/>
                  <a:pt x="6343" y="10656"/>
                  <a:pt x="6343" y="10656"/>
                </a:cubicBezTo>
                <a:cubicBezTo>
                  <a:pt x="6343" y="10656"/>
                  <a:pt x="6343" y="10656"/>
                  <a:pt x="6343" y="10656"/>
                </a:cubicBezTo>
                <a:close/>
                <a:moveTo>
                  <a:pt x="6281" y="10375"/>
                </a:moveTo>
                <a:cubicBezTo>
                  <a:pt x="6281" y="10375"/>
                  <a:pt x="6281" y="10375"/>
                  <a:pt x="6281" y="10375"/>
                </a:cubicBezTo>
                <a:cubicBezTo>
                  <a:pt x="6218" y="10312"/>
                  <a:pt x="6250" y="10250"/>
                  <a:pt x="6250" y="10187"/>
                </a:cubicBezTo>
                <a:cubicBezTo>
                  <a:pt x="6281" y="10219"/>
                  <a:pt x="6250" y="10250"/>
                  <a:pt x="6281" y="10281"/>
                </a:cubicBezTo>
                <a:cubicBezTo>
                  <a:pt x="6281" y="10312"/>
                  <a:pt x="6312" y="10344"/>
                  <a:pt x="6281" y="10375"/>
                </a:cubicBezTo>
                <a:cubicBezTo>
                  <a:pt x="6281" y="10375"/>
                  <a:pt x="6281" y="10375"/>
                  <a:pt x="6281" y="10375"/>
                </a:cubicBezTo>
                <a:close/>
                <a:moveTo>
                  <a:pt x="6500" y="10719"/>
                </a:moveTo>
                <a:cubicBezTo>
                  <a:pt x="6500" y="10687"/>
                  <a:pt x="6468" y="10687"/>
                  <a:pt x="6500" y="10656"/>
                </a:cubicBezTo>
                <a:cubicBezTo>
                  <a:pt x="6531" y="10687"/>
                  <a:pt x="6562" y="10781"/>
                  <a:pt x="6625" y="10844"/>
                </a:cubicBezTo>
                <a:cubicBezTo>
                  <a:pt x="6656" y="10937"/>
                  <a:pt x="6718" y="10969"/>
                  <a:pt x="6750" y="11031"/>
                </a:cubicBezTo>
                <a:cubicBezTo>
                  <a:pt x="6781" y="11062"/>
                  <a:pt x="6781" y="11094"/>
                  <a:pt x="6781" y="11125"/>
                </a:cubicBezTo>
                <a:cubicBezTo>
                  <a:pt x="6718" y="11062"/>
                  <a:pt x="6687" y="10969"/>
                  <a:pt x="6625" y="10906"/>
                </a:cubicBezTo>
                <a:cubicBezTo>
                  <a:pt x="6593" y="10969"/>
                  <a:pt x="6656" y="11000"/>
                  <a:pt x="6625" y="11031"/>
                </a:cubicBezTo>
                <a:cubicBezTo>
                  <a:pt x="6625" y="11062"/>
                  <a:pt x="6625" y="11094"/>
                  <a:pt x="6625" y="11094"/>
                </a:cubicBezTo>
                <a:cubicBezTo>
                  <a:pt x="6593" y="11094"/>
                  <a:pt x="6593" y="11062"/>
                  <a:pt x="6593" y="11031"/>
                </a:cubicBezTo>
                <a:cubicBezTo>
                  <a:pt x="6593" y="11000"/>
                  <a:pt x="6562" y="10937"/>
                  <a:pt x="6531" y="10906"/>
                </a:cubicBezTo>
                <a:cubicBezTo>
                  <a:pt x="6531" y="10875"/>
                  <a:pt x="6593" y="10781"/>
                  <a:pt x="6500" y="10781"/>
                </a:cubicBezTo>
                <a:cubicBezTo>
                  <a:pt x="6468" y="10781"/>
                  <a:pt x="6468" y="10781"/>
                  <a:pt x="6468" y="10781"/>
                </a:cubicBezTo>
                <a:cubicBezTo>
                  <a:pt x="6468" y="10750"/>
                  <a:pt x="6468" y="10750"/>
                  <a:pt x="6437" y="10750"/>
                </a:cubicBezTo>
                <a:cubicBezTo>
                  <a:pt x="6468" y="10750"/>
                  <a:pt x="6468" y="10750"/>
                  <a:pt x="6468" y="10781"/>
                </a:cubicBezTo>
                <a:cubicBezTo>
                  <a:pt x="6500" y="10781"/>
                  <a:pt x="6500" y="10750"/>
                  <a:pt x="6500" y="10719"/>
                </a:cubicBezTo>
                <a:close/>
                <a:moveTo>
                  <a:pt x="6500" y="10375"/>
                </a:moveTo>
                <a:cubicBezTo>
                  <a:pt x="6500" y="10375"/>
                  <a:pt x="6500" y="10375"/>
                  <a:pt x="6500" y="10375"/>
                </a:cubicBezTo>
                <a:cubicBezTo>
                  <a:pt x="6500" y="10375"/>
                  <a:pt x="6500" y="10375"/>
                  <a:pt x="6500" y="10375"/>
                </a:cubicBezTo>
                <a:cubicBezTo>
                  <a:pt x="6500" y="10375"/>
                  <a:pt x="6500" y="10375"/>
                  <a:pt x="6500" y="10375"/>
                </a:cubicBezTo>
                <a:close/>
                <a:moveTo>
                  <a:pt x="6937" y="10562"/>
                </a:moveTo>
                <a:cubicBezTo>
                  <a:pt x="6968" y="10687"/>
                  <a:pt x="7062" y="10812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37"/>
                  <a:pt x="7156" y="10937"/>
                  <a:pt x="7156" y="10937"/>
                </a:cubicBezTo>
                <a:cubicBezTo>
                  <a:pt x="7156" y="10969"/>
                  <a:pt x="7156" y="10969"/>
                  <a:pt x="7156" y="10969"/>
                </a:cubicBezTo>
                <a:cubicBezTo>
                  <a:pt x="7062" y="10906"/>
                  <a:pt x="7031" y="10812"/>
                  <a:pt x="6968" y="10719"/>
                </a:cubicBezTo>
                <a:cubicBezTo>
                  <a:pt x="6937" y="10656"/>
                  <a:pt x="6875" y="10594"/>
                  <a:pt x="6843" y="10531"/>
                </a:cubicBezTo>
                <a:cubicBezTo>
                  <a:pt x="6750" y="10281"/>
                  <a:pt x="6687" y="10031"/>
                  <a:pt x="6718" y="9781"/>
                </a:cubicBezTo>
                <a:cubicBezTo>
                  <a:pt x="6718" y="9875"/>
                  <a:pt x="6750" y="9969"/>
                  <a:pt x="6781" y="10062"/>
                </a:cubicBezTo>
                <a:cubicBezTo>
                  <a:pt x="6781" y="10062"/>
                  <a:pt x="6781" y="10062"/>
                  <a:pt x="6781" y="10062"/>
                </a:cubicBezTo>
                <a:cubicBezTo>
                  <a:pt x="6781" y="10250"/>
                  <a:pt x="6875" y="10406"/>
                  <a:pt x="6937" y="10562"/>
                </a:cubicBezTo>
                <a:close/>
                <a:moveTo>
                  <a:pt x="6812" y="9437"/>
                </a:moveTo>
                <a:cubicBezTo>
                  <a:pt x="6812" y="9437"/>
                  <a:pt x="6812" y="9437"/>
                  <a:pt x="6812" y="9437"/>
                </a:cubicBezTo>
                <a:cubicBezTo>
                  <a:pt x="6812" y="9437"/>
                  <a:pt x="6812" y="9437"/>
                  <a:pt x="6812" y="9437"/>
                </a:cubicBezTo>
                <a:cubicBezTo>
                  <a:pt x="6812" y="9437"/>
                  <a:pt x="6812" y="9437"/>
                  <a:pt x="6812" y="9437"/>
                </a:cubicBezTo>
                <a:close/>
                <a:moveTo>
                  <a:pt x="6875" y="9375"/>
                </a:moveTo>
                <a:cubicBezTo>
                  <a:pt x="6875" y="9375"/>
                  <a:pt x="6875" y="9375"/>
                  <a:pt x="6875" y="9375"/>
                </a:cubicBezTo>
                <a:cubicBezTo>
                  <a:pt x="6875" y="9375"/>
                  <a:pt x="6875" y="9375"/>
                  <a:pt x="6875" y="9375"/>
                </a:cubicBezTo>
                <a:cubicBezTo>
                  <a:pt x="6875" y="9375"/>
                  <a:pt x="6906" y="9375"/>
                  <a:pt x="6906" y="9375"/>
                </a:cubicBezTo>
                <a:cubicBezTo>
                  <a:pt x="6906" y="9375"/>
                  <a:pt x="6875" y="9375"/>
                  <a:pt x="6875" y="9375"/>
                </a:cubicBezTo>
                <a:cubicBezTo>
                  <a:pt x="6875" y="9406"/>
                  <a:pt x="6875" y="9406"/>
                  <a:pt x="6843" y="9406"/>
                </a:cubicBezTo>
                <a:cubicBezTo>
                  <a:pt x="6875" y="9406"/>
                  <a:pt x="6875" y="9406"/>
                  <a:pt x="6875" y="9375"/>
                </a:cubicBezTo>
                <a:cubicBezTo>
                  <a:pt x="6875" y="9375"/>
                  <a:pt x="6875" y="9375"/>
                  <a:pt x="6875" y="9375"/>
                </a:cubicBezTo>
                <a:close/>
                <a:moveTo>
                  <a:pt x="6968" y="8906"/>
                </a:moveTo>
                <a:cubicBezTo>
                  <a:pt x="7000" y="8937"/>
                  <a:pt x="7000" y="8875"/>
                  <a:pt x="7031" y="8906"/>
                </a:cubicBezTo>
                <a:cubicBezTo>
                  <a:pt x="7031" y="8937"/>
                  <a:pt x="7031" y="8937"/>
                  <a:pt x="7000" y="8969"/>
                </a:cubicBezTo>
                <a:cubicBezTo>
                  <a:pt x="7000" y="8969"/>
                  <a:pt x="6968" y="9000"/>
                  <a:pt x="6937" y="8969"/>
                </a:cubicBezTo>
                <a:cubicBezTo>
                  <a:pt x="6937" y="8969"/>
                  <a:pt x="6906" y="9000"/>
                  <a:pt x="6875" y="9031"/>
                </a:cubicBezTo>
                <a:cubicBezTo>
                  <a:pt x="6906" y="9000"/>
                  <a:pt x="6937" y="8969"/>
                  <a:pt x="6937" y="8969"/>
                </a:cubicBezTo>
                <a:cubicBezTo>
                  <a:pt x="6968" y="8937"/>
                  <a:pt x="6968" y="8937"/>
                  <a:pt x="6968" y="8906"/>
                </a:cubicBezTo>
                <a:close/>
                <a:moveTo>
                  <a:pt x="7125" y="9031"/>
                </a:moveTo>
                <a:cubicBezTo>
                  <a:pt x="7125" y="9031"/>
                  <a:pt x="7125" y="9000"/>
                  <a:pt x="7156" y="8969"/>
                </a:cubicBezTo>
                <a:cubicBezTo>
                  <a:pt x="7156" y="8969"/>
                  <a:pt x="7156" y="8969"/>
                  <a:pt x="7156" y="8969"/>
                </a:cubicBezTo>
                <a:cubicBezTo>
                  <a:pt x="7125" y="9000"/>
                  <a:pt x="7125" y="9031"/>
                  <a:pt x="7125" y="9031"/>
                </a:cubicBezTo>
                <a:close/>
                <a:moveTo>
                  <a:pt x="7250" y="8719"/>
                </a:moveTo>
                <a:cubicBezTo>
                  <a:pt x="7250" y="8719"/>
                  <a:pt x="7250" y="8719"/>
                  <a:pt x="7250" y="8719"/>
                </a:cubicBezTo>
                <a:cubicBezTo>
                  <a:pt x="7250" y="8719"/>
                  <a:pt x="7250" y="8719"/>
                  <a:pt x="7250" y="8719"/>
                </a:cubicBezTo>
                <a:close/>
                <a:moveTo>
                  <a:pt x="7281" y="10812"/>
                </a:moveTo>
                <a:cubicBezTo>
                  <a:pt x="7250" y="10812"/>
                  <a:pt x="7250" y="10781"/>
                  <a:pt x="7250" y="10781"/>
                </a:cubicBezTo>
                <a:cubicBezTo>
                  <a:pt x="7250" y="10781"/>
                  <a:pt x="7250" y="10781"/>
                  <a:pt x="7250" y="10781"/>
                </a:cubicBezTo>
                <a:cubicBezTo>
                  <a:pt x="7250" y="10781"/>
                  <a:pt x="7250" y="10812"/>
                  <a:pt x="7281" y="10812"/>
                </a:cubicBezTo>
                <a:close/>
                <a:moveTo>
                  <a:pt x="7250" y="11062"/>
                </a:moveTo>
                <a:cubicBezTo>
                  <a:pt x="7250" y="11031"/>
                  <a:pt x="7218" y="11000"/>
                  <a:pt x="7218" y="11000"/>
                </a:cubicBezTo>
                <a:cubicBezTo>
                  <a:pt x="7218" y="11000"/>
                  <a:pt x="7250" y="11031"/>
                  <a:pt x="7250" y="11062"/>
                </a:cubicBezTo>
                <a:close/>
                <a:moveTo>
                  <a:pt x="7343" y="11719"/>
                </a:moveTo>
                <a:cubicBezTo>
                  <a:pt x="7343" y="11719"/>
                  <a:pt x="7343" y="11719"/>
                  <a:pt x="7312" y="11719"/>
                </a:cubicBezTo>
                <a:cubicBezTo>
                  <a:pt x="7281" y="11625"/>
                  <a:pt x="7218" y="11562"/>
                  <a:pt x="7156" y="11469"/>
                </a:cubicBezTo>
                <a:cubicBezTo>
                  <a:pt x="7125" y="11437"/>
                  <a:pt x="7125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437"/>
                  <a:pt x="7093" y="11437"/>
                  <a:pt x="7093" y="11437"/>
                </a:cubicBezTo>
                <a:cubicBezTo>
                  <a:pt x="7093" y="11375"/>
                  <a:pt x="7062" y="11344"/>
                  <a:pt x="7000" y="11344"/>
                </a:cubicBezTo>
                <a:cubicBezTo>
                  <a:pt x="7031" y="11312"/>
                  <a:pt x="7031" y="11312"/>
                  <a:pt x="7000" y="11312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281"/>
                  <a:pt x="6968" y="11250"/>
                  <a:pt x="6968" y="11250"/>
                </a:cubicBezTo>
                <a:cubicBezTo>
                  <a:pt x="6968" y="11250"/>
                  <a:pt x="6968" y="11250"/>
                  <a:pt x="6968" y="11250"/>
                </a:cubicBezTo>
                <a:cubicBezTo>
                  <a:pt x="6968" y="11250"/>
                  <a:pt x="6968" y="11250"/>
                  <a:pt x="6968" y="11250"/>
                </a:cubicBezTo>
                <a:cubicBezTo>
                  <a:pt x="6968" y="11250"/>
                  <a:pt x="7000" y="11250"/>
                  <a:pt x="7000" y="11250"/>
                </a:cubicBezTo>
                <a:cubicBezTo>
                  <a:pt x="7125" y="11375"/>
                  <a:pt x="7250" y="11531"/>
                  <a:pt x="7343" y="11719"/>
                </a:cubicBezTo>
                <a:close/>
                <a:moveTo>
                  <a:pt x="7281" y="10844"/>
                </a:moveTo>
                <a:cubicBezTo>
                  <a:pt x="7281" y="10844"/>
                  <a:pt x="7281" y="10844"/>
                  <a:pt x="7281" y="10844"/>
                </a:cubicBezTo>
                <a:cubicBezTo>
                  <a:pt x="7281" y="10844"/>
                  <a:pt x="7312" y="10844"/>
                  <a:pt x="7312" y="10844"/>
                </a:cubicBezTo>
                <a:cubicBezTo>
                  <a:pt x="7312" y="10844"/>
                  <a:pt x="7281" y="10844"/>
                  <a:pt x="7281" y="10844"/>
                </a:cubicBezTo>
                <a:close/>
                <a:moveTo>
                  <a:pt x="7312" y="10156"/>
                </a:moveTo>
                <a:cubicBezTo>
                  <a:pt x="7343" y="10156"/>
                  <a:pt x="7343" y="10156"/>
                  <a:pt x="7343" y="10187"/>
                </a:cubicBezTo>
                <a:cubicBezTo>
                  <a:pt x="7343" y="10187"/>
                  <a:pt x="7343" y="10187"/>
                  <a:pt x="7343" y="10187"/>
                </a:cubicBezTo>
                <a:cubicBezTo>
                  <a:pt x="7343" y="10156"/>
                  <a:pt x="7343" y="10156"/>
                  <a:pt x="7312" y="10156"/>
                </a:cubicBezTo>
                <a:close/>
                <a:moveTo>
                  <a:pt x="7187" y="11594"/>
                </a:move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87" y="11562"/>
                </a:cubicBezTo>
                <a:cubicBezTo>
                  <a:pt x="7187" y="11562"/>
                  <a:pt x="7187" y="11562"/>
                  <a:pt x="7187" y="11562"/>
                </a:cubicBezTo>
                <a:cubicBezTo>
                  <a:pt x="7156" y="11594"/>
                  <a:pt x="7156" y="11594"/>
                  <a:pt x="7156" y="11594"/>
                </a:cubicBezTo>
                <a:cubicBezTo>
                  <a:pt x="7156" y="11594"/>
                  <a:pt x="7156" y="11594"/>
                  <a:pt x="7187" y="11594"/>
                </a:cubicBezTo>
                <a:close/>
                <a:moveTo>
                  <a:pt x="7000" y="11344"/>
                </a:moveTo>
                <a:cubicBezTo>
                  <a:pt x="7000" y="11344"/>
                  <a:pt x="7000" y="11344"/>
                  <a:pt x="7000" y="11344"/>
                </a:cubicBezTo>
                <a:cubicBezTo>
                  <a:pt x="7000" y="11312"/>
                  <a:pt x="7000" y="11312"/>
                  <a:pt x="7000" y="11312"/>
                </a:cubicBezTo>
                <a:cubicBezTo>
                  <a:pt x="7000" y="11312"/>
                  <a:pt x="7000" y="11312"/>
                  <a:pt x="7000" y="11344"/>
                </a:cubicBezTo>
                <a:close/>
                <a:moveTo>
                  <a:pt x="7156" y="11219"/>
                </a:moveTo>
                <a:cubicBezTo>
                  <a:pt x="7156" y="11219"/>
                  <a:pt x="7156" y="11219"/>
                  <a:pt x="7156" y="11219"/>
                </a:cubicBezTo>
                <a:cubicBezTo>
                  <a:pt x="7156" y="11219"/>
                  <a:pt x="7156" y="11219"/>
                  <a:pt x="7156" y="11219"/>
                </a:cubicBezTo>
                <a:cubicBezTo>
                  <a:pt x="7156" y="11219"/>
                  <a:pt x="7156" y="11219"/>
                  <a:pt x="7156" y="11219"/>
                </a:cubicBezTo>
                <a:close/>
                <a:moveTo>
                  <a:pt x="7156" y="8969"/>
                </a:moveTo>
                <a:cubicBezTo>
                  <a:pt x="7156" y="8969"/>
                  <a:pt x="7156" y="8969"/>
                  <a:pt x="7156" y="8969"/>
                </a:cubicBezTo>
                <a:cubicBezTo>
                  <a:pt x="7156" y="8969"/>
                  <a:pt x="7156" y="8969"/>
                  <a:pt x="7187" y="8969"/>
                </a:cubicBezTo>
                <a:cubicBezTo>
                  <a:pt x="7156" y="8969"/>
                  <a:pt x="7156" y="8969"/>
                  <a:pt x="7156" y="8969"/>
                </a:cubicBezTo>
                <a:close/>
                <a:moveTo>
                  <a:pt x="6875" y="10687"/>
                </a:moveTo>
                <a:cubicBezTo>
                  <a:pt x="6875" y="10687"/>
                  <a:pt x="6843" y="10719"/>
                  <a:pt x="6843" y="10719"/>
                </a:cubicBezTo>
                <a:cubicBezTo>
                  <a:pt x="6812" y="10656"/>
                  <a:pt x="6781" y="10562"/>
                  <a:pt x="6750" y="10500"/>
                </a:cubicBezTo>
                <a:cubicBezTo>
                  <a:pt x="6812" y="10500"/>
                  <a:pt x="6843" y="10531"/>
                  <a:pt x="6875" y="10687"/>
                </a:cubicBezTo>
                <a:close/>
                <a:moveTo>
                  <a:pt x="6968" y="11375"/>
                </a:moveTo>
                <a:cubicBezTo>
                  <a:pt x="6968" y="11375"/>
                  <a:pt x="6968" y="11375"/>
                  <a:pt x="6968" y="11375"/>
                </a:cubicBezTo>
                <a:cubicBezTo>
                  <a:pt x="7000" y="11406"/>
                  <a:pt x="7000" y="11469"/>
                  <a:pt x="7062" y="11500"/>
                </a:cubicBezTo>
                <a:cubicBezTo>
                  <a:pt x="7062" y="11500"/>
                  <a:pt x="7062" y="11500"/>
                  <a:pt x="7062" y="11500"/>
                </a:cubicBezTo>
                <a:cubicBezTo>
                  <a:pt x="7093" y="11469"/>
                  <a:pt x="7093" y="11531"/>
                  <a:pt x="7125" y="11531"/>
                </a:cubicBezTo>
                <a:cubicBezTo>
                  <a:pt x="7125" y="11531"/>
                  <a:pt x="7156" y="11531"/>
                  <a:pt x="7156" y="11531"/>
                </a:cubicBezTo>
                <a:cubicBezTo>
                  <a:pt x="7156" y="11500"/>
                  <a:pt x="7125" y="11500"/>
                  <a:pt x="7125" y="11469"/>
                </a:cubicBezTo>
                <a:cubicBezTo>
                  <a:pt x="7125" y="11500"/>
                  <a:pt x="7156" y="11500"/>
                  <a:pt x="7156" y="11531"/>
                </a:cubicBezTo>
                <a:cubicBezTo>
                  <a:pt x="7156" y="11531"/>
                  <a:pt x="7156" y="11562"/>
                  <a:pt x="7156" y="11562"/>
                </a:cubicBezTo>
                <a:cubicBezTo>
                  <a:pt x="7156" y="11562"/>
                  <a:pt x="7156" y="11531"/>
                  <a:pt x="7156" y="11531"/>
                </a:cubicBezTo>
                <a:cubicBezTo>
                  <a:pt x="7156" y="11531"/>
                  <a:pt x="7125" y="11531"/>
                  <a:pt x="7125" y="11531"/>
                </a:cubicBezTo>
                <a:cubicBezTo>
                  <a:pt x="7125" y="11531"/>
                  <a:pt x="7125" y="11531"/>
                  <a:pt x="7125" y="11531"/>
                </a:cubicBezTo>
                <a:cubicBezTo>
                  <a:pt x="7093" y="11531"/>
                  <a:pt x="7093" y="11469"/>
                  <a:pt x="7062" y="11500"/>
                </a:cubicBezTo>
                <a:cubicBezTo>
                  <a:pt x="7093" y="11594"/>
                  <a:pt x="7156" y="11656"/>
                  <a:pt x="7218" y="11719"/>
                </a:cubicBezTo>
                <a:cubicBezTo>
                  <a:pt x="7375" y="11969"/>
                  <a:pt x="7468" y="12219"/>
                  <a:pt x="7437" y="12531"/>
                </a:cubicBezTo>
                <a:cubicBezTo>
                  <a:pt x="7437" y="12531"/>
                  <a:pt x="7437" y="12531"/>
                  <a:pt x="7406" y="12531"/>
                </a:cubicBezTo>
                <a:cubicBezTo>
                  <a:pt x="7406" y="12500"/>
                  <a:pt x="7406" y="12469"/>
                  <a:pt x="7406" y="12406"/>
                </a:cubicBezTo>
                <a:cubicBezTo>
                  <a:pt x="7406" y="12344"/>
                  <a:pt x="7406" y="12250"/>
                  <a:pt x="7375" y="12187"/>
                </a:cubicBezTo>
                <a:cubicBezTo>
                  <a:pt x="7343" y="12031"/>
                  <a:pt x="7250" y="11875"/>
                  <a:pt x="7156" y="11719"/>
                </a:cubicBezTo>
                <a:cubicBezTo>
                  <a:pt x="7125" y="11656"/>
                  <a:pt x="7062" y="11594"/>
                  <a:pt x="7000" y="11531"/>
                </a:cubicBezTo>
                <a:cubicBezTo>
                  <a:pt x="7000" y="11469"/>
                  <a:pt x="6968" y="11437"/>
                  <a:pt x="6906" y="11406"/>
                </a:cubicBezTo>
                <a:cubicBezTo>
                  <a:pt x="6906" y="11469"/>
                  <a:pt x="6968" y="11500"/>
                  <a:pt x="7000" y="11531"/>
                </a:cubicBezTo>
                <a:cubicBezTo>
                  <a:pt x="7062" y="11625"/>
                  <a:pt x="7125" y="11719"/>
                  <a:pt x="7187" y="11812"/>
                </a:cubicBezTo>
                <a:cubicBezTo>
                  <a:pt x="7281" y="12000"/>
                  <a:pt x="7375" y="12187"/>
                  <a:pt x="7343" y="12437"/>
                </a:cubicBezTo>
                <a:cubicBezTo>
                  <a:pt x="7343" y="12437"/>
                  <a:pt x="7343" y="12437"/>
                  <a:pt x="7312" y="12437"/>
                </a:cubicBezTo>
                <a:cubicBezTo>
                  <a:pt x="7312" y="12219"/>
                  <a:pt x="7250" y="12031"/>
                  <a:pt x="7125" y="11844"/>
                </a:cubicBezTo>
                <a:cubicBezTo>
                  <a:pt x="7062" y="11719"/>
                  <a:pt x="7000" y="11625"/>
                  <a:pt x="6937" y="11531"/>
                </a:cubicBezTo>
                <a:cubicBezTo>
                  <a:pt x="6937" y="11500"/>
                  <a:pt x="6937" y="11500"/>
                  <a:pt x="6906" y="11500"/>
                </a:cubicBezTo>
                <a:cubicBezTo>
                  <a:pt x="6875" y="11500"/>
                  <a:pt x="6875" y="11500"/>
                  <a:pt x="6875" y="11469"/>
                </a:cubicBezTo>
                <a:cubicBezTo>
                  <a:pt x="6843" y="11469"/>
                  <a:pt x="6843" y="11469"/>
                  <a:pt x="6843" y="11437"/>
                </a:cubicBezTo>
                <a:cubicBezTo>
                  <a:pt x="6812" y="11437"/>
                  <a:pt x="6812" y="11406"/>
                  <a:pt x="6812" y="11375"/>
                </a:cubicBezTo>
                <a:cubicBezTo>
                  <a:pt x="6781" y="11375"/>
                  <a:pt x="6781" y="11375"/>
                  <a:pt x="6781" y="11375"/>
                </a:cubicBezTo>
                <a:cubicBezTo>
                  <a:pt x="6781" y="11344"/>
                  <a:pt x="6781" y="11344"/>
                  <a:pt x="6781" y="11344"/>
                </a:cubicBezTo>
                <a:cubicBezTo>
                  <a:pt x="6812" y="11344"/>
                  <a:pt x="6812" y="11375"/>
                  <a:pt x="6812" y="11375"/>
                </a:cubicBezTo>
                <a:lnTo>
                  <a:pt x="6812" y="11375"/>
                </a:lnTo>
                <a:cubicBezTo>
                  <a:pt x="6843" y="11406"/>
                  <a:pt x="6843" y="11406"/>
                  <a:pt x="6875" y="11437"/>
                </a:cubicBezTo>
                <a:cubicBezTo>
                  <a:pt x="6875" y="11437"/>
                  <a:pt x="6875" y="11469"/>
                  <a:pt x="6875" y="11469"/>
                </a:cubicBezTo>
                <a:cubicBezTo>
                  <a:pt x="6875" y="11469"/>
                  <a:pt x="6906" y="11469"/>
                  <a:pt x="6906" y="11500"/>
                </a:cubicBezTo>
                <a:cubicBezTo>
                  <a:pt x="6875" y="11531"/>
                  <a:pt x="6937" y="11562"/>
                  <a:pt x="6937" y="11594"/>
                </a:cubicBezTo>
                <a:cubicBezTo>
                  <a:pt x="6906" y="11594"/>
                  <a:pt x="6875" y="11594"/>
                  <a:pt x="6906" y="11625"/>
                </a:cubicBezTo>
                <a:cubicBezTo>
                  <a:pt x="6937" y="11687"/>
                  <a:pt x="6968" y="11750"/>
                  <a:pt x="6968" y="11812"/>
                </a:cubicBezTo>
                <a:cubicBezTo>
                  <a:pt x="7000" y="11844"/>
                  <a:pt x="7000" y="11875"/>
                  <a:pt x="6968" y="11875"/>
                </a:cubicBezTo>
                <a:cubicBezTo>
                  <a:pt x="6937" y="11750"/>
                  <a:pt x="6906" y="11625"/>
                  <a:pt x="6812" y="11500"/>
                </a:cubicBezTo>
                <a:cubicBezTo>
                  <a:pt x="6781" y="11437"/>
                  <a:pt x="6750" y="11375"/>
                  <a:pt x="6687" y="11344"/>
                </a:cubicBezTo>
                <a:cubicBezTo>
                  <a:pt x="6687" y="11312"/>
                  <a:pt x="6656" y="11281"/>
                  <a:pt x="6656" y="11250"/>
                </a:cubicBezTo>
                <a:cubicBezTo>
                  <a:pt x="6625" y="11250"/>
                  <a:pt x="6625" y="11219"/>
                  <a:pt x="6625" y="11187"/>
                </a:cubicBezTo>
                <a:cubicBezTo>
                  <a:pt x="6625" y="11187"/>
                  <a:pt x="6625" y="11187"/>
                  <a:pt x="6625" y="11187"/>
                </a:cubicBezTo>
                <a:cubicBezTo>
                  <a:pt x="6656" y="11219"/>
                  <a:pt x="6656" y="11219"/>
                  <a:pt x="6687" y="11250"/>
                </a:cubicBezTo>
                <a:cubicBezTo>
                  <a:pt x="6687" y="11250"/>
                  <a:pt x="6750" y="11281"/>
                  <a:pt x="6718" y="11219"/>
                </a:cubicBezTo>
                <a:cubicBezTo>
                  <a:pt x="6687" y="11187"/>
                  <a:pt x="6687" y="11187"/>
                  <a:pt x="6687" y="11156"/>
                </a:cubicBezTo>
                <a:cubicBezTo>
                  <a:pt x="6656" y="11156"/>
                  <a:pt x="6656" y="11156"/>
                  <a:pt x="6656" y="11156"/>
                </a:cubicBezTo>
                <a:cubicBezTo>
                  <a:pt x="6656" y="11156"/>
                  <a:pt x="6656" y="11156"/>
                  <a:pt x="6687" y="11156"/>
                </a:cubicBezTo>
                <a:cubicBezTo>
                  <a:pt x="6687" y="11156"/>
                  <a:pt x="6687" y="11156"/>
                  <a:pt x="6687" y="11156"/>
                </a:cubicBezTo>
                <a:cubicBezTo>
                  <a:pt x="6687" y="11156"/>
                  <a:pt x="6687" y="11156"/>
                  <a:pt x="6687" y="11156"/>
                </a:cubicBezTo>
                <a:cubicBezTo>
                  <a:pt x="6687" y="11156"/>
                  <a:pt x="6718" y="11156"/>
                  <a:pt x="6718" y="11156"/>
                </a:cubicBezTo>
                <a:cubicBezTo>
                  <a:pt x="6718" y="11219"/>
                  <a:pt x="6781" y="11281"/>
                  <a:pt x="6812" y="11312"/>
                </a:cubicBezTo>
                <a:cubicBezTo>
                  <a:pt x="6843" y="11344"/>
                  <a:pt x="6875" y="11375"/>
                  <a:pt x="6906" y="11406"/>
                </a:cubicBezTo>
                <a:cubicBezTo>
                  <a:pt x="6875" y="11344"/>
                  <a:pt x="6875" y="11312"/>
                  <a:pt x="6812" y="11312"/>
                </a:cubicBezTo>
                <a:cubicBezTo>
                  <a:pt x="6812" y="11281"/>
                  <a:pt x="6812" y="11281"/>
                  <a:pt x="6812" y="11250"/>
                </a:cubicBezTo>
                <a:cubicBezTo>
                  <a:pt x="6875" y="11281"/>
                  <a:pt x="6906" y="11344"/>
                  <a:pt x="6968" y="11375"/>
                </a:cubicBezTo>
                <a:close/>
                <a:moveTo>
                  <a:pt x="7468" y="12469"/>
                </a:moveTo>
                <a:cubicBezTo>
                  <a:pt x="7500" y="12406"/>
                  <a:pt x="7500" y="12375"/>
                  <a:pt x="7500" y="12312"/>
                </a:cubicBezTo>
                <a:cubicBezTo>
                  <a:pt x="7468" y="12250"/>
                  <a:pt x="7468" y="12187"/>
                  <a:pt x="7437" y="12094"/>
                </a:cubicBezTo>
                <a:cubicBezTo>
                  <a:pt x="7437" y="12062"/>
                  <a:pt x="7468" y="12062"/>
                  <a:pt x="7468" y="12000"/>
                </a:cubicBezTo>
                <a:cubicBezTo>
                  <a:pt x="7500" y="12125"/>
                  <a:pt x="7531" y="12219"/>
                  <a:pt x="7500" y="12312"/>
                </a:cubicBezTo>
                <a:cubicBezTo>
                  <a:pt x="7500" y="12312"/>
                  <a:pt x="7500" y="12312"/>
                  <a:pt x="7500" y="12312"/>
                </a:cubicBezTo>
                <a:cubicBezTo>
                  <a:pt x="7500" y="12375"/>
                  <a:pt x="7500" y="12406"/>
                  <a:pt x="7468" y="12469"/>
                </a:cubicBezTo>
                <a:close/>
                <a:moveTo>
                  <a:pt x="7343" y="14062"/>
                </a:moveTo>
                <a:cubicBezTo>
                  <a:pt x="7406" y="14156"/>
                  <a:pt x="7406" y="14250"/>
                  <a:pt x="7343" y="14344"/>
                </a:cubicBezTo>
                <a:cubicBezTo>
                  <a:pt x="7343" y="14344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343" y="14375"/>
                  <a:pt x="7343" y="14375"/>
                  <a:pt x="7343" y="14375"/>
                </a:cubicBezTo>
                <a:cubicBezTo>
                  <a:pt x="7281" y="14375"/>
                  <a:pt x="7281" y="14437"/>
                  <a:pt x="7250" y="14437"/>
                </a:cubicBezTo>
                <a:cubicBezTo>
                  <a:pt x="7250" y="14437"/>
                  <a:pt x="7250" y="14437"/>
                  <a:pt x="7250" y="14437"/>
                </a:cubicBezTo>
                <a:cubicBezTo>
                  <a:pt x="7250" y="14437"/>
                  <a:pt x="7250" y="14406"/>
                  <a:pt x="7250" y="14406"/>
                </a:cubicBezTo>
                <a:cubicBezTo>
                  <a:pt x="7375" y="14312"/>
                  <a:pt x="7375" y="14187"/>
                  <a:pt x="7343" y="14062"/>
                </a:cubicBezTo>
                <a:close/>
                <a:moveTo>
                  <a:pt x="7406" y="14375"/>
                </a:moveTo>
                <a:cubicBezTo>
                  <a:pt x="7375" y="14375"/>
                  <a:pt x="7375" y="14406"/>
                  <a:pt x="7343" y="14406"/>
                </a:cubicBezTo>
                <a:cubicBezTo>
                  <a:pt x="7375" y="14406"/>
                  <a:pt x="7375" y="14375"/>
                  <a:pt x="7406" y="14375"/>
                </a:cubicBezTo>
                <a:close/>
                <a:moveTo>
                  <a:pt x="6718" y="13250"/>
                </a:moveTo>
                <a:cubicBezTo>
                  <a:pt x="6687" y="13344"/>
                  <a:pt x="6656" y="13406"/>
                  <a:pt x="6593" y="13437"/>
                </a:cubicBezTo>
                <a:cubicBezTo>
                  <a:pt x="6593" y="13469"/>
                  <a:pt x="6562" y="13469"/>
                  <a:pt x="6562" y="13500"/>
                </a:cubicBezTo>
                <a:cubicBezTo>
                  <a:pt x="6593" y="13531"/>
                  <a:pt x="6625" y="13469"/>
                  <a:pt x="6625" y="13531"/>
                </a:cubicBezTo>
                <a:cubicBezTo>
                  <a:pt x="6625" y="13531"/>
                  <a:pt x="6625" y="13562"/>
                  <a:pt x="6625" y="13594"/>
                </a:cubicBezTo>
                <a:cubicBezTo>
                  <a:pt x="6625" y="13625"/>
                  <a:pt x="6593" y="13625"/>
                  <a:pt x="6562" y="13625"/>
                </a:cubicBezTo>
                <a:cubicBezTo>
                  <a:pt x="6500" y="13594"/>
                  <a:pt x="6531" y="13656"/>
                  <a:pt x="6468" y="13656"/>
                </a:cubicBezTo>
                <a:cubicBezTo>
                  <a:pt x="6468" y="13625"/>
                  <a:pt x="6500" y="13594"/>
                  <a:pt x="6500" y="13562"/>
                </a:cubicBezTo>
                <a:cubicBezTo>
                  <a:pt x="6562" y="13500"/>
                  <a:pt x="6562" y="13406"/>
                  <a:pt x="6625" y="13344"/>
                </a:cubicBezTo>
                <a:cubicBezTo>
                  <a:pt x="6625" y="13344"/>
                  <a:pt x="6625" y="13344"/>
                  <a:pt x="6625" y="13344"/>
                </a:cubicBezTo>
                <a:cubicBezTo>
                  <a:pt x="6625" y="13312"/>
                  <a:pt x="6656" y="13281"/>
                  <a:pt x="6687" y="13250"/>
                </a:cubicBezTo>
                <a:cubicBezTo>
                  <a:pt x="6687" y="13250"/>
                  <a:pt x="6687" y="13250"/>
                  <a:pt x="6687" y="13250"/>
                </a:cubicBezTo>
                <a:cubicBezTo>
                  <a:pt x="6687" y="13250"/>
                  <a:pt x="6687" y="13250"/>
                  <a:pt x="6718" y="13250"/>
                </a:cubicBezTo>
                <a:cubicBezTo>
                  <a:pt x="6718" y="13250"/>
                  <a:pt x="6718" y="13250"/>
                  <a:pt x="6750" y="13250"/>
                </a:cubicBezTo>
                <a:cubicBezTo>
                  <a:pt x="6718" y="13250"/>
                  <a:pt x="6718" y="13250"/>
                  <a:pt x="6718" y="13250"/>
                </a:cubicBezTo>
                <a:close/>
                <a:moveTo>
                  <a:pt x="6750" y="14031"/>
                </a:moveTo>
                <a:cubicBezTo>
                  <a:pt x="6750" y="14031"/>
                  <a:pt x="6750" y="14031"/>
                  <a:pt x="6750" y="14031"/>
                </a:cubicBezTo>
                <a:cubicBezTo>
                  <a:pt x="6718" y="14031"/>
                  <a:pt x="6718" y="14000"/>
                  <a:pt x="6718" y="14000"/>
                </a:cubicBezTo>
                <a:cubicBezTo>
                  <a:pt x="6718" y="14000"/>
                  <a:pt x="6718" y="14031"/>
                  <a:pt x="6750" y="14031"/>
                </a:cubicBezTo>
                <a:close/>
                <a:moveTo>
                  <a:pt x="6656" y="14125"/>
                </a:moveTo>
                <a:cubicBezTo>
                  <a:pt x="6656" y="14094"/>
                  <a:pt x="6656" y="14031"/>
                  <a:pt x="6687" y="13969"/>
                </a:cubicBezTo>
                <a:cubicBezTo>
                  <a:pt x="6687" y="13937"/>
                  <a:pt x="6687" y="13937"/>
                  <a:pt x="6687" y="13906"/>
                </a:cubicBezTo>
                <a:cubicBezTo>
                  <a:pt x="6687" y="13937"/>
                  <a:pt x="6687" y="13937"/>
                  <a:pt x="6687" y="13969"/>
                </a:cubicBezTo>
                <a:cubicBezTo>
                  <a:pt x="6656" y="14031"/>
                  <a:pt x="6656" y="14094"/>
                  <a:pt x="6656" y="14125"/>
                </a:cubicBezTo>
                <a:close/>
                <a:moveTo>
                  <a:pt x="6656" y="14781"/>
                </a:moveTo>
                <a:cubicBezTo>
                  <a:pt x="6656" y="14781"/>
                  <a:pt x="6656" y="14781"/>
                  <a:pt x="6656" y="14781"/>
                </a:cubicBezTo>
                <a:cubicBezTo>
                  <a:pt x="6656" y="14781"/>
                  <a:pt x="6656" y="14781"/>
                  <a:pt x="6656" y="14781"/>
                </a:cubicBezTo>
                <a:close/>
                <a:moveTo>
                  <a:pt x="6125" y="14406"/>
                </a:moveTo>
                <a:cubicBezTo>
                  <a:pt x="6156" y="14406"/>
                  <a:pt x="6187" y="14437"/>
                  <a:pt x="6218" y="14469"/>
                </a:cubicBezTo>
                <a:cubicBezTo>
                  <a:pt x="6218" y="14469"/>
                  <a:pt x="6218" y="14469"/>
                  <a:pt x="6218" y="14469"/>
                </a:cubicBezTo>
                <a:cubicBezTo>
                  <a:pt x="6187" y="14469"/>
                  <a:pt x="6125" y="14469"/>
                  <a:pt x="6093" y="14406"/>
                </a:cubicBezTo>
                <a:cubicBezTo>
                  <a:pt x="6125" y="14406"/>
                  <a:pt x="6125" y="14406"/>
                  <a:pt x="6125" y="14406"/>
                </a:cubicBezTo>
                <a:close/>
                <a:moveTo>
                  <a:pt x="6093" y="14219"/>
                </a:moveTo>
                <a:cubicBezTo>
                  <a:pt x="6093" y="14219"/>
                  <a:pt x="6125" y="14250"/>
                  <a:pt x="6125" y="14250"/>
                </a:cubicBezTo>
                <a:cubicBezTo>
                  <a:pt x="6125" y="14250"/>
                  <a:pt x="6125" y="14250"/>
                  <a:pt x="6125" y="14250"/>
                </a:cubicBezTo>
                <a:cubicBezTo>
                  <a:pt x="6125" y="14250"/>
                  <a:pt x="6093" y="14219"/>
                  <a:pt x="6093" y="14219"/>
                </a:cubicBezTo>
                <a:close/>
                <a:moveTo>
                  <a:pt x="6156" y="14250"/>
                </a:moveTo>
                <a:cubicBezTo>
                  <a:pt x="6156" y="14250"/>
                  <a:pt x="6125" y="14250"/>
                  <a:pt x="6125" y="14250"/>
                </a:cubicBezTo>
                <a:cubicBezTo>
                  <a:pt x="6125" y="14219"/>
                  <a:pt x="6093" y="14187"/>
                  <a:pt x="6093" y="14156"/>
                </a:cubicBezTo>
                <a:cubicBezTo>
                  <a:pt x="6062" y="14031"/>
                  <a:pt x="6093" y="13906"/>
                  <a:pt x="6062" y="13781"/>
                </a:cubicBezTo>
                <a:cubicBezTo>
                  <a:pt x="6093" y="13781"/>
                  <a:pt x="6062" y="13750"/>
                  <a:pt x="6093" y="13750"/>
                </a:cubicBezTo>
                <a:cubicBezTo>
                  <a:pt x="6093" y="13750"/>
                  <a:pt x="6093" y="13750"/>
                  <a:pt x="6125" y="13781"/>
                </a:cubicBezTo>
                <a:cubicBezTo>
                  <a:pt x="6125" y="13781"/>
                  <a:pt x="6125" y="13781"/>
                  <a:pt x="6125" y="13781"/>
                </a:cubicBezTo>
                <a:cubicBezTo>
                  <a:pt x="6125" y="13812"/>
                  <a:pt x="6125" y="13844"/>
                  <a:pt x="6125" y="13875"/>
                </a:cubicBezTo>
                <a:cubicBezTo>
                  <a:pt x="6093" y="13906"/>
                  <a:pt x="6093" y="13969"/>
                  <a:pt x="6093" y="14000"/>
                </a:cubicBezTo>
                <a:cubicBezTo>
                  <a:pt x="6125" y="14031"/>
                  <a:pt x="6125" y="14062"/>
                  <a:pt x="6156" y="14062"/>
                </a:cubicBezTo>
                <a:cubicBezTo>
                  <a:pt x="6156" y="14125"/>
                  <a:pt x="6187" y="14125"/>
                  <a:pt x="6250" y="14125"/>
                </a:cubicBezTo>
                <a:cubicBezTo>
                  <a:pt x="6218" y="14094"/>
                  <a:pt x="6218" y="14062"/>
                  <a:pt x="6218" y="14031"/>
                </a:cubicBezTo>
                <a:cubicBezTo>
                  <a:pt x="6187" y="14000"/>
                  <a:pt x="6187" y="14000"/>
                  <a:pt x="6187" y="13969"/>
                </a:cubicBezTo>
                <a:cubicBezTo>
                  <a:pt x="6218" y="13906"/>
                  <a:pt x="6218" y="13844"/>
                  <a:pt x="6218" y="13781"/>
                </a:cubicBezTo>
                <a:cubicBezTo>
                  <a:pt x="6187" y="13781"/>
                  <a:pt x="6187" y="13750"/>
                  <a:pt x="6156" y="13750"/>
                </a:cubicBezTo>
                <a:cubicBezTo>
                  <a:pt x="6187" y="13750"/>
                  <a:pt x="6187" y="13781"/>
                  <a:pt x="6218" y="13781"/>
                </a:cubicBezTo>
                <a:cubicBezTo>
                  <a:pt x="6218" y="13719"/>
                  <a:pt x="6250" y="13625"/>
                  <a:pt x="6250" y="13562"/>
                </a:cubicBezTo>
                <a:cubicBezTo>
                  <a:pt x="6281" y="13625"/>
                  <a:pt x="6281" y="13687"/>
                  <a:pt x="6250" y="13719"/>
                </a:cubicBezTo>
                <a:cubicBezTo>
                  <a:pt x="6250" y="13750"/>
                  <a:pt x="6250" y="13781"/>
                  <a:pt x="6250" y="13812"/>
                </a:cubicBezTo>
                <a:cubicBezTo>
                  <a:pt x="6281" y="13844"/>
                  <a:pt x="6312" y="13844"/>
                  <a:pt x="6312" y="13875"/>
                </a:cubicBezTo>
                <a:cubicBezTo>
                  <a:pt x="6312" y="13844"/>
                  <a:pt x="6281" y="13844"/>
                  <a:pt x="6250" y="13812"/>
                </a:cubicBezTo>
                <a:cubicBezTo>
                  <a:pt x="6250" y="13875"/>
                  <a:pt x="6250" y="13937"/>
                  <a:pt x="6250" y="14000"/>
                </a:cubicBezTo>
                <a:cubicBezTo>
                  <a:pt x="6218" y="14031"/>
                  <a:pt x="6250" y="14062"/>
                  <a:pt x="6281" y="14062"/>
                </a:cubicBezTo>
                <a:cubicBezTo>
                  <a:pt x="6312" y="14094"/>
                  <a:pt x="6312" y="14031"/>
                  <a:pt x="6312" y="14031"/>
                </a:cubicBezTo>
                <a:cubicBezTo>
                  <a:pt x="6375" y="14000"/>
                  <a:pt x="6375" y="13937"/>
                  <a:pt x="6406" y="13906"/>
                </a:cubicBezTo>
                <a:cubicBezTo>
                  <a:pt x="6375" y="13875"/>
                  <a:pt x="6375" y="13844"/>
                  <a:pt x="6343" y="13812"/>
                </a:cubicBezTo>
                <a:cubicBezTo>
                  <a:pt x="6375" y="13844"/>
                  <a:pt x="6375" y="13875"/>
                  <a:pt x="6406" y="13906"/>
                </a:cubicBezTo>
                <a:cubicBezTo>
                  <a:pt x="6406" y="13906"/>
                  <a:pt x="6437" y="13937"/>
                  <a:pt x="6437" y="13937"/>
                </a:cubicBezTo>
                <a:cubicBezTo>
                  <a:pt x="6406" y="13969"/>
                  <a:pt x="6406" y="14031"/>
                  <a:pt x="6406" y="14062"/>
                </a:cubicBezTo>
                <a:cubicBezTo>
                  <a:pt x="6406" y="14094"/>
                  <a:pt x="6437" y="14156"/>
                  <a:pt x="6343" y="14156"/>
                </a:cubicBezTo>
                <a:cubicBezTo>
                  <a:pt x="6312" y="14125"/>
                  <a:pt x="6312" y="14219"/>
                  <a:pt x="6343" y="14250"/>
                </a:cubicBezTo>
                <a:cubicBezTo>
                  <a:pt x="6375" y="14281"/>
                  <a:pt x="6343" y="14281"/>
                  <a:pt x="6343" y="14312"/>
                </a:cubicBezTo>
                <a:cubicBezTo>
                  <a:pt x="6343" y="14312"/>
                  <a:pt x="6312" y="14281"/>
                  <a:pt x="6281" y="14250"/>
                </a:cubicBezTo>
                <a:cubicBezTo>
                  <a:pt x="6250" y="14187"/>
                  <a:pt x="6218" y="14219"/>
                  <a:pt x="6187" y="14219"/>
                </a:cubicBezTo>
                <a:cubicBezTo>
                  <a:pt x="6156" y="14219"/>
                  <a:pt x="6156" y="14250"/>
                  <a:pt x="6187" y="14250"/>
                </a:cubicBezTo>
                <a:cubicBezTo>
                  <a:pt x="6250" y="14344"/>
                  <a:pt x="6281" y="14469"/>
                  <a:pt x="6406" y="14500"/>
                </a:cubicBezTo>
                <a:cubicBezTo>
                  <a:pt x="6437" y="14500"/>
                  <a:pt x="6500" y="14531"/>
                  <a:pt x="6531" y="14562"/>
                </a:cubicBezTo>
                <a:cubicBezTo>
                  <a:pt x="6500" y="14594"/>
                  <a:pt x="6468" y="14594"/>
                  <a:pt x="6437" y="14562"/>
                </a:cubicBezTo>
                <a:cubicBezTo>
                  <a:pt x="6312" y="14500"/>
                  <a:pt x="6218" y="14406"/>
                  <a:pt x="6156" y="14250"/>
                </a:cubicBezTo>
                <a:close/>
                <a:moveTo>
                  <a:pt x="6062" y="12594"/>
                </a:moveTo>
                <a:cubicBezTo>
                  <a:pt x="6062" y="12656"/>
                  <a:pt x="6031" y="12719"/>
                  <a:pt x="6031" y="12781"/>
                </a:cubicBezTo>
                <a:cubicBezTo>
                  <a:pt x="6031" y="12781"/>
                  <a:pt x="6031" y="12781"/>
                  <a:pt x="6031" y="12781"/>
                </a:cubicBezTo>
                <a:cubicBezTo>
                  <a:pt x="6031" y="12812"/>
                  <a:pt x="6000" y="12844"/>
                  <a:pt x="6000" y="12906"/>
                </a:cubicBezTo>
                <a:cubicBezTo>
                  <a:pt x="6000" y="12844"/>
                  <a:pt x="6031" y="12812"/>
                  <a:pt x="6031" y="12781"/>
                </a:cubicBezTo>
                <a:cubicBezTo>
                  <a:pt x="6031" y="12719"/>
                  <a:pt x="6062" y="12656"/>
                  <a:pt x="6062" y="12594"/>
                </a:cubicBezTo>
                <a:cubicBezTo>
                  <a:pt x="6062" y="12531"/>
                  <a:pt x="6000" y="12500"/>
                  <a:pt x="6000" y="12437"/>
                </a:cubicBezTo>
                <a:cubicBezTo>
                  <a:pt x="6031" y="12437"/>
                  <a:pt x="6031" y="12437"/>
                  <a:pt x="6031" y="12437"/>
                </a:cubicBezTo>
                <a:cubicBezTo>
                  <a:pt x="6093" y="12500"/>
                  <a:pt x="6093" y="12594"/>
                  <a:pt x="6062" y="12719"/>
                </a:cubicBezTo>
                <a:cubicBezTo>
                  <a:pt x="6031" y="12687"/>
                  <a:pt x="6062" y="12625"/>
                  <a:pt x="6062" y="12594"/>
                </a:cubicBezTo>
                <a:close/>
                <a:moveTo>
                  <a:pt x="6031" y="13969"/>
                </a:moveTo>
                <a:cubicBezTo>
                  <a:pt x="6031" y="14000"/>
                  <a:pt x="6031" y="14062"/>
                  <a:pt x="5968" y="14062"/>
                </a:cubicBezTo>
                <a:cubicBezTo>
                  <a:pt x="5968" y="14062"/>
                  <a:pt x="5968" y="14062"/>
                  <a:pt x="5968" y="14062"/>
                </a:cubicBezTo>
                <a:cubicBezTo>
                  <a:pt x="5968" y="14062"/>
                  <a:pt x="5968" y="14062"/>
                  <a:pt x="5968" y="14062"/>
                </a:cubicBezTo>
                <a:cubicBezTo>
                  <a:pt x="6000" y="14000"/>
                  <a:pt x="5968" y="13937"/>
                  <a:pt x="5968" y="13906"/>
                </a:cubicBezTo>
                <a:cubicBezTo>
                  <a:pt x="5968" y="13875"/>
                  <a:pt x="6000" y="13844"/>
                  <a:pt x="6031" y="13812"/>
                </a:cubicBezTo>
                <a:cubicBezTo>
                  <a:pt x="6031" y="13812"/>
                  <a:pt x="6062" y="13812"/>
                  <a:pt x="6062" y="13812"/>
                </a:cubicBezTo>
                <a:cubicBezTo>
                  <a:pt x="6000" y="13875"/>
                  <a:pt x="6031" y="13937"/>
                  <a:pt x="6031" y="13969"/>
                </a:cubicBezTo>
                <a:close/>
                <a:moveTo>
                  <a:pt x="6000" y="14187"/>
                </a:moveTo>
                <a:cubicBezTo>
                  <a:pt x="5968" y="14250"/>
                  <a:pt x="6000" y="14250"/>
                  <a:pt x="6031" y="14281"/>
                </a:cubicBezTo>
                <a:cubicBezTo>
                  <a:pt x="6031" y="14312"/>
                  <a:pt x="6031" y="14344"/>
                  <a:pt x="6000" y="14344"/>
                </a:cubicBezTo>
                <a:cubicBezTo>
                  <a:pt x="6000" y="14344"/>
                  <a:pt x="5968" y="14344"/>
                  <a:pt x="5968" y="14312"/>
                </a:cubicBezTo>
                <a:cubicBezTo>
                  <a:pt x="5968" y="14281"/>
                  <a:pt x="5968" y="14250"/>
                  <a:pt x="5968" y="14219"/>
                </a:cubicBezTo>
                <a:cubicBezTo>
                  <a:pt x="5968" y="14187"/>
                  <a:pt x="5968" y="14125"/>
                  <a:pt x="5968" y="14094"/>
                </a:cubicBezTo>
                <a:cubicBezTo>
                  <a:pt x="5968" y="14094"/>
                  <a:pt x="5968" y="14094"/>
                  <a:pt x="6000" y="14125"/>
                </a:cubicBezTo>
                <a:cubicBezTo>
                  <a:pt x="6000" y="14094"/>
                  <a:pt x="6031" y="14094"/>
                  <a:pt x="6031" y="14094"/>
                </a:cubicBezTo>
                <a:cubicBezTo>
                  <a:pt x="6031" y="14094"/>
                  <a:pt x="6000" y="14094"/>
                  <a:pt x="6000" y="14125"/>
                </a:cubicBezTo>
                <a:cubicBezTo>
                  <a:pt x="6000" y="14156"/>
                  <a:pt x="6000" y="14187"/>
                  <a:pt x="6000" y="14187"/>
                </a:cubicBezTo>
                <a:close/>
                <a:moveTo>
                  <a:pt x="5812" y="12000"/>
                </a:moveTo>
                <a:cubicBezTo>
                  <a:pt x="5812" y="12000"/>
                  <a:pt x="5812" y="11969"/>
                  <a:pt x="5812" y="11969"/>
                </a:cubicBezTo>
                <a:cubicBezTo>
                  <a:pt x="5875" y="12062"/>
                  <a:pt x="5906" y="12125"/>
                  <a:pt x="5968" y="12219"/>
                </a:cubicBezTo>
                <a:cubicBezTo>
                  <a:pt x="5968" y="12219"/>
                  <a:pt x="6000" y="12250"/>
                  <a:pt x="5968" y="12281"/>
                </a:cubicBezTo>
                <a:cubicBezTo>
                  <a:pt x="5968" y="12250"/>
                  <a:pt x="5968" y="12250"/>
                  <a:pt x="5937" y="12250"/>
                </a:cubicBezTo>
                <a:cubicBezTo>
                  <a:pt x="5937" y="12250"/>
                  <a:pt x="5937" y="12250"/>
                  <a:pt x="5937" y="12250"/>
                </a:cubicBezTo>
                <a:cubicBezTo>
                  <a:pt x="5937" y="12250"/>
                  <a:pt x="5937" y="12250"/>
                  <a:pt x="5937" y="12250"/>
                </a:cubicBezTo>
                <a:cubicBezTo>
                  <a:pt x="5906" y="12156"/>
                  <a:pt x="5843" y="12094"/>
                  <a:pt x="5812" y="12000"/>
                </a:cubicBezTo>
                <a:close/>
                <a:moveTo>
                  <a:pt x="5906" y="12250"/>
                </a:moveTo>
                <a:cubicBezTo>
                  <a:pt x="5906" y="12250"/>
                  <a:pt x="5906" y="12250"/>
                  <a:pt x="5906" y="12250"/>
                </a:cubicBezTo>
                <a:cubicBezTo>
                  <a:pt x="5906" y="12250"/>
                  <a:pt x="5906" y="12250"/>
                  <a:pt x="5906" y="12250"/>
                </a:cubicBezTo>
                <a:close/>
                <a:moveTo>
                  <a:pt x="5812" y="13094"/>
                </a:moveTo>
                <a:cubicBezTo>
                  <a:pt x="5812" y="13094"/>
                  <a:pt x="5812" y="13094"/>
                  <a:pt x="5812" y="13094"/>
                </a:cubicBezTo>
                <a:cubicBezTo>
                  <a:pt x="5812" y="13094"/>
                  <a:pt x="5812" y="13062"/>
                  <a:pt x="5812" y="13062"/>
                </a:cubicBezTo>
                <a:cubicBezTo>
                  <a:pt x="5812" y="13062"/>
                  <a:pt x="5812" y="13094"/>
                  <a:pt x="5812" y="13094"/>
                </a:cubicBezTo>
                <a:close/>
                <a:moveTo>
                  <a:pt x="5906" y="11687"/>
                </a:moveTo>
                <a:cubicBezTo>
                  <a:pt x="5906" y="11687"/>
                  <a:pt x="5906" y="11656"/>
                  <a:pt x="5875" y="11625"/>
                </a:cubicBezTo>
                <a:cubicBezTo>
                  <a:pt x="5906" y="11656"/>
                  <a:pt x="5906" y="11687"/>
                  <a:pt x="5906" y="11687"/>
                </a:cubicBezTo>
                <a:close/>
                <a:moveTo>
                  <a:pt x="5875" y="11125"/>
                </a:moveTo>
                <a:cubicBezTo>
                  <a:pt x="5875" y="11187"/>
                  <a:pt x="5875" y="11250"/>
                  <a:pt x="5875" y="11344"/>
                </a:cubicBezTo>
                <a:cubicBezTo>
                  <a:pt x="5875" y="11250"/>
                  <a:pt x="5875" y="11187"/>
                  <a:pt x="5875" y="11125"/>
                </a:cubicBezTo>
                <a:close/>
                <a:moveTo>
                  <a:pt x="5906" y="11750"/>
                </a:moveTo>
                <a:cubicBezTo>
                  <a:pt x="5906" y="11750"/>
                  <a:pt x="5906" y="11750"/>
                  <a:pt x="5906" y="11750"/>
                </a:cubicBezTo>
                <a:cubicBezTo>
                  <a:pt x="5906" y="11750"/>
                  <a:pt x="5906" y="11719"/>
                  <a:pt x="5906" y="11719"/>
                </a:cubicBezTo>
                <a:cubicBezTo>
                  <a:pt x="5906" y="11719"/>
                  <a:pt x="5906" y="11750"/>
                  <a:pt x="5906" y="11750"/>
                </a:cubicBezTo>
                <a:cubicBezTo>
                  <a:pt x="5937" y="11781"/>
                  <a:pt x="5937" y="11844"/>
                  <a:pt x="5968" y="11875"/>
                </a:cubicBezTo>
                <a:cubicBezTo>
                  <a:pt x="5968" y="11875"/>
                  <a:pt x="5968" y="11906"/>
                  <a:pt x="5937" y="11906"/>
                </a:cubicBezTo>
                <a:cubicBezTo>
                  <a:pt x="5968" y="11937"/>
                  <a:pt x="5968" y="11969"/>
                  <a:pt x="5968" y="12000"/>
                </a:cubicBezTo>
                <a:cubicBezTo>
                  <a:pt x="5968" y="11969"/>
                  <a:pt x="5968" y="11937"/>
                  <a:pt x="5937" y="11906"/>
                </a:cubicBezTo>
                <a:cubicBezTo>
                  <a:pt x="5937" y="11844"/>
                  <a:pt x="5875" y="11812"/>
                  <a:pt x="5906" y="11750"/>
                </a:cubicBezTo>
                <a:close/>
                <a:moveTo>
                  <a:pt x="5968" y="12281"/>
                </a:moveTo>
                <a:cubicBezTo>
                  <a:pt x="5968" y="12281"/>
                  <a:pt x="5968" y="12281"/>
                  <a:pt x="5968" y="12281"/>
                </a:cubicBezTo>
                <a:cubicBezTo>
                  <a:pt x="5968" y="12281"/>
                  <a:pt x="5968" y="12281"/>
                  <a:pt x="5968" y="12281"/>
                </a:cubicBezTo>
                <a:close/>
                <a:moveTo>
                  <a:pt x="6312" y="12625"/>
                </a:moveTo>
                <a:cubicBezTo>
                  <a:pt x="6312" y="12625"/>
                  <a:pt x="6312" y="12625"/>
                  <a:pt x="6312" y="12594"/>
                </a:cubicBezTo>
                <a:cubicBezTo>
                  <a:pt x="6281" y="12437"/>
                  <a:pt x="6187" y="12344"/>
                  <a:pt x="6125" y="12219"/>
                </a:cubicBezTo>
                <a:cubicBezTo>
                  <a:pt x="6125" y="12219"/>
                  <a:pt x="6093" y="12187"/>
                  <a:pt x="6093" y="12187"/>
                </a:cubicBezTo>
                <a:cubicBezTo>
                  <a:pt x="6093" y="12187"/>
                  <a:pt x="6125" y="12219"/>
                  <a:pt x="6125" y="12219"/>
                </a:cubicBezTo>
                <a:cubicBezTo>
                  <a:pt x="6125" y="12219"/>
                  <a:pt x="6125" y="12219"/>
                  <a:pt x="6125" y="12219"/>
                </a:cubicBezTo>
                <a:cubicBezTo>
                  <a:pt x="6218" y="12312"/>
                  <a:pt x="6312" y="12375"/>
                  <a:pt x="6312" y="12500"/>
                </a:cubicBezTo>
                <a:cubicBezTo>
                  <a:pt x="6281" y="12562"/>
                  <a:pt x="6343" y="12594"/>
                  <a:pt x="6312" y="12625"/>
                </a:cubicBezTo>
                <a:close/>
                <a:moveTo>
                  <a:pt x="6156" y="12375"/>
                </a:moveTo>
                <a:cubicBezTo>
                  <a:pt x="6156" y="12375"/>
                  <a:pt x="6156" y="12375"/>
                  <a:pt x="6156" y="12375"/>
                </a:cubicBezTo>
                <a:cubicBezTo>
                  <a:pt x="6156" y="12375"/>
                  <a:pt x="6156" y="12375"/>
                  <a:pt x="6156" y="12375"/>
                </a:cubicBezTo>
                <a:cubicBezTo>
                  <a:pt x="6156" y="12375"/>
                  <a:pt x="6156" y="12375"/>
                  <a:pt x="6156" y="12375"/>
                </a:cubicBezTo>
                <a:close/>
                <a:moveTo>
                  <a:pt x="6062" y="12250"/>
                </a:moveTo>
                <a:cubicBezTo>
                  <a:pt x="6062" y="12250"/>
                  <a:pt x="6062" y="12250"/>
                  <a:pt x="6062" y="12250"/>
                </a:cubicBezTo>
                <a:cubicBezTo>
                  <a:pt x="6062" y="12250"/>
                  <a:pt x="6062" y="12250"/>
                  <a:pt x="6062" y="12250"/>
                </a:cubicBezTo>
                <a:close/>
                <a:moveTo>
                  <a:pt x="6062" y="12344"/>
                </a:moveTo>
                <a:cubicBezTo>
                  <a:pt x="6093" y="12406"/>
                  <a:pt x="6125" y="12437"/>
                  <a:pt x="6125" y="12469"/>
                </a:cubicBezTo>
                <a:cubicBezTo>
                  <a:pt x="6093" y="12437"/>
                  <a:pt x="6093" y="12406"/>
                  <a:pt x="6031" y="12375"/>
                </a:cubicBezTo>
                <a:cubicBezTo>
                  <a:pt x="6031" y="12375"/>
                  <a:pt x="6031" y="12344"/>
                  <a:pt x="6031" y="12344"/>
                </a:cubicBezTo>
                <a:cubicBezTo>
                  <a:pt x="6062" y="12312"/>
                  <a:pt x="6062" y="12344"/>
                  <a:pt x="6062" y="12344"/>
                </a:cubicBezTo>
                <a:close/>
                <a:moveTo>
                  <a:pt x="6500" y="12125"/>
                </a:moveTo>
                <a:cubicBezTo>
                  <a:pt x="6437" y="12031"/>
                  <a:pt x="6406" y="11937"/>
                  <a:pt x="6343" y="11875"/>
                </a:cubicBezTo>
                <a:cubicBezTo>
                  <a:pt x="6281" y="11750"/>
                  <a:pt x="6187" y="11594"/>
                  <a:pt x="6125" y="11437"/>
                </a:cubicBezTo>
                <a:cubicBezTo>
                  <a:pt x="6125" y="11437"/>
                  <a:pt x="6093" y="11406"/>
                  <a:pt x="6125" y="11406"/>
                </a:cubicBezTo>
                <a:cubicBezTo>
                  <a:pt x="6156" y="11375"/>
                  <a:pt x="6156" y="11406"/>
                  <a:pt x="6156" y="11437"/>
                </a:cubicBezTo>
                <a:cubicBezTo>
                  <a:pt x="6250" y="11656"/>
                  <a:pt x="6375" y="11812"/>
                  <a:pt x="6500" y="12000"/>
                </a:cubicBezTo>
                <a:cubicBezTo>
                  <a:pt x="6468" y="12031"/>
                  <a:pt x="6500" y="12062"/>
                  <a:pt x="6500" y="12125"/>
                </a:cubicBezTo>
                <a:close/>
                <a:moveTo>
                  <a:pt x="6468" y="12187"/>
                </a:moveTo>
                <a:cubicBezTo>
                  <a:pt x="6406" y="12187"/>
                  <a:pt x="6406" y="12187"/>
                  <a:pt x="6406" y="12156"/>
                </a:cubicBezTo>
                <a:cubicBezTo>
                  <a:pt x="6343" y="12094"/>
                  <a:pt x="6312" y="12031"/>
                  <a:pt x="6281" y="11969"/>
                </a:cubicBezTo>
                <a:cubicBezTo>
                  <a:pt x="6343" y="12031"/>
                  <a:pt x="6406" y="12062"/>
                  <a:pt x="6406" y="12156"/>
                </a:cubicBezTo>
                <a:cubicBezTo>
                  <a:pt x="6437" y="12156"/>
                  <a:pt x="6437" y="12187"/>
                  <a:pt x="6468" y="12187"/>
                </a:cubicBezTo>
                <a:close/>
                <a:moveTo>
                  <a:pt x="6406" y="12281"/>
                </a:moveTo>
                <a:cubicBezTo>
                  <a:pt x="6468" y="12375"/>
                  <a:pt x="6500" y="12437"/>
                  <a:pt x="6500" y="12562"/>
                </a:cubicBezTo>
                <a:cubicBezTo>
                  <a:pt x="6500" y="12594"/>
                  <a:pt x="6500" y="12625"/>
                  <a:pt x="6500" y="12687"/>
                </a:cubicBezTo>
                <a:cubicBezTo>
                  <a:pt x="6500" y="12687"/>
                  <a:pt x="6500" y="12687"/>
                  <a:pt x="6500" y="12687"/>
                </a:cubicBezTo>
                <a:cubicBezTo>
                  <a:pt x="6500" y="12469"/>
                  <a:pt x="6406" y="12281"/>
                  <a:pt x="6281" y="12125"/>
                </a:cubicBezTo>
                <a:cubicBezTo>
                  <a:pt x="6156" y="11969"/>
                  <a:pt x="6062" y="11812"/>
                  <a:pt x="6031" y="11625"/>
                </a:cubicBezTo>
                <a:cubicBezTo>
                  <a:pt x="6000" y="11594"/>
                  <a:pt x="6000" y="11562"/>
                  <a:pt x="6031" y="11531"/>
                </a:cubicBezTo>
                <a:cubicBezTo>
                  <a:pt x="6062" y="11594"/>
                  <a:pt x="6062" y="11687"/>
                  <a:pt x="6093" y="11750"/>
                </a:cubicBezTo>
                <a:cubicBezTo>
                  <a:pt x="6156" y="11937"/>
                  <a:pt x="6281" y="12125"/>
                  <a:pt x="6406" y="12281"/>
                </a:cubicBezTo>
                <a:close/>
                <a:moveTo>
                  <a:pt x="6500" y="13281"/>
                </a:move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lose/>
                <a:moveTo>
                  <a:pt x="6500" y="13312"/>
                </a:moveTo>
                <a:cubicBezTo>
                  <a:pt x="6500" y="13312"/>
                  <a:pt x="6500" y="13281"/>
                  <a:pt x="6500" y="13281"/>
                </a:cubicBezTo>
                <a:cubicBezTo>
                  <a:pt x="6500" y="13281"/>
                  <a:pt x="6500" y="13281"/>
                  <a:pt x="6500" y="13281"/>
                </a:cubicBezTo>
                <a:cubicBezTo>
                  <a:pt x="6500" y="13281"/>
                  <a:pt x="6500" y="13312"/>
                  <a:pt x="6500" y="13312"/>
                </a:cubicBezTo>
                <a:close/>
                <a:moveTo>
                  <a:pt x="6500" y="12156"/>
                </a:moveTo>
                <a:cubicBezTo>
                  <a:pt x="6531" y="12187"/>
                  <a:pt x="6531" y="12219"/>
                  <a:pt x="6531" y="12219"/>
                </a:cubicBezTo>
                <a:cubicBezTo>
                  <a:pt x="6531" y="12219"/>
                  <a:pt x="6531" y="12219"/>
                  <a:pt x="6531" y="12219"/>
                </a:cubicBezTo>
                <a:cubicBezTo>
                  <a:pt x="6531" y="12219"/>
                  <a:pt x="6531" y="12187"/>
                  <a:pt x="6500" y="12156"/>
                </a:cubicBezTo>
                <a:close/>
                <a:moveTo>
                  <a:pt x="6531" y="12219"/>
                </a:moveTo>
                <a:cubicBezTo>
                  <a:pt x="6531" y="12219"/>
                  <a:pt x="6531" y="12219"/>
                  <a:pt x="6531" y="12219"/>
                </a:cubicBezTo>
                <a:cubicBezTo>
                  <a:pt x="6562" y="12250"/>
                  <a:pt x="6562" y="12281"/>
                  <a:pt x="6562" y="12312"/>
                </a:cubicBezTo>
                <a:cubicBezTo>
                  <a:pt x="6562" y="12281"/>
                  <a:pt x="6562" y="12250"/>
                  <a:pt x="6531" y="12219"/>
                </a:cubicBezTo>
                <a:close/>
                <a:moveTo>
                  <a:pt x="6625" y="13187"/>
                </a:moveTo>
                <a:cubicBezTo>
                  <a:pt x="6625" y="13187"/>
                  <a:pt x="6625" y="13187"/>
                  <a:pt x="6656" y="13187"/>
                </a:cubicBezTo>
                <a:cubicBezTo>
                  <a:pt x="6656" y="13187"/>
                  <a:pt x="6656" y="13187"/>
                  <a:pt x="6656" y="13187"/>
                </a:cubicBezTo>
                <a:cubicBezTo>
                  <a:pt x="6625" y="13187"/>
                  <a:pt x="6625" y="13187"/>
                  <a:pt x="6625" y="13187"/>
                </a:cubicBezTo>
                <a:close/>
                <a:moveTo>
                  <a:pt x="6687" y="12937"/>
                </a:moveTo>
                <a:cubicBezTo>
                  <a:pt x="6687" y="12937"/>
                  <a:pt x="6687" y="12937"/>
                  <a:pt x="6687" y="12937"/>
                </a:cubicBezTo>
                <a:cubicBezTo>
                  <a:pt x="6687" y="12937"/>
                  <a:pt x="6687" y="12937"/>
                  <a:pt x="6687" y="12937"/>
                </a:cubicBezTo>
                <a:cubicBezTo>
                  <a:pt x="6687" y="12937"/>
                  <a:pt x="6687" y="12937"/>
                  <a:pt x="6687" y="12937"/>
                </a:cubicBezTo>
                <a:close/>
                <a:moveTo>
                  <a:pt x="6750" y="14656"/>
                </a:moveTo>
                <a:cubicBezTo>
                  <a:pt x="6750" y="14656"/>
                  <a:pt x="6750" y="14656"/>
                  <a:pt x="6750" y="14656"/>
                </a:cubicBezTo>
                <a:cubicBezTo>
                  <a:pt x="6750" y="14687"/>
                  <a:pt x="6750" y="14687"/>
                  <a:pt x="6750" y="14656"/>
                </a:cubicBezTo>
                <a:cubicBezTo>
                  <a:pt x="6750" y="14656"/>
                  <a:pt x="6750" y="14656"/>
                  <a:pt x="6750" y="14656"/>
                </a:cubicBezTo>
                <a:close/>
                <a:moveTo>
                  <a:pt x="6750" y="13187"/>
                </a:moveTo>
                <a:cubicBezTo>
                  <a:pt x="6687" y="13125"/>
                  <a:pt x="6781" y="13094"/>
                  <a:pt x="6781" y="13062"/>
                </a:cubicBezTo>
                <a:cubicBezTo>
                  <a:pt x="6781" y="13031"/>
                  <a:pt x="6812" y="13031"/>
                  <a:pt x="6812" y="13000"/>
                </a:cubicBezTo>
                <a:cubicBezTo>
                  <a:pt x="6812" y="13031"/>
                  <a:pt x="6843" y="13031"/>
                  <a:pt x="6843" y="13031"/>
                </a:cubicBezTo>
                <a:cubicBezTo>
                  <a:pt x="6843" y="13031"/>
                  <a:pt x="6843" y="13031"/>
                  <a:pt x="6843" y="13031"/>
                </a:cubicBezTo>
                <a:cubicBezTo>
                  <a:pt x="6843" y="13062"/>
                  <a:pt x="6812" y="13062"/>
                  <a:pt x="6843" y="13062"/>
                </a:cubicBezTo>
                <a:cubicBezTo>
                  <a:pt x="6843" y="13062"/>
                  <a:pt x="6843" y="13062"/>
                  <a:pt x="6843" y="13062"/>
                </a:cubicBezTo>
                <a:cubicBezTo>
                  <a:pt x="6843" y="13062"/>
                  <a:pt x="6843" y="13062"/>
                  <a:pt x="6843" y="13062"/>
                </a:cubicBezTo>
                <a:cubicBezTo>
                  <a:pt x="6843" y="13094"/>
                  <a:pt x="6875" y="13094"/>
                  <a:pt x="6875" y="13062"/>
                </a:cubicBezTo>
                <a:cubicBezTo>
                  <a:pt x="6906" y="13062"/>
                  <a:pt x="6906" y="13031"/>
                  <a:pt x="6937" y="13031"/>
                </a:cubicBezTo>
                <a:cubicBezTo>
                  <a:pt x="6937" y="13031"/>
                  <a:pt x="6937" y="13031"/>
                  <a:pt x="6937" y="13062"/>
                </a:cubicBezTo>
                <a:cubicBezTo>
                  <a:pt x="6937" y="13062"/>
                  <a:pt x="6937" y="13062"/>
                  <a:pt x="6937" y="13062"/>
                </a:cubicBezTo>
                <a:cubicBezTo>
                  <a:pt x="6906" y="13094"/>
                  <a:pt x="6906" y="13125"/>
                  <a:pt x="6875" y="13156"/>
                </a:cubicBezTo>
                <a:cubicBezTo>
                  <a:pt x="6843" y="13156"/>
                  <a:pt x="6843" y="13187"/>
                  <a:pt x="6812" y="13156"/>
                </a:cubicBezTo>
                <a:cubicBezTo>
                  <a:pt x="6812" y="13156"/>
                  <a:pt x="6843" y="13125"/>
                  <a:pt x="6812" y="13125"/>
                </a:cubicBezTo>
                <a:cubicBezTo>
                  <a:pt x="6843" y="13094"/>
                  <a:pt x="6875" y="13094"/>
                  <a:pt x="6843" y="13062"/>
                </a:cubicBezTo>
                <a:cubicBezTo>
                  <a:pt x="6812" y="13062"/>
                  <a:pt x="6812" y="13094"/>
                  <a:pt x="6812" y="13125"/>
                </a:cubicBezTo>
                <a:cubicBezTo>
                  <a:pt x="6781" y="13125"/>
                  <a:pt x="6781" y="13156"/>
                  <a:pt x="6750" y="13187"/>
                </a:cubicBezTo>
                <a:close/>
                <a:moveTo>
                  <a:pt x="7062" y="12531"/>
                </a:moveTo>
                <a:cubicBezTo>
                  <a:pt x="7062" y="12687"/>
                  <a:pt x="7000" y="12781"/>
                  <a:pt x="6906" y="12875"/>
                </a:cubicBezTo>
                <a:cubicBezTo>
                  <a:pt x="6937" y="12750"/>
                  <a:pt x="7031" y="12656"/>
                  <a:pt x="7062" y="12531"/>
                </a:cubicBezTo>
                <a:close/>
                <a:moveTo>
                  <a:pt x="6968" y="12594"/>
                </a:moveTo>
                <a:cubicBezTo>
                  <a:pt x="6968" y="12625"/>
                  <a:pt x="6937" y="12687"/>
                  <a:pt x="6906" y="12719"/>
                </a:cubicBezTo>
                <a:cubicBezTo>
                  <a:pt x="6906" y="12656"/>
                  <a:pt x="6937" y="12625"/>
                  <a:pt x="6968" y="12594"/>
                </a:cubicBezTo>
                <a:close/>
                <a:moveTo>
                  <a:pt x="7093" y="11937"/>
                </a:moveTo>
                <a:cubicBezTo>
                  <a:pt x="7093" y="11937"/>
                  <a:pt x="7093" y="11969"/>
                  <a:pt x="7062" y="11969"/>
                </a:cubicBezTo>
                <a:cubicBezTo>
                  <a:pt x="7062" y="11969"/>
                  <a:pt x="7062" y="11969"/>
                  <a:pt x="7062" y="11969"/>
                </a:cubicBezTo>
                <a:cubicBezTo>
                  <a:pt x="7062" y="11969"/>
                  <a:pt x="7062" y="11969"/>
                  <a:pt x="7062" y="11969"/>
                </a:cubicBezTo>
                <a:cubicBezTo>
                  <a:pt x="7062" y="12062"/>
                  <a:pt x="7062" y="12125"/>
                  <a:pt x="7062" y="12219"/>
                </a:cubicBezTo>
                <a:cubicBezTo>
                  <a:pt x="7062" y="12125"/>
                  <a:pt x="7062" y="12062"/>
                  <a:pt x="7062" y="11969"/>
                </a:cubicBezTo>
                <a:cubicBezTo>
                  <a:pt x="7031" y="11875"/>
                  <a:pt x="7031" y="11781"/>
                  <a:pt x="7000" y="11687"/>
                </a:cubicBezTo>
                <a:cubicBezTo>
                  <a:pt x="7093" y="11750"/>
                  <a:pt x="7031" y="11844"/>
                  <a:pt x="7062" y="11906"/>
                </a:cubicBezTo>
                <a:cubicBezTo>
                  <a:pt x="7062" y="11937"/>
                  <a:pt x="7062" y="11937"/>
                  <a:pt x="7093" y="11937"/>
                </a:cubicBezTo>
                <a:close/>
                <a:moveTo>
                  <a:pt x="7062" y="14250"/>
                </a:moveTo>
                <a:cubicBezTo>
                  <a:pt x="7062" y="14250"/>
                  <a:pt x="7062" y="14250"/>
                  <a:pt x="7062" y="14250"/>
                </a:cubicBezTo>
                <a:cubicBezTo>
                  <a:pt x="7062" y="14250"/>
                  <a:pt x="7062" y="14250"/>
                  <a:pt x="7062" y="14250"/>
                </a:cubicBezTo>
                <a:cubicBezTo>
                  <a:pt x="7031" y="14281"/>
                  <a:pt x="7093" y="14312"/>
                  <a:pt x="7093" y="14375"/>
                </a:cubicBezTo>
                <a:cubicBezTo>
                  <a:pt x="7000" y="14312"/>
                  <a:pt x="6906" y="14125"/>
                  <a:pt x="6937" y="14031"/>
                </a:cubicBezTo>
                <a:cubicBezTo>
                  <a:pt x="7000" y="14094"/>
                  <a:pt x="6968" y="14187"/>
                  <a:pt x="7062" y="14250"/>
                </a:cubicBezTo>
                <a:close/>
                <a:moveTo>
                  <a:pt x="6937" y="13031"/>
                </a:moveTo>
                <a:cubicBezTo>
                  <a:pt x="6937" y="13031"/>
                  <a:pt x="6937" y="13031"/>
                  <a:pt x="6937" y="13031"/>
                </a:cubicBezTo>
                <a:cubicBezTo>
                  <a:pt x="6937" y="13031"/>
                  <a:pt x="6937" y="13031"/>
                  <a:pt x="6937" y="13031"/>
                </a:cubicBezTo>
                <a:close/>
                <a:moveTo>
                  <a:pt x="7031" y="12781"/>
                </a:moveTo>
                <a:cubicBezTo>
                  <a:pt x="7031" y="12781"/>
                  <a:pt x="7031" y="12781"/>
                  <a:pt x="7031" y="12781"/>
                </a:cubicBezTo>
                <a:cubicBezTo>
                  <a:pt x="7031" y="12812"/>
                  <a:pt x="7031" y="12812"/>
                  <a:pt x="7062" y="12812"/>
                </a:cubicBezTo>
                <a:cubicBezTo>
                  <a:pt x="7031" y="12812"/>
                  <a:pt x="7031" y="12812"/>
                  <a:pt x="7031" y="12781"/>
                </a:cubicBezTo>
                <a:close/>
                <a:moveTo>
                  <a:pt x="6812" y="14031"/>
                </a:moveTo>
                <a:cubicBezTo>
                  <a:pt x="6812" y="14062"/>
                  <a:pt x="6812" y="14125"/>
                  <a:pt x="6812" y="14156"/>
                </a:cubicBezTo>
                <a:cubicBezTo>
                  <a:pt x="6812" y="14156"/>
                  <a:pt x="6781" y="14156"/>
                  <a:pt x="6781" y="14156"/>
                </a:cubicBezTo>
                <a:cubicBezTo>
                  <a:pt x="6781" y="14125"/>
                  <a:pt x="6781" y="14062"/>
                  <a:pt x="6812" y="14031"/>
                </a:cubicBezTo>
                <a:close/>
                <a:moveTo>
                  <a:pt x="6937" y="14750"/>
                </a:moveTo>
                <a:cubicBezTo>
                  <a:pt x="6875" y="14781"/>
                  <a:pt x="6781" y="14719"/>
                  <a:pt x="6781" y="14687"/>
                </a:cubicBezTo>
                <a:cubicBezTo>
                  <a:pt x="6812" y="14719"/>
                  <a:pt x="6906" y="14719"/>
                  <a:pt x="6937" y="14750"/>
                </a:cubicBezTo>
                <a:close/>
                <a:moveTo>
                  <a:pt x="6875" y="14062"/>
                </a:moveTo>
                <a:cubicBezTo>
                  <a:pt x="6906" y="14187"/>
                  <a:pt x="6968" y="14281"/>
                  <a:pt x="7031" y="14375"/>
                </a:cubicBezTo>
                <a:cubicBezTo>
                  <a:pt x="6937" y="14375"/>
                  <a:pt x="6875" y="14187"/>
                  <a:pt x="6875" y="14062"/>
                </a:cubicBezTo>
                <a:close/>
                <a:moveTo>
                  <a:pt x="7031" y="14562"/>
                </a:moveTo>
                <a:cubicBezTo>
                  <a:pt x="7093" y="14531"/>
                  <a:pt x="7156" y="14531"/>
                  <a:pt x="7218" y="14500"/>
                </a:cubicBezTo>
                <a:cubicBezTo>
                  <a:pt x="7218" y="14531"/>
                  <a:pt x="7250" y="14531"/>
                  <a:pt x="7250" y="14531"/>
                </a:cubicBezTo>
                <a:cubicBezTo>
                  <a:pt x="7250" y="14531"/>
                  <a:pt x="7250" y="14531"/>
                  <a:pt x="7218" y="14531"/>
                </a:cubicBezTo>
                <a:cubicBezTo>
                  <a:pt x="7187" y="14562"/>
                  <a:pt x="7125" y="14562"/>
                  <a:pt x="7062" y="14594"/>
                </a:cubicBezTo>
                <a:cubicBezTo>
                  <a:pt x="7031" y="14562"/>
                  <a:pt x="7031" y="14594"/>
                  <a:pt x="7000" y="14594"/>
                </a:cubicBezTo>
                <a:cubicBezTo>
                  <a:pt x="7000" y="14562"/>
                  <a:pt x="7031" y="14562"/>
                  <a:pt x="7031" y="14562"/>
                </a:cubicBezTo>
                <a:close/>
                <a:moveTo>
                  <a:pt x="7187" y="12625"/>
                </a:moveTo>
                <a:cubicBezTo>
                  <a:pt x="7187" y="12625"/>
                  <a:pt x="7187" y="12625"/>
                  <a:pt x="7187" y="12656"/>
                </a:cubicBezTo>
                <a:cubicBezTo>
                  <a:pt x="7187" y="12656"/>
                  <a:pt x="7187" y="12656"/>
                  <a:pt x="7187" y="12656"/>
                </a:cubicBezTo>
                <a:cubicBezTo>
                  <a:pt x="7187" y="12625"/>
                  <a:pt x="7187" y="12625"/>
                  <a:pt x="7187" y="12625"/>
                </a:cubicBezTo>
                <a:close/>
                <a:moveTo>
                  <a:pt x="7250" y="13812"/>
                </a:moveTo>
                <a:cubicBezTo>
                  <a:pt x="7250" y="13844"/>
                  <a:pt x="7250" y="13844"/>
                  <a:pt x="7250" y="13875"/>
                </a:cubicBezTo>
                <a:cubicBezTo>
                  <a:pt x="7250" y="13875"/>
                  <a:pt x="7218" y="13875"/>
                  <a:pt x="7218" y="13875"/>
                </a:cubicBezTo>
                <a:cubicBezTo>
                  <a:pt x="7218" y="13875"/>
                  <a:pt x="7250" y="13875"/>
                  <a:pt x="7250" y="13875"/>
                </a:cubicBezTo>
                <a:cubicBezTo>
                  <a:pt x="7250" y="13844"/>
                  <a:pt x="7250" y="13844"/>
                  <a:pt x="7250" y="13812"/>
                </a:cubicBezTo>
                <a:close/>
                <a:moveTo>
                  <a:pt x="7250" y="12844"/>
                </a:moveTo>
                <a:cubicBezTo>
                  <a:pt x="7250" y="12844"/>
                  <a:pt x="7250" y="12812"/>
                  <a:pt x="7250" y="12812"/>
                </a:cubicBezTo>
                <a:cubicBezTo>
                  <a:pt x="7250" y="12812"/>
                  <a:pt x="7250" y="12844"/>
                  <a:pt x="7250" y="12844"/>
                </a:cubicBezTo>
                <a:close/>
                <a:moveTo>
                  <a:pt x="6625" y="11094"/>
                </a:moveTo>
                <a:cubicBezTo>
                  <a:pt x="6625" y="11094"/>
                  <a:pt x="6625" y="11094"/>
                  <a:pt x="6625" y="11125"/>
                </a:cubicBezTo>
                <a:cubicBezTo>
                  <a:pt x="6656" y="11125"/>
                  <a:pt x="6656" y="11125"/>
                  <a:pt x="6656" y="11125"/>
                </a:cubicBezTo>
                <a:cubicBezTo>
                  <a:pt x="6656" y="11125"/>
                  <a:pt x="6656" y="11156"/>
                  <a:pt x="6656" y="11156"/>
                </a:cubicBezTo>
                <a:cubicBezTo>
                  <a:pt x="6656" y="11156"/>
                  <a:pt x="6656" y="11156"/>
                  <a:pt x="6656" y="11156"/>
                </a:cubicBezTo>
                <a:cubicBezTo>
                  <a:pt x="6656" y="11156"/>
                  <a:pt x="6625" y="11156"/>
                  <a:pt x="6625" y="11125"/>
                </a:cubicBezTo>
                <a:cubicBezTo>
                  <a:pt x="6625" y="11125"/>
                  <a:pt x="6625" y="11094"/>
                  <a:pt x="6625" y="11094"/>
                </a:cubicBezTo>
                <a:close/>
                <a:moveTo>
                  <a:pt x="6781" y="11219"/>
                </a:moveTo>
                <a:cubicBezTo>
                  <a:pt x="6781" y="11219"/>
                  <a:pt x="6781" y="11219"/>
                  <a:pt x="6781" y="11219"/>
                </a:cubicBezTo>
                <a:cubicBezTo>
                  <a:pt x="6781" y="11219"/>
                  <a:pt x="6781" y="11219"/>
                  <a:pt x="6781" y="11219"/>
                </a:cubicBezTo>
                <a:cubicBezTo>
                  <a:pt x="6781" y="11219"/>
                  <a:pt x="6781" y="11219"/>
                  <a:pt x="6781" y="11219"/>
                </a:cubicBezTo>
                <a:cubicBezTo>
                  <a:pt x="6750" y="11187"/>
                  <a:pt x="6750" y="11187"/>
                  <a:pt x="6718" y="11156"/>
                </a:cubicBezTo>
                <a:cubicBezTo>
                  <a:pt x="6781" y="11156"/>
                  <a:pt x="6781" y="11187"/>
                  <a:pt x="6781" y="11219"/>
                </a:cubicBezTo>
                <a:cubicBezTo>
                  <a:pt x="6812" y="11219"/>
                  <a:pt x="6812" y="11219"/>
                  <a:pt x="6812" y="11250"/>
                </a:cubicBezTo>
                <a:cubicBezTo>
                  <a:pt x="6781" y="11250"/>
                  <a:pt x="6781" y="11250"/>
                  <a:pt x="6781" y="11219"/>
                </a:cubicBezTo>
                <a:close/>
                <a:moveTo>
                  <a:pt x="6687" y="12000"/>
                </a:moveTo>
                <a:cubicBezTo>
                  <a:pt x="6593" y="11750"/>
                  <a:pt x="6437" y="11531"/>
                  <a:pt x="6312" y="11281"/>
                </a:cubicBezTo>
                <a:cubicBezTo>
                  <a:pt x="6312" y="11281"/>
                  <a:pt x="6281" y="11250"/>
                  <a:pt x="6281" y="11250"/>
                </a:cubicBezTo>
                <a:cubicBezTo>
                  <a:pt x="6281" y="11250"/>
                  <a:pt x="6312" y="11250"/>
                  <a:pt x="6312" y="11250"/>
                </a:cubicBezTo>
                <a:cubicBezTo>
                  <a:pt x="6375" y="11344"/>
                  <a:pt x="6437" y="11437"/>
                  <a:pt x="6468" y="11531"/>
                </a:cubicBezTo>
                <a:cubicBezTo>
                  <a:pt x="6531" y="11656"/>
                  <a:pt x="6625" y="11750"/>
                  <a:pt x="6687" y="11875"/>
                </a:cubicBezTo>
                <a:cubicBezTo>
                  <a:pt x="6687" y="11906"/>
                  <a:pt x="6687" y="11937"/>
                  <a:pt x="6687" y="12000"/>
                </a:cubicBezTo>
                <a:close/>
                <a:moveTo>
                  <a:pt x="6125" y="10562"/>
                </a:moveTo>
                <a:cubicBezTo>
                  <a:pt x="6125" y="10594"/>
                  <a:pt x="6125" y="10594"/>
                  <a:pt x="6125" y="10625"/>
                </a:cubicBezTo>
                <a:cubicBezTo>
                  <a:pt x="6062" y="10719"/>
                  <a:pt x="6062" y="10812"/>
                  <a:pt x="6093" y="10906"/>
                </a:cubicBezTo>
                <a:cubicBezTo>
                  <a:pt x="6093" y="10906"/>
                  <a:pt x="6093" y="10906"/>
                  <a:pt x="6093" y="10906"/>
                </a:cubicBezTo>
                <a:cubicBezTo>
                  <a:pt x="6156" y="11187"/>
                  <a:pt x="6281" y="11469"/>
                  <a:pt x="6468" y="11719"/>
                </a:cubicBezTo>
                <a:cubicBezTo>
                  <a:pt x="6468" y="11750"/>
                  <a:pt x="6500" y="11781"/>
                  <a:pt x="6500" y="11812"/>
                </a:cubicBezTo>
                <a:cubicBezTo>
                  <a:pt x="6593" y="11906"/>
                  <a:pt x="6625" y="12031"/>
                  <a:pt x="6687" y="12125"/>
                </a:cubicBezTo>
                <a:cubicBezTo>
                  <a:pt x="6593" y="12031"/>
                  <a:pt x="6562" y="11937"/>
                  <a:pt x="6500" y="11812"/>
                </a:cubicBezTo>
                <a:cubicBezTo>
                  <a:pt x="6406" y="11719"/>
                  <a:pt x="6343" y="11594"/>
                  <a:pt x="6281" y="11469"/>
                </a:cubicBezTo>
                <a:cubicBezTo>
                  <a:pt x="6187" y="11312"/>
                  <a:pt x="6125" y="11156"/>
                  <a:pt x="6093" y="10969"/>
                </a:cubicBezTo>
                <a:cubicBezTo>
                  <a:pt x="6031" y="10812"/>
                  <a:pt x="6000" y="10656"/>
                  <a:pt x="6031" y="10500"/>
                </a:cubicBezTo>
                <a:cubicBezTo>
                  <a:pt x="6031" y="10406"/>
                  <a:pt x="6031" y="10344"/>
                  <a:pt x="6031" y="10281"/>
                </a:cubicBezTo>
                <a:cubicBezTo>
                  <a:pt x="6031" y="10281"/>
                  <a:pt x="6062" y="10281"/>
                  <a:pt x="6062" y="10281"/>
                </a:cubicBezTo>
                <a:cubicBezTo>
                  <a:pt x="6062" y="10375"/>
                  <a:pt x="6093" y="10469"/>
                  <a:pt x="6125" y="10562"/>
                </a:cubicBezTo>
                <a:close/>
                <a:moveTo>
                  <a:pt x="6062" y="11875"/>
                </a:moveTo>
                <a:cubicBezTo>
                  <a:pt x="6125" y="12000"/>
                  <a:pt x="6218" y="12125"/>
                  <a:pt x="6250" y="12250"/>
                </a:cubicBezTo>
                <a:cubicBezTo>
                  <a:pt x="6406" y="12375"/>
                  <a:pt x="6437" y="12531"/>
                  <a:pt x="6406" y="12719"/>
                </a:cubicBezTo>
                <a:cubicBezTo>
                  <a:pt x="6406" y="12531"/>
                  <a:pt x="6375" y="12375"/>
                  <a:pt x="6250" y="12250"/>
                </a:cubicBezTo>
                <a:cubicBezTo>
                  <a:pt x="6156" y="12156"/>
                  <a:pt x="6093" y="12031"/>
                  <a:pt x="6031" y="11906"/>
                </a:cubicBezTo>
                <a:cubicBezTo>
                  <a:pt x="5968" y="11781"/>
                  <a:pt x="5937" y="11625"/>
                  <a:pt x="5906" y="11500"/>
                </a:cubicBezTo>
                <a:cubicBezTo>
                  <a:pt x="5875" y="11469"/>
                  <a:pt x="5875" y="11406"/>
                  <a:pt x="5906" y="11344"/>
                </a:cubicBezTo>
                <a:cubicBezTo>
                  <a:pt x="5906" y="11406"/>
                  <a:pt x="5906" y="11469"/>
                  <a:pt x="5906" y="11500"/>
                </a:cubicBezTo>
                <a:cubicBezTo>
                  <a:pt x="5968" y="11625"/>
                  <a:pt x="6000" y="11750"/>
                  <a:pt x="6062" y="11875"/>
                </a:cubicBezTo>
                <a:close/>
                <a:moveTo>
                  <a:pt x="5968" y="12094"/>
                </a:moveTo>
                <a:cubicBezTo>
                  <a:pt x="5968" y="12094"/>
                  <a:pt x="5937" y="12094"/>
                  <a:pt x="5937" y="12094"/>
                </a:cubicBezTo>
                <a:cubicBezTo>
                  <a:pt x="5875" y="11969"/>
                  <a:pt x="5812" y="11844"/>
                  <a:pt x="5812" y="11719"/>
                </a:cubicBezTo>
                <a:cubicBezTo>
                  <a:pt x="5875" y="11844"/>
                  <a:pt x="5906" y="11969"/>
                  <a:pt x="5968" y="12094"/>
                </a:cubicBezTo>
                <a:close/>
                <a:moveTo>
                  <a:pt x="5750" y="11156"/>
                </a:moveTo>
                <a:cubicBezTo>
                  <a:pt x="5750" y="11250"/>
                  <a:pt x="5750" y="11312"/>
                  <a:pt x="5750" y="11375"/>
                </a:cubicBezTo>
                <a:cubicBezTo>
                  <a:pt x="5718" y="11312"/>
                  <a:pt x="5750" y="11250"/>
                  <a:pt x="5750" y="11156"/>
                </a:cubicBezTo>
                <a:close/>
                <a:moveTo>
                  <a:pt x="5718" y="11875"/>
                </a:moveTo>
                <a:cubicBezTo>
                  <a:pt x="5750" y="11937"/>
                  <a:pt x="5781" y="12031"/>
                  <a:pt x="5812" y="12125"/>
                </a:cubicBezTo>
                <a:cubicBezTo>
                  <a:pt x="5750" y="12062"/>
                  <a:pt x="5656" y="11812"/>
                  <a:pt x="5656" y="11562"/>
                </a:cubicBezTo>
                <a:cubicBezTo>
                  <a:pt x="5656" y="11562"/>
                  <a:pt x="5656" y="11594"/>
                  <a:pt x="5687" y="11594"/>
                </a:cubicBezTo>
                <a:cubicBezTo>
                  <a:pt x="5687" y="11687"/>
                  <a:pt x="5687" y="11781"/>
                  <a:pt x="5718" y="11875"/>
                </a:cubicBezTo>
                <a:close/>
                <a:moveTo>
                  <a:pt x="5656" y="13875"/>
                </a:moveTo>
                <a:cubicBezTo>
                  <a:pt x="5718" y="13875"/>
                  <a:pt x="5718" y="13937"/>
                  <a:pt x="5750" y="13969"/>
                </a:cubicBezTo>
                <a:cubicBezTo>
                  <a:pt x="5750" y="13969"/>
                  <a:pt x="5750" y="13969"/>
                  <a:pt x="5750" y="13969"/>
                </a:cubicBezTo>
                <a:cubicBezTo>
                  <a:pt x="5750" y="13969"/>
                  <a:pt x="5781" y="13969"/>
                  <a:pt x="5781" y="13969"/>
                </a:cubicBezTo>
                <a:cubicBezTo>
                  <a:pt x="5781" y="14000"/>
                  <a:pt x="5812" y="14031"/>
                  <a:pt x="5812" y="14031"/>
                </a:cubicBezTo>
                <a:cubicBezTo>
                  <a:pt x="5812" y="14031"/>
                  <a:pt x="5781" y="14031"/>
                  <a:pt x="5781" y="14031"/>
                </a:cubicBezTo>
                <a:cubicBezTo>
                  <a:pt x="5750" y="14031"/>
                  <a:pt x="5750" y="14000"/>
                  <a:pt x="5750" y="13969"/>
                </a:cubicBezTo>
                <a:lnTo>
                  <a:pt x="5750" y="13969"/>
                </a:lnTo>
                <a:cubicBezTo>
                  <a:pt x="5750" y="13969"/>
                  <a:pt x="5750" y="13969"/>
                  <a:pt x="5750" y="13969"/>
                </a:cubicBezTo>
                <a:cubicBezTo>
                  <a:pt x="5687" y="13969"/>
                  <a:pt x="5687" y="13906"/>
                  <a:pt x="5656" y="13875"/>
                </a:cubicBezTo>
                <a:close/>
                <a:moveTo>
                  <a:pt x="5406" y="12750"/>
                </a:moveTo>
                <a:cubicBezTo>
                  <a:pt x="5375" y="12750"/>
                  <a:pt x="5375" y="12750"/>
                  <a:pt x="5375" y="12781"/>
                </a:cubicBezTo>
                <a:cubicBezTo>
                  <a:pt x="5375" y="12750"/>
                  <a:pt x="5375" y="12750"/>
                  <a:pt x="5406" y="12750"/>
                </a:cubicBezTo>
                <a:cubicBezTo>
                  <a:pt x="5406" y="12750"/>
                  <a:pt x="5406" y="12750"/>
                  <a:pt x="5406" y="12750"/>
                </a:cubicBezTo>
                <a:cubicBezTo>
                  <a:pt x="5406" y="12750"/>
                  <a:pt x="5406" y="12750"/>
                  <a:pt x="5406" y="12750"/>
                </a:cubicBezTo>
                <a:cubicBezTo>
                  <a:pt x="5406" y="12844"/>
                  <a:pt x="5375" y="12937"/>
                  <a:pt x="5343" y="13000"/>
                </a:cubicBezTo>
                <a:cubicBezTo>
                  <a:pt x="5375" y="12937"/>
                  <a:pt x="5406" y="12844"/>
                  <a:pt x="5406" y="12750"/>
                </a:cubicBezTo>
                <a:close/>
                <a:moveTo>
                  <a:pt x="5375" y="12531"/>
                </a:moveTo>
                <a:cubicBezTo>
                  <a:pt x="5375" y="12594"/>
                  <a:pt x="5375" y="12625"/>
                  <a:pt x="5375" y="12687"/>
                </a:cubicBezTo>
                <a:cubicBezTo>
                  <a:pt x="5343" y="12625"/>
                  <a:pt x="5375" y="12594"/>
                  <a:pt x="5375" y="12531"/>
                </a:cubicBezTo>
                <a:close/>
                <a:moveTo>
                  <a:pt x="5406" y="12687"/>
                </a:moveTo>
                <a:cubicBezTo>
                  <a:pt x="5437" y="12687"/>
                  <a:pt x="5437" y="12719"/>
                  <a:pt x="5406" y="12750"/>
                </a:cubicBezTo>
                <a:cubicBezTo>
                  <a:pt x="5406" y="12719"/>
                  <a:pt x="5375" y="12687"/>
                  <a:pt x="5406" y="12687"/>
                </a:cubicBezTo>
                <a:close/>
                <a:moveTo>
                  <a:pt x="5437" y="14656"/>
                </a:moveTo>
                <a:cubicBezTo>
                  <a:pt x="5468" y="14656"/>
                  <a:pt x="5500" y="14656"/>
                  <a:pt x="5500" y="14656"/>
                </a:cubicBezTo>
                <a:cubicBezTo>
                  <a:pt x="5562" y="14687"/>
                  <a:pt x="5593" y="14656"/>
                  <a:pt x="5656" y="14687"/>
                </a:cubicBezTo>
                <a:cubicBezTo>
                  <a:pt x="5656" y="14656"/>
                  <a:pt x="5656" y="14656"/>
                  <a:pt x="5687" y="14625"/>
                </a:cubicBezTo>
                <a:cubicBezTo>
                  <a:pt x="5656" y="14656"/>
                  <a:pt x="5656" y="14656"/>
                  <a:pt x="5656" y="14687"/>
                </a:cubicBezTo>
                <a:cubicBezTo>
                  <a:pt x="5625" y="14719"/>
                  <a:pt x="5593" y="14719"/>
                  <a:pt x="5562" y="14719"/>
                </a:cubicBezTo>
                <a:cubicBezTo>
                  <a:pt x="5500" y="14687"/>
                  <a:pt x="5468" y="14719"/>
                  <a:pt x="5406" y="14719"/>
                </a:cubicBezTo>
                <a:cubicBezTo>
                  <a:pt x="5406" y="14719"/>
                  <a:pt x="5406" y="14719"/>
                  <a:pt x="5406" y="14719"/>
                </a:cubicBezTo>
                <a:cubicBezTo>
                  <a:pt x="5375" y="14687"/>
                  <a:pt x="5343" y="14687"/>
                  <a:pt x="5343" y="14656"/>
                </a:cubicBezTo>
                <a:cubicBezTo>
                  <a:pt x="5375" y="14656"/>
                  <a:pt x="5406" y="14656"/>
                  <a:pt x="5437" y="14656"/>
                </a:cubicBezTo>
                <a:close/>
                <a:moveTo>
                  <a:pt x="5531" y="12344"/>
                </a:moveTo>
                <a:cubicBezTo>
                  <a:pt x="5531" y="12406"/>
                  <a:pt x="5562" y="12469"/>
                  <a:pt x="5531" y="12531"/>
                </a:cubicBezTo>
                <a:cubicBezTo>
                  <a:pt x="5500" y="12469"/>
                  <a:pt x="5531" y="12406"/>
                  <a:pt x="5531" y="12344"/>
                </a:cubicBezTo>
                <a:cubicBezTo>
                  <a:pt x="5500" y="12250"/>
                  <a:pt x="5500" y="12187"/>
                  <a:pt x="5468" y="12094"/>
                </a:cubicBezTo>
                <a:cubicBezTo>
                  <a:pt x="5468" y="12094"/>
                  <a:pt x="5468" y="12062"/>
                  <a:pt x="5468" y="12062"/>
                </a:cubicBezTo>
                <a:cubicBezTo>
                  <a:pt x="5468" y="12062"/>
                  <a:pt x="5468" y="12062"/>
                  <a:pt x="5468" y="12062"/>
                </a:cubicBezTo>
                <a:cubicBezTo>
                  <a:pt x="5468" y="12062"/>
                  <a:pt x="5468" y="12062"/>
                  <a:pt x="5468" y="12062"/>
                </a:cubicBezTo>
                <a:cubicBezTo>
                  <a:pt x="5531" y="12156"/>
                  <a:pt x="5531" y="12250"/>
                  <a:pt x="5531" y="12344"/>
                </a:cubicBezTo>
                <a:close/>
                <a:moveTo>
                  <a:pt x="5500" y="11906"/>
                </a:moveTo>
                <a:cubicBezTo>
                  <a:pt x="5562" y="12062"/>
                  <a:pt x="5625" y="12219"/>
                  <a:pt x="5656" y="12375"/>
                </a:cubicBezTo>
                <a:cubicBezTo>
                  <a:pt x="5593" y="12344"/>
                  <a:pt x="5593" y="12250"/>
                  <a:pt x="5562" y="12187"/>
                </a:cubicBezTo>
                <a:cubicBezTo>
                  <a:pt x="5531" y="12094"/>
                  <a:pt x="5531" y="12000"/>
                  <a:pt x="5500" y="11906"/>
                </a:cubicBezTo>
                <a:close/>
                <a:moveTo>
                  <a:pt x="5687" y="11969"/>
                </a:moveTo>
                <a:cubicBezTo>
                  <a:pt x="5687" y="12000"/>
                  <a:pt x="5687" y="12031"/>
                  <a:pt x="5687" y="12031"/>
                </a:cubicBezTo>
                <a:cubicBezTo>
                  <a:pt x="5718" y="12094"/>
                  <a:pt x="5750" y="12125"/>
                  <a:pt x="5750" y="12187"/>
                </a:cubicBezTo>
                <a:cubicBezTo>
                  <a:pt x="5718" y="12125"/>
                  <a:pt x="5656" y="12094"/>
                  <a:pt x="5687" y="12031"/>
                </a:cubicBezTo>
                <a:cubicBezTo>
                  <a:pt x="5687" y="12031"/>
                  <a:pt x="5687" y="12000"/>
                  <a:pt x="5687" y="11969"/>
                </a:cubicBezTo>
                <a:close/>
                <a:moveTo>
                  <a:pt x="5656" y="11562"/>
                </a:moveTo>
                <a:cubicBezTo>
                  <a:pt x="5656" y="11562"/>
                  <a:pt x="5656" y="11562"/>
                  <a:pt x="5656" y="11562"/>
                </a:cubicBezTo>
                <a:cubicBezTo>
                  <a:pt x="5656" y="11531"/>
                  <a:pt x="5656" y="11469"/>
                  <a:pt x="5656" y="11437"/>
                </a:cubicBezTo>
                <a:cubicBezTo>
                  <a:pt x="5656" y="11469"/>
                  <a:pt x="5656" y="11531"/>
                  <a:pt x="5656" y="11562"/>
                </a:cubicBezTo>
                <a:close/>
                <a:moveTo>
                  <a:pt x="5593" y="10312"/>
                </a:moveTo>
                <a:cubicBezTo>
                  <a:pt x="5593" y="10250"/>
                  <a:pt x="5593" y="10187"/>
                  <a:pt x="5593" y="10125"/>
                </a:cubicBezTo>
                <a:cubicBezTo>
                  <a:pt x="5656" y="10156"/>
                  <a:pt x="5656" y="10281"/>
                  <a:pt x="5593" y="10312"/>
                </a:cubicBezTo>
                <a:close/>
                <a:moveTo>
                  <a:pt x="5468" y="12437"/>
                </a:moveTo>
                <a:cubicBezTo>
                  <a:pt x="5468" y="12500"/>
                  <a:pt x="5468" y="12562"/>
                  <a:pt x="5437" y="12625"/>
                </a:cubicBezTo>
                <a:cubicBezTo>
                  <a:pt x="5437" y="12656"/>
                  <a:pt x="5437" y="12687"/>
                  <a:pt x="5406" y="12687"/>
                </a:cubicBezTo>
                <a:cubicBezTo>
                  <a:pt x="5406" y="12500"/>
                  <a:pt x="5437" y="12344"/>
                  <a:pt x="5406" y="12187"/>
                </a:cubicBezTo>
                <a:cubicBezTo>
                  <a:pt x="5406" y="12125"/>
                  <a:pt x="5375" y="12031"/>
                  <a:pt x="5375" y="11969"/>
                </a:cubicBezTo>
                <a:cubicBezTo>
                  <a:pt x="5343" y="11937"/>
                  <a:pt x="5343" y="11937"/>
                  <a:pt x="5375" y="11906"/>
                </a:cubicBezTo>
                <a:cubicBezTo>
                  <a:pt x="5437" y="12062"/>
                  <a:pt x="5468" y="12250"/>
                  <a:pt x="5468" y="12437"/>
                </a:cubicBezTo>
                <a:close/>
                <a:moveTo>
                  <a:pt x="5375" y="11437"/>
                </a:moveTo>
                <a:cubicBezTo>
                  <a:pt x="5375" y="11469"/>
                  <a:pt x="5375" y="11500"/>
                  <a:pt x="5375" y="11531"/>
                </a:cubicBezTo>
                <a:cubicBezTo>
                  <a:pt x="5343" y="11500"/>
                  <a:pt x="5375" y="11469"/>
                  <a:pt x="5343" y="11469"/>
                </a:cubicBezTo>
                <a:cubicBezTo>
                  <a:pt x="5343" y="11469"/>
                  <a:pt x="5312" y="11469"/>
                  <a:pt x="5343" y="11437"/>
                </a:cubicBezTo>
                <a:cubicBezTo>
                  <a:pt x="5343" y="11437"/>
                  <a:pt x="5343" y="11437"/>
                  <a:pt x="5375" y="11437"/>
                </a:cubicBezTo>
                <a:cubicBezTo>
                  <a:pt x="5375" y="11437"/>
                  <a:pt x="5375" y="11437"/>
                  <a:pt x="5375" y="11437"/>
                </a:cubicBezTo>
                <a:close/>
                <a:moveTo>
                  <a:pt x="5281" y="11250"/>
                </a:moveTo>
                <a:cubicBezTo>
                  <a:pt x="5312" y="11219"/>
                  <a:pt x="5312" y="11156"/>
                  <a:pt x="5343" y="11125"/>
                </a:cubicBezTo>
                <a:cubicBezTo>
                  <a:pt x="5343" y="11187"/>
                  <a:pt x="5343" y="11250"/>
                  <a:pt x="5312" y="11312"/>
                </a:cubicBezTo>
                <a:cubicBezTo>
                  <a:pt x="5281" y="11437"/>
                  <a:pt x="5250" y="11562"/>
                  <a:pt x="5250" y="11719"/>
                </a:cubicBezTo>
                <a:cubicBezTo>
                  <a:pt x="5281" y="11844"/>
                  <a:pt x="5312" y="11969"/>
                  <a:pt x="5343" y="12062"/>
                </a:cubicBezTo>
                <a:cubicBezTo>
                  <a:pt x="5343" y="12094"/>
                  <a:pt x="5375" y="12094"/>
                  <a:pt x="5375" y="12094"/>
                </a:cubicBezTo>
                <a:cubicBezTo>
                  <a:pt x="5375" y="12187"/>
                  <a:pt x="5406" y="12312"/>
                  <a:pt x="5406" y="12406"/>
                </a:cubicBezTo>
                <a:cubicBezTo>
                  <a:pt x="5406" y="12437"/>
                  <a:pt x="5406" y="12469"/>
                  <a:pt x="5375" y="12469"/>
                </a:cubicBezTo>
                <a:cubicBezTo>
                  <a:pt x="5343" y="12469"/>
                  <a:pt x="5343" y="12469"/>
                  <a:pt x="5343" y="12437"/>
                </a:cubicBezTo>
                <a:cubicBezTo>
                  <a:pt x="5375" y="12281"/>
                  <a:pt x="5343" y="12156"/>
                  <a:pt x="5281" y="12000"/>
                </a:cubicBezTo>
                <a:cubicBezTo>
                  <a:pt x="5281" y="12000"/>
                  <a:pt x="5281" y="11969"/>
                  <a:pt x="5281" y="11937"/>
                </a:cubicBezTo>
                <a:cubicBezTo>
                  <a:pt x="5281" y="11937"/>
                  <a:pt x="5281" y="11937"/>
                  <a:pt x="5281" y="11937"/>
                </a:cubicBezTo>
                <a:cubicBezTo>
                  <a:pt x="5250" y="11875"/>
                  <a:pt x="5250" y="11812"/>
                  <a:pt x="5218" y="11750"/>
                </a:cubicBezTo>
                <a:cubicBezTo>
                  <a:pt x="5218" y="11781"/>
                  <a:pt x="5218" y="11812"/>
                  <a:pt x="5218" y="11844"/>
                </a:cubicBezTo>
                <a:cubicBezTo>
                  <a:pt x="5218" y="11906"/>
                  <a:pt x="5250" y="11937"/>
                  <a:pt x="5218" y="11969"/>
                </a:cubicBezTo>
                <a:cubicBezTo>
                  <a:pt x="5250" y="12000"/>
                  <a:pt x="5250" y="12000"/>
                  <a:pt x="5250" y="12031"/>
                </a:cubicBezTo>
                <a:cubicBezTo>
                  <a:pt x="5250" y="12000"/>
                  <a:pt x="5250" y="12000"/>
                  <a:pt x="5218" y="11969"/>
                </a:cubicBezTo>
                <a:cubicBezTo>
                  <a:pt x="5187" y="11906"/>
                  <a:pt x="5187" y="11844"/>
                  <a:pt x="5187" y="11812"/>
                </a:cubicBezTo>
                <a:cubicBezTo>
                  <a:pt x="5156" y="11594"/>
                  <a:pt x="5218" y="11437"/>
                  <a:pt x="5281" y="11250"/>
                </a:cubicBezTo>
                <a:close/>
                <a:moveTo>
                  <a:pt x="5312" y="11719"/>
                </a:moveTo>
                <a:cubicBezTo>
                  <a:pt x="5281" y="11687"/>
                  <a:pt x="5281" y="11625"/>
                  <a:pt x="5312" y="11562"/>
                </a:cubicBezTo>
                <a:cubicBezTo>
                  <a:pt x="5312" y="11625"/>
                  <a:pt x="5312" y="11656"/>
                  <a:pt x="5312" y="11719"/>
                </a:cubicBezTo>
                <a:close/>
                <a:moveTo>
                  <a:pt x="5312" y="14281"/>
                </a:moveTo>
                <a:cubicBezTo>
                  <a:pt x="5281" y="14281"/>
                  <a:pt x="5281" y="14281"/>
                  <a:pt x="5281" y="14281"/>
                </a:cubicBezTo>
                <a:cubicBezTo>
                  <a:pt x="5281" y="14281"/>
                  <a:pt x="5281" y="14281"/>
                  <a:pt x="5281" y="14281"/>
                </a:cubicBezTo>
                <a:cubicBezTo>
                  <a:pt x="5281" y="14281"/>
                  <a:pt x="5281" y="14281"/>
                  <a:pt x="5312" y="14281"/>
                </a:cubicBezTo>
                <a:close/>
                <a:moveTo>
                  <a:pt x="5250" y="12062"/>
                </a:moveTo>
                <a:cubicBezTo>
                  <a:pt x="5250" y="12062"/>
                  <a:pt x="5250" y="12031"/>
                  <a:pt x="5250" y="12031"/>
                </a:cubicBezTo>
                <a:cubicBezTo>
                  <a:pt x="5250" y="12031"/>
                  <a:pt x="5250" y="12062"/>
                  <a:pt x="5250" y="12062"/>
                </a:cubicBezTo>
                <a:cubicBezTo>
                  <a:pt x="5250" y="12062"/>
                  <a:pt x="5250" y="12062"/>
                  <a:pt x="5250" y="12062"/>
                </a:cubicBezTo>
                <a:cubicBezTo>
                  <a:pt x="5250" y="12062"/>
                  <a:pt x="5250" y="12062"/>
                  <a:pt x="5250" y="12062"/>
                </a:cubicBezTo>
                <a:cubicBezTo>
                  <a:pt x="5312" y="12156"/>
                  <a:pt x="5312" y="12281"/>
                  <a:pt x="5281" y="12406"/>
                </a:cubicBezTo>
                <a:cubicBezTo>
                  <a:pt x="5281" y="12281"/>
                  <a:pt x="5281" y="12156"/>
                  <a:pt x="5250" y="12062"/>
                </a:cubicBezTo>
                <a:close/>
                <a:moveTo>
                  <a:pt x="5250" y="12750"/>
                </a:moveTo>
                <a:cubicBezTo>
                  <a:pt x="5218" y="12750"/>
                  <a:pt x="5218" y="12750"/>
                  <a:pt x="5218" y="12781"/>
                </a:cubicBezTo>
                <a:cubicBezTo>
                  <a:pt x="5218" y="12750"/>
                  <a:pt x="5218" y="12750"/>
                  <a:pt x="5218" y="12750"/>
                </a:cubicBezTo>
                <a:cubicBezTo>
                  <a:pt x="5218" y="12750"/>
                  <a:pt x="5218" y="12750"/>
                  <a:pt x="5218" y="12750"/>
                </a:cubicBezTo>
                <a:cubicBezTo>
                  <a:pt x="5218" y="12687"/>
                  <a:pt x="5218" y="12656"/>
                  <a:pt x="5218" y="12562"/>
                </a:cubicBezTo>
                <a:cubicBezTo>
                  <a:pt x="5281" y="12625"/>
                  <a:pt x="5250" y="12687"/>
                  <a:pt x="5250" y="12750"/>
                </a:cubicBezTo>
                <a:close/>
                <a:moveTo>
                  <a:pt x="5281" y="13969"/>
                </a:moveTo>
                <a:cubicBezTo>
                  <a:pt x="5281" y="13969"/>
                  <a:pt x="5281" y="13969"/>
                  <a:pt x="5312" y="13969"/>
                </a:cubicBezTo>
                <a:cubicBezTo>
                  <a:pt x="5281" y="13969"/>
                  <a:pt x="5281" y="13969"/>
                  <a:pt x="5281" y="13969"/>
                </a:cubicBezTo>
                <a:cubicBezTo>
                  <a:pt x="5281" y="14000"/>
                  <a:pt x="5281" y="14000"/>
                  <a:pt x="5281" y="14031"/>
                </a:cubicBezTo>
                <a:cubicBezTo>
                  <a:pt x="5281" y="14000"/>
                  <a:pt x="5281" y="14000"/>
                  <a:pt x="5281" y="13969"/>
                </a:cubicBezTo>
                <a:close/>
                <a:moveTo>
                  <a:pt x="5125" y="10937"/>
                </a:moveTo>
                <a:cubicBezTo>
                  <a:pt x="5125" y="10937"/>
                  <a:pt x="5125" y="10937"/>
                  <a:pt x="5125" y="10937"/>
                </a:cubicBezTo>
                <a:cubicBezTo>
                  <a:pt x="5125" y="10906"/>
                  <a:pt x="5125" y="10906"/>
                  <a:pt x="5125" y="10875"/>
                </a:cubicBezTo>
                <a:cubicBezTo>
                  <a:pt x="5125" y="10875"/>
                  <a:pt x="5125" y="10875"/>
                  <a:pt x="5125" y="10844"/>
                </a:cubicBezTo>
                <a:cubicBezTo>
                  <a:pt x="5125" y="10875"/>
                  <a:pt x="5125" y="10875"/>
                  <a:pt x="5125" y="10875"/>
                </a:cubicBezTo>
                <a:cubicBezTo>
                  <a:pt x="5156" y="10875"/>
                  <a:pt x="5156" y="10875"/>
                  <a:pt x="5156" y="10875"/>
                </a:cubicBezTo>
                <a:cubicBezTo>
                  <a:pt x="5156" y="10875"/>
                  <a:pt x="5156" y="10906"/>
                  <a:pt x="5156" y="10906"/>
                </a:cubicBezTo>
                <a:cubicBezTo>
                  <a:pt x="5156" y="10906"/>
                  <a:pt x="5156" y="10906"/>
                  <a:pt x="5156" y="10937"/>
                </a:cubicBezTo>
                <a:cubicBezTo>
                  <a:pt x="5156" y="10906"/>
                  <a:pt x="5156" y="10906"/>
                  <a:pt x="5156" y="10906"/>
                </a:cubicBezTo>
                <a:cubicBezTo>
                  <a:pt x="5156" y="10906"/>
                  <a:pt x="5156" y="10906"/>
                  <a:pt x="5125" y="10937"/>
                </a:cubicBezTo>
                <a:close/>
                <a:moveTo>
                  <a:pt x="5187" y="11250"/>
                </a:moveTo>
                <a:cubicBezTo>
                  <a:pt x="5187" y="11250"/>
                  <a:pt x="5187" y="11250"/>
                  <a:pt x="5187" y="11250"/>
                </a:cubicBezTo>
                <a:cubicBezTo>
                  <a:pt x="5187" y="11250"/>
                  <a:pt x="5156" y="11281"/>
                  <a:pt x="5156" y="11312"/>
                </a:cubicBezTo>
                <a:cubicBezTo>
                  <a:pt x="5156" y="11281"/>
                  <a:pt x="5187" y="11250"/>
                  <a:pt x="5187" y="11250"/>
                </a:cubicBezTo>
                <a:close/>
                <a:moveTo>
                  <a:pt x="5125" y="10844"/>
                </a:moveTo>
                <a:cubicBezTo>
                  <a:pt x="5125" y="10750"/>
                  <a:pt x="5156" y="10687"/>
                  <a:pt x="5187" y="10625"/>
                </a:cubicBezTo>
                <a:cubicBezTo>
                  <a:pt x="5187" y="10625"/>
                  <a:pt x="5187" y="10594"/>
                  <a:pt x="5187" y="10594"/>
                </a:cubicBezTo>
                <a:cubicBezTo>
                  <a:pt x="5187" y="10625"/>
                  <a:pt x="5187" y="10625"/>
                  <a:pt x="5187" y="10625"/>
                </a:cubicBezTo>
                <a:cubicBezTo>
                  <a:pt x="5187" y="10687"/>
                  <a:pt x="5187" y="10781"/>
                  <a:pt x="5125" y="10844"/>
                </a:cubicBezTo>
                <a:close/>
                <a:moveTo>
                  <a:pt x="4906" y="12562"/>
                </a:moveTo>
                <a:cubicBezTo>
                  <a:pt x="4875" y="12687"/>
                  <a:pt x="4875" y="12812"/>
                  <a:pt x="4812" y="12906"/>
                </a:cubicBezTo>
                <a:cubicBezTo>
                  <a:pt x="4875" y="12656"/>
                  <a:pt x="4843" y="12437"/>
                  <a:pt x="4875" y="12187"/>
                </a:cubicBezTo>
                <a:cubicBezTo>
                  <a:pt x="4875" y="12156"/>
                  <a:pt x="4875" y="12094"/>
                  <a:pt x="4875" y="12062"/>
                </a:cubicBezTo>
                <a:cubicBezTo>
                  <a:pt x="4875" y="12062"/>
                  <a:pt x="4906" y="12031"/>
                  <a:pt x="4906" y="12031"/>
                </a:cubicBezTo>
                <a:cubicBezTo>
                  <a:pt x="4937" y="12031"/>
                  <a:pt x="4937" y="12062"/>
                  <a:pt x="4937" y="12062"/>
                </a:cubicBezTo>
                <a:cubicBezTo>
                  <a:pt x="4875" y="12250"/>
                  <a:pt x="4906" y="12406"/>
                  <a:pt x="4906" y="12562"/>
                </a:cubicBezTo>
                <a:close/>
                <a:moveTo>
                  <a:pt x="4906" y="12000"/>
                </a:moveTo>
                <a:cubicBezTo>
                  <a:pt x="4875" y="12000"/>
                  <a:pt x="4906" y="11937"/>
                  <a:pt x="4906" y="11937"/>
                </a:cubicBezTo>
                <a:cubicBezTo>
                  <a:pt x="4968" y="11875"/>
                  <a:pt x="4968" y="11781"/>
                  <a:pt x="5000" y="11719"/>
                </a:cubicBezTo>
                <a:cubicBezTo>
                  <a:pt x="5000" y="11719"/>
                  <a:pt x="5000" y="11687"/>
                  <a:pt x="5031" y="11656"/>
                </a:cubicBezTo>
                <a:cubicBezTo>
                  <a:pt x="5062" y="11719"/>
                  <a:pt x="5031" y="11781"/>
                  <a:pt x="5000" y="11844"/>
                </a:cubicBezTo>
                <a:cubicBezTo>
                  <a:pt x="5000" y="11875"/>
                  <a:pt x="4968" y="11906"/>
                  <a:pt x="4968" y="11937"/>
                </a:cubicBezTo>
                <a:cubicBezTo>
                  <a:pt x="4968" y="11969"/>
                  <a:pt x="4968" y="12000"/>
                  <a:pt x="4906" y="12000"/>
                </a:cubicBezTo>
                <a:close/>
                <a:moveTo>
                  <a:pt x="5031" y="12094"/>
                </a:moveTo>
                <a:cubicBezTo>
                  <a:pt x="5062" y="12062"/>
                  <a:pt x="5093" y="12031"/>
                  <a:pt x="5093" y="12031"/>
                </a:cubicBezTo>
                <a:cubicBezTo>
                  <a:pt x="5093" y="12031"/>
                  <a:pt x="5062" y="12062"/>
                  <a:pt x="5031" y="12094"/>
                </a:cubicBezTo>
                <a:close/>
                <a:moveTo>
                  <a:pt x="5093" y="10125"/>
                </a:moveTo>
                <a:cubicBezTo>
                  <a:pt x="5062" y="10187"/>
                  <a:pt x="5062" y="10219"/>
                  <a:pt x="5031" y="10281"/>
                </a:cubicBezTo>
                <a:cubicBezTo>
                  <a:pt x="5031" y="10281"/>
                  <a:pt x="5031" y="10281"/>
                  <a:pt x="5031" y="10281"/>
                </a:cubicBezTo>
                <a:cubicBezTo>
                  <a:pt x="5000" y="10219"/>
                  <a:pt x="5062" y="10156"/>
                  <a:pt x="5031" y="10125"/>
                </a:cubicBezTo>
                <a:cubicBezTo>
                  <a:pt x="5031" y="10094"/>
                  <a:pt x="5062" y="10094"/>
                  <a:pt x="5062" y="10094"/>
                </a:cubicBezTo>
                <a:cubicBezTo>
                  <a:pt x="5093" y="10094"/>
                  <a:pt x="5093" y="10125"/>
                  <a:pt x="5093" y="10125"/>
                </a:cubicBezTo>
                <a:close/>
                <a:moveTo>
                  <a:pt x="5062" y="12156"/>
                </a:moveTo>
                <a:cubicBezTo>
                  <a:pt x="5093" y="12156"/>
                  <a:pt x="5093" y="12156"/>
                  <a:pt x="5093" y="12156"/>
                </a:cubicBezTo>
                <a:cubicBezTo>
                  <a:pt x="5093" y="12281"/>
                  <a:pt x="5093" y="12375"/>
                  <a:pt x="5125" y="12500"/>
                </a:cubicBezTo>
                <a:cubicBezTo>
                  <a:pt x="5093" y="12500"/>
                  <a:pt x="5093" y="12500"/>
                  <a:pt x="5093" y="12500"/>
                </a:cubicBezTo>
                <a:cubicBezTo>
                  <a:pt x="5062" y="12375"/>
                  <a:pt x="5093" y="12281"/>
                  <a:pt x="5062" y="12156"/>
                </a:cubicBezTo>
                <a:close/>
                <a:moveTo>
                  <a:pt x="5093" y="9344"/>
                </a:moveTo>
                <a:cubicBezTo>
                  <a:pt x="5093" y="9344"/>
                  <a:pt x="5093" y="9312"/>
                  <a:pt x="5093" y="9312"/>
                </a:cubicBezTo>
                <a:cubicBezTo>
                  <a:pt x="5093" y="9312"/>
                  <a:pt x="5125" y="9344"/>
                  <a:pt x="5093" y="9344"/>
                </a:cubicBezTo>
                <a:close/>
                <a:moveTo>
                  <a:pt x="5187" y="7844"/>
                </a:moveTo>
                <a:cubicBezTo>
                  <a:pt x="5218" y="7781"/>
                  <a:pt x="5281" y="7719"/>
                  <a:pt x="5312" y="7656"/>
                </a:cubicBezTo>
                <a:cubicBezTo>
                  <a:pt x="5281" y="7719"/>
                  <a:pt x="5218" y="7781"/>
                  <a:pt x="5187" y="7844"/>
                </a:cubicBezTo>
                <a:cubicBezTo>
                  <a:pt x="5125" y="7969"/>
                  <a:pt x="5093" y="8125"/>
                  <a:pt x="5062" y="8250"/>
                </a:cubicBezTo>
                <a:cubicBezTo>
                  <a:pt x="5062" y="8250"/>
                  <a:pt x="5062" y="8219"/>
                  <a:pt x="5031" y="8219"/>
                </a:cubicBezTo>
                <a:cubicBezTo>
                  <a:pt x="5031" y="8219"/>
                  <a:pt x="5031" y="8219"/>
                  <a:pt x="5031" y="8219"/>
                </a:cubicBezTo>
                <a:cubicBezTo>
                  <a:pt x="5062" y="8094"/>
                  <a:pt x="5093" y="7969"/>
                  <a:pt x="5125" y="7875"/>
                </a:cubicBezTo>
                <a:cubicBezTo>
                  <a:pt x="5125" y="7844"/>
                  <a:pt x="5156" y="7844"/>
                  <a:pt x="5187" y="7812"/>
                </a:cubicBezTo>
                <a:cubicBezTo>
                  <a:pt x="5187" y="7812"/>
                  <a:pt x="5187" y="7812"/>
                  <a:pt x="5187" y="7812"/>
                </a:cubicBezTo>
                <a:cubicBezTo>
                  <a:pt x="5187" y="7844"/>
                  <a:pt x="5187" y="7844"/>
                  <a:pt x="5187" y="7844"/>
                </a:cubicBezTo>
                <a:close/>
                <a:moveTo>
                  <a:pt x="5406" y="7406"/>
                </a:moveTo>
                <a:cubicBezTo>
                  <a:pt x="5500" y="7344"/>
                  <a:pt x="5562" y="7281"/>
                  <a:pt x="5656" y="7187"/>
                </a:cubicBezTo>
                <a:cubicBezTo>
                  <a:pt x="5687" y="7156"/>
                  <a:pt x="5687" y="7156"/>
                  <a:pt x="5718" y="7187"/>
                </a:cubicBezTo>
                <a:cubicBezTo>
                  <a:pt x="5718" y="7187"/>
                  <a:pt x="5718" y="7187"/>
                  <a:pt x="5750" y="7187"/>
                </a:cubicBezTo>
                <a:cubicBezTo>
                  <a:pt x="5750" y="7187"/>
                  <a:pt x="5750" y="7187"/>
                  <a:pt x="5750" y="7187"/>
                </a:cubicBezTo>
                <a:cubicBezTo>
                  <a:pt x="5750" y="7219"/>
                  <a:pt x="5750" y="7219"/>
                  <a:pt x="5781" y="7219"/>
                </a:cubicBezTo>
                <a:cubicBezTo>
                  <a:pt x="5781" y="7187"/>
                  <a:pt x="5812" y="7187"/>
                  <a:pt x="5843" y="7187"/>
                </a:cubicBezTo>
                <a:cubicBezTo>
                  <a:pt x="5843" y="7156"/>
                  <a:pt x="5875" y="7156"/>
                  <a:pt x="5843" y="7125"/>
                </a:cubicBezTo>
                <a:cubicBezTo>
                  <a:pt x="5906" y="7125"/>
                  <a:pt x="5937" y="7094"/>
                  <a:pt x="5968" y="7062"/>
                </a:cubicBezTo>
                <a:cubicBezTo>
                  <a:pt x="6000" y="7062"/>
                  <a:pt x="6000" y="7031"/>
                  <a:pt x="6031" y="7031"/>
                </a:cubicBezTo>
                <a:cubicBezTo>
                  <a:pt x="5968" y="7094"/>
                  <a:pt x="5906" y="7156"/>
                  <a:pt x="5843" y="7187"/>
                </a:cubicBezTo>
                <a:cubicBezTo>
                  <a:pt x="5781" y="7281"/>
                  <a:pt x="5656" y="7344"/>
                  <a:pt x="5593" y="7406"/>
                </a:cubicBezTo>
                <a:cubicBezTo>
                  <a:pt x="5500" y="7469"/>
                  <a:pt x="5406" y="7531"/>
                  <a:pt x="5343" y="7594"/>
                </a:cubicBezTo>
                <a:cubicBezTo>
                  <a:pt x="5343" y="7594"/>
                  <a:pt x="5343" y="7594"/>
                  <a:pt x="5312" y="7594"/>
                </a:cubicBezTo>
                <a:cubicBezTo>
                  <a:pt x="5312" y="7594"/>
                  <a:pt x="5312" y="7594"/>
                  <a:pt x="5312" y="7594"/>
                </a:cubicBezTo>
                <a:cubicBezTo>
                  <a:pt x="5312" y="7594"/>
                  <a:pt x="5312" y="7594"/>
                  <a:pt x="5312" y="7594"/>
                </a:cubicBezTo>
                <a:cubicBezTo>
                  <a:pt x="5312" y="7562"/>
                  <a:pt x="5343" y="7531"/>
                  <a:pt x="5375" y="7500"/>
                </a:cubicBezTo>
                <a:cubicBezTo>
                  <a:pt x="5406" y="7469"/>
                  <a:pt x="5437" y="7437"/>
                  <a:pt x="5406" y="7406"/>
                </a:cubicBezTo>
                <a:close/>
                <a:moveTo>
                  <a:pt x="5812" y="7094"/>
                </a:moveTo>
                <a:cubicBezTo>
                  <a:pt x="5812" y="7094"/>
                  <a:pt x="5843" y="7125"/>
                  <a:pt x="5843" y="7125"/>
                </a:cubicBezTo>
                <a:cubicBezTo>
                  <a:pt x="5843" y="7125"/>
                  <a:pt x="5875" y="7094"/>
                  <a:pt x="5875" y="7062"/>
                </a:cubicBezTo>
                <a:cubicBezTo>
                  <a:pt x="5875" y="7094"/>
                  <a:pt x="5843" y="7125"/>
                  <a:pt x="5843" y="7125"/>
                </a:cubicBezTo>
                <a:cubicBezTo>
                  <a:pt x="5843" y="7125"/>
                  <a:pt x="5843" y="7125"/>
                  <a:pt x="5843" y="7125"/>
                </a:cubicBezTo>
                <a:cubicBezTo>
                  <a:pt x="5843" y="7125"/>
                  <a:pt x="5843" y="7125"/>
                  <a:pt x="5843" y="7125"/>
                </a:cubicBezTo>
                <a:cubicBezTo>
                  <a:pt x="5843" y="7125"/>
                  <a:pt x="5812" y="7094"/>
                  <a:pt x="5812" y="7094"/>
                </a:cubicBezTo>
                <a:close/>
                <a:moveTo>
                  <a:pt x="6281" y="6750"/>
                </a:moveTo>
                <a:cubicBezTo>
                  <a:pt x="6250" y="6781"/>
                  <a:pt x="6093" y="6937"/>
                  <a:pt x="6000" y="6937"/>
                </a:cubicBezTo>
                <a:cubicBezTo>
                  <a:pt x="6093" y="6875"/>
                  <a:pt x="6187" y="6812"/>
                  <a:pt x="6281" y="6750"/>
                </a:cubicBezTo>
                <a:close/>
                <a:moveTo>
                  <a:pt x="6062" y="6844"/>
                </a:moveTo>
                <a:cubicBezTo>
                  <a:pt x="6093" y="6781"/>
                  <a:pt x="6156" y="6750"/>
                  <a:pt x="6250" y="6719"/>
                </a:cubicBezTo>
                <a:cubicBezTo>
                  <a:pt x="6281" y="6656"/>
                  <a:pt x="6343" y="6656"/>
                  <a:pt x="6375" y="6625"/>
                </a:cubicBezTo>
                <a:cubicBezTo>
                  <a:pt x="6343" y="6656"/>
                  <a:pt x="6312" y="6687"/>
                  <a:pt x="6250" y="6719"/>
                </a:cubicBezTo>
                <a:cubicBezTo>
                  <a:pt x="6187" y="6781"/>
                  <a:pt x="6125" y="6812"/>
                  <a:pt x="6062" y="6844"/>
                </a:cubicBezTo>
                <a:close/>
                <a:moveTo>
                  <a:pt x="6125" y="7219"/>
                </a:moveTo>
                <a:cubicBezTo>
                  <a:pt x="5937" y="7344"/>
                  <a:pt x="5750" y="7437"/>
                  <a:pt x="5593" y="7594"/>
                </a:cubicBezTo>
                <a:cubicBezTo>
                  <a:pt x="5468" y="7719"/>
                  <a:pt x="5375" y="7875"/>
                  <a:pt x="5312" y="8031"/>
                </a:cubicBezTo>
                <a:cubicBezTo>
                  <a:pt x="5281" y="8156"/>
                  <a:pt x="5250" y="8250"/>
                  <a:pt x="5218" y="8375"/>
                </a:cubicBezTo>
                <a:cubicBezTo>
                  <a:pt x="5218" y="8469"/>
                  <a:pt x="5218" y="8562"/>
                  <a:pt x="5187" y="8625"/>
                </a:cubicBezTo>
                <a:cubicBezTo>
                  <a:pt x="5156" y="8531"/>
                  <a:pt x="5218" y="8094"/>
                  <a:pt x="5281" y="7937"/>
                </a:cubicBezTo>
                <a:cubicBezTo>
                  <a:pt x="5281" y="7937"/>
                  <a:pt x="5281" y="7937"/>
                  <a:pt x="5281" y="7937"/>
                </a:cubicBezTo>
                <a:cubicBezTo>
                  <a:pt x="5343" y="7937"/>
                  <a:pt x="5343" y="7906"/>
                  <a:pt x="5375" y="7844"/>
                </a:cubicBezTo>
                <a:cubicBezTo>
                  <a:pt x="5406" y="7781"/>
                  <a:pt x="5468" y="7687"/>
                  <a:pt x="5531" y="7625"/>
                </a:cubicBezTo>
                <a:cubicBezTo>
                  <a:pt x="5531" y="7625"/>
                  <a:pt x="5531" y="7594"/>
                  <a:pt x="5531" y="7594"/>
                </a:cubicBezTo>
                <a:cubicBezTo>
                  <a:pt x="5531" y="7594"/>
                  <a:pt x="5531" y="7594"/>
                  <a:pt x="5531" y="7594"/>
                </a:cubicBezTo>
                <a:cubicBezTo>
                  <a:pt x="5656" y="7437"/>
                  <a:pt x="5812" y="7375"/>
                  <a:pt x="5968" y="7281"/>
                </a:cubicBezTo>
                <a:cubicBezTo>
                  <a:pt x="6000" y="7250"/>
                  <a:pt x="6031" y="7219"/>
                  <a:pt x="6062" y="7219"/>
                </a:cubicBezTo>
                <a:cubicBezTo>
                  <a:pt x="6093" y="7219"/>
                  <a:pt x="6093" y="7219"/>
                  <a:pt x="6125" y="7219"/>
                </a:cubicBezTo>
                <a:close/>
                <a:moveTo>
                  <a:pt x="6062" y="7125"/>
                </a:moveTo>
                <a:cubicBezTo>
                  <a:pt x="6062" y="7125"/>
                  <a:pt x="6062" y="7125"/>
                  <a:pt x="6062" y="7125"/>
                </a:cubicBezTo>
                <a:cubicBezTo>
                  <a:pt x="6062" y="7125"/>
                  <a:pt x="6093" y="7125"/>
                  <a:pt x="6093" y="7125"/>
                </a:cubicBezTo>
                <a:cubicBezTo>
                  <a:pt x="6093" y="7125"/>
                  <a:pt x="6062" y="7125"/>
                  <a:pt x="6062" y="7125"/>
                </a:cubicBezTo>
                <a:close/>
                <a:moveTo>
                  <a:pt x="5281" y="8844"/>
                </a:moveTo>
                <a:cubicBezTo>
                  <a:pt x="5281" y="8844"/>
                  <a:pt x="5250" y="8844"/>
                  <a:pt x="5250" y="8844"/>
                </a:cubicBezTo>
                <a:cubicBezTo>
                  <a:pt x="5250" y="8844"/>
                  <a:pt x="5250" y="8844"/>
                  <a:pt x="5250" y="8844"/>
                </a:cubicBezTo>
                <a:cubicBezTo>
                  <a:pt x="5250" y="8844"/>
                  <a:pt x="5281" y="8844"/>
                  <a:pt x="5281" y="8844"/>
                </a:cubicBezTo>
                <a:cubicBezTo>
                  <a:pt x="5312" y="8781"/>
                  <a:pt x="5343" y="8719"/>
                  <a:pt x="5375" y="8687"/>
                </a:cubicBezTo>
                <a:cubicBezTo>
                  <a:pt x="5343" y="8719"/>
                  <a:pt x="5312" y="8781"/>
                  <a:pt x="5281" y="8844"/>
                </a:cubicBezTo>
                <a:cubicBezTo>
                  <a:pt x="5250" y="8844"/>
                  <a:pt x="5250" y="8875"/>
                  <a:pt x="5218" y="8875"/>
                </a:cubicBezTo>
                <a:cubicBezTo>
                  <a:pt x="5250" y="8875"/>
                  <a:pt x="5250" y="8844"/>
                  <a:pt x="5281" y="8844"/>
                </a:cubicBezTo>
                <a:close/>
                <a:moveTo>
                  <a:pt x="5187" y="8875"/>
                </a:moveTo>
                <a:cubicBezTo>
                  <a:pt x="5156" y="8812"/>
                  <a:pt x="5187" y="8781"/>
                  <a:pt x="5218" y="8719"/>
                </a:cubicBezTo>
                <a:cubicBezTo>
                  <a:pt x="5250" y="8656"/>
                  <a:pt x="5281" y="8562"/>
                  <a:pt x="5281" y="8469"/>
                </a:cubicBezTo>
                <a:cubicBezTo>
                  <a:pt x="5343" y="8562"/>
                  <a:pt x="5281" y="8656"/>
                  <a:pt x="5250" y="8750"/>
                </a:cubicBezTo>
                <a:cubicBezTo>
                  <a:pt x="5250" y="8781"/>
                  <a:pt x="5187" y="8812"/>
                  <a:pt x="5187" y="8875"/>
                </a:cubicBezTo>
                <a:close/>
                <a:moveTo>
                  <a:pt x="5312" y="8312"/>
                </a:moveTo>
                <a:cubicBezTo>
                  <a:pt x="5343" y="8250"/>
                  <a:pt x="5343" y="8156"/>
                  <a:pt x="5375" y="8094"/>
                </a:cubicBezTo>
                <a:cubicBezTo>
                  <a:pt x="5375" y="8094"/>
                  <a:pt x="5343" y="8094"/>
                  <a:pt x="5343" y="8094"/>
                </a:cubicBezTo>
                <a:cubicBezTo>
                  <a:pt x="5406" y="7937"/>
                  <a:pt x="5468" y="7812"/>
                  <a:pt x="5562" y="7687"/>
                </a:cubicBezTo>
                <a:cubicBezTo>
                  <a:pt x="5656" y="7562"/>
                  <a:pt x="5781" y="7500"/>
                  <a:pt x="5875" y="7406"/>
                </a:cubicBezTo>
                <a:cubicBezTo>
                  <a:pt x="5906" y="7406"/>
                  <a:pt x="5906" y="7406"/>
                  <a:pt x="5937" y="7406"/>
                </a:cubicBezTo>
                <a:cubicBezTo>
                  <a:pt x="5812" y="7500"/>
                  <a:pt x="5718" y="7594"/>
                  <a:pt x="5625" y="7687"/>
                </a:cubicBezTo>
                <a:cubicBezTo>
                  <a:pt x="5531" y="7812"/>
                  <a:pt x="5437" y="7906"/>
                  <a:pt x="5406" y="8062"/>
                </a:cubicBezTo>
                <a:cubicBezTo>
                  <a:pt x="5406" y="8062"/>
                  <a:pt x="5375" y="8094"/>
                  <a:pt x="5375" y="8094"/>
                </a:cubicBezTo>
                <a:cubicBezTo>
                  <a:pt x="5343" y="8156"/>
                  <a:pt x="5343" y="8250"/>
                  <a:pt x="5312" y="8312"/>
                </a:cubicBezTo>
                <a:close/>
                <a:moveTo>
                  <a:pt x="5281" y="7937"/>
                </a:moveTo>
                <a:cubicBezTo>
                  <a:pt x="5281" y="7906"/>
                  <a:pt x="5312" y="7875"/>
                  <a:pt x="5312" y="7844"/>
                </a:cubicBezTo>
                <a:cubicBezTo>
                  <a:pt x="5312" y="7875"/>
                  <a:pt x="5281" y="7906"/>
                  <a:pt x="5281" y="7937"/>
                </a:cubicBezTo>
                <a:close/>
                <a:moveTo>
                  <a:pt x="5968" y="7219"/>
                </a:moveTo>
                <a:cubicBezTo>
                  <a:pt x="6000" y="7187"/>
                  <a:pt x="6031" y="7156"/>
                  <a:pt x="6062" y="7125"/>
                </a:cubicBezTo>
                <a:cubicBezTo>
                  <a:pt x="6062" y="7125"/>
                  <a:pt x="6062" y="7125"/>
                  <a:pt x="6062" y="7125"/>
                </a:cubicBezTo>
                <a:cubicBezTo>
                  <a:pt x="6031" y="7156"/>
                  <a:pt x="6000" y="7187"/>
                  <a:pt x="5968" y="7219"/>
                </a:cubicBezTo>
                <a:close/>
                <a:moveTo>
                  <a:pt x="5093" y="8719"/>
                </a:moveTo>
                <a:cubicBezTo>
                  <a:pt x="5093" y="8500"/>
                  <a:pt x="5093" y="8281"/>
                  <a:pt x="5187" y="8062"/>
                </a:cubicBezTo>
                <a:cubicBezTo>
                  <a:pt x="5187" y="8062"/>
                  <a:pt x="5187" y="8031"/>
                  <a:pt x="5187" y="8000"/>
                </a:cubicBezTo>
                <a:cubicBezTo>
                  <a:pt x="5187" y="8031"/>
                  <a:pt x="5187" y="8062"/>
                  <a:pt x="5187" y="8062"/>
                </a:cubicBezTo>
                <a:cubicBezTo>
                  <a:pt x="5187" y="8094"/>
                  <a:pt x="5187" y="8094"/>
                  <a:pt x="5187" y="8125"/>
                </a:cubicBezTo>
                <a:cubicBezTo>
                  <a:pt x="5218" y="8031"/>
                  <a:pt x="5250" y="7906"/>
                  <a:pt x="5281" y="7812"/>
                </a:cubicBezTo>
                <a:cubicBezTo>
                  <a:pt x="5281" y="7812"/>
                  <a:pt x="5312" y="7812"/>
                  <a:pt x="5312" y="7812"/>
                </a:cubicBezTo>
                <a:cubicBezTo>
                  <a:pt x="5312" y="7812"/>
                  <a:pt x="5281" y="7812"/>
                  <a:pt x="5281" y="7812"/>
                </a:cubicBezTo>
                <a:cubicBezTo>
                  <a:pt x="5250" y="7906"/>
                  <a:pt x="5218" y="8031"/>
                  <a:pt x="5187" y="8125"/>
                </a:cubicBezTo>
                <a:cubicBezTo>
                  <a:pt x="5156" y="8312"/>
                  <a:pt x="5156" y="8531"/>
                  <a:pt x="5093" y="8719"/>
                </a:cubicBezTo>
                <a:close/>
                <a:moveTo>
                  <a:pt x="5093" y="8812"/>
                </a:moveTo>
                <a:cubicBezTo>
                  <a:pt x="5093" y="8812"/>
                  <a:pt x="5093" y="8844"/>
                  <a:pt x="5093" y="8844"/>
                </a:cubicBezTo>
                <a:cubicBezTo>
                  <a:pt x="5093" y="8844"/>
                  <a:pt x="5093" y="8875"/>
                  <a:pt x="5062" y="8875"/>
                </a:cubicBezTo>
                <a:cubicBezTo>
                  <a:pt x="5093" y="8875"/>
                  <a:pt x="5093" y="8844"/>
                  <a:pt x="5093" y="8844"/>
                </a:cubicBezTo>
                <a:cubicBezTo>
                  <a:pt x="5093" y="8844"/>
                  <a:pt x="5093" y="8812"/>
                  <a:pt x="5093" y="8812"/>
                </a:cubicBezTo>
                <a:close/>
                <a:moveTo>
                  <a:pt x="5531" y="8437"/>
                </a:moveTo>
                <a:cubicBezTo>
                  <a:pt x="5531" y="8437"/>
                  <a:pt x="5531" y="8437"/>
                  <a:pt x="5531" y="8437"/>
                </a:cubicBezTo>
                <a:cubicBezTo>
                  <a:pt x="5531" y="8437"/>
                  <a:pt x="5531" y="8437"/>
                  <a:pt x="5531" y="8437"/>
                </a:cubicBezTo>
                <a:cubicBezTo>
                  <a:pt x="5500" y="8500"/>
                  <a:pt x="5531" y="8594"/>
                  <a:pt x="5437" y="8625"/>
                </a:cubicBezTo>
                <a:cubicBezTo>
                  <a:pt x="5437" y="8562"/>
                  <a:pt x="5500" y="8500"/>
                  <a:pt x="5531" y="8437"/>
                </a:cubicBezTo>
                <a:close/>
                <a:moveTo>
                  <a:pt x="5437" y="8375"/>
                </a:moveTo>
                <a:cubicBezTo>
                  <a:pt x="5437" y="8344"/>
                  <a:pt x="5468" y="8344"/>
                  <a:pt x="5468" y="8344"/>
                </a:cubicBezTo>
                <a:cubicBezTo>
                  <a:pt x="5468" y="8312"/>
                  <a:pt x="5468" y="8312"/>
                  <a:pt x="5468" y="8281"/>
                </a:cubicBezTo>
                <a:cubicBezTo>
                  <a:pt x="5468" y="8312"/>
                  <a:pt x="5468" y="8312"/>
                  <a:pt x="5468" y="8344"/>
                </a:cubicBezTo>
                <a:cubicBezTo>
                  <a:pt x="5468" y="8344"/>
                  <a:pt x="5437" y="8344"/>
                  <a:pt x="5437" y="8375"/>
                </a:cubicBezTo>
                <a:close/>
                <a:moveTo>
                  <a:pt x="6812" y="7250"/>
                </a:moveTo>
                <a:cubicBezTo>
                  <a:pt x="6812" y="7250"/>
                  <a:pt x="6781" y="7281"/>
                  <a:pt x="6781" y="7281"/>
                </a:cubicBezTo>
                <a:cubicBezTo>
                  <a:pt x="6750" y="7344"/>
                  <a:pt x="6687" y="7375"/>
                  <a:pt x="6656" y="7406"/>
                </a:cubicBezTo>
                <a:cubicBezTo>
                  <a:pt x="6656" y="7344"/>
                  <a:pt x="6718" y="7281"/>
                  <a:pt x="6781" y="7250"/>
                </a:cubicBezTo>
                <a:cubicBezTo>
                  <a:pt x="6781" y="7250"/>
                  <a:pt x="6812" y="7219"/>
                  <a:pt x="6812" y="7219"/>
                </a:cubicBezTo>
                <a:cubicBezTo>
                  <a:pt x="6843" y="7219"/>
                  <a:pt x="6812" y="7250"/>
                  <a:pt x="6812" y="7250"/>
                </a:cubicBezTo>
                <a:close/>
                <a:moveTo>
                  <a:pt x="6812" y="7312"/>
                </a:moveTo>
                <a:cubicBezTo>
                  <a:pt x="6812" y="7312"/>
                  <a:pt x="6843" y="7312"/>
                  <a:pt x="6812" y="7281"/>
                </a:cubicBezTo>
                <a:cubicBezTo>
                  <a:pt x="6812" y="7281"/>
                  <a:pt x="6812" y="7281"/>
                  <a:pt x="6812" y="7281"/>
                </a:cubicBezTo>
                <a:cubicBezTo>
                  <a:pt x="6812" y="7281"/>
                  <a:pt x="6812" y="7281"/>
                  <a:pt x="6812" y="7281"/>
                </a:cubicBezTo>
                <a:cubicBezTo>
                  <a:pt x="6906" y="7250"/>
                  <a:pt x="6906" y="7156"/>
                  <a:pt x="6968" y="7125"/>
                </a:cubicBezTo>
                <a:cubicBezTo>
                  <a:pt x="6968" y="7125"/>
                  <a:pt x="6968" y="7125"/>
                  <a:pt x="6968" y="7125"/>
                </a:cubicBezTo>
                <a:cubicBezTo>
                  <a:pt x="7000" y="7125"/>
                  <a:pt x="7000" y="7125"/>
                  <a:pt x="7000" y="7125"/>
                </a:cubicBezTo>
                <a:cubicBezTo>
                  <a:pt x="6875" y="7281"/>
                  <a:pt x="6750" y="7437"/>
                  <a:pt x="6593" y="7594"/>
                </a:cubicBezTo>
                <a:cubicBezTo>
                  <a:pt x="6562" y="7594"/>
                  <a:pt x="6562" y="7625"/>
                  <a:pt x="6531" y="7625"/>
                </a:cubicBezTo>
                <a:cubicBezTo>
                  <a:pt x="6531" y="7625"/>
                  <a:pt x="6531" y="7625"/>
                  <a:pt x="6531" y="7625"/>
                </a:cubicBezTo>
                <a:cubicBezTo>
                  <a:pt x="6531" y="7625"/>
                  <a:pt x="6531" y="7594"/>
                  <a:pt x="6531" y="7594"/>
                </a:cubicBezTo>
                <a:cubicBezTo>
                  <a:pt x="6625" y="7500"/>
                  <a:pt x="6718" y="7437"/>
                  <a:pt x="6812" y="7312"/>
                </a:cubicBezTo>
                <a:close/>
                <a:moveTo>
                  <a:pt x="7000" y="7219"/>
                </a:moveTo>
                <a:cubicBezTo>
                  <a:pt x="7031" y="7219"/>
                  <a:pt x="7031" y="7219"/>
                  <a:pt x="7031" y="7187"/>
                </a:cubicBezTo>
                <a:cubicBezTo>
                  <a:pt x="7031" y="7219"/>
                  <a:pt x="7031" y="7219"/>
                  <a:pt x="7000" y="7219"/>
                </a:cubicBezTo>
                <a:cubicBezTo>
                  <a:pt x="7000" y="7250"/>
                  <a:pt x="7000" y="7281"/>
                  <a:pt x="6968" y="7281"/>
                </a:cubicBezTo>
                <a:cubicBezTo>
                  <a:pt x="7000" y="7281"/>
                  <a:pt x="7000" y="7250"/>
                  <a:pt x="7000" y="7219"/>
                </a:cubicBezTo>
                <a:close/>
                <a:moveTo>
                  <a:pt x="6781" y="7562"/>
                </a:moveTo>
                <a:cubicBezTo>
                  <a:pt x="6781" y="7562"/>
                  <a:pt x="6781" y="7594"/>
                  <a:pt x="6781" y="7594"/>
                </a:cubicBezTo>
                <a:cubicBezTo>
                  <a:pt x="6750" y="7594"/>
                  <a:pt x="6750" y="7594"/>
                  <a:pt x="6718" y="7625"/>
                </a:cubicBezTo>
                <a:cubicBezTo>
                  <a:pt x="6750" y="7594"/>
                  <a:pt x="6750" y="7594"/>
                  <a:pt x="6781" y="7594"/>
                </a:cubicBezTo>
                <a:cubicBezTo>
                  <a:pt x="6781" y="7594"/>
                  <a:pt x="6781" y="7562"/>
                  <a:pt x="6781" y="7562"/>
                </a:cubicBezTo>
                <a:close/>
                <a:moveTo>
                  <a:pt x="6625" y="7656"/>
                </a:moveTo>
                <a:cubicBezTo>
                  <a:pt x="6593" y="7687"/>
                  <a:pt x="6593" y="7719"/>
                  <a:pt x="6562" y="7719"/>
                </a:cubicBezTo>
                <a:cubicBezTo>
                  <a:pt x="6593" y="7719"/>
                  <a:pt x="6593" y="7687"/>
                  <a:pt x="6625" y="7656"/>
                </a:cubicBezTo>
                <a:close/>
                <a:moveTo>
                  <a:pt x="5625" y="8969"/>
                </a:moveTo>
                <a:cubicBezTo>
                  <a:pt x="5687" y="8844"/>
                  <a:pt x="5781" y="8750"/>
                  <a:pt x="5875" y="8656"/>
                </a:cubicBezTo>
                <a:cubicBezTo>
                  <a:pt x="5906" y="8562"/>
                  <a:pt x="5968" y="8500"/>
                  <a:pt x="6031" y="8469"/>
                </a:cubicBezTo>
                <a:cubicBezTo>
                  <a:pt x="6031" y="8437"/>
                  <a:pt x="6062" y="8437"/>
                  <a:pt x="6062" y="8406"/>
                </a:cubicBezTo>
                <a:cubicBezTo>
                  <a:pt x="6093" y="8375"/>
                  <a:pt x="6125" y="8375"/>
                  <a:pt x="6125" y="8344"/>
                </a:cubicBezTo>
                <a:cubicBezTo>
                  <a:pt x="6187" y="8281"/>
                  <a:pt x="6250" y="8250"/>
                  <a:pt x="6281" y="8156"/>
                </a:cubicBezTo>
                <a:cubicBezTo>
                  <a:pt x="6312" y="8156"/>
                  <a:pt x="6343" y="8156"/>
                  <a:pt x="6312" y="8125"/>
                </a:cubicBezTo>
                <a:cubicBezTo>
                  <a:pt x="6343" y="8125"/>
                  <a:pt x="6343" y="8125"/>
                  <a:pt x="6343" y="8125"/>
                </a:cubicBezTo>
                <a:cubicBezTo>
                  <a:pt x="6500" y="7969"/>
                  <a:pt x="6687" y="7812"/>
                  <a:pt x="6812" y="7625"/>
                </a:cubicBezTo>
                <a:cubicBezTo>
                  <a:pt x="6812" y="7594"/>
                  <a:pt x="6843" y="7594"/>
                  <a:pt x="6812" y="7594"/>
                </a:cubicBezTo>
                <a:cubicBezTo>
                  <a:pt x="6812" y="7562"/>
                  <a:pt x="6812" y="7562"/>
                  <a:pt x="6812" y="7562"/>
                </a:cubicBezTo>
                <a:cubicBezTo>
                  <a:pt x="6875" y="7469"/>
                  <a:pt x="6968" y="7375"/>
                  <a:pt x="7031" y="7281"/>
                </a:cubicBezTo>
                <a:cubicBezTo>
                  <a:pt x="7062" y="7281"/>
                  <a:pt x="7062" y="7281"/>
                  <a:pt x="7062" y="7281"/>
                </a:cubicBezTo>
                <a:cubicBezTo>
                  <a:pt x="7000" y="7406"/>
                  <a:pt x="6937" y="7531"/>
                  <a:pt x="6843" y="7625"/>
                </a:cubicBezTo>
                <a:cubicBezTo>
                  <a:pt x="6656" y="7906"/>
                  <a:pt x="6406" y="8156"/>
                  <a:pt x="6156" y="8406"/>
                </a:cubicBezTo>
                <a:cubicBezTo>
                  <a:pt x="6125" y="8406"/>
                  <a:pt x="6093" y="8437"/>
                  <a:pt x="6062" y="8406"/>
                </a:cubicBezTo>
                <a:cubicBezTo>
                  <a:pt x="6093" y="8469"/>
                  <a:pt x="6062" y="8500"/>
                  <a:pt x="6000" y="8562"/>
                </a:cubicBezTo>
                <a:cubicBezTo>
                  <a:pt x="5875" y="8656"/>
                  <a:pt x="5812" y="8812"/>
                  <a:pt x="5687" y="8937"/>
                </a:cubicBezTo>
                <a:cubicBezTo>
                  <a:pt x="5687" y="8937"/>
                  <a:pt x="5656" y="8969"/>
                  <a:pt x="5656" y="9000"/>
                </a:cubicBezTo>
                <a:cubicBezTo>
                  <a:pt x="5656" y="9000"/>
                  <a:pt x="5625" y="9031"/>
                  <a:pt x="5625" y="9031"/>
                </a:cubicBezTo>
                <a:cubicBezTo>
                  <a:pt x="5625" y="9031"/>
                  <a:pt x="5656" y="9000"/>
                  <a:pt x="5656" y="9000"/>
                </a:cubicBezTo>
                <a:cubicBezTo>
                  <a:pt x="5656" y="8969"/>
                  <a:pt x="5656" y="8969"/>
                  <a:pt x="5625" y="8969"/>
                </a:cubicBezTo>
                <a:close/>
                <a:moveTo>
                  <a:pt x="6406" y="8250"/>
                </a:moveTo>
                <a:cubicBezTo>
                  <a:pt x="6406" y="8250"/>
                  <a:pt x="6406" y="8250"/>
                  <a:pt x="6406" y="8250"/>
                </a:cubicBezTo>
                <a:cubicBezTo>
                  <a:pt x="6406" y="8219"/>
                  <a:pt x="6406" y="8219"/>
                  <a:pt x="6437" y="8219"/>
                </a:cubicBezTo>
                <a:cubicBezTo>
                  <a:pt x="6437" y="8219"/>
                  <a:pt x="6437" y="8250"/>
                  <a:pt x="6406" y="8250"/>
                </a:cubicBezTo>
                <a:close/>
                <a:moveTo>
                  <a:pt x="6718" y="7937"/>
                </a:moveTo>
                <a:cubicBezTo>
                  <a:pt x="6718" y="7937"/>
                  <a:pt x="6718" y="7969"/>
                  <a:pt x="6718" y="7969"/>
                </a:cubicBezTo>
                <a:cubicBezTo>
                  <a:pt x="6687" y="7969"/>
                  <a:pt x="6562" y="8094"/>
                  <a:pt x="6531" y="8156"/>
                </a:cubicBezTo>
                <a:cubicBezTo>
                  <a:pt x="6531" y="8156"/>
                  <a:pt x="6500" y="8156"/>
                  <a:pt x="6500" y="8156"/>
                </a:cubicBezTo>
                <a:cubicBezTo>
                  <a:pt x="6468" y="8187"/>
                  <a:pt x="6468" y="8219"/>
                  <a:pt x="6437" y="8219"/>
                </a:cubicBezTo>
                <a:cubicBezTo>
                  <a:pt x="6437" y="8187"/>
                  <a:pt x="6437" y="8156"/>
                  <a:pt x="6468" y="8156"/>
                </a:cubicBezTo>
                <a:cubicBezTo>
                  <a:pt x="6531" y="8062"/>
                  <a:pt x="6625" y="8000"/>
                  <a:pt x="6687" y="7906"/>
                </a:cubicBezTo>
                <a:cubicBezTo>
                  <a:pt x="6812" y="7781"/>
                  <a:pt x="6906" y="7625"/>
                  <a:pt x="7000" y="7469"/>
                </a:cubicBezTo>
                <a:cubicBezTo>
                  <a:pt x="7062" y="7344"/>
                  <a:pt x="7156" y="7250"/>
                  <a:pt x="7250" y="7156"/>
                </a:cubicBezTo>
                <a:cubicBezTo>
                  <a:pt x="7250" y="7156"/>
                  <a:pt x="7250" y="7156"/>
                  <a:pt x="7250" y="7156"/>
                </a:cubicBezTo>
                <a:cubicBezTo>
                  <a:pt x="7187" y="7281"/>
                  <a:pt x="7093" y="7375"/>
                  <a:pt x="7031" y="7500"/>
                </a:cubicBezTo>
                <a:cubicBezTo>
                  <a:pt x="6937" y="7656"/>
                  <a:pt x="6843" y="7812"/>
                  <a:pt x="6718" y="7937"/>
                </a:cubicBezTo>
                <a:close/>
                <a:moveTo>
                  <a:pt x="7250" y="7062"/>
                </a:moveTo>
                <a:cubicBezTo>
                  <a:pt x="7250" y="7062"/>
                  <a:pt x="7250" y="7062"/>
                  <a:pt x="7250" y="7031"/>
                </a:cubicBezTo>
                <a:cubicBezTo>
                  <a:pt x="7281" y="7031"/>
                  <a:pt x="7281" y="7000"/>
                  <a:pt x="7312" y="7000"/>
                </a:cubicBezTo>
                <a:cubicBezTo>
                  <a:pt x="7281" y="7000"/>
                  <a:pt x="7281" y="7031"/>
                  <a:pt x="7250" y="7031"/>
                </a:cubicBezTo>
                <a:cubicBezTo>
                  <a:pt x="7250" y="7062"/>
                  <a:pt x="7250" y="7062"/>
                  <a:pt x="7250" y="7062"/>
                </a:cubicBezTo>
                <a:close/>
                <a:moveTo>
                  <a:pt x="7250" y="7031"/>
                </a:moveTo>
                <a:cubicBezTo>
                  <a:pt x="7250" y="7031"/>
                  <a:pt x="7250" y="7031"/>
                  <a:pt x="7250" y="7031"/>
                </a:cubicBezTo>
                <a:cubicBezTo>
                  <a:pt x="7218" y="7062"/>
                  <a:pt x="7218" y="7062"/>
                  <a:pt x="7187" y="7062"/>
                </a:cubicBezTo>
                <a:cubicBezTo>
                  <a:pt x="7218" y="7062"/>
                  <a:pt x="7218" y="7062"/>
                  <a:pt x="7250" y="7031"/>
                </a:cubicBezTo>
                <a:cubicBezTo>
                  <a:pt x="7250" y="7000"/>
                  <a:pt x="7281" y="6969"/>
                  <a:pt x="7312" y="6937"/>
                </a:cubicBezTo>
                <a:cubicBezTo>
                  <a:pt x="7281" y="6969"/>
                  <a:pt x="7250" y="7000"/>
                  <a:pt x="7250" y="7031"/>
                </a:cubicBezTo>
                <a:close/>
                <a:moveTo>
                  <a:pt x="7187" y="7094"/>
                </a:moveTo>
                <a:cubicBezTo>
                  <a:pt x="7187" y="7125"/>
                  <a:pt x="7187" y="7125"/>
                  <a:pt x="7187" y="7156"/>
                </a:cubicBezTo>
                <a:cubicBezTo>
                  <a:pt x="7187" y="7125"/>
                  <a:pt x="7187" y="7125"/>
                  <a:pt x="7187" y="7094"/>
                </a:cubicBezTo>
                <a:cubicBezTo>
                  <a:pt x="7187" y="7094"/>
                  <a:pt x="7187" y="7094"/>
                  <a:pt x="7187" y="7094"/>
                </a:cubicBezTo>
                <a:cubicBezTo>
                  <a:pt x="7187" y="7094"/>
                  <a:pt x="7187" y="7094"/>
                  <a:pt x="7187" y="7094"/>
                </a:cubicBezTo>
                <a:close/>
                <a:moveTo>
                  <a:pt x="6906" y="6969"/>
                </a:moveTo>
                <a:cubicBezTo>
                  <a:pt x="7000" y="6875"/>
                  <a:pt x="7062" y="6781"/>
                  <a:pt x="7093" y="6656"/>
                </a:cubicBezTo>
                <a:cubicBezTo>
                  <a:pt x="7125" y="6625"/>
                  <a:pt x="7125" y="6625"/>
                  <a:pt x="7125" y="6625"/>
                </a:cubicBezTo>
                <a:cubicBezTo>
                  <a:pt x="7156" y="6625"/>
                  <a:pt x="7125" y="6656"/>
                  <a:pt x="7125" y="6656"/>
                </a:cubicBezTo>
                <a:cubicBezTo>
                  <a:pt x="7125" y="6687"/>
                  <a:pt x="7062" y="6750"/>
                  <a:pt x="7156" y="6750"/>
                </a:cubicBezTo>
                <a:cubicBezTo>
                  <a:pt x="7125" y="6781"/>
                  <a:pt x="7125" y="6781"/>
                  <a:pt x="7125" y="6812"/>
                </a:cubicBezTo>
                <a:cubicBezTo>
                  <a:pt x="7031" y="6937"/>
                  <a:pt x="6906" y="7031"/>
                  <a:pt x="6812" y="7156"/>
                </a:cubicBezTo>
                <a:cubicBezTo>
                  <a:pt x="6687" y="7281"/>
                  <a:pt x="6531" y="7375"/>
                  <a:pt x="6375" y="7437"/>
                </a:cubicBezTo>
                <a:cubicBezTo>
                  <a:pt x="6187" y="7531"/>
                  <a:pt x="6031" y="7625"/>
                  <a:pt x="5875" y="7750"/>
                </a:cubicBezTo>
                <a:cubicBezTo>
                  <a:pt x="5718" y="7875"/>
                  <a:pt x="5656" y="8031"/>
                  <a:pt x="5562" y="8187"/>
                </a:cubicBezTo>
                <a:cubicBezTo>
                  <a:pt x="5531" y="8219"/>
                  <a:pt x="5500" y="8219"/>
                  <a:pt x="5500" y="8281"/>
                </a:cubicBezTo>
                <a:cubicBezTo>
                  <a:pt x="5500" y="8281"/>
                  <a:pt x="5500" y="8281"/>
                  <a:pt x="5500" y="8281"/>
                </a:cubicBezTo>
                <a:cubicBezTo>
                  <a:pt x="5500" y="8281"/>
                  <a:pt x="5500" y="8281"/>
                  <a:pt x="5500" y="8281"/>
                </a:cubicBezTo>
                <a:cubicBezTo>
                  <a:pt x="5500" y="8281"/>
                  <a:pt x="5500" y="8250"/>
                  <a:pt x="5500" y="8250"/>
                </a:cubicBezTo>
                <a:cubicBezTo>
                  <a:pt x="5593" y="8031"/>
                  <a:pt x="5687" y="7812"/>
                  <a:pt x="5875" y="7656"/>
                </a:cubicBezTo>
                <a:cubicBezTo>
                  <a:pt x="6000" y="7594"/>
                  <a:pt x="6093" y="7531"/>
                  <a:pt x="6218" y="7469"/>
                </a:cubicBezTo>
                <a:cubicBezTo>
                  <a:pt x="6468" y="7344"/>
                  <a:pt x="6718" y="7187"/>
                  <a:pt x="6906" y="6969"/>
                </a:cubicBezTo>
                <a:close/>
                <a:moveTo>
                  <a:pt x="6718" y="7094"/>
                </a:moveTo>
                <a:cubicBezTo>
                  <a:pt x="6718" y="7094"/>
                  <a:pt x="6687" y="7094"/>
                  <a:pt x="6687" y="7094"/>
                </a:cubicBezTo>
                <a:cubicBezTo>
                  <a:pt x="6687" y="7094"/>
                  <a:pt x="6687" y="7125"/>
                  <a:pt x="6687" y="7125"/>
                </a:cubicBezTo>
                <a:cubicBezTo>
                  <a:pt x="6500" y="7281"/>
                  <a:pt x="6250" y="7406"/>
                  <a:pt x="6031" y="7531"/>
                </a:cubicBezTo>
                <a:cubicBezTo>
                  <a:pt x="5781" y="7656"/>
                  <a:pt x="5625" y="7844"/>
                  <a:pt x="5500" y="8062"/>
                </a:cubicBezTo>
                <a:cubicBezTo>
                  <a:pt x="5468" y="8125"/>
                  <a:pt x="5468" y="8187"/>
                  <a:pt x="5406" y="8219"/>
                </a:cubicBezTo>
                <a:cubicBezTo>
                  <a:pt x="5437" y="8094"/>
                  <a:pt x="5500" y="8000"/>
                  <a:pt x="5562" y="7875"/>
                </a:cubicBezTo>
                <a:cubicBezTo>
                  <a:pt x="5687" y="7719"/>
                  <a:pt x="5812" y="7562"/>
                  <a:pt x="5968" y="7437"/>
                </a:cubicBezTo>
                <a:cubicBezTo>
                  <a:pt x="6031" y="7406"/>
                  <a:pt x="6093" y="7406"/>
                  <a:pt x="6156" y="7344"/>
                </a:cubicBezTo>
                <a:cubicBezTo>
                  <a:pt x="6156" y="7312"/>
                  <a:pt x="6156" y="7312"/>
                  <a:pt x="6187" y="7344"/>
                </a:cubicBezTo>
                <a:cubicBezTo>
                  <a:pt x="6187" y="7375"/>
                  <a:pt x="6218" y="7375"/>
                  <a:pt x="6218" y="7375"/>
                </a:cubicBezTo>
                <a:cubicBezTo>
                  <a:pt x="6312" y="7312"/>
                  <a:pt x="6406" y="7250"/>
                  <a:pt x="6500" y="7219"/>
                </a:cubicBezTo>
                <a:cubicBezTo>
                  <a:pt x="6562" y="7187"/>
                  <a:pt x="6625" y="7125"/>
                  <a:pt x="6687" y="7094"/>
                </a:cubicBezTo>
                <a:cubicBezTo>
                  <a:pt x="6687" y="7094"/>
                  <a:pt x="6687" y="7094"/>
                  <a:pt x="6718" y="7094"/>
                </a:cubicBezTo>
                <a:cubicBezTo>
                  <a:pt x="6718" y="7094"/>
                  <a:pt x="6718" y="7094"/>
                  <a:pt x="6718" y="7094"/>
                </a:cubicBezTo>
                <a:close/>
                <a:moveTo>
                  <a:pt x="6437" y="6906"/>
                </a:moveTo>
                <a:cubicBezTo>
                  <a:pt x="6406" y="6937"/>
                  <a:pt x="6375" y="6937"/>
                  <a:pt x="6343" y="6969"/>
                </a:cubicBezTo>
                <a:cubicBezTo>
                  <a:pt x="6343" y="6969"/>
                  <a:pt x="6312" y="7000"/>
                  <a:pt x="6281" y="7000"/>
                </a:cubicBezTo>
                <a:cubicBezTo>
                  <a:pt x="6281" y="7000"/>
                  <a:pt x="6250" y="7000"/>
                  <a:pt x="6250" y="7000"/>
                </a:cubicBezTo>
                <a:cubicBezTo>
                  <a:pt x="6218" y="7000"/>
                  <a:pt x="6218" y="7031"/>
                  <a:pt x="6218" y="7031"/>
                </a:cubicBezTo>
                <a:cubicBezTo>
                  <a:pt x="6218" y="7031"/>
                  <a:pt x="6218" y="7000"/>
                  <a:pt x="6250" y="7000"/>
                </a:cubicBezTo>
                <a:cubicBezTo>
                  <a:pt x="6281" y="6969"/>
                  <a:pt x="6281" y="6937"/>
                  <a:pt x="6343" y="6937"/>
                </a:cubicBezTo>
                <a:cubicBezTo>
                  <a:pt x="6343" y="6906"/>
                  <a:pt x="6406" y="6906"/>
                  <a:pt x="6437" y="6875"/>
                </a:cubicBezTo>
                <a:cubicBezTo>
                  <a:pt x="6437" y="6875"/>
                  <a:pt x="6437" y="6875"/>
                  <a:pt x="6437" y="6875"/>
                </a:cubicBezTo>
                <a:cubicBezTo>
                  <a:pt x="6437" y="6906"/>
                  <a:pt x="6437" y="6906"/>
                  <a:pt x="6437" y="6906"/>
                </a:cubicBezTo>
                <a:close/>
                <a:moveTo>
                  <a:pt x="6437" y="7187"/>
                </a:moveTo>
                <a:cubicBezTo>
                  <a:pt x="6406" y="7219"/>
                  <a:pt x="6343" y="7250"/>
                  <a:pt x="6281" y="7281"/>
                </a:cubicBezTo>
                <a:cubicBezTo>
                  <a:pt x="6250" y="7281"/>
                  <a:pt x="6250" y="7312"/>
                  <a:pt x="6218" y="7312"/>
                </a:cubicBezTo>
                <a:cubicBezTo>
                  <a:pt x="6218" y="7281"/>
                  <a:pt x="6250" y="7281"/>
                  <a:pt x="6250" y="7281"/>
                </a:cubicBezTo>
                <a:cubicBezTo>
                  <a:pt x="6281" y="7219"/>
                  <a:pt x="6375" y="7219"/>
                  <a:pt x="6406" y="7187"/>
                </a:cubicBezTo>
                <a:cubicBezTo>
                  <a:pt x="6406" y="7187"/>
                  <a:pt x="6437" y="7187"/>
                  <a:pt x="6437" y="7187"/>
                </a:cubicBezTo>
                <a:close/>
                <a:moveTo>
                  <a:pt x="6625" y="6844"/>
                </a:moveTo>
                <a:cubicBezTo>
                  <a:pt x="6625" y="6844"/>
                  <a:pt x="6625" y="6844"/>
                  <a:pt x="6656" y="6844"/>
                </a:cubicBezTo>
                <a:cubicBezTo>
                  <a:pt x="6656" y="6844"/>
                  <a:pt x="6656" y="6844"/>
                  <a:pt x="6656" y="6844"/>
                </a:cubicBezTo>
                <a:cubicBezTo>
                  <a:pt x="6656" y="6875"/>
                  <a:pt x="6625" y="6875"/>
                  <a:pt x="6625" y="6875"/>
                </a:cubicBezTo>
                <a:cubicBezTo>
                  <a:pt x="6625" y="6875"/>
                  <a:pt x="6656" y="6875"/>
                  <a:pt x="6656" y="6844"/>
                </a:cubicBezTo>
                <a:cubicBezTo>
                  <a:pt x="6625" y="6844"/>
                  <a:pt x="6625" y="6844"/>
                  <a:pt x="6625" y="6844"/>
                </a:cubicBezTo>
                <a:close/>
                <a:moveTo>
                  <a:pt x="6625" y="6906"/>
                </a:moveTo>
                <a:cubicBezTo>
                  <a:pt x="6625" y="6906"/>
                  <a:pt x="6625" y="6937"/>
                  <a:pt x="6625" y="6937"/>
                </a:cubicBezTo>
                <a:cubicBezTo>
                  <a:pt x="6625" y="6937"/>
                  <a:pt x="6625" y="6906"/>
                  <a:pt x="6625" y="6906"/>
                </a:cubicBezTo>
                <a:close/>
                <a:moveTo>
                  <a:pt x="6656" y="6844"/>
                </a:moveTo>
                <a:cubicBezTo>
                  <a:pt x="6656" y="6844"/>
                  <a:pt x="6656" y="6844"/>
                  <a:pt x="6687" y="6844"/>
                </a:cubicBezTo>
                <a:cubicBezTo>
                  <a:pt x="6656" y="6844"/>
                  <a:pt x="6656" y="6844"/>
                  <a:pt x="6656" y="6844"/>
                </a:cubicBezTo>
                <a:close/>
                <a:moveTo>
                  <a:pt x="6062" y="7031"/>
                </a:moveTo>
                <a:cubicBezTo>
                  <a:pt x="6062" y="7031"/>
                  <a:pt x="6062" y="7031"/>
                  <a:pt x="6031" y="7031"/>
                </a:cubicBezTo>
                <a:cubicBezTo>
                  <a:pt x="6093" y="6937"/>
                  <a:pt x="6187" y="6906"/>
                  <a:pt x="6281" y="6844"/>
                </a:cubicBezTo>
                <a:cubicBezTo>
                  <a:pt x="6375" y="6781"/>
                  <a:pt x="6500" y="6719"/>
                  <a:pt x="6593" y="6625"/>
                </a:cubicBezTo>
                <a:cubicBezTo>
                  <a:pt x="6718" y="6531"/>
                  <a:pt x="6843" y="6406"/>
                  <a:pt x="6906" y="6250"/>
                </a:cubicBezTo>
                <a:cubicBezTo>
                  <a:pt x="6906" y="6250"/>
                  <a:pt x="6906" y="6250"/>
                  <a:pt x="6906" y="6250"/>
                </a:cubicBezTo>
                <a:cubicBezTo>
                  <a:pt x="6937" y="6219"/>
                  <a:pt x="6937" y="6187"/>
                  <a:pt x="6968" y="6156"/>
                </a:cubicBezTo>
                <a:cubicBezTo>
                  <a:pt x="6968" y="6125"/>
                  <a:pt x="7000" y="6125"/>
                  <a:pt x="7000" y="6156"/>
                </a:cubicBezTo>
                <a:cubicBezTo>
                  <a:pt x="6968" y="6344"/>
                  <a:pt x="6843" y="6500"/>
                  <a:pt x="6718" y="6594"/>
                </a:cubicBezTo>
                <a:cubicBezTo>
                  <a:pt x="6500" y="6781"/>
                  <a:pt x="6281" y="6906"/>
                  <a:pt x="6062" y="7031"/>
                </a:cubicBezTo>
                <a:close/>
                <a:moveTo>
                  <a:pt x="5281" y="7281"/>
                </a:moveTo>
                <a:cubicBezTo>
                  <a:pt x="5312" y="7250"/>
                  <a:pt x="5312" y="7250"/>
                  <a:pt x="5312" y="7219"/>
                </a:cubicBezTo>
                <a:cubicBezTo>
                  <a:pt x="5343" y="7187"/>
                  <a:pt x="5375" y="7156"/>
                  <a:pt x="5406" y="7125"/>
                </a:cubicBezTo>
                <a:cubicBezTo>
                  <a:pt x="5406" y="7125"/>
                  <a:pt x="5406" y="7125"/>
                  <a:pt x="5406" y="7125"/>
                </a:cubicBezTo>
                <a:cubicBezTo>
                  <a:pt x="5406" y="7125"/>
                  <a:pt x="5406" y="7125"/>
                  <a:pt x="5406" y="7125"/>
                </a:cubicBezTo>
                <a:cubicBezTo>
                  <a:pt x="5406" y="7187"/>
                  <a:pt x="5375" y="7219"/>
                  <a:pt x="5343" y="7219"/>
                </a:cubicBezTo>
                <a:cubicBezTo>
                  <a:pt x="5343" y="7219"/>
                  <a:pt x="5343" y="7219"/>
                  <a:pt x="5312" y="7219"/>
                </a:cubicBezTo>
                <a:cubicBezTo>
                  <a:pt x="5312" y="7250"/>
                  <a:pt x="5312" y="7250"/>
                  <a:pt x="5281" y="7281"/>
                </a:cubicBezTo>
                <a:close/>
                <a:moveTo>
                  <a:pt x="5437" y="6969"/>
                </a:moveTo>
                <a:cubicBezTo>
                  <a:pt x="5406" y="6937"/>
                  <a:pt x="5437" y="6906"/>
                  <a:pt x="5468" y="6906"/>
                </a:cubicBezTo>
                <a:cubicBezTo>
                  <a:pt x="5468" y="6937"/>
                  <a:pt x="5437" y="6937"/>
                  <a:pt x="5437" y="6969"/>
                </a:cubicBezTo>
                <a:close/>
                <a:moveTo>
                  <a:pt x="5437" y="6969"/>
                </a:moveTo>
                <a:cubicBezTo>
                  <a:pt x="5437" y="7000"/>
                  <a:pt x="5406" y="7031"/>
                  <a:pt x="5375" y="7062"/>
                </a:cubicBezTo>
                <a:cubicBezTo>
                  <a:pt x="5281" y="7187"/>
                  <a:pt x="5218" y="7281"/>
                  <a:pt x="5125" y="7375"/>
                </a:cubicBezTo>
                <a:cubicBezTo>
                  <a:pt x="5125" y="7406"/>
                  <a:pt x="5125" y="7406"/>
                  <a:pt x="5093" y="7406"/>
                </a:cubicBezTo>
                <a:cubicBezTo>
                  <a:pt x="5156" y="7312"/>
                  <a:pt x="5218" y="7219"/>
                  <a:pt x="5281" y="7094"/>
                </a:cubicBezTo>
                <a:cubicBezTo>
                  <a:pt x="5343" y="7062"/>
                  <a:pt x="5343" y="7000"/>
                  <a:pt x="5437" y="6969"/>
                </a:cubicBezTo>
                <a:close/>
                <a:moveTo>
                  <a:pt x="5250" y="7312"/>
                </a:moveTo>
                <a:cubicBezTo>
                  <a:pt x="5250" y="7344"/>
                  <a:pt x="5250" y="7344"/>
                  <a:pt x="5250" y="7344"/>
                </a:cubicBezTo>
                <a:cubicBezTo>
                  <a:pt x="5218" y="7437"/>
                  <a:pt x="5125" y="7531"/>
                  <a:pt x="5093" y="7656"/>
                </a:cubicBezTo>
                <a:cubicBezTo>
                  <a:pt x="5093" y="7687"/>
                  <a:pt x="5062" y="7687"/>
                  <a:pt x="5031" y="7687"/>
                </a:cubicBezTo>
                <a:cubicBezTo>
                  <a:pt x="5062" y="7531"/>
                  <a:pt x="5156" y="7437"/>
                  <a:pt x="5250" y="7312"/>
                </a:cubicBezTo>
                <a:close/>
                <a:moveTo>
                  <a:pt x="5031" y="7562"/>
                </a:moveTo>
                <a:cubicBezTo>
                  <a:pt x="5031" y="7562"/>
                  <a:pt x="5031" y="7562"/>
                  <a:pt x="5031" y="7562"/>
                </a:cubicBezTo>
                <a:cubicBezTo>
                  <a:pt x="5031" y="7562"/>
                  <a:pt x="5031" y="7562"/>
                  <a:pt x="5031" y="7562"/>
                </a:cubicBezTo>
                <a:cubicBezTo>
                  <a:pt x="5000" y="7594"/>
                  <a:pt x="5000" y="7625"/>
                  <a:pt x="4968" y="7656"/>
                </a:cubicBezTo>
                <a:cubicBezTo>
                  <a:pt x="5000" y="7625"/>
                  <a:pt x="5000" y="7594"/>
                  <a:pt x="5031" y="7562"/>
                </a:cubicBezTo>
                <a:cubicBezTo>
                  <a:pt x="5031" y="7500"/>
                  <a:pt x="5031" y="7469"/>
                  <a:pt x="5093" y="7437"/>
                </a:cubicBezTo>
                <a:cubicBezTo>
                  <a:pt x="5093" y="7500"/>
                  <a:pt x="5062" y="7500"/>
                  <a:pt x="5031" y="7562"/>
                </a:cubicBezTo>
                <a:close/>
                <a:moveTo>
                  <a:pt x="5031" y="7687"/>
                </a:moveTo>
                <a:cubicBezTo>
                  <a:pt x="5031" y="7750"/>
                  <a:pt x="5031" y="7812"/>
                  <a:pt x="5000" y="7875"/>
                </a:cubicBezTo>
                <a:cubicBezTo>
                  <a:pt x="4968" y="7781"/>
                  <a:pt x="5031" y="7750"/>
                  <a:pt x="5031" y="7687"/>
                </a:cubicBezTo>
                <a:close/>
                <a:moveTo>
                  <a:pt x="5125" y="7656"/>
                </a:moveTo>
                <a:cubicBezTo>
                  <a:pt x="5187" y="7562"/>
                  <a:pt x="5218" y="7469"/>
                  <a:pt x="5281" y="7375"/>
                </a:cubicBezTo>
                <a:cubicBezTo>
                  <a:pt x="5218" y="7469"/>
                  <a:pt x="5187" y="7562"/>
                  <a:pt x="5125" y="7656"/>
                </a:cubicBezTo>
                <a:cubicBezTo>
                  <a:pt x="5125" y="7656"/>
                  <a:pt x="5125" y="7656"/>
                  <a:pt x="5125" y="7656"/>
                </a:cubicBezTo>
                <a:cubicBezTo>
                  <a:pt x="5156" y="7656"/>
                  <a:pt x="5156" y="7656"/>
                  <a:pt x="5156" y="7656"/>
                </a:cubicBezTo>
                <a:cubicBezTo>
                  <a:pt x="5156" y="7656"/>
                  <a:pt x="5156" y="7656"/>
                  <a:pt x="5125" y="7656"/>
                </a:cubicBezTo>
                <a:cubicBezTo>
                  <a:pt x="5125" y="7687"/>
                  <a:pt x="5125" y="7719"/>
                  <a:pt x="5125" y="7719"/>
                </a:cubicBezTo>
                <a:cubicBezTo>
                  <a:pt x="5125" y="7719"/>
                  <a:pt x="5125" y="7687"/>
                  <a:pt x="5125" y="7656"/>
                </a:cubicBezTo>
                <a:cubicBezTo>
                  <a:pt x="5125" y="7656"/>
                  <a:pt x="5125" y="7656"/>
                  <a:pt x="5125" y="7656"/>
                </a:cubicBezTo>
                <a:cubicBezTo>
                  <a:pt x="5000" y="7844"/>
                  <a:pt x="5000" y="8094"/>
                  <a:pt x="4937" y="8312"/>
                </a:cubicBezTo>
                <a:cubicBezTo>
                  <a:pt x="4937" y="8312"/>
                  <a:pt x="4937" y="8312"/>
                  <a:pt x="4937" y="8312"/>
                </a:cubicBezTo>
                <a:cubicBezTo>
                  <a:pt x="4937" y="8344"/>
                  <a:pt x="4937" y="8406"/>
                  <a:pt x="4906" y="8437"/>
                </a:cubicBezTo>
                <a:cubicBezTo>
                  <a:pt x="4937" y="8406"/>
                  <a:pt x="4937" y="8344"/>
                  <a:pt x="4937" y="8312"/>
                </a:cubicBezTo>
                <a:cubicBezTo>
                  <a:pt x="5000" y="8094"/>
                  <a:pt x="5000" y="7844"/>
                  <a:pt x="5125" y="7656"/>
                </a:cubicBezTo>
                <a:close/>
                <a:moveTo>
                  <a:pt x="4875" y="8906"/>
                </a:moveTo>
                <a:cubicBezTo>
                  <a:pt x="4843" y="8844"/>
                  <a:pt x="4875" y="8812"/>
                  <a:pt x="4906" y="8781"/>
                </a:cubicBezTo>
                <a:cubicBezTo>
                  <a:pt x="4906" y="8812"/>
                  <a:pt x="4906" y="8875"/>
                  <a:pt x="4875" y="8906"/>
                </a:cubicBezTo>
                <a:close/>
                <a:moveTo>
                  <a:pt x="5093" y="9344"/>
                </a:moveTo>
                <a:cubicBezTo>
                  <a:pt x="5093" y="9344"/>
                  <a:pt x="5093" y="9344"/>
                  <a:pt x="5093" y="9344"/>
                </a:cubicBezTo>
                <a:cubicBezTo>
                  <a:pt x="5093" y="9344"/>
                  <a:pt x="5093" y="9344"/>
                  <a:pt x="5093" y="9344"/>
                </a:cubicBezTo>
                <a:close/>
                <a:moveTo>
                  <a:pt x="4968" y="9531"/>
                </a:moveTo>
                <a:cubicBezTo>
                  <a:pt x="4968" y="9531"/>
                  <a:pt x="4937" y="9531"/>
                  <a:pt x="4937" y="9531"/>
                </a:cubicBezTo>
                <a:cubicBezTo>
                  <a:pt x="4937" y="9531"/>
                  <a:pt x="4937" y="9531"/>
                  <a:pt x="4937" y="9531"/>
                </a:cubicBezTo>
                <a:cubicBezTo>
                  <a:pt x="4937" y="9500"/>
                  <a:pt x="4937" y="9500"/>
                  <a:pt x="4937" y="9469"/>
                </a:cubicBezTo>
                <a:cubicBezTo>
                  <a:pt x="4968" y="9469"/>
                  <a:pt x="4968" y="9437"/>
                  <a:pt x="5000" y="9406"/>
                </a:cubicBezTo>
                <a:cubicBezTo>
                  <a:pt x="5000" y="9469"/>
                  <a:pt x="5000" y="9500"/>
                  <a:pt x="4968" y="9531"/>
                </a:cubicBezTo>
                <a:close/>
                <a:moveTo>
                  <a:pt x="4781" y="9844"/>
                </a:moveTo>
                <a:cubicBezTo>
                  <a:pt x="4781" y="9844"/>
                  <a:pt x="4781" y="9844"/>
                  <a:pt x="4750" y="9844"/>
                </a:cubicBezTo>
                <a:cubicBezTo>
                  <a:pt x="4812" y="9750"/>
                  <a:pt x="4843" y="9656"/>
                  <a:pt x="4906" y="9562"/>
                </a:cubicBezTo>
                <a:cubicBezTo>
                  <a:pt x="4937" y="9687"/>
                  <a:pt x="4843" y="9781"/>
                  <a:pt x="4781" y="9844"/>
                </a:cubicBezTo>
                <a:close/>
                <a:moveTo>
                  <a:pt x="4781" y="9250"/>
                </a:moveTo>
                <a:cubicBezTo>
                  <a:pt x="4781" y="9250"/>
                  <a:pt x="4781" y="9250"/>
                  <a:pt x="4781" y="9250"/>
                </a:cubicBezTo>
                <a:cubicBezTo>
                  <a:pt x="4781" y="9250"/>
                  <a:pt x="4812" y="9250"/>
                  <a:pt x="4812" y="9250"/>
                </a:cubicBezTo>
                <a:cubicBezTo>
                  <a:pt x="4812" y="9250"/>
                  <a:pt x="4781" y="9250"/>
                  <a:pt x="4781" y="9250"/>
                </a:cubicBezTo>
                <a:close/>
                <a:moveTo>
                  <a:pt x="4656" y="9281"/>
                </a:moveTo>
                <a:cubicBezTo>
                  <a:pt x="4656" y="9281"/>
                  <a:pt x="4656" y="9281"/>
                  <a:pt x="4656" y="9281"/>
                </a:cubicBezTo>
                <a:cubicBezTo>
                  <a:pt x="4656" y="9281"/>
                  <a:pt x="4625" y="9250"/>
                  <a:pt x="4656" y="9250"/>
                </a:cubicBezTo>
                <a:cubicBezTo>
                  <a:pt x="4687" y="9156"/>
                  <a:pt x="4718" y="9000"/>
                  <a:pt x="4843" y="8937"/>
                </a:cubicBezTo>
                <a:cubicBezTo>
                  <a:pt x="4843" y="8937"/>
                  <a:pt x="4843" y="8937"/>
                  <a:pt x="4843" y="8937"/>
                </a:cubicBezTo>
                <a:cubicBezTo>
                  <a:pt x="4812" y="9062"/>
                  <a:pt x="4718" y="9156"/>
                  <a:pt x="4656" y="9281"/>
                </a:cubicBezTo>
                <a:close/>
                <a:moveTo>
                  <a:pt x="4625" y="10000"/>
                </a:moveTo>
                <a:cubicBezTo>
                  <a:pt x="4625" y="10000"/>
                  <a:pt x="4625" y="10000"/>
                  <a:pt x="4625" y="10000"/>
                </a:cubicBezTo>
                <a:cubicBezTo>
                  <a:pt x="4625" y="10000"/>
                  <a:pt x="4625" y="10000"/>
                  <a:pt x="4625" y="10000"/>
                </a:cubicBezTo>
                <a:cubicBezTo>
                  <a:pt x="4625" y="10000"/>
                  <a:pt x="4625" y="10000"/>
                  <a:pt x="4625" y="10000"/>
                </a:cubicBezTo>
                <a:close/>
                <a:moveTo>
                  <a:pt x="4625" y="11219"/>
                </a:move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25" y="11219"/>
                  <a:pt x="4625" y="11219"/>
                  <a:pt x="4625" y="11219"/>
                </a:cubicBezTo>
                <a:cubicBezTo>
                  <a:pt x="4656" y="11187"/>
                  <a:pt x="4687" y="11156"/>
                  <a:pt x="4687" y="11094"/>
                </a:cubicBezTo>
                <a:cubicBezTo>
                  <a:pt x="4687" y="11156"/>
                  <a:pt x="4656" y="11187"/>
                  <a:pt x="4625" y="11219"/>
                </a:cubicBezTo>
                <a:cubicBezTo>
                  <a:pt x="4625" y="11219"/>
                  <a:pt x="4625" y="11250"/>
                  <a:pt x="4593" y="11250"/>
                </a:cubicBezTo>
                <a:cubicBezTo>
                  <a:pt x="4625" y="11250"/>
                  <a:pt x="4625" y="11219"/>
                  <a:pt x="4625" y="11219"/>
                </a:cubicBezTo>
                <a:close/>
                <a:moveTo>
                  <a:pt x="4687" y="10500"/>
                </a:moveTo>
                <a:cubicBezTo>
                  <a:pt x="4656" y="10344"/>
                  <a:pt x="4687" y="10219"/>
                  <a:pt x="4718" y="10094"/>
                </a:cubicBezTo>
                <a:cubicBezTo>
                  <a:pt x="4718" y="10094"/>
                  <a:pt x="4718" y="10094"/>
                  <a:pt x="4718" y="10094"/>
                </a:cubicBezTo>
                <a:cubicBezTo>
                  <a:pt x="4718" y="10094"/>
                  <a:pt x="4718" y="10094"/>
                  <a:pt x="4718" y="10094"/>
                </a:cubicBezTo>
                <a:cubicBezTo>
                  <a:pt x="4750" y="10094"/>
                  <a:pt x="4750" y="10156"/>
                  <a:pt x="4750" y="10156"/>
                </a:cubicBezTo>
                <a:cubicBezTo>
                  <a:pt x="4781" y="10094"/>
                  <a:pt x="4812" y="10062"/>
                  <a:pt x="4812" y="10000"/>
                </a:cubicBezTo>
                <a:cubicBezTo>
                  <a:pt x="4781" y="10031"/>
                  <a:pt x="4781" y="10031"/>
                  <a:pt x="4750" y="10062"/>
                </a:cubicBezTo>
                <a:cubicBezTo>
                  <a:pt x="4750" y="10031"/>
                  <a:pt x="4781" y="10000"/>
                  <a:pt x="4750" y="9969"/>
                </a:cubicBezTo>
                <a:cubicBezTo>
                  <a:pt x="4718" y="10000"/>
                  <a:pt x="4718" y="10031"/>
                  <a:pt x="4687" y="10094"/>
                </a:cubicBezTo>
                <a:cubicBezTo>
                  <a:pt x="4687" y="10094"/>
                  <a:pt x="4687" y="10125"/>
                  <a:pt x="4687" y="10125"/>
                </a:cubicBezTo>
                <a:cubicBezTo>
                  <a:pt x="4656" y="10094"/>
                  <a:pt x="4687" y="10062"/>
                  <a:pt x="4687" y="10000"/>
                </a:cubicBezTo>
                <a:cubicBezTo>
                  <a:pt x="4718" y="9969"/>
                  <a:pt x="4718" y="9937"/>
                  <a:pt x="4718" y="9906"/>
                </a:cubicBezTo>
                <a:cubicBezTo>
                  <a:pt x="4750" y="9875"/>
                  <a:pt x="4750" y="9937"/>
                  <a:pt x="4781" y="9937"/>
                </a:cubicBezTo>
                <a:cubicBezTo>
                  <a:pt x="4812" y="9906"/>
                  <a:pt x="4812" y="9844"/>
                  <a:pt x="4875" y="9844"/>
                </a:cubicBezTo>
                <a:cubicBezTo>
                  <a:pt x="4843" y="9937"/>
                  <a:pt x="4843" y="10031"/>
                  <a:pt x="4812" y="10125"/>
                </a:cubicBezTo>
                <a:cubicBezTo>
                  <a:pt x="4812" y="10156"/>
                  <a:pt x="4812" y="10187"/>
                  <a:pt x="4812" y="10219"/>
                </a:cubicBezTo>
                <a:cubicBezTo>
                  <a:pt x="4812" y="10219"/>
                  <a:pt x="4843" y="10187"/>
                  <a:pt x="4843" y="10187"/>
                </a:cubicBezTo>
                <a:cubicBezTo>
                  <a:pt x="4843" y="10187"/>
                  <a:pt x="4812" y="10219"/>
                  <a:pt x="4812" y="10219"/>
                </a:cubicBezTo>
                <a:cubicBezTo>
                  <a:pt x="4812" y="10250"/>
                  <a:pt x="4750" y="10250"/>
                  <a:pt x="4781" y="10312"/>
                </a:cubicBezTo>
                <a:cubicBezTo>
                  <a:pt x="4750" y="10312"/>
                  <a:pt x="4781" y="10344"/>
                  <a:pt x="4750" y="10344"/>
                </a:cubicBezTo>
                <a:cubicBezTo>
                  <a:pt x="4718" y="10312"/>
                  <a:pt x="4781" y="10281"/>
                  <a:pt x="4718" y="10250"/>
                </a:cubicBezTo>
                <a:cubicBezTo>
                  <a:pt x="4687" y="10312"/>
                  <a:pt x="4718" y="10406"/>
                  <a:pt x="4687" y="10500"/>
                </a:cubicBezTo>
                <a:close/>
                <a:moveTo>
                  <a:pt x="4781" y="10344"/>
                </a:moveTo>
                <a:cubicBezTo>
                  <a:pt x="4812" y="10406"/>
                  <a:pt x="4781" y="10500"/>
                  <a:pt x="4718" y="10594"/>
                </a:cubicBezTo>
                <a:cubicBezTo>
                  <a:pt x="4718" y="10500"/>
                  <a:pt x="4750" y="10437"/>
                  <a:pt x="4781" y="10344"/>
                </a:cubicBezTo>
                <a:close/>
                <a:moveTo>
                  <a:pt x="4437" y="12250"/>
                </a:moveTo>
                <a:cubicBezTo>
                  <a:pt x="4437" y="12250"/>
                  <a:pt x="4437" y="12250"/>
                  <a:pt x="4437" y="12250"/>
                </a:cubicBezTo>
                <a:cubicBezTo>
                  <a:pt x="4437" y="12250"/>
                  <a:pt x="4437" y="12250"/>
                  <a:pt x="4437" y="12250"/>
                </a:cubicBezTo>
                <a:cubicBezTo>
                  <a:pt x="4437" y="12250"/>
                  <a:pt x="4437" y="12250"/>
                  <a:pt x="4437" y="12250"/>
                </a:cubicBezTo>
                <a:close/>
                <a:moveTo>
                  <a:pt x="4437" y="12312"/>
                </a:moveTo>
                <a:cubicBezTo>
                  <a:pt x="4437" y="12312"/>
                  <a:pt x="4437" y="12312"/>
                  <a:pt x="4437" y="12312"/>
                </a:cubicBezTo>
                <a:cubicBezTo>
                  <a:pt x="4437" y="12312"/>
                  <a:pt x="4437" y="12344"/>
                  <a:pt x="4437" y="12344"/>
                </a:cubicBezTo>
                <a:cubicBezTo>
                  <a:pt x="4437" y="12469"/>
                  <a:pt x="4406" y="12625"/>
                  <a:pt x="4343" y="12750"/>
                </a:cubicBezTo>
                <a:cubicBezTo>
                  <a:pt x="4406" y="12594"/>
                  <a:pt x="4375" y="12437"/>
                  <a:pt x="4437" y="12312"/>
                </a:cubicBezTo>
                <a:close/>
                <a:moveTo>
                  <a:pt x="4437" y="12250"/>
                </a:moveTo>
                <a:cubicBezTo>
                  <a:pt x="4437" y="12250"/>
                  <a:pt x="4437" y="12250"/>
                  <a:pt x="4468" y="12250"/>
                </a:cubicBezTo>
                <a:cubicBezTo>
                  <a:pt x="4468" y="12250"/>
                  <a:pt x="4468" y="12281"/>
                  <a:pt x="4468" y="12281"/>
                </a:cubicBezTo>
                <a:cubicBezTo>
                  <a:pt x="4437" y="12281"/>
                  <a:pt x="4437" y="12250"/>
                  <a:pt x="4437" y="12250"/>
                </a:cubicBezTo>
                <a:close/>
                <a:moveTo>
                  <a:pt x="4750" y="13531"/>
                </a:moveTo>
                <a:cubicBezTo>
                  <a:pt x="4781" y="13500"/>
                  <a:pt x="4781" y="13437"/>
                  <a:pt x="4781" y="13406"/>
                </a:cubicBezTo>
                <a:cubicBezTo>
                  <a:pt x="4781" y="13406"/>
                  <a:pt x="4781" y="13406"/>
                  <a:pt x="4781" y="13406"/>
                </a:cubicBezTo>
                <a:cubicBezTo>
                  <a:pt x="4781" y="13656"/>
                  <a:pt x="4812" y="13875"/>
                  <a:pt x="4875" y="14094"/>
                </a:cubicBezTo>
                <a:cubicBezTo>
                  <a:pt x="4875" y="14094"/>
                  <a:pt x="4875" y="14094"/>
                  <a:pt x="4875" y="14094"/>
                </a:cubicBezTo>
                <a:cubicBezTo>
                  <a:pt x="4875" y="14094"/>
                  <a:pt x="4875" y="14094"/>
                  <a:pt x="4875" y="14094"/>
                </a:cubicBezTo>
                <a:cubicBezTo>
                  <a:pt x="4843" y="14094"/>
                  <a:pt x="4843" y="14031"/>
                  <a:pt x="4812" y="13969"/>
                </a:cubicBezTo>
                <a:cubicBezTo>
                  <a:pt x="4781" y="13844"/>
                  <a:pt x="4718" y="13687"/>
                  <a:pt x="4750" y="13531"/>
                </a:cubicBezTo>
                <a:close/>
                <a:moveTo>
                  <a:pt x="4843" y="13094"/>
                </a:moveTo>
                <a:cubicBezTo>
                  <a:pt x="4843" y="13125"/>
                  <a:pt x="4843" y="13125"/>
                  <a:pt x="4843" y="13125"/>
                </a:cubicBezTo>
                <a:cubicBezTo>
                  <a:pt x="4812" y="13125"/>
                  <a:pt x="4812" y="13094"/>
                  <a:pt x="4812" y="13094"/>
                </a:cubicBezTo>
                <a:cubicBezTo>
                  <a:pt x="4843" y="12969"/>
                  <a:pt x="4875" y="12875"/>
                  <a:pt x="4906" y="12781"/>
                </a:cubicBezTo>
                <a:cubicBezTo>
                  <a:pt x="4937" y="12656"/>
                  <a:pt x="4968" y="12562"/>
                  <a:pt x="4937" y="12437"/>
                </a:cubicBezTo>
                <a:cubicBezTo>
                  <a:pt x="4937" y="12437"/>
                  <a:pt x="4937" y="12437"/>
                  <a:pt x="4937" y="12437"/>
                </a:cubicBezTo>
                <a:cubicBezTo>
                  <a:pt x="4937" y="12437"/>
                  <a:pt x="4968" y="12437"/>
                  <a:pt x="4968" y="12437"/>
                </a:cubicBezTo>
                <a:cubicBezTo>
                  <a:pt x="4968" y="12562"/>
                  <a:pt x="5000" y="12719"/>
                  <a:pt x="4937" y="12844"/>
                </a:cubicBezTo>
                <a:cubicBezTo>
                  <a:pt x="4906" y="12937"/>
                  <a:pt x="4875" y="13000"/>
                  <a:pt x="4843" y="13094"/>
                </a:cubicBezTo>
                <a:close/>
                <a:moveTo>
                  <a:pt x="5093" y="12719"/>
                </a:moveTo>
                <a:cubicBezTo>
                  <a:pt x="5062" y="12656"/>
                  <a:pt x="5125" y="12594"/>
                  <a:pt x="5093" y="12531"/>
                </a:cubicBezTo>
                <a:cubicBezTo>
                  <a:pt x="5125" y="12594"/>
                  <a:pt x="5093" y="12656"/>
                  <a:pt x="5093" y="12719"/>
                </a:cubicBezTo>
                <a:close/>
                <a:moveTo>
                  <a:pt x="5125" y="11062"/>
                </a:moveTo>
                <a:cubicBezTo>
                  <a:pt x="5125" y="11062"/>
                  <a:pt x="5125" y="11062"/>
                  <a:pt x="5125" y="11062"/>
                </a:cubicBezTo>
                <a:cubicBezTo>
                  <a:pt x="5093" y="11000"/>
                  <a:pt x="5125" y="10969"/>
                  <a:pt x="5125" y="10937"/>
                </a:cubicBezTo>
                <a:cubicBezTo>
                  <a:pt x="5125" y="10937"/>
                  <a:pt x="5125" y="10937"/>
                  <a:pt x="5125" y="10937"/>
                </a:cubicBezTo>
                <a:cubicBezTo>
                  <a:pt x="5125" y="10937"/>
                  <a:pt x="5125" y="10937"/>
                  <a:pt x="5125" y="10937"/>
                </a:cubicBezTo>
                <a:cubicBezTo>
                  <a:pt x="5156" y="10969"/>
                  <a:pt x="5125" y="11000"/>
                  <a:pt x="5156" y="11031"/>
                </a:cubicBezTo>
                <a:cubicBezTo>
                  <a:pt x="5156" y="11062"/>
                  <a:pt x="5156" y="11125"/>
                  <a:pt x="5125" y="11187"/>
                </a:cubicBezTo>
                <a:cubicBezTo>
                  <a:pt x="5093" y="11156"/>
                  <a:pt x="5156" y="11094"/>
                  <a:pt x="5125" y="11062"/>
                </a:cubicBezTo>
                <a:close/>
                <a:moveTo>
                  <a:pt x="5125" y="11687"/>
                </a:moveTo>
                <a:cubicBezTo>
                  <a:pt x="5156" y="11937"/>
                  <a:pt x="5250" y="12219"/>
                  <a:pt x="5218" y="12500"/>
                </a:cubicBezTo>
                <a:cubicBezTo>
                  <a:pt x="5218" y="12219"/>
                  <a:pt x="5093" y="11969"/>
                  <a:pt x="5125" y="11687"/>
                </a:cubicBezTo>
                <a:close/>
                <a:moveTo>
                  <a:pt x="5281" y="13031"/>
                </a:moveTo>
                <a:cubicBezTo>
                  <a:pt x="5281" y="13062"/>
                  <a:pt x="5281" y="13094"/>
                  <a:pt x="5250" y="13125"/>
                </a:cubicBezTo>
                <a:cubicBezTo>
                  <a:pt x="5250" y="13125"/>
                  <a:pt x="5250" y="13125"/>
                  <a:pt x="5250" y="13125"/>
                </a:cubicBezTo>
                <a:cubicBezTo>
                  <a:pt x="5250" y="13156"/>
                  <a:pt x="5218" y="13187"/>
                  <a:pt x="5218" y="13250"/>
                </a:cubicBezTo>
                <a:cubicBezTo>
                  <a:pt x="5218" y="13375"/>
                  <a:pt x="5187" y="13531"/>
                  <a:pt x="5218" y="13687"/>
                </a:cubicBezTo>
                <a:cubicBezTo>
                  <a:pt x="5218" y="13687"/>
                  <a:pt x="5187" y="13687"/>
                  <a:pt x="5187" y="13687"/>
                </a:cubicBezTo>
                <a:cubicBezTo>
                  <a:pt x="5156" y="13469"/>
                  <a:pt x="5187" y="13094"/>
                  <a:pt x="5281" y="13031"/>
                </a:cubicBezTo>
                <a:close/>
                <a:moveTo>
                  <a:pt x="5281" y="13969"/>
                </a:moveTo>
                <a:cubicBezTo>
                  <a:pt x="5281" y="13969"/>
                  <a:pt x="5281" y="13969"/>
                  <a:pt x="5281" y="13969"/>
                </a:cubicBezTo>
                <a:cubicBezTo>
                  <a:pt x="5250" y="13937"/>
                  <a:pt x="5250" y="13937"/>
                  <a:pt x="5250" y="13906"/>
                </a:cubicBezTo>
                <a:cubicBezTo>
                  <a:pt x="5250" y="13937"/>
                  <a:pt x="5250" y="13937"/>
                  <a:pt x="5281" y="13969"/>
                </a:cubicBezTo>
                <a:close/>
                <a:moveTo>
                  <a:pt x="5218" y="14844"/>
                </a:moveTo>
                <a:cubicBezTo>
                  <a:pt x="5281" y="14875"/>
                  <a:pt x="5312" y="14812"/>
                  <a:pt x="5375" y="14812"/>
                </a:cubicBezTo>
                <a:cubicBezTo>
                  <a:pt x="5375" y="14812"/>
                  <a:pt x="5375" y="14812"/>
                  <a:pt x="5375" y="14812"/>
                </a:cubicBezTo>
                <a:cubicBezTo>
                  <a:pt x="5500" y="14875"/>
                  <a:pt x="5593" y="14844"/>
                  <a:pt x="5718" y="14875"/>
                </a:cubicBezTo>
                <a:cubicBezTo>
                  <a:pt x="5843" y="14875"/>
                  <a:pt x="5937" y="14906"/>
                  <a:pt x="6062" y="14937"/>
                </a:cubicBezTo>
                <a:cubicBezTo>
                  <a:pt x="6093" y="14937"/>
                  <a:pt x="6125" y="15000"/>
                  <a:pt x="6156" y="15031"/>
                </a:cubicBezTo>
                <a:cubicBezTo>
                  <a:pt x="5843" y="14937"/>
                  <a:pt x="5531" y="14875"/>
                  <a:pt x="5187" y="14844"/>
                </a:cubicBezTo>
                <a:cubicBezTo>
                  <a:pt x="5187" y="14844"/>
                  <a:pt x="5187" y="14844"/>
                  <a:pt x="5187" y="14844"/>
                </a:cubicBezTo>
                <a:cubicBezTo>
                  <a:pt x="5187" y="14844"/>
                  <a:pt x="5218" y="14844"/>
                  <a:pt x="5218" y="14844"/>
                </a:cubicBezTo>
                <a:close/>
                <a:moveTo>
                  <a:pt x="6218" y="14625"/>
                </a:moveTo>
                <a:cubicBezTo>
                  <a:pt x="6343" y="14656"/>
                  <a:pt x="6500" y="14687"/>
                  <a:pt x="6625" y="14750"/>
                </a:cubicBezTo>
                <a:cubicBezTo>
                  <a:pt x="6625" y="14750"/>
                  <a:pt x="6625" y="14781"/>
                  <a:pt x="6625" y="14781"/>
                </a:cubicBezTo>
                <a:cubicBezTo>
                  <a:pt x="6468" y="14719"/>
                  <a:pt x="6343" y="14687"/>
                  <a:pt x="6218" y="14625"/>
                </a:cubicBezTo>
                <a:cubicBezTo>
                  <a:pt x="6218" y="14625"/>
                  <a:pt x="6218" y="14625"/>
                  <a:pt x="6218" y="14625"/>
                </a:cubicBezTo>
                <a:close/>
                <a:moveTo>
                  <a:pt x="6625" y="14906"/>
                </a:moveTo>
                <a:cubicBezTo>
                  <a:pt x="6750" y="14969"/>
                  <a:pt x="6843" y="15000"/>
                  <a:pt x="6968" y="15062"/>
                </a:cubicBezTo>
                <a:cubicBezTo>
                  <a:pt x="7031" y="15094"/>
                  <a:pt x="7093" y="15094"/>
                  <a:pt x="7156" y="15125"/>
                </a:cubicBezTo>
                <a:cubicBezTo>
                  <a:pt x="7281" y="15156"/>
                  <a:pt x="7375" y="15187"/>
                  <a:pt x="7468" y="15219"/>
                </a:cubicBezTo>
                <a:cubicBezTo>
                  <a:pt x="7500" y="15250"/>
                  <a:pt x="7531" y="15281"/>
                  <a:pt x="7562" y="15281"/>
                </a:cubicBezTo>
                <a:cubicBezTo>
                  <a:pt x="7593" y="15281"/>
                  <a:pt x="7593" y="15312"/>
                  <a:pt x="7562" y="15312"/>
                </a:cubicBezTo>
                <a:cubicBezTo>
                  <a:pt x="7562" y="15312"/>
                  <a:pt x="7562" y="15312"/>
                  <a:pt x="7562" y="15312"/>
                </a:cubicBezTo>
                <a:cubicBezTo>
                  <a:pt x="7437" y="15250"/>
                  <a:pt x="7281" y="15219"/>
                  <a:pt x="7156" y="15156"/>
                </a:cubicBezTo>
                <a:cubicBezTo>
                  <a:pt x="6937" y="15094"/>
                  <a:pt x="6718" y="15000"/>
                  <a:pt x="6500" y="14906"/>
                </a:cubicBezTo>
                <a:cubicBezTo>
                  <a:pt x="6468" y="14906"/>
                  <a:pt x="6437" y="14875"/>
                  <a:pt x="6406" y="14875"/>
                </a:cubicBezTo>
                <a:cubicBezTo>
                  <a:pt x="6468" y="14844"/>
                  <a:pt x="6562" y="14875"/>
                  <a:pt x="6625" y="14906"/>
                </a:cubicBezTo>
                <a:close/>
                <a:moveTo>
                  <a:pt x="7468" y="14344"/>
                </a:moveTo>
                <a:cubicBezTo>
                  <a:pt x="7468" y="14344"/>
                  <a:pt x="7437" y="14344"/>
                  <a:pt x="7437" y="14344"/>
                </a:cubicBezTo>
                <a:cubicBezTo>
                  <a:pt x="7437" y="14344"/>
                  <a:pt x="7437" y="14344"/>
                  <a:pt x="7437" y="14344"/>
                </a:cubicBezTo>
                <a:cubicBezTo>
                  <a:pt x="7437" y="14344"/>
                  <a:pt x="7437" y="14344"/>
                  <a:pt x="7437" y="14344"/>
                </a:cubicBezTo>
                <a:cubicBezTo>
                  <a:pt x="7437" y="14344"/>
                  <a:pt x="7468" y="14344"/>
                  <a:pt x="7468" y="14344"/>
                </a:cubicBezTo>
                <a:close/>
                <a:moveTo>
                  <a:pt x="7593" y="14969"/>
                </a:moveTo>
                <a:cubicBezTo>
                  <a:pt x="7593" y="14969"/>
                  <a:pt x="7593" y="14969"/>
                  <a:pt x="7593" y="14969"/>
                </a:cubicBezTo>
                <a:cubicBezTo>
                  <a:pt x="7593" y="14969"/>
                  <a:pt x="7593" y="15000"/>
                  <a:pt x="7593" y="15000"/>
                </a:cubicBezTo>
                <a:cubicBezTo>
                  <a:pt x="7531" y="14937"/>
                  <a:pt x="7468" y="14969"/>
                  <a:pt x="7437" y="14906"/>
                </a:cubicBezTo>
                <a:cubicBezTo>
                  <a:pt x="7500" y="14906"/>
                  <a:pt x="7531" y="14937"/>
                  <a:pt x="7593" y="14969"/>
                </a:cubicBezTo>
                <a:close/>
                <a:moveTo>
                  <a:pt x="6593" y="10187"/>
                </a:moveTo>
                <a:cubicBezTo>
                  <a:pt x="6593" y="10156"/>
                  <a:pt x="6593" y="10125"/>
                  <a:pt x="6593" y="10094"/>
                </a:cubicBezTo>
                <a:cubicBezTo>
                  <a:pt x="6625" y="10125"/>
                  <a:pt x="6625" y="10156"/>
                  <a:pt x="6593" y="10187"/>
                </a:cubicBezTo>
                <a:close/>
                <a:moveTo>
                  <a:pt x="7375" y="6875"/>
                </a:moveTo>
                <a:cubicBezTo>
                  <a:pt x="7375" y="6844"/>
                  <a:pt x="7406" y="6844"/>
                  <a:pt x="7375" y="6812"/>
                </a:cubicBezTo>
                <a:cubicBezTo>
                  <a:pt x="7406" y="6781"/>
                  <a:pt x="7437" y="6781"/>
                  <a:pt x="7437" y="6750"/>
                </a:cubicBezTo>
                <a:cubicBezTo>
                  <a:pt x="7437" y="6719"/>
                  <a:pt x="7468" y="6719"/>
                  <a:pt x="7468" y="6719"/>
                </a:cubicBezTo>
                <a:cubicBezTo>
                  <a:pt x="7468" y="6719"/>
                  <a:pt x="7468" y="6719"/>
                  <a:pt x="7468" y="6719"/>
                </a:cubicBezTo>
                <a:cubicBezTo>
                  <a:pt x="7468" y="6781"/>
                  <a:pt x="7437" y="6844"/>
                  <a:pt x="7375" y="6906"/>
                </a:cubicBezTo>
                <a:cubicBezTo>
                  <a:pt x="7375" y="6906"/>
                  <a:pt x="7343" y="6937"/>
                  <a:pt x="7343" y="6969"/>
                </a:cubicBezTo>
                <a:cubicBezTo>
                  <a:pt x="7343" y="6937"/>
                  <a:pt x="7375" y="6906"/>
                  <a:pt x="7375" y="6906"/>
                </a:cubicBezTo>
                <a:cubicBezTo>
                  <a:pt x="7375" y="6875"/>
                  <a:pt x="7375" y="6875"/>
                  <a:pt x="7375" y="6875"/>
                </a:cubicBezTo>
                <a:close/>
                <a:moveTo>
                  <a:pt x="7437" y="7406"/>
                </a:moveTo>
                <a:cubicBezTo>
                  <a:pt x="7437" y="7406"/>
                  <a:pt x="7437" y="7375"/>
                  <a:pt x="7437" y="7375"/>
                </a:cubicBezTo>
                <a:cubicBezTo>
                  <a:pt x="7437" y="7375"/>
                  <a:pt x="7468" y="7375"/>
                  <a:pt x="7468" y="7375"/>
                </a:cubicBezTo>
                <a:cubicBezTo>
                  <a:pt x="7468" y="7406"/>
                  <a:pt x="7468" y="7406"/>
                  <a:pt x="7437" y="7406"/>
                </a:cubicBezTo>
                <a:cubicBezTo>
                  <a:pt x="7437" y="7469"/>
                  <a:pt x="7406" y="7500"/>
                  <a:pt x="7375" y="7500"/>
                </a:cubicBezTo>
                <a:cubicBezTo>
                  <a:pt x="7375" y="7469"/>
                  <a:pt x="7406" y="7437"/>
                  <a:pt x="7437" y="7406"/>
                </a:cubicBezTo>
                <a:close/>
                <a:moveTo>
                  <a:pt x="7437" y="7781"/>
                </a:moveTo>
                <a:cubicBezTo>
                  <a:pt x="7468" y="7781"/>
                  <a:pt x="7468" y="7750"/>
                  <a:pt x="7468" y="7719"/>
                </a:cubicBezTo>
                <a:cubicBezTo>
                  <a:pt x="7468" y="7750"/>
                  <a:pt x="7468" y="7781"/>
                  <a:pt x="7437" y="7781"/>
                </a:cubicBezTo>
                <a:cubicBezTo>
                  <a:pt x="7437" y="7781"/>
                  <a:pt x="7437" y="7812"/>
                  <a:pt x="7437" y="7812"/>
                </a:cubicBezTo>
                <a:cubicBezTo>
                  <a:pt x="7437" y="7812"/>
                  <a:pt x="7437" y="7781"/>
                  <a:pt x="7437" y="7781"/>
                </a:cubicBezTo>
                <a:close/>
                <a:moveTo>
                  <a:pt x="7625" y="6094"/>
                </a:moveTo>
                <a:cubicBezTo>
                  <a:pt x="7625" y="6094"/>
                  <a:pt x="7625" y="6094"/>
                  <a:pt x="7625" y="6094"/>
                </a:cubicBezTo>
                <a:cubicBezTo>
                  <a:pt x="7625" y="6312"/>
                  <a:pt x="7562" y="6500"/>
                  <a:pt x="7531" y="6687"/>
                </a:cubicBezTo>
                <a:cubicBezTo>
                  <a:pt x="7500" y="6687"/>
                  <a:pt x="7531" y="6719"/>
                  <a:pt x="7500" y="6719"/>
                </a:cubicBezTo>
                <a:cubicBezTo>
                  <a:pt x="7468" y="6719"/>
                  <a:pt x="7468" y="6719"/>
                  <a:pt x="7468" y="6719"/>
                </a:cubicBezTo>
                <a:cubicBezTo>
                  <a:pt x="7500" y="6719"/>
                  <a:pt x="7500" y="6719"/>
                  <a:pt x="7500" y="6719"/>
                </a:cubicBezTo>
                <a:cubicBezTo>
                  <a:pt x="7437" y="6625"/>
                  <a:pt x="7437" y="6719"/>
                  <a:pt x="7406" y="6719"/>
                </a:cubicBezTo>
                <a:cubicBezTo>
                  <a:pt x="7406" y="6719"/>
                  <a:pt x="7406" y="6750"/>
                  <a:pt x="7375" y="6750"/>
                </a:cubicBezTo>
                <a:cubicBezTo>
                  <a:pt x="7375" y="6750"/>
                  <a:pt x="7375" y="6719"/>
                  <a:pt x="7375" y="6719"/>
                </a:cubicBezTo>
                <a:cubicBezTo>
                  <a:pt x="7531" y="6531"/>
                  <a:pt x="7531" y="6312"/>
                  <a:pt x="7593" y="6094"/>
                </a:cubicBezTo>
                <a:cubicBezTo>
                  <a:pt x="7625" y="5969"/>
                  <a:pt x="7625" y="5875"/>
                  <a:pt x="7656" y="5781"/>
                </a:cubicBezTo>
                <a:cubicBezTo>
                  <a:pt x="7687" y="5781"/>
                  <a:pt x="7656" y="5781"/>
                  <a:pt x="7687" y="5812"/>
                </a:cubicBezTo>
                <a:cubicBezTo>
                  <a:pt x="7656" y="5906"/>
                  <a:pt x="7625" y="6000"/>
                  <a:pt x="7625" y="6094"/>
                </a:cubicBezTo>
                <a:close/>
                <a:moveTo>
                  <a:pt x="7625" y="5687"/>
                </a:moveTo>
                <a:cubicBezTo>
                  <a:pt x="7562" y="5844"/>
                  <a:pt x="7562" y="6031"/>
                  <a:pt x="7531" y="6219"/>
                </a:cubicBezTo>
                <a:cubicBezTo>
                  <a:pt x="7468" y="6375"/>
                  <a:pt x="7468" y="6531"/>
                  <a:pt x="7375" y="6687"/>
                </a:cubicBezTo>
                <a:cubicBezTo>
                  <a:pt x="7312" y="6750"/>
                  <a:pt x="7281" y="6812"/>
                  <a:pt x="7218" y="6875"/>
                </a:cubicBezTo>
                <a:cubicBezTo>
                  <a:pt x="7218" y="6875"/>
                  <a:pt x="7218" y="6875"/>
                  <a:pt x="7218" y="6875"/>
                </a:cubicBezTo>
                <a:cubicBezTo>
                  <a:pt x="7156" y="6844"/>
                  <a:pt x="7218" y="6812"/>
                  <a:pt x="7187" y="6781"/>
                </a:cubicBezTo>
                <a:cubicBezTo>
                  <a:pt x="7250" y="6687"/>
                  <a:pt x="7281" y="6562"/>
                  <a:pt x="7343" y="6469"/>
                </a:cubicBezTo>
                <a:cubicBezTo>
                  <a:pt x="7343" y="6437"/>
                  <a:pt x="7343" y="6375"/>
                  <a:pt x="7375" y="6312"/>
                </a:cubicBezTo>
                <a:cubicBezTo>
                  <a:pt x="7375" y="6219"/>
                  <a:pt x="7406" y="6125"/>
                  <a:pt x="7437" y="6000"/>
                </a:cubicBezTo>
                <a:cubicBezTo>
                  <a:pt x="7437" y="6000"/>
                  <a:pt x="7468" y="6000"/>
                  <a:pt x="7468" y="6000"/>
                </a:cubicBezTo>
                <a:cubicBezTo>
                  <a:pt x="7500" y="6000"/>
                  <a:pt x="7500" y="6000"/>
                  <a:pt x="7500" y="5969"/>
                </a:cubicBezTo>
                <a:cubicBezTo>
                  <a:pt x="7531" y="5906"/>
                  <a:pt x="7562" y="5812"/>
                  <a:pt x="7562" y="5719"/>
                </a:cubicBezTo>
                <a:cubicBezTo>
                  <a:pt x="7593" y="5687"/>
                  <a:pt x="7593" y="5687"/>
                  <a:pt x="7593" y="5656"/>
                </a:cubicBezTo>
                <a:cubicBezTo>
                  <a:pt x="7593" y="5625"/>
                  <a:pt x="7625" y="5594"/>
                  <a:pt x="7656" y="5562"/>
                </a:cubicBezTo>
                <a:cubicBezTo>
                  <a:pt x="7625" y="5594"/>
                  <a:pt x="7593" y="5625"/>
                  <a:pt x="7593" y="5656"/>
                </a:cubicBezTo>
                <a:cubicBezTo>
                  <a:pt x="7625" y="5656"/>
                  <a:pt x="7625" y="5687"/>
                  <a:pt x="7625" y="5687"/>
                </a:cubicBezTo>
                <a:close/>
                <a:moveTo>
                  <a:pt x="7406" y="5906"/>
                </a:moveTo>
                <a:cubicBezTo>
                  <a:pt x="7406" y="5875"/>
                  <a:pt x="7406" y="5875"/>
                  <a:pt x="7406" y="5875"/>
                </a:cubicBezTo>
                <a:cubicBezTo>
                  <a:pt x="7406" y="5812"/>
                  <a:pt x="7437" y="5781"/>
                  <a:pt x="7437" y="5719"/>
                </a:cubicBezTo>
                <a:cubicBezTo>
                  <a:pt x="7437" y="5719"/>
                  <a:pt x="7437" y="5719"/>
                  <a:pt x="7437" y="5719"/>
                </a:cubicBezTo>
                <a:cubicBezTo>
                  <a:pt x="7468" y="5750"/>
                  <a:pt x="7468" y="5750"/>
                  <a:pt x="7468" y="5781"/>
                </a:cubicBezTo>
                <a:cubicBezTo>
                  <a:pt x="7468" y="5812"/>
                  <a:pt x="7437" y="5844"/>
                  <a:pt x="7437" y="5875"/>
                </a:cubicBezTo>
                <a:cubicBezTo>
                  <a:pt x="7437" y="5875"/>
                  <a:pt x="7406" y="5875"/>
                  <a:pt x="7406" y="5875"/>
                </a:cubicBezTo>
                <a:cubicBezTo>
                  <a:pt x="7406" y="5875"/>
                  <a:pt x="7406" y="5875"/>
                  <a:pt x="7406" y="5906"/>
                </a:cubicBezTo>
                <a:close/>
                <a:moveTo>
                  <a:pt x="7593" y="5531"/>
                </a:moveTo>
                <a:cubicBezTo>
                  <a:pt x="7593" y="5531"/>
                  <a:pt x="7593" y="5531"/>
                  <a:pt x="7593" y="5531"/>
                </a:cubicBezTo>
                <a:cubicBezTo>
                  <a:pt x="7593" y="5562"/>
                  <a:pt x="7593" y="5562"/>
                  <a:pt x="7562" y="5562"/>
                </a:cubicBezTo>
                <a:cubicBezTo>
                  <a:pt x="7593" y="5562"/>
                  <a:pt x="7593" y="5562"/>
                  <a:pt x="7593" y="5531"/>
                </a:cubicBezTo>
                <a:cubicBezTo>
                  <a:pt x="7593" y="5500"/>
                  <a:pt x="7625" y="5469"/>
                  <a:pt x="7625" y="5437"/>
                </a:cubicBezTo>
                <a:cubicBezTo>
                  <a:pt x="7625" y="5469"/>
                  <a:pt x="7593" y="5500"/>
                  <a:pt x="7593" y="5531"/>
                </a:cubicBezTo>
                <a:close/>
                <a:moveTo>
                  <a:pt x="7250" y="4656"/>
                </a:moveTo>
                <a:cubicBezTo>
                  <a:pt x="7250" y="4656"/>
                  <a:pt x="7281" y="4656"/>
                  <a:pt x="7281" y="4656"/>
                </a:cubicBezTo>
                <a:cubicBezTo>
                  <a:pt x="7281" y="4687"/>
                  <a:pt x="7250" y="4719"/>
                  <a:pt x="7218" y="4750"/>
                </a:cubicBezTo>
                <a:cubicBezTo>
                  <a:pt x="7218" y="4750"/>
                  <a:pt x="7218" y="4719"/>
                  <a:pt x="7218" y="4719"/>
                </a:cubicBezTo>
                <a:cubicBezTo>
                  <a:pt x="7218" y="4687"/>
                  <a:pt x="7218" y="4687"/>
                  <a:pt x="7250" y="4656"/>
                </a:cubicBezTo>
                <a:close/>
                <a:moveTo>
                  <a:pt x="7187" y="4437"/>
                </a:moveTo>
                <a:cubicBezTo>
                  <a:pt x="7156" y="4437"/>
                  <a:pt x="7156" y="4406"/>
                  <a:pt x="7187" y="4375"/>
                </a:cubicBezTo>
                <a:cubicBezTo>
                  <a:pt x="7250" y="4281"/>
                  <a:pt x="7250" y="4187"/>
                  <a:pt x="7281" y="4062"/>
                </a:cubicBezTo>
                <a:cubicBezTo>
                  <a:pt x="7281" y="4062"/>
                  <a:pt x="7281" y="4000"/>
                  <a:pt x="7312" y="4000"/>
                </a:cubicBezTo>
                <a:cubicBezTo>
                  <a:pt x="7343" y="4094"/>
                  <a:pt x="7312" y="4156"/>
                  <a:pt x="7281" y="4250"/>
                </a:cubicBezTo>
                <a:cubicBezTo>
                  <a:pt x="7250" y="4312"/>
                  <a:pt x="7218" y="4375"/>
                  <a:pt x="7187" y="4437"/>
                </a:cubicBezTo>
                <a:close/>
                <a:moveTo>
                  <a:pt x="7031" y="4781"/>
                </a:moveTo>
                <a:cubicBezTo>
                  <a:pt x="7031" y="4781"/>
                  <a:pt x="7031" y="4781"/>
                  <a:pt x="7031" y="4781"/>
                </a:cubicBezTo>
                <a:cubicBezTo>
                  <a:pt x="7031" y="4781"/>
                  <a:pt x="7031" y="4781"/>
                  <a:pt x="7031" y="4781"/>
                </a:cubicBezTo>
                <a:cubicBezTo>
                  <a:pt x="7031" y="4781"/>
                  <a:pt x="7031" y="4781"/>
                  <a:pt x="7031" y="4781"/>
                </a:cubicBezTo>
                <a:cubicBezTo>
                  <a:pt x="7031" y="4750"/>
                  <a:pt x="7031" y="4750"/>
                  <a:pt x="7031" y="4719"/>
                </a:cubicBezTo>
                <a:cubicBezTo>
                  <a:pt x="7031" y="4750"/>
                  <a:pt x="7031" y="4750"/>
                  <a:pt x="7031" y="4781"/>
                </a:cubicBezTo>
                <a:close/>
                <a:moveTo>
                  <a:pt x="7000" y="4594"/>
                </a:moveTo>
                <a:cubicBezTo>
                  <a:pt x="7000" y="4594"/>
                  <a:pt x="6968" y="4594"/>
                  <a:pt x="6968" y="4594"/>
                </a:cubicBezTo>
                <a:cubicBezTo>
                  <a:pt x="7000" y="4469"/>
                  <a:pt x="7031" y="4312"/>
                  <a:pt x="7093" y="4156"/>
                </a:cubicBezTo>
                <a:cubicBezTo>
                  <a:pt x="7062" y="4312"/>
                  <a:pt x="7031" y="4469"/>
                  <a:pt x="7000" y="4594"/>
                </a:cubicBezTo>
                <a:close/>
                <a:moveTo>
                  <a:pt x="6968" y="5156"/>
                </a:moveTo>
                <a:cubicBezTo>
                  <a:pt x="6968" y="5125"/>
                  <a:pt x="6968" y="5094"/>
                  <a:pt x="6968" y="5031"/>
                </a:cubicBezTo>
                <a:cubicBezTo>
                  <a:pt x="7000" y="5094"/>
                  <a:pt x="7000" y="5125"/>
                  <a:pt x="6968" y="5156"/>
                </a:cubicBezTo>
                <a:close/>
                <a:moveTo>
                  <a:pt x="7156" y="3656"/>
                </a:moveTo>
                <a:cubicBezTo>
                  <a:pt x="7156" y="3656"/>
                  <a:pt x="7156" y="3656"/>
                  <a:pt x="7156" y="3656"/>
                </a:cubicBezTo>
                <a:cubicBezTo>
                  <a:pt x="7125" y="3750"/>
                  <a:pt x="7062" y="3844"/>
                  <a:pt x="7000" y="3906"/>
                </a:cubicBezTo>
                <a:cubicBezTo>
                  <a:pt x="7000" y="3906"/>
                  <a:pt x="7000" y="3906"/>
                  <a:pt x="7000" y="3906"/>
                </a:cubicBezTo>
                <a:cubicBezTo>
                  <a:pt x="6968" y="3937"/>
                  <a:pt x="6937" y="3969"/>
                  <a:pt x="6937" y="4000"/>
                </a:cubicBezTo>
                <a:cubicBezTo>
                  <a:pt x="6937" y="3969"/>
                  <a:pt x="6968" y="3937"/>
                  <a:pt x="7000" y="3906"/>
                </a:cubicBezTo>
                <a:cubicBezTo>
                  <a:pt x="7031" y="3812"/>
                  <a:pt x="7093" y="3719"/>
                  <a:pt x="7156" y="3656"/>
                </a:cubicBezTo>
                <a:close/>
                <a:moveTo>
                  <a:pt x="7093" y="3375"/>
                </a:moveTo>
                <a:cubicBezTo>
                  <a:pt x="7093" y="3375"/>
                  <a:pt x="7093" y="3375"/>
                  <a:pt x="7093" y="3375"/>
                </a:cubicBezTo>
                <a:cubicBezTo>
                  <a:pt x="7093" y="3375"/>
                  <a:pt x="7093" y="3375"/>
                  <a:pt x="7093" y="3375"/>
                </a:cubicBezTo>
                <a:cubicBezTo>
                  <a:pt x="7093" y="3375"/>
                  <a:pt x="7093" y="3375"/>
                  <a:pt x="7093" y="3375"/>
                </a:cubicBezTo>
                <a:close/>
                <a:moveTo>
                  <a:pt x="7093" y="3375"/>
                </a:moveTo>
                <a:cubicBezTo>
                  <a:pt x="7093" y="3375"/>
                  <a:pt x="7093" y="3375"/>
                  <a:pt x="7125" y="3375"/>
                </a:cubicBezTo>
                <a:cubicBezTo>
                  <a:pt x="7156" y="3344"/>
                  <a:pt x="7156" y="3312"/>
                  <a:pt x="7156" y="3281"/>
                </a:cubicBezTo>
                <a:cubicBezTo>
                  <a:pt x="7187" y="3281"/>
                  <a:pt x="7218" y="3281"/>
                  <a:pt x="7218" y="3250"/>
                </a:cubicBezTo>
                <a:cubicBezTo>
                  <a:pt x="7218" y="3281"/>
                  <a:pt x="7187" y="3281"/>
                  <a:pt x="7156" y="3281"/>
                </a:cubicBezTo>
                <a:cubicBezTo>
                  <a:pt x="7156" y="3312"/>
                  <a:pt x="7156" y="3344"/>
                  <a:pt x="7125" y="3375"/>
                </a:cubicBezTo>
                <a:cubicBezTo>
                  <a:pt x="7093" y="3375"/>
                  <a:pt x="7093" y="3375"/>
                  <a:pt x="7093" y="3375"/>
                </a:cubicBezTo>
                <a:close/>
                <a:moveTo>
                  <a:pt x="7062" y="4156"/>
                </a:moveTo>
                <a:cubicBezTo>
                  <a:pt x="7031" y="4187"/>
                  <a:pt x="7031" y="4219"/>
                  <a:pt x="7000" y="4219"/>
                </a:cubicBezTo>
                <a:cubicBezTo>
                  <a:pt x="7000" y="4281"/>
                  <a:pt x="7000" y="4312"/>
                  <a:pt x="7000" y="4375"/>
                </a:cubicBezTo>
                <a:cubicBezTo>
                  <a:pt x="7000" y="4312"/>
                  <a:pt x="7000" y="4281"/>
                  <a:pt x="7000" y="4219"/>
                </a:cubicBezTo>
                <a:cubicBezTo>
                  <a:pt x="7000" y="4219"/>
                  <a:pt x="7000" y="4219"/>
                  <a:pt x="7000" y="4219"/>
                </a:cubicBezTo>
                <a:cubicBezTo>
                  <a:pt x="7031" y="4219"/>
                  <a:pt x="7031" y="4187"/>
                  <a:pt x="7062" y="4156"/>
                </a:cubicBezTo>
                <a:close/>
                <a:moveTo>
                  <a:pt x="7125" y="4281"/>
                </a:moveTo>
                <a:cubicBezTo>
                  <a:pt x="7187" y="4094"/>
                  <a:pt x="7218" y="3937"/>
                  <a:pt x="7281" y="3781"/>
                </a:cubicBezTo>
                <a:cubicBezTo>
                  <a:pt x="7281" y="3750"/>
                  <a:pt x="7312" y="3750"/>
                  <a:pt x="7312" y="3719"/>
                </a:cubicBezTo>
                <a:cubicBezTo>
                  <a:pt x="7250" y="3969"/>
                  <a:pt x="7187" y="4187"/>
                  <a:pt x="7125" y="4406"/>
                </a:cubicBezTo>
                <a:cubicBezTo>
                  <a:pt x="7062" y="4344"/>
                  <a:pt x="7125" y="4312"/>
                  <a:pt x="7125" y="4281"/>
                </a:cubicBezTo>
                <a:close/>
                <a:moveTo>
                  <a:pt x="7406" y="3531"/>
                </a:moveTo>
                <a:cubicBezTo>
                  <a:pt x="7375" y="3531"/>
                  <a:pt x="7375" y="3562"/>
                  <a:pt x="7375" y="3594"/>
                </a:cubicBezTo>
                <a:cubicBezTo>
                  <a:pt x="7375" y="3594"/>
                  <a:pt x="7375" y="3594"/>
                  <a:pt x="7375" y="3594"/>
                </a:cubicBezTo>
                <a:cubicBezTo>
                  <a:pt x="7375" y="3656"/>
                  <a:pt x="7343" y="3687"/>
                  <a:pt x="7312" y="3719"/>
                </a:cubicBezTo>
                <a:cubicBezTo>
                  <a:pt x="7312" y="3656"/>
                  <a:pt x="7343" y="3625"/>
                  <a:pt x="7375" y="3594"/>
                </a:cubicBezTo>
                <a:cubicBezTo>
                  <a:pt x="7375" y="3562"/>
                  <a:pt x="7375" y="3531"/>
                  <a:pt x="7406" y="3531"/>
                </a:cubicBezTo>
                <a:close/>
                <a:moveTo>
                  <a:pt x="7375" y="3375"/>
                </a:moveTo>
                <a:cubicBezTo>
                  <a:pt x="7375" y="3375"/>
                  <a:pt x="7375" y="3375"/>
                  <a:pt x="7375" y="3375"/>
                </a:cubicBezTo>
                <a:cubicBezTo>
                  <a:pt x="7375" y="3375"/>
                  <a:pt x="7375" y="3375"/>
                  <a:pt x="7375" y="3375"/>
                </a:cubicBezTo>
                <a:close/>
                <a:moveTo>
                  <a:pt x="7187" y="4906"/>
                </a:moveTo>
                <a:cubicBezTo>
                  <a:pt x="7156" y="5031"/>
                  <a:pt x="7125" y="5156"/>
                  <a:pt x="7093" y="5281"/>
                </a:cubicBezTo>
                <a:cubicBezTo>
                  <a:pt x="7062" y="5406"/>
                  <a:pt x="7031" y="5562"/>
                  <a:pt x="6968" y="5656"/>
                </a:cubicBezTo>
                <a:cubicBezTo>
                  <a:pt x="7031" y="5406"/>
                  <a:pt x="7062" y="5125"/>
                  <a:pt x="7187" y="4906"/>
                </a:cubicBezTo>
                <a:close/>
                <a:moveTo>
                  <a:pt x="7312" y="4000"/>
                </a:moveTo>
                <a:cubicBezTo>
                  <a:pt x="7343" y="3875"/>
                  <a:pt x="7406" y="3750"/>
                  <a:pt x="7437" y="3625"/>
                </a:cubicBezTo>
                <a:cubicBezTo>
                  <a:pt x="7468" y="3594"/>
                  <a:pt x="7468" y="3562"/>
                  <a:pt x="7500" y="3531"/>
                </a:cubicBezTo>
                <a:cubicBezTo>
                  <a:pt x="7531" y="3531"/>
                  <a:pt x="7531" y="3531"/>
                  <a:pt x="7531" y="3531"/>
                </a:cubicBezTo>
                <a:cubicBezTo>
                  <a:pt x="7531" y="3625"/>
                  <a:pt x="7468" y="3687"/>
                  <a:pt x="7437" y="3750"/>
                </a:cubicBezTo>
                <a:cubicBezTo>
                  <a:pt x="7406" y="3812"/>
                  <a:pt x="7375" y="3875"/>
                  <a:pt x="7375" y="3937"/>
                </a:cubicBezTo>
                <a:cubicBezTo>
                  <a:pt x="7375" y="3969"/>
                  <a:pt x="7343" y="3969"/>
                  <a:pt x="7312" y="4000"/>
                </a:cubicBezTo>
                <a:close/>
                <a:moveTo>
                  <a:pt x="7468" y="2625"/>
                </a:moveTo>
                <a:cubicBezTo>
                  <a:pt x="7500" y="2625"/>
                  <a:pt x="7500" y="2625"/>
                  <a:pt x="7500" y="2625"/>
                </a:cubicBezTo>
                <a:cubicBezTo>
                  <a:pt x="7468" y="2687"/>
                  <a:pt x="7437" y="2719"/>
                  <a:pt x="7437" y="2750"/>
                </a:cubicBezTo>
                <a:cubicBezTo>
                  <a:pt x="7406" y="2781"/>
                  <a:pt x="7406" y="2781"/>
                  <a:pt x="7375" y="2781"/>
                </a:cubicBezTo>
                <a:cubicBezTo>
                  <a:pt x="7375" y="2719"/>
                  <a:pt x="7437" y="2687"/>
                  <a:pt x="7468" y="2625"/>
                </a:cubicBezTo>
                <a:close/>
                <a:moveTo>
                  <a:pt x="7312" y="2625"/>
                </a:moveTo>
                <a:cubicBezTo>
                  <a:pt x="7312" y="2656"/>
                  <a:pt x="7312" y="2656"/>
                  <a:pt x="7312" y="2656"/>
                </a:cubicBezTo>
                <a:cubicBezTo>
                  <a:pt x="7312" y="2656"/>
                  <a:pt x="7312" y="2656"/>
                  <a:pt x="7312" y="2656"/>
                </a:cubicBezTo>
                <a:cubicBezTo>
                  <a:pt x="7312" y="2625"/>
                  <a:pt x="7312" y="2625"/>
                  <a:pt x="7312" y="2625"/>
                </a:cubicBezTo>
                <a:close/>
                <a:moveTo>
                  <a:pt x="6968" y="3281"/>
                </a:moveTo>
                <a:cubicBezTo>
                  <a:pt x="6968" y="3219"/>
                  <a:pt x="7031" y="3187"/>
                  <a:pt x="7062" y="3156"/>
                </a:cubicBezTo>
                <a:cubicBezTo>
                  <a:pt x="7093" y="3094"/>
                  <a:pt x="7156" y="3062"/>
                  <a:pt x="7156" y="3000"/>
                </a:cubicBezTo>
                <a:cubicBezTo>
                  <a:pt x="7156" y="3000"/>
                  <a:pt x="7156" y="3000"/>
                  <a:pt x="7187" y="3000"/>
                </a:cubicBezTo>
                <a:cubicBezTo>
                  <a:pt x="7218" y="2969"/>
                  <a:pt x="7250" y="2937"/>
                  <a:pt x="7250" y="2875"/>
                </a:cubicBezTo>
                <a:cubicBezTo>
                  <a:pt x="7250" y="2875"/>
                  <a:pt x="7250" y="2875"/>
                  <a:pt x="7250" y="2875"/>
                </a:cubicBezTo>
                <a:cubicBezTo>
                  <a:pt x="7250" y="2875"/>
                  <a:pt x="7250" y="2875"/>
                  <a:pt x="7250" y="2875"/>
                </a:cubicBezTo>
                <a:cubicBezTo>
                  <a:pt x="7312" y="2875"/>
                  <a:pt x="7312" y="2781"/>
                  <a:pt x="7375" y="2781"/>
                </a:cubicBezTo>
                <a:cubicBezTo>
                  <a:pt x="7375" y="2844"/>
                  <a:pt x="7312" y="2906"/>
                  <a:pt x="7250" y="2937"/>
                </a:cubicBezTo>
                <a:cubicBezTo>
                  <a:pt x="7187" y="3062"/>
                  <a:pt x="7093" y="3156"/>
                  <a:pt x="7000" y="3281"/>
                </a:cubicBezTo>
                <a:cubicBezTo>
                  <a:pt x="7000" y="3281"/>
                  <a:pt x="7000" y="3281"/>
                  <a:pt x="7000" y="3281"/>
                </a:cubicBezTo>
                <a:cubicBezTo>
                  <a:pt x="7000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lose/>
                <a:moveTo>
                  <a:pt x="6968" y="3281"/>
                </a:moveTo>
                <a:cubicBezTo>
                  <a:pt x="6968" y="3312"/>
                  <a:pt x="6968" y="3344"/>
                  <a:pt x="6937" y="3344"/>
                </a:cubicBezTo>
                <a:cubicBezTo>
                  <a:pt x="6937" y="3344"/>
                  <a:pt x="6937" y="3344"/>
                  <a:pt x="6937" y="3344"/>
                </a:cubicBezTo>
                <a:cubicBezTo>
                  <a:pt x="6937" y="3312"/>
                  <a:pt x="6937" y="3312"/>
                  <a:pt x="6968" y="3281"/>
                </a:cubicBezTo>
                <a:lnTo>
                  <a:pt x="6968" y="3281"/>
                </a:lnTo>
                <a:cubicBezTo>
                  <a:pt x="6968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ubicBezTo>
                  <a:pt x="6968" y="3281"/>
                  <a:pt x="6968" y="3281"/>
                  <a:pt x="6968" y="3281"/>
                </a:cubicBezTo>
                <a:close/>
                <a:moveTo>
                  <a:pt x="6937" y="5344"/>
                </a:moveTo>
                <a:cubicBezTo>
                  <a:pt x="6937" y="5281"/>
                  <a:pt x="6937" y="5250"/>
                  <a:pt x="7000" y="5187"/>
                </a:cubicBezTo>
                <a:cubicBezTo>
                  <a:pt x="7031" y="5156"/>
                  <a:pt x="7031" y="5094"/>
                  <a:pt x="7031" y="5062"/>
                </a:cubicBezTo>
                <a:cubicBezTo>
                  <a:pt x="7062" y="5031"/>
                  <a:pt x="7062" y="5000"/>
                  <a:pt x="7062" y="4969"/>
                </a:cubicBezTo>
                <a:cubicBezTo>
                  <a:pt x="7031" y="5156"/>
                  <a:pt x="6968" y="5344"/>
                  <a:pt x="6937" y="5500"/>
                </a:cubicBezTo>
                <a:cubicBezTo>
                  <a:pt x="6937" y="5500"/>
                  <a:pt x="6937" y="5531"/>
                  <a:pt x="6937" y="5531"/>
                </a:cubicBezTo>
                <a:cubicBezTo>
                  <a:pt x="6937" y="5531"/>
                  <a:pt x="6937" y="5531"/>
                  <a:pt x="6937" y="5531"/>
                </a:cubicBezTo>
                <a:cubicBezTo>
                  <a:pt x="6937" y="5562"/>
                  <a:pt x="6937" y="5562"/>
                  <a:pt x="6937" y="5562"/>
                </a:cubicBezTo>
                <a:cubicBezTo>
                  <a:pt x="6937" y="5562"/>
                  <a:pt x="6937" y="5562"/>
                  <a:pt x="6937" y="5531"/>
                </a:cubicBezTo>
                <a:cubicBezTo>
                  <a:pt x="6906" y="5469"/>
                  <a:pt x="6937" y="5406"/>
                  <a:pt x="6937" y="5344"/>
                </a:cubicBezTo>
                <a:close/>
                <a:moveTo>
                  <a:pt x="6906" y="4437"/>
                </a:moveTo>
                <a:cubicBezTo>
                  <a:pt x="6875" y="4500"/>
                  <a:pt x="6875" y="4562"/>
                  <a:pt x="6875" y="4594"/>
                </a:cubicBezTo>
                <a:cubicBezTo>
                  <a:pt x="6875" y="4594"/>
                  <a:pt x="6875" y="4594"/>
                  <a:pt x="6875" y="4594"/>
                </a:cubicBezTo>
                <a:cubicBezTo>
                  <a:pt x="6875" y="4562"/>
                  <a:pt x="6875" y="4500"/>
                  <a:pt x="6906" y="4437"/>
                </a:cubicBezTo>
                <a:close/>
                <a:moveTo>
                  <a:pt x="6843" y="3625"/>
                </a:moveTo>
                <a:cubicBezTo>
                  <a:pt x="6843" y="3625"/>
                  <a:pt x="6843" y="3625"/>
                  <a:pt x="6843" y="3625"/>
                </a:cubicBezTo>
                <a:cubicBezTo>
                  <a:pt x="6812" y="3625"/>
                  <a:pt x="6812" y="3625"/>
                  <a:pt x="6812" y="3594"/>
                </a:cubicBezTo>
                <a:cubicBezTo>
                  <a:pt x="6812" y="3625"/>
                  <a:pt x="6812" y="3625"/>
                  <a:pt x="6843" y="3625"/>
                </a:cubicBezTo>
                <a:close/>
                <a:moveTo>
                  <a:pt x="6812" y="4000"/>
                </a:moveTo>
                <a:cubicBezTo>
                  <a:pt x="6812" y="4031"/>
                  <a:pt x="6812" y="4031"/>
                  <a:pt x="6812" y="4031"/>
                </a:cubicBezTo>
                <a:cubicBezTo>
                  <a:pt x="6812" y="4031"/>
                  <a:pt x="6812" y="4031"/>
                  <a:pt x="6812" y="4031"/>
                </a:cubicBezTo>
                <a:cubicBezTo>
                  <a:pt x="6812" y="4031"/>
                  <a:pt x="6812" y="4031"/>
                  <a:pt x="6812" y="4000"/>
                </a:cubicBezTo>
                <a:close/>
                <a:moveTo>
                  <a:pt x="6718" y="6250"/>
                </a:moveTo>
                <a:cubicBezTo>
                  <a:pt x="6718" y="6250"/>
                  <a:pt x="6750" y="6219"/>
                  <a:pt x="6750" y="6250"/>
                </a:cubicBezTo>
                <a:cubicBezTo>
                  <a:pt x="6781" y="6250"/>
                  <a:pt x="6781" y="6281"/>
                  <a:pt x="6750" y="6281"/>
                </a:cubicBezTo>
                <a:cubicBezTo>
                  <a:pt x="6718" y="6344"/>
                  <a:pt x="6687" y="6406"/>
                  <a:pt x="6593" y="6437"/>
                </a:cubicBezTo>
                <a:cubicBezTo>
                  <a:pt x="6625" y="6375"/>
                  <a:pt x="6687" y="6312"/>
                  <a:pt x="6718" y="6250"/>
                </a:cubicBezTo>
                <a:close/>
                <a:moveTo>
                  <a:pt x="6656" y="3594"/>
                </a:moveTo>
                <a:cubicBezTo>
                  <a:pt x="6656" y="3594"/>
                  <a:pt x="6656" y="3594"/>
                  <a:pt x="6656" y="3625"/>
                </a:cubicBezTo>
                <a:cubicBezTo>
                  <a:pt x="6656" y="3625"/>
                  <a:pt x="6656" y="3625"/>
                  <a:pt x="6656" y="3625"/>
                </a:cubicBezTo>
                <a:cubicBezTo>
                  <a:pt x="6656" y="3625"/>
                  <a:pt x="6656" y="3625"/>
                  <a:pt x="6656" y="3625"/>
                </a:cubicBezTo>
                <a:cubicBezTo>
                  <a:pt x="6656" y="3625"/>
                  <a:pt x="6656" y="3594"/>
                  <a:pt x="6656" y="3594"/>
                </a:cubicBezTo>
                <a:close/>
                <a:moveTo>
                  <a:pt x="6593" y="5031"/>
                </a:moveTo>
                <a:cubicBezTo>
                  <a:pt x="6593" y="5031"/>
                  <a:pt x="6593" y="4969"/>
                  <a:pt x="6625" y="4937"/>
                </a:cubicBezTo>
                <a:cubicBezTo>
                  <a:pt x="6625" y="4937"/>
                  <a:pt x="6625" y="4937"/>
                  <a:pt x="6625" y="4937"/>
                </a:cubicBezTo>
                <a:cubicBezTo>
                  <a:pt x="6625" y="5156"/>
                  <a:pt x="6625" y="5344"/>
                  <a:pt x="6625" y="5531"/>
                </a:cubicBezTo>
                <a:cubicBezTo>
                  <a:pt x="6625" y="5531"/>
                  <a:pt x="6625" y="5531"/>
                  <a:pt x="6625" y="5531"/>
                </a:cubicBezTo>
                <a:cubicBezTo>
                  <a:pt x="6625" y="5531"/>
                  <a:pt x="6625" y="5531"/>
                  <a:pt x="6593" y="5531"/>
                </a:cubicBezTo>
                <a:cubicBezTo>
                  <a:pt x="6625" y="5500"/>
                  <a:pt x="6625" y="5437"/>
                  <a:pt x="6625" y="5406"/>
                </a:cubicBezTo>
                <a:cubicBezTo>
                  <a:pt x="6625" y="5312"/>
                  <a:pt x="6593" y="5250"/>
                  <a:pt x="6625" y="5156"/>
                </a:cubicBezTo>
                <a:cubicBezTo>
                  <a:pt x="6656" y="5125"/>
                  <a:pt x="6593" y="5094"/>
                  <a:pt x="6593" y="5031"/>
                </a:cubicBezTo>
                <a:close/>
                <a:moveTo>
                  <a:pt x="6625" y="5906"/>
                </a:moveTo>
                <a:cubicBezTo>
                  <a:pt x="6625" y="5906"/>
                  <a:pt x="6625" y="5906"/>
                  <a:pt x="6625" y="5906"/>
                </a:cubicBezTo>
                <a:cubicBezTo>
                  <a:pt x="6625" y="5906"/>
                  <a:pt x="6625" y="5906"/>
                  <a:pt x="6625" y="5937"/>
                </a:cubicBezTo>
                <a:cubicBezTo>
                  <a:pt x="6625" y="5906"/>
                  <a:pt x="6625" y="5906"/>
                  <a:pt x="6625" y="5906"/>
                </a:cubicBezTo>
                <a:cubicBezTo>
                  <a:pt x="6593" y="5906"/>
                  <a:pt x="6593" y="5906"/>
                  <a:pt x="6593" y="5937"/>
                </a:cubicBezTo>
                <a:cubicBezTo>
                  <a:pt x="6593" y="5906"/>
                  <a:pt x="6593" y="5906"/>
                  <a:pt x="6625" y="5906"/>
                </a:cubicBezTo>
                <a:close/>
                <a:moveTo>
                  <a:pt x="6531" y="4844"/>
                </a:moveTo>
                <a:cubicBezTo>
                  <a:pt x="6531" y="4937"/>
                  <a:pt x="6562" y="5000"/>
                  <a:pt x="6531" y="5094"/>
                </a:cubicBezTo>
                <a:cubicBezTo>
                  <a:pt x="6531" y="5000"/>
                  <a:pt x="6531" y="4937"/>
                  <a:pt x="6531" y="4844"/>
                </a:cubicBezTo>
                <a:close/>
                <a:moveTo>
                  <a:pt x="6531" y="6594"/>
                </a:moveTo>
                <a:cubicBezTo>
                  <a:pt x="6531" y="6594"/>
                  <a:pt x="6531" y="6594"/>
                  <a:pt x="6531" y="6562"/>
                </a:cubicBezTo>
                <a:cubicBezTo>
                  <a:pt x="6687" y="6437"/>
                  <a:pt x="6812" y="6312"/>
                  <a:pt x="6875" y="6125"/>
                </a:cubicBezTo>
                <a:cubicBezTo>
                  <a:pt x="6875" y="6125"/>
                  <a:pt x="6906" y="6094"/>
                  <a:pt x="6906" y="6094"/>
                </a:cubicBezTo>
                <a:cubicBezTo>
                  <a:pt x="6906" y="6094"/>
                  <a:pt x="6906" y="6094"/>
                  <a:pt x="6875" y="6062"/>
                </a:cubicBezTo>
                <a:cubicBezTo>
                  <a:pt x="6843" y="6125"/>
                  <a:pt x="6843" y="6187"/>
                  <a:pt x="6781" y="6219"/>
                </a:cubicBezTo>
                <a:cubicBezTo>
                  <a:pt x="6812" y="6094"/>
                  <a:pt x="6875" y="5969"/>
                  <a:pt x="6937" y="5875"/>
                </a:cubicBezTo>
                <a:cubicBezTo>
                  <a:pt x="7000" y="5750"/>
                  <a:pt x="7031" y="5625"/>
                  <a:pt x="7093" y="5500"/>
                </a:cubicBezTo>
                <a:cubicBezTo>
                  <a:pt x="7125" y="5375"/>
                  <a:pt x="7156" y="5219"/>
                  <a:pt x="7187" y="5094"/>
                </a:cubicBezTo>
                <a:cubicBezTo>
                  <a:pt x="7187" y="5094"/>
                  <a:pt x="7187" y="5094"/>
                  <a:pt x="7187" y="5094"/>
                </a:cubicBezTo>
                <a:cubicBezTo>
                  <a:pt x="7218" y="5125"/>
                  <a:pt x="7187" y="5156"/>
                  <a:pt x="7187" y="5156"/>
                </a:cubicBezTo>
                <a:cubicBezTo>
                  <a:pt x="7187" y="5281"/>
                  <a:pt x="7156" y="5406"/>
                  <a:pt x="7125" y="5500"/>
                </a:cubicBezTo>
                <a:cubicBezTo>
                  <a:pt x="7093" y="5531"/>
                  <a:pt x="7093" y="5562"/>
                  <a:pt x="7093" y="5594"/>
                </a:cubicBezTo>
                <a:cubicBezTo>
                  <a:pt x="7093" y="5594"/>
                  <a:pt x="7093" y="5594"/>
                  <a:pt x="7093" y="5594"/>
                </a:cubicBezTo>
                <a:cubicBezTo>
                  <a:pt x="7062" y="5719"/>
                  <a:pt x="7031" y="5844"/>
                  <a:pt x="7000" y="6000"/>
                </a:cubicBezTo>
                <a:cubicBezTo>
                  <a:pt x="7031" y="6000"/>
                  <a:pt x="7031" y="5937"/>
                  <a:pt x="7062" y="6000"/>
                </a:cubicBezTo>
                <a:cubicBezTo>
                  <a:pt x="7062" y="5969"/>
                  <a:pt x="7093" y="5969"/>
                  <a:pt x="7093" y="5937"/>
                </a:cubicBezTo>
                <a:cubicBezTo>
                  <a:pt x="7093" y="5969"/>
                  <a:pt x="7062" y="5969"/>
                  <a:pt x="7062" y="6000"/>
                </a:cubicBezTo>
                <a:cubicBezTo>
                  <a:pt x="7062" y="6031"/>
                  <a:pt x="7062" y="6062"/>
                  <a:pt x="7000" y="6094"/>
                </a:cubicBezTo>
                <a:cubicBezTo>
                  <a:pt x="6968" y="6094"/>
                  <a:pt x="7000" y="6062"/>
                  <a:pt x="6968" y="6062"/>
                </a:cubicBezTo>
                <a:cubicBezTo>
                  <a:pt x="6937" y="6125"/>
                  <a:pt x="6906" y="6187"/>
                  <a:pt x="6875" y="6250"/>
                </a:cubicBezTo>
                <a:cubicBezTo>
                  <a:pt x="6875" y="6250"/>
                  <a:pt x="6875" y="6250"/>
                  <a:pt x="6875" y="6250"/>
                </a:cubicBezTo>
                <a:cubicBezTo>
                  <a:pt x="6875" y="6250"/>
                  <a:pt x="6875" y="6250"/>
                  <a:pt x="6875" y="6250"/>
                </a:cubicBezTo>
                <a:cubicBezTo>
                  <a:pt x="6812" y="6344"/>
                  <a:pt x="6750" y="6406"/>
                  <a:pt x="6687" y="6500"/>
                </a:cubicBezTo>
                <a:cubicBezTo>
                  <a:pt x="6625" y="6531"/>
                  <a:pt x="6593" y="6562"/>
                  <a:pt x="6531" y="6594"/>
                </a:cubicBezTo>
                <a:cubicBezTo>
                  <a:pt x="6531" y="6594"/>
                  <a:pt x="6531" y="6594"/>
                  <a:pt x="6531" y="6625"/>
                </a:cubicBezTo>
                <a:cubicBezTo>
                  <a:pt x="6531" y="6594"/>
                  <a:pt x="6531" y="6594"/>
                  <a:pt x="6531" y="6594"/>
                </a:cubicBezTo>
                <a:close/>
                <a:moveTo>
                  <a:pt x="6500" y="6625"/>
                </a:moveTo>
                <a:cubicBezTo>
                  <a:pt x="6468" y="6625"/>
                  <a:pt x="6468" y="6625"/>
                  <a:pt x="6437" y="6656"/>
                </a:cubicBezTo>
                <a:cubicBezTo>
                  <a:pt x="6468" y="6625"/>
                  <a:pt x="6468" y="6625"/>
                  <a:pt x="6500" y="6625"/>
                </a:cubicBezTo>
                <a:cubicBezTo>
                  <a:pt x="6500" y="6594"/>
                  <a:pt x="6500" y="6594"/>
                  <a:pt x="6500" y="6594"/>
                </a:cubicBezTo>
                <a:cubicBezTo>
                  <a:pt x="6500" y="6594"/>
                  <a:pt x="6500" y="6594"/>
                  <a:pt x="6500" y="6625"/>
                </a:cubicBezTo>
                <a:close/>
                <a:moveTo>
                  <a:pt x="6500" y="5906"/>
                </a:moveTo>
                <a:cubicBezTo>
                  <a:pt x="6437" y="5937"/>
                  <a:pt x="6437" y="6031"/>
                  <a:pt x="6375" y="6094"/>
                </a:cubicBezTo>
                <a:cubicBezTo>
                  <a:pt x="6375" y="6094"/>
                  <a:pt x="6375" y="6094"/>
                  <a:pt x="6375" y="6094"/>
                </a:cubicBezTo>
                <a:cubicBezTo>
                  <a:pt x="6406" y="6031"/>
                  <a:pt x="6406" y="5937"/>
                  <a:pt x="6500" y="5906"/>
                </a:cubicBezTo>
                <a:close/>
                <a:moveTo>
                  <a:pt x="6343" y="4719"/>
                </a:moveTo>
                <a:cubicBezTo>
                  <a:pt x="6343" y="4719"/>
                  <a:pt x="6343" y="4687"/>
                  <a:pt x="6343" y="4687"/>
                </a:cubicBezTo>
                <a:cubicBezTo>
                  <a:pt x="6375" y="4687"/>
                  <a:pt x="6406" y="4719"/>
                  <a:pt x="6343" y="4719"/>
                </a:cubicBezTo>
                <a:close/>
                <a:moveTo>
                  <a:pt x="6281" y="5000"/>
                </a:moveTo>
                <a:cubicBezTo>
                  <a:pt x="6250" y="5000"/>
                  <a:pt x="6250" y="4969"/>
                  <a:pt x="6281" y="4969"/>
                </a:cubicBezTo>
                <a:cubicBezTo>
                  <a:pt x="6312" y="4875"/>
                  <a:pt x="6281" y="4781"/>
                  <a:pt x="6343" y="4719"/>
                </a:cubicBezTo>
                <a:cubicBezTo>
                  <a:pt x="6375" y="4812"/>
                  <a:pt x="6312" y="4875"/>
                  <a:pt x="6312" y="4969"/>
                </a:cubicBezTo>
                <a:cubicBezTo>
                  <a:pt x="6312" y="5000"/>
                  <a:pt x="6281" y="5000"/>
                  <a:pt x="6281" y="5000"/>
                </a:cubicBezTo>
                <a:close/>
                <a:moveTo>
                  <a:pt x="6093" y="5781"/>
                </a:moveTo>
                <a:cubicBezTo>
                  <a:pt x="6093" y="5781"/>
                  <a:pt x="6062" y="5812"/>
                  <a:pt x="6062" y="5812"/>
                </a:cubicBezTo>
                <a:cubicBezTo>
                  <a:pt x="6062" y="5781"/>
                  <a:pt x="6062" y="5781"/>
                  <a:pt x="6062" y="5781"/>
                </a:cubicBezTo>
                <a:cubicBezTo>
                  <a:pt x="6093" y="5719"/>
                  <a:pt x="6093" y="5656"/>
                  <a:pt x="6156" y="5625"/>
                </a:cubicBezTo>
                <a:cubicBezTo>
                  <a:pt x="6125" y="5687"/>
                  <a:pt x="6125" y="5750"/>
                  <a:pt x="6093" y="5781"/>
                </a:cubicBezTo>
                <a:close/>
                <a:moveTo>
                  <a:pt x="6156" y="5625"/>
                </a:moveTo>
                <a:cubicBezTo>
                  <a:pt x="6125" y="5562"/>
                  <a:pt x="6156" y="5531"/>
                  <a:pt x="6187" y="5500"/>
                </a:cubicBezTo>
                <a:cubicBezTo>
                  <a:pt x="6218" y="5312"/>
                  <a:pt x="6343" y="4937"/>
                  <a:pt x="6406" y="4844"/>
                </a:cubicBezTo>
                <a:cubicBezTo>
                  <a:pt x="6375" y="5031"/>
                  <a:pt x="6406" y="5250"/>
                  <a:pt x="6406" y="5437"/>
                </a:cubicBezTo>
                <a:cubicBezTo>
                  <a:pt x="6406" y="5656"/>
                  <a:pt x="6343" y="5875"/>
                  <a:pt x="6218" y="6062"/>
                </a:cubicBezTo>
                <a:cubicBezTo>
                  <a:pt x="6187" y="6094"/>
                  <a:pt x="6187" y="6094"/>
                  <a:pt x="6187" y="6094"/>
                </a:cubicBezTo>
                <a:cubicBezTo>
                  <a:pt x="6156" y="6156"/>
                  <a:pt x="6125" y="6156"/>
                  <a:pt x="6093" y="6187"/>
                </a:cubicBezTo>
                <a:cubicBezTo>
                  <a:pt x="6093" y="6156"/>
                  <a:pt x="6125" y="6125"/>
                  <a:pt x="6156" y="6094"/>
                </a:cubicBezTo>
                <a:cubicBezTo>
                  <a:pt x="6187" y="6031"/>
                  <a:pt x="6250" y="5969"/>
                  <a:pt x="6281" y="5906"/>
                </a:cubicBezTo>
                <a:cubicBezTo>
                  <a:pt x="6281" y="5812"/>
                  <a:pt x="6312" y="5719"/>
                  <a:pt x="6343" y="5625"/>
                </a:cubicBezTo>
                <a:cubicBezTo>
                  <a:pt x="6343" y="5562"/>
                  <a:pt x="6375" y="5469"/>
                  <a:pt x="6343" y="5375"/>
                </a:cubicBezTo>
                <a:cubicBezTo>
                  <a:pt x="6343" y="5344"/>
                  <a:pt x="6375" y="5312"/>
                  <a:pt x="6375" y="5281"/>
                </a:cubicBezTo>
                <a:cubicBezTo>
                  <a:pt x="6406" y="5219"/>
                  <a:pt x="6343" y="5156"/>
                  <a:pt x="6343" y="5062"/>
                </a:cubicBezTo>
                <a:cubicBezTo>
                  <a:pt x="6312" y="5219"/>
                  <a:pt x="6281" y="5375"/>
                  <a:pt x="6218" y="5500"/>
                </a:cubicBezTo>
                <a:cubicBezTo>
                  <a:pt x="6218" y="5562"/>
                  <a:pt x="6187" y="5594"/>
                  <a:pt x="6156" y="5625"/>
                </a:cubicBezTo>
                <a:close/>
                <a:moveTo>
                  <a:pt x="6312" y="5594"/>
                </a:moveTo>
                <a:cubicBezTo>
                  <a:pt x="6312" y="5562"/>
                  <a:pt x="6312" y="5562"/>
                  <a:pt x="6312" y="5531"/>
                </a:cubicBezTo>
                <a:cubicBezTo>
                  <a:pt x="6312" y="5562"/>
                  <a:pt x="6312" y="5562"/>
                  <a:pt x="6312" y="5594"/>
                </a:cubicBezTo>
                <a:cubicBezTo>
                  <a:pt x="6312" y="5594"/>
                  <a:pt x="6312" y="5594"/>
                  <a:pt x="6312" y="5594"/>
                </a:cubicBezTo>
                <a:close/>
                <a:moveTo>
                  <a:pt x="5843" y="6375"/>
                </a:moveTo>
                <a:cubicBezTo>
                  <a:pt x="5843" y="6344"/>
                  <a:pt x="5843" y="6344"/>
                  <a:pt x="5875" y="6312"/>
                </a:cubicBezTo>
                <a:cubicBezTo>
                  <a:pt x="5937" y="6250"/>
                  <a:pt x="6000" y="6187"/>
                  <a:pt x="6031" y="6094"/>
                </a:cubicBezTo>
                <a:cubicBezTo>
                  <a:pt x="6093" y="6031"/>
                  <a:pt x="6125" y="5937"/>
                  <a:pt x="6156" y="5875"/>
                </a:cubicBezTo>
                <a:cubicBezTo>
                  <a:pt x="6187" y="5812"/>
                  <a:pt x="6250" y="5719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594"/>
                  <a:pt x="6312" y="5594"/>
                  <a:pt x="6312" y="5594"/>
                </a:cubicBezTo>
                <a:cubicBezTo>
                  <a:pt x="6312" y="5625"/>
                  <a:pt x="6312" y="5625"/>
                  <a:pt x="6281" y="5625"/>
                </a:cubicBezTo>
                <a:lnTo>
                  <a:pt x="6281" y="5625"/>
                </a:lnTo>
                <a:cubicBezTo>
                  <a:pt x="6281" y="5812"/>
                  <a:pt x="6187" y="5969"/>
                  <a:pt x="6093" y="6094"/>
                </a:cubicBezTo>
                <a:cubicBezTo>
                  <a:pt x="6031" y="6187"/>
                  <a:pt x="5968" y="6281"/>
                  <a:pt x="5875" y="6344"/>
                </a:cubicBezTo>
                <a:cubicBezTo>
                  <a:pt x="5875" y="6375"/>
                  <a:pt x="5875" y="6375"/>
                  <a:pt x="5843" y="6375"/>
                </a:cubicBezTo>
                <a:cubicBezTo>
                  <a:pt x="5843" y="6406"/>
                  <a:pt x="5812" y="6437"/>
                  <a:pt x="5812" y="6437"/>
                </a:cubicBezTo>
                <a:cubicBezTo>
                  <a:pt x="5812" y="6437"/>
                  <a:pt x="5843" y="6406"/>
                  <a:pt x="5843" y="6375"/>
                </a:cubicBezTo>
                <a:cubicBezTo>
                  <a:pt x="5843" y="6375"/>
                  <a:pt x="5843" y="6375"/>
                  <a:pt x="5843" y="6375"/>
                </a:cubicBezTo>
                <a:close/>
                <a:moveTo>
                  <a:pt x="5656" y="7000"/>
                </a:moveTo>
                <a:cubicBezTo>
                  <a:pt x="5656" y="6969"/>
                  <a:pt x="5656" y="6969"/>
                  <a:pt x="5656" y="6969"/>
                </a:cubicBezTo>
                <a:cubicBezTo>
                  <a:pt x="5718" y="6875"/>
                  <a:pt x="5781" y="6812"/>
                  <a:pt x="5875" y="6750"/>
                </a:cubicBezTo>
                <a:cubicBezTo>
                  <a:pt x="5812" y="6844"/>
                  <a:pt x="5718" y="6906"/>
                  <a:pt x="5656" y="7000"/>
                </a:cubicBezTo>
                <a:cubicBezTo>
                  <a:pt x="5625" y="7031"/>
                  <a:pt x="5562" y="7094"/>
                  <a:pt x="5531" y="7125"/>
                </a:cubicBezTo>
                <a:cubicBezTo>
                  <a:pt x="5562" y="7094"/>
                  <a:pt x="5625" y="7031"/>
                  <a:pt x="5656" y="7000"/>
                </a:cubicBezTo>
                <a:close/>
                <a:moveTo>
                  <a:pt x="5468" y="6781"/>
                </a:moveTo>
                <a:cubicBezTo>
                  <a:pt x="5468" y="6781"/>
                  <a:pt x="5468" y="6812"/>
                  <a:pt x="5468" y="6812"/>
                </a:cubicBezTo>
                <a:cubicBezTo>
                  <a:pt x="5468" y="6812"/>
                  <a:pt x="5468" y="6812"/>
                  <a:pt x="5437" y="6812"/>
                </a:cubicBezTo>
                <a:cubicBezTo>
                  <a:pt x="5468" y="6812"/>
                  <a:pt x="5468" y="6781"/>
                  <a:pt x="5468" y="6781"/>
                </a:cubicBezTo>
                <a:close/>
                <a:moveTo>
                  <a:pt x="5375" y="6875"/>
                </a:moveTo>
                <a:cubicBezTo>
                  <a:pt x="5406" y="6875"/>
                  <a:pt x="5406" y="6875"/>
                  <a:pt x="5406" y="6875"/>
                </a:cubicBezTo>
                <a:cubicBezTo>
                  <a:pt x="5406" y="6844"/>
                  <a:pt x="5406" y="6812"/>
                  <a:pt x="5437" y="6812"/>
                </a:cubicBezTo>
                <a:cubicBezTo>
                  <a:pt x="5468" y="6844"/>
                  <a:pt x="5437" y="6875"/>
                  <a:pt x="5406" y="6875"/>
                </a:cubicBezTo>
                <a:cubicBezTo>
                  <a:pt x="5406" y="6875"/>
                  <a:pt x="5406" y="6875"/>
                  <a:pt x="5375" y="6875"/>
                </a:cubicBezTo>
                <a:cubicBezTo>
                  <a:pt x="5406" y="6906"/>
                  <a:pt x="5375" y="6906"/>
                  <a:pt x="5375" y="6906"/>
                </a:cubicBezTo>
                <a:cubicBezTo>
                  <a:pt x="5375" y="6875"/>
                  <a:pt x="5375" y="6875"/>
                  <a:pt x="5375" y="6875"/>
                </a:cubicBezTo>
                <a:close/>
                <a:moveTo>
                  <a:pt x="5125" y="7219"/>
                </a:moveTo>
                <a:cubicBezTo>
                  <a:pt x="5187" y="7094"/>
                  <a:pt x="5281" y="7000"/>
                  <a:pt x="5375" y="6906"/>
                </a:cubicBezTo>
                <a:cubicBezTo>
                  <a:pt x="5375" y="6906"/>
                  <a:pt x="5375" y="6937"/>
                  <a:pt x="5375" y="6937"/>
                </a:cubicBezTo>
                <a:cubicBezTo>
                  <a:pt x="5250" y="7094"/>
                  <a:pt x="5156" y="7219"/>
                  <a:pt x="5062" y="7375"/>
                </a:cubicBezTo>
                <a:cubicBezTo>
                  <a:pt x="5062" y="7375"/>
                  <a:pt x="5062" y="7375"/>
                  <a:pt x="5031" y="7375"/>
                </a:cubicBezTo>
                <a:cubicBezTo>
                  <a:pt x="5062" y="7312"/>
                  <a:pt x="5093" y="7250"/>
                  <a:pt x="5125" y="7219"/>
                </a:cubicBezTo>
                <a:close/>
                <a:moveTo>
                  <a:pt x="5031" y="7375"/>
                </a:moveTo>
                <a:cubicBezTo>
                  <a:pt x="5031" y="7406"/>
                  <a:pt x="5031" y="7437"/>
                  <a:pt x="5000" y="7500"/>
                </a:cubicBezTo>
                <a:cubicBezTo>
                  <a:pt x="4968" y="7562"/>
                  <a:pt x="4937" y="7656"/>
                  <a:pt x="4875" y="7719"/>
                </a:cubicBezTo>
                <a:cubicBezTo>
                  <a:pt x="4906" y="7594"/>
                  <a:pt x="4968" y="7469"/>
                  <a:pt x="5031" y="7375"/>
                </a:cubicBezTo>
                <a:close/>
                <a:moveTo>
                  <a:pt x="4812" y="8312"/>
                </a:moveTo>
                <a:cubicBezTo>
                  <a:pt x="4781" y="8062"/>
                  <a:pt x="4812" y="7937"/>
                  <a:pt x="4875" y="7750"/>
                </a:cubicBezTo>
                <a:cubicBezTo>
                  <a:pt x="4875" y="7937"/>
                  <a:pt x="4781" y="8125"/>
                  <a:pt x="4812" y="8312"/>
                </a:cubicBezTo>
                <a:close/>
                <a:moveTo>
                  <a:pt x="4125" y="10344"/>
                </a:moveTo>
                <a:cubicBezTo>
                  <a:pt x="4125" y="10344"/>
                  <a:pt x="4125" y="10344"/>
                  <a:pt x="4125" y="10344"/>
                </a:cubicBezTo>
                <a:cubicBezTo>
                  <a:pt x="4125" y="10344"/>
                  <a:pt x="4125" y="10344"/>
                  <a:pt x="4125" y="10344"/>
                </a:cubicBezTo>
                <a:close/>
                <a:moveTo>
                  <a:pt x="4125" y="10344"/>
                </a:moveTo>
                <a:cubicBezTo>
                  <a:pt x="4125" y="10344"/>
                  <a:pt x="4125" y="10344"/>
                  <a:pt x="4125" y="10344"/>
                </a:cubicBezTo>
                <a:cubicBezTo>
                  <a:pt x="4156" y="10375"/>
                  <a:pt x="4156" y="10375"/>
                  <a:pt x="4156" y="10375"/>
                </a:cubicBezTo>
                <a:cubicBezTo>
                  <a:pt x="4156" y="10375"/>
                  <a:pt x="4156" y="10375"/>
                  <a:pt x="4125" y="10344"/>
                </a:cubicBezTo>
                <a:close/>
                <a:moveTo>
                  <a:pt x="4187" y="9500"/>
                </a:moveTo>
                <a:cubicBezTo>
                  <a:pt x="4187" y="9500"/>
                  <a:pt x="4156" y="9531"/>
                  <a:pt x="4156" y="9531"/>
                </a:cubicBezTo>
                <a:cubicBezTo>
                  <a:pt x="4187" y="9375"/>
                  <a:pt x="4250" y="9250"/>
                  <a:pt x="4375" y="9125"/>
                </a:cubicBezTo>
                <a:cubicBezTo>
                  <a:pt x="4468" y="9031"/>
                  <a:pt x="4562" y="8937"/>
                  <a:pt x="4687" y="8844"/>
                </a:cubicBezTo>
                <a:cubicBezTo>
                  <a:pt x="4750" y="8781"/>
                  <a:pt x="4812" y="8719"/>
                  <a:pt x="4812" y="8656"/>
                </a:cubicBezTo>
                <a:cubicBezTo>
                  <a:pt x="4843" y="8625"/>
                  <a:pt x="4843" y="8687"/>
                  <a:pt x="4843" y="8687"/>
                </a:cubicBezTo>
                <a:cubicBezTo>
                  <a:pt x="4843" y="8750"/>
                  <a:pt x="4843" y="8812"/>
                  <a:pt x="4812" y="8875"/>
                </a:cubicBezTo>
                <a:cubicBezTo>
                  <a:pt x="4781" y="8812"/>
                  <a:pt x="4781" y="8812"/>
                  <a:pt x="4750" y="8844"/>
                </a:cubicBezTo>
                <a:cubicBezTo>
                  <a:pt x="4593" y="8969"/>
                  <a:pt x="4437" y="9094"/>
                  <a:pt x="4312" y="9281"/>
                </a:cubicBezTo>
                <a:cubicBezTo>
                  <a:pt x="4250" y="9344"/>
                  <a:pt x="4218" y="9406"/>
                  <a:pt x="4187" y="9500"/>
                </a:cubicBezTo>
                <a:close/>
                <a:moveTo>
                  <a:pt x="4218" y="9719"/>
                </a:moveTo>
                <a:cubicBezTo>
                  <a:pt x="4187" y="9500"/>
                  <a:pt x="4531" y="8969"/>
                  <a:pt x="4781" y="8906"/>
                </a:cubicBezTo>
                <a:cubicBezTo>
                  <a:pt x="4750" y="8937"/>
                  <a:pt x="4718" y="8969"/>
                  <a:pt x="4687" y="9031"/>
                </a:cubicBezTo>
                <a:cubicBezTo>
                  <a:pt x="4593" y="9062"/>
                  <a:pt x="4531" y="9156"/>
                  <a:pt x="4437" y="9219"/>
                </a:cubicBezTo>
                <a:cubicBezTo>
                  <a:pt x="4437" y="9250"/>
                  <a:pt x="4437" y="9250"/>
                  <a:pt x="4437" y="9281"/>
                </a:cubicBezTo>
                <a:cubicBezTo>
                  <a:pt x="4312" y="9375"/>
                  <a:pt x="4281" y="9469"/>
                  <a:pt x="4250" y="9594"/>
                </a:cubicBezTo>
                <a:cubicBezTo>
                  <a:pt x="4250" y="9625"/>
                  <a:pt x="4218" y="9656"/>
                  <a:pt x="4218" y="9719"/>
                </a:cubicBezTo>
                <a:close/>
                <a:moveTo>
                  <a:pt x="4281" y="11062"/>
                </a:moveTo>
                <a:cubicBezTo>
                  <a:pt x="4281" y="11062"/>
                  <a:pt x="4281" y="11062"/>
                  <a:pt x="4281" y="11062"/>
                </a:cubicBezTo>
                <a:cubicBezTo>
                  <a:pt x="4281" y="11062"/>
                  <a:pt x="4281" y="11062"/>
                  <a:pt x="4281" y="11062"/>
                </a:cubicBezTo>
                <a:close/>
                <a:moveTo>
                  <a:pt x="4187" y="11031"/>
                </a:moveTo>
                <a:cubicBezTo>
                  <a:pt x="4187" y="11031"/>
                  <a:pt x="4187" y="11031"/>
                  <a:pt x="4187" y="11031"/>
                </a:cubicBezTo>
                <a:cubicBezTo>
                  <a:pt x="4187" y="11031"/>
                  <a:pt x="4187" y="11031"/>
                  <a:pt x="4187" y="11031"/>
                </a:cubicBezTo>
                <a:cubicBezTo>
                  <a:pt x="4218" y="11031"/>
                  <a:pt x="4218" y="11000"/>
                  <a:pt x="4218" y="11000"/>
                </a:cubicBezTo>
                <a:cubicBezTo>
                  <a:pt x="4218" y="11000"/>
                  <a:pt x="4218" y="11031"/>
                  <a:pt x="4187" y="11031"/>
                </a:cubicBezTo>
                <a:cubicBezTo>
                  <a:pt x="4187" y="11031"/>
                  <a:pt x="4187" y="11062"/>
                  <a:pt x="4156" y="11062"/>
                </a:cubicBezTo>
                <a:cubicBezTo>
                  <a:pt x="4187" y="11062"/>
                  <a:pt x="4187" y="11031"/>
                  <a:pt x="4187" y="11031"/>
                </a:cubicBezTo>
                <a:cubicBezTo>
                  <a:pt x="4187" y="11031"/>
                  <a:pt x="4187" y="11031"/>
                  <a:pt x="4187" y="11031"/>
                </a:cubicBezTo>
                <a:close/>
                <a:moveTo>
                  <a:pt x="4187" y="11344"/>
                </a:moveTo>
                <a:cubicBezTo>
                  <a:pt x="4187" y="11250"/>
                  <a:pt x="4250" y="11187"/>
                  <a:pt x="4312" y="11125"/>
                </a:cubicBezTo>
                <a:cubicBezTo>
                  <a:pt x="4437" y="11000"/>
                  <a:pt x="4500" y="10875"/>
                  <a:pt x="4531" y="10719"/>
                </a:cubicBezTo>
                <a:cubicBezTo>
                  <a:pt x="4562" y="10875"/>
                  <a:pt x="4500" y="10969"/>
                  <a:pt x="4406" y="11062"/>
                </a:cubicBezTo>
                <a:cubicBezTo>
                  <a:pt x="4343" y="11156"/>
                  <a:pt x="4281" y="11250"/>
                  <a:pt x="4187" y="11344"/>
                </a:cubicBezTo>
                <a:cubicBezTo>
                  <a:pt x="4187" y="11344"/>
                  <a:pt x="4187" y="11344"/>
                  <a:pt x="4187" y="11344"/>
                </a:cubicBezTo>
                <a:cubicBezTo>
                  <a:pt x="4156" y="11344"/>
                  <a:pt x="4156" y="11375"/>
                  <a:pt x="4156" y="11375"/>
                </a:cubicBezTo>
                <a:cubicBezTo>
                  <a:pt x="4156" y="11375"/>
                  <a:pt x="4156" y="11344"/>
                  <a:pt x="4187" y="11344"/>
                </a:cubicBezTo>
                <a:close/>
                <a:moveTo>
                  <a:pt x="4156" y="12250"/>
                </a:moveTo>
                <a:cubicBezTo>
                  <a:pt x="4156" y="12187"/>
                  <a:pt x="4187" y="12125"/>
                  <a:pt x="4187" y="12062"/>
                </a:cubicBezTo>
                <a:cubicBezTo>
                  <a:pt x="4187" y="12125"/>
                  <a:pt x="4156" y="12187"/>
                  <a:pt x="4156" y="12250"/>
                </a:cubicBezTo>
                <a:cubicBezTo>
                  <a:pt x="4156" y="12250"/>
                  <a:pt x="4187" y="12281"/>
                  <a:pt x="4187" y="12281"/>
                </a:cubicBezTo>
                <a:cubicBezTo>
                  <a:pt x="4187" y="12344"/>
                  <a:pt x="4156" y="12406"/>
                  <a:pt x="4156" y="12437"/>
                </a:cubicBezTo>
                <a:cubicBezTo>
                  <a:pt x="4156" y="12469"/>
                  <a:pt x="4156" y="12469"/>
                  <a:pt x="4156" y="12469"/>
                </a:cubicBezTo>
                <a:cubicBezTo>
                  <a:pt x="4125" y="12469"/>
                  <a:pt x="4125" y="12469"/>
                  <a:pt x="4093" y="12469"/>
                </a:cubicBezTo>
                <a:cubicBezTo>
                  <a:pt x="4125" y="12406"/>
                  <a:pt x="4156" y="12344"/>
                  <a:pt x="4156" y="12250"/>
                </a:cubicBezTo>
                <a:close/>
                <a:moveTo>
                  <a:pt x="4031" y="14219"/>
                </a:moveTo>
                <a:cubicBezTo>
                  <a:pt x="4031" y="14312"/>
                  <a:pt x="4093" y="14406"/>
                  <a:pt x="4125" y="14469"/>
                </a:cubicBezTo>
                <a:cubicBezTo>
                  <a:pt x="4156" y="14500"/>
                  <a:pt x="4156" y="14562"/>
                  <a:pt x="4187" y="14594"/>
                </a:cubicBezTo>
                <a:cubicBezTo>
                  <a:pt x="4156" y="14562"/>
                  <a:pt x="4156" y="14500"/>
                  <a:pt x="4125" y="14469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93" y="14500"/>
                  <a:pt x="4093" y="14500"/>
                  <a:pt x="4125" y="14469"/>
                </a:cubicBezTo>
                <a:cubicBezTo>
                  <a:pt x="4093" y="14406"/>
                  <a:pt x="4031" y="14312"/>
                  <a:pt x="4031" y="14219"/>
                </a:cubicBezTo>
                <a:close/>
                <a:moveTo>
                  <a:pt x="4062" y="13094"/>
                </a:moveTo>
                <a:cubicBezTo>
                  <a:pt x="4062" y="13094"/>
                  <a:pt x="4062" y="13094"/>
                  <a:pt x="4062" y="13094"/>
                </a:cubicBezTo>
                <a:cubicBezTo>
                  <a:pt x="4062" y="13094"/>
                  <a:pt x="4062" y="13094"/>
                  <a:pt x="4062" y="13094"/>
                </a:cubicBezTo>
                <a:cubicBezTo>
                  <a:pt x="4062" y="13094"/>
                  <a:pt x="4062" y="13094"/>
                  <a:pt x="4062" y="13094"/>
                </a:cubicBezTo>
                <a:close/>
                <a:moveTo>
                  <a:pt x="4062" y="13094"/>
                </a:moveTo>
                <a:cubicBezTo>
                  <a:pt x="4062" y="13062"/>
                  <a:pt x="4062" y="13031"/>
                  <a:pt x="4093" y="13031"/>
                </a:cubicBezTo>
                <a:cubicBezTo>
                  <a:pt x="4062" y="13031"/>
                  <a:pt x="4062" y="13062"/>
                  <a:pt x="4062" y="13094"/>
                </a:cubicBezTo>
                <a:close/>
                <a:moveTo>
                  <a:pt x="4093" y="13906"/>
                </a:moveTo>
                <a:cubicBezTo>
                  <a:pt x="4093" y="13875"/>
                  <a:pt x="4093" y="13812"/>
                  <a:pt x="4093" y="13750"/>
                </a:cubicBezTo>
                <a:cubicBezTo>
                  <a:pt x="4093" y="13750"/>
                  <a:pt x="4093" y="13750"/>
                  <a:pt x="4093" y="13750"/>
                </a:cubicBezTo>
                <a:cubicBezTo>
                  <a:pt x="4093" y="13750"/>
                  <a:pt x="4093" y="13719"/>
                  <a:pt x="4125" y="13719"/>
                </a:cubicBezTo>
                <a:cubicBezTo>
                  <a:pt x="4093" y="13719"/>
                  <a:pt x="4093" y="13750"/>
                  <a:pt x="4093" y="13750"/>
                </a:cubicBezTo>
                <a:cubicBezTo>
                  <a:pt x="4125" y="13812"/>
                  <a:pt x="4093" y="13875"/>
                  <a:pt x="4093" y="13906"/>
                </a:cubicBezTo>
                <a:close/>
                <a:moveTo>
                  <a:pt x="4156" y="13094"/>
                </a:moveTo>
                <a:cubicBezTo>
                  <a:pt x="4156" y="13094"/>
                  <a:pt x="4156" y="13094"/>
                  <a:pt x="4156" y="13094"/>
                </a:cubicBezTo>
                <a:cubicBezTo>
                  <a:pt x="4156" y="13094"/>
                  <a:pt x="4156" y="13094"/>
                  <a:pt x="4156" y="13094"/>
                </a:cubicBezTo>
                <a:cubicBezTo>
                  <a:pt x="4156" y="13062"/>
                  <a:pt x="4187" y="13062"/>
                  <a:pt x="4187" y="13062"/>
                </a:cubicBezTo>
                <a:cubicBezTo>
                  <a:pt x="4187" y="13062"/>
                  <a:pt x="4156" y="13062"/>
                  <a:pt x="4156" y="13094"/>
                </a:cubicBezTo>
                <a:close/>
                <a:moveTo>
                  <a:pt x="4156" y="13094"/>
                </a:moveTo>
                <a:cubicBezTo>
                  <a:pt x="4156" y="13094"/>
                  <a:pt x="4156" y="13094"/>
                  <a:pt x="4156" y="13094"/>
                </a:cubicBezTo>
                <a:cubicBezTo>
                  <a:pt x="4156" y="13094"/>
                  <a:pt x="4156" y="13125"/>
                  <a:pt x="4156" y="13125"/>
                </a:cubicBezTo>
                <a:cubicBezTo>
                  <a:pt x="4156" y="13125"/>
                  <a:pt x="4156" y="13094"/>
                  <a:pt x="4156" y="13094"/>
                </a:cubicBezTo>
                <a:cubicBezTo>
                  <a:pt x="4156" y="13062"/>
                  <a:pt x="4187" y="13031"/>
                  <a:pt x="4187" y="13000"/>
                </a:cubicBezTo>
                <a:cubicBezTo>
                  <a:pt x="4187" y="13031"/>
                  <a:pt x="4156" y="13062"/>
                  <a:pt x="4156" y="13094"/>
                </a:cubicBezTo>
                <a:close/>
                <a:moveTo>
                  <a:pt x="4125" y="12594"/>
                </a:moveTo>
                <a:cubicBezTo>
                  <a:pt x="4125" y="12656"/>
                  <a:pt x="4125" y="12719"/>
                  <a:pt x="4062" y="12750"/>
                </a:cubicBezTo>
                <a:cubicBezTo>
                  <a:pt x="4062" y="12687"/>
                  <a:pt x="4093" y="12656"/>
                  <a:pt x="4125" y="12594"/>
                </a:cubicBezTo>
                <a:close/>
                <a:moveTo>
                  <a:pt x="4031" y="12062"/>
                </a:moveTo>
                <a:cubicBezTo>
                  <a:pt x="4031" y="12031"/>
                  <a:pt x="4031" y="12031"/>
                  <a:pt x="4031" y="12000"/>
                </a:cubicBezTo>
                <a:cubicBezTo>
                  <a:pt x="4031" y="12031"/>
                  <a:pt x="4031" y="12031"/>
                  <a:pt x="4031" y="12062"/>
                </a:cubicBezTo>
                <a:cubicBezTo>
                  <a:pt x="4031" y="12062"/>
                  <a:pt x="4000" y="12094"/>
                  <a:pt x="4000" y="12094"/>
                </a:cubicBezTo>
                <a:cubicBezTo>
                  <a:pt x="4000" y="12094"/>
                  <a:pt x="4031" y="12062"/>
                  <a:pt x="4031" y="12062"/>
                </a:cubicBezTo>
                <a:close/>
                <a:moveTo>
                  <a:pt x="3968" y="14062"/>
                </a:moveTo>
                <a:cubicBezTo>
                  <a:pt x="3968" y="14094"/>
                  <a:pt x="3968" y="14125"/>
                  <a:pt x="3968" y="14156"/>
                </a:cubicBezTo>
                <a:cubicBezTo>
                  <a:pt x="3937" y="14031"/>
                  <a:pt x="3968" y="13906"/>
                  <a:pt x="3968" y="13781"/>
                </a:cubicBezTo>
                <a:cubicBezTo>
                  <a:pt x="3968" y="13875"/>
                  <a:pt x="3937" y="13969"/>
                  <a:pt x="3968" y="14062"/>
                </a:cubicBezTo>
                <a:close/>
                <a:moveTo>
                  <a:pt x="3875" y="11969"/>
                </a:moveTo>
                <a:cubicBezTo>
                  <a:pt x="3875" y="12125"/>
                  <a:pt x="3875" y="12281"/>
                  <a:pt x="3781" y="12406"/>
                </a:cubicBezTo>
                <a:cubicBezTo>
                  <a:pt x="3781" y="12250"/>
                  <a:pt x="3875" y="12125"/>
                  <a:pt x="3875" y="11969"/>
                </a:cubicBezTo>
                <a:close/>
                <a:moveTo>
                  <a:pt x="3750" y="11875"/>
                </a:moveTo>
                <a:cubicBezTo>
                  <a:pt x="3781" y="11937"/>
                  <a:pt x="3750" y="12031"/>
                  <a:pt x="3687" y="12062"/>
                </a:cubicBezTo>
                <a:cubicBezTo>
                  <a:pt x="3718" y="12000"/>
                  <a:pt x="3718" y="11937"/>
                  <a:pt x="3750" y="11875"/>
                </a:cubicBezTo>
                <a:close/>
                <a:moveTo>
                  <a:pt x="3687" y="12344"/>
                </a:moveTo>
                <a:cubicBezTo>
                  <a:pt x="3656" y="12375"/>
                  <a:pt x="3625" y="12406"/>
                  <a:pt x="3593" y="12437"/>
                </a:cubicBezTo>
                <a:cubicBezTo>
                  <a:pt x="3625" y="12406"/>
                  <a:pt x="3656" y="12375"/>
                  <a:pt x="3687" y="12344"/>
                </a:cubicBezTo>
                <a:cubicBezTo>
                  <a:pt x="3656" y="12344"/>
                  <a:pt x="3656" y="12344"/>
                  <a:pt x="3656" y="12344"/>
                </a:cubicBezTo>
                <a:cubicBezTo>
                  <a:pt x="3750" y="12250"/>
                  <a:pt x="3718" y="12156"/>
                  <a:pt x="3781" y="12062"/>
                </a:cubicBezTo>
                <a:cubicBezTo>
                  <a:pt x="3781" y="12062"/>
                  <a:pt x="3781" y="12000"/>
                  <a:pt x="3812" y="12031"/>
                </a:cubicBezTo>
                <a:cubicBezTo>
                  <a:pt x="3843" y="12031"/>
                  <a:pt x="3812" y="12062"/>
                  <a:pt x="3812" y="12094"/>
                </a:cubicBezTo>
                <a:cubicBezTo>
                  <a:pt x="3781" y="12187"/>
                  <a:pt x="3750" y="12281"/>
                  <a:pt x="3687" y="12344"/>
                </a:cubicBezTo>
                <a:close/>
                <a:moveTo>
                  <a:pt x="3781" y="12844"/>
                </a:moveTo>
                <a:cubicBezTo>
                  <a:pt x="3781" y="12906"/>
                  <a:pt x="3750" y="12937"/>
                  <a:pt x="3718" y="13000"/>
                </a:cubicBezTo>
                <a:cubicBezTo>
                  <a:pt x="3718" y="12969"/>
                  <a:pt x="3718" y="12969"/>
                  <a:pt x="3718" y="12969"/>
                </a:cubicBezTo>
                <a:cubicBezTo>
                  <a:pt x="3718" y="12937"/>
                  <a:pt x="3750" y="12875"/>
                  <a:pt x="3781" y="12844"/>
                </a:cubicBezTo>
                <a:close/>
                <a:moveTo>
                  <a:pt x="3750" y="13937"/>
                </a:moveTo>
                <a:cubicBezTo>
                  <a:pt x="3750" y="13937"/>
                  <a:pt x="3750" y="13937"/>
                  <a:pt x="3750" y="13937"/>
                </a:cubicBezTo>
                <a:cubicBezTo>
                  <a:pt x="3750" y="13937"/>
                  <a:pt x="3750" y="13937"/>
                  <a:pt x="3750" y="13906"/>
                </a:cubicBezTo>
                <a:cubicBezTo>
                  <a:pt x="3750" y="13937"/>
                  <a:pt x="3750" y="13937"/>
                  <a:pt x="3750" y="13937"/>
                </a:cubicBezTo>
                <a:close/>
                <a:moveTo>
                  <a:pt x="3750" y="13344"/>
                </a:moveTo>
                <a:cubicBezTo>
                  <a:pt x="3750" y="13344"/>
                  <a:pt x="3750" y="13344"/>
                  <a:pt x="3750" y="13344"/>
                </a:cubicBezTo>
                <a:cubicBezTo>
                  <a:pt x="3718" y="13344"/>
                  <a:pt x="3718" y="13344"/>
                  <a:pt x="3718" y="13344"/>
                </a:cubicBezTo>
                <a:cubicBezTo>
                  <a:pt x="3718" y="13344"/>
                  <a:pt x="3718" y="13344"/>
                  <a:pt x="3750" y="13344"/>
                </a:cubicBezTo>
                <a:close/>
                <a:moveTo>
                  <a:pt x="3687" y="13937"/>
                </a:moveTo>
                <a:cubicBezTo>
                  <a:pt x="3625" y="13781"/>
                  <a:pt x="3593" y="13656"/>
                  <a:pt x="3625" y="13500"/>
                </a:cubicBezTo>
                <a:cubicBezTo>
                  <a:pt x="3625" y="13656"/>
                  <a:pt x="3687" y="13781"/>
                  <a:pt x="3687" y="13937"/>
                </a:cubicBezTo>
                <a:close/>
                <a:moveTo>
                  <a:pt x="3687" y="13312"/>
                </a:moveTo>
                <a:cubicBezTo>
                  <a:pt x="3687" y="13344"/>
                  <a:pt x="3687" y="13344"/>
                  <a:pt x="3687" y="13375"/>
                </a:cubicBezTo>
                <a:cubicBezTo>
                  <a:pt x="3687" y="13344"/>
                  <a:pt x="3687" y="13344"/>
                  <a:pt x="3687" y="13312"/>
                </a:cubicBezTo>
                <a:cubicBezTo>
                  <a:pt x="3687" y="13312"/>
                  <a:pt x="3687" y="13312"/>
                  <a:pt x="3687" y="13312"/>
                </a:cubicBezTo>
                <a:cubicBezTo>
                  <a:pt x="3687" y="13312"/>
                  <a:pt x="3687" y="13312"/>
                  <a:pt x="3687" y="13312"/>
                </a:cubicBezTo>
                <a:close/>
                <a:moveTo>
                  <a:pt x="3875" y="14625"/>
                </a:moveTo>
                <a:cubicBezTo>
                  <a:pt x="3843" y="14594"/>
                  <a:pt x="3843" y="14594"/>
                  <a:pt x="3812" y="14562"/>
                </a:cubicBezTo>
                <a:cubicBezTo>
                  <a:pt x="3812" y="14500"/>
                  <a:pt x="3781" y="14406"/>
                  <a:pt x="3718" y="14344"/>
                </a:cubicBezTo>
                <a:cubicBezTo>
                  <a:pt x="3750" y="14281"/>
                  <a:pt x="3718" y="14250"/>
                  <a:pt x="3718" y="14187"/>
                </a:cubicBezTo>
                <a:cubicBezTo>
                  <a:pt x="3718" y="14187"/>
                  <a:pt x="3718" y="14187"/>
                  <a:pt x="3687" y="14187"/>
                </a:cubicBezTo>
                <a:cubicBezTo>
                  <a:pt x="3718" y="14156"/>
                  <a:pt x="3718" y="14156"/>
                  <a:pt x="3718" y="14125"/>
                </a:cubicBezTo>
                <a:cubicBezTo>
                  <a:pt x="3718" y="14125"/>
                  <a:pt x="3718" y="14094"/>
                  <a:pt x="3750" y="14125"/>
                </a:cubicBezTo>
                <a:cubicBezTo>
                  <a:pt x="3750" y="14125"/>
                  <a:pt x="3750" y="14125"/>
                  <a:pt x="3750" y="14156"/>
                </a:cubicBezTo>
                <a:cubicBezTo>
                  <a:pt x="3750" y="14187"/>
                  <a:pt x="3750" y="14219"/>
                  <a:pt x="3781" y="14250"/>
                </a:cubicBezTo>
                <a:cubicBezTo>
                  <a:pt x="3812" y="14281"/>
                  <a:pt x="3843" y="14344"/>
                  <a:pt x="3812" y="14406"/>
                </a:cubicBezTo>
                <a:cubicBezTo>
                  <a:pt x="3812" y="14406"/>
                  <a:pt x="3812" y="14406"/>
                  <a:pt x="3812" y="14406"/>
                </a:cubicBezTo>
                <a:cubicBezTo>
                  <a:pt x="3812" y="14437"/>
                  <a:pt x="3843" y="14469"/>
                  <a:pt x="3843" y="14500"/>
                </a:cubicBezTo>
                <a:cubicBezTo>
                  <a:pt x="3875" y="14531"/>
                  <a:pt x="3875" y="14562"/>
                  <a:pt x="3875" y="14625"/>
                </a:cubicBezTo>
                <a:close/>
                <a:moveTo>
                  <a:pt x="3812" y="13000"/>
                </a:moveTo>
                <a:cubicBezTo>
                  <a:pt x="3812" y="13031"/>
                  <a:pt x="3812" y="13031"/>
                  <a:pt x="3812" y="13031"/>
                </a:cubicBezTo>
                <a:cubicBezTo>
                  <a:pt x="3812" y="13031"/>
                  <a:pt x="3812" y="13031"/>
                  <a:pt x="3812" y="13031"/>
                </a:cubicBezTo>
                <a:cubicBezTo>
                  <a:pt x="3812" y="13031"/>
                  <a:pt x="3812" y="13031"/>
                  <a:pt x="3812" y="13000"/>
                </a:cubicBezTo>
                <a:close/>
                <a:moveTo>
                  <a:pt x="3843" y="12500"/>
                </a:moveTo>
                <a:cubicBezTo>
                  <a:pt x="3812" y="12500"/>
                  <a:pt x="3812" y="12500"/>
                  <a:pt x="3843" y="12469"/>
                </a:cubicBezTo>
                <a:cubicBezTo>
                  <a:pt x="3875" y="12406"/>
                  <a:pt x="3906" y="12312"/>
                  <a:pt x="3906" y="12219"/>
                </a:cubicBezTo>
                <a:cubicBezTo>
                  <a:pt x="3937" y="12219"/>
                  <a:pt x="3937" y="12187"/>
                  <a:pt x="3937" y="12187"/>
                </a:cubicBezTo>
                <a:cubicBezTo>
                  <a:pt x="3937" y="12187"/>
                  <a:pt x="3937" y="12187"/>
                  <a:pt x="3937" y="12187"/>
                </a:cubicBezTo>
                <a:cubicBezTo>
                  <a:pt x="3937" y="12219"/>
                  <a:pt x="3968" y="12219"/>
                  <a:pt x="3968" y="12250"/>
                </a:cubicBezTo>
                <a:cubicBezTo>
                  <a:pt x="3937" y="12312"/>
                  <a:pt x="3906" y="12406"/>
                  <a:pt x="3875" y="12500"/>
                </a:cubicBezTo>
                <a:cubicBezTo>
                  <a:pt x="3875" y="12500"/>
                  <a:pt x="3843" y="12500"/>
                  <a:pt x="3843" y="12500"/>
                </a:cubicBezTo>
                <a:close/>
                <a:moveTo>
                  <a:pt x="4000" y="14719"/>
                </a:moveTo>
                <a:cubicBezTo>
                  <a:pt x="3968" y="14656"/>
                  <a:pt x="3937" y="14625"/>
                  <a:pt x="3906" y="14594"/>
                </a:cubicBezTo>
                <a:cubicBezTo>
                  <a:pt x="3906" y="14594"/>
                  <a:pt x="3906" y="14594"/>
                  <a:pt x="3906" y="14594"/>
                </a:cubicBezTo>
                <a:cubicBezTo>
                  <a:pt x="3937" y="14531"/>
                  <a:pt x="3843" y="14500"/>
                  <a:pt x="3906" y="14437"/>
                </a:cubicBezTo>
                <a:cubicBezTo>
                  <a:pt x="3937" y="14469"/>
                  <a:pt x="3968" y="14562"/>
                  <a:pt x="4000" y="14594"/>
                </a:cubicBezTo>
                <a:cubicBezTo>
                  <a:pt x="4000" y="14625"/>
                  <a:pt x="4031" y="14656"/>
                  <a:pt x="4062" y="14687"/>
                </a:cubicBezTo>
                <a:cubicBezTo>
                  <a:pt x="4062" y="14687"/>
                  <a:pt x="4062" y="14719"/>
                  <a:pt x="4093" y="14750"/>
                </a:cubicBezTo>
                <a:cubicBezTo>
                  <a:pt x="4062" y="14750"/>
                  <a:pt x="4031" y="14719"/>
                  <a:pt x="4000" y="14719"/>
                </a:cubicBezTo>
                <a:close/>
                <a:moveTo>
                  <a:pt x="4093" y="14875"/>
                </a:moveTo>
                <a:cubicBezTo>
                  <a:pt x="4062" y="14875"/>
                  <a:pt x="4031" y="14844"/>
                  <a:pt x="4031" y="14844"/>
                </a:cubicBezTo>
                <a:cubicBezTo>
                  <a:pt x="4031" y="14781"/>
                  <a:pt x="4062" y="14812"/>
                  <a:pt x="4093" y="14812"/>
                </a:cubicBezTo>
                <a:cubicBezTo>
                  <a:pt x="4093" y="14812"/>
                  <a:pt x="4093" y="14844"/>
                  <a:pt x="4093" y="14875"/>
                </a:cubicBezTo>
                <a:close/>
                <a:moveTo>
                  <a:pt x="4187" y="14937"/>
                </a:moveTo>
                <a:cubicBezTo>
                  <a:pt x="4156" y="14937"/>
                  <a:pt x="4093" y="14937"/>
                  <a:pt x="4093" y="14875"/>
                </a:cubicBezTo>
                <a:cubicBezTo>
                  <a:pt x="4093" y="14875"/>
                  <a:pt x="4093" y="14844"/>
                  <a:pt x="4125" y="14844"/>
                </a:cubicBezTo>
                <a:cubicBezTo>
                  <a:pt x="4156" y="14875"/>
                  <a:pt x="4187" y="14875"/>
                  <a:pt x="4218" y="14906"/>
                </a:cubicBezTo>
                <a:cubicBezTo>
                  <a:pt x="4218" y="14937"/>
                  <a:pt x="4187" y="14969"/>
                  <a:pt x="4187" y="14937"/>
                </a:cubicBezTo>
                <a:close/>
                <a:moveTo>
                  <a:pt x="4093" y="14687"/>
                </a:moveTo>
                <a:cubicBezTo>
                  <a:pt x="4093" y="14687"/>
                  <a:pt x="4093" y="14656"/>
                  <a:pt x="4062" y="14656"/>
                </a:cubicBezTo>
                <a:cubicBezTo>
                  <a:pt x="4062" y="14625"/>
                  <a:pt x="4062" y="14594"/>
                  <a:pt x="4031" y="14594"/>
                </a:cubicBezTo>
                <a:cubicBezTo>
                  <a:pt x="4031" y="14562"/>
                  <a:pt x="4000" y="14531"/>
                  <a:pt x="4031" y="14531"/>
                </a:cubicBezTo>
                <a:cubicBezTo>
                  <a:pt x="4062" y="14500"/>
                  <a:pt x="4062" y="14531"/>
                  <a:pt x="4093" y="14562"/>
                </a:cubicBezTo>
                <a:cubicBezTo>
                  <a:pt x="4125" y="14656"/>
                  <a:pt x="4187" y="14750"/>
                  <a:pt x="4250" y="14875"/>
                </a:cubicBezTo>
                <a:cubicBezTo>
                  <a:pt x="4187" y="14812"/>
                  <a:pt x="4156" y="14750"/>
                  <a:pt x="4093" y="14687"/>
                </a:cubicBezTo>
                <a:close/>
                <a:moveTo>
                  <a:pt x="4281" y="14031"/>
                </a:moveTo>
                <a:cubicBezTo>
                  <a:pt x="4281" y="14000"/>
                  <a:pt x="4281" y="14000"/>
                  <a:pt x="4281" y="14000"/>
                </a:cubicBezTo>
                <a:cubicBezTo>
                  <a:pt x="4281" y="14000"/>
                  <a:pt x="4281" y="14000"/>
                  <a:pt x="4281" y="14031"/>
                </a:cubicBezTo>
                <a:close/>
                <a:moveTo>
                  <a:pt x="4312" y="12094"/>
                </a:moveTo>
                <a:cubicBezTo>
                  <a:pt x="4312" y="12094"/>
                  <a:pt x="4312" y="12094"/>
                  <a:pt x="4281" y="12094"/>
                </a:cubicBezTo>
                <a:cubicBezTo>
                  <a:pt x="4281" y="12094"/>
                  <a:pt x="4281" y="12062"/>
                  <a:pt x="4281" y="12062"/>
                </a:cubicBezTo>
                <a:cubicBezTo>
                  <a:pt x="4281" y="12062"/>
                  <a:pt x="4281" y="12062"/>
                  <a:pt x="4281" y="12062"/>
                </a:cubicBezTo>
                <a:cubicBezTo>
                  <a:pt x="4281" y="12062"/>
                  <a:pt x="4281" y="12062"/>
                  <a:pt x="4281" y="12062"/>
                </a:cubicBezTo>
                <a:cubicBezTo>
                  <a:pt x="4343" y="11875"/>
                  <a:pt x="4406" y="11719"/>
                  <a:pt x="4500" y="11562"/>
                </a:cubicBezTo>
                <a:cubicBezTo>
                  <a:pt x="4531" y="11531"/>
                  <a:pt x="4500" y="11469"/>
                  <a:pt x="4562" y="11437"/>
                </a:cubicBezTo>
                <a:cubicBezTo>
                  <a:pt x="4562" y="11375"/>
                  <a:pt x="4593" y="11344"/>
                  <a:pt x="4625" y="11312"/>
                </a:cubicBezTo>
                <a:cubicBezTo>
                  <a:pt x="4593" y="11344"/>
                  <a:pt x="4562" y="11375"/>
                  <a:pt x="4562" y="11437"/>
                </a:cubicBezTo>
                <a:cubicBezTo>
                  <a:pt x="4562" y="11437"/>
                  <a:pt x="4562" y="11437"/>
                  <a:pt x="4562" y="11469"/>
                </a:cubicBezTo>
                <a:cubicBezTo>
                  <a:pt x="4562" y="11500"/>
                  <a:pt x="4500" y="11531"/>
                  <a:pt x="4531" y="11594"/>
                </a:cubicBezTo>
                <a:cubicBezTo>
                  <a:pt x="4531" y="11594"/>
                  <a:pt x="4500" y="11625"/>
                  <a:pt x="4531" y="11625"/>
                </a:cubicBezTo>
                <a:cubicBezTo>
                  <a:pt x="4531" y="11625"/>
                  <a:pt x="4562" y="11625"/>
                  <a:pt x="4562" y="11625"/>
                </a:cubicBezTo>
                <a:cubicBezTo>
                  <a:pt x="4593" y="11469"/>
                  <a:pt x="4687" y="11375"/>
                  <a:pt x="4781" y="11281"/>
                </a:cubicBezTo>
                <a:cubicBezTo>
                  <a:pt x="4843" y="11156"/>
                  <a:pt x="4875" y="11031"/>
                  <a:pt x="4875" y="10875"/>
                </a:cubicBezTo>
                <a:cubicBezTo>
                  <a:pt x="4906" y="10750"/>
                  <a:pt x="4906" y="10594"/>
                  <a:pt x="4968" y="10469"/>
                </a:cubicBezTo>
                <a:cubicBezTo>
                  <a:pt x="4968" y="10437"/>
                  <a:pt x="4968" y="10406"/>
                  <a:pt x="5000" y="10375"/>
                </a:cubicBezTo>
                <a:cubicBezTo>
                  <a:pt x="5000" y="10344"/>
                  <a:pt x="5000" y="10344"/>
                  <a:pt x="5000" y="10344"/>
                </a:cubicBezTo>
                <a:cubicBezTo>
                  <a:pt x="5000" y="10344"/>
                  <a:pt x="5000" y="10344"/>
                  <a:pt x="5000" y="10375"/>
                </a:cubicBezTo>
                <a:cubicBezTo>
                  <a:pt x="4968" y="10406"/>
                  <a:pt x="4968" y="10437"/>
                  <a:pt x="4968" y="10469"/>
                </a:cubicBezTo>
                <a:cubicBezTo>
                  <a:pt x="4968" y="10500"/>
                  <a:pt x="4968" y="10500"/>
                  <a:pt x="4968" y="10531"/>
                </a:cubicBezTo>
                <a:cubicBezTo>
                  <a:pt x="4937" y="10687"/>
                  <a:pt x="4937" y="10844"/>
                  <a:pt x="4906" y="11000"/>
                </a:cubicBezTo>
                <a:cubicBezTo>
                  <a:pt x="4875" y="11125"/>
                  <a:pt x="4843" y="11219"/>
                  <a:pt x="4781" y="11312"/>
                </a:cubicBezTo>
                <a:cubicBezTo>
                  <a:pt x="4687" y="11437"/>
                  <a:pt x="4593" y="11594"/>
                  <a:pt x="4500" y="11719"/>
                </a:cubicBezTo>
                <a:cubicBezTo>
                  <a:pt x="4406" y="11844"/>
                  <a:pt x="4343" y="11969"/>
                  <a:pt x="4312" y="12094"/>
                </a:cubicBezTo>
                <a:close/>
                <a:moveTo>
                  <a:pt x="4312" y="14375"/>
                </a:moveTo>
                <a:cubicBezTo>
                  <a:pt x="4312" y="14375"/>
                  <a:pt x="4312" y="14375"/>
                  <a:pt x="4312" y="14344"/>
                </a:cubicBezTo>
                <a:cubicBezTo>
                  <a:pt x="4312" y="14375"/>
                  <a:pt x="4312" y="14375"/>
                  <a:pt x="4312" y="14375"/>
                </a:cubicBezTo>
                <a:close/>
                <a:moveTo>
                  <a:pt x="4343" y="14375"/>
                </a:moveTo>
                <a:cubicBezTo>
                  <a:pt x="4343" y="14375"/>
                  <a:pt x="4343" y="14375"/>
                  <a:pt x="4343" y="14375"/>
                </a:cubicBezTo>
                <a:cubicBezTo>
                  <a:pt x="4343" y="14406"/>
                  <a:pt x="4375" y="14437"/>
                  <a:pt x="4375" y="14469"/>
                </a:cubicBezTo>
                <a:cubicBezTo>
                  <a:pt x="4375" y="14437"/>
                  <a:pt x="4343" y="14406"/>
                  <a:pt x="4343" y="14375"/>
                </a:cubicBezTo>
                <a:close/>
                <a:moveTo>
                  <a:pt x="4562" y="14312"/>
                </a:moveTo>
                <a:cubicBezTo>
                  <a:pt x="4562" y="14312"/>
                  <a:pt x="4562" y="14312"/>
                  <a:pt x="4562" y="14312"/>
                </a:cubicBezTo>
                <a:cubicBezTo>
                  <a:pt x="4562" y="14312"/>
                  <a:pt x="4562" y="14312"/>
                  <a:pt x="4593" y="14281"/>
                </a:cubicBezTo>
                <a:cubicBezTo>
                  <a:pt x="4562" y="14312"/>
                  <a:pt x="4562" y="14312"/>
                  <a:pt x="4562" y="14312"/>
                </a:cubicBezTo>
                <a:close/>
                <a:moveTo>
                  <a:pt x="4437" y="13719"/>
                </a:moveTo>
                <a:cubicBezTo>
                  <a:pt x="4437" y="13750"/>
                  <a:pt x="4437" y="13781"/>
                  <a:pt x="4437" y="13781"/>
                </a:cubicBezTo>
                <a:cubicBezTo>
                  <a:pt x="4437" y="13875"/>
                  <a:pt x="4468" y="13969"/>
                  <a:pt x="4500" y="14062"/>
                </a:cubicBezTo>
                <a:cubicBezTo>
                  <a:pt x="4468" y="13969"/>
                  <a:pt x="4437" y="13875"/>
                  <a:pt x="4437" y="13781"/>
                </a:cubicBezTo>
                <a:cubicBezTo>
                  <a:pt x="4437" y="13781"/>
                  <a:pt x="4437" y="13781"/>
                  <a:pt x="4437" y="13781"/>
                </a:cubicBezTo>
                <a:cubicBezTo>
                  <a:pt x="4406" y="13719"/>
                  <a:pt x="4437" y="13625"/>
                  <a:pt x="4437" y="13562"/>
                </a:cubicBezTo>
                <a:cubicBezTo>
                  <a:pt x="4468" y="13562"/>
                  <a:pt x="4468" y="13531"/>
                  <a:pt x="4468" y="13531"/>
                </a:cubicBezTo>
                <a:lnTo>
                  <a:pt x="4468" y="13531"/>
                </a:lnTo>
                <a:cubicBezTo>
                  <a:pt x="4468" y="13500"/>
                  <a:pt x="4437" y="13500"/>
                  <a:pt x="4437" y="13500"/>
                </a:cubicBezTo>
                <a:cubicBezTo>
                  <a:pt x="4437" y="13531"/>
                  <a:pt x="4437" y="13531"/>
                  <a:pt x="4437" y="13531"/>
                </a:cubicBezTo>
                <a:cubicBezTo>
                  <a:pt x="4406" y="13562"/>
                  <a:pt x="4406" y="13562"/>
                  <a:pt x="4406" y="13562"/>
                </a:cubicBezTo>
                <a:cubicBezTo>
                  <a:pt x="4406" y="13562"/>
                  <a:pt x="4406" y="13562"/>
                  <a:pt x="4406" y="13562"/>
                </a:cubicBezTo>
                <a:cubicBezTo>
                  <a:pt x="4375" y="13625"/>
                  <a:pt x="4375" y="13656"/>
                  <a:pt x="4343" y="13719"/>
                </a:cubicBezTo>
                <a:cubicBezTo>
                  <a:pt x="4375" y="13656"/>
                  <a:pt x="4375" y="13625"/>
                  <a:pt x="4406" y="13562"/>
                </a:cubicBezTo>
                <a:cubicBezTo>
                  <a:pt x="4437" y="13437"/>
                  <a:pt x="4500" y="13344"/>
                  <a:pt x="4593" y="13250"/>
                </a:cubicBezTo>
                <a:cubicBezTo>
                  <a:pt x="4593" y="13250"/>
                  <a:pt x="4593" y="13250"/>
                  <a:pt x="4593" y="13250"/>
                </a:cubicBezTo>
                <a:cubicBezTo>
                  <a:pt x="4593" y="13250"/>
                  <a:pt x="4593" y="13250"/>
                  <a:pt x="4593" y="13281"/>
                </a:cubicBezTo>
                <a:cubicBezTo>
                  <a:pt x="4531" y="13406"/>
                  <a:pt x="4468" y="13562"/>
                  <a:pt x="4437" y="13719"/>
                </a:cubicBezTo>
                <a:close/>
                <a:moveTo>
                  <a:pt x="4437" y="13187"/>
                </a:moveTo>
                <a:cubicBezTo>
                  <a:pt x="4437" y="13187"/>
                  <a:pt x="4437" y="13187"/>
                  <a:pt x="4437" y="13187"/>
                </a:cubicBezTo>
                <a:cubicBezTo>
                  <a:pt x="4437" y="13125"/>
                  <a:pt x="4500" y="13094"/>
                  <a:pt x="4500" y="13031"/>
                </a:cubicBezTo>
                <a:cubicBezTo>
                  <a:pt x="4531" y="12969"/>
                  <a:pt x="4562" y="12906"/>
                  <a:pt x="4593" y="12844"/>
                </a:cubicBezTo>
                <a:cubicBezTo>
                  <a:pt x="4625" y="12719"/>
                  <a:pt x="4687" y="12594"/>
                  <a:pt x="4687" y="12469"/>
                </a:cubicBezTo>
                <a:cubicBezTo>
                  <a:pt x="4687" y="12437"/>
                  <a:pt x="4718" y="12437"/>
                  <a:pt x="4718" y="12437"/>
                </a:cubicBezTo>
                <a:cubicBezTo>
                  <a:pt x="4687" y="12406"/>
                  <a:pt x="4687" y="12375"/>
                  <a:pt x="4687" y="12375"/>
                </a:cubicBezTo>
                <a:cubicBezTo>
                  <a:pt x="4687" y="12375"/>
                  <a:pt x="4687" y="12406"/>
                  <a:pt x="4718" y="12437"/>
                </a:cubicBezTo>
                <a:cubicBezTo>
                  <a:pt x="4781" y="12406"/>
                  <a:pt x="4750" y="12469"/>
                  <a:pt x="4750" y="12469"/>
                </a:cubicBezTo>
                <a:cubicBezTo>
                  <a:pt x="4718" y="12562"/>
                  <a:pt x="4687" y="12656"/>
                  <a:pt x="4656" y="12750"/>
                </a:cubicBezTo>
                <a:cubicBezTo>
                  <a:pt x="4625" y="12906"/>
                  <a:pt x="4562" y="13062"/>
                  <a:pt x="4437" y="13187"/>
                </a:cubicBezTo>
                <a:close/>
                <a:moveTo>
                  <a:pt x="4625" y="13562"/>
                </a:moveTo>
                <a:cubicBezTo>
                  <a:pt x="4625" y="13562"/>
                  <a:pt x="4625" y="13562"/>
                  <a:pt x="4625" y="13562"/>
                </a:cubicBezTo>
                <a:cubicBezTo>
                  <a:pt x="4625" y="13562"/>
                  <a:pt x="4625" y="13562"/>
                  <a:pt x="4625" y="13562"/>
                </a:cubicBezTo>
                <a:cubicBezTo>
                  <a:pt x="4625" y="13531"/>
                  <a:pt x="4625" y="13500"/>
                  <a:pt x="4625" y="13469"/>
                </a:cubicBezTo>
                <a:cubicBezTo>
                  <a:pt x="4625" y="13500"/>
                  <a:pt x="4625" y="13531"/>
                  <a:pt x="4625" y="13562"/>
                </a:cubicBezTo>
                <a:close/>
                <a:moveTo>
                  <a:pt x="4718" y="14187"/>
                </a:moveTo>
                <a:cubicBezTo>
                  <a:pt x="4625" y="14000"/>
                  <a:pt x="4562" y="13781"/>
                  <a:pt x="4625" y="13562"/>
                </a:cubicBezTo>
                <a:cubicBezTo>
                  <a:pt x="4625" y="13594"/>
                  <a:pt x="4625" y="13656"/>
                  <a:pt x="4625" y="13687"/>
                </a:cubicBezTo>
                <a:cubicBezTo>
                  <a:pt x="4625" y="13844"/>
                  <a:pt x="4656" y="13969"/>
                  <a:pt x="4718" y="14125"/>
                </a:cubicBezTo>
                <a:cubicBezTo>
                  <a:pt x="4718" y="14125"/>
                  <a:pt x="4718" y="14156"/>
                  <a:pt x="4718" y="14156"/>
                </a:cubicBezTo>
                <a:cubicBezTo>
                  <a:pt x="4718" y="14156"/>
                  <a:pt x="4718" y="14187"/>
                  <a:pt x="4718" y="14187"/>
                </a:cubicBezTo>
                <a:close/>
                <a:moveTo>
                  <a:pt x="4781" y="14312"/>
                </a:moveTo>
                <a:cubicBezTo>
                  <a:pt x="4781" y="14281"/>
                  <a:pt x="4750" y="14281"/>
                  <a:pt x="4750" y="14250"/>
                </a:cubicBezTo>
                <a:cubicBezTo>
                  <a:pt x="4750" y="14281"/>
                  <a:pt x="4781" y="14281"/>
                  <a:pt x="4781" y="14312"/>
                </a:cubicBezTo>
                <a:cubicBezTo>
                  <a:pt x="4812" y="14344"/>
                  <a:pt x="4843" y="14406"/>
                  <a:pt x="4875" y="14406"/>
                </a:cubicBezTo>
                <a:cubicBezTo>
                  <a:pt x="4843" y="14406"/>
                  <a:pt x="4812" y="14344"/>
                  <a:pt x="4781" y="14312"/>
                </a:cubicBezTo>
                <a:close/>
                <a:moveTo>
                  <a:pt x="4906" y="14437"/>
                </a:moveTo>
                <a:cubicBezTo>
                  <a:pt x="4906" y="14437"/>
                  <a:pt x="4906" y="14437"/>
                  <a:pt x="4906" y="14437"/>
                </a:cubicBezTo>
                <a:cubicBezTo>
                  <a:pt x="4906" y="14437"/>
                  <a:pt x="4906" y="14437"/>
                  <a:pt x="4906" y="14437"/>
                </a:cubicBezTo>
                <a:cubicBezTo>
                  <a:pt x="4906" y="14437"/>
                  <a:pt x="4906" y="14437"/>
                  <a:pt x="4906" y="14437"/>
                </a:cubicBezTo>
                <a:cubicBezTo>
                  <a:pt x="4906" y="14406"/>
                  <a:pt x="4906" y="14406"/>
                  <a:pt x="4875" y="14375"/>
                </a:cubicBezTo>
                <a:cubicBezTo>
                  <a:pt x="4906" y="14406"/>
                  <a:pt x="4906" y="14406"/>
                  <a:pt x="4906" y="14437"/>
                </a:cubicBezTo>
                <a:cubicBezTo>
                  <a:pt x="4937" y="14437"/>
                  <a:pt x="4937" y="14437"/>
                  <a:pt x="4937" y="14437"/>
                </a:cubicBezTo>
                <a:cubicBezTo>
                  <a:pt x="4937" y="14437"/>
                  <a:pt x="4937" y="14437"/>
                  <a:pt x="4906" y="14437"/>
                </a:cubicBezTo>
                <a:close/>
                <a:moveTo>
                  <a:pt x="4937" y="14250"/>
                </a:moveTo>
                <a:cubicBezTo>
                  <a:pt x="4937" y="14250"/>
                  <a:pt x="4937" y="14219"/>
                  <a:pt x="4937" y="14219"/>
                </a:cubicBezTo>
                <a:cubicBezTo>
                  <a:pt x="4937" y="14219"/>
                  <a:pt x="4937" y="14250"/>
                  <a:pt x="4937" y="14250"/>
                </a:cubicBezTo>
                <a:close/>
                <a:moveTo>
                  <a:pt x="4937" y="13344"/>
                </a:moveTo>
                <a:cubicBezTo>
                  <a:pt x="4937" y="13375"/>
                  <a:pt x="4937" y="13375"/>
                  <a:pt x="4968" y="13375"/>
                </a:cubicBezTo>
                <a:cubicBezTo>
                  <a:pt x="4968" y="13375"/>
                  <a:pt x="4968" y="13375"/>
                  <a:pt x="4968" y="13375"/>
                </a:cubicBezTo>
                <a:cubicBezTo>
                  <a:pt x="4937" y="13375"/>
                  <a:pt x="4937" y="13375"/>
                  <a:pt x="4937" y="13344"/>
                </a:cubicBezTo>
                <a:close/>
                <a:moveTo>
                  <a:pt x="4937" y="14250"/>
                </a:moveTo>
                <a:cubicBezTo>
                  <a:pt x="4968" y="14250"/>
                  <a:pt x="5000" y="14250"/>
                  <a:pt x="5000" y="14281"/>
                </a:cubicBezTo>
                <a:cubicBezTo>
                  <a:pt x="5000" y="14250"/>
                  <a:pt x="4968" y="14250"/>
                  <a:pt x="4937" y="14250"/>
                </a:cubicBezTo>
                <a:close/>
                <a:moveTo>
                  <a:pt x="5031" y="14937"/>
                </a:moveTo>
                <a:cubicBezTo>
                  <a:pt x="5000" y="14906"/>
                  <a:pt x="4968" y="14937"/>
                  <a:pt x="4968" y="14937"/>
                </a:cubicBezTo>
                <a:cubicBezTo>
                  <a:pt x="4968" y="14906"/>
                  <a:pt x="4968" y="14875"/>
                  <a:pt x="4968" y="14875"/>
                </a:cubicBezTo>
                <a:cubicBezTo>
                  <a:pt x="5031" y="14875"/>
                  <a:pt x="5062" y="14875"/>
                  <a:pt x="5125" y="14875"/>
                </a:cubicBezTo>
                <a:cubicBezTo>
                  <a:pt x="5093" y="14844"/>
                  <a:pt x="5062" y="14844"/>
                  <a:pt x="5062" y="14812"/>
                </a:cubicBezTo>
                <a:cubicBezTo>
                  <a:pt x="5062" y="14844"/>
                  <a:pt x="5093" y="14844"/>
                  <a:pt x="5125" y="14875"/>
                </a:cubicBezTo>
                <a:cubicBezTo>
                  <a:pt x="5125" y="14906"/>
                  <a:pt x="5156" y="14906"/>
                  <a:pt x="5187" y="14906"/>
                </a:cubicBezTo>
                <a:cubicBezTo>
                  <a:pt x="5375" y="14906"/>
                  <a:pt x="5531" y="14937"/>
                  <a:pt x="5718" y="14969"/>
                </a:cubicBezTo>
                <a:cubicBezTo>
                  <a:pt x="5718" y="14969"/>
                  <a:pt x="5750" y="14937"/>
                  <a:pt x="5750" y="14969"/>
                </a:cubicBezTo>
                <a:cubicBezTo>
                  <a:pt x="5750" y="15000"/>
                  <a:pt x="5718" y="15031"/>
                  <a:pt x="5718" y="15000"/>
                </a:cubicBezTo>
                <a:cubicBezTo>
                  <a:pt x="5531" y="14969"/>
                  <a:pt x="5343" y="14969"/>
                  <a:pt x="5187" y="14937"/>
                </a:cubicBezTo>
                <a:cubicBezTo>
                  <a:pt x="5187" y="14937"/>
                  <a:pt x="5187" y="14969"/>
                  <a:pt x="5187" y="14969"/>
                </a:cubicBezTo>
                <a:cubicBezTo>
                  <a:pt x="5187" y="14969"/>
                  <a:pt x="5187" y="14937"/>
                  <a:pt x="5187" y="14937"/>
                </a:cubicBezTo>
                <a:cubicBezTo>
                  <a:pt x="5125" y="14969"/>
                  <a:pt x="5062" y="14937"/>
                  <a:pt x="5031" y="14937"/>
                </a:cubicBezTo>
                <a:close/>
                <a:moveTo>
                  <a:pt x="8218" y="16156"/>
                </a:moveTo>
                <a:cubicBezTo>
                  <a:pt x="8218" y="16187"/>
                  <a:pt x="8187" y="16187"/>
                  <a:pt x="8187" y="16187"/>
                </a:cubicBezTo>
                <a:cubicBezTo>
                  <a:pt x="8000" y="16125"/>
                  <a:pt x="7875" y="16031"/>
                  <a:pt x="7687" y="15969"/>
                </a:cubicBezTo>
                <a:cubicBezTo>
                  <a:pt x="7593" y="15937"/>
                  <a:pt x="7468" y="15875"/>
                  <a:pt x="7375" y="15844"/>
                </a:cubicBezTo>
                <a:cubicBezTo>
                  <a:pt x="7187" y="15812"/>
                  <a:pt x="7000" y="15719"/>
                  <a:pt x="6812" y="15625"/>
                </a:cubicBezTo>
                <a:cubicBezTo>
                  <a:pt x="6656" y="15562"/>
                  <a:pt x="6500" y="15500"/>
                  <a:pt x="6343" y="15437"/>
                </a:cubicBezTo>
                <a:cubicBezTo>
                  <a:pt x="6156" y="15375"/>
                  <a:pt x="5968" y="15312"/>
                  <a:pt x="5781" y="15250"/>
                </a:cubicBezTo>
                <a:cubicBezTo>
                  <a:pt x="5718" y="15219"/>
                  <a:pt x="5656" y="15219"/>
                  <a:pt x="5562" y="15187"/>
                </a:cubicBezTo>
                <a:cubicBezTo>
                  <a:pt x="5468" y="15187"/>
                  <a:pt x="5375" y="15156"/>
                  <a:pt x="5250" y="15125"/>
                </a:cubicBezTo>
                <a:cubicBezTo>
                  <a:pt x="5250" y="15125"/>
                  <a:pt x="5250" y="15125"/>
                  <a:pt x="5250" y="15125"/>
                </a:cubicBezTo>
                <a:cubicBezTo>
                  <a:pt x="5250" y="15125"/>
                  <a:pt x="5250" y="15094"/>
                  <a:pt x="5218" y="15125"/>
                </a:cubicBezTo>
                <a:cubicBezTo>
                  <a:pt x="5218" y="15125"/>
                  <a:pt x="5187" y="15125"/>
                  <a:pt x="5187" y="15125"/>
                </a:cubicBezTo>
                <a:cubicBezTo>
                  <a:pt x="5187" y="15125"/>
                  <a:pt x="5187" y="15125"/>
                  <a:pt x="5187" y="15125"/>
                </a:cubicBezTo>
                <a:cubicBezTo>
                  <a:pt x="5187" y="15094"/>
                  <a:pt x="5187" y="15094"/>
                  <a:pt x="5187" y="15062"/>
                </a:cubicBezTo>
                <a:cubicBezTo>
                  <a:pt x="5187" y="15062"/>
                  <a:pt x="5218" y="15062"/>
                  <a:pt x="5218" y="15062"/>
                </a:cubicBezTo>
                <a:cubicBezTo>
                  <a:pt x="5250" y="15125"/>
                  <a:pt x="5281" y="15094"/>
                  <a:pt x="5343" y="15094"/>
                </a:cubicBezTo>
                <a:cubicBezTo>
                  <a:pt x="5437" y="15094"/>
                  <a:pt x="5562" y="15125"/>
                  <a:pt x="5656" y="15156"/>
                </a:cubicBezTo>
                <a:cubicBezTo>
                  <a:pt x="5968" y="15219"/>
                  <a:pt x="6250" y="15312"/>
                  <a:pt x="6531" y="15437"/>
                </a:cubicBezTo>
                <a:cubicBezTo>
                  <a:pt x="6562" y="15469"/>
                  <a:pt x="6625" y="15469"/>
                  <a:pt x="6656" y="15500"/>
                </a:cubicBezTo>
                <a:cubicBezTo>
                  <a:pt x="6812" y="15562"/>
                  <a:pt x="7000" y="15625"/>
                  <a:pt x="7156" y="15719"/>
                </a:cubicBezTo>
                <a:cubicBezTo>
                  <a:pt x="7250" y="15750"/>
                  <a:pt x="7343" y="15750"/>
                  <a:pt x="7437" y="15812"/>
                </a:cubicBezTo>
                <a:cubicBezTo>
                  <a:pt x="7468" y="15812"/>
                  <a:pt x="7468" y="15844"/>
                  <a:pt x="7500" y="15844"/>
                </a:cubicBezTo>
                <a:cubicBezTo>
                  <a:pt x="7593" y="15844"/>
                  <a:pt x="7656" y="15875"/>
                  <a:pt x="7718" y="15906"/>
                </a:cubicBezTo>
                <a:cubicBezTo>
                  <a:pt x="7781" y="15937"/>
                  <a:pt x="7875" y="15969"/>
                  <a:pt x="7937" y="16000"/>
                </a:cubicBezTo>
                <a:cubicBezTo>
                  <a:pt x="7937" y="16000"/>
                  <a:pt x="7937" y="16000"/>
                  <a:pt x="7937" y="16000"/>
                </a:cubicBezTo>
                <a:cubicBezTo>
                  <a:pt x="8000" y="16031"/>
                  <a:pt x="8062" y="16062"/>
                  <a:pt x="8125" y="16094"/>
                </a:cubicBezTo>
                <a:cubicBezTo>
                  <a:pt x="8125" y="16125"/>
                  <a:pt x="8156" y="16125"/>
                  <a:pt x="8156" y="16125"/>
                </a:cubicBezTo>
                <a:cubicBezTo>
                  <a:pt x="8187" y="16125"/>
                  <a:pt x="8218" y="16156"/>
                  <a:pt x="8218" y="16156"/>
                </a:cubicBezTo>
                <a:close/>
                <a:moveTo>
                  <a:pt x="8312" y="16156"/>
                </a:moveTo>
                <a:cubicBezTo>
                  <a:pt x="8250" y="16125"/>
                  <a:pt x="8218" y="16062"/>
                  <a:pt x="8125" y="16062"/>
                </a:cubicBezTo>
                <a:cubicBezTo>
                  <a:pt x="8093" y="16031"/>
                  <a:pt x="8031" y="15969"/>
                  <a:pt x="7937" y="16000"/>
                </a:cubicBezTo>
                <a:cubicBezTo>
                  <a:pt x="7937" y="15969"/>
                  <a:pt x="7906" y="15969"/>
                  <a:pt x="7906" y="15969"/>
                </a:cubicBezTo>
                <a:cubicBezTo>
                  <a:pt x="7843" y="15906"/>
                  <a:pt x="7781" y="15906"/>
                  <a:pt x="7718" y="15875"/>
                </a:cubicBezTo>
                <a:cubicBezTo>
                  <a:pt x="7593" y="15812"/>
                  <a:pt x="7500" y="15781"/>
                  <a:pt x="7406" y="15750"/>
                </a:cubicBezTo>
                <a:cubicBezTo>
                  <a:pt x="7250" y="15719"/>
                  <a:pt x="7125" y="15656"/>
                  <a:pt x="6968" y="15594"/>
                </a:cubicBezTo>
                <a:cubicBezTo>
                  <a:pt x="6781" y="15531"/>
                  <a:pt x="6593" y="15406"/>
                  <a:pt x="6406" y="15344"/>
                </a:cubicBezTo>
                <a:cubicBezTo>
                  <a:pt x="6281" y="15312"/>
                  <a:pt x="6187" y="15250"/>
                  <a:pt x="6093" y="15219"/>
                </a:cubicBezTo>
                <a:cubicBezTo>
                  <a:pt x="5968" y="15187"/>
                  <a:pt x="5875" y="15187"/>
                  <a:pt x="5781" y="15125"/>
                </a:cubicBezTo>
                <a:cubicBezTo>
                  <a:pt x="5781" y="15125"/>
                  <a:pt x="5781" y="15125"/>
                  <a:pt x="5781" y="15094"/>
                </a:cubicBezTo>
                <a:cubicBezTo>
                  <a:pt x="5906" y="15094"/>
                  <a:pt x="6031" y="15156"/>
                  <a:pt x="6187" y="15187"/>
                </a:cubicBezTo>
                <a:cubicBezTo>
                  <a:pt x="6312" y="15250"/>
                  <a:pt x="6468" y="15312"/>
                  <a:pt x="6625" y="15375"/>
                </a:cubicBezTo>
                <a:cubicBezTo>
                  <a:pt x="6750" y="15437"/>
                  <a:pt x="6906" y="15500"/>
                  <a:pt x="7062" y="15562"/>
                </a:cubicBezTo>
                <a:cubicBezTo>
                  <a:pt x="7250" y="15625"/>
                  <a:pt x="7437" y="15687"/>
                  <a:pt x="7593" y="15750"/>
                </a:cubicBezTo>
                <a:cubicBezTo>
                  <a:pt x="7718" y="15812"/>
                  <a:pt x="7843" y="15844"/>
                  <a:pt x="7937" y="15906"/>
                </a:cubicBezTo>
                <a:cubicBezTo>
                  <a:pt x="8031" y="15937"/>
                  <a:pt x="8093" y="15969"/>
                  <a:pt x="8156" y="16031"/>
                </a:cubicBezTo>
                <a:cubicBezTo>
                  <a:pt x="8218" y="16062"/>
                  <a:pt x="8281" y="16062"/>
                  <a:pt x="8312" y="16094"/>
                </a:cubicBezTo>
                <a:cubicBezTo>
                  <a:pt x="8312" y="16125"/>
                  <a:pt x="8312" y="16125"/>
                  <a:pt x="8312" y="16156"/>
                </a:cubicBezTo>
                <a:close/>
                <a:moveTo>
                  <a:pt x="8250" y="15844"/>
                </a:moveTo>
                <a:cubicBezTo>
                  <a:pt x="8281" y="15875"/>
                  <a:pt x="8312" y="15875"/>
                  <a:pt x="8281" y="15937"/>
                </a:cubicBezTo>
                <a:cubicBezTo>
                  <a:pt x="8250" y="15937"/>
                  <a:pt x="8312" y="15969"/>
                  <a:pt x="8312" y="16000"/>
                </a:cubicBezTo>
                <a:cubicBezTo>
                  <a:pt x="8281" y="16031"/>
                  <a:pt x="8281" y="16000"/>
                  <a:pt x="8250" y="16000"/>
                </a:cubicBezTo>
                <a:cubicBezTo>
                  <a:pt x="8093" y="15906"/>
                  <a:pt x="7968" y="15844"/>
                  <a:pt x="7812" y="15781"/>
                </a:cubicBezTo>
                <a:cubicBezTo>
                  <a:pt x="7687" y="15719"/>
                  <a:pt x="7562" y="15656"/>
                  <a:pt x="7437" y="15625"/>
                </a:cubicBezTo>
                <a:cubicBezTo>
                  <a:pt x="7187" y="15531"/>
                  <a:pt x="6968" y="15437"/>
                  <a:pt x="6750" y="15344"/>
                </a:cubicBezTo>
                <a:cubicBezTo>
                  <a:pt x="6468" y="15250"/>
                  <a:pt x="6218" y="15156"/>
                  <a:pt x="5937" y="15062"/>
                </a:cubicBezTo>
                <a:cubicBezTo>
                  <a:pt x="5906" y="15062"/>
                  <a:pt x="5875" y="15062"/>
                  <a:pt x="5812" y="15031"/>
                </a:cubicBezTo>
                <a:cubicBezTo>
                  <a:pt x="5781" y="15031"/>
                  <a:pt x="5781" y="15000"/>
                  <a:pt x="5781" y="15000"/>
                </a:cubicBezTo>
                <a:cubicBezTo>
                  <a:pt x="5781" y="14969"/>
                  <a:pt x="5812" y="14969"/>
                  <a:pt x="5812" y="14969"/>
                </a:cubicBezTo>
                <a:cubicBezTo>
                  <a:pt x="6000" y="15031"/>
                  <a:pt x="6156" y="15062"/>
                  <a:pt x="6312" y="15125"/>
                </a:cubicBezTo>
                <a:cubicBezTo>
                  <a:pt x="6406" y="15187"/>
                  <a:pt x="6500" y="15187"/>
                  <a:pt x="6593" y="15219"/>
                </a:cubicBezTo>
                <a:cubicBezTo>
                  <a:pt x="6781" y="15312"/>
                  <a:pt x="6968" y="15375"/>
                  <a:pt x="7156" y="15469"/>
                </a:cubicBezTo>
                <a:cubicBezTo>
                  <a:pt x="7312" y="15500"/>
                  <a:pt x="7437" y="15562"/>
                  <a:pt x="7593" y="15625"/>
                </a:cubicBezTo>
                <a:cubicBezTo>
                  <a:pt x="7781" y="15687"/>
                  <a:pt x="7968" y="15781"/>
                  <a:pt x="8125" y="15875"/>
                </a:cubicBezTo>
                <a:cubicBezTo>
                  <a:pt x="8125" y="15875"/>
                  <a:pt x="8125" y="15875"/>
                  <a:pt x="8125" y="15875"/>
                </a:cubicBezTo>
                <a:cubicBezTo>
                  <a:pt x="8156" y="15875"/>
                  <a:pt x="8187" y="15937"/>
                  <a:pt x="8218" y="15906"/>
                </a:cubicBezTo>
                <a:cubicBezTo>
                  <a:pt x="8218" y="15875"/>
                  <a:pt x="8187" y="15844"/>
                  <a:pt x="8156" y="15844"/>
                </a:cubicBezTo>
                <a:cubicBezTo>
                  <a:pt x="8031" y="15781"/>
                  <a:pt x="7906" y="15687"/>
                  <a:pt x="7781" y="15656"/>
                </a:cubicBezTo>
                <a:cubicBezTo>
                  <a:pt x="7625" y="15594"/>
                  <a:pt x="7468" y="15531"/>
                  <a:pt x="7312" y="15469"/>
                </a:cubicBezTo>
                <a:cubicBezTo>
                  <a:pt x="7156" y="15406"/>
                  <a:pt x="6968" y="15344"/>
                  <a:pt x="6812" y="15281"/>
                </a:cubicBezTo>
                <a:cubicBezTo>
                  <a:pt x="6656" y="15187"/>
                  <a:pt x="6500" y="15156"/>
                  <a:pt x="6375" y="15062"/>
                </a:cubicBezTo>
                <a:cubicBezTo>
                  <a:pt x="6375" y="15062"/>
                  <a:pt x="6375" y="15062"/>
                  <a:pt x="6343" y="15062"/>
                </a:cubicBezTo>
                <a:cubicBezTo>
                  <a:pt x="6375" y="15031"/>
                  <a:pt x="6375" y="15031"/>
                  <a:pt x="6343" y="15031"/>
                </a:cubicBezTo>
                <a:cubicBezTo>
                  <a:pt x="6531" y="15062"/>
                  <a:pt x="6656" y="15156"/>
                  <a:pt x="6812" y="15219"/>
                </a:cubicBezTo>
                <a:cubicBezTo>
                  <a:pt x="7000" y="15281"/>
                  <a:pt x="7187" y="15375"/>
                  <a:pt x="7406" y="15437"/>
                </a:cubicBezTo>
                <a:cubicBezTo>
                  <a:pt x="7562" y="15500"/>
                  <a:pt x="7687" y="15562"/>
                  <a:pt x="7843" y="15625"/>
                </a:cubicBezTo>
                <a:cubicBezTo>
                  <a:pt x="8000" y="15687"/>
                  <a:pt x="8125" y="15750"/>
                  <a:pt x="8250" y="15844"/>
                </a:cubicBezTo>
                <a:close/>
                <a:moveTo>
                  <a:pt x="8156" y="15687"/>
                </a:moveTo>
                <a:cubicBezTo>
                  <a:pt x="8156" y="15719"/>
                  <a:pt x="8187" y="15719"/>
                  <a:pt x="8187" y="15750"/>
                </a:cubicBezTo>
                <a:cubicBezTo>
                  <a:pt x="8156" y="15750"/>
                  <a:pt x="8156" y="15719"/>
                  <a:pt x="8125" y="15719"/>
                </a:cubicBezTo>
                <a:cubicBezTo>
                  <a:pt x="8031" y="15656"/>
                  <a:pt x="7937" y="15594"/>
                  <a:pt x="7812" y="15531"/>
                </a:cubicBezTo>
                <a:cubicBezTo>
                  <a:pt x="7625" y="15469"/>
                  <a:pt x="7437" y="15375"/>
                  <a:pt x="7250" y="15312"/>
                </a:cubicBezTo>
                <a:cubicBezTo>
                  <a:pt x="7125" y="15281"/>
                  <a:pt x="7000" y="15219"/>
                  <a:pt x="6875" y="15156"/>
                </a:cubicBezTo>
                <a:cubicBezTo>
                  <a:pt x="6718" y="15094"/>
                  <a:pt x="6562" y="15062"/>
                  <a:pt x="6437" y="15000"/>
                </a:cubicBezTo>
                <a:cubicBezTo>
                  <a:pt x="6437" y="15000"/>
                  <a:pt x="6406" y="15000"/>
                  <a:pt x="6406" y="15000"/>
                </a:cubicBezTo>
                <a:cubicBezTo>
                  <a:pt x="6406" y="14969"/>
                  <a:pt x="6406" y="14969"/>
                  <a:pt x="6406" y="14969"/>
                </a:cubicBezTo>
                <a:cubicBezTo>
                  <a:pt x="6406" y="14969"/>
                  <a:pt x="6406" y="14969"/>
                  <a:pt x="6406" y="14969"/>
                </a:cubicBezTo>
                <a:cubicBezTo>
                  <a:pt x="6406" y="14906"/>
                  <a:pt x="6468" y="14937"/>
                  <a:pt x="6500" y="14969"/>
                </a:cubicBezTo>
                <a:cubicBezTo>
                  <a:pt x="6656" y="15031"/>
                  <a:pt x="6843" y="15094"/>
                  <a:pt x="7000" y="15156"/>
                </a:cubicBezTo>
                <a:cubicBezTo>
                  <a:pt x="7250" y="15250"/>
                  <a:pt x="7468" y="15344"/>
                  <a:pt x="7687" y="15437"/>
                </a:cubicBezTo>
                <a:cubicBezTo>
                  <a:pt x="7875" y="15500"/>
                  <a:pt x="8031" y="15562"/>
                  <a:pt x="8156" y="15687"/>
                </a:cubicBezTo>
                <a:close/>
                <a:moveTo>
                  <a:pt x="7937" y="15500"/>
                </a:moveTo>
                <a:cubicBezTo>
                  <a:pt x="7906" y="15469"/>
                  <a:pt x="7875" y="15469"/>
                  <a:pt x="7843" y="15437"/>
                </a:cubicBezTo>
                <a:cubicBezTo>
                  <a:pt x="7781" y="15437"/>
                  <a:pt x="7718" y="15375"/>
                  <a:pt x="7656" y="15344"/>
                </a:cubicBezTo>
                <a:cubicBezTo>
                  <a:pt x="7625" y="15344"/>
                  <a:pt x="7593" y="15344"/>
                  <a:pt x="7625" y="15312"/>
                </a:cubicBezTo>
                <a:cubicBezTo>
                  <a:pt x="7625" y="15281"/>
                  <a:pt x="7656" y="15312"/>
                  <a:pt x="7656" y="15312"/>
                </a:cubicBezTo>
                <a:cubicBezTo>
                  <a:pt x="7718" y="15344"/>
                  <a:pt x="7812" y="15375"/>
                  <a:pt x="7875" y="15406"/>
                </a:cubicBezTo>
                <a:cubicBezTo>
                  <a:pt x="7875" y="15406"/>
                  <a:pt x="7875" y="15437"/>
                  <a:pt x="7843" y="15437"/>
                </a:cubicBezTo>
                <a:cubicBezTo>
                  <a:pt x="7875" y="15469"/>
                  <a:pt x="7906" y="15469"/>
                  <a:pt x="7937" y="15500"/>
                </a:cubicBezTo>
                <a:close/>
                <a:moveTo>
                  <a:pt x="7937" y="15344"/>
                </a:moveTo>
                <a:cubicBezTo>
                  <a:pt x="7968" y="15344"/>
                  <a:pt x="8000" y="15375"/>
                  <a:pt x="7968" y="15375"/>
                </a:cubicBezTo>
                <a:cubicBezTo>
                  <a:pt x="7968" y="15406"/>
                  <a:pt x="7937" y="15406"/>
                  <a:pt x="7937" y="15375"/>
                </a:cubicBezTo>
                <a:cubicBezTo>
                  <a:pt x="7750" y="15250"/>
                  <a:pt x="7531" y="15187"/>
                  <a:pt x="7343" y="15094"/>
                </a:cubicBezTo>
                <a:cubicBezTo>
                  <a:pt x="7281" y="15062"/>
                  <a:pt x="7187" y="15094"/>
                  <a:pt x="7125" y="15031"/>
                </a:cubicBezTo>
                <a:cubicBezTo>
                  <a:pt x="7281" y="15031"/>
                  <a:pt x="7375" y="15062"/>
                  <a:pt x="7500" y="15125"/>
                </a:cubicBezTo>
                <a:cubicBezTo>
                  <a:pt x="7562" y="15156"/>
                  <a:pt x="7656" y="15187"/>
                  <a:pt x="7718" y="15219"/>
                </a:cubicBezTo>
                <a:cubicBezTo>
                  <a:pt x="7812" y="15250"/>
                  <a:pt x="7875" y="15281"/>
                  <a:pt x="7937" y="15344"/>
                </a:cubicBezTo>
                <a:close/>
                <a:moveTo>
                  <a:pt x="8312" y="14906"/>
                </a:moveTo>
                <a:cubicBezTo>
                  <a:pt x="8312" y="14906"/>
                  <a:pt x="8312" y="14906"/>
                  <a:pt x="8312" y="14906"/>
                </a:cubicBezTo>
                <a:cubicBezTo>
                  <a:pt x="8312" y="14906"/>
                  <a:pt x="8312" y="14906"/>
                  <a:pt x="8312" y="14906"/>
                </a:cubicBezTo>
                <a:cubicBezTo>
                  <a:pt x="8125" y="14906"/>
                  <a:pt x="7875" y="14812"/>
                  <a:pt x="7843" y="14750"/>
                </a:cubicBezTo>
                <a:cubicBezTo>
                  <a:pt x="8000" y="14812"/>
                  <a:pt x="8156" y="14812"/>
                  <a:pt x="8312" y="14906"/>
                </a:cubicBezTo>
                <a:close/>
                <a:moveTo>
                  <a:pt x="7875" y="15187"/>
                </a:moveTo>
                <a:cubicBezTo>
                  <a:pt x="7906" y="15219"/>
                  <a:pt x="7906" y="15219"/>
                  <a:pt x="7906" y="15250"/>
                </a:cubicBezTo>
                <a:cubicBezTo>
                  <a:pt x="7906" y="15250"/>
                  <a:pt x="7906" y="15250"/>
                  <a:pt x="7937" y="15250"/>
                </a:cubicBezTo>
                <a:cubicBezTo>
                  <a:pt x="7937" y="15250"/>
                  <a:pt x="7937" y="15250"/>
                  <a:pt x="7906" y="15250"/>
                </a:cubicBezTo>
                <a:cubicBezTo>
                  <a:pt x="7906" y="15250"/>
                  <a:pt x="7906" y="15250"/>
                  <a:pt x="7906" y="15250"/>
                </a:cubicBezTo>
                <a:cubicBezTo>
                  <a:pt x="7843" y="15219"/>
                  <a:pt x="7781" y="15187"/>
                  <a:pt x="7718" y="15156"/>
                </a:cubicBezTo>
                <a:cubicBezTo>
                  <a:pt x="7625" y="15094"/>
                  <a:pt x="7500" y="15062"/>
                  <a:pt x="7406" y="15031"/>
                </a:cubicBezTo>
                <a:cubicBezTo>
                  <a:pt x="7375" y="15000"/>
                  <a:pt x="7343" y="15000"/>
                  <a:pt x="7375" y="15000"/>
                </a:cubicBezTo>
                <a:cubicBezTo>
                  <a:pt x="7375" y="14969"/>
                  <a:pt x="7406" y="14969"/>
                  <a:pt x="7406" y="14969"/>
                </a:cubicBezTo>
                <a:cubicBezTo>
                  <a:pt x="7562" y="15031"/>
                  <a:pt x="7750" y="15125"/>
                  <a:pt x="7875" y="15187"/>
                </a:cubicBezTo>
                <a:close/>
                <a:moveTo>
                  <a:pt x="8781" y="14187"/>
                </a:moveTo>
                <a:cubicBezTo>
                  <a:pt x="8812" y="14187"/>
                  <a:pt x="8812" y="14187"/>
                  <a:pt x="8843" y="14219"/>
                </a:cubicBezTo>
                <a:cubicBezTo>
                  <a:pt x="8812" y="14219"/>
                  <a:pt x="8812" y="14219"/>
                  <a:pt x="8812" y="14250"/>
                </a:cubicBezTo>
                <a:cubicBezTo>
                  <a:pt x="8812" y="14219"/>
                  <a:pt x="8781" y="14219"/>
                  <a:pt x="8781" y="14250"/>
                </a:cubicBezTo>
                <a:cubicBezTo>
                  <a:pt x="8781" y="14250"/>
                  <a:pt x="8812" y="14250"/>
                  <a:pt x="8812" y="14250"/>
                </a:cubicBezTo>
                <a:cubicBezTo>
                  <a:pt x="8812" y="14281"/>
                  <a:pt x="8843" y="14281"/>
                  <a:pt x="8843" y="14312"/>
                </a:cubicBezTo>
                <a:cubicBezTo>
                  <a:pt x="8812" y="14312"/>
                  <a:pt x="8750" y="14312"/>
                  <a:pt x="8718" y="14344"/>
                </a:cubicBezTo>
                <a:cubicBezTo>
                  <a:pt x="8718" y="14344"/>
                  <a:pt x="8718" y="14344"/>
                  <a:pt x="8718" y="14344"/>
                </a:cubicBezTo>
                <a:cubicBezTo>
                  <a:pt x="8656" y="14312"/>
                  <a:pt x="8562" y="14375"/>
                  <a:pt x="8468" y="14375"/>
                </a:cubicBezTo>
                <a:cubicBezTo>
                  <a:pt x="8500" y="14375"/>
                  <a:pt x="8500" y="14375"/>
                  <a:pt x="8531" y="14375"/>
                </a:cubicBezTo>
                <a:cubicBezTo>
                  <a:pt x="8593" y="14375"/>
                  <a:pt x="8656" y="14375"/>
                  <a:pt x="8718" y="14344"/>
                </a:cubicBezTo>
                <a:cubicBezTo>
                  <a:pt x="8781" y="14344"/>
                  <a:pt x="8843" y="14344"/>
                  <a:pt x="8875" y="14344"/>
                </a:cubicBezTo>
                <a:cubicBezTo>
                  <a:pt x="8906" y="14469"/>
                  <a:pt x="8812" y="14406"/>
                  <a:pt x="8750" y="14437"/>
                </a:cubicBezTo>
                <a:cubicBezTo>
                  <a:pt x="8843" y="14437"/>
                  <a:pt x="8875" y="14437"/>
                  <a:pt x="8937" y="14437"/>
                </a:cubicBezTo>
                <a:cubicBezTo>
                  <a:pt x="9000" y="14437"/>
                  <a:pt x="9000" y="14469"/>
                  <a:pt x="9000" y="14500"/>
                </a:cubicBezTo>
                <a:cubicBezTo>
                  <a:pt x="8968" y="14531"/>
                  <a:pt x="8906" y="14500"/>
                  <a:pt x="8843" y="14531"/>
                </a:cubicBezTo>
                <a:cubicBezTo>
                  <a:pt x="8812" y="14531"/>
                  <a:pt x="8781" y="14531"/>
                  <a:pt x="8718" y="14531"/>
                </a:cubicBezTo>
                <a:cubicBezTo>
                  <a:pt x="8656" y="14531"/>
                  <a:pt x="8593" y="14594"/>
                  <a:pt x="8500" y="14562"/>
                </a:cubicBezTo>
                <a:cubicBezTo>
                  <a:pt x="8406" y="14500"/>
                  <a:pt x="8312" y="14500"/>
                  <a:pt x="8187" y="14500"/>
                </a:cubicBezTo>
                <a:cubicBezTo>
                  <a:pt x="8187" y="14500"/>
                  <a:pt x="8156" y="14500"/>
                  <a:pt x="8156" y="14500"/>
                </a:cubicBezTo>
                <a:cubicBezTo>
                  <a:pt x="8031" y="14437"/>
                  <a:pt x="7906" y="14406"/>
                  <a:pt x="7781" y="14375"/>
                </a:cubicBezTo>
                <a:cubicBezTo>
                  <a:pt x="7750" y="14375"/>
                  <a:pt x="7687" y="14344"/>
                  <a:pt x="7656" y="14312"/>
                </a:cubicBezTo>
                <a:cubicBezTo>
                  <a:pt x="7812" y="14375"/>
                  <a:pt x="8000" y="14344"/>
                  <a:pt x="8125" y="14437"/>
                </a:cubicBezTo>
                <a:cubicBezTo>
                  <a:pt x="8125" y="14469"/>
                  <a:pt x="8156" y="14469"/>
                  <a:pt x="8156" y="14437"/>
                </a:cubicBezTo>
                <a:cubicBezTo>
                  <a:pt x="8187" y="14437"/>
                  <a:pt x="8156" y="14406"/>
                  <a:pt x="8156" y="14406"/>
                </a:cubicBezTo>
                <a:cubicBezTo>
                  <a:pt x="8125" y="14375"/>
                  <a:pt x="8062" y="14344"/>
                  <a:pt x="8031" y="14344"/>
                </a:cubicBezTo>
                <a:cubicBezTo>
                  <a:pt x="7937" y="14312"/>
                  <a:pt x="7843" y="14312"/>
                  <a:pt x="7781" y="14281"/>
                </a:cubicBezTo>
                <a:cubicBezTo>
                  <a:pt x="7718" y="14250"/>
                  <a:pt x="7687" y="14250"/>
                  <a:pt x="7656" y="14219"/>
                </a:cubicBezTo>
                <a:cubicBezTo>
                  <a:pt x="7656" y="14219"/>
                  <a:pt x="7625" y="14219"/>
                  <a:pt x="7625" y="14187"/>
                </a:cubicBezTo>
                <a:cubicBezTo>
                  <a:pt x="7625" y="14187"/>
                  <a:pt x="7625" y="14187"/>
                  <a:pt x="7625" y="14187"/>
                </a:cubicBezTo>
                <a:cubicBezTo>
                  <a:pt x="7656" y="14187"/>
                  <a:pt x="7656" y="14187"/>
                  <a:pt x="7656" y="14219"/>
                </a:cubicBezTo>
                <a:cubicBezTo>
                  <a:pt x="7812" y="14250"/>
                  <a:pt x="7968" y="14250"/>
                  <a:pt x="8125" y="14344"/>
                </a:cubicBezTo>
                <a:cubicBezTo>
                  <a:pt x="8187" y="14375"/>
                  <a:pt x="8281" y="14344"/>
                  <a:pt x="8343" y="14375"/>
                </a:cubicBezTo>
                <a:cubicBezTo>
                  <a:pt x="8406" y="14406"/>
                  <a:pt x="8468" y="14406"/>
                  <a:pt x="8531" y="14375"/>
                </a:cubicBezTo>
                <a:cubicBezTo>
                  <a:pt x="8500" y="14375"/>
                  <a:pt x="8500" y="14375"/>
                  <a:pt x="8468" y="14375"/>
                </a:cubicBezTo>
                <a:cubicBezTo>
                  <a:pt x="8375" y="14344"/>
                  <a:pt x="8281" y="14312"/>
                  <a:pt x="8187" y="14312"/>
                </a:cubicBezTo>
                <a:cubicBezTo>
                  <a:pt x="8125" y="14344"/>
                  <a:pt x="8093" y="14281"/>
                  <a:pt x="8031" y="14250"/>
                </a:cubicBezTo>
                <a:cubicBezTo>
                  <a:pt x="7937" y="14219"/>
                  <a:pt x="7875" y="14219"/>
                  <a:pt x="7781" y="14187"/>
                </a:cubicBezTo>
                <a:cubicBezTo>
                  <a:pt x="7718" y="14187"/>
                  <a:pt x="7687" y="14156"/>
                  <a:pt x="7656" y="14125"/>
                </a:cubicBezTo>
                <a:cubicBezTo>
                  <a:pt x="7937" y="14156"/>
                  <a:pt x="8156" y="14281"/>
                  <a:pt x="8406" y="14281"/>
                </a:cubicBezTo>
                <a:cubicBezTo>
                  <a:pt x="8375" y="14250"/>
                  <a:pt x="8312" y="14250"/>
                  <a:pt x="8281" y="14250"/>
                </a:cubicBezTo>
                <a:cubicBezTo>
                  <a:pt x="8218" y="14219"/>
                  <a:pt x="8187" y="14219"/>
                  <a:pt x="8156" y="14219"/>
                </a:cubicBezTo>
                <a:cubicBezTo>
                  <a:pt x="8156" y="14219"/>
                  <a:pt x="8125" y="14219"/>
                  <a:pt x="8125" y="14187"/>
                </a:cubicBezTo>
                <a:cubicBezTo>
                  <a:pt x="8125" y="14187"/>
                  <a:pt x="8156" y="14187"/>
                  <a:pt x="8156" y="14187"/>
                </a:cubicBezTo>
                <a:cubicBezTo>
                  <a:pt x="8250" y="14156"/>
                  <a:pt x="8343" y="14219"/>
                  <a:pt x="8406" y="14187"/>
                </a:cubicBezTo>
                <a:cubicBezTo>
                  <a:pt x="8406" y="14187"/>
                  <a:pt x="8406" y="14187"/>
                  <a:pt x="8406" y="14187"/>
                </a:cubicBezTo>
                <a:cubicBezTo>
                  <a:pt x="8406" y="14187"/>
                  <a:pt x="8406" y="14187"/>
                  <a:pt x="8406" y="14187"/>
                </a:cubicBezTo>
                <a:cubicBezTo>
                  <a:pt x="8531" y="14187"/>
                  <a:pt x="8656" y="14156"/>
                  <a:pt x="8781" y="14187"/>
                </a:cubicBezTo>
                <a:close/>
                <a:moveTo>
                  <a:pt x="8843" y="14250"/>
                </a:moveTo>
                <a:cubicBezTo>
                  <a:pt x="8843" y="14250"/>
                  <a:pt x="8812" y="14250"/>
                  <a:pt x="8812" y="14250"/>
                </a:cubicBezTo>
                <a:cubicBezTo>
                  <a:pt x="8812" y="14250"/>
                  <a:pt x="8812" y="14250"/>
                  <a:pt x="8812" y="14250"/>
                </a:cubicBezTo>
                <a:cubicBezTo>
                  <a:pt x="8812" y="14250"/>
                  <a:pt x="8843" y="14250"/>
                  <a:pt x="8843" y="14250"/>
                </a:cubicBezTo>
                <a:close/>
                <a:moveTo>
                  <a:pt x="7656" y="14000"/>
                </a:moveTo>
                <a:cubicBezTo>
                  <a:pt x="7812" y="14062"/>
                  <a:pt x="7968" y="14062"/>
                  <a:pt x="8125" y="14156"/>
                </a:cubicBezTo>
                <a:cubicBezTo>
                  <a:pt x="8062" y="14187"/>
                  <a:pt x="7687" y="14062"/>
                  <a:pt x="7656" y="14000"/>
                </a:cubicBezTo>
                <a:close/>
                <a:moveTo>
                  <a:pt x="8687" y="13937"/>
                </a:moveTo>
                <a:cubicBezTo>
                  <a:pt x="8687" y="13937"/>
                  <a:pt x="8687" y="13937"/>
                  <a:pt x="8687" y="13937"/>
                </a:cubicBezTo>
                <a:cubicBezTo>
                  <a:pt x="8687" y="13937"/>
                  <a:pt x="8687" y="13937"/>
                  <a:pt x="8687" y="13937"/>
                </a:cubicBezTo>
                <a:cubicBezTo>
                  <a:pt x="8656" y="13937"/>
                  <a:pt x="8656" y="13937"/>
                  <a:pt x="8656" y="13937"/>
                </a:cubicBezTo>
                <a:cubicBezTo>
                  <a:pt x="8656" y="13937"/>
                  <a:pt x="8656" y="13937"/>
                  <a:pt x="8687" y="13937"/>
                </a:cubicBezTo>
                <a:close/>
                <a:moveTo>
                  <a:pt x="8250" y="14000"/>
                </a:moveTo>
                <a:cubicBezTo>
                  <a:pt x="8281" y="14000"/>
                  <a:pt x="8312" y="14031"/>
                  <a:pt x="8343" y="14000"/>
                </a:cubicBezTo>
                <a:cubicBezTo>
                  <a:pt x="8468" y="13969"/>
                  <a:pt x="8562" y="14000"/>
                  <a:pt x="8656" y="14000"/>
                </a:cubicBezTo>
                <a:cubicBezTo>
                  <a:pt x="8687" y="14000"/>
                  <a:pt x="8687" y="14000"/>
                  <a:pt x="8687" y="14031"/>
                </a:cubicBezTo>
                <a:cubicBezTo>
                  <a:pt x="8625" y="14062"/>
                  <a:pt x="8562" y="14031"/>
                  <a:pt x="8531" y="14062"/>
                </a:cubicBezTo>
                <a:cubicBezTo>
                  <a:pt x="8531" y="14062"/>
                  <a:pt x="8531" y="14062"/>
                  <a:pt x="8531" y="14062"/>
                </a:cubicBezTo>
                <a:cubicBezTo>
                  <a:pt x="8406" y="14094"/>
                  <a:pt x="8281" y="14031"/>
                  <a:pt x="8156" y="14031"/>
                </a:cubicBezTo>
                <a:cubicBezTo>
                  <a:pt x="8125" y="14031"/>
                  <a:pt x="8125" y="14031"/>
                  <a:pt x="8093" y="14000"/>
                </a:cubicBezTo>
                <a:cubicBezTo>
                  <a:pt x="8156" y="14000"/>
                  <a:pt x="8187" y="14000"/>
                  <a:pt x="8250" y="14000"/>
                </a:cubicBezTo>
                <a:close/>
                <a:moveTo>
                  <a:pt x="8187" y="14094"/>
                </a:moveTo>
                <a:cubicBezTo>
                  <a:pt x="8281" y="14094"/>
                  <a:pt x="8406" y="14094"/>
                  <a:pt x="8531" y="14062"/>
                </a:cubicBezTo>
                <a:cubicBezTo>
                  <a:pt x="8593" y="14062"/>
                  <a:pt x="8656" y="14094"/>
                  <a:pt x="8718" y="14125"/>
                </a:cubicBezTo>
                <a:cubicBezTo>
                  <a:pt x="8625" y="14156"/>
                  <a:pt x="8500" y="14156"/>
                  <a:pt x="8406" y="14156"/>
                </a:cubicBezTo>
                <a:cubicBezTo>
                  <a:pt x="8343" y="14156"/>
                  <a:pt x="8250" y="14156"/>
                  <a:pt x="8187" y="14125"/>
                </a:cubicBezTo>
                <a:cubicBezTo>
                  <a:pt x="8125" y="14125"/>
                  <a:pt x="8093" y="14094"/>
                  <a:pt x="8062" y="14094"/>
                </a:cubicBezTo>
                <a:cubicBezTo>
                  <a:pt x="7937" y="14000"/>
                  <a:pt x="7781" y="14031"/>
                  <a:pt x="7656" y="13937"/>
                </a:cubicBezTo>
                <a:cubicBezTo>
                  <a:pt x="7625" y="13937"/>
                  <a:pt x="7625" y="13937"/>
                  <a:pt x="7625" y="13906"/>
                </a:cubicBezTo>
                <a:cubicBezTo>
                  <a:pt x="7781" y="13969"/>
                  <a:pt x="7937" y="13969"/>
                  <a:pt x="8093" y="14062"/>
                </a:cubicBezTo>
                <a:cubicBezTo>
                  <a:pt x="8125" y="14062"/>
                  <a:pt x="8156" y="14062"/>
                  <a:pt x="8187" y="14094"/>
                </a:cubicBezTo>
                <a:close/>
                <a:moveTo>
                  <a:pt x="8062" y="13969"/>
                </a:moveTo>
                <a:cubicBezTo>
                  <a:pt x="7937" y="13906"/>
                  <a:pt x="7781" y="13937"/>
                  <a:pt x="7625" y="13844"/>
                </a:cubicBezTo>
                <a:cubicBezTo>
                  <a:pt x="7750" y="13812"/>
                  <a:pt x="8000" y="13906"/>
                  <a:pt x="8062" y="13969"/>
                </a:cubicBezTo>
                <a:close/>
                <a:moveTo>
                  <a:pt x="7687" y="13250"/>
                </a:moveTo>
                <a:cubicBezTo>
                  <a:pt x="7718" y="13250"/>
                  <a:pt x="7718" y="13250"/>
                  <a:pt x="7718" y="13219"/>
                </a:cubicBezTo>
                <a:cubicBezTo>
                  <a:pt x="7718" y="13219"/>
                  <a:pt x="7718" y="13187"/>
                  <a:pt x="7687" y="13187"/>
                </a:cubicBezTo>
                <a:cubicBezTo>
                  <a:pt x="7718" y="13187"/>
                  <a:pt x="7718" y="13219"/>
                  <a:pt x="7718" y="13219"/>
                </a:cubicBezTo>
                <a:cubicBezTo>
                  <a:pt x="7718" y="13250"/>
                  <a:pt x="7718" y="13250"/>
                  <a:pt x="7687" y="13250"/>
                </a:cubicBezTo>
                <a:close/>
                <a:moveTo>
                  <a:pt x="7718" y="13281"/>
                </a:move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687" y="13281"/>
                </a:cubicBezTo>
                <a:cubicBezTo>
                  <a:pt x="7687" y="13281"/>
                  <a:pt x="7687" y="13281"/>
                  <a:pt x="7718" y="13281"/>
                </a:cubicBezTo>
                <a:close/>
                <a:moveTo>
                  <a:pt x="7656" y="10812"/>
                </a:moveTo>
                <a:cubicBezTo>
                  <a:pt x="7687" y="10812"/>
                  <a:pt x="7718" y="10844"/>
                  <a:pt x="7750" y="10875"/>
                </a:cubicBezTo>
                <a:cubicBezTo>
                  <a:pt x="7750" y="10875"/>
                  <a:pt x="7750" y="10875"/>
                  <a:pt x="7750" y="10875"/>
                </a:cubicBezTo>
                <a:cubicBezTo>
                  <a:pt x="7718" y="10844"/>
                  <a:pt x="7687" y="10812"/>
                  <a:pt x="7656" y="10812"/>
                </a:cubicBezTo>
                <a:close/>
                <a:moveTo>
                  <a:pt x="7812" y="8406"/>
                </a:moveTo>
                <a:cubicBezTo>
                  <a:pt x="7812" y="8406"/>
                  <a:pt x="7812" y="8406"/>
                  <a:pt x="7781" y="8406"/>
                </a:cubicBezTo>
                <a:cubicBezTo>
                  <a:pt x="7812" y="8406"/>
                  <a:pt x="7812" y="8406"/>
                  <a:pt x="7812" y="8406"/>
                </a:cubicBezTo>
                <a:cubicBezTo>
                  <a:pt x="7812" y="8375"/>
                  <a:pt x="7843" y="8375"/>
                  <a:pt x="7843" y="8344"/>
                </a:cubicBezTo>
                <a:cubicBezTo>
                  <a:pt x="7843" y="8375"/>
                  <a:pt x="7812" y="8375"/>
                  <a:pt x="7812" y="8406"/>
                </a:cubicBezTo>
                <a:close/>
                <a:moveTo>
                  <a:pt x="7843" y="8750"/>
                </a:moveTo>
                <a:cubicBezTo>
                  <a:pt x="7843" y="8750"/>
                  <a:pt x="7843" y="8750"/>
                  <a:pt x="7843" y="8750"/>
                </a:cubicBezTo>
                <a:cubicBezTo>
                  <a:pt x="7843" y="8750"/>
                  <a:pt x="7843" y="8750"/>
                  <a:pt x="7812" y="8750"/>
                </a:cubicBezTo>
                <a:cubicBezTo>
                  <a:pt x="7843" y="8750"/>
                  <a:pt x="7843" y="8750"/>
                  <a:pt x="7843" y="8750"/>
                </a:cubicBezTo>
                <a:close/>
                <a:moveTo>
                  <a:pt x="7906" y="8594"/>
                </a:moveTo>
                <a:cubicBezTo>
                  <a:pt x="7906" y="8562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37" y="8531"/>
                  <a:pt x="7937" y="8531"/>
                </a:cubicBezTo>
                <a:cubicBezTo>
                  <a:pt x="7937" y="8531"/>
                  <a:pt x="7906" y="8562"/>
                  <a:pt x="7906" y="8594"/>
                </a:cubicBezTo>
                <a:cubicBezTo>
                  <a:pt x="7875" y="8594"/>
                  <a:pt x="7843" y="8594"/>
                  <a:pt x="7843" y="8625"/>
                </a:cubicBezTo>
                <a:cubicBezTo>
                  <a:pt x="7843" y="8594"/>
                  <a:pt x="7875" y="8594"/>
                  <a:pt x="7906" y="8594"/>
                </a:cubicBezTo>
                <a:close/>
                <a:moveTo>
                  <a:pt x="7781" y="8312"/>
                </a:moveTo>
                <a:cubicBezTo>
                  <a:pt x="7781" y="8312"/>
                  <a:pt x="7781" y="8312"/>
                  <a:pt x="7781" y="8312"/>
                </a:cubicBezTo>
                <a:cubicBezTo>
                  <a:pt x="7781" y="8312"/>
                  <a:pt x="7781" y="8312"/>
                  <a:pt x="7781" y="8344"/>
                </a:cubicBezTo>
                <a:cubicBezTo>
                  <a:pt x="7781" y="8312"/>
                  <a:pt x="7781" y="8312"/>
                  <a:pt x="7781" y="8312"/>
                </a:cubicBezTo>
                <a:cubicBezTo>
                  <a:pt x="7812" y="8281"/>
                  <a:pt x="7812" y="8250"/>
                  <a:pt x="7843" y="8219"/>
                </a:cubicBezTo>
                <a:cubicBezTo>
                  <a:pt x="7812" y="8250"/>
                  <a:pt x="7812" y="8281"/>
                  <a:pt x="7781" y="8312"/>
                </a:cubicBezTo>
                <a:close/>
                <a:moveTo>
                  <a:pt x="7781" y="11219"/>
                </a:moveTo>
                <a:cubicBezTo>
                  <a:pt x="7781" y="11219"/>
                  <a:pt x="7781" y="11219"/>
                  <a:pt x="7781" y="11219"/>
                </a:cubicBezTo>
                <a:cubicBezTo>
                  <a:pt x="7781" y="11219"/>
                  <a:pt x="7781" y="11219"/>
                  <a:pt x="7781" y="11219"/>
                </a:cubicBezTo>
                <a:cubicBezTo>
                  <a:pt x="7781" y="11219"/>
                  <a:pt x="7812" y="11219"/>
                  <a:pt x="7812" y="11219"/>
                </a:cubicBezTo>
                <a:cubicBezTo>
                  <a:pt x="7812" y="11219"/>
                  <a:pt x="7781" y="11219"/>
                  <a:pt x="7781" y="11219"/>
                </a:cubicBezTo>
                <a:cubicBezTo>
                  <a:pt x="7812" y="11312"/>
                  <a:pt x="7843" y="11406"/>
                  <a:pt x="7906" y="11500"/>
                </a:cubicBezTo>
                <a:cubicBezTo>
                  <a:pt x="7843" y="11406"/>
                  <a:pt x="7812" y="11312"/>
                  <a:pt x="7781" y="11219"/>
                </a:cubicBezTo>
                <a:close/>
                <a:moveTo>
                  <a:pt x="7812" y="12937"/>
                </a:moveTo>
                <a:cubicBezTo>
                  <a:pt x="7812" y="12937"/>
                  <a:pt x="7812" y="12937"/>
                  <a:pt x="7812" y="12937"/>
                </a:cubicBezTo>
                <a:cubicBezTo>
                  <a:pt x="7812" y="12937"/>
                  <a:pt x="7812" y="12937"/>
                  <a:pt x="7812" y="12969"/>
                </a:cubicBezTo>
                <a:cubicBezTo>
                  <a:pt x="7812" y="12937"/>
                  <a:pt x="7812" y="12937"/>
                  <a:pt x="7812" y="12937"/>
                </a:cubicBezTo>
                <a:close/>
                <a:moveTo>
                  <a:pt x="7812" y="13406"/>
                </a:moveTo>
                <a:cubicBezTo>
                  <a:pt x="7812" y="13406"/>
                  <a:pt x="7812" y="13406"/>
                  <a:pt x="7843" y="13406"/>
                </a:cubicBezTo>
                <a:cubicBezTo>
                  <a:pt x="7875" y="13437"/>
                  <a:pt x="7937" y="13437"/>
                  <a:pt x="7968" y="13500"/>
                </a:cubicBezTo>
                <a:cubicBezTo>
                  <a:pt x="7906" y="13500"/>
                  <a:pt x="7875" y="13469"/>
                  <a:pt x="7812" y="13469"/>
                </a:cubicBezTo>
                <a:cubicBezTo>
                  <a:pt x="7812" y="13469"/>
                  <a:pt x="7781" y="13437"/>
                  <a:pt x="7812" y="13406"/>
                </a:cubicBezTo>
                <a:close/>
                <a:moveTo>
                  <a:pt x="8406" y="13500"/>
                </a:moveTo>
                <a:cubicBezTo>
                  <a:pt x="8437" y="13531"/>
                  <a:pt x="8406" y="13531"/>
                  <a:pt x="8375" y="13531"/>
                </a:cubicBezTo>
                <a:cubicBezTo>
                  <a:pt x="8406" y="13562"/>
                  <a:pt x="8437" y="13562"/>
                  <a:pt x="8468" y="13594"/>
                </a:cubicBezTo>
                <a:cubicBezTo>
                  <a:pt x="8406" y="13594"/>
                  <a:pt x="8343" y="13594"/>
                  <a:pt x="8281" y="13594"/>
                </a:cubicBezTo>
                <a:cubicBezTo>
                  <a:pt x="8250" y="13594"/>
                  <a:pt x="8187" y="13594"/>
                  <a:pt x="8187" y="13562"/>
                </a:cubicBezTo>
                <a:cubicBezTo>
                  <a:pt x="8187" y="13531"/>
                  <a:pt x="8218" y="13531"/>
                  <a:pt x="8250" y="13531"/>
                </a:cubicBezTo>
                <a:cubicBezTo>
                  <a:pt x="8250" y="13500"/>
                  <a:pt x="8250" y="13500"/>
                  <a:pt x="8250" y="13500"/>
                </a:cubicBezTo>
                <a:cubicBezTo>
                  <a:pt x="8218" y="13500"/>
                  <a:pt x="8187" y="13531"/>
                  <a:pt x="8187" y="13469"/>
                </a:cubicBezTo>
                <a:cubicBezTo>
                  <a:pt x="8187" y="13437"/>
                  <a:pt x="8218" y="13469"/>
                  <a:pt x="8250" y="13469"/>
                </a:cubicBezTo>
                <a:cubicBezTo>
                  <a:pt x="8281" y="13437"/>
                  <a:pt x="8312" y="13469"/>
                  <a:pt x="8343" y="13469"/>
                </a:cubicBezTo>
                <a:cubicBezTo>
                  <a:pt x="8375" y="13469"/>
                  <a:pt x="8406" y="13437"/>
                  <a:pt x="8406" y="13500"/>
                </a:cubicBezTo>
                <a:close/>
                <a:moveTo>
                  <a:pt x="8375" y="12875"/>
                </a:move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906"/>
                  <a:pt x="8375" y="12906"/>
                </a:cubicBezTo>
                <a:cubicBezTo>
                  <a:pt x="8375" y="12906"/>
                  <a:pt x="8375" y="12875"/>
                  <a:pt x="8375" y="12875"/>
                </a:cubicBezTo>
                <a:close/>
                <a:moveTo>
                  <a:pt x="8406" y="13406"/>
                </a:moveTo>
                <a:cubicBezTo>
                  <a:pt x="8312" y="13406"/>
                  <a:pt x="8250" y="13437"/>
                  <a:pt x="8156" y="13406"/>
                </a:cubicBezTo>
                <a:cubicBezTo>
                  <a:pt x="8156" y="13375"/>
                  <a:pt x="8250" y="13375"/>
                  <a:pt x="8187" y="13344"/>
                </a:cubicBezTo>
                <a:cubicBezTo>
                  <a:pt x="8187" y="13312"/>
                  <a:pt x="8187" y="13281"/>
                  <a:pt x="8187" y="13281"/>
                </a:cubicBezTo>
                <a:cubicBezTo>
                  <a:pt x="8187" y="13250"/>
                  <a:pt x="8218" y="13250"/>
                  <a:pt x="8250" y="13250"/>
                </a:cubicBezTo>
                <a:cubicBezTo>
                  <a:pt x="8281" y="13250"/>
                  <a:pt x="8312" y="13281"/>
                  <a:pt x="8312" y="13281"/>
                </a:cubicBezTo>
                <a:cubicBezTo>
                  <a:pt x="8343" y="13312"/>
                  <a:pt x="8343" y="13375"/>
                  <a:pt x="8406" y="13406"/>
                </a:cubicBezTo>
                <a:close/>
                <a:moveTo>
                  <a:pt x="8312" y="13219"/>
                </a:moveTo>
                <a:cubicBezTo>
                  <a:pt x="8312" y="13219"/>
                  <a:pt x="8281" y="13219"/>
                  <a:pt x="8281" y="13219"/>
                </a:cubicBezTo>
                <a:cubicBezTo>
                  <a:pt x="8281" y="13219"/>
                  <a:pt x="8281" y="13219"/>
                  <a:pt x="8250" y="13219"/>
                </a:cubicBezTo>
                <a:cubicBezTo>
                  <a:pt x="8218" y="13219"/>
                  <a:pt x="8187" y="13250"/>
                  <a:pt x="8187" y="13187"/>
                </a:cubicBezTo>
                <a:cubicBezTo>
                  <a:pt x="8156" y="13156"/>
                  <a:pt x="8218" y="13156"/>
                  <a:pt x="8250" y="13156"/>
                </a:cubicBezTo>
                <a:cubicBezTo>
                  <a:pt x="8281" y="13156"/>
                  <a:pt x="8312" y="13156"/>
                  <a:pt x="8312" y="13219"/>
                </a:cubicBezTo>
                <a:close/>
                <a:moveTo>
                  <a:pt x="8281" y="13094"/>
                </a:moveTo>
                <a:cubicBezTo>
                  <a:pt x="8281" y="13125"/>
                  <a:pt x="8250" y="13125"/>
                  <a:pt x="8218" y="13125"/>
                </a:cubicBezTo>
                <a:cubicBezTo>
                  <a:pt x="8218" y="13125"/>
                  <a:pt x="8187" y="13125"/>
                  <a:pt x="8187" y="13094"/>
                </a:cubicBezTo>
                <a:cubicBezTo>
                  <a:pt x="8187" y="13062"/>
                  <a:pt x="8187" y="13062"/>
                  <a:pt x="8218" y="13062"/>
                </a:cubicBezTo>
                <a:cubicBezTo>
                  <a:pt x="8218" y="13094"/>
                  <a:pt x="8281" y="13062"/>
                  <a:pt x="8281" y="13094"/>
                </a:cubicBezTo>
                <a:close/>
                <a:moveTo>
                  <a:pt x="8125" y="12969"/>
                </a:moveTo>
                <a:cubicBezTo>
                  <a:pt x="8156" y="12969"/>
                  <a:pt x="8156" y="12969"/>
                  <a:pt x="8156" y="12969"/>
                </a:cubicBezTo>
                <a:cubicBezTo>
                  <a:pt x="8156" y="12969"/>
                  <a:pt x="8156" y="12969"/>
                  <a:pt x="8156" y="12969"/>
                </a:cubicBezTo>
                <a:cubicBezTo>
                  <a:pt x="8156" y="12969"/>
                  <a:pt x="8187" y="12969"/>
                  <a:pt x="8187" y="12969"/>
                </a:cubicBezTo>
                <a:cubicBezTo>
                  <a:pt x="8187" y="13000"/>
                  <a:pt x="8218" y="12969"/>
                  <a:pt x="8218" y="13000"/>
                </a:cubicBezTo>
                <a:cubicBezTo>
                  <a:pt x="8218" y="13000"/>
                  <a:pt x="8250" y="13031"/>
                  <a:pt x="8218" y="13031"/>
                </a:cubicBezTo>
                <a:cubicBezTo>
                  <a:pt x="8187" y="13031"/>
                  <a:pt x="8125" y="13062"/>
                  <a:pt x="8125" y="13000"/>
                </a:cubicBezTo>
                <a:cubicBezTo>
                  <a:pt x="8125" y="13000"/>
                  <a:pt x="8125" y="12969"/>
                  <a:pt x="8125" y="12969"/>
                </a:cubicBezTo>
                <a:close/>
                <a:moveTo>
                  <a:pt x="8250" y="13719"/>
                </a:moveTo>
                <a:cubicBezTo>
                  <a:pt x="8218" y="13656"/>
                  <a:pt x="8125" y="13687"/>
                  <a:pt x="8093" y="13625"/>
                </a:cubicBezTo>
                <a:cubicBezTo>
                  <a:pt x="8187" y="13625"/>
                  <a:pt x="8281" y="13625"/>
                  <a:pt x="8406" y="13625"/>
                </a:cubicBezTo>
                <a:cubicBezTo>
                  <a:pt x="8406" y="13625"/>
                  <a:pt x="8437" y="13625"/>
                  <a:pt x="8468" y="13625"/>
                </a:cubicBezTo>
                <a:cubicBezTo>
                  <a:pt x="8500" y="13656"/>
                  <a:pt x="8500" y="13656"/>
                  <a:pt x="8500" y="13687"/>
                </a:cubicBezTo>
                <a:cubicBezTo>
                  <a:pt x="8468" y="13719"/>
                  <a:pt x="8500" y="13719"/>
                  <a:pt x="8531" y="13719"/>
                </a:cubicBezTo>
                <a:cubicBezTo>
                  <a:pt x="8562" y="13750"/>
                  <a:pt x="8562" y="13750"/>
                  <a:pt x="8562" y="13750"/>
                </a:cubicBezTo>
                <a:cubicBezTo>
                  <a:pt x="8562" y="13781"/>
                  <a:pt x="8531" y="13781"/>
                  <a:pt x="8531" y="13781"/>
                </a:cubicBezTo>
                <a:cubicBezTo>
                  <a:pt x="8375" y="13750"/>
                  <a:pt x="8250" y="13812"/>
                  <a:pt x="8093" y="13750"/>
                </a:cubicBezTo>
                <a:cubicBezTo>
                  <a:pt x="8000" y="13719"/>
                  <a:pt x="7906" y="13687"/>
                  <a:pt x="7812" y="13656"/>
                </a:cubicBezTo>
                <a:cubicBezTo>
                  <a:pt x="7812" y="13625"/>
                  <a:pt x="7812" y="13625"/>
                  <a:pt x="7812" y="13625"/>
                </a:cubicBezTo>
                <a:cubicBezTo>
                  <a:pt x="7968" y="13656"/>
                  <a:pt x="8093" y="13719"/>
                  <a:pt x="8250" y="13719"/>
                </a:cubicBezTo>
                <a:close/>
                <a:moveTo>
                  <a:pt x="8031" y="13625"/>
                </a:moveTo>
                <a:cubicBezTo>
                  <a:pt x="8031" y="13625"/>
                  <a:pt x="8031" y="13625"/>
                  <a:pt x="8031" y="13656"/>
                </a:cubicBezTo>
                <a:cubicBezTo>
                  <a:pt x="8000" y="13594"/>
                  <a:pt x="7937" y="13594"/>
                  <a:pt x="7875" y="13562"/>
                </a:cubicBezTo>
                <a:cubicBezTo>
                  <a:pt x="7843" y="13562"/>
                  <a:pt x="7812" y="13562"/>
                  <a:pt x="7812" y="13562"/>
                </a:cubicBezTo>
                <a:cubicBezTo>
                  <a:pt x="7812" y="13531"/>
                  <a:pt x="7812" y="13531"/>
                  <a:pt x="7812" y="13531"/>
                </a:cubicBezTo>
                <a:cubicBezTo>
                  <a:pt x="7812" y="13500"/>
                  <a:pt x="7812" y="13500"/>
                  <a:pt x="7812" y="13500"/>
                </a:cubicBezTo>
                <a:cubicBezTo>
                  <a:pt x="7906" y="13562"/>
                  <a:pt x="7968" y="13562"/>
                  <a:pt x="8031" y="13625"/>
                </a:cubicBezTo>
                <a:close/>
                <a:moveTo>
                  <a:pt x="8031" y="8656"/>
                </a:moveTo>
                <a:cubicBezTo>
                  <a:pt x="8031" y="8656"/>
                  <a:pt x="8031" y="8656"/>
                  <a:pt x="8031" y="8625"/>
                </a:cubicBezTo>
                <a:cubicBezTo>
                  <a:pt x="8031" y="8625"/>
                  <a:pt x="8031" y="8625"/>
                  <a:pt x="8031" y="8625"/>
                </a:cubicBezTo>
                <a:cubicBezTo>
                  <a:pt x="8031" y="8656"/>
                  <a:pt x="8031" y="8656"/>
                  <a:pt x="8031" y="8656"/>
                </a:cubicBezTo>
                <a:close/>
                <a:moveTo>
                  <a:pt x="8031" y="8250"/>
                </a:moveTo>
                <a:cubicBezTo>
                  <a:pt x="8031" y="8250"/>
                  <a:pt x="8031" y="8250"/>
                  <a:pt x="8031" y="8250"/>
                </a:cubicBezTo>
                <a:cubicBezTo>
                  <a:pt x="8031" y="8281"/>
                  <a:pt x="8031" y="8281"/>
                  <a:pt x="8000" y="8312"/>
                </a:cubicBezTo>
                <a:cubicBezTo>
                  <a:pt x="8031" y="8281"/>
                  <a:pt x="8031" y="8281"/>
                  <a:pt x="8031" y="8250"/>
                </a:cubicBezTo>
                <a:cubicBezTo>
                  <a:pt x="8031" y="8250"/>
                  <a:pt x="8031" y="8250"/>
                  <a:pt x="8031" y="8250"/>
                </a:cubicBezTo>
                <a:cubicBezTo>
                  <a:pt x="7968" y="8281"/>
                  <a:pt x="7937" y="8312"/>
                  <a:pt x="7906" y="8375"/>
                </a:cubicBezTo>
                <a:cubicBezTo>
                  <a:pt x="7937" y="8312"/>
                  <a:pt x="7968" y="8281"/>
                  <a:pt x="8031" y="8250"/>
                </a:cubicBezTo>
                <a:cubicBezTo>
                  <a:pt x="8031" y="8219"/>
                  <a:pt x="8031" y="8219"/>
                  <a:pt x="8031" y="8187"/>
                </a:cubicBezTo>
                <a:cubicBezTo>
                  <a:pt x="8031" y="8219"/>
                  <a:pt x="8031" y="8219"/>
                  <a:pt x="8031" y="8250"/>
                </a:cubicBezTo>
                <a:close/>
                <a:moveTo>
                  <a:pt x="8062" y="8156"/>
                </a:moveTo>
                <a:cubicBezTo>
                  <a:pt x="8062" y="8156"/>
                  <a:pt x="8093" y="8156"/>
                  <a:pt x="8093" y="8156"/>
                </a:cubicBezTo>
                <a:cubicBezTo>
                  <a:pt x="8093" y="8156"/>
                  <a:pt x="8062" y="8156"/>
                  <a:pt x="8062" y="8156"/>
                </a:cubicBezTo>
                <a:cubicBezTo>
                  <a:pt x="8093" y="8125"/>
                  <a:pt x="8093" y="8094"/>
                  <a:pt x="8125" y="8031"/>
                </a:cubicBezTo>
                <a:cubicBezTo>
                  <a:pt x="8093" y="8094"/>
                  <a:pt x="8093" y="8125"/>
                  <a:pt x="8062" y="8156"/>
                </a:cubicBezTo>
                <a:close/>
                <a:moveTo>
                  <a:pt x="8156" y="8437"/>
                </a:moveTo>
                <a:cubicBezTo>
                  <a:pt x="8125" y="8437"/>
                  <a:pt x="8125" y="8437"/>
                  <a:pt x="8125" y="8469"/>
                </a:cubicBezTo>
                <a:cubicBezTo>
                  <a:pt x="8125" y="8437"/>
                  <a:pt x="8125" y="8437"/>
                  <a:pt x="8156" y="8437"/>
                </a:cubicBezTo>
                <a:cubicBezTo>
                  <a:pt x="8156" y="8437"/>
                  <a:pt x="8156" y="8406"/>
                  <a:pt x="8187" y="8406"/>
                </a:cubicBezTo>
                <a:cubicBezTo>
                  <a:pt x="8156" y="8406"/>
                  <a:pt x="8156" y="8437"/>
                  <a:pt x="8156" y="8437"/>
                </a:cubicBezTo>
                <a:close/>
                <a:moveTo>
                  <a:pt x="7937" y="8250"/>
                </a:moveTo>
                <a:cubicBezTo>
                  <a:pt x="7937" y="8281"/>
                  <a:pt x="7906" y="8312"/>
                  <a:pt x="7906" y="8344"/>
                </a:cubicBezTo>
                <a:cubicBezTo>
                  <a:pt x="7906" y="8312"/>
                  <a:pt x="7937" y="8281"/>
                  <a:pt x="7937" y="8250"/>
                </a:cubicBezTo>
                <a:cubicBezTo>
                  <a:pt x="7937" y="8250"/>
                  <a:pt x="7937" y="8250"/>
                  <a:pt x="7937" y="8250"/>
                </a:cubicBezTo>
                <a:cubicBezTo>
                  <a:pt x="8031" y="8094"/>
                  <a:pt x="8093" y="7906"/>
                  <a:pt x="8156" y="7750"/>
                </a:cubicBezTo>
                <a:cubicBezTo>
                  <a:pt x="8187" y="7687"/>
                  <a:pt x="8187" y="7656"/>
                  <a:pt x="8187" y="7594"/>
                </a:cubicBezTo>
                <a:cubicBezTo>
                  <a:pt x="8250" y="7656"/>
                  <a:pt x="8062" y="8125"/>
                  <a:pt x="7937" y="8250"/>
                </a:cubicBezTo>
                <a:close/>
                <a:moveTo>
                  <a:pt x="7875" y="8187"/>
                </a:moveTo>
                <a:cubicBezTo>
                  <a:pt x="7906" y="8094"/>
                  <a:pt x="7968" y="8000"/>
                  <a:pt x="8000" y="7937"/>
                </a:cubicBezTo>
                <a:cubicBezTo>
                  <a:pt x="8031" y="7844"/>
                  <a:pt x="8062" y="7750"/>
                  <a:pt x="8093" y="7656"/>
                </a:cubicBezTo>
                <a:cubicBezTo>
                  <a:pt x="8093" y="7625"/>
                  <a:pt x="8125" y="7625"/>
                  <a:pt x="8125" y="7594"/>
                </a:cubicBezTo>
                <a:cubicBezTo>
                  <a:pt x="8156" y="7687"/>
                  <a:pt x="8031" y="7969"/>
                  <a:pt x="7906" y="8187"/>
                </a:cubicBezTo>
                <a:cubicBezTo>
                  <a:pt x="7906" y="8187"/>
                  <a:pt x="7906" y="8187"/>
                  <a:pt x="7906" y="8187"/>
                </a:cubicBezTo>
                <a:cubicBezTo>
                  <a:pt x="7906" y="8187"/>
                  <a:pt x="7875" y="8187"/>
                  <a:pt x="7875" y="8187"/>
                </a:cubicBezTo>
                <a:close/>
                <a:moveTo>
                  <a:pt x="8218" y="8344"/>
                </a:moveTo>
                <a:cubicBezTo>
                  <a:pt x="8218" y="8344"/>
                  <a:pt x="8218" y="8344"/>
                  <a:pt x="8218" y="8344"/>
                </a:cubicBezTo>
                <a:cubicBezTo>
                  <a:pt x="8218" y="8344"/>
                  <a:pt x="8218" y="8344"/>
                  <a:pt x="8218" y="8312"/>
                </a:cubicBezTo>
                <a:cubicBezTo>
                  <a:pt x="8218" y="8344"/>
                  <a:pt x="8218" y="8344"/>
                  <a:pt x="8218" y="8344"/>
                </a:cubicBezTo>
                <a:close/>
                <a:moveTo>
                  <a:pt x="8312" y="7812"/>
                </a:moveTo>
                <a:cubicBezTo>
                  <a:pt x="8312" y="7844"/>
                  <a:pt x="8281" y="7906"/>
                  <a:pt x="8281" y="7937"/>
                </a:cubicBezTo>
                <a:cubicBezTo>
                  <a:pt x="8281" y="7937"/>
                  <a:pt x="8281" y="7937"/>
                  <a:pt x="8250" y="7937"/>
                </a:cubicBezTo>
                <a:cubicBezTo>
                  <a:pt x="8250" y="7969"/>
                  <a:pt x="8218" y="8000"/>
                  <a:pt x="8218" y="8031"/>
                </a:cubicBezTo>
                <a:cubicBezTo>
                  <a:pt x="8218" y="8000"/>
                  <a:pt x="8250" y="7969"/>
                  <a:pt x="8250" y="7937"/>
                </a:cubicBezTo>
                <a:cubicBezTo>
                  <a:pt x="8281" y="7875"/>
                  <a:pt x="8281" y="7844"/>
                  <a:pt x="8281" y="7812"/>
                </a:cubicBezTo>
                <a:cubicBezTo>
                  <a:pt x="8281" y="7812"/>
                  <a:pt x="8312" y="7812"/>
                  <a:pt x="8312" y="7812"/>
                </a:cubicBezTo>
                <a:cubicBezTo>
                  <a:pt x="8312" y="7812"/>
                  <a:pt x="8312" y="7812"/>
                  <a:pt x="8312" y="7812"/>
                </a:cubicBezTo>
                <a:close/>
                <a:moveTo>
                  <a:pt x="8281" y="7125"/>
                </a:moveTo>
                <a:cubicBezTo>
                  <a:pt x="8250" y="7219"/>
                  <a:pt x="8218" y="7312"/>
                  <a:pt x="8218" y="7406"/>
                </a:cubicBezTo>
                <a:cubicBezTo>
                  <a:pt x="8218" y="7437"/>
                  <a:pt x="8187" y="7469"/>
                  <a:pt x="8187" y="7469"/>
                </a:cubicBezTo>
                <a:cubicBezTo>
                  <a:pt x="8156" y="7531"/>
                  <a:pt x="8156" y="7469"/>
                  <a:pt x="8156" y="7469"/>
                </a:cubicBezTo>
                <a:cubicBezTo>
                  <a:pt x="8156" y="7469"/>
                  <a:pt x="8156" y="7469"/>
                  <a:pt x="8156" y="7469"/>
                </a:cubicBezTo>
                <a:cubicBezTo>
                  <a:pt x="8156" y="7469"/>
                  <a:pt x="8156" y="7437"/>
                  <a:pt x="8156" y="7406"/>
                </a:cubicBezTo>
                <a:cubicBezTo>
                  <a:pt x="8156" y="7406"/>
                  <a:pt x="8156" y="7406"/>
                  <a:pt x="8156" y="7406"/>
                </a:cubicBezTo>
                <a:cubicBezTo>
                  <a:pt x="8125" y="7437"/>
                  <a:pt x="8125" y="7437"/>
                  <a:pt x="8125" y="7469"/>
                </a:cubicBezTo>
                <a:cubicBezTo>
                  <a:pt x="8062" y="7562"/>
                  <a:pt x="8062" y="7687"/>
                  <a:pt x="8000" y="7812"/>
                </a:cubicBezTo>
                <a:cubicBezTo>
                  <a:pt x="7937" y="7937"/>
                  <a:pt x="7843" y="8062"/>
                  <a:pt x="7781" y="8219"/>
                </a:cubicBezTo>
                <a:cubicBezTo>
                  <a:pt x="7750" y="8219"/>
                  <a:pt x="7750" y="8250"/>
                  <a:pt x="7750" y="8281"/>
                </a:cubicBezTo>
                <a:cubicBezTo>
                  <a:pt x="7718" y="8312"/>
                  <a:pt x="7687" y="8344"/>
                  <a:pt x="7656" y="8344"/>
                </a:cubicBezTo>
                <a:cubicBezTo>
                  <a:pt x="7656" y="8312"/>
                  <a:pt x="7687" y="8312"/>
                  <a:pt x="7687" y="8312"/>
                </a:cubicBezTo>
                <a:cubicBezTo>
                  <a:pt x="7656" y="8281"/>
                  <a:pt x="7656" y="8250"/>
                  <a:pt x="7625" y="8250"/>
                </a:cubicBezTo>
                <a:lnTo>
                  <a:pt x="7625" y="8250"/>
                </a:lnTo>
                <a:cubicBezTo>
                  <a:pt x="7625" y="8250"/>
                  <a:pt x="7625" y="8281"/>
                  <a:pt x="7625" y="8281"/>
                </a:cubicBezTo>
                <a:cubicBezTo>
                  <a:pt x="7625" y="8312"/>
                  <a:pt x="7625" y="8375"/>
                  <a:pt x="7656" y="8344"/>
                </a:cubicBezTo>
                <a:cubicBezTo>
                  <a:pt x="7656" y="8375"/>
                  <a:pt x="7625" y="8406"/>
                  <a:pt x="7625" y="8406"/>
                </a:cubicBezTo>
                <a:cubicBezTo>
                  <a:pt x="7562" y="8406"/>
                  <a:pt x="7500" y="8469"/>
                  <a:pt x="7468" y="8375"/>
                </a:cubicBezTo>
                <a:cubicBezTo>
                  <a:pt x="7406" y="8281"/>
                  <a:pt x="7375" y="8250"/>
                  <a:pt x="7437" y="8187"/>
                </a:cubicBezTo>
                <a:cubicBezTo>
                  <a:pt x="7468" y="8187"/>
                  <a:pt x="7468" y="8187"/>
                  <a:pt x="7468" y="8187"/>
                </a:cubicBezTo>
                <a:cubicBezTo>
                  <a:pt x="7593" y="8219"/>
                  <a:pt x="7593" y="8125"/>
                  <a:pt x="7625" y="8062"/>
                </a:cubicBezTo>
                <a:cubicBezTo>
                  <a:pt x="7656" y="8031"/>
                  <a:pt x="7656" y="8000"/>
                  <a:pt x="7687" y="7969"/>
                </a:cubicBezTo>
                <a:cubicBezTo>
                  <a:pt x="7687" y="8000"/>
                  <a:pt x="7656" y="8031"/>
                  <a:pt x="7656" y="8062"/>
                </a:cubicBezTo>
                <a:cubicBezTo>
                  <a:pt x="7718" y="8094"/>
                  <a:pt x="7687" y="8156"/>
                  <a:pt x="7687" y="8219"/>
                </a:cubicBezTo>
                <a:cubicBezTo>
                  <a:pt x="7687" y="8219"/>
                  <a:pt x="7687" y="8250"/>
                  <a:pt x="7718" y="8250"/>
                </a:cubicBezTo>
                <a:cubicBezTo>
                  <a:pt x="7718" y="8219"/>
                  <a:pt x="7750" y="8219"/>
                  <a:pt x="7750" y="8219"/>
                </a:cubicBezTo>
                <a:cubicBezTo>
                  <a:pt x="7812" y="8094"/>
                  <a:pt x="7875" y="7937"/>
                  <a:pt x="7937" y="7844"/>
                </a:cubicBezTo>
                <a:cubicBezTo>
                  <a:pt x="8000" y="7750"/>
                  <a:pt x="8000" y="7656"/>
                  <a:pt x="8062" y="7562"/>
                </a:cubicBezTo>
                <a:cubicBezTo>
                  <a:pt x="8093" y="7562"/>
                  <a:pt x="8062" y="7500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062" y="7469"/>
                  <a:pt x="8062" y="7469"/>
                  <a:pt x="8062" y="7469"/>
                </a:cubicBezTo>
                <a:cubicBezTo>
                  <a:pt x="8125" y="7375"/>
                  <a:pt x="8156" y="7250"/>
                  <a:pt x="8218" y="7125"/>
                </a:cubicBezTo>
                <a:cubicBezTo>
                  <a:pt x="8250" y="7031"/>
                  <a:pt x="8312" y="6937"/>
                  <a:pt x="8375" y="6844"/>
                </a:cubicBezTo>
                <a:cubicBezTo>
                  <a:pt x="8343" y="6937"/>
                  <a:pt x="8312" y="7031"/>
                  <a:pt x="8281" y="7125"/>
                </a:cubicBezTo>
                <a:close/>
                <a:moveTo>
                  <a:pt x="8406" y="8031"/>
                </a:moveTo>
                <a:cubicBezTo>
                  <a:pt x="8406" y="8031"/>
                  <a:pt x="8406" y="8031"/>
                  <a:pt x="8406" y="8031"/>
                </a:cubicBezTo>
                <a:cubicBezTo>
                  <a:pt x="8406" y="8031"/>
                  <a:pt x="8406" y="8031"/>
                  <a:pt x="8406" y="8031"/>
                </a:cubicBezTo>
                <a:close/>
                <a:moveTo>
                  <a:pt x="8250" y="6719"/>
                </a:moveTo>
                <a:cubicBezTo>
                  <a:pt x="8156" y="6906"/>
                  <a:pt x="8031" y="7062"/>
                  <a:pt x="7968" y="7281"/>
                </a:cubicBezTo>
                <a:cubicBezTo>
                  <a:pt x="7968" y="7312"/>
                  <a:pt x="7968" y="7344"/>
                  <a:pt x="7937" y="7344"/>
                </a:cubicBezTo>
                <a:cubicBezTo>
                  <a:pt x="7937" y="7344"/>
                  <a:pt x="7937" y="7344"/>
                  <a:pt x="7937" y="7344"/>
                </a:cubicBezTo>
                <a:cubicBezTo>
                  <a:pt x="7937" y="7375"/>
                  <a:pt x="7937" y="7406"/>
                  <a:pt x="7937" y="7406"/>
                </a:cubicBezTo>
                <a:cubicBezTo>
                  <a:pt x="7937" y="7406"/>
                  <a:pt x="7937" y="7406"/>
                  <a:pt x="7937" y="7406"/>
                </a:cubicBezTo>
                <a:cubicBezTo>
                  <a:pt x="7937" y="7406"/>
                  <a:pt x="7906" y="7406"/>
                  <a:pt x="7906" y="7406"/>
                </a:cubicBezTo>
                <a:cubicBezTo>
                  <a:pt x="7937" y="7219"/>
                  <a:pt x="7968" y="7062"/>
                  <a:pt x="8062" y="6875"/>
                </a:cubicBezTo>
                <a:cubicBezTo>
                  <a:pt x="8156" y="6719"/>
                  <a:pt x="8312" y="6594"/>
                  <a:pt x="8375" y="6437"/>
                </a:cubicBezTo>
                <a:cubicBezTo>
                  <a:pt x="8375" y="6437"/>
                  <a:pt x="8406" y="6406"/>
                  <a:pt x="8406" y="6406"/>
                </a:cubicBezTo>
                <a:cubicBezTo>
                  <a:pt x="8406" y="6406"/>
                  <a:pt x="8406" y="6437"/>
                  <a:pt x="8406" y="6437"/>
                </a:cubicBezTo>
                <a:cubicBezTo>
                  <a:pt x="8375" y="6562"/>
                  <a:pt x="8312" y="6625"/>
                  <a:pt x="8250" y="6719"/>
                </a:cubicBezTo>
                <a:close/>
                <a:moveTo>
                  <a:pt x="8500" y="6250"/>
                </a:moveTo>
                <a:cubicBezTo>
                  <a:pt x="8500" y="6281"/>
                  <a:pt x="8500" y="6312"/>
                  <a:pt x="8500" y="6344"/>
                </a:cubicBezTo>
                <a:cubicBezTo>
                  <a:pt x="8500" y="6312"/>
                  <a:pt x="8500" y="6281"/>
                  <a:pt x="8500" y="6250"/>
                </a:cubicBezTo>
                <a:cubicBezTo>
                  <a:pt x="8531" y="6250"/>
                  <a:pt x="8531" y="6250"/>
                  <a:pt x="8531" y="6250"/>
                </a:cubicBezTo>
                <a:cubicBezTo>
                  <a:pt x="8531" y="6250"/>
                  <a:pt x="8531" y="6250"/>
                  <a:pt x="8500" y="6250"/>
                </a:cubicBezTo>
                <a:close/>
                <a:moveTo>
                  <a:pt x="8500" y="6250"/>
                </a:moveTo>
                <a:cubicBezTo>
                  <a:pt x="8500" y="6250"/>
                  <a:pt x="8500" y="6250"/>
                  <a:pt x="8500" y="6250"/>
                </a:cubicBezTo>
                <a:cubicBezTo>
                  <a:pt x="8531" y="6219"/>
                  <a:pt x="8531" y="6156"/>
                  <a:pt x="8562" y="6094"/>
                </a:cubicBezTo>
                <a:cubicBezTo>
                  <a:pt x="8531" y="6156"/>
                  <a:pt x="8531" y="6219"/>
                  <a:pt x="8500" y="6250"/>
                </a:cubicBezTo>
                <a:close/>
                <a:moveTo>
                  <a:pt x="8531" y="6531"/>
                </a:moveTo>
                <a:cubicBezTo>
                  <a:pt x="8562" y="6500"/>
                  <a:pt x="8562" y="6500"/>
                  <a:pt x="8562" y="6469"/>
                </a:cubicBezTo>
                <a:cubicBezTo>
                  <a:pt x="8562" y="6469"/>
                  <a:pt x="8562" y="6469"/>
                  <a:pt x="8562" y="6469"/>
                </a:cubicBezTo>
                <a:cubicBezTo>
                  <a:pt x="8562" y="6469"/>
                  <a:pt x="8593" y="6469"/>
                  <a:pt x="8593" y="6437"/>
                </a:cubicBezTo>
                <a:cubicBezTo>
                  <a:pt x="8593" y="6469"/>
                  <a:pt x="8562" y="6469"/>
                  <a:pt x="8562" y="6469"/>
                </a:cubicBezTo>
                <a:cubicBezTo>
                  <a:pt x="8562" y="6500"/>
                  <a:pt x="8562" y="6500"/>
                  <a:pt x="8531" y="6531"/>
                </a:cubicBezTo>
                <a:close/>
                <a:moveTo>
                  <a:pt x="8718" y="6750"/>
                </a:moveTo>
                <a:cubicBezTo>
                  <a:pt x="8687" y="6875"/>
                  <a:pt x="8625" y="6937"/>
                  <a:pt x="8562" y="7000"/>
                </a:cubicBezTo>
                <a:cubicBezTo>
                  <a:pt x="8562" y="7000"/>
                  <a:pt x="8562" y="7000"/>
                  <a:pt x="8562" y="7000"/>
                </a:cubicBezTo>
                <a:cubicBezTo>
                  <a:pt x="8562" y="7000"/>
                  <a:pt x="8562" y="7000"/>
                  <a:pt x="8562" y="7000"/>
                </a:cubicBezTo>
                <a:cubicBezTo>
                  <a:pt x="8593" y="6906"/>
                  <a:pt x="8625" y="6844"/>
                  <a:pt x="8718" y="6750"/>
                </a:cubicBezTo>
                <a:close/>
                <a:moveTo>
                  <a:pt x="8656" y="8250"/>
                </a:moveTo>
                <a:cubicBezTo>
                  <a:pt x="8656" y="8281"/>
                  <a:pt x="8656" y="8281"/>
                  <a:pt x="8656" y="8312"/>
                </a:cubicBezTo>
                <a:cubicBezTo>
                  <a:pt x="8656" y="8312"/>
                  <a:pt x="8656" y="8312"/>
                  <a:pt x="8656" y="8312"/>
                </a:cubicBezTo>
                <a:cubicBezTo>
                  <a:pt x="8656" y="8281"/>
                  <a:pt x="8656" y="8281"/>
                  <a:pt x="8656" y="8281"/>
                </a:cubicBezTo>
                <a:cubicBezTo>
                  <a:pt x="8656" y="8281"/>
                  <a:pt x="8656" y="8281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50"/>
                </a:cubicBezTo>
                <a:cubicBezTo>
                  <a:pt x="8656" y="8250"/>
                  <a:pt x="8656" y="8250"/>
                  <a:pt x="8656" y="8219"/>
                </a:cubicBezTo>
                <a:cubicBezTo>
                  <a:pt x="8656" y="8219"/>
                  <a:pt x="8656" y="8219"/>
                  <a:pt x="8656" y="8219"/>
                </a:cubicBezTo>
                <a:cubicBezTo>
                  <a:pt x="8656" y="8219"/>
                  <a:pt x="8656" y="8219"/>
                  <a:pt x="8656" y="8219"/>
                </a:cubicBezTo>
                <a:cubicBezTo>
                  <a:pt x="8656" y="8219"/>
                  <a:pt x="8687" y="8219"/>
                  <a:pt x="8687" y="8250"/>
                </a:cubicBezTo>
                <a:cubicBezTo>
                  <a:pt x="8687" y="8250"/>
                  <a:pt x="8656" y="8281"/>
                  <a:pt x="8656" y="8250"/>
                </a:cubicBezTo>
                <a:close/>
                <a:moveTo>
                  <a:pt x="8718" y="8219"/>
                </a:moveTo>
                <a:cubicBezTo>
                  <a:pt x="8718" y="8219"/>
                  <a:pt x="8687" y="8219"/>
                  <a:pt x="8687" y="8219"/>
                </a:cubicBezTo>
                <a:cubicBezTo>
                  <a:pt x="8687" y="8187"/>
                  <a:pt x="8687" y="8156"/>
                  <a:pt x="8718" y="8125"/>
                </a:cubicBezTo>
                <a:cubicBezTo>
                  <a:pt x="8750" y="8156"/>
                  <a:pt x="8750" y="8187"/>
                  <a:pt x="8718" y="8219"/>
                </a:cubicBezTo>
                <a:close/>
                <a:moveTo>
                  <a:pt x="8718" y="7781"/>
                </a:moveTo>
                <a:cubicBezTo>
                  <a:pt x="8718" y="7781"/>
                  <a:pt x="8718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687" y="7750"/>
                  <a:pt x="8687" y="7750"/>
                  <a:pt x="8687" y="7750"/>
                </a:cubicBezTo>
                <a:cubicBezTo>
                  <a:pt x="8718" y="7750"/>
                  <a:pt x="8718" y="7781"/>
                  <a:pt x="8718" y="7781"/>
                </a:cubicBezTo>
                <a:close/>
                <a:moveTo>
                  <a:pt x="8750" y="7156"/>
                </a:moveTo>
                <a:cubicBezTo>
                  <a:pt x="8750" y="7219"/>
                  <a:pt x="8750" y="7250"/>
                  <a:pt x="8718" y="7312"/>
                </a:cubicBezTo>
                <a:cubicBezTo>
                  <a:pt x="8750" y="7250"/>
                  <a:pt x="8750" y="7219"/>
                  <a:pt x="8750" y="7156"/>
                </a:cubicBezTo>
                <a:cubicBezTo>
                  <a:pt x="8750" y="7156"/>
                  <a:pt x="8750" y="7156"/>
                  <a:pt x="8750" y="7156"/>
                </a:cubicBezTo>
                <a:cubicBezTo>
                  <a:pt x="8750" y="7156"/>
                  <a:pt x="8781" y="7156"/>
                  <a:pt x="8781" y="7125"/>
                </a:cubicBezTo>
                <a:cubicBezTo>
                  <a:pt x="8781" y="7156"/>
                  <a:pt x="8750" y="7156"/>
                  <a:pt x="8750" y="7156"/>
                </a:cubicBezTo>
                <a:close/>
                <a:moveTo>
                  <a:pt x="8718" y="7219"/>
                </a:moveTo>
                <a:cubicBezTo>
                  <a:pt x="8718" y="7187"/>
                  <a:pt x="8750" y="7187"/>
                  <a:pt x="8750" y="7156"/>
                </a:cubicBezTo>
                <a:cubicBezTo>
                  <a:pt x="8750" y="7156"/>
                  <a:pt x="8750" y="7125"/>
                  <a:pt x="8750" y="7125"/>
                </a:cubicBezTo>
                <a:cubicBezTo>
                  <a:pt x="8750" y="7125"/>
                  <a:pt x="8750" y="7156"/>
                  <a:pt x="8750" y="7156"/>
                </a:cubicBezTo>
                <a:cubicBezTo>
                  <a:pt x="8750" y="7187"/>
                  <a:pt x="8718" y="7187"/>
                  <a:pt x="8718" y="7219"/>
                </a:cubicBezTo>
                <a:close/>
                <a:moveTo>
                  <a:pt x="8625" y="7344"/>
                </a:moveTo>
                <a:cubicBezTo>
                  <a:pt x="8625" y="7344"/>
                  <a:pt x="8625" y="7344"/>
                  <a:pt x="8625" y="7344"/>
                </a:cubicBezTo>
                <a:cubicBezTo>
                  <a:pt x="8593" y="7469"/>
                  <a:pt x="8562" y="7594"/>
                  <a:pt x="8562" y="7719"/>
                </a:cubicBezTo>
                <a:cubicBezTo>
                  <a:pt x="8562" y="7594"/>
                  <a:pt x="8593" y="7469"/>
                  <a:pt x="8625" y="7344"/>
                </a:cubicBezTo>
                <a:cubicBezTo>
                  <a:pt x="8593" y="7281"/>
                  <a:pt x="8625" y="7250"/>
                  <a:pt x="8656" y="7187"/>
                </a:cubicBezTo>
                <a:cubicBezTo>
                  <a:pt x="8656" y="7094"/>
                  <a:pt x="8718" y="7000"/>
                  <a:pt x="8781" y="6906"/>
                </a:cubicBezTo>
                <a:cubicBezTo>
                  <a:pt x="8812" y="6906"/>
                  <a:pt x="8812" y="6906"/>
                  <a:pt x="8812" y="6906"/>
                </a:cubicBezTo>
                <a:cubicBezTo>
                  <a:pt x="8812" y="6906"/>
                  <a:pt x="8843" y="6906"/>
                  <a:pt x="8843" y="6906"/>
                </a:cubicBezTo>
                <a:cubicBezTo>
                  <a:pt x="8875" y="6906"/>
                  <a:pt x="8875" y="6875"/>
                  <a:pt x="8906" y="6844"/>
                </a:cubicBezTo>
                <a:cubicBezTo>
                  <a:pt x="8875" y="6875"/>
                  <a:pt x="8875" y="6906"/>
                  <a:pt x="8843" y="6906"/>
                </a:cubicBezTo>
                <a:cubicBezTo>
                  <a:pt x="8718" y="7031"/>
                  <a:pt x="8687" y="7187"/>
                  <a:pt x="8625" y="7344"/>
                </a:cubicBezTo>
                <a:close/>
                <a:moveTo>
                  <a:pt x="8875" y="7250"/>
                </a:moveTo>
                <a:cubicBezTo>
                  <a:pt x="8875" y="7250"/>
                  <a:pt x="8875" y="7250"/>
                  <a:pt x="8875" y="7250"/>
                </a:cubicBezTo>
                <a:cubicBezTo>
                  <a:pt x="8875" y="7250"/>
                  <a:pt x="8875" y="7250"/>
                  <a:pt x="8875" y="7250"/>
                </a:cubicBezTo>
                <a:close/>
                <a:moveTo>
                  <a:pt x="8812" y="7031"/>
                </a:moveTo>
                <a:cubicBezTo>
                  <a:pt x="8812" y="7031"/>
                  <a:pt x="8812" y="7031"/>
                  <a:pt x="8812" y="7031"/>
                </a:cubicBezTo>
                <a:cubicBezTo>
                  <a:pt x="8843" y="6969"/>
                  <a:pt x="8875" y="6937"/>
                  <a:pt x="8906" y="6906"/>
                </a:cubicBezTo>
                <a:cubicBezTo>
                  <a:pt x="8875" y="6937"/>
                  <a:pt x="8843" y="6969"/>
                  <a:pt x="8812" y="7031"/>
                </a:cubicBezTo>
                <a:close/>
                <a:moveTo>
                  <a:pt x="9000" y="6687"/>
                </a:moveTo>
                <a:cubicBezTo>
                  <a:pt x="9000" y="6687"/>
                  <a:pt x="9000" y="6687"/>
                  <a:pt x="9000" y="6687"/>
                </a:cubicBezTo>
                <a:cubicBezTo>
                  <a:pt x="9000" y="6687"/>
                  <a:pt x="9000" y="6719"/>
                  <a:pt x="9000" y="6719"/>
                </a:cubicBezTo>
                <a:cubicBezTo>
                  <a:pt x="9000" y="6719"/>
                  <a:pt x="9000" y="6687"/>
                  <a:pt x="9000" y="6687"/>
                </a:cubicBezTo>
                <a:cubicBezTo>
                  <a:pt x="8968" y="6687"/>
                  <a:pt x="8937" y="6687"/>
                  <a:pt x="8937" y="6750"/>
                </a:cubicBezTo>
                <a:cubicBezTo>
                  <a:pt x="8937" y="6750"/>
                  <a:pt x="8937" y="6750"/>
                  <a:pt x="8937" y="6750"/>
                </a:cubicBezTo>
                <a:cubicBezTo>
                  <a:pt x="8906" y="6750"/>
                  <a:pt x="8906" y="6750"/>
                  <a:pt x="8875" y="6750"/>
                </a:cubicBezTo>
                <a:cubicBezTo>
                  <a:pt x="8875" y="6750"/>
                  <a:pt x="8875" y="6750"/>
                  <a:pt x="8843" y="6750"/>
                </a:cubicBezTo>
                <a:cubicBezTo>
                  <a:pt x="8750" y="6812"/>
                  <a:pt x="8687" y="6906"/>
                  <a:pt x="8656" y="7000"/>
                </a:cubicBezTo>
                <a:cubicBezTo>
                  <a:pt x="8687" y="6906"/>
                  <a:pt x="8750" y="6812"/>
                  <a:pt x="8843" y="6750"/>
                </a:cubicBezTo>
                <a:cubicBezTo>
                  <a:pt x="8906" y="6687"/>
                  <a:pt x="8968" y="6656"/>
                  <a:pt x="9031" y="6625"/>
                </a:cubicBezTo>
                <a:cubicBezTo>
                  <a:pt x="9031" y="6656"/>
                  <a:pt x="9000" y="6656"/>
                  <a:pt x="9000" y="6687"/>
                </a:cubicBezTo>
                <a:cubicBezTo>
                  <a:pt x="9031" y="6687"/>
                  <a:pt x="9062" y="6687"/>
                  <a:pt x="9093" y="6656"/>
                </a:cubicBezTo>
                <a:cubicBezTo>
                  <a:pt x="9062" y="6687"/>
                  <a:pt x="9031" y="6687"/>
                  <a:pt x="9000" y="6687"/>
                </a:cubicBezTo>
                <a:close/>
                <a:moveTo>
                  <a:pt x="9031" y="6344"/>
                </a:moveTo>
                <a:cubicBezTo>
                  <a:pt x="9031" y="6344"/>
                  <a:pt x="9031" y="6344"/>
                  <a:pt x="9031" y="6344"/>
                </a:cubicBezTo>
                <a:cubicBezTo>
                  <a:pt x="9031" y="6312"/>
                  <a:pt x="9031" y="6312"/>
                  <a:pt x="9031" y="6281"/>
                </a:cubicBezTo>
                <a:cubicBezTo>
                  <a:pt x="9031" y="6312"/>
                  <a:pt x="9031" y="6312"/>
                  <a:pt x="9031" y="6344"/>
                </a:cubicBezTo>
                <a:close/>
                <a:moveTo>
                  <a:pt x="9062" y="6594"/>
                </a:moveTo>
                <a:cubicBezTo>
                  <a:pt x="9062" y="6594"/>
                  <a:pt x="9062" y="6625"/>
                  <a:pt x="9062" y="6625"/>
                </a:cubicBezTo>
                <a:cubicBezTo>
                  <a:pt x="9062" y="6625"/>
                  <a:pt x="9062" y="6625"/>
                  <a:pt x="9062" y="6625"/>
                </a:cubicBezTo>
                <a:cubicBezTo>
                  <a:pt x="9062" y="6625"/>
                  <a:pt x="9062" y="6625"/>
                  <a:pt x="9062" y="6625"/>
                </a:cubicBezTo>
                <a:cubicBezTo>
                  <a:pt x="9062" y="6625"/>
                  <a:pt x="9062" y="6594"/>
                  <a:pt x="9062" y="6594"/>
                </a:cubicBezTo>
                <a:close/>
                <a:moveTo>
                  <a:pt x="9093" y="5437"/>
                </a:moveTo>
                <a:cubicBezTo>
                  <a:pt x="9093" y="5437"/>
                  <a:pt x="9093" y="5469"/>
                  <a:pt x="9093" y="5469"/>
                </a:cubicBezTo>
                <a:cubicBezTo>
                  <a:pt x="9093" y="5469"/>
                  <a:pt x="9093" y="5437"/>
                  <a:pt x="9093" y="5437"/>
                </a:cubicBezTo>
                <a:cubicBezTo>
                  <a:pt x="9093" y="5437"/>
                  <a:pt x="9093" y="5437"/>
                  <a:pt x="9093" y="5437"/>
                </a:cubicBezTo>
                <a:cubicBezTo>
                  <a:pt x="9093" y="5437"/>
                  <a:pt x="9093" y="5437"/>
                  <a:pt x="9093" y="5437"/>
                </a:cubicBezTo>
                <a:close/>
                <a:moveTo>
                  <a:pt x="9093" y="5437"/>
                </a:moveTo>
                <a:cubicBezTo>
                  <a:pt x="9093" y="5469"/>
                  <a:pt x="9093" y="5469"/>
                  <a:pt x="9093" y="5500"/>
                </a:cubicBezTo>
                <a:cubicBezTo>
                  <a:pt x="9093" y="5469"/>
                  <a:pt x="9093" y="5469"/>
                  <a:pt x="9093" y="5437"/>
                </a:cubicBezTo>
                <a:close/>
                <a:moveTo>
                  <a:pt x="9093" y="6875"/>
                </a:moveTo>
                <a:cubicBezTo>
                  <a:pt x="9093" y="6844"/>
                  <a:pt x="9125" y="6844"/>
                  <a:pt x="9125" y="6844"/>
                </a:cubicBezTo>
                <a:cubicBezTo>
                  <a:pt x="9125" y="6844"/>
                  <a:pt x="9125" y="6875"/>
                  <a:pt x="9093" y="6875"/>
                </a:cubicBezTo>
                <a:close/>
                <a:moveTo>
                  <a:pt x="9218" y="6219"/>
                </a:moveTo>
                <a:cubicBezTo>
                  <a:pt x="9218" y="6219"/>
                  <a:pt x="9218" y="6219"/>
                  <a:pt x="9218" y="6219"/>
                </a:cubicBezTo>
                <a:close/>
                <a:moveTo>
                  <a:pt x="9187" y="6750"/>
                </a:moveTo>
                <a:cubicBezTo>
                  <a:pt x="9187" y="6750"/>
                  <a:pt x="9187" y="6750"/>
                  <a:pt x="9187" y="6781"/>
                </a:cubicBezTo>
                <a:cubicBezTo>
                  <a:pt x="9187" y="6781"/>
                  <a:pt x="9187" y="6812"/>
                  <a:pt x="9156" y="6812"/>
                </a:cubicBezTo>
                <a:cubicBezTo>
                  <a:pt x="9156" y="6781"/>
                  <a:pt x="9156" y="6750"/>
                  <a:pt x="9187" y="6750"/>
                </a:cubicBezTo>
                <a:close/>
                <a:moveTo>
                  <a:pt x="9593" y="4594"/>
                </a:moveTo>
                <a:cubicBezTo>
                  <a:pt x="9562" y="4594"/>
                  <a:pt x="9562" y="4625"/>
                  <a:pt x="9562" y="4625"/>
                </a:cubicBezTo>
                <a:cubicBezTo>
                  <a:pt x="9531" y="4594"/>
                  <a:pt x="9562" y="4594"/>
                  <a:pt x="9562" y="4562"/>
                </a:cubicBezTo>
                <a:cubicBezTo>
                  <a:pt x="9562" y="4562"/>
                  <a:pt x="9562" y="4531"/>
                  <a:pt x="9593" y="4531"/>
                </a:cubicBezTo>
                <a:cubicBezTo>
                  <a:pt x="9593" y="4562"/>
                  <a:pt x="9593" y="4562"/>
                  <a:pt x="9593" y="4594"/>
                </a:cubicBezTo>
                <a:close/>
                <a:moveTo>
                  <a:pt x="9437" y="4719"/>
                </a:moveTo>
                <a:cubicBezTo>
                  <a:pt x="9468" y="4594"/>
                  <a:pt x="9500" y="4469"/>
                  <a:pt x="9593" y="4375"/>
                </a:cubicBezTo>
                <a:cubicBezTo>
                  <a:pt x="9593" y="4469"/>
                  <a:pt x="9531" y="4500"/>
                  <a:pt x="9500" y="4594"/>
                </a:cubicBezTo>
                <a:cubicBezTo>
                  <a:pt x="9500" y="4625"/>
                  <a:pt x="9500" y="4656"/>
                  <a:pt x="9468" y="4687"/>
                </a:cubicBezTo>
                <a:cubicBezTo>
                  <a:pt x="9468" y="4687"/>
                  <a:pt x="9468" y="4687"/>
                  <a:pt x="9468" y="4687"/>
                </a:cubicBezTo>
                <a:cubicBezTo>
                  <a:pt x="9468" y="4687"/>
                  <a:pt x="9468" y="4719"/>
                  <a:pt x="9468" y="4719"/>
                </a:cubicBezTo>
                <a:cubicBezTo>
                  <a:pt x="9437" y="4719"/>
                  <a:pt x="9437" y="4750"/>
                  <a:pt x="9437" y="4750"/>
                </a:cubicBezTo>
                <a:cubicBezTo>
                  <a:pt x="9406" y="4750"/>
                  <a:pt x="9437" y="4719"/>
                  <a:pt x="9437" y="4719"/>
                </a:cubicBezTo>
                <a:close/>
                <a:moveTo>
                  <a:pt x="9375" y="4437"/>
                </a:moveTo>
                <a:cubicBezTo>
                  <a:pt x="9375" y="4437"/>
                  <a:pt x="9406" y="4406"/>
                  <a:pt x="9406" y="4437"/>
                </a:cubicBezTo>
                <a:cubicBezTo>
                  <a:pt x="9406" y="4437"/>
                  <a:pt x="9406" y="4437"/>
                  <a:pt x="9406" y="4437"/>
                </a:cubicBezTo>
                <a:cubicBezTo>
                  <a:pt x="9406" y="4469"/>
                  <a:pt x="9406" y="4469"/>
                  <a:pt x="9406" y="4469"/>
                </a:cubicBezTo>
                <a:cubicBezTo>
                  <a:pt x="9375" y="4469"/>
                  <a:pt x="9375" y="4437"/>
                  <a:pt x="9375" y="4437"/>
                </a:cubicBezTo>
                <a:close/>
                <a:moveTo>
                  <a:pt x="9437" y="4844"/>
                </a:moveTo>
                <a:cubicBezTo>
                  <a:pt x="9468" y="4875"/>
                  <a:pt x="9406" y="4906"/>
                  <a:pt x="9375" y="4906"/>
                </a:cubicBezTo>
                <a:cubicBezTo>
                  <a:pt x="9312" y="5031"/>
                  <a:pt x="9250" y="5125"/>
                  <a:pt x="9218" y="5219"/>
                </a:cubicBezTo>
                <a:cubicBezTo>
                  <a:pt x="9187" y="5250"/>
                  <a:pt x="9187" y="5250"/>
                  <a:pt x="9187" y="5250"/>
                </a:cubicBezTo>
                <a:cubicBezTo>
                  <a:pt x="9156" y="5281"/>
                  <a:pt x="9156" y="5312"/>
                  <a:pt x="9156" y="5344"/>
                </a:cubicBezTo>
                <a:cubicBezTo>
                  <a:pt x="9156" y="5312"/>
                  <a:pt x="9156" y="5281"/>
                  <a:pt x="9187" y="5250"/>
                </a:cubicBezTo>
                <a:cubicBezTo>
                  <a:pt x="9187" y="5250"/>
                  <a:pt x="9156" y="5250"/>
                  <a:pt x="9156" y="5250"/>
                </a:cubicBezTo>
                <a:cubicBezTo>
                  <a:pt x="9218" y="5125"/>
                  <a:pt x="9281" y="5000"/>
                  <a:pt x="9343" y="4906"/>
                </a:cubicBezTo>
                <a:cubicBezTo>
                  <a:pt x="9343" y="4875"/>
                  <a:pt x="9406" y="4812"/>
                  <a:pt x="9437" y="4844"/>
                </a:cubicBezTo>
                <a:close/>
                <a:moveTo>
                  <a:pt x="9343" y="4562"/>
                </a:moveTo>
                <a:cubicBezTo>
                  <a:pt x="9343" y="4562"/>
                  <a:pt x="9343" y="4562"/>
                  <a:pt x="9343" y="4562"/>
                </a:cubicBezTo>
                <a:cubicBezTo>
                  <a:pt x="9375" y="4562"/>
                  <a:pt x="9375" y="4562"/>
                  <a:pt x="9375" y="4562"/>
                </a:cubicBezTo>
                <a:cubicBezTo>
                  <a:pt x="9375" y="4562"/>
                  <a:pt x="9375" y="4562"/>
                  <a:pt x="9343" y="4562"/>
                </a:cubicBezTo>
                <a:cubicBezTo>
                  <a:pt x="9375" y="4750"/>
                  <a:pt x="9281" y="4906"/>
                  <a:pt x="9187" y="5094"/>
                </a:cubicBezTo>
                <a:cubicBezTo>
                  <a:pt x="9187" y="5125"/>
                  <a:pt x="9156" y="5125"/>
                  <a:pt x="9156" y="5156"/>
                </a:cubicBezTo>
                <a:cubicBezTo>
                  <a:pt x="9156" y="5156"/>
                  <a:pt x="9156" y="5156"/>
                  <a:pt x="9156" y="5156"/>
                </a:cubicBezTo>
                <a:cubicBezTo>
                  <a:pt x="9125" y="5187"/>
                  <a:pt x="9125" y="5219"/>
                  <a:pt x="9125" y="5156"/>
                </a:cubicBezTo>
                <a:cubicBezTo>
                  <a:pt x="9125" y="5125"/>
                  <a:pt x="9125" y="5125"/>
                  <a:pt x="9156" y="5094"/>
                </a:cubicBezTo>
                <a:cubicBezTo>
                  <a:pt x="9250" y="4937"/>
                  <a:pt x="9281" y="4781"/>
                  <a:pt x="9312" y="4625"/>
                </a:cubicBezTo>
                <a:cubicBezTo>
                  <a:pt x="9312" y="4594"/>
                  <a:pt x="9312" y="4562"/>
                  <a:pt x="9343" y="4562"/>
                </a:cubicBezTo>
                <a:close/>
                <a:moveTo>
                  <a:pt x="9218" y="4531"/>
                </a:moveTo>
                <a:cubicBezTo>
                  <a:pt x="9218" y="4531"/>
                  <a:pt x="9218" y="4531"/>
                  <a:pt x="9218" y="4531"/>
                </a:cubicBezTo>
                <a:cubicBezTo>
                  <a:pt x="9218" y="4562"/>
                  <a:pt x="9218" y="4562"/>
                  <a:pt x="9218" y="4562"/>
                </a:cubicBezTo>
                <a:cubicBezTo>
                  <a:pt x="9218" y="4562"/>
                  <a:pt x="9218" y="4562"/>
                  <a:pt x="9218" y="4531"/>
                </a:cubicBezTo>
                <a:close/>
                <a:moveTo>
                  <a:pt x="9218" y="4531"/>
                </a:moveTo>
                <a:cubicBezTo>
                  <a:pt x="9218" y="4531"/>
                  <a:pt x="9218" y="4531"/>
                  <a:pt x="9218" y="4531"/>
                </a:cubicBezTo>
                <a:cubicBezTo>
                  <a:pt x="9218" y="4531"/>
                  <a:pt x="9218" y="4531"/>
                  <a:pt x="9218" y="4531"/>
                </a:cubicBezTo>
                <a:cubicBezTo>
                  <a:pt x="9218" y="4562"/>
                  <a:pt x="9187" y="4562"/>
                  <a:pt x="9187" y="4562"/>
                </a:cubicBezTo>
                <a:cubicBezTo>
                  <a:pt x="9187" y="4562"/>
                  <a:pt x="9218" y="4562"/>
                  <a:pt x="9218" y="4531"/>
                </a:cubicBezTo>
                <a:close/>
                <a:moveTo>
                  <a:pt x="9031" y="5125"/>
                </a:moveTo>
                <a:cubicBezTo>
                  <a:pt x="9125" y="5000"/>
                  <a:pt x="9156" y="4844"/>
                  <a:pt x="9218" y="4687"/>
                </a:cubicBezTo>
                <a:cubicBezTo>
                  <a:pt x="9218" y="4656"/>
                  <a:pt x="9218" y="4625"/>
                  <a:pt x="9250" y="4625"/>
                </a:cubicBezTo>
                <a:cubicBezTo>
                  <a:pt x="9281" y="4625"/>
                  <a:pt x="9250" y="4656"/>
                  <a:pt x="9250" y="4687"/>
                </a:cubicBezTo>
                <a:cubicBezTo>
                  <a:pt x="9218" y="4844"/>
                  <a:pt x="9156" y="5000"/>
                  <a:pt x="9093" y="5125"/>
                </a:cubicBezTo>
                <a:cubicBezTo>
                  <a:pt x="9031" y="5187"/>
                  <a:pt x="9031" y="5250"/>
                  <a:pt x="9000" y="5312"/>
                </a:cubicBezTo>
                <a:cubicBezTo>
                  <a:pt x="8968" y="5250"/>
                  <a:pt x="9000" y="5187"/>
                  <a:pt x="9031" y="5125"/>
                </a:cubicBezTo>
                <a:close/>
                <a:moveTo>
                  <a:pt x="8812" y="6344"/>
                </a:moveTo>
                <a:cubicBezTo>
                  <a:pt x="8906" y="6219"/>
                  <a:pt x="8968" y="6094"/>
                  <a:pt x="8968" y="5906"/>
                </a:cubicBezTo>
                <a:cubicBezTo>
                  <a:pt x="8968" y="5906"/>
                  <a:pt x="8968" y="5906"/>
                  <a:pt x="9000" y="5875"/>
                </a:cubicBezTo>
                <a:cubicBezTo>
                  <a:pt x="9000" y="5906"/>
                  <a:pt x="9000" y="5906"/>
                  <a:pt x="9000" y="5906"/>
                </a:cubicBezTo>
                <a:cubicBezTo>
                  <a:pt x="9000" y="6094"/>
                  <a:pt x="8937" y="6250"/>
                  <a:pt x="8812" y="6375"/>
                </a:cubicBezTo>
                <a:cubicBezTo>
                  <a:pt x="8812" y="6406"/>
                  <a:pt x="8812" y="6406"/>
                  <a:pt x="8812" y="6406"/>
                </a:cubicBezTo>
                <a:cubicBezTo>
                  <a:pt x="8812" y="6406"/>
                  <a:pt x="8812" y="6406"/>
                  <a:pt x="8812" y="6375"/>
                </a:cubicBezTo>
                <a:cubicBezTo>
                  <a:pt x="8812" y="6375"/>
                  <a:pt x="8812" y="6375"/>
                  <a:pt x="8812" y="6344"/>
                </a:cubicBezTo>
                <a:close/>
                <a:moveTo>
                  <a:pt x="8781" y="5156"/>
                </a:moveTo>
                <a:cubicBezTo>
                  <a:pt x="8718" y="5344"/>
                  <a:pt x="8687" y="5562"/>
                  <a:pt x="8687" y="5781"/>
                </a:cubicBezTo>
                <a:cubicBezTo>
                  <a:pt x="8656" y="5781"/>
                  <a:pt x="8656" y="5781"/>
                  <a:pt x="8656" y="5781"/>
                </a:cubicBezTo>
                <a:cubicBezTo>
                  <a:pt x="8687" y="5531"/>
                  <a:pt x="8718" y="5250"/>
                  <a:pt x="8843" y="5031"/>
                </a:cubicBezTo>
                <a:cubicBezTo>
                  <a:pt x="8843" y="5000"/>
                  <a:pt x="8812" y="4937"/>
                  <a:pt x="8875" y="4937"/>
                </a:cubicBezTo>
                <a:cubicBezTo>
                  <a:pt x="8875" y="4937"/>
                  <a:pt x="8875" y="4937"/>
                  <a:pt x="8875" y="4937"/>
                </a:cubicBezTo>
                <a:cubicBezTo>
                  <a:pt x="8843" y="5000"/>
                  <a:pt x="8812" y="5094"/>
                  <a:pt x="8781" y="5156"/>
                </a:cubicBezTo>
                <a:close/>
                <a:moveTo>
                  <a:pt x="8875" y="4781"/>
                </a:moveTo>
                <a:cubicBezTo>
                  <a:pt x="8875" y="4781"/>
                  <a:pt x="8875" y="4781"/>
                  <a:pt x="8875" y="4781"/>
                </a:cubicBezTo>
                <a:cubicBezTo>
                  <a:pt x="8875" y="4750"/>
                  <a:pt x="8875" y="4719"/>
                  <a:pt x="8906" y="4687"/>
                </a:cubicBezTo>
                <a:cubicBezTo>
                  <a:pt x="8906" y="4719"/>
                  <a:pt x="8875" y="4750"/>
                  <a:pt x="8875" y="4781"/>
                </a:cubicBezTo>
                <a:close/>
                <a:moveTo>
                  <a:pt x="9062" y="4344"/>
                </a:moveTo>
                <a:cubicBezTo>
                  <a:pt x="9093" y="4344"/>
                  <a:pt x="9062" y="4375"/>
                  <a:pt x="9062" y="4375"/>
                </a:cubicBezTo>
                <a:cubicBezTo>
                  <a:pt x="9000" y="4469"/>
                  <a:pt x="9000" y="4594"/>
                  <a:pt x="8906" y="4687"/>
                </a:cubicBezTo>
                <a:cubicBezTo>
                  <a:pt x="8937" y="4594"/>
                  <a:pt x="9000" y="4469"/>
                  <a:pt x="9000" y="4375"/>
                </a:cubicBezTo>
                <a:cubicBezTo>
                  <a:pt x="9031" y="4344"/>
                  <a:pt x="9031" y="4344"/>
                  <a:pt x="9062" y="4344"/>
                </a:cubicBezTo>
                <a:close/>
                <a:moveTo>
                  <a:pt x="9156" y="3812"/>
                </a:moveTo>
                <a:cubicBezTo>
                  <a:pt x="9156" y="3812"/>
                  <a:pt x="9187" y="3812"/>
                  <a:pt x="9187" y="3812"/>
                </a:cubicBezTo>
                <a:cubicBezTo>
                  <a:pt x="9187" y="3812"/>
                  <a:pt x="9156" y="3812"/>
                  <a:pt x="9156" y="3812"/>
                </a:cubicBezTo>
                <a:close/>
                <a:moveTo>
                  <a:pt x="8937" y="3969"/>
                </a:moveTo>
                <a:cubicBezTo>
                  <a:pt x="8875" y="4094"/>
                  <a:pt x="8812" y="4250"/>
                  <a:pt x="8718" y="4375"/>
                </a:cubicBezTo>
                <a:cubicBezTo>
                  <a:pt x="8687" y="4375"/>
                  <a:pt x="8718" y="4406"/>
                  <a:pt x="8687" y="4437"/>
                </a:cubicBezTo>
                <a:cubicBezTo>
                  <a:pt x="8656" y="4437"/>
                  <a:pt x="8656" y="4437"/>
                  <a:pt x="8656" y="4406"/>
                </a:cubicBezTo>
                <a:cubicBezTo>
                  <a:pt x="8750" y="4250"/>
                  <a:pt x="8812" y="4094"/>
                  <a:pt x="8906" y="3937"/>
                </a:cubicBezTo>
                <a:cubicBezTo>
                  <a:pt x="8937" y="3937"/>
                  <a:pt x="8937" y="3969"/>
                  <a:pt x="8937" y="3969"/>
                </a:cubicBezTo>
                <a:close/>
                <a:moveTo>
                  <a:pt x="8656" y="4031"/>
                </a:moveTo>
                <a:cubicBezTo>
                  <a:pt x="8750" y="3844"/>
                  <a:pt x="8843" y="3656"/>
                  <a:pt x="8968" y="3500"/>
                </a:cubicBezTo>
                <a:cubicBezTo>
                  <a:pt x="9031" y="3437"/>
                  <a:pt x="9062" y="3406"/>
                  <a:pt x="9125" y="3344"/>
                </a:cubicBezTo>
                <a:cubicBezTo>
                  <a:pt x="9125" y="3344"/>
                  <a:pt x="9156" y="3312"/>
                  <a:pt x="9156" y="3312"/>
                </a:cubicBezTo>
                <a:cubicBezTo>
                  <a:pt x="9156" y="3281"/>
                  <a:pt x="9187" y="3250"/>
                  <a:pt x="9218" y="3281"/>
                </a:cubicBezTo>
                <a:cubicBezTo>
                  <a:pt x="9218" y="3281"/>
                  <a:pt x="9187" y="3312"/>
                  <a:pt x="9187" y="3312"/>
                </a:cubicBezTo>
                <a:cubicBezTo>
                  <a:pt x="9156" y="3344"/>
                  <a:pt x="9156" y="3344"/>
                  <a:pt x="9156" y="3344"/>
                </a:cubicBezTo>
                <a:cubicBezTo>
                  <a:pt x="9156" y="3344"/>
                  <a:pt x="9125" y="3344"/>
                  <a:pt x="9125" y="3344"/>
                </a:cubicBezTo>
                <a:cubicBezTo>
                  <a:pt x="9062" y="3406"/>
                  <a:pt x="9031" y="3437"/>
                  <a:pt x="8968" y="3500"/>
                </a:cubicBezTo>
                <a:cubicBezTo>
                  <a:pt x="9000" y="3500"/>
                  <a:pt x="9000" y="3500"/>
                  <a:pt x="9000" y="3531"/>
                </a:cubicBezTo>
                <a:cubicBezTo>
                  <a:pt x="8875" y="3687"/>
                  <a:pt x="8781" y="3875"/>
                  <a:pt x="8687" y="4031"/>
                </a:cubicBezTo>
                <a:cubicBezTo>
                  <a:pt x="8687" y="4062"/>
                  <a:pt x="8687" y="4094"/>
                  <a:pt x="8656" y="4094"/>
                </a:cubicBezTo>
                <a:cubicBezTo>
                  <a:pt x="8625" y="4062"/>
                  <a:pt x="8656" y="4062"/>
                  <a:pt x="8656" y="4031"/>
                </a:cubicBezTo>
                <a:close/>
                <a:moveTo>
                  <a:pt x="8625" y="4125"/>
                </a:moveTo>
                <a:cubicBezTo>
                  <a:pt x="8625" y="4219"/>
                  <a:pt x="8562" y="4281"/>
                  <a:pt x="8500" y="4375"/>
                </a:cubicBezTo>
                <a:cubicBezTo>
                  <a:pt x="8500" y="4375"/>
                  <a:pt x="8500" y="4375"/>
                  <a:pt x="8500" y="4375"/>
                </a:cubicBezTo>
                <a:cubicBezTo>
                  <a:pt x="8500" y="4375"/>
                  <a:pt x="8500" y="4375"/>
                  <a:pt x="8500" y="4375"/>
                </a:cubicBezTo>
                <a:cubicBezTo>
                  <a:pt x="8531" y="4281"/>
                  <a:pt x="8562" y="4187"/>
                  <a:pt x="8625" y="4125"/>
                </a:cubicBezTo>
                <a:close/>
                <a:moveTo>
                  <a:pt x="8468" y="4969"/>
                </a:moveTo>
                <a:cubicBezTo>
                  <a:pt x="8468" y="5000"/>
                  <a:pt x="8437" y="5000"/>
                  <a:pt x="8437" y="5031"/>
                </a:cubicBezTo>
                <a:cubicBezTo>
                  <a:pt x="8500" y="4906"/>
                  <a:pt x="8562" y="4812"/>
                  <a:pt x="8625" y="4687"/>
                </a:cubicBezTo>
                <a:cubicBezTo>
                  <a:pt x="8625" y="4687"/>
                  <a:pt x="8593" y="4687"/>
                  <a:pt x="8593" y="4687"/>
                </a:cubicBezTo>
                <a:cubicBezTo>
                  <a:pt x="8656" y="4562"/>
                  <a:pt x="8718" y="4437"/>
                  <a:pt x="8781" y="4312"/>
                </a:cubicBezTo>
                <a:cubicBezTo>
                  <a:pt x="8843" y="4219"/>
                  <a:pt x="8906" y="4094"/>
                  <a:pt x="8968" y="3969"/>
                </a:cubicBezTo>
                <a:cubicBezTo>
                  <a:pt x="8968" y="3969"/>
                  <a:pt x="9000" y="3937"/>
                  <a:pt x="9031" y="3937"/>
                </a:cubicBezTo>
                <a:cubicBezTo>
                  <a:pt x="9031" y="3969"/>
                  <a:pt x="9031" y="4000"/>
                  <a:pt x="9000" y="4000"/>
                </a:cubicBezTo>
                <a:cubicBezTo>
                  <a:pt x="8968" y="4031"/>
                  <a:pt x="8968" y="4094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8968" y="4125"/>
                  <a:pt x="8968" y="4125"/>
                  <a:pt x="8968" y="4125"/>
                </a:cubicBezTo>
                <a:cubicBezTo>
                  <a:pt x="9031" y="4094"/>
                  <a:pt x="9031" y="4000"/>
                  <a:pt x="9062" y="3969"/>
                </a:cubicBezTo>
                <a:cubicBezTo>
                  <a:pt x="9062" y="3969"/>
                  <a:pt x="9062" y="3969"/>
                  <a:pt x="9062" y="4000"/>
                </a:cubicBezTo>
                <a:cubicBezTo>
                  <a:pt x="8968" y="4250"/>
                  <a:pt x="8843" y="4469"/>
                  <a:pt x="8718" y="4687"/>
                </a:cubicBezTo>
                <a:cubicBezTo>
                  <a:pt x="8625" y="4844"/>
                  <a:pt x="8562" y="4969"/>
                  <a:pt x="8500" y="5125"/>
                </a:cubicBezTo>
                <a:cubicBezTo>
                  <a:pt x="8500" y="5094"/>
                  <a:pt x="8500" y="5094"/>
                  <a:pt x="8500" y="5062"/>
                </a:cubicBezTo>
                <a:cubicBezTo>
                  <a:pt x="8593" y="4844"/>
                  <a:pt x="8687" y="4656"/>
                  <a:pt x="8812" y="4469"/>
                </a:cubicBezTo>
                <a:cubicBezTo>
                  <a:pt x="8843" y="4406"/>
                  <a:pt x="8875" y="4344"/>
                  <a:pt x="8875" y="4281"/>
                </a:cubicBezTo>
                <a:cubicBezTo>
                  <a:pt x="8781" y="4406"/>
                  <a:pt x="8718" y="4562"/>
                  <a:pt x="8625" y="4687"/>
                </a:cubicBezTo>
                <a:cubicBezTo>
                  <a:pt x="8562" y="4812"/>
                  <a:pt x="8500" y="4906"/>
                  <a:pt x="8437" y="5031"/>
                </a:cubicBezTo>
                <a:cubicBezTo>
                  <a:pt x="8437" y="5031"/>
                  <a:pt x="8437" y="5031"/>
                  <a:pt x="8437" y="5031"/>
                </a:cubicBezTo>
                <a:cubicBezTo>
                  <a:pt x="8437" y="5031"/>
                  <a:pt x="8437" y="5031"/>
                  <a:pt x="8437" y="5031"/>
                </a:cubicBezTo>
                <a:cubicBezTo>
                  <a:pt x="8437" y="5000"/>
                  <a:pt x="8468" y="5000"/>
                  <a:pt x="8468" y="4969"/>
                </a:cubicBezTo>
                <a:close/>
                <a:moveTo>
                  <a:pt x="9156" y="3844"/>
                </a:moveTo>
                <a:cubicBezTo>
                  <a:pt x="9156" y="3844"/>
                  <a:pt x="9156" y="3844"/>
                  <a:pt x="9156" y="3812"/>
                </a:cubicBezTo>
                <a:cubicBezTo>
                  <a:pt x="9156" y="3844"/>
                  <a:pt x="9156" y="3844"/>
                  <a:pt x="9156" y="3844"/>
                </a:cubicBezTo>
                <a:close/>
                <a:moveTo>
                  <a:pt x="8437" y="5031"/>
                </a:moveTo>
                <a:cubicBezTo>
                  <a:pt x="8406" y="5125"/>
                  <a:pt x="8375" y="5187"/>
                  <a:pt x="8343" y="5281"/>
                </a:cubicBezTo>
                <a:cubicBezTo>
                  <a:pt x="8343" y="5344"/>
                  <a:pt x="8312" y="5406"/>
                  <a:pt x="8312" y="5469"/>
                </a:cubicBezTo>
                <a:cubicBezTo>
                  <a:pt x="8312" y="5469"/>
                  <a:pt x="8281" y="5469"/>
                  <a:pt x="8281" y="5469"/>
                </a:cubicBezTo>
                <a:cubicBezTo>
                  <a:pt x="8281" y="5469"/>
                  <a:pt x="8281" y="5469"/>
                  <a:pt x="8281" y="5437"/>
                </a:cubicBezTo>
                <a:cubicBezTo>
                  <a:pt x="8312" y="5437"/>
                  <a:pt x="8312" y="5437"/>
                  <a:pt x="8312" y="5406"/>
                </a:cubicBezTo>
                <a:cubicBezTo>
                  <a:pt x="8312" y="5312"/>
                  <a:pt x="8343" y="5187"/>
                  <a:pt x="8375" y="5094"/>
                </a:cubicBezTo>
                <a:cubicBezTo>
                  <a:pt x="8375" y="5062"/>
                  <a:pt x="8437" y="5062"/>
                  <a:pt x="8437" y="5031"/>
                </a:cubicBezTo>
                <a:close/>
                <a:moveTo>
                  <a:pt x="8375" y="4344"/>
                </a:moveTo>
                <a:cubicBezTo>
                  <a:pt x="8312" y="4500"/>
                  <a:pt x="8250" y="4625"/>
                  <a:pt x="8187" y="4750"/>
                </a:cubicBezTo>
                <a:cubicBezTo>
                  <a:pt x="8156" y="4781"/>
                  <a:pt x="8156" y="4812"/>
                  <a:pt x="8125" y="4812"/>
                </a:cubicBezTo>
                <a:cubicBezTo>
                  <a:pt x="8125" y="4750"/>
                  <a:pt x="8156" y="4719"/>
                  <a:pt x="8187" y="4656"/>
                </a:cubicBezTo>
                <a:cubicBezTo>
                  <a:pt x="8250" y="4500"/>
                  <a:pt x="8343" y="4312"/>
                  <a:pt x="8406" y="4156"/>
                </a:cubicBezTo>
                <a:cubicBezTo>
                  <a:pt x="8437" y="4156"/>
                  <a:pt x="8437" y="4125"/>
                  <a:pt x="8437" y="4156"/>
                </a:cubicBezTo>
                <a:cubicBezTo>
                  <a:pt x="8437" y="4219"/>
                  <a:pt x="8406" y="4281"/>
                  <a:pt x="8375" y="4344"/>
                </a:cubicBezTo>
                <a:close/>
                <a:moveTo>
                  <a:pt x="8531" y="3812"/>
                </a:moveTo>
                <a:cubicBezTo>
                  <a:pt x="8531" y="3812"/>
                  <a:pt x="8531" y="3812"/>
                  <a:pt x="8531" y="3812"/>
                </a:cubicBezTo>
                <a:cubicBezTo>
                  <a:pt x="8531" y="3812"/>
                  <a:pt x="8531" y="3812"/>
                  <a:pt x="8531" y="3812"/>
                </a:cubicBezTo>
                <a:close/>
                <a:moveTo>
                  <a:pt x="9031" y="3062"/>
                </a:moveTo>
                <a:cubicBezTo>
                  <a:pt x="9031" y="3031"/>
                  <a:pt x="9000" y="3062"/>
                  <a:pt x="9000" y="3031"/>
                </a:cubicBezTo>
                <a:cubicBezTo>
                  <a:pt x="9031" y="3000"/>
                  <a:pt x="9031" y="2937"/>
                  <a:pt x="9062" y="2937"/>
                </a:cubicBezTo>
                <a:cubicBezTo>
                  <a:pt x="9093" y="2969"/>
                  <a:pt x="9000" y="3000"/>
                  <a:pt x="9031" y="3062"/>
                </a:cubicBezTo>
                <a:close/>
                <a:moveTo>
                  <a:pt x="8968" y="3219"/>
                </a:moveTo>
                <a:cubicBezTo>
                  <a:pt x="8968" y="3219"/>
                  <a:pt x="8937" y="3219"/>
                  <a:pt x="8937" y="3250"/>
                </a:cubicBezTo>
                <a:cubicBezTo>
                  <a:pt x="8937" y="3219"/>
                  <a:pt x="8968" y="3219"/>
                  <a:pt x="8968" y="3219"/>
                </a:cubicBezTo>
                <a:cubicBezTo>
                  <a:pt x="9000" y="3219"/>
                  <a:pt x="8968" y="3156"/>
                  <a:pt x="9000" y="3156"/>
                </a:cubicBezTo>
                <a:cubicBezTo>
                  <a:pt x="9031" y="3187"/>
                  <a:pt x="9031" y="3219"/>
                  <a:pt x="8968" y="3219"/>
                </a:cubicBezTo>
                <a:close/>
                <a:moveTo>
                  <a:pt x="8937" y="3031"/>
                </a:moveTo>
                <a:cubicBezTo>
                  <a:pt x="8968" y="2937"/>
                  <a:pt x="9031" y="2812"/>
                  <a:pt x="9093" y="2719"/>
                </a:cubicBezTo>
                <a:cubicBezTo>
                  <a:pt x="9093" y="2687"/>
                  <a:pt x="9093" y="2656"/>
                  <a:pt x="9156" y="2625"/>
                </a:cubicBezTo>
                <a:cubicBezTo>
                  <a:pt x="9156" y="2625"/>
                  <a:pt x="9156" y="2594"/>
                  <a:pt x="9156" y="2625"/>
                </a:cubicBezTo>
                <a:cubicBezTo>
                  <a:pt x="9187" y="2625"/>
                  <a:pt x="9156" y="2625"/>
                  <a:pt x="9156" y="2656"/>
                </a:cubicBezTo>
                <a:cubicBezTo>
                  <a:pt x="9093" y="2781"/>
                  <a:pt x="9031" y="2906"/>
                  <a:pt x="8968" y="3031"/>
                </a:cubicBezTo>
                <a:cubicBezTo>
                  <a:pt x="8937" y="3031"/>
                  <a:pt x="8937" y="3062"/>
                  <a:pt x="8937" y="3031"/>
                </a:cubicBezTo>
                <a:cubicBezTo>
                  <a:pt x="8937" y="3031"/>
                  <a:pt x="8937" y="3031"/>
                  <a:pt x="8937" y="3031"/>
                </a:cubicBezTo>
                <a:close/>
                <a:moveTo>
                  <a:pt x="8937" y="3031"/>
                </a:moveTo>
                <a:cubicBezTo>
                  <a:pt x="8937" y="3031"/>
                  <a:pt x="8937" y="3062"/>
                  <a:pt x="8937" y="3062"/>
                </a:cubicBezTo>
                <a:cubicBezTo>
                  <a:pt x="8937" y="3062"/>
                  <a:pt x="8937" y="3062"/>
                  <a:pt x="8937" y="3062"/>
                </a:cubicBezTo>
                <a:cubicBezTo>
                  <a:pt x="8937" y="3062"/>
                  <a:pt x="8937" y="3031"/>
                  <a:pt x="8937" y="3031"/>
                </a:cubicBezTo>
                <a:close/>
                <a:moveTo>
                  <a:pt x="8812" y="3437"/>
                </a:moveTo>
                <a:cubicBezTo>
                  <a:pt x="8812" y="3437"/>
                  <a:pt x="8812" y="3437"/>
                  <a:pt x="8812" y="3437"/>
                </a:cubicBezTo>
                <a:cubicBezTo>
                  <a:pt x="8812" y="3437"/>
                  <a:pt x="8812" y="3437"/>
                  <a:pt x="8812" y="3437"/>
                </a:cubicBezTo>
                <a:cubicBezTo>
                  <a:pt x="8875" y="3437"/>
                  <a:pt x="8875" y="3375"/>
                  <a:pt x="8906" y="3375"/>
                </a:cubicBezTo>
                <a:cubicBezTo>
                  <a:pt x="8906" y="3375"/>
                  <a:pt x="8906" y="3375"/>
                  <a:pt x="8906" y="3375"/>
                </a:cubicBezTo>
                <a:cubicBezTo>
                  <a:pt x="8906" y="3375"/>
                  <a:pt x="8906" y="3344"/>
                  <a:pt x="8906" y="3344"/>
                </a:cubicBezTo>
                <a:cubicBezTo>
                  <a:pt x="8937" y="3344"/>
                  <a:pt x="8937" y="3344"/>
                  <a:pt x="8937" y="3312"/>
                </a:cubicBezTo>
                <a:cubicBezTo>
                  <a:pt x="9000" y="3281"/>
                  <a:pt x="9062" y="3187"/>
                  <a:pt x="9125" y="3125"/>
                </a:cubicBezTo>
                <a:cubicBezTo>
                  <a:pt x="9156" y="3094"/>
                  <a:pt x="9156" y="3031"/>
                  <a:pt x="9218" y="3000"/>
                </a:cubicBezTo>
                <a:cubicBezTo>
                  <a:pt x="9218" y="3000"/>
                  <a:pt x="9218" y="3000"/>
                  <a:pt x="9218" y="3000"/>
                </a:cubicBezTo>
                <a:cubicBezTo>
                  <a:pt x="9218" y="3094"/>
                  <a:pt x="9187" y="3125"/>
                  <a:pt x="9125" y="3187"/>
                </a:cubicBezTo>
                <a:cubicBezTo>
                  <a:pt x="9062" y="3250"/>
                  <a:pt x="9000" y="3312"/>
                  <a:pt x="8906" y="3375"/>
                </a:cubicBezTo>
                <a:lnTo>
                  <a:pt x="8906" y="3375"/>
                </a:lnTo>
                <a:cubicBezTo>
                  <a:pt x="8906" y="3375"/>
                  <a:pt x="8906" y="3375"/>
                  <a:pt x="8906" y="3375"/>
                </a:cubicBezTo>
                <a:cubicBezTo>
                  <a:pt x="8875" y="3437"/>
                  <a:pt x="8812" y="3531"/>
                  <a:pt x="8750" y="3594"/>
                </a:cubicBezTo>
                <a:cubicBezTo>
                  <a:pt x="8750" y="3594"/>
                  <a:pt x="8718" y="3625"/>
                  <a:pt x="8687" y="3625"/>
                </a:cubicBezTo>
                <a:cubicBezTo>
                  <a:pt x="8687" y="3625"/>
                  <a:pt x="8687" y="3625"/>
                  <a:pt x="8687" y="3625"/>
                </a:cubicBezTo>
                <a:cubicBezTo>
                  <a:pt x="8656" y="3625"/>
                  <a:pt x="8656" y="3656"/>
                  <a:pt x="8625" y="3656"/>
                </a:cubicBezTo>
                <a:cubicBezTo>
                  <a:pt x="8656" y="3656"/>
                  <a:pt x="8656" y="3625"/>
                  <a:pt x="8687" y="3625"/>
                </a:cubicBezTo>
                <a:cubicBezTo>
                  <a:pt x="8718" y="3562"/>
                  <a:pt x="8781" y="3500"/>
                  <a:pt x="8812" y="3437"/>
                </a:cubicBezTo>
                <a:close/>
                <a:moveTo>
                  <a:pt x="8500" y="3594"/>
                </a:moveTo>
                <a:cubicBezTo>
                  <a:pt x="8562" y="3500"/>
                  <a:pt x="8593" y="3406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281"/>
                  <a:pt x="8687" y="3281"/>
                </a:cubicBezTo>
                <a:cubicBezTo>
                  <a:pt x="8687" y="3312"/>
                  <a:pt x="8687" y="3312"/>
                  <a:pt x="8687" y="3312"/>
                </a:cubicBezTo>
                <a:lnTo>
                  <a:pt x="8687" y="3312"/>
                </a:lnTo>
                <a:cubicBezTo>
                  <a:pt x="8687" y="3312"/>
                  <a:pt x="8687" y="3312"/>
                  <a:pt x="8687" y="3312"/>
                </a:cubicBezTo>
                <a:cubicBezTo>
                  <a:pt x="8687" y="3344"/>
                  <a:pt x="8687" y="3344"/>
                  <a:pt x="8687" y="3375"/>
                </a:cubicBezTo>
                <a:cubicBezTo>
                  <a:pt x="8718" y="3344"/>
                  <a:pt x="8718" y="3344"/>
                  <a:pt x="8750" y="3344"/>
                </a:cubicBezTo>
                <a:cubicBezTo>
                  <a:pt x="8718" y="3344"/>
                  <a:pt x="8718" y="3344"/>
                  <a:pt x="8687" y="3375"/>
                </a:cubicBezTo>
                <a:cubicBezTo>
                  <a:pt x="8625" y="3469"/>
                  <a:pt x="8562" y="3562"/>
                  <a:pt x="8468" y="3656"/>
                </a:cubicBezTo>
                <a:cubicBezTo>
                  <a:pt x="8437" y="3625"/>
                  <a:pt x="8500" y="3594"/>
                  <a:pt x="8500" y="3594"/>
                </a:cubicBezTo>
                <a:close/>
                <a:moveTo>
                  <a:pt x="8625" y="3531"/>
                </a:moveTo>
                <a:cubicBezTo>
                  <a:pt x="8625" y="3531"/>
                  <a:pt x="8656" y="3500"/>
                  <a:pt x="8687" y="3531"/>
                </a:cubicBezTo>
                <a:cubicBezTo>
                  <a:pt x="8687" y="3531"/>
                  <a:pt x="8687" y="3562"/>
                  <a:pt x="8656" y="3562"/>
                </a:cubicBezTo>
                <a:cubicBezTo>
                  <a:pt x="8593" y="3656"/>
                  <a:pt x="8531" y="3750"/>
                  <a:pt x="8437" y="3812"/>
                </a:cubicBezTo>
                <a:cubicBezTo>
                  <a:pt x="8500" y="3719"/>
                  <a:pt x="8562" y="3625"/>
                  <a:pt x="8625" y="3531"/>
                </a:cubicBezTo>
                <a:close/>
                <a:moveTo>
                  <a:pt x="8406" y="3875"/>
                </a:moveTo>
                <a:cubicBezTo>
                  <a:pt x="8406" y="3875"/>
                  <a:pt x="8406" y="3875"/>
                  <a:pt x="8437" y="3875"/>
                </a:cubicBezTo>
                <a:cubicBezTo>
                  <a:pt x="8437" y="3875"/>
                  <a:pt x="8437" y="3875"/>
                  <a:pt x="8437" y="3906"/>
                </a:cubicBezTo>
                <a:cubicBezTo>
                  <a:pt x="8406" y="4000"/>
                  <a:pt x="8375" y="4094"/>
                  <a:pt x="8312" y="4187"/>
                </a:cubicBezTo>
                <a:cubicBezTo>
                  <a:pt x="8312" y="4219"/>
                  <a:pt x="8281" y="4219"/>
                  <a:pt x="8250" y="4250"/>
                </a:cubicBezTo>
                <a:cubicBezTo>
                  <a:pt x="8312" y="4125"/>
                  <a:pt x="8343" y="4000"/>
                  <a:pt x="8406" y="3875"/>
                </a:cubicBezTo>
                <a:close/>
                <a:moveTo>
                  <a:pt x="8937" y="2531"/>
                </a:moveTo>
                <a:cubicBezTo>
                  <a:pt x="8937" y="2500"/>
                  <a:pt x="8968" y="2469"/>
                  <a:pt x="9000" y="2437"/>
                </a:cubicBezTo>
                <a:cubicBezTo>
                  <a:pt x="9000" y="2500"/>
                  <a:pt x="8968" y="2531"/>
                  <a:pt x="8937" y="2531"/>
                </a:cubicBezTo>
                <a:cubicBezTo>
                  <a:pt x="8937" y="2594"/>
                  <a:pt x="8875" y="2625"/>
                  <a:pt x="8875" y="2687"/>
                </a:cubicBezTo>
                <a:cubicBezTo>
                  <a:pt x="8812" y="2687"/>
                  <a:pt x="8812" y="2750"/>
                  <a:pt x="8812" y="2781"/>
                </a:cubicBezTo>
                <a:cubicBezTo>
                  <a:pt x="8781" y="2781"/>
                  <a:pt x="8781" y="2844"/>
                  <a:pt x="8750" y="2844"/>
                </a:cubicBezTo>
                <a:cubicBezTo>
                  <a:pt x="8687" y="2937"/>
                  <a:pt x="8656" y="3062"/>
                  <a:pt x="8593" y="3156"/>
                </a:cubicBezTo>
                <a:cubicBezTo>
                  <a:pt x="8593" y="3125"/>
                  <a:pt x="8562" y="3125"/>
                  <a:pt x="8593" y="3094"/>
                </a:cubicBezTo>
                <a:cubicBezTo>
                  <a:pt x="8625" y="3000"/>
                  <a:pt x="8656" y="2906"/>
                  <a:pt x="8718" y="2844"/>
                </a:cubicBezTo>
                <a:cubicBezTo>
                  <a:pt x="8781" y="2719"/>
                  <a:pt x="8843" y="2625"/>
                  <a:pt x="8937" y="2531"/>
                </a:cubicBezTo>
                <a:close/>
                <a:moveTo>
                  <a:pt x="8656" y="2844"/>
                </a:moveTo>
                <a:cubicBezTo>
                  <a:pt x="8625" y="2781"/>
                  <a:pt x="8687" y="2750"/>
                  <a:pt x="8687" y="2687"/>
                </a:cubicBezTo>
                <a:cubicBezTo>
                  <a:pt x="8718" y="2687"/>
                  <a:pt x="8718" y="2687"/>
                  <a:pt x="8718" y="2656"/>
                </a:cubicBezTo>
                <a:cubicBezTo>
                  <a:pt x="8781" y="2625"/>
                  <a:pt x="8781" y="2562"/>
                  <a:pt x="8843" y="2531"/>
                </a:cubicBezTo>
                <a:cubicBezTo>
                  <a:pt x="8843" y="2625"/>
                  <a:pt x="8750" y="2687"/>
                  <a:pt x="8718" y="2781"/>
                </a:cubicBezTo>
                <a:cubicBezTo>
                  <a:pt x="8718" y="2812"/>
                  <a:pt x="8687" y="2844"/>
                  <a:pt x="8656" y="2844"/>
                </a:cubicBezTo>
                <a:cubicBezTo>
                  <a:pt x="8656" y="2906"/>
                  <a:pt x="8593" y="2969"/>
                  <a:pt x="8531" y="3031"/>
                </a:cubicBezTo>
                <a:cubicBezTo>
                  <a:pt x="8562" y="2969"/>
                  <a:pt x="8593" y="2875"/>
                  <a:pt x="8656" y="2844"/>
                </a:cubicBezTo>
                <a:close/>
                <a:moveTo>
                  <a:pt x="8406" y="3125"/>
                </a:move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ubicBezTo>
                  <a:pt x="8406" y="3125"/>
                  <a:pt x="8406" y="3125"/>
                  <a:pt x="8406" y="3125"/>
                </a:cubicBezTo>
                <a:close/>
                <a:moveTo>
                  <a:pt x="8343" y="3219"/>
                </a:moveTo>
                <a:cubicBezTo>
                  <a:pt x="8375" y="3219"/>
                  <a:pt x="8375" y="3219"/>
                  <a:pt x="8375" y="3187"/>
                </a:cubicBezTo>
                <a:cubicBezTo>
                  <a:pt x="8375" y="3219"/>
                  <a:pt x="8375" y="3219"/>
                  <a:pt x="8343" y="3219"/>
                </a:cubicBezTo>
                <a:cubicBezTo>
                  <a:pt x="8343" y="3250"/>
                  <a:pt x="8343" y="3250"/>
                  <a:pt x="8312" y="3281"/>
                </a:cubicBezTo>
                <a:cubicBezTo>
                  <a:pt x="8343" y="3250"/>
                  <a:pt x="8343" y="3250"/>
                  <a:pt x="8343" y="3219"/>
                </a:cubicBezTo>
                <a:close/>
                <a:moveTo>
                  <a:pt x="8312" y="3375"/>
                </a:moveTo>
                <a:cubicBezTo>
                  <a:pt x="8375" y="3312"/>
                  <a:pt x="8406" y="3219"/>
                  <a:pt x="8468" y="3125"/>
                </a:cubicBezTo>
                <a:cubicBezTo>
                  <a:pt x="8468" y="3125"/>
                  <a:pt x="8500" y="3125"/>
                  <a:pt x="8500" y="3125"/>
                </a:cubicBezTo>
                <a:cubicBezTo>
                  <a:pt x="8500" y="3125"/>
                  <a:pt x="8500" y="3156"/>
                  <a:pt x="8500" y="3156"/>
                </a:cubicBezTo>
                <a:cubicBezTo>
                  <a:pt x="8437" y="3219"/>
                  <a:pt x="8406" y="3312"/>
                  <a:pt x="8312" y="3406"/>
                </a:cubicBezTo>
                <a:cubicBezTo>
                  <a:pt x="8312" y="3406"/>
                  <a:pt x="8312" y="3375"/>
                  <a:pt x="8312" y="3375"/>
                </a:cubicBezTo>
                <a:cubicBezTo>
                  <a:pt x="8312" y="3375"/>
                  <a:pt x="8312" y="3375"/>
                  <a:pt x="8312" y="3375"/>
                </a:cubicBezTo>
                <a:close/>
                <a:moveTo>
                  <a:pt x="8468" y="3281"/>
                </a:moveTo>
                <a:cubicBezTo>
                  <a:pt x="8500" y="3250"/>
                  <a:pt x="8500" y="3219"/>
                  <a:pt x="8500" y="3187"/>
                </a:cubicBezTo>
                <a:cubicBezTo>
                  <a:pt x="8531" y="3156"/>
                  <a:pt x="8562" y="3125"/>
                  <a:pt x="8593" y="3156"/>
                </a:cubicBezTo>
                <a:cubicBezTo>
                  <a:pt x="8531" y="3250"/>
                  <a:pt x="8468" y="3312"/>
                  <a:pt x="8437" y="3406"/>
                </a:cubicBezTo>
                <a:cubicBezTo>
                  <a:pt x="8375" y="3469"/>
                  <a:pt x="8343" y="3562"/>
                  <a:pt x="8312" y="3656"/>
                </a:cubicBezTo>
                <a:cubicBezTo>
                  <a:pt x="8312" y="3687"/>
                  <a:pt x="8281" y="3750"/>
                  <a:pt x="8250" y="3781"/>
                </a:cubicBezTo>
                <a:cubicBezTo>
                  <a:pt x="8281" y="3594"/>
                  <a:pt x="8375" y="3437"/>
                  <a:pt x="8468" y="3281"/>
                </a:cubicBezTo>
                <a:close/>
                <a:moveTo>
                  <a:pt x="8218" y="4156"/>
                </a:moveTo>
                <a:cubicBezTo>
                  <a:pt x="8218" y="4125"/>
                  <a:pt x="8218" y="4094"/>
                  <a:pt x="8250" y="4094"/>
                </a:cubicBezTo>
                <a:cubicBezTo>
                  <a:pt x="8218" y="4094"/>
                  <a:pt x="8218" y="4125"/>
                  <a:pt x="8218" y="4156"/>
                </a:cubicBezTo>
                <a:cubicBezTo>
                  <a:pt x="8218" y="4156"/>
                  <a:pt x="8218" y="4156"/>
                  <a:pt x="8218" y="4156"/>
                </a:cubicBezTo>
                <a:cubicBezTo>
                  <a:pt x="8218" y="4187"/>
                  <a:pt x="8218" y="4187"/>
                  <a:pt x="8218" y="4219"/>
                </a:cubicBezTo>
                <a:cubicBezTo>
                  <a:pt x="8218" y="4187"/>
                  <a:pt x="8218" y="4187"/>
                  <a:pt x="8218" y="4156"/>
                </a:cubicBezTo>
                <a:close/>
                <a:moveTo>
                  <a:pt x="8250" y="4281"/>
                </a:moveTo>
                <a:cubicBezTo>
                  <a:pt x="8156" y="4469"/>
                  <a:pt x="8031" y="4656"/>
                  <a:pt x="7937" y="4875"/>
                </a:cubicBezTo>
                <a:cubicBezTo>
                  <a:pt x="8000" y="4625"/>
                  <a:pt x="8125" y="4469"/>
                  <a:pt x="8250" y="4281"/>
                </a:cubicBezTo>
                <a:close/>
                <a:moveTo>
                  <a:pt x="8125" y="4281"/>
                </a:moveTo>
                <a:cubicBezTo>
                  <a:pt x="8125" y="4281"/>
                  <a:pt x="8156" y="4281"/>
                  <a:pt x="8156" y="4281"/>
                </a:cubicBezTo>
                <a:cubicBezTo>
                  <a:pt x="8156" y="4281"/>
                  <a:pt x="8156" y="4312"/>
                  <a:pt x="8156" y="4312"/>
                </a:cubicBezTo>
                <a:cubicBezTo>
                  <a:pt x="8125" y="4344"/>
                  <a:pt x="8125" y="4375"/>
                  <a:pt x="8093" y="4406"/>
                </a:cubicBezTo>
                <a:cubicBezTo>
                  <a:pt x="8093" y="4344"/>
                  <a:pt x="8125" y="4312"/>
                  <a:pt x="8125" y="4281"/>
                </a:cubicBezTo>
                <a:close/>
                <a:moveTo>
                  <a:pt x="8062" y="4437"/>
                </a:moveTo>
                <a:cubicBezTo>
                  <a:pt x="7968" y="4625"/>
                  <a:pt x="7906" y="4812"/>
                  <a:pt x="7812" y="4969"/>
                </a:cubicBezTo>
                <a:cubicBezTo>
                  <a:pt x="7750" y="5062"/>
                  <a:pt x="7718" y="5156"/>
                  <a:pt x="7656" y="5250"/>
                </a:cubicBezTo>
                <a:cubicBezTo>
                  <a:pt x="7656" y="5250"/>
                  <a:pt x="7625" y="5281"/>
                  <a:pt x="7625" y="5281"/>
                </a:cubicBezTo>
                <a:cubicBezTo>
                  <a:pt x="7687" y="5125"/>
                  <a:pt x="7750" y="5000"/>
                  <a:pt x="7812" y="4875"/>
                </a:cubicBezTo>
                <a:cubicBezTo>
                  <a:pt x="7875" y="4750"/>
                  <a:pt x="7906" y="4625"/>
                  <a:pt x="8000" y="4531"/>
                </a:cubicBezTo>
                <a:cubicBezTo>
                  <a:pt x="8000" y="4500"/>
                  <a:pt x="8031" y="4469"/>
                  <a:pt x="8062" y="4437"/>
                </a:cubicBezTo>
                <a:close/>
                <a:moveTo>
                  <a:pt x="8000" y="4094"/>
                </a:moveTo>
                <a:cubicBezTo>
                  <a:pt x="8000" y="4062"/>
                  <a:pt x="8000" y="4062"/>
                  <a:pt x="8000" y="4031"/>
                </a:cubicBezTo>
                <a:cubicBezTo>
                  <a:pt x="8000" y="4031"/>
                  <a:pt x="8000" y="4031"/>
                  <a:pt x="7968" y="4031"/>
                </a:cubicBezTo>
                <a:cubicBezTo>
                  <a:pt x="8000" y="4031"/>
                  <a:pt x="8000" y="4031"/>
                  <a:pt x="8000" y="4031"/>
                </a:cubicBezTo>
                <a:cubicBezTo>
                  <a:pt x="8000" y="4062"/>
                  <a:pt x="8000" y="4062"/>
                  <a:pt x="8000" y="4094"/>
                </a:cubicBezTo>
                <a:close/>
                <a:moveTo>
                  <a:pt x="8000" y="4000"/>
                </a:moveTo>
                <a:cubicBezTo>
                  <a:pt x="8000" y="4000"/>
                  <a:pt x="7968" y="4031"/>
                  <a:pt x="8000" y="4031"/>
                </a:cubicBezTo>
                <a:cubicBezTo>
                  <a:pt x="8000" y="4031"/>
                  <a:pt x="8000" y="4031"/>
                  <a:pt x="8000" y="4031"/>
                </a:cubicBezTo>
                <a:cubicBezTo>
                  <a:pt x="7968" y="4031"/>
                  <a:pt x="8000" y="4000"/>
                  <a:pt x="8000" y="4000"/>
                </a:cubicBezTo>
                <a:close/>
                <a:moveTo>
                  <a:pt x="7937" y="3937"/>
                </a:moveTo>
                <a:cubicBezTo>
                  <a:pt x="7937" y="3937"/>
                  <a:pt x="7937" y="3937"/>
                  <a:pt x="7937" y="3937"/>
                </a:cubicBezTo>
                <a:cubicBezTo>
                  <a:pt x="7968" y="3937"/>
                  <a:pt x="7968" y="3906"/>
                  <a:pt x="8000" y="3906"/>
                </a:cubicBezTo>
                <a:cubicBezTo>
                  <a:pt x="7968" y="3906"/>
                  <a:pt x="7968" y="3937"/>
                  <a:pt x="7937" y="3937"/>
                </a:cubicBezTo>
                <a:cubicBezTo>
                  <a:pt x="7937" y="3969"/>
                  <a:pt x="7937" y="4000"/>
                  <a:pt x="7906" y="4000"/>
                </a:cubicBezTo>
                <a:cubicBezTo>
                  <a:pt x="7937" y="4000"/>
                  <a:pt x="7937" y="3969"/>
                  <a:pt x="7937" y="3937"/>
                </a:cubicBezTo>
                <a:close/>
                <a:moveTo>
                  <a:pt x="8000" y="3531"/>
                </a:moveTo>
                <a:cubicBezTo>
                  <a:pt x="8000" y="3625"/>
                  <a:pt x="7906" y="3687"/>
                  <a:pt x="7875" y="3750"/>
                </a:cubicBezTo>
                <a:cubicBezTo>
                  <a:pt x="7875" y="3781"/>
                  <a:pt x="7843" y="3812"/>
                  <a:pt x="7812" y="3812"/>
                </a:cubicBezTo>
                <a:cubicBezTo>
                  <a:pt x="7875" y="3719"/>
                  <a:pt x="7937" y="3625"/>
                  <a:pt x="8000" y="3531"/>
                </a:cubicBezTo>
                <a:close/>
                <a:moveTo>
                  <a:pt x="7812" y="3906"/>
                </a:moveTo>
                <a:cubicBezTo>
                  <a:pt x="7843" y="3906"/>
                  <a:pt x="7843" y="3875"/>
                  <a:pt x="7875" y="3875"/>
                </a:cubicBezTo>
                <a:cubicBezTo>
                  <a:pt x="7875" y="3969"/>
                  <a:pt x="7812" y="4031"/>
                  <a:pt x="7781" y="4094"/>
                </a:cubicBezTo>
                <a:cubicBezTo>
                  <a:pt x="7750" y="4125"/>
                  <a:pt x="7750" y="4156"/>
                  <a:pt x="7718" y="4219"/>
                </a:cubicBezTo>
                <a:cubicBezTo>
                  <a:pt x="7718" y="4219"/>
                  <a:pt x="7687" y="4219"/>
                  <a:pt x="7687" y="4219"/>
                </a:cubicBezTo>
                <a:cubicBezTo>
                  <a:pt x="7656" y="4219"/>
                  <a:pt x="7656" y="4187"/>
                  <a:pt x="7687" y="4187"/>
                </a:cubicBezTo>
                <a:cubicBezTo>
                  <a:pt x="7718" y="4094"/>
                  <a:pt x="7781" y="4000"/>
                  <a:pt x="7812" y="3906"/>
                </a:cubicBezTo>
                <a:close/>
                <a:moveTo>
                  <a:pt x="7562" y="3594"/>
                </a:moveTo>
                <a:cubicBezTo>
                  <a:pt x="7593" y="3562"/>
                  <a:pt x="7593" y="3562"/>
                  <a:pt x="7625" y="3531"/>
                </a:cubicBezTo>
                <a:cubicBezTo>
                  <a:pt x="7625" y="3531"/>
                  <a:pt x="7625" y="3531"/>
                  <a:pt x="7656" y="3531"/>
                </a:cubicBezTo>
                <a:cubicBezTo>
                  <a:pt x="7656" y="3500"/>
                  <a:pt x="7687" y="3469"/>
                  <a:pt x="7718" y="3406"/>
                </a:cubicBezTo>
                <a:cubicBezTo>
                  <a:pt x="7718" y="3406"/>
                  <a:pt x="7718" y="3375"/>
                  <a:pt x="7750" y="3375"/>
                </a:cubicBezTo>
                <a:cubicBezTo>
                  <a:pt x="7718" y="3375"/>
                  <a:pt x="7718" y="3406"/>
                  <a:pt x="7718" y="3406"/>
                </a:cubicBezTo>
                <a:cubicBezTo>
                  <a:pt x="7687" y="3469"/>
                  <a:pt x="7656" y="3500"/>
                  <a:pt x="7656" y="3531"/>
                </a:cubicBezTo>
                <a:cubicBezTo>
                  <a:pt x="7656" y="3562"/>
                  <a:pt x="7656" y="3594"/>
                  <a:pt x="7625" y="3625"/>
                </a:cubicBezTo>
                <a:cubicBezTo>
                  <a:pt x="7531" y="3781"/>
                  <a:pt x="7468" y="3937"/>
                  <a:pt x="7406" y="4125"/>
                </a:cubicBezTo>
                <a:cubicBezTo>
                  <a:pt x="7406" y="4219"/>
                  <a:pt x="7343" y="4281"/>
                  <a:pt x="7343" y="4344"/>
                </a:cubicBezTo>
                <a:cubicBezTo>
                  <a:pt x="7343" y="4375"/>
                  <a:pt x="7312" y="4375"/>
                  <a:pt x="7281" y="4375"/>
                </a:cubicBezTo>
                <a:cubicBezTo>
                  <a:pt x="7375" y="4125"/>
                  <a:pt x="7437" y="3844"/>
                  <a:pt x="7562" y="3594"/>
                </a:cubicBezTo>
                <a:close/>
                <a:moveTo>
                  <a:pt x="7562" y="3187"/>
                </a:moveTo>
                <a:cubicBezTo>
                  <a:pt x="7562" y="3219"/>
                  <a:pt x="7562" y="3250"/>
                  <a:pt x="7531" y="3281"/>
                </a:cubicBezTo>
                <a:cubicBezTo>
                  <a:pt x="7562" y="3250"/>
                  <a:pt x="7562" y="3219"/>
                  <a:pt x="7562" y="3187"/>
                </a:cubicBezTo>
                <a:cubicBezTo>
                  <a:pt x="7562" y="3187"/>
                  <a:pt x="7562" y="3187"/>
                  <a:pt x="7562" y="3187"/>
                </a:cubicBezTo>
                <a:cubicBezTo>
                  <a:pt x="7625" y="3156"/>
                  <a:pt x="7656" y="3094"/>
                  <a:pt x="7687" y="3062"/>
                </a:cubicBezTo>
                <a:cubicBezTo>
                  <a:pt x="7656" y="3094"/>
                  <a:pt x="7625" y="3156"/>
                  <a:pt x="7562" y="3187"/>
                </a:cubicBezTo>
                <a:close/>
                <a:moveTo>
                  <a:pt x="7718" y="2969"/>
                </a:moveTo>
                <a:cubicBezTo>
                  <a:pt x="7718" y="2969"/>
                  <a:pt x="7718" y="2969"/>
                  <a:pt x="7718" y="2969"/>
                </a:cubicBezTo>
                <a:cubicBezTo>
                  <a:pt x="7718" y="2969"/>
                  <a:pt x="7718" y="2969"/>
                  <a:pt x="7718" y="2969"/>
                </a:cubicBezTo>
                <a:close/>
                <a:moveTo>
                  <a:pt x="7656" y="2906"/>
                </a:moveTo>
                <a:cubicBezTo>
                  <a:pt x="7656" y="2969"/>
                  <a:pt x="7656" y="3000"/>
                  <a:pt x="7593" y="3031"/>
                </a:cubicBezTo>
                <a:cubicBezTo>
                  <a:pt x="7625" y="3000"/>
                  <a:pt x="7656" y="2937"/>
                  <a:pt x="7656" y="2906"/>
                </a:cubicBezTo>
                <a:cubicBezTo>
                  <a:pt x="7687" y="2875"/>
                  <a:pt x="7687" y="2844"/>
                  <a:pt x="7750" y="2875"/>
                </a:cubicBezTo>
                <a:cubicBezTo>
                  <a:pt x="7687" y="2875"/>
                  <a:pt x="7718" y="2906"/>
                  <a:pt x="7656" y="2906"/>
                </a:cubicBezTo>
                <a:close/>
                <a:moveTo>
                  <a:pt x="7843" y="2594"/>
                </a:moveTo>
                <a:cubicBezTo>
                  <a:pt x="7812" y="2594"/>
                  <a:pt x="7812" y="2594"/>
                  <a:pt x="7812" y="2625"/>
                </a:cubicBezTo>
                <a:cubicBezTo>
                  <a:pt x="7781" y="2687"/>
                  <a:pt x="7750" y="2750"/>
                  <a:pt x="7718" y="2812"/>
                </a:cubicBezTo>
                <a:cubicBezTo>
                  <a:pt x="7718" y="2812"/>
                  <a:pt x="7718" y="2812"/>
                  <a:pt x="7718" y="2812"/>
                </a:cubicBezTo>
                <a:cubicBezTo>
                  <a:pt x="7718" y="2719"/>
                  <a:pt x="7781" y="2656"/>
                  <a:pt x="7812" y="2562"/>
                </a:cubicBezTo>
                <a:cubicBezTo>
                  <a:pt x="7812" y="2562"/>
                  <a:pt x="7812" y="2562"/>
                  <a:pt x="7843" y="2562"/>
                </a:cubicBezTo>
                <a:cubicBezTo>
                  <a:pt x="7843" y="2562"/>
                  <a:pt x="7843" y="2562"/>
                  <a:pt x="7843" y="2594"/>
                </a:cubicBezTo>
                <a:close/>
                <a:moveTo>
                  <a:pt x="7812" y="2281"/>
                </a:moveTo>
                <a:cubicBezTo>
                  <a:pt x="7812" y="2250"/>
                  <a:pt x="7812" y="2219"/>
                  <a:pt x="7843" y="2219"/>
                </a:cubicBezTo>
                <a:cubicBezTo>
                  <a:pt x="7812" y="2219"/>
                  <a:pt x="7812" y="2250"/>
                  <a:pt x="7812" y="2281"/>
                </a:cubicBezTo>
                <a:close/>
                <a:moveTo>
                  <a:pt x="10625" y="1062"/>
                </a:moveTo>
                <a:cubicBezTo>
                  <a:pt x="10500" y="1094"/>
                  <a:pt x="10375" y="1156"/>
                  <a:pt x="10281" y="1219"/>
                </a:cubicBezTo>
                <a:cubicBezTo>
                  <a:pt x="10250" y="1219"/>
                  <a:pt x="10250" y="1219"/>
                  <a:pt x="10218" y="1219"/>
                </a:cubicBezTo>
                <a:cubicBezTo>
                  <a:pt x="10406" y="1125"/>
                  <a:pt x="10562" y="1000"/>
                  <a:pt x="10781" y="1000"/>
                </a:cubicBezTo>
                <a:cubicBezTo>
                  <a:pt x="10750" y="1062"/>
                  <a:pt x="10687" y="1031"/>
                  <a:pt x="10625" y="1062"/>
                </a:cubicBezTo>
                <a:close/>
                <a:moveTo>
                  <a:pt x="10843" y="937"/>
                </a:moveTo>
                <a:cubicBezTo>
                  <a:pt x="10843" y="937"/>
                  <a:pt x="10843" y="937"/>
                  <a:pt x="10843" y="937"/>
                </a:cubicBezTo>
                <a:cubicBezTo>
                  <a:pt x="10843" y="906"/>
                  <a:pt x="10843" y="906"/>
                  <a:pt x="10812" y="906"/>
                </a:cubicBezTo>
                <a:cubicBezTo>
                  <a:pt x="10843" y="906"/>
                  <a:pt x="10843" y="906"/>
                  <a:pt x="10843" y="937"/>
                </a:cubicBezTo>
                <a:close/>
                <a:moveTo>
                  <a:pt x="10562" y="906"/>
                </a:moveTo>
                <a:cubicBezTo>
                  <a:pt x="10593" y="844"/>
                  <a:pt x="10656" y="875"/>
                  <a:pt x="10687" y="844"/>
                </a:cubicBezTo>
                <a:cubicBezTo>
                  <a:pt x="10687" y="844"/>
                  <a:pt x="10687" y="844"/>
                  <a:pt x="10687" y="844"/>
                </a:cubicBezTo>
                <a:cubicBezTo>
                  <a:pt x="10781" y="812"/>
                  <a:pt x="10875" y="781"/>
                  <a:pt x="10968" y="781"/>
                </a:cubicBezTo>
                <a:cubicBezTo>
                  <a:pt x="10968" y="812"/>
                  <a:pt x="10937" y="812"/>
                  <a:pt x="10937" y="844"/>
                </a:cubicBezTo>
                <a:cubicBezTo>
                  <a:pt x="10937" y="844"/>
                  <a:pt x="10906" y="844"/>
                  <a:pt x="10906" y="844"/>
                </a:cubicBezTo>
                <a:cubicBezTo>
                  <a:pt x="10906" y="844"/>
                  <a:pt x="10937" y="844"/>
                  <a:pt x="10937" y="844"/>
                </a:cubicBezTo>
                <a:cubicBezTo>
                  <a:pt x="10937" y="844"/>
                  <a:pt x="10906" y="844"/>
                  <a:pt x="10906" y="844"/>
                </a:cubicBezTo>
                <a:cubicBezTo>
                  <a:pt x="10906" y="844"/>
                  <a:pt x="10906" y="844"/>
                  <a:pt x="10906" y="844"/>
                </a:cubicBezTo>
                <a:cubicBezTo>
                  <a:pt x="10906" y="812"/>
                  <a:pt x="10875" y="844"/>
                  <a:pt x="10875" y="844"/>
                </a:cubicBezTo>
                <a:cubicBezTo>
                  <a:pt x="10781" y="875"/>
                  <a:pt x="10687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62" y="906"/>
                  <a:pt x="10562" y="906"/>
                  <a:pt x="10562" y="906"/>
                </a:cubicBezTo>
                <a:cubicBezTo>
                  <a:pt x="10531" y="937"/>
                  <a:pt x="10437" y="969"/>
                  <a:pt x="10375" y="969"/>
                </a:cubicBezTo>
                <a:cubicBezTo>
                  <a:pt x="10437" y="875"/>
                  <a:pt x="10500" y="906"/>
                  <a:pt x="10562" y="906"/>
                </a:cubicBezTo>
                <a:close/>
                <a:moveTo>
                  <a:pt x="10156" y="1187"/>
                </a:moveTo>
                <a:cubicBezTo>
                  <a:pt x="10187" y="1156"/>
                  <a:pt x="10218" y="1125"/>
                  <a:pt x="10250" y="1094"/>
                </a:cubicBezTo>
                <a:cubicBezTo>
                  <a:pt x="10250" y="1094"/>
                  <a:pt x="10250" y="1094"/>
                  <a:pt x="10250" y="1094"/>
                </a:cubicBezTo>
                <a:cubicBezTo>
                  <a:pt x="10281" y="1094"/>
                  <a:pt x="10312" y="1062"/>
                  <a:pt x="10312" y="1062"/>
                </a:cubicBezTo>
                <a:cubicBezTo>
                  <a:pt x="10468" y="969"/>
                  <a:pt x="10625" y="937"/>
                  <a:pt x="10812" y="906"/>
                </a:cubicBezTo>
                <a:cubicBezTo>
                  <a:pt x="10812" y="906"/>
                  <a:pt x="10812" y="937"/>
                  <a:pt x="10781" y="937"/>
                </a:cubicBezTo>
                <a:cubicBezTo>
                  <a:pt x="10781" y="937"/>
                  <a:pt x="10781" y="937"/>
                  <a:pt x="10781" y="937"/>
                </a:cubicBezTo>
                <a:cubicBezTo>
                  <a:pt x="10593" y="969"/>
                  <a:pt x="10375" y="1062"/>
                  <a:pt x="10187" y="1156"/>
                </a:cubicBezTo>
                <a:cubicBezTo>
                  <a:pt x="10187" y="1187"/>
                  <a:pt x="10156" y="1187"/>
                  <a:pt x="10156" y="1187"/>
                </a:cubicBezTo>
                <a:cubicBezTo>
                  <a:pt x="10125" y="1187"/>
                  <a:pt x="10125" y="1187"/>
                  <a:pt x="10125" y="1219"/>
                </a:cubicBezTo>
                <a:cubicBezTo>
                  <a:pt x="10125" y="1187"/>
                  <a:pt x="10125" y="1187"/>
                  <a:pt x="10156" y="1187"/>
                </a:cubicBezTo>
                <a:close/>
                <a:moveTo>
                  <a:pt x="8250" y="1750"/>
                </a:moveTo>
                <a:cubicBezTo>
                  <a:pt x="8250" y="1750"/>
                  <a:pt x="8250" y="1750"/>
                  <a:pt x="8250" y="1750"/>
                </a:cubicBezTo>
                <a:cubicBezTo>
                  <a:pt x="8218" y="1750"/>
                  <a:pt x="8218" y="1750"/>
                  <a:pt x="8218" y="1750"/>
                </a:cubicBezTo>
                <a:cubicBezTo>
                  <a:pt x="8218" y="1750"/>
                  <a:pt x="8218" y="1750"/>
                  <a:pt x="8250" y="1750"/>
                </a:cubicBezTo>
                <a:close/>
                <a:moveTo>
                  <a:pt x="8187" y="1875"/>
                </a:moveTo>
                <a:cubicBezTo>
                  <a:pt x="8187" y="1875"/>
                  <a:pt x="8187" y="1875"/>
                  <a:pt x="8218" y="1875"/>
                </a:cubicBezTo>
                <a:cubicBezTo>
                  <a:pt x="8187" y="1875"/>
                  <a:pt x="8187" y="1875"/>
                  <a:pt x="8187" y="1875"/>
                </a:cubicBezTo>
                <a:cubicBezTo>
                  <a:pt x="8187" y="1875"/>
                  <a:pt x="8187" y="1875"/>
                  <a:pt x="8187" y="1875"/>
                </a:cubicBezTo>
                <a:close/>
                <a:moveTo>
                  <a:pt x="8187" y="1781"/>
                </a:move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lose/>
                <a:moveTo>
                  <a:pt x="8187" y="1781"/>
                </a:moveTo>
                <a:cubicBezTo>
                  <a:pt x="8187" y="1781"/>
                  <a:pt x="8187" y="1781"/>
                  <a:pt x="8187" y="1781"/>
                </a:cubicBezTo>
                <a:cubicBezTo>
                  <a:pt x="8187" y="1781"/>
                  <a:pt x="8187" y="1781"/>
                  <a:pt x="8187" y="1781"/>
                </a:cubicBezTo>
                <a:cubicBezTo>
                  <a:pt x="8156" y="1812"/>
                  <a:pt x="8125" y="1844"/>
                  <a:pt x="8093" y="1844"/>
                </a:cubicBezTo>
                <a:cubicBezTo>
                  <a:pt x="8125" y="1844"/>
                  <a:pt x="8156" y="1812"/>
                  <a:pt x="8187" y="1781"/>
                </a:cubicBezTo>
                <a:close/>
                <a:moveTo>
                  <a:pt x="8187" y="1875"/>
                </a:moveTo>
                <a:cubicBezTo>
                  <a:pt x="8187" y="1906"/>
                  <a:pt x="8156" y="1937"/>
                  <a:pt x="8156" y="1937"/>
                </a:cubicBezTo>
                <a:cubicBezTo>
                  <a:pt x="8156" y="1937"/>
                  <a:pt x="8187" y="1906"/>
                  <a:pt x="8187" y="1875"/>
                </a:cubicBezTo>
                <a:cubicBezTo>
                  <a:pt x="8187" y="1875"/>
                  <a:pt x="8187" y="1875"/>
                  <a:pt x="8187" y="1875"/>
                </a:cubicBezTo>
                <a:close/>
                <a:moveTo>
                  <a:pt x="8031" y="1969"/>
                </a:moveTo>
                <a:cubicBezTo>
                  <a:pt x="8031" y="1969"/>
                  <a:pt x="8031" y="1969"/>
                  <a:pt x="8031" y="1969"/>
                </a:cubicBezTo>
                <a:cubicBezTo>
                  <a:pt x="8031" y="1969"/>
                  <a:pt x="8031" y="1969"/>
                  <a:pt x="8031" y="1969"/>
                </a:cubicBezTo>
                <a:cubicBezTo>
                  <a:pt x="8031" y="1969"/>
                  <a:pt x="8062" y="1969"/>
                  <a:pt x="8062" y="1937"/>
                </a:cubicBezTo>
                <a:cubicBezTo>
                  <a:pt x="8062" y="1969"/>
                  <a:pt x="8031" y="1969"/>
                  <a:pt x="8031" y="1969"/>
                </a:cubicBezTo>
                <a:cubicBezTo>
                  <a:pt x="8031" y="2000"/>
                  <a:pt x="8000" y="2031"/>
                  <a:pt x="8000" y="2031"/>
                </a:cubicBezTo>
                <a:cubicBezTo>
                  <a:pt x="8000" y="2031"/>
                  <a:pt x="8031" y="2000"/>
                  <a:pt x="8031" y="1969"/>
                </a:cubicBezTo>
                <a:cubicBezTo>
                  <a:pt x="8031" y="1969"/>
                  <a:pt x="8031" y="1969"/>
                  <a:pt x="8031" y="1969"/>
                </a:cubicBezTo>
                <a:close/>
                <a:moveTo>
                  <a:pt x="8000" y="2125"/>
                </a:moveTo>
                <a:cubicBezTo>
                  <a:pt x="8000" y="2125"/>
                  <a:pt x="8000" y="2125"/>
                  <a:pt x="8000" y="2125"/>
                </a:cubicBezTo>
                <a:cubicBezTo>
                  <a:pt x="8000" y="2125"/>
                  <a:pt x="8000" y="2125"/>
                  <a:pt x="8000" y="2125"/>
                </a:cubicBezTo>
                <a:close/>
                <a:moveTo>
                  <a:pt x="7968" y="2312"/>
                </a:moveTo>
                <a:cubicBezTo>
                  <a:pt x="7968" y="2312"/>
                  <a:pt x="7968" y="2312"/>
                  <a:pt x="7968" y="2312"/>
                </a:cubicBezTo>
                <a:cubicBezTo>
                  <a:pt x="7937" y="2312"/>
                  <a:pt x="7937" y="2312"/>
                  <a:pt x="7937" y="2312"/>
                </a:cubicBezTo>
                <a:cubicBezTo>
                  <a:pt x="7937" y="2312"/>
                  <a:pt x="7937" y="2312"/>
                  <a:pt x="7968" y="2312"/>
                </a:cubicBezTo>
                <a:close/>
                <a:moveTo>
                  <a:pt x="7937" y="2562"/>
                </a:moveTo>
                <a:cubicBezTo>
                  <a:pt x="7937" y="2562"/>
                  <a:pt x="7937" y="2562"/>
                  <a:pt x="7937" y="2562"/>
                </a:cubicBezTo>
                <a:cubicBezTo>
                  <a:pt x="7937" y="2562"/>
                  <a:pt x="7937" y="2562"/>
                  <a:pt x="7937" y="2562"/>
                </a:cubicBezTo>
                <a:cubicBezTo>
                  <a:pt x="7937" y="2562"/>
                  <a:pt x="7937" y="2562"/>
                  <a:pt x="7937" y="2562"/>
                </a:cubicBezTo>
                <a:close/>
                <a:moveTo>
                  <a:pt x="7937" y="2406"/>
                </a:moveTo>
                <a:cubicBezTo>
                  <a:pt x="7968" y="2375"/>
                  <a:pt x="8000" y="2312"/>
                  <a:pt x="8031" y="2281"/>
                </a:cubicBezTo>
                <a:cubicBezTo>
                  <a:pt x="8031" y="2250"/>
                  <a:pt x="8031" y="2250"/>
                  <a:pt x="8062" y="2250"/>
                </a:cubicBezTo>
                <a:cubicBezTo>
                  <a:pt x="8031" y="2250"/>
                  <a:pt x="8031" y="2250"/>
                  <a:pt x="8031" y="2281"/>
                </a:cubicBezTo>
                <a:cubicBezTo>
                  <a:pt x="8031" y="2281"/>
                  <a:pt x="8031" y="2281"/>
                  <a:pt x="8062" y="2281"/>
                </a:cubicBezTo>
                <a:cubicBezTo>
                  <a:pt x="8062" y="2281"/>
                  <a:pt x="8062" y="2281"/>
                  <a:pt x="8062" y="2281"/>
                </a:cubicBezTo>
                <a:cubicBezTo>
                  <a:pt x="8031" y="2281"/>
                  <a:pt x="8031" y="2281"/>
                  <a:pt x="8031" y="2281"/>
                </a:cubicBezTo>
                <a:cubicBezTo>
                  <a:pt x="8000" y="2312"/>
                  <a:pt x="7968" y="2375"/>
                  <a:pt x="7937" y="2406"/>
                </a:cubicBezTo>
                <a:close/>
                <a:moveTo>
                  <a:pt x="8093" y="2469"/>
                </a:moveTo>
                <a:cubicBezTo>
                  <a:pt x="8093" y="2500"/>
                  <a:pt x="8062" y="2500"/>
                  <a:pt x="8031" y="2531"/>
                </a:cubicBezTo>
                <a:cubicBezTo>
                  <a:pt x="8062" y="2500"/>
                  <a:pt x="8093" y="2500"/>
                  <a:pt x="8093" y="2469"/>
                </a:cubicBezTo>
                <a:cubicBezTo>
                  <a:pt x="8125" y="2406"/>
                  <a:pt x="8156" y="2375"/>
                  <a:pt x="8187" y="2344"/>
                </a:cubicBezTo>
                <a:cubicBezTo>
                  <a:pt x="8156" y="2375"/>
                  <a:pt x="8125" y="2406"/>
                  <a:pt x="8093" y="2469"/>
                </a:cubicBezTo>
                <a:close/>
                <a:moveTo>
                  <a:pt x="8250" y="2500"/>
                </a:moveTo>
                <a:cubicBezTo>
                  <a:pt x="8250" y="2469"/>
                  <a:pt x="8250" y="2437"/>
                  <a:pt x="8250" y="2437"/>
                </a:cubicBezTo>
                <a:cubicBezTo>
                  <a:pt x="8250" y="2437"/>
                  <a:pt x="8250" y="2469"/>
                  <a:pt x="8250" y="2500"/>
                </a:cubicBezTo>
                <a:close/>
                <a:moveTo>
                  <a:pt x="8250" y="2500"/>
                </a:moveTo>
                <a:cubicBezTo>
                  <a:pt x="8250" y="2437"/>
                  <a:pt x="8281" y="2437"/>
                  <a:pt x="8312" y="2406"/>
                </a:cubicBezTo>
                <a:cubicBezTo>
                  <a:pt x="8281" y="2437"/>
                  <a:pt x="8250" y="2437"/>
                  <a:pt x="8250" y="2500"/>
                </a:cubicBezTo>
                <a:cubicBezTo>
                  <a:pt x="8281" y="2500"/>
                  <a:pt x="8312" y="2469"/>
                  <a:pt x="8312" y="2469"/>
                </a:cubicBezTo>
                <a:cubicBezTo>
                  <a:pt x="8312" y="2469"/>
                  <a:pt x="8343" y="2437"/>
                  <a:pt x="8343" y="2437"/>
                </a:cubicBezTo>
                <a:cubicBezTo>
                  <a:pt x="8343" y="2437"/>
                  <a:pt x="8312" y="2469"/>
                  <a:pt x="8312" y="2469"/>
                </a:cubicBezTo>
                <a:cubicBezTo>
                  <a:pt x="8312" y="2469"/>
                  <a:pt x="8281" y="2500"/>
                  <a:pt x="8250" y="2500"/>
                </a:cubicBezTo>
                <a:close/>
                <a:moveTo>
                  <a:pt x="8312" y="2469"/>
                </a:moveTo>
                <a:cubicBezTo>
                  <a:pt x="8312" y="2469"/>
                  <a:pt x="8312" y="2469"/>
                  <a:pt x="8312" y="2469"/>
                </a:cubicBezTo>
                <a:cubicBezTo>
                  <a:pt x="8312" y="2500"/>
                  <a:pt x="8312" y="2500"/>
                  <a:pt x="8312" y="2500"/>
                </a:cubicBezTo>
                <a:cubicBezTo>
                  <a:pt x="8312" y="2500"/>
                  <a:pt x="8312" y="2500"/>
                  <a:pt x="8312" y="2469"/>
                </a:cubicBezTo>
                <a:close/>
                <a:moveTo>
                  <a:pt x="8312" y="2594"/>
                </a:moveTo>
                <a:cubicBezTo>
                  <a:pt x="8343" y="2562"/>
                  <a:pt x="8343" y="2531"/>
                  <a:pt x="8343" y="2531"/>
                </a:cubicBezTo>
                <a:cubicBezTo>
                  <a:pt x="8343" y="2531"/>
                  <a:pt x="8343" y="2562"/>
                  <a:pt x="8312" y="2594"/>
                </a:cubicBezTo>
                <a:close/>
                <a:moveTo>
                  <a:pt x="8375" y="2312"/>
                </a:moveTo>
                <a:cubicBezTo>
                  <a:pt x="8375" y="2312"/>
                  <a:pt x="8375" y="2312"/>
                  <a:pt x="8375" y="2312"/>
                </a:cubicBezTo>
                <a:cubicBezTo>
                  <a:pt x="8375" y="2312"/>
                  <a:pt x="8375" y="2312"/>
                  <a:pt x="8375" y="2312"/>
                </a:cubicBezTo>
                <a:cubicBezTo>
                  <a:pt x="8375" y="2312"/>
                  <a:pt x="8375" y="2312"/>
                  <a:pt x="8375" y="2312"/>
                </a:cubicBezTo>
                <a:close/>
                <a:moveTo>
                  <a:pt x="8406" y="1937"/>
                </a:moveTo>
                <a:cubicBezTo>
                  <a:pt x="8406" y="1937"/>
                  <a:pt x="8406" y="1937"/>
                  <a:pt x="8406" y="1937"/>
                </a:cubicBezTo>
                <a:cubicBezTo>
                  <a:pt x="8406" y="1969"/>
                  <a:pt x="8406" y="1969"/>
                  <a:pt x="8406" y="1969"/>
                </a:cubicBezTo>
                <a:cubicBezTo>
                  <a:pt x="8406" y="1969"/>
                  <a:pt x="8406" y="1969"/>
                  <a:pt x="8406" y="1937"/>
                </a:cubicBezTo>
                <a:cubicBezTo>
                  <a:pt x="8437" y="1906"/>
                  <a:pt x="8468" y="1875"/>
                  <a:pt x="8500" y="1844"/>
                </a:cubicBezTo>
                <a:cubicBezTo>
                  <a:pt x="8468" y="1875"/>
                  <a:pt x="8437" y="1906"/>
                  <a:pt x="8406" y="1937"/>
                </a:cubicBezTo>
                <a:close/>
                <a:moveTo>
                  <a:pt x="8500" y="1750"/>
                </a:moveTo>
                <a:cubicBezTo>
                  <a:pt x="8500" y="1750"/>
                  <a:pt x="8500" y="1750"/>
                  <a:pt x="8500" y="1750"/>
                </a:cubicBezTo>
                <a:cubicBezTo>
                  <a:pt x="8468" y="1844"/>
                  <a:pt x="8375" y="1906"/>
                  <a:pt x="8312" y="1969"/>
                </a:cubicBezTo>
                <a:cubicBezTo>
                  <a:pt x="8250" y="2062"/>
                  <a:pt x="8187" y="2156"/>
                  <a:pt x="8093" y="2219"/>
                </a:cubicBezTo>
                <a:cubicBezTo>
                  <a:pt x="8093" y="2219"/>
                  <a:pt x="8093" y="2219"/>
                  <a:pt x="8093" y="2219"/>
                </a:cubicBezTo>
                <a:cubicBezTo>
                  <a:pt x="8093" y="2219"/>
                  <a:pt x="8093" y="2219"/>
                  <a:pt x="8062" y="2219"/>
                </a:cubicBezTo>
                <a:cubicBezTo>
                  <a:pt x="8093" y="2219"/>
                  <a:pt x="8093" y="2219"/>
                  <a:pt x="8093" y="2219"/>
                </a:cubicBezTo>
                <a:cubicBezTo>
                  <a:pt x="8093" y="2156"/>
                  <a:pt x="8156" y="2125"/>
                  <a:pt x="8187" y="2062"/>
                </a:cubicBezTo>
                <a:cubicBezTo>
                  <a:pt x="8281" y="1969"/>
                  <a:pt x="8375" y="1875"/>
                  <a:pt x="8468" y="1750"/>
                </a:cubicBezTo>
                <a:cubicBezTo>
                  <a:pt x="8500" y="1750"/>
                  <a:pt x="8500" y="1750"/>
                  <a:pt x="8500" y="1750"/>
                </a:cubicBezTo>
                <a:cubicBezTo>
                  <a:pt x="8531" y="1719"/>
                  <a:pt x="8531" y="1719"/>
                  <a:pt x="8531" y="1687"/>
                </a:cubicBezTo>
                <a:cubicBezTo>
                  <a:pt x="8531" y="1719"/>
                  <a:pt x="8531" y="1719"/>
                  <a:pt x="8500" y="1750"/>
                </a:cubicBezTo>
                <a:close/>
                <a:moveTo>
                  <a:pt x="8562" y="1719"/>
                </a:moveTo>
                <a:cubicBezTo>
                  <a:pt x="8593" y="1687"/>
                  <a:pt x="8593" y="1687"/>
                  <a:pt x="8593" y="1656"/>
                </a:cubicBezTo>
                <a:cubicBezTo>
                  <a:pt x="8593" y="1656"/>
                  <a:pt x="8593" y="1656"/>
                  <a:pt x="8593" y="1656"/>
                </a:cubicBezTo>
                <a:cubicBezTo>
                  <a:pt x="8593" y="1687"/>
                  <a:pt x="8593" y="1687"/>
                  <a:pt x="8562" y="1719"/>
                </a:cubicBezTo>
                <a:close/>
                <a:moveTo>
                  <a:pt x="8625" y="1312"/>
                </a:moveTo>
                <a:cubicBezTo>
                  <a:pt x="8656" y="1219"/>
                  <a:pt x="8781" y="1187"/>
                  <a:pt x="8843" y="1125"/>
                </a:cubicBezTo>
                <a:cubicBezTo>
                  <a:pt x="8781" y="1219"/>
                  <a:pt x="8718" y="1250"/>
                  <a:pt x="8625" y="1312"/>
                </a:cubicBezTo>
                <a:close/>
                <a:moveTo>
                  <a:pt x="8781" y="1719"/>
                </a:moveTo>
                <a:cubicBezTo>
                  <a:pt x="8781" y="1719"/>
                  <a:pt x="8781" y="1687"/>
                  <a:pt x="8781" y="1687"/>
                </a:cubicBezTo>
                <a:cubicBezTo>
                  <a:pt x="8781" y="1687"/>
                  <a:pt x="8781" y="1687"/>
                  <a:pt x="8781" y="1687"/>
                </a:cubicBezTo>
                <a:cubicBezTo>
                  <a:pt x="8781" y="1687"/>
                  <a:pt x="8781" y="1719"/>
                  <a:pt x="8781" y="1719"/>
                </a:cubicBezTo>
                <a:close/>
                <a:moveTo>
                  <a:pt x="8812" y="1281"/>
                </a:moveTo>
                <a:cubicBezTo>
                  <a:pt x="8781" y="1281"/>
                  <a:pt x="8781" y="1312"/>
                  <a:pt x="8781" y="1312"/>
                </a:cubicBezTo>
                <a:cubicBezTo>
                  <a:pt x="8781" y="1312"/>
                  <a:pt x="8781" y="1281"/>
                  <a:pt x="8812" y="1281"/>
                </a:cubicBezTo>
                <a:cubicBezTo>
                  <a:pt x="8781" y="1281"/>
                  <a:pt x="8781" y="1281"/>
                  <a:pt x="8781" y="1281"/>
                </a:cubicBezTo>
                <a:cubicBezTo>
                  <a:pt x="8781" y="1281"/>
                  <a:pt x="8781" y="1281"/>
                  <a:pt x="8781" y="1281"/>
                </a:cubicBezTo>
                <a:cubicBezTo>
                  <a:pt x="8781" y="1281"/>
                  <a:pt x="8781" y="1281"/>
                  <a:pt x="8812" y="1281"/>
                </a:cubicBezTo>
                <a:cubicBezTo>
                  <a:pt x="8843" y="1281"/>
                  <a:pt x="8843" y="1250"/>
                  <a:pt x="8875" y="1219"/>
                </a:cubicBezTo>
                <a:cubicBezTo>
                  <a:pt x="8843" y="1250"/>
                  <a:pt x="8843" y="1281"/>
                  <a:pt x="8812" y="1281"/>
                </a:cubicBezTo>
                <a:close/>
                <a:moveTo>
                  <a:pt x="8875" y="1219"/>
                </a:moveTo>
                <a:cubicBezTo>
                  <a:pt x="8875" y="1219"/>
                  <a:pt x="8875" y="1219"/>
                  <a:pt x="8875" y="1219"/>
                </a:cubicBezTo>
                <a:cubicBezTo>
                  <a:pt x="8875" y="1219"/>
                  <a:pt x="8875" y="1219"/>
                  <a:pt x="8875" y="1219"/>
                </a:cubicBezTo>
                <a:close/>
                <a:moveTo>
                  <a:pt x="8875" y="1219"/>
                </a:moveTo>
                <a:cubicBezTo>
                  <a:pt x="8875" y="1219"/>
                  <a:pt x="8875" y="1219"/>
                  <a:pt x="8875" y="1219"/>
                </a:cubicBezTo>
                <a:cubicBezTo>
                  <a:pt x="8906" y="1187"/>
                  <a:pt x="8906" y="1187"/>
                  <a:pt x="8906" y="1156"/>
                </a:cubicBezTo>
                <a:cubicBezTo>
                  <a:pt x="8906" y="1187"/>
                  <a:pt x="8906" y="1187"/>
                  <a:pt x="8875" y="1219"/>
                </a:cubicBezTo>
                <a:close/>
                <a:moveTo>
                  <a:pt x="8968" y="1281"/>
                </a:move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lose/>
                <a:moveTo>
                  <a:pt x="8968" y="1281"/>
                </a:move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ubicBezTo>
                  <a:pt x="8968" y="1281"/>
                  <a:pt x="8968" y="1281"/>
                  <a:pt x="8968" y="1281"/>
                </a:cubicBezTo>
                <a:close/>
                <a:moveTo>
                  <a:pt x="9031" y="1562"/>
                </a:moveTo>
                <a:cubicBezTo>
                  <a:pt x="9031" y="1562"/>
                  <a:pt x="9031" y="1562"/>
                  <a:pt x="9031" y="1562"/>
                </a:cubicBezTo>
                <a:cubicBezTo>
                  <a:pt x="9031" y="1531"/>
                  <a:pt x="9031" y="1531"/>
                  <a:pt x="9031" y="1531"/>
                </a:cubicBezTo>
                <a:cubicBezTo>
                  <a:pt x="9031" y="1531"/>
                  <a:pt x="9031" y="1531"/>
                  <a:pt x="9031" y="1562"/>
                </a:cubicBezTo>
                <a:close/>
                <a:moveTo>
                  <a:pt x="9093" y="1594"/>
                </a:moveTo>
                <a:cubicBezTo>
                  <a:pt x="9062" y="1594"/>
                  <a:pt x="9062" y="1594"/>
                  <a:pt x="9062" y="1594"/>
                </a:cubicBezTo>
                <a:cubicBezTo>
                  <a:pt x="9062" y="1594"/>
                  <a:pt x="9062" y="1594"/>
                  <a:pt x="9093" y="1594"/>
                </a:cubicBezTo>
                <a:close/>
                <a:moveTo>
                  <a:pt x="9281" y="906"/>
                </a:moveTo>
                <a:cubicBezTo>
                  <a:pt x="9281" y="906"/>
                  <a:pt x="9281" y="906"/>
                  <a:pt x="9281" y="906"/>
                </a:cubicBezTo>
                <a:cubicBezTo>
                  <a:pt x="9281" y="906"/>
                  <a:pt x="9281" y="906"/>
                  <a:pt x="9281" y="906"/>
                </a:cubicBezTo>
                <a:close/>
                <a:moveTo>
                  <a:pt x="9125" y="1094"/>
                </a:moveTo>
                <a:cubicBezTo>
                  <a:pt x="9156" y="1062"/>
                  <a:pt x="9187" y="1031"/>
                  <a:pt x="9218" y="1031"/>
                </a:cubicBezTo>
                <a:cubicBezTo>
                  <a:pt x="9218" y="1000"/>
                  <a:pt x="9250" y="1000"/>
                  <a:pt x="9250" y="969"/>
                </a:cubicBezTo>
                <a:cubicBezTo>
                  <a:pt x="9250" y="1000"/>
                  <a:pt x="9218" y="1000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218" y="1031"/>
                  <a:pt x="9218" y="1031"/>
                  <a:pt x="9218" y="1031"/>
                </a:cubicBezTo>
                <a:cubicBezTo>
                  <a:pt x="9187" y="1031"/>
                  <a:pt x="9156" y="1062"/>
                  <a:pt x="9125" y="1094"/>
                </a:cubicBezTo>
                <a:close/>
                <a:moveTo>
                  <a:pt x="9156" y="1344"/>
                </a:moveTo>
                <a:cubicBezTo>
                  <a:pt x="9156" y="1344"/>
                  <a:pt x="9156" y="1344"/>
                  <a:pt x="9156" y="1344"/>
                </a:cubicBezTo>
                <a:cubicBezTo>
                  <a:pt x="9156" y="1344"/>
                  <a:pt x="9156" y="1344"/>
                  <a:pt x="9156" y="1344"/>
                </a:cubicBezTo>
                <a:cubicBezTo>
                  <a:pt x="9156" y="1344"/>
                  <a:pt x="9156" y="1344"/>
                  <a:pt x="9156" y="1344"/>
                </a:cubicBezTo>
                <a:close/>
                <a:moveTo>
                  <a:pt x="9250" y="1281"/>
                </a:moveTo>
                <a:cubicBezTo>
                  <a:pt x="9250" y="1281"/>
                  <a:pt x="9218" y="1281"/>
                  <a:pt x="9218" y="1281"/>
                </a:cubicBezTo>
                <a:cubicBezTo>
                  <a:pt x="9218" y="1281"/>
                  <a:pt x="9250" y="1281"/>
                  <a:pt x="9250" y="1281"/>
                </a:cubicBezTo>
                <a:close/>
                <a:moveTo>
                  <a:pt x="9250" y="1281"/>
                </a:moveTo>
                <a:cubicBezTo>
                  <a:pt x="9250" y="1281"/>
                  <a:pt x="9250" y="1281"/>
                  <a:pt x="9250" y="1281"/>
                </a:cubicBezTo>
                <a:cubicBezTo>
                  <a:pt x="9250" y="1281"/>
                  <a:pt x="9250" y="1281"/>
                  <a:pt x="9250" y="1281"/>
                </a:cubicBezTo>
                <a:cubicBezTo>
                  <a:pt x="9281" y="1250"/>
                  <a:pt x="9281" y="1250"/>
                  <a:pt x="9312" y="1219"/>
                </a:cubicBezTo>
                <a:cubicBezTo>
                  <a:pt x="9281" y="1250"/>
                  <a:pt x="9281" y="1250"/>
                  <a:pt x="9250" y="1281"/>
                </a:cubicBezTo>
                <a:cubicBezTo>
                  <a:pt x="9281" y="1281"/>
                  <a:pt x="9281" y="1281"/>
                  <a:pt x="9312" y="1250"/>
                </a:cubicBezTo>
                <a:cubicBezTo>
                  <a:pt x="9281" y="1281"/>
                  <a:pt x="9281" y="1281"/>
                  <a:pt x="9250" y="1281"/>
                </a:cubicBezTo>
                <a:close/>
                <a:moveTo>
                  <a:pt x="9218" y="1156"/>
                </a:moveTo>
                <a:cubicBezTo>
                  <a:pt x="9187" y="1156"/>
                  <a:pt x="9187" y="1156"/>
                  <a:pt x="9156" y="1156"/>
                </a:cubicBezTo>
                <a:cubicBezTo>
                  <a:pt x="9156" y="1156"/>
                  <a:pt x="9156" y="1156"/>
                  <a:pt x="9156" y="1156"/>
                </a:cubicBezTo>
                <a:cubicBezTo>
                  <a:pt x="9187" y="1156"/>
                  <a:pt x="9187" y="1156"/>
                  <a:pt x="9218" y="1156"/>
                </a:cubicBezTo>
                <a:cubicBezTo>
                  <a:pt x="9187" y="1125"/>
                  <a:pt x="9187" y="1125"/>
                  <a:pt x="9187" y="1125"/>
                </a:cubicBezTo>
                <a:cubicBezTo>
                  <a:pt x="9187" y="1125"/>
                  <a:pt x="9187" y="1125"/>
                  <a:pt x="9187" y="1125"/>
                </a:cubicBezTo>
                <a:cubicBezTo>
                  <a:pt x="9187" y="1125"/>
                  <a:pt x="9187" y="1125"/>
                  <a:pt x="9218" y="1156"/>
                </a:cubicBezTo>
                <a:cubicBezTo>
                  <a:pt x="9281" y="1094"/>
                  <a:pt x="9343" y="1062"/>
                  <a:pt x="9375" y="1000"/>
                </a:cubicBezTo>
                <a:cubicBezTo>
                  <a:pt x="9343" y="1062"/>
                  <a:pt x="9281" y="1094"/>
                  <a:pt x="9218" y="1156"/>
                </a:cubicBezTo>
                <a:close/>
                <a:moveTo>
                  <a:pt x="9656" y="906"/>
                </a:moveTo>
                <a:cubicBezTo>
                  <a:pt x="9656" y="906"/>
                  <a:pt x="9656" y="906"/>
                  <a:pt x="9656" y="906"/>
                </a:cubicBezTo>
                <a:cubicBezTo>
                  <a:pt x="9656" y="906"/>
                  <a:pt x="9656" y="906"/>
                  <a:pt x="9656" y="906"/>
                </a:cubicBezTo>
                <a:cubicBezTo>
                  <a:pt x="9656" y="906"/>
                  <a:pt x="9656" y="906"/>
                  <a:pt x="9656" y="906"/>
                </a:cubicBezTo>
                <a:close/>
                <a:moveTo>
                  <a:pt x="9562" y="1094"/>
                </a:moveTo>
                <a:cubicBezTo>
                  <a:pt x="9593" y="1062"/>
                  <a:pt x="9625" y="1031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00"/>
                  <a:pt x="9625" y="1000"/>
                  <a:pt x="9625" y="1000"/>
                </a:cubicBezTo>
                <a:cubicBezTo>
                  <a:pt x="9625" y="1031"/>
                  <a:pt x="9593" y="1062"/>
                  <a:pt x="9562" y="1094"/>
                </a:cubicBezTo>
                <a:close/>
                <a:moveTo>
                  <a:pt x="9625" y="1000"/>
                </a:moveTo>
                <a:cubicBezTo>
                  <a:pt x="9625" y="1000"/>
                  <a:pt x="9625" y="1000"/>
                  <a:pt x="9625" y="1000"/>
                </a:cubicBezTo>
                <a:cubicBezTo>
                  <a:pt x="9625" y="969"/>
                  <a:pt x="9656" y="937"/>
                  <a:pt x="9656" y="937"/>
                </a:cubicBezTo>
                <a:cubicBezTo>
                  <a:pt x="9656" y="937"/>
                  <a:pt x="9625" y="969"/>
                  <a:pt x="9625" y="1000"/>
                </a:cubicBezTo>
                <a:close/>
                <a:moveTo>
                  <a:pt x="11031" y="281"/>
                </a:moveTo>
                <a:cubicBezTo>
                  <a:pt x="11031" y="281"/>
                  <a:pt x="11062" y="281"/>
                  <a:pt x="11062" y="281"/>
                </a:cubicBezTo>
                <a:cubicBezTo>
                  <a:pt x="11062" y="281"/>
                  <a:pt x="11031" y="281"/>
                  <a:pt x="11031" y="281"/>
                </a:cubicBezTo>
                <a:cubicBezTo>
                  <a:pt x="11031" y="281"/>
                  <a:pt x="11031" y="281"/>
                  <a:pt x="11031" y="281"/>
                </a:cubicBezTo>
                <a:cubicBezTo>
                  <a:pt x="11031" y="281"/>
                  <a:pt x="11031" y="281"/>
                  <a:pt x="11031" y="281"/>
                </a:cubicBezTo>
                <a:close/>
                <a:moveTo>
                  <a:pt x="11000" y="281"/>
                </a:moveTo>
                <a:cubicBezTo>
                  <a:pt x="10968" y="281"/>
                  <a:pt x="10968" y="281"/>
                  <a:pt x="10968" y="281"/>
                </a:cubicBezTo>
                <a:cubicBezTo>
                  <a:pt x="10968" y="281"/>
                  <a:pt x="10968" y="281"/>
                  <a:pt x="10968" y="281"/>
                </a:cubicBezTo>
                <a:cubicBezTo>
                  <a:pt x="10968" y="281"/>
                  <a:pt x="10968" y="281"/>
                  <a:pt x="11000" y="281"/>
                </a:cubicBezTo>
                <a:close/>
                <a:moveTo>
                  <a:pt x="9937" y="906"/>
                </a:moveTo>
                <a:cubicBezTo>
                  <a:pt x="9906" y="906"/>
                  <a:pt x="9906" y="906"/>
                  <a:pt x="9906" y="906"/>
                </a:cubicBezTo>
                <a:cubicBezTo>
                  <a:pt x="9906" y="906"/>
                  <a:pt x="9906" y="906"/>
                  <a:pt x="9937" y="906"/>
                </a:cubicBezTo>
                <a:close/>
                <a:moveTo>
                  <a:pt x="10031" y="656"/>
                </a:moveTo>
                <a:cubicBezTo>
                  <a:pt x="10031" y="687"/>
                  <a:pt x="10000" y="687"/>
                  <a:pt x="10000" y="687"/>
                </a:cubicBezTo>
                <a:cubicBezTo>
                  <a:pt x="10000" y="687"/>
                  <a:pt x="10031" y="687"/>
                  <a:pt x="10031" y="656"/>
                </a:cubicBezTo>
                <a:close/>
                <a:moveTo>
                  <a:pt x="10125" y="844"/>
                </a:moveTo>
                <a:cubicBezTo>
                  <a:pt x="10062" y="875"/>
                  <a:pt x="10031" y="906"/>
                  <a:pt x="10000" y="875"/>
                </a:cubicBezTo>
                <a:cubicBezTo>
                  <a:pt x="10000" y="875"/>
                  <a:pt x="10000" y="875"/>
                  <a:pt x="10000" y="844"/>
                </a:cubicBezTo>
                <a:cubicBezTo>
                  <a:pt x="10031" y="812"/>
                  <a:pt x="10093" y="844"/>
                  <a:pt x="10156" y="844"/>
                </a:cubicBezTo>
                <a:cubicBezTo>
                  <a:pt x="10125" y="844"/>
                  <a:pt x="10125" y="844"/>
                  <a:pt x="10125" y="844"/>
                </a:cubicBezTo>
                <a:close/>
                <a:moveTo>
                  <a:pt x="10187" y="469"/>
                </a:moveTo>
                <a:cubicBezTo>
                  <a:pt x="10187" y="469"/>
                  <a:pt x="10187" y="469"/>
                  <a:pt x="10187" y="469"/>
                </a:cubicBezTo>
                <a:cubicBezTo>
                  <a:pt x="10187" y="469"/>
                  <a:pt x="10187" y="469"/>
                  <a:pt x="10187" y="469"/>
                </a:cubicBezTo>
                <a:cubicBezTo>
                  <a:pt x="10187" y="469"/>
                  <a:pt x="10187" y="469"/>
                  <a:pt x="10187" y="469"/>
                </a:cubicBezTo>
                <a:close/>
                <a:moveTo>
                  <a:pt x="10343" y="531"/>
                </a:moveTo>
                <a:cubicBezTo>
                  <a:pt x="10343" y="500"/>
                  <a:pt x="10375" y="469"/>
                  <a:pt x="10406" y="469"/>
                </a:cubicBezTo>
                <a:cubicBezTo>
                  <a:pt x="10375" y="469"/>
                  <a:pt x="10343" y="500"/>
                  <a:pt x="10343" y="531"/>
                </a:cubicBezTo>
                <a:close/>
                <a:moveTo>
                  <a:pt x="10468" y="469"/>
                </a:moveTo>
                <a:cubicBezTo>
                  <a:pt x="10468" y="469"/>
                  <a:pt x="10468" y="469"/>
                  <a:pt x="10468" y="469"/>
                </a:cubicBezTo>
                <a:cubicBezTo>
                  <a:pt x="10468" y="469"/>
                  <a:pt x="10468" y="469"/>
                  <a:pt x="10468" y="469"/>
                </a:cubicBezTo>
                <a:close/>
                <a:moveTo>
                  <a:pt x="10531" y="406"/>
                </a:moveTo>
                <a:cubicBezTo>
                  <a:pt x="10531" y="406"/>
                  <a:pt x="10500" y="406"/>
                  <a:pt x="10500" y="406"/>
                </a:cubicBezTo>
                <a:cubicBezTo>
                  <a:pt x="10437" y="437"/>
                  <a:pt x="10375" y="437"/>
                  <a:pt x="10343" y="437"/>
                </a:cubicBezTo>
                <a:cubicBezTo>
                  <a:pt x="10375" y="437"/>
                  <a:pt x="10437" y="437"/>
                  <a:pt x="10500" y="406"/>
                </a:cubicBezTo>
                <a:cubicBezTo>
                  <a:pt x="10500" y="406"/>
                  <a:pt x="10531" y="406"/>
                  <a:pt x="10531" y="406"/>
                </a:cubicBezTo>
                <a:cubicBezTo>
                  <a:pt x="10562" y="406"/>
                  <a:pt x="10593" y="375"/>
                  <a:pt x="10625" y="375"/>
                </a:cubicBezTo>
                <a:cubicBezTo>
                  <a:pt x="10593" y="375"/>
                  <a:pt x="10562" y="406"/>
                  <a:pt x="10531" y="406"/>
                </a:cubicBezTo>
                <a:close/>
                <a:moveTo>
                  <a:pt x="11093" y="344"/>
                </a:moveTo>
                <a:cubicBezTo>
                  <a:pt x="11093" y="344"/>
                  <a:pt x="11093" y="344"/>
                  <a:pt x="11062" y="344"/>
                </a:cubicBezTo>
                <a:cubicBezTo>
                  <a:pt x="11062" y="344"/>
                  <a:pt x="11062" y="344"/>
                  <a:pt x="11062" y="344"/>
                </a:cubicBezTo>
                <a:cubicBezTo>
                  <a:pt x="11062" y="344"/>
                  <a:pt x="11062" y="344"/>
                  <a:pt x="11062" y="344"/>
                </a:cubicBezTo>
                <a:cubicBezTo>
                  <a:pt x="11093" y="344"/>
                  <a:pt x="11093" y="344"/>
                  <a:pt x="11093" y="344"/>
                </a:cubicBezTo>
                <a:cubicBezTo>
                  <a:pt x="11093" y="312"/>
                  <a:pt x="11125" y="312"/>
                  <a:pt x="11125" y="312"/>
                </a:cubicBezTo>
                <a:cubicBezTo>
                  <a:pt x="11125" y="281"/>
                  <a:pt x="11093" y="281"/>
                  <a:pt x="11093" y="281"/>
                </a:cubicBezTo>
                <a:cubicBezTo>
                  <a:pt x="11093" y="281"/>
                  <a:pt x="11125" y="281"/>
                  <a:pt x="11125" y="312"/>
                </a:cubicBezTo>
                <a:cubicBezTo>
                  <a:pt x="11125" y="312"/>
                  <a:pt x="11093" y="312"/>
                  <a:pt x="11093" y="344"/>
                </a:cubicBezTo>
                <a:close/>
                <a:moveTo>
                  <a:pt x="11625" y="219"/>
                </a:moveTo>
                <a:cubicBezTo>
                  <a:pt x="11625" y="219"/>
                  <a:pt x="11625" y="250"/>
                  <a:pt x="11625" y="250"/>
                </a:cubicBezTo>
                <a:cubicBezTo>
                  <a:pt x="11625" y="250"/>
                  <a:pt x="11625" y="219"/>
                  <a:pt x="11625" y="219"/>
                </a:cubicBezTo>
                <a:cubicBezTo>
                  <a:pt x="11625" y="219"/>
                  <a:pt x="11625" y="219"/>
                  <a:pt x="11625" y="250"/>
                </a:cubicBezTo>
                <a:cubicBezTo>
                  <a:pt x="11625" y="219"/>
                  <a:pt x="11625" y="219"/>
                  <a:pt x="11625" y="219"/>
                </a:cubicBezTo>
                <a:close/>
                <a:moveTo>
                  <a:pt x="11625" y="250"/>
                </a:moveTo>
                <a:cubicBezTo>
                  <a:pt x="11625" y="250"/>
                  <a:pt x="11625" y="250"/>
                  <a:pt x="11625" y="250"/>
                </a:cubicBezTo>
                <a:cubicBezTo>
                  <a:pt x="11625" y="250"/>
                  <a:pt x="11625" y="250"/>
                  <a:pt x="11625" y="250"/>
                </a:cubicBezTo>
                <a:cubicBezTo>
                  <a:pt x="11625" y="250"/>
                  <a:pt x="11625" y="250"/>
                  <a:pt x="11625" y="250"/>
                </a:cubicBezTo>
                <a:close/>
                <a:moveTo>
                  <a:pt x="11531" y="125"/>
                </a:moveTo>
                <a:cubicBezTo>
                  <a:pt x="11531" y="125"/>
                  <a:pt x="11500" y="125"/>
                  <a:pt x="11500" y="125"/>
                </a:cubicBezTo>
                <a:cubicBezTo>
                  <a:pt x="11500" y="125"/>
                  <a:pt x="11531" y="125"/>
                  <a:pt x="11531" y="125"/>
                </a:cubicBezTo>
                <a:close/>
                <a:moveTo>
                  <a:pt x="11281" y="250"/>
                </a:moveTo>
                <a:cubicBezTo>
                  <a:pt x="11281" y="250"/>
                  <a:pt x="11281" y="250"/>
                  <a:pt x="11281" y="250"/>
                </a:cubicBezTo>
                <a:cubicBezTo>
                  <a:pt x="11281" y="219"/>
                  <a:pt x="11281" y="219"/>
                  <a:pt x="11312" y="219"/>
                </a:cubicBezTo>
                <a:cubicBezTo>
                  <a:pt x="11343" y="187"/>
                  <a:pt x="11406" y="187"/>
                  <a:pt x="11437" y="187"/>
                </a:cubicBezTo>
                <a:cubicBezTo>
                  <a:pt x="11406" y="281"/>
                  <a:pt x="11343" y="219"/>
                  <a:pt x="11281" y="250"/>
                </a:cubicBezTo>
                <a:close/>
                <a:moveTo>
                  <a:pt x="11343" y="562"/>
                </a:moveTo>
                <a:cubicBezTo>
                  <a:pt x="11343" y="562"/>
                  <a:pt x="11343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ubicBezTo>
                  <a:pt x="11343" y="562"/>
                  <a:pt x="11343" y="562"/>
                  <a:pt x="11343" y="562"/>
                </a:cubicBezTo>
                <a:close/>
                <a:moveTo>
                  <a:pt x="11343" y="469"/>
                </a:moveTo>
                <a:cubicBezTo>
                  <a:pt x="11343" y="500"/>
                  <a:pt x="11343" y="500"/>
                  <a:pt x="11343" y="500"/>
                </a:cubicBezTo>
                <a:cubicBezTo>
                  <a:pt x="11343" y="500"/>
                  <a:pt x="11343" y="500"/>
                  <a:pt x="11343" y="469"/>
                </a:cubicBezTo>
                <a:close/>
                <a:moveTo>
                  <a:pt x="11343" y="500"/>
                </a:moveTo>
                <a:cubicBezTo>
                  <a:pt x="11343" y="500"/>
                  <a:pt x="11343" y="500"/>
                  <a:pt x="11343" y="500"/>
                </a:cubicBezTo>
                <a:cubicBezTo>
                  <a:pt x="11343" y="500"/>
                  <a:pt x="11343" y="500"/>
                  <a:pt x="11343" y="500"/>
                </a:cubicBezTo>
                <a:close/>
                <a:moveTo>
                  <a:pt x="11406" y="531"/>
                </a:moveTo>
                <a:cubicBezTo>
                  <a:pt x="11437" y="531"/>
                  <a:pt x="11468" y="531"/>
                  <a:pt x="11500" y="531"/>
                </a:cubicBezTo>
                <a:cubicBezTo>
                  <a:pt x="11468" y="531"/>
                  <a:pt x="11437" y="531"/>
                  <a:pt x="11406" y="531"/>
                </a:cubicBezTo>
                <a:close/>
                <a:moveTo>
                  <a:pt x="11375" y="531"/>
                </a:moveTo>
                <a:cubicBezTo>
                  <a:pt x="11375" y="531"/>
                  <a:pt x="11375" y="531"/>
                  <a:pt x="11375" y="531"/>
                </a:cubicBezTo>
                <a:cubicBezTo>
                  <a:pt x="11375" y="531"/>
                  <a:pt x="11375" y="531"/>
                  <a:pt x="11375" y="531"/>
                </a:cubicBezTo>
                <a:close/>
                <a:moveTo>
                  <a:pt x="11375" y="531"/>
                </a:moveTo>
                <a:cubicBezTo>
                  <a:pt x="11375" y="531"/>
                  <a:pt x="11406" y="531"/>
                  <a:pt x="11406" y="531"/>
                </a:cubicBezTo>
                <a:cubicBezTo>
                  <a:pt x="11406" y="531"/>
                  <a:pt x="11375" y="531"/>
                  <a:pt x="11375" y="531"/>
                </a:cubicBezTo>
                <a:close/>
                <a:moveTo>
                  <a:pt x="11500" y="531"/>
                </a:move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lose/>
                <a:moveTo>
                  <a:pt x="11781" y="562"/>
                </a:moveTo>
                <a:cubicBezTo>
                  <a:pt x="11718" y="562"/>
                  <a:pt x="11687" y="531"/>
                  <a:pt x="11625" y="531"/>
                </a:cubicBezTo>
                <a:cubicBezTo>
                  <a:pt x="11625" y="531"/>
                  <a:pt x="11593" y="531"/>
                  <a:pt x="11593" y="531"/>
                </a:cubicBezTo>
                <a:cubicBezTo>
                  <a:pt x="11562" y="531"/>
                  <a:pt x="11531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500" y="531"/>
                  <a:pt x="11500" y="531"/>
                  <a:pt x="11500" y="531"/>
                </a:cubicBezTo>
                <a:cubicBezTo>
                  <a:pt x="11437" y="500"/>
                  <a:pt x="11375" y="500"/>
                  <a:pt x="11312" y="469"/>
                </a:cubicBezTo>
                <a:cubicBezTo>
                  <a:pt x="11312" y="469"/>
                  <a:pt x="11312" y="469"/>
                  <a:pt x="11312" y="469"/>
                </a:cubicBezTo>
                <a:cubicBezTo>
                  <a:pt x="11375" y="437"/>
                  <a:pt x="11437" y="469"/>
                  <a:pt x="11531" y="469"/>
                </a:cubicBezTo>
                <a:cubicBezTo>
                  <a:pt x="11593" y="500"/>
                  <a:pt x="11718" y="469"/>
                  <a:pt x="11781" y="562"/>
                </a:cubicBezTo>
                <a:cubicBezTo>
                  <a:pt x="11781" y="562"/>
                  <a:pt x="11781" y="562"/>
                  <a:pt x="11781" y="562"/>
                </a:cubicBezTo>
                <a:close/>
                <a:moveTo>
                  <a:pt x="12406" y="125"/>
                </a:moveTo>
                <a:cubicBezTo>
                  <a:pt x="12406" y="125"/>
                  <a:pt x="12406" y="125"/>
                  <a:pt x="12406" y="125"/>
                </a:cubicBezTo>
                <a:cubicBezTo>
                  <a:pt x="12406" y="156"/>
                  <a:pt x="12406" y="156"/>
                  <a:pt x="12406" y="156"/>
                </a:cubicBezTo>
                <a:cubicBezTo>
                  <a:pt x="12406" y="156"/>
                  <a:pt x="12406" y="156"/>
                  <a:pt x="12406" y="156"/>
                </a:cubicBezTo>
                <a:cubicBezTo>
                  <a:pt x="12375" y="125"/>
                  <a:pt x="12406" y="125"/>
                  <a:pt x="12406" y="125"/>
                </a:cubicBezTo>
                <a:close/>
                <a:moveTo>
                  <a:pt x="12312" y="94"/>
                </a:moveTo>
                <a:cubicBezTo>
                  <a:pt x="12343" y="94"/>
                  <a:pt x="12343" y="125"/>
                  <a:pt x="12343" y="125"/>
                </a:cubicBezTo>
                <a:cubicBezTo>
                  <a:pt x="12343" y="125"/>
                  <a:pt x="12343" y="156"/>
                  <a:pt x="12343" y="156"/>
                </a:cubicBezTo>
                <a:cubicBezTo>
                  <a:pt x="12312" y="156"/>
                  <a:pt x="12312" y="125"/>
                  <a:pt x="12312" y="125"/>
                </a:cubicBezTo>
                <a:cubicBezTo>
                  <a:pt x="12312" y="125"/>
                  <a:pt x="12312" y="94"/>
                  <a:pt x="12312" y="94"/>
                </a:cubicBezTo>
                <a:close/>
                <a:moveTo>
                  <a:pt x="11875" y="562"/>
                </a:moveTo>
                <a:cubicBezTo>
                  <a:pt x="11906" y="531"/>
                  <a:pt x="11937" y="562"/>
                  <a:pt x="11968" y="562"/>
                </a:cubicBezTo>
                <a:cubicBezTo>
                  <a:pt x="11937" y="562"/>
                  <a:pt x="11906" y="594"/>
                  <a:pt x="11875" y="562"/>
                </a:cubicBezTo>
                <a:close/>
                <a:moveTo>
                  <a:pt x="12250" y="312"/>
                </a:moveTo>
                <a:cubicBezTo>
                  <a:pt x="12250" y="344"/>
                  <a:pt x="12250" y="344"/>
                  <a:pt x="12218" y="344"/>
                </a:cubicBezTo>
                <a:cubicBezTo>
                  <a:pt x="12250" y="344"/>
                  <a:pt x="12250" y="344"/>
                  <a:pt x="12250" y="312"/>
                </a:cubicBezTo>
                <a:cubicBezTo>
                  <a:pt x="12250" y="312"/>
                  <a:pt x="12250" y="312"/>
                  <a:pt x="12250" y="312"/>
                </a:cubicBezTo>
                <a:cubicBezTo>
                  <a:pt x="12250" y="312"/>
                  <a:pt x="12250" y="312"/>
                  <a:pt x="12250" y="312"/>
                </a:cubicBezTo>
                <a:close/>
                <a:moveTo>
                  <a:pt x="12437" y="219"/>
                </a:moveTo>
                <a:cubicBezTo>
                  <a:pt x="12437" y="250"/>
                  <a:pt x="12406" y="250"/>
                  <a:pt x="12406" y="250"/>
                </a:cubicBezTo>
                <a:cubicBezTo>
                  <a:pt x="12375" y="219"/>
                  <a:pt x="12312" y="219"/>
                  <a:pt x="12281" y="156"/>
                </a:cubicBezTo>
                <a:cubicBezTo>
                  <a:pt x="12312" y="187"/>
                  <a:pt x="12375" y="156"/>
                  <a:pt x="12406" y="187"/>
                </a:cubicBezTo>
                <a:cubicBezTo>
                  <a:pt x="12437" y="219"/>
                  <a:pt x="12437" y="219"/>
                  <a:pt x="12437" y="219"/>
                </a:cubicBezTo>
                <a:close/>
                <a:moveTo>
                  <a:pt x="12468" y="156"/>
                </a:moveTo>
                <a:cubicBezTo>
                  <a:pt x="12468" y="156"/>
                  <a:pt x="12468" y="156"/>
                  <a:pt x="12468" y="156"/>
                </a:cubicBezTo>
                <a:cubicBezTo>
                  <a:pt x="12468" y="125"/>
                  <a:pt x="12468" y="125"/>
                  <a:pt x="12468" y="125"/>
                </a:cubicBezTo>
                <a:cubicBezTo>
                  <a:pt x="12593" y="156"/>
                  <a:pt x="12718" y="125"/>
                  <a:pt x="12812" y="187"/>
                </a:cubicBezTo>
                <a:cubicBezTo>
                  <a:pt x="12875" y="187"/>
                  <a:pt x="12906" y="187"/>
                  <a:pt x="12968" y="187"/>
                </a:cubicBezTo>
                <a:cubicBezTo>
                  <a:pt x="12968" y="250"/>
                  <a:pt x="13000" y="219"/>
                  <a:pt x="13031" y="250"/>
                </a:cubicBezTo>
                <a:cubicBezTo>
                  <a:pt x="13000" y="281"/>
                  <a:pt x="13000" y="281"/>
                  <a:pt x="12968" y="281"/>
                </a:cubicBezTo>
                <a:cubicBezTo>
                  <a:pt x="12812" y="219"/>
                  <a:pt x="12656" y="187"/>
                  <a:pt x="12468" y="156"/>
                </a:cubicBezTo>
                <a:close/>
                <a:moveTo>
                  <a:pt x="13000" y="344"/>
                </a:moveTo>
                <a:cubicBezTo>
                  <a:pt x="13000" y="344"/>
                  <a:pt x="13000" y="375"/>
                  <a:pt x="13031" y="375"/>
                </a:cubicBezTo>
                <a:cubicBezTo>
                  <a:pt x="13000" y="375"/>
                  <a:pt x="13000" y="344"/>
                  <a:pt x="13000" y="344"/>
                </a:cubicBezTo>
                <a:close/>
                <a:moveTo>
                  <a:pt x="13218" y="250"/>
                </a:moveTo>
                <a:cubicBezTo>
                  <a:pt x="13218" y="250"/>
                  <a:pt x="13218" y="250"/>
                  <a:pt x="13218" y="281"/>
                </a:cubicBezTo>
                <a:cubicBezTo>
                  <a:pt x="13218" y="250"/>
                  <a:pt x="13218" y="250"/>
                  <a:pt x="13218" y="250"/>
                </a:cubicBezTo>
                <a:cubicBezTo>
                  <a:pt x="13218" y="250"/>
                  <a:pt x="13218" y="250"/>
                  <a:pt x="13218" y="250"/>
                </a:cubicBezTo>
                <a:cubicBezTo>
                  <a:pt x="13218" y="250"/>
                  <a:pt x="13218" y="250"/>
                  <a:pt x="13218" y="250"/>
                </a:cubicBezTo>
                <a:close/>
                <a:moveTo>
                  <a:pt x="13187" y="281"/>
                </a:moveTo>
                <a:cubicBezTo>
                  <a:pt x="13187" y="281"/>
                  <a:pt x="13187" y="281"/>
                  <a:pt x="13187" y="281"/>
                </a:cubicBezTo>
                <a:cubicBezTo>
                  <a:pt x="13187" y="281"/>
                  <a:pt x="13187" y="281"/>
                  <a:pt x="13187" y="281"/>
                </a:cubicBezTo>
                <a:close/>
                <a:moveTo>
                  <a:pt x="13187" y="406"/>
                </a:moveTo>
                <a:cubicBezTo>
                  <a:pt x="13187" y="406"/>
                  <a:pt x="13187" y="406"/>
                  <a:pt x="13187" y="406"/>
                </a:cubicBezTo>
                <a:cubicBezTo>
                  <a:pt x="13187" y="406"/>
                  <a:pt x="13187" y="406"/>
                  <a:pt x="13187" y="406"/>
                </a:cubicBezTo>
                <a:cubicBezTo>
                  <a:pt x="13187" y="406"/>
                  <a:pt x="13187" y="406"/>
                  <a:pt x="13187" y="406"/>
                </a:cubicBezTo>
                <a:close/>
                <a:moveTo>
                  <a:pt x="13218" y="281"/>
                </a:moveTo>
                <a:cubicBezTo>
                  <a:pt x="13218" y="281"/>
                  <a:pt x="13218" y="281"/>
                  <a:pt x="13187" y="281"/>
                </a:cubicBezTo>
                <a:cubicBezTo>
                  <a:pt x="13218" y="281"/>
                  <a:pt x="13218" y="281"/>
                  <a:pt x="13218" y="281"/>
                </a:cubicBezTo>
                <a:close/>
                <a:moveTo>
                  <a:pt x="13187" y="281"/>
                </a:moveTo>
                <a:cubicBezTo>
                  <a:pt x="13187" y="281"/>
                  <a:pt x="13187" y="281"/>
                  <a:pt x="13187" y="281"/>
                </a:cubicBezTo>
                <a:cubicBezTo>
                  <a:pt x="13187" y="281"/>
                  <a:pt x="13187" y="281"/>
                  <a:pt x="13187" y="281"/>
                </a:cubicBezTo>
                <a:close/>
                <a:moveTo>
                  <a:pt x="13281" y="531"/>
                </a:moveTo>
                <a:cubicBezTo>
                  <a:pt x="13250" y="531"/>
                  <a:pt x="13250" y="562"/>
                  <a:pt x="13250" y="531"/>
                </a:cubicBezTo>
                <a:cubicBezTo>
                  <a:pt x="13187" y="500"/>
                  <a:pt x="13125" y="500"/>
                  <a:pt x="13156" y="437"/>
                </a:cubicBezTo>
                <a:cubicBezTo>
                  <a:pt x="13187" y="437"/>
                  <a:pt x="13218" y="469"/>
                  <a:pt x="13250" y="500"/>
                </a:cubicBezTo>
                <a:cubicBezTo>
                  <a:pt x="13281" y="531"/>
                  <a:pt x="13281" y="531"/>
                  <a:pt x="13281" y="531"/>
                </a:cubicBezTo>
                <a:close/>
                <a:moveTo>
                  <a:pt x="13312" y="500"/>
                </a:moveTo>
                <a:cubicBezTo>
                  <a:pt x="13281" y="469"/>
                  <a:pt x="13218" y="469"/>
                  <a:pt x="13187" y="406"/>
                </a:cubicBezTo>
                <a:cubicBezTo>
                  <a:pt x="13281" y="406"/>
                  <a:pt x="13312" y="437"/>
                  <a:pt x="13343" y="500"/>
                </a:cubicBezTo>
                <a:cubicBezTo>
                  <a:pt x="13375" y="500"/>
                  <a:pt x="13406" y="531"/>
                  <a:pt x="13437" y="562"/>
                </a:cubicBezTo>
                <a:cubicBezTo>
                  <a:pt x="13375" y="562"/>
                  <a:pt x="13343" y="531"/>
                  <a:pt x="13312" y="500"/>
                </a:cubicBezTo>
                <a:close/>
                <a:moveTo>
                  <a:pt x="13250" y="344"/>
                </a:moveTo>
                <a:cubicBezTo>
                  <a:pt x="13312" y="375"/>
                  <a:pt x="13406" y="406"/>
                  <a:pt x="13437" y="500"/>
                </a:cubicBezTo>
                <a:cubicBezTo>
                  <a:pt x="13343" y="469"/>
                  <a:pt x="13312" y="406"/>
                  <a:pt x="13250" y="344"/>
                </a:cubicBezTo>
                <a:close/>
                <a:moveTo>
                  <a:pt x="13500" y="625"/>
                </a:moveTo>
                <a:cubicBezTo>
                  <a:pt x="13468" y="625"/>
                  <a:pt x="13468" y="625"/>
                  <a:pt x="13468" y="625"/>
                </a:cubicBezTo>
                <a:cubicBezTo>
                  <a:pt x="13468" y="594"/>
                  <a:pt x="13468" y="594"/>
                  <a:pt x="13468" y="594"/>
                </a:cubicBezTo>
                <a:cubicBezTo>
                  <a:pt x="13500" y="594"/>
                  <a:pt x="13500" y="594"/>
                  <a:pt x="13500" y="625"/>
                </a:cubicBezTo>
                <a:cubicBezTo>
                  <a:pt x="13500" y="625"/>
                  <a:pt x="13500" y="625"/>
                  <a:pt x="13500" y="625"/>
                </a:cubicBezTo>
                <a:close/>
                <a:moveTo>
                  <a:pt x="13437" y="500"/>
                </a:moveTo>
                <a:cubicBezTo>
                  <a:pt x="13500" y="531"/>
                  <a:pt x="13500" y="531"/>
                  <a:pt x="13531" y="594"/>
                </a:cubicBezTo>
                <a:cubicBezTo>
                  <a:pt x="13468" y="594"/>
                  <a:pt x="13468" y="531"/>
                  <a:pt x="13437" y="500"/>
                </a:cubicBezTo>
                <a:close/>
                <a:moveTo>
                  <a:pt x="14281" y="500"/>
                </a:moveTo>
                <a:cubicBezTo>
                  <a:pt x="14281" y="500"/>
                  <a:pt x="14312" y="500"/>
                  <a:pt x="14312" y="531"/>
                </a:cubicBezTo>
                <a:cubicBezTo>
                  <a:pt x="14312" y="500"/>
                  <a:pt x="14281" y="500"/>
                  <a:pt x="14281" y="500"/>
                </a:cubicBezTo>
                <a:close/>
                <a:moveTo>
                  <a:pt x="14125" y="406"/>
                </a:moveTo>
                <a:cubicBezTo>
                  <a:pt x="14156" y="406"/>
                  <a:pt x="14156" y="375"/>
                  <a:pt x="14156" y="375"/>
                </a:cubicBezTo>
                <a:cubicBezTo>
                  <a:pt x="14156" y="375"/>
                  <a:pt x="14156" y="406"/>
                  <a:pt x="14125" y="406"/>
                </a:cubicBezTo>
                <a:cubicBezTo>
                  <a:pt x="14125" y="406"/>
                  <a:pt x="14125" y="406"/>
                  <a:pt x="14125" y="406"/>
                </a:cubicBezTo>
                <a:cubicBezTo>
                  <a:pt x="14125" y="406"/>
                  <a:pt x="14125" y="406"/>
                  <a:pt x="14125" y="406"/>
                </a:cubicBezTo>
                <a:close/>
                <a:moveTo>
                  <a:pt x="13906" y="375"/>
                </a:moveTo>
                <a:cubicBezTo>
                  <a:pt x="13906" y="375"/>
                  <a:pt x="13906" y="375"/>
                  <a:pt x="13906" y="375"/>
                </a:cubicBezTo>
                <a:cubicBezTo>
                  <a:pt x="13906" y="375"/>
                  <a:pt x="13906" y="406"/>
                  <a:pt x="13906" y="406"/>
                </a:cubicBezTo>
                <a:cubicBezTo>
                  <a:pt x="13906" y="406"/>
                  <a:pt x="13906" y="375"/>
                  <a:pt x="13906" y="375"/>
                </a:cubicBezTo>
                <a:close/>
                <a:moveTo>
                  <a:pt x="13937" y="406"/>
                </a:moveTo>
                <a:cubicBezTo>
                  <a:pt x="13937" y="406"/>
                  <a:pt x="13937" y="406"/>
                  <a:pt x="13937" y="406"/>
                </a:cubicBezTo>
                <a:cubicBezTo>
                  <a:pt x="13937" y="406"/>
                  <a:pt x="13937" y="406"/>
                  <a:pt x="13937" y="406"/>
                </a:cubicBezTo>
                <a:cubicBezTo>
                  <a:pt x="13937" y="406"/>
                  <a:pt x="13937" y="406"/>
                  <a:pt x="13937" y="406"/>
                </a:cubicBezTo>
                <a:cubicBezTo>
                  <a:pt x="13937" y="437"/>
                  <a:pt x="13937" y="437"/>
                  <a:pt x="13968" y="469"/>
                </a:cubicBezTo>
                <a:cubicBezTo>
                  <a:pt x="13937" y="437"/>
                  <a:pt x="13937" y="437"/>
                  <a:pt x="13937" y="406"/>
                </a:cubicBezTo>
                <a:cubicBezTo>
                  <a:pt x="13906" y="406"/>
                  <a:pt x="13906" y="406"/>
                  <a:pt x="13906" y="406"/>
                </a:cubicBezTo>
                <a:cubicBezTo>
                  <a:pt x="13906" y="406"/>
                  <a:pt x="13906" y="406"/>
                  <a:pt x="13937" y="406"/>
                </a:cubicBezTo>
                <a:close/>
                <a:moveTo>
                  <a:pt x="13812" y="312"/>
                </a:moveTo>
                <a:cubicBezTo>
                  <a:pt x="13781" y="312"/>
                  <a:pt x="13750" y="312"/>
                  <a:pt x="13750" y="281"/>
                </a:cubicBezTo>
                <a:cubicBezTo>
                  <a:pt x="13750" y="312"/>
                  <a:pt x="13781" y="312"/>
                  <a:pt x="13812" y="312"/>
                </a:cubicBezTo>
                <a:close/>
                <a:moveTo>
                  <a:pt x="13781" y="281"/>
                </a:moveTo>
                <a:cubicBezTo>
                  <a:pt x="13750" y="250"/>
                  <a:pt x="13750" y="250"/>
                  <a:pt x="13718" y="250"/>
                </a:cubicBezTo>
                <a:cubicBezTo>
                  <a:pt x="13750" y="250"/>
                  <a:pt x="13750" y="250"/>
                  <a:pt x="13781" y="281"/>
                </a:cubicBezTo>
                <a:close/>
                <a:moveTo>
                  <a:pt x="13687" y="250"/>
                </a:move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50"/>
                  <a:pt x="13687" y="250"/>
                  <a:pt x="13687" y="250"/>
                </a:cubicBezTo>
                <a:cubicBezTo>
                  <a:pt x="13687" y="219"/>
                  <a:pt x="13687" y="219"/>
                  <a:pt x="13656" y="219"/>
                </a:cubicBezTo>
                <a:cubicBezTo>
                  <a:pt x="13687" y="219"/>
                  <a:pt x="13687" y="219"/>
                  <a:pt x="13687" y="250"/>
                </a:cubicBezTo>
                <a:close/>
                <a:moveTo>
                  <a:pt x="13593" y="187"/>
                </a:moveTo>
                <a:cubicBezTo>
                  <a:pt x="13562" y="187"/>
                  <a:pt x="13562" y="187"/>
                  <a:pt x="13562" y="187"/>
                </a:cubicBezTo>
                <a:cubicBezTo>
                  <a:pt x="13562" y="187"/>
                  <a:pt x="13562" y="187"/>
                  <a:pt x="13562" y="187"/>
                </a:cubicBezTo>
                <a:cubicBezTo>
                  <a:pt x="13593" y="187"/>
                  <a:pt x="13593" y="219"/>
                  <a:pt x="13593" y="219"/>
                </a:cubicBezTo>
                <a:cubicBezTo>
                  <a:pt x="13593" y="219"/>
                  <a:pt x="13593" y="187"/>
                  <a:pt x="13562" y="187"/>
                </a:cubicBezTo>
                <a:cubicBezTo>
                  <a:pt x="13562" y="187"/>
                  <a:pt x="13562" y="187"/>
                  <a:pt x="13562" y="187"/>
                </a:cubicBezTo>
                <a:cubicBezTo>
                  <a:pt x="13562" y="187"/>
                  <a:pt x="13562" y="187"/>
                  <a:pt x="13593" y="187"/>
                </a:cubicBezTo>
                <a:close/>
                <a:moveTo>
                  <a:pt x="13593" y="500"/>
                </a:moveTo>
                <a:cubicBezTo>
                  <a:pt x="13593" y="500"/>
                  <a:pt x="13593" y="500"/>
                  <a:pt x="13593" y="500"/>
                </a:cubicBezTo>
                <a:cubicBezTo>
                  <a:pt x="13562" y="469"/>
                  <a:pt x="13562" y="469"/>
                  <a:pt x="13531" y="437"/>
                </a:cubicBezTo>
                <a:cubicBezTo>
                  <a:pt x="13593" y="406"/>
                  <a:pt x="13656" y="469"/>
                  <a:pt x="13718" y="437"/>
                </a:cubicBezTo>
                <a:cubicBezTo>
                  <a:pt x="13687" y="500"/>
                  <a:pt x="13625" y="469"/>
                  <a:pt x="13593" y="500"/>
                </a:cubicBezTo>
                <a:close/>
                <a:moveTo>
                  <a:pt x="13937" y="500"/>
                </a:moveTo>
                <a:cubicBezTo>
                  <a:pt x="13906" y="500"/>
                  <a:pt x="13875" y="500"/>
                  <a:pt x="13875" y="437"/>
                </a:cubicBezTo>
                <a:cubicBezTo>
                  <a:pt x="13875" y="437"/>
                  <a:pt x="13875" y="437"/>
                  <a:pt x="13875" y="437"/>
                </a:cubicBezTo>
                <a:cubicBezTo>
                  <a:pt x="13843" y="437"/>
                  <a:pt x="13843" y="437"/>
                  <a:pt x="13843" y="406"/>
                </a:cubicBezTo>
                <a:cubicBezTo>
                  <a:pt x="13812" y="375"/>
                  <a:pt x="13750" y="344"/>
                  <a:pt x="13718" y="312"/>
                </a:cubicBezTo>
                <a:cubicBezTo>
                  <a:pt x="13750" y="344"/>
                  <a:pt x="13812" y="375"/>
                  <a:pt x="13843" y="406"/>
                </a:cubicBezTo>
                <a:cubicBezTo>
                  <a:pt x="13843" y="437"/>
                  <a:pt x="13875" y="437"/>
                  <a:pt x="13875" y="437"/>
                </a:cubicBezTo>
                <a:lnTo>
                  <a:pt x="13875" y="437"/>
                </a:lnTo>
                <a:cubicBezTo>
                  <a:pt x="13875" y="437"/>
                  <a:pt x="13875" y="437"/>
                  <a:pt x="13875" y="437"/>
                </a:cubicBezTo>
                <a:cubicBezTo>
                  <a:pt x="13906" y="469"/>
                  <a:pt x="13937" y="469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lose/>
                <a:moveTo>
                  <a:pt x="13937" y="500"/>
                </a:moveTo>
                <a:cubicBezTo>
                  <a:pt x="14000" y="531"/>
                  <a:pt x="14031" y="562"/>
                  <a:pt x="14062" y="625"/>
                </a:cubicBezTo>
                <a:cubicBezTo>
                  <a:pt x="14000" y="594"/>
                  <a:pt x="13968" y="562"/>
                  <a:pt x="13937" y="500"/>
                </a:cubicBezTo>
                <a:lnTo>
                  <a:pt x="13937" y="500"/>
                </a:ln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ubicBezTo>
                  <a:pt x="13937" y="500"/>
                  <a:pt x="13937" y="500"/>
                  <a:pt x="13937" y="500"/>
                </a:cubicBezTo>
                <a:close/>
                <a:moveTo>
                  <a:pt x="14031" y="406"/>
                </a:moveTo>
                <a:cubicBezTo>
                  <a:pt x="14093" y="406"/>
                  <a:pt x="14125" y="437"/>
                  <a:pt x="14156" y="469"/>
                </a:cubicBezTo>
                <a:cubicBezTo>
                  <a:pt x="14093" y="500"/>
                  <a:pt x="14062" y="469"/>
                  <a:pt x="14031" y="406"/>
                </a:cubicBezTo>
                <a:close/>
                <a:moveTo>
                  <a:pt x="14343" y="562"/>
                </a:moveTo>
                <a:cubicBezTo>
                  <a:pt x="14375" y="531"/>
                  <a:pt x="14375" y="531"/>
                  <a:pt x="14375" y="531"/>
                </a:cubicBezTo>
                <a:cubicBezTo>
                  <a:pt x="14375" y="531"/>
                  <a:pt x="14375" y="531"/>
                  <a:pt x="14343" y="562"/>
                </a:cubicBezTo>
                <a:close/>
                <a:moveTo>
                  <a:pt x="14687" y="906"/>
                </a:moveTo>
                <a:cubicBezTo>
                  <a:pt x="14687" y="906"/>
                  <a:pt x="14687" y="906"/>
                  <a:pt x="14687" y="906"/>
                </a:cubicBezTo>
                <a:cubicBezTo>
                  <a:pt x="14687" y="906"/>
                  <a:pt x="14687" y="906"/>
                  <a:pt x="14687" y="906"/>
                </a:cubicBezTo>
                <a:cubicBezTo>
                  <a:pt x="14687" y="906"/>
                  <a:pt x="14687" y="906"/>
                  <a:pt x="14687" y="906"/>
                </a:cubicBezTo>
                <a:close/>
                <a:moveTo>
                  <a:pt x="15062" y="750"/>
                </a:moveTo>
                <a:cubicBezTo>
                  <a:pt x="15000" y="719"/>
                  <a:pt x="14937" y="719"/>
                  <a:pt x="14875" y="656"/>
                </a:cubicBezTo>
                <a:cubicBezTo>
                  <a:pt x="14968" y="656"/>
                  <a:pt x="15000" y="719"/>
                  <a:pt x="15062" y="750"/>
                </a:cubicBezTo>
                <a:close/>
                <a:moveTo>
                  <a:pt x="14750" y="719"/>
                </a:moveTo>
                <a:cubicBezTo>
                  <a:pt x="14906" y="719"/>
                  <a:pt x="15031" y="781"/>
                  <a:pt x="15093" y="875"/>
                </a:cubicBezTo>
                <a:cubicBezTo>
                  <a:pt x="15000" y="812"/>
                  <a:pt x="14875" y="781"/>
                  <a:pt x="14750" y="719"/>
                </a:cubicBezTo>
                <a:close/>
                <a:moveTo>
                  <a:pt x="15625" y="1281"/>
                </a:moveTo>
                <a:cubicBezTo>
                  <a:pt x="15656" y="1281"/>
                  <a:pt x="15656" y="1281"/>
                  <a:pt x="15656" y="1281"/>
                </a:cubicBezTo>
                <a:cubicBezTo>
                  <a:pt x="15656" y="1281"/>
                  <a:pt x="15656" y="1281"/>
                  <a:pt x="15625" y="1281"/>
                </a:cubicBezTo>
                <a:cubicBezTo>
                  <a:pt x="15625" y="1250"/>
                  <a:pt x="15625" y="1250"/>
                  <a:pt x="15593" y="1219"/>
                </a:cubicBezTo>
                <a:cubicBezTo>
                  <a:pt x="15625" y="1250"/>
                  <a:pt x="15625" y="1250"/>
                  <a:pt x="15625" y="1281"/>
                </a:cubicBezTo>
                <a:close/>
                <a:moveTo>
                  <a:pt x="15562" y="1281"/>
                </a:moveTo>
                <a:cubicBezTo>
                  <a:pt x="15562" y="1281"/>
                  <a:pt x="15562" y="1281"/>
                  <a:pt x="15562" y="1281"/>
                </a:cubicBezTo>
                <a:cubicBezTo>
                  <a:pt x="15593" y="1281"/>
                  <a:pt x="15593" y="1312"/>
                  <a:pt x="15593" y="1312"/>
                </a:cubicBezTo>
                <a:cubicBezTo>
                  <a:pt x="15593" y="1344"/>
                  <a:pt x="15562" y="1312"/>
                  <a:pt x="15562" y="1312"/>
                </a:cubicBezTo>
                <a:cubicBezTo>
                  <a:pt x="15531" y="1281"/>
                  <a:pt x="15468" y="1312"/>
                  <a:pt x="15468" y="1250"/>
                </a:cubicBezTo>
                <a:cubicBezTo>
                  <a:pt x="15500" y="1219"/>
                  <a:pt x="15531" y="1281"/>
                  <a:pt x="15562" y="1281"/>
                </a:cubicBezTo>
                <a:close/>
                <a:moveTo>
                  <a:pt x="15343" y="1156"/>
                </a:moveTo>
                <a:cubicBezTo>
                  <a:pt x="15343" y="1156"/>
                  <a:pt x="15343" y="1156"/>
                  <a:pt x="15343" y="1156"/>
                </a:cubicBezTo>
                <a:cubicBezTo>
                  <a:pt x="15343" y="1156"/>
                  <a:pt x="15343" y="1156"/>
                  <a:pt x="15343" y="1156"/>
                </a:cubicBezTo>
                <a:cubicBezTo>
                  <a:pt x="15343" y="1156"/>
                  <a:pt x="15343" y="1156"/>
                  <a:pt x="15343" y="1156"/>
                </a:cubicBezTo>
                <a:close/>
                <a:moveTo>
                  <a:pt x="15343" y="1219"/>
                </a:moveTo>
                <a:cubicBezTo>
                  <a:pt x="15343" y="1219"/>
                  <a:pt x="15343" y="1187"/>
                  <a:pt x="15375" y="1187"/>
                </a:cubicBezTo>
                <a:cubicBezTo>
                  <a:pt x="15406" y="1187"/>
                  <a:pt x="15437" y="1187"/>
                  <a:pt x="15437" y="1250"/>
                </a:cubicBezTo>
                <a:cubicBezTo>
                  <a:pt x="15406" y="1250"/>
                  <a:pt x="15375" y="1219"/>
                  <a:pt x="15343" y="1219"/>
                </a:cubicBezTo>
                <a:close/>
                <a:moveTo>
                  <a:pt x="15718" y="1469"/>
                </a:moveTo>
                <a:cubicBezTo>
                  <a:pt x="15656" y="1437"/>
                  <a:pt x="15593" y="1406"/>
                  <a:pt x="15531" y="1406"/>
                </a:cubicBezTo>
                <a:cubicBezTo>
                  <a:pt x="15500" y="1375"/>
                  <a:pt x="15437" y="1344"/>
                  <a:pt x="15375" y="1375"/>
                </a:cubicBezTo>
                <a:cubicBezTo>
                  <a:pt x="15406" y="1344"/>
                  <a:pt x="15343" y="1344"/>
                  <a:pt x="15375" y="1312"/>
                </a:cubicBezTo>
                <a:cubicBezTo>
                  <a:pt x="15406" y="1312"/>
                  <a:pt x="15406" y="1250"/>
                  <a:pt x="15437" y="1312"/>
                </a:cubicBezTo>
                <a:cubicBezTo>
                  <a:pt x="15500" y="1344"/>
                  <a:pt x="15593" y="1344"/>
                  <a:pt x="15656" y="1406"/>
                </a:cubicBezTo>
                <a:cubicBezTo>
                  <a:pt x="15656" y="1406"/>
                  <a:pt x="15718" y="1406"/>
                  <a:pt x="15718" y="1406"/>
                </a:cubicBezTo>
                <a:cubicBezTo>
                  <a:pt x="15750" y="1437"/>
                  <a:pt x="15750" y="1437"/>
                  <a:pt x="15750" y="1469"/>
                </a:cubicBezTo>
                <a:cubicBezTo>
                  <a:pt x="15750" y="1469"/>
                  <a:pt x="15718" y="1469"/>
                  <a:pt x="15718" y="1469"/>
                </a:cubicBezTo>
                <a:close/>
                <a:moveTo>
                  <a:pt x="15781" y="1625"/>
                </a:moveTo>
                <a:cubicBezTo>
                  <a:pt x="15812" y="1625"/>
                  <a:pt x="15812" y="1625"/>
                  <a:pt x="15812" y="1625"/>
                </a:cubicBezTo>
                <a:cubicBezTo>
                  <a:pt x="15812" y="1625"/>
                  <a:pt x="15812" y="1625"/>
                  <a:pt x="15781" y="1625"/>
                </a:cubicBezTo>
                <a:close/>
                <a:moveTo>
                  <a:pt x="16125" y="2062"/>
                </a:moveTo>
                <a:cubicBezTo>
                  <a:pt x="16187" y="2031"/>
                  <a:pt x="16218" y="2062"/>
                  <a:pt x="16250" y="2125"/>
                </a:cubicBezTo>
                <a:cubicBezTo>
                  <a:pt x="16187" y="2125"/>
                  <a:pt x="16156" y="2125"/>
                  <a:pt x="16125" y="2062"/>
                </a:cubicBezTo>
                <a:close/>
                <a:moveTo>
                  <a:pt x="16218" y="3531"/>
                </a:moveTo>
                <a:cubicBezTo>
                  <a:pt x="16218" y="3562"/>
                  <a:pt x="16218" y="3531"/>
                  <a:pt x="16187" y="3531"/>
                </a:cubicBezTo>
                <a:cubicBezTo>
                  <a:pt x="16218" y="3531"/>
                  <a:pt x="16218" y="3531"/>
                  <a:pt x="16218" y="3531"/>
                </a:cubicBezTo>
                <a:cubicBezTo>
                  <a:pt x="16218" y="3531"/>
                  <a:pt x="16218" y="3531"/>
                  <a:pt x="16218" y="3531"/>
                </a:cubicBezTo>
                <a:cubicBezTo>
                  <a:pt x="16218" y="3531"/>
                  <a:pt x="16218" y="3531"/>
                  <a:pt x="16218" y="3531"/>
                </a:cubicBezTo>
                <a:close/>
                <a:moveTo>
                  <a:pt x="16281" y="3531"/>
                </a:moveTo>
                <a:cubicBezTo>
                  <a:pt x="16250" y="3531"/>
                  <a:pt x="16250" y="3531"/>
                  <a:pt x="16250" y="3500"/>
                </a:cubicBezTo>
                <a:cubicBezTo>
                  <a:pt x="16250" y="3500"/>
                  <a:pt x="16250" y="3469"/>
                  <a:pt x="16250" y="3500"/>
                </a:cubicBezTo>
                <a:cubicBezTo>
                  <a:pt x="16281" y="3500"/>
                  <a:pt x="16281" y="3500"/>
                  <a:pt x="16281" y="3531"/>
                </a:cubicBezTo>
                <a:close/>
                <a:moveTo>
                  <a:pt x="16593" y="4312"/>
                </a:moveTo>
                <a:cubicBezTo>
                  <a:pt x="16593" y="4344"/>
                  <a:pt x="16625" y="4344"/>
                  <a:pt x="16625" y="4344"/>
                </a:cubicBezTo>
                <a:cubicBezTo>
                  <a:pt x="16625" y="4344"/>
                  <a:pt x="16593" y="4344"/>
                  <a:pt x="16593" y="4312"/>
                </a:cubicBezTo>
                <a:close/>
                <a:moveTo>
                  <a:pt x="16312" y="2406"/>
                </a:moveTo>
                <a:cubicBezTo>
                  <a:pt x="16343" y="2406"/>
                  <a:pt x="16375" y="2437"/>
                  <a:pt x="16375" y="2437"/>
                </a:cubicBezTo>
                <a:cubicBezTo>
                  <a:pt x="16375" y="2437"/>
                  <a:pt x="16343" y="2406"/>
                  <a:pt x="16312" y="2406"/>
                </a:cubicBezTo>
                <a:close/>
                <a:moveTo>
                  <a:pt x="16375" y="2281"/>
                </a:moveTo>
                <a:cubicBezTo>
                  <a:pt x="16437" y="2281"/>
                  <a:pt x="16437" y="2344"/>
                  <a:pt x="16468" y="2344"/>
                </a:cubicBezTo>
                <a:cubicBezTo>
                  <a:pt x="16500" y="2344"/>
                  <a:pt x="16500" y="2375"/>
                  <a:pt x="16531" y="2406"/>
                </a:cubicBezTo>
                <a:cubicBezTo>
                  <a:pt x="16500" y="2406"/>
                  <a:pt x="16468" y="2375"/>
                  <a:pt x="16468" y="2375"/>
                </a:cubicBezTo>
                <a:cubicBezTo>
                  <a:pt x="16437" y="2344"/>
                  <a:pt x="16406" y="2312"/>
                  <a:pt x="16375" y="2281"/>
                </a:cubicBezTo>
                <a:close/>
                <a:moveTo>
                  <a:pt x="16500" y="2625"/>
                </a:moveTo>
                <a:cubicBezTo>
                  <a:pt x="16500" y="2625"/>
                  <a:pt x="16500" y="2625"/>
                  <a:pt x="16500" y="2625"/>
                </a:cubicBezTo>
                <a:cubicBezTo>
                  <a:pt x="16500" y="2625"/>
                  <a:pt x="16500" y="2625"/>
                  <a:pt x="16500" y="2625"/>
                </a:cubicBezTo>
                <a:cubicBezTo>
                  <a:pt x="16500" y="2625"/>
                  <a:pt x="16500" y="2625"/>
                  <a:pt x="16500" y="2625"/>
                </a:cubicBezTo>
                <a:close/>
                <a:moveTo>
                  <a:pt x="16406" y="2531"/>
                </a:moveTo>
                <a:cubicBezTo>
                  <a:pt x="16437" y="2531"/>
                  <a:pt x="16437" y="2531"/>
                  <a:pt x="16468" y="2531"/>
                </a:cubicBezTo>
                <a:cubicBezTo>
                  <a:pt x="16468" y="2531"/>
                  <a:pt x="16468" y="2531"/>
                  <a:pt x="16468" y="2531"/>
                </a:cubicBezTo>
                <a:cubicBezTo>
                  <a:pt x="16437" y="2531"/>
                  <a:pt x="16437" y="2531"/>
                  <a:pt x="16406" y="2531"/>
                </a:cubicBezTo>
                <a:close/>
                <a:moveTo>
                  <a:pt x="16375" y="2937"/>
                </a:moveTo>
                <a:cubicBezTo>
                  <a:pt x="16406" y="2906"/>
                  <a:pt x="16437" y="2906"/>
                  <a:pt x="16437" y="2906"/>
                </a:cubicBezTo>
                <a:cubicBezTo>
                  <a:pt x="16468" y="2906"/>
                  <a:pt x="16500" y="2906"/>
                  <a:pt x="16500" y="2937"/>
                </a:cubicBezTo>
                <a:cubicBezTo>
                  <a:pt x="16500" y="2969"/>
                  <a:pt x="16468" y="3000"/>
                  <a:pt x="16437" y="2969"/>
                </a:cubicBezTo>
                <a:cubicBezTo>
                  <a:pt x="16406" y="2969"/>
                  <a:pt x="16375" y="2969"/>
                  <a:pt x="16375" y="2937"/>
                </a:cubicBezTo>
                <a:close/>
                <a:moveTo>
                  <a:pt x="16468" y="3031"/>
                </a:moveTo>
                <a:cubicBezTo>
                  <a:pt x="16468" y="3031"/>
                  <a:pt x="16468" y="3031"/>
                  <a:pt x="16500" y="3031"/>
                </a:cubicBezTo>
                <a:cubicBezTo>
                  <a:pt x="16500" y="3062"/>
                  <a:pt x="16531" y="3031"/>
                  <a:pt x="16531" y="3062"/>
                </a:cubicBezTo>
                <a:cubicBezTo>
                  <a:pt x="16531" y="3094"/>
                  <a:pt x="16500" y="3094"/>
                  <a:pt x="16468" y="3094"/>
                </a:cubicBezTo>
                <a:cubicBezTo>
                  <a:pt x="16437" y="3094"/>
                  <a:pt x="16406" y="3094"/>
                  <a:pt x="16437" y="3156"/>
                </a:cubicBezTo>
                <a:cubicBezTo>
                  <a:pt x="16406" y="3156"/>
                  <a:pt x="16375" y="3156"/>
                  <a:pt x="16375" y="3125"/>
                </a:cubicBezTo>
                <a:cubicBezTo>
                  <a:pt x="16375" y="3094"/>
                  <a:pt x="16437" y="3031"/>
                  <a:pt x="16468" y="3031"/>
                </a:cubicBezTo>
                <a:close/>
                <a:moveTo>
                  <a:pt x="16468" y="3344"/>
                </a:moveTo>
                <a:cubicBezTo>
                  <a:pt x="16437" y="3344"/>
                  <a:pt x="16343" y="3375"/>
                  <a:pt x="16375" y="3281"/>
                </a:cubicBezTo>
                <a:cubicBezTo>
                  <a:pt x="16437" y="3219"/>
                  <a:pt x="16500" y="3312"/>
                  <a:pt x="16562" y="3281"/>
                </a:cubicBezTo>
                <a:cubicBezTo>
                  <a:pt x="16531" y="3312"/>
                  <a:pt x="16500" y="3344"/>
                  <a:pt x="16468" y="3344"/>
                </a:cubicBezTo>
                <a:close/>
                <a:moveTo>
                  <a:pt x="16562" y="4125"/>
                </a:moveTo>
                <a:cubicBezTo>
                  <a:pt x="16562" y="4125"/>
                  <a:pt x="16562" y="4125"/>
                  <a:pt x="16562" y="4125"/>
                </a:cubicBezTo>
                <a:cubicBezTo>
                  <a:pt x="16562" y="4125"/>
                  <a:pt x="16562" y="4125"/>
                  <a:pt x="16562" y="4125"/>
                </a:cubicBezTo>
                <a:close/>
                <a:moveTo>
                  <a:pt x="16562" y="3844"/>
                </a:moveTo>
                <a:cubicBezTo>
                  <a:pt x="16562" y="3844"/>
                  <a:pt x="16531" y="3844"/>
                  <a:pt x="16531" y="3844"/>
                </a:cubicBezTo>
                <a:cubicBezTo>
                  <a:pt x="16531" y="3812"/>
                  <a:pt x="16562" y="3812"/>
                  <a:pt x="16562" y="3812"/>
                </a:cubicBezTo>
                <a:cubicBezTo>
                  <a:pt x="16593" y="3812"/>
                  <a:pt x="16593" y="3812"/>
                  <a:pt x="16625" y="3844"/>
                </a:cubicBezTo>
                <a:cubicBezTo>
                  <a:pt x="16593" y="3844"/>
                  <a:pt x="16593" y="3844"/>
                  <a:pt x="16562" y="3844"/>
                </a:cubicBezTo>
                <a:close/>
                <a:moveTo>
                  <a:pt x="16562" y="3094"/>
                </a:moveTo>
                <a:cubicBezTo>
                  <a:pt x="16625" y="3062"/>
                  <a:pt x="16656" y="3031"/>
                  <a:pt x="16718" y="3094"/>
                </a:cubicBezTo>
                <a:cubicBezTo>
                  <a:pt x="16656" y="3125"/>
                  <a:pt x="16625" y="3125"/>
                  <a:pt x="16562" y="3094"/>
                </a:cubicBezTo>
                <a:close/>
                <a:moveTo>
                  <a:pt x="16687" y="3344"/>
                </a:moveTo>
                <a:cubicBezTo>
                  <a:pt x="16687" y="3344"/>
                  <a:pt x="16687" y="3344"/>
                  <a:pt x="16687" y="3344"/>
                </a:cubicBezTo>
                <a:cubicBezTo>
                  <a:pt x="16718" y="3344"/>
                  <a:pt x="16718" y="3344"/>
                  <a:pt x="16718" y="3344"/>
                </a:cubicBezTo>
                <a:cubicBezTo>
                  <a:pt x="16718" y="3344"/>
                  <a:pt x="16718" y="3344"/>
                  <a:pt x="16687" y="3344"/>
                </a:cubicBezTo>
                <a:close/>
                <a:moveTo>
                  <a:pt x="13562" y="8656"/>
                </a:moveTo>
                <a:cubicBezTo>
                  <a:pt x="13562" y="8656"/>
                  <a:pt x="13562" y="8656"/>
                  <a:pt x="13531" y="8656"/>
                </a:cubicBezTo>
                <a:cubicBezTo>
                  <a:pt x="13531" y="8656"/>
                  <a:pt x="13531" y="8656"/>
                  <a:pt x="13531" y="8625"/>
                </a:cubicBezTo>
                <a:cubicBezTo>
                  <a:pt x="13531" y="8625"/>
                  <a:pt x="13531" y="8625"/>
                  <a:pt x="13562" y="8625"/>
                </a:cubicBezTo>
                <a:cubicBezTo>
                  <a:pt x="13562" y="8625"/>
                  <a:pt x="13562" y="8625"/>
                  <a:pt x="13562" y="8656"/>
                </a:cubicBezTo>
                <a:close/>
                <a:moveTo>
                  <a:pt x="13656" y="8844"/>
                </a:moveTo>
                <a:cubicBezTo>
                  <a:pt x="13656" y="8844"/>
                  <a:pt x="13656" y="8844"/>
                  <a:pt x="13656" y="8844"/>
                </a:cubicBezTo>
                <a:cubicBezTo>
                  <a:pt x="13656" y="8875"/>
                  <a:pt x="13656" y="8875"/>
                  <a:pt x="13656" y="8875"/>
                </a:cubicBezTo>
                <a:cubicBezTo>
                  <a:pt x="13656" y="8875"/>
                  <a:pt x="13656" y="8844"/>
                  <a:pt x="13656" y="8844"/>
                </a:cubicBezTo>
                <a:cubicBezTo>
                  <a:pt x="13656" y="8844"/>
                  <a:pt x="13656" y="8844"/>
                  <a:pt x="13656" y="8844"/>
                </a:cubicBezTo>
                <a:close/>
                <a:moveTo>
                  <a:pt x="13625" y="8750"/>
                </a:moveTo>
                <a:cubicBezTo>
                  <a:pt x="13625" y="8750"/>
                  <a:pt x="13625" y="8750"/>
                  <a:pt x="13625" y="8750"/>
                </a:cubicBezTo>
                <a:cubicBezTo>
                  <a:pt x="13625" y="8750"/>
                  <a:pt x="13625" y="8750"/>
                  <a:pt x="13625" y="8750"/>
                </a:cubicBezTo>
                <a:cubicBezTo>
                  <a:pt x="13625" y="8750"/>
                  <a:pt x="13593" y="8750"/>
                  <a:pt x="13593" y="8750"/>
                </a:cubicBezTo>
                <a:cubicBezTo>
                  <a:pt x="13593" y="8750"/>
                  <a:pt x="13625" y="8750"/>
                  <a:pt x="13625" y="8750"/>
                </a:cubicBezTo>
                <a:close/>
                <a:moveTo>
                  <a:pt x="13593" y="8906"/>
                </a:moveTo>
                <a:cubicBezTo>
                  <a:pt x="13625" y="8906"/>
                  <a:pt x="13656" y="8906"/>
                  <a:pt x="13687" y="8906"/>
                </a:cubicBezTo>
                <a:cubicBezTo>
                  <a:pt x="13656" y="8906"/>
                  <a:pt x="13625" y="8906"/>
                  <a:pt x="13593" y="8906"/>
                </a:cubicBezTo>
                <a:close/>
                <a:moveTo>
                  <a:pt x="13843" y="8719"/>
                </a:moveTo>
                <a:cubicBezTo>
                  <a:pt x="13843" y="8750"/>
                  <a:pt x="13812" y="8750"/>
                  <a:pt x="13781" y="8750"/>
                </a:cubicBezTo>
                <a:cubicBezTo>
                  <a:pt x="13812" y="8719"/>
                  <a:pt x="13812" y="8719"/>
                  <a:pt x="13843" y="8719"/>
                </a:cubicBezTo>
                <a:close/>
                <a:moveTo>
                  <a:pt x="13843" y="9062"/>
                </a:moveTo>
                <a:cubicBezTo>
                  <a:pt x="13843" y="9062"/>
                  <a:pt x="13875" y="9062"/>
                  <a:pt x="13875" y="9062"/>
                </a:cubicBezTo>
                <a:cubicBezTo>
                  <a:pt x="13875" y="9062"/>
                  <a:pt x="13843" y="9062"/>
                  <a:pt x="13843" y="9062"/>
                </a:cubicBezTo>
                <a:close/>
                <a:moveTo>
                  <a:pt x="13875" y="9094"/>
                </a:moveTo>
                <a:cubicBezTo>
                  <a:pt x="13875" y="9094"/>
                  <a:pt x="13875" y="9094"/>
                  <a:pt x="13875" y="9094"/>
                </a:cubicBezTo>
                <a:cubicBezTo>
                  <a:pt x="13875" y="9094"/>
                  <a:pt x="13875" y="9094"/>
                  <a:pt x="13906" y="9094"/>
                </a:cubicBezTo>
                <a:cubicBezTo>
                  <a:pt x="13875" y="9094"/>
                  <a:pt x="13875" y="9094"/>
                  <a:pt x="13875" y="9094"/>
                </a:cubicBezTo>
                <a:close/>
                <a:moveTo>
                  <a:pt x="13906" y="9094"/>
                </a:moveTo>
                <a:cubicBezTo>
                  <a:pt x="13906" y="9094"/>
                  <a:pt x="13937" y="9094"/>
                  <a:pt x="13937" y="9094"/>
                </a:cubicBezTo>
                <a:cubicBezTo>
                  <a:pt x="13937" y="9094"/>
                  <a:pt x="13906" y="9094"/>
                  <a:pt x="13906" y="9094"/>
                </a:cubicBezTo>
                <a:close/>
                <a:moveTo>
                  <a:pt x="13937" y="9156"/>
                </a:moveTo>
                <a:cubicBezTo>
                  <a:pt x="13937" y="9156"/>
                  <a:pt x="13937" y="9156"/>
                  <a:pt x="13937" y="9156"/>
                </a:cubicBezTo>
                <a:cubicBezTo>
                  <a:pt x="13937" y="9156"/>
                  <a:pt x="13937" y="9156"/>
                  <a:pt x="13937" y="9156"/>
                </a:cubicBezTo>
                <a:cubicBezTo>
                  <a:pt x="13937" y="9156"/>
                  <a:pt x="13937" y="9156"/>
                  <a:pt x="13937" y="9156"/>
                </a:cubicBezTo>
                <a:close/>
                <a:moveTo>
                  <a:pt x="14062" y="8969"/>
                </a:moveTo>
                <a:cubicBezTo>
                  <a:pt x="14031" y="8969"/>
                  <a:pt x="14031" y="8969"/>
                  <a:pt x="14031" y="8937"/>
                </a:cubicBezTo>
                <a:cubicBezTo>
                  <a:pt x="14031" y="8937"/>
                  <a:pt x="14031" y="8906"/>
                  <a:pt x="14062" y="8906"/>
                </a:cubicBezTo>
                <a:cubicBezTo>
                  <a:pt x="14062" y="8906"/>
                  <a:pt x="14062" y="8937"/>
                  <a:pt x="14062" y="8937"/>
                </a:cubicBezTo>
                <a:cubicBezTo>
                  <a:pt x="14062" y="8969"/>
                  <a:pt x="14062" y="8969"/>
                  <a:pt x="14062" y="8969"/>
                </a:cubicBezTo>
                <a:close/>
                <a:moveTo>
                  <a:pt x="15281" y="9062"/>
                </a:moveTo>
                <a:cubicBezTo>
                  <a:pt x="15281" y="9031"/>
                  <a:pt x="15250" y="9031"/>
                  <a:pt x="15250" y="9031"/>
                </a:cubicBezTo>
                <a:cubicBezTo>
                  <a:pt x="15250" y="9031"/>
                  <a:pt x="15281" y="9031"/>
                  <a:pt x="15281" y="9062"/>
                </a:cubicBezTo>
                <a:cubicBezTo>
                  <a:pt x="15281" y="9062"/>
                  <a:pt x="15281" y="9062"/>
                  <a:pt x="15281" y="9062"/>
                </a:cubicBezTo>
                <a:close/>
                <a:moveTo>
                  <a:pt x="15375" y="9719"/>
                </a:moveTo>
                <a:cubicBezTo>
                  <a:pt x="15375" y="9719"/>
                  <a:pt x="15375" y="9719"/>
                  <a:pt x="15375" y="9719"/>
                </a:cubicBezTo>
                <a:cubicBezTo>
                  <a:pt x="15343" y="9719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43" y="9750"/>
                  <a:pt x="15343" y="9750"/>
                  <a:pt x="15343" y="9750"/>
                </a:cubicBezTo>
                <a:cubicBezTo>
                  <a:pt x="15312" y="9750"/>
                  <a:pt x="15312" y="9750"/>
                  <a:pt x="15281" y="9750"/>
                </a:cubicBezTo>
                <a:cubicBezTo>
                  <a:pt x="15281" y="9719"/>
                  <a:pt x="15281" y="9687"/>
                  <a:pt x="15281" y="9656"/>
                </a:cubicBezTo>
                <a:cubicBezTo>
                  <a:pt x="15281" y="9656"/>
                  <a:pt x="15281" y="9656"/>
                  <a:pt x="15281" y="9656"/>
                </a:cubicBezTo>
                <a:cubicBezTo>
                  <a:pt x="15312" y="9656"/>
                  <a:pt x="15312" y="9656"/>
                  <a:pt x="15312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43" y="9656"/>
                </a:cubicBezTo>
                <a:cubicBezTo>
                  <a:pt x="15343" y="9656"/>
                  <a:pt x="15343" y="9656"/>
                  <a:pt x="15375" y="9656"/>
                </a:cubicBezTo>
                <a:cubicBezTo>
                  <a:pt x="15375" y="9687"/>
                  <a:pt x="15375" y="9719"/>
                  <a:pt x="15375" y="9719"/>
                </a:cubicBezTo>
                <a:close/>
                <a:moveTo>
                  <a:pt x="15468" y="12531"/>
                </a:moveTo>
                <a:cubicBezTo>
                  <a:pt x="15437" y="12531"/>
                  <a:pt x="15437" y="12500"/>
                  <a:pt x="15437" y="12500"/>
                </a:cubicBezTo>
                <a:cubicBezTo>
                  <a:pt x="15437" y="12469"/>
                  <a:pt x="15437" y="12469"/>
                  <a:pt x="15437" y="12469"/>
                </a:cubicBezTo>
                <a:cubicBezTo>
                  <a:pt x="15468" y="12469"/>
                  <a:pt x="15468" y="12469"/>
                  <a:pt x="15468" y="12469"/>
                </a:cubicBezTo>
                <a:cubicBezTo>
                  <a:pt x="15468" y="12500"/>
                  <a:pt x="15468" y="12500"/>
                  <a:pt x="15468" y="12531"/>
                </a:cubicBezTo>
                <a:close/>
                <a:moveTo>
                  <a:pt x="12093" y="12781"/>
                </a:moveTo>
                <a:cubicBezTo>
                  <a:pt x="12125" y="12781"/>
                  <a:pt x="12156" y="12781"/>
                  <a:pt x="12187" y="12812"/>
                </a:cubicBezTo>
                <a:cubicBezTo>
                  <a:pt x="12187" y="12812"/>
                  <a:pt x="12187" y="12812"/>
                  <a:pt x="12187" y="12812"/>
                </a:cubicBezTo>
                <a:cubicBezTo>
                  <a:pt x="12156" y="12844"/>
                  <a:pt x="12125" y="12812"/>
                  <a:pt x="12093" y="12781"/>
                </a:cubicBezTo>
                <a:cubicBezTo>
                  <a:pt x="12093" y="12781"/>
                  <a:pt x="12093" y="12781"/>
                  <a:pt x="12093" y="12781"/>
                </a:cubicBezTo>
                <a:close/>
                <a:moveTo>
                  <a:pt x="11406" y="12750"/>
                </a:moveTo>
                <a:cubicBezTo>
                  <a:pt x="11437" y="12781"/>
                  <a:pt x="11437" y="12750"/>
                  <a:pt x="11468" y="12750"/>
                </a:cubicBezTo>
                <a:cubicBezTo>
                  <a:pt x="11468" y="12781"/>
                  <a:pt x="11531" y="12781"/>
                  <a:pt x="11500" y="12812"/>
                </a:cubicBezTo>
                <a:cubicBezTo>
                  <a:pt x="11500" y="12844"/>
                  <a:pt x="11468" y="12844"/>
                  <a:pt x="11437" y="12844"/>
                </a:cubicBezTo>
                <a:cubicBezTo>
                  <a:pt x="11406" y="12844"/>
                  <a:pt x="11406" y="12844"/>
                  <a:pt x="11406" y="12812"/>
                </a:cubicBezTo>
                <a:cubicBezTo>
                  <a:pt x="11375" y="12781"/>
                  <a:pt x="11375" y="12781"/>
                  <a:pt x="11343" y="12781"/>
                </a:cubicBezTo>
                <a:cubicBezTo>
                  <a:pt x="11312" y="12812"/>
                  <a:pt x="11281" y="12812"/>
                  <a:pt x="11281" y="12750"/>
                </a:cubicBezTo>
                <a:cubicBezTo>
                  <a:pt x="11312" y="12750"/>
                  <a:pt x="11375" y="12719"/>
                  <a:pt x="11406" y="12750"/>
                </a:cubicBezTo>
                <a:close/>
                <a:moveTo>
                  <a:pt x="11281" y="12875"/>
                </a:moveTo>
                <a:cubicBezTo>
                  <a:pt x="11312" y="12844"/>
                  <a:pt x="11375" y="12844"/>
                  <a:pt x="11406" y="12875"/>
                </a:cubicBezTo>
                <a:cubicBezTo>
                  <a:pt x="11375" y="12906"/>
                  <a:pt x="11343" y="12937"/>
                  <a:pt x="11281" y="12875"/>
                </a:cubicBezTo>
                <a:close/>
                <a:moveTo>
                  <a:pt x="11875" y="12969"/>
                </a:moveTo>
                <a:cubicBezTo>
                  <a:pt x="11843" y="13000"/>
                  <a:pt x="11781" y="13000"/>
                  <a:pt x="11750" y="12969"/>
                </a:cubicBezTo>
                <a:cubicBezTo>
                  <a:pt x="11781" y="13000"/>
                  <a:pt x="11750" y="13031"/>
                  <a:pt x="11718" y="13062"/>
                </a:cubicBezTo>
                <a:cubicBezTo>
                  <a:pt x="11625" y="13156"/>
                  <a:pt x="11593" y="13156"/>
                  <a:pt x="11531" y="13094"/>
                </a:cubicBezTo>
                <a:cubicBezTo>
                  <a:pt x="11625" y="13062"/>
                  <a:pt x="11656" y="12969"/>
                  <a:pt x="11718" y="12969"/>
                </a:cubicBezTo>
                <a:cubicBezTo>
                  <a:pt x="11718" y="12937"/>
                  <a:pt x="11781" y="12937"/>
                  <a:pt x="11781" y="12906"/>
                </a:cubicBezTo>
                <a:cubicBezTo>
                  <a:pt x="11718" y="12906"/>
                  <a:pt x="11687" y="12937"/>
                  <a:pt x="11656" y="12969"/>
                </a:cubicBezTo>
                <a:cubicBezTo>
                  <a:pt x="11625" y="13000"/>
                  <a:pt x="11593" y="13000"/>
                  <a:pt x="11562" y="13000"/>
                </a:cubicBezTo>
                <a:cubicBezTo>
                  <a:pt x="11531" y="13000"/>
                  <a:pt x="11500" y="12969"/>
                  <a:pt x="11562" y="12937"/>
                </a:cubicBezTo>
                <a:cubicBezTo>
                  <a:pt x="11500" y="12937"/>
                  <a:pt x="11437" y="13000"/>
                  <a:pt x="11406" y="12937"/>
                </a:cubicBezTo>
                <a:cubicBezTo>
                  <a:pt x="11437" y="12906"/>
                  <a:pt x="11468" y="12875"/>
                  <a:pt x="11531" y="12906"/>
                </a:cubicBezTo>
                <a:cubicBezTo>
                  <a:pt x="11531" y="12875"/>
                  <a:pt x="11531" y="12875"/>
                  <a:pt x="11531" y="12875"/>
                </a:cubicBezTo>
                <a:cubicBezTo>
                  <a:pt x="11531" y="12844"/>
                  <a:pt x="11593" y="12750"/>
                  <a:pt x="11656" y="12750"/>
                </a:cubicBezTo>
                <a:cubicBezTo>
                  <a:pt x="11687" y="12750"/>
                  <a:pt x="11718" y="12750"/>
                  <a:pt x="11718" y="12812"/>
                </a:cubicBezTo>
                <a:cubicBezTo>
                  <a:pt x="11718" y="12875"/>
                  <a:pt x="11656" y="12844"/>
                  <a:pt x="11625" y="12906"/>
                </a:cubicBezTo>
                <a:lnTo>
                  <a:pt x="11625" y="12906"/>
                </a:lnTo>
                <a:cubicBezTo>
                  <a:pt x="11593" y="12781"/>
                  <a:pt x="11687" y="12812"/>
                  <a:pt x="11718" y="12812"/>
                </a:cubicBezTo>
                <a:cubicBezTo>
                  <a:pt x="11750" y="12812"/>
                  <a:pt x="11750" y="12812"/>
                  <a:pt x="11750" y="12812"/>
                </a:cubicBezTo>
                <a:cubicBezTo>
                  <a:pt x="11781" y="12781"/>
                  <a:pt x="11812" y="12781"/>
                  <a:pt x="11843" y="12812"/>
                </a:cubicBezTo>
                <a:cubicBezTo>
                  <a:pt x="11843" y="12844"/>
                  <a:pt x="11812" y="12844"/>
                  <a:pt x="11781" y="12875"/>
                </a:cubicBezTo>
                <a:cubicBezTo>
                  <a:pt x="11781" y="12875"/>
                  <a:pt x="11812" y="12875"/>
                  <a:pt x="11812" y="12906"/>
                </a:cubicBezTo>
                <a:cubicBezTo>
                  <a:pt x="11812" y="12906"/>
                  <a:pt x="11875" y="12906"/>
                  <a:pt x="11875" y="12969"/>
                </a:cubicBezTo>
                <a:close/>
                <a:moveTo>
                  <a:pt x="11937" y="12937"/>
                </a:moveTo>
                <a:cubicBezTo>
                  <a:pt x="11875" y="12969"/>
                  <a:pt x="11875" y="12906"/>
                  <a:pt x="11843" y="12875"/>
                </a:cubicBezTo>
                <a:cubicBezTo>
                  <a:pt x="11843" y="12875"/>
                  <a:pt x="11875" y="12875"/>
                  <a:pt x="11875" y="12844"/>
                </a:cubicBezTo>
                <a:cubicBezTo>
                  <a:pt x="11906" y="12844"/>
                  <a:pt x="11937" y="12844"/>
                  <a:pt x="11937" y="12844"/>
                </a:cubicBezTo>
                <a:cubicBezTo>
                  <a:pt x="12000" y="12906"/>
                  <a:pt x="11906" y="12906"/>
                  <a:pt x="11937" y="12937"/>
                </a:cubicBezTo>
                <a:close/>
                <a:moveTo>
                  <a:pt x="12187" y="13156"/>
                </a:moveTo>
                <a:cubicBezTo>
                  <a:pt x="12187" y="13187"/>
                  <a:pt x="12156" y="13187"/>
                  <a:pt x="12156" y="13187"/>
                </a:cubicBezTo>
                <a:cubicBezTo>
                  <a:pt x="12125" y="13187"/>
                  <a:pt x="12093" y="13187"/>
                  <a:pt x="12093" y="13156"/>
                </a:cubicBezTo>
                <a:cubicBezTo>
                  <a:pt x="12093" y="13125"/>
                  <a:pt x="12125" y="13125"/>
                  <a:pt x="12125" y="13125"/>
                </a:cubicBezTo>
                <a:cubicBezTo>
                  <a:pt x="12156" y="13125"/>
                  <a:pt x="12156" y="13156"/>
                  <a:pt x="12187" y="13156"/>
                </a:cubicBezTo>
                <a:close/>
                <a:moveTo>
                  <a:pt x="11968" y="13094"/>
                </a:moveTo>
                <a:cubicBezTo>
                  <a:pt x="11968" y="13094"/>
                  <a:pt x="11968" y="13062"/>
                  <a:pt x="12000" y="13062"/>
                </a:cubicBezTo>
                <a:cubicBezTo>
                  <a:pt x="12031" y="13031"/>
                  <a:pt x="12062" y="13000"/>
                  <a:pt x="12125" y="12969"/>
                </a:cubicBezTo>
                <a:cubicBezTo>
                  <a:pt x="12156" y="12969"/>
                  <a:pt x="12156" y="13000"/>
                  <a:pt x="12156" y="13031"/>
                </a:cubicBezTo>
                <a:cubicBezTo>
                  <a:pt x="12156" y="13062"/>
                  <a:pt x="12125" y="13094"/>
                  <a:pt x="12093" y="13062"/>
                </a:cubicBezTo>
                <a:cubicBezTo>
                  <a:pt x="12062" y="13062"/>
                  <a:pt x="12062" y="13062"/>
                  <a:pt x="12062" y="13094"/>
                </a:cubicBezTo>
                <a:cubicBezTo>
                  <a:pt x="12062" y="13125"/>
                  <a:pt x="12062" y="13125"/>
                  <a:pt x="12031" y="13125"/>
                </a:cubicBezTo>
                <a:cubicBezTo>
                  <a:pt x="12031" y="13125"/>
                  <a:pt x="12000" y="13125"/>
                  <a:pt x="11968" y="13094"/>
                </a:cubicBezTo>
                <a:close/>
                <a:moveTo>
                  <a:pt x="12000" y="13312"/>
                </a:moveTo>
                <a:cubicBezTo>
                  <a:pt x="12000" y="13312"/>
                  <a:pt x="11968" y="13344"/>
                  <a:pt x="11906" y="13344"/>
                </a:cubicBezTo>
                <a:cubicBezTo>
                  <a:pt x="11906" y="13312"/>
                  <a:pt x="11906" y="13312"/>
                  <a:pt x="11875" y="13312"/>
                </a:cubicBezTo>
                <a:cubicBezTo>
                  <a:pt x="11875" y="13312"/>
                  <a:pt x="11875" y="13312"/>
                  <a:pt x="11875" y="13312"/>
                </a:cubicBezTo>
                <a:cubicBezTo>
                  <a:pt x="11875" y="13281"/>
                  <a:pt x="11875" y="13281"/>
                  <a:pt x="11875" y="13281"/>
                </a:cubicBezTo>
                <a:cubicBezTo>
                  <a:pt x="11906" y="13250"/>
                  <a:pt x="11937" y="13250"/>
                  <a:pt x="12000" y="13250"/>
                </a:cubicBezTo>
                <a:cubicBezTo>
                  <a:pt x="12000" y="13281"/>
                  <a:pt x="12031" y="13281"/>
                  <a:pt x="12000" y="13312"/>
                </a:cubicBezTo>
                <a:close/>
                <a:moveTo>
                  <a:pt x="12000" y="13219"/>
                </a:moveTo>
                <a:cubicBezTo>
                  <a:pt x="12000" y="13187"/>
                  <a:pt x="12031" y="13156"/>
                  <a:pt x="12062" y="13187"/>
                </a:cubicBezTo>
                <a:cubicBezTo>
                  <a:pt x="12062" y="13187"/>
                  <a:pt x="12093" y="13187"/>
                  <a:pt x="12093" y="13219"/>
                </a:cubicBezTo>
                <a:cubicBezTo>
                  <a:pt x="12093" y="13250"/>
                  <a:pt x="12093" y="13250"/>
                  <a:pt x="12062" y="13250"/>
                </a:cubicBezTo>
                <a:cubicBezTo>
                  <a:pt x="12031" y="13250"/>
                  <a:pt x="12000" y="13250"/>
                  <a:pt x="12000" y="13219"/>
                </a:cubicBezTo>
                <a:close/>
                <a:moveTo>
                  <a:pt x="12093" y="13375"/>
                </a:moveTo>
                <a:cubicBezTo>
                  <a:pt x="12093" y="13375"/>
                  <a:pt x="12062" y="13375"/>
                  <a:pt x="12031" y="13375"/>
                </a:cubicBezTo>
                <a:cubicBezTo>
                  <a:pt x="12031" y="13344"/>
                  <a:pt x="12031" y="13344"/>
                  <a:pt x="12031" y="13344"/>
                </a:cubicBezTo>
                <a:cubicBezTo>
                  <a:pt x="12031" y="13312"/>
                  <a:pt x="12062" y="13312"/>
                  <a:pt x="12062" y="13312"/>
                </a:cubicBezTo>
                <a:cubicBezTo>
                  <a:pt x="12093" y="13312"/>
                  <a:pt x="12093" y="13312"/>
                  <a:pt x="12125" y="13312"/>
                </a:cubicBezTo>
                <a:cubicBezTo>
                  <a:pt x="12125" y="13344"/>
                  <a:pt x="12125" y="13344"/>
                  <a:pt x="12093" y="13375"/>
                </a:cubicBezTo>
                <a:close/>
                <a:moveTo>
                  <a:pt x="12218" y="13281"/>
                </a:moveTo>
                <a:cubicBezTo>
                  <a:pt x="12218" y="13312"/>
                  <a:pt x="12187" y="13312"/>
                  <a:pt x="12187" y="13312"/>
                </a:cubicBezTo>
                <a:cubicBezTo>
                  <a:pt x="12156" y="13312"/>
                  <a:pt x="12125" y="13312"/>
                  <a:pt x="12125" y="13312"/>
                </a:cubicBezTo>
                <a:cubicBezTo>
                  <a:pt x="12125" y="13281"/>
                  <a:pt x="12093" y="13250"/>
                  <a:pt x="12125" y="13250"/>
                </a:cubicBezTo>
                <a:cubicBezTo>
                  <a:pt x="12156" y="13219"/>
                  <a:pt x="12187" y="13250"/>
                  <a:pt x="12218" y="13250"/>
                </a:cubicBezTo>
                <a:cubicBezTo>
                  <a:pt x="12218" y="13250"/>
                  <a:pt x="12250" y="13281"/>
                  <a:pt x="12218" y="13281"/>
                </a:cubicBezTo>
                <a:close/>
                <a:moveTo>
                  <a:pt x="11562" y="14687"/>
                </a:moveTo>
                <a:cubicBezTo>
                  <a:pt x="11562" y="14719"/>
                  <a:pt x="11500" y="14719"/>
                  <a:pt x="11500" y="14719"/>
                </a:cubicBezTo>
                <a:cubicBezTo>
                  <a:pt x="11468" y="14719"/>
                  <a:pt x="11468" y="14719"/>
                  <a:pt x="11437" y="14719"/>
                </a:cubicBezTo>
                <a:cubicBezTo>
                  <a:pt x="11437" y="14781"/>
                  <a:pt x="11406" y="14750"/>
                  <a:pt x="11375" y="14781"/>
                </a:cubicBezTo>
                <a:cubicBezTo>
                  <a:pt x="11375" y="14719"/>
                  <a:pt x="11406" y="14719"/>
                  <a:pt x="11437" y="14719"/>
                </a:cubicBezTo>
                <a:cubicBezTo>
                  <a:pt x="11437" y="14719"/>
                  <a:pt x="11437" y="14687"/>
                  <a:pt x="11437" y="14687"/>
                </a:cubicBezTo>
                <a:cubicBezTo>
                  <a:pt x="11468" y="14656"/>
                  <a:pt x="11500" y="14625"/>
                  <a:pt x="11531" y="14656"/>
                </a:cubicBezTo>
                <a:cubicBezTo>
                  <a:pt x="11562" y="14656"/>
                  <a:pt x="11562" y="14656"/>
                  <a:pt x="11562" y="14687"/>
                </a:cubicBezTo>
                <a:close/>
                <a:moveTo>
                  <a:pt x="12218" y="13687"/>
                </a:moveTo>
                <a:cubicBezTo>
                  <a:pt x="12250" y="13687"/>
                  <a:pt x="12250" y="13687"/>
                  <a:pt x="12250" y="13687"/>
                </a:cubicBezTo>
                <a:cubicBezTo>
                  <a:pt x="12250" y="13719"/>
                  <a:pt x="12250" y="13719"/>
                  <a:pt x="12250" y="13719"/>
                </a:cubicBezTo>
                <a:cubicBezTo>
                  <a:pt x="12250" y="13719"/>
                  <a:pt x="12218" y="13719"/>
                  <a:pt x="12218" y="13719"/>
                </a:cubicBezTo>
                <a:cubicBezTo>
                  <a:pt x="12218" y="13687"/>
                  <a:pt x="12218" y="13687"/>
                  <a:pt x="12218" y="13687"/>
                </a:cubicBezTo>
                <a:close/>
                <a:moveTo>
                  <a:pt x="12312" y="13750"/>
                </a:moveTo>
                <a:cubicBezTo>
                  <a:pt x="12312" y="13750"/>
                  <a:pt x="12343" y="13719"/>
                  <a:pt x="12343" y="13750"/>
                </a:cubicBezTo>
                <a:cubicBezTo>
                  <a:pt x="12343" y="13781"/>
                  <a:pt x="12343" y="13781"/>
                  <a:pt x="12312" y="13781"/>
                </a:cubicBezTo>
                <a:cubicBezTo>
                  <a:pt x="12312" y="13781"/>
                  <a:pt x="12312" y="13781"/>
                  <a:pt x="12312" y="13781"/>
                </a:cubicBezTo>
                <a:cubicBezTo>
                  <a:pt x="12312" y="13906"/>
                  <a:pt x="12218" y="13875"/>
                  <a:pt x="12156" y="13906"/>
                </a:cubicBezTo>
                <a:cubicBezTo>
                  <a:pt x="12156" y="13844"/>
                  <a:pt x="12281" y="13750"/>
                  <a:pt x="12312" y="13750"/>
                </a:cubicBezTo>
                <a:close/>
                <a:moveTo>
                  <a:pt x="12437" y="13906"/>
                </a:moveTo>
                <a:cubicBezTo>
                  <a:pt x="12406" y="13906"/>
                  <a:pt x="12375" y="13937"/>
                  <a:pt x="12343" y="13937"/>
                </a:cubicBezTo>
                <a:cubicBezTo>
                  <a:pt x="12343" y="13906"/>
                  <a:pt x="12343" y="13875"/>
                  <a:pt x="12343" y="13844"/>
                </a:cubicBezTo>
                <a:cubicBezTo>
                  <a:pt x="12406" y="13844"/>
                  <a:pt x="12406" y="13875"/>
                  <a:pt x="12437" y="13906"/>
                </a:cubicBezTo>
                <a:close/>
                <a:moveTo>
                  <a:pt x="12437" y="13719"/>
                </a:moveTo>
                <a:cubicBezTo>
                  <a:pt x="12437" y="13687"/>
                  <a:pt x="12468" y="13687"/>
                  <a:pt x="12468" y="13687"/>
                </a:cubicBezTo>
                <a:cubicBezTo>
                  <a:pt x="12468" y="13719"/>
                  <a:pt x="12468" y="13750"/>
                  <a:pt x="12437" y="13719"/>
                </a:cubicBezTo>
                <a:cubicBezTo>
                  <a:pt x="12437" y="13719"/>
                  <a:pt x="12437" y="13719"/>
                  <a:pt x="12437" y="13719"/>
                </a:cubicBezTo>
                <a:close/>
                <a:moveTo>
                  <a:pt x="12437" y="14000"/>
                </a:moveTo>
                <a:cubicBezTo>
                  <a:pt x="12437" y="14031"/>
                  <a:pt x="12437" y="14031"/>
                  <a:pt x="12406" y="14062"/>
                </a:cubicBezTo>
                <a:cubicBezTo>
                  <a:pt x="12343" y="14062"/>
                  <a:pt x="12312" y="14125"/>
                  <a:pt x="12250" y="14125"/>
                </a:cubicBezTo>
                <a:cubicBezTo>
                  <a:pt x="12250" y="14062"/>
                  <a:pt x="12281" y="14031"/>
                  <a:pt x="12312" y="14031"/>
                </a:cubicBezTo>
                <a:cubicBezTo>
                  <a:pt x="12343" y="14000"/>
                  <a:pt x="12343" y="14000"/>
                  <a:pt x="12375" y="14000"/>
                </a:cubicBezTo>
                <a:cubicBezTo>
                  <a:pt x="12406" y="13969"/>
                  <a:pt x="12406" y="13969"/>
                  <a:pt x="12437" y="13969"/>
                </a:cubicBezTo>
                <a:cubicBezTo>
                  <a:pt x="12437" y="14000"/>
                  <a:pt x="12437" y="14000"/>
                  <a:pt x="12437" y="14000"/>
                </a:cubicBezTo>
                <a:close/>
                <a:moveTo>
                  <a:pt x="12156" y="13750"/>
                </a:moveTo>
                <a:cubicBezTo>
                  <a:pt x="12156" y="13750"/>
                  <a:pt x="12156" y="13750"/>
                  <a:pt x="12156" y="13750"/>
                </a:cubicBezTo>
                <a:cubicBezTo>
                  <a:pt x="12187" y="13781"/>
                  <a:pt x="12156" y="13781"/>
                  <a:pt x="12156" y="13781"/>
                </a:cubicBezTo>
                <a:cubicBezTo>
                  <a:pt x="12125" y="13812"/>
                  <a:pt x="12062" y="13844"/>
                  <a:pt x="12031" y="13844"/>
                </a:cubicBezTo>
                <a:cubicBezTo>
                  <a:pt x="12031" y="13781"/>
                  <a:pt x="12093" y="13750"/>
                  <a:pt x="12156" y="13750"/>
                </a:cubicBezTo>
                <a:close/>
                <a:moveTo>
                  <a:pt x="11968" y="13844"/>
                </a:moveTo>
                <a:cubicBezTo>
                  <a:pt x="11968" y="13844"/>
                  <a:pt x="12000" y="13844"/>
                  <a:pt x="12031" y="13844"/>
                </a:cubicBezTo>
                <a:cubicBezTo>
                  <a:pt x="12031" y="13875"/>
                  <a:pt x="12000" y="13875"/>
                  <a:pt x="12000" y="13906"/>
                </a:cubicBezTo>
                <a:cubicBezTo>
                  <a:pt x="11968" y="13906"/>
                  <a:pt x="11968" y="13937"/>
                  <a:pt x="11937" y="13906"/>
                </a:cubicBezTo>
                <a:cubicBezTo>
                  <a:pt x="11937" y="13906"/>
                  <a:pt x="11906" y="13875"/>
                  <a:pt x="11906" y="13875"/>
                </a:cubicBezTo>
                <a:cubicBezTo>
                  <a:pt x="11906" y="13844"/>
                  <a:pt x="11937" y="13844"/>
                  <a:pt x="11968" y="13844"/>
                </a:cubicBezTo>
                <a:close/>
                <a:moveTo>
                  <a:pt x="11906" y="14250"/>
                </a:moveTo>
                <a:cubicBezTo>
                  <a:pt x="11875" y="14250"/>
                  <a:pt x="11875" y="14281"/>
                  <a:pt x="11843" y="14281"/>
                </a:cubicBezTo>
                <a:cubicBezTo>
                  <a:pt x="11843" y="14281"/>
                  <a:pt x="11812" y="14250"/>
                  <a:pt x="11812" y="14250"/>
                </a:cubicBezTo>
                <a:cubicBezTo>
                  <a:pt x="11812" y="14219"/>
                  <a:pt x="11812" y="14219"/>
                  <a:pt x="11843" y="14219"/>
                </a:cubicBezTo>
                <a:cubicBezTo>
                  <a:pt x="11875" y="14219"/>
                  <a:pt x="11906" y="14156"/>
                  <a:pt x="11906" y="14156"/>
                </a:cubicBezTo>
                <a:cubicBezTo>
                  <a:pt x="11906" y="14156"/>
                  <a:pt x="11906" y="14125"/>
                  <a:pt x="11875" y="14125"/>
                </a:cubicBezTo>
                <a:cubicBezTo>
                  <a:pt x="11843" y="14156"/>
                  <a:pt x="11812" y="14187"/>
                  <a:pt x="11750" y="14219"/>
                </a:cubicBezTo>
                <a:cubicBezTo>
                  <a:pt x="11750" y="14219"/>
                  <a:pt x="11718" y="14219"/>
                  <a:pt x="11687" y="14187"/>
                </a:cubicBezTo>
                <a:cubicBezTo>
                  <a:pt x="11687" y="14187"/>
                  <a:pt x="11687" y="14187"/>
                  <a:pt x="11687" y="14187"/>
                </a:cubicBezTo>
                <a:cubicBezTo>
                  <a:pt x="11687" y="14187"/>
                  <a:pt x="11687" y="14187"/>
                  <a:pt x="11687" y="14187"/>
                </a:cubicBezTo>
                <a:cubicBezTo>
                  <a:pt x="11687" y="14156"/>
                  <a:pt x="11687" y="14156"/>
                  <a:pt x="11718" y="14156"/>
                </a:cubicBezTo>
                <a:cubicBezTo>
                  <a:pt x="11750" y="14156"/>
                  <a:pt x="11781" y="14125"/>
                  <a:pt x="11781" y="14094"/>
                </a:cubicBezTo>
                <a:cubicBezTo>
                  <a:pt x="11781" y="14094"/>
                  <a:pt x="11781" y="14062"/>
                  <a:pt x="11781" y="14062"/>
                </a:cubicBezTo>
                <a:cubicBezTo>
                  <a:pt x="11781" y="14062"/>
                  <a:pt x="11781" y="14094"/>
                  <a:pt x="11781" y="14094"/>
                </a:cubicBezTo>
                <a:cubicBezTo>
                  <a:pt x="11843" y="14062"/>
                  <a:pt x="11875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31"/>
                  <a:pt x="11906" y="14000"/>
                  <a:pt x="11937" y="13969"/>
                </a:cubicBezTo>
                <a:cubicBezTo>
                  <a:pt x="12000" y="13969"/>
                  <a:pt x="12031" y="13937"/>
                  <a:pt x="12062" y="13906"/>
                </a:cubicBezTo>
                <a:cubicBezTo>
                  <a:pt x="12093" y="13875"/>
                  <a:pt x="12125" y="13875"/>
                  <a:pt x="12156" y="13906"/>
                </a:cubicBezTo>
                <a:cubicBezTo>
                  <a:pt x="12156" y="13937"/>
                  <a:pt x="12125" y="13937"/>
                  <a:pt x="12125" y="13969"/>
                </a:cubicBezTo>
                <a:cubicBezTo>
                  <a:pt x="12062" y="13969"/>
                  <a:pt x="12031" y="13969"/>
                  <a:pt x="12031" y="14062"/>
                </a:cubicBezTo>
                <a:cubicBezTo>
                  <a:pt x="12000" y="14031"/>
                  <a:pt x="11968" y="14062"/>
                  <a:pt x="11906" y="14062"/>
                </a:cubicBezTo>
                <a:lnTo>
                  <a:pt x="11906" y="14062"/>
                </a:lnTo>
                <a:cubicBezTo>
                  <a:pt x="11906" y="14062"/>
                  <a:pt x="11906" y="14062"/>
                  <a:pt x="11906" y="14062"/>
                </a:cubicBezTo>
                <a:cubicBezTo>
                  <a:pt x="11937" y="14094"/>
                  <a:pt x="11875" y="14125"/>
                  <a:pt x="11875" y="14125"/>
                </a:cubicBezTo>
                <a:cubicBezTo>
                  <a:pt x="11906" y="14125"/>
                  <a:pt x="11906" y="14156"/>
                  <a:pt x="11906" y="14156"/>
                </a:cubicBezTo>
                <a:cubicBezTo>
                  <a:pt x="11968" y="14125"/>
                  <a:pt x="12031" y="14125"/>
                  <a:pt x="12031" y="14062"/>
                </a:cubicBezTo>
                <a:cubicBezTo>
                  <a:pt x="12062" y="14031"/>
                  <a:pt x="12125" y="14031"/>
                  <a:pt x="12125" y="13969"/>
                </a:cubicBezTo>
                <a:cubicBezTo>
                  <a:pt x="12187" y="13969"/>
                  <a:pt x="12250" y="13906"/>
                  <a:pt x="12343" y="13937"/>
                </a:cubicBezTo>
                <a:cubicBezTo>
                  <a:pt x="12312" y="14000"/>
                  <a:pt x="12250" y="14000"/>
                  <a:pt x="12187" y="14031"/>
                </a:cubicBezTo>
                <a:cubicBezTo>
                  <a:pt x="12156" y="14062"/>
                  <a:pt x="12125" y="14062"/>
                  <a:pt x="12125" y="14125"/>
                </a:cubicBezTo>
                <a:cubicBezTo>
                  <a:pt x="12125" y="14125"/>
                  <a:pt x="12125" y="14125"/>
                  <a:pt x="12125" y="14125"/>
                </a:cubicBezTo>
                <a:cubicBezTo>
                  <a:pt x="12125" y="14125"/>
                  <a:pt x="12125" y="14125"/>
                  <a:pt x="12125" y="14125"/>
                </a:cubicBezTo>
                <a:cubicBezTo>
                  <a:pt x="12125" y="14125"/>
                  <a:pt x="12125" y="14125"/>
                  <a:pt x="12093" y="14125"/>
                </a:cubicBezTo>
                <a:cubicBezTo>
                  <a:pt x="12093" y="14125"/>
                  <a:pt x="12093" y="14125"/>
                  <a:pt x="12093" y="14125"/>
                </a:cubicBezTo>
                <a:cubicBezTo>
                  <a:pt x="12093" y="14125"/>
                  <a:pt x="12093" y="14125"/>
                  <a:pt x="12093" y="14125"/>
                </a:cubicBezTo>
                <a:cubicBezTo>
                  <a:pt x="12093" y="14125"/>
                  <a:pt x="12093" y="14125"/>
                  <a:pt x="12062" y="14125"/>
                </a:cubicBezTo>
                <a:cubicBezTo>
                  <a:pt x="12062" y="14125"/>
                  <a:pt x="12031" y="14125"/>
                  <a:pt x="12031" y="14125"/>
                </a:cubicBezTo>
                <a:cubicBezTo>
                  <a:pt x="12031" y="14219"/>
                  <a:pt x="11937" y="14187"/>
                  <a:pt x="11906" y="14250"/>
                </a:cubicBezTo>
                <a:close/>
                <a:moveTo>
                  <a:pt x="12000" y="14687"/>
                </a:moveTo>
                <a:cubicBezTo>
                  <a:pt x="12000" y="14687"/>
                  <a:pt x="11968" y="14687"/>
                  <a:pt x="11968" y="14687"/>
                </a:cubicBezTo>
                <a:cubicBezTo>
                  <a:pt x="11968" y="14656"/>
                  <a:pt x="11968" y="14656"/>
                  <a:pt x="11968" y="14625"/>
                </a:cubicBezTo>
                <a:cubicBezTo>
                  <a:pt x="11968" y="14594"/>
                  <a:pt x="12000" y="14594"/>
                  <a:pt x="12000" y="14594"/>
                </a:cubicBezTo>
                <a:cubicBezTo>
                  <a:pt x="12031" y="14625"/>
                  <a:pt x="12031" y="14625"/>
                  <a:pt x="12031" y="14625"/>
                </a:cubicBezTo>
                <a:cubicBezTo>
                  <a:pt x="12031" y="14656"/>
                  <a:pt x="12031" y="14656"/>
                  <a:pt x="12000" y="14687"/>
                </a:cubicBezTo>
                <a:close/>
                <a:moveTo>
                  <a:pt x="12125" y="14250"/>
                </a:moveTo>
                <a:cubicBezTo>
                  <a:pt x="12093" y="14250"/>
                  <a:pt x="12062" y="14250"/>
                  <a:pt x="12031" y="14250"/>
                </a:cubicBezTo>
                <a:cubicBezTo>
                  <a:pt x="12031" y="14250"/>
                  <a:pt x="12031" y="14250"/>
                  <a:pt x="12031" y="14250"/>
                </a:cubicBezTo>
                <a:cubicBezTo>
                  <a:pt x="12031" y="14250"/>
                  <a:pt x="12031" y="14250"/>
                  <a:pt x="12031" y="14250"/>
                </a:cubicBezTo>
                <a:cubicBezTo>
                  <a:pt x="12000" y="14250"/>
                  <a:pt x="12000" y="14250"/>
                  <a:pt x="11968" y="14250"/>
                </a:cubicBezTo>
                <a:cubicBezTo>
                  <a:pt x="12000" y="14250"/>
                  <a:pt x="12000" y="14250"/>
                  <a:pt x="12031" y="14250"/>
                </a:cubicBezTo>
                <a:cubicBezTo>
                  <a:pt x="12031" y="14219"/>
                  <a:pt x="12062" y="14187"/>
                  <a:pt x="12093" y="14187"/>
                </a:cubicBezTo>
                <a:cubicBezTo>
                  <a:pt x="12093" y="14187"/>
                  <a:pt x="12125" y="14219"/>
                  <a:pt x="12125" y="14250"/>
                </a:cubicBezTo>
                <a:cubicBezTo>
                  <a:pt x="12125" y="14250"/>
                  <a:pt x="12125" y="14250"/>
                  <a:pt x="12156" y="14219"/>
                </a:cubicBezTo>
                <a:cubicBezTo>
                  <a:pt x="12125" y="14250"/>
                  <a:pt x="12125" y="14250"/>
                  <a:pt x="12125" y="14250"/>
                </a:cubicBezTo>
                <a:close/>
                <a:moveTo>
                  <a:pt x="12187" y="14187"/>
                </a:moveTo>
                <a:cubicBezTo>
                  <a:pt x="12187" y="14219"/>
                  <a:pt x="12156" y="14219"/>
                  <a:pt x="12156" y="14219"/>
                </a:cubicBezTo>
                <a:cubicBezTo>
                  <a:pt x="12156" y="14219"/>
                  <a:pt x="12156" y="14219"/>
                  <a:pt x="12156" y="14219"/>
                </a:cubicBezTo>
                <a:cubicBezTo>
                  <a:pt x="12156" y="14125"/>
                  <a:pt x="12156" y="14094"/>
                  <a:pt x="12250" y="14125"/>
                </a:cubicBezTo>
                <a:cubicBezTo>
                  <a:pt x="12250" y="14156"/>
                  <a:pt x="12218" y="14156"/>
                  <a:pt x="12187" y="14187"/>
                </a:cubicBezTo>
                <a:close/>
                <a:moveTo>
                  <a:pt x="12281" y="14500"/>
                </a:moveTo>
                <a:cubicBezTo>
                  <a:pt x="12281" y="14500"/>
                  <a:pt x="12281" y="14500"/>
                  <a:pt x="12281" y="14500"/>
                </a:cubicBezTo>
                <a:cubicBezTo>
                  <a:pt x="12312" y="14500"/>
                  <a:pt x="12312" y="14500"/>
                  <a:pt x="12312" y="14500"/>
                </a:cubicBezTo>
                <a:cubicBezTo>
                  <a:pt x="12312" y="14500"/>
                  <a:pt x="12312" y="14500"/>
                  <a:pt x="12281" y="14500"/>
                </a:cubicBezTo>
                <a:close/>
                <a:moveTo>
                  <a:pt x="12406" y="14187"/>
                </a:moveTo>
                <a:cubicBezTo>
                  <a:pt x="12375" y="14156"/>
                  <a:pt x="12375" y="14187"/>
                  <a:pt x="12343" y="14219"/>
                </a:cubicBezTo>
                <a:cubicBezTo>
                  <a:pt x="12312" y="14250"/>
                  <a:pt x="12281" y="14281"/>
                  <a:pt x="12250" y="14219"/>
                </a:cubicBezTo>
                <a:cubicBezTo>
                  <a:pt x="12250" y="14219"/>
                  <a:pt x="12250" y="14219"/>
                  <a:pt x="12250" y="14219"/>
                </a:cubicBezTo>
                <a:cubicBezTo>
                  <a:pt x="12312" y="14156"/>
                  <a:pt x="12375" y="14125"/>
                  <a:pt x="12468" y="14125"/>
                </a:cubicBezTo>
                <a:cubicBezTo>
                  <a:pt x="12468" y="14156"/>
                  <a:pt x="12468" y="14187"/>
                  <a:pt x="12406" y="14187"/>
                </a:cubicBezTo>
                <a:close/>
                <a:moveTo>
                  <a:pt x="12468" y="14812"/>
                </a:moveTo>
                <a:cubicBezTo>
                  <a:pt x="12468" y="14812"/>
                  <a:pt x="12468" y="14812"/>
                  <a:pt x="12468" y="14812"/>
                </a:cubicBezTo>
                <a:cubicBezTo>
                  <a:pt x="12468" y="14812"/>
                  <a:pt x="12468" y="14812"/>
                  <a:pt x="12468" y="14812"/>
                </a:cubicBezTo>
                <a:cubicBezTo>
                  <a:pt x="12500" y="14812"/>
                  <a:pt x="12531" y="14812"/>
                  <a:pt x="12531" y="14781"/>
                </a:cubicBezTo>
                <a:cubicBezTo>
                  <a:pt x="12531" y="14812"/>
                  <a:pt x="12500" y="14812"/>
                  <a:pt x="12468" y="14812"/>
                </a:cubicBezTo>
                <a:close/>
                <a:moveTo>
                  <a:pt x="12500" y="14125"/>
                </a:moveTo>
                <a:cubicBezTo>
                  <a:pt x="12500" y="14094"/>
                  <a:pt x="12500" y="14125"/>
                  <a:pt x="12468" y="14125"/>
                </a:cubicBezTo>
                <a:cubicBezTo>
                  <a:pt x="12468" y="14094"/>
                  <a:pt x="12468" y="14062"/>
                  <a:pt x="12500" y="14062"/>
                </a:cubicBezTo>
                <a:cubicBezTo>
                  <a:pt x="12531" y="14062"/>
                  <a:pt x="12531" y="14062"/>
                  <a:pt x="12562" y="14062"/>
                </a:cubicBezTo>
                <a:cubicBezTo>
                  <a:pt x="12562" y="14094"/>
                  <a:pt x="12562" y="14094"/>
                  <a:pt x="12562" y="14094"/>
                </a:cubicBezTo>
                <a:cubicBezTo>
                  <a:pt x="12562" y="14125"/>
                  <a:pt x="12531" y="14125"/>
                  <a:pt x="12500" y="14125"/>
                </a:cubicBezTo>
                <a:close/>
                <a:moveTo>
                  <a:pt x="12562" y="15406"/>
                </a:moveTo>
                <a:cubicBezTo>
                  <a:pt x="12562" y="15406"/>
                  <a:pt x="12562" y="15406"/>
                  <a:pt x="12531" y="15406"/>
                </a:cubicBezTo>
                <a:cubicBezTo>
                  <a:pt x="12562" y="15406"/>
                  <a:pt x="12562" y="15406"/>
                  <a:pt x="12562" y="15406"/>
                </a:cubicBezTo>
                <a:cubicBezTo>
                  <a:pt x="12593" y="15406"/>
                  <a:pt x="12593" y="15375"/>
                  <a:pt x="12593" y="15375"/>
                </a:cubicBezTo>
                <a:cubicBezTo>
                  <a:pt x="12593" y="15375"/>
                  <a:pt x="12593" y="15406"/>
                  <a:pt x="12562" y="15406"/>
                </a:cubicBezTo>
                <a:close/>
                <a:moveTo>
                  <a:pt x="12593" y="14156"/>
                </a:moveTo>
                <a:cubicBezTo>
                  <a:pt x="12593" y="14125"/>
                  <a:pt x="12593" y="14125"/>
                  <a:pt x="12625" y="14125"/>
                </a:cubicBezTo>
                <a:cubicBezTo>
                  <a:pt x="12656" y="14125"/>
                  <a:pt x="12656" y="14125"/>
                  <a:pt x="12656" y="14156"/>
                </a:cubicBezTo>
                <a:cubicBezTo>
                  <a:pt x="12656" y="14156"/>
                  <a:pt x="12656" y="14187"/>
                  <a:pt x="12625" y="14187"/>
                </a:cubicBezTo>
                <a:cubicBezTo>
                  <a:pt x="12625" y="14156"/>
                  <a:pt x="12593" y="14187"/>
                  <a:pt x="12593" y="14156"/>
                </a:cubicBezTo>
                <a:close/>
                <a:moveTo>
                  <a:pt x="12625" y="14750"/>
                </a:moveTo>
                <a:cubicBezTo>
                  <a:pt x="12625" y="14750"/>
                  <a:pt x="12625" y="14750"/>
                  <a:pt x="12625" y="14750"/>
                </a:cubicBezTo>
                <a:cubicBezTo>
                  <a:pt x="12625" y="14750"/>
                  <a:pt x="12625" y="14750"/>
                  <a:pt x="12625" y="14750"/>
                </a:cubicBezTo>
                <a:cubicBezTo>
                  <a:pt x="12625" y="14750"/>
                  <a:pt x="12625" y="14719"/>
                  <a:pt x="12625" y="14719"/>
                </a:cubicBezTo>
                <a:cubicBezTo>
                  <a:pt x="12625" y="14719"/>
                  <a:pt x="12625" y="14750"/>
                  <a:pt x="12625" y="14750"/>
                </a:cubicBezTo>
                <a:cubicBezTo>
                  <a:pt x="12656" y="14750"/>
                  <a:pt x="12656" y="14750"/>
                  <a:pt x="12656" y="14750"/>
                </a:cubicBezTo>
                <a:cubicBezTo>
                  <a:pt x="12656" y="14750"/>
                  <a:pt x="12656" y="14750"/>
                  <a:pt x="12625" y="14750"/>
                </a:cubicBezTo>
                <a:close/>
                <a:moveTo>
                  <a:pt x="12656" y="14062"/>
                </a:moveTo>
                <a:cubicBezTo>
                  <a:pt x="12656" y="14062"/>
                  <a:pt x="12625" y="14094"/>
                  <a:pt x="12625" y="14094"/>
                </a:cubicBezTo>
                <a:cubicBezTo>
                  <a:pt x="12593" y="14062"/>
                  <a:pt x="12593" y="14062"/>
                  <a:pt x="12593" y="14031"/>
                </a:cubicBezTo>
                <a:cubicBezTo>
                  <a:pt x="12593" y="14031"/>
                  <a:pt x="12625" y="14000"/>
                  <a:pt x="12625" y="14000"/>
                </a:cubicBezTo>
                <a:cubicBezTo>
                  <a:pt x="12656" y="14000"/>
                  <a:pt x="12656" y="14031"/>
                  <a:pt x="12687" y="14031"/>
                </a:cubicBezTo>
                <a:cubicBezTo>
                  <a:pt x="12687" y="14031"/>
                  <a:pt x="12656" y="14062"/>
                  <a:pt x="12656" y="14062"/>
                </a:cubicBezTo>
                <a:close/>
                <a:moveTo>
                  <a:pt x="12781" y="15844"/>
                </a:moveTo>
                <a:cubicBezTo>
                  <a:pt x="12812" y="15812"/>
                  <a:pt x="12843" y="15844"/>
                  <a:pt x="12843" y="15844"/>
                </a:cubicBezTo>
                <a:cubicBezTo>
                  <a:pt x="12937" y="15844"/>
                  <a:pt x="12968" y="15875"/>
                  <a:pt x="13000" y="15937"/>
                </a:cubicBezTo>
                <a:cubicBezTo>
                  <a:pt x="12906" y="15937"/>
                  <a:pt x="12843" y="15906"/>
                  <a:pt x="12781" y="15844"/>
                </a:cubicBezTo>
                <a:close/>
                <a:moveTo>
                  <a:pt x="12781" y="14281"/>
                </a:moveTo>
                <a:cubicBezTo>
                  <a:pt x="12781" y="14250"/>
                  <a:pt x="12781" y="14250"/>
                  <a:pt x="12812" y="14250"/>
                </a:cubicBezTo>
                <a:cubicBezTo>
                  <a:pt x="12843" y="14250"/>
                  <a:pt x="12843" y="14250"/>
                  <a:pt x="12843" y="14281"/>
                </a:cubicBezTo>
                <a:cubicBezTo>
                  <a:pt x="12843" y="14312"/>
                  <a:pt x="12812" y="14312"/>
                  <a:pt x="12812" y="14312"/>
                </a:cubicBezTo>
                <a:cubicBezTo>
                  <a:pt x="12781" y="14312"/>
                  <a:pt x="12781" y="14312"/>
                  <a:pt x="12781" y="14281"/>
                </a:cubicBezTo>
                <a:close/>
                <a:moveTo>
                  <a:pt x="13156" y="14500"/>
                </a:moveTo>
                <a:cubicBezTo>
                  <a:pt x="13156" y="14500"/>
                  <a:pt x="13156" y="14469"/>
                  <a:pt x="13156" y="14469"/>
                </a:cubicBezTo>
                <a:cubicBezTo>
                  <a:pt x="13156" y="14469"/>
                  <a:pt x="13156" y="14469"/>
                  <a:pt x="13156" y="14469"/>
                </a:cubicBezTo>
                <a:cubicBezTo>
                  <a:pt x="13156" y="14469"/>
                  <a:pt x="13156" y="14500"/>
                  <a:pt x="13156" y="14500"/>
                </a:cubicBezTo>
                <a:close/>
                <a:moveTo>
                  <a:pt x="13156" y="13937"/>
                </a:moveTo>
                <a:cubicBezTo>
                  <a:pt x="13093" y="13937"/>
                  <a:pt x="13031" y="13969"/>
                  <a:pt x="12968" y="14031"/>
                </a:cubicBezTo>
                <a:cubicBezTo>
                  <a:pt x="12937" y="14062"/>
                  <a:pt x="12906" y="14062"/>
                  <a:pt x="12875" y="14094"/>
                </a:cubicBezTo>
                <a:cubicBezTo>
                  <a:pt x="12843" y="14094"/>
                  <a:pt x="12812" y="14094"/>
                  <a:pt x="12812" y="14094"/>
                </a:cubicBezTo>
                <a:cubicBezTo>
                  <a:pt x="12781" y="14031"/>
                  <a:pt x="12718" y="14031"/>
                  <a:pt x="12687" y="14031"/>
                </a:cubicBezTo>
                <a:cubicBezTo>
                  <a:pt x="12687" y="14000"/>
                  <a:pt x="12687" y="13969"/>
                  <a:pt x="12687" y="13969"/>
                </a:cubicBezTo>
                <a:cubicBezTo>
                  <a:pt x="12687" y="13969"/>
                  <a:pt x="12718" y="13969"/>
                  <a:pt x="12718" y="13937"/>
                </a:cubicBezTo>
                <a:lnTo>
                  <a:pt x="12718" y="13937"/>
                </a:lnTo>
                <a:cubicBezTo>
                  <a:pt x="12718" y="13937"/>
                  <a:pt x="12718" y="13937"/>
                  <a:pt x="12718" y="13937"/>
                </a:cubicBezTo>
                <a:cubicBezTo>
                  <a:pt x="12687" y="13906"/>
                  <a:pt x="12687" y="13937"/>
                  <a:pt x="12687" y="13937"/>
                </a:cubicBezTo>
                <a:cubicBezTo>
                  <a:pt x="12656" y="13937"/>
                  <a:pt x="12625" y="13969"/>
                  <a:pt x="12593" y="13937"/>
                </a:cubicBezTo>
                <a:cubicBezTo>
                  <a:pt x="12593" y="13937"/>
                  <a:pt x="12593" y="13937"/>
                  <a:pt x="12593" y="13906"/>
                </a:cubicBezTo>
                <a:cubicBezTo>
                  <a:pt x="12593" y="13906"/>
                  <a:pt x="12593" y="13906"/>
                  <a:pt x="12593" y="13906"/>
                </a:cubicBezTo>
                <a:cubicBezTo>
                  <a:pt x="12625" y="13875"/>
                  <a:pt x="12687" y="13906"/>
                  <a:pt x="12687" y="13875"/>
                </a:cubicBezTo>
                <a:cubicBezTo>
                  <a:pt x="12687" y="13844"/>
                  <a:pt x="12625" y="13844"/>
                  <a:pt x="12593" y="13812"/>
                </a:cubicBezTo>
                <a:cubicBezTo>
                  <a:pt x="12593" y="13812"/>
                  <a:pt x="12625" y="13812"/>
                  <a:pt x="12625" y="13812"/>
                </a:cubicBezTo>
                <a:cubicBezTo>
                  <a:pt x="12656" y="13781"/>
                  <a:pt x="12687" y="13781"/>
                  <a:pt x="12687" y="13750"/>
                </a:cubicBezTo>
                <a:cubicBezTo>
                  <a:pt x="12687" y="13719"/>
                  <a:pt x="12656" y="13750"/>
                  <a:pt x="12625" y="13750"/>
                </a:cubicBezTo>
                <a:cubicBezTo>
                  <a:pt x="12625" y="13719"/>
                  <a:pt x="12593" y="13719"/>
                  <a:pt x="12593" y="13719"/>
                </a:cubicBezTo>
                <a:cubicBezTo>
                  <a:pt x="12562" y="13656"/>
                  <a:pt x="12531" y="13687"/>
                  <a:pt x="12468" y="13687"/>
                </a:cubicBezTo>
                <a:cubicBezTo>
                  <a:pt x="12468" y="13656"/>
                  <a:pt x="12468" y="13656"/>
                  <a:pt x="12437" y="13625"/>
                </a:cubicBezTo>
                <a:cubicBezTo>
                  <a:pt x="12437" y="13625"/>
                  <a:pt x="12406" y="13656"/>
                  <a:pt x="12375" y="13625"/>
                </a:cubicBezTo>
                <a:cubicBezTo>
                  <a:pt x="12375" y="13594"/>
                  <a:pt x="12406" y="13594"/>
                  <a:pt x="12437" y="13562"/>
                </a:cubicBezTo>
                <a:cubicBezTo>
                  <a:pt x="12437" y="13562"/>
                  <a:pt x="12437" y="13562"/>
                  <a:pt x="12437" y="13531"/>
                </a:cubicBezTo>
                <a:cubicBezTo>
                  <a:pt x="12406" y="13531"/>
                  <a:pt x="12375" y="13531"/>
                  <a:pt x="12343" y="13594"/>
                </a:cubicBezTo>
                <a:cubicBezTo>
                  <a:pt x="12343" y="13594"/>
                  <a:pt x="12343" y="13594"/>
                  <a:pt x="12343" y="13594"/>
                </a:cubicBezTo>
                <a:cubicBezTo>
                  <a:pt x="12312" y="13594"/>
                  <a:pt x="12281" y="13594"/>
                  <a:pt x="12250" y="13594"/>
                </a:cubicBezTo>
                <a:cubicBezTo>
                  <a:pt x="12250" y="13562"/>
                  <a:pt x="12250" y="13531"/>
                  <a:pt x="12312" y="13531"/>
                </a:cubicBezTo>
                <a:cubicBezTo>
                  <a:pt x="12343" y="13531"/>
                  <a:pt x="12343" y="13500"/>
                  <a:pt x="12343" y="13469"/>
                </a:cubicBezTo>
                <a:cubicBezTo>
                  <a:pt x="12375" y="13437"/>
                  <a:pt x="12437" y="13469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37" y="13406"/>
                  <a:pt x="12437" y="13406"/>
                  <a:pt x="12437" y="13406"/>
                </a:cubicBezTo>
                <a:cubicBezTo>
                  <a:pt x="12468" y="13406"/>
                  <a:pt x="12500" y="13406"/>
                  <a:pt x="12531" y="13406"/>
                </a:cubicBezTo>
                <a:cubicBezTo>
                  <a:pt x="12531" y="13406"/>
                  <a:pt x="12562" y="13406"/>
                  <a:pt x="12562" y="13437"/>
                </a:cubicBezTo>
                <a:cubicBezTo>
                  <a:pt x="12562" y="13437"/>
                  <a:pt x="12562" y="13469"/>
                  <a:pt x="12531" y="13469"/>
                </a:cubicBezTo>
                <a:cubicBezTo>
                  <a:pt x="12500" y="13469"/>
                  <a:pt x="12468" y="13437"/>
                  <a:pt x="12468" y="13500"/>
                </a:cubicBezTo>
                <a:cubicBezTo>
                  <a:pt x="12500" y="13531"/>
                  <a:pt x="12531" y="13500"/>
                  <a:pt x="12531" y="13500"/>
                </a:cubicBezTo>
                <a:cubicBezTo>
                  <a:pt x="12562" y="13500"/>
                  <a:pt x="12593" y="13500"/>
                  <a:pt x="12593" y="13469"/>
                </a:cubicBezTo>
                <a:cubicBezTo>
                  <a:pt x="12593" y="13437"/>
                  <a:pt x="12625" y="13469"/>
                  <a:pt x="12656" y="13469"/>
                </a:cubicBezTo>
                <a:cubicBezTo>
                  <a:pt x="12687" y="13469"/>
                  <a:pt x="12687" y="13500"/>
                  <a:pt x="12687" y="13531"/>
                </a:cubicBezTo>
                <a:cubicBezTo>
                  <a:pt x="12750" y="13500"/>
                  <a:pt x="12781" y="13500"/>
                  <a:pt x="12843" y="13531"/>
                </a:cubicBezTo>
                <a:cubicBezTo>
                  <a:pt x="12875" y="13562"/>
                  <a:pt x="12875" y="13594"/>
                  <a:pt x="12843" y="13594"/>
                </a:cubicBezTo>
                <a:cubicBezTo>
                  <a:pt x="12781" y="13625"/>
                  <a:pt x="12812" y="13625"/>
                  <a:pt x="12843" y="13656"/>
                </a:cubicBezTo>
                <a:cubicBezTo>
                  <a:pt x="12937" y="13656"/>
                  <a:pt x="13000" y="13750"/>
                  <a:pt x="13062" y="13781"/>
                </a:cubicBezTo>
                <a:cubicBezTo>
                  <a:pt x="13125" y="13781"/>
                  <a:pt x="13125" y="13844"/>
                  <a:pt x="13187" y="13844"/>
                </a:cubicBezTo>
                <a:cubicBezTo>
                  <a:pt x="13187" y="13844"/>
                  <a:pt x="13218" y="13875"/>
                  <a:pt x="13218" y="13906"/>
                </a:cubicBezTo>
                <a:cubicBezTo>
                  <a:pt x="13187" y="13937"/>
                  <a:pt x="13187" y="13937"/>
                  <a:pt x="13156" y="13937"/>
                </a:cubicBezTo>
                <a:close/>
                <a:moveTo>
                  <a:pt x="13187" y="14531"/>
                </a:moveTo>
                <a:cubicBezTo>
                  <a:pt x="13187" y="14531"/>
                  <a:pt x="13187" y="14531"/>
                  <a:pt x="13187" y="14531"/>
                </a:cubicBezTo>
                <a:cubicBezTo>
                  <a:pt x="13218" y="14531"/>
                  <a:pt x="13218" y="14531"/>
                  <a:pt x="13218" y="14531"/>
                </a:cubicBezTo>
                <a:cubicBezTo>
                  <a:pt x="13218" y="14531"/>
                  <a:pt x="13218" y="14531"/>
                  <a:pt x="13187" y="14531"/>
                </a:cubicBezTo>
                <a:close/>
                <a:moveTo>
                  <a:pt x="14531" y="14406"/>
                </a:moveTo>
                <a:cubicBezTo>
                  <a:pt x="14531" y="14406"/>
                  <a:pt x="14531" y="14437"/>
                  <a:pt x="14531" y="14437"/>
                </a:cubicBezTo>
                <a:cubicBezTo>
                  <a:pt x="14531" y="14437"/>
                  <a:pt x="14531" y="14406"/>
                  <a:pt x="14531" y="14406"/>
                </a:cubicBezTo>
                <a:cubicBezTo>
                  <a:pt x="14531" y="14406"/>
                  <a:pt x="14531" y="14406"/>
                  <a:pt x="14531" y="14406"/>
                </a:cubicBezTo>
                <a:close/>
                <a:moveTo>
                  <a:pt x="14531" y="14406"/>
                </a:moveTo>
                <a:cubicBezTo>
                  <a:pt x="14531" y="14406"/>
                  <a:pt x="14531" y="14406"/>
                  <a:pt x="14531" y="14406"/>
                </a:cubicBezTo>
                <a:cubicBezTo>
                  <a:pt x="14531" y="14406"/>
                  <a:pt x="14500" y="14406"/>
                  <a:pt x="14500" y="14406"/>
                </a:cubicBezTo>
                <a:cubicBezTo>
                  <a:pt x="14500" y="14406"/>
                  <a:pt x="14531" y="14406"/>
                  <a:pt x="14531" y="14406"/>
                </a:cubicBezTo>
                <a:close/>
                <a:moveTo>
                  <a:pt x="14437" y="15062"/>
                </a:moveTo>
                <a:cubicBezTo>
                  <a:pt x="14437" y="15062"/>
                  <a:pt x="14437" y="15062"/>
                  <a:pt x="14437" y="15062"/>
                </a:cubicBezTo>
                <a:cubicBezTo>
                  <a:pt x="14437" y="15062"/>
                  <a:pt x="14437" y="15062"/>
                  <a:pt x="14437" y="15062"/>
                </a:cubicBezTo>
                <a:cubicBezTo>
                  <a:pt x="14437" y="15031"/>
                  <a:pt x="14406" y="15031"/>
                  <a:pt x="14406" y="15031"/>
                </a:cubicBezTo>
                <a:cubicBezTo>
                  <a:pt x="14406" y="15031"/>
                  <a:pt x="14437" y="15031"/>
                  <a:pt x="14437" y="15062"/>
                </a:cubicBezTo>
                <a:close/>
                <a:moveTo>
                  <a:pt x="14406" y="14937"/>
                </a:moveTo>
                <a:cubicBezTo>
                  <a:pt x="14406" y="14937"/>
                  <a:pt x="14406" y="14937"/>
                  <a:pt x="14406" y="14937"/>
                </a:cubicBezTo>
                <a:cubicBezTo>
                  <a:pt x="14406" y="14937"/>
                  <a:pt x="14406" y="14937"/>
                  <a:pt x="14406" y="14906"/>
                </a:cubicBezTo>
                <a:cubicBezTo>
                  <a:pt x="14406" y="14937"/>
                  <a:pt x="14406" y="14937"/>
                  <a:pt x="14406" y="14937"/>
                </a:cubicBezTo>
                <a:close/>
                <a:moveTo>
                  <a:pt x="14312" y="14906"/>
                </a:moveTo>
                <a:cubicBezTo>
                  <a:pt x="14312" y="14906"/>
                  <a:pt x="14312" y="14906"/>
                  <a:pt x="14312" y="14906"/>
                </a:cubicBezTo>
                <a:cubicBezTo>
                  <a:pt x="14312" y="14875"/>
                  <a:pt x="14281" y="14875"/>
                  <a:pt x="14281" y="14875"/>
                </a:cubicBezTo>
                <a:cubicBezTo>
                  <a:pt x="14281" y="14875"/>
                  <a:pt x="14312" y="14875"/>
                  <a:pt x="14312" y="14906"/>
                </a:cubicBezTo>
                <a:close/>
                <a:moveTo>
                  <a:pt x="14250" y="15375"/>
                </a:moveTo>
                <a:cubicBezTo>
                  <a:pt x="14218" y="15375"/>
                  <a:pt x="14218" y="15375"/>
                  <a:pt x="14218" y="15375"/>
                </a:cubicBezTo>
                <a:cubicBezTo>
                  <a:pt x="14218" y="15375"/>
                  <a:pt x="14218" y="15375"/>
                  <a:pt x="14250" y="15375"/>
                </a:cubicBezTo>
                <a:close/>
                <a:moveTo>
                  <a:pt x="14187" y="15719"/>
                </a:moveTo>
                <a:cubicBezTo>
                  <a:pt x="14187" y="15719"/>
                  <a:pt x="14218" y="15719"/>
                  <a:pt x="14218" y="15687"/>
                </a:cubicBezTo>
                <a:cubicBezTo>
                  <a:pt x="14218" y="15719"/>
                  <a:pt x="14187" y="15719"/>
                  <a:pt x="14187" y="15719"/>
                </a:cubicBezTo>
                <a:cubicBezTo>
                  <a:pt x="14156" y="15719"/>
                  <a:pt x="14156" y="15719"/>
                  <a:pt x="14156" y="15719"/>
                </a:cubicBezTo>
                <a:cubicBezTo>
                  <a:pt x="14156" y="15719"/>
                  <a:pt x="14156" y="15719"/>
                  <a:pt x="14187" y="15719"/>
                </a:cubicBezTo>
                <a:close/>
                <a:moveTo>
                  <a:pt x="14000" y="15000"/>
                </a:moveTo>
                <a:cubicBezTo>
                  <a:pt x="14000" y="15000"/>
                  <a:pt x="14000" y="15000"/>
                  <a:pt x="14000" y="15000"/>
                </a:cubicBezTo>
                <a:cubicBezTo>
                  <a:pt x="14000" y="15000"/>
                  <a:pt x="14000" y="15000"/>
                  <a:pt x="14000" y="15000"/>
                </a:cubicBezTo>
                <a:close/>
                <a:moveTo>
                  <a:pt x="13906" y="15625"/>
                </a:moveTo>
                <a:cubicBezTo>
                  <a:pt x="13937" y="15625"/>
                  <a:pt x="13937" y="15625"/>
                  <a:pt x="13937" y="15656"/>
                </a:cubicBezTo>
                <a:cubicBezTo>
                  <a:pt x="13937" y="15625"/>
                  <a:pt x="13937" y="15625"/>
                  <a:pt x="13906" y="15625"/>
                </a:cubicBezTo>
                <a:cubicBezTo>
                  <a:pt x="13906" y="15625"/>
                  <a:pt x="13875" y="15625"/>
                  <a:pt x="13875" y="15625"/>
                </a:cubicBezTo>
                <a:cubicBezTo>
                  <a:pt x="13875" y="15625"/>
                  <a:pt x="13906" y="15625"/>
                  <a:pt x="13906" y="15625"/>
                </a:cubicBezTo>
                <a:close/>
                <a:moveTo>
                  <a:pt x="13656" y="15562"/>
                </a:moveTo>
                <a:cubicBezTo>
                  <a:pt x="13656" y="15562"/>
                  <a:pt x="13656" y="15562"/>
                  <a:pt x="13656" y="15594"/>
                </a:cubicBezTo>
                <a:cubicBezTo>
                  <a:pt x="13656" y="15594"/>
                  <a:pt x="13656" y="15594"/>
                  <a:pt x="13625" y="15594"/>
                </a:cubicBezTo>
                <a:cubicBezTo>
                  <a:pt x="13656" y="15594"/>
                  <a:pt x="13656" y="15594"/>
                  <a:pt x="13656" y="15594"/>
                </a:cubicBezTo>
                <a:cubicBezTo>
                  <a:pt x="13656" y="15562"/>
                  <a:pt x="13656" y="15562"/>
                  <a:pt x="13656" y="15562"/>
                </a:cubicBezTo>
                <a:close/>
                <a:moveTo>
                  <a:pt x="13593" y="15312"/>
                </a:moveTo>
                <a:cubicBezTo>
                  <a:pt x="13593" y="15312"/>
                  <a:pt x="13593" y="15281"/>
                  <a:pt x="13593" y="15281"/>
                </a:cubicBezTo>
                <a:cubicBezTo>
                  <a:pt x="13593" y="15281"/>
                  <a:pt x="13593" y="15312"/>
                  <a:pt x="13593" y="15312"/>
                </a:cubicBezTo>
                <a:close/>
                <a:moveTo>
                  <a:pt x="13343" y="15344"/>
                </a:moveTo>
                <a:cubicBezTo>
                  <a:pt x="13343" y="15344"/>
                  <a:pt x="13343" y="15375"/>
                  <a:pt x="13343" y="15375"/>
                </a:cubicBezTo>
                <a:cubicBezTo>
                  <a:pt x="13343" y="15375"/>
                  <a:pt x="13343" y="15375"/>
                  <a:pt x="13343" y="15375"/>
                </a:cubicBezTo>
                <a:cubicBezTo>
                  <a:pt x="13343" y="15344"/>
                  <a:pt x="13343" y="15344"/>
                  <a:pt x="13343" y="15344"/>
                </a:cubicBezTo>
                <a:cubicBezTo>
                  <a:pt x="13343" y="15344"/>
                  <a:pt x="13343" y="15312"/>
                  <a:pt x="13343" y="15312"/>
                </a:cubicBezTo>
                <a:cubicBezTo>
                  <a:pt x="13343" y="15312"/>
                  <a:pt x="13343" y="15344"/>
                  <a:pt x="13343" y="15344"/>
                </a:cubicBezTo>
                <a:close/>
                <a:moveTo>
                  <a:pt x="13343" y="16031"/>
                </a:moveTo>
                <a:cubicBezTo>
                  <a:pt x="13468" y="16062"/>
                  <a:pt x="13562" y="16125"/>
                  <a:pt x="13656" y="16125"/>
                </a:cubicBezTo>
                <a:cubicBezTo>
                  <a:pt x="13656" y="16125"/>
                  <a:pt x="13656" y="16125"/>
                  <a:pt x="13656" y="16125"/>
                </a:cubicBezTo>
                <a:cubicBezTo>
                  <a:pt x="13656" y="16125"/>
                  <a:pt x="13656" y="16125"/>
                  <a:pt x="13656" y="16125"/>
                </a:cubicBezTo>
                <a:cubicBezTo>
                  <a:pt x="13687" y="16156"/>
                  <a:pt x="13718" y="16156"/>
                  <a:pt x="13750" y="16187"/>
                </a:cubicBezTo>
                <a:cubicBezTo>
                  <a:pt x="13875" y="16250"/>
                  <a:pt x="14062" y="16250"/>
                  <a:pt x="14187" y="16312"/>
                </a:cubicBezTo>
                <a:cubicBezTo>
                  <a:pt x="14218" y="16312"/>
                  <a:pt x="14218" y="16312"/>
                  <a:pt x="14250" y="16281"/>
                </a:cubicBezTo>
                <a:cubicBezTo>
                  <a:pt x="14281" y="16312"/>
                  <a:pt x="14312" y="16312"/>
                  <a:pt x="14343" y="16312"/>
                </a:cubicBezTo>
                <a:cubicBezTo>
                  <a:pt x="14343" y="16312"/>
                  <a:pt x="14343" y="16312"/>
                  <a:pt x="14343" y="16312"/>
                </a:cubicBezTo>
                <a:cubicBezTo>
                  <a:pt x="14437" y="16312"/>
                  <a:pt x="14500" y="16312"/>
                  <a:pt x="14562" y="16281"/>
                </a:cubicBezTo>
                <a:cubicBezTo>
                  <a:pt x="14343" y="16437"/>
                  <a:pt x="13562" y="16219"/>
                  <a:pt x="13343" y="16031"/>
                </a:cubicBezTo>
                <a:close/>
                <a:moveTo>
                  <a:pt x="14593" y="15687"/>
                </a:moveTo>
                <a:cubicBezTo>
                  <a:pt x="14562" y="15687"/>
                  <a:pt x="14531" y="15687"/>
                  <a:pt x="14531" y="15719"/>
                </a:cubicBezTo>
                <a:cubicBezTo>
                  <a:pt x="14531" y="15687"/>
                  <a:pt x="14562" y="15687"/>
                  <a:pt x="14593" y="15687"/>
                </a:cubicBezTo>
                <a:cubicBezTo>
                  <a:pt x="14593" y="15687"/>
                  <a:pt x="14625" y="15687"/>
                  <a:pt x="14625" y="15687"/>
                </a:cubicBezTo>
                <a:cubicBezTo>
                  <a:pt x="14625" y="15687"/>
                  <a:pt x="14593" y="15687"/>
                  <a:pt x="14593" y="15687"/>
                </a:cubicBezTo>
                <a:close/>
                <a:moveTo>
                  <a:pt x="13968" y="16781"/>
                </a:moveTo>
                <a:cubicBezTo>
                  <a:pt x="13906" y="16781"/>
                  <a:pt x="13843" y="16781"/>
                  <a:pt x="13812" y="16750"/>
                </a:cubicBezTo>
                <a:cubicBezTo>
                  <a:pt x="13843" y="16750"/>
                  <a:pt x="13843" y="16750"/>
                  <a:pt x="13875" y="16719"/>
                </a:cubicBezTo>
                <a:cubicBezTo>
                  <a:pt x="13875" y="16719"/>
                  <a:pt x="13875" y="16719"/>
                  <a:pt x="13875" y="16719"/>
                </a:cubicBezTo>
                <a:cubicBezTo>
                  <a:pt x="13968" y="16750"/>
                  <a:pt x="14062" y="16781"/>
                  <a:pt x="14187" y="16781"/>
                </a:cubicBezTo>
                <a:cubicBezTo>
                  <a:pt x="14093" y="16812"/>
                  <a:pt x="14031" y="16812"/>
                  <a:pt x="13968" y="16781"/>
                </a:cubicBezTo>
                <a:close/>
                <a:moveTo>
                  <a:pt x="14218" y="16781"/>
                </a:moveTo>
                <a:cubicBezTo>
                  <a:pt x="14218" y="16781"/>
                  <a:pt x="14250" y="16781"/>
                  <a:pt x="14281" y="16781"/>
                </a:cubicBezTo>
                <a:cubicBezTo>
                  <a:pt x="14250" y="16812"/>
                  <a:pt x="14250" y="16812"/>
                  <a:pt x="14218" y="16781"/>
                </a:cubicBezTo>
                <a:close/>
                <a:moveTo>
                  <a:pt x="14343" y="16781"/>
                </a:moveTo>
                <a:cubicBezTo>
                  <a:pt x="14375" y="16750"/>
                  <a:pt x="14375" y="16750"/>
                  <a:pt x="14437" y="16781"/>
                </a:cubicBezTo>
                <a:cubicBezTo>
                  <a:pt x="14406" y="16781"/>
                  <a:pt x="14375" y="16781"/>
                  <a:pt x="14343" y="16781"/>
                </a:cubicBezTo>
                <a:close/>
                <a:moveTo>
                  <a:pt x="15062" y="16437"/>
                </a:moveTo>
                <a:cubicBezTo>
                  <a:pt x="15062" y="16437"/>
                  <a:pt x="15062" y="16437"/>
                  <a:pt x="15062" y="16437"/>
                </a:cubicBezTo>
                <a:cubicBezTo>
                  <a:pt x="15062" y="16437"/>
                  <a:pt x="15062" y="16437"/>
                  <a:pt x="15062" y="16437"/>
                </a:cubicBezTo>
                <a:cubicBezTo>
                  <a:pt x="15062" y="16437"/>
                  <a:pt x="15062" y="16437"/>
                  <a:pt x="15062" y="16437"/>
                </a:cubicBezTo>
                <a:close/>
                <a:moveTo>
                  <a:pt x="12250" y="17719"/>
                </a:moveTo>
                <a:cubicBezTo>
                  <a:pt x="12187" y="17750"/>
                  <a:pt x="12156" y="17687"/>
                  <a:pt x="12125" y="17687"/>
                </a:cubicBezTo>
                <a:cubicBezTo>
                  <a:pt x="12093" y="17656"/>
                  <a:pt x="12062" y="17625"/>
                  <a:pt x="12125" y="17625"/>
                </a:cubicBezTo>
                <a:cubicBezTo>
                  <a:pt x="12187" y="17594"/>
                  <a:pt x="12250" y="17562"/>
                  <a:pt x="12312" y="17562"/>
                </a:cubicBezTo>
                <a:cubicBezTo>
                  <a:pt x="12312" y="17562"/>
                  <a:pt x="12343" y="17562"/>
                  <a:pt x="12343" y="17531"/>
                </a:cubicBezTo>
                <a:cubicBezTo>
                  <a:pt x="12343" y="17531"/>
                  <a:pt x="12343" y="17531"/>
                  <a:pt x="12343" y="17531"/>
                </a:cubicBezTo>
                <a:cubicBezTo>
                  <a:pt x="12343" y="17531"/>
                  <a:pt x="12343" y="17531"/>
                  <a:pt x="12375" y="17531"/>
                </a:cubicBezTo>
                <a:cubicBezTo>
                  <a:pt x="12375" y="17531"/>
                  <a:pt x="12375" y="17531"/>
                  <a:pt x="12375" y="17531"/>
                </a:cubicBezTo>
                <a:cubicBezTo>
                  <a:pt x="12375" y="17531"/>
                  <a:pt x="12375" y="17531"/>
                  <a:pt x="12375" y="17531"/>
                </a:cubicBezTo>
                <a:cubicBezTo>
                  <a:pt x="12468" y="17500"/>
                  <a:pt x="12562" y="17562"/>
                  <a:pt x="12625" y="17625"/>
                </a:cubicBezTo>
                <a:cubicBezTo>
                  <a:pt x="12500" y="17625"/>
                  <a:pt x="12375" y="17687"/>
                  <a:pt x="12250" y="17719"/>
                </a:cubicBezTo>
                <a:close/>
                <a:moveTo>
                  <a:pt x="13156" y="17875"/>
                </a:moveTo>
                <a:cubicBezTo>
                  <a:pt x="13250" y="17844"/>
                  <a:pt x="13281" y="17906"/>
                  <a:pt x="13343" y="17937"/>
                </a:cubicBezTo>
                <a:cubicBezTo>
                  <a:pt x="13281" y="17937"/>
                  <a:pt x="13218" y="17906"/>
                  <a:pt x="13156" y="17875"/>
                </a:cubicBezTo>
                <a:close/>
                <a:moveTo>
                  <a:pt x="13156" y="18594"/>
                </a:moveTo>
                <a:cubicBezTo>
                  <a:pt x="13156" y="18594"/>
                  <a:pt x="13156" y="18594"/>
                  <a:pt x="13156" y="18594"/>
                </a:cubicBezTo>
                <a:cubicBezTo>
                  <a:pt x="13156" y="18562"/>
                  <a:pt x="13156" y="18562"/>
                  <a:pt x="13156" y="18562"/>
                </a:cubicBezTo>
                <a:cubicBezTo>
                  <a:pt x="13187" y="18562"/>
                  <a:pt x="13187" y="18562"/>
                  <a:pt x="13187" y="18594"/>
                </a:cubicBezTo>
                <a:cubicBezTo>
                  <a:pt x="13187" y="18594"/>
                  <a:pt x="13187" y="18594"/>
                  <a:pt x="13156" y="18594"/>
                </a:cubicBezTo>
                <a:close/>
                <a:moveTo>
                  <a:pt x="8468" y="17656"/>
                </a:moveTo>
                <a:cubicBezTo>
                  <a:pt x="8468" y="17687"/>
                  <a:pt x="8468" y="17687"/>
                  <a:pt x="8468" y="17687"/>
                </a:cubicBezTo>
                <a:cubicBezTo>
                  <a:pt x="8468" y="17687"/>
                  <a:pt x="8468" y="17687"/>
                  <a:pt x="8468" y="17656"/>
                </a:cubicBezTo>
                <a:close/>
                <a:moveTo>
                  <a:pt x="8437" y="19594"/>
                </a:moveTo>
                <a:cubicBezTo>
                  <a:pt x="8437" y="19594"/>
                  <a:pt x="8437" y="19594"/>
                  <a:pt x="8406" y="19594"/>
                </a:cubicBezTo>
                <a:cubicBezTo>
                  <a:pt x="8437" y="19594"/>
                  <a:pt x="8437" y="19594"/>
                  <a:pt x="8437" y="19594"/>
                </a:cubicBezTo>
                <a:cubicBezTo>
                  <a:pt x="8437" y="19594"/>
                  <a:pt x="8437" y="19594"/>
                  <a:pt x="8437" y="19594"/>
                </a:cubicBezTo>
                <a:close/>
                <a:moveTo>
                  <a:pt x="8375" y="18625"/>
                </a:moveTo>
                <a:cubicBezTo>
                  <a:pt x="8406" y="18594"/>
                  <a:pt x="8437" y="18625"/>
                  <a:pt x="8468" y="18656"/>
                </a:cubicBezTo>
                <a:cubicBezTo>
                  <a:pt x="8468" y="18656"/>
                  <a:pt x="8500" y="18656"/>
                  <a:pt x="8500" y="18656"/>
                </a:cubicBezTo>
                <a:cubicBezTo>
                  <a:pt x="8468" y="18687"/>
                  <a:pt x="8468" y="18687"/>
                  <a:pt x="8437" y="18656"/>
                </a:cubicBezTo>
                <a:cubicBezTo>
                  <a:pt x="8406" y="18656"/>
                  <a:pt x="8406" y="18625"/>
                  <a:pt x="8375" y="18625"/>
                </a:cubicBezTo>
                <a:close/>
                <a:moveTo>
                  <a:pt x="8468" y="18750"/>
                </a:moveTo>
                <a:cubicBezTo>
                  <a:pt x="8437" y="18750"/>
                  <a:pt x="8437" y="18750"/>
                  <a:pt x="8437" y="18750"/>
                </a:cubicBezTo>
                <a:cubicBezTo>
                  <a:pt x="8437" y="18750"/>
                  <a:pt x="8406" y="18750"/>
                  <a:pt x="8437" y="18719"/>
                </a:cubicBezTo>
                <a:cubicBezTo>
                  <a:pt x="8437" y="18719"/>
                  <a:pt x="8437" y="18719"/>
                  <a:pt x="8437" y="18719"/>
                </a:cubicBezTo>
                <a:cubicBezTo>
                  <a:pt x="8437" y="18719"/>
                  <a:pt x="8437" y="18719"/>
                  <a:pt x="8468" y="18750"/>
                </a:cubicBezTo>
                <a:close/>
                <a:moveTo>
                  <a:pt x="8406" y="19062"/>
                </a:moveTo>
                <a:cubicBezTo>
                  <a:pt x="8468" y="19062"/>
                  <a:pt x="8468" y="19094"/>
                  <a:pt x="8500" y="19125"/>
                </a:cubicBezTo>
                <a:cubicBezTo>
                  <a:pt x="8468" y="19125"/>
                  <a:pt x="8437" y="19094"/>
                  <a:pt x="8406" y="19062"/>
                </a:cubicBezTo>
                <a:close/>
                <a:moveTo>
                  <a:pt x="8500" y="19469"/>
                </a:moveTo>
                <a:cubicBezTo>
                  <a:pt x="8468" y="19469"/>
                  <a:pt x="8468" y="19469"/>
                  <a:pt x="8468" y="19437"/>
                </a:cubicBezTo>
                <a:cubicBezTo>
                  <a:pt x="8468" y="19437"/>
                  <a:pt x="8500" y="19437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ubicBezTo>
                  <a:pt x="8500" y="19469"/>
                  <a:pt x="8500" y="19469"/>
                  <a:pt x="8500" y="19469"/>
                </a:cubicBezTo>
                <a:close/>
                <a:moveTo>
                  <a:pt x="8562" y="19500"/>
                </a:moveTo>
                <a:cubicBezTo>
                  <a:pt x="8562" y="19469"/>
                  <a:pt x="8531" y="19469"/>
                  <a:pt x="8531" y="19469"/>
                </a:cubicBezTo>
                <a:cubicBezTo>
                  <a:pt x="8531" y="19469"/>
                  <a:pt x="8562" y="19469"/>
                  <a:pt x="8562" y="19500"/>
                </a:cubicBezTo>
                <a:cubicBezTo>
                  <a:pt x="8562" y="19500"/>
                  <a:pt x="8593" y="19500"/>
                  <a:pt x="8593" y="19500"/>
                </a:cubicBezTo>
                <a:cubicBezTo>
                  <a:pt x="8593" y="19500"/>
                  <a:pt x="8562" y="19500"/>
                  <a:pt x="8562" y="19500"/>
                </a:cubicBezTo>
                <a:close/>
                <a:moveTo>
                  <a:pt x="14375" y="19656"/>
                </a:moveTo>
                <a:cubicBezTo>
                  <a:pt x="14375" y="19656"/>
                  <a:pt x="14375" y="19656"/>
                  <a:pt x="14375" y="19656"/>
                </a:cubicBezTo>
                <a:cubicBezTo>
                  <a:pt x="14375" y="19656"/>
                  <a:pt x="14343" y="19656"/>
                  <a:pt x="14343" y="19656"/>
                </a:cubicBezTo>
                <a:cubicBezTo>
                  <a:pt x="14343" y="19656"/>
                  <a:pt x="14375" y="19656"/>
                  <a:pt x="14375" y="19656"/>
                </a:cubicBezTo>
                <a:close/>
                <a:moveTo>
                  <a:pt x="21156" y="19187"/>
                </a:moveTo>
                <a:cubicBezTo>
                  <a:pt x="21156" y="19187"/>
                  <a:pt x="21187" y="19219"/>
                  <a:pt x="21156" y="19219"/>
                </a:cubicBezTo>
                <a:cubicBezTo>
                  <a:pt x="21125" y="19219"/>
                  <a:pt x="21093" y="19219"/>
                  <a:pt x="21062" y="19156"/>
                </a:cubicBezTo>
                <a:cubicBezTo>
                  <a:pt x="21093" y="19187"/>
                  <a:pt x="21156" y="19156"/>
                  <a:pt x="21156" y="19187"/>
                </a:cubicBezTo>
                <a:close/>
                <a:moveTo>
                  <a:pt x="21093" y="19125"/>
                </a:moveTo>
                <a:cubicBezTo>
                  <a:pt x="21062" y="19094"/>
                  <a:pt x="21000" y="19125"/>
                  <a:pt x="20968" y="19062"/>
                </a:cubicBezTo>
                <a:cubicBezTo>
                  <a:pt x="21000" y="19062"/>
                  <a:pt x="21062" y="19062"/>
                  <a:pt x="21093" y="19125"/>
                </a:cubicBezTo>
                <a:close/>
                <a:moveTo>
                  <a:pt x="19343" y="19469"/>
                </a:moveTo>
                <a:cubicBezTo>
                  <a:pt x="19343" y="19469"/>
                  <a:pt x="19343" y="19469"/>
                  <a:pt x="19312" y="19437"/>
                </a:cubicBezTo>
                <a:cubicBezTo>
                  <a:pt x="19312" y="19437"/>
                  <a:pt x="19312" y="19437"/>
                  <a:pt x="19312" y="19437"/>
                </a:cubicBezTo>
                <a:cubicBezTo>
                  <a:pt x="19312" y="19437"/>
                  <a:pt x="19312" y="19437"/>
                  <a:pt x="19312" y="19437"/>
                </a:cubicBezTo>
                <a:cubicBezTo>
                  <a:pt x="19343" y="19437"/>
                  <a:pt x="19343" y="19437"/>
                  <a:pt x="19375" y="19437"/>
                </a:cubicBezTo>
                <a:cubicBezTo>
                  <a:pt x="19375" y="19437"/>
                  <a:pt x="19375" y="19437"/>
                  <a:pt x="19375" y="19437"/>
                </a:cubicBezTo>
                <a:cubicBezTo>
                  <a:pt x="19343" y="19437"/>
                  <a:pt x="19343" y="19437"/>
                  <a:pt x="19312" y="19437"/>
                </a:cubicBezTo>
                <a:cubicBezTo>
                  <a:pt x="19343" y="19469"/>
                  <a:pt x="19343" y="19469"/>
                  <a:pt x="19343" y="19469"/>
                </a:cubicBezTo>
                <a:close/>
                <a:moveTo>
                  <a:pt x="19375" y="19281"/>
                </a:moveTo>
                <a:cubicBezTo>
                  <a:pt x="19312" y="19281"/>
                  <a:pt x="19218" y="19250"/>
                  <a:pt x="19187" y="19219"/>
                </a:cubicBezTo>
                <a:cubicBezTo>
                  <a:pt x="19218" y="19156"/>
                  <a:pt x="19812" y="19219"/>
                  <a:pt x="19906" y="19281"/>
                </a:cubicBezTo>
                <a:cubicBezTo>
                  <a:pt x="19781" y="19250"/>
                  <a:pt x="19687" y="19250"/>
                  <a:pt x="19562" y="19250"/>
                </a:cubicBezTo>
                <a:cubicBezTo>
                  <a:pt x="19562" y="19250"/>
                  <a:pt x="19531" y="19250"/>
                  <a:pt x="19531" y="19250"/>
                </a:cubicBezTo>
                <a:cubicBezTo>
                  <a:pt x="19500" y="19281"/>
                  <a:pt x="19468" y="19250"/>
                  <a:pt x="19468" y="19281"/>
                </a:cubicBezTo>
                <a:cubicBezTo>
                  <a:pt x="19468" y="19344"/>
                  <a:pt x="19500" y="19281"/>
                  <a:pt x="19531" y="19312"/>
                </a:cubicBezTo>
                <a:cubicBezTo>
                  <a:pt x="19656" y="19312"/>
                  <a:pt x="19812" y="19312"/>
                  <a:pt x="19937" y="19344"/>
                </a:cubicBezTo>
                <a:cubicBezTo>
                  <a:pt x="19937" y="19375"/>
                  <a:pt x="19968" y="19344"/>
                  <a:pt x="19968" y="19375"/>
                </a:cubicBezTo>
                <a:cubicBezTo>
                  <a:pt x="19968" y="19406"/>
                  <a:pt x="19968" y="19406"/>
                  <a:pt x="19937" y="19406"/>
                </a:cubicBezTo>
                <a:cubicBezTo>
                  <a:pt x="19781" y="19344"/>
                  <a:pt x="19593" y="19375"/>
                  <a:pt x="19437" y="19375"/>
                </a:cubicBezTo>
                <a:cubicBezTo>
                  <a:pt x="19375" y="19344"/>
                  <a:pt x="19312" y="19344"/>
                  <a:pt x="19250" y="19281"/>
                </a:cubicBezTo>
                <a:cubicBezTo>
                  <a:pt x="19281" y="19281"/>
                  <a:pt x="19343" y="19281"/>
                  <a:pt x="19375" y="19312"/>
                </a:cubicBezTo>
                <a:cubicBezTo>
                  <a:pt x="19375" y="19312"/>
                  <a:pt x="19406" y="19312"/>
                  <a:pt x="19406" y="19281"/>
                </a:cubicBezTo>
                <a:cubicBezTo>
                  <a:pt x="19406" y="19281"/>
                  <a:pt x="19406" y="19281"/>
                  <a:pt x="19375" y="19281"/>
                </a:cubicBezTo>
                <a:close/>
                <a:moveTo>
                  <a:pt x="19843" y="18937"/>
                </a:moveTo>
                <a:cubicBezTo>
                  <a:pt x="19812" y="18937"/>
                  <a:pt x="19781" y="18906"/>
                  <a:pt x="19750" y="18875"/>
                </a:cubicBezTo>
                <a:cubicBezTo>
                  <a:pt x="19812" y="18875"/>
                  <a:pt x="19843" y="18906"/>
                  <a:pt x="19875" y="18906"/>
                </a:cubicBezTo>
                <a:cubicBezTo>
                  <a:pt x="19875" y="18906"/>
                  <a:pt x="19906" y="18969"/>
                  <a:pt x="19843" y="18937"/>
                </a:cubicBezTo>
                <a:close/>
                <a:moveTo>
                  <a:pt x="20531" y="19312"/>
                </a:moveTo>
                <a:cubicBezTo>
                  <a:pt x="20406" y="19281"/>
                  <a:pt x="20250" y="19344"/>
                  <a:pt x="20125" y="19219"/>
                </a:cubicBezTo>
                <a:cubicBezTo>
                  <a:pt x="20187" y="19219"/>
                  <a:pt x="20218" y="19219"/>
                  <a:pt x="20250" y="19219"/>
                </a:cubicBezTo>
                <a:cubicBezTo>
                  <a:pt x="20218" y="19187"/>
                  <a:pt x="20187" y="19187"/>
                  <a:pt x="20125" y="19187"/>
                </a:cubicBezTo>
                <a:cubicBezTo>
                  <a:pt x="20062" y="19156"/>
                  <a:pt x="20000" y="19156"/>
                  <a:pt x="19937" y="19156"/>
                </a:cubicBezTo>
                <a:cubicBezTo>
                  <a:pt x="19937" y="19156"/>
                  <a:pt x="19937" y="19156"/>
                  <a:pt x="19937" y="19125"/>
                </a:cubicBezTo>
                <a:cubicBezTo>
                  <a:pt x="19968" y="19125"/>
                  <a:pt x="20031" y="19156"/>
                  <a:pt x="20062" y="19094"/>
                </a:cubicBezTo>
                <a:cubicBezTo>
                  <a:pt x="20062" y="19094"/>
                  <a:pt x="20125" y="19094"/>
                  <a:pt x="20156" y="19125"/>
                </a:cubicBezTo>
                <a:cubicBezTo>
                  <a:pt x="20218" y="19125"/>
                  <a:pt x="20343" y="19125"/>
                  <a:pt x="20406" y="19187"/>
                </a:cubicBezTo>
                <a:cubicBezTo>
                  <a:pt x="20375" y="19250"/>
                  <a:pt x="20312" y="19187"/>
                  <a:pt x="20281" y="19219"/>
                </a:cubicBezTo>
                <a:cubicBezTo>
                  <a:pt x="20343" y="19281"/>
                  <a:pt x="20468" y="19219"/>
                  <a:pt x="20531" y="19312"/>
                </a:cubicBezTo>
                <a:close/>
                <a:moveTo>
                  <a:pt x="20562" y="19406"/>
                </a:moveTo>
                <a:cubicBezTo>
                  <a:pt x="20500" y="19406"/>
                  <a:pt x="20437" y="19406"/>
                  <a:pt x="20375" y="19406"/>
                </a:cubicBezTo>
                <a:cubicBezTo>
                  <a:pt x="20312" y="19406"/>
                  <a:pt x="20250" y="19406"/>
                  <a:pt x="20218" y="19344"/>
                </a:cubicBezTo>
                <a:cubicBezTo>
                  <a:pt x="20218" y="19344"/>
                  <a:pt x="20187" y="19312"/>
                  <a:pt x="20250" y="19312"/>
                </a:cubicBezTo>
                <a:cubicBezTo>
                  <a:pt x="20343" y="19375"/>
                  <a:pt x="20468" y="19344"/>
                  <a:pt x="20562" y="19375"/>
                </a:cubicBezTo>
                <a:cubicBezTo>
                  <a:pt x="20593" y="19375"/>
                  <a:pt x="20625" y="19375"/>
                  <a:pt x="20593" y="19406"/>
                </a:cubicBezTo>
                <a:cubicBezTo>
                  <a:pt x="20593" y="19437"/>
                  <a:pt x="20593" y="19406"/>
                  <a:pt x="20562" y="19406"/>
                </a:cubicBezTo>
                <a:close/>
                <a:moveTo>
                  <a:pt x="20656" y="19469"/>
                </a:moveTo>
                <a:cubicBezTo>
                  <a:pt x="20687" y="19469"/>
                  <a:pt x="20687" y="19500"/>
                  <a:pt x="20687" y="19531"/>
                </a:cubicBezTo>
                <a:cubicBezTo>
                  <a:pt x="20687" y="19531"/>
                  <a:pt x="20656" y="19531"/>
                  <a:pt x="20656" y="19500"/>
                </a:cubicBezTo>
                <a:cubicBezTo>
                  <a:pt x="20562" y="19469"/>
                  <a:pt x="20468" y="19531"/>
                  <a:pt x="20375" y="19500"/>
                </a:cubicBezTo>
                <a:cubicBezTo>
                  <a:pt x="20343" y="19500"/>
                  <a:pt x="20312" y="19500"/>
                  <a:pt x="20312" y="19437"/>
                </a:cubicBezTo>
                <a:cubicBezTo>
                  <a:pt x="20406" y="19437"/>
                  <a:pt x="20500" y="19469"/>
                  <a:pt x="20593" y="19469"/>
                </a:cubicBezTo>
                <a:cubicBezTo>
                  <a:pt x="20625" y="19469"/>
                  <a:pt x="20656" y="19469"/>
                  <a:pt x="20656" y="19469"/>
                </a:cubicBezTo>
                <a:close/>
                <a:moveTo>
                  <a:pt x="20187" y="19531"/>
                </a:moveTo>
                <a:cubicBezTo>
                  <a:pt x="20156" y="19531"/>
                  <a:pt x="20125" y="19531"/>
                  <a:pt x="20125" y="19500"/>
                </a:cubicBezTo>
                <a:cubicBezTo>
                  <a:pt x="20093" y="19500"/>
                  <a:pt x="20093" y="19500"/>
                  <a:pt x="20093" y="19500"/>
                </a:cubicBezTo>
                <a:cubicBezTo>
                  <a:pt x="20093" y="19500"/>
                  <a:pt x="20125" y="19500"/>
                  <a:pt x="20125" y="19500"/>
                </a:cubicBezTo>
                <a:cubicBezTo>
                  <a:pt x="20156" y="19500"/>
                  <a:pt x="20187" y="19500"/>
                  <a:pt x="20218" y="19500"/>
                </a:cubicBezTo>
                <a:cubicBezTo>
                  <a:pt x="20187" y="19500"/>
                  <a:pt x="20218" y="19531"/>
                  <a:pt x="20187" y="19531"/>
                </a:cubicBezTo>
                <a:close/>
                <a:moveTo>
                  <a:pt x="20062" y="19500"/>
                </a:moveTo>
                <a:cubicBezTo>
                  <a:pt x="19843" y="19437"/>
                  <a:pt x="19593" y="19500"/>
                  <a:pt x="19375" y="19437"/>
                </a:cubicBezTo>
                <a:cubicBezTo>
                  <a:pt x="19375" y="19437"/>
                  <a:pt x="19375" y="19437"/>
                  <a:pt x="19343" y="19406"/>
                </a:cubicBezTo>
                <a:cubicBezTo>
                  <a:pt x="19468" y="19406"/>
                  <a:pt x="19562" y="19406"/>
                  <a:pt x="19687" y="19437"/>
                </a:cubicBezTo>
                <a:cubicBezTo>
                  <a:pt x="19781" y="19437"/>
                  <a:pt x="19843" y="19437"/>
                  <a:pt x="19937" y="19437"/>
                </a:cubicBezTo>
                <a:cubicBezTo>
                  <a:pt x="20000" y="19437"/>
                  <a:pt x="20031" y="19437"/>
                  <a:pt x="20062" y="19500"/>
                </a:cubicBezTo>
                <a:close/>
                <a:moveTo>
                  <a:pt x="20031" y="19219"/>
                </a:moveTo>
                <a:cubicBezTo>
                  <a:pt x="20031" y="19219"/>
                  <a:pt x="20031" y="19187"/>
                  <a:pt x="20031" y="19187"/>
                </a:cubicBezTo>
                <a:cubicBezTo>
                  <a:pt x="20062" y="19187"/>
                  <a:pt x="20093" y="19219"/>
                  <a:pt x="20093" y="19250"/>
                </a:cubicBezTo>
                <a:cubicBezTo>
                  <a:pt x="20093" y="19250"/>
                  <a:pt x="20062" y="19250"/>
                  <a:pt x="20062" y="19250"/>
                </a:cubicBezTo>
                <a:cubicBezTo>
                  <a:pt x="20031" y="19250"/>
                  <a:pt x="20031" y="19250"/>
                  <a:pt x="20031" y="19219"/>
                </a:cubicBezTo>
                <a:close/>
                <a:moveTo>
                  <a:pt x="20062" y="19344"/>
                </a:moveTo>
                <a:cubicBezTo>
                  <a:pt x="20125" y="19281"/>
                  <a:pt x="20156" y="19344"/>
                  <a:pt x="20218" y="19344"/>
                </a:cubicBezTo>
                <a:cubicBezTo>
                  <a:pt x="20187" y="19406"/>
                  <a:pt x="20156" y="19375"/>
                  <a:pt x="20156" y="19375"/>
                </a:cubicBezTo>
                <a:cubicBezTo>
                  <a:pt x="20125" y="19375"/>
                  <a:pt x="20093" y="19344"/>
                  <a:pt x="20062" y="19344"/>
                </a:cubicBezTo>
                <a:close/>
                <a:moveTo>
                  <a:pt x="20156" y="19437"/>
                </a:moveTo>
                <a:cubicBezTo>
                  <a:pt x="20218" y="19406"/>
                  <a:pt x="20250" y="19406"/>
                  <a:pt x="20281" y="19469"/>
                </a:cubicBezTo>
                <a:cubicBezTo>
                  <a:pt x="20281" y="19500"/>
                  <a:pt x="20218" y="19469"/>
                  <a:pt x="20218" y="19500"/>
                </a:cubicBezTo>
                <a:cubicBezTo>
                  <a:pt x="20187" y="19469"/>
                  <a:pt x="20187" y="19469"/>
                  <a:pt x="20156" y="19437"/>
                </a:cubicBezTo>
                <a:close/>
                <a:moveTo>
                  <a:pt x="19968" y="18969"/>
                </a:moveTo>
                <a:cubicBezTo>
                  <a:pt x="20093" y="19031"/>
                  <a:pt x="20218" y="19000"/>
                  <a:pt x="20343" y="19062"/>
                </a:cubicBezTo>
                <a:cubicBezTo>
                  <a:pt x="20000" y="19031"/>
                  <a:pt x="20000" y="19031"/>
                  <a:pt x="19968" y="18969"/>
                </a:cubicBezTo>
                <a:close/>
                <a:moveTo>
                  <a:pt x="19968" y="19094"/>
                </a:moveTo>
                <a:cubicBezTo>
                  <a:pt x="19937" y="19062"/>
                  <a:pt x="19875" y="19031"/>
                  <a:pt x="19843" y="19000"/>
                </a:cubicBezTo>
                <a:cubicBezTo>
                  <a:pt x="19875" y="19000"/>
                  <a:pt x="19937" y="19031"/>
                  <a:pt x="19968" y="19094"/>
                </a:cubicBezTo>
                <a:close/>
                <a:moveTo>
                  <a:pt x="19875" y="19125"/>
                </a:moveTo>
                <a:cubicBezTo>
                  <a:pt x="19812" y="19125"/>
                  <a:pt x="19781" y="19094"/>
                  <a:pt x="19781" y="19062"/>
                </a:cubicBezTo>
                <a:cubicBezTo>
                  <a:pt x="19781" y="19062"/>
                  <a:pt x="19781" y="19062"/>
                  <a:pt x="19781" y="19062"/>
                </a:cubicBezTo>
                <a:cubicBezTo>
                  <a:pt x="19812" y="19062"/>
                  <a:pt x="19843" y="19062"/>
                  <a:pt x="19875" y="19094"/>
                </a:cubicBezTo>
                <a:cubicBezTo>
                  <a:pt x="19875" y="19094"/>
                  <a:pt x="19875" y="19125"/>
                  <a:pt x="19875" y="19125"/>
                </a:cubicBezTo>
                <a:close/>
                <a:moveTo>
                  <a:pt x="19750" y="19125"/>
                </a:moveTo>
                <a:cubicBezTo>
                  <a:pt x="19781" y="19125"/>
                  <a:pt x="19812" y="19156"/>
                  <a:pt x="19812" y="19187"/>
                </a:cubicBezTo>
                <a:cubicBezTo>
                  <a:pt x="19812" y="19187"/>
                  <a:pt x="19812" y="19187"/>
                  <a:pt x="19812" y="19187"/>
                </a:cubicBezTo>
                <a:cubicBezTo>
                  <a:pt x="19812" y="19187"/>
                  <a:pt x="19812" y="19187"/>
                  <a:pt x="19781" y="19187"/>
                </a:cubicBezTo>
                <a:cubicBezTo>
                  <a:pt x="19812" y="19187"/>
                  <a:pt x="19812" y="19187"/>
                  <a:pt x="19812" y="19187"/>
                </a:cubicBezTo>
                <a:cubicBezTo>
                  <a:pt x="19812" y="19187"/>
                  <a:pt x="19781" y="19187"/>
                  <a:pt x="19781" y="19187"/>
                </a:cubicBezTo>
                <a:cubicBezTo>
                  <a:pt x="19625" y="19156"/>
                  <a:pt x="19468" y="19125"/>
                  <a:pt x="19312" y="19125"/>
                </a:cubicBezTo>
                <a:cubicBezTo>
                  <a:pt x="19218" y="19125"/>
                  <a:pt x="19156" y="19125"/>
                  <a:pt x="19062" y="19125"/>
                </a:cubicBezTo>
                <a:cubicBezTo>
                  <a:pt x="19031" y="19094"/>
                  <a:pt x="19031" y="19094"/>
                  <a:pt x="19031" y="19062"/>
                </a:cubicBezTo>
                <a:cubicBezTo>
                  <a:pt x="19031" y="19062"/>
                  <a:pt x="19062" y="19062"/>
                  <a:pt x="19062" y="19062"/>
                </a:cubicBezTo>
                <a:cubicBezTo>
                  <a:pt x="19250" y="19094"/>
                  <a:pt x="19468" y="19062"/>
                  <a:pt x="19656" y="19125"/>
                </a:cubicBezTo>
                <a:cubicBezTo>
                  <a:pt x="19687" y="19125"/>
                  <a:pt x="19718" y="19125"/>
                  <a:pt x="19750" y="19125"/>
                </a:cubicBezTo>
                <a:close/>
                <a:moveTo>
                  <a:pt x="19437" y="19500"/>
                </a:moveTo>
                <a:cubicBezTo>
                  <a:pt x="19437" y="19500"/>
                  <a:pt x="19468" y="19531"/>
                  <a:pt x="19500" y="19531"/>
                </a:cubicBezTo>
                <a:cubicBezTo>
                  <a:pt x="19500" y="19500"/>
                  <a:pt x="19531" y="19500"/>
                  <a:pt x="19562" y="19531"/>
                </a:cubicBezTo>
                <a:cubicBezTo>
                  <a:pt x="19562" y="19531"/>
                  <a:pt x="19593" y="19531"/>
                  <a:pt x="19625" y="19531"/>
                </a:cubicBezTo>
                <a:cubicBezTo>
                  <a:pt x="19625" y="19500"/>
                  <a:pt x="19625" y="19500"/>
                  <a:pt x="19656" y="19500"/>
                </a:cubicBezTo>
                <a:cubicBezTo>
                  <a:pt x="19656" y="19531"/>
                  <a:pt x="19687" y="19531"/>
                  <a:pt x="19718" y="19531"/>
                </a:cubicBezTo>
                <a:cubicBezTo>
                  <a:pt x="19750" y="19531"/>
                  <a:pt x="19750" y="19531"/>
                  <a:pt x="19781" y="19500"/>
                </a:cubicBezTo>
                <a:cubicBezTo>
                  <a:pt x="19781" y="19500"/>
                  <a:pt x="19781" y="19531"/>
                  <a:pt x="19781" y="19531"/>
                </a:cubicBezTo>
                <a:cubicBezTo>
                  <a:pt x="19781" y="19500"/>
                  <a:pt x="19781" y="19500"/>
                  <a:pt x="19781" y="19500"/>
                </a:cubicBezTo>
                <a:cubicBezTo>
                  <a:pt x="19781" y="19531"/>
                  <a:pt x="19812" y="19531"/>
                  <a:pt x="19812" y="19531"/>
                </a:cubicBezTo>
                <a:cubicBezTo>
                  <a:pt x="19812" y="19531"/>
                  <a:pt x="19843" y="19531"/>
                  <a:pt x="19843" y="19531"/>
                </a:cubicBezTo>
                <a:cubicBezTo>
                  <a:pt x="19843" y="19531"/>
                  <a:pt x="19875" y="19531"/>
                  <a:pt x="19875" y="19531"/>
                </a:cubicBezTo>
                <a:cubicBezTo>
                  <a:pt x="19875" y="19531"/>
                  <a:pt x="19875" y="19531"/>
                  <a:pt x="19875" y="19531"/>
                </a:cubicBezTo>
                <a:cubicBezTo>
                  <a:pt x="19875" y="19531"/>
                  <a:pt x="19875" y="19531"/>
                  <a:pt x="19906" y="19531"/>
                </a:cubicBezTo>
                <a:cubicBezTo>
                  <a:pt x="19968" y="19531"/>
                  <a:pt x="20031" y="19531"/>
                  <a:pt x="20093" y="19562"/>
                </a:cubicBezTo>
                <a:cubicBezTo>
                  <a:pt x="20093" y="19562"/>
                  <a:pt x="20125" y="19562"/>
                  <a:pt x="20125" y="19594"/>
                </a:cubicBezTo>
                <a:cubicBezTo>
                  <a:pt x="20093" y="19594"/>
                  <a:pt x="20093" y="19594"/>
                  <a:pt x="20062" y="19594"/>
                </a:cubicBezTo>
                <a:cubicBezTo>
                  <a:pt x="19937" y="19594"/>
                  <a:pt x="19781" y="19562"/>
                  <a:pt x="19656" y="19594"/>
                </a:cubicBezTo>
                <a:cubicBezTo>
                  <a:pt x="19593" y="19594"/>
                  <a:pt x="19531" y="19562"/>
                  <a:pt x="19500" y="19531"/>
                </a:cubicBezTo>
                <a:cubicBezTo>
                  <a:pt x="19468" y="19531"/>
                  <a:pt x="19437" y="19500"/>
                  <a:pt x="19437" y="19500"/>
                </a:cubicBezTo>
                <a:cubicBezTo>
                  <a:pt x="19406" y="19500"/>
                  <a:pt x="19375" y="19500"/>
                  <a:pt x="19375" y="19500"/>
                </a:cubicBezTo>
                <a:cubicBezTo>
                  <a:pt x="19375" y="19500"/>
                  <a:pt x="19406" y="19500"/>
                  <a:pt x="19437" y="19500"/>
                </a:cubicBezTo>
                <a:close/>
                <a:moveTo>
                  <a:pt x="20218" y="19687"/>
                </a:moveTo>
                <a:cubicBezTo>
                  <a:pt x="20000" y="19656"/>
                  <a:pt x="19750" y="19719"/>
                  <a:pt x="19562" y="19625"/>
                </a:cubicBezTo>
                <a:cubicBezTo>
                  <a:pt x="19781" y="19656"/>
                  <a:pt x="20000" y="19625"/>
                  <a:pt x="20218" y="19687"/>
                </a:cubicBezTo>
                <a:close/>
                <a:moveTo>
                  <a:pt x="19656" y="19719"/>
                </a:moveTo>
                <a:cubicBezTo>
                  <a:pt x="19812" y="19750"/>
                  <a:pt x="19968" y="19719"/>
                  <a:pt x="20093" y="19750"/>
                </a:cubicBezTo>
                <a:cubicBezTo>
                  <a:pt x="20156" y="19750"/>
                  <a:pt x="20218" y="19750"/>
                  <a:pt x="20281" y="19812"/>
                </a:cubicBezTo>
                <a:cubicBezTo>
                  <a:pt x="20093" y="19781"/>
                  <a:pt x="19906" y="19844"/>
                  <a:pt x="19718" y="19781"/>
                </a:cubicBezTo>
                <a:cubicBezTo>
                  <a:pt x="19687" y="19781"/>
                  <a:pt x="19656" y="19781"/>
                  <a:pt x="19656" y="19750"/>
                </a:cubicBezTo>
                <a:cubicBezTo>
                  <a:pt x="19656" y="19750"/>
                  <a:pt x="19656" y="19750"/>
                  <a:pt x="19656" y="19719"/>
                </a:cubicBezTo>
                <a:cubicBezTo>
                  <a:pt x="19656" y="19719"/>
                  <a:pt x="19656" y="19719"/>
                  <a:pt x="19656" y="19719"/>
                </a:cubicBezTo>
                <a:close/>
                <a:moveTo>
                  <a:pt x="20187" y="19625"/>
                </a:moveTo>
                <a:cubicBezTo>
                  <a:pt x="20187" y="19594"/>
                  <a:pt x="20187" y="19594"/>
                  <a:pt x="20187" y="19594"/>
                </a:cubicBezTo>
                <a:cubicBezTo>
                  <a:pt x="20218" y="19594"/>
                  <a:pt x="20250" y="19594"/>
                  <a:pt x="20281" y="19625"/>
                </a:cubicBezTo>
                <a:cubicBezTo>
                  <a:pt x="20250" y="19625"/>
                  <a:pt x="20218" y="19656"/>
                  <a:pt x="20187" y="19625"/>
                </a:cubicBezTo>
                <a:close/>
                <a:moveTo>
                  <a:pt x="20250" y="19531"/>
                </a:moveTo>
                <a:cubicBezTo>
                  <a:pt x="20281" y="19562"/>
                  <a:pt x="20343" y="19531"/>
                  <a:pt x="20343" y="19562"/>
                </a:cubicBezTo>
                <a:cubicBezTo>
                  <a:pt x="20343" y="19562"/>
                  <a:pt x="20343" y="19594"/>
                  <a:pt x="20343" y="19594"/>
                </a:cubicBezTo>
                <a:cubicBezTo>
                  <a:pt x="20312" y="19594"/>
                  <a:pt x="20281" y="19562"/>
                  <a:pt x="20250" y="19531"/>
                </a:cubicBezTo>
                <a:close/>
                <a:moveTo>
                  <a:pt x="20343" y="19625"/>
                </a:moveTo>
                <a:cubicBezTo>
                  <a:pt x="20375" y="19625"/>
                  <a:pt x="20406" y="19625"/>
                  <a:pt x="20406" y="19687"/>
                </a:cubicBezTo>
                <a:cubicBezTo>
                  <a:pt x="20437" y="19687"/>
                  <a:pt x="20406" y="19687"/>
                  <a:pt x="20406" y="19687"/>
                </a:cubicBezTo>
                <a:cubicBezTo>
                  <a:pt x="20375" y="19687"/>
                  <a:pt x="20343" y="19687"/>
                  <a:pt x="20312" y="19656"/>
                </a:cubicBezTo>
                <a:cubicBezTo>
                  <a:pt x="20312" y="19656"/>
                  <a:pt x="20343" y="19625"/>
                  <a:pt x="20343" y="19625"/>
                </a:cubicBezTo>
                <a:close/>
                <a:moveTo>
                  <a:pt x="20343" y="19562"/>
                </a:moveTo>
                <a:cubicBezTo>
                  <a:pt x="20468" y="19531"/>
                  <a:pt x="20750" y="19594"/>
                  <a:pt x="20781" y="19656"/>
                </a:cubicBezTo>
                <a:cubicBezTo>
                  <a:pt x="20656" y="19594"/>
                  <a:pt x="20500" y="19656"/>
                  <a:pt x="20343" y="19562"/>
                </a:cubicBezTo>
                <a:close/>
                <a:moveTo>
                  <a:pt x="20812" y="19687"/>
                </a:moveTo>
                <a:cubicBezTo>
                  <a:pt x="20812" y="19687"/>
                  <a:pt x="20812" y="19687"/>
                  <a:pt x="20843" y="19719"/>
                </a:cubicBezTo>
                <a:cubicBezTo>
                  <a:pt x="20843" y="19719"/>
                  <a:pt x="20843" y="19719"/>
                  <a:pt x="20812" y="19719"/>
                </a:cubicBezTo>
                <a:cubicBezTo>
                  <a:pt x="20687" y="19719"/>
                  <a:pt x="20562" y="19750"/>
                  <a:pt x="20468" y="19656"/>
                </a:cubicBezTo>
                <a:cubicBezTo>
                  <a:pt x="20593" y="19656"/>
                  <a:pt x="20687" y="19687"/>
                  <a:pt x="20812" y="19687"/>
                </a:cubicBezTo>
                <a:close/>
                <a:moveTo>
                  <a:pt x="20812" y="19594"/>
                </a:moveTo>
                <a:cubicBezTo>
                  <a:pt x="20812" y="19594"/>
                  <a:pt x="20843" y="19594"/>
                  <a:pt x="20843" y="19594"/>
                </a:cubicBezTo>
                <a:cubicBezTo>
                  <a:pt x="20875" y="19594"/>
                  <a:pt x="20937" y="19594"/>
                  <a:pt x="20968" y="19625"/>
                </a:cubicBezTo>
                <a:cubicBezTo>
                  <a:pt x="20906" y="19625"/>
                  <a:pt x="20875" y="19625"/>
                  <a:pt x="20843" y="19625"/>
                </a:cubicBezTo>
                <a:cubicBezTo>
                  <a:pt x="20812" y="19625"/>
                  <a:pt x="20812" y="19625"/>
                  <a:pt x="20812" y="19594"/>
                </a:cubicBezTo>
                <a:close/>
                <a:moveTo>
                  <a:pt x="20906" y="19687"/>
                </a:moveTo>
                <a:cubicBezTo>
                  <a:pt x="20937" y="19687"/>
                  <a:pt x="21000" y="19687"/>
                  <a:pt x="21031" y="19719"/>
                </a:cubicBezTo>
                <a:cubicBezTo>
                  <a:pt x="21000" y="19750"/>
                  <a:pt x="20937" y="19750"/>
                  <a:pt x="20906" y="19719"/>
                </a:cubicBezTo>
                <a:cubicBezTo>
                  <a:pt x="20875" y="19719"/>
                  <a:pt x="20875" y="19719"/>
                  <a:pt x="20875" y="19687"/>
                </a:cubicBezTo>
                <a:cubicBezTo>
                  <a:pt x="20875" y="19687"/>
                  <a:pt x="20906" y="19687"/>
                  <a:pt x="20906" y="19687"/>
                </a:cubicBezTo>
                <a:close/>
                <a:moveTo>
                  <a:pt x="20906" y="19500"/>
                </a:moveTo>
                <a:cubicBezTo>
                  <a:pt x="20906" y="19500"/>
                  <a:pt x="20906" y="19500"/>
                  <a:pt x="20906" y="19500"/>
                </a:cubicBezTo>
                <a:cubicBezTo>
                  <a:pt x="20968" y="19500"/>
                  <a:pt x="21000" y="19469"/>
                  <a:pt x="21062" y="19531"/>
                </a:cubicBezTo>
                <a:cubicBezTo>
                  <a:pt x="21000" y="19531"/>
                  <a:pt x="20937" y="19562"/>
                  <a:pt x="20906" y="19500"/>
                </a:cubicBezTo>
                <a:close/>
                <a:moveTo>
                  <a:pt x="20906" y="19125"/>
                </a:moveTo>
                <a:cubicBezTo>
                  <a:pt x="20937" y="19125"/>
                  <a:pt x="20968" y="19125"/>
                  <a:pt x="21000" y="19156"/>
                </a:cubicBezTo>
                <a:cubicBezTo>
                  <a:pt x="21000" y="19156"/>
                  <a:pt x="21000" y="19156"/>
                  <a:pt x="20968" y="19156"/>
                </a:cubicBezTo>
                <a:cubicBezTo>
                  <a:pt x="20968" y="19156"/>
                  <a:pt x="20906" y="19187"/>
                  <a:pt x="20906" y="19156"/>
                </a:cubicBezTo>
                <a:cubicBezTo>
                  <a:pt x="20906" y="19125"/>
                  <a:pt x="20906" y="19125"/>
                  <a:pt x="20906" y="19125"/>
                </a:cubicBezTo>
                <a:close/>
                <a:moveTo>
                  <a:pt x="20843" y="19219"/>
                </a:moveTo>
                <a:cubicBezTo>
                  <a:pt x="20875" y="19219"/>
                  <a:pt x="20937" y="19219"/>
                  <a:pt x="20968" y="19250"/>
                </a:cubicBezTo>
                <a:cubicBezTo>
                  <a:pt x="20937" y="19250"/>
                  <a:pt x="20937" y="19281"/>
                  <a:pt x="20937" y="19250"/>
                </a:cubicBezTo>
                <a:cubicBezTo>
                  <a:pt x="20906" y="19250"/>
                  <a:pt x="20875" y="19281"/>
                  <a:pt x="20843" y="19250"/>
                </a:cubicBezTo>
                <a:cubicBezTo>
                  <a:pt x="20843" y="19250"/>
                  <a:pt x="20843" y="19219"/>
                  <a:pt x="20843" y="19219"/>
                </a:cubicBezTo>
                <a:close/>
                <a:moveTo>
                  <a:pt x="20968" y="19437"/>
                </a:moveTo>
                <a:cubicBezTo>
                  <a:pt x="20968" y="19437"/>
                  <a:pt x="20968" y="19437"/>
                  <a:pt x="20968" y="19437"/>
                </a:cubicBezTo>
                <a:cubicBezTo>
                  <a:pt x="20906" y="19437"/>
                  <a:pt x="20875" y="19469"/>
                  <a:pt x="20812" y="19437"/>
                </a:cubicBezTo>
                <a:cubicBezTo>
                  <a:pt x="20812" y="19406"/>
                  <a:pt x="20781" y="19437"/>
                  <a:pt x="20750" y="19437"/>
                </a:cubicBezTo>
                <a:cubicBezTo>
                  <a:pt x="20718" y="19437"/>
                  <a:pt x="20687" y="19437"/>
                  <a:pt x="20656" y="19406"/>
                </a:cubicBezTo>
                <a:cubicBezTo>
                  <a:pt x="20625" y="19406"/>
                  <a:pt x="20656" y="19375"/>
                  <a:pt x="20656" y="19375"/>
                </a:cubicBezTo>
                <a:cubicBezTo>
                  <a:pt x="20750" y="19406"/>
                  <a:pt x="20875" y="19375"/>
                  <a:pt x="20968" y="19437"/>
                </a:cubicBezTo>
                <a:close/>
                <a:moveTo>
                  <a:pt x="20656" y="19312"/>
                </a:moveTo>
                <a:cubicBezTo>
                  <a:pt x="20625" y="19312"/>
                  <a:pt x="20593" y="19312"/>
                  <a:pt x="20562" y="19281"/>
                </a:cubicBezTo>
                <a:cubicBezTo>
                  <a:pt x="20562" y="19281"/>
                  <a:pt x="20562" y="19281"/>
                  <a:pt x="20562" y="19281"/>
                </a:cubicBezTo>
                <a:cubicBezTo>
                  <a:pt x="20593" y="19250"/>
                  <a:pt x="20656" y="19281"/>
                  <a:pt x="20687" y="19312"/>
                </a:cubicBezTo>
                <a:cubicBezTo>
                  <a:pt x="20687" y="19312"/>
                  <a:pt x="20656" y="19312"/>
                  <a:pt x="20656" y="19312"/>
                </a:cubicBezTo>
                <a:close/>
                <a:moveTo>
                  <a:pt x="20562" y="19219"/>
                </a:moveTo>
                <a:cubicBezTo>
                  <a:pt x="20562" y="19219"/>
                  <a:pt x="20500" y="19250"/>
                  <a:pt x="20500" y="19187"/>
                </a:cubicBezTo>
                <a:cubicBezTo>
                  <a:pt x="20500" y="19187"/>
                  <a:pt x="20500" y="19187"/>
                  <a:pt x="20500" y="19187"/>
                </a:cubicBezTo>
                <a:cubicBezTo>
                  <a:pt x="20531" y="19187"/>
                  <a:pt x="20593" y="19156"/>
                  <a:pt x="20593" y="19219"/>
                </a:cubicBezTo>
                <a:cubicBezTo>
                  <a:pt x="20593" y="19219"/>
                  <a:pt x="20593" y="19219"/>
                  <a:pt x="20562" y="19219"/>
                </a:cubicBezTo>
                <a:close/>
                <a:moveTo>
                  <a:pt x="20500" y="18719"/>
                </a:moveTo>
                <a:cubicBezTo>
                  <a:pt x="20531" y="18719"/>
                  <a:pt x="20562" y="18687"/>
                  <a:pt x="20593" y="18750"/>
                </a:cubicBezTo>
                <a:cubicBezTo>
                  <a:pt x="20562" y="18750"/>
                  <a:pt x="20531" y="18750"/>
                  <a:pt x="20500" y="18719"/>
                </a:cubicBezTo>
                <a:cubicBezTo>
                  <a:pt x="20500" y="18719"/>
                  <a:pt x="20500" y="18719"/>
                  <a:pt x="20500" y="18719"/>
                </a:cubicBezTo>
                <a:close/>
                <a:moveTo>
                  <a:pt x="20500" y="19094"/>
                </a:moveTo>
                <a:cubicBezTo>
                  <a:pt x="20468" y="19125"/>
                  <a:pt x="20437" y="19094"/>
                  <a:pt x="20406" y="19062"/>
                </a:cubicBezTo>
                <a:cubicBezTo>
                  <a:pt x="20437" y="19031"/>
                  <a:pt x="20468" y="19062"/>
                  <a:pt x="20500" y="19094"/>
                </a:cubicBezTo>
                <a:close/>
                <a:moveTo>
                  <a:pt x="20343" y="18937"/>
                </a:moveTo>
                <a:cubicBezTo>
                  <a:pt x="20343" y="18969"/>
                  <a:pt x="20406" y="18937"/>
                  <a:pt x="20406" y="19000"/>
                </a:cubicBezTo>
                <a:cubicBezTo>
                  <a:pt x="20375" y="19000"/>
                  <a:pt x="20343" y="19000"/>
                  <a:pt x="20312" y="19000"/>
                </a:cubicBezTo>
                <a:cubicBezTo>
                  <a:pt x="20312" y="18969"/>
                  <a:pt x="20281" y="18969"/>
                  <a:pt x="20312" y="18969"/>
                </a:cubicBezTo>
                <a:cubicBezTo>
                  <a:pt x="20312" y="18937"/>
                  <a:pt x="20312" y="18937"/>
                  <a:pt x="20343" y="18937"/>
                </a:cubicBezTo>
                <a:close/>
                <a:moveTo>
                  <a:pt x="20312" y="18875"/>
                </a:moveTo>
                <a:cubicBezTo>
                  <a:pt x="20281" y="18875"/>
                  <a:pt x="20218" y="18906"/>
                  <a:pt x="20187" y="18844"/>
                </a:cubicBezTo>
                <a:cubicBezTo>
                  <a:pt x="20250" y="18844"/>
                  <a:pt x="20281" y="18812"/>
                  <a:pt x="20312" y="18875"/>
                </a:cubicBezTo>
                <a:close/>
                <a:moveTo>
                  <a:pt x="20218" y="18937"/>
                </a:moveTo>
                <a:cubicBezTo>
                  <a:pt x="20250" y="18937"/>
                  <a:pt x="20250" y="18937"/>
                  <a:pt x="20250" y="18969"/>
                </a:cubicBezTo>
                <a:cubicBezTo>
                  <a:pt x="20250" y="19000"/>
                  <a:pt x="20218" y="18969"/>
                  <a:pt x="20218" y="18969"/>
                </a:cubicBezTo>
                <a:cubicBezTo>
                  <a:pt x="20187" y="18969"/>
                  <a:pt x="20125" y="18969"/>
                  <a:pt x="20093" y="18937"/>
                </a:cubicBezTo>
                <a:cubicBezTo>
                  <a:pt x="20125" y="18937"/>
                  <a:pt x="20187" y="18937"/>
                  <a:pt x="20218" y="18937"/>
                </a:cubicBezTo>
                <a:close/>
                <a:moveTo>
                  <a:pt x="20125" y="18844"/>
                </a:moveTo>
                <a:cubicBezTo>
                  <a:pt x="20125" y="18844"/>
                  <a:pt x="20125" y="18844"/>
                  <a:pt x="20093" y="18844"/>
                </a:cubicBezTo>
                <a:cubicBezTo>
                  <a:pt x="20062" y="18844"/>
                  <a:pt x="20031" y="18844"/>
                  <a:pt x="20031" y="18812"/>
                </a:cubicBezTo>
                <a:cubicBezTo>
                  <a:pt x="20031" y="18812"/>
                  <a:pt x="20031" y="18812"/>
                  <a:pt x="20031" y="18812"/>
                </a:cubicBezTo>
                <a:cubicBezTo>
                  <a:pt x="20062" y="18781"/>
                  <a:pt x="20093" y="18812"/>
                  <a:pt x="20125" y="18812"/>
                </a:cubicBezTo>
                <a:cubicBezTo>
                  <a:pt x="20125" y="18844"/>
                  <a:pt x="20125" y="18844"/>
                  <a:pt x="20156" y="18844"/>
                </a:cubicBezTo>
                <a:cubicBezTo>
                  <a:pt x="20125" y="18844"/>
                  <a:pt x="20125" y="18844"/>
                  <a:pt x="20125" y="18844"/>
                </a:cubicBezTo>
                <a:close/>
                <a:moveTo>
                  <a:pt x="20031" y="18469"/>
                </a:moveTo>
                <a:cubicBezTo>
                  <a:pt x="20062" y="18469"/>
                  <a:pt x="20093" y="18437"/>
                  <a:pt x="20125" y="18500"/>
                </a:cubicBezTo>
                <a:cubicBezTo>
                  <a:pt x="20125" y="18500"/>
                  <a:pt x="20093" y="18500"/>
                  <a:pt x="20093" y="18500"/>
                </a:cubicBezTo>
                <a:cubicBezTo>
                  <a:pt x="20062" y="18500"/>
                  <a:pt x="20062" y="18500"/>
                  <a:pt x="20031" y="18500"/>
                </a:cubicBezTo>
                <a:cubicBezTo>
                  <a:pt x="20031" y="18469"/>
                  <a:pt x="20000" y="18437"/>
                  <a:pt x="20031" y="18469"/>
                </a:cubicBezTo>
                <a:close/>
                <a:moveTo>
                  <a:pt x="20031" y="18750"/>
                </a:moveTo>
                <a:cubicBezTo>
                  <a:pt x="20031" y="18750"/>
                  <a:pt x="20031" y="18750"/>
                  <a:pt x="20031" y="18750"/>
                </a:cubicBezTo>
                <a:cubicBezTo>
                  <a:pt x="20031" y="18750"/>
                  <a:pt x="20031" y="18750"/>
                  <a:pt x="20031" y="18750"/>
                </a:cubicBezTo>
                <a:cubicBezTo>
                  <a:pt x="20031" y="18750"/>
                  <a:pt x="20031" y="18750"/>
                  <a:pt x="20031" y="18750"/>
                </a:cubicBezTo>
                <a:cubicBezTo>
                  <a:pt x="20000" y="18750"/>
                  <a:pt x="19937" y="18750"/>
                  <a:pt x="19937" y="18719"/>
                </a:cubicBezTo>
                <a:cubicBezTo>
                  <a:pt x="19937" y="18719"/>
                  <a:pt x="19937" y="18687"/>
                  <a:pt x="19937" y="18687"/>
                </a:cubicBezTo>
                <a:cubicBezTo>
                  <a:pt x="19968" y="18687"/>
                  <a:pt x="20000" y="18687"/>
                  <a:pt x="20031" y="18750"/>
                </a:cubicBezTo>
                <a:close/>
                <a:moveTo>
                  <a:pt x="19937" y="18500"/>
                </a:moveTo>
                <a:cubicBezTo>
                  <a:pt x="19937" y="18531"/>
                  <a:pt x="19937" y="18531"/>
                  <a:pt x="19937" y="18531"/>
                </a:cubicBezTo>
                <a:cubicBezTo>
                  <a:pt x="19937" y="18531"/>
                  <a:pt x="19937" y="18531"/>
                  <a:pt x="19937" y="18500"/>
                </a:cubicBezTo>
                <a:cubicBezTo>
                  <a:pt x="19937" y="18531"/>
                  <a:pt x="19937" y="18531"/>
                  <a:pt x="19937" y="18531"/>
                </a:cubicBezTo>
                <a:cubicBezTo>
                  <a:pt x="19937" y="18531"/>
                  <a:pt x="19937" y="18531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lose/>
                <a:moveTo>
                  <a:pt x="19937" y="18500"/>
                </a:moveTo>
                <a:cubicBezTo>
                  <a:pt x="19937" y="18500"/>
                  <a:pt x="19937" y="18500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ubicBezTo>
                  <a:pt x="19937" y="18500"/>
                  <a:pt x="19937" y="18500"/>
                  <a:pt x="19937" y="18500"/>
                </a:cubicBezTo>
                <a:close/>
                <a:moveTo>
                  <a:pt x="19937" y="18781"/>
                </a:moveTo>
                <a:cubicBezTo>
                  <a:pt x="19968" y="18781"/>
                  <a:pt x="19968" y="18812"/>
                  <a:pt x="20000" y="18844"/>
                </a:cubicBezTo>
                <a:cubicBezTo>
                  <a:pt x="20000" y="18875"/>
                  <a:pt x="20000" y="18906"/>
                  <a:pt x="20031" y="18906"/>
                </a:cubicBezTo>
                <a:cubicBezTo>
                  <a:pt x="20062" y="18906"/>
                  <a:pt x="20062" y="18906"/>
                  <a:pt x="20062" y="18937"/>
                </a:cubicBezTo>
                <a:cubicBezTo>
                  <a:pt x="20062" y="18937"/>
                  <a:pt x="20031" y="18937"/>
                  <a:pt x="20031" y="18937"/>
                </a:cubicBezTo>
                <a:cubicBezTo>
                  <a:pt x="19968" y="18937"/>
                  <a:pt x="19937" y="18937"/>
                  <a:pt x="19875" y="18906"/>
                </a:cubicBezTo>
                <a:cubicBezTo>
                  <a:pt x="19875" y="18875"/>
                  <a:pt x="19906" y="18875"/>
                  <a:pt x="19906" y="18875"/>
                </a:cubicBezTo>
                <a:cubicBezTo>
                  <a:pt x="19937" y="18875"/>
                  <a:pt x="19968" y="18875"/>
                  <a:pt x="19968" y="18844"/>
                </a:cubicBezTo>
                <a:cubicBezTo>
                  <a:pt x="19906" y="18812"/>
                  <a:pt x="19843" y="18812"/>
                  <a:pt x="19812" y="18750"/>
                </a:cubicBezTo>
                <a:cubicBezTo>
                  <a:pt x="19843" y="18750"/>
                  <a:pt x="19906" y="18781"/>
                  <a:pt x="19937" y="18781"/>
                </a:cubicBezTo>
                <a:close/>
                <a:moveTo>
                  <a:pt x="19906" y="18531"/>
                </a:moveTo>
                <a:cubicBezTo>
                  <a:pt x="19906" y="18562"/>
                  <a:pt x="19875" y="18562"/>
                  <a:pt x="19875" y="18562"/>
                </a:cubicBezTo>
                <a:cubicBezTo>
                  <a:pt x="19875" y="18562"/>
                  <a:pt x="19906" y="18562"/>
                  <a:pt x="19906" y="18531"/>
                </a:cubicBezTo>
                <a:close/>
                <a:moveTo>
                  <a:pt x="19875" y="18687"/>
                </a:moveTo>
                <a:cubicBezTo>
                  <a:pt x="19875" y="18687"/>
                  <a:pt x="19875" y="18719"/>
                  <a:pt x="19875" y="18719"/>
                </a:cubicBezTo>
                <a:cubicBezTo>
                  <a:pt x="19875" y="18719"/>
                  <a:pt x="19875" y="18719"/>
                  <a:pt x="19843" y="18719"/>
                </a:cubicBezTo>
                <a:cubicBezTo>
                  <a:pt x="19812" y="18719"/>
                  <a:pt x="19781" y="18719"/>
                  <a:pt x="19750" y="18656"/>
                </a:cubicBezTo>
                <a:cubicBezTo>
                  <a:pt x="19781" y="18656"/>
                  <a:pt x="19843" y="18656"/>
                  <a:pt x="19875" y="18687"/>
                </a:cubicBezTo>
                <a:close/>
                <a:moveTo>
                  <a:pt x="19750" y="19062"/>
                </a:moveTo>
                <a:cubicBezTo>
                  <a:pt x="19656" y="19062"/>
                  <a:pt x="19562" y="19062"/>
                  <a:pt x="19468" y="19031"/>
                </a:cubicBezTo>
                <a:cubicBezTo>
                  <a:pt x="19375" y="19031"/>
                  <a:pt x="19281" y="19031"/>
                  <a:pt x="19156" y="19031"/>
                </a:cubicBezTo>
                <a:cubicBezTo>
                  <a:pt x="19062" y="19000"/>
                  <a:pt x="18968" y="19000"/>
                  <a:pt x="18906" y="18937"/>
                </a:cubicBezTo>
                <a:cubicBezTo>
                  <a:pt x="19062" y="18969"/>
                  <a:pt x="19218" y="18969"/>
                  <a:pt x="19406" y="18969"/>
                </a:cubicBezTo>
                <a:cubicBezTo>
                  <a:pt x="19500" y="18969"/>
                  <a:pt x="19593" y="19000"/>
                  <a:pt x="19687" y="19031"/>
                </a:cubicBezTo>
                <a:cubicBezTo>
                  <a:pt x="19718" y="19031"/>
                  <a:pt x="19718" y="19031"/>
                  <a:pt x="19750" y="19062"/>
                </a:cubicBezTo>
                <a:close/>
                <a:moveTo>
                  <a:pt x="18906" y="19094"/>
                </a:moveTo>
                <a:cubicBezTo>
                  <a:pt x="18843" y="19125"/>
                  <a:pt x="18781" y="19094"/>
                  <a:pt x="18718" y="19062"/>
                </a:cubicBezTo>
                <a:cubicBezTo>
                  <a:pt x="18718" y="19062"/>
                  <a:pt x="18718" y="19062"/>
                  <a:pt x="18750" y="19062"/>
                </a:cubicBezTo>
                <a:cubicBezTo>
                  <a:pt x="18812" y="19062"/>
                  <a:pt x="18843" y="19094"/>
                  <a:pt x="18906" y="19094"/>
                </a:cubicBezTo>
                <a:close/>
                <a:moveTo>
                  <a:pt x="18750" y="18781"/>
                </a:moveTo>
                <a:cubicBezTo>
                  <a:pt x="18968" y="18844"/>
                  <a:pt x="19156" y="18812"/>
                  <a:pt x="19375" y="18844"/>
                </a:cubicBezTo>
                <a:cubicBezTo>
                  <a:pt x="19437" y="18875"/>
                  <a:pt x="19562" y="18875"/>
                  <a:pt x="19625" y="18969"/>
                </a:cubicBezTo>
                <a:cubicBezTo>
                  <a:pt x="19406" y="18906"/>
                  <a:pt x="19187" y="18875"/>
                  <a:pt x="18937" y="18875"/>
                </a:cubicBezTo>
                <a:cubicBezTo>
                  <a:pt x="18875" y="18875"/>
                  <a:pt x="18812" y="18812"/>
                  <a:pt x="18750" y="18781"/>
                </a:cubicBezTo>
                <a:close/>
                <a:moveTo>
                  <a:pt x="19562" y="18812"/>
                </a:moveTo>
                <a:cubicBezTo>
                  <a:pt x="19562" y="18812"/>
                  <a:pt x="19562" y="18812"/>
                  <a:pt x="19562" y="18812"/>
                </a:cubicBezTo>
                <a:cubicBezTo>
                  <a:pt x="19625" y="18812"/>
                  <a:pt x="19656" y="18844"/>
                  <a:pt x="19718" y="18875"/>
                </a:cubicBezTo>
                <a:cubicBezTo>
                  <a:pt x="19656" y="18875"/>
                  <a:pt x="19593" y="18844"/>
                  <a:pt x="19562" y="18812"/>
                </a:cubicBezTo>
                <a:close/>
                <a:moveTo>
                  <a:pt x="19687" y="18125"/>
                </a:moveTo>
                <a:cubicBezTo>
                  <a:pt x="19656" y="18125"/>
                  <a:pt x="19593" y="18156"/>
                  <a:pt x="19593" y="18094"/>
                </a:cubicBezTo>
                <a:cubicBezTo>
                  <a:pt x="19625" y="18094"/>
                  <a:pt x="19656" y="18125"/>
                  <a:pt x="19687" y="18125"/>
                </a:cubicBezTo>
                <a:close/>
                <a:moveTo>
                  <a:pt x="19656" y="18406"/>
                </a:moveTo>
                <a:cubicBezTo>
                  <a:pt x="19593" y="18375"/>
                  <a:pt x="19531" y="18406"/>
                  <a:pt x="19468" y="18312"/>
                </a:cubicBezTo>
                <a:cubicBezTo>
                  <a:pt x="19531" y="18344"/>
                  <a:pt x="19625" y="18344"/>
                  <a:pt x="19656" y="18406"/>
                </a:cubicBezTo>
                <a:close/>
                <a:moveTo>
                  <a:pt x="19406" y="18562"/>
                </a:moveTo>
                <a:cubicBezTo>
                  <a:pt x="19437" y="18594"/>
                  <a:pt x="19500" y="18594"/>
                  <a:pt x="19562" y="18656"/>
                </a:cubicBezTo>
                <a:cubicBezTo>
                  <a:pt x="19468" y="18656"/>
                  <a:pt x="19406" y="18656"/>
                  <a:pt x="19375" y="18594"/>
                </a:cubicBezTo>
                <a:cubicBezTo>
                  <a:pt x="19375" y="18562"/>
                  <a:pt x="19406" y="18562"/>
                  <a:pt x="19406" y="18562"/>
                </a:cubicBezTo>
                <a:close/>
                <a:moveTo>
                  <a:pt x="19312" y="18469"/>
                </a:move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312" y="18469"/>
                  <a:pt x="19312" y="18469"/>
                </a:cubicBezTo>
                <a:cubicBezTo>
                  <a:pt x="19312" y="18469"/>
                  <a:pt x="19281" y="18469"/>
                  <a:pt x="19281" y="18469"/>
                </a:cubicBezTo>
                <a:cubicBezTo>
                  <a:pt x="19281" y="18469"/>
                  <a:pt x="19312" y="18469"/>
                  <a:pt x="19312" y="18469"/>
                </a:cubicBezTo>
                <a:close/>
                <a:moveTo>
                  <a:pt x="19125" y="18437"/>
                </a:moveTo>
                <a:cubicBezTo>
                  <a:pt x="19062" y="18437"/>
                  <a:pt x="19031" y="18437"/>
                  <a:pt x="18968" y="18406"/>
                </a:cubicBezTo>
                <a:cubicBezTo>
                  <a:pt x="18968" y="18406"/>
                  <a:pt x="18937" y="18406"/>
                  <a:pt x="18937" y="18375"/>
                </a:cubicBezTo>
                <a:cubicBezTo>
                  <a:pt x="18937" y="18375"/>
                  <a:pt x="18968" y="18375"/>
                  <a:pt x="19000" y="18375"/>
                </a:cubicBezTo>
                <a:cubicBezTo>
                  <a:pt x="19031" y="18375"/>
                  <a:pt x="19062" y="18375"/>
                  <a:pt x="19125" y="18437"/>
                </a:cubicBezTo>
                <a:close/>
                <a:moveTo>
                  <a:pt x="19093" y="18219"/>
                </a:moveTo>
                <a:cubicBezTo>
                  <a:pt x="19062" y="18250"/>
                  <a:pt x="19031" y="18219"/>
                  <a:pt x="19000" y="18187"/>
                </a:cubicBezTo>
                <a:cubicBezTo>
                  <a:pt x="19031" y="18187"/>
                  <a:pt x="19062" y="18187"/>
                  <a:pt x="19093" y="18219"/>
                </a:cubicBezTo>
                <a:close/>
                <a:moveTo>
                  <a:pt x="18937" y="18281"/>
                </a:moveTo>
                <a:cubicBezTo>
                  <a:pt x="18937" y="18281"/>
                  <a:pt x="18937" y="18281"/>
                  <a:pt x="18937" y="18281"/>
                </a:cubicBezTo>
                <a:cubicBezTo>
                  <a:pt x="18968" y="18281"/>
                  <a:pt x="19000" y="18281"/>
                  <a:pt x="19031" y="18312"/>
                </a:cubicBezTo>
                <a:cubicBezTo>
                  <a:pt x="19031" y="18312"/>
                  <a:pt x="19031" y="18312"/>
                  <a:pt x="19031" y="18312"/>
                </a:cubicBezTo>
                <a:cubicBezTo>
                  <a:pt x="19000" y="18344"/>
                  <a:pt x="18968" y="18312"/>
                  <a:pt x="18937" y="18312"/>
                </a:cubicBezTo>
                <a:cubicBezTo>
                  <a:pt x="18937" y="18312"/>
                  <a:pt x="18937" y="18281"/>
                  <a:pt x="18937" y="18281"/>
                </a:cubicBezTo>
                <a:close/>
                <a:moveTo>
                  <a:pt x="18875" y="18156"/>
                </a:moveTo>
                <a:cubicBezTo>
                  <a:pt x="18906" y="18125"/>
                  <a:pt x="18906" y="18156"/>
                  <a:pt x="18937" y="18187"/>
                </a:cubicBezTo>
                <a:cubicBezTo>
                  <a:pt x="18906" y="18187"/>
                  <a:pt x="18875" y="18187"/>
                  <a:pt x="18843" y="18156"/>
                </a:cubicBezTo>
                <a:cubicBezTo>
                  <a:pt x="18843" y="18156"/>
                  <a:pt x="18843" y="18156"/>
                  <a:pt x="18875" y="18156"/>
                </a:cubicBezTo>
                <a:close/>
                <a:moveTo>
                  <a:pt x="18250" y="17250"/>
                </a:moveTo>
                <a:cubicBezTo>
                  <a:pt x="18281" y="17250"/>
                  <a:pt x="18281" y="17281"/>
                  <a:pt x="18281" y="17281"/>
                </a:cubicBezTo>
                <a:cubicBezTo>
                  <a:pt x="18281" y="17312"/>
                  <a:pt x="18281" y="17312"/>
                  <a:pt x="18281" y="17312"/>
                </a:cubicBezTo>
                <a:cubicBezTo>
                  <a:pt x="18250" y="17312"/>
                  <a:pt x="18250" y="17312"/>
                  <a:pt x="18250" y="17281"/>
                </a:cubicBezTo>
                <a:cubicBezTo>
                  <a:pt x="18250" y="17281"/>
                  <a:pt x="18250" y="17250"/>
                  <a:pt x="18250" y="17250"/>
                </a:cubicBezTo>
                <a:close/>
                <a:moveTo>
                  <a:pt x="18218" y="17625"/>
                </a:moveTo>
                <a:cubicBezTo>
                  <a:pt x="18218" y="17625"/>
                  <a:pt x="18218" y="17625"/>
                  <a:pt x="18250" y="17625"/>
                </a:cubicBezTo>
                <a:cubicBezTo>
                  <a:pt x="18281" y="17625"/>
                  <a:pt x="18312" y="17625"/>
                  <a:pt x="18312" y="17656"/>
                </a:cubicBezTo>
                <a:cubicBezTo>
                  <a:pt x="18281" y="17687"/>
                  <a:pt x="18250" y="17656"/>
                  <a:pt x="18250" y="17656"/>
                </a:cubicBezTo>
                <a:cubicBezTo>
                  <a:pt x="18250" y="17656"/>
                  <a:pt x="18218" y="17625"/>
                  <a:pt x="18218" y="17625"/>
                </a:cubicBezTo>
                <a:cubicBezTo>
                  <a:pt x="18187" y="17625"/>
                  <a:pt x="18187" y="17625"/>
                  <a:pt x="18156" y="17594"/>
                </a:cubicBezTo>
                <a:cubicBezTo>
                  <a:pt x="18187" y="17625"/>
                  <a:pt x="18187" y="17625"/>
                  <a:pt x="18218" y="17625"/>
                </a:cubicBezTo>
                <a:close/>
                <a:moveTo>
                  <a:pt x="18125" y="17219"/>
                </a:moveTo>
                <a:cubicBezTo>
                  <a:pt x="18156" y="17219"/>
                  <a:pt x="18156" y="17219"/>
                  <a:pt x="18156" y="17250"/>
                </a:cubicBezTo>
                <a:cubicBezTo>
                  <a:pt x="18156" y="17250"/>
                  <a:pt x="18156" y="17281"/>
                  <a:pt x="18156" y="17281"/>
                </a:cubicBezTo>
                <a:cubicBezTo>
                  <a:pt x="18125" y="17281"/>
                  <a:pt x="18093" y="17250"/>
                  <a:pt x="18093" y="17250"/>
                </a:cubicBezTo>
                <a:cubicBezTo>
                  <a:pt x="18093" y="17219"/>
                  <a:pt x="18125" y="17219"/>
                  <a:pt x="18125" y="17219"/>
                </a:cubicBezTo>
                <a:close/>
                <a:moveTo>
                  <a:pt x="16406" y="16937"/>
                </a:moveTo>
                <a:cubicBezTo>
                  <a:pt x="16437" y="16906"/>
                  <a:pt x="16468" y="16937"/>
                  <a:pt x="16500" y="16969"/>
                </a:cubicBezTo>
                <a:cubicBezTo>
                  <a:pt x="16468" y="16969"/>
                  <a:pt x="16437" y="16969"/>
                  <a:pt x="16406" y="16937"/>
                </a:cubicBezTo>
                <a:cubicBezTo>
                  <a:pt x="16406" y="16937"/>
                  <a:pt x="16406" y="16937"/>
                  <a:pt x="16406" y="16937"/>
                </a:cubicBezTo>
                <a:close/>
                <a:moveTo>
                  <a:pt x="16187" y="16656"/>
                </a:moveTo>
                <a:cubicBezTo>
                  <a:pt x="16187" y="16656"/>
                  <a:pt x="16187" y="16656"/>
                  <a:pt x="16187" y="16656"/>
                </a:cubicBezTo>
                <a:cubicBezTo>
                  <a:pt x="16187" y="16625"/>
                  <a:pt x="16187" y="16625"/>
                  <a:pt x="16218" y="16625"/>
                </a:cubicBezTo>
                <a:cubicBezTo>
                  <a:pt x="16187" y="16625"/>
                  <a:pt x="16187" y="16625"/>
                  <a:pt x="16187" y="16656"/>
                </a:cubicBezTo>
                <a:cubicBezTo>
                  <a:pt x="16187" y="16656"/>
                  <a:pt x="16156" y="16656"/>
                  <a:pt x="16187" y="16656"/>
                </a:cubicBezTo>
                <a:cubicBezTo>
                  <a:pt x="16156" y="16656"/>
                  <a:pt x="16187" y="16656"/>
                  <a:pt x="16187" y="16656"/>
                </a:cubicBezTo>
                <a:close/>
                <a:moveTo>
                  <a:pt x="16187" y="12594"/>
                </a:moveTo>
                <a:cubicBezTo>
                  <a:pt x="16156" y="12562"/>
                  <a:pt x="16156" y="12531"/>
                  <a:pt x="16187" y="12531"/>
                </a:cubicBezTo>
                <a:cubicBezTo>
                  <a:pt x="16218" y="12531"/>
                  <a:pt x="16250" y="12531"/>
                  <a:pt x="16281" y="12562"/>
                </a:cubicBezTo>
                <a:cubicBezTo>
                  <a:pt x="16250" y="12594"/>
                  <a:pt x="16218" y="12594"/>
                  <a:pt x="16187" y="12594"/>
                </a:cubicBezTo>
                <a:close/>
                <a:moveTo>
                  <a:pt x="16187" y="12375"/>
                </a:moveTo>
                <a:cubicBezTo>
                  <a:pt x="16187" y="12375"/>
                  <a:pt x="16187" y="12344"/>
                  <a:pt x="16218" y="12344"/>
                </a:cubicBezTo>
                <a:cubicBezTo>
                  <a:pt x="16250" y="12312"/>
                  <a:pt x="16281" y="12344"/>
                  <a:pt x="16312" y="12375"/>
                </a:cubicBezTo>
                <a:cubicBezTo>
                  <a:pt x="16281" y="12437"/>
                  <a:pt x="16218" y="12375"/>
                  <a:pt x="16187" y="12375"/>
                </a:cubicBezTo>
                <a:close/>
                <a:moveTo>
                  <a:pt x="16093" y="8656"/>
                </a:moveTo>
                <a:cubicBezTo>
                  <a:pt x="16093" y="8656"/>
                  <a:pt x="16093" y="8625"/>
                  <a:pt x="16093" y="8625"/>
                </a:cubicBezTo>
                <a:cubicBezTo>
                  <a:pt x="16125" y="8656"/>
                  <a:pt x="16156" y="8656"/>
                  <a:pt x="16187" y="8687"/>
                </a:cubicBezTo>
                <a:cubicBezTo>
                  <a:pt x="16156" y="8719"/>
                  <a:pt x="16156" y="8719"/>
                  <a:pt x="16125" y="8719"/>
                </a:cubicBezTo>
                <a:cubicBezTo>
                  <a:pt x="16125" y="8719"/>
                  <a:pt x="16125" y="8719"/>
                  <a:pt x="16125" y="8719"/>
                </a:cubicBezTo>
                <a:cubicBezTo>
                  <a:pt x="16125" y="8687"/>
                  <a:pt x="16093" y="8687"/>
                  <a:pt x="16093" y="8656"/>
                </a:cubicBezTo>
                <a:close/>
                <a:moveTo>
                  <a:pt x="16125" y="9812"/>
                </a:moveTo>
                <a:cubicBezTo>
                  <a:pt x="16125" y="9812"/>
                  <a:pt x="16125" y="9812"/>
                  <a:pt x="16125" y="9781"/>
                </a:cubicBezTo>
                <a:cubicBezTo>
                  <a:pt x="16125" y="9812"/>
                  <a:pt x="16125" y="9812"/>
                  <a:pt x="16125" y="9812"/>
                </a:cubicBezTo>
                <a:cubicBezTo>
                  <a:pt x="16125" y="9812"/>
                  <a:pt x="16125" y="9812"/>
                  <a:pt x="16125" y="9812"/>
                </a:cubicBezTo>
                <a:cubicBezTo>
                  <a:pt x="16125" y="9812"/>
                  <a:pt x="16125" y="9812"/>
                  <a:pt x="16125" y="9812"/>
                </a:cubicBezTo>
                <a:close/>
                <a:moveTo>
                  <a:pt x="16125" y="12250"/>
                </a:moveTo>
                <a:cubicBezTo>
                  <a:pt x="16156" y="12250"/>
                  <a:pt x="16187" y="12250"/>
                  <a:pt x="16187" y="12312"/>
                </a:cubicBezTo>
                <a:cubicBezTo>
                  <a:pt x="16187" y="12312"/>
                  <a:pt x="16187" y="12344"/>
                  <a:pt x="16156" y="12312"/>
                </a:cubicBezTo>
                <a:cubicBezTo>
                  <a:pt x="16125" y="12312"/>
                  <a:pt x="16093" y="12312"/>
                  <a:pt x="16093" y="12281"/>
                </a:cubicBezTo>
                <a:cubicBezTo>
                  <a:pt x="16093" y="12250"/>
                  <a:pt x="16093" y="12250"/>
                  <a:pt x="16125" y="12250"/>
                </a:cubicBezTo>
                <a:close/>
                <a:moveTo>
                  <a:pt x="16156" y="12219"/>
                </a:moveTo>
                <a:cubicBezTo>
                  <a:pt x="16125" y="12219"/>
                  <a:pt x="16093" y="12187"/>
                  <a:pt x="16093" y="12156"/>
                </a:cubicBezTo>
                <a:cubicBezTo>
                  <a:pt x="16093" y="12156"/>
                  <a:pt x="16093" y="12125"/>
                  <a:pt x="16125" y="12156"/>
                </a:cubicBezTo>
                <a:cubicBezTo>
                  <a:pt x="16156" y="12156"/>
                  <a:pt x="16187" y="12156"/>
                  <a:pt x="16187" y="12187"/>
                </a:cubicBezTo>
                <a:cubicBezTo>
                  <a:pt x="16187" y="12187"/>
                  <a:pt x="16187" y="12219"/>
                  <a:pt x="16156" y="12219"/>
                </a:cubicBezTo>
                <a:close/>
                <a:moveTo>
                  <a:pt x="16250" y="10594"/>
                </a:moveTo>
                <a:cubicBezTo>
                  <a:pt x="16312" y="10625"/>
                  <a:pt x="16343" y="10687"/>
                  <a:pt x="16375" y="10719"/>
                </a:cubicBezTo>
                <a:cubicBezTo>
                  <a:pt x="16375" y="10750"/>
                  <a:pt x="16343" y="10750"/>
                  <a:pt x="16343" y="10750"/>
                </a:cubicBezTo>
                <a:cubicBezTo>
                  <a:pt x="16281" y="10719"/>
                  <a:pt x="16281" y="10656"/>
                  <a:pt x="16218" y="10625"/>
                </a:cubicBezTo>
                <a:cubicBezTo>
                  <a:pt x="16218" y="10594"/>
                  <a:pt x="16250" y="10594"/>
                  <a:pt x="16250" y="10594"/>
                </a:cubicBezTo>
                <a:close/>
                <a:moveTo>
                  <a:pt x="16218" y="9469"/>
                </a:moveTo>
                <a:cubicBezTo>
                  <a:pt x="16218" y="9469"/>
                  <a:pt x="16218" y="9469"/>
                  <a:pt x="16218" y="9469"/>
                </a:cubicBezTo>
                <a:cubicBezTo>
                  <a:pt x="16218" y="9469"/>
                  <a:pt x="16218" y="9469"/>
                  <a:pt x="16218" y="9469"/>
                </a:cubicBezTo>
                <a:cubicBezTo>
                  <a:pt x="16218" y="9469"/>
                  <a:pt x="16218" y="9469"/>
                  <a:pt x="16218" y="9469"/>
                </a:cubicBezTo>
                <a:close/>
                <a:moveTo>
                  <a:pt x="16562" y="9750"/>
                </a:moveTo>
                <a:cubicBezTo>
                  <a:pt x="16437" y="9719"/>
                  <a:pt x="16375" y="9656"/>
                  <a:pt x="16343" y="9531"/>
                </a:cubicBezTo>
                <a:cubicBezTo>
                  <a:pt x="16375" y="9531"/>
                  <a:pt x="16375" y="9562"/>
                  <a:pt x="16406" y="9562"/>
                </a:cubicBezTo>
                <a:cubicBezTo>
                  <a:pt x="16406" y="9594"/>
                  <a:pt x="16437" y="9594"/>
                  <a:pt x="16437" y="9594"/>
                </a:cubicBezTo>
                <a:cubicBezTo>
                  <a:pt x="16562" y="9656"/>
                  <a:pt x="16656" y="9750"/>
                  <a:pt x="16781" y="9812"/>
                </a:cubicBezTo>
                <a:cubicBezTo>
                  <a:pt x="16781" y="9812"/>
                  <a:pt x="16812" y="9844"/>
                  <a:pt x="16843" y="9844"/>
                </a:cubicBezTo>
                <a:cubicBezTo>
                  <a:pt x="16812" y="9844"/>
                  <a:pt x="16781" y="9812"/>
                  <a:pt x="16781" y="9812"/>
                </a:cubicBezTo>
                <a:cubicBezTo>
                  <a:pt x="16750" y="9844"/>
                  <a:pt x="16718" y="9875"/>
                  <a:pt x="16687" y="9844"/>
                </a:cubicBezTo>
                <a:cubicBezTo>
                  <a:pt x="16656" y="9812"/>
                  <a:pt x="16625" y="9812"/>
                  <a:pt x="16593" y="9812"/>
                </a:cubicBezTo>
                <a:cubicBezTo>
                  <a:pt x="16593" y="9875"/>
                  <a:pt x="16625" y="9906"/>
                  <a:pt x="16687" y="9875"/>
                </a:cubicBezTo>
                <a:cubicBezTo>
                  <a:pt x="16687" y="9875"/>
                  <a:pt x="16687" y="9875"/>
                  <a:pt x="16687" y="9875"/>
                </a:cubicBezTo>
                <a:cubicBezTo>
                  <a:pt x="16781" y="9937"/>
                  <a:pt x="16843" y="10000"/>
                  <a:pt x="16968" y="10031"/>
                </a:cubicBezTo>
                <a:cubicBezTo>
                  <a:pt x="16937" y="10031"/>
                  <a:pt x="16937" y="10062"/>
                  <a:pt x="16937" y="10062"/>
                </a:cubicBezTo>
                <a:cubicBezTo>
                  <a:pt x="16906" y="10094"/>
                  <a:pt x="16906" y="10094"/>
                  <a:pt x="16875" y="10062"/>
                </a:cubicBezTo>
                <a:cubicBezTo>
                  <a:pt x="16750" y="9969"/>
                  <a:pt x="16625" y="9969"/>
                  <a:pt x="16500" y="9875"/>
                </a:cubicBezTo>
                <a:cubicBezTo>
                  <a:pt x="16500" y="9875"/>
                  <a:pt x="16500" y="9875"/>
                  <a:pt x="16500" y="9875"/>
                </a:cubicBezTo>
                <a:cubicBezTo>
                  <a:pt x="16500" y="9875"/>
                  <a:pt x="16500" y="9875"/>
                  <a:pt x="16500" y="9875"/>
                </a:cubicBezTo>
                <a:cubicBezTo>
                  <a:pt x="16468" y="9844"/>
                  <a:pt x="16437" y="9812"/>
                  <a:pt x="16375" y="9781"/>
                </a:cubicBezTo>
                <a:cubicBezTo>
                  <a:pt x="16375" y="9750"/>
                  <a:pt x="16375" y="9750"/>
                  <a:pt x="16375" y="9781"/>
                </a:cubicBezTo>
                <a:cubicBezTo>
                  <a:pt x="16375" y="9781"/>
                  <a:pt x="16375" y="9781"/>
                  <a:pt x="16375" y="9781"/>
                </a:cubicBezTo>
                <a:cubicBezTo>
                  <a:pt x="16375" y="9781"/>
                  <a:pt x="16343" y="9781"/>
                  <a:pt x="16343" y="9750"/>
                </a:cubicBezTo>
                <a:cubicBezTo>
                  <a:pt x="16343" y="9781"/>
                  <a:pt x="16375" y="9781"/>
                  <a:pt x="16375" y="9781"/>
                </a:cubicBezTo>
                <a:cubicBezTo>
                  <a:pt x="16343" y="9719"/>
                  <a:pt x="16312" y="9687"/>
                  <a:pt x="16281" y="9625"/>
                </a:cubicBezTo>
                <a:cubicBezTo>
                  <a:pt x="16281" y="9625"/>
                  <a:pt x="16281" y="9594"/>
                  <a:pt x="16281" y="9594"/>
                </a:cubicBezTo>
                <a:cubicBezTo>
                  <a:pt x="16281" y="9594"/>
                  <a:pt x="16281" y="9625"/>
                  <a:pt x="16281" y="9625"/>
                </a:cubicBezTo>
                <a:cubicBezTo>
                  <a:pt x="16343" y="9625"/>
                  <a:pt x="16343" y="9656"/>
                  <a:pt x="16375" y="9687"/>
                </a:cubicBezTo>
                <a:cubicBezTo>
                  <a:pt x="16437" y="9750"/>
                  <a:pt x="16500" y="9812"/>
                  <a:pt x="16593" y="9812"/>
                </a:cubicBezTo>
                <a:cubicBezTo>
                  <a:pt x="16625" y="9781"/>
                  <a:pt x="16562" y="9781"/>
                  <a:pt x="16562" y="9750"/>
                </a:cubicBezTo>
                <a:close/>
                <a:moveTo>
                  <a:pt x="17062" y="10969"/>
                </a:moveTo>
                <a:cubicBezTo>
                  <a:pt x="17093" y="10969"/>
                  <a:pt x="17125" y="10969"/>
                  <a:pt x="17125" y="11000"/>
                </a:cubicBezTo>
                <a:cubicBezTo>
                  <a:pt x="17125" y="11031"/>
                  <a:pt x="17093" y="11000"/>
                  <a:pt x="17062" y="11031"/>
                </a:cubicBezTo>
                <a:cubicBezTo>
                  <a:pt x="17062" y="11031"/>
                  <a:pt x="17031" y="11031"/>
                  <a:pt x="17031" y="11000"/>
                </a:cubicBezTo>
                <a:cubicBezTo>
                  <a:pt x="17031" y="10969"/>
                  <a:pt x="17062" y="10969"/>
                  <a:pt x="17062" y="10969"/>
                </a:cubicBezTo>
                <a:close/>
                <a:moveTo>
                  <a:pt x="17062" y="8750"/>
                </a:moveTo>
                <a:cubicBezTo>
                  <a:pt x="17062" y="8719"/>
                  <a:pt x="17062" y="8719"/>
                  <a:pt x="17093" y="8719"/>
                </a:cubicBezTo>
                <a:cubicBezTo>
                  <a:pt x="17125" y="8719"/>
                  <a:pt x="17156" y="8750"/>
                  <a:pt x="17156" y="8750"/>
                </a:cubicBezTo>
                <a:cubicBezTo>
                  <a:pt x="17156" y="8781"/>
                  <a:pt x="17125" y="8781"/>
                  <a:pt x="17125" y="8781"/>
                </a:cubicBezTo>
                <a:cubicBezTo>
                  <a:pt x="17093" y="8781"/>
                  <a:pt x="17062" y="8781"/>
                  <a:pt x="17062" y="8750"/>
                </a:cubicBezTo>
                <a:close/>
                <a:moveTo>
                  <a:pt x="16812" y="11656"/>
                </a:moveTo>
                <a:cubicBezTo>
                  <a:pt x="16781" y="11656"/>
                  <a:pt x="16750" y="11625"/>
                  <a:pt x="16750" y="11625"/>
                </a:cubicBezTo>
                <a:cubicBezTo>
                  <a:pt x="16750" y="11594"/>
                  <a:pt x="16781" y="11594"/>
                  <a:pt x="16812" y="11594"/>
                </a:cubicBezTo>
                <a:cubicBezTo>
                  <a:pt x="16812" y="11562"/>
                  <a:pt x="16843" y="11594"/>
                  <a:pt x="16843" y="11625"/>
                </a:cubicBezTo>
                <a:cubicBezTo>
                  <a:pt x="16843" y="11625"/>
                  <a:pt x="16812" y="11625"/>
                  <a:pt x="16812" y="11656"/>
                </a:cubicBezTo>
                <a:close/>
                <a:moveTo>
                  <a:pt x="16843" y="11750"/>
                </a:moveTo>
                <a:cubicBezTo>
                  <a:pt x="16875" y="11750"/>
                  <a:pt x="16906" y="11781"/>
                  <a:pt x="16906" y="11812"/>
                </a:cubicBezTo>
                <a:cubicBezTo>
                  <a:pt x="16875" y="11812"/>
                  <a:pt x="16843" y="11812"/>
                  <a:pt x="16843" y="11781"/>
                </a:cubicBezTo>
                <a:cubicBezTo>
                  <a:pt x="16812" y="11781"/>
                  <a:pt x="16843" y="11750"/>
                  <a:pt x="16843" y="11750"/>
                </a:cubicBezTo>
                <a:close/>
                <a:moveTo>
                  <a:pt x="16812" y="11469"/>
                </a:moveTo>
                <a:cubicBezTo>
                  <a:pt x="16812" y="11406"/>
                  <a:pt x="16718" y="11406"/>
                  <a:pt x="16718" y="11344"/>
                </a:cubicBezTo>
                <a:cubicBezTo>
                  <a:pt x="16718" y="11344"/>
                  <a:pt x="16656" y="11375"/>
                  <a:pt x="16687" y="11312"/>
                </a:cubicBezTo>
                <a:cubicBezTo>
                  <a:pt x="16718" y="11312"/>
                  <a:pt x="16718" y="11312"/>
                  <a:pt x="16750" y="11312"/>
                </a:cubicBezTo>
                <a:cubicBezTo>
                  <a:pt x="16750" y="11344"/>
                  <a:pt x="16781" y="11344"/>
                  <a:pt x="16812" y="11344"/>
                </a:cubicBezTo>
                <a:cubicBezTo>
                  <a:pt x="16812" y="11375"/>
                  <a:pt x="16843" y="11406"/>
                  <a:pt x="16875" y="11406"/>
                </a:cubicBezTo>
                <a:cubicBezTo>
                  <a:pt x="16875" y="11406"/>
                  <a:pt x="16875" y="11406"/>
                  <a:pt x="16875" y="11437"/>
                </a:cubicBezTo>
                <a:cubicBezTo>
                  <a:pt x="16906" y="11437"/>
                  <a:pt x="16875" y="11437"/>
                  <a:pt x="16875" y="11469"/>
                </a:cubicBezTo>
                <a:cubicBezTo>
                  <a:pt x="16843" y="11469"/>
                  <a:pt x="16843" y="11469"/>
                  <a:pt x="16812" y="11469"/>
                </a:cubicBezTo>
                <a:close/>
                <a:moveTo>
                  <a:pt x="16656" y="11375"/>
                </a:moveTo>
                <a:cubicBezTo>
                  <a:pt x="16687" y="11375"/>
                  <a:pt x="16687" y="11375"/>
                  <a:pt x="16718" y="11406"/>
                </a:cubicBezTo>
                <a:cubicBezTo>
                  <a:pt x="16718" y="11437"/>
                  <a:pt x="16687" y="11437"/>
                  <a:pt x="16656" y="11437"/>
                </a:cubicBezTo>
                <a:cubicBezTo>
                  <a:pt x="16656" y="11406"/>
                  <a:pt x="16625" y="11375"/>
                  <a:pt x="16656" y="11375"/>
                </a:cubicBezTo>
                <a:close/>
                <a:moveTo>
                  <a:pt x="16343" y="12062"/>
                </a:moveTo>
                <a:cubicBezTo>
                  <a:pt x="16343" y="12062"/>
                  <a:pt x="16375" y="12062"/>
                  <a:pt x="16375" y="12062"/>
                </a:cubicBezTo>
                <a:cubicBezTo>
                  <a:pt x="16437" y="12094"/>
                  <a:pt x="16468" y="12125"/>
                  <a:pt x="16531" y="12187"/>
                </a:cubicBezTo>
                <a:cubicBezTo>
                  <a:pt x="16500" y="12187"/>
                  <a:pt x="16468" y="12187"/>
                  <a:pt x="16437" y="12187"/>
                </a:cubicBezTo>
                <a:cubicBezTo>
                  <a:pt x="16406" y="12156"/>
                  <a:pt x="16375" y="12156"/>
                  <a:pt x="16343" y="12125"/>
                </a:cubicBezTo>
                <a:cubicBezTo>
                  <a:pt x="16343" y="12094"/>
                  <a:pt x="16312" y="12094"/>
                  <a:pt x="16375" y="12062"/>
                </a:cubicBezTo>
                <a:cubicBezTo>
                  <a:pt x="16375" y="12062"/>
                  <a:pt x="16343" y="12062"/>
                  <a:pt x="16343" y="12062"/>
                </a:cubicBezTo>
                <a:close/>
                <a:moveTo>
                  <a:pt x="16375" y="12031"/>
                </a:moveTo>
                <a:cubicBezTo>
                  <a:pt x="16375" y="12031"/>
                  <a:pt x="16375" y="12000"/>
                  <a:pt x="16343" y="12000"/>
                </a:cubicBezTo>
                <a:cubicBezTo>
                  <a:pt x="16312" y="11969"/>
                  <a:pt x="16250" y="11937"/>
                  <a:pt x="16218" y="11906"/>
                </a:cubicBezTo>
                <a:cubicBezTo>
                  <a:pt x="16218" y="11906"/>
                  <a:pt x="16218" y="11875"/>
                  <a:pt x="16218" y="11875"/>
                </a:cubicBezTo>
                <a:cubicBezTo>
                  <a:pt x="16250" y="11844"/>
                  <a:pt x="16250" y="11875"/>
                  <a:pt x="16281" y="11875"/>
                </a:cubicBezTo>
                <a:cubicBezTo>
                  <a:pt x="16312" y="11906"/>
                  <a:pt x="16375" y="11937"/>
                  <a:pt x="16437" y="12000"/>
                </a:cubicBezTo>
                <a:cubicBezTo>
                  <a:pt x="16437" y="12000"/>
                  <a:pt x="16468" y="12000"/>
                  <a:pt x="16437" y="12031"/>
                </a:cubicBezTo>
                <a:cubicBezTo>
                  <a:pt x="16437" y="12062"/>
                  <a:pt x="16406" y="12062"/>
                  <a:pt x="16375" y="12031"/>
                </a:cubicBezTo>
                <a:close/>
                <a:moveTo>
                  <a:pt x="16250" y="11750"/>
                </a:moveTo>
                <a:cubicBezTo>
                  <a:pt x="16281" y="11781"/>
                  <a:pt x="16312" y="11781"/>
                  <a:pt x="16343" y="11812"/>
                </a:cubicBezTo>
                <a:cubicBezTo>
                  <a:pt x="16343" y="11844"/>
                  <a:pt x="16312" y="11844"/>
                  <a:pt x="16312" y="11844"/>
                </a:cubicBezTo>
                <a:cubicBezTo>
                  <a:pt x="16281" y="11844"/>
                  <a:pt x="16250" y="11812"/>
                  <a:pt x="16218" y="11781"/>
                </a:cubicBezTo>
                <a:cubicBezTo>
                  <a:pt x="16218" y="11781"/>
                  <a:pt x="16250" y="11750"/>
                  <a:pt x="16250" y="11750"/>
                </a:cubicBezTo>
                <a:close/>
                <a:moveTo>
                  <a:pt x="16343" y="11906"/>
                </a:moveTo>
                <a:cubicBezTo>
                  <a:pt x="16343" y="11875"/>
                  <a:pt x="16343" y="11875"/>
                  <a:pt x="16343" y="11844"/>
                </a:cubicBezTo>
                <a:cubicBezTo>
                  <a:pt x="16406" y="11812"/>
                  <a:pt x="16406" y="11875"/>
                  <a:pt x="16468" y="11906"/>
                </a:cubicBezTo>
                <a:cubicBezTo>
                  <a:pt x="16406" y="11937"/>
                  <a:pt x="16375" y="11937"/>
                  <a:pt x="16343" y="11906"/>
                </a:cubicBezTo>
                <a:close/>
                <a:moveTo>
                  <a:pt x="16375" y="11812"/>
                </a:moveTo>
                <a:cubicBezTo>
                  <a:pt x="16343" y="11781"/>
                  <a:pt x="16312" y="11719"/>
                  <a:pt x="16250" y="11719"/>
                </a:cubicBezTo>
                <a:cubicBezTo>
                  <a:pt x="16250" y="11719"/>
                  <a:pt x="16218" y="11687"/>
                  <a:pt x="16250" y="11687"/>
                </a:cubicBezTo>
                <a:cubicBezTo>
                  <a:pt x="16281" y="11687"/>
                  <a:pt x="16281" y="11625"/>
                  <a:pt x="16312" y="11625"/>
                </a:cubicBezTo>
                <a:cubicBezTo>
                  <a:pt x="16312" y="11625"/>
                  <a:pt x="16312" y="11625"/>
                  <a:pt x="16312" y="11594"/>
                </a:cubicBezTo>
                <a:cubicBezTo>
                  <a:pt x="16281" y="11594"/>
                  <a:pt x="16281" y="11562"/>
                  <a:pt x="16281" y="11531"/>
                </a:cubicBezTo>
                <a:cubicBezTo>
                  <a:pt x="16312" y="11531"/>
                  <a:pt x="16312" y="11594"/>
                  <a:pt x="16375" y="11562"/>
                </a:cubicBezTo>
                <a:cubicBezTo>
                  <a:pt x="16375" y="11531"/>
                  <a:pt x="16312" y="11531"/>
                  <a:pt x="16343" y="11500"/>
                </a:cubicBezTo>
                <a:cubicBezTo>
                  <a:pt x="16406" y="11500"/>
                  <a:pt x="16406" y="11500"/>
                  <a:pt x="16437" y="11531"/>
                </a:cubicBezTo>
                <a:cubicBezTo>
                  <a:pt x="16437" y="11594"/>
                  <a:pt x="16406" y="11562"/>
                  <a:pt x="16375" y="11562"/>
                </a:cubicBezTo>
                <a:cubicBezTo>
                  <a:pt x="16343" y="11594"/>
                  <a:pt x="16343" y="11594"/>
                  <a:pt x="16375" y="11594"/>
                </a:cubicBezTo>
                <a:cubicBezTo>
                  <a:pt x="16406" y="11594"/>
                  <a:pt x="16437" y="11625"/>
                  <a:pt x="16468" y="11656"/>
                </a:cubicBezTo>
                <a:cubicBezTo>
                  <a:pt x="16406" y="11687"/>
                  <a:pt x="16406" y="11687"/>
                  <a:pt x="16343" y="11656"/>
                </a:cubicBezTo>
                <a:cubicBezTo>
                  <a:pt x="16343" y="11750"/>
                  <a:pt x="16406" y="11719"/>
                  <a:pt x="16437" y="11750"/>
                </a:cubicBezTo>
                <a:cubicBezTo>
                  <a:pt x="16437" y="11781"/>
                  <a:pt x="16500" y="11750"/>
                  <a:pt x="16468" y="11781"/>
                </a:cubicBezTo>
                <a:cubicBezTo>
                  <a:pt x="16437" y="11812"/>
                  <a:pt x="16406" y="11812"/>
                  <a:pt x="16375" y="11812"/>
                </a:cubicBezTo>
                <a:close/>
                <a:moveTo>
                  <a:pt x="16375" y="10875"/>
                </a:moveTo>
                <a:cubicBezTo>
                  <a:pt x="16406" y="10875"/>
                  <a:pt x="16437" y="10906"/>
                  <a:pt x="16468" y="10937"/>
                </a:cubicBezTo>
                <a:cubicBezTo>
                  <a:pt x="16375" y="10969"/>
                  <a:pt x="16281" y="10906"/>
                  <a:pt x="16281" y="10844"/>
                </a:cubicBezTo>
                <a:cubicBezTo>
                  <a:pt x="16281" y="10844"/>
                  <a:pt x="16281" y="10844"/>
                  <a:pt x="16281" y="10844"/>
                </a:cubicBezTo>
                <a:cubicBezTo>
                  <a:pt x="16281" y="10844"/>
                  <a:pt x="16281" y="10844"/>
                  <a:pt x="16281" y="10844"/>
                </a:cubicBezTo>
                <a:cubicBezTo>
                  <a:pt x="16312" y="10812"/>
                  <a:pt x="16312" y="10812"/>
                  <a:pt x="16312" y="10781"/>
                </a:cubicBezTo>
                <a:cubicBezTo>
                  <a:pt x="16312" y="10812"/>
                  <a:pt x="16343" y="10812"/>
                  <a:pt x="16343" y="10812"/>
                </a:cubicBezTo>
                <a:cubicBezTo>
                  <a:pt x="16343" y="10844"/>
                  <a:pt x="16312" y="10844"/>
                  <a:pt x="16312" y="10875"/>
                </a:cubicBezTo>
                <a:cubicBezTo>
                  <a:pt x="16343" y="10875"/>
                  <a:pt x="16343" y="10875"/>
                  <a:pt x="16375" y="10875"/>
                </a:cubicBezTo>
                <a:close/>
                <a:moveTo>
                  <a:pt x="16343" y="9844"/>
                </a:moveTo>
                <a:cubicBezTo>
                  <a:pt x="16343" y="9844"/>
                  <a:pt x="16343" y="9844"/>
                  <a:pt x="16343" y="9844"/>
                </a:cubicBezTo>
                <a:cubicBezTo>
                  <a:pt x="16343" y="9875"/>
                  <a:pt x="16375" y="9906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406" y="9937"/>
                  <a:pt x="16437" y="9969"/>
                  <a:pt x="16468" y="10000"/>
                </a:cubicBezTo>
                <a:cubicBezTo>
                  <a:pt x="16500" y="10031"/>
                  <a:pt x="16500" y="10062"/>
                  <a:pt x="16562" y="10031"/>
                </a:cubicBezTo>
                <a:cubicBezTo>
                  <a:pt x="16562" y="10062"/>
                  <a:pt x="16593" y="10094"/>
                  <a:pt x="16625" y="10094"/>
                </a:cubicBezTo>
                <a:cubicBezTo>
                  <a:pt x="16625" y="10125"/>
                  <a:pt x="16687" y="10125"/>
                  <a:pt x="16718" y="10156"/>
                </a:cubicBezTo>
                <a:cubicBezTo>
                  <a:pt x="16750" y="10187"/>
                  <a:pt x="16781" y="10219"/>
                  <a:pt x="16812" y="10219"/>
                </a:cubicBezTo>
                <a:cubicBezTo>
                  <a:pt x="16718" y="10250"/>
                  <a:pt x="16687" y="10219"/>
                  <a:pt x="16625" y="10187"/>
                </a:cubicBezTo>
                <a:cubicBezTo>
                  <a:pt x="16562" y="10125"/>
                  <a:pt x="16500" y="10094"/>
                  <a:pt x="16437" y="10062"/>
                </a:cubicBezTo>
                <a:cubicBezTo>
                  <a:pt x="16375" y="10031"/>
                  <a:pt x="16343" y="10000"/>
                  <a:pt x="16375" y="9937"/>
                </a:cubicBezTo>
                <a:lnTo>
                  <a:pt x="16375" y="9937"/>
                </a:lnTo>
                <a:cubicBezTo>
                  <a:pt x="16375" y="9937"/>
                  <a:pt x="16375" y="9937"/>
                  <a:pt x="16375" y="9937"/>
                </a:cubicBezTo>
                <a:cubicBezTo>
                  <a:pt x="16312" y="9906"/>
                  <a:pt x="16312" y="9875"/>
                  <a:pt x="16281" y="9844"/>
                </a:cubicBezTo>
                <a:cubicBezTo>
                  <a:pt x="16312" y="9844"/>
                  <a:pt x="16312" y="9844"/>
                  <a:pt x="16312" y="9844"/>
                </a:cubicBezTo>
                <a:cubicBezTo>
                  <a:pt x="16312" y="9844"/>
                  <a:pt x="16312" y="9844"/>
                  <a:pt x="16312" y="9844"/>
                </a:cubicBezTo>
                <a:cubicBezTo>
                  <a:pt x="16312" y="9844"/>
                  <a:pt x="16312" y="9844"/>
                  <a:pt x="16343" y="9844"/>
                </a:cubicBezTo>
                <a:close/>
                <a:moveTo>
                  <a:pt x="16375" y="9812"/>
                </a:moveTo>
                <a:cubicBezTo>
                  <a:pt x="16375" y="9812"/>
                  <a:pt x="16375" y="9812"/>
                  <a:pt x="16375" y="9812"/>
                </a:cubicBezTo>
                <a:cubicBezTo>
                  <a:pt x="16375" y="9812"/>
                  <a:pt x="16406" y="9844"/>
                  <a:pt x="16406" y="9844"/>
                </a:cubicBezTo>
                <a:cubicBezTo>
                  <a:pt x="16406" y="9844"/>
                  <a:pt x="16375" y="9844"/>
                  <a:pt x="16375" y="9844"/>
                </a:cubicBezTo>
                <a:cubicBezTo>
                  <a:pt x="16343" y="9844"/>
                  <a:pt x="16375" y="9812"/>
                  <a:pt x="16375" y="9812"/>
                </a:cubicBezTo>
                <a:close/>
                <a:moveTo>
                  <a:pt x="16406" y="9906"/>
                </a:moveTo>
                <a:cubicBezTo>
                  <a:pt x="16406" y="9875"/>
                  <a:pt x="16437" y="9875"/>
                  <a:pt x="16437" y="9875"/>
                </a:cubicBezTo>
                <a:cubicBezTo>
                  <a:pt x="16468" y="9875"/>
                  <a:pt x="16468" y="9875"/>
                  <a:pt x="16468" y="9906"/>
                </a:cubicBezTo>
                <a:cubicBezTo>
                  <a:pt x="16468" y="9906"/>
                  <a:pt x="16468" y="9906"/>
                  <a:pt x="16437" y="9906"/>
                </a:cubicBezTo>
                <a:cubicBezTo>
                  <a:pt x="16437" y="9906"/>
                  <a:pt x="16406" y="9906"/>
                  <a:pt x="16406" y="9906"/>
                </a:cubicBezTo>
                <a:close/>
                <a:moveTo>
                  <a:pt x="16750" y="11281"/>
                </a:moveTo>
                <a:cubicBezTo>
                  <a:pt x="16781" y="11219"/>
                  <a:pt x="16812" y="11281"/>
                  <a:pt x="16843" y="11250"/>
                </a:cubicBezTo>
                <a:cubicBezTo>
                  <a:pt x="16843" y="11281"/>
                  <a:pt x="16875" y="11312"/>
                  <a:pt x="16875" y="11312"/>
                </a:cubicBezTo>
                <a:cubicBezTo>
                  <a:pt x="16906" y="11312"/>
                  <a:pt x="16937" y="11312"/>
                  <a:pt x="16937" y="11344"/>
                </a:cubicBezTo>
                <a:cubicBezTo>
                  <a:pt x="16906" y="11375"/>
                  <a:pt x="16906" y="11375"/>
                  <a:pt x="16875" y="11375"/>
                </a:cubicBezTo>
                <a:cubicBezTo>
                  <a:pt x="16843" y="11375"/>
                  <a:pt x="16843" y="11344"/>
                  <a:pt x="16812" y="11344"/>
                </a:cubicBezTo>
                <a:cubicBezTo>
                  <a:pt x="16812" y="11344"/>
                  <a:pt x="16812" y="11344"/>
                  <a:pt x="16812" y="11344"/>
                </a:cubicBezTo>
                <a:cubicBezTo>
                  <a:pt x="16812" y="11312"/>
                  <a:pt x="16750" y="11312"/>
                  <a:pt x="16750" y="11281"/>
                </a:cubicBezTo>
                <a:close/>
                <a:moveTo>
                  <a:pt x="16875" y="11250"/>
                </a:moveTo>
                <a:cubicBezTo>
                  <a:pt x="16875" y="11250"/>
                  <a:pt x="16875" y="11250"/>
                  <a:pt x="16843" y="11250"/>
                </a:cubicBezTo>
                <a:cubicBezTo>
                  <a:pt x="16843" y="11219"/>
                  <a:pt x="16812" y="11219"/>
                  <a:pt x="16812" y="11219"/>
                </a:cubicBezTo>
                <a:cubicBezTo>
                  <a:pt x="16781" y="11187"/>
                  <a:pt x="16781" y="11156"/>
                  <a:pt x="16781" y="11156"/>
                </a:cubicBezTo>
                <a:cubicBezTo>
                  <a:pt x="16812" y="11125"/>
                  <a:pt x="16812" y="11156"/>
                  <a:pt x="16843" y="11156"/>
                </a:cubicBezTo>
                <a:cubicBezTo>
                  <a:pt x="16875" y="11187"/>
                  <a:pt x="16875" y="11187"/>
                  <a:pt x="16906" y="11219"/>
                </a:cubicBezTo>
                <a:cubicBezTo>
                  <a:pt x="16937" y="11219"/>
                  <a:pt x="16937" y="11219"/>
                  <a:pt x="16937" y="11250"/>
                </a:cubicBezTo>
                <a:cubicBezTo>
                  <a:pt x="16937" y="11281"/>
                  <a:pt x="16906" y="11281"/>
                  <a:pt x="16875" y="11250"/>
                </a:cubicBezTo>
                <a:close/>
                <a:moveTo>
                  <a:pt x="16812" y="10844"/>
                </a:moveTo>
                <a:cubicBezTo>
                  <a:pt x="16875" y="10812"/>
                  <a:pt x="16906" y="10844"/>
                  <a:pt x="16906" y="10906"/>
                </a:cubicBezTo>
                <a:cubicBezTo>
                  <a:pt x="16875" y="10906"/>
                  <a:pt x="16875" y="10844"/>
                  <a:pt x="16843" y="10906"/>
                </a:cubicBezTo>
                <a:cubicBezTo>
                  <a:pt x="16843" y="10906"/>
                  <a:pt x="16812" y="10875"/>
                  <a:pt x="16812" y="10875"/>
                </a:cubicBezTo>
                <a:cubicBezTo>
                  <a:pt x="16812" y="10844"/>
                  <a:pt x="16812" y="10844"/>
                  <a:pt x="16812" y="10844"/>
                </a:cubicBezTo>
                <a:close/>
                <a:moveTo>
                  <a:pt x="16937" y="11156"/>
                </a:moveTo>
                <a:cubicBezTo>
                  <a:pt x="16906" y="11156"/>
                  <a:pt x="16812" y="11094"/>
                  <a:pt x="16812" y="11062"/>
                </a:cubicBezTo>
                <a:cubicBezTo>
                  <a:pt x="16812" y="11062"/>
                  <a:pt x="16812" y="11031"/>
                  <a:pt x="16812" y="11031"/>
                </a:cubicBezTo>
                <a:cubicBezTo>
                  <a:pt x="16812" y="11031"/>
                  <a:pt x="16843" y="11031"/>
                  <a:pt x="16843" y="11031"/>
                </a:cubicBezTo>
                <a:cubicBezTo>
                  <a:pt x="16875" y="11062"/>
                  <a:pt x="16906" y="11125"/>
                  <a:pt x="16968" y="11125"/>
                </a:cubicBezTo>
                <a:cubicBezTo>
                  <a:pt x="16968" y="11125"/>
                  <a:pt x="16968" y="11125"/>
                  <a:pt x="16968" y="11125"/>
                </a:cubicBezTo>
                <a:cubicBezTo>
                  <a:pt x="16968" y="11156"/>
                  <a:pt x="16968" y="11156"/>
                  <a:pt x="16937" y="11156"/>
                </a:cubicBezTo>
                <a:close/>
                <a:moveTo>
                  <a:pt x="16937" y="11062"/>
                </a:moveTo>
                <a:cubicBezTo>
                  <a:pt x="16875" y="11031"/>
                  <a:pt x="16843" y="11000"/>
                  <a:pt x="16843" y="10906"/>
                </a:cubicBezTo>
                <a:cubicBezTo>
                  <a:pt x="16875" y="10969"/>
                  <a:pt x="16906" y="10969"/>
                  <a:pt x="16906" y="11000"/>
                </a:cubicBezTo>
                <a:cubicBezTo>
                  <a:pt x="16906" y="11031"/>
                  <a:pt x="16937" y="11000"/>
                  <a:pt x="16937" y="11000"/>
                </a:cubicBezTo>
                <a:cubicBezTo>
                  <a:pt x="16968" y="11031"/>
                  <a:pt x="16968" y="11000"/>
                  <a:pt x="17000" y="11031"/>
                </a:cubicBezTo>
                <a:cubicBezTo>
                  <a:pt x="17000" y="11031"/>
                  <a:pt x="16968" y="11062"/>
                  <a:pt x="16968" y="11062"/>
                </a:cubicBezTo>
                <a:cubicBezTo>
                  <a:pt x="16968" y="11094"/>
                  <a:pt x="16937" y="11062"/>
                  <a:pt x="16937" y="11062"/>
                </a:cubicBezTo>
                <a:close/>
                <a:moveTo>
                  <a:pt x="16812" y="10625"/>
                </a:moveTo>
                <a:cubicBezTo>
                  <a:pt x="16843" y="10625"/>
                  <a:pt x="16843" y="10625"/>
                  <a:pt x="16843" y="10625"/>
                </a:cubicBezTo>
                <a:cubicBezTo>
                  <a:pt x="16843" y="10625"/>
                  <a:pt x="16843" y="10625"/>
                  <a:pt x="16843" y="10625"/>
                </a:cubicBezTo>
                <a:cubicBezTo>
                  <a:pt x="16906" y="10625"/>
                  <a:pt x="16937" y="10625"/>
                  <a:pt x="16968" y="10687"/>
                </a:cubicBezTo>
                <a:cubicBezTo>
                  <a:pt x="16875" y="10719"/>
                  <a:pt x="16843" y="10687"/>
                  <a:pt x="16812" y="10625"/>
                </a:cubicBezTo>
                <a:close/>
                <a:moveTo>
                  <a:pt x="16875" y="10406"/>
                </a:moveTo>
                <a:cubicBezTo>
                  <a:pt x="16875" y="10406"/>
                  <a:pt x="16843" y="10406"/>
                  <a:pt x="16843" y="10406"/>
                </a:cubicBezTo>
                <a:cubicBezTo>
                  <a:pt x="16843" y="10406"/>
                  <a:pt x="16843" y="10406"/>
                  <a:pt x="16843" y="10406"/>
                </a:cubicBezTo>
                <a:cubicBezTo>
                  <a:pt x="16781" y="10437"/>
                  <a:pt x="16750" y="10375"/>
                  <a:pt x="16687" y="10344"/>
                </a:cubicBezTo>
                <a:cubicBezTo>
                  <a:pt x="16625" y="10281"/>
                  <a:pt x="16531" y="10250"/>
                  <a:pt x="16437" y="10156"/>
                </a:cubicBezTo>
                <a:cubicBezTo>
                  <a:pt x="16406" y="10125"/>
                  <a:pt x="16375" y="10094"/>
                  <a:pt x="16343" y="10031"/>
                </a:cubicBezTo>
                <a:cubicBezTo>
                  <a:pt x="16468" y="10094"/>
                  <a:pt x="16531" y="10187"/>
                  <a:pt x="16656" y="10250"/>
                </a:cubicBezTo>
                <a:cubicBezTo>
                  <a:pt x="16718" y="10281"/>
                  <a:pt x="16781" y="10312"/>
                  <a:pt x="16843" y="10344"/>
                </a:cubicBezTo>
                <a:cubicBezTo>
                  <a:pt x="16843" y="10375"/>
                  <a:pt x="16875" y="10344"/>
                  <a:pt x="16875" y="10406"/>
                </a:cubicBezTo>
                <a:cubicBezTo>
                  <a:pt x="16875" y="10406"/>
                  <a:pt x="16906" y="10406"/>
                  <a:pt x="16906" y="10406"/>
                </a:cubicBezTo>
                <a:cubicBezTo>
                  <a:pt x="16906" y="10406"/>
                  <a:pt x="16875" y="10406"/>
                  <a:pt x="16875" y="10406"/>
                </a:cubicBezTo>
                <a:close/>
                <a:moveTo>
                  <a:pt x="16750" y="10719"/>
                </a:moveTo>
                <a:cubicBezTo>
                  <a:pt x="16750" y="10719"/>
                  <a:pt x="16750" y="10719"/>
                  <a:pt x="16750" y="10687"/>
                </a:cubicBezTo>
                <a:cubicBezTo>
                  <a:pt x="16750" y="10719"/>
                  <a:pt x="16750" y="10719"/>
                  <a:pt x="16750" y="10719"/>
                </a:cubicBezTo>
                <a:close/>
                <a:moveTo>
                  <a:pt x="16437" y="10219"/>
                </a:moveTo>
                <a:cubicBezTo>
                  <a:pt x="16375" y="10219"/>
                  <a:pt x="16375" y="10187"/>
                  <a:pt x="16343" y="10156"/>
                </a:cubicBezTo>
                <a:cubicBezTo>
                  <a:pt x="16375" y="10156"/>
                  <a:pt x="16406" y="10187"/>
                  <a:pt x="16437" y="10219"/>
                </a:cubicBezTo>
                <a:cubicBezTo>
                  <a:pt x="16500" y="10250"/>
                  <a:pt x="16562" y="10312"/>
                  <a:pt x="16593" y="10344"/>
                </a:cubicBezTo>
                <a:cubicBezTo>
                  <a:pt x="16593" y="10344"/>
                  <a:pt x="16593" y="10375"/>
                  <a:pt x="16593" y="10375"/>
                </a:cubicBezTo>
                <a:cubicBezTo>
                  <a:pt x="16531" y="10312"/>
                  <a:pt x="16468" y="10312"/>
                  <a:pt x="16437" y="10219"/>
                </a:cubicBezTo>
                <a:close/>
                <a:moveTo>
                  <a:pt x="16562" y="10594"/>
                </a:moveTo>
                <a:cubicBezTo>
                  <a:pt x="16500" y="10656"/>
                  <a:pt x="16468" y="10594"/>
                  <a:pt x="16406" y="10562"/>
                </a:cubicBezTo>
                <a:cubicBezTo>
                  <a:pt x="16468" y="10531"/>
                  <a:pt x="16531" y="10562"/>
                  <a:pt x="16562" y="10594"/>
                </a:cubicBezTo>
                <a:close/>
                <a:moveTo>
                  <a:pt x="16875" y="10281"/>
                </a:moveTo>
                <a:cubicBezTo>
                  <a:pt x="16875" y="10281"/>
                  <a:pt x="16843" y="10281"/>
                  <a:pt x="16843" y="10281"/>
                </a:cubicBezTo>
                <a:cubicBezTo>
                  <a:pt x="16812" y="10281"/>
                  <a:pt x="16750" y="10281"/>
                  <a:pt x="16812" y="10219"/>
                </a:cubicBezTo>
                <a:cubicBezTo>
                  <a:pt x="16812" y="10281"/>
                  <a:pt x="16906" y="10250"/>
                  <a:pt x="16937" y="10281"/>
                </a:cubicBezTo>
                <a:cubicBezTo>
                  <a:pt x="16906" y="10281"/>
                  <a:pt x="16906" y="10281"/>
                  <a:pt x="16906" y="10281"/>
                </a:cubicBezTo>
                <a:cubicBezTo>
                  <a:pt x="16906" y="10281"/>
                  <a:pt x="16906" y="10281"/>
                  <a:pt x="16875" y="10281"/>
                </a:cubicBezTo>
                <a:close/>
                <a:moveTo>
                  <a:pt x="16875" y="10187"/>
                </a:moveTo>
                <a:cubicBezTo>
                  <a:pt x="16812" y="10156"/>
                  <a:pt x="16750" y="10125"/>
                  <a:pt x="16687" y="10094"/>
                </a:cubicBezTo>
                <a:cubicBezTo>
                  <a:pt x="16687" y="10094"/>
                  <a:pt x="16656" y="10062"/>
                  <a:pt x="16625" y="10094"/>
                </a:cubicBezTo>
                <a:cubicBezTo>
                  <a:pt x="16625" y="10031"/>
                  <a:pt x="16593" y="10031"/>
                  <a:pt x="16562" y="10031"/>
                </a:cubicBezTo>
                <a:cubicBezTo>
                  <a:pt x="16562" y="10000"/>
                  <a:pt x="16531" y="10000"/>
                  <a:pt x="16500" y="9969"/>
                </a:cubicBezTo>
                <a:cubicBezTo>
                  <a:pt x="16468" y="9969"/>
                  <a:pt x="16468" y="9937"/>
                  <a:pt x="16500" y="9937"/>
                </a:cubicBezTo>
                <a:cubicBezTo>
                  <a:pt x="16500" y="9937"/>
                  <a:pt x="16500" y="9937"/>
                  <a:pt x="16500" y="9937"/>
                </a:cubicBezTo>
                <a:cubicBezTo>
                  <a:pt x="16500" y="9937"/>
                  <a:pt x="16531" y="9937"/>
                  <a:pt x="16531" y="9937"/>
                </a:cubicBezTo>
                <a:cubicBezTo>
                  <a:pt x="16562" y="10000"/>
                  <a:pt x="16656" y="10000"/>
                  <a:pt x="16687" y="10031"/>
                </a:cubicBezTo>
                <a:cubicBezTo>
                  <a:pt x="16750" y="10062"/>
                  <a:pt x="16812" y="10094"/>
                  <a:pt x="16906" y="10125"/>
                </a:cubicBezTo>
                <a:cubicBezTo>
                  <a:pt x="16906" y="10125"/>
                  <a:pt x="16937" y="10125"/>
                  <a:pt x="16937" y="10156"/>
                </a:cubicBezTo>
                <a:cubicBezTo>
                  <a:pt x="16937" y="10187"/>
                  <a:pt x="16906" y="10187"/>
                  <a:pt x="16875" y="10187"/>
                </a:cubicBezTo>
                <a:close/>
                <a:moveTo>
                  <a:pt x="16343" y="10562"/>
                </a:moveTo>
                <a:cubicBezTo>
                  <a:pt x="16375" y="10562"/>
                  <a:pt x="16406" y="10594"/>
                  <a:pt x="16406" y="10625"/>
                </a:cubicBezTo>
                <a:cubicBezTo>
                  <a:pt x="16406" y="10625"/>
                  <a:pt x="16406" y="10656"/>
                  <a:pt x="16375" y="10656"/>
                </a:cubicBezTo>
                <a:cubicBezTo>
                  <a:pt x="16343" y="10656"/>
                  <a:pt x="16312" y="10625"/>
                  <a:pt x="16312" y="10594"/>
                </a:cubicBezTo>
                <a:cubicBezTo>
                  <a:pt x="16312" y="10562"/>
                  <a:pt x="16343" y="10562"/>
                  <a:pt x="16343" y="10562"/>
                </a:cubicBezTo>
                <a:close/>
                <a:moveTo>
                  <a:pt x="16531" y="10719"/>
                </a:moveTo>
                <a:cubicBezTo>
                  <a:pt x="16531" y="10719"/>
                  <a:pt x="16500" y="10750"/>
                  <a:pt x="16500" y="10750"/>
                </a:cubicBezTo>
                <a:cubicBezTo>
                  <a:pt x="16437" y="10750"/>
                  <a:pt x="16437" y="10687"/>
                  <a:pt x="16375" y="10687"/>
                </a:cubicBezTo>
                <a:cubicBezTo>
                  <a:pt x="16468" y="10594"/>
                  <a:pt x="16500" y="10687"/>
                  <a:pt x="16531" y="10719"/>
                </a:cubicBezTo>
                <a:close/>
                <a:moveTo>
                  <a:pt x="16406" y="10750"/>
                </a:moveTo>
                <a:cubicBezTo>
                  <a:pt x="16437" y="10781"/>
                  <a:pt x="16468" y="10781"/>
                  <a:pt x="16500" y="10812"/>
                </a:cubicBezTo>
                <a:cubicBezTo>
                  <a:pt x="16468" y="10844"/>
                  <a:pt x="16437" y="10844"/>
                  <a:pt x="16406" y="10812"/>
                </a:cubicBezTo>
                <a:cubicBezTo>
                  <a:pt x="16375" y="10812"/>
                  <a:pt x="16375" y="10781"/>
                  <a:pt x="16375" y="10781"/>
                </a:cubicBezTo>
                <a:cubicBezTo>
                  <a:pt x="16375" y="10750"/>
                  <a:pt x="16406" y="10750"/>
                  <a:pt x="16406" y="10750"/>
                </a:cubicBezTo>
                <a:close/>
                <a:moveTo>
                  <a:pt x="16312" y="11312"/>
                </a:moveTo>
                <a:cubicBezTo>
                  <a:pt x="16312" y="11312"/>
                  <a:pt x="16312" y="11312"/>
                  <a:pt x="16281" y="11312"/>
                </a:cubicBezTo>
                <a:cubicBezTo>
                  <a:pt x="16281" y="11312"/>
                  <a:pt x="16281" y="11312"/>
                  <a:pt x="16281" y="11344"/>
                </a:cubicBezTo>
                <a:cubicBezTo>
                  <a:pt x="16281" y="11312"/>
                  <a:pt x="16281" y="11312"/>
                  <a:pt x="16281" y="11312"/>
                </a:cubicBezTo>
                <a:cubicBezTo>
                  <a:pt x="16312" y="11312"/>
                  <a:pt x="16312" y="11312"/>
                  <a:pt x="16312" y="11312"/>
                </a:cubicBezTo>
                <a:close/>
                <a:moveTo>
                  <a:pt x="16281" y="10844"/>
                </a:moveTo>
                <a:cubicBezTo>
                  <a:pt x="16281" y="10844"/>
                  <a:pt x="16281" y="10844"/>
                  <a:pt x="16281" y="10844"/>
                </a:cubicBezTo>
                <a:cubicBezTo>
                  <a:pt x="16250" y="10844"/>
                  <a:pt x="16281" y="10812"/>
                  <a:pt x="16250" y="10812"/>
                </a:cubicBezTo>
                <a:cubicBezTo>
                  <a:pt x="16281" y="10781"/>
                  <a:pt x="16281" y="10781"/>
                  <a:pt x="16281" y="10781"/>
                </a:cubicBezTo>
                <a:cubicBezTo>
                  <a:pt x="16281" y="10812"/>
                  <a:pt x="16281" y="10812"/>
                  <a:pt x="16281" y="10844"/>
                </a:cubicBezTo>
                <a:close/>
                <a:moveTo>
                  <a:pt x="16500" y="11812"/>
                </a:moveTo>
                <a:cubicBezTo>
                  <a:pt x="16531" y="11812"/>
                  <a:pt x="16531" y="11812"/>
                  <a:pt x="16562" y="11844"/>
                </a:cubicBezTo>
                <a:cubicBezTo>
                  <a:pt x="16531" y="11875"/>
                  <a:pt x="16500" y="11875"/>
                  <a:pt x="16468" y="11844"/>
                </a:cubicBezTo>
                <a:cubicBezTo>
                  <a:pt x="16468" y="11844"/>
                  <a:pt x="16468" y="11812"/>
                  <a:pt x="16500" y="11812"/>
                </a:cubicBezTo>
                <a:close/>
                <a:moveTo>
                  <a:pt x="16500" y="11062"/>
                </a:moveTo>
                <a:cubicBezTo>
                  <a:pt x="16468" y="11031"/>
                  <a:pt x="16468" y="11000"/>
                  <a:pt x="16437" y="10969"/>
                </a:cubicBezTo>
                <a:cubicBezTo>
                  <a:pt x="16468" y="10969"/>
                  <a:pt x="16500" y="10937"/>
                  <a:pt x="16531" y="11000"/>
                </a:cubicBezTo>
                <a:cubicBezTo>
                  <a:pt x="16500" y="11000"/>
                  <a:pt x="16500" y="11000"/>
                  <a:pt x="16500" y="11031"/>
                </a:cubicBezTo>
                <a:cubicBezTo>
                  <a:pt x="16500" y="11031"/>
                  <a:pt x="16531" y="11000"/>
                  <a:pt x="16531" y="11000"/>
                </a:cubicBezTo>
                <a:cubicBezTo>
                  <a:pt x="16531" y="11031"/>
                  <a:pt x="16593" y="11031"/>
                  <a:pt x="16562" y="11062"/>
                </a:cubicBezTo>
                <a:cubicBezTo>
                  <a:pt x="16562" y="11062"/>
                  <a:pt x="16531" y="11062"/>
                  <a:pt x="16500" y="11062"/>
                </a:cubicBezTo>
                <a:close/>
                <a:moveTo>
                  <a:pt x="16562" y="10969"/>
                </a:moveTo>
                <a:cubicBezTo>
                  <a:pt x="16625" y="10969"/>
                  <a:pt x="16656" y="10969"/>
                  <a:pt x="16656" y="11031"/>
                </a:cubicBezTo>
                <a:cubicBezTo>
                  <a:pt x="16687" y="11031"/>
                  <a:pt x="16687" y="11031"/>
                  <a:pt x="16656" y="11031"/>
                </a:cubicBezTo>
                <a:cubicBezTo>
                  <a:pt x="16625" y="11031"/>
                  <a:pt x="16593" y="11000"/>
                  <a:pt x="16562" y="10969"/>
                </a:cubicBezTo>
                <a:close/>
                <a:moveTo>
                  <a:pt x="16968" y="11594"/>
                </a:moveTo>
                <a:cubicBezTo>
                  <a:pt x="16968" y="11594"/>
                  <a:pt x="16968" y="11625"/>
                  <a:pt x="16968" y="11625"/>
                </a:cubicBezTo>
                <a:cubicBezTo>
                  <a:pt x="16937" y="11625"/>
                  <a:pt x="16906" y="11594"/>
                  <a:pt x="16875" y="11594"/>
                </a:cubicBezTo>
                <a:cubicBezTo>
                  <a:pt x="16906" y="11562"/>
                  <a:pt x="16937" y="11562"/>
                  <a:pt x="16968" y="11594"/>
                </a:cubicBezTo>
                <a:close/>
                <a:moveTo>
                  <a:pt x="16906" y="11469"/>
                </a:moveTo>
                <a:cubicBezTo>
                  <a:pt x="16968" y="11469"/>
                  <a:pt x="17000" y="11469"/>
                  <a:pt x="17031" y="11531"/>
                </a:cubicBezTo>
                <a:cubicBezTo>
                  <a:pt x="16968" y="11531"/>
                  <a:pt x="16937" y="11531"/>
                  <a:pt x="16906" y="11469"/>
                </a:cubicBezTo>
                <a:close/>
                <a:moveTo>
                  <a:pt x="16968" y="11437"/>
                </a:moveTo>
                <a:cubicBezTo>
                  <a:pt x="16968" y="11406"/>
                  <a:pt x="16937" y="11406"/>
                  <a:pt x="16937" y="11375"/>
                </a:cubicBezTo>
                <a:cubicBezTo>
                  <a:pt x="16968" y="11375"/>
                  <a:pt x="16968" y="11375"/>
                  <a:pt x="17000" y="11375"/>
                </a:cubicBezTo>
                <a:cubicBezTo>
                  <a:pt x="17031" y="11406"/>
                  <a:pt x="17031" y="11406"/>
                  <a:pt x="17031" y="11437"/>
                </a:cubicBezTo>
                <a:cubicBezTo>
                  <a:pt x="17031" y="11437"/>
                  <a:pt x="17000" y="11437"/>
                  <a:pt x="16968" y="11437"/>
                </a:cubicBezTo>
                <a:close/>
                <a:moveTo>
                  <a:pt x="17031" y="11344"/>
                </a:moveTo>
                <a:cubicBezTo>
                  <a:pt x="17000" y="11375"/>
                  <a:pt x="16968" y="11312"/>
                  <a:pt x="16937" y="11312"/>
                </a:cubicBezTo>
                <a:cubicBezTo>
                  <a:pt x="16937" y="11281"/>
                  <a:pt x="16937" y="11281"/>
                  <a:pt x="16937" y="11281"/>
                </a:cubicBezTo>
                <a:cubicBezTo>
                  <a:pt x="17000" y="11250"/>
                  <a:pt x="17000" y="11281"/>
                  <a:pt x="17031" y="11312"/>
                </a:cubicBezTo>
                <a:cubicBezTo>
                  <a:pt x="17062" y="11312"/>
                  <a:pt x="17031" y="11312"/>
                  <a:pt x="17031" y="11344"/>
                </a:cubicBezTo>
                <a:close/>
                <a:moveTo>
                  <a:pt x="16968" y="11187"/>
                </a:moveTo>
                <a:cubicBezTo>
                  <a:pt x="17031" y="11156"/>
                  <a:pt x="17062" y="11187"/>
                  <a:pt x="17093" y="11219"/>
                </a:cubicBezTo>
                <a:cubicBezTo>
                  <a:pt x="17031" y="11250"/>
                  <a:pt x="17000" y="11219"/>
                  <a:pt x="16968" y="11187"/>
                </a:cubicBezTo>
                <a:close/>
                <a:moveTo>
                  <a:pt x="16937" y="10969"/>
                </a:moveTo>
                <a:cubicBezTo>
                  <a:pt x="16937" y="10937"/>
                  <a:pt x="16906" y="10937"/>
                  <a:pt x="16937" y="10937"/>
                </a:cubicBezTo>
                <a:cubicBezTo>
                  <a:pt x="16968" y="10906"/>
                  <a:pt x="17000" y="10906"/>
                  <a:pt x="17031" y="10937"/>
                </a:cubicBezTo>
                <a:cubicBezTo>
                  <a:pt x="17000" y="10969"/>
                  <a:pt x="16968" y="11000"/>
                  <a:pt x="16937" y="10969"/>
                </a:cubicBezTo>
                <a:close/>
                <a:moveTo>
                  <a:pt x="17031" y="10344"/>
                </a:moveTo>
                <a:cubicBezTo>
                  <a:pt x="17000" y="10375"/>
                  <a:pt x="16937" y="10375"/>
                  <a:pt x="16906" y="10344"/>
                </a:cubicBezTo>
                <a:cubicBezTo>
                  <a:pt x="16906" y="10344"/>
                  <a:pt x="16906" y="10312"/>
                  <a:pt x="16906" y="10312"/>
                </a:cubicBezTo>
                <a:cubicBezTo>
                  <a:pt x="16906" y="10312"/>
                  <a:pt x="16906" y="10312"/>
                  <a:pt x="16906" y="10312"/>
                </a:cubicBezTo>
                <a:cubicBezTo>
                  <a:pt x="16937" y="10312"/>
                  <a:pt x="16937" y="10312"/>
                  <a:pt x="16937" y="10312"/>
                </a:cubicBezTo>
                <a:cubicBezTo>
                  <a:pt x="16937" y="10312"/>
                  <a:pt x="16937" y="10281"/>
                  <a:pt x="16937" y="10281"/>
                </a:cubicBezTo>
                <a:cubicBezTo>
                  <a:pt x="16937" y="10281"/>
                  <a:pt x="16937" y="10312"/>
                  <a:pt x="16937" y="10312"/>
                </a:cubicBezTo>
                <a:cubicBezTo>
                  <a:pt x="16937" y="10312"/>
                  <a:pt x="16968" y="10312"/>
                  <a:pt x="16968" y="10312"/>
                </a:cubicBezTo>
                <a:cubicBezTo>
                  <a:pt x="16968" y="10312"/>
                  <a:pt x="16968" y="10312"/>
                  <a:pt x="17000" y="10312"/>
                </a:cubicBezTo>
                <a:cubicBezTo>
                  <a:pt x="17000" y="10312"/>
                  <a:pt x="17062" y="10344"/>
                  <a:pt x="17031" y="10344"/>
                </a:cubicBezTo>
                <a:close/>
                <a:moveTo>
                  <a:pt x="16343" y="10500"/>
                </a:moveTo>
                <a:cubicBezTo>
                  <a:pt x="16312" y="10562"/>
                  <a:pt x="16250" y="10531"/>
                  <a:pt x="16218" y="10531"/>
                </a:cubicBezTo>
                <a:cubicBezTo>
                  <a:pt x="16218" y="10469"/>
                  <a:pt x="16250" y="10469"/>
                  <a:pt x="16343" y="10500"/>
                </a:cubicBezTo>
                <a:close/>
                <a:moveTo>
                  <a:pt x="16250" y="10687"/>
                </a:moveTo>
                <a:cubicBezTo>
                  <a:pt x="16250" y="10719"/>
                  <a:pt x="16281" y="10719"/>
                  <a:pt x="16281" y="10750"/>
                </a:cubicBezTo>
                <a:cubicBezTo>
                  <a:pt x="16281" y="10781"/>
                  <a:pt x="16250" y="10781"/>
                  <a:pt x="16218" y="10750"/>
                </a:cubicBezTo>
                <a:cubicBezTo>
                  <a:pt x="16218" y="10750"/>
                  <a:pt x="16218" y="10750"/>
                  <a:pt x="16218" y="10719"/>
                </a:cubicBezTo>
                <a:cubicBezTo>
                  <a:pt x="16218" y="10719"/>
                  <a:pt x="16187" y="10719"/>
                  <a:pt x="16187" y="10687"/>
                </a:cubicBezTo>
                <a:cubicBezTo>
                  <a:pt x="16187" y="10687"/>
                  <a:pt x="16218" y="10687"/>
                  <a:pt x="16250" y="10687"/>
                </a:cubicBezTo>
                <a:close/>
                <a:moveTo>
                  <a:pt x="16187" y="12031"/>
                </a:moveTo>
                <a:cubicBezTo>
                  <a:pt x="16187" y="12031"/>
                  <a:pt x="16187" y="12000"/>
                  <a:pt x="16187" y="12000"/>
                </a:cubicBezTo>
                <a:cubicBezTo>
                  <a:pt x="16250" y="12000"/>
                  <a:pt x="16281" y="12000"/>
                  <a:pt x="16312" y="12031"/>
                </a:cubicBezTo>
                <a:cubicBezTo>
                  <a:pt x="16312" y="12031"/>
                  <a:pt x="16343" y="12031"/>
                  <a:pt x="16343" y="12062"/>
                </a:cubicBezTo>
                <a:cubicBezTo>
                  <a:pt x="16281" y="12094"/>
                  <a:pt x="16250" y="12031"/>
                  <a:pt x="16187" y="12031"/>
                </a:cubicBezTo>
                <a:close/>
                <a:moveTo>
                  <a:pt x="16281" y="12281"/>
                </a:moveTo>
                <a:cubicBezTo>
                  <a:pt x="16250" y="12281"/>
                  <a:pt x="16218" y="12281"/>
                  <a:pt x="16218" y="12250"/>
                </a:cubicBezTo>
                <a:cubicBezTo>
                  <a:pt x="16187" y="12219"/>
                  <a:pt x="16218" y="12219"/>
                  <a:pt x="16250" y="12219"/>
                </a:cubicBezTo>
                <a:cubicBezTo>
                  <a:pt x="16281" y="12219"/>
                  <a:pt x="16312" y="12219"/>
                  <a:pt x="16312" y="12281"/>
                </a:cubicBezTo>
                <a:cubicBezTo>
                  <a:pt x="16343" y="12312"/>
                  <a:pt x="16281" y="12281"/>
                  <a:pt x="16281" y="12281"/>
                </a:cubicBezTo>
                <a:close/>
                <a:moveTo>
                  <a:pt x="16375" y="12312"/>
                </a:moveTo>
                <a:cubicBezTo>
                  <a:pt x="16375" y="12312"/>
                  <a:pt x="16375" y="12312"/>
                  <a:pt x="16375" y="12312"/>
                </a:cubicBezTo>
                <a:cubicBezTo>
                  <a:pt x="16406" y="12250"/>
                  <a:pt x="16312" y="12250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281" y="12187"/>
                  <a:pt x="16250" y="12187"/>
                  <a:pt x="16218" y="12156"/>
                </a:cubicBezTo>
                <a:cubicBezTo>
                  <a:pt x="16218" y="12094"/>
                  <a:pt x="16250" y="12094"/>
                  <a:pt x="16281" y="12125"/>
                </a:cubicBezTo>
                <a:cubicBezTo>
                  <a:pt x="16312" y="12125"/>
                  <a:pt x="16312" y="12156"/>
                  <a:pt x="16343" y="12187"/>
                </a:cubicBezTo>
                <a:lnTo>
                  <a:pt x="16343" y="12187"/>
                </a:lnTo>
                <a:cubicBezTo>
                  <a:pt x="16343" y="12187"/>
                  <a:pt x="16343" y="12187"/>
                  <a:pt x="16343" y="12187"/>
                </a:cubicBezTo>
                <a:cubicBezTo>
                  <a:pt x="16375" y="12187"/>
                  <a:pt x="16375" y="12187"/>
                  <a:pt x="16406" y="12219"/>
                </a:cubicBezTo>
                <a:cubicBezTo>
                  <a:pt x="16437" y="12250"/>
                  <a:pt x="16500" y="12281"/>
                  <a:pt x="16406" y="12312"/>
                </a:cubicBezTo>
                <a:cubicBezTo>
                  <a:pt x="16406" y="12312"/>
                  <a:pt x="16406" y="12312"/>
                  <a:pt x="16375" y="12312"/>
                </a:cubicBezTo>
                <a:cubicBezTo>
                  <a:pt x="16375" y="12312"/>
                  <a:pt x="16375" y="12312"/>
                  <a:pt x="16375" y="12312"/>
                </a:cubicBezTo>
                <a:close/>
                <a:moveTo>
                  <a:pt x="16531" y="15062"/>
                </a:moveTo>
                <a:cubicBezTo>
                  <a:pt x="16500" y="15094"/>
                  <a:pt x="16468" y="15094"/>
                  <a:pt x="16468" y="15125"/>
                </a:cubicBezTo>
                <a:cubicBezTo>
                  <a:pt x="16437" y="15156"/>
                  <a:pt x="16437" y="15125"/>
                  <a:pt x="16437" y="15125"/>
                </a:cubicBezTo>
                <a:cubicBezTo>
                  <a:pt x="16406" y="15094"/>
                  <a:pt x="16406" y="15062"/>
                  <a:pt x="16437" y="15031"/>
                </a:cubicBezTo>
                <a:cubicBezTo>
                  <a:pt x="16468" y="15031"/>
                  <a:pt x="16500" y="15000"/>
                  <a:pt x="16531" y="15000"/>
                </a:cubicBezTo>
                <a:cubicBezTo>
                  <a:pt x="16531" y="15000"/>
                  <a:pt x="16531" y="15031"/>
                  <a:pt x="16531" y="15062"/>
                </a:cubicBezTo>
                <a:close/>
                <a:moveTo>
                  <a:pt x="16468" y="12094"/>
                </a:moveTo>
                <a:cubicBezTo>
                  <a:pt x="16468" y="12062"/>
                  <a:pt x="16468" y="12062"/>
                  <a:pt x="16468" y="12062"/>
                </a:cubicBezTo>
                <a:cubicBezTo>
                  <a:pt x="16531" y="12031"/>
                  <a:pt x="16531" y="12094"/>
                  <a:pt x="16593" y="12094"/>
                </a:cubicBezTo>
                <a:cubicBezTo>
                  <a:pt x="16531" y="12125"/>
                  <a:pt x="16500" y="12125"/>
                  <a:pt x="16468" y="12094"/>
                </a:cubicBezTo>
                <a:close/>
                <a:moveTo>
                  <a:pt x="16593" y="11781"/>
                </a:moveTo>
                <a:cubicBezTo>
                  <a:pt x="16562" y="11781"/>
                  <a:pt x="16531" y="11781"/>
                  <a:pt x="16500" y="11750"/>
                </a:cubicBezTo>
                <a:cubicBezTo>
                  <a:pt x="16531" y="11750"/>
                  <a:pt x="16562" y="11719"/>
                  <a:pt x="16593" y="11750"/>
                </a:cubicBezTo>
                <a:cubicBezTo>
                  <a:pt x="16593" y="11750"/>
                  <a:pt x="16593" y="11781"/>
                  <a:pt x="16593" y="11781"/>
                </a:cubicBezTo>
                <a:close/>
                <a:moveTo>
                  <a:pt x="16625" y="11625"/>
                </a:moveTo>
                <a:cubicBezTo>
                  <a:pt x="16562" y="11625"/>
                  <a:pt x="16593" y="11594"/>
                  <a:pt x="16593" y="11562"/>
                </a:cubicBezTo>
                <a:cubicBezTo>
                  <a:pt x="16625" y="11531"/>
                  <a:pt x="16562" y="11531"/>
                  <a:pt x="16562" y="11500"/>
                </a:cubicBezTo>
                <a:cubicBezTo>
                  <a:pt x="16562" y="11469"/>
                  <a:pt x="16531" y="11469"/>
                  <a:pt x="16562" y="11437"/>
                </a:cubicBezTo>
                <a:cubicBezTo>
                  <a:pt x="16562" y="11406"/>
                  <a:pt x="16593" y="11406"/>
                  <a:pt x="16625" y="11437"/>
                </a:cubicBezTo>
                <a:cubicBezTo>
                  <a:pt x="16625" y="11437"/>
                  <a:pt x="16625" y="11437"/>
                  <a:pt x="16656" y="11437"/>
                </a:cubicBezTo>
                <a:cubicBezTo>
                  <a:pt x="16656" y="11469"/>
                  <a:pt x="16687" y="11531"/>
                  <a:pt x="16750" y="11531"/>
                </a:cubicBezTo>
                <a:cubicBezTo>
                  <a:pt x="16750" y="11531"/>
                  <a:pt x="16781" y="11562"/>
                  <a:pt x="16750" y="11562"/>
                </a:cubicBezTo>
                <a:cubicBezTo>
                  <a:pt x="16750" y="11594"/>
                  <a:pt x="16718" y="11594"/>
                  <a:pt x="16718" y="11594"/>
                </a:cubicBezTo>
                <a:cubicBezTo>
                  <a:pt x="16687" y="11562"/>
                  <a:pt x="16656" y="11562"/>
                  <a:pt x="16625" y="11562"/>
                </a:cubicBezTo>
                <a:cubicBezTo>
                  <a:pt x="16687" y="11594"/>
                  <a:pt x="16750" y="11656"/>
                  <a:pt x="16781" y="11687"/>
                </a:cubicBezTo>
                <a:cubicBezTo>
                  <a:pt x="16812" y="11687"/>
                  <a:pt x="16843" y="11687"/>
                  <a:pt x="16812" y="11719"/>
                </a:cubicBezTo>
                <a:cubicBezTo>
                  <a:pt x="16812" y="11750"/>
                  <a:pt x="16781" y="11750"/>
                  <a:pt x="16750" y="11719"/>
                </a:cubicBezTo>
                <a:cubicBezTo>
                  <a:pt x="16750" y="11719"/>
                  <a:pt x="16718" y="11687"/>
                  <a:pt x="16687" y="11719"/>
                </a:cubicBezTo>
                <a:cubicBezTo>
                  <a:pt x="16750" y="11750"/>
                  <a:pt x="16812" y="11812"/>
                  <a:pt x="16843" y="11875"/>
                </a:cubicBezTo>
                <a:cubicBezTo>
                  <a:pt x="16843" y="11875"/>
                  <a:pt x="16843" y="11875"/>
                  <a:pt x="16843" y="11906"/>
                </a:cubicBezTo>
                <a:cubicBezTo>
                  <a:pt x="16843" y="11875"/>
                  <a:pt x="16812" y="11875"/>
                  <a:pt x="16781" y="11875"/>
                </a:cubicBezTo>
                <a:cubicBezTo>
                  <a:pt x="16781" y="11875"/>
                  <a:pt x="16781" y="11844"/>
                  <a:pt x="16781" y="11844"/>
                </a:cubicBezTo>
                <a:cubicBezTo>
                  <a:pt x="16687" y="11844"/>
                  <a:pt x="16656" y="11750"/>
                  <a:pt x="16656" y="11656"/>
                </a:cubicBezTo>
                <a:cubicBezTo>
                  <a:pt x="16625" y="11625"/>
                  <a:pt x="16656" y="11625"/>
                  <a:pt x="16625" y="11625"/>
                </a:cubicBezTo>
                <a:close/>
                <a:moveTo>
                  <a:pt x="16656" y="12469"/>
                </a:moveTo>
                <a:cubicBezTo>
                  <a:pt x="16656" y="12469"/>
                  <a:pt x="16687" y="12469"/>
                  <a:pt x="16687" y="12469"/>
                </a:cubicBezTo>
                <a:cubicBezTo>
                  <a:pt x="16687" y="12469"/>
                  <a:pt x="16656" y="12469"/>
                  <a:pt x="16656" y="12469"/>
                </a:cubicBezTo>
                <a:close/>
                <a:moveTo>
                  <a:pt x="16687" y="11875"/>
                </a:moveTo>
                <a:cubicBezTo>
                  <a:pt x="16687" y="11875"/>
                  <a:pt x="16718" y="11875"/>
                  <a:pt x="16750" y="11875"/>
                </a:cubicBezTo>
                <a:cubicBezTo>
                  <a:pt x="16750" y="11875"/>
                  <a:pt x="16781" y="11906"/>
                  <a:pt x="16781" y="11875"/>
                </a:cubicBezTo>
                <a:cubicBezTo>
                  <a:pt x="16781" y="11937"/>
                  <a:pt x="16812" y="11937"/>
                  <a:pt x="16843" y="11937"/>
                </a:cubicBezTo>
                <a:cubicBezTo>
                  <a:pt x="16843" y="11969"/>
                  <a:pt x="16875" y="11969"/>
                  <a:pt x="16843" y="12000"/>
                </a:cubicBezTo>
                <a:cubicBezTo>
                  <a:pt x="16843" y="12000"/>
                  <a:pt x="16812" y="12000"/>
                  <a:pt x="16812" y="12000"/>
                </a:cubicBezTo>
                <a:cubicBezTo>
                  <a:pt x="16781" y="11969"/>
                  <a:pt x="16750" y="11969"/>
                  <a:pt x="16718" y="11937"/>
                </a:cubicBezTo>
                <a:cubicBezTo>
                  <a:pt x="16687" y="11906"/>
                  <a:pt x="16656" y="11906"/>
                  <a:pt x="16687" y="11875"/>
                </a:cubicBezTo>
                <a:close/>
                <a:moveTo>
                  <a:pt x="16718" y="12437"/>
                </a:move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ubicBezTo>
                  <a:pt x="16718" y="12437"/>
                  <a:pt x="16718" y="12437"/>
                  <a:pt x="16718" y="12437"/>
                </a:cubicBezTo>
                <a:close/>
                <a:moveTo>
                  <a:pt x="16718" y="12437"/>
                </a:moveTo>
                <a:cubicBezTo>
                  <a:pt x="16718" y="12437"/>
                  <a:pt x="16718" y="12437"/>
                  <a:pt x="16718" y="12437"/>
                </a:cubicBezTo>
                <a:cubicBezTo>
                  <a:pt x="16750" y="12437"/>
                  <a:pt x="16750" y="12437"/>
                  <a:pt x="16750" y="12469"/>
                </a:cubicBezTo>
                <a:cubicBezTo>
                  <a:pt x="16750" y="12437"/>
                  <a:pt x="16750" y="12437"/>
                  <a:pt x="16718" y="12437"/>
                </a:cubicBezTo>
                <a:close/>
                <a:moveTo>
                  <a:pt x="16781" y="13500"/>
                </a:moveTo>
                <a:cubicBezTo>
                  <a:pt x="16781" y="13469"/>
                  <a:pt x="16812" y="13469"/>
                  <a:pt x="16812" y="13437"/>
                </a:cubicBezTo>
                <a:cubicBezTo>
                  <a:pt x="16812" y="13469"/>
                  <a:pt x="16781" y="13469"/>
                  <a:pt x="16781" y="13500"/>
                </a:cubicBezTo>
                <a:close/>
                <a:moveTo>
                  <a:pt x="16812" y="12125"/>
                </a:moveTo>
                <a:cubicBezTo>
                  <a:pt x="16750" y="12094"/>
                  <a:pt x="16718" y="12062"/>
                  <a:pt x="16718" y="12031"/>
                </a:cubicBezTo>
                <a:cubicBezTo>
                  <a:pt x="16718" y="12000"/>
                  <a:pt x="16718" y="12000"/>
                  <a:pt x="16750" y="12000"/>
                </a:cubicBezTo>
                <a:cubicBezTo>
                  <a:pt x="16781" y="12031"/>
                  <a:pt x="16812" y="12031"/>
                  <a:pt x="16843" y="12094"/>
                </a:cubicBezTo>
                <a:cubicBezTo>
                  <a:pt x="16843" y="12094"/>
                  <a:pt x="16812" y="12125"/>
                  <a:pt x="16812" y="12125"/>
                </a:cubicBezTo>
                <a:close/>
                <a:moveTo>
                  <a:pt x="16843" y="14719"/>
                </a:moveTo>
                <a:cubicBezTo>
                  <a:pt x="16843" y="14719"/>
                  <a:pt x="16843" y="14719"/>
                  <a:pt x="16843" y="14719"/>
                </a:cubicBezTo>
                <a:cubicBezTo>
                  <a:pt x="16843" y="14750"/>
                  <a:pt x="16843" y="14781"/>
                  <a:pt x="16843" y="14844"/>
                </a:cubicBezTo>
                <a:cubicBezTo>
                  <a:pt x="16843" y="14781"/>
                  <a:pt x="16843" y="14750"/>
                  <a:pt x="16843" y="14719"/>
                </a:cubicBezTo>
                <a:close/>
                <a:moveTo>
                  <a:pt x="16843" y="14719"/>
                </a:moveTo>
                <a:cubicBezTo>
                  <a:pt x="16843" y="14719"/>
                  <a:pt x="16843" y="14719"/>
                  <a:pt x="16843" y="14719"/>
                </a:cubicBezTo>
                <a:cubicBezTo>
                  <a:pt x="16843" y="14719"/>
                  <a:pt x="16843" y="14719"/>
                  <a:pt x="16843" y="14719"/>
                </a:cubicBezTo>
                <a:close/>
                <a:moveTo>
                  <a:pt x="16843" y="14844"/>
                </a:moveTo>
                <a:cubicBezTo>
                  <a:pt x="16843" y="14844"/>
                  <a:pt x="16843" y="14844"/>
                  <a:pt x="16843" y="14844"/>
                </a:cubicBezTo>
                <a:cubicBezTo>
                  <a:pt x="16843" y="14812"/>
                  <a:pt x="16875" y="14812"/>
                  <a:pt x="16875" y="14812"/>
                </a:cubicBezTo>
                <a:cubicBezTo>
                  <a:pt x="16875" y="14812"/>
                  <a:pt x="16843" y="14812"/>
                  <a:pt x="16843" y="14844"/>
                </a:cubicBezTo>
                <a:close/>
                <a:moveTo>
                  <a:pt x="16875" y="14094"/>
                </a:move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ubicBezTo>
                  <a:pt x="16875" y="14094"/>
                  <a:pt x="16875" y="14094"/>
                  <a:pt x="16875" y="14094"/>
                </a:cubicBezTo>
                <a:close/>
                <a:moveTo>
                  <a:pt x="16875" y="13969"/>
                </a:moveTo>
                <a:cubicBezTo>
                  <a:pt x="16906" y="14000"/>
                  <a:pt x="16906" y="14031"/>
                  <a:pt x="16937" y="14062"/>
                </a:cubicBezTo>
                <a:cubicBezTo>
                  <a:pt x="16937" y="14062"/>
                  <a:pt x="16937" y="14062"/>
                  <a:pt x="16937" y="14062"/>
                </a:cubicBezTo>
                <a:cubicBezTo>
                  <a:pt x="16906" y="14031"/>
                  <a:pt x="16906" y="14000"/>
                  <a:pt x="16875" y="13969"/>
                </a:cubicBezTo>
                <a:close/>
                <a:moveTo>
                  <a:pt x="16937" y="11719"/>
                </a:moveTo>
                <a:cubicBezTo>
                  <a:pt x="16906" y="11750"/>
                  <a:pt x="16875" y="11687"/>
                  <a:pt x="16843" y="11687"/>
                </a:cubicBezTo>
                <a:cubicBezTo>
                  <a:pt x="16875" y="11656"/>
                  <a:pt x="16906" y="11656"/>
                  <a:pt x="16937" y="11687"/>
                </a:cubicBezTo>
                <a:cubicBezTo>
                  <a:pt x="16937" y="11687"/>
                  <a:pt x="16968" y="11719"/>
                  <a:pt x="16937" y="11719"/>
                </a:cubicBezTo>
                <a:close/>
                <a:moveTo>
                  <a:pt x="17062" y="14031"/>
                </a:moveTo>
                <a:cubicBezTo>
                  <a:pt x="17062" y="14031"/>
                  <a:pt x="17062" y="14000"/>
                  <a:pt x="17062" y="14000"/>
                </a:cubicBezTo>
                <a:cubicBezTo>
                  <a:pt x="17062" y="14000"/>
                  <a:pt x="17062" y="14031"/>
                  <a:pt x="17062" y="14031"/>
                </a:cubicBezTo>
                <a:close/>
                <a:moveTo>
                  <a:pt x="17062" y="12312"/>
                </a:moveTo>
                <a:cubicBezTo>
                  <a:pt x="17062" y="12312"/>
                  <a:pt x="17031" y="12312"/>
                  <a:pt x="17031" y="12312"/>
                </a:cubicBezTo>
                <a:cubicBezTo>
                  <a:pt x="17031" y="12312"/>
                  <a:pt x="17031" y="12281"/>
                  <a:pt x="17031" y="12281"/>
                </a:cubicBezTo>
                <a:cubicBezTo>
                  <a:pt x="17000" y="12250"/>
                  <a:pt x="17000" y="12250"/>
                  <a:pt x="17000" y="12250"/>
                </a:cubicBezTo>
                <a:cubicBezTo>
                  <a:pt x="17000" y="12250"/>
                  <a:pt x="17000" y="12219"/>
                  <a:pt x="16968" y="12219"/>
                </a:cubicBezTo>
                <a:cubicBezTo>
                  <a:pt x="16968" y="12219"/>
                  <a:pt x="16968" y="12219"/>
                  <a:pt x="16968" y="12219"/>
                </a:cubicBezTo>
                <a:cubicBezTo>
                  <a:pt x="16968" y="12219"/>
                  <a:pt x="16968" y="12219"/>
                  <a:pt x="16968" y="12219"/>
                </a:cubicBezTo>
                <a:cubicBezTo>
                  <a:pt x="16968" y="12219"/>
                  <a:pt x="16968" y="12187"/>
                  <a:pt x="17000" y="12187"/>
                </a:cubicBezTo>
                <a:cubicBezTo>
                  <a:pt x="17000" y="12187"/>
                  <a:pt x="17031" y="12187"/>
                  <a:pt x="17031" y="12219"/>
                </a:cubicBezTo>
                <a:cubicBezTo>
                  <a:pt x="17031" y="12219"/>
                  <a:pt x="17031" y="12250"/>
                  <a:pt x="17062" y="12250"/>
                </a:cubicBezTo>
                <a:cubicBezTo>
                  <a:pt x="17062" y="12250"/>
                  <a:pt x="17062" y="12281"/>
                  <a:pt x="17062" y="12312"/>
                </a:cubicBezTo>
                <a:close/>
                <a:moveTo>
                  <a:pt x="17093" y="12000"/>
                </a:moveTo>
                <a:cubicBezTo>
                  <a:pt x="17093" y="12000"/>
                  <a:pt x="17093" y="12000"/>
                  <a:pt x="17093" y="12000"/>
                </a:cubicBezTo>
                <a:cubicBezTo>
                  <a:pt x="17093" y="12000"/>
                  <a:pt x="17093" y="12000"/>
                  <a:pt x="17093" y="12000"/>
                </a:cubicBezTo>
                <a:cubicBezTo>
                  <a:pt x="17093" y="12000"/>
                  <a:pt x="17093" y="12000"/>
                  <a:pt x="17093" y="12000"/>
                </a:cubicBezTo>
                <a:close/>
                <a:moveTo>
                  <a:pt x="17125" y="14750"/>
                </a:moveTo>
                <a:cubicBezTo>
                  <a:pt x="17093" y="14750"/>
                  <a:pt x="17093" y="14781"/>
                  <a:pt x="17093" y="14781"/>
                </a:cubicBezTo>
                <a:cubicBezTo>
                  <a:pt x="17093" y="14781"/>
                  <a:pt x="17093" y="14750"/>
                  <a:pt x="17125" y="14750"/>
                </a:cubicBezTo>
                <a:cubicBezTo>
                  <a:pt x="17125" y="14750"/>
                  <a:pt x="17125" y="14719"/>
                  <a:pt x="17125" y="14719"/>
                </a:cubicBezTo>
                <a:cubicBezTo>
                  <a:pt x="17125" y="14719"/>
                  <a:pt x="17125" y="14750"/>
                  <a:pt x="17125" y="14750"/>
                </a:cubicBezTo>
                <a:close/>
                <a:moveTo>
                  <a:pt x="17156" y="11312"/>
                </a:moveTo>
                <a:cubicBezTo>
                  <a:pt x="17125" y="11312"/>
                  <a:pt x="17093" y="11281"/>
                  <a:pt x="17093" y="11250"/>
                </a:cubicBezTo>
                <a:cubicBezTo>
                  <a:pt x="17125" y="11250"/>
                  <a:pt x="17156" y="11250"/>
                  <a:pt x="17187" y="11281"/>
                </a:cubicBezTo>
                <a:cubicBezTo>
                  <a:pt x="17187" y="11281"/>
                  <a:pt x="17187" y="11281"/>
                  <a:pt x="17156" y="11312"/>
                </a:cubicBezTo>
                <a:close/>
                <a:moveTo>
                  <a:pt x="17156" y="10812"/>
                </a:moveTo>
                <a:cubicBezTo>
                  <a:pt x="17187" y="10812"/>
                  <a:pt x="17187" y="10812"/>
                  <a:pt x="17187" y="10812"/>
                </a:cubicBezTo>
                <a:cubicBezTo>
                  <a:pt x="17187" y="10844"/>
                  <a:pt x="17250" y="10812"/>
                  <a:pt x="17250" y="10875"/>
                </a:cubicBezTo>
                <a:cubicBezTo>
                  <a:pt x="17218" y="10875"/>
                  <a:pt x="17187" y="10875"/>
                  <a:pt x="17156" y="10812"/>
                </a:cubicBezTo>
                <a:close/>
                <a:moveTo>
                  <a:pt x="17218" y="11219"/>
                </a:moveTo>
                <a:cubicBezTo>
                  <a:pt x="17218" y="11219"/>
                  <a:pt x="17218" y="11219"/>
                  <a:pt x="17218" y="11219"/>
                </a:cubicBezTo>
                <a:cubicBezTo>
                  <a:pt x="17218" y="11219"/>
                  <a:pt x="17218" y="11219"/>
                  <a:pt x="17218" y="11219"/>
                </a:cubicBezTo>
                <a:cubicBezTo>
                  <a:pt x="17218" y="11219"/>
                  <a:pt x="17218" y="11219"/>
                  <a:pt x="17218" y="11219"/>
                </a:cubicBezTo>
                <a:close/>
                <a:moveTo>
                  <a:pt x="17187" y="12031"/>
                </a:moveTo>
                <a:cubicBezTo>
                  <a:pt x="17187" y="12000"/>
                  <a:pt x="17218" y="12000"/>
                  <a:pt x="17218" y="12000"/>
                </a:cubicBezTo>
                <a:cubicBezTo>
                  <a:pt x="17218" y="12000"/>
                  <a:pt x="17187" y="12000"/>
                  <a:pt x="17187" y="12031"/>
                </a:cubicBezTo>
                <a:close/>
                <a:moveTo>
                  <a:pt x="17218" y="11969"/>
                </a:moveTo>
                <a:cubicBezTo>
                  <a:pt x="17218" y="11969"/>
                  <a:pt x="17218" y="12000"/>
                  <a:pt x="17218" y="12000"/>
                </a:cubicBezTo>
                <a:cubicBezTo>
                  <a:pt x="17218" y="12000"/>
                  <a:pt x="17218" y="11969"/>
                  <a:pt x="17218" y="11969"/>
                </a:cubicBezTo>
                <a:close/>
                <a:moveTo>
                  <a:pt x="17281" y="11719"/>
                </a:moveTo>
                <a:cubicBezTo>
                  <a:pt x="17250" y="11719"/>
                  <a:pt x="17250" y="11656"/>
                  <a:pt x="17218" y="11625"/>
                </a:cubicBezTo>
                <a:cubicBezTo>
                  <a:pt x="17218" y="11625"/>
                  <a:pt x="17218" y="11594"/>
                  <a:pt x="17218" y="11594"/>
                </a:cubicBezTo>
                <a:cubicBezTo>
                  <a:pt x="17218" y="11594"/>
                  <a:pt x="17250" y="11594"/>
                  <a:pt x="17250" y="11594"/>
                </a:cubicBezTo>
                <a:cubicBezTo>
                  <a:pt x="17250" y="11625"/>
                  <a:pt x="17250" y="11656"/>
                  <a:pt x="17312" y="11656"/>
                </a:cubicBezTo>
                <a:cubicBezTo>
                  <a:pt x="17281" y="11687"/>
                  <a:pt x="17312" y="11719"/>
                  <a:pt x="17281" y="11719"/>
                </a:cubicBezTo>
                <a:close/>
                <a:moveTo>
                  <a:pt x="17250" y="9406"/>
                </a:moveTo>
                <a:cubicBezTo>
                  <a:pt x="17250" y="9406"/>
                  <a:pt x="17250" y="9406"/>
                  <a:pt x="17250" y="9437"/>
                </a:cubicBezTo>
                <a:cubicBezTo>
                  <a:pt x="17250" y="9437"/>
                  <a:pt x="17250" y="9437"/>
                  <a:pt x="17250" y="9437"/>
                </a:cubicBezTo>
                <a:cubicBezTo>
                  <a:pt x="17250" y="9406"/>
                  <a:pt x="17250" y="9406"/>
                  <a:pt x="17250" y="9406"/>
                </a:cubicBezTo>
                <a:close/>
                <a:moveTo>
                  <a:pt x="17281" y="9437"/>
                </a:moveTo>
                <a:cubicBezTo>
                  <a:pt x="17281" y="9437"/>
                  <a:pt x="17281" y="9437"/>
                  <a:pt x="17250" y="9437"/>
                </a:cubicBezTo>
                <a:cubicBezTo>
                  <a:pt x="17250" y="9437"/>
                  <a:pt x="17250" y="9437"/>
                  <a:pt x="17250" y="9437"/>
                </a:cubicBezTo>
                <a:cubicBezTo>
                  <a:pt x="17281" y="9437"/>
                  <a:pt x="17281" y="9437"/>
                  <a:pt x="17281" y="9437"/>
                </a:cubicBezTo>
                <a:close/>
                <a:moveTo>
                  <a:pt x="17312" y="10937"/>
                </a:moveTo>
                <a:cubicBezTo>
                  <a:pt x="17312" y="10937"/>
                  <a:pt x="17312" y="10937"/>
                  <a:pt x="17312" y="10937"/>
                </a:cubicBezTo>
                <a:cubicBezTo>
                  <a:pt x="17312" y="10937"/>
                  <a:pt x="17312" y="10937"/>
                  <a:pt x="17312" y="10937"/>
                </a:cubicBezTo>
                <a:cubicBezTo>
                  <a:pt x="17281" y="10937"/>
                  <a:pt x="17250" y="10906"/>
                  <a:pt x="17250" y="10875"/>
                </a:cubicBezTo>
                <a:cubicBezTo>
                  <a:pt x="17281" y="10875"/>
                  <a:pt x="17312" y="10875"/>
                  <a:pt x="17312" y="10937"/>
                </a:cubicBezTo>
                <a:close/>
                <a:moveTo>
                  <a:pt x="17406" y="9906"/>
                </a:moveTo>
                <a:cubicBezTo>
                  <a:pt x="17375" y="9906"/>
                  <a:pt x="17343" y="9906"/>
                  <a:pt x="17312" y="9906"/>
                </a:cubicBezTo>
                <a:cubicBezTo>
                  <a:pt x="17312" y="9906"/>
                  <a:pt x="17312" y="9906"/>
                  <a:pt x="17312" y="9906"/>
                </a:cubicBezTo>
                <a:cubicBezTo>
                  <a:pt x="17343" y="9906"/>
                  <a:pt x="17375" y="9906"/>
                  <a:pt x="17406" y="9906"/>
                </a:cubicBezTo>
                <a:close/>
                <a:moveTo>
                  <a:pt x="17375" y="9375"/>
                </a:moveTo>
                <a:cubicBezTo>
                  <a:pt x="17375" y="9375"/>
                  <a:pt x="17375" y="9375"/>
                  <a:pt x="17375" y="9375"/>
                </a:cubicBezTo>
                <a:cubicBezTo>
                  <a:pt x="17375" y="9375"/>
                  <a:pt x="17375" y="9375"/>
                  <a:pt x="17375" y="9375"/>
                </a:cubicBezTo>
                <a:cubicBezTo>
                  <a:pt x="17375" y="9375"/>
                  <a:pt x="17375" y="9375"/>
                  <a:pt x="17375" y="9375"/>
                </a:cubicBezTo>
                <a:close/>
                <a:moveTo>
                  <a:pt x="17375" y="10562"/>
                </a:moveTo>
                <a:cubicBezTo>
                  <a:pt x="17375" y="10562"/>
                  <a:pt x="17375" y="10562"/>
                  <a:pt x="17375" y="10562"/>
                </a:cubicBezTo>
                <a:cubicBezTo>
                  <a:pt x="17343" y="10562"/>
                  <a:pt x="17343" y="10562"/>
                  <a:pt x="17312" y="10562"/>
                </a:cubicBezTo>
                <a:cubicBezTo>
                  <a:pt x="17343" y="10562"/>
                  <a:pt x="17343" y="10562"/>
                  <a:pt x="17375" y="10562"/>
                </a:cubicBezTo>
                <a:close/>
                <a:moveTo>
                  <a:pt x="17281" y="11219"/>
                </a:moveTo>
                <a:cubicBezTo>
                  <a:pt x="17281" y="11187"/>
                  <a:pt x="17281" y="11187"/>
                  <a:pt x="17281" y="11187"/>
                </a:cubicBezTo>
                <a:cubicBezTo>
                  <a:pt x="17312" y="11187"/>
                  <a:pt x="17312" y="11187"/>
                  <a:pt x="17312" y="11187"/>
                </a:cubicBezTo>
                <a:cubicBezTo>
                  <a:pt x="17343" y="11219"/>
                  <a:pt x="17406" y="11250"/>
                  <a:pt x="17406" y="11344"/>
                </a:cubicBezTo>
                <a:cubicBezTo>
                  <a:pt x="17343" y="11281"/>
                  <a:pt x="17312" y="11250"/>
                  <a:pt x="17281" y="11219"/>
                </a:cubicBezTo>
                <a:close/>
                <a:moveTo>
                  <a:pt x="17406" y="12031"/>
                </a:moveTo>
                <a:cubicBezTo>
                  <a:pt x="17406" y="12031"/>
                  <a:pt x="17406" y="12031"/>
                  <a:pt x="17406" y="12031"/>
                </a:cubicBezTo>
                <a:cubicBezTo>
                  <a:pt x="17406" y="12031"/>
                  <a:pt x="17406" y="12031"/>
                  <a:pt x="17406" y="12031"/>
                </a:cubicBezTo>
                <a:close/>
                <a:moveTo>
                  <a:pt x="17437" y="14812"/>
                </a:moveTo>
                <a:cubicBezTo>
                  <a:pt x="17437" y="14812"/>
                  <a:pt x="17437" y="14781"/>
                  <a:pt x="17406" y="14781"/>
                </a:cubicBezTo>
                <a:cubicBezTo>
                  <a:pt x="17406" y="14781"/>
                  <a:pt x="17406" y="14781"/>
                  <a:pt x="17406" y="14781"/>
                </a:cubicBezTo>
                <a:cubicBezTo>
                  <a:pt x="17437" y="14781"/>
                  <a:pt x="17437" y="14812"/>
                  <a:pt x="17437" y="14812"/>
                </a:cubicBezTo>
                <a:close/>
                <a:moveTo>
                  <a:pt x="17406" y="10281"/>
                </a:moveTo>
                <a:cubicBezTo>
                  <a:pt x="17437" y="10281"/>
                  <a:pt x="17437" y="10281"/>
                  <a:pt x="17437" y="10281"/>
                </a:cubicBezTo>
                <a:cubicBezTo>
                  <a:pt x="17437" y="10281"/>
                  <a:pt x="17437" y="10281"/>
                  <a:pt x="17437" y="10281"/>
                </a:cubicBezTo>
                <a:cubicBezTo>
                  <a:pt x="17437" y="10281"/>
                  <a:pt x="17437" y="10281"/>
                  <a:pt x="17406" y="10281"/>
                </a:cubicBezTo>
                <a:close/>
                <a:moveTo>
                  <a:pt x="17437" y="5312"/>
                </a:moveTo>
                <a:cubicBezTo>
                  <a:pt x="17437" y="5312"/>
                  <a:pt x="17437" y="5312"/>
                  <a:pt x="17437" y="5312"/>
                </a:cubicBezTo>
                <a:cubicBezTo>
                  <a:pt x="17437" y="5312"/>
                  <a:pt x="17437" y="5312"/>
                  <a:pt x="17437" y="5312"/>
                </a:cubicBezTo>
                <a:close/>
                <a:moveTo>
                  <a:pt x="17437" y="5437"/>
                </a:moveTo>
                <a:cubicBezTo>
                  <a:pt x="17437" y="5375"/>
                  <a:pt x="17406" y="5344"/>
                  <a:pt x="17375" y="5312"/>
                </a:cubicBezTo>
                <a:cubicBezTo>
                  <a:pt x="17406" y="5344"/>
                  <a:pt x="17437" y="5375"/>
                  <a:pt x="17437" y="5437"/>
                </a:cubicBezTo>
                <a:cubicBezTo>
                  <a:pt x="17437" y="5437"/>
                  <a:pt x="17437" y="5437"/>
                  <a:pt x="17437" y="5437"/>
                </a:cubicBezTo>
                <a:close/>
                <a:moveTo>
                  <a:pt x="17406" y="8000"/>
                </a:moveTo>
                <a:cubicBezTo>
                  <a:pt x="17375" y="7969"/>
                  <a:pt x="17343" y="7937"/>
                  <a:pt x="17312" y="7937"/>
                </a:cubicBezTo>
                <a:cubicBezTo>
                  <a:pt x="17312" y="7937"/>
                  <a:pt x="17312" y="7937"/>
                  <a:pt x="17312" y="7937"/>
                </a:cubicBezTo>
                <a:cubicBezTo>
                  <a:pt x="17343" y="7937"/>
                  <a:pt x="17375" y="7969"/>
                  <a:pt x="17406" y="8000"/>
                </a:cubicBezTo>
                <a:close/>
                <a:moveTo>
                  <a:pt x="17375" y="5031"/>
                </a:moveTo>
                <a:cubicBezTo>
                  <a:pt x="17375" y="5031"/>
                  <a:pt x="17375" y="5031"/>
                  <a:pt x="17375" y="5031"/>
                </a:cubicBezTo>
                <a:cubicBezTo>
                  <a:pt x="17406" y="5031"/>
                  <a:pt x="17406" y="5031"/>
                  <a:pt x="17406" y="5031"/>
                </a:cubicBezTo>
                <a:cubicBezTo>
                  <a:pt x="17406" y="5031"/>
                  <a:pt x="17406" y="5031"/>
                  <a:pt x="17375" y="5031"/>
                </a:cubicBezTo>
                <a:close/>
                <a:moveTo>
                  <a:pt x="17437" y="5000"/>
                </a:moveTo>
                <a:cubicBezTo>
                  <a:pt x="17437" y="5000"/>
                  <a:pt x="17437" y="5000"/>
                  <a:pt x="17437" y="5000"/>
                </a:cubicBezTo>
                <a:cubicBezTo>
                  <a:pt x="17406" y="5000"/>
                  <a:pt x="17406" y="4969"/>
                  <a:pt x="17375" y="4969"/>
                </a:cubicBezTo>
                <a:cubicBezTo>
                  <a:pt x="17406" y="4969"/>
                  <a:pt x="17406" y="5000"/>
                  <a:pt x="17437" y="5000"/>
                </a:cubicBezTo>
                <a:close/>
                <a:moveTo>
                  <a:pt x="17218" y="3500"/>
                </a:moveTo>
                <a:cubicBezTo>
                  <a:pt x="17250" y="3500"/>
                  <a:pt x="17250" y="3500"/>
                  <a:pt x="17250" y="3531"/>
                </a:cubicBezTo>
                <a:cubicBezTo>
                  <a:pt x="17250" y="3500"/>
                  <a:pt x="17250" y="3500"/>
                  <a:pt x="17218" y="3500"/>
                </a:cubicBezTo>
                <a:close/>
                <a:moveTo>
                  <a:pt x="17218" y="3625"/>
                </a:moveTo>
                <a:cubicBezTo>
                  <a:pt x="17218" y="3625"/>
                  <a:pt x="17218" y="3625"/>
                  <a:pt x="17218" y="3625"/>
                </a:cubicBezTo>
                <a:cubicBezTo>
                  <a:pt x="17218" y="3625"/>
                  <a:pt x="17218" y="3625"/>
                  <a:pt x="17218" y="3625"/>
                </a:cubicBezTo>
                <a:cubicBezTo>
                  <a:pt x="17218" y="3625"/>
                  <a:pt x="17218" y="3625"/>
                  <a:pt x="17218" y="3625"/>
                </a:cubicBezTo>
                <a:close/>
                <a:moveTo>
                  <a:pt x="17343" y="4125"/>
                </a:moveTo>
                <a:cubicBezTo>
                  <a:pt x="17343" y="4125"/>
                  <a:pt x="17343" y="4125"/>
                  <a:pt x="17312" y="4125"/>
                </a:cubicBezTo>
                <a:cubicBezTo>
                  <a:pt x="17281" y="4125"/>
                  <a:pt x="17250" y="4094"/>
                  <a:pt x="17250" y="4062"/>
                </a:cubicBezTo>
                <a:cubicBezTo>
                  <a:pt x="17250" y="4031"/>
                  <a:pt x="17218" y="4031"/>
                  <a:pt x="17218" y="4031"/>
                </a:cubicBezTo>
                <a:cubicBezTo>
                  <a:pt x="17218" y="4062"/>
                  <a:pt x="17218" y="4062"/>
                  <a:pt x="17218" y="4094"/>
                </a:cubicBezTo>
                <a:cubicBezTo>
                  <a:pt x="17250" y="4094"/>
                  <a:pt x="17281" y="4094"/>
                  <a:pt x="17250" y="4125"/>
                </a:cubicBezTo>
                <a:cubicBezTo>
                  <a:pt x="17218" y="4156"/>
                  <a:pt x="17218" y="4125"/>
                  <a:pt x="17218" y="4094"/>
                </a:cubicBezTo>
                <a:cubicBezTo>
                  <a:pt x="17187" y="4094"/>
                  <a:pt x="17187" y="4062"/>
                  <a:pt x="17156" y="4031"/>
                </a:cubicBezTo>
                <a:cubicBezTo>
                  <a:pt x="17125" y="4031"/>
                  <a:pt x="17093" y="4000"/>
                  <a:pt x="17156" y="4000"/>
                </a:cubicBezTo>
                <a:cubicBezTo>
                  <a:pt x="17187" y="3969"/>
                  <a:pt x="17156" y="3969"/>
                  <a:pt x="17156" y="3937"/>
                </a:cubicBezTo>
                <a:cubicBezTo>
                  <a:pt x="17125" y="3937"/>
                  <a:pt x="17125" y="3906"/>
                  <a:pt x="17125" y="3906"/>
                </a:cubicBezTo>
                <a:cubicBezTo>
                  <a:pt x="17125" y="3875"/>
                  <a:pt x="17125" y="3875"/>
                  <a:pt x="17156" y="3875"/>
                </a:cubicBezTo>
                <a:cubicBezTo>
                  <a:pt x="17218" y="3937"/>
                  <a:pt x="17281" y="4031"/>
                  <a:pt x="17343" y="4125"/>
                </a:cubicBezTo>
                <a:close/>
                <a:moveTo>
                  <a:pt x="17218" y="3500"/>
                </a:moveTo>
                <a:cubicBezTo>
                  <a:pt x="17218" y="3500"/>
                  <a:pt x="17218" y="3500"/>
                  <a:pt x="17218" y="3500"/>
                </a:cubicBezTo>
                <a:cubicBezTo>
                  <a:pt x="17218" y="3500"/>
                  <a:pt x="17218" y="3469"/>
                  <a:pt x="17187" y="3469"/>
                </a:cubicBezTo>
                <a:cubicBezTo>
                  <a:pt x="17218" y="3469"/>
                  <a:pt x="17218" y="3500"/>
                  <a:pt x="17218" y="3500"/>
                </a:cubicBezTo>
                <a:close/>
                <a:moveTo>
                  <a:pt x="17093" y="3437"/>
                </a:moveTo>
                <a:cubicBezTo>
                  <a:pt x="17125" y="3437"/>
                  <a:pt x="17125" y="3469"/>
                  <a:pt x="17125" y="3469"/>
                </a:cubicBezTo>
                <a:cubicBezTo>
                  <a:pt x="17156" y="3469"/>
                  <a:pt x="17156" y="3500"/>
                  <a:pt x="17156" y="3500"/>
                </a:cubicBezTo>
                <a:cubicBezTo>
                  <a:pt x="17156" y="3531"/>
                  <a:pt x="17156" y="3531"/>
                  <a:pt x="17156" y="3531"/>
                </a:cubicBezTo>
                <a:cubicBezTo>
                  <a:pt x="17125" y="3531"/>
                  <a:pt x="17125" y="3500"/>
                  <a:pt x="17125" y="3469"/>
                </a:cubicBezTo>
                <a:cubicBezTo>
                  <a:pt x="17093" y="3469"/>
                  <a:pt x="17093" y="3469"/>
                  <a:pt x="17093" y="3437"/>
                </a:cubicBezTo>
                <a:cubicBezTo>
                  <a:pt x="17093" y="3437"/>
                  <a:pt x="17093" y="3437"/>
                  <a:pt x="17093" y="3437"/>
                </a:cubicBezTo>
                <a:close/>
                <a:moveTo>
                  <a:pt x="17031" y="3594"/>
                </a:moveTo>
                <a:cubicBezTo>
                  <a:pt x="17062" y="3594"/>
                  <a:pt x="17093" y="3625"/>
                  <a:pt x="17093" y="3625"/>
                </a:cubicBezTo>
                <a:cubicBezTo>
                  <a:pt x="17093" y="3656"/>
                  <a:pt x="17093" y="3656"/>
                  <a:pt x="17062" y="3656"/>
                </a:cubicBezTo>
                <a:cubicBezTo>
                  <a:pt x="17062" y="3625"/>
                  <a:pt x="17000" y="3625"/>
                  <a:pt x="17000" y="3594"/>
                </a:cubicBezTo>
                <a:cubicBezTo>
                  <a:pt x="17031" y="3594"/>
                  <a:pt x="17031" y="3562"/>
                  <a:pt x="17031" y="3594"/>
                </a:cubicBezTo>
                <a:close/>
                <a:moveTo>
                  <a:pt x="16937" y="3500"/>
                </a:moveTo>
                <a:cubicBezTo>
                  <a:pt x="16937" y="3500"/>
                  <a:pt x="16968" y="3500"/>
                  <a:pt x="17000" y="3562"/>
                </a:cubicBezTo>
                <a:cubicBezTo>
                  <a:pt x="17000" y="3562"/>
                  <a:pt x="16968" y="3562"/>
                  <a:pt x="16968" y="3562"/>
                </a:cubicBezTo>
                <a:cubicBezTo>
                  <a:pt x="16937" y="3562"/>
                  <a:pt x="16906" y="3531"/>
                  <a:pt x="16906" y="3500"/>
                </a:cubicBezTo>
                <a:cubicBezTo>
                  <a:pt x="16906" y="3500"/>
                  <a:pt x="16906" y="3500"/>
                  <a:pt x="16937" y="3500"/>
                </a:cubicBezTo>
                <a:close/>
                <a:moveTo>
                  <a:pt x="17000" y="3687"/>
                </a:moveTo>
                <a:cubicBezTo>
                  <a:pt x="16937" y="3687"/>
                  <a:pt x="16937" y="3687"/>
                  <a:pt x="16906" y="3656"/>
                </a:cubicBezTo>
                <a:cubicBezTo>
                  <a:pt x="16906" y="3625"/>
                  <a:pt x="16906" y="3625"/>
                  <a:pt x="16937" y="3625"/>
                </a:cubicBezTo>
                <a:cubicBezTo>
                  <a:pt x="16968" y="3625"/>
                  <a:pt x="16968" y="3625"/>
                  <a:pt x="17000" y="3687"/>
                </a:cubicBezTo>
                <a:close/>
                <a:moveTo>
                  <a:pt x="16906" y="4156"/>
                </a:moveTo>
                <a:cubicBezTo>
                  <a:pt x="16906" y="4156"/>
                  <a:pt x="16937" y="4156"/>
                  <a:pt x="16937" y="4156"/>
                </a:cubicBezTo>
                <a:cubicBezTo>
                  <a:pt x="16906" y="4062"/>
                  <a:pt x="17031" y="4094"/>
                  <a:pt x="17031" y="4031"/>
                </a:cubicBezTo>
                <a:cubicBezTo>
                  <a:pt x="17125" y="4031"/>
                  <a:pt x="17156" y="4094"/>
                  <a:pt x="17187" y="4156"/>
                </a:cubicBezTo>
                <a:cubicBezTo>
                  <a:pt x="17125" y="4156"/>
                  <a:pt x="17125" y="4125"/>
                  <a:pt x="17062" y="4125"/>
                </a:cubicBezTo>
                <a:cubicBezTo>
                  <a:pt x="17062" y="4156"/>
                  <a:pt x="17156" y="4219"/>
                  <a:pt x="17062" y="4250"/>
                </a:cubicBezTo>
                <a:cubicBezTo>
                  <a:pt x="17125" y="4250"/>
                  <a:pt x="17156" y="4219"/>
                  <a:pt x="17187" y="4187"/>
                </a:cubicBezTo>
                <a:cubicBezTo>
                  <a:pt x="17218" y="4187"/>
                  <a:pt x="17218" y="4187"/>
                  <a:pt x="17250" y="4187"/>
                </a:cubicBezTo>
                <a:cubicBezTo>
                  <a:pt x="17281" y="4219"/>
                  <a:pt x="17312" y="4250"/>
                  <a:pt x="17343" y="4312"/>
                </a:cubicBezTo>
                <a:cubicBezTo>
                  <a:pt x="17406" y="4375"/>
                  <a:pt x="17406" y="4406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00"/>
                  <a:pt x="17312" y="4500"/>
                  <a:pt x="17312" y="4500"/>
                </a:cubicBezTo>
                <a:cubicBezTo>
                  <a:pt x="17312" y="4531"/>
                  <a:pt x="17312" y="4531"/>
                  <a:pt x="17312" y="4562"/>
                </a:cubicBezTo>
                <a:cubicBezTo>
                  <a:pt x="17312" y="4531"/>
                  <a:pt x="17312" y="4531"/>
                  <a:pt x="17312" y="4500"/>
                </a:cubicBezTo>
                <a:cubicBezTo>
                  <a:pt x="17250" y="4500"/>
                  <a:pt x="17250" y="4531"/>
                  <a:pt x="17281" y="4562"/>
                </a:cubicBezTo>
                <a:cubicBezTo>
                  <a:pt x="17281" y="4594"/>
                  <a:pt x="17281" y="4594"/>
                  <a:pt x="17281" y="4594"/>
                </a:cubicBezTo>
                <a:cubicBezTo>
                  <a:pt x="17218" y="4594"/>
                  <a:pt x="17218" y="4562"/>
                  <a:pt x="17156" y="4531"/>
                </a:cubicBezTo>
                <a:cubicBezTo>
                  <a:pt x="17125" y="4531"/>
                  <a:pt x="17093" y="4469"/>
                  <a:pt x="17187" y="4469"/>
                </a:cubicBezTo>
                <a:cubicBezTo>
                  <a:pt x="17218" y="4469"/>
                  <a:pt x="17218" y="4406"/>
                  <a:pt x="17250" y="4406"/>
                </a:cubicBezTo>
                <a:cubicBezTo>
                  <a:pt x="17250" y="4406"/>
                  <a:pt x="17250" y="4375"/>
                  <a:pt x="17281" y="4375"/>
                </a:cubicBezTo>
                <a:cubicBezTo>
                  <a:pt x="17218" y="4375"/>
                  <a:pt x="17218" y="4281"/>
                  <a:pt x="17125" y="4344"/>
                </a:cubicBezTo>
                <a:cubicBezTo>
                  <a:pt x="17093" y="4375"/>
                  <a:pt x="17031" y="4344"/>
                  <a:pt x="17000" y="4375"/>
                </a:cubicBezTo>
                <a:cubicBezTo>
                  <a:pt x="17000" y="4375"/>
                  <a:pt x="16906" y="4375"/>
                  <a:pt x="16968" y="4312"/>
                </a:cubicBezTo>
                <a:cubicBezTo>
                  <a:pt x="16968" y="4281"/>
                  <a:pt x="16968" y="4281"/>
                  <a:pt x="16937" y="4250"/>
                </a:cubicBezTo>
                <a:cubicBezTo>
                  <a:pt x="16937" y="4219"/>
                  <a:pt x="16937" y="4187"/>
                  <a:pt x="16875" y="4187"/>
                </a:cubicBezTo>
                <a:cubicBezTo>
                  <a:pt x="16875" y="4156"/>
                  <a:pt x="16843" y="4156"/>
                  <a:pt x="16843" y="4125"/>
                </a:cubicBezTo>
                <a:cubicBezTo>
                  <a:pt x="16875" y="4094"/>
                  <a:pt x="16875" y="4125"/>
                  <a:pt x="16906" y="4156"/>
                </a:cubicBezTo>
                <a:close/>
                <a:moveTo>
                  <a:pt x="17312" y="7187"/>
                </a:moveTo>
                <a:cubicBezTo>
                  <a:pt x="17343" y="7187"/>
                  <a:pt x="17343" y="7219"/>
                  <a:pt x="17343" y="7219"/>
                </a:cubicBezTo>
                <a:cubicBezTo>
                  <a:pt x="17343" y="7219"/>
                  <a:pt x="17343" y="7250"/>
                  <a:pt x="17343" y="7250"/>
                </a:cubicBezTo>
                <a:cubicBezTo>
                  <a:pt x="17343" y="7250"/>
                  <a:pt x="17343" y="7219"/>
                  <a:pt x="17343" y="7219"/>
                </a:cubicBezTo>
                <a:cubicBezTo>
                  <a:pt x="17343" y="7219"/>
                  <a:pt x="17343" y="7187"/>
                  <a:pt x="17312" y="7187"/>
                </a:cubicBezTo>
                <a:close/>
                <a:moveTo>
                  <a:pt x="17093" y="5750"/>
                </a:moveTo>
                <a:cubicBezTo>
                  <a:pt x="17125" y="5781"/>
                  <a:pt x="17125" y="5781"/>
                  <a:pt x="17125" y="5781"/>
                </a:cubicBezTo>
                <a:cubicBezTo>
                  <a:pt x="17125" y="5812"/>
                  <a:pt x="17125" y="5812"/>
                  <a:pt x="17093" y="5812"/>
                </a:cubicBezTo>
                <a:cubicBezTo>
                  <a:pt x="17125" y="5812"/>
                  <a:pt x="17125" y="5812"/>
                  <a:pt x="17125" y="5781"/>
                </a:cubicBezTo>
                <a:cubicBezTo>
                  <a:pt x="17125" y="5781"/>
                  <a:pt x="17125" y="5781"/>
                  <a:pt x="17093" y="5750"/>
                </a:cubicBezTo>
                <a:close/>
                <a:moveTo>
                  <a:pt x="16937" y="6062"/>
                </a:moveTo>
                <a:cubicBezTo>
                  <a:pt x="16968" y="6094"/>
                  <a:pt x="16968" y="6094"/>
                  <a:pt x="17000" y="6094"/>
                </a:cubicBezTo>
                <a:cubicBezTo>
                  <a:pt x="16968" y="6094"/>
                  <a:pt x="16968" y="6094"/>
                  <a:pt x="16937" y="6062"/>
                </a:cubicBezTo>
                <a:cubicBezTo>
                  <a:pt x="16937" y="6062"/>
                  <a:pt x="16937" y="6062"/>
                  <a:pt x="16906" y="6031"/>
                </a:cubicBezTo>
                <a:cubicBezTo>
                  <a:pt x="16937" y="6062"/>
                  <a:pt x="16937" y="6062"/>
                  <a:pt x="16937" y="6062"/>
                </a:cubicBezTo>
                <a:close/>
                <a:moveTo>
                  <a:pt x="16937" y="4250"/>
                </a:moveTo>
                <a:cubicBezTo>
                  <a:pt x="16937" y="4250"/>
                  <a:pt x="16937" y="4250"/>
                  <a:pt x="16937" y="4250"/>
                </a:cubicBezTo>
                <a:cubicBezTo>
                  <a:pt x="16937" y="4250"/>
                  <a:pt x="16937" y="4281"/>
                  <a:pt x="16937" y="4281"/>
                </a:cubicBezTo>
                <a:cubicBezTo>
                  <a:pt x="16937" y="4281"/>
                  <a:pt x="16937" y="4250"/>
                  <a:pt x="16937" y="4250"/>
                </a:cubicBezTo>
                <a:close/>
                <a:moveTo>
                  <a:pt x="16968" y="4500"/>
                </a:moveTo>
                <a:cubicBezTo>
                  <a:pt x="16968" y="4500"/>
                  <a:pt x="16968" y="4500"/>
                  <a:pt x="16937" y="4500"/>
                </a:cubicBezTo>
                <a:cubicBezTo>
                  <a:pt x="16937" y="4469"/>
                  <a:pt x="16937" y="4406"/>
                  <a:pt x="17000" y="4437"/>
                </a:cubicBezTo>
                <a:cubicBezTo>
                  <a:pt x="17000" y="4469"/>
                  <a:pt x="17031" y="4469"/>
                  <a:pt x="17031" y="4500"/>
                </a:cubicBezTo>
                <a:cubicBezTo>
                  <a:pt x="17031" y="4531"/>
                  <a:pt x="17000" y="4500"/>
                  <a:pt x="16968" y="4500"/>
                </a:cubicBezTo>
                <a:close/>
                <a:moveTo>
                  <a:pt x="16875" y="7500"/>
                </a:moveTo>
                <a:cubicBezTo>
                  <a:pt x="16875" y="7500"/>
                  <a:pt x="16875" y="7500"/>
                  <a:pt x="16875" y="7531"/>
                </a:cubicBezTo>
                <a:cubicBezTo>
                  <a:pt x="16875" y="7531"/>
                  <a:pt x="16875" y="7531"/>
                  <a:pt x="16875" y="7531"/>
                </a:cubicBezTo>
                <a:cubicBezTo>
                  <a:pt x="16875" y="7500"/>
                  <a:pt x="16875" y="7500"/>
                  <a:pt x="16875" y="7500"/>
                </a:cubicBezTo>
                <a:close/>
                <a:moveTo>
                  <a:pt x="16843" y="2750"/>
                </a:moveTo>
                <a:cubicBezTo>
                  <a:pt x="16843" y="2750"/>
                  <a:pt x="16843" y="2750"/>
                  <a:pt x="16843" y="2750"/>
                </a:cubicBezTo>
                <a:cubicBezTo>
                  <a:pt x="16843" y="2750"/>
                  <a:pt x="16843" y="2750"/>
                  <a:pt x="16843" y="2750"/>
                </a:cubicBezTo>
                <a:cubicBezTo>
                  <a:pt x="16843" y="2750"/>
                  <a:pt x="16843" y="2750"/>
                  <a:pt x="16843" y="2750"/>
                </a:cubicBezTo>
                <a:close/>
                <a:moveTo>
                  <a:pt x="16875" y="3125"/>
                </a:moveTo>
                <a:cubicBezTo>
                  <a:pt x="16843" y="3125"/>
                  <a:pt x="16812" y="3125"/>
                  <a:pt x="16812" y="3062"/>
                </a:cubicBezTo>
                <a:cubicBezTo>
                  <a:pt x="16843" y="3031"/>
                  <a:pt x="16875" y="3094"/>
                  <a:pt x="16875" y="3125"/>
                </a:cubicBezTo>
                <a:close/>
                <a:moveTo>
                  <a:pt x="16812" y="3062"/>
                </a:moveTo>
                <a:cubicBezTo>
                  <a:pt x="16812" y="3062"/>
                  <a:pt x="16812" y="3062"/>
                  <a:pt x="16812" y="3062"/>
                </a:cubicBezTo>
                <a:cubicBezTo>
                  <a:pt x="16812" y="3062"/>
                  <a:pt x="16812" y="3062"/>
                  <a:pt x="16812" y="3031"/>
                </a:cubicBezTo>
                <a:cubicBezTo>
                  <a:pt x="16812" y="3062"/>
                  <a:pt x="16812" y="3062"/>
                  <a:pt x="16812" y="3062"/>
                </a:cubicBezTo>
                <a:close/>
                <a:moveTo>
                  <a:pt x="16812" y="3906"/>
                </a:moveTo>
                <a:cubicBezTo>
                  <a:pt x="16812" y="3906"/>
                  <a:pt x="16812" y="3906"/>
                  <a:pt x="16812" y="3906"/>
                </a:cubicBezTo>
                <a:cubicBezTo>
                  <a:pt x="16812" y="3906"/>
                  <a:pt x="16812" y="3906"/>
                  <a:pt x="16812" y="3906"/>
                </a:cubicBezTo>
                <a:close/>
                <a:moveTo>
                  <a:pt x="16812" y="3219"/>
                </a:moveTo>
                <a:cubicBezTo>
                  <a:pt x="16812" y="3187"/>
                  <a:pt x="16812" y="3187"/>
                  <a:pt x="16812" y="3187"/>
                </a:cubicBezTo>
                <a:cubicBezTo>
                  <a:pt x="16843" y="3187"/>
                  <a:pt x="16875" y="3187"/>
                  <a:pt x="16906" y="3250"/>
                </a:cubicBezTo>
                <a:cubicBezTo>
                  <a:pt x="16843" y="3250"/>
                  <a:pt x="16812" y="3250"/>
                  <a:pt x="16812" y="3219"/>
                </a:cubicBezTo>
                <a:close/>
                <a:moveTo>
                  <a:pt x="16281" y="5187"/>
                </a:moveTo>
                <a:cubicBezTo>
                  <a:pt x="16250" y="5156"/>
                  <a:pt x="16250" y="5156"/>
                  <a:pt x="16250" y="5156"/>
                </a:cubicBezTo>
                <a:cubicBezTo>
                  <a:pt x="16250" y="5156"/>
                  <a:pt x="16250" y="5156"/>
                  <a:pt x="16281" y="5187"/>
                </a:cubicBezTo>
                <a:close/>
                <a:moveTo>
                  <a:pt x="15718" y="6312"/>
                </a:moveTo>
                <a:cubicBezTo>
                  <a:pt x="15750" y="6219"/>
                  <a:pt x="15812" y="6156"/>
                  <a:pt x="15906" y="6094"/>
                </a:cubicBezTo>
                <a:cubicBezTo>
                  <a:pt x="16000" y="6062"/>
                  <a:pt x="16093" y="6031"/>
                  <a:pt x="16187" y="6000"/>
                </a:cubicBezTo>
                <a:cubicBezTo>
                  <a:pt x="16250" y="5969"/>
                  <a:pt x="16343" y="6000"/>
                  <a:pt x="16406" y="6000"/>
                </a:cubicBezTo>
                <a:cubicBezTo>
                  <a:pt x="16437" y="6000"/>
                  <a:pt x="16437" y="6000"/>
                  <a:pt x="16468" y="5969"/>
                </a:cubicBezTo>
                <a:cubicBezTo>
                  <a:pt x="16468" y="5969"/>
                  <a:pt x="16468" y="5969"/>
                  <a:pt x="16468" y="5937"/>
                </a:cubicBezTo>
                <a:cubicBezTo>
                  <a:pt x="16468" y="5969"/>
                  <a:pt x="16468" y="5969"/>
                  <a:pt x="16468" y="5969"/>
                </a:cubicBezTo>
                <a:cubicBezTo>
                  <a:pt x="16500" y="6000"/>
                  <a:pt x="16562" y="5937"/>
                  <a:pt x="16593" y="5969"/>
                </a:cubicBezTo>
                <a:cubicBezTo>
                  <a:pt x="16593" y="5969"/>
                  <a:pt x="16593" y="5969"/>
                  <a:pt x="16593" y="5969"/>
                </a:cubicBezTo>
                <a:cubicBezTo>
                  <a:pt x="16593" y="5969"/>
                  <a:pt x="16562" y="5969"/>
                  <a:pt x="16562" y="6000"/>
                </a:cubicBezTo>
                <a:cubicBezTo>
                  <a:pt x="16562" y="6031"/>
                  <a:pt x="16562" y="6031"/>
                  <a:pt x="16562" y="6031"/>
                </a:cubicBezTo>
                <a:cubicBezTo>
                  <a:pt x="16593" y="6031"/>
                  <a:pt x="16625" y="6031"/>
                  <a:pt x="16656" y="6000"/>
                </a:cubicBezTo>
                <a:cubicBezTo>
                  <a:pt x="16687" y="6000"/>
                  <a:pt x="16687" y="6000"/>
                  <a:pt x="16718" y="6031"/>
                </a:cubicBezTo>
                <a:cubicBezTo>
                  <a:pt x="16718" y="6031"/>
                  <a:pt x="16750" y="6062"/>
                  <a:pt x="16750" y="6062"/>
                </a:cubicBezTo>
                <a:cubicBezTo>
                  <a:pt x="16750" y="6062"/>
                  <a:pt x="16718" y="6031"/>
                  <a:pt x="16718" y="6031"/>
                </a:cubicBezTo>
                <a:cubicBezTo>
                  <a:pt x="16718" y="6031"/>
                  <a:pt x="16718" y="6031"/>
                  <a:pt x="16687" y="6031"/>
                </a:cubicBezTo>
                <a:cubicBezTo>
                  <a:pt x="16656" y="6031"/>
                  <a:pt x="16656" y="6094"/>
                  <a:pt x="16593" y="6094"/>
                </a:cubicBezTo>
                <a:cubicBezTo>
                  <a:pt x="16593" y="6094"/>
                  <a:pt x="16593" y="6094"/>
                  <a:pt x="16656" y="6156"/>
                </a:cubicBezTo>
                <a:cubicBezTo>
                  <a:pt x="16656" y="6187"/>
                  <a:pt x="16656" y="6187"/>
                  <a:pt x="16656" y="6187"/>
                </a:cubicBezTo>
                <a:cubicBezTo>
                  <a:pt x="16656" y="6219"/>
                  <a:pt x="16625" y="6219"/>
                  <a:pt x="16625" y="6187"/>
                </a:cubicBezTo>
                <a:cubicBezTo>
                  <a:pt x="16562" y="6156"/>
                  <a:pt x="16500" y="6156"/>
                  <a:pt x="16437" y="6125"/>
                </a:cubicBezTo>
                <a:cubicBezTo>
                  <a:pt x="16468" y="6156"/>
                  <a:pt x="16500" y="6187"/>
                  <a:pt x="16468" y="6219"/>
                </a:cubicBezTo>
                <a:cubicBezTo>
                  <a:pt x="16437" y="6250"/>
                  <a:pt x="16406" y="6250"/>
                  <a:pt x="16375" y="6250"/>
                </a:cubicBezTo>
                <a:cubicBezTo>
                  <a:pt x="16281" y="6250"/>
                  <a:pt x="16187" y="6250"/>
                  <a:pt x="16093" y="6250"/>
                </a:cubicBezTo>
                <a:cubicBezTo>
                  <a:pt x="16000" y="6281"/>
                  <a:pt x="15906" y="6312"/>
                  <a:pt x="15812" y="6375"/>
                </a:cubicBezTo>
                <a:cubicBezTo>
                  <a:pt x="15781" y="6375"/>
                  <a:pt x="15750" y="6406"/>
                  <a:pt x="15718" y="6375"/>
                </a:cubicBezTo>
                <a:cubicBezTo>
                  <a:pt x="15687" y="6344"/>
                  <a:pt x="15718" y="6312"/>
                  <a:pt x="15718" y="6312"/>
                </a:cubicBezTo>
                <a:close/>
                <a:moveTo>
                  <a:pt x="16687" y="6344"/>
                </a:moveTo>
                <a:cubicBezTo>
                  <a:pt x="16687" y="6344"/>
                  <a:pt x="16687" y="6344"/>
                  <a:pt x="16687" y="6344"/>
                </a:cubicBezTo>
                <a:close/>
                <a:moveTo>
                  <a:pt x="15937" y="6594"/>
                </a:moveTo>
                <a:cubicBezTo>
                  <a:pt x="15906" y="6594"/>
                  <a:pt x="15906" y="6562"/>
                  <a:pt x="15906" y="6562"/>
                </a:cubicBezTo>
                <a:cubicBezTo>
                  <a:pt x="15906" y="6531"/>
                  <a:pt x="15937" y="6500"/>
                  <a:pt x="15937" y="6469"/>
                </a:cubicBezTo>
                <a:cubicBezTo>
                  <a:pt x="15937" y="6500"/>
                  <a:pt x="15906" y="6531"/>
                  <a:pt x="15906" y="6562"/>
                </a:cubicBezTo>
                <a:cubicBezTo>
                  <a:pt x="15906" y="6562"/>
                  <a:pt x="15906" y="6594"/>
                  <a:pt x="15937" y="6594"/>
                </a:cubicBezTo>
                <a:close/>
                <a:moveTo>
                  <a:pt x="15687" y="6812"/>
                </a:moveTo>
                <a:cubicBezTo>
                  <a:pt x="15718" y="6812"/>
                  <a:pt x="15718" y="6844"/>
                  <a:pt x="15718" y="6875"/>
                </a:cubicBezTo>
                <a:cubicBezTo>
                  <a:pt x="15750" y="6906"/>
                  <a:pt x="15750" y="6906"/>
                  <a:pt x="15781" y="6906"/>
                </a:cubicBezTo>
                <a:cubicBezTo>
                  <a:pt x="15781" y="6906"/>
                  <a:pt x="15812" y="6875"/>
                  <a:pt x="15812" y="6875"/>
                </a:cubicBezTo>
                <a:cubicBezTo>
                  <a:pt x="15781" y="6812"/>
                  <a:pt x="15812" y="6781"/>
                  <a:pt x="15812" y="6750"/>
                </a:cubicBezTo>
                <a:cubicBezTo>
                  <a:pt x="15781" y="6719"/>
                  <a:pt x="15781" y="6781"/>
                  <a:pt x="15750" y="6750"/>
                </a:cubicBezTo>
                <a:cubicBezTo>
                  <a:pt x="15718" y="6719"/>
                  <a:pt x="15750" y="6687"/>
                  <a:pt x="15750" y="6656"/>
                </a:cubicBezTo>
                <a:cubicBezTo>
                  <a:pt x="15781" y="6625"/>
                  <a:pt x="15781" y="6656"/>
                  <a:pt x="15812" y="6656"/>
                </a:cubicBezTo>
                <a:cubicBezTo>
                  <a:pt x="15843" y="6781"/>
                  <a:pt x="15937" y="6875"/>
                  <a:pt x="16031" y="6906"/>
                </a:cubicBezTo>
                <a:cubicBezTo>
                  <a:pt x="16031" y="6906"/>
                  <a:pt x="16031" y="6906"/>
                  <a:pt x="16031" y="6906"/>
                </a:cubicBezTo>
                <a:cubicBezTo>
                  <a:pt x="16062" y="6937"/>
                  <a:pt x="16093" y="6969"/>
                  <a:pt x="16125" y="7000"/>
                </a:cubicBezTo>
                <a:cubicBezTo>
                  <a:pt x="16156" y="7000"/>
                  <a:pt x="16250" y="6969"/>
                  <a:pt x="16218" y="7062"/>
                </a:cubicBezTo>
                <a:cubicBezTo>
                  <a:pt x="16218" y="7062"/>
                  <a:pt x="16218" y="7094"/>
                  <a:pt x="16218" y="7094"/>
                </a:cubicBezTo>
                <a:cubicBezTo>
                  <a:pt x="16250" y="7156"/>
                  <a:pt x="16343" y="7125"/>
                  <a:pt x="16375" y="7156"/>
                </a:cubicBezTo>
                <a:cubicBezTo>
                  <a:pt x="16406" y="7187"/>
                  <a:pt x="16437" y="7187"/>
                  <a:pt x="16437" y="7187"/>
                </a:cubicBezTo>
                <a:cubicBezTo>
                  <a:pt x="16468" y="7250"/>
                  <a:pt x="16406" y="7219"/>
                  <a:pt x="16375" y="7250"/>
                </a:cubicBezTo>
                <a:cubicBezTo>
                  <a:pt x="16375" y="7250"/>
                  <a:pt x="16375" y="7250"/>
                  <a:pt x="16375" y="7250"/>
                </a:cubicBezTo>
                <a:cubicBezTo>
                  <a:pt x="16375" y="7250"/>
                  <a:pt x="16375" y="7281"/>
                  <a:pt x="16375" y="7281"/>
                </a:cubicBezTo>
                <a:cubicBezTo>
                  <a:pt x="16375" y="7281"/>
                  <a:pt x="16343" y="7281"/>
                  <a:pt x="16343" y="7281"/>
                </a:cubicBezTo>
                <a:cubicBezTo>
                  <a:pt x="16281" y="7281"/>
                  <a:pt x="16218" y="7281"/>
                  <a:pt x="16187" y="7250"/>
                </a:cubicBezTo>
                <a:cubicBezTo>
                  <a:pt x="16093" y="7219"/>
                  <a:pt x="16000" y="7156"/>
                  <a:pt x="15906" y="7125"/>
                </a:cubicBezTo>
                <a:cubicBezTo>
                  <a:pt x="15875" y="7187"/>
                  <a:pt x="15906" y="7219"/>
                  <a:pt x="15937" y="7250"/>
                </a:cubicBezTo>
                <a:cubicBezTo>
                  <a:pt x="16031" y="7312"/>
                  <a:pt x="16093" y="7375"/>
                  <a:pt x="16218" y="7406"/>
                </a:cubicBezTo>
                <a:cubicBezTo>
                  <a:pt x="16250" y="7406"/>
                  <a:pt x="16250" y="7406"/>
                  <a:pt x="16281" y="7437"/>
                </a:cubicBezTo>
                <a:cubicBezTo>
                  <a:pt x="16343" y="7469"/>
                  <a:pt x="16375" y="7500"/>
                  <a:pt x="16468" y="7500"/>
                </a:cubicBezTo>
                <a:cubicBezTo>
                  <a:pt x="16500" y="7500"/>
                  <a:pt x="16500" y="7500"/>
                  <a:pt x="16531" y="7562"/>
                </a:cubicBezTo>
                <a:cubicBezTo>
                  <a:pt x="16531" y="7562"/>
                  <a:pt x="16531" y="7562"/>
                  <a:pt x="16531" y="7562"/>
                </a:cubicBezTo>
                <a:cubicBezTo>
                  <a:pt x="16531" y="7562"/>
                  <a:pt x="16531" y="7562"/>
                  <a:pt x="16531" y="7562"/>
                </a:cubicBezTo>
                <a:cubicBezTo>
                  <a:pt x="16500" y="7562"/>
                  <a:pt x="16531" y="7562"/>
                  <a:pt x="16531" y="7594"/>
                </a:cubicBezTo>
                <a:cubicBezTo>
                  <a:pt x="16562" y="7594"/>
                  <a:pt x="16625" y="7594"/>
                  <a:pt x="16656" y="7562"/>
                </a:cubicBezTo>
                <a:cubicBezTo>
                  <a:pt x="16656" y="7594"/>
                  <a:pt x="16656" y="7594"/>
                  <a:pt x="16656" y="7594"/>
                </a:cubicBezTo>
                <a:cubicBezTo>
                  <a:pt x="16656" y="7594"/>
                  <a:pt x="16656" y="7594"/>
                  <a:pt x="16687" y="7594"/>
                </a:cubicBezTo>
                <a:cubicBezTo>
                  <a:pt x="16656" y="7594"/>
                  <a:pt x="16656" y="7594"/>
                  <a:pt x="16656" y="7594"/>
                </a:cubicBezTo>
                <a:cubicBezTo>
                  <a:pt x="16656" y="7625"/>
                  <a:pt x="16593" y="7687"/>
                  <a:pt x="16656" y="7719"/>
                </a:cubicBezTo>
                <a:cubicBezTo>
                  <a:pt x="16687" y="7750"/>
                  <a:pt x="16687" y="7812"/>
                  <a:pt x="16656" y="7875"/>
                </a:cubicBezTo>
                <a:cubicBezTo>
                  <a:pt x="16625" y="7937"/>
                  <a:pt x="16625" y="7906"/>
                  <a:pt x="16593" y="7875"/>
                </a:cubicBezTo>
                <a:cubicBezTo>
                  <a:pt x="16562" y="7844"/>
                  <a:pt x="16531" y="7812"/>
                  <a:pt x="16468" y="7781"/>
                </a:cubicBezTo>
                <a:cubicBezTo>
                  <a:pt x="16468" y="7781"/>
                  <a:pt x="16468" y="7812"/>
                  <a:pt x="16468" y="7812"/>
                </a:cubicBezTo>
                <a:cubicBezTo>
                  <a:pt x="16468" y="7812"/>
                  <a:pt x="16468" y="7812"/>
                  <a:pt x="16468" y="7812"/>
                </a:cubicBezTo>
                <a:cubicBezTo>
                  <a:pt x="16468" y="7812"/>
                  <a:pt x="16468" y="7781"/>
                  <a:pt x="16468" y="7781"/>
                </a:cubicBezTo>
                <a:cubicBezTo>
                  <a:pt x="16468" y="7719"/>
                  <a:pt x="16406" y="7719"/>
                  <a:pt x="16406" y="7656"/>
                </a:cubicBezTo>
                <a:cubicBezTo>
                  <a:pt x="16375" y="7656"/>
                  <a:pt x="16375" y="7687"/>
                  <a:pt x="16375" y="7719"/>
                </a:cubicBezTo>
                <a:cubicBezTo>
                  <a:pt x="16375" y="7750"/>
                  <a:pt x="16312" y="7750"/>
                  <a:pt x="16375" y="7812"/>
                </a:cubicBezTo>
                <a:cubicBezTo>
                  <a:pt x="16406" y="7875"/>
                  <a:pt x="16406" y="7875"/>
                  <a:pt x="16468" y="7875"/>
                </a:cubicBezTo>
                <a:cubicBezTo>
                  <a:pt x="16500" y="7875"/>
                  <a:pt x="16531" y="7906"/>
                  <a:pt x="16531" y="7937"/>
                </a:cubicBezTo>
                <a:cubicBezTo>
                  <a:pt x="16531" y="8094"/>
                  <a:pt x="16531" y="8094"/>
                  <a:pt x="16656" y="8094"/>
                </a:cubicBezTo>
                <a:cubicBezTo>
                  <a:pt x="16687" y="8125"/>
                  <a:pt x="16718" y="8125"/>
                  <a:pt x="16750" y="8125"/>
                </a:cubicBezTo>
                <a:cubicBezTo>
                  <a:pt x="16781" y="8094"/>
                  <a:pt x="16843" y="8062"/>
                  <a:pt x="16906" y="8094"/>
                </a:cubicBezTo>
                <a:cubicBezTo>
                  <a:pt x="16937" y="8094"/>
                  <a:pt x="16937" y="8062"/>
                  <a:pt x="16937" y="8062"/>
                </a:cubicBezTo>
                <a:cubicBezTo>
                  <a:pt x="16937" y="8031"/>
                  <a:pt x="16937" y="8000"/>
                  <a:pt x="17000" y="8000"/>
                </a:cubicBezTo>
                <a:cubicBezTo>
                  <a:pt x="17000" y="8000"/>
                  <a:pt x="17000" y="8000"/>
                  <a:pt x="17000" y="7969"/>
                </a:cubicBezTo>
                <a:cubicBezTo>
                  <a:pt x="16968" y="7906"/>
                  <a:pt x="17062" y="7906"/>
                  <a:pt x="17062" y="7875"/>
                </a:cubicBezTo>
                <a:cubicBezTo>
                  <a:pt x="17062" y="7781"/>
                  <a:pt x="17156" y="7781"/>
                  <a:pt x="17187" y="7719"/>
                </a:cubicBezTo>
                <a:cubicBezTo>
                  <a:pt x="17187" y="7719"/>
                  <a:pt x="17281" y="7750"/>
                  <a:pt x="17312" y="7812"/>
                </a:cubicBezTo>
                <a:cubicBezTo>
                  <a:pt x="17312" y="7812"/>
                  <a:pt x="17312" y="7844"/>
                  <a:pt x="17312" y="7844"/>
                </a:cubicBezTo>
                <a:cubicBezTo>
                  <a:pt x="17312" y="7844"/>
                  <a:pt x="17343" y="7875"/>
                  <a:pt x="17343" y="7875"/>
                </a:cubicBezTo>
                <a:cubicBezTo>
                  <a:pt x="17343" y="7875"/>
                  <a:pt x="17312" y="7844"/>
                  <a:pt x="17312" y="7844"/>
                </a:cubicBezTo>
                <a:cubicBezTo>
                  <a:pt x="17250" y="7844"/>
                  <a:pt x="17218" y="7844"/>
                  <a:pt x="17218" y="7812"/>
                </a:cubicBezTo>
                <a:cubicBezTo>
                  <a:pt x="17187" y="7781"/>
                  <a:pt x="17187" y="7781"/>
                  <a:pt x="17187" y="7781"/>
                </a:cubicBezTo>
                <a:cubicBezTo>
                  <a:pt x="17156" y="7812"/>
                  <a:pt x="17156" y="7812"/>
                  <a:pt x="17156" y="7812"/>
                </a:cubicBezTo>
                <a:cubicBezTo>
                  <a:pt x="17218" y="7844"/>
                  <a:pt x="17187" y="7906"/>
                  <a:pt x="17250" y="7906"/>
                </a:cubicBezTo>
                <a:cubicBezTo>
                  <a:pt x="17281" y="7906"/>
                  <a:pt x="17281" y="7937"/>
                  <a:pt x="17312" y="7937"/>
                </a:cubicBezTo>
                <a:cubicBezTo>
                  <a:pt x="17312" y="7969"/>
                  <a:pt x="17312" y="8000"/>
                  <a:pt x="17343" y="8000"/>
                </a:cubicBezTo>
                <a:cubicBezTo>
                  <a:pt x="17406" y="8031"/>
                  <a:pt x="17406" y="8062"/>
                  <a:pt x="17406" y="8125"/>
                </a:cubicBezTo>
                <a:cubicBezTo>
                  <a:pt x="17406" y="8125"/>
                  <a:pt x="17437" y="8125"/>
                  <a:pt x="17437" y="8125"/>
                </a:cubicBezTo>
                <a:cubicBezTo>
                  <a:pt x="17437" y="8125"/>
                  <a:pt x="17406" y="8125"/>
                  <a:pt x="17406" y="8125"/>
                </a:cubicBezTo>
                <a:cubicBezTo>
                  <a:pt x="17406" y="8125"/>
                  <a:pt x="17406" y="8125"/>
                  <a:pt x="17406" y="8125"/>
                </a:cubicBezTo>
                <a:cubicBezTo>
                  <a:pt x="17375" y="8125"/>
                  <a:pt x="17375" y="8125"/>
                  <a:pt x="17375" y="8125"/>
                </a:cubicBezTo>
                <a:cubicBezTo>
                  <a:pt x="17375" y="8094"/>
                  <a:pt x="17375" y="8094"/>
                  <a:pt x="17343" y="8094"/>
                </a:cubicBezTo>
                <a:cubicBezTo>
                  <a:pt x="17343" y="8000"/>
                  <a:pt x="17250" y="8000"/>
                  <a:pt x="17218" y="7969"/>
                </a:cubicBezTo>
                <a:cubicBezTo>
                  <a:pt x="17218" y="7906"/>
                  <a:pt x="17187" y="7906"/>
                  <a:pt x="17125" y="7937"/>
                </a:cubicBezTo>
                <a:lnTo>
                  <a:pt x="17125" y="7937"/>
                </a:lnTo>
                <a:cubicBezTo>
                  <a:pt x="17156" y="7937"/>
                  <a:pt x="17156" y="7969"/>
                  <a:pt x="17218" y="7969"/>
                </a:cubicBezTo>
                <a:cubicBezTo>
                  <a:pt x="17218" y="8031"/>
                  <a:pt x="17250" y="8062"/>
                  <a:pt x="17312" y="8094"/>
                </a:cubicBezTo>
                <a:cubicBezTo>
                  <a:pt x="17312" y="8125"/>
                  <a:pt x="17343" y="8125"/>
                  <a:pt x="17312" y="8156"/>
                </a:cubicBezTo>
                <a:cubicBezTo>
                  <a:pt x="17312" y="8187"/>
                  <a:pt x="17281" y="8156"/>
                  <a:pt x="17250" y="8156"/>
                </a:cubicBezTo>
                <a:cubicBezTo>
                  <a:pt x="17218" y="8125"/>
                  <a:pt x="17187" y="8062"/>
                  <a:pt x="17125" y="8094"/>
                </a:cubicBezTo>
                <a:cubicBezTo>
                  <a:pt x="17218" y="8094"/>
                  <a:pt x="17218" y="8219"/>
                  <a:pt x="17312" y="8250"/>
                </a:cubicBezTo>
                <a:cubicBezTo>
                  <a:pt x="17312" y="8250"/>
                  <a:pt x="17312" y="8281"/>
                  <a:pt x="17312" y="8312"/>
                </a:cubicBezTo>
                <a:cubicBezTo>
                  <a:pt x="17312" y="8312"/>
                  <a:pt x="17281" y="8312"/>
                  <a:pt x="17281" y="8312"/>
                </a:cubicBezTo>
                <a:cubicBezTo>
                  <a:pt x="17250" y="8312"/>
                  <a:pt x="17218" y="8281"/>
                  <a:pt x="17218" y="8312"/>
                </a:cubicBezTo>
                <a:cubicBezTo>
                  <a:pt x="17218" y="8312"/>
                  <a:pt x="17218" y="8312"/>
                  <a:pt x="17218" y="8312"/>
                </a:cubicBezTo>
                <a:cubicBezTo>
                  <a:pt x="17218" y="8312"/>
                  <a:pt x="17218" y="8312"/>
                  <a:pt x="17218" y="8312"/>
                </a:cubicBezTo>
                <a:cubicBezTo>
                  <a:pt x="17218" y="8281"/>
                  <a:pt x="17187" y="8281"/>
                  <a:pt x="17187" y="8281"/>
                </a:cubicBezTo>
                <a:cubicBezTo>
                  <a:pt x="17156" y="8219"/>
                  <a:pt x="17125" y="8187"/>
                  <a:pt x="17062" y="8187"/>
                </a:cubicBezTo>
                <a:cubicBezTo>
                  <a:pt x="17062" y="8187"/>
                  <a:pt x="17062" y="8187"/>
                  <a:pt x="17062" y="8156"/>
                </a:cubicBezTo>
                <a:cubicBezTo>
                  <a:pt x="17062" y="8156"/>
                  <a:pt x="17062" y="8156"/>
                  <a:pt x="17062" y="8156"/>
                </a:cubicBezTo>
                <a:cubicBezTo>
                  <a:pt x="17031" y="8156"/>
                  <a:pt x="17031" y="8156"/>
                  <a:pt x="17031" y="8156"/>
                </a:cubicBezTo>
                <a:cubicBezTo>
                  <a:pt x="17031" y="8156"/>
                  <a:pt x="17031" y="8187"/>
                  <a:pt x="17062" y="8187"/>
                </a:cubicBezTo>
                <a:cubicBezTo>
                  <a:pt x="17093" y="8250"/>
                  <a:pt x="17125" y="8281"/>
                  <a:pt x="17187" y="8281"/>
                </a:cubicBezTo>
                <a:cubicBezTo>
                  <a:pt x="17187" y="8281"/>
                  <a:pt x="17187" y="8281"/>
                  <a:pt x="17187" y="8312"/>
                </a:cubicBezTo>
                <a:cubicBezTo>
                  <a:pt x="17187" y="8344"/>
                  <a:pt x="17218" y="8375"/>
                  <a:pt x="17187" y="8406"/>
                </a:cubicBezTo>
                <a:cubicBezTo>
                  <a:pt x="17093" y="8344"/>
                  <a:pt x="17031" y="8312"/>
                  <a:pt x="16968" y="8250"/>
                </a:cubicBezTo>
                <a:cubicBezTo>
                  <a:pt x="16937" y="8219"/>
                  <a:pt x="16906" y="8219"/>
                  <a:pt x="16906" y="8219"/>
                </a:cubicBezTo>
                <a:cubicBezTo>
                  <a:pt x="16875" y="8219"/>
                  <a:pt x="16843" y="8219"/>
                  <a:pt x="16843" y="8219"/>
                </a:cubicBezTo>
                <a:cubicBezTo>
                  <a:pt x="16843" y="8250"/>
                  <a:pt x="16875" y="8250"/>
                  <a:pt x="16875" y="8250"/>
                </a:cubicBezTo>
                <a:cubicBezTo>
                  <a:pt x="16937" y="8250"/>
                  <a:pt x="16968" y="8281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7062" y="8344"/>
                  <a:pt x="17125" y="8437"/>
                  <a:pt x="17187" y="8500"/>
                </a:cubicBezTo>
                <a:cubicBezTo>
                  <a:pt x="17187" y="8500"/>
                  <a:pt x="17187" y="8500"/>
                  <a:pt x="17187" y="8500"/>
                </a:cubicBezTo>
                <a:cubicBezTo>
                  <a:pt x="17187" y="8500"/>
                  <a:pt x="17187" y="8500"/>
                  <a:pt x="17187" y="8500"/>
                </a:cubicBezTo>
                <a:cubicBezTo>
                  <a:pt x="17156" y="8500"/>
                  <a:pt x="17125" y="8500"/>
                  <a:pt x="17125" y="8500"/>
                </a:cubicBezTo>
                <a:cubicBezTo>
                  <a:pt x="17093" y="8469"/>
                  <a:pt x="17031" y="8469"/>
                  <a:pt x="17000" y="8437"/>
                </a:cubicBezTo>
                <a:cubicBezTo>
                  <a:pt x="16968" y="8406"/>
                  <a:pt x="16968" y="8375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68" y="8344"/>
                  <a:pt x="16968" y="8344"/>
                  <a:pt x="16968" y="8344"/>
                </a:cubicBezTo>
                <a:cubicBezTo>
                  <a:pt x="16906" y="8344"/>
                  <a:pt x="16875" y="8375"/>
                  <a:pt x="16812" y="8312"/>
                </a:cubicBezTo>
                <a:cubicBezTo>
                  <a:pt x="16750" y="8281"/>
                  <a:pt x="16687" y="8250"/>
                  <a:pt x="16625" y="8250"/>
                </a:cubicBezTo>
                <a:cubicBezTo>
                  <a:pt x="16718" y="8344"/>
                  <a:pt x="16875" y="8375"/>
                  <a:pt x="16968" y="8500"/>
                </a:cubicBezTo>
                <a:cubicBezTo>
                  <a:pt x="16968" y="8500"/>
                  <a:pt x="16968" y="8500"/>
                  <a:pt x="17000" y="8500"/>
                </a:cubicBezTo>
                <a:cubicBezTo>
                  <a:pt x="17000" y="8531"/>
                  <a:pt x="17000" y="8562"/>
                  <a:pt x="16937" y="8531"/>
                </a:cubicBezTo>
                <a:cubicBezTo>
                  <a:pt x="16937" y="8531"/>
                  <a:pt x="16937" y="8531"/>
                  <a:pt x="16937" y="8531"/>
                </a:cubicBezTo>
                <a:cubicBezTo>
                  <a:pt x="16906" y="8500"/>
                  <a:pt x="16843" y="8500"/>
                  <a:pt x="16812" y="8500"/>
                </a:cubicBezTo>
                <a:cubicBezTo>
                  <a:pt x="16718" y="8406"/>
                  <a:pt x="16562" y="8344"/>
                  <a:pt x="16468" y="8281"/>
                </a:cubicBezTo>
                <a:cubicBezTo>
                  <a:pt x="16437" y="8281"/>
                  <a:pt x="16406" y="8250"/>
                  <a:pt x="16406" y="8250"/>
                </a:cubicBezTo>
                <a:cubicBezTo>
                  <a:pt x="16375" y="8250"/>
                  <a:pt x="16375" y="8250"/>
                  <a:pt x="16375" y="8281"/>
                </a:cubicBezTo>
                <a:cubicBezTo>
                  <a:pt x="16375" y="8281"/>
                  <a:pt x="16375" y="8281"/>
                  <a:pt x="16375" y="8312"/>
                </a:cubicBezTo>
                <a:cubicBezTo>
                  <a:pt x="16437" y="8312"/>
                  <a:pt x="16500" y="8344"/>
                  <a:pt x="16531" y="8406"/>
                </a:cubicBezTo>
                <a:cubicBezTo>
                  <a:pt x="16625" y="8375"/>
                  <a:pt x="16656" y="8500"/>
                  <a:pt x="16750" y="8500"/>
                </a:cubicBezTo>
                <a:cubicBezTo>
                  <a:pt x="16781" y="8500"/>
                  <a:pt x="16812" y="8531"/>
                  <a:pt x="16812" y="8562"/>
                </a:cubicBezTo>
                <a:cubicBezTo>
                  <a:pt x="16812" y="8562"/>
                  <a:pt x="16781" y="8562"/>
                  <a:pt x="16781" y="8562"/>
                </a:cubicBezTo>
                <a:cubicBezTo>
                  <a:pt x="16750" y="8594"/>
                  <a:pt x="16750" y="8562"/>
                  <a:pt x="16750" y="8562"/>
                </a:cubicBezTo>
                <a:cubicBezTo>
                  <a:pt x="16718" y="8531"/>
                  <a:pt x="16687" y="8531"/>
                  <a:pt x="16687" y="8562"/>
                </a:cubicBezTo>
                <a:cubicBezTo>
                  <a:pt x="16656" y="8562"/>
                  <a:pt x="16656" y="8562"/>
                  <a:pt x="16656" y="8594"/>
                </a:cubicBezTo>
                <a:cubicBezTo>
                  <a:pt x="16656" y="8594"/>
                  <a:pt x="16687" y="8625"/>
                  <a:pt x="16687" y="8625"/>
                </a:cubicBezTo>
                <a:cubicBezTo>
                  <a:pt x="16718" y="8625"/>
                  <a:pt x="16750" y="8625"/>
                  <a:pt x="16781" y="8656"/>
                </a:cubicBezTo>
                <a:cubicBezTo>
                  <a:pt x="16812" y="8656"/>
                  <a:pt x="16812" y="8656"/>
                  <a:pt x="16843" y="8656"/>
                </a:cubicBezTo>
                <a:cubicBezTo>
                  <a:pt x="16812" y="8656"/>
                  <a:pt x="16812" y="8656"/>
                  <a:pt x="16781" y="8656"/>
                </a:cubicBezTo>
                <a:cubicBezTo>
                  <a:pt x="16812" y="8687"/>
                  <a:pt x="16843" y="8719"/>
                  <a:pt x="16906" y="8719"/>
                </a:cubicBezTo>
                <a:cubicBezTo>
                  <a:pt x="16937" y="8719"/>
                  <a:pt x="16937" y="8750"/>
                  <a:pt x="16937" y="8781"/>
                </a:cubicBezTo>
                <a:cubicBezTo>
                  <a:pt x="16875" y="8781"/>
                  <a:pt x="16812" y="8812"/>
                  <a:pt x="16781" y="8719"/>
                </a:cubicBezTo>
                <a:cubicBezTo>
                  <a:pt x="16781" y="8719"/>
                  <a:pt x="16750" y="8719"/>
                  <a:pt x="16718" y="8719"/>
                </a:cubicBezTo>
                <a:cubicBezTo>
                  <a:pt x="16718" y="8719"/>
                  <a:pt x="16718" y="8719"/>
                  <a:pt x="16718" y="8719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50"/>
                  <a:pt x="16718" y="8750"/>
                  <a:pt x="16718" y="8750"/>
                </a:cubicBezTo>
                <a:cubicBezTo>
                  <a:pt x="16718" y="8719"/>
                  <a:pt x="16687" y="8719"/>
                  <a:pt x="16656" y="8687"/>
                </a:cubicBezTo>
                <a:cubicBezTo>
                  <a:pt x="16656" y="8656"/>
                  <a:pt x="16656" y="8625"/>
                  <a:pt x="16625" y="8625"/>
                </a:cubicBezTo>
                <a:cubicBezTo>
                  <a:pt x="16593" y="8625"/>
                  <a:pt x="16562" y="8625"/>
                  <a:pt x="16531" y="8625"/>
                </a:cubicBezTo>
                <a:cubicBezTo>
                  <a:pt x="16437" y="8531"/>
                  <a:pt x="16312" y="8500"/>
                  <a:pt x="16250" y="8437"/>
                </a:cubicBezTo>
                <a:cubicBezTo>
                  <a:pt x="16218" y="8406"/>
                  <a:pt x="16218" y="8406"/>
                  <a:pt x="16187" y="8406"/>
                </a:cubicBezTo>
                <a:cubicBezTo>
                  <a:pt x="16187" y="8406"/>
                  <a:pt x="16187" y="8406"/>
                  <a:pt x="16187" y="8437"/>
                </a:cubicBezTo>
                <a:cubicBezTo>
                  <a:pt x="16187" y="8437"/>
                  <a:pt x="16187" y="8469"/>
                  <a:pt x="16218" y="8469"/>
                </a:cubicBezTo>
                <a:cubicBezTo>
                  <a:pt x="16343" y="8531"/>
                  <a:pt x="16468" y="8656"/>
                  <a:pt x="16593" y="8687"/>
                </a:cubicBezTo>
                <a:cubicBezTo>
                  <a:pt x="16625" y="8719"/>
                  <a:pt x="16656" y="8719"/>
                  <a:pt x="16656" y="8781"/>
                </a:cubicBezTo>
                <a:cubicBezTo>
                  <a:pt x="16562" y="8812"/>
                  <a:pt x="16500" y="8750"/>
                  <a:pt x="16406" y="8687"/>
                </a:cubicBezTo>
                <a:cubicBezTo>
                  <a:pt x="16437" y="8750"/>
                  <a:pt x="16500" y="8750"/>
                  <a:pt x="16468" y="8812"/>
                </a:cubicBezTo>
                <a:cubicBezTo>
                  <a:pt x="16437" y="8844"/>
                  <a:pt x="16406" y="8750"/>
                  <a:pt x="16375" y="8812"/>
                </a:cubicBezTo>
                <a:cubicBezTo>
                  <a:pt x="16406" y="8844"/>
                  <a:pt x="16437" y="8844"/>
                  <a:pt x="16437" y="8875"/>
                </a:cubicBezTo>
                <a:cubicBezTo>
                  <a:pt x="16468" y="8906"/>
                  <a:pt x="16562" y="8937"/>
                  <a:pt x="16531" y="9000"/>
                </a:cubicBezTo>
                <a:cubicBezTo>
                  <a:pt x="16500" y="9062"/>
                  <a:pt x="16500" y="9094"/>
                  <a:pt x="16562" y="9125"/>
                </a:cubicBezTo>
                <a:cubicBezTo>
                  <a:pt x="16562" y="9125"/>
                  <a:pt x="16562" y="9156"/>
                  <a:pt x="16562" y="9156"/>
                </a:cubicBezTo>
                <a:cubicBezTo>
                  <a:pt x="16562" y="9187"/>
                  <a:pt x="16531" y="9187"/>
                  <a:pt x="16500" y="9187"/>
                </a:cubicBezTo>
                <a:cubicBezTo>
                  <a:pt x="16500" y="9187"/>
                  <a:pt x="16468" y="9156"/>
                  <a:pt x="16468" y="9156"/>
                </a:cubicBezTo>
                <a:cubicBezTo>
                  <a:pt x="16437" y="9156"/>
                  <a:pt x="16437" y="9125"/>
                  <a:pt x="16406" y="9156"/>
                </a:cubicBezTo>
                <a:cubicBezTo>
                  <a:pt x="16406" y="9187"/>
                  <a:pt x="16437" y="9187"/>
                  <a:pt x="16437" y="9187"/>
                </a:cubicBezTo>
                <a:cubicBezTo>
                  <a:pt x="16468" y="9219"/>
                  <a:pt x="16500" y="9219"/>
                  <a:pt x="16531" y="9250"/>
                </a:cubicBezTo>
                <a:cubicBezTo>
                  <a:pt x="16562" y="9250"/>
                  <a:pt x="16562" y="9281"/>
                  <a:pt x="16562" y="9312"/>
                </a:cubicBezTo>
                <a:cubicBezTo>
                  <a:pt x="16531" y="9344"/>
                  <a:pt x="16500" y="9344"/>
                  <a:pt x="16500" y="9312"/>
                </a:cubicBezTo>
                <a:cubicBezTo>
                  <a:pt x="16468" y="9312"/>
                  <a:pt x="16468" y="9312"/>
                  <a:pt x="16437" y="9312"/>
                </a:cubicBezTo>
                <a:cubicBezTo>
                  <a:pt x="16437" y="9344"/>
                  <a:pt x="16468" y="9344"/>
                  <a:pt x="16468" y="9344"/>
                </a:cubicBezTo>
                <a:cubicBezTo>
                  <a:pt x="16562" y="9375"/>
                  <a:pt x="16625" y="9469"/>
                  <a:pt x="16718" y="9500"/>
                </a:cubicBezTo>
                <a:cubicBezTo>
                  <a:pt x="16718" y="9500"/>
                  <a:pt x="16750" y="9500"/>
                  <a:pt x="16750" y="9531"/>
                </a:cubicBezTo>
                <a:cubicBezTo>
                  <a:pt x="16843" y="9562"/>
                  <a:pt x="16906" y="9625"/>
                  <a:pt x="17031" y="9625"/>
                </a:cubicBezTo>
                <a:cubicBezTo>
                  <a:pt x="17000" y="9719"/>
                  <a:pt x="17000" y="9719"/>
                  <a:pt x="16937" y="9687"/>
                </a:cubicBezTo>
                <a:cubicBezTo>
                  <a:pt x="16781" y="9625"/>
                  <a:pt x="16625" y="9531"/>
                  <a:pt x="16468" y="9469"/>
                </a:cubicBezTo>
                <a:cubicBezTo>
                  <a:pt x="16468" y="9469"/>
                  <a:pt x="16437" y="9469"/>
                  <a:pt x="16437" y="9469"/>
                </a:cubicBezTo>
                <a:cubicBezTo>
                  <a:pt x="16531" y="9531"/>
                  <a:pt x="16625" y="9562"/>
                  <a:pt x="16718" y="9625"/>
                </a:cubicBezTo>
                <a:cubicBezTo>
                  <a:pt x="16781" y="9687"/>
                  <a:pt x="16875" y="9719"/>
                  <a:pt x="16968" y="9750"/>
                </a:cubicBezTo>
                <a:cubicBezTo>
                  <a:pt x="16968" y="9781"/>
                  <a:pt x="17000" y="9781"/>
                  <a:pt x="17000" y="9812"/>
                </a:cubicBezTo>
                <a:cubicBezTo>
                  <a:pt x="16968" y="9812"/>
                  <a:pt x="16968" y="9812"/>
                  <a:pt x="16937" y="9812"/>
                </a:cubicBezTo>
                <a:cubicBezTo>
                  <a:pt x="16812" y="9781"/>
                  <a:pt x="16687" y="9719"/>
                  <a:pt x="16562" y="9656"/>
                </a:cubicBezTo>
                <a:cubicBezTo>
                  <a:pt x="16531" y="9625"/>
                  <a:pt x="16468" y="9594"/>
                  <a:pt x="16406" y="9562"/>
                </a:cubicBezTo>
                <a:cubicBezTo>
                  <a:pt x="16437" y="9531"/>
                  <a:pt x="16406" y="9531"/>
                  <a:pt x="16375" y="9500"/>
                </a:cubicBezTo>
                <a:cubicBezTo>
                  <a:pt x="16312" y="9469"/>
                  <a:pt x="16281" y="9406"/>
                  <a:pt x="16250" y="9344"/>
                </a:cubicBezTo>
                <a:cubicBezTo>
                  <a:pt x="16343" y="9344"/>
                  <a:pt x="16343" y="9437"/>
                  <a:pt x="16437" y="9437"/>
                </a:cubicBezTo>
                <a:cubicBezTo>
                  <a:pt x="16406" y="9375"/>
                  <a:pt x="16281" y="9375"/>
                  <a:pt x="16312" y="9281"/>
                </a:cubicBezTo>
                <a:cubicBezTo>
                  <a:pt x="16250" y="9250"/>
                  <a:pt x="16250" y="9187"/>
                  <a:pt x="16218" y="9156"/>
                </a:cubicBezTo>
                <a:cubicBezTo>
                  <a:pt x="16250" y="9187"/>
                  <a:pt x="16312" y="9219"/>
                  <a:pt x="16312" y="9281"/>
                </a:cubicBezTo>
                <a:cubicBezTo>
                  <a:pt x="16343" y="9281"/>
                  <a:pt x="16343" y="9281"/>
                  <a:pt x="16343" y="9281"/>
                </a:cubicBezTo>
                <a:cubicBezTo>
                  <a:pt x="16375" y="9250"/>
                  <a:pt x="16406" y="9312"/>
                  <a:pt x="16406" y="9281"/>
                </a:cubicBezTo>
                <a:cubicBezTo>
                  <a:pt x="16406" y="9250"/>
                  <a:pt x="16375" y="9250"/>
                  <a:pt x="16375" y="9250"/>
                </a:cubicBezTo>
                <a:cubicBezTo>
                  <a:pt x="16312" y="9219"/>
                  <a:pt x="16312" y="9187"/>
                  <a:pt x="16281" y="9156"/>
                </a:cubicBezTo>
                <a:cubicBezTo>
                  <a:pt x="16281" y="9094"/>
                  <a:pt x="16343" y="9094"/>
                  <a:pt x="16312" y="9062"/>
                </a:cubicBezTo>
                <a:cubicBezTo>
                  <a:pt x="16281" y="9031"/>
                  <a:pt x="16250" y="8969"/>
                  <a:pt x="16187" y="8969"/>
                </a:cubicBezTo>
                <a:cubicBezTo>
                  <a:pt x="16187" y="8969"/>
                  <a:pt x="16187" y="8969"/>
                  <a:pt x="16187" y="8969"/>
                </a:cubicBezTo>
                <a:cubicBezTo>
                  <a:pt x="16187" y="8969"/>
                  <a:pt x="16156" y="8969"/>
                  <a:pt x="16125" y="8969"/>
                </a:cubicBezTo>
                <a:cubicBezTo>
                  <a:pt x="16156" y="8969"/>
                  <a:pt x="16187" y="8969"/>
                  <a:pt x="16187" y="8969"/>
                </a:cubicBezTo>
                <a:cubicBezTo>
                  <a:pt x="16218" y="8906"/>
                  <a:pt x="16250" y="8969"/>
                  <a:pt x="16281" y="8969"/>
                </a:cubicBezTo>
                <a:cubicBezTo>
                  <a:pt x="16281" y="8937"/>
                  <a:pt x="16281" y="8906"/>
                  <a:pt x="16281" y="8875"/>
                </a:cubicBezTo>
                <a:cubicBezTo>
                  <a:pt x="16281" y="8875"/>
                  <a:pt x="16312" y="8875"/>
                  <a:pt x="16312" y="8875"/>
                </a:cubicBezTo>
                <a:cubicBezTo>
                  <a:pt x="16343" y="8844"/>
                  <a:pt x="16312" y="8844"/>
                  <a:pt x="16281" y="8812"/>
                </a:cubicBezTo>
                <a:cubicBezTo>
                  <a:pt x="16281" y="8812"/>
                  <a:pt x="16250" y="8812"/>
                  <a:pt x="16250" y="8781"/>
                </a:cubicBezTo>
                <a:cubicBezTo>
                  <a:pt x="16218" y="8781"/>
                  <a:pt x="16218" y="8750"/>
                  <a:pt x="16218" y="8750"/>
                </a:cubicBezTo>
                <a:cubicBezTo>
                  <a:pt x="16250" y="8719"/>
                  <a:pt x="16250" y="8750"/>
                  <a:pt x="16281" y="8750"/>
                </a:cubicBezTo>
                <a:cubicBezTo>
                  <a:pt x="16281" y="8781"/>
                  <a:pt x="16312" y="8781"/>
                  <a:pt x="16312" y="8750"/>
                </a:cubicBezTo>
                <a:cubicBezTo>
                  <a:pt x="16343" y="8750"/>
                  <a:pt x="16312" y="8719"/>
                  <a:pt x="16312" y="8719"/>
                </a:cubicBezTo>
                <a:cubicBezTo>
                  <a:pt x="16281" y="8719"/>
                  <a:pt x="16281" y="8687"/>
                  <a:pt x="16281" y="8687"/>
                </a:cubicBezTo>
                <a:cubicBezTo>
                  <a:pt x="16281" y="8656"/>
                  <a:pt x="16312" y="8656"/>
                  <a:pt x="16312" y="8656"/>
                </a:cubicBezTo>
                <a:cubicBezTo>
                  <a:pt x="16343" y="8656"/>
                  <a:pt x="16375" y="8656"/>
                  <a:pt x="16375" y="8687"/>
                </a:cubicBezTo>
                <a:cubicBezTo>
                  <a:pt x="16375" y="8687"/>
                  <a:pt x="16343" y="8687"/>
                  <a:pt x="16343" y="8719"/>
                </a:cubicBezTo>
                <a:lnTo>
                  <a:pt x="16343" y="8719"/>
                </a:lnTo>
                <a:cubicBezTo>
                  <a:pt x="16312" y="8719"/>
                  <a:pt x="16312" y="8687"/>
                  <a:pt x="16312" y="8656"/>
                </a:cubicBezTo>
                <a:cubicBezTo>
                  <a:pt x="16281" y="8594"/>
                  <a:pt x="16218" y="8531"/>
                  <a:pt x="16156" y="8500"/>
                </a:cubicBezTo>
                <a:cubicBezTo>
                  <a:pt x="16156" y="8500"/>
                  <a:pt x="16156" y="8500"/>
                  <a:pt x="16125" y="8500"/>
                </a:cubicBezTo>
                <a:cubicBezTo>
                  <a:pt x="16156" y="8500"/>
                  <a:pt x="16156" y="8500"/>
                  <a:pt x="16156" y="8500"/>
                </a:cubicBezTo>
                <a:cubicBezTo>
                  <a:pt x="16093" y="8469"/>
                  <a:pt x="16062" y="8437"/>
                  <a:pt x="16062" y="8406"/>
                </a:cubicBezTo>
                <a:cubicBezTo>
                  <a:pt x="16031" y="8375"/>
                  <a:pt x="16031" y="8375"/>
                  <a:pt x="16062" y="8344"/>
                </a:cubicBezTo>
                <a:cubicBezTo>
                  <a:pt x="16062" y="8344"/>
                  <a:pt x="16093" y="8344"/>
                  <a:pt x="16093" y="8375"/>
                </a:cubicBezTo>
                <a:cubicBezTo>
                  <a:pt x="16125" y="8406"/>
                  <a:pt x="16156" y="8406"/>
                  <a:pt x="16187" y="8437"/>
                </a:cubicBezTo>
                <a:cubicBezTo>
                  <a:pt x="16187" y="8406"/>
                  <a:pt x="16187" y="8406"/>
                  <a:pt x="16187" y="8406"/>
                </a:cubicBezTo>
                <a:cubicBezTo>
                  <a:pt x="16187" y="8344"/>
                  <a:pt x="16093" y="8344"/>
                  <a:pt x="16093" y="8312"/>
                </a:cubicBezTo>
                <a:cubicBezTo>
                  <a:pt x="16093" y="8281"/>
                  <a:pt x="16062" y="8250"/>
                  <a:pt x="16093" y="8250"/>
                </a:cubicBezTo>
                <a:cubicBezTo>
                  <a:pt x="16125" y="8250"/>
                  <a:pt x="16125" y="8250"/>
                  <a:pt x="16156" y="8281"/>
                </a:cubicBezTo>
                <a:cubicBezTo>
                  <a:pt x="16156" y="8312"/>
                  <a:pt x="16187" y="8344"/>
                  <a:pt x="16218" y="8344"/>
                </a:cubicBezTo>
                <a:cubicBezTo>
                  <a:pt x="16250" y="8344"/>
                  <a:pt x="16250" y="8344"/>
                  <a:pt x="16281" y="8344"/>
                </a:cubicBezTo>
                <a:cubicBezTo>
                  <a:pt x="16281" y="8344"/>
                  <a:pt x="16281" y="8312"/>
                  <a:pt x="16250" y="8312"/>
                </a:cubicBezTo>
                <a:cubicBezTo>
                  <a:pt x="16218" y="8312"/>
                  <a:pt x="16187" y="8219"/>
                  <a:pt x="16125" y="8219"/>
                </a:cubicBezTo>
                <a:cubicBezTo>
                  <a:pt x="16125" y="8219"/>
                  <a:pt x="16125" y="8187"/>
                  <a:pt x="16125" y="8187"/>
                </a:cubicBezTo>
                <a:cubicBezTo>
                  <a:pt x="16156" y="8156"/>
                  <a:pt x="16156" y="8156"/>
                  <a:pt x="16187" y="8187"/>
                </a:cubicBezTo>
                <a:cubicBezTo>
                  <a:pt x="16218" y="8219"/>
                  <a:pt x="16281" y="8250"/>
                  <a:pt x="16343" y="8250"/>
                </a:cubicBezTo>
                <a:cubicBezTo>
                  <a:pt x="16281" y="8187"/>
                  <a:pt x="16250" y="8156"/>
                  <a:pt x="16187" y="8125"/>
                </a:cubicBezTo>
                <a:cubicBezTo>
                  <a:pt x="16187" y="8125"/>
                  <a:pt x="16187" y="8125"/>
                  <a:pt x="16187" y="8125"/>
                </a:cubicBezTo>
                <a:cubicBezTo>
                  <a:pt x="16125" y="8094"/>
                  <a:pt x="16093" y="8031"/>
                  <a:pt x="16031" y="8000"/>
                </a:cubicBezTo>
                <a:cubicBezTo>
                  <a:pt x="16031" y="8000"/>
                  <a:pt x="16000" y="8000"/>
                  <a:pt x="16000" y="8000"/>
                </a:cubicBezTo>
                <a:cubicBezTo>
                  <a:pt x="16031" y="8031"/>
                  <a:pt x="16062" y="8031"/>
                  <a:pt x="16062" y="8094"/>
                </a:cubicBezTo>
                <a:cubicBezTo>
                  <a:pt x="16062" y="8125"/>
                  <a:pt x="16062" y="8125"/>
                  <a:pt x="16000" y="8094"/>
                </a:cubicBezTo>
                <a:cubicBezTo>
                  <a:pt x="16000" y="8094"/>
                  <a:pt x="16000" y="8094"/>
                  <a:pt x="15968" y="8094"/>
                </a:cubicBezTo>
                <a:cubicBezTo>
                  <a:pt x="15968" y="8094"/>
                  <a:pt x="15968" y="8094"/>
                  <a:pt x="15968" y="8094"/>
                </a:cubicBezTo>
                <a:cubicBezTo>
                  <a:pt x="15968" y="8062"/>
                  <a:pt x="15937" y="8062"/>
                  <a:pt x="15937" y="8031"/>
                </a:cubicBezTo>
                <a:cubicBezTo>
                  <a:pt x="15937" y="8031"/>
                  <a:pt x="15937" y="8031"/>
                  <a:pt x="15937" y="8031"/>
                </a:cubicBezTo>
                <a:cubicBezTo>
                  <a:pt x="15968" y="8031"/>
                  <a:pt x="15968" y="8000"/>
                  <a:pt x="16000" y="8000"/>
                </a:cubicBezTo>
                <a:cubicBezTo>
                  <a:pt x="16000" y="8000"/>
                  <a:pt x="16031" y="8000"/>
                  <a:pt x="16031" y="8000"/>
                </a:cubicBezTo>
                <a:cubicBezTo>
                  <a:pt x="16031" y="7969"/>
                  <a:pt x="15968" y="7969"/>
                  <a:pt x="15968" y="7906"/>
                </a:cubicBezTo>
                <a:cubicBezTo>
                  <a:pt x="15968" y="7906"/>
                  <a:pt x="15968" y="7906"/>
                  <a:pt x="15968" y="7875"/>
                </a:cubicBezTo>
                <a:cubicBezTo>
                  <a:pt x="15968" y="7875"/>
                  <a:pt x="16000" y="7875"/>
                  <a:pt x="16000" y="7875"/>
                </a:cubicBezTo>
                <a:cubicBezTo>
                  <a:pt x="16000" y="7937"/>
                  <a:pt x="16062" y="7906"/>
                  <a:pt x="16093" y="7937"/>
                </a:cubicBezTo>
                <a:cubicBezTo>
                  <a:pt x="16093" y="7969"/>
                  <a:pt x="16125" y="8000"/>
                  <a:pt x="16125" y="7969"/>
                </a:cubicBezTo>
                <a:cubicBezTo>
                  <a:pt x="16156" y="7937"/>
                  <a:pt x="16125" y="7937"/>
                  <a:pt x="16093" y="7906"/>
                </a:cubicBezTo>
                <a:cubicBezTo>
                  <a:pt x="16062" y="7875"/>
                  <a:pt x="16031" y="7844"/>
                  <a:pt x="16031" y="7781"/>
                </a:cubicBezTo>
                <a:cubicBezTo>
                  <a:pt x="16031" y="7781"/>
                  <a:pt x="16031" y="7781"/>
                  <a:pt x="16031" y="7781"/>
                </a:cubicBezTo>
                <a:cubicBezTo>
                  <a:pt x="16031" y="7750"/>
                  <a:pt x="16031" y="7719"/>
                  <a:pt x="16031" y="7687"/>
                </a:cubicBezTo>
                <a:cubicBezTo>
                  <a:pt x="16031" y="7719"/>
                  <a:pt x="16031" y="7750"/>
                  <a:pt x="16031" y="7781"/>
                </a:cubicBezTo>
                <a:cubicBezTo>
                  <a:pt x="16062" y="7781"/>
                  <a:pt x="16093" y="7812"/>
                  <a:pt x="16125" y="7781"/>
                </a:cubicBezTo>
                <a:cubicBezTo>
                  <a:pt x="16093" y="7750"/>
                  <a:pt x="16031" y="7687"/>
                  <a:pt x="16125" y="7656"/>
                </a:cubicBezTo>
                <a:cubicBezTo>
                  <a:pt x="16125" y="7687"/>
                  <a:pt x="16156" y="7719"/>
                  <a:pt x="16187" y="7750"/>
                </a:cubicBezTo>
                <a:cubicBezTo>
                  <a:pt x="16218" y="7750"/>
                  <a:pt x="16281" y="7719"/>
                  <a:pt x="16281" y="7781"/>
                </a:cubicBezTo>
                <a:cubicBezTo>
                  <a:pt x="16312" y="7781"/>
                  <a:pt x="16312" y="7781"/>
                  <a:pt x="16312" y="7781"/>
                </a:cubicBezTo>
                <a:cubicBezTo>
                  <a:pt x="16375" y="7687"/>
                  <a:pt x="16281" y="7594"/>
                  <a:pt x="16281" y="7531"/>
                </a:cubicBezTo>
                <a:cubicBezTo>
                  <a:pt x="16281" y="7500"/>
                  <a:pt x="16218" y="7500"/>
                  <a:pt x="16187" y="7500"/>
                </a:cubicBezTo>
                <a:cubicBezTo>
                  <a:pt x="16156" y="7500"/>
                  <a:pt x="16156" y="7500"/>
                  <a:pt x="16125" y="7531"/>
                </a:cubicBezTo>
                <a:cubicBezTo>
                  <a:pt x="16125" y="7562"/>
                  <a:pt x="16093" y="7562"/>
                  <a:pt x="16062" y="7531"/>
                </a:cubicBezTo>
                <a:cubicBezTo>
                  <a:pt x="16000" y="7500"/>
                  <a:pt x="16000" y="7437"/>
                  <a:pt x="16000" y="7375"/>
                </a:cubicBezTo>
                <a:cubicBezTo>
                  <a:pt x="15968" y="7375"/>
                  <a:pt x="15968" y="7437"/>
                  <a:pt x="15937" y="7406"/>
                </a:cubicBezTo>
                <a:cubicBezTo>
                  <a:pt x="15875" y="7406"/>
                  <a:pt x="15843" y="7375"/>
                  <a:pt x="15812" y="7312"/>
                </a:cubicBezTo>
                <a:cubicBezTo>
                  <a:pt x="15812" y="7281"/>
                  <a:pt x="15812" y="7250"/>
                  <a:pt x="15750" y="7250"/>
                </a:cubicBezTo>
                <a:cubicBezTo>
                  <a:pt x="15750" y="7250"/>
                  <a:pt x="15750" y="7219"/>
                  <a:pt x="15750" y="7219"/>
                </a:cubicBezTo>
                <a:cubicBezTo>
                  <a:pt x="15750" y="7219"/>
                  <a:pt x="15750" y="7219"/>
                  <a:pt x="15718" y="7219"/>
                </a:cubicBezTo>
                <a:cubicBezTo>
                  <a:pt x="15718" y="7187"/>
                  <a:pt x="15718" y="7187"/>
                  <a:pt x="15718" y="7187"/>
                </a:cubicBezTo>
                <a:cubicBezTo>
                  <a:pt x="15750" y="7125"/>
                  <a:pt x="15718" y="7094"/>
                  <a:pt x="15687" y="7094"/>
                </a:cubicBezTo>
                <a:cubicBezTo>
                  <a:pt x="15687" y="7062"/>
                  <a:pt x="15687" y="7031"/>
                  <a:pt x="15687" y="7000"/>
                </a:cubicBezTo>
                <a:cubicBezTo>
                  <a:pt x="15687" y="7000"/>
                  <a:pt x="15687" y="6969"/>
                  <a:pt x="15687" y="7000"/>
                </a:cubicBezTo>
                <a:cubicBezTo>
                  <a:pt x="15718" y="7000"/>
                  <a:pt x="15718" y="7000"/>
                  <a:pt x="15718" y="7031"/>
                </a:cubicBezTo>
                <a:cubicBezTo>
                  <a:pt x="15750" y="6937"/>
                  <a:pt x="15656" y="6906"/>
                  <a:pt x="15687" y="6812"/>
                </a:cubicBezTo>
                <a:close/>
                <a:moveTo>
                  <a:pt x="16875" y="9375"/>
                </a:moveTo>
                <a:cubicBezTo>
                  <a:pt x="16843" y="9375"/>
                  <a:pt x="16812" y="9344"/>
                  <a:pt x="16781" y="9344"/>
                </a:cubicBezTo>
                <a:cubicBezTo>
                  <a:pt x="16781" y="9312"/>
                  <a:pt x="16781" y="9281"/>
                  <a:pt x="16781" y="9250"/>
                </a:cubicBezTo>
                <a:cubicBezTo>
                  <a:pt x="16781" y="9250"/>
                  <a:pt x="16781" y="9250"/>
                  <a:pt x="16781" y="9250"/>
                </a:cubicBezTo>
                <a:cubicBezTo>
                  <a:pt x="16812" y="9250"/>
                  <a:pt x="16875" y="9281"/>
                  <a:pt x="16875" y="9219"/>
                </a:cubicBezTo>
                <a:cubicBezTo>
                  <a:pt x="16906" y="9219"/>
                  <a:pt x="16906" y="9219"/>
                  <a:pt x="16906" y="9187"/>
                </a:cubicBezTo>
                <a:cubicBezTo>
                  <a:pt x="16937" y="9156"/>
                  <a:pt x="16968" y="9125"/>
                  <a:pt x="17000" y="9094"/>
                </a:cubicBezTo>
                <a:cubicBezTo>
                  <a:pt x="17000" y="9187"/>
                  <a:pt x="17062" y="9250"/>
                  <a:pt x="16968" y="9312"/>
                </a:cubicBezTo>
                <a:cubicBezTo>
                  <a:pt x="16968" y="9312"/>
                  <a:pt x="16968" y="9312"/>
                  <a:pt x="16968" y="9312"/>
                </a:cubicBezTo>
                <a:cubicBezTo>
                  <a:pt x="16937" y="9312"/>
                  <a:pt x="16906" y="9344"/>
                  <a:pt x="16875" y="9375"/>
                </a:cubicBezTo>
                <a:close/>
                <a:moveTo>
                  <a:pt x="16750" y="9312"/>
                </a:moveTo>
                <a:cubicBezTo>
                  <a:pt x="16687" y="9281"/>
                  <a:pt x="16656" y="9250"/>
                  <a:pt x="16593" y="9250"/>
                </a:cubicBezTo>
                <a:cubicBezTo>
                  <a:pt x="16593" y="9250"/>
                  <a:pt x="16593" y="9250"/>
                  <a:pt x="16593" y="9250"/>
                </a:cubicBezTo>
                <a:cubicBezTo>
                  <a:pt x="16656" y="9250"/>
                  <a:pt x="16687" y="9281"/>
                  <a:pt x="16750" y="9312"/>
                </a:cubicBezTo>
                <a:close/>
                <a:moveTo>
                  <a:pt x="16656" y="9062"/>
                </a:move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ubicBezTo>
                  <a:pt x="16656" y="9062"/>
                  <a:pt x="16656" y="9062"/>
                  <a:pt x="16656" y="9062"/>
                </a:cubicBezTo>
                <a:close/>
                <a:moveTo>
                  <a:pt x="16687" y="9156"/>
                </a:moveTo>
                <a:cubicBezTo>
                  <a:pt x="16656" y="9094"/>
                  <a:pt x="16687" y="9000"/>
                  <a:pt x="16750" y="8969"/>
                </a:cubicBezTo>
                <a:cubicBezTo>
                  <a:pt x="16750" y="8937"/>
                  <a:pt x="16750" y="8906"/>
                  <a:pt x="16718" y="8906"/>
                </a:cubicBezTo>
                <a:cubicBezTo>
                  <a:pt x="16750" y="8906"/>
                  <a:pt x="16750" y="8937"/>
                  <a:pt x="16750" y="8969"/>
                </a:cubicBezTo>
                <a:cubicBezTo>
                  <a:pt x="16781" y="8969"/>
                  <a:pt x="16781" y="8969"/>
                  <a:pt x="16781" y="8969"/>
                </a:cubicBezTo>
                <a:cubicBezTo>
                  <a:pt x="16812" y="8969"/>
                  <a:pt x="16843" y="8937"/>
                  <a:pt x="16875" y="9000"/>
                </a:cubicBezTo>
                <a:cubicBezTo>
                  <a:pt x="16875" y="9062"/>
                  <a:pt x="16843" y="9062"/>
                  <a:pt x="16812" y="9062"/>
                </a:cubicBezTo>
                <a:cubicBezTo>
                  <a:pt x="16781" y="9062"/>
                  <a:pt x="16750" y="9062"/>
                  <a:pt x="16781" y="9094"/>
                </a:cubicBezTo>
                <a:cubicBezTo>
                  <a:pt x="16812" y="9125"/>
                  <a:pt x="16875" y="9156"/>
                  <a:pt x="16906" y="9187"/>
                </a:cubicBezTo>
                <a:cubicBezTo>
                  <a:pt x="16875" y="9156"/>
                  <a:pt x="16812" y="9125"/>
                  <a:pt x="16781" y="9094"/>
                </a:cubicBezTo>
                <a:cubicBezTo>
                  <a:pt x="16781" y="9125"/>
                  <a:pt x="16781" y="9156"/>
                  <a:pt x="16750" y="9156"/>
                </a:cubicBezTo>
                <a:cubicBezTo>
                  <a:pt x="16718" y="9156"/>
                  <a:pt x="16718" y="9156"/>
                  <a:pt x="16687" y="9156"/>
                </a:cubicBezTo>
                <a:close/>
                <a:moveTo>
                  <a:pt x="16250" y="9094"/>
                </a:moveTo>
                <a:cubicBezTo>
                  <a:pt x="16250" y="9094"/>
                  <a:pt x="16250" y="9094"/>
                  <a:pt x="16250" y="9094"/>
                </a:cubicBezTo>
                <a:cubicBezTo>
                  <a:pt x="16250" y="9125"/>
                  <a:pt x="16250" y="9125"/>
                  <a:pt x="16250" y="9125"/>
                </a:cubicBezTo>
                <a:cubicBezTo>
                  <a:pt x="16250" y="9125"/>
                  <a:pt x="16250" y="9125"/>
                  <a:pt x="16250" y="9094"/>
                </a:cubicBezTo>
                <a:close/>
                <a:moveTo>
                  <a:pt x="15937" y="7875"/>
                </a:moveTo>
                <a:cubicBezTo>
                  <a:pt x="15937" y="7875"/>
                  <a:pt x="15937" y="7875"/>
                  <a:pt x="15937" y="7875"/>
                </a:cubicBezTo>
                <a:cubicBezTo>
                  <a:pt x="15875" y="7875"/>
                  <a:pt x="15875" y="7844"/>
                  <a:pt x="15875" y="7812"/>
                </a:cubicBezTo>
                <a:cubicBezTo>
                  <a:pt x="15906" y="7844"/>
                  <a:pt x="15937" y="7812"/>
                  <a:pt x="15937" y="7875"/>
                </a:cubicBezTo>
                <a:close/>
                <a:moveTo>
                  <a:pt x="15718" y="7750"/>
                </a:moveTo>
                <a:cubicBezTo>
                  <a:pt x="15750" y="7781"/>
                  <a:pt x="15750" y="7812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ubicBezTo>
                  <a:pt x="15781" y="7844"/>
                  <a:pt x="15812" y="7844"/>
                  <a:pt x="15812" y="7875"/>
                </a:cubicBezTo>
                <a:cubicBezTo>
                  <a:pt x="15843" y="7906"/>
                  <a:pt x="15875" y="7937"/>
                  <a:pt x="15906" y="7937"/>
                </a:cubicBezTo>
                <a:cubicBezTo>
                  <a:pt x="15937" y="7969"/>
                  <a:pt x="15937" y="8000"/>
                  <a:pt x="15937" y="8000"/>
                </a:cubicBezTo>
                <a:cubicBezTo>
                  <a:pt x="15937" y="8000"/>
                  <a:pt x="15937" y="8000"/>
                  <a:pt x="15937" y="8000"/>
                </a:cubicBezTo>
                <a:cubicBezTo>
                  <a:pt x="15875" y="7969"/>
                  <a:pt x="15781" y="7906"/>
                  <a:pt x="15750" y="7844"/>
                </a:cubicBezTo>
                <a:lnTo>
                  <a:pt x="15750" y="7844"/>
                </a:lnTo>
                <a:cubicBezTo>
                  <a:pt x="15750" y="7844"/>
                  <a:pt x="15750" y="7844"/>
                  <a:pt x="15750" y="7844"/>
                </a:cubicBezTo>
                <a:cubicBezTo>
                  <a:pt x="15718" y="7844"/>
                  <a:pt x="15687" y="7781"/>
                  <a:pt x="15687" y="7781"/>
                </a:cubicBezTo>
                <a:cubicBezTo>
                  <a:pt x="15656" y="7719"/>
                  <a:pt x="15687" y="7750"/>
                  <a:pt x="15718" y="7750"/>
                </a:cubicBezTo>
                <a:close/>
                <a:moveTo>
                  <a:pt x="15906" y="8250"/>
                </a:moveTo>
                <a:cubicBezTo>
                  <a:pt x="15906" y="8250"/>
                  <a:pt x="15906" y="8250"/>
                  <a:pt x="15906" y="8250"/>
                </a:cubicBezTo>
                <a:cubicBezTo>
                  <a:pt x="15906" y="8250"/>
                  <a:pt x="15906" y="8250"/>
                  <a:pt x="15906" y="8250"/>
                </a:cubicBezTo>
                <a:cubicBezTo>
                  <a:pt x="15906" y="8250"/>
                  <a:pt x="15906" y="8250"/>
                  <a:pt x="15906" y="8250"/>
                </a:cubicBezTo>
                <a:close/>
                <a:moveTo>
                  <a:pt x="15843" y="10969"/>
                </a:moveTo>
                <a:cubicBezTo>
                  <a:pt x="15843" y="10969"/>
                  <a:pt x="15843" y="10969"/>
                  <a:pt x="15843" y="10969"/>
                </a:cubicBezTo>
                <a:cubicBezTo>
                  <a:pt x="15843" y="10969"/>
                  <a:pt x="15843" y="10969"/>
                  <a:pt x="15843" y="10969"/>
                </a:cubicBezTo>
                <a:cubicBezTo>
                  <a:pt x="15843" y="10969"/>
                  <a:pt x="15843" y="10969"/>
                  <a:pt x="15843" y="10969"/>
                </a:cubicBezTo>
                <a:close/>
                <a:moveTo>
                  <a:pt x="15687" y="11187"/>
                </a:moveTo>
                <a:cubicBezTo>
                  <a:pt x="15656" y="11219"/>
                  <a:pt x="15656" y="11187"/>
                  <a:pt x="15656" y="11156"/>
                </a:cubicBezTo>
                <a:cubicBezTo>
                  <a:pt x="15656" y="11125"/>
                  <a:pt x="15687" y="11125"/>
                  <a:pt x="15718" y="11125"/>
                </a:cubicBezTo>
                <a:cubicBezTo>
                  <a:pt x="15718" y="11125"/>
                  <a:pt x="15718" y="11125"/>
                  <a:pt x="15718" y="11156"/>
                </a:cubicBezTo>
                <a:cubicBezTo>
                  <a:pt x="15687" y="11156"/>
                  <a:pt x="15718" y="11187"/>
                  <a:pt x="15687" y="11187"/>
                </a:cubicBezTo>
                <a:close/>
                <a:moveTo>
                  <a:pt x="15656" y="10312"/>
                </a:moveTo>
                <a:cubicBezTo>
                  <a:pt x="15656" y="10312"/>
                  <a:pt x="15656" y="10312"/>
                  <a:pt x="15656" y="10312"/>
                </a:cubicBezTo>
                <a:cubicBezTo>
                  <a:pt x="15656" y="10312"/>
                  <a:pt x="15687" y="10344"/>
                  <a:pt x="15687" y="10344"/>
                </a:cubicBezTo>
                <a:cubicBezTo>
                  <a:pt x="15687" y="10344"/>
                  <a:pt x="15656" y="10312"/>
                  <a:pt x="15656" y="10312"/>
                </a:cubicBezTo>
                <a:cubicBezTo>
                  <a:pt x="15656" y="10312"/>
                  <a:pt x="15656" y="10312"/>
                  <a:pt x="15656" y="10312"/>
                </a:cubicBezTo>
                <a:close/>
                <a:moveTo>
                  <a:pt x="15656" y="11437"/>
                </a:moveTo>
                <a:cubicBezTo>
                  <a:pt x="15656" y="11469"/>
                  <a:pt x="15687" y="11469"/>
                  <a:pt x="15656" y="11500"/>
                </a:cubicBezTo>
                <a:cubicBezTo>
                  <a:pt x="15625" y="11500"/>
                  <a:pt x="15593" y="11500"/>
                  <a:pt x="15593" y="11469"/>
                </a:cubicBezTo>
                <a:cubicBezTo>
                  <a:pt x="15593" y="11437"/>
                  <a:pt x="15625" y="11437"/>
                  <a:pt x="15656" y="11437"/>
                </a:cubicBezTo>
                <a:close/>
                <a:moveTo>
                  <a:pt x="15531" y="11687"/>
                </a:moveTo>
                <a:cubicBezTo>
                  <a:pt x="15531" y="11687"/>
                  <a:pt x="15531" y="11687"/>
                  <a:pt x="15531" y="11687"/>
                </a:cubicBezTo>
                <a:cubicBezTo>
                  <a:pt x="15562" y="11687"/>
                  <a:pt x="15562" y="11687"/>
                  <a:pt x="15562" y="11687"/>
                </a:cubicBezTo>
                <a:cubicBezTo>
                  <a:pt x="15593" y="11719"/>
                  <a:pt x="15593" y="11719"/>
                  <a:pt x="15625" y="11719"/>
                </a:cubicBezTo>
                <a:cubicBezTo>
                  <a:pt x="15625" y="11750"/>
                  <a:pt x="15625" y="11750"/>
                  <a:pt x="15625" y="11781"/>
                </a:cubicBezTo>
                <a:cubicBezTo>
                  <a:pt x="15593" y="11781"/>
                  <a:pt x="15562" y="11750"/>
                  <a:pt x="15531" y="11750"/>
                </a:cubicBezTo>
                <a:cubicBezTo>
                  <a:pt x="15531" y="11750"/>
                  <a:pt x="15531" y="11719"/>
                  <a:pt x="15531" y="11687"/>
                </a:cubicBezTo>
                <a:cubicBezTo>
                  <a:pt x="15531" y="11687"/>
                  <a:pt x="15531" y="11687"/>
                  <a:pt x="15531" y="11687"/>
                </a:cubicBezTo>
                <a:close/>
                <a:moveTo>
                  <a:pt x="15562" y="8406"/>
                </a:moveTo>
                <a:cubicBezTo>
                  <a:pt x="15593" y="8406"/>
                  <a:pt x="15593" y="8437"/>
                  <a:pt x="15593" y="8469"/>
                </a:cubicBezTo>
                <a:cubicBezTo>
                  <a:pt x="15593" y="8469"/>
                  <a:pt x="15593" y="8500"/>
                  <a:pt x="15593" y="8500"/>
                </a:cubicBezTo>
                <a:cubicBezTo>
                  <a:pt x="15562" y="8500"/>
                  <a:pt x="15562" y="8469"/>
                  <a:pt x="15531" y="8437"/>
                </a:cubicBezTo>
                <a:cubicBezTo>
                  <a:pt x="15531" y="8406"/>
                  <a:pt x="15531" y="8406"/>
                  <a:pt x="15562" y="8406"/>
                </a:cubicBezTo>
                <a:close/>
                <a:moveTo>
                  <a:pt x="15406" y="10344"/>
                </a:moveTo>
                <a:cubicBezTo>
                  <a:pt x="15406" y="10344"/>
                  <a:pt x="15375" y="10344"/>
                  <a:pt x="15375" y="10344"/>
                </a:cubicBezTo>
                <a:cubicBezTo>
                  <a:pt x="15375" y="10312"/>
                  <a:pt x="15406" y="10281"/>
                  <a:pt x="15437" y="10281"/>
                </a:cubicBezTo>
                <a:cubicBezTo>
                  <a:pt x="15406" y="10312"/>
                  <a:pt x="15437" y="10344"/>
                  <a:pt x="15406" y="10344"/>
                </a:cubicBezTo>
                <a:close/>
                <a:moveTo>
                  <a:pt x="15437" y="10219"/>
                </a:moveTo>
                <a:cubicBezTo>
                  <a:pt x="15406" y="10219"/>
                  <a:pt x="15406" y="10219"/>
                  <a:pt x="15375" y="10219"/>
                </a:cubicBezTo>
                <a:cubicBezTo>
                  <a:pt x="15375" y="10187"/>
                  <a:pt x="15406" y="10156"/>
                  <a:pt x="15437" y="10156"/>
                </a:cubicBezTo>
                <a:cubicBezTo>
                  <a:pt x="15437" y="10156"/>
                  <a:pt x="15468" y="10156"/>
                  <a:pt x="15468" y="10187"/>
                </a:cubicBezTo>
                <a:cubicBezTo>
                  <a:pt x="15468" y="10219"/>
                  <a:pt x="15468" y="10219"/>
                  <a:pt x="15437" y="10219"/>
                </a:cubicBezTo>
                <a:close/>
                <a:moveTo>
                  <a:pt x="15500" y="10031"/>
                </a:moveTo>
                <a:cubicBezTo>
                  <a:pt x="15468" y="10000"/>
                  <a:pt x="15500" y="10000"/>
                  <a:pt x="15531" y="10000"/>
                </a:cubicBezTo>
                <a:cubicBezTo>
                  <a:pt x="15531" y="10000"/>
                  <a:pt x="15562" y="10031"/>
                  <a:pt x="15562" y="10031"/>
                </a:cubicBezTo>
                <a:cubicBezTo>
                  <a:pt x="15562" y="10031"/>
                  <a:pt x="15562" y="10062"/>
                  <a:pt x="15531" y="10062"/>
                </a:cubicBezTo>
                <a:cubicBezTo>
                  <a:pt x="15531" y="10031"/>
                  <a:pt x="15500" y="10062"/>
                  <a:pt x="15500" y="10031"/>
                </a:cubicBezTo>
                <a:close/>
                <a:moveTo>
                  <a:pt x="15531" y="11031"/>
                </a:move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ubicBezTo>
                  <a:pt x="15531" y="11031"/>
                  <a:pt x="15531" y="11031"/>
                  <a:pt x="15531" y="11031"/>
                </a:cubicBezTo>
                <a:close/>
                <a:moveTo>
                  <a:pt x="15531" y="10594"/>
                </a:moveTo>
                <a:cubicBezTo>
                  <a:pt x="15531" y="10594"/>
                  <a:pt x="15562" y="10594"/>
                  <a:pt x="15562" y="10625"/>
                </a:cubicBezTo>
                <a:cubicBezTo>
                  <a:pt x="15562" y="10594"/>
                  <a:pt x="15593" y="10594"/>
                  <a:pt x="15593" y="10594"/>
                </a:cubicBezTo>
                <a:cubicBezTo>
                  <a:pt x="15593" y="10594"/>
                  <a:pt x="15562" y="10594"/>
                  <a:pt x="15562" y="10625"/>
                </a:cubicBezTo>
                <a:cubicBezTo>
                  <a:pt x="15562" y="10625"/>
                  <a:pt x="15531" y="10625"/>
                  <a:pt x="15531" y="10594"/>
                </a:cubicBezTo>
                <a:close/>
                <a:moveTo>
                  <a:pt x="15500" y="11187"/>
                </a:moveTo>
                <a:cubicBezTo>
                  <a:pt x="15500" y="11187"/>
                  <a:pt x="15500" y="11187"/>
                  <a:pt x="15500" y="11187"/>
                </a:cubicBezTo>
                <a:cubicBezTo>
                  <a:pt x="15500" y="11187"/>
                  <a:pt x="15500" y="11219"/>
                  <a:pt x="15500" y="11219"/>
                </a:cubicBezTo>
                <a:cubicBezTo>
                  <a:pt x="15500" y="11187"/>
                  <a:pt x="15500" y="11187"/>
                  <a:pt x="15500" y="11187"/>
                </a:cubicBezTo>
                <a:cubicBezTo>
                  <a:pt x="15500" y="11187"/>
                  <a:pt x="15500" y="11187"/>
                  <a:pt x="15500" y="11187"/>
                </a:cubicBezTo>
                <a:close/>
                <a:moveTo>
                  <a:pt x="15531" y="11375"/>
                </a:moveTo>
                <a:cubicBezTo>
                  <a:pt x="15562" y="11375"/>
                  <a:pt x="15562" y="11375"/>
                  <a:pt x="15593" y="11406"/>
                </a:cubicBezTo>
                <a:cubicBezTo>
                  <a:pt x="15593" y="11437"/>
                  <a:pt x="15562" y="11437"/>
                  <a:pt x="15562" y="11437"/>
                </a:cubicBezTo>
                <a:cubicBezTo>
                  <a:pt x="15531" y="11437"/>
                  <a:pt x="15500" y="11437"/>
                  <a:pt x="15500" y="11406"/>
                </a:cubicBezTo>
                <a:cubicBezTo>
                  <a:pt x="15500" y="11375"/>
                  <a:pt x="15500" y="11375"/>
                  <a:pt x="15531" y="11375"/>
                </a:cubicBezTo>
                <a:close/>
                <a:moveTo>
                  <a:pt x="15468" y="11469"/>
                </a:moveTo>
                <a:cubicBezTo>
                  <a:pt x="15500" y="11500"/>
                  <a:pt x="15437" y="11469"/>
                  <a:pt x="15437" y="11500"/>
                </a:cubicBezTo>
                <a:cubicBezTo>
                  <a:pt x="15406" y="11500"/>
                  <a:pt x="15406" y="11469"/>
                  <a:pt x="15375" y="11469"/>
                </a:cubicBezTo>
                <a:cubicBezTo>
                  <a:pt x="15375" y="11469"/>
                  <a:pt x="15375" y="11437"/>
                  <a:pt x="15375" y="11437"/>
                </a:cubicBezTo>
                <a:cubicBezTo>
                  <a:pt x="15406" y="11437"/>
                  <a:pt x="15406" y="11437"/>
                  <a:pt x="15406" y="11437"/>
                </a:cubicBezTo>
                <a:cubicBezTo>
                  <a:pt x="15468" y="11406"/>
                  <a:pt x="15468" y="11437"/>
                  <a:pt x="15468" y="11469"/>
                </a:cubicBezTo>
                <a:close/>
                <a:moveTo>
                  <a:pt x="15437" y="11750"/>
                </a:moveTo>
                <a:cubicBezTo>
                  <a:pt x="15437" y="11750"/>
                  <a:pt x="15437" y="11750"/>
                  <a:pt x="15437" y="11750"/>
                </a:cubicBezTo>
                <a:cubicBezTo>
                  <a:pt x="15437" y="11750"/>
                  <a:pt x="15437" y="11750"/>
                  <a:pt x="15437" y="11750"/>
                </a:cubicBezTo>
                <a:cubicBezTo>
                  <a:pt x="15437" y="11750"/>
                  <a:pt x="15437" y="11750"/>
                  <a:pt x="15437" y="11750"/>
                </a:cubicBezTo>
                <a:close/>
                <a:moveTo>
                  <a:pt x="15343" y="11375"/>
                </a:moveTo>
                <a:cubicBezTo>
                  <a:pt x="15375" y="11375"/>
                  <a:pt x="15406" y="11406"/>
                  <a:pt x="15375" y="11437"/>
                </a:cubicBezTo>
                <a:cubicBezTo>
                  <a:pt x="15375" y="11437"/>
                  <a:pt x="15343" y="11437"/>
                  <a:pt x="15343" y="11437"/>
                </a:cubicBezTo>
                <a:cubicBezTo>
                  <a:pt x="15312" y="11437"/>
                  <a:pt x="15281" y="11469"/>
                  <a:pt x="15281" y="11437"/>
                </a:cubicBezTo>
                <a:cubicBezTo>
                  <a:pt x="15281" y="11375"/>
                  <a:pt x="15312" y="11375"/>
                  <a:pt x="15343" y="11375"/>
                </a:cubicBezTo>
                <a:close/>
                <a:moveTo>
                  <a:pt x="15250" y="11250"/>
                </a:moveTo>
                <a:cubicBezTo>
                  <a:pt x="15250" y="11250"/>
                  <a:pt x="15218" y="11219"/>
                  <a:pt x="15281" y="11219"/>
                </a:cubicBezTo>
                <a:cubicBezTo>
                  <a:pt x="15281" y="11219"/>
                  <a:pt x="15281" y="11219"/>
                  <a:pt x="15281" y="11219"/>
                </a:cubicBezTo>
                <a:cubicBezTo>
                  <a:pt x="15281" y="11281"/>
                  <a:pt x="15250" y="11250"/>
                  <a:pt x="15250" y="11250"/>
                </a:cubicBezTo>
                <a:close/>
                <a:moveTo>
                  <a:pt x="15281" y="11437"/>
                </a:moveTo>
                <a:cubicBezTo>
                  <a:pt x="15281" y="11469"/>
                  <a:pt x="15281" y="11500"/>
                  <a:pt x="15250" y="11500"/>
                </a:cubicBezTo>
                <a:cubicBezTo>
                  <a:pt x="15250" y="11500"/>
                  <a:pt x="15281" y="11500"/>
                  <a:pt x="15281" y="11500"/>
                </a:cubicBezTo>
                <a:cubicBezTo>
                  <a:pt x="15312" y="11500"/>
                  <a:pt x="15312" y="11469"/>
                  <a:pt x="15343" y="11500"/>
                </a:cubicBezTo>
                <a:cubicBezTo>
                  <a:pt x="15375" y="11500"/>
                  <a:pt x="15406" y="11500"/>
                  <a:pt x="15375" y="11531"/>
                </a:cubicBezTo>
                <a:cubicBezTo>
                  <a:pt x="15375" y="11531"/>
                  <a:pt x="15375" y="11562"/>
                  <a:pt x="15343" y="11562"/>
                </a:cubicBezTo>
                <a:cubicBezTo>
                  <a:pt x="15312" y="11562"/>
                  <a:pt x="15281" y="11562"/>
                  <a:pt x="15281" y="11500"/>
                </a:cubicBezTo>
                <a:cubicBezTo>
                  <a:pt x="15281" y="11500"/>
                  <a:pt x="15250" y="11500"/>
                  <a:pt x="15250" y="11500"/>
                </a:cubicBezTo>
                <a:cubicBezTo>
                  <a:pt x="15218" y="11531"/>
                  <a:pt x="15187" y="11500"/>
                  <a:pt x="15156" y="11500"/>
                </a:cubicBezTo>
                <a:cubicBezTo>
                  <a:pt x="15187" y="11437"/>
                  <a:pt x="15250" y="11406"/>
                  <a:pt x="15281" y="11437"/>
                </a:cubicBezTo>
                <a:close/>
                <a:moveTo>
                  <a:pt x="15156" y="11625"/>
                </a:moveTo>
                <a:cubicBezTo>
                  <a:pt x="15156" y="11656"/>
                  <a:pt x="15156" y="11656"/>
                  <a:pt x="15156" y="11687"/>
                </a:cubicBezTo>
                <a:cubicBezTo>
                  <a:pt x="15156" y="11687"/>
                  <a:pt x="15156" y="11687"/>
                  <a:pt x="15156" y="11687"/>
                </a:cubicBezTo>
                <a:cubicBezTo>
                  <a:pt x="15187" y="11687"/>
                  <a:pt x="15218" y="11656"/>
                  <a:pt x="15250" y="11656"/>
                </a:cubicBezTo>
                <a:cubicBezTo>
                  <a:pt x="15250" y="11656"/>
                  <a:pt x="15250" y="11656"/>
                  <a:pt x="15250" y="11656"/>
                </a:cubicBezTo>
                <a:cubicBezTo>
                  <a:pt x="15281" y="11687"/>
                  <a:pt x="15281" y="11687"/>
                  <a:pt x="15281" y="11719"/>
                </a:cubicBezTo>
                <a:cubicBezTo>
                  <a:pt x="15281" y="11719"/>
                  <a:pt x="15250" y="11719"/>
                  <a:pt x="15250" y="11719"/>
                </a:cubicBezTo>
                <a:cubicBezTo>
                  <a:pt x="15218" y="11719"/>
                  <a:pt x="15156" y="11750"/>
                  <a:pt x="15156" y="11687"/>
                </a:cubicBezTo>
                <a:lnTo>
                  <a:pt x="15156" y="11687"/>
                </a:lnTo>
                <a:cubicBezTo>
                  <a:pt x="15156" y="11687"/>
                  <a:pt x="15156" y="11687"/>
                  <a:pt x="15156" y="11687"/>
                </a:cubicBezTo>
                <a:cubicBezTo>
                  <a:pt x="15125" y="11687"/>
                  <a:pt x="15125" y="11687"/>
                  <a:pt x="15093" y="11687"/>
                </a:cubicBezTo>
                <a:cubicBezTo>
                  <a:pt x="15093" y="11687"/>
                  <a:pt x="15062" y="11687"/>
                  <a:pt x="15062" y="11687"/>
                </a:cubicBezTo>
                <a:cubicBezTo>
                  <a:pt x="15031" y="11656"/>
                  <a:pt x="15062" y="11656"/>
                  <a:pt x="15062" y="11625"/>
                </a:cubicBezTo>
                <a:cubicBezTo>
                  <a:pt x="15062" y="11625"/>
                  <a:pt x="15062" y="11625"/>
                  <a:pt x="15062" y="11625"/>
                </a:cubicBezTo>
                <a:cubicBezTo>
                  <a:pt x="15093" y="11625"/>
                  <a:pt x="15125" y="11594"/>
                  <a:pt x="15156" y="11625"/>
                </a:cubicBezTo>
                <a:close/>
                <a:moveTo>
                  <a:pt x="15156" y="11594"/>
                </a:moveTo>
                <a:cubicBezTo>
                  <a:pt x="15187" y="11594"/>
                  <a:pt x="15218" y="11531"/>
                  <a:pt x="15250" y="11594"/>
                </a:cubicBezTo>
                <a:cubicBezTo>
                  <a:pt x="15250" y="11594"/>
                  <a:pt x="15250" y="11594"/>
                  <a:pt x="15250" y="11625"/>
                </a:cubicBezTo>
                <a:cubicBezTo>
                  <a:pt x="15218" y="11656"/>
                  <a:pt x="15187" y="11625"/>
                  <a:pt x="15156" y="11594"/>
                </a:cubicBezTo>
                <a:close/>
                <a:moveTo>
                  <a:pt x="15062" y="11531"/>
                </a:moveTo>
                <a:cubicBezTo>
                  <a:pt x="15062" y="11531"/>
                  <a:pt x="15062" y="11531"/>
                  <a:pt x="15062" y="11500"/>
                </a:cubicBezTo>
                <a:cubicBezTo>
                  <a:pt x="15093" y="11500"/>
                  <a:pt x="15125" y="11500"/>
                  <a:pt x="15156" y="11531"/>
                </a:cubicBezTo>
                <a:cubicBezTo>
                  <a:pt x="15156" y="11562"/>
                  <a:pt x="15156" y="11562"/>
                  <a:pt x="15125" y="11562"/>
                </a:cubicBezTo>
                <a:cubicBezTo>
                  <a:pt x="15093" y="11531"/>
                  <a:pt x="15093" y="11531"/>
                  <a:pt x="15062" y="11531"/>
                </a:cubicBezTo>
                <a:cubicBezTo>
                  <a:pt x="15062" y="11531"/>
                  <a:pt x="15062" y="11531"/>
                  <a:pt x="15031" y="11562"/>
                </a:cubicBezTo>
                <a:cubicBezTo>
                  <a:pt x="15062" y="11531"/>
                  <a:pt x="15062" y="11531"/>
                  <a:pt x="15062" y="11531"/>
                </a:cubicBezTo>
                <a:close/>
                <a:moveTo>
                  <a:pt x="14968" y="11812"/>
                </a:moveTo>
                <a:cubicBezTo>
                  <a:pt x="15000" y="11812"/>
                  <a:pt x="15062" y="11781"/>
                  <a:pt x="15062" y="11844"/>
                </a:cubicBezTo>
                <a:cubicBezTo>
                  <a:pt x="15062" y="11844"/>
                  <a:pt x="15062" y="11844"/>
                  <a:pt x="15062" y="11875"/>
                </a:cubicBezTo>
                <a:cubicBezTo>
                  <a:pt x="15062" y="11844"/>
                  <a:pt x="15062" y="11844"/>
                  <a:pt x="15062" y="11844"/>
                </a:cubicBezTo>
                <a:cubicBezTo>
                  <a:pt x="15031" y="11875"/>
                  <a:pt x="15000" y="11875"/>
                  <a:pt x="14968" y="11875"/>
                </a:cubicBezTo>
                <a:cubicBezTo>
                  <a:pt x="14968" y="11875"/>
                  <a:pt x="14968" y="11875"/>
                  <a:pt x="14968" y="11875"/>
                </a:cubicBezTo>
                <a:cubicBezTo>
                  <a:pt x="14968" y="11875"/>
                  <a:pt x="14968" y="11906"/>
                  <a:pt x="14968" y="11906"/>
                </a:cubicBezTo>
                <a:cubicBezTo>
                  <a:pt x="14937" y="11906"/>
                  <a:pt x="14937" y="11906"/>
                  <a:pt x="14937" y="11906"/>
                </a:cubicBezTo>
                <a:cubicBezTo>
                  <a:pt x="14937" y="11875"/>
                  <a:pt x="14937" y="11875"/>
                  <a:pt x="14968" y="11875"/>
                </a:cubicBezTo>
                <a:lnTo>
                  <a:pt x="14968" y="11875"/>
                </a:lnTo>
                <a:cubicBezTo>
                  <a:pt x="14968" y="11875"/>
                  <a:pt x="14968" y="11875"/>
                  <a:pt x="14968" y="11875"/>
                </a:cubicBezTo>
                <a:cubicBezTo>
                  <a:pt x="14968" y="11844"/>
                  <a:pt x="14968" y="11844"/>
                  <a:pt x="14968" y="11812"/>
                </a:cubicBezTo>
                <a:cubicBezTo>
                  <a:pt x="14968" y="11812"/>
                  <a:pt x="14968" y="11812"/>
                  <a:pt x="14968" y="11812"/>
                </a:cubicBezTo>
                <a:cubicBezTo>
                  <a:pt x="14968" y="11812"/>
                  <a:pt x="14968" y="11812"/>
                  <a:pt x="14968" y="11812"/>
                </a:cubicBezTo>
                <a:close/>
                <a:moveTo>
                  <a:pt x="14937" y="11812"/>
                </a:moveTo>
                <a:cubicBezTo>
                  <a:pt x="14937" y="11812"/>
                  <a:pt x="14937" y="11812"/>
                  <a:pt x="14937" y="11812"/>
                </a:cubicBezTo>
                <a:cubicBezTo>
                  <a:pt x="14937" y="11812"/>
                  <a:pt x="14937" y="11812"/>
                  <a:pt x="14937" y="11812"/>
                </a:cubicBezTo>
                <a:cubicBezTo>
                  <a:pt x="14937" y="11812"/>
                  <a:pt x="14937" y="11812"/>
                  <a:pt x="14937" y="11812"/>
                </a:cubicBezTo>
                <a:close/>
                <a:moveTo>
                  <a:pt x="14968" y="11625"/>
                </a:moveTo>
                <a:cubicBezTo>
                  <a:pt x="14968" y="11687"/>
                  <a:pt x="14937" y="11687"/>
                  <a:pt x="14906" y="11687"/>
                </a:cubicBezTo>
                <a:cubicBezTo>
                  <a:pt x="14843" y="11687"/>
                  <a:pt x="14875" y="11656"/>
                  <a:pt x="14875" y="11625"/>
                </a:cubicBezTo>
                <a:cubicBezTo>
                  <a:pt x="14906" y="11625"/>
                  <a:pt x="14937" y="11625"/>
                  <a:pt x="14968" y="11625"/>
                </a:cubicBezTo>
                <a:close/>
                <a:moveTo>
                  <a:pt x="14687" y="11531"/>
                </a:moveTo>
                <a:cubicBezTo>
                  <a:pt x="14718" y="11531"/>
                  <a:pt x="14750" y="11562"/>
                  <a:pt x="14781" y="11562"/>
                </a:cubicBezTo>
                <a:cubicBezTo>
                  <a:pt x="14812" y="11562"/>
                  <a:pt x="14812" y="11531"/>
                  <a:pt x="14843" y="11500"/>
                </a:cubicBezTo>
                <a:cubicBezTo>
                  <a:pt x="14812" y="11531"/>
                  <a:pt x="14812" y="11562"/>
                  <a:pt x="14781" y="11562"/>
                </a:cubicBezTo>
                <a:cubicBezTo>
                  <a:pt x="14781" y="11562"/>
                  <a:pt x="14781" y="11562"/>
                  <a:pt x="14781" y="11594"/>
                </a:cubicBezTo>
                <a:cubicBezTo>
                  <a:pt x="14750" y="11562"/>
                  <a:pt x="14718" y="11625"/>
                  <a:pt x="14687" y="11594"/>
                </a:cubicBezTo>
                <a:cubicBezTo>
                  <a:pt x="14687" y="11594"/>
                  <a:pt x="14656" y="11594"/>
                  <a:pt x="14656" y="11562"/>
                </a:cubicBezTo>
                <a:cubicBezTo>
                  <a:pt x="14656" y="11562"/>
                  <a:pt x="14687" y="11531"/>
                  <a:pt x="14687" y="11531"/>
                </a:cubicBezTo>
                <a:close/>
                <a:moveTo>
                  <a:pt x="14875" y="11625"/>
                </a:moveTo>
                <a:cubicBezTo>
                  <a:pt x="14843" y="11625"/>
                  <a:pt x="14812" y="11656"/>
                  <a:pt x="14781" y="11656"/>
                </a:cubicBezTo>
                <a:cubicBezTo>
                  <a:pt x="14781" y="11625"/>
                  <a:pt x="14781" y="11594"/>
                  <a:pt x="14781" y="11594"/>
                </a:cubicBezTo>
                <a:cubicBezTo>
                  <a:pt x="14812" y="11594"/>
                  <a:pt x="14875" y="11562"/>
                  <a:pt x="14875" y="11625"/>
                </a:cubicBezTo>
                <a:close/>
                <a:moveTo>
                  <a:pt x="14593" y="11625"/>
                </a:moveTo>
                <a:cubicBezTo>
                  <a:pt x="14625" y="11625"/>
                  <a:pt x="14656" y="11625"/>
                  <a:pt x="14656" y="11656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56"/>
                </a:cubicBezTo>
                <a:cubicBezTo>
                  <a:pt x="14625" y="11687"/>
                  <a:pt x="14593" y="11687"/>
                  <a:pt x="14562" y="11687"/>
                </a:cubicBezTo>
                <a:cubicBezTo>
                  <a:pt x="14531" y="11625"/>
                  <a:pt x="14562" y="11625"/>
                  <a:pt x="14593" y="11625"/>
                </a:cubicBezTo>
                <a:close/>
                <a:moveTo>
                  <a:pt x="14531" y="11969"/>
                </a:moveTo>
                <a:cubicBezTo>
                  <a:pt x="14531" y="11969"/>
                  <a:pt x="14562" y="11937"/>
                  <a:pt x="14562" y="11937"/>
                </a:cubicBezTo>
                <a:cubicBezTo>
                  <a:pt x="14562" y="11937"/>
                  <a:pt x="14562" y="11937"/>
                  <a:pt x="14562" y="11937"/>
                </a:cubicBezTo>
                <a:cubicBezTo>
                  <a:pt x="14562" y="11937"/>
                  <a:pt x="14531" y="11969"/>
                  <a:pt x="14531" y="11969"/>
                </a:cubicBezTo>
                <a:close/>
                <a:moveTo>
                  <a:pt x="14562" y="11750"/>
                </a:moveTo>
                <a:cubicBezTo>
                  <a:pt x="14531" y="11750"/>
                  <a:pt x="14531" y="11750"/>
                  <a:pt x="14531" y="11750"/>
                </a:cubicBezTo>
                <a:cubicBezTo>
                  <a:pt x="14531" y="11750"/>
                  <a:pt x="14500" y="11750"/>
                  <a:pt x="14468" y="11781"/>
                </a:cubicBezTo>
                <a:cubicBezTo>
                  <a:pt x="14468" y="11812"/>
                  <a:pt x="14437" y="11812"/>
                  <a:pt x="14406" y="11812"/>
                </a:cubicBezTo>
                <a:cubicBezTo>
                  <a:pt x="14406" y="11781"/>
                  <a:pt x="14343" y="11812"/>
                  <a:pt x="14375" y="11781"/>
                </a:cubicBezTo>
                <a:cubicBezTo>
                  <a:pt x="14406" y="11750"/>
                  <a:pt x="14437" y="11781"/>
                  <a:pt x="14468" y="11781"/>
                </a:cubicBezTo>
                <a:cubicBezTo>
                  <a:pt x="14500" y="11750"/>
                  <a:pt x="14531" y="11750"/>
                  <a:pt x="14531" y="11750"/>
                </a:cubicBezTo>
                <a:cubicBezTo>
                  <a:pt x="14500" y="11750"/>
                  <a:pt x="14468" y="11719"/>
                  <a:pt x="14437" y="11719"/>
                </a:cubicBezTo>
                <a:cubicBezTo>
                  <a:pt x="14468" y="11656"/>
                  <a:pt x="14500" y="11687"/>
                  <a:pt x="14531" y="11687"/>
                </a:cubicBezTo>
                <a:cubicBezTo>
                  <a:pt x="14531" y="11687"/>
                  <a:pt x="14531" y="11687"/>
                  <a:pt x="14531" y="11687"/>
                </a:cubicBezTo>
                <a:cubicBezTo>
                  <a:pt x="14531" y="11687"/>
                  <a:pt x="14562" y="11687"/>
                  <a:pt x="14562" y="11719"/>
                </a:cubicBezTo>
                <a:cubicBezTo>
                  <a:pt x="14562" y="11719"/>
                  <a:pt x="14562" y="11719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lose/>
                <a:moveTo>
                  <a:pt x="14781" y="11812"/>
                </a:moveTo>
                <a:cubicBezTo>
                  <a:pt x="14718" y="11812"/>
                  <a:pt x="14687" y="11812"/>
                  <a:pt x="14687" y="11844"/>
                </a:cubicBezTo>
                <a:cubicBezTo>
                  <a:pt x="14687" y="11875"/>
                  <a:pt x="14656" y="11875"/>
                  <a:pt x="14625" y="11844"/>
                </a:cubicBezTo>
                <a:cubicBezTo>
                  <a:pt x="14625" y="11812"/>
                  <a:pt x="14656" y="11812"/>
                  <a:pt x="14656" y="11812"/>
                </a:cubicBezTo>
                <a:cubicBezTo>
                  <a:pt x="14656" y="11781"/>
                  <a:pt x="14656" y="11781"/>
                  <a:pt x="14656" y="11781"/>
                </a:cubicBezTo>
                <a:cubicBezTo>
                  <a:pt x="14656" y="11781"/>
                  <a:pt x="14656" y="11781"/>
                  <a:pt x="14656" y="11781"/>
                </a:cubicBezTo>
                <a:cubicBezTo>
                  <a:pt x="14656" y="11781"/>
                  <a:pt x="14625" y="11781"/>
                  <a:pt x="14625" y="11781"/>
                </a:cubicBezTo>
                <a:cubicBezTo>
                  <a:pt x="14593" y="11781"/>
                  <a:pt x="14593" y="11781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ubicBezTo>
                  <a:pt x="14562" y="11750"/>
                  <a:pt x="14562" y="11750"/>
                  <a:pt x="14562" y="11750"/>
                </a:cubicBezTo>
                <a:cubicBezTo>
                  <a:pt x="14562" y="11750"/>
                  <a:pt x="14593" y="11750"/>
                  <a:pt x="14593" y="11719"/>
                </a:cubicBezTo>
                <a:cubicBezTo>
                  <a:pt x="14625" y="11719"/>
                  <a:pt x="14656" y="11719"/>
                  <a:pt x="14656" y="11719"/>
                </a:cubicBezTo>
                <a:cubicBezTo>
                  <a:pt x="14656" y="11719"/>
                  <a:pt x="14656" y="11750"/>
                  <a:pt x="14687" y="11750"/>
                </a:cubicBezTo>
                <a:cubicBezTo>
                  <a:pt x="14687" y="11750"/>
                  <a:pt x="14687" y="11750"/>
                  <a:pt x="14687" y="11781"/>
                </a:cubicBezTo>
                <a:cubicBezTo>
                  <a:pt x="14687" y="11781"/>
                  <a:pt x="14656" y="11781"/>
                  <a:pt x="14656" y="11781"/>
                </a:cubicBezTo>
                <a:cubicBezTo>
                  <a:pt x="14656" y="11781"/>
                  <a:pt x="14656" y="11781"/>
                  <a:pt x="14656" y="11812"/>
                </a:cubicBezTo>
                <a:cubicBezTo>
                  <a:pt x="14687" y="11812"/>
                  <a:pt x="14687" y="11781"/>
                  <a:pt x="14687" y="11781"/>
                </a:cubicBezTo>
                <a:cubicBezTo>
                  <a:pt x="14718" y="11750"/>
                  <a:pt x="14750" y="11750"/>
                  <a:pt x="14781" y="11750"/>
                </a:cubicBezTo>
                <a:cubicBezTo>
                  <a:pt x="14781" y="11781"/>
                  <a:pt x="14781" y="11812"/>
                  <a:pt x="14781" y="11812"/>
                </a:cubicBezTo>
                <a:close/>
                <a:moveTo>
                  <a:pt x="14687" y="11719"/>
                </a:moveTo>
                <a:cubicBezTo>
                  <a:pt x="14687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56" y="11687"/>
                  <a:pt x="14656" y="11687"/>
                  <a:pt x="14656" y="11687"/>
                </a:cubicBezTo>
                <a:cubicBezTo>
                  <a:pt x="14687" y="11656"/>
                  <a:pt x="14718" y="11656"/>
                  <a:pt x="14750" y="11687"/>
                </a:cubicBezTo>
                <a:cubicBezTo>
                  <a:pt x="14750" y="11719"/>
                  <a:pt x="14718" y="11750"/>
                  <a:pt x="14687" y="11719"/>
                </a:cubicBezTo>
                <a:close/>
                <a:moveTo>
                  <a:pt x="14812" y="11750"/>
                </a:moveTo>
                <a:cubicBezTo>
                  <a:pt x="14812" y="11750"/>
                  <a:pt x="14812" y="11750"/>
                  <a:pt x="14781" y="11750"/>
                </a:cubicBezTo>
                <a:cubicBezTo>
                  <a:pt x="14781" y="11719"/>
                  <a:pt x="14781" y="11719"/>
                  <a:pt x="14781" y="11687"/>
                </a:cubicBezTo>
                <a:cubicBezTo>
                  <a:pt x="14781" y="11687"/>
                  <a:pt x="14781" y="11687"/>
                  <a:pt x="14781" y="11687"/>
                </a:cubicBezTo>
                <a:cubicBezTo>
                  <a:pt x="14781" y="11687"/>
                  <a:pt x="14781" y="11687"/>
                  <a:pt x="14812" y="11687"/>
                </a:cubicBezTo>
                <a:cubicBezTo>
                  <a:pt x="14843" y="11687"/>
                  <a:pt x="14875" y="11687"/>
                  <a:pt x="14875" y="11719"/>
                </a:cubicBezTo>
                <a:cubicBezTo>
                  <a:pt x="14875" y="11750"/>
                  <a:pt x="14843" y="11750"/>
                  <a:pt x="14812" y="11750"/>
                </a:cubicBezTo>
                <a:close/>
                <a:moveTo>
                  <a:pt x="14968" y="12000"/>
                </a:moveTo>
                <a:cubicBezTo>
                  <a:pt x="14968" y="12000"/>
                  <a:pt x="14968" y="12000"/>
                  <a:pt x="14968" y="12000"/>
                </a:cubicBezTo>
                <a:cubicBezTo>
                  <a:pt x="14968" y="12000"/>
                  <a:pt x="14968" y="12000"/>
                  <a:pt x="14968" y="12000"/>
                </a:cubicBezTo>
                <a:cubicBezTo>
                  <a:pt x="14968" y="12000"/>
                  <a:pt x="14968" y="12000"/>
                  <a:pt x="14968" y="12000"/>
                </a:cubicBezTo>
                <a:close/>
                <a:moveTo>
                  <a:pt x="14968" y="11969"/>
                </a:moveTo>
                <a:cubicBezTo>
                  <a:pt x="14968" y="11969"/>
                  <a:pt x="14968" y="12000"/>
                  <a:pt x="14968" y="12000"/>
                </a:cubicBezTo>
                <a:cubicBezTo>
                  <a:pt x="14937" y="12000"/>
                  <a:pt x="14906" y="12000"/>
                  <a:pt x="14843" y="12000"/>
                </a:cubicBezTo>
                <a:cubicBezTo>
                  <a:pt x="14906" y="11969"/>
                  <a:pt x="14906" y="11937"/>
                  <a:pt x="14968" y="11969"/>
                </a:cubicBezTo>
                <a:cubicBezTo>
                  <a:pt x="14968" y="11937"/>
                  <a:pt x="14968" y="11937"/>
                  <a:pt x="14968" y="11906"/>
                </a:cubicBezTo>
                <a:cubicBezTo>
                  <a:pt x="15000" y="11906"/>
                  <a:pt x="15062" y="11875"/>
                  <a:pt x="15062" y="11969"/>
                </a:cubicBezTo>
                <a:cubicBezTo>
                  <a:pt x="15031" y="11969"/>
                  <a:pt x="15000" y="11969"/>
                  <a:pt x="14968" y="11969"/>
                </a:cubicBezTo>
                <a:close/>
                <a:moveTo>
                  <a:pt x="15125" y="11906"/>
                </a:moveTo>
                <a:cubicBezTo>
                  <a:pt x="15093" y="11906"/>
                  <a:pt x="15062" y="11906"/>
                  <a:pt x="15062" y="11875"/>
                </a:cubicBezTo>
                <a:cubicBezTo>
                  <a:pt x="15093" y="11844"/>
                  <a:pt x="15125" y="11844"/>
                  <a:pt x="15156" y="11875"/>
                </a:cubicBezTo>
                <a:cubicBezTo>
                  <a:pt x="15156" y="11875"/>
                  <a:pt x="15156" y="11906"/>
                  <a:pt x="15125" y="11906"/>
                </a:cubicBezTo>
                <a:close/>
                <a:moveTo>
                  <a:pt x="15312" y="11812"/>
                </a:moveTo>
                <a:cubicBezTo>
                  <a:pt x="15281" y="11844"/>
                  <a:pt x="15250" y="11875"/>
                  <a:pt x="15218" y="11844"/>
                </a:cubicBezTo>
                <a:cubicBezTo>
                  <a:pt x="15187" y="11844"/>
                  <a:pt x="15187" y="11812"/>
                  <a:pt x="15187" y="11781"/>
                </a:cubicBezTo>
                <a:cubicBezTo>
                  <a:pt x="15187" y="11781"/>
                  <a:pt x="15187" y="11781"/>
                  <a:pt x="15156" y="11781"/>
                </a:cubicBezTo>
                <a:cubicBezTo>
                  <a:pt x="15156" y="11781"/>
                  <a:pt x="15125" y="11781"/>
                  <a:pt x="15125" y="11781"/>
                </a:cubicBezTo>
                <a:cubicBezTo>
                  <a:pt x="15093" y="11812"/>
                  <a:pt x="15062" y="11812"/>
                  <a:pt x="15062" y="11781"/>
                </a:cubicBezTo>
                <a:cubicBezTo>
                  <a:pt x="15031" y="11781"/>
                  <a:pt x="15031" y="11750"/>
                  <a:pt x="15062" y="11750"/>
                </a:cubicBezTo>
                <a:cubicBezTo>
                  <a:pt x="15062" y="11750"/>
                  <a:pt x="15093" y="11719"/>
                  <a:pt x="15125" y="11719"/>
                </a:cubicBezTo>
                <a:cubicBezTo>
                  <a:pt x="15156" y="11750"/>
                  <a:pt x="15156" y="11750"/>
                  <a:pt x="15156" y="11781"/>
                </a:cubicBezTo>
                <a:cubicBezTo>
                  <a:pt x="15156" y="11781"/>
                  <a:pt x="15156" y="11781"/>
                  <a:pt x="15156" y="11781"/>
                </a:cubicBezTo>
                <a:cubicBezTo>
                  <a:pt x="15156" y="11781"/>
                  <a:pt x="15156" y="11781"/>
                  <a:pt x="15156" y="11781"/>
                </a:cubicBezTo>
                <a:cubicBezTo>
                  <a:pt x="15187" y="11781"/>
                  <a:pt x="15187" y="11781"/>
                  <a:pt x="15187" y="11781"/>
                </a:cubicBezTo>
                <a:cubicBezTo>
                  <a:pt x="15187" y="11781"/>
                  <a:pt x="15187" y="11781"/>
                  <a:pt x="15187" y="11781"/>
                </a:cubicBezTo>
                <a:cubicBezTo>
                  <a:pt x="15250" y="11750"/>
                  <a:pt x="15250" y="11781"/>
                  <a:pt x="15281" y="11781"/>
                </a:cubicBezTo>
                <a:cubicBezTo>
                  <a:pt x="15312" y="11781"/>
                  <a:pt x="15312" y="11812"/>
                  <a:pt x="15312" y="11812"/>
                </a:cubicBezTo>
                <a:close/>
                <a:moveTo>
                  <a:pt x="15406" y="11750"/>
                </a:moveTo>
                <a:cubicBezTo>
                  <a:pt x="15375" y="11781"/>
                  <a:pt x="15375" y="11812"/>
                  <a:pt x="15375" y="11812"/>
                </a:cubicBezTo>
                <a:cubicBezTo>
                  <a:pt x="15343" y="11781"/>
                  <a:pt x="15281" y="11781"/>
                  <a:pt x="15281" y="11719"/>
                </a:cubicBezTo>
                <a:cubicBezTo>
                  <a:pt x="15312" y="11719"/>
                  <a:pt x="15375" y="11719"/>
                  <a:pt x="15406" y="11719"/>
                </a:cubicBezTo>
                <a:cubicBezTo>
                  <a:pt x="15406" y="11750"/>
                  <a:pt x="15406" y="11750"/>
                  <a:pt x="15406" y="11750"/>
                </a:cubicBezTo>
                <a:cubicBezTo>
                  <a:pt x="15406" y="11781"/>
                  <a:pt x="15406" y="11781"/>
                  <a:pt x="15406" y="11781"/>
                </a:cubicBezTo>
                <a:cubicBezTo>
                  <a:pt x="15406" y="11781"/>
                  <a:pt x="15406" y="11781"/>
                  <a:pt x="15406" y="11750"/>
                </a:cubicBezTo>
                <a:close/>
                <a:moveTo>
                  <a:pt x="15437" y="11719"/>
                </a:moveTo>
                <a:cubicBezTo>
                  <a:pt x="15437" y="11719"/>
                  <a:pt x="15437" y="11719"/>
                  <a:pt x="15437" y="11719"/>
                </a:cubicBezTo>
                <a:cubicBezTo>
                  <a:pt x="15437" y="11719"/>
                  <a:pt x="15437" y="11719"/>
                  <a:pt x="15437" y="11719"/>
                </a:cubicBezTo>
                <a:close/>
                <a:moveTo>
                  <a:pt x="15437" y="11781"/>
                </a:moveTo>
                <a:cubicBezTo>
                  <a:pt x="15437" y="11750"/>
                  <a:pt x="15468" y="11781"/>
                  <a:pt x="15468" y="11781"/>
                </a:cubicBezTo>
                <a:cubicBezTo>
                  <a:pt x="15500" y="11781"/>
                  <a:pt x="15531" y="11750"/>
                  <a:pt x="15531" y="11781"/>
                </a:cubicBezTo>
                <a:cubicBezTo>
                  <a:pt x="15531" y="11812"/>
                  <a:pt x="15500" y="11812"/>
                  <a:pt x="15468" y="11812"/>
                </a:cubicBezTo>
                <a:cubicBezTo>
                  <a:pt x="15468" y="11812"/>
                  <a:pt x="15437" y="11812"/>
                  <a:pt x="15437" y="11781"/>
                </a:cubicBezTo>
                <a:close/>
                <a:moveTo>
                  <a:pt x="15531" y="11906"/>
                </a:moveTo>
                <a:cubicBezTo>
                  <a:pt x="15531" y="11906"/>
                  <a:pt x="15500" y="11906"/>
                  <a:pt x="15500" y="11906"/>
                </a:cubicBezTo>
                <a:cubicBezTo>
                  <a:pt x="15468" y="11937"/>
                  <a:pt x="15437" y="11937"/>
                  <a:pt x="15437" y="11906"/>
                </a:cubicBezTo>
                <a:cubicBezTo>
                  <a:pt x="15437" y="11875"/>
                  <a:pt x="15468" y="11875"/>
                  <a:pt x="15468" y="11875"/>
                </a:cubicBezTo>
                <a:cubicBezTo>
                  <a:pt x="15500" y="11875"/>
                  <a:pt x="15531" y="11844"/>
                  <a:pt x="15531" y="11812"/>
                </a:cubicBezTo>
                <a:cubicBezTo>
                  <a:pt x="15562" y="11812"/>
                  <a:pt x="15593" y="11812"/>
                  <a:pt x="15625" y="11812"/>
                </a:cubicBezTo>
                <a:cubicBezTo>
                  <a:pt x="15625" y="11844"/>
                  <a:pt x="15625" y="11875"/>
                  <a:pt x="15593" y="11875"/>
                </a:cubicBezTo>
                <a:cubicBezTo>
                  <a:pt x="15562" y="11875"/>
                  <a:pt x="15531" y="11875"/>
                  <a:pt x="15531" y="11906"/>
                </a:cubicBezTo>
                <a:close/>
                <a:moveTo>
                  <a:pt x="15593" y="12375"/>
                </a:moveTo>
                <a:cubicBezTo>
                  <a:pt x="15593" y="12375"/>
                  <a:pt x="15593" y="12344"/>
                  <a:pt x="15593" y="12344"/>
                </a:cubicBezTo>
                <a:cubicBezTo>
                  <a:pt x="15593" y="12312"/>
                  <a:pt x="15625" y="12312"/>
                  <a:pt x="15656" y="12344"/>
                </a:cubicBezTo>
                <a:cubicBezTo>
                  <a:pt x="15625" y="12344"/>
                  <a:pt x="15625" y="12375"/>
                  <a:pt x="15593" y="12375"/>
                </a:cubicBezTo>
                <a:close/>
                <a:moveTo>
                  <a:pt x="15656" y="12437"/>
                </a:moveTo>
                <a:cubicBezTo>
                  <a:pt x="15625" y="12437"/>
                  <a:pt x="15625" y="12437"/>
                  <a:pt x="15625" y="12406"/>
                </a:cubicBezTo>
                <a:cubicBezTo>
                  <a:pt x="15625" y="12406"/>
                  <a:pt x="15625" y="12375"/>
                  <a:pt x="15656" y="12375"/>
                </a:cubicBezTo>
                <a:cubicBezTo>
                  <a:pt x="15687" y="12375"/>
                  <a:pt x="15687" y="12406"/>
                  <a:pt x="15687" y="12406"/>
                </a:cubicBezTo>
                <a:cubicBezTo>
                  <a:pt x="15687" y="12437"/>
                  <a:pt x="15656" y="12437"/>
                  <a:pt x="15656" y="12437"/>
                </a:cubicBezTo>
                <a:close/>
                <a:moveTo>
                  <a:pt x="15625" y="11906"/>
                </a:moveTo>
                <a:cubicBezTo>
                  <a:pt x="15625" y="11906"/>
                  <a:pt x="15625" y="11875"/>
                  <a:pt x="15625" y="11875"/>
                </a:cubicBezTo>
                <a:cubicBezTo>
                  <a:pt x="15656" y="11844"/>
                  <a:pt x="15687" y="11875"/>
                  <a:pt x="15718" y="11875"/>
                </a:cubicBezTo>
                <a:cubicBezTo>
                  <a:pt x="15687" y="11906"/>
                  <a:pt x="15656" y="11906"/>
                  <a:pt x="15625" y="11906"/>
                </a:cubicBezTo>
                <a:close/>
                <a:moveTo>
                  <a:pt x="15625" y="11812"/>
                </a:moveTo>
                <a:cubicBezTo>
                  <a:pt x="15625" y="11812"/>
                  <a:pt x="15625" y="11781"/>
                  <a:pt x="15625" y="11781"/>
                </a:cubicBezTo>
                <a:cubicBezTo>
                  <a:pt x="15656" y="11781"/>
                  <a:pt x="15687" y="11750"/>
                  <a:pt x="15718" y="11781"/>
                </a:cubicBezTo>
                <a:cubicBezTo>
                  <a:pt x="15687" y="11812"/>
                  <a:pt x="15656" y="11812"/>
                  <a:pt x="15625" y="11812"/>
                </a:cubicBezTo>
                <a:close/>
                <a:moveTo>
                  <a:pt x="15750" y="11437"/>
                </a:moveTo>
                <a:cubicBezTo>
                  <a:pt x="15750" y="11437"/>
                  <a:pt x="15718" y="11469"/>
                  <a:pt x="15687" y="11437"/>
                </a:cubicBezTo>
                <a:cubicBezTo>
                  <a:pt x="15687" y="11437"/>
                  <a:pt x="15687" y="11437"/>
                  <a:pt x="15656" y="11437"/>
                </a:cubicBezTo>
                <a:cubicBezTo>
                  <a:pt x="15656" y="11437"/>
                  <a:pt x="15687" y="11437"/>
                  <a:pt x="15687" y="11406"/>
                </a:cubicBezTo>
                <a:cubicBezTo>
                  <a:pt x="15687" y="11375"/>
                  <a:pt x="15718" y="11375"/>
                  <a:pt x="15750" y="11406"/>
                </a:cubicBezTo>
                <a:cubicBezTo>
                  <a:pt x="15750" y="11406"/>
                  <a:pt x="15781" y="11437"/>
                  <a:pt x="15750" y="11437"/>
                </a:cubicBezTo>
                <a:close/>
                <a:moveTo>
                  <a:pt x="15812" y="11125"/>
                </a:moveTo>
                <a:cubicBezTo>
                  <a:pt x="15812" y="11094"/>
                  <a:pt x="15781" y="11094"/>
                  <a:pt x="15781" y="11094"/>
                </a:cubicBezTo>
                <a:cubicBezTo>
                  <a:pt x="15781" y="11094"/>
                  <a:pt x="15781" y="11125"/>
                  <a:pt x="15781" y="11125"/>
                </a:cubicBezTo>
                <a:cubicBezTo>
                  <a:pt x="15750" y="11125"/>
                  <a:pt x="15718" y="11125"/>
                  <a:pt x="15718" y="11125"/>
                </a:cubicBezTo>
                <a:cubicBezTo>
                  <a:pt x="15718" y="11094"/>
                  <a:pt x="15718" y="11094"/>
                  <a:pt x="15718" y="11094"/>
                </a:cubicBezTo>
                <a:cubicBezTo>
                  <a:pt x="15750" y="11062"/>
                  <a:pt x="15750" y="11062"/>
                  <a:pt x="15750" y="11031"/>
                </a:cubicBezTo>
                <a:cubicBezTo>
                  <a:pt x="15718" y="11031"/>
                  <a:pt x="15718" y="11000"/>
                  <a:pt x="15750" y="11000"/>
                </a:cubicBezTo>
                <a:cubicBezTo>
                  <a:pt x="15750" y="11000"/>
                  <a:pt x="15781" y="11000"/>
                  <a:pt x="15781" y="11000"/>
                </a:cubicBezTo>
                <a:cubicBezTo>
                  <a:pt x="15781" y="11062"/>
                  <a:pt x="15812" y="11062"/>
                  <a:pt x="15843" y="11062"/>
                </a:cubicBezTo>
                <a:cubicBezTo>
                  <a:pt x="15843" y="11062"/>
                  <a:pt x="15843" y="11062"/>
                  <a:pt x="15843" y="11062"/>
                </a:cubicBezTo>
                <a:cubicBezTo>
                  <a:pt x="15843" y="11031"/>
                  <a:pt x="15812" y="11031"/>
                  <a:pt x="15812" y="11031"/>
                </a:cubicBezTo>
                <a:cubicBezTo>
                  <a:pt x="15812" y="11000"/>
                  <a:pt x="15812" y="11000"/>
                  <a:pt x="15843" y="10969"/>
                </a:cubicBezTo>
                <a:cubicBezTo>
                  <a:pt x="15812" y="11000"/>
                  <a:pt x="15812" y="11000"/>
                  <a:pt x="15812" y="11031"/>
                </a:cubicBezTo>
                <a:cubicBezTo>
                  <a:pt x="15843" y="11031"/>
                  <a:pt x="15875" y="11000"/>
                  <a:pt x="15875" y="11031"/>
                </a:cubicBezTo>
                <a:cubicBezTo>
                  <a:pt x="15875" y="11062"/>
                  <a:pt x="15875" y="11062"/>
                  <a:pt x="15843" y="11062"/>
                </a:cubicBezTo>
                <a:cubicBezTo>
                  <a:pt x="15843" y="11062"/>
                  <a:pt x="15843" y="11062"/>
                  <a:pt x="15843" y="11062"/>
                </a:cubicBezTo>
                <a:cubicBezTo>
                  <a:pt x="15843" y="11094"/>
                  <a:pt x="15843" y="11125"/>
                  <a:pt x="15812" y="11125"/>
                </a:cubicBezTo>
                <a:close/>
                <a:moveTo>
                  <a:pt x="15875" y="12344"/>
                </a:moveTo>
                <a:cubicBezTo>
                  <a:pt x="15843" y="12344"/>
                  <a:pt x="15812" y="12344"/>
                  <a:pt x="15812" y="12312"/>
                </a:cubicBezTo>
                <a:cubicBezTo>
                  <a:pt x="15812" y="12281"/>
                  <a:pt x="15843" y="12281"/>
                  <a:pt x="15843" y="12281"/>
                </a:cubicBezTo>
                <a:cubicBezTo>
                  <a:pt x="15875" y="12281"/>
                  <a:pt x="15875" y="12281"/>
                  <a:pt x="15906" y="12312"/>
                </a:cubicBezTo>
                <a:cubicBezTo>
                  <a:pt x="15906" y="12344"/>
                  <a:pt x="15875" y="12344"/>
                  <a:pt x="15875" y="12344"/>
                </a:cubicBezTo>
                <a:close/>
                <a:moveTo>
                  <a:pt x="15906" y="11062"/>
                </a:moveTo>
                <a:cubicBezTo>
                  <a:pt x="15906" y="11062"/>
                  <a:pt x="15937" y="11062"/>
                  <a:pt x="15937" y="11062"/>
                </a:cubicBezTo>
                <a:cubicBezTo>
                  <a:pt x="15937" y="11031"/>
                  <a:pt x="15875" y="11000"/>
                  <a:pt x="15843" y="10969"/>
                </a:cubicBezTo>
                <a:cubicBezTo>
                  <a:pt x="15906" y="10969"/>
                  <a:pt x="15937" y="11031"/>
                  <a:pt x="15968" y="11031"/>
                </a:cubicBezTo>
                <a:cubicBezTo>
                  <a:pt x="16000" y="11062"/>
                  <a:pt x="16000" y="11062"/>
                  <a:pt x="16000" y="11094"/>
                </a:cubicBezTo>
                <a:cubicBezTo>
                  <a:pt x="15968" y="11125"/>
                  <a:pt x="15968" y="11125"/>
                  <a:pt x="15937" y="11125"/>
                </a:cubicBezTo>
                <a:cubicBezTo>
                  <a:pt x="15906" y="11125"/>
                  <a:pt x="15906" y="11094"/>
                  <a:pt x="15906" y="11062"/>
                </a:cubicBezTo>
                <a:close/>
                <a:moveTo>
                  <a:pt x="15906" y="12281"/>
                </a:moveTo>
                <a:cubicBezTo>
                  <a:pt x="15906" y="12250"/>
                  <a:pt x="15906" y="12250"/>
                  <a:pt x="15937" y="12250"/>
                </a:cubicBezTo>
                <a:cubicBezTo>
                  <a:pt x="15968" y="12250"/>
                  <a:pt x="15968" y="12250"/>
                  <a:pt x="16000" y="12281"/>
                </a:cubicBezTo>
                <a:cubicBezTo>
                  <a:pt x="16000" y="12281"/>
                  <a:pt x="15968" y="12281"/>
                  <a:pt x="15968" y="12281"/>
                </a:cubicBezTo>
                <a:cubicBezTo>
                  <a:pt x="15937" y="12281"/>
                  <a:pt x="15937" y="12312"/>
                  <a:pt x="15906" y="12281"/>
                </a:cubicBezTo>
                <a:close/>
                <a:moveTo>
                  <a:pt x="15968" y="12344"/>
                </a:moveTo>
                <a:cubicBezTo>
                  <a:pt x="15968" y="12375"/>
                  <a:pt x="16000" y="12375"/>
                  <a:pt x="16000" y="12406"/>
                </a:cubicBezTo>
                <a:cubicBezTo>
                  <a:pt x="16000" y="12406"/>
                  <a:pt x="16062" y="12406"/>
                  <a:pt x="16000" y="12344"/>
                </a:cubicBezTo>
                <a:cubicBezTo>
                  <a:pt x="15968" y="12344"/>
                  <a:pt x="16000" y="12312"/>
                  <a:pt x="16000" y="12281"/>
                </a:cubicBezTo>
                <a:cubicBezTo>
                  <a:pt x="16062" y="12281"/>
                  <a:pt x="16093" y="12375"/>
                  <a:pt x="16156" y="12375"/>
                </a:cubicBezTo>
                <a:cubicBezTo>
                  <a:pt x="16156" y="12375"/>
                  <a:pt x="16187" y="12375"/>
                  <a:pt x="16187" y="12375"/>
                </a:cubicBezTo>
                <a:cubicBezTo>
                  <a:pt x="16187" y="12437"/>
                  <a:pt x="16250" y="12406"/>
                  <a:pt x="16250" y="12437"/>
                </a:cubicBezTo>
                <a:cubicBezTo>
                  <a:pt x="16281" y="12469"/>
                  <a:pt x="16312" y="12469"/>
                  <a:pt x="16281" y="12500"/>
                </a:cubicBezTo>
                <a:cubicBezTo>
                  <a:pt x="16281" y="12500"/>
                  <a:pt x="16250" y="12500"/>
                  <a:pt x="16218" y="12500"/>
                </a:cubicBezTo>
                <a:cubicBezTo>
                  <a:pt x="16218" y="12500"/>
                  <a:pt x="16187" y="12469"/>
                  <a:pt x="16187" y="12469"/>
                </a:cubicBezTo>
                <a:cubicBezTo>
                  <a:pt x="16156" y="12437"/>
                  <a:pt x="16125" y="12437"/>
                  <a:pt x="16093" y="12406"/>
                </a:cubicBezTo>
                <a:cubicBezTo>
                  <a:pt x="16093" y="12469"/>
                  <a:pt x="16156" y="12469"/>
                  <a:pt x="16187" y="12531"/>
                </a:cubicBezTo>
                <a:cubicBezTo>
                  <a:pt x="16156" y="12531"/>
                  <a:pt x="16156" y="12531"/>
                  <a:pt x="16125" y="12531"/>
                </a:cubicBezTo>
                <a:cubicBezTo>
                  <a:pt x="16093" y="12469"/>
                  <a:pt x="16000" y="12469"/>
                  <a:pt x="16000" y="12406"/>
                </a:cubicBezTo>
                <a:cubicBezTo>
                  <a:pt x="16000" y="12375"/>
                  <a:pt x="15968" y="12375"/>
                  <a:pt x="15968" y="12344"/>
                </a:cubicBezTo>
                <a:close/>
                <a:moveTo>
                  <a:pt x="16156" y="17219"/>
                </a:moveTo>
                <a:cubicBezTo>
                  <a:pt x="16156" y="17219"/>
                  <a:pt x="16156" y="17250"/>
                  <a:pt x="16156" y="17250"/>
                </a:cubicBezTo>
                <a:cubicBezTo>
                  <a:pt x="16093" y="17250"/>
                  <a:pt x="16093" y="17219"/>
                  <a:pt x="16062" y="17187"/>
                </a:cubicBezTo>
                <a:cubicBezTo>
                  <a:pt x="16093" y="17187"/>
                  <a:pt x="16125" y="17187"/>
                  <a:pt x="16156" y="17219"/>
                </a:cubicBezTo>
                <a:close/>
                <a:moveTo>
                  <a:pt x="16062" y="16906"/>
                </a:moveTo>
                <a:cubicBezTo>
                  <a:pt x="16062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875"/>
                </a:cubicBezTo>
                <a:cubicBezTo>
                  <a:pt x="16093" y="16875"/>
                  <a:pt x="16093" y="16875"/>
                  <a:pt x="16093" y="16906"/>
                </a:cubicBezTo>
                <a:cubicBezTo>
                  <a:pt x="16125" y="16906"/>
                  <a:pt x="16156" y="16906"/>
                  <a:pt x="16156" y="16937"/>
                </a:cubicBezTo>
                <a:cubicBezTo>
                  <a:pt x="16125" y="16969"/>
                  <a:pt x="16093" y="16937"/>
                  <a:pt x="16062" y="16937"/>
                </a:cubicBezTo>
                <a:cubicBezTo>
                  <a:pt x="16062" y="16937"/>
                  <a:pt x="16031" y="16937"/>
                  <a:pt x="16062" y="16906"/>
                </a:cubicBezTo>
                <a:close/>
                <a:moveTo>
                  <a:pt x="16031" y="12531"/>
                </a:moveTo>
                <a:cubicBezTo>
                  <a:pt x="16000" y="12562"/>
                  <a:pt x="16000" y="12531"/>
                  <a:pt x="16000" y="12531"/>
                </a:cubicBezTo>
                <a:cubicBezTo>
                  <a:pt x="16000" y="12500"/>
                  <a:pt x="16000" y="12500"/>
                  <a:pt x="16000" y="12500"/>
                </a:cubicBezTo>
                <a:cubicBezTo>
                  <a:pt x="16031" y="12500"/>
                  <a:pt x="16031" y="12500"/>
                  <a:pt x="16031" y="12500"/>
                </a:cubicBezTo>
                <a:cubicBezTo>
                  <a:pt x="16031" y="12531"/>
                  <a:pt x="16031" y="12531"/>
                  <a:pt x="16031" y="12531"/>
                </a:cubicBezTo>
                <a:close/>
                <a:moveTo>
                  <a:pt x="16093" y="17469"/>
                </a:moveTo>
                <a:cubicBezTo>
                  <a:pt x="16062" y="17500"/>
                  <a:pt x="16031" y="17500"/>
                  <a:pt x="16000" y="17437"/>
                </a:cubicBezTo>
                <a:cubicBezTo>
                  <a:pt x="16062" y="17437"/>
                  <a:pt x="16093" y="17437"/>
                  <a:pt x="16093" y="17469"/>
                </a:cubicBezTo>
                <a:close/>
                <a:moveTo>
                  <a:pt x="15937" y="17344"/>
                </a:moveTo>
                <a:cubicBezTo>
                  <a:pt x="15875" y="17344"/>
                  <a:pt x="15843" y="17312"/>
                  <a:pt x="15812" y="17312"/>
                </a:cubicBezTo>
                <a:cubicBezTo>
                  <a:pt x="15875" y="17281"/>
                  <a:pt x="15875" y="17281"/>
                  <a:pt x="15937" y="17344"/>
                </a:cubicBezTo>
                <a:close/>
                <a:moveTo>
                  <a:pt x="15843" y="13625"/>
                </a:moveTo>
                <a:cubicBezTo>
                  <a:pt x="15843" y="13656"/>
                  <a:pt x="15843" y="13656"/>
                  <a:pt x="15843" y="13656"/>
                </a:cubicBezTo>
                <a:cubicBezTo>
                  <a:pt x="15843" y="13656"/>
                  <a:pt x="15843" y="13656"/>
                  <a:pt x="15843" y="13625"/>
                </a:cubicBezTo>
                <a:cubicBezTo>
                  <a:pt x="15843" y="13625"/>
                  <a:pt x="15843" y="13594"/>
                  <a:pt x="15812" y="13594"/>
                </a:cubicBezTo>
                <a:cubicBezTo>
                  <a:pt x="15843" y="13594"/>
                  <a:pt x="15843" y="13625"/>
                  <a:pt x="15843" y="13625"/>
                </a:cubicBezTo>
                <a:close/>
                <a:moveTo>
                  <a:pt x="15875" y="17125"/>
                </a:moveTo>
                <a:cubicBezTo>
                  <a:pt x="15875" y="17125"/>
                  <a:pt x="15875" y="17156"/>
                  <a:pt x="15843" y="17156"/>
                </a:cubicBezTo>
                <a:cubicBezTo>
                  <a:pt x="15812" y="17156"/>
                  <a:pt x="15781" y="17125"/>
                  <a:pt x="15750" y="17094"/>
                </a:cubicBezTo>
                <a:cubicBezTo>
                  <a:pt x="15812" y="17094"/>
                  <a:pt x="15843" y="17094"/>
                  <a:pt x="15875" y="17125"/>
                </a:cubicBezTo>
                <a:close/>
                <a:moveTo>
                  <a:pt x="15718" y="13937"/>
                </a:moveTo>
                <a:cubicBezTo>
                  <a:pt x="15718" y="13969"/>
                  <a:pt x="15687" y="13969"/>
                  <a:pt x="15687" y="13969"/>
                </a:cubicBezTo>
                <a:cubicBezTo>
                  <a:pt x="15687" y="13969"/>
                  <a:pt x="15656" y="13969"/>
                  <a:pt x="15656" y="13937"/>
                </a:cubicBezTo>
                <a:cubicBezTo>
                  <a:pt x="15656" y="13969"/>
                  <a:pt x="15687" y="13969"/>
                  <a:pt x="15687" y="13969"/>
                </a:cubicBezTo>
                <a:cubicBezTo>
                  <a:pt x="15687" y="13969"/>
                  <a:pt x="15718" y="13969"/>
                  <a:pt x="15718" y="13937"/>
                </a:cubicBezTo>
                <a:close/>
                <a:moveTo>
                  <a:pt x="15656" y="12844"/>
                </a:moveTo>
                <a:cubicBezTo>
                  <a:pt x="15656" y="12812"/>
                  <a:pt x="15687" y="12844"/>
                  <a:pt x="15687" y="12875"/>
                </a:cubicBezTo>
                <a:cubicBezTo>
                  <a:pt x="15687" y="12906"/>
                  <a:pt x="15625" y="12906"/>
                  <a:pt x="15625" y="12906"/>
                </a:cubicBezTo>
                <a:cubicBezTo>
                  <a:pt x="15593" y="12906"/>
                  <a:pt x="15593" y="12906"/>
                  <a:pt x="15593" y="12875"/>
                </a:cubicBezTo>
                <a:cubicBezTo>
                  <a:pt x="15593" y="12844"/>
                  <a:pt x="15625" y="12844"/>
                  <a:pt x="15656" y="12844"/>
                </a:cubicBezTo>
                <a:close/>
                <a:moveTo>
                  <a:pt x="15593" y="13187"/>
                </a:moveTo>
                <a:cubicBezTo>
                  <a:pt x="15625" y="13125"/>
                  <a:pt x="15593" y="13062"/>
                  <a:pt x="15625" y="13000"/>
                </a:cubicBezTo>
                <a:cubicBezTo>
                  <a:pt x="15625" y="12969"/>
                  <a:pt x="15656" y="12969"/>
                  <a:pt x="15656" y="12969"/>
                </a:cubicBezTo>
                <a:cubicBezTo>
                  <a:pt x="15656" y="13000"/>
                  <a:pt x="15656" y="13062"/>
                  <a:pt x="15687" y="13094"/>
                </a:cubicBezTo>
                <a:cubicBezTo>
                  <a:pt x="15656" y="13125"/>
                  <a:pt x="15656" y="13187"/>
                  <a:pt x="15625" y="13219"/>
                </a:cubicBezTo>
                <a:cubicBezTo>
                  <a:pt x="15625" y="13250"/>
                  <a:pt x="15562" y="13219"/>
                  <a:pt x="15593" y="13187"/>
                </a:cubicBezTo>
                <a:close/>
                <a:moveTo>
                  <a:pt x="15406" y="13719"/>
                </a:moveTo>
                <a:cubicBezTo>
                  <a:pt x="15406" y="13750"/>
                  <a:pt x="15406" y="13750"/>
                  <a:pt x="15406" y="13750"/>
                </a:cubicBezTo>
                <a:cubicBezTo>
                  <a:pt x="15406" y="13750"/>
                  <a:pt x="15406" y="13750"/>
                  <a:pt x="15406" y="13750"/>
                </a:cubicBezTo>
                <a:cubicBezTo>
                  <a:pt x="15406" y="13750"/>
                  <a:pt x="15406" y="13750"/>
                  <a:pt x="15406" y="13719"/>
                </a:cubicBezTo>
                <a:close/>
                <a:moveTo>
                  <a:pt x="15250" y="15781"/>
                </a:moveTo>
                <a:cubicBezTo>
                  <a:pt x="15281" y="15687"/>
                  <a:pt x="15343" y="15594"/>
                  <a:pt x="15437" y="15500"/>
                </a:cubicBezTo>
                <a:cubicBezTo>
                  <a:pt x="15437" y="15500"/>
                  <a:pt x="15437" y="15500"/>
                  <a:pt x="15437" y="15531"/>
                </a:cubicBezTo>
                <a:cubicBezTo>
                  <a:pt x="15406" y="15625"/>
                  <a:pt x="15312" y="15719"/>
                  <a:pt x="15250" y="15812"/>
                </a:cubicBezTo>
                <a:cubicBezTo>
                  <a:pt x="15218" y="15844"/>
                  <a:pt x="15187" y="15906"/>
                  <a:pt x="15156" y="15937"/>
                </a:cubicBezTo>
                <a:cubicBezTo>
                  <a:pt x="15156" y="15875"/>
                  <a:pt x="15187" y="15812"/>
                  <a:pt x="15250" y="15781"/>
                </a:cubicBezTo>
                <a:close/>
                <a:moveTo>
                  <a:pt x="15031" y="15812"/>
                </a:moveTo>
                <a:cubicBezTo>
                  <a:pt x="15000" y="15812"/>
                  <a:pt x="15000" y="15812"/>
                  <a:pt x="15000" y="15812"/>
                </a:cubicBezTo>
                <a:cubicBezTo>
                  <a:pt x="15000" y="15812"/>
                  <a:pt x="15000" y="15812"/>
                  <a:pt x="15031" y="15812"/>
                </a:cubicBezTo>
                <a:close/>
                <a:moveTo>
                  <a:pt x="14875" y="15000"/>
                </a:moveTo>
                <a:cubicBezTo>
                  <a:pt x="14875" y="15000"/>
                  <a:pt x="14875" y="15000"/>
                  <a:pt x="14875" y="15000"/>
                </a:cubicBezTo>
                <a:cubicBezTo>
                  <a:pt x="14875" y="15000"/>
                  <a:pt x="14843" y="14969"/>
                  <a:pt x="14843" y="14969"/>
                </a:cubicBezTo>
                <a:cubicBezTo>
                  <a:pt x="14843" y="14969"/>
                  <a:pt x="14875" y="15000"/>
                  <a:pt x="14875" y="15000"/>
                </a:cubicBezTo>
                <a:close/>
                <a:moveTo>
                  <a:pt x="14718" y="14875"/>
                </a:moveTo>
                <a:cubicBezTo>
                  <a:pt x="14718" y="14875"/>
                  <a:pt x="14750" y="14875"/>
                  <a:pt x="14750" y="14906"/>
                </a:cubicBezTo>
                <a:cubicBezTo>
                  <a:pt x="14750" y="14906"/>
                  <a:pt x="14750" y="14906"/>
                  <a:pt x="14750" y="14906"/>
                </a:cubicBezTo>
                <a:cubicBezTo>
                  <a:pt x="14750" y="14875"/>
                  <a:pt x="14718" y="14875"/>
                  <a:pt x="14718" y="14875"/>
                </a:cubicBezTo>
                <a:close/>
                <a:moveTo>
                  <a:pt x="15468" y="15656"/>
                </a:moveTo>
                <a:cubicBezTo>
                  <a:pt x="15343" y="15812"/>
                  <a:pt x="15250" y="16000"/>
                  <a:pt x="15093" y="16125"/>
                </a:cubicBezTo>
                <a:cubicBezTo>
                  <a:pt x="15000" y="16219"/>
                  <a:pt x="14906" y="16281"/>
                  <a:pt x="14812" y="16344"/>
                </a:cubicBezTo>
                <a:cubicBezTo>
                  <a:pt x="14781" y="16344"/>
                  <a:pt x="14750" y="16375"/>
                  <a:pt x="14750" y="16344"/>
                </a:cubicBezTo>
                <a:cubicBezTo>
                  <a:pt x="14718" y="16312"/>
                  <a:pt x="14750" y="16312"/>
                  <a:pt x="14781" y="16281"/>
                </a:cubicBezTo>
                <a:cubicBezTo>
                  <a:pt x="14875" y="16250"/>
                  <a:pt x="14937" y="16125"/>
                  <a:pt x="15062" y="16094"/>
                </a:cubicBezTo>
                <a:cubicBezTo>
                  <a:pt x="15093" y="16094"/>
                  <a:pt x="15125" y="16062"/>
                  <a:pt x="15093" y="16031"/>
                </a:cubicBezTo>
                <a:cubicBezTo>
                  <a:pt x="15093" y="16031"/>
                  <a:pt x="15093" y="16031"/>
                  <a:pt x="15093" y="16031"/>
                </a:cubicBezTo>
                <a:cubicBezTo>
                  <a:pt x="15093" y="16031"/>
                  <a:pt x="15093" y="16031"/>
                  <a:pt x="15093" y="16031"/>
                </a:cubicBezTo>
                <a:cubicBezTo>
                  <a:pt x="15125" y="16031"/>
                  <a:pt x="15156" y="16031"/>
                  <a:pt x="15156" y="16000"/>
                </a:cubicBezTo>
                <a:cubicBezTo>
                  <a:pt x="15156" y="16000"/>
                  <a:pt x="15156" y="16000"/>
                  <a:pt x="15156" y="16000"/>
                </a:cubicBezTo>
                <a:cubicBezTo>
                  <a:pt x="15156" y="15969"/>
                  <a:pt x="15156" y="15969"/>
                  <a:pt x="15156" y="15937"/>
                </a:cubicBezTo>
                <a:cubicBezTo>
                  <a:pt x="15125" y="15937"/>
                  <a:pt x="15125" y="15937"/>
                  <a:pt x="15125" y="15937"/>
                </a:cubicBezTo>
                <a:cubicBezTo>
                  <a:pt x="15125" y="15937"/>
                  <a:pt x="15125" y="15937"/>
                  <a:pt x="15156" y="15937"/>
                </a:cubicBezTo>
                <a:cubicBezTo>
                  <a:pt x="15156" y="15937"/>
                  <a:pt x="15156" y="15937"/>
                  <a:pt x="15156" y="15937"/>
                </a:cubicBezTo>
                <a:cubicBezTo>
                  <a:pt x="15156" y="15969"/>
                  <a:pt x="15156" y="15969"/>
                  <a:pt x="15156" y="16000"/>
                </a:cubicBezTo>
                <a:cubicBezTo>
                  <a:pt x="15250" y="15969"/>
                  <a:pt x="15250" y="15875"/>
                  <a:pt x="15281" y="15812"/>
                </a:cubicBezTo>
                <a:cubicBezTo>
                  <a:pt x="15343" y="15750"/>
                  <a:pt x="15437" y="15687"/>
                  <a:pt x="15468" y="15562"/>
                </a:cubicBezTo>
                <a:cubicBezTo>
                  <a:pt x="15468" y="15625"/>
                  <a:pt x="15500" y="15656"/>
                  <a:pt x="15468" y="15656"/>
                </a:cubicBezTo>
                <a:close/>
                <a:moveTo>
                  <a:pt x="15468" y="13094"/>
                </a:moveTo>
                <a:cubicBezTo>
                  <a:pt x="15500" y="13031"/>
                  <a:pt x="15468" y="13000"/>
                  <a:pt x="15468" y="12969"/>
                </a:cubicBezTo>
                <a:cubicBezTo>
                  <a:pt x="15468" y="12906"/>
                  <a:pt x="15500" y="12906"/>
                  <a:pt x="15531" y="12906"/>
                </a:cubicBezTo>
                <a:cubicBezTo>
                  <a:pt x="15562" y="12906"/>
                  <a:pt x="15562" y="12937"/>
                  <a:pt x="15562" y="12937"/>
                </a:cubicBezTo>
                <a:cubicBezTo>
                  <a:pt x="15531" y="12969"/>
                  <a:pt x="15562" y="13000"/>
                  <a:pt x="15562" y="13031"/>
                </a:cubicBezTo>
                <a:cubicBezTo>
                  <a:pt x="15593" y="13062"/>
                  <a:pt x="15500" y="13062"/>
                  <a:pt x="15500" y="13125"/>
                </a:cubicBezTo>
                <a:cubicBezTo>
                  <a:pt x="15500" y="13125"/>
                  <a:pt x="15468" y="13094"/>
                  <a:pt x="15468" y="13094"/>
                </a:cubicBezTo>
                <a:close/>
                <a:moveTo>
                  <a:pt x="15500" y="14187"/>
                </a:moveTo>
                <a:cubicBezTo>
                  <a:pt x="15500" y="14187"/>
                  <a:pt x="15500" y="14187"/>
                  <a:pt x="15500" y="14187"/>
                </a:cubicBezTo>
                <a:cubicBezTo>
                  <a:pt x="15500" y="14187"/>
                  <a:pt x="15531" y="14187"/>
                  <a:pt x="15531" y="14187"/>
                </a:cubicBezTo>
                <a:cubicBezTo>
                  <a:pt x="15531" y="14187"/>
                  <a:pt x="15500" y="14187"/>
                  <a:pt x="15500" y="14187"/>
                </a:cubicBezTo>
                <a:close/>
                <a:moveTo>
                  <a:pt x="15406" y="16125"/>
                </a:moveTo>
                <a:cubicBezTo>
                  <a:pt x="15406" y="16125"/>
                  <a:pt x="15406" y="16125"/>
                  <a:pt x="15406" y="16125"/>
                </a:cubicBezTo>
                <a:cubicBezTo>
                  <a:pt x="15406" y="16125"/>
                  <a:pt x="15406" y="16094"/>
                  <a:pt x="15406" y="16094"/>
                </a:cubicBezTo>
                <a:cubicBezTo>
                  <a:pt x="15406" y="16094"/>
                  <a:pt x="15437" y="16125"/>
                  <a:pt x="15437" y="16125"/>
                </a:cubicBezTo>
                <a:cubicBezTo>
                  <a:pt x="15437" y="16125"/>
                  <a:pt x="15406" y="16125"/>
                  <a:pt x="15406" y="16125"/>
                </a:cubicBezTo>
                <a:close/>
                <a:moveTo>
                  <a:pt x="15937" y="17656"/>
                </a:moveTo>
                <a:cubicBezTo>
                  <a:pt x="16062" y="17625"/>
                  <a:pt x="16187" y="17594"/>
                  <a:pt x="16312" y="17594"/>
                </a:cubicBezTo>
                <a:cubicBezTo>
                  <a:pt x="16375" y="17594"/>
                  <a:pt x="16437" y="17562"/>
                  <a:pt x="16468" y="17562"/>
                </a:cubicBezTo>
                <a:cubicBezTo>
                  <a:pt x="16593" y="17531"/>
                  <a:pt x="16656" y="17594"/>
                  <a:pt x="16718" y="17656"/>
                </a:cubicBezTo>
                <a:cubicBezTo>
                  <a:pt x="16812" y="17719"/>
                  <a:pt x="16843" y="17750"/>
                  <a:pt x="16937" y="17719"/>
                </a:cubicBezTo>
                <a:cubicBezTo>
                  <a:pt x="17031" y="17719"/>
                  <a:pt x="17125" y="17719"/>
                  <a:pt x="17218" y="17750"/>
                </a:cubicBezTo>
                <a:cubicBezTo>
                  <a:pt x="17281" y="17781"/>
                  <a:pt x="17312" y="17844"/>
                  <a:pt x="17343" y="17875"/>
                </a:cubicBezTo>
                <a:cubicBezTo>
                  <a:pt x="17468" y="17969"/>
                  <a:pt x="17593" y="18094"/>
                  <a:pt x="17656" y="18250"/>
                </a:cubicBezTo>
                <a:cubicBezTo>
                  <a:pt x="17656" y="18281"/>
                  <a:pt x="17656" y="18312"/>
                  <a:pt x="17687" y="18375"/>
                </a:cubicBezTo>
                <a:cubicBezTo>
                  <a:pt x="17718" y="18312"/>
                  <a:pt x="17687" y="18281"/>
                  <a:pt x="17687" y="18250"/>
                </a:cubicBezTo>
                <a:cubicBezTo>
                  <a:pt x="17687" y="18219"/>
                  <a:pt x="17687" y="18187"/>
                  <a:pt x="17718" y="18219"/>
                </a:cubicBezTo>
                <a:cubicBezTo>
                  <a:pt x="17812" y="18250"/>
                  <a:pt x="17906" y="18250"/>
                  <a:pt x="18000" y="18281"/>
                </a:cubicBezTo>
                <a:cubicBezTo>
                  <a:pt x="18062" y="18312"/>
                  <a:pt x="18093" y="18344"/>
                  <a:pt x="18093" y="18406"/>
                </a:cubicBezTo>
                <a:cubicBezTo>
                  <a:pt x="18062" y="18562"/>
                  <a:pt x="18125" y="18719"/>
                  <a:pt x="18125" y="18906"/>
                </a:cubicBezTo>
                <a:cubicBezTo>
                  <a:pt x="18093" y="18937"/>
                  <a:pt x="18062" y="19000"/>
                  <a:pt x="18093" y="19062"/>
                </a:cubicBezTo>
                <a:cubicBezTo>
                  <a:pt x="18093" y="19094"/>
                  <a:pt x="18062" y="19094"/>
                  <a:pt x="18031" y="19094"/>
                </a:cubicBezTo>
                <a:cubicBezTo>
                  <a:pt x="17968" y="19062"/>
                  <a:pt x="17875" y="19062"/>
                  <a:pt x="17812" y="19062"/>
                </a:cubicBezTo>
                <a:cubicBezTo>
                  <a:pt x="17750" y="19031"/>
                  <a:pt x="17687" y="19031"/>
                  <a:pt x="17625" y="19031"/>
                </a:cubicBezTo>
                <a:cubicBezTo>
                  <a:pt x="17500" y="19062"/>
                  <a:pt x="17406" y="19031"/>
                  <a:pt x="17312" y="19000"/>
                </a:cubicBezTo>
                <a:cubicBezTo>
                  <a:pt x="17187" y="18969"/>
                  <a:pt x="17031" y="18937"/>
                  <a:pt x="16875" y="18969"/>
                </a:cubicBezTo>
                <a:cubicBezTo>
                  <a:pt x="16718" y="19000"/>
                  <a:pt x="16562" y="19000"/>
                  <a:pt x="16406" y="18969"/>
                </a:cubicBezTo>
                <a:cubicBezTo>
                  <a:pt x="16375" y="18969"/>
                  <a:pt x="16343" y="18969"/>
                  <a:pt x="16312" y="18937"/>
                </a:cubicBezTo>
                <a:cubicBezTo>
                  <a:pt x="16312" y="18937"/>
                  <a:pt x="16343" y="18906"/>
                  <a:pt x="16312" y="18906"/>
                </a:cubicBezTo>
                <a:cubicBezTo>
                  <a:pt x="16250" y="18937"/>
                  <a:pt x="16218" y="18875"/>
                  <a:pt x="16218" y="18844"/>
                </a:cubicBezTo>
                <a:cubicBezTo>
                  <a:pt x="16218" y="18781"/>
                  <a:pt x="16281" y="18781"/>
                  <a:pt x="16312" y="18781"/>
                </a:cubicBezTo>
                <a:cubicBezTo>
                  <a:pt x="16406" y="18781"/>
                  <a:pt x="16468" y="18719"/>
                  <a:pt x="16531" y="18750"/>
                </a:cubicBezTo>
                <a:cubicBezTo>
                  <a:pt x="16562" y="18750"/>
                  <a:pt x="16562" y="18719"/>
                  <a:pt x="16562" y="18719"/>
                </a:cubicBezTo>
                <a:cubicBezTo>
                  <a:pt x="16781" y="18687"/>
                  <a:pt x="17000" y="18656"/>
                  <a:pt x="17218" y="18594"/>
                </a:cubicBezTo>
                <a:cubicBezTo>
                  <a:pt x="17312" y="18594"/>
                  <a:pt x="17406" y="18625"/>
                  <a:pt x="17500" y="18594"/>
                </a:cubicBezTo>
                <a:cubicBezTo>
                  <a:pt x="17500" y="18594"/>
                  <a:pt x="17500" y="18594"/>
                  <a:pt x="17500" y="18594"/>
                </a:cubicBezTo>
                <a:cubicBezTo>
                  <a:pt x="17500" y="18594"/>
                  <a:pt x="17500" y="18594"/>
                  <a:pt x="17531" y="18625"/>
                </a:cubicBezTo>
                <a:cubicBezTo>
                  <a:pt x="17625" y="18625"/>
                  <a:pt x="17718" y="18562"/>
                  <a:pt x="17812" y="18594"/>
                </a:cubicBezTo>
                <a:cubicBezTo>
                  <a:pt x="17843" y="18594"/>
                  <a:pt x="17843" y="18594"/>
                  <a:pt x="17875" y="18562"/>
                </a:cubicBezTo>
                <a:cubicBezTo>
                  <a:pt x="17906" y="18500"/>
                  <a:pt x="17968" y="18437"/>
                  <a:pt x="18000" y="18375"/>
                </a:cubicBezTo>
                <a:cubicBezTo>
                  <a:pt x="18000" y="18344"/>
                  <a:pt x="18000" y="18344"/>
                  <a:pt x="18000" y="18344"/>
                </a:cubicBezTo>
                <a:cubicBezTo>
                  <a:pt x="18000" y="18312"/>
                  <a:pt x="17968" y="18344"/>
                  <a:pt x="17968" y="18344"/>
                </a:cubicBezTo>
                <a:cubicBezTo>
                  <a:pt x="17906" y="18375"/>
                  <a:pt x="17875" y="18375"/>
                  <a:pt x="17812" y="18406"/>
                </a:cubicBezTo>
                <a:cubicBezTo>
                  <a:pt x="17718" y="18500"/>
                  <a:pt x="17593" y="18469"/>
                  <a:pt x="17468" y="18531"/>
                </a:cubicBezTo>
                <a:cubicBezTo>
                  <a:pt x="17375" y="18500"/>
                  <a:pt x="17312" y="18562"/>
                  <a:pt x="17218" y="18562"/>
                </a:cubicBezTo>
                <a:cubicBezTo>
                  <a:pt x="17218" y="18562"/>
                  <a:pt x="17187" y="18562"/>
                  <a:pt x="17187" y="18562"/>
                </a:cubicBezTo>
                <a:cubicBezTo>
                  <a:pt x="17156" y="18562"/>
                  <a:pt x="17093" y="18531"/>
                  <a:pt x="17062" y="18562"/>
                </a:cubicBezTo>
                <a:cubicBezTo>
                  <a:pt x="16906" y="18594"/>
                  <a:pt x="16718" y="18625"/>
                  <a:pt x="16562" y="18656"/>
                </a:cubicBezTo>
                <a:cubicBezTo>
                  <a:pt x="16468" y="18656"/>
                  <a:pt x="16406" y="18687"/>
                  <a:pt x="16343" y="18719"/>
                </a:cubicBezTo>
                <a:cubicBezTo>
                  <a:pt x="16218" y="18750"/>
                  <a:pt x="16125" y="18812"/>
                  <a:pt x="16031" y="18719"/>
                </a:cubicBezTo>
                <a:cubicBezTo>
                  <a:pt x="16000" y="18719"/>
                  <a:pt x="16000" y="18719"/>
                  <a:pt x="16000" y="18719"/>
                </a:cubicBezTo>
                <a:cubicBezTo>
                  <a:pt x="15968" y="18687"/>
                  <a:pt x="15968" y="18687"/>
                  <a:pt x="15968" y="18687"/>
                </a:cubicBezTo>
                <a:cubicBezTo>
                  <a:pt x="15968" y="18625"/>
                  <a:pt x="15937" y="18656"/>
                  <a:pt x="15906" y="18656"/>
                </a:cubicBezTo>
                <a:cubicBezTo>
                  <a:pt x="15906" y="18687"/>
                  <a:pt x="15906" y="18687"/>
                  <a:pt x="15875" y="18687"/>
                </a:cubicBezTo>
                <a:cubicBezTo>
                  <a:pt x="15906" y="18687"/>
                  <a:pt x="15906" y="18687"/>
                  <a:pt x="15906" y="18656"/>
                </a:cubicBezTo>
                <a:cubicBezTo>
                  <a:pt x="15906" y="18656"/>
                  <a:pt x="15906" y="18656"/>
                  <a:pt x="15906" y="18625"/>
                </a:cubicBezTo>
                <a:cubicBezTo>
                  <a:pt x="15906" y="18625"/>
                  <a:pt x="15843" y="18562"/>
                  <a:pt x="15843" y="18562"/>
                </a:cubicBezTo>
                <a:cubicBezTo>
                  <a:pt x="15843" y="18531"/>
                  <a:pt x="15843" y="18500"/>
                  <a:pt x="15843" y="18469"/>
                </a:cubicBezTo>
                <a:cubicBezTo>
                  <a:pt x="15843" y="18437"/>
                  <a:pt x="15875" y="18375"/>
                  <a:pt x="15812" y="18344"/>
                </a:cubicBezTo>
                <a:cubicBezTo>
                  <a:pt x="15843" y="18281"/>
                  <a:pt x="15906" y="18250"/>
                  <a:pt x="15937" y="18219"/>
                </a:cubicBezTo>
                <a:cubicBezTo>
                  <a:pt x="15968" y="18219"/>
                  <a:pt x="15968" y="18250"/>
                  <a:pt x="16000" y="18219"/>
                </a:cubicBezTo>
                <a:cubicBezTo>
                  <a:pt x="16031" y="18219"/>
                  <a:pt x="16062" y="18187"/>
                  <a:pt x="16093" y="18187"/>
                </a:cubicBezTo>
                <a:cubicBezTo>
                  <a:pt x="16156" y="18156"/>
                  <a:pt x="16218" y="18187"/>
                  <a:pt x="16218" y="18125"/>
                </a:cubicBezTo>
                <a:cubicBezTo>
                  <a:pt x="16218" y="18094"/>
                  <a:pt x="16218" y="18094"/>
                  <a:pt x="16218" y="18094"/>
                </a:cubicBezTo>
                <a:cubicBezTo>
                  <a:pt x="16218" y="18094"/>
                  <a:pt x="16218" y="18094"/>
                  <a:pt x="16218" y="18094"/>
                </a:cubicBezTo>
                <a:cubicBezTo>
                  <a:pt x="16218" y="18094"/>
                  <a:pt x="16250" y="18094"/>
                  <a:pt x="16250" y="18094"/>
                </a:cubicBezTo>
                <a:cubicBezTo>
                  <a:pt x="16250" y="18094"/>
                  <a:pt x="16250" y="18094"/>
                  <a:pt x="16250" y="18094"/>
                </a:cubicBezTo>
                <a:cubicBezTo>
                  <a:pt x="16218" y="18062"/>
                  <a:pt x="16218" y="18062"/>
                  <a:pt x="16187" y="18094"/>
                </a:cubicBezTo>
                <a:cubicBezTo>
                  <a:pt x="16156" y="18094"/>
                  <a:pt x="16093" y="18125"/>
                  <a:pt x="16062" y="18125"/>
                </a:cubicBezTo>
                <a:cubicBezTo>
                  <a:pt x="16000" y="18156"/>
                  <a:pt x="16000" y="18156"/>
                  <a:pt x="16000" y="18219"/>
                </a:cubicBezTo>
                <a:cubicBezTo>
                  <a:pt x="15968" y="18187"/>
                  <a:pt x="15937" y="18187"/>
                  <a:pt x="15906" y="18187"/>
                </a:cubicBezTo>
                <a:cubicBezTo>
                  <a:pt x="15843" y="18187"/>
                  <a:pt x="15781" y="18219"/>
                  <a:pt x="15718" y="18219"/>
                </a:cubicBezTo>
                <a:cubicBezTo>
                  <a:pt x="15687" y="18219"/>
                  <a:pt x="15687" y="18219"/>
                  <a:pt x="15687" y="18219"/>
                </a:cubicBezTo>
                <a:cubicBezTo>
                  <a:pt x="15593" y="18187"/>
                  <a:pt x="15468" y="18187"/>
                  <a:pt x="15375" y="18125"/>
                </a:cubicBezTo>
                <a:cubicBezTo>
                  <a:pt x="15375" y="18125"/>
                  <a:pt x="15375" y="18125"/>
                  <a:pt x="15343" y="18125"/>
                </a:cubicBezTo>
                <a:cubicBezTo>
                  <a:pt x="15312" y="18156"/>
                  <a:pt x="15281" y="18125"/>
                  <a:pt x="15250" y="18125"/>
                </a:cubicBezTo>
                <a:cubicBezTo>
                  <a:pt x="15187" y="18094"/>
                  <a:pt x="15125" y="18094"/>
                  <a:pt x="15062" y="18094"/>
                </a:cubicBezTo>
                <a:cubicBezTo>
                  <a:pt x="15062" y="18062"/>
                  <a:pt x="15093" y="18062"/>
                  <a:pt x="15093" y="18062"/>
                </a:cubicBezTo>
                <a:cubicBezTo>
                  <a:pt x="15093" y="18062"/>
                  <a:pt x="15093" y="18062"/>
                  <a:pt x="15093" y="18062"/>
                </a:cubicBezTo>
                <a:cubicBezTo>
                  <a:pt x="15125" y="18062"/>
                  <a:pt x="15125" y="18062"/>
                  <a:pt x="15125" y="18062"/>
                </a:cubicBezTo>
                <a:cubicBezTo>
                  <a:pt x="15187" y="18062"/>
                  <a:pt x="15250" y="18000"/>
                  <a:pt x="15281" y="17969"/>
                </a:cubicBezTo>
                <a:cubicBezTo>
                  <a:pt x="15500" y="17844"/>
                  <a:pt x="15718" y="17719"/>
                  <a:pt x="15937" y="17656"/>
                </a:cubicBezTo>
                <a:close/>
                <a:moveTo>
                  <a:pt x="15187" y="17469"/>
                </a:moveTo>
                <a:cubicBezTo>
                  <a:pt x="15218" y="17500"/>
                  <a:pt x="15250" y="17469"/>
                  <a:pt x="15281" y="17500"/>
                </a:cubicBezTo>
                <a:cubicBezTo>
                  <a:pt x="15281" y="17531"/>
                  <a:pt x="15281" y="17531"/>
                  <a:pt x="15250" y="17531"/>
                </a:cubicBezTo>
                <a:cubicBezTo>
                  <a:pt x="15218" y="17531"/>
                  <a:pt x="15187" y="17500"/>
                  <a:pt x="15156" y="17500"/>
                </a:cubicBezTo>
                <a:cubicBezTo>
                  <a:pt x="15156" y="17500"/>
                  <a:pt x="15187" y="17469"/>
                  <a:pt x="15187" y="17469"/>
                </a:cubicBezTo>
                <a:close/>
                <a:moveTo>
                  <a:pt x="15343" y="17562"/>
                </a:moveTo>
                <a:cubicBezTo>
                  <a:pt x="15312" y="17562"/>
                  <a:pt x="15312" y="17562"/>
                  <a:pt x="15312" y="17531"/>
                </a:cubicBezTo>
                <a:cubicBezTo>
                  <a:pt x="15312" y="17531"/>
                  <a:pt x="15312" y="17500"/>
                  <a:pt x="15343" y="17531"/>
                </a:cubicBezTo>
                <a:cubicBezTo>
                  <a:pt x="15343" y="17531"/>
                  <a:pt x="15375" y="17531"/>
                  <a:pt x="15375" y="17562"/>
                </a:cubicBezTo>
                <a:cubicBezTo>
                  <a:pt x="15375" y="17562"/>
                  <a:pt x="15343" y="17562"/>
                  <a:pt x="15343" y="17562"/>
                </a:cubicBezTo>
                <a:close/>
                <a:moveTo>
                  <a:pt x="15343" y="17656"/>
                </a:moveTo>
                <a:cubicBezTo>
                  <a:pt x="15343" y="17656"/>
                  <a:pt x="15343" y="17656"/>
                  <a:pt x="15343" y="17656"/>
                </a:cubicBezTo>
                <a:cubicBezTo>
                  <a:pt x="15343" y="17656"/>
                  <a:pt x="15343" y="17656"/>
                  <a:pt x="15343" y="17656"/>
                </a:cubicBezTo>
                <a:cubicBezTo>
                  <a:pt x="15343" y="17656"/>
                  <a:pt x="15343" y="17656"/>
                  <a:pt x="15343" y="17656"/>
                </a:cubicBezTo>
                <a:close/>
                <a:moveTo>
                  <a:pt x="15281" y="16844"/>
                </a:moveTo>
                <a:cubicBezTo>
                  <a:pt x="15343" y="16812"/>
                  <a:pt x="15343" y="16844"/>
                  <a:pt x="15343" y="16875"/>
                </a:cubicBezTo>
                <a:cubicBezTo>
                  <a:pt x="15281" y="16875"/>
                  <a:pt x="15281" y="16906"/>
                  <a:pt x="15312" y="16906"/>
                </a:cubicBezTo>
                <a:cubicBezTo>
                  <a:pt x="15343" y="16937"/>
                  <a:pt x="15343" y="16906"/>
                  <a:pt x="15343" y="16875"/>
                </a:cubicBezTo>
                <a:cubicBezTo>
                  <a:pt x="15343" y="16906"/>
                  <a:pt x="15375" y="16844"/>
                  <a:pt x="15375" y="16875"/>
                </a:cubicBezTo>
                <a:cubicBezTo>
                  <a:pt x="15375" y="16875"/>
                  <a:pt x="15375" y="16906"/>
                  <a:pt x="15375" y="16906"/>
                </a:cubicBezTo>
                <a:cubicBezTo>
                  <a:pt x="15343" y="16906"/>
                  <a:pt x="15343" y="16969"/>
                  <a:pt x="15312" y="16969"/>
                </a:cubicBezTo>
                <a:cubicBezTo>
                  <a:pt x="15312" y="16937"/>
                  <a:pt x="15312" y="16937"/>
                  <a:pt x="15312" y="16937"/>
                </a:cubicBezTo>
                <a:cubicBezTo>
                  <a:pt x="15281" y="16906"/>
                  <a:pt x="15281" y="16937"/>
                  <a:pt x="15250" y="16906"/>
                </a:cubicBezTo>
                <a:cubicBezTo>
                  <a:pt x="15250" y="16875"/>
                  <a:pt x="15312" y="16875"/>
                  <a:pt x="15281" y="16844"/>
                </a:cubicBezTo>
                <a:cubicBezTo>
                  <a:pt x="15281" y="16844"/>
                  <a:pt x="15281" y="16844"/>
                  <a:pt x="15281" y="16844"/>
                </a:cubicBezTo>
                <a:close/>
                <a:moveTo>
                  <a:pt x="15187" y="16656"/>
                </a:moveTo>
                <a:cubicBezTo>
                  <a:pt x="15187" y="16656"/>
                  <a:pt x="15187" y="16656"/>
                  <a:pt x="15187" y="16656"/>
                </a:cubicBezTo>
                <a:cubicBezTo>
                  <a:pt x="15187" y="16656"/>
                  <a:pt x="15187" y="16656"/>
                  <a:pt x="15187" y="16656"/>
                </a:cubicBezTo>
                <a:cubicBezTo>
                  <a:pt x="15218" y="16625"/>
                  <a:pt x="15250" y="16594"/>
                  <a:pt x="15281" y="16594"/>
                </a:cubicBezTo>
                <a:cubicBezTo>
                  <a:pt x="15250" y="16594"/>
                  <a:pt x="15218" y="16625"/>
                  <a:pt x="15187" y="16656"/>
                </a:cubicBezTo>
                <a:cubicBezTo>
                  <a:pt x="15125" y="16719"/>
                  <a:pt x="15031" y="16812"/>
                  <a:pt x="15000" y="16812"/>
                </a:cubicBezTo>
                <a:cubicBezTo>
                  <a:pt x="15093" y="16656"/>
                  <a:pt x="15093" y="16656"/>
                  <a:pt x="15187" y="16656"/>
                </a:cubicBezTo>
                <a:close/>
                <a:moveTo>
                  <a:pt x="15187" y="16781"/>
                </a:moveTo>
                <a:cubicBezTo>
                  <a:pt x="15156" y="16844"/>
                  <a:pt x="15125" y="16906"/>
                  <a:pt x="15062" y="16937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62" y="16906"/>
                  <a:pt x="15062" y="16906"/>
                  <a:pt x="15062" y="16906"/>
                </a:cubicBezTo>
                <a:cubicBezTo>
                  <a:pt x="15093" y="16875"/>
                  <a:pt x="15156" y="16844"/>
                  <a:pt x="15187" y="16781"/>
                </a:cubicBezTo>
                <a:close/>
                <a:moveTo>
                  <a:pt x="14125" y="17031"/>
                </a:moveTo>
                <a:cubicBezTo>
                  <a:pt x="14156" y="17031"/>
                  <a:pt x="14156" y="17031"/>
                  <a:pt x="14156" y="17062"/>
                </a:cubicBezTo>
                <a:cubicBezTo>
                  <a:pt x="14156" y="17062"/>
                  <a:pt x="14125" y="17062"/>
                  <a:pt x="14125" y="17062"/>
                </a:cubicBezTo>
                <a:cubicBezTo>
                  <a:pt x="14125" y="17062"/>
                  <a:pt x="14093" y="17031"/>
                  <a:pt x="14125" y="17031"/>
                </a:cubicBezTo>
                <a:close/>
                <a:moveTo>
                  <a:pt x="14062" y="17031"/>
                </a:moveTo>
                <a:cubicBezTo>
                  <a:pt x="14062" y="17031"/>
                  <a:pt x="14031" y="17031"/>
                  <a:pt x="14031" y="17031"/>
                </a:cubicBezTo>
                <a:cubicBezTo>
                  <a:pt x="14031" y="17062"/>
                  <a:pt x="14031" y="17062"/>
                  <a:pt x="14031" y="17062"/>
                </a:cubicBezTo>
                <a:cubicBezTo>
                  <a:pt x="14031" y="17062"/>
                  <a:pt x="14031" y="17062"/>
                  <a:pt x="14031" y="17031"/>
                </a:cubicBezTo>
                <a:cubicBezTo>
                  <a:pt x="14000" y="17031"/>
                  <a:pt x="14000" y="17031"/>
                  <a:pt x="14000" y="17031"/>
                </a:cubicBezTo>
                <a:cubicBezTo>
                  <a:pt x="14000" y="17000"/>
                  <a:pt x="14031" y="17031"/>
                  <a:pt x="14062" y="17031"/>
                </a:cubicBezTo>
                <a:close/>
                <a:moveTo>
                  <a:pt x="13437" y="17031"/>
                </a:moveTo>
                <a:cubicBezTo>
                  <a:pt x="13562" y="17062"/>
                  <a:pt x="13656" y="17094"/>
                  <a:pt x="13781" y="17156"/>
                </a:cubicBezTo>
                <a:cubicBezTo>
                  <a:pt x="13968" y="17187"/>
                  <a:pt x="14125" y="17219"/>
                  <a:pt x="14312" y="17219"/>
                </a:cubicBezTo>
                <a:cubicBezTo>
                  <a:pt x="14125" y="17250"/>
                  <a:pt x="13968" y="17219"/>
                  <a:pt x="13781" y="17187"/>
                </a:cubicBezTo>
                <a:cubicBezTo>
                  <a:pt x="13781" y="17156"/>
                  <a:pt x="13781" y="17156"/>
                  <a:pt x="13781" y="17156"/>
                </a:cubicBezTo>
                <a:cubicBezTo>
                  <a:pt x="13656" y="17094"/>
                  <a:pt x="13562" y="17062"/>
                  <a:pt x="13437" y="17031"/>
                </a:cubicBezTo>
                <a:close/>
                <a:moveTo>
                  <a:pt x="14062" y="17344"/>
                </a:moveTo>
                <a:cubicBezTo>
                  <a:pt x="14156" y="17344"/>
                  <a:pt x="14250" y="17344"/>
                  <a:pt x="14343" y="17344"/>
                </a:cubicBezTo>
                <a:cubicBezTo>
                  <a:pt x="14250" y="17375"/>
                  <a:pt x="14156" y="17344"/>
                  <a:pt x="14062" y="17344"/>
                </a:cubicBezTo>
                <a:close/>
                <a:moveTo>
                  <a:pt x="14218" y="17062"/>
                </a:moveTo>
                <a:cubicBezTo>
                  <a:pt x="14187" y="17031"/>
                  <a:pt x="14218" y="17031"/>
                  <a:pt x="14250" y="17031"/>
                </a:cubicBezTo>
                <a:cubicBezTo>
                  <a:pt x="14281" y="17031"/>
                  <a:pt x="14312" y="17000"/>
                  <a:pt x="14343" y="17000"/>
                </a:cubicBezTo>
                <a:cubicBezTo>
                  <a:pt x="14343" y="17000"/>
                  <a:pt x="14343" y="17000"/>
                  <a:pt x="14343" y="17000"/>
                </a:cubicBezTo>
                <a:cubicBezTo>
                  <a:pt x="14593" y="16969"/>
                  <a:pt x="14781" y="16812"/>
                  <a:pt x="15000" y="16750"/>
                </a:cubicBezTo>
                <a:cubicBezTo>
                  <a:pt x="14781" y="16937"/>
                  <a:pt x="14531" y="17094"/>
                  <a:pt x="14218" y="17062"/>
                </a:cubicBezTo>
                <a:close/>
                <a:moveTo>
                  <a:pt x="14500" y="17312"/>
                </a:moveTo>
                <a:cubicBezTo>
                  <a:pt x="14500" y="17312"/>
                  <a:pt x="14468" y="17312"/>
                  <a:pt x="14468" y="17312"/>
                </a:cubicBezTo>
                <a:cubicBezTo>
                  <a:pt x="14531" y="17281"/>
                  <a:pt x="14593" y="17250"/>
                  <a:pt x="14656" y="17250"/>
                </a:cubicBezTo>
                <a:cubicBezTo>
                  <a:pt x="14687" y="17219"/>
                  <a:pt x="14718" y="17219"/>
                  <a:pt x="14687" y="17219"/>
                </a:cubicBezTo>
                <a:cubicBezTo>
                  <a:pt x="14656" y="17187"/>
                  <a:pt x="14625" y="17219"/>
                  <a:pt x="14562" y="17219"/>
                </a:cubicBezTo>
                <a:cubicBezTo>
                  <a:pt x="14687" y="17156"/>
                  <a:pt x="14781" y="17094"/>
                  <a:pt x="14875" y="17031"/>
                </a:cubicBezTo>
                <a:cubicBezTo>
                  <a:pt x="14906" y="17031"/>
                  <a:pt x="14906" y="17031"/>
                  <a:pt x="14937" y="17000"/>
                </a:cubicBezTo>
                <a:cubicBezTo>
                  <a:pt x="14906" y="17031"/>
                  <a:pt x="14906" y="17031"/>
                  <a:pt x="14875" y="17031"/>
                </a:cubicBezTo>
                <a:cubicBezTo>
                  <a:pt x="14875" y="17062"/>
                  <a:pt x="14875" y="17062"/>
                  <a:pt x="14875" y="17062"/>
                </a:cubicBezTo>
                <a:cubicBezTo>
                  <a:pt x="14843" y="17094"/>
                  <a:pt x="14781" y="17125"/>
                  <a:pt x="14718" y="17156"/>
                </a:cubicBezTo>
                <a:cubicBezTo>
                  <a:pt x="14718" y="17156"/>
                  <a:pt x="14687" y="17156"/>
                  <a:pt x="14687" y="17187"/>
                </a:cubicBezTo>
                <a:cubicBezTo>
                  <a:pt x="14812" y="17187"/>
                  <a:pt x="14906" y="17125"/>
                  <a:pt x="14968" y="17062"/>
                </a:cubicBezTo>
                <a:cubicBezTo>
                  <a:pt x="14968" y="17062"/>
                  <a:pt x="14968" y="17062"/>
                  <a:pt x="14968" y="17062"/>
                </a:cubicBezTo>
                <a:cubicBezTo>
                  <a:pt x="15000" y="17062"/>
                  <a:pt x="15031" y="17062"/>
                  <a:pt x="15000" y="17031"/>
                </a:cubicBezTo>
                <a:cubicBezTo>
                  <a:pt x="15000" y="17031"/>
                  <a:pt x="15000" y="17031"/>
                  <a:pt x="15000" y="17031"/>
                </a:cubicBezTo>
                <a:cubicBezTo>
                  <a:pt x="15000" y="17031"/>
                  <a:pt x="15000" y="17031"/>
                  <a:pt x="15000" y="17031"/>
                </a:cubicBezTo>
                <a:cubicBezTo>
                  <a:pt x="15031" y="17031"/>
                  <a:pt x="15093" y="17031"/>
                  <a:pt x="15031" y="17062"/>
                </a:cubicBezTo>
                <a:cubicBezTo>
                  <a:pt x="14875" y="17187"/>
                  <a:pt x="14718" y="17281"/>
                  <a:pt x="14500" y="17312"/>
                </a:cubicBezTo>
                <a:close/>
                <a:moveTo>
                  <a:pt x="14812" y="17375"/>
                </a:moveTo>
                <a:cubicBezTo>
                  <a:pt x="14750" y="17375"/>
                  <a:pt x="14687" y="17406"/>
                  <a:pt x="14625" y="17437"/>
                </a:cubicBezTo>
                <a:cubicBezTo>
                  <a:pt x="14625" y="17437"/>
                  <a:pt x="14593" y="17437"/>
                  <a:pt x="14593" y="17406"/>
                </a:cubicBezTo>
                <a:cubicBezTo>
                  <a:pt x="14593" y="17406"/>
                  <a:pt x="14593" y="17406"/>
                  <a:pt x="14593" y="17406"/>
                </a:cubicBezTo>
                <a:cubicBezTo>
                  <a:pt x="14687" y="17344"/>
                  <a:pt x="14812" y="17344"/>
                  <a:pt x="14875" y="17281"/>
                </a:cubicBezTo>
                <a:cubicBezTo>
                  <a:pt x="14937" y="17250"/>
                  <a:pt x="15031" y="17250"/>
                  <a:pt x="15062" y="17156"/>
                </a:cubicBezTo>
                <a:cubicBezTo>
                  <a:pt x="15000" y="17156"/>
                  <a:pt x="14968" y="17187"/>
                  <a:pt x="14937" y="17219"/>
                </a:cubicBezTo>
                <a:cubicBezTo>
                  <a:pt x="14875" y="17281"/>
                  <a:pt x="14812" y="17281"/>
                  <a:pt x="14781" y="17281"/>
                </a:cubicBezTo>
                <a:cubicBezTo>
                  <a:pt x="14906" y="17187"/>
                  <a:pt x="15031" y="17125"/>
                  <a:pt x="15156" y="17000"/>
                </a:cubicBezTo>
                <a:cubicBezTo>
                  <a:pt x="15187" y="17000"/>
                  <a:pt x="15218" y="16969"/>
                  <a:pt x="15218" y="16937"/>
                </a:cubicBezTo>
                <a:cubicBezTo>
                  <a:pt x="15218" y="16937"/>
                  <a:pt x="15218" y="16937"/>
                  <a:pt x="15218" y="16937"/>
                </a:cubicBezTo>
                <a:cubicBezTo>
                  <a:pt x="15218" y="16937"/>
                  <a:pt x="15250" y="16937"/>
                  <a:pt x="15250" y="16937"/>
                </a:cubicBezTo>
                <a:cubicBezTo>
                  <a:pt x="15218" y="17000"/>
                  <a:pt x="15156" y="17031"/>
                  <a:pt x="15093" y="17094"/>
                </a:cubicBezTo>
                <a:cubicBezTo>
                  <a:pt x="15062" y="17125"/>
                  <a:pt x="15062" y="17125"/>
                  <a:pt x="15062" y="17156"/>
                </a:cubicBezTo>
                <a:cubicBezTo>
                  <a:pt x="15093" y="17187"/>
                  <a:pt x="15125" y="17156"/>
                  <a:pt x="15125" y="17125"/>
                </a:cubicBezTo>
                <a:cubicBezTo>
                  <a:pt x="15187" y="17094"/>
                  <a:pt x="15250" y="17031"/>
                  <a:pt x="15312" y="16969"/>
                </a:cubicBezTo>
                <a:cubicBezTo>
                  <a:pt x="15250" y="17094"/>
                  <a:pt x="15156" y="17125"/>
                  <a:pt x="15093" y="17219"/>
                </a:cubicBezTo>
                <a:cubicBezTo>
                  <a:pt x="15062" y="17219"/>
                  <a:pt x="15000" y="17250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5000" y="17281"/>
                  <a:pt x="15000" y="17281"/>
                  <a:pt x="15000" y="17281"/>
                </a:cubicBezTo>
                <a:cubicBezTo>
                  <a:pt x="14937" y="17312"/>
                  <a:pt x="14875" y="17344"/>
                  <a:pt x="14812" y="17375"/>
                </a:cubicBezTo>
                <a:close/>
                <a:moveTo>
                  <a:pt x="15000" y="17406"/>
                </a:moveTo>
                <a:cubicBezTo>
                  <a:pt x="15031" y="17375"/>
                  <a:pt x="15000" y="17406"/>
                  <a:pt x="15031" y="17437"/>
                </a:cubicBezTo>
                <a:cubicBezTo>
                  <a:pt x="15000" y="17406"/>
                  <a:pt x="14968" y="17469"/>
                  <a:pt x="14937" y="17437"/>
                </a:cubicBezTo>
                <a:cubicBezTo>
                  <a:pt x="14937" y="17437"/>
                  <a:pt x="14968" y="17406"/>
                  <a:pt x="15000" y="17406"/>
                </a:cubicBezTo>
                <a:close/>
                <a:moveTo>
                  <a:pt x="14968" y="17344"/>
                </a:moveTo>
                <a:cubicBezTo>
                  <a:pt x="15000" y="17344"/>
                  <a:pt x="15000" y="17312"/>
                  <a:pt x="15000" y="17312"/>
                </a:cubicBezTo>
                <a:cubicBezTo>
                  <a:pt x="15000" y="17312"/>
                  <a:pt x="15000" y="17344"/>
                  <a:pt x="14968" y="17344"/>
                </a:cubicBezTo>
                <a:close/>
                <a:moveTo>
                  <a:pt x="15000" y="17469"/>
                </a:moveTo>
                <a:cubicBezTo>
                  <a:pt x="15000" y="17469"/>
                  <a:pt x="15031" y="17469"/>
                  <a:pt x="15031" y="17437"/>
                </a:cubicBezTo>
                <a:cubicBezTo>
                  <a:pt x="15031" y="17437"/>
                  <a:pt x="15062" y="17437"/>
                  <a:pt x="15062" y="17437"/>
                </a:cubicBezTo>
                <a:cubicBezTo>
                  <a:pt x="15062" y="17469"/>
                  <a:pt x="15062" y="17469"/>
                  <a:pt x="15062" y="17469"/>
                </a:cubicBezTo>
                <a:cubicBezTo>
                  <a:pt x="15031" y="17500"/>
                  <a:pt x="15031" y="17500"/>
                  <a:pt x="15031" y="17500"/>
                </a:cubicBezTo>
                <a:cubicBezTo>
                  <a:pt x="15000" y="17500"/>
                  <a:pt x="15000" y="17531"/>
                  <a:pt x="14968" y="17531"/>
                </a:cubicBezTo>
                <a:cubicBezTo>
                  <a:pt x="14968" y="17500"/>
                  <a:pt x="14968" y="17500"/>
                  <a:pt x="15000" y="17469"/>
                </a:cubicBezTo>
                <a:close/>
                <a:moveTo>
                  <a:pt x="15062" y="17375"/>
                </a:move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ubicBezTo>
                  <a:pt x="15062" y="17375"/>
                  <a:pt x="15062" y="17375"/>
                  <a:pt x="15062" y="17375"/>
                </a:cubicBezTo>
                <a:close/>
                <a:moveTo>
                  <a:pt x="14812" y="17719"/>
                </a:moveTo>
                <a:cubicBezTo>
                  <a:pt x="14843" y="17687"/>
                  <a:pt x="14843" y="17656"/>
                  <a:pt x="14875" y="17656"/>
                </a:cubicBezTo>
                <a:cubicBezTo>
                  <a:pt x="14875" y="17656"/>
                  <a:pt x="14875" y="17625"/>
                  <a:pt x="14906" y="17625"/>
                </a:cubicBezTo>
                <a:cubicBezTo>
                  <a:pt x="14937" y="17656"/>
                  <a:pt x="14906" y="17656"/>
                  <a:pt x="14875" y="17687"/>
                </a:cubicBezTo>
                <a:cubicBezTo>
                  <a:pt x="14843" y="17687"/>
                  <a:pt x="14843" y="17719"/>
                  <a:pt x="14812" y="17719"/>
                </a:cubicBezTo>
                <a:cubicBezTo>
                  <a:pt x="14812" y="17750"/>
                  <a:pt x="14812" y="17750"/>
                  <a:pt x="14781" y="17750"/>
                </a:cubicBezTo>
                <a:cubicBezTo>
                  <a:pt x="14781" y="17719"/>
                  <a:pt x="14781" y="17719"/>
                  <a:pt x="14812" y="17719"/>
                </a:cubicBezTo>
                <a:close/>
                <a:moveTo>
                  <a:pt x="14781" y="17750"/>
                </a:moveTo>
                <a:cubicBezTo>
                  <a:pt x="14781" y="17750"/>
                  <a:pt x="14781" y="17750"/>
                  <a:pt x="14781" y="17750"/>
                </a:cubicBezTo>
                <a:cubicBezTo>
                  <a:pt x="14781" y="17750"/>
                  <a:pt x="14781" y="17750"/>
                  <a:pt x="14781" y="17750"/>
                </a:cubicBezTo>
                <a:cubicBezTo>
                  <a:pt x="14781" y="17750"/>
                  <a:pt x="14781" y="17750"/>
                  <a:pt x="14781" y="17750"/>
                </a:cubicBezTo>
                <a:close/>
                <a:moveTo>
                  <a:pt x="14781" y="17625"/>
                </a:moveTo>
                <a:cubicBezTo>
                  <a:pt x="14781" y="17625"/>
                  <a:pt x="14781" y="17625"/>
                  <a:pt x="14781" y="17625"/>
                </a:cubicBezTo>
                <a:cubicBezTo>
                  <a:pt x="14781" y="17625"/>
                  <a:pt x="14781" y="17594"/>
                  <a:pt x="14781" y="17594"/>
                </a:cubicBezTo>
                <a:cubicBezTo>
                  <a:pt x="14781" y="17594"/>
                  <a:pt x="14781" y="17625"/>
                  <a:pt x="14781" y="17625"/>
                </a:cubicBezTo>
                <a:close/>
                <a:moveTo>
                  <a:pt x="13562" y="18281"/>
                </a:moveTo>
                <a:cubicBezTo>
                  <a:pt x="13656" y="18250"/>
                  <a:pt x="13750" y="18250"/>
                  <a:pt x="13843" y="18250"/>
                </a:cubicBezTo>
                <a:cubicBezTo>
                  <a:pt x="13843" y="18250"/>
                  <a:pt x="13843" y="18219"/>
                  <a:pt x="13843" y="18219"/>
                </a:cubicBezTo>
                <a:cubicBezTo>
                  <a:pt x="13812" y="18219"/>
                  <a:pt x="13781" y="18187"/>
                  <a:pt x="13750" y="18187"/>
                </a:cubicBezTo>
                <a:cubicBezTo>
                  <a:pt x="13781" y="18125"/>
                  <a:pt x="13812" y="18094"/>
                  <a:pt x="13843" y="18094"/>
                </a:cubicBezTo>
                <a:cubicBezTo>
                  <a:pt x="13843" y="18094"/>
                  <a:pt x="13843" y="18094"/>
                  <a:pt x="13843" y="18125"/>
                </a:cubicBezTo>
                <a:cubicBezTo>
                  <a:pt x="13937" y="18125"/>
                  <a:pt x="14000" y="18156"/>
                  <a:pt x="14031" y="18219"/>
                </a:cubicBezTo>
                <a:cubicBezTo>
                  <a:pt x="14062" y="18250"/>
                  <a:pt x="14062" y="18250"/>
                  <a:pt x="14062" y="18281"/>
                </a:cubicBezTo>
                <a:cubicBezTo>
                  <a:pt x="14062" y="18281"/>
                  <a:pt x="14031" y="18281"/>
                  <a:pt x="14000" y="18281"/>
                </a:cubicBezTo>
                <a:lnTo>
                  <a:pt x="14000" y="18281"/>
                </a:lnTo>
                <a:cubicBezTo>
                  <a:pt x="13968" y="18219"/>
                  <a:pt x="13875" y="18187"/>
                  <a:pt x="13843" y="18125"/>
                </a:cubicBezTo>
                <a:cubicBezTo>
                  <a:pt x="13843" y="18094"/>
                  <a:pt x="13843" y="18094"/>
                  <a:pt x="13843" y="18094"/>
                </a:cubicBezTo>
                <a:cubicBezTo>
                  <a:pt x="13843" y="18094"/>
                  <a:pt x="13843" y="18094"/>
                  <a:pt x="13875" y="18094"/>
                </a:cubicBezTo>
                <a:cubicBezTo>
                  <a:pt x="13968" y="18094"/>
                  <a:pt x="14062" y="18062"/>
                  <a:pt x="14125" y="18187"/>
                </a:cubicBezTo>
                <a:cubicBezTo>
                  <a:pt x="14125" y="18219"/>
                  <a:pt x="14156" y="18219"/>
                  <a:pt x="14156" y="18250"/>
                </a:cubicBezTo>
                <a:cubicBezTo>
                  <a:pt x="14156" y="18250"/>
                  <a:pt x="14125" y="18250"/>
                  <a:pt x="14093" y="18219"/>
                </a:cubicBezTo>
                <a:cubicBezTo>
                  <a:pt x="14125" y="18281"/>
                  <a:pt x="14156" y="18312"/>
                  <a:pt x="14218" y="18344"/>
                </a:cubicBezTo>
                <a:lnTo>
                  <a:pt x="14218" y="18344"/>
                </a:lnTo>
                <a:cubicBezTo>
                  <a:pt x="14187" y="18281"/>
                  <a:pt x="14156" y="18281"/>
                  <a:pt x="14156" y="18250"/>
                </a:cubicBezTo>
                <a:cubicBezTo>
                  <a:pt x="14218" y="18250"/>
                  <a:pt x="14218" y="18312"/>
                  <a:pt x="14281" y="18312"/>
                </a:cubicBezTo>
                <a:cubicBezTo>
                  <a:pt x="14187" y="18187"/>
                  <a:pt x="14125" y="18031"/>
                  <a:pt x="14312" y="17937"/>
                </a:cubicBezTo>
                <a:cubicBezTo>
                  <a:pt x="14312" y="17937"/>
                  <a:pt x="14312" y="17937"/>
                  <a:pt x="14312" y="17937"/>
                </a:cubicBezTo>
                <a:cubicBezTo>
                  <a:pt x="14437" y="17875"/>
                  <a:pt x="14593" y="17844"/>
                  <a:pt x="14718" y="17906"/>
                </a:cubicBezTo>
                <a:cubicBezTo>
                  <a:pt x="14781" y="17906"/>
                  <a:pt x="14812" y="17937"/>
                  <a:pt x="14812" y="17969"/>
                </a:cubicBezTo>
                <a:cubicBezTo>
                  <a:pt x="14843" y="18062"/>
                  <a:pt x="14812" y="18094"/>
                  <a:pt x="14750" y="18094"/>
                </a:cubicBezTo>
                <a:cubicBezTo>
                  <a:pt x="14687" y="18125"/>
                  <a:pt x="14593" y="18125"/>
                  <a:pt x="14531" y="18187"/>
                </a:cubicBezTo>
                <a:cubicBezTo>
                  <a:pt x="14500" y="18187"/>
                  <a:pt x="14468" y="18219"/>
                  <a:pt x="14468" y="18219"/>
                </a:cubicBezTo>
                <a:cubicBezTo>
                  <a:pt x="14593" y="18250"/>
                  <a:pt x="14687" y="18219"/>
                  <a:pt x="14781" y="18187"/>
                </a:cubicBezTo>
                <a:cubicBezTo>
                  <a:pt x="14812" y="18156"/>
                  <a:pt x="14875" y="18125"/>
                  <a:pt x="14906" y="18094"/>
                </a:cubicBezTo>
                <a:cubicBezTo>
                  <a:pt x="14875" y="18156"/>
                  <a:pt x="14968" y="18156"/>
                  <a:pt x="15000" y="18187"/>
                </a:cubicBezTo>
                <a:cubicBezTo>
                  <a:pt x="14937" y="18219"/>
                  <a:pt x="14906" y="18156"/>
                  <a:pt x="14843" y="18187"/>
                </a:cubicBezTo>
                <a:cubicBezTo>
                  <a:pt x="14843" y="18219"/>
                  <a:pt x="14875" y="18219"/>
                  <a:pt x="14875" y="18219"/>
                </a:cubicBezTo>
                <a:cubicBezTo>
                  <a:pt x="14968" y="18250"/>
                  <a:pt x="15062" y="18312"/>
                  <a:pt x="15156" y="18344"/>
                </a:cubicBezTo>
                <a:cubicBezTo>
                  <a:pt x="15187" y="18344"/>
                  <a:pt x="15218" y="18344"/>
                  <a:pt x="15187" y="18375"/>
                </a:cubicBezTo>
                <a:cubicBezTo>
                  <a:pt x="15187" y="18406"/>
                  <a:pt x="15156" y="18375"/>
                  <a:pt x="15156" y="18375"/>
                </a:cubicBezTo>
                <a:cubicBezTo>
                  <a:pt x="15093" y="18344"/>
                  <a:pt x="15000" y="18312"/>
                  <a:pt x="14937" y="18312"/>
                </a:cubicBezTo>
                <a:cubicBezTo>
                  <a:pt x="14906" y="18312"/>
                  <a:pt x="14875" y="18312"/>
                  <a:pt x="14875" y="18281"/>
                </a:cubicBezTo>
                <a:lnTo>
                  <a:pt x="14875" y="18281"/>
                </a:lnTo>
                <a:cubicBezTo>
                  <a:pt x="14875" y="18312"/>
                  <a:pt x="14937" y="18219"/>
                  <a:pt x="14937" y="18312"/>
                </a:cubicBezTo>
                <a:cubicBezTo>
                  <a:pt x="14968" y="18344"/>
                  <a:pt x="15031" y="18344"/>
                  <a:pt x="15062" y="18406"/>
                </a:cubicBezTo>
                <a:cubicBezTo>
                  <a:pt x="14968" y="18406"/>
                  <a:pt x="14937" y="18344"/>
                  <a:pt x="14875" y="18344"/>
                </a:cubicBezTo>
                <a:cubicBezTo>
                  <a:pt x="14875" y="18312"/>
                  <a:pt x="14875" y="18312"/>
                  <a:pt x="14843" y="18312"/>
                </a:cubicBezTo>
                <a:cubicBezTo>
                  <a:pt x="14843" y="18312"/>
                  <a:pt x="14812" y="18312"/>
                  <a:pt x="14812" y="18312"/>
                </a:cubicBezTo>
                <a:cubicBezTo>
                  <a:pt x="14812" y="18312"/>
                  <a:pt x="14843" y="18281"/>
                  <a:pt x="14812" y="18281"/>
                </a:cubicBezTo>
                <a:cubicBezTo>
                  <a:pt x="14781" y="18281"/>
                  <a:pt x="14750" y="18281"/>
                  <a:pt x="14781" y="18312"/>
                </a:cubicBezTo>
                <a:cubicBezTo>
                  <a:pt x="14750" y="18312"/>
                  <a:pt x="14750" y="18312"/>
                  <a:pt x="14750" y="18312"/>
                </a:cubicBezTo>
                <a:cubicBezTo>
                  <a:pt x="14750" y="18312"/>
                  <a:pt x="14750" y="18312"/>
                  <a:pt x="14750" y="18312"/>
                </a:cubicBezTo>
                <a:cubicBezTo>
                  <a:pt x="14750" y="18312"/>
                  <a:pt x="14750" y="18312"/>
                  <a:pt x="14718" y="18312"/>
                </a:cubicBezTo>
                <a:cubicBezTo>
                  <a:pt x="14718" y="18312"/>
                  <a:pt x="14687" y="18312"/>
                  <a:pt x="14656" y="18344"/>
                </a:cubicBezTo>
                <a:cubicBezTo>
                  <a:pt x="14656" y="18312"/>
                  <a:pt x="14625" y="18344"/>
                  <a:pt x="14625" y="18344"/>
                </a:cubicBezTo>
                <a:cubicBezTo>
                  <a:pt x="14625" y="18344"/>
                  <a:pt x="14593" y="18344"/>
                  <a:pt x="14562" y="18344"/>
                </a:cubicBezTo>
                <a:cubicBezTo>
                  <a:pt x="14562" y="18344"/>
                  <a:pt x="14562" y="18344"/>
                  <a:pt x="14562" y="18344"/>
                </a:cubicBezTo>
                <a:cubicBezTo>
                  <a:pt x="14562" y="18344"/>
                  <a:pt x="14562" y="18344"/>
                  <a:pt x="14562" y="18344"/>
                </a:cubicBezTo>
                <a:cubicBezTo>
                  <a:pt x="14500" y="18312"/>
                  <a:pt x="14437" y="18344"/>
                  <a:pt x="14406" y="18312"/>
                </a:cubicBezTo>
                <a:cubicBezTo>
                  <a:pt x="14375" y="18250"/>
                  <a:pt x="14343" y="18187"/>
                  <a:pt x="14343" y="18125"/>
                </a:cubicBezTo>
                <a:cubicBezTo>
                  <a:pt x="14375" y="18125"/>
                  <a:pt x="14406" y="18062"/>
                  <a:pt x="14437" y="18062"/>
                </a:cubicBezTo>
                <a:cubicBezTo>
                  <a:pt x="14531" y="18094"/>
                  <a:pt x="14593" y="18031"/>
                  <a:pt x="14656" y="18031"/>
                </a:cubicBezTo>
                <a:cubicBezTo>
                  <a:pt x="14687" y="18031"/>
                  <a:pt x="14718" y="18031"/>
                  <a:pt x="14718" y="18000"/>
                </a:cubicBezTo>
                <a:cubicBezTo>
                  <a:pt x="14718" y="17969"/>
                  <a:pt x="14718" y="17969"/>
                  <a:pt x="14718" y="17969"/>
                </a:cubicBezTo>
                <a:cubicBezTo>
                  <a:pt x="14625" y="17937"/>
                  <a:pt x="14562" y="17906"/>
                  <a:pt x="14468" y="17937"/>
                </a:cubicBezTo>
                <a:cubicBezTo>
                  <a:pt x="14375" y="17937"/>
                  <a:pt x="14343" y="18031"/>
                  <a:pt x="14281" y="18094"/>
                </a:cubicBezTo>
                <a:cubicBezTo>
                  <a:pt x="14250" y="18062"/>
                  <a:pt x="14218" y="18062"/>
                  <a:pt x="14218" y="18125"/>
                </a:cubicBezTo>
                <a:cubicBezTo>
                  <a:pt x="14250" y="18156"/>
                  <a:pt x="14250" y="18219"/>
                  <a:pt x="14312" y="18250"/>
                </a:cubicBezTo>
                <a:cubicBezTo>
                  <a:pt x="14312" y="18250"/>
                  <a:pt x="14312" y="18281"/>
                  <a:pt x="14312" y="18281"/>
                </a:cubicBezTo>
                <a:cubicBezTo>
                  <a:pt x="14343" y="18312"/>
                  <a:pt x="14312" y="18375"/>
                  <a:pt x="14375" y="18375"/>
                </a:cubicBezTo>
                <a:cubicBezTo>
                  <a:pt x="14406" y="18375"/>
                  <a:pt x="14406" y="18406"/>
                  <a:pt x="14406" y="18406"/>
                </a:cubicBezTo>
                <a:cubicBezTo>
                  <a:pt x="14406" y="18406"/>
                  <a:pt x="14406" y="18406"/>
                  <a:pt x="14406" y="18406"/>
                </a:cubicBezTo>
                <a:cubicBezTo>
                  <a:pt x="14406" y="18437"/>
                  <a:pt x="14437" y="18437"/>
                  <a:pt x="14437" y="18437"/>
                </a:cubicBezTo>
                <a:cubicBezTo>
                  <a:pt x="14437" y="18469"/>
                  <a:pt x="14406" y="18437"/>
                  <a:pt x="14406" y="18406"/>
                </a:cubicBezTo>
                <a:lnTo>
                  <a:pt x="14406" y="18406"/>
                </a:lnTo>
                <a:cubicBezTo>
                  <a:pt x="14406" y="18406"/>
                  <a:pt x="14406" y="18406"/>
                  <a:pt x="14406" y="18406"/>
                </a:cubicBezTo>
                <a:cubicBezTo>
                  <a:pt x="14375" y="18406"/>
                  <a:pt x="14343" y="18437"/>
                  <a:pt x="14312" y="18437"/>
                </a:cubicBezTo>
                <a:cubicBezTo>
                  <a:pt x="14312" y="18469"/>
                  <a:pt x="14343" y="18469"/>
                  <a:pt x="14375" y="18469"/>
                </a:cubicBezTo>
                <a:cubicBezTo>
                  <a:pt x="14406" y="18437"/>
                  <a:pt x="14437" y="18500"/>
                  <a:pt x="14437" y="18531"/>
                </a:cubicBezTo>
                <a:cubicBezTo>
                  <a:pt x="14468" y="18531"/>
                  <a:pt x="14468" y="18531"/>
                  <a:pt x="14437" y="18562"/>
                </a:cubicBezTo>
                <a:cubicBezTo>
                  <a:pt x="14375" y="18594"/>
                  <a:pt x="14437" y="18594"/>
                  <a:pt x="14468" y="18594"/>
                </a:cubicBezTo>
                <a:cubicBezTo>
                  <a:pt x="14500" y="18594"/>
                  <a:pt x="14500" y="18594"/>
                  <a:pt x="14531" y="18625"/>
                </a:cubicBezTo>
                <a:cubicBezTo>
                  <a:pt x="14312" y="18656"/>
                  <a:pt x="14125" y="18687"/>
                  <a:pt x="13906" y="18781"/>
                </a:cubicBezTo>
                <a:cubicBezTo>
                  <a:pt x="14093" y="18750"/>
                  <a:pt x="14281" y="18687"/>
                  <a:pt x="14468" y="18656"/>
                </a:cubicBezTo>
                <a:cubicBezTo>
                  <a:pt x="14562" y="18656"/>
                  <a:pt x="14625" y="18625"/>
                  <a:pt x="14718" y="18656"/>
                </a:cubicBezTo>
                <a:cubicBezTo>
                  <a:pt x="14718" y="18687"/>
                  <a:pt x="14718" y="18687"/>
                  <a:pt x="14687" y="18687"/>
                </a:cubicBezTo>
                <a:cubicBezTo>
                  <a:pt x="14500" y="18687"/>
                  <a:pt x="14343" y="18719"/>
                  <a:pt x="14156" y="18812"/>
                </a:cubicBezTo>
                <a:cubicBezTo>
                  <a:pt x="14156" y="18812"/>
                  <a:pt x="14156" y="18812"/>
                  <a:pt x="14156" y="18812"/>
                </a:cubicBezTo>
                <a:cubicBezTo>
                  <a:pt x="14031" y="18844"/>
                  <a:pt x="13937" y="18875"/>
                  <a:pt x="13812" y="18906"/>
                </a:cubicBezTo>
                <a:cubicBezTo>
                  <a:pt x="13656" y="18937"/>
                  <a:pt x="13500" y="18969"/>
                  <a:pt x="13375" y="19000"/>
                </a:cubicBezTo>
                <a:cubicBezTo>
                  <a:pt x="13312" y="19000"/>
                  <a:pt x="13281" y="19000"/>
                  <a:pt x="13312" y="18937"/>
                </a:cubicBezTo>
                <a:cubicBezTo>
                  <a:pt x="13312" y="18844"/>
                  <a:pt x="13343" y="18844"/>
                  <a:pt x="13406" y="18844"/>
                </a:cubicBezTo>
                <a:cubicBezTo>
                  <a:pt x="13468" y="18812"/>
                  <a:pt x="13531" y="18812"/>
                  <a:pt x="13593" y="18781"/>
                </a:cubicBezTo>
                <a:cubicBezTo>
                  <a:pt x="13593" y="18781"/>
                  <a:pt x="13625" y="18781"/>
                  <a:pt x="13625" y="18781"/>
                </a:cubicBezTo>
                <a:cubicBezTo>
                  <a:pt x="13625" y="18781"/>
                  <a:pt x="13625" y="18781"/>
                  <a:pt x="13625" y="18781"/>
                </a:cubicBezTo>
                <a:cubicBezTo>
                  <a:pt x="13625" y="18781"/>
                  <a:pt x="13656" y="18781"/>
                  <a:pt x="13656" y="18781"/>
                </a:cubicBezTo>
                <a:cubicBezTo>
                  <a:pt x="13656" y="18750"/>
                  <a:pt x="13656" y="18750"/>
                  <a:pt x="13656" y="18750"/>
                </a:cubicBezTo>
                <a:cubicBezTo>
                  <a:pt x="13687" y="18750"/>
                  <a:pt x="13750" y="18750"/>
                  <a:pt x="13781" y="18719"/>
                </a:cubicBezTo>
                <a:cubicBezTo>
                  <a:pt x="13781" y="18719"/>
                  <a:pt x="13781" y="18719"/>
                  <a:pt x="13781" y="18719"/>
                </a:cubicBezTo>
                <a:cubicBezTo>
                  <a:pt x="13812" y="18719"/>
                  <a:pt x="13812" y="18719"/>
                  <a:pt x="13812" y="18719"/>
                </a:cubicBezTo>
                <a:cubicBezTo>
                  <a:pt x="13812" y="18719"/>
                  <a:pt x="13843" y="18719"/>
                  <a:pt x="13843" y="18719"/>
                </a:cubicBezTo>
                <a:cubicBezTo>
                  <a:pt x="14000" y="18687"/>
                  <a:pt x="14156" y="18656"/>
                  <a:pt x="14312" y="18594"/>
                </a:cubicBezTo>
                <a:cubicBezTo>
                  <a:pt x="14343" y="18594"/>
                  <a:pt x="14375" y="18625"/>
                  <a:pt x="14375" y="18562"/>
                </a:cubicBezTo>
                <a:cubicBezTo>
                  <a:pt x="14375" y="18562"/>
                  <a:pt x="14343" y="18562"/>
                  <a:pt x="14312" y="18562"/>
                </a:cubicBezTo>
                <a:cubicBezTo>
                  <a:pt x="14125" y="18594"/>
                  <a:pt x="13968" y="18656"/>
                  <a:pt x="13781" y="18719"/>
                </a:cubicBezTo>
                <a:cubicBezTo>
                  <a:pt x="13750" y="18687"/>
                  <a:pt x="13687" y="18719"/>
                  <a:pt x="13656" y="18750"/>
                </a:cubicBezTo>
                <a:cubicBezTo>
                  <a:pt x="13625" y="18750"/>
                  <a:pt x="13593" y="18750"/>
                  <a:pt x="13593" y="18750"/>
                </a:cubicBezTo>
                <a:cubicBezTo>
                  <a:pt x="13593" y="18750"/>
                  <a:pt x="13562" y="18750"/>
                  <a:pt x="13562" y="18750"/>
                </a:cubicBezTo>
                <a:cubicBezTo>
                  <a:pt x="13562" y="18750"/>
                  <a:pt x="13562" y="18781"/>
                  <a:pt x="13531" y="18781"/>
                </a:cubicBezTo>
                <a:cubicBezTo>
                  <a:pt x="13531" y="18781"/>
                  <a:pt x="13531" y="18781"/>
                  <a:pt x="13531" y="18781"/>
                </a:cubicBezTo>
                <a:cubicBezTo>
                  <a:pt x="13468" y="18781"/>
                  <a:pt x="13437" y="18812"/>
                  <a:pt x="13375" y="18812"/>
                </a:cubicBezTo>
                <a:cubicBezTo>
                  <a:pt x="13343" y="18812"/>
                  <a:pt x="13312" y="18781"/>
                  <a:pt x="13312" y="18750"/>
                </a:cubicBezTo>
                <a:cubicBezTo>
                  <a:pt x="13406" y="18750"/>
                  <a:pt x="13500" y="18719"/>
                  <a:pt x="13593" y="18687"/>
                </a:cubicBezTo>
                <a:cubicBezTo>
                  <a:pt x="13593" y="18687"/>
                  <a:pt x="13625" y="18687"/>
                  <a:pt x="13656" y="18656"/>
                </a:cubicBezTo>
                <a:cubicBezTo>
                  <a:pt x="13656" y="18656"/>
                  <a:pt x="13687" y="18656"/>
                  <a:pt x="13687" y="18656"/>
                </a:cubicBezTo>
                <a:cubicBezTo>
                  <a:pt x="13687" y="18656"/>
                  <a:pt x="13687" y="18656"/>
                  <a:pt x="13687" y="18656"/>
                </a:cubicBezTo>
                <a:cubicBezTo>
                  <a:pt x="13656" y="18625"/>
                  <a:pt x="13656" y="18656"/>
                  <a:pt x="13656" y="18656"/>
                </a:cubicBezTo>
                <a:cubicBezTo>
                  <a:pt x="13625" y="18656"/>
                  <a:pt x="13593" y="18656"/>
                  <a:pt x="13562" y="18656"/>
                </a:cubicBezTo>
                <a:cubicBezTo>
                  <a:pt x="13468" y="18687"/>
                  <a:pt x="13406" y="18719"/>
                  <a:pt x="13312" y="18687"/>
                </a:cubicBezTo>
                <a:cubicBezTo>
                  <a:pt x="13312" y="18656"/>
                  <a:pt x="13343" y="18625"/>
                  <a:pt x="13375" y="18625"/>
                </a:cubicBezTo>
                <a:cubicBezTo>
                  <a:pt x="13562" y="18594"/>
                  <a:pt x="13750" y="18531"/>
                  <a:pt x="13937" y="18469"/>
                </a:cubicBezTo>
                <a:cubicBezTo>
                  <a:pt x="14031" y="18469"/>
                  <a:pt x="14093" y="18469"/>
                  <a:pt x="14156" y="18469"/>
                </a:cubicBezTo>
                <a:cubicBezTo>
                  <a:pt x="14187" y="18469"/>
                  <a:pt x="14218" y="18469"/>
                  <a:pt x="14218" y="18437"/>
                </a:cubicBezTo>
                <a:cubicBezTo>
                  <a:pt x="14218" y="18406"/>
                  <a:pt x="14187" y="18437"/>
                  <a:pt x="14156" y="18406"/>
                </a:cubicBezTo>
                <a:cubicBezTo>
                  <a:pt x="14031" y="18406"/>
                  <a:pt x="13906" y="18469"/>
                  <a:pt x="13781" y="18500"/>
                </a:cubicBezTo>
                <a:cubicBezTo>
                  <a:pt x="13656" y="18531"/>
                  <a:pt x="13500" y="18562"/>
                  <a:pt x="13343" y="18594"/>
                </a:cubicBezTo>
                <a:cubicBezTo>
                  <a:pt x="13343" y="18594"/>
                  <a:pt x="13343" y="18594"/>
                  <a:pt x="13312" y="18594"/>
                </a:cubicBezTo>
                <a:cubicBezTo>
                  <a:pt x="13343" y="18531"/>
                  <a:pt x="13250" y="18531"/>
                  <a:pt x="13250" y="18469"/>
                </a:cubicBezTo>
                <a:cubicBezTo>
                  <a:pt x="13500" y="18437"/>
                  <a:pt x="13718" y="18312"/>
                  <a:pt x="13968" y="18312"/>
                </a:cubicBezTo>
                <a:cubicBezTo>
                  <a:pt x="13937" y="18281"/>
                  <a:pt x="13906" y="18281"/>
                  <a:pt x="13875" y="18281"/>
                </a:cubicBezTo>
                <a:cubicBezTo>
                  <a:pt x="13781" y="18281"/>
                  <a:pt x="13687" y="18344"/>
                  <a:pt x="13562" y="18312"/>
                </a:cubicBezTo>
                <a:cubicBezTo>
                  <a:pt x="13562" y="18312"/>
                  <a:pt x="13562" y="18312"/>
                  <a:pt x="13562" y="18281"/>
                </a:cubicBezTo>
                <a:close/>
                <a:moveTo>
                  <a:pt x="14343" y="18125"/>
                </a:moveTo>
                <a:cubicBezTo>
                  <a:pt x="14312" y="18156"/>
                  <a:pt x="14312" y="18125"/>
                  <a:pt x="14312" y="18125"/>
                </a:cubicBezTo>
                <a:cubicBezTo>
                  <a:pt x="14312" y="18125"/>
                  <a:pt x="14343" y="18125"/>
                  <a:pt x="14343" y="18125"/>
                </a:cubicBezTo>
                <a:close/>
                <a:moveTo>
                  <a:pt x="14500" y="18469"/>
                </a:moveTo>
                <a:cubicBezTo>
                  <a:pt x="14500" y="18500"/>
                  <a:pt x="14531" y="18500"/>
                  <a:pt x="14562" y="18531"/>
                </a:cubicBezTo>
                <a:cubicBezTo>
                  <a:pt x="14500" y="18531"/>
                  <a:pt x="14500" y="18500"/>
                  <a:pt x="14468" y="18469"/>
                </a:cubicBezTo>
                <a:cubicBezTo>
                  <a:pt x="14468" y="18469"/>
                  <a:pt x="14500" y="18469"/>
                  <a:pt x="14500" y="18469"/>
                </a:cubicBezTo>
                <a:close/>
                <a:moveTo>
                  <a:pt x="14906" y="18750"/>
                </a:moveTo>
                <a:cubicBezTo>
                  <a:pt x="14937" y="18750"/>
                  <a:pt x="14937" y="18750"/>
                  <a:pt x="14968" y="18750"/>
                </a:cubicBezTo>
                <a:cubicBezTo>
                  <a:pt x="14968" y="18750"/>
                  <a:pt x="14968" y="18750"/>
                  <a:pt x="14968" y="18750"/>
                </a:cubicBezTo>
                <a:cubicBezTo>
                  <a:pt x="15000" y="18750"/>
                  <a:pt x="15031" y="18750"/>
                  <a:pt x="15062" y="18781"/>
                </a:cubicBezTo>
                <a:cubicBezTo>
                  <a:pt x="14968" y="18812"/>
                  <a:pt x="14875" y="18812"/>
                  <a:pt x="14812" y="18844"/>
                </a:cubicBezTo>
                <a:cubicBezTo>
                  <a:pt x="14687" y="18844"/>
                  <a:pt x="14562" y="18875"/>
                  <a:pt x="14437" y="18937"/>
                </a:cubicBezTo>
                <a:cubicBezTo>
                  <a:pt x="14437" y="18937"/>
                  <a:pt x="14406" y="18937"/>
                  <a:pt x="14375" y="18937"/>
                </a:cubicBezTo>
                <a:cubicBezTo>
                  <a:pt x="14375" y="18937"/>
                  <a:pt x="14375" y="18937"/>
                  <a:pt x="14375" y="18937"/>
                </a:cubicBezTo>
                <a:cubicBezTo>
                  <a:pt x="14375" y="18937"/>
                  <a:pt x="14375" y="18937"/>
                  <a:pt x="14375" y="18937"/>
                </a:cubicBezTo>
                <a:cubicBezTo>
                  <a:pt x="14312" y="18937"/>
                  <a:pt x="14281" y="18969"/>
                  <a:pt x="14250" y="19000"/>
                </a:cubicBezTo>
                <a:cubicBezTo>
                  <a:pt x="14156" y="19000"/>
                  <a:pt x="14062" y="19000"/>
                  <a:pt x="13968" y="19062"/>
                </a:cubicBezTo>
                <a:cubicBezTo>
                  <a:pt x="13781" y="19094"/>
                  <a:pt x="13593" y="19156"/>
                  <a:pt x="13406" y="19156"/>
                </a:cubicBezTo>
                <a:cubicBezTo>
                  <a:pt x="13406" y="19062"/>
                  <a:pt x="13500" y="19125"/>
                  <a:pt x="13531" y="19094"/>
                </a:cubicBezTo>
                <a:cubicBezTo>
                  <a:pt x="13531" y="19062"/>
                  <a:pt x="13500" y="19094"/>
                  <a:pt x="13468" y="19062"/>
                </a:cubicBezTo>
                <a:cubicBezTo>
                  <a:pt x="13406" y="19062"/>
                  <a:pt x="13343" y="19094"/>
                  <a:pt x="13281" y="19062"/>
                </a:cubicBezTo>
                <a:cubicBezTo>
                  <a:pt x="13281" y="19031"/>
                  <a:pt x="13312" y="19031"/>
                  <a:pt x="13343" y="19031"/>
                </a:cubicBezTo>
                <a:cubicBezTo>
                  <a:pt x="13500" y="19031"/>
                  <a:pt x="13687" y="18969"/>
                  <a:pt x="13843" y="18937"/>
                </a:cubicBezTo>
                <a:cubicBezTo>
                  <a:pt x="13843" y="18937"/>
                  <a:pt x="13843" y="18937"/>
                  <a:pt x="13843" y="18937"/>
                </a:cubicBezTo>
                <a:cubicBezTo>
                  <a:pt x="13968" y="18906"/>
                  <a:pt x="14093" y="18875"/>
                  <a:pt x="14187" y="18812"/>
                </a:cubicBezTo>
                <a:cubicBezTo>
                  <a:pt x="14343" y="18781"/>
                  <a:pt x="14468" y="18719"/>
                  <a:pt x="14625" y="18719"/>
                </a:cubicBezTo>
                <a:cubicBezTo>
                  <a:pt x="14718" y="18719"/>
                  <a:pt x="14781" y="18687"/>
                  <a:pt x="14875" y="18687"/>
                </a:cubicBezTo>
                <a:cubicBezTo>
                  <a:pt x="14906" y="18719"/>
                  <a:pt x="14875" y="18750"/>
                  <a:pt x="14906" y="18750"/>
                </a:cubicBezTo>
                <a:close/>
                <a:moveTo>
                  <a:pt x="14500" y="19031"/>
                </a:moveTo>
                <a:cubicBezTo>
                  <a:pt x="14625" y="19000"/>
                  <a:pt x="14750" y="18969"/>
                  <a:pt x="14875" y="18937"/>
                </a:cubicBezTo>
                <a:cubicBezTo>
                  <a:pt x="15000" y="18906"/>
                  <a:pt x="15125" y="18875"/>
                  <a:pt x="15250" y="18875"/>
                </a:cubicBezTo>
                <a:cubicBezTo>
                  <a:pt x="15281" y="18875"/>
                  <a:pt x="15281" y="18875"/>
                  <a:pt x="15312" y="18844"/>
                </a:cubicBezTo>
                <a:cubicBezTo>
                  <a:pt x="15312" y="18906"/>
                  <a:pt x="15375" y="18875"/>
                  <a:pt x="15343" y="18906"/>
                </a:cubicBezTo>
                <a:cubicBezTo>
                  <a:pt x="15343" y="18969"/>
                  <a:pt x="15281" y="18937"/>
                  <a:pt x="15250" y="18937"/>
                </a:cubicBezTo>
                <a:cubicBezTo>
                  <a:pt x="15000" y="18969"/>
                  <a:pt x="14750" y="19031"/>
                  <a:pt x="14500" y="19125"/>
                </a:cubicBezTo>
                <a:cubicBezTo>
                  <a:pt x="14437" y="19125"/>
                  <a:pt x="14375" y="19125"/>
                  <a:pt x="14343" y="19156"/>
                </a:cubicBezTo>
                <a:cubicBezTo>
                  <a:pt x="14250" y="19156"/>
                  <a:pt x="14187" y="19219"/>
                  <a:pt x="14093" y="19219"/>
                </a:cubicBezTo>
                <a:cubicBezTo>
                  <a:pt x="14000" y="19281"/>
                  <a:pt x="13875" y="19281"/>
                  <a:pt x="13781" y="19312"/>
                </a:cubicBezTo>
                <a:cubicBezTo>
                  <a:pt x="13625" y="19344"/>
                  <a:pt x="13468" y="19344"/>
                  <a:pt x="13312" y="19375"/>
                </a:cubicBezTo>
                <a:cubicBezTo>
                  <a:pt x="13312" y="19375"/>
                  <a:pt x="13250" y="19375"/>
                  <a:pt x="13250" y="19375"/>
                </a:cubicBezTo>
                <a:cubicBezTo>
                  <a:pt x="13281" y="19312"/>
                  <a:pt x="13187" y="19219"/>
                  <a:pt x="13312" y="19219"/>
                </a:cubicBezTo>
                <a:cubicBezTo>
                  <a:pt x="13468" y="19219"/>
                  <a:pt x="13625" y="19156"/>
                  <a:pt x="13781" y="19125"/>
                </a:cubicBezTo>
                <a:cubicBezTo>
                  <a:pt x="13843" y="19125"/>
                  <a:pt x="13906" y="19094"/>
                  <a:pt x="13968" y="19094"/>
                </a:cubicBezTo>
                <a:cubicBezTo>
                  <a:pt x="13968" y="19094"/>
                  <a:pt x="13968" y="19094"/>
                  <a:pt x="13968" y="19094"/>
                </a:cubicBezTo>
                <a:cubicBezTo>
                  <a:pt x="14125" y="19062"/>
                  <a:pt x="14250" y="19000"/>
                  <a:pt x="14406" y="18969"/>
                </a:cubicBezTo>
                <a:cubicBezTo>
                  <a:pt x="14406" y="18969"/>
                  <a:pt x="14406" y="18969"/>
                  <a:pt x="14437" y="18969"/>
                </a:cubicBezTo>
                <a:cubicBezTo>
                  <a:pt x="14437" y="18969"/>
                  <a:pt x="14437" y="18969"/>
                  <a:pt x="14437" y="18969"/>
                </a:cubicBezTo>
                <a:cubicBezTo>
                  <a:pt x="14656" y="18906"/>
                  <a:pt x="14843" y="18844"/>
                  <a:pt x="15062" y="18844"/>
                </a:cubicBezTo>
                <a:cubicBezTo>
                  <a:pt x="15125" y="18844"/>
                  <a:pt x="15187" y="18812"/>
                  <a:pt x="15250" y="18844"/>
                </a:cubicBezTo>
                <a:cubicBezTo>
                  <a:pt x="15281" y="18844"/>
                  <a:pt x="15281" y="18844"/>
                  <a:pt x="15281" y="18844"/>
                </a:cubicBezTo>
                <a:cubicBezTo>
                  <a:pt x="15281" y="18844"/>
                  <a:pt x="15281" y="18844"/>
                  <a:pt x="15250" y="18844"/>
                </a:cubicBezTo>
                <a:cubicBezTo>
                  <a:pt x="15250" y="18844"/>
                  <a:pt x="15218" y="18844"/>
                  <a:pt x="15218" y="18875"/>
                </a:cubicBezTo>
                <a:cubicBezTo>
                  <a:pt x="15000" y="18875"/>
                  <a:pt x="14750" y="18906"/>
                  <a:pt x="14531" y="19000"/>
                </a:cubicBezTo>
                <a:cubicBezTo>
                  <a:pt x="14468" y="19000"/>
                  <a:pt x="14375" y="19031"/>
                  <a:pt x="14312" y="19094"/>
                </a:cubicBezTo>
                <a:cubicBezTo>
                  <a:pt x="14375" y="19062"/>
                  <a:pt x="14437" y="19062"/>
                  <a:pt x="14500" y="19031"/>
                </a:cubicBezTo>
                <a:close/>
                <a:moveTo>
                  <a:pt x="13281" y="19125"/>
                </a:moveTo>
                <a:cubicBezTo>
                  <a:pt x="13312" y="19125"/>
                  <a:pt x="13375" y="19094"/>
                  <a:pt x="13375" y="19156"/>
                </a:cubicBezTo>
                <a:cubicBezTo>
                  <a:pt x="13343" y="19187"/>
                  <a:pt x="13312" y="19187"/>
                  <a:pt x="13281" y="19187"/>
                </a:cubicBezTo>
                <a:cubicBezTo>
                  <a:pt x="13250" y="19187"/>
                  <a:pt x="13281" y="19156"/>
                  <a:pt x="13281" y="19125"/>
                </a:cubicBezTo>
                <a:close/>
                <a:moveTo>
                  <a:pt x="13187" y="18406"/>
                </a:moveTo>
                <a:cubicBezTo>
                  <a:pt x="13281" y="18344"/>
                  <a:pt x="13375" y="18344"/>
                  <a:pt x="13500" y="18312"/>
                </a:cubicBezTo>
                <a:cubicBezTo>
                  <a:pt x="13500" y="18312"/>
                  <a:pt x="13531" y="18312"/>
                  <a:pt x="13562" y="18312"/>
                </a:cubicBezTo>
                <a:cubicBezTo>
                  <a:pt x="13562" y="18312"/>
                  <a:pt x="13562" y="18312"/>
                  <a:pt x="13562" y="18344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44"/>
                  <a:pt x="13562" y="18344"/>
                  <a:pt x="13562" y="18312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44"/>
                  <a:pt x="13562" y="18344"/>
                  <a:pt x="13562" y="18344"/>
                </a:cubicBezTo>
                <a:cubicBezTo>
                  <a:pt x="13562" y="18312"/>
                  <a:pt x="13562" y="18312"/>
                  <a:pt x="13562" y="18312"/>
                </a:cubicBezTo>
                <a:cubicBezTo>
                  <a:pt x="13437" y="18406"/>
                  <a:pt x="13312" y="18437"/>
                  <a:pt x="13187" y="18406"/>
                </a:cubicBezTo>
                <a:close/>
                <a:moveTo>
                  <a:pt x="12187" y="19750"/>
                </a:moveTo>
                <a:cubicBezTo>
                  <a:pt x="12187" y="19750"/>
                  <a:pt x="12156" y="19750"/>
                  <a:pt x="12156" y="19750"/>
                </a:cubicBezTo>
                <a:cubicBezTo>
                  <a:pt x="12156" y="19750"/>
                  <a:pt x="12187" y="19750"/>
                  <a:pt x="12187" y="19750"/>
                </a:cubicBezTo>
                <a:close/>
                <a:moveTo>
                  <a:pt x="9968" y="19750"/>
                </a:moveTo>
                <a:cubicBezTo>
                  <a:pt x="9937" y="19750"/>
                  <a:pt x="9906" y="19750"/>
                  <a:pt x="9843" y="19750"/>
                </a:cubicBezTo>
                <a:cubicBezTo>
                  <a:pt x="9781" y="19750"/>
                  <a:pt x="9750" y="19750"/>
                  <a:pt x="9687" y="19719"/>
                </a:cubicBezTo>
                <a:cubicBezTo>
                  <a:pt x="9687" y="19719"/>
                  <a:pt x="9656" y="19687"/>
                  <a:pt x="9656" y="19687"/>
                </a:cubicBezTo>
                <a:cubicBezTo>
                  <a:pt x="9593" y="19687"/>
                  <a:pt x="9593" y="19656"/>
                  <a:pt x="9562" y="19594"/>
                </a:cubicBezTo>
                <a:cubicBezTo>
                  <a:pt x="9718" y="19625"/>
                  <a:pt x="9843" y="19719"/>
                  <a:pt x="9968" y="19750"/>
                </a:cubicBezTo>
                <a:close/>
                <a:moveTo>
                  <a:pt x="9718" y="19750"/>
                </a:moveTo>
                <a:cubicBezTo>
                  <a:pt x="9718" y="19781"/>
                  <a:pt x="9687" y="19781"/>
                  <a:pt x="9687" y="19781"/>
                </a:cubicBezTo>
                <a:cubicBezTo>
                  <a:pt x="9625" y="19781"/>
                  <a:pt x="9593" y="19781"/>
                  <a:pt x="9593" y="19687"/>
                </a:cubicBezTo>
                <a:cubicBezTo>
                  <a:pt x="9625" y="19719"/>
                  <a:pt x="9656" y="19719"/>
                  <a:pt x="9687" y="19719"/>
                </a:cubicBezTo>
                <a:cubicBezTo>
                  <a:pt x="9687" y="19719"/>
                  <a:pt x="9718" y="19750"/>
                  <a:pt x="9718" y="19750"/>
                </a:cubicBezTo>
                <a:close/>
                <a:moveTo>
                  <a:pt x="9500" y="19594"/>
                </a:moveTo>
                <a:cubicBezTo>
                  <a:pt x="9562" y="19656"/>
                  <a:pt x="9562" y="19719"/>
                  <a:pt x="9531" y="19781"/>
                </a:cubicBezTo>
                <a:cubicBezTo>
                  <a:pt x="9531" y="19750"/>
                  <a:pt x="9531" y="19719"/>
                  <a:pt x="9500" y="19719"/>
                </a:cubicBezTo>
                <a:cubicBezTo>
                  <a:pt x="9468" y="19750"/>
                  <a:pt x="9500" y="19781"/>
                  <a:pt x="9500" y="19812"/>
                </a:cubicBezTo>
                <a:cubicBezTo>
                  <a:pt x="9468" y="19812"/>
                  <a:pt x="9468" y="19750"/>
                  <a:pt x="9437" y="19750"/>
                </a:cubicBezTo>
                <a:cubicBezTo>
                  <a:pt x="9406" y="19781"/>
                  <a:pt x="9437" y="19812"/>
                  <a:pt x="9406" y="19844"/>
                </a:cubicBezTo>
                <a:cubicBezTo>
                  <a:pt x="9437" y="19750"/>
                  <a:pt x="9343" y="19781"/>
                  <a:pt x="9343" y="19750"/>
                </a:cubicBezTo>
                <a:cubicBezTo>
                  <a:pt x="9375" y="19719"/>
                  <a:pt x="9406" y="19719"/>
                  <a:pt x="9437" y="19719"/>
                </a:cubicBezTo>
                <a:cubicBezTo>
                  <a:pt x="9500" y="19687"/>
                  <a:pt x="9500" y="19625"/>
                  <a:pt x="9500" y="19594"/>
                </a:cubicBezTo>
                <a:close/>
                <a:moveTo>
                  <a:pt x="9437" y="20312"/>
                </a:moveTo>
                <a:cubicBezTo>
                  <a:pt x="9437" y="20312"/>
                  <a:pt x="9437" y="20312"/>
                  <a:pt x="9437" y="20312"/>
                </a:cubicBezTo>
                <a:cubicBezTo>
                  <a:pt x="9406" y="20312"/>
                  <a:pt x="9406" y="20281"/>
                  <a:pt x="9406" y="20281"/>
                </a:cubicBezTo>
                <a:cubicBezTo>
                  <a:pt x="9343" y="20281"/>
                  <a:pt x="9437" y="20344"/>
                  <a:pt x="9375" y="20344"/>
                </a:cubicBezTo>
                <a:cubicBezTo>
                  <a:pt x="9343" y="20375"/>
                  <a:pt x="9375" y="20312"/>
                  <a:pt x="9343" y="20312"/>
                </a:cubicBezTo>
                <a:cubicBezTo>
                  <a:pt x="9343" y="20375"/>
                  <a:pt x="9250" y="20437"/>
                  <a:pt x="9218" y="20406"/>
                </a:cubicBezTo>
                <a:cubicBezTo>
                  <a:pt x="9187" y="20406"/>
                  <a:pt x="9187" y="20375"/>
                  <a:pt x="9156" y="20344"/>
                </a:cubicBezTo>
                <a:cubicBezTo>
                  <a:pt x="9156" y="20312"/>
                  <a:pt x="9187" y="20281"/>
                  <a:pt x="9125" y="20281"/>
                </a:cubicBezTo>
                <a:cubicBezTo>
                  <a:pt x="9156" y="20344"/>
                  <a:pt x="9156" y="20375"/>
                  <a:pt x="9156" y="20406"/>
                </a:cubicBezTo>
                <a:cubicBezTo>
                  <a:pt x="9187" y="20437"/>
                  <a:pt x="9187" y="20437"/>
                  <a:pt x="9156" y="20437"/>
                </a:cubicBezTo>
                <a:cubicBezTo>
                  <a:pt x="9156" y="20469"/>
                  <a:pt x="9125" y="20437"/>
                  <a:pt x="9125" y="20437"/>
                </a:cubicBezTo>
                <a:cubicBezTo>
                  <a:pt x="9125" y="20406"/>
                  <a:pt x="9093" y="20375"/>
                  <a:pt x="9062" y="20312"/>
                </a:cubicBezTo>
                <a:cubicBezTo>
                  <a:pt x="9062" y="20344"/>
                  <a:pt x="9062" y="20375"/>
                  <a:pt x="9062" y="20406"/>
                </a:cubicBezTo>
                <a:cubicBezTo>
                  <a:pt x="9093" y="20406"/>
                  <a:pt x="9093" y="20437"/>
                  <a:pt x="9031" y="20437"/>
                </a:cubicBezTo>
                <a:cubicBezTo>
                  <a:pt x="9031" y="20437"/>
                  <a:pt x="9031" y="20437"/>
                  <a:pt x="9031" y="20437"/>
                </a:cubicBezTo>
                <a:cubicBezTo>
                  <a:pt x="9031" y="20437"/>
                  <a:pt x="9031" y="20437"/>
                  <a:pt x="9031" y="20437"/>
                </a:cubicBezTo>
                <a:cubicBezTo>
                  <a:pt x="9031" y="20406"/>
                  <a:pt x="9031" y="20344"/>
                  <a:pt x="9000" y="20312"/>
                </a:cubicBezTo>
                <a:cubicBezTo>
                  <a:pt x="9000" y="20281"/>
                  <a:pt x="8968" y="20312"/>
                  <a:pt x="8968" y="20312"/>
                </a:cubicBezTo>
                <a:cubicBezTo>
                  <a:pt x="8968" y="20344"/>
                  <a:pt x="8968" y="20344"/>
                  <a:pt x="8968" y="20344"/>
                </a:cubicBezTo>
                <a:cubicBezTo>
                  <a:pt x="8968" y="20219"/>
                  <a:pt x="8843" y="20156"/>
                  <a:pt x="8843" y="20062"/>
                </a:cubicBezTo>
                <a:cubicBezTo>
                  <a:pt x="8812" y="20000"/>
                  <a:pt x="8812" y="19937"/>
                  <a:pt x="8750" y="19906"/>
                </a:cubicBezTo>
                <a:cubicBezTo>
                  <a:pt x="8718" y="19875"/>
                  <a:pt x="8687" y="19844"/>
                  <a:pt x="8656" y="19812"/>
                </a:cubicBezTo>
                <a:cubicBezTo>
                  <a:pt x="8656" y="19812"/>
                  <a:pt x="8625" y="19781"/>
                  <a:pt x="8625" y="19750"/>
                </a:cubicBezTo>
                <a:cubicBezTo>
                  <a:pt x="8625" y="19750"/>
                  <a:pt x="8656" y="19750"/>
                  <a:pt x="8656" y="19750"/>
                </a:cubicBezTo>
                <a:cubicBezTo>
                  <a:pt x="8687" y="19750"/>
                  <a:pt x="8750" y="19812"/>
                  <a:pt x="8781" y="19812"/>
                </a:cubicBezTo>
                <a:cubicBezTo>
                  <a:pt x="8906" y="19812"/>
                  <a:pt x="9000" y="19781"/>
                  <a:pt x="9062" y="19719"/>
                </a:cubicBezTo>
                <a:cubicBezTo>
                  <a:pt x="9156" y="19625"/>
                  <a:pt x="9281" y="19594"/>
                  <a:pt x="9375" y="19594"/>
                </a:cubicBezTo>
                <a:cubicBezTo>
                  <a:pt x="9437" y="19562"/>
                  <a:pt x="9437" y="19594"/>
                  <a:pt x="9437" y="19625"/>
                </a:cubicBezTo>
                <a:cubicBezTo>
                  <a:pt x="9437" y="19656"/>
                  <a:pt x="9437" y="19656"/>
                  <a:pt x="9406" y="19656"/>
                </a:cubicBezTo>
                <a:cubicBezTo>
                  <a:pt x="9343" y="19594"/>
                  <a:pt x="9281" y="19656"/>
                  <a:pt x="9218" y="19656"/>
                </a:cubicBezTo>
                <a:cubicBezTo>
                  <a:pt x="9187" y="19656"/>
                  <a:pt x="9218" y="19687"/>
                  <a:pt x="9218" y="19719"/>
                </a:cubicBezTo>
                <a:cubicBezTo>
                  <a:pt x="9218" y="19750"/>
                  <a:pt x="9156" y="19687"/>
                  <a:pt x="9156" y="19750"/>
                </a:cubicBezTo>
                <a:cubicBezTo>
                  <a:pt x="9187" y="19750"/>
                  <a:pt x="9218" y="19781"/>
                  <a:pt x="9218" y="19812"/>
                </a:cubicBezTo>
                <a:cubicBezTo>
                  <a:pt x="9218" y="19875"/>
                  <a:pt x="9250" y="19906"/>
                  <a:pt x="9312" y="19937"/>
                </a:cubicBezTo>
                <a:cubicBezTo>
                  <a:pt x="9343" y="20000"/>
                  <a:pt x="9343" y="20062"/>
                  <a:pt x="9375" y="20094"/>
                </a:cubicBezTo>
                <a:cubicBezTo>
                  <a:pt x="9406" y="20156"/>
                  <a:pt x="9437" y="20219"/>
                  <a:pt x="9437" y="20281"/>
                </a:cubicBezTo>
                <a:cubicBezTo>
                  <a:pt x="9437" y="20281"/>
                  <a:pt x="9437" y="20312"/>
                  <a:pt x="9437" y="20312"/>
                </a:cubicBezTo>
                <a:close/>
                <a:moveTo>
                  <a:pt x="13937" y="20437"/>
                </a:moveTo>
                <a:cubicBezTo>
                  <a:pt x="13875" y="20437"/>
                  <a:pt x="13843" y="20437"/>
                  <a:pt x="13812" y="20469"/>
                </a:cubicBezTo>
                <a:cubicBezTo>
                  <a:pt x="13812" y="20469"/>
                  <a:pt x="13812" y="20469"/>
                  <a:pt x="13781" y="20437"/>
                </a:cubicBezTo>
                <a:cubicBezTo>
                  <a:pt x="13781" y="20437"/>
                  <a:pt x="13781" y="20406"/>
                  <a:pt x="13812" y="20406"/>
                </a:cubicBezTo>
                <a:cubicBezTo>
                  <a:pt x="13843" y="20375"/>
                  <a:pt x="13875" y="20375"/>
                  <a:pt x="13937" y="20437"/>
                </a:cubicBezTo>
                <a:close/>
                <a:moveTo>
                  <a:pt x="13812" y="20219"/>
                </a:moveTo>
                <a:cubicBezTo>
                  <a:pt x="13812" y="20156"/>
                  <a:pt x="13812" y="20094"/>
                  <a:pt x="13875" y="20062"/>
                </a:cubicBezTo>
                <a:cubicBezTo>
                  <a:pt x="13843" y="20094"/>
                  <a:pt x="13843" y="20156"/>
                  <a:pt x="13812" y="20219"/>
                </a:cubicBezTo>
                <a:close/>
                <a:moveTo>
                  <a:pt x="13875" y="19812"/>
                </a:moveTo>
                <a:cubicBezTo>
                  <a:pt x="13906" y="19812"/>
                  <a:pt x="13906" y="19781"/>
                  <a:pt x="13906" y="19781"/>
                </a:cubicBezTo>
                <a:cubicBezTo>
                  <a:pt x="13906" y="19781"/>
                  <a:pt x="13906" y="19812"/>
                  <a:pt x="13875" y="19812"/>
                </a:cubicBezTo>
                <a:cubicBezTo>
                  <a:pt x="13906" y="19812"/>
                  <a:pt x="13906" y="19812"/>
                  <a:pt x="13906" y="19812"/>
                </a:cubicBezTo>
                <a:cubicBezTo>
                  <a:pt x="13875" y="19937"/>
                  <a:pt x="13812" y="20031"/>
                  <a:pt x="13781" y="20125"/>
                </a:cubicBezTo>
                <a:cubicBezTo>
                  <a:pt x="13750" y="20187"/>
                  <a:pt x="13750" y="20250"/>
                  <a:pt x="13718" y="20344"/>
                </a:cubicBezTo>
                <a:cubicBezTo>
                  <a:pt x="13687" y="20406"/>
                  <a:pt x="13656" y="20437"/>
                  <a:pt x="13593" y="20437"/>
                </a:cubicBezTo>
                <a:cubicBezTo>
                  <a:pt x="13437" y="20437"/>
                  <a:pt x="13281" y="20437"/>
                  <a:pt x="13125" y="20437"/>
                </a:cubicBezTo>
                <a:cubicBezTo>
                  <a:pt x="12656" y="20437"/>
                  <a:pt x="12218" y="20437"/>
                  <a:pt x="11750" y="20437"/>
                </a:cubicBezTo>
                <a:cubicBezTo>
                  <a:pt x="11437" y="20437"/>
                  <a:pt x="11125" y="20437"/>
                  <a:pt x="10812" y="20437"/>
                </a:cubicBezTo>
                <a:cubicBezTo>
                  <a:pt x="10656" y="20437"/>
                  <a:pt x="10500" y="20437"/>
                  <a:pt x="10343" y="20437"/>
                </a:cubicBezTo>
                <a:cubicBezTo>
                  <a:pt x="10125" y="20437"/>
                  <a:pt x="9937" y="20437"/>
                  <a:pt x="9718" y="20469"/>
                </a:cubicBezTo>
                <a:cubicBezTo>
                  <a:pt x="9562" y="20469"/>
                  <a:pt x="9531" y="20437"/>
                  <a:pt x="9500" y="20281"/>
                </a:cubicBezTo>
                <a:cubicBezTo>
                  <a:pt x="9468" y="20250"/>
                  <a:pt x="9468" y="20187"/>
                  <a:pt x="9437" y="20156"/>
                </a:cubicBezTo>
                <a:cubicBezTo>
                  <a:pt x="9406" y="20062"/>
                  <a:pt x="9375" y="19937"/>
                  <a:pt x="9281" y="19875"/>
                </a:cubicBezTo>
                <a:cubicBezTo>
                  <a:pt x="9250" y="19844"/>
                  <a:pt x="9250" y="19781"/>
                  <a:pt x="9312" y="19750"/>
                </a:cubicBezTo>
                <a:cubicBezTo>
                  <a:pt x="9312" y="19844"/>
                  <a:pt x="9375" y="19875"/>
                  <a:pt x="9437" y="19875"/>
                </a:cubicBezTo>
                <a:cubicBezTo>
                  <a:pt x="9812" y="19781"/>
                  <a:pt x="10156" y="19812"/>
                  <a:pt x="10531" y="19812"/>
                </a:cubicBezTo>
                <a:cubicBezTo>
                  <a:pt x="10968" y="19781"/>
                  <a:pt x="11437" y="19781"/>
                  <a:pt x="11875" y="19781"/>
                </a:cubicBezTo>
                <a:cubicBezTo>
                  <a:pt x="12406" y="19781"/>
                  <a:pt x="12937" y="19781"/>
                  <a:pt x="13437" y="19781"/>
                </a:cubicBezTo>
                <a:cubicBezTo>
                  <a:pt x="13531" y="19781"/>
                  <a:pt x="13625" y="19781"/>
                  <a:pt x="13718" y="19812"/>
                </a:cubicBezTo>
                <a:cubicBezTo>
                  <a:pt x="13781" y="19844"/>
                  <a:pt x="13812" y="19844"/>
                  <a:pt x="13875" y="19812"/>
                </a:cubicBezTo>
                <a:close/>
                <a:moveTo>
                  <a:pt x="13562" y="19656"/>
                </a:moveTo>
                <a:cubicBezTo>
                  <a:pt x="13562" y="19625"/>
                  <a:pt x="13531" y="19656"/>
                  <a:pt x="13531" y="19625"/>
                </a:cubicBezTo>
                <a:cubicBezTo>
                  <a:pt x="13500" y="19625"/>
                  <a:pt x="13468" y="19625"/>
                  <a:pt x="13468" y="19562"/>
                </a:cubicBezTo>
                <a:cubicBezTo>
                  <a:pt x="13500" y="19562"/>
                  <a:pt x="13562" y="19562"/>
                  <a:pt x="13625" y="19562"/>
                </a:cubicBezTo>
                <a:cubicBezTo>
                  <a:pt x="13625" y="19562"/>
                  <a:pt x="13625" y="19531"/>
                  <a:pt x="13625" y="19562"/>
                </a:cubicBezTo>
                <a:cubicBezTo>
                  <a:pt x="13656" y="19562"/>
                  <a:pt x="13625" y="19562"/>
                  <a:pt x="13625" y="19562"/>
                </a:cubicBezTo>
                <a:cubicBezTo>
                  <a:pt x="13625" y="19594"/>
                  <a:pt x="13625" y="19625"/>
                  <a:pt x="13593" y="19656"/>
                </a:cubicBezTo>
                <a:cubicBezTo>
                  <a:pt x="13593" y="19656"/>
                  <a:pt x="13593" y="19687"/>
                  <a:pt x="13593" y="19687"/>
                </a:cubicBezTo>
                <a:cubicBezTo>
                  <a:pt x="13562" y="19687"/>
                  <a:pt x="13562" y="19656"/>
                  <a:pt x="13562" y="19656"/>
                </a:cubicBezTo>
                <a:close/>
                <a:moveTo>
                  <a:pt x="15343" y="19094"/>
                </a:moveTo>
                <a:cubicBezTo>
                  <a:pt x="15218" y="19125"/>
                  <a:pt x="15093" y="19156"/>
                  <a:pt x="14968" y="19156"/>
                </a:cubicBezTo>
                <a:cubicBezTo>
                  <a:pt x="14781" y="19219"/>
                  <a:pt x="14593" y="19281"/>
                  <a:pt x="14437" y="19344"/>
                </a:cubicBezTo>
                <a:cubicBezTo>
                  <a:pt x="14218" y="19375"/>
                  <a:pt x="14031" y="19437"/>
                  <a:pt x="13812" y="19500"/>
                </a:cubicBezTo>
                <a:cubicBezTo>
                  <a:pt x="13687" y="19531"/>
                  <a:pt x="13562" y="19531"/>
                  <a:pt x="13437" y="19531"/>
                </a:cubicBezTo>
                <a:cubicBezTo>
                  <a:pt x="13406" y="19562"/>
                  <a:pt x="13375" y="19531"/>
                  <a:pt x="13375" y="19531"/>
                </a:cubicBezTo>
                <a:cubicBezTo>
                  <a:pt x="13375" y="19500"/>
                  <a:pt x="13375" y="19500"/>
                  <a:pt x="13406" y="19500"/>
                </a:cubicBezTo>
                <a:cubicBezTo>
                  <a:pt x="13500" y="19469"/>
                  <a:pt x="13625" y="19437"/>
                  <a:pt x="13750" y="19437"/>
                </a:cubicBezTo>
                <a:cubicBezTo>
                  <a:pt x="13750" y="19437"/>
                  <a:pt x="13781" y="19437"/>
                  <a:pt x="13812" y="19406"/>
                </a:cubicBezTo>
                <a:cubicBezTo>
                  <a:pt x="13656" y="19406"/>
                  <a:pt x="13500" y="19469"/>
                  <a:pt x="13343" y="19469"/>
                </a:cubicBezTo>
                <a:cubicBezTo>
                  <a:pt x="13343" y="19469"/>
                  <a:pt x="13343" y="19469"/>
                  <a:pt x="13343" y="19500"/>
                </a:cubicBezTo>
                <a:cubicBezTo>
                  <a:pt x="13312" y="19469"/>
                  <a:pt x="13281" y="19469"/>
                  <a:pt x="13250" y="19437"/>
                </a:cubicBezTo>
                <a:cubicBezTo>
                  <a:pt x="13250" y="19406"/>
                  <a:pt x="13281" y="19406"/>
                  <a:pt x="13312" y="19406"/>
                </a:cubicBezTo>
                <a:cubicBezTo>
                  <a:pt x="13500" y="19406"/>
                  <a:pt x="13687" y="19344"/>
                  <a:pt x="13843" y="19312"/>
                </a:cubicBezTo>
                <a:cubicBezTo>
                  <a:pt x="13937" y="19312"/>
                  <a:pt x="14031" y="19281"/>
                  <a:pt x="14125" y="19250"/>
                </a:cubicBezTo>
                <a:cubicBezTo>
                  <a:pt x="14125" y="19250"/>
                  <a:pt x="14156" y="19250"/>
                  <a:pt x="14187" y="19250"/>
                </a:cubicBezTo>
                <a:cubicBezTo>
                  <a:pt x="14218" y="19219"/>
                  <a:pt x="14312" y="19219"/>
                  <a:pt x="14343" y="19187"/>
                </a:cubicBezTo>
                <a:cubicBezTo>
                  <a:pt x="14437" y="19187"/>
                  <a:pt x="14468" y="19125"/>
                  <a:pt x="14562" y="19125"/>
                </a:cubicBezTo>
                <a:cubicBezTo>
                  <a:pt x="14812" y="19062"/>
                  <a:pt x="15062" y="19000"/>
                  <a:pt x="15312" y="18969"/>
                </a:cubicBezTo>
                <a:cubicBezTo>
                  <a:pt x="15343" y="18937"/>
                  <a:pt x="15406" y="18969"/>
                  <a:pt x="15468" y="18937"/>
                </a:cubicBezTo>
                <a:cubicBezTo>
                  <a:pt x="15500" y="18937"/>
                  <a:pt x="15500" y="18969"/>
                  <a:pt x="15500" y="19000"/>
                </a:cubicBezTo>
                <a:cubicBezTo>
                  <a:pt x="15500" y="19031"/>
                  <a:pt x="15468" y="19031"/>
                  <a:pt x="15437" y="19031"/>
                </a:cubicBezTo>
                <a:cubicBezTo>
                  <a:pt x="15250" y="19031"/>
                  <a:pt x="15062" y="19094"/>
                  <a:pt x="14906" y="19125"/>
                </a:cubicBezTo>
                <a:cubicBezTo>
                  <a:pt x="14812" y="19156"/>
                  <a:pt x="14687" y="19187"/>
                  <a:pt x="14593" y="19219"/>
                </a:cubicBezTo>
                <a:lnTo>
                  <a:pt x="14593" y="19219"/>
                </a:lnTo>
                <a:cubicBezTo>
                  <a:pt x="14875" y="19094"/>
                  <a:pt x="15187" y="19000"/>
                  <a:pt x="15500" y="19000"/>
                </a:cubicBezTo>
                <a:cubicBezTo>
                  <a:pt x="15531" y="19000"/>
                  <a:pt x="15562" y="19031"/>
                  <a:pt x="15625" y="19062"/>
                </a:cubicBezTo>
                <a:cubicBezTo>
                  <a:pt x="15531" y="19094"/>
                  <a:pt x="15437" y="19094"/>
                  <a:pt x="15343" y="19094"/>
                </a:cubicBezTo>
                <a:close/>
                <a:moveTo>
                  <a:pt x="16187" y="19375"/>
                </a:moveTo>
                <a:cubicBezTo>
                  <a:pt x="16187" y="19375"/>
                  <a:pt x="16218" y="19406"/>
                  <a:pt x="16218" y="19437"/>
                </a:cubicBezTo>
                <a:cubicBezTo>
                  <a:pt x="16218" y="19406"/>
                  <a:pt x="16187" y="19375"/>
                  <a:pt x="16187" y="19375"/>
                </a:cubicBezTo>
                <a:close/>
                <a:moveTo>
                  <a:pt x="16562" y="20187"/>
                </a:moveTo>
                <a:cubicBezTo>
                  <a:pt x="16593" y="20187"/>
                  <a:pt x="16593" y="20219"/>
                  <a:pt x="16593" y="20219"/>
                </a:cubicBezTo>
                <a:cubicBezTo>
                  <a:pt x="16593" y="20219"/>
                  <a:pt x="16593" y="20187"/>
                  <a:pt x="16562" y="20187"/>
                </a:cubicBezTo>
                <a:close/>
                <a:moveTo>
                  <a:pt x="16656" y="19437"/>
                </a:moveTo>
                <a:cubicBezTo>
                  <a:pt x="16656" y="19437"/>
                  <a:pt x="16656" y="19406"/>
                  <a:pt x="16656" y="19406"/>
                </a:cubicBezTo>
                <a:cubicBezTo>
                  <a:pt x="16656" y="19406"/>
                  <a:pt x="16656" y="19406"/>
                  <a:pt x="16656" y="19406"/>
                </a:cubicBezTo>
                <a:lnTo>
                  <a:pt x="16656" y="19437"/>
                </a:lnTo>
                <a:close/>
                <a:moveTo>
                  <a:pt x="16781" y="19594"/>
                </a:moveTo>
                <a:cubicBezTo>
                  <a:pt x="16812" y="19594"/>
                  <a:pt x="16812" y="19562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ubicBezTo>
                  <a:pt x="16812" y="19562"/>
                  <a:pt x="16812" y="19594"/>
                  <a:pt x="16781" y="19594"/>
                </a:cubicBezTo>
                <a:close/>
                <a:moveTo>
                  <a:pt x="16781" y="19437"/>
                </a:moveTo>
                <a:cubicBezTo>
                  <a:pt x="16781" y="19437"/>
                  <a:pt x="16781" y="19437"/>
                  <a:pt x="16781" y="19406"/>
                </a:cubicBezTo>
                <a:cubicBezTo>
                  <a:pt x="16781" y="19406"/>
                  <a:pt x="16781" y="19406"/>
                  <a:pt x="16781" y="19406"/>
                </a:cubicBezTo>
                <a:cubicBezTo>
                  <a:pt x="16781" y="19437"/>
                  <a:pt x="16781" y="19437"/>
                  <a:pt x="16781" y="19437"/>
                </a:cubicBezTo>
                <a:close/>
                <a:moveTo>
                  <a:pt x="16781" y="19406"/>
                </a:moveTo>
                <a:cubicBezTo>
                  <a:pt x="16781" y="19406"/>
                  <a:pt x="16781" y="19406"/>
                  <a:pt x="16781" y="19406"/>
                </a:cubicBezTo>
                <a:cubicBezTo>
                  <a:pt x="16812" y="19406"/>
                  <a:pt x="16812" y="19406"/>
                  <a:pt x="16812" y="19406"/>
                </a:cubicBezTo>
                <a:cubicBezTo>
                  <a:pt x="16812" y="19406"/>
                  <a:pt x="16812" y="19406"/>
                  <a:pt x="16781" y="19406"/>
                </a:cubicBezTo>
                <a:close/>
                <a:moveTo>
                  <a:pt x="16812" y="19531"/>
                </a:moveTo>
                <a:cubicBezTo>
                  <a:pt x="16812" y="19531"/>
                  <a:pt x="16812" y="19531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ubicBezTo>
                  <a:pt x="16812" y="19531"/>
                  <a:pt x="16812" y="19531"/>
                  <a:pt x="16812" y="19531"/>
                </a:cubicBezTo>
                <a:close/>
                <a:moveTo>
                  <a:pt x="17437" y="20344"/>
                </a:moveTo>
                <a:cubicBezTo>
                  <a:pt x="17437" y="20344"/>
                  <a:pt x="17437" y="20344"/>
                  <a:pt x="17406" y="20344"/>
                </a:cubicBezTo>
                <a:cubicBezTo>
                  <a:pt x="17343" y="20312"/>
                  <a:pt x="17250" y="20281"/>
                  <a:pt x="17156" y="20281"/>
                </a:cubicBezTo>
                <a:cubicBezTo>
                  <a:pt x="17156" y="20312"/>
                  <a:pt x="17156" y="20312"/>
                  <a:pt x="17156" y="20312"/>
                </a:cubicBezTo>
                <a:cubicBezTo>
                  <a:pt x="17218" y="20344"/>
                  <a:pt x="17281" y="20344"/>
                  <a:pt x="17343" y="20344"/>
                </a:cubicBezTo>
                <a:cubicBezTo>
                  <a:pt x="17375" y="20375"/>
                  <a:pt x="17406" y="20375"/>
                  <a:pt x="17375" y="20406"/>
                </a:cubicBezTo>
                <a:cubicBezTo>
                  <a:pt x="17375" y="20406"/>
                  <a:pt x="17406" y="20406"/>
                  <a:pt x="17406" y="20437"/>
                </a:cubicBezTo>
                <a:cubicBezTo>
                  <a:pt x="17406" y="20406"/>
                  <a:pt x="17375" y="20406"/>
                  <a:pt x="17375" y="20406"/>
                </a:cubicBezTo>
                <a:cubicBezTo>
                  <a:pt x="17375" y="20406"/>
                  <a:pt x="17375" y="20406"/>
                  <a:pt x="17375" y="20437"/>
                </a:cubicBezTo>
                <a:cubicBezTo>
                  <a:pt x="17312" y="20406"/>
                  <a:pt x="17250" y="20406"/>
                  <a:pt x="17187" y="20406"/>
                </a:cubicBezTo>
                <a:cubicBezTo>
                  <a:pt x="17218" y="20437"/>
                  <a:pt x="17281" y="20437"/>
                  <a:pt x="17312" y="20437"/>
                </a:cubicBezTo>
                <a:cubicBezTo>
                  <a:pt x="17312" y="20500"/>
                  <a:pt x="17375" y="20437"/>
                  <a:pt x="17406" y="20469"/>
                </a:cubicBezTo>
                <a:cubicBezTo>
                  <a:pt x="17343" y="20500"/>
                  <a:pt x="17281" y="20531"/>
                  <a:pt x="17218" y="20500"/>
                </a:cubicBezTo>
                <a:cubicBezTo>
                  <a:pt x="17218" y="20500"/>
                  <a:pt x="17218" y="20500"/>
                  <a:pt x="17218" y="20500"/>
                </a:cubicBezTo>
                <a:cubicBezTo>
                  <a:pt x="17187" y="20500"/>
                  <a:pt x="17156" y="20469"/>
                  <a:pt x="17125" y="20469"/>
                </a:cubicBezTo>
                <a:cubicBezTo>
                  <a:pt x="17125" y="20437"/>
                  <a:pt x="17093" y="20437"/>
                  <a:pt x="17062" y="20437"/>
                </a:cubicBezTo>
                <a:cubicBezTo>
                  <a:pt x="17062" y="20406"/>
                  <a:pt x="17062" y="20375"/>
                  <a:pt x="17093" y="20375"/>
                </a:cubicBezTo>
                <a:cubicBezTo>
                  <a:pt x="17093" y="20375"/>
                  <a:pt x="17093" y="20406"/>
                  <a:pt x="17125" y="20375"/>
                </a:cubicBezTo>
                <a:lnTo>
                  <a:pt x="17125" y="20375"/>
                </a:lnTo>
                <a:cubicBezTo>
                  <a:pt x="17125" y="20344"/>
                  <a:pt x="17093" y="20344"/>
                  <a:pt x="17093" y="20312"/>
                </a:cubicBezTo>
                <a:cubicBezTo>
                  <a:pt x="17125" y="20312"/>
                  <a:pt x="17125" y="20312"/>
                  <a:pt x="17156" y="20312"/>
                </a:cubicBezTo>
                <a:cubicBezTo>
                  <a:pt x="17156" y="20312"/>
                  <a:pt x="17156" y="20312"/>
                  <a:pt x="17156" y="20281"/>
                </a:cubicBezTo>
                <a:cubicBezTo>
                  <a:pt x="17125" y="20281"/>
                  <a:pt x="17093" y="20281"/>
                  <a:pt x="17125" y="20219"/>
                </a:cubicBezTo>
                <a:cubicBezTo>
                  <a:pt x="17218" y="20219"/>
                  <a:pt x="17343" y="20250"/>
                  <a:pt x="17437" y="20250"/>
                </a:cubicBezTo>
                <a:cubicBezTo>
                  <a:pt x="17468" y="20250"/>
                  <a:pt x="17468" y="20250"/>
                  <a:pt x="17500" y="20250"/>
                </a:cubicBezTo>
                <a:cubicBezTo>
                  <a:pt x="17468" y="20281"/>
                  <a:pt x="17468" y="20312"/>
                  <a:pt x="17437" y="20344"/>
                </a:cubicBezTo>
                <a:close/>
                <a:moveTo>
                  <a:pt x="17781" y="20094"/>
                </a:moveTo>
                <a:cubicBezTo>
                  <a:pt x="17781" y="20094"/>
                  <a:pt x="17781" y="20094"/>
                  <a:pt x="17781" y="20094"/>
                </a:cubicBezTo>
                <a:cubicBezTo>
                  <a:pt x="17781" y="20094"/>
                  <a:pt x="17781" y="20094"/>
                  <a:pt x="17781" y="20094"/>
                </a:cubicBezTo>
                <a:cubicBezTo>
                  <a:pt x="17656" y="20062"/>
                  <a:pt x="17562" y="20031"/>
                  <a:pt x="17437" y="20000"/>
                </a:cubicBezTo>
                <a:cubicBezTo>
                  <a:pt x="17500" y="20094"/>
                  <a:pt x="17562" y="20062"/>
                  <a:pt x="17625" y="20094"/>
                </a:cubicBezTo>
                <a:cubicBezTo>
                  <a:pt x="17562" y="20156"/>
                  <a:pt x="17500" y="20094"/>
                  <a:pt x="17406" y="20125"/>
                </a:cubicBezTo>
                <a:cubicBezTo>
                  <a:pt x="17437" y="20156"/>
                  <a:pt x="17500" y="20156"/>
                  <a:pt x="17531" y="20156"/>
                </a:cubicBezTo>
                <a:cubicBezTo>
                  <a:pt x="17562" y="20187"/>
                  <a:pt x="17593" y="20187"/>
                  <a:pt x="17593" y="20219"/>
                </a:cubicBezTo>
                <a:cubicBezTo>
                  <a:pt x="17562" y="20219"/>
                  <a:pt x="17562" y="20219"/>
                  <a:pt x="17531" y="20219"/>
                </a:cubicBezTo>
                <a:cubicBezTo>
                  <a:pt x="17531" y="20219"/>
                  <a:pt x="17531" y="20219"/>
                  <a:pt x="17531" y="20219"/>
                </a:cubicBezTo>
                <a:cubicBezTo>
                  <a:pt x="17500" y="20219"/>
                  <a:pt x="17500" y="20219"/>
                  <a:pt x="17468" y="20219"/>
                </a:cubicBezTo>
                <a:cubicBezTo>
                  <a:pt x="17468" y="20187"/>
                  <a:pt x="17437" y="20187"/>
                  <a:pt x="17406" y="20187"/>
                </a:cubicBezTo>
                <a:cubicBezTo>
                  <a:pt x="17312" y="20187"/>
                  <a:pt x="17218" y="20187"/>
                  <a:pt x="17125" y="20156"/>
                </a:cubicBezTo>
                <a:cubicBezTo>
                  <a:pt x="17125" y="20187"/>
                  <a:pt x="17125" y="20187"/>
                  <a:pt x="17125" y="20219"/>
                </a:cubicBezTo>
                <a:cubicBezTo>
                  <a:pt x="17125" y="20187"/>
                  <a:pt x="17125" y="20187"/>
                  <a:pt x="17125" y="20156"/>
                </a:cubicBezTo>
                <a:cubicBezTo>
                  <a:pt x="17125" y="20156"/>
                  <a:pt x="17125" y="20156"/>
                  <a:pt x="17125" y="20125"/>
                </a:cubicBezTo>
                <a:cubicBezTo>
                  <a:pt x="17156" y="20125"/>
                  <a:pt x="17187" y="20125"/>
                  <a:pt x="17218" y="20094"/>
                </a:cubicBezTo>
                <a:cubicBezTo>
                  <a:pt x="17187" y="20094"/>
                  <a:pt x="17156" y="20062"/>
                  <a:pt x="17156" y="20031"/>
                </a:cubicBezTo>
                <a:cubicBezTo>
                  <a:pt x="17187" y="20000"/>
                  <a:pt x="17187" y="19969"/>
                  <a:pt x="17218" y="19937"/>
                </a:cubicBezTo>
                <a:cubicBezTo>
                  <a:pt x="17218" y="19937"/>
                  <a:pt x="17218" y="19937"/>
                  <a:pt x="17218" y="19906"/>
                </a:cubicBezTo>
                <a:cubicBezTo>
                  <a:pt x="17218" y="19937"/>
                  <a:pt x="17218" y="19937"/>
                  <a:pt x="17218" y="19937"/>
                </a:cubicBezTo>
                <a:cubicBezTo>
                  <a:pt x="17343" y="19969"/>
                  <a:pt x="17468" y="19937"/>
                  <a:pt x="17593" y="19969"/>
                </a:cubicBezTo>
                <a:cubicBezTo>
                  <a:pt x="17718" y="20000"/>
                  <a:pt x="17843" y="20031"/>
                  <a:pt x="17968" y="20094"/>
                </a:cubicBezTo>
                <a:cubicBezTo>
                  <a:pt x="17906" y="20156"/>
                  <a:pt x="17843" y="20094"/>
                  <a:pt x="17781" y="20094"/>
                </a:cubicBezTo>
                <a:cubicBezTo>
                  <a:pt x="17781" y="20094"/>
                  <a:pt x="17781" y="20094"/>
                  <a:pt x="17781" y="20094"/>
                </a:cubicBezTo>
                <a:close/>
                <a:moveTo>
                  <a:pt x="17218" y="19875"/>
                </a:moveTo>
                <a:cubicBezTo>
                  <a:pt x="17281" y="19844"/>
                  <a:pt x="17375" y="19875"/>
                  <a:pt x="17468" y="19906"/>
                </a:cubicBezTo>
                <a:cubicBezTo>
                  <a:pt x="17468" y="19906"/>
                  <a:pt x="17500" y="19906"/>
                  <a:pt x="17500" y="19906"/>
                </a:cubicBezTo>
                <a:cubicBezTo>
                  <a:pt x="17468" y="19937"/>
                  <a:pt x="17437" y="19937"/>
                  <a:pt x="17375" y="19906"/>
                </a:cubicBezTo>
                <a:cubicBezTo>
                  <a:pt x="17312" y="19906"/>
                  <a:pt x="17250" y="19937"/>
                  <a:pt x="17218" y="19875"/>
                </a:cubicBezTo>
                <a:close/>
                <a:moveTo>
                  <a:pt x="17906" y="20219"/>
                </a:moveTo>
                <a:cubicBezTo>
                  <a:pt x="17875" y="20219"/>
                  <a:pt x="17843" y="20219"/>
                  <a:pt x="17812" y="20219"/>
                </a:cubicBezTo>
                <a:cubicBezTo>
                  <a:pt x="17812" y="20187"/>
                  <a:pt x="17781" y="20187"/>
                  <a:pt x="17781" y="20156"/>
                </a:cubicBezTo>
                <a:cubicBezTo>
                  <a:pt x="17781" y="20156"/>
                  <a:pt x="17781" y="20156"/>
                  <a:pt x="17781" y="20156"/>
                </a:cubicBezTo>
                <a:cubicBezTo>
                  <a:pt x="17781" y="20156"/>
                  <a:pt x="17781" y="20125"/>
                  <a:pt x="17781" y="20125"/>
                </a:cubicBezTo>
                <a:cubicBezTo>
                  <a:pt x="17843" y="20125"/>
                  <a:pt x="17906" y="20187"/>
                  <a:pt x="17968" y="20187"/>
                </a:cubicBezTo>
                <a:cubicBezTo>
                  <a:pt x="17968" y="20219"/>
                  <a:pt x="17937" y="20250"/>
                  <a:pt x="17906" y="20219"/>
                </a:cubicBezTo>
                <a:close/>
                <a:moveTo>
                  <a:pt x="17968" y="20094"/>
                </a:moveTo>
                <a:cubicBezTo>
                  <a:pt x="17968" y="20125"/>
                  <a:pt x="17968" y="20125"/>
                  <a:pt x="17968" y="20125"/>
                </a:cubicBezTo>
                <a:cubicBezTo>
                  <a:pt x="17968" y="20125"/>
                  <a:pt x="17968" y="20125"/>
                  <a:pt x="17968" y="20094"/>
                </a:cubicBezTo>
                <a:close/>
                <a:moveTo>
                  <a:pt x="18156" y="19750"/>
                </a:moveTo>
                <a:cubicBezTo>
                  <a:pt x="18062" y="19750"/>
                  <a:pt x="18000" y="19687"/>
                  <a:pt x="17937" y="19625"/>
                </a:cubicBezTo>
                <a:cubicBezTo>
                  <a:pt x="17937" y="19625"/>
                  <a:pt x="17937" y="19625"/>
                  <a:pt x="17937" y="19625"/>
                </a:cubicBezTo>
                <a:cubicBezTo>
                  <a:pt x="17906" y="19656"/>
                  <a:pt x="17875" y="19625"/>
                  <a:pt x="17843" y="19656"/>
                </a:cubicBezTo>
                <a:cubicBezTo>
                  <a:pt x="17812" y="19687"/>
                  <a:pt x="17781" y="19687"/>
                  <a:pt x="17781" y="19750"/>
                </a:cubicBezTo>
                <a:cubicBezTo>
                  <a:pt x="17781" y="19812"/>
                  <a:pt x="17812" y="19844"/>
                  <a:pt x="17875" y="19844"/>
                </a:cubicBezTo>
                <a:cubicBezTo>
                  <a:pt x="17906" y="19875"/>
                  <a:pt x="17937" y="19875"/>
                  <a:pt x="17968" y="19906"/>
                </a:cubicBezTo>
                <a:cubicBezTo>
                  <a:pt x="18000" y="19906"/>
                  <a:pt x="18000" y="19906"/>
                  <a:pt x="18000" y="19937"/>
                </a:cubicBezTo>
                <a:cubicBezTo>
                  <a:pt x="18000" y="19969"/>
                  <a:pt x="17968" y="19937"/>
                  <a:pt x="17968" y="19937"/>
                </a:cubicBezTo>
                <a:cubicBezTo>
                  <a:pt x="17906" y="19937"/>
                  <a:pt x="17843" y="19875"/>
                  <a:pt x="17750" y="19875"/>
                </a:cubicBezTo>
                <a:cubicBezTo>
                  <a:pt x="17750" y="19875"/>
                  <a:pt x="17750" y="19875"/>
                  <a:pt x="17750" y="19875"/>
                </a:cubicBezTo>
                <a:cubicBezTo>
                  <a:pt x="17718" y="19750"/>
                  <a:pt x="17593" y="19781"/>
                  <a:pt x="17531" y="19781"/>
                </a:cubicBezTo>
                <a:cubicBezTo>
                  <a:pt x="17531" y="19781"/>
                  <a:pt x="17500" y="19781"/>
                  <a:pt x="17500" y="19750"/>
                </a:cubicBezTo>
                <a:cubicBezTo>
                  <a:pt x="17500" y="19750"/>
                  <a:pt x="17500" y="19750"/>
                  <a:pt x="17500" y="19750"/>
                </a:cubicBezTo>
                <a:cubicBezTo>
                  <a:pt x="17531" y="19687"/>
                  <a:pt x="17562" y="19625"/>
                  <a:pt x="17656" y="19625"/>
                </a:cubicBezTo>
                <a:cubicBezTo>
                  <a:pt x="17812" y="19562"/>
                  <a:pt x="17812" y="19594"/>
                  <a:pt x="17937" y="19625"/>
                </a:cubicBezTo>
                <a:lnTo>
                  <a:pt x="17937" y="19625"/>
                </a:lnTo>
                <a:cubicBezTo>
                  <a:pt x="17937" y="19625"/>
                  <a:pt x="17937" y="19625"/>
                  <a:pt x="17937" y="19625"/>
                </a:cubicBezTo>
                <a:cubicBezTo>
                  <a:pt x="17937" y="19625"/>
                  <a:pt x="17968" y="19625"/>
                  <a:pt x="18000" y="19625"/>
                </a:cubicBezTo>
                <a:cubicBezTo>
                  <a:pt x="17968" y="19625"/>
                  <a:pt x="17968" y="19594"/>
                  <a:pt x="17937" y="19594"/>
                </a:cubicBezTo>
                <a:cubicBezTo>
                  <a:pt x="17968" y="19562"/>
                  <a:pt x="18000" y="19594"/>
                  <a:pt x="18031" y="19594"/>
                </a:cubicBezTo>
                <a:cubicBezTo>
                  <a:pt x="18031" y="19531"/>
                  <a:pt x="18000" y="19531"/>
                  <a:pt x="17968" y="19531"/>
                </a:cubicBezTo>
                <a:cubicBezTo>
                  <a:pt x="17937" y="19531"/>
                  <a:pt x="17937" y="19531"/>
                  <a:pt x="17906" y="19531"/>
                </a:cubicBezTo>
                <a:cubicBezTo>
                  <a:pt x="17750" y="19500"/>
                  <a:pt x="17593" y="19500"/>
                  <a:pt x="17468" y="19469"/>
                </a:cubicBezTo>
                <a:cubicBezTo>
                  <a:pt x="17437" y="19469"/>
                  <a:pt x="17406" y="19469"/>
                  <a:pt x="17406" y="19469"/>
                </a:cubicBezTo>
                <a:cubicBezTo>
                  <a:pt x="17406" y="19500"/>
                  <a:pt x="17406" y="19531"/>
                  <a:pt x="17437" y="19531"/>
                </a:cubicBezTo>
                <a:cubicBezTo>
                  <a:pt x="17500" y="19531"/>
                  <a:pt x="17500" y="19594"/>
                  <a:pt x="17500" y="19625"/>
                </a:cubicBezTo>
                <a:cubicBezTo>
                  <a:pt x="17500" y="19656"/>
                  <a:pt x="17437" y="19625"/>
                  <a:pt x="17406" y="19656"/>
                </a:cubicBezTo>
                <a:cubicBezTo>
                  <a:pt x="17406" y="19656"/>
                  <a:pt x="17406" y="19656"/>
                  <a:pt x="17406" y="19656"/>
                </a:cubicBezTo>
                <a:cubicBezTo>
                  <a:pt x="17437" y="19656"/>
                  <a:pt x="17468" y="19625"/>
                  <a:pt x="17468" y="19687"/>
                </a:cubicBezTo>
                <a:cubicBezTo>
                  <a:pt x="17468" y="19687"/>
                  <a:pt x="17437" y="19687"/>
                  <a:pt x="17406" y="19687"/>
                </a:cubicBezTo>
                <a:cubicBezTo>
                  <a:pt x="17375" y="19687"/>
                  <a:pt x="17312" y="19687"/>
                  <a:pt x="17312" y="19750"/>
                </a:cubicBezTo>
                <a:cubicBezTo>
                  <a:pt x="17281" y="19781"/>
                  <a:pt x="17250" y="19750"/>
                  <a:pt x="17250" y="19687"/>
                </a:cubicBezTo>
                <a:cubicBezTo>
                  <a:pt x="17281" y="19562"/>
                  <a:pt x="17187" y="19469"/>
                  <a:pt x="17093" y="19406"/>
                </a:cubicBezTo>
                <a:cubicBezTo>
                  <a:pt x="17000" y="19375"/>
                  <a:pt x="16937" y="19312"/>
                  <a:pt x="16843" y="19312"/>
                </a:cubicBezTo>
                <a:cubicBezTo>
                  <a:pt x="16781" y="19312"/>
                  <a:pt x="16718" y="19281"/>
                  <a:pt x="16687" y="19281"/>
                </a:cubicBezTo>
                <a:cubicBezTo>
                  <a:pt x="16562" y="19281"/>
                  <a:pt x="16468" y="19281"/>
                  <a:pt x="16375" y="19312"/>
                </a:cubicBezTo>
                <a:cubicBezTo>
                  <a:pt x="16343" y="19312"/>
                  <a:pt x="16312" y="19344"/>
                  <a:pt x="16312" y="19375"/>
                </a:cubicBezTo>
                <a:cubicBezTo>
                  <a:pt x="16312" y="19406"/>
                  <a:pt x="16281" y="19375"/>
                  <a:pt x="16281" y="19375"/>
                </a:cubicBezTo>
                <a:cubicBezTo>
                  <a:pt x="16218" y="19312"/>
                  <a:pt x="16125" y="19250"/>
                  <a:pt x="16062" y="19219"/>
                </a:cubicBezTo>
                <a:cubicBezTo>
                  <a:pt x="16000" y="19187"/>
                  <a:pt x="15906" y="19156"/>
                  <a:pt x="15843" y="19094"/>
                </a:cubicBezTo>
                <a:cubicBezTo>
                  <a:pt x="15843" y="19094"/>
                  <a:pt x="15843" y="19094"/>
                  <a:pt x="15812" y="19094"/>
                </a:cubicBezTo>
                <a:cubicBezTo>
                  <a:pt x="15750" y="19000"/>
                  <a:pt x="15656" y="19000"/>
                  <a:pt x="15562" y="18937"/>
                </a:cubicBezTo>
                <a:cubicBezTo>
                  <a:pt x="15406" y="18875"/>
                  <a:pt x="15312" y="18781"/>
                  <a:pt x="15187" y="18656"/>
                </a:cubicBezTo>
                <a:cubicBezTo>
                  <a:pt x="15156" y="18625"/>
                  <a:pt x="15125" y="18562"/>
                  <a:pt x="15062" y="18531"/>
                </a:cubicBezTo>
                <a:cubicBezTo>
                  <a:pt x="15062" y="18500"/>
                  <a:pt x="14968" y="18500"/>
                  <a:pt x="14937" y="18531"/>
                </a:cubicBezTo>
                <a:cubicBezTo>
                  <a:pt x="14906" y="18531"/>
                  <a:pt x="14906" y="18531"/>
                  <a:pt x="14906" y="18531"/>
                </a:cubicBezTo>
                <a:cubicBezTo>
                  <a:pt x="14875" y="18531"/>
                  <a:pt x="14875" y="18562"/>
                  <a:pt x="14875" y="18562"/>
                </a:cubicBezTo>
                <a:cubicBezTo>
                  <a:pt x="14875" y="18562"/>
                  <a:pt x="14875" y="18562"/>
                  <a:pt x="14843" y="18562"/>
                </a:cubicBezTo>
                <a:cubicBezTo>
                  <a:pt x="14843" y="18562"/>
                  <a:pt x="14875" y="18594"/>
                  <a:pt x="14875" y="18594"/>
                </a:cubicBezTo>
                <a:cubicBezTo>
                  <a:pt x="14875" y="18594"/>
                  <a:pt x="14843" y="18562"/>
                  <a:pt x="14843" y="18562"/>
                </a:cubicBezTo>
                <a:cubicBezTo>
                  <a:pt x="14843" y="18562"/>
                  <a:pt x="14812" y="18562"/>
                  <a:pt x="14781" y="18562"/>
                </a:cubicBezTo>
                <a:cubicBezTo>
                  <a:pt x="14750" y="18562"/>
                  <a:pt x="14718" y="18562"/>
                  <a:pt x="14687" y="18531"/>
                </a:cubicBezTo>
                <a:cubicBezTo>
                  <a:pt x="14625" y="18531"/>
                  <a:pt x="14562" y="18469"/>
                  <a:pt x="14500" y="18469"/>
                </a:cubicBezTo>
                <a:cubicBezTo>
                  <a:pt x="14500" y="18437"/>
                  <a:pt x="14500" y="18406"/>
                  <a:pt x="14468" y="18406"/>
                </a:cubicBezTo>
                <a:cubicBezTo>
                  <a:pt x="14437" y="18406"/>
                  <a:pt x="14437" y="18406"/>
                  <a:pt x="14437" y="18375"/>
                </a:cubicBezTo>
                <a:cubicBezTo>
                  <a:pt x="14437" y="18375"/>
                  <a:pt x="14468" y="18375"/>
                  <a:pt x="14468" y="18375"/>
                </a:cubicBezTo>
                <a:cubicBezTo>
                  <a:pt x="14531" y="18437"/>
                  <a:pt x="14625" y="18469"/>
                  <a:pt x="14687" y="18500"/>
                </a:cubicBezTo>
                <a:cubicBezTo>
                  <a:pt x="14750" y="18531"/>
                  <a:pt x="14781" y="18531"/>
                  <a:pt x="14812" y="18469"/>
                </a:cubicBezTo>
                <a:cubicBezTo>
                  <a:pt x="14843" y="18469"/>
                  <a:pt x="14843" y="18469"/>
                  <a:pt x="14875" y="18469"/>
                </a:cubicBezTo>
                <a:cubicBezTo>
                  <a:pt x="14906" y="18469"/>
                  <a:pt x="14906" y="18469"/>
                  <a:pt x="14937" y="18437"/>
                </a:cubicBezTo>
                <a:cubicBezTo>
                  <a:pt x="14968" y="18437"/>
                  <a:pt x="15031" y="18406"/>
                  <a:pt x="15062" y="18437"/>
                </a:cubicBezTo>
                <a:cubicBezTo>
                  <a:pt x="15125" y="18437"/>
                  <a:pt x="15093" y="18406"/>
                  <a:pt x="15093" y="18406"/>
                </a:cubicBezTo>
                <a:cubicBezTo>
                  <a:pt x="15125" y="18406"/>
                  <a:pt x="15125" y="18406"/>
                  <a:pt x="15156" y="18406"/>
                </a:cubicBezTo>
                <a:cubicBezTo>
                  <a:pt x="15187" y="18437"/>
                  <a:pt x="15093" y="18437"/>
                  <a:pt x="15125" y="18469"/>
                </a:cubicBezTo>
                <a:cubicBezTo>
                  <a:pt x="15156" y="18469"/>
                  <a:pt x="15187" y="18437"/>
                  <a:pt x="15187" y="18437"/>
                </a:cubicBezTo>
                <a:cubicBezTo>
                  <a:pt x="15250" y="18437"/>
                  <a:pt x="15281" y="18437"/>
                  <a:pt x="15281" y="18469"/>
                </a:cubicBezTo>
                <a:cubicBezTo>
                  <a:pt x="15312" y="18469"/>
                  <a:pt x="15312" y="18469"/>
                  <a:pt x="15343" y="18469"/>
                </a:cubicBezTo>
                <a:cubicBezTo>
                  <a:pt x="15406" y="18469"/>
                  <a:pt x="15437" y="18469"/>
                  <a:pt x="15468" y="18469"/>
                </a:cubicBezTo>
                <a:cubicBezTo>
                  <a:pt x="15500" y="18469"/>
                  <a:pt x="15531" y="18469"/>
                  <a:pt x="15531" y="18469"/>
                </a:cubicBezTo>
                <a:cubicBezTo>
                  <a:pt x="15531" y="18437"/>
                  <a:pt x="15500" y="18437"/>
                  <a:pt x="15500" y="18437"/>
                </a:cubicBezTo>
                <a:cubicBezTo>
                  <a:pt x="15468" y="18406"/>
                  <a:pt x="15468" y="18437"/>
                  <a:pt x="15468" y="18406"/>
                </a:cubicBezTo>
                <a:cubicBezTo>
                  <a:pt x="15468" y="18375"/>
                  <a:pt x="15500" y="18406"/>
                  <a:pt x="15531" y="18375"/>
                </a:cubicBezTo>
                <a:cubicBezTo>
                  <a:pt x="15500" y="18344"/>
                  <a:pt x="15437" y="18375"/>
                  <a:pt x="15406" y="18344"/>
                </a:cubicBezTo>
                <a:cubicBezTo>
                  <a:pt x="15406" y="18375"/>
                  <a:pt x="15437" y="18406"/>
                  <a:pt x="15437" y="18406"/>
                </a:cubicBezTo>
                <a:cubicBezTo>
                  <a:pt x="15375" y="18437"/>
                  <a:pt x="15343" y="18437"/>
                  <a:pt x="15312" y="18406"/>
                </a:cubicBezTo>
                <a:cubicBezTo>
                  <a:pt x="15312" y="18375"/>
                  <a:pt x="15343" y="18375"/>
                  <a:pt x="15343" y="18344"/>
                </a:cubicBezTo>
                <a:cubicBezTo>
                  <a:pt x="15312" y="18344"/>
                  <a:pt x="15312" y="18344"/>
                  <a:pt x="15281" y="18344"/>
                </a:cubicBezTo>
                <a:cubicBezTo>
                  <a:pt x="15250" y="18281"/>
                  <a:pt x="15156" y="18344"/>
                  <a:pt x="15125" y="18250"/>
                </a:cubicBezTo>
                <a:cubicBezTo>
                  <a:pt x="15187" y="18250"/>
                  <a:pt x="15250" y="18281"/>
                  <a:pt x="15312" y="18281"/>
                </a:cubicBezTo>
                <a:cubicBezTo>
                  <a:pt x="15406" y="18312"/>
                  <a:pt x="15468" y="18344"/>
                  <a:pt x="15562" y="18312"/>
                </a:cubicBezTo>
                <a:cubicBezTo>
                  <a:pt x="15562" y="18281"/>
                  <a:pt x="15531" y="18312"/>
                  <a:pt x="15500" y="18281"/>
                </a:cubicBezTo>
                <a:cubicBezTo>
                  <a:pt x="15437" y="18281"/>
                  <a:pt x="15343" y="18250"/>
                  <a:pt x="15281" y="18250"/>
                </a:cubicBezTo>
                <a:cubicBezTo>
                  <a:pt x="15156" y="18219"/>
                  <a:pt x="15062" y="18125"/>
                  <a:pt x="14937" y="18125"/>
                </a:cubicBezTo>
                <a:cubicBezTo>
                  <a:pt x="14937" y="18125"/>
                  <a:pt x="14937" y="18125"/>
                  <a:pt x="14937" y="18094"/>
                </a:cubicBezTo>
                <a:cubicBezTo>
                  <a:pt x="14968" y="18094"/>
                  <a:pt x="15000" y="18094"/>
                  <a:pt x="15062" y="18094"/>
                </a:cubicBezTo>
                <a:cubicBezTo>
                  <a:pt x="15062" y="18094"/>
                  <a:pt x="15062" y="18094"/>
                  <a:pt x="15062" y="18094"/>
                </a:cubicBezTo>
                <a:cubicBezTo>
                  <a:pt x="15156" y="18156"/>
                  <a:pt x="15250" y="18187"/>
                  <a:pt x="15343" y="18219"/>
                </a:cubicBezTo>
                <a:cubicBezTo>
                  <a:pt x="15468" y="18250"/>
                  <a:pt x="15593" y="18281"/>
                  <a:pt x="15718" y="18281"/>
                </a:cubicBezTo>
                <a:cubicBezTo>
                  <a:pt x="15718" y="18437"/>
                  <a:pt x="15687" y="18594"/>
                  <a:pt x="15781" y="18687"/>
                </a:cubicBezTo>
                <a:cubicBezTo>
                  <a:pt x="15781" y="18719"/>
                  <a:pt x="15781" y="18719"/>
                  <a:pt x="15812" y="18719"/>
                </a:cubicBezTo>
                <a:cubicBezTo>
                  <a:pt x="15812" y="18750"/>
                  <a:pt x="15812" y="18750"/>
                  <a:pt x="15812" y="18750"/>
                </a:cubicBezTo>
                <a:cubicBezTo>
                  <a:pt x="15812" y="18750"/>
                  <a:pt x="15812" y="18750"/>
                  <a:pt x="15812" y="18750"/>
                </a:cubicBezTo>
                <a:cubicBezTo>
                  <a:pt x="15812" y="18812"/>
                  <a:pt x="15875" y="18844"/>
                  <a:pt x="15906" y="18844"/>
                </a:cubicBezTo>
                <a:cubicBezTo>
                  <a:pt x="15906" y="18844"/>
                  <a:pt x="15906" y="18844"/>
                  <a:pt x="15906" y="18844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06" y="18844"/>
                  <a:pt x="15906" y="18844"/>
                </a:cubicBezTo>
                <a:cubicBezTo>
                  <a:pt x="15906" y="18844"/>
                  <a:pt x="15906" y="18875"/>
                  <a:pt x="15906" y="18875"/>
                </a:cubicBezTo>
                <a:cubicBezTo>
                  <a:pt x="15906" y="18875"/>
                  <a:pt x="15906" y="18875"/>
                  <a:pt x="15906" y="18875"/>
                </a:cubicBezTo>
                <a:cubicBezTo>
                  <a:pt x="15906" y="18875"/>
                  <a:pt x="15937" y="18844"/>
                  <a:pt x="15937" y="18844"/>
                </a:cubicBezTo>
                <a:cubicBezTo>
                  <a:pt x="15937" y="18875"/>
                  <a:pt x="15937" y="18875"/>
                  <a:pt x="15968" y="18875"/>
                </a:cubicBezTo>
                <a:cubicBezTo>
                  <a:pt x="15968" y="18906"/>
                  <a:pt x="16000" y="18906"/>
                  <a:pt x="16031" y="18906"/>
                </a:cubicBezTo>
                <a:cubicBezTo>
                  <a:pt x="16062" y="18937"/>
                  <a:pt x="16093" y="18937"/>
                  <a:pt x="16156" y="18937"/>
                </a:cubicBezTo>
                <a:cubicBezTo>
                  <a:pt x="16156" y="18937"/>
                  <a:pt x="16156" y="18969"/>
                  <a:pt x="16187" y="18969"/>
                </a:cubicBezTo>
                <a:cubicBezTo>
                  <a:pt x="16187" y="18969"/>
                  <a:pt x="16187" y="18969"/>
                  <a:pt x="16187" y="18969"/>
                </a:cubicBezTo>
                <a:cubicBezTo>
                  <a:pt x="16187" y="18969"/>
                  <a:pt x="16218" y="18969"/>
                  <a:pt x="16250" y="19000"/>
                </a:cubicBezTo>
                <a:cubicBezTo>
                  <a:pt x="16250" y="19000"/>
                  <a:pt x="16250" y="19000"/>
                  <a:pt x="16250" y="19000"/>
                </a:cubicBezTo>
                <a:cubicBezTo>
                  <a:pt x="16250" y="19000"/>
                  <a:pt x="16250" y="19000"/>
                  <a:pt x="16281" y="19000"/>
                </a:cubicBezTo>
                <a:cubicBezTo>
                  <a:pt x="16281" y="19062"/>
                  <a:pt x="16281" y="19094"/>
                  <a:pt x="16250" y="19125"/>
                </a:cubicBezTo>
                <a:cubicBezTo>
                  <a:pt x="16218" y="19125"/>
                  <a:pt x="16187" y="19094"/>
                  <a:pt x="16156" y="19094"/>
                </a:cubicBezTo>
                <a:cubicBezTo>
                  <a:pt x="16093" y="19094"/>
                  <a:pt x="16062" y="19062"/>
                  <a:pt x="16000" y="19031"/>
                </a:cubicBezTo>
                <a:cubicBezTo>
                  <a:pt x="15968" y="19000"/>
                  <a:pt x="15937" y="19000"/>
                  <a:pt x="15937" y="18937"/>
                </a:cubicBezTo>
                <a:cubicBezTo>
                  <a:pt x="15968" y="18937"/>
                  <a:pt x="15968" y="18937"/>
                  <a:pt x="16000" y="18937"/>
                </a:cubicBezTo>
                <a:cubicBezTo>
                  <a:pt x="15968" y="18937"/>
                  <a:pt x="15968" y="18937"/>
                  <a:pt x="15937" y="18937"/>
                </a:cubicBezTo>
                <a:cubicBezTo>
                  <a:pt x="15906" y="18969"/>
                  <a:pt x="15875" y="18969"/>
                  <a:pt x="15843" y="18937"/>
                </a:cubicBezTo>
                <a:cubicBezTo>
                  <a:pt x="15812" y="18937"/>
                  <a:pt x="15812" y="18906"/>
                  <a:pt x="15750" y="18906"/>
                </a:cubicBezTo>
                <a:cubicBezTo>
                  <a:pt x="15718" y="18906"/>
                  <a:pt x="15718" y="18875"/>
                  <a:pt x="15750" y="18844"/>
                </a:cubicBezTo>
                <a:cubicBezTo>
                  <a:pt x="15781" y="18844"/>
                  <a:pt x="15781" y="18844"/>
                  <a:pt x="15812" y="18812"/>
                </a:cubicBezTo>
                <a:lnTo>
                  <a:pt x="15812" y="18812"/>
                </a:lnTo>
                <a:cubicBezTo>
                  <a:pt x="15781" y="18844"/>
                  <a:pt x="15750" y="18750"/>
                  <a:pt x="15718" y="18844"/>
                </a:cubicBezTo>
                <a:cubicBezTo>
                  <a:pt x="15687" y="18844"/>
                  <a:pt x="15656" y="18844"/>
                  <a:pt x="15625" y="18781"/>
                </a:cubicBezTo>
                <a:cubicBezTo>
                  <a:pt x="15625" y="18781"/>
                  <a:pt x="15656" y="18750"/>
                  <a:pt x="15656" y="18750"/>
                </a:cubicBezTo>
                <a:cubicBezTo>
                  <a:pt x="15687" y="18750"/>
                  <a:pt x="15718" y="18781"/>
                  <a:pt x="15750" y="18750"/>
                </a:cubicBezTo>
                <a:cubicBezTo>
                  <a:pt x="15718" y="18750"/>
                  <a:pt x="15687" y="18750"/>
                  <a:pt x="15656" y="18750"/>
                </a:cubicBezTo>
                <a:cubicBezTo>
                  <a:pt x="15625" y="18750"/>
                  <a:pt x="15625" y="18750"/>
                  <a:pt x="15593" y="18750"/>
                </a:cubicBezTo>
                <a:cubicBezTo>
                  <a:pt x="15593" y="18750"/>
                  <a:pt x="15562" y="18750"/>
                  <a:pt x="15562" y="18750"/>
                </a:cubicBezTo>
                <a:cubicBezTo>
                  <a:pt x="15562" y="18750"/>
                  <a:pt x="15562" y="18750"/>
                  <a:pt x="15562" y="18750"/>
                </a:cubicBezTo>
                <a:cubicBezTo>
                  <a:pt x="15593" y="18750"/>
                  <a:pt x="15593" y="18719"/>
                  <a:pt x="15562" y="18719"/>
                </a:cubicBezTo>
                <a:cubicBezTo>
                  <a:pt x="15562" y="18687"/>
                  <a:pt x="15562" y="18687"/>
                  <a:pt x="15562" y="18687"/>
                </a:cubicBezTo>
                <a:cubicBezTo>
                  <a:pt x="15562" y="18687"/>
                  <a:pt x="15562" y="18687"/>
                  <a:pt x="15562" y="18687"/>
                </a:cubicBezTo>
                <a:cubicBezTo>
                  <a:pt x="15562" y="18656"/>
                  <a:pt x="15500" y="18656"/>
                  <a:pt x="15531" y="18594"/>
                </a:cubicBezTo>
                <a:cubicBezTo>
                  <a:pt x="15500" y="18594"/>
                  <a:pt x="15500" y="18594"/>
                  <a:pt x="15500" y="18594"/>
                </a:cubicBezTo>
                <a:cubicBezTo>
                  <a:pt x="15468" y="18594"/>
                  <a:pt x="15437" y="18594"/>
                  <a:pt x="15437" y="18562"/>
                </a:cubicBezTo>
                <a:cubicBezTo>
                  <a:pt x="15437" y="18531"/>
                  <a:pt x="15468" y="18531"/>
                  <a:pt x="15468" y="18531"/>
                </a:cubicBezTo>
                <a:cubicBezTo>
                  <a:pt x="15500" y="18531"/>
                  <a:pt x="15531" y="18531"/>
                  <a:pt x="15531" y="18531"/>
                </a:cubicBezTo>
                <a:cubicBezTo>
                  <a:pt x="15500" y="18469"/>
                  <a:pt x="15468" y="18500"/>
                  <a:pt x="15437" y="18500"/>
                </a:cubicBezTo>
                <a:cubicBezTo>
                  <a:pt x="15406" y="18500"/>
                  <a:pt x="15343" y="18531"/>
                  <a:pt x="15343" y="18469"/>
                </a:cubicBezTo>
                <a:cubicBezTo>
                  <a:pt x="15312" y="18469"/>
                  <a:pt x="15312" y="18469"/>
                  <a:pt x="15281" y="18469"/>
                </a:cubicBezTo>
                <a:cubicBezTo>
                  <a:pt x="15250" y="18500"/>
                  <a:pt x="15218" y="18437"/>
                  <a:pt x="15187" y="18500"/>
                </a:cubicBezTo>
                <a:cubicBezTo>
                  <a:pt x="15187" y="18531"/>
                  <a:pt x="15250" y="18562"/>
                  <a:pt x="15250" y="18594"/>
                </a:cubicBezTo>
                <a:cubicBezTo>
                  <a:pt x="15375" y="18719"/>
                  <a:pt x="15531" y="18812"/>
                  <a:pt x="15656" y="18906"/>
                </a:cubicBezTo>
                <a:cubicBezTo>
                  <a:pt x="15781" y="18969"/>
                  <a:pt x="15906" y="19062"/>
                  <a:pt x="16062" y="19094"/>
                </a:cubicBezTo>
                <a:cubicBezTo>
                  <a:pt x="16125" y="19125"/>
                  <a:pt x="16218" y="19187"/>
                  <a:pt x="16312" y="19187"/>
                </a:cubicBezTo>
                <a:cubicBezTo>
                  <a:pt x="16312" y="19219"/>
                  <a:pt x="16343" y="19219"/>
                  <a:pt x="16375" y="19219"/>
                </a:cubicBezTo>
                <a:cubicBezTo>
                  <a:pt x="16437" y="19219"/>
                  <a:pt x="16468" y="19187"/>
                  <a:pt x="16500" y="19219"/>
                </a:cubicBezTo>
                <a:cubicBezTo>
                  <a:pt x="16593" y="19250"/>
                  <a:pt x="16687" y="19219"/>
                  <a:pt x="16750" y="19281"/>
                </a:cubicBezTo>
                <a:cubicBezTo>
                  <a:pt x="16750" y="19281"/>
                  <a:pt x="16687" y="19250"/>
                  <a:pt x="16687" y="19281"/>
                </a:cubicBezTo>
                <a:cubicBezTo>
                  <a:pt x="16718" y="19281"/>
                  <a:pt x="16781" y="19312"/>
                  <a:pt x="16843" y="19312"/>
                </a:cubicBezTo>
                <a:cubicBezTo>
                  <a:pt x="16843" y="19250"/>
                  <a:pt x="16781" y="19219"/>
                  <a:pt x="16718" y="19219"/>
                </a:cubicBezTo>
                <a:cubicBezTo>
                  <a:pt x="16625" y="19219"/>
                  <a:pt x="16562" y="19156"/>
                  <a:pt x="16468" y="19125"/>
                </a:cubicBezTo>
                <a:cubicBezTo>
                  <a:pt x="16468" y="19125"/>
                  <a:pt x="16468" y="19094"/>
                  <a:pt x="16468" y="19062"/>
                </a:cubicBezTo>
                <a:cubicBezTo>
                  <a:pt x="16468" y="19094"/>
                  <a:pt x="16468" y="19094"/>
                  <a:pt x="16468" y="19094"/>
                </a:cubicBezTo>
                <a:cubicBezTo>
                  <a:pt x="16593" y="19000"/>
                  <a:pt x="16750" y="19062"/>
                  <a:pt x="16875" y="19031"/>
                </a:cubicBezTo>
                <a:cubicBezTo>
                  <a:pt x="17000" y="19000"/>
                  <a:pt x="17125" y="19031"/>
                  <a:pt x="17250" y="19062"/>
                </a:cubicBezTo>
                <a:cubicBezTo>
                  <a:pt x="17312" y="19094"/>
                  <a:pt x="17406" y="19125"/>
                  <a:pt x="17500" y="19125"/>
                </a:cubicBezTo>
                <a:cubicBezTo>
                  <a:pt x="17562" y="19125"/>
                  <a:pt x="17562" y="19156"/>
                  <a:pt x="17625" y="19156"/>
                </a:cubicBezTo>
                <a:cubicBezTo>
                  <a:pt x="17750" y="19187"/>
                  <a:pt x="17906" y="19250"/>
                  <a:pt x="18031" y="19281"/>
                </a:cubicBezTo>
                <a:cubicBezTo>
                  <a:pt x="18031" y="19312"/>
                  <a:pt x="18000" y="19312"/>
                  <a:pt x="17968" y="19312"/>
                </a:cubicBezTo>
                <a:cubicBezTo>
                  <a:pt x="17906" y="19344"/>
                  <a:pt x="17843" y="19281"/>
                  <a:pt x="17781" y="19312"/>
                </a:cubicBezTo>
                <a:cubicBezTo>
                  <a:pt x="17656" y="19219"/>
                  <a:pt x="17531" y="19281"/>
                  <a:pt x="17375" y="19250"/>
                </a:cubicBezTo>
                <a:lnTo>
                  <a:pt x="17375" y="19250"/>
                </a:lnTo>
                <a:cubicBezTo>
                  <a:pt x="17406" y="19281"/>
                  <a:pt x="17406" y="19281"/>
                  <a:pt x="17406" y="19281"/>
                </a:cubicBezTo>
                <a:cubicBezTo>
                  <a:pt x="17468" y="19344"/>
                  <a:pt x="17562" y="19312"/>
                  <a:pt x="17625" y="19344"/>
                </a:cubicBezTo>
                <a:cubicBezTo>
                  <a:pt x="17656" y="19344"/>
                  <a:pt x="17687" y="19344"/>
                  <a:pt x="17687" y="19375"/>
                </a:cubicBezTo>
                <a:cubicBezTo>
                  <a:pt x="17687" y="19406"/>
                  <a:pt x="17656" y="19375"/>
                  <a:pt x="17656" y="19406"/>
                </a:cubicBezTo>
                <a:cubicBezTo>
                  <a:pt x="17656" y="19437"/>
                  <a:pt x="17718" y="19437"/>
                  <a:pt x="17718" y="19406"/>
                </a:cubicBezTo>
                <a:cubicBezTo>
                  <a:pt x="17750" y="19312"/>
                  <a:pt x="17781" y="19375"/>
                  <a:pt x="17812" y="19406"/>
                </a:cubicBezTo>
                <a:cubicBezTo>
                  <a:pt x="17843" y="19344"/>
                  <a:pt x="17781" y="19344"/>
                  <a:pt x="17781" y="19312"/>
                </a:cubicBezTo>
                <a:cubicBezTo>
                  <a:pt x="17812" y="19312"/>
                  <a:pt x="17812" y="19312"/>
                  <a:pt x="17812" y="19312"/>
                </a:cubicBezTo>
                <a:cubicBezTo>
                  <a:pt x="17906" y="19344"/>
                  <a:pt x="18000" y="19406"/>
                  <a:pt x="18093" y="19375"/>
                </a:cubicBezTo>
                <a:cubicBezTo>
                  <a:pt x="18125" y="19375"/>
                  <a:pt x="18156" y="19375"/>
                  <a:pt x="18156" y="19375"/>
                </a:cubicBezTo>
                <a:cubicBezTo>
                  <a:pt x="18187" y="19375"/>
                  <a:pt x="18218" y="19406"/>
                  <a:pt x="18250" y="19406"/>
                </a:cubicBezTo>
                <a:cubicBezTo>
                  <a:pt x="18250" y="19375"/>
                  <a:pt x="18218" y="19375"/>
                  <a:pt x="18187" y="19344"/>
                </a:cubicBezTo>
                <a:cubicBezTo>
                  <a:pt x="18156" y="19312"/>
                  <a:pt x="18093" y="19344"/>
                  <a:pt x="18062" y="19281"/>
                </a:cubicBezTo>
                <a:cubicBezTo>
                  <a:pt x="18156" y="19312"/>
                  <a:pt x="18281" y="19344"/>
                  <a:pt x="18375" y="19375"/>
                </a:cubicBezTo>
                <a:cubicBezTo>
                  <a:pt x="18343" y="19312"/>
                  <a:pt x="18343" y="19219"/>
                  <a:pt x="18281" y="19125"/>
                </a:cubicBezTo>
                <a:cubicBezTo>
                  <a:pt x="18250" y="19094"/>
                  <a:pt x="18218" y="19094"/>
                  <a:pt x="18156" y="19062"/>
                </a:cubicBezTo>
                <a:cubicBezTo>
                  <a:pt x="18156" y="19062"/>
                  <a:pt x="18125" y="19094"/>
                  <a:pt x="18125" y="19062"/>
                </a:cubicBezTo>
                <a:cubicBezTo>
                  <a:pt x="18125" y="19031"/>
                  <a:pt x="18156" y="19000"/>
                  <a:pt x="18156" y="19000"/>
                </a:cubicBezTo>
                <a:cubicBezTo>
                  <a:pt x="18281" y="19031"/>
                  <a:pt x="18375" y="19094"/>
                  <a:pt x="18375" y="19187"/>
                </a:cubicBezTo>
                <a:cubicBezTo>
                  <a:pt x="18375" y="19250"/>
                  <a:pt x="18406" y="19312"/>
                  <a:pt x="18437" y="19375"/>
                </a:cubicBezTo>
                <a:cubicBezTo>
                  <a:pt x="18437" y="19406"/>
                  <a:pt x="18437" y="19406"/>
                  <a:pt x="18437" y="19437"/>
                </a:cubicBezTo>
                <a:cubicBezTo>
                  <a:pt x="18406" y="19437"/>
                  <a:pt x="18406" y="19437"/>
                  <a:pt x="18375" y="19437"/>
                </a:cubicBezTo>
                <a:cubicBezTo>
                  <a:pt x="18343" y="19406"/>
                  <a:pt x="18312" y="19406"/>
                  <a:pt x="18312" y="19437"/>
                </a:cubicBezTo>
                <a:cubicBezTo>
                  <a:pt x="18281" y="19437"/>
                  <a:pt x="18281" y="19469"/>
                  <a:pt x="18281" y="19500"/>
                </a:cubicBezTo>
                <a:cubicBezTo>
                  <a:pt x="18312" y="19594"/>
                  <a:pt x="18250" y="19719"/>
                  <a:pt x="18156" y="19750"/>
                </a:cubicBezTo>
                <a:close/>
                <a:moveTo>
                  <a:pt x="15375" y="18562"/>
                </a:moveTo>
                <a:cubicBezTo>
                  <a:pt x="15343" y="18562"/>
                  <a:pt x="15312" y="18562"/>
                  <a:pt x="15281" y="18531"/>
                </a:cubicBezTo>
                <a:cubicBezTo>
                  <a:pt x="15281" y="18531"/>
                  <a:pt x="15281" y="18531"/>
                  <a:pt x="15281" y="18531"/>
                </a:cubicBezTo>
                <a:cubicBezTo>
                  <a:pt x="15312" y="18500"/>
                  <a:pt x="15343" y="18531"/>
                  <a:pt x="15375" y="18562"/>
                </a:cubicBezTo>
                <a:close/>
                <a:moveTo>
                  <a:pt x="18187" y="20406"/>
                </a:moveTo>
                <a:cubicBezTo>
                  <a:pt x="18281" y="20406"/>
                  <a:pt x="18375" y="20437"/>
                  <a:pt x="18437" y="20469"/>
                </a:cubicBezTo>
                <a:cubicBezTo>
                  <a:pt x="18343" y="20500"/>
                  <a:pt x="18281" y="20437"/>
                  <a:pt x="18187" y="20406"/>
                </a:cubicBezTo>
                <a:close/>
                <a:moveTo>
                  <a:pt x="18250" y="20344"/>
                </a:moveTo>
                <a:cubicBezTo>
                  <a:pt x="18343" y="20344"/>
                  <a:pt x="18406" y="20375"/>
                  <a:pt x="18468" y="20437"/>
                </a:cubicBezTo>
                <a:cubicBezTo>
                  <a:pt x="18406" y="20406"/>
                  <a:pt x="18343" y="20375"/>
                  <a:pt x="18250" y="20344"/>
                </a:cubicBezTo>
                <a:close/>
                <a:moveTo>
                  <a:pt x="18468" y="20344"/>
                </a:moveTo>
                <a:cubicBezTo>
                  <a:pt x="18437" y="20344"/>
                  <a:pt x="18406" y="20312"/>
                  <a:pt x="18375" y="20281"/>
                </a:cubicBezTo>
                <a:cubicBezTo>
                  <a:pt x="18343" y="20281"/>
                  <a:pt x="18312" y="20281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281" y="20250"/>
                  <a:pt x="18281" y="20250"/>
                  <a:pt x="18281" y="20250"/>
                </a:cubicBezTo>
                <a:cubicBezTo>
                  <a:pt x="18343" y="20250"/>
                  <a:pt x="18343" y="20281"/>
                  <a:pt x="18406" y="20281"/>
                </a:cubicBezTo>
                <a:cubicBezTo>
                  <a:pt x="18437" y="20281"/>
                  <a:pt x="18437" y="20312"/>
                  <a:pt x="18468" y="20344"/>
                </a:cubicBezTo>
                <a:cubicBezTo>
                  <a:pt x="18468" y="20344"/>
                  <a:pt x="18468" y="20344"/>
                  <a:pt x="18468" y="20344"/>
                </a:cubicBezTo>
                <a:close/>
                <a:moveTo>
                  <a:pt x="18500" y="20562"/>
                </a:moveTo>
                <a:cubicBezTo>
                  <a:pt x="18500" y="20562"/>
                  <a:pt x="18500" y="20531"/>
                  <a:pt x="18500" y="20531"/>
                </a:cubicBezTo>
                <a:cubicBezTo>
                  <a:pt x="18531" y="20531"/>
                  <a:pt x="18531" y="20531"/>
                  <a:pt x="18531" y="20531"/>
                </a:cubicBezTo>
                <a:cubicBezTo>
                  <a:pt x="18531" y="20562"/>
                  <a:pt x="18531" y="20562"/>
                  <a:pt x="18500" y="20562"/>
                </a:cubicBezTo>
                <a:close/>
                <a:moveTo>
                  <a:pt x="18437" y="18406"/>
                </a:moveTo>
                <a:cubicBezTo>
                  <a:pt x="18687" y="18469"/>
                  <a:pt x="18937" y="18469"/>
                  <a:pt x="19187" y="18562"/>
                </a:cubicBezTo>
                <a:cubicBezTo>
                  <a:pt x="18937" y="18531"/>
                  <a:pt x="18687" y="18469"/>
                  <a:pt x="18437" y="18406"/>
                </a:cubicBezTo>
                <a:close/>
                <a:moveTo>
                  <a:pt x="19218" y="18656"/>
                </a:moveTo>
                <a:cubicBezTo>
                  <a:pt x="19062" y="18656"/>
                  <a:pt x="18906" y="18625"/>
                  <a:pt x="18781" y="18594"/>
                </a:cubicBezTo>
                <a:cubicBezTo>
                  <a:pt x="18750" y="18594"/>
                  <a:pt x="18718" y="18594"/>
                  <a:pt x="18687" y="18562"/>
                </a:cubicBezTo>
                <a:cubicBezTo>
                  <a:pt x="18687" y="18562"/>
                  <a:pt x="18687" y="18562"/>
                  <a:pt x="18687" y="18562"/>
                </a:cubicBezTo>
                <a:cubicBezTo>
                  <a:pt x="18812" y="18562"/>
                  <a:pt x="18937" y="18594"/>
                  <a:pt x="19093" y="18594"/>
                </a:cubicBezTo>
                <a:cubicBezTo>
                  <a:pt x="19187" y="18625"/>
                  <a:pt x="19281" y="18625"/>
                  <a:pt x="19375" y="18656"/>
                </a:cubicBezTo>
                <a:cubicBezTo>
                  <a:pt x="19406" y="18656"/>
                  <a:pt x="19406" y="18656"/>
                  <a:pt x="19437" y="18687"/>
                </a:cubicBezTo>
                <a:cubicBezTo>
                  <a:pt x="19406" y="18687"/>
                  <a:pt x="19375" y="18687"/>
                  <a:pt x="19343" y="18687"/>
                </a:cubicBezTo>
                <a:cubicBezTo>
                  <a:pt x="19281" y="18656"/>
                  <a:pt x="19250" y="18687"/>
                  <a:pt x="19250" y="18719"/>
                </a:cubicBezTo>
                <a:cubicBezTo>
                  <a:pt x="19218" y="18750"/>
                  <a:pt x="19281" y="18750"/>
                  <a:pt x="19312" y="18750"/>
                </a:cubicBezTo>
                <a:cubicBezTo>
                  <a:pt x="19312" y="18750"/>
                  <a:pt x="19312" y="18750"/>
                  <a:pt x="19312" y="18750"/>
                </a:cubicBezTo>
                <a:cubicBezTo>
                  <a:pt x="19406" y="18750"/>
                  <a:pt x="19468" y="18781"/>
                  <a:pt x="19562" y="18812"/>
                </a:cubicBezTo>
                <a:cubicBezTo>
                  <a:pt x="19531" y="18844"/>
                  <a:pt x="19531" y="18844"/>
                  <a:pt x="19500" y="18844"/>
                </a:cubicBezTo>
                <a:cubicBezTo>
                  <a:pt x="19375" y="18812"/>
                  <a:pt x="19250" y="18781"/>
                  <a:pt x="19125" y="18812"/>
                </a:cubicBezTo>
                <a:cubicBezTo>
                  <a:pt x="19031" y="18812"/>
                  <a:pt x="18906" y="18750"/>
                  <a:pt x="18812" y="18719"/>
                </a:cubicBezTo>
                <a:cubicBezTo>
                  <a:pt x="18750" y="18719"/>
                  <a:pt x="18687" y="18687"/>
                  <a:pt x="18625" y="18656"/>
                </a:cubicBezTo>
                <a:cubicBezTo>
                  <a:pt x="18781" y="18687"/>
                  <a:pt x="18937" y="18687"/>
                  <a:pt x="19062" y="18719"/>
                </a:cubicBezTo>
                <a:cubicBezTo>
                  <a:pt x="19062" y="18719"/>
                  <a:pt x="19062" y="18719"/>
                  <a:pt x="19062" y="18719"/>
                </a:cubicBezTo>
                <a:cubicBezTo>
                  <a:pt x="19093" y="18750"/>
                  <a:pt x="19125" y="18750"/>
                  <a:pt x="19156" y="18719"/>
                </a:cubicBezTo>
                <a:cubicBezTo>
                  <a:pt x="19156" y="18719"/>
                  <a:pt x="19187" y="18719"/>
                  <a:pt x="19187" y="18719"/>
                </a:cubicBezTo>
                <a:cubicBezTo>
                  <a:pt x="19218" y="18750"/>
                  <a:pt x="19218" y="18750"/>
                  <a:pt x="19218" y="18719"/>
                </a:cubicBezTo>
                <a:cubicBezTo>
                  <a:pt x="19218" y="18719"/>
                  <a:pt x="19218" y="18687"/>
                  <a:pt x="19218" y="18687"/>
                </a:cubicBezTo>
                <a:cubicBezTo>
                  <a:pt x="19218" y="18687"/>
                  <a:pt x="19218" y="18656"/>
                  <a:pt x="19218" y="18656"/>
                </a:cubicBezTo>
                <a:close/>
                <a:moveTo>
                  <a:pt x="18656" y="19281"/>
                </a:moveTo>
                <a:cubicBezTo>
                  <a:pt x="18656" y="19281"/>
                  <a:pt x="18656" y="19281"/>
                  <a:pt x="18625" y="19281"/>
                </a:cubicBezTo>
                <a:cubicBezTo>
                  <a:pt x="18656" y="19281"/>
                  <a:pt x="18656" y="19281"/>
                  <a:pt x="18656" y="19281"/>
                </a:cubicBezTo>
                <a:cubicBezTo>
                  <a:pt x="18687" y="19281"/>
                  <a:pt x="18687" y="19281"/>
                  <a:pt x="18687" y="19281"/>
                </a:cubicBezTo>
                <a:cubicBezTo>
                  <a:pt x="18687" y="19281"/>
                  <a:pt x="18687" y="19281"/>
                  <a:pt x="18656" y="19281"/>
                </a:cubicBezTo>
                <a:close/>
                <a:moveTo>
                  <a:pt x="18718" y="19344"/>
                </a:moveTo>
                <a:cubicBezTo>
                  <a:pt x="18906" y="19375"/>
                  <a:pt x="19125" y="19344"/>
                  <a:pt x="19312" y="19437"/>
                </a:cubicBezTo>
                <a:cubicBezTo>
                  <a:pt x="19218" y="19437"/>
                  <a:pt x="19125" y="19437"/>
                  <a:pt x="19031" y="19406"/>
                </a:cubicBezTo>
                <a:cubicBezTo>
                  <a:pt x="18937" y="19375"/>
                  <a:pt x="18843" y="19375"/>
                  <a:pt x="18750" y="19375"/>
                </a:cubicBezTo>
                <a:cubicBezTo>
                  <a:pt x="18750" y="19375"/>
                  <a:pt x="18718" y="19375"/>
                  <a:pt x="18718" y="19344"/>
                </a:cubicBezTo>
                <a:close/>
                <a:moveTo>
                  <a:pt x="18718" y="19469"/>
                </a:moveTo>
                <a:cubicBezTo>
                  <a:pt x="18718" y="19437"/>
                  <a:pt x="18750" y="19469"/>
                  <a:pt x="18750" y="19469"/>
                </a:cubicBezTo>
                <a:cubicBezTo>
                  <a:pt x="18937" y="19437"/>
                  <a:pt x="19093" y="19500"/>
                  <a:pt x="19281" y="19500"/>
                </a:cubicBezTo>
                <a:cubicBezTo>
                  <a:pt x="19343" y="19500"/>
                  <a:pt x="19375" y="19531"/>
                  <a:pt x="19406" y="19562"/>
                </a:cubicBezTo>
                <a:cubicBezTo>
                  <a:pt x="19312" y="19562"/>
                  <a:pt x="19218" y="19531"/>
                  <a:pt x="19125" y="19500"/>
                </a:cubicBezTo>
                <a:cubicBezTo>
                  <a:pt x="19000" y="19500"/>
                  <a:pt x="18875" y="19500"/>
                  <a:pt x="18750" y="19500"/>
                </a:cubicBezTo>
                <a:cubicBezTo>
                  <a:pt x="18750" y="19500"/>
                  <a:pt x="18718" y="19500"/>
                  <a:pt x="18718" y="19469"/>
                </a:cubicBezTo>
                <a:close/>
                <a:moveTo>
                  <a:pt x="18781" y="19594"/>
                </a:moveTo>
                <a:cubicBezTo>
                  <a:pt x="18906" y="19562"/>
                  <a:pt x="19468" y="19562"/>
                  <a:pt x="19562" y="19687"/>
                </a:cubicBezTo>
                <a:cubicBezTo>
                  <a:pt x="19312" y="19594"/>
                  <a:pt x="19031" y="19594"/>
                  <a:pt x="18781" y="19594"/>
                </a:cubicBezTo>
                <a:close/>
                <a:moveTo>
                  <a:pt x="19000" y="20094"/>
                </a:moveTo>
                <a:cubicBezTo>
                  <a:pt x="19062" y="20125"/>
                  <a:pt x="19156" y="20094"/>
                  <a:pt x="19218" y="20125"/>
                </a:cubicBezTo>
                <a:cubicBezTo>
                  <a:pt x="19187" y="20156"/>
                  <a:pt x="19093" y="20156"/>
                  <a:pt x="19000" y="20094"/>
                </a:cubicBezTo>
                <a:close/>
                <a:moveTo>
                  <a:pt x="19062" y="20219"/>
                </a:moveTo>
                <a:cubicBezTo>
                  <a:pt x="19125" y="20219"/>
                  <a:pt x="19156" y="20219"/>
                  <a:pt x="19187" y="20219"/>
                </a:cubicBezTo>
                <a:cubicBezTo>
                  <a:pt x="19218" y="20219"/>
                  <a:pt x="19218" y="20250"/>
                  <a:pt x="19250" y="20250"/>
                </a:cubicBezTo>
                <a:cubicBezTo>
                  <a:pt x="19187" y="20250"/>
                  <a:pt x="19125" y="20281"/>
                  <a:pt x="19062" y="20219"/>
                </a:cubicBezTo>
                <a:close/>
                <a:moveTo>
                  <a:pt x="18937" y="19906"/>
                </a:moveTo>
                <a:cubicBezTo>
                  <a:pt x="18937" y="19906"/>
                  <a:pt x="18937" y="19906"/>
                  <a:pt x="18937" y="19906"/>
                </a:cubicBezTo>
                <a:cubicBezTo>
                  <a:pt x="18937" y="19906"/>
                  <a:pt x="18937" y="19875"/>
                  <a:pt x="18937" y="19875"/>
                </a:cubicBezTo>
                <a:cubicBezTo>
                  <a:pt x="19031" y="19906"/>
                  <a:pt x="19156" y="19875"/>
                  <a:pt x="19250" y="19906"/>
                </a:cubicBezTo>
                <a:cubicBezTo>
                  <a:pt x="19156" y="19937"/>
                  <a:pt x="19062" y="19906"/>
                  <a:pt x="18937" y="19906"/>
                </a:cubicBezTo>
                <a:close/>
                <a:moveTo>
                  <a:pt x="19312" y="19906"/>
                </a:moveTo>
                <a:cubicBezTo>
                  <a:pt x="19406" y="19875"/>
                  <a:pt x="19500" y="19906"/>
                  <a:pt x="19593" y="19937"/>
                </a:cubicBezTo>
                <a:cubicBezTo>
                  <a:pt x="19500" y="19937"/>
                  <a:pt x="19406" y="19937"/>
                  <a:pt x="19312" y="19906"/>
                </a:cubicBezTo>
                <a:close/>
                <a:moveTo>
                  <a:pt x="18937" y="19812"/>
                </a:moveTo>
                <a:cubicBezTo>
                  <a:pt x="18906" y="19812"/>
                  <a:pt x="18875" y="19844"/>
                  <a:pt x="18875" y="19812"/>
                </a:cubicBezTo>
                <a:cubicBezTo>
                  <a:pt x="18875" y="19781"/>
                  <a:pt x="18906" y="19781"/>
                  <a:pt x="18937" y="19781"/>
                </a:cubicBezTo>
                <a:cubicBezTo>
                  <a:pt x="19125" y="19781"/>
                  <a:pt x="19281" y="19781"/>
                  <a:pt x="19468" y="19812"/>
                </a:cubicBezTo>
                <a:cubicBezTo>
                  <a:pt x="19531" y="19812"/>
                  <a:pt x="19593" y="19844"/>
                  <a:pt x="19656" y="19875"/>
                </a:cubicBezTo>
                <a:cubicBezTo>
                  <a:pt x="19406" y="19812"/>
                  <a:pt x="19187" y="19812"/>
                  <a:pt x="18937" y="19812"/>
                </a:cubicBezTo>
                <a:close/>
                <a:moveTo>
                  <a:pt x="20312" y="19906"/>
                </a:moveTo>
                <a:cubicBezTo>
                  <a:pt x="20218" y="19906"/>
                  <a:pt x="20156" y="19937"/>
                  <a:pt x="20062" y="19906"/>
                </a:cubicBezTo>
                <a:cubicBezTo>
                  <a:pt x="20031" y="19906"/>
                  <a:pt x="20000" y="19906"/>
                  <a:pt x="19968" y="19906"/>
                </a:cubicBezTo>
                <a:cubicBezTo>
                  <a:pt x="19843" y="19937"/>
                  <a:pt x="19750" y="19875"/>
                  <a:pt x="19656" y="19812"/>
                </a:cubicBezTo>
                <a:cubicBezTo>
                  <a:pt x="19406" y="19687"/>
                  <a:pt x="19156" y="19719"/>
                  <a:pt x="18906" y="19687"/>
                </a:cubicBezTo>
                <a:cubicBezTo>
                  <a:pt x="19000" y="19656"/>
                  <a:pt x="19093" y="19687"/>
                  <a:pt x="19187" y="19687"/>
                </a:cubicBezTo>
                <a:cubicBezTo>
                  <a:pt x="19343" y="19687"/>
                  <a:pt x="19500" y="19719"/>
                  <a:pt x="19625" y="19781"/>
                </a:cubicBezTo>
                <a:cubicBezTo>
                  <a:pt x="19656" y="19781"/>
                  <a:pt x="19656" y="19781"/>
                  <a:pt x="19656" y="19812"/>
                </a:cubicBezTo>
                <a:cubicBezTo>
                  <a:pt x="19812" y="19844"/>
                  <a:pt x="19968" y="19875"/>
                  <a:pt x="20125" y="19875"/>
                </a:cubicBezTo>
                <a:cubicBezTo>
                  <a:pt x="20187" y="19875"/>
                  <a:pt x="20250" y="19875"/>
                  <a:pt x="20312" y="19875"/>
                </a:cubicBezTo>
                <a:cubicBezTo>
                  <a:pt x="20312" y="19875"/>
                  <a:pt x="20343" y="19875"/>
                  <a:pt x="20343" y="19906"/>
                </a:cubicBezTo>
                <a:cubicBezTo>
                  <a:pt x="20343" y="19937"/>
                  <a:pt x="20312" y="19906"/>
                  <a:pt x="20312" y="19906"/>
                </a:cubicBezTo>
                <a:close/>
                <a:moveTo>
                  <a:pt x="20375" y="19812"/>
                </a:moveTo>
                <a:cubicBezTo>
                  <a:pt x="20343" y="19812"/>
                  <a:pt x="20343" y="19812"/>
                  <a:pt x="20312" y="19781"/>
                </a:cubicBezTo>
                <a:cubicBezTo>
                  <a:pt x="20343" y="19781"/>
                  <a:pt x="20375" y="19781"/>
                  <a:pt x="20406" y="19812"/>
                </a:cubicBezTo>
                <a:cubicBezTo>
                  <a:pt x="20406" y="19812"/>
                  <a:pt x="20406" y="19812"/>
                  <a:pt x="20375" y="19812"/>
                </a:cubicBezTo>
                <a:close/>
                <a:moveTo>
                  <a:pt x="20375" y="19719"/>
                </a:moveTo>
                <a:cubicBezTo>
                  <a:pt x="20468" y="19719"/>
                  <a:pt x="20468" y="19750"/>
                  <a:pt x="20500" y="19812"/>
                </a:cubicBezTo>
                <a:cubicBezTo>
                  <a:pt x="20437" y="19812"/>
                  <a:pt x="20437" y="19781"/>
                  <a:pt x="20375" y="19719"/>
                </a:cubicBezTo>
                <a:close/>
                <a:moveTo>
                  <a:pt x="20812" y="19937"/>
                </a:moveTo>
                <a:cubicBezTo>
                  <a:pt x="20750" y="19937"/>
                  <a:pt x="20718" y="19937"/>
                  <a:pt x="20656" y="19906"/>
                </a:cubicBezTo>
                <a:cubicBezTo>
                  <a:pt x="20625" y="19906"/>
                  <a:pt x="20593" y="19906"/>
                  <a:pt x="20625" y="19875"/>
                </a:cubicBezTo>
                <a:cubicBezTo>
                  <a:pt x="20625" y="19844"/>
                  <a:pt x="20625" y="19812"/>
                  <a:pt x="20593" y="19812"/>
                </a:cubicBezTo>
                <a:cubicBezTo>
                  <a:pt x="20562" y="19844"/>
                  <a:pt x="20562" y="19812"/>
                  <a:pt x="20562" y="19781"/>
                </a:cubicBezTo>
                <a:cubicBezTo>
                  <a:pt x="20687" y="19812"/>
                  <a:pt x="20781" y="19781"/>
                  <a:pt x="20906" y="19781"/>
                </a:cubicBezTo>
                <a:cubicBezTo>
                  <a:pt x="20906" y="19781"/>
                  <a:pt x="20906" y="19812"/>
                  <a:pt x="20906" y="19812"/>
                </a:cubicBezTo>
                <a:cubicBezTo>
                  <a:pt x="20906" y="19812"/>
                  <a:pt x="20906" y="19812"/>
                  <a:pt x="20906" y="19844"/>
                </a:cubicBezTo>
                <a:cubicBezTo>
                  <a:pt x="20875" y="19844"/>
                  <a:pt x="20843" y="19875"/>
                  <a:pt x="20781" y="19844"/>
                </a:cubicBezTo>
                <a:cubicBezTo>
                  <a:pt x="20781" y="19844"/>
                  <a:pt x="20750" y="19844"/>
                  <a:pt x="20750" y="19875"/>
                </a:cubicBezTo>
                <a:cubicBezTo>
                  <a:pt x="20750" y="19906"/>
                  <a:pt x="20781" y="19906"/>
                  <a:pt x="20812" y="19906"/>
                </a:cubicBezTo>
                <a:cubicBezTo>
                  <a:pt x="20812" y="19906"/>
                  <a:pt x="20812" y="19906"/>
                  <a:pt x="20812" y="19937"/>
                </a:cubicBezTo>
                <a:close/>
                <a:moveTo>
                  <a:pt x="20968" y="19812"/>
                </a:moveTo>
                <a:cubicBezTo>
                  <a:pt x="21000" y="19781"/>
                  <a:pt x="21031" y="19812"/>
                  <a:pt x="21093" y="19812"/>
                </a:cubicBezTo>
                <a:cubicBezTo>
                  <a:pt x="21093" y="19812"/>
                  <a:pt x="21093" y="19844"/>
                  <a:pt x="21093" y="19844"/>
                </a:cubicBezTo>
                <a:cubicBezTo>
                  <a:pt x="21093" y="19875"/>
                  <a:pt x="21062" y="19844"/>
                  <a:pt x="21031" y="19844"/>
                </a:cubicBezTo>
                <a:cubicBezTo>
                  <a:pt x="21000" y="19844"/>
                  <a:pt x="21000" y="19844"/>
                  <a:pt x="20968" y="19844"/>
                </a:cubicBezTo>
                <a:cubicBezTo>
                  <a:pt x="20968" y="19844"/>
                  <a:pt x="20968" y="19812"/>
                  <a:pt x="20968" y="19812"/>
                </a:cubicBezTo>
                <a:close/>
                <a:moveTo>
                  <a:pt x="20812" y="19906"/>
                </a:moveTo>
                <a:cubicBezTo>
                  <a:pt x="20812" y="19906"/>
                  <a:pt x="20812" y="19906"/>
                  <a:pt x="20812" y="19906"/>
                </a:cubicBezTo>
                <a:cubicBezTo>
                  <a:pt x="20906" y="19906"/>
                  <a:pt x="21000" y="19906"/>
                  <a:pt x="21125" y="19906"/>
                </a:cubicBezTo>
                <a:cubicBezTo>
                  <a:pt x="21000" y="19906"/>
                  <a:pt x="20906" y="19906"/>
                  <a:pt x="20812" y="19906"/>
                </a:cubicBezTo>
                <a:close/>
                <a:moveTo>
                  <a:pt x="31" y="20594"/>
                </a:moveTo>
                <a:cubicBezTo>
                  <a:pt x="187" y="20594"/>
                  <a:pt x="187" y="20594"/>
                  <a:pt x="187" y="20594"/>
                </a:cubicBezTo>
                <a:cubicBezTo>
                  <a:pt x="156" y="20594"/>
                  <a:pt x="125" y="20594"/>
                  <a:pt x="93" y="20562"/>
                </a:cubicBezTo>
                <a:cubicBezTo>
                  <a:pt x="62" y="20562"/>
                  <a:pt x="31" y="20562"/>
                  <a:pt x="31" y="20594"/>
                </a:cubicBezTo>
                <a:close/>
                <a:moveTo>
                  <a:pt x="1593" y="20437"/>
                </a:moveTo>
                <a:cubicBezTo>
                  <a:pt x="1531" y="20375"/>
                  <a:pt x="1437" y="20375"/>
                  <a:pt x="1375" y="20344"/>
                </a:cubicBezTo>
                <a:cubicBezTo>
                  <a:pt x="1187" y="20312"/>
                  <a:pt x="1031" y="20281"/>
                  <a:pt x="875" y="20250"/>
                </a:cubicBezTo>
                <a:cubicBezTo>
                  <a:pt x="625" y="20187"/>
                  <a:pt x="375" y="20156"/>
                  <a:pt x="156" y="20125"/>
                </a:cubicBezTo>
                <a:cubicBezTo>
                  <a:pt x="125" y="20094"/>
                  <a:pt x="62" y="20094"/>
                  <a:pt x="31" y="20125"/>
                </a:cubicBezTo>
                <a:cubicBezTo>
                  <a:pt x="62" y="20156"/>
                  <a:pt x="93" y="20156"/>
                  <a:pt x="125" y="20156"/>
                </a:cubicBezTo>
                <a:cubicBezTo>
                  <a:pt x="281" y="20156"/>
                  <a:pt x="437" y="20187"/>
                  <a:pt x="562" y="20219"/>
                </a:cubicBezTo>
                <a:cubicBezTo>
                  <a:pt x="718" y="20250"/>
                  <a:pt x="843" y="20281"/>
                  <a:pt x="968" y="20281"/>
                </a:cubicBezTo>
                <a:cubicBezTo>
                  <a:pt x="1062" y="20312"/>
                  <a:pt x="1187" y="20344"/>
                  <a:pt x="1281" y="20375"/>
                </a:cubicBezTo>
                <a:cubicBezTo>
                  <a:pt x="1375" y="20375"/>
                  <a:pt x="1468" y="20406"/>
                  <a:pt x="1562" y="20437"/>
                </a:cubicBezTo>
                <a:cubicBezTo>
                  <a:pt x="1562" y="20437"/>
                  <a:pt x="1562" y="20437"/>
                  <a:pt x="1562" y="20437"/>
                </a:cubicBezTo>
                <a:cubicBezTo>
                  <a:pt x="1593" y="20437"/>
                  <a:pt x="1625" y="20469"/>
                  <a:pt x="1625" y="20469"/>
                </a:cubicBezTo>
                <a:cubicBezTo>
                  <a:pt x="1718" y="20500"/>
                  <a:pt x="1781" y="20531"/>
                  <a:pt x="1875" y="20531"/>
                </a:cubicBezTo>
                <a:cubicBezTo>
                  <a:pt x="1906" y="20562"/>
                  <a:pt x="1968" y="20562"/>
                  <a:pt x="2031" y="20594"/>
                </a:cubicBezTo>
                <a:cubicBezTo>
                  <a:pt x="2093" y="20594"/>
                  <a:pt x="2093" y="20594"/>
                  <a:pt x="2093" y="20594"/>
                </a:cubicBezTo>
                <a:cubicBezTo>
                  <a:pt x="2031" y="20562"/>
                  <a:pt x="2000" y="20562"/>
                  <a:pt x="1937" y="20531"/>
                </a:cubicBezTo>
                <a:cubicBezTo>
                  <a:pt x="1843" y="20500"/>
                  <a:pt x="1718" y="20437"/>
                  <a:pt x="1593" y="20437"/>
                </a:cubicBezTo>
                <a:close/>
                <a:moveTo>
                  <a:pt x="750" y="20437"/>
                </a:moveTo>
                <a:cubicBezTo>
                  <a:pt x="625" y="20375"/>
                  <a:pt x="500" y="20375"/>
                  <a:pt x="375" y="20344"/>
                </a:cubicBezTo>
                <a:cubicBezTo>
                  <a:pt x="281" y="20312"/>
                  <a:pt x="187" y="20344"/>
                  <a:pt x="93" y="20312"/>
                </a:cubicBezTo>
                <a:cubicBezTo>
                  <a:pt x="0" y="20281"/>
                  <a:pt x="62" y="20344"/>
                  <a:pt x="31" y="20375"/>
                </a:cubicBezTo>
                <a:cubicBezTo>
                  <a:pt x="31" y="20437"/>
                  <a:pt x="62" y="20437"/>
                  <a:pt x="93" y="20437"/>
                </a:cubicBezTo>
                <a:cubicBezTo>
                  <a:pt x="125" y="20469"/>
                  <a:pt x="156" y="20469"/>
                  <a:pt x="187" y="20469"/>
                </a:cubicBezTo>
                <a:cubicBezTo>
                  <a:pt x="218" y="20500"/>
                  <a:pt x="250" y="20469"/>
                  <a:pt x="312" y="20469"/>
                </a:cubicBezTo>
                <a:cubicBezTo>
                  <a:pt x="437" y="20500"/>
                  <a:pt x="562" y="20531"/>
                  <a:pt x="687" y="20562"/>
                </a:cubicBezTo>
                <a:cubicBezTo>
                  <a:pt x="718" y="20562"/>
                  <a:pt x="781" y="20594"/>
                  <a:pt x="843" y="20594"/>
                </a:cubicBezTo>
                <a:cubicBezTo>
                  <a:pt x="1156" y="20594"/>
                  <a:pt x="1156" y="20594"/>
                  <a:pt x="1156" y="20594"/>
                </a:cubicBezTo>
                <a:cubicBezTo>
                  <a:pt x="968" y="20562"/>
                  <a:pt x="812" y="20531"/>
                  <a:pt x="625" y="20469"/>
                </a:cubicBezTo>
                <a:cubicBezTo>
                  <a:pt x="562" y="20469"/>
                  <a:pt x="468" y="20437"/>
                  <a:pt x="375" y="20437"/>
                </a:cubicBezTo>
                <a:cubicBezTo>
                  <a:pt x="343" y="20406"/>
                  <a:pt x="281" y="20406"/>
                  <a:pt x="250" y="20406"/>
                </a:cubicBezTo>
                <a:cubicBezTo>
                  <a:pt x="250" y="20406"/>
                  <a:pt x="218" y="20406"/>
                  <a:pt x="218" y="20406"/>
                </a:cubicBezTo>
                <a:cubicBezTo>
                  <a:pt x="187" y="20375"/>
                  <a:pt x="187" y="20375"/>
                  <a:pt x="156" y="20344"/>
                </a:cubicBezTo>
                <a:cubicBezTo>
                  <a:pt x="312" y="20375"/>
                  <a:pt x="468" y="20375"/>
                  <a:pt x="593" y="20437"/>
                </a:cubicBezTo>
                <a:cubicBezTo>
                  <a:pt x="656" y="20437"/>
                  <a:pt x="718" y="20437"/>
                  <a:pt x="781" y="20469"/>
                </a:cubicBezTo>
                <a:cubicBezTo>
                  <a:pt x="875" y="20469"/>
                  <a:pt x="937" y="20500"/>
                  <a:pt x="1000" y="20500"/>
                </a:cubicBezTo>
                <a:cubicBezTo>
                  <a:pt x="1125" y="20531"/>
                  <a:pt x="1250" y="20562"/>
                  <a:pt x="1343" y="20594"/>
                </a:cubicBezTo>
                <a:cubicBezTo>
                  <a:pt x="1468" y="20594"/>
                  <a:pt x="1468" y="20594"/>
                  <a:pt x="1468" y="20594"/>
                </a:cubicBezTo>
                <a:cubicBezTo>
                  <a:pt x="1343" y="20562"/>
                  <a:pt x="1187" y="20531"/>
                  <a:pt x="1062" y="20500"/>
                </a:cubicBezTo>
                <a:cubicBezTo>
                  <a:pt x="968" y="20469"/>
                  <a:pt x="843" y="20469"/>
                  <a:pt x="750" y="20437"/>
                </a:cubicBezTo>
                <a:close/>
                <a:moveTo>
                  <a:pt x="1718" y="20562"/>
                </a:moveTo>
                <a:cubicBezTo>
                  <a:pt x="1531" y="20469"/>
                  <a:pt x="1343" y="20437"/>
                  <a:pt x="1156" y="20375"/>
                </a:cubicBezTo>
                <a:cubicBezTo>
                  <a:pt x="968" y="20344"/>
                  <a:pt x="781" y="20312"/>
                  <a:pt x="593" y="20281"/>
                </a:cubicBezTo>
                <a:cubicBezTo>
                  <a:pt x="437" y="20250"/>
                  <a:pt x="250" y="20219"/>
                  <a:pt x="62" y="20187"/>
                </a:cubicBezTo>
                <a:cubicBezTo>
                  <a:pt x="62" y="20187"/>
                  <a:pt x="31" y="20187"/>
                  <a:pt x="31" y="20219"/>
                </a:cubicBezTo>
                <a:cubicBezTo>
                  <a:pt x="31" y="20250"/>
                  <a:pt x="62" y="20250"/>
                  <a:pt x="62" y="20250"/>
                </a:cubicBezTo>
                <a:cubicBezTo>
                  <a:pt x="281" y="20281"/>
                  <a:pt x="468" y="20312"/>
                  <a:pt x="656" y="20344"/>
                </a:cubicBezTo>
                <a:cubicBezTo>
                  <a:pt x="843" y="20375"/>
                  <a:pt x="1031" y="20437"/>
                  <a:pt x="1218" y="20469"/>
                </a:cubicBezTo>
                <a:cubicBezTo>
                  <a:pt x="1343" y="20500"/>
                  <a:pt x="1500" y="20531"/>
                  <a:pt x="1656" y="20594"/>
                </a:cubicBezTo>
                <a:cubicBezTo>
                  <a:pt x="1843" y="20594"/>
                  <a:pt x="1843" y="20594"/>
                  <a:pt x="1843" y="20594"/>
                </a:cubicBezTo>
                <a:cubicBezTo>
                  <a:pt x="1843" y="20594"/>
                  <a:pt x="1812" y="20594"/>
                  <a:pt x="1812" y="20594"/>
                </a:cubicBezTo>
                <a:cubicBezTo>
                  <a:pt x="1781" y="20562"/>
                  <a:pt x="1750" y="20562"/>
                  <a:pt x="1718" y="20562"/>
                </a:cubicBezTo>
                <a:close/>
                <a:moveTo>
                  <a:pt x="16562" y="20594"/>
                </a:moveTo>
                <a:cubicBezTo>
                  <a:pt x="16625" y="20594"/>
                  <a:pt x="16625" y="20594"/>
                  <a:pt x="16625" y="20594"/>
                </a:cubicBezTo>
                <a:cubicBezTo>
                  <a:pt x="16625" y="20594"/>
                  <a:pt x="16593" y="20594"/>
                  <a:pt x="16593" y="20594"/>
                </a:cubicBezTo>
                <a:cubicBezTo>
                  <a:pt x="16562" y="20594"/>
                  <a:pt x="16562" y="20594"/>
                  <a:pt x="16562" y="20594"/>
                </a:cubicBezTo>
                <a:close/>
                <a:moveTo>
                  <a:pt x="7656" y="20437"/>
                </a:moveTo>
                <a:cubicBezTo>
                  <a:pt x="7656" y="20469"/>
                  <a:pt x="7687" y="20469"/>
                  <a:pt x="7718" y="20469"/>
                </a:cubicBezTo>
                <a:cubicBezTo>
                  <a:pt x="7843" y="20500"/>
                  <a:pt x="7937" y="20531"/>
                  <a:pt x="8031" y="20594"/>
                </a:cubicBezTo>
                <a:cubicBezTo>
                  <a:pt x="8062" y="20594"/>
                  <a:pt x="8062" y="20594"/>
                  <a:pt x="8062" y="20594"/>
                </a:cubicBezTo>
                <a:cubicBezTo>
                  <a:pt x="8218" y="20594"/>
                  <a:pt x="8218" y="20594"/>
                  <a:pt x="8218" y="20594"/>
                </a:cubicBezTo>
                <a:cubicBezTo>
                  <a:pt x="8218" y="20594"/>
                  <a:pt x="8187" y="20594"/>
                  <a:pt x="8156" y="20562"/>
                </a:cubicBezTo>
                <a:cubicBezTo>
                  <a:pt x="8000" y="20500"/>
                  <a:pt x="7843" y="20437"/>
                  <a:pt x="7656" y="20437"/>
                </a:cubicBezTo>
                <a:cubicBezTo>
                  <a:pt x="7656" y="20406"/>
                  <a:pt x="7625" y="20406"/>
                  <a:pt x="7625" y="20375"/>
                </a:cubicBezTo>
                <a:lnTo>
                  <a:pt x="7625" y="20375"/>
                </a:lnTo>
                <a:cubicBezTo>
                  <a:pt x="7531" y="20312"/>
                  <a:pt x="7468" y="20219"/>
                  <a:pt x="7343" y="20187"/>
                </a:cubicBezTo>
                <a:cubicBezTo>
                  <a:pt x="7187" y="20156"/>
                  <a:pt x="7062" y="20156"/>
                  <a:pt x="6906" y="20125"/>
                </a:cubicBezTo>
                <a:cubicBezTo>
                  <a:pt x="6906" y="20125"/>
                  <a:pt x="6906" y="20094"/>
                  <a:pt x="6906" y="20094"/>
                </a:cubicBezTo>
                <a:cubicBezTo>
                  <a:pt x="6906" y="20094"/>
                  <a:pt x="6875" y="20062"/>
                  <a:pt x="6875" y="20062"/>
                </a:cubicBezTo>
                <a:lnTo>
                  <a:pt x="6875" y="20062"/>
                </a:lnTo>
                <a:cubicBezTo>
                  <a:pt x="6812" y="20000"/>
                  <a:pt x="6750" y="20000"/>
                  <a:pt x="6656" y="20000"/>
                </a:cubicBezTo>
                <a:cubicBezTo>
                  <a:pt x="6531" y="19937"/>
                  <a:pt x="6343" y="19937"/>
                  <a:pt x="6218" y="19875"/>
                </a:cubicBezTo>
                <a:cubicBezTo>
                  <a:pt x="5937" y="19781"/>
                  <a:pt x="5656" y="19687"/>
                  <a:pt x="5343" y="19656"/>
                </a:cubicBezTo>
                <a:cubicBezTo>
                  <a:pt x="5312" y="19656"/>
                  <a:pt x="5281" y="19625"/>
                  <a:pt x="5218" y="19656"/>
                </a:cubicBezTo>
                <a:cubicBezTo>
                  <a:pt x="5312" y="19687"/>
                  <a:pt x="5406" y="19687"/>
                  <a:pt x="5500" y="19719"/>
                </a:cubicBezTo>
                <a:cubicBezTo>
                  <a:pt x="5593" y="19719"/>
                  <a:pt x="5687" y="19750"/>
                  <a:pt x="5812" y="19781"/>
                </a:cubicBezTo>
                <a:cubicBezTo>
                  <a:pt x="6000" y="19875"/>
                  <a:pt x="6218" y="19969"/>
                  <a:pt x="6437" y="20000"/>
                </a:cubicBezTo>
                <a:cubicBezTo>
                  <a:pt x="6593" y="20031"/>
                  <a:pt x="6750" y="20062"/>
                  <a:pt x="6906" y="20094"/>
                </a:cubicBezTo>
                <a:cubicBezTo>
                  <a:pt x="6906" y="20094"/>
                  <a:pt x="6906" y="20094"/>
                  <a:pt x="6906" y="20125"/>
                </a:cubicBezTo>
                <a:cubicBezTo>
                  <a:pt x="6968" y="20156"/>
                  <a:pt x="7031" y="20156"/>
                  <a:pt x="7062" y="20156"/>
                </a:cubicBezTo>
                <a:cubicBezTo>
                  <a:pt x="7250" y="20187"/>
                  <a:pt x="7437" y="20250"/>
                  <a:pt x="7593" y="20375"/>
                </a:cubicBezTo>
                <a:cubicBezTo>
                  <a:pt x="7593" y="20406"/>
                  <a:pt x="7625" y="20406"/>
                  <a:pt x="7593" y="20437"/>
                </a:cubicBezTo>
                <a:cubicBezTo>
                  <a:pt x="7625" y="20437"/>
                  <a:pt x="7625" y="20437"/>
                  <a:pt x="7656" y="20437"/>
                </a:cubicBezTo>
                <a:close/>
                <a:moveTo>
                  <a:pt x="3500" y="20562"/>
                </a:moveTo>
                <a:cubicBezTo>
                  <a:pt x="3375" y="20500"/>
                  <a:pt x="3281" y="20437"/>
                  <a:pt x="3156" y="20344"/>
                </a:cubicBezTo>
                <a:cubicBezTo>
                  <a:pt x="3031" y="20250"/>
                  <a:pt x="2875" y="20187"/>
                  <a:pt x="2750" y="20094"/>
                </a:cubicBezTo>
                <a:cubicBezTo>
                  <a:pt x="2625" y="20000"/>
                  <a:pt x="2468" y="19969"/>
                  <a:pt x="2343" y="19906"/>
                </a:cubicBezTo>
                <a:cubicBezTo>
                  <a:pt x="2156" y="19844"/>
                  <a:pt x="2000" y="19781"/>
                  <a:pt x="1843" y="19719"/>
                </a:cubicBezTo>
                <a:cubicBezTo>
                  <a:pt x="1750" y="19687"/>
                  <a:pt x="1687" y="19687"/>
                  <a:pt x="1593" y="19656"/>
                </a:cubicBezTo>
                <a:cubicBezTo>
                  <a:pt x="1500" y="19625"/>
                  <a:pt x="1375" y="19625"/>
                  <a:pt x="1281" y="19594"/>
                </a:cubicBezTo>
                <a:cubicBezTo>
                  <a:pt x="1031" y="19562"/>
                  <a:pt x="781" y="19531"/>
                  <a:pt x="531" y="19469"/>
                </a:cubicBezTo>
                <a:cubicBezTo>
                  <a:pt x="375" y="19469"/>
                  <a:pt x="218" y="19437"/>
                  <a:pt x="62" y="19406"/>
                </a:cubicBezTo>
                <a:cubicBezTo>
                  <a:pt x="62" y="19406"/>
                  <a:pt x="31" y="19406"/>
                  <a:pt x="31" y="19437"/>
                </a:cubicBezTo>
                <a:cubicBezTo>
                  <a:pt x="31" y="19437"/>
                  <a:pt x="31" y="19469"/>
                  <a:pt x="62" y="19469"/>
                </a:cubicBezTo>
                <a:cubicBezTo>
                  <a:pt x="62" y="19469"/>
                  <a:pt x="93" y="19469"/>
                  <a:pt x="125" y="19469"/>
                </a:cubicBezTo>
                <a:cubicBezTo>
                  <a:pt x="312" y="19500"/>
                  <a:pt x="500" y="19531"/>
                  <a:pt x="687" y="19562"/>
                </a:cubicBezTo>
                <a:cubicBezTo>
                  <a:pt x="875" y="19594"/>
                  <a:pt x="1062" y="19594"/>
                  <a:pt x="1250" y="19656"/>
                </a:cubicBezTo>
                <a:cubicBezTo>
                  <a:pt x="1406" y="19687"/>
                  <a:pt x="1593" y="19719"/>
                  <a:pt x="1781" y="19781"/>
                </a:cubicBezTo>
                <a:cubicBezTo>
                  <a:pt x="2062" y="19844"/>
                  <a:pt x="2343" y="19937"/>
                  <a:pt x="2593" y="20094"/>
                </a:cubicBezTo>
                <a:cubicBezTo>
                  <a:pt x="2875" y="20219"/>
                  <a:pt x="3156" y="20437"/>
                  <a:pt x="3437" y="20594"/>
                </a:cubicBezTo>
                <a:cubicBezTo>
                  <a:pt x="3593" y="20594"/>
                  <a:pt x="3593" y="20594"/>
                  <a:pt x="3593" y="20594"/>
                </a:cubicBezTo>
                <a:cubicBezTo>
                  <a:pt x="3593" y="20594"/>
                  <a:pt x="3562" y="20562"/>
                  <a:pt x="3531" y="20562"/>
                </a:cubicBezTo>
                <a:cubicBezTo>
                  <a:pt x="3531" y="20562"/>
                  <a:pt x="3500" y="20562"/>
                  <a:pt x="3500" y="20562"/>
                </a:cubicBezTo>
                <a:close/>
                <a:moveTo>
                  <a:pt x="15531" y="20594"/>
                </a:moveTo>
                <a:cubicBezTo>
                  <a:pt x="15531" y="20594"/>
                  <a:pt x="15500" y="20594"/>
                  <a:pt x="15500" y="20594"/>
                </a:cubicBezTo>
                <a:cubicBezTo>
                  <a:pt x="15562" y="20594"/>
                  <a:pt x="15562" y="20594"/>
                  <a:pt x="15562" y="20594"/>
                </a:cubicBezTo>
                <a:cubicBezTo>
                  <a:pt x="15562" y="20594"/>
                  <a:pt x="15531" y="20562"/>
                  <a:pt x="15531" y="20594"/>
                </a:cubicBezTo>
                <a:close/>
                <a:moveTo>
                  <a:pt x="15656" y="20594"/>
                </a:moveTo>
                <a:cubicBezTo>
                  <a:pt x="15656" y="20594"/>
                  <a:pt x="15656" y="20594"/>
                  <a:pt x="15656" y="20594"/>
                </a:cubicBezTo>
                <a:cubicBezTo>
                  <a:pt x="15687" y="20594"/>
                  <a:pt x="15687" y="20594"/>
                  <a:pt x="15687" y="20594"/>
                </a:cubicBezTo>
                <a:cubicBezTo>
                  <a:pt x="15687" y="20594"/>
                  <a:pt x="15687" y="20594"/>
                  <a:pt x="15656" y="20594"/>
                </a:cubicBezTo>
                <a:close/>
                <a:moveTo>
                  <a:pt x="3656" y="20531"/>
                </a:moveTo>
                <a:cubicBezTo>
                  <a:pt x="3500" y="20406"/>
                  <a:pt x="3343" y="20312"/>
                  <a:pt x="3187" y="20219"/>
                </a:cubicBezTo>
                <a:cubicBezTo>
                  <a:pt x="2968" y="20094"/>
                  <a:pt x="2781" y="19969"/>
                  <a:pt x="2562" y="19875"/>
                </a:cubicBezTo>
                <a:cubicBezTo>
                  <a:pt x="2500" y="19875"/>
                  <a:pt x="2437" y="19812"/>
                  <a:pt x="2343" y="19844"/>
                </a:cubicBezTo>
                <a:cubicBezTo>
                  <a:pt x="2312" y="19750"/>
                  <a:pt x="2187" y="19781"/>
                  <a:pt x="2125" y="19750"/>
                </a:cubicBezTo>
                <a:cubicBezTo>
                  <a:pt x="2187" y="19812"/>
                  <a:pt x="2281" y="19812"/>
                  <a:pt x="2343" y="19844"/>
                </a:cubicBezTo>
                <a:cubicBezTo>
                  <a:pt x="2437" y="19875"/>
                  <a:pt x="2531" y="19906"/>
                  <a:pt x="2625" y="19937"/>
                </a:cubicBezTo>
                <a:cubicBezTo>
                  <a:pt x="2656" y="19969"/>
                  <a:pt x="2687" y="19969"/>
                  <a:pt x="2718" y="20000"/>
                </a:cubicBezTo>
                <a:cubicBezTo>
                  <a:pt x="2812" y="20031"/>
                  <a:pt x="2937" y="20125"/>
                  <a:pt x="3031" y="20187"/>
                </a:cubicBezTo>
                <a:cubicBezTo>
                  <a:pt x="3156" y="20250"/>
                  <a:pt x="3281" y="20344"/>
                  <a:pt x="3406" y="20406"/>
                </a:cubicBezTo>
                <a:cubicBezTo>
                  <a:pt x="3500" y="20469"/>
                  <a:pt x="3562" y="20531"/>
                  <a:pt x="3656" y="20562"/>
                </a:cubicBezTo>
                <a:cubicBezTo>
                  <a:pt x="3656" y="20594"/>
                  <a:pt x="3656" y="20594"/>
                  <a:pt x="3687" y="20594"/>
                </a:cubicBezTo>
                <a:cubicBezTo>
                  <a:pt x="3750" y="20594"/>
                  <a:pt x="3750" y="20594"/>
                  <a:pt x="3750" y="20594"/>
                </a:cubicBezTo>
                <a:cubicBezTo>
                  <a:pt x="3750" y="20594"/>
                  <a:pt x="3750" y="20594"/>
                  <a:pt x="3750" y="20594"/>
                </a:cubicBezTo>
                <a:cubicBezTo>
                  <a:pt x="3718" y="20562"/>
                  <a:pt x="3687" y="20531"/>
                  <a:pt x="3656" y="20531"/>
                </a:cubicBezTo>
                <a:close/>
                <a:moveTo>
                  <a:pt x="16000" y="20594"/>
                </a:moveTo>
                <a:cubicBezTo>
                  <a:pt x="16000" y="20594"/>
                  <a:pt x="15968" y="20594"/>
                  <a:pt x="15968" y="20594"/>
                </a:cubicBezTo>
                <a:cubicBezTo>
                  <a:pt x="16031" y="20594"/>
                  <a:pt x="16031" y="20594"/>
                  <a:pt x="16031" y="20594"/>
                </a:cubicBezTo>
                <a:cubicBezTo>
                  <a:pt x="16031" y="20594"/>
                  <a:pt x="16031" y="20594"/>
                  <a:pt x="16031" y="20594"/>
                </a:cubicBezTo>
                <a:cubicBezTo>
                  <a:pt x="16031" y="20562"/>
                  <a:pt x="16000" y="20562"/>
                  <a:pt x="16000" y="20594"/>
                </a:cubicBezTo>
                <a:close/>
                <a:moveTo>
                  <a:pt x="2187" y="20281"/>
                </a:moveTo>
                <a:cubicBezTo>
                  <a:pt x="2093" y="20250"/>
                  <a:pt x="2000" y="20219"/>
                  <a:pt x="1875" y="20187"/>
                </a:cubicBezTo>
                <a:cubicBezTo>
                  <a:pt x="1750" y="20125"/>
                  <a:pt x="1593" y="20094"/>
                  <a:pt x="1468" y="20062"/>
                </a:cubicBezTo>
                <a:cubicBezTo>
                  <a:pt x="1218" y="20000"/>
                  <a:pt x="1000" y="19937"/>
                  <a:pt x="781" y="19906"/>
                </a:cubicBezTo>
                <a:cubicBezTo>
                  <a:pt x="687" y="19906"/>
                  <a:pt x="562" y="19875"/>
                  <a:pt x="468" y="19844"/>
                </a:cubicBezTo>
                <a:cubicBezTo>
                  <a:pt x="437" y="19844"/>
                  <a:pt x="437" y="19844"/>
                  <a:pt x="406" y="19844"/>
                </a:cubicBezTo>
                <a:cubicBezTo>
                  <a:pt x="406" y="19844"/>
                  <a:pt x="375" y="19844"/>
                  <a:pt x="375" y="19844"/>
                </a:cubicBezTo>
                <a:cubicBezTo>
                  <a:pt x="375" y="19844"/>
                  <a:pt x="375" y="19844"/>
                  <a:pt x="375" y="19844"/>
                </a:cubicBezTo>
                <a:cubicBezTo>
                  <a:pt x="281" y="19844"/>
                  <a:pt x="218" y="19812"/>
                  <a:pt x="156" y="19812"/>
                </a:cubicBezTo>
                <a:cubicBezTo>
                  <a:pt x="125" y="19812"/>
                  <a:pt x="62" y="19750"/>
                  <a:pt x="31" y="19812"/>
                </a:cubicBezTo>
                <a:cubicBezTo>
                  <a:pt x="31" y="19875"/>
                  <a:pt x="125" y="19875"/>
                  <a:pt x="156" y="19875"/>
                </a:cubicBezTo>
                <a:cubicBezTo>
                  <a:pt x="375" y="19906"/>
                  <a:pt x="593" y="19937"/>
                  <a:pt x="812" y="19969"/>
                </a:cubicBezTo>
                <a:cubicBezTo>
                  <a:pt x="1093" y="20031"/>
                  <a:pt x="1375" y="20062"/>
                  <a:pt x="1625" y="20156"/>
                </a:cubicBezTo>
                <a:cubicBezTo>
                  <a:pt x="1812" y="20219"/>
                  <a:pt x="2031" y="20281"/>
                  <a:pt x="2218" y="20344"/>
                </a:cubicBezTo>
                <a:cubicBezTo>
                  <a:pt x="2343" y="20406"/>
                  <a:pt x="2468" y="20500"/>
                  <a:pt x="2593" y="20594"/>
                </a:cubicBezTo>
                <a:cubicBezTo>
                  <a:pt x="2718" y="20594"/>
                  <a:pt x="2718" y="20594"/>
                  <a:pt x="2718" y="20594"/>
                </a:cubicBezTo>
                <a:cubicBezTo>
                  <a:pt x="2625" y="20531"/>
                  <a:pt x="2562" y="20500"/>
                  <a:pt x="2500" y="20437"/>
                </a:cubicBezTo>
                <a:cubicBezTo>
                  <a:pt x="2406" y="20406"/>
                  <a:pt x="2312" y="20312"/>
                  <a:pt x="2187" y="20281"/>
                </a:cubicBezTo>
                <a:close/>
                <a:moveTo>
                  <a:pt x="3187" y="20594"/>
                </a:moveTo>
                <a:cubicBezTo>
                  <a:pt x="3281" y="20594"/>
                  <a:pt x="3281" y="20594"/>
                  <a:pt x="3281" y="20594"/>
                </a:cubicBezTo>
                <a:cubicBezTo>
                  <a:pt x="3250" y="20594"/>
                  <a:pt x="3218" y="20562"/>
                  <a:pt x="3218" y="20562"/>
                </a:cubicBezTo>
                <a:cubicBezTo>
                  <a:pt x="3062" y="20469"/>
                  <a:pt x="2906" y="20344"/>
                  <a:pt x="2750" y="20250"/>
                </a:cubicBezTo>
                <a:cubicBezTo>
                  <a:pt x="2718" y="20219"/>
                  <a:pt x="2687" y="20187"/>
                  <a:pt x="2656" y="20187"/>
                </a:cubicBezTo>
                <a:lnTo>
                  <a:pt x="2656" y="20187"/>
                </a:lnTo>
                <a:cubicBezTo>
                  <a:pt x="2593" y="20156"/>
                  <a:pt x="2531" y="20125"/>
                  <a:pt x="2468" y="20094"/>
                </a:cubicBezTo>
                <a:cubicBezTo>
                  <a:pt x="2531" y="20156"/>
                  <a:pt x="2562" y="20187"/>
                  <a:pt x="2656" y="20219"/>
                </a:cubicBezTo>
                <a:cubicBezTo>
                  <a:pt x="2656" y="20219"/>
                  <a:pt x="2656" y="20219"/>
                  <a:pt x="2656" y="20219"/>
                </a:cubicBezTo>
                <a:cubicBezTo>
                  <a:pt x="2687" y="20219"/>
                  <a:pt x="2687" y="20250"/>
                  <a:pt x="2750" y="20250"/>
                </a:cubicBezTo>
                <a:cubicBezTo>
                  <a:pt x="2718" y="20281"/>
                  <a:pt x="2750" y="20281"/>
                  <a:pt x="2750" y="20281"/>
                </a:cubicBezTo>
                <a:cubicBezTo>
                  <a:pt x="2812" y="20312"/>
                  <a:pt x="2875" y="20375"/>
                  <a:pt x="2937" y="20437"/>
                </a:cubicBezTo>
                <a:cubicBezTo>
                  <a:pt x="3031" y="20500"/>
                  <a:pt x="3093" y="20562"/>
                  <a:pt x="3187" y="20594"/>
                </a:cubicBezTo>
                <a:cubicBezTo>
                  <a:pt x="3187" y="20594"/>
                  <a:pt x="3218" y="20562"/>
                  <a:pt x="3218" y="20562"/>
                </a:cubicBezTo>
                <a:moveTo>
                  <a:pt x="3718" y="19844"/>
                </a:moveTo>
                <a:cubicBezTo>
                  <a:pt x="3500" y="19719"/>
                  <a:pt x="3250" y="19625"/>
                  <a:pt x="3000" y="19594"/>
                </a:cubicBezTo>
                <a:cubicBezTo>
                  <a:pt x="3000" y="19562"/>
                  <a:pt x="3000" y="19562"/>
                  <a:pt x="2968" y="19562"/>
                </a:cubicBezTo>
                <a:cubicBezTo>
                  <a:pt x="2843" y="19562"/>
                  <a:pt x="2718" y="19500"/>
                  <a:pt x="2593" y="19500"/>
                </a:cubicBezTo>
                <a:cubicBezTo>
                  <a:pt x="2718" y="19562"/>
                  <a:pt x="2843" y="19562"/>
                  <a:pt x="3000" y="19594"/>
                </a:cubicBezTo>
                <a:cubicBezTo>
                  <a:pt x="3000" y="19625"/>
                  <a:pt x="3031" y="19625"/>
                  <a:pt x="3062" y="19625"/>
                </a:cubicBezTo>
                <a:cubicBezTo>
                  <a:pt x="3125" y="19625"/>
                  <a:pt x="3218" y="19656"/>
                  <a:pt x="3281" y="19687"/>
                </a:cubicBezTo>
                <a:cubicBezTo>
                  <a:pt x="3562" y="19781"/>
                  <a:pt x="3781" y="19937"/>
                  <a:pt x="4031" y="20094"/>
                </a:cubicBezTo>
                <a:cubicBezTo>
                  <a:pt x="4218" y="20219"/>
                  <a:pt x="4406" y="20312"/>
                  <a:pt x="4593" y="20437"/>
                </a:cubicBezTo>
                <a:cubicBezTo>
                  <a:pt x="4687" y="20500"/>
                  <a:pt x="4781" y="20562"/>
                  <a:pt x="4875" y="20594"/>
                </a:cubicBezTo>
                <a:cubicBezTo>
                  <a:pt x="4968" y="20594"/>
                  <a:pt x="4968" y="20594"/>
                  <a:pt x="4968" y="20594"/>
                </a:cubicBezTo>
                <a:cubicBezTo>
                  <a:pt x="4687" y="20469"/>
                  <a:pt x="4468" y="20312"/>
                  <a:pt x="4218" y="20187"/>
                </a:cubicBezTo>
                <a:cubicBezTo>
                  <a:pt x="4062" y="20062"/>
                  <a:pt x="3906" y="19969"/>
                  <a:pt x="3718" y="19844"/>
                </a:cubicBezTo>
                <a:close/>
                <a:moveTo>
                  <a:pt x="15156" y="20594"/>
                </a:moveTo>
                <a:cubicBezTo>
                  <a:pt x="15125" y="20594"/>
                  <a:pt x="15093" y="20594"/>
                  <a:pt x="15062" y="20594"/>
                </a:cubicBezTo>
                <a:cubicBezTo>
                  <a:pt x="15031" y="20594"/>
                  <a:pt x="14968" y="20562"/>
                  <a:pt x="14968" y="20594"/>
                </a:cubicBezTo>
                <a:cubicBezTo>
                  <a:pt x="15218" y="20594"/>
                  <a:pt x="15218" y="20594"/>
                  <a:pt x="15218" y="20594"/>
                </a:cubicBezTo>
                <a:cubicBezTo>
                  <a:pt x="15218" y="20562"/>
                  <a:pt x="15187" y="20562"/>
                  <a:pt x="15156" y="20594"/>
                </a:cubicBezTo>
                <a:close/>
                <a:moveTo>
                  <a:pt x="9031" y="20594"/>
                </a:moveTo>
                <a:cubicBezTo>
                  <a:pt x="9156" y="20594"/>
                  <a:pt x="9156" y="20594"/>
                  <a:pt x="9156" y="20594"/>
                </a:cubicBezTo>
                <a:cubicBezTo>
                  <a:pt x="9093" y="20562"/>
                  <a:pt x="9093" y="20562"/>
                  <a:pt x="9031" y="20594"/>
                </a:cubicBezTo>
                <a:close/>
                <a:moveTo>
                  <a:pt x="16812" y="20594"/>
                </a:moveTo>
                <a:cubicBezTo>
                  <a:pt x="16812" y="20594"/>
                  <a:pt x="16812" y="20594"/>
                  <a:pt x="16781" y="20594"/>
                </a:cubicBezTo>
                <a:cubicBezTo>
                  <a:pt x="16812" y="20594"/>
                  <a:pt x="16812" y="20594"/>
                  <a:pt x="16812" y="20594"/>
                </a:cubicBezTo>
                <a:cubicBezTo>
                  <a:pt x="16812" y="20594"/>
                  <a:pt x="16812" y="20594"/>
                  <a:pt x="16812" y="20594"/>
                </a:cubicBezTo>
                <a:cubicBezTo>
                  <a:pt x="16812" y="20594"/>
                  <a:pt x="16812" y="20594"/>
                  <a:pt x="16812" y="20594"/>
                </a:cubicBezTo>
                <a:close/>
                <a:moveTo>
                  <a:pt x="17125" y="20594"/>
                </a:moveTo>
                <a:cubicBezTo>
                  <a:pt x="17156" y="20594"/>
                  <a:pt x="17156" y="20594"/>
                  <a:pt x="17156" y="20594"/>
                </a:cubicBezTo>
                <a:cubicBezTo>
                  <a:pt x="17125" y="20594"/>
                  <a:pt x="17125" y="20594"/>
                  <a:pt x="17125" y="20594"/>
                </a:cubicBezTo>
                <a:close/>
                <a:moveTo>
                  <a:pt x="16218" y="20594"/>
                </a:moveTo>
                <a:cubicBezTo>
                  <a:pt x="16218" y="20594"/>
                  <a:pt x="16218" y="20594"/>
                  <a:pt x="16218" y="20594"/>
                </a:cubicBezTo>
                <a:cubicBezTo>
                  <a:pt x="16250" y="20594"/>
                  <a:pt x="16250" y="20594"/>
                  <a:pt x="16250" y="20594"/>
                </a:cubicBezTo>
                <a:cubicBezTo>
                  <a:pt x="16250" y="20594"/>
                  <a:pt x="16250" y="20562"/>
                  <a:pt x="16218" y="20594"/>
                </a:cubicBezTo>
                <a:close/>
                <a:moveTo>
                  <a:pt x="16687" y="20594"/>
                </a:moveTo>
                <a:cubicBezTo>
                  <a:pt x="16718" y="20594"/>
                  <a:pt x="16718" y="20594"/>
                  <a:pt x="16718" y="20594"/>
                </a:cubicBezTo>
                <a:cubicBezTo>
                  <a:pt x="16718" y="20594"/>
                  <a:pt x="16687" y="20594"/>
                  <a:pt x="16687" y="20594"/>
                </a:cubicBezTo>
                <a:close/>
                <a:moveTo>
                  <a:pt x="15718" y="20594"/>
                </a:moveTo>
                <a:cubicBezTo>
                  <a:pt x="15750" y="20594"/>
                  <a:pt x="15750" y="20594"/>
                  <a:pt x="15750" y="20594"/>
                </a:cubicBezTo>
                <a:cubicBezTo>
                  <a:pt x="15750" y="20594"/>
                  <a:pt x="15750" y="20594"/>
                  <a:pt x="15750" y="20594"/>
                </a:cubicBezTo>
                <a:cubicBezTo>
                  <a:pt x="15750" y="20594"/>
                  <a:pt x="15750" y="20594"/>
                  <a:pt x="15718" y="20594"/>
                </a:cubicBezTo>
                <a:close/>
                <a:moveTo>
                  <a:pt x="14843" y="20594"/>
                </a:moveTo>
                <a:cubicBezTo>
                  <a:pt x="14843" y="20594"/>
                  <a:pt x="14843" y="20594"/>
                  <a:pt x="14812" y="20594"/>
                </a:cubicBezTo>
                <a:cubicBezTo>
                  <a:pt x="14875" y="20594"/>
                  <a:pt x="14875" y="20594"/>
                  <a:pt x="14875" y="20594"/>
                </a:cubicBezTo>
                <a:cubicBezTo>
                  <a:pt x="14875" y="20594"/>
                  <a:pt x="14875" y="20562"/>
                  <a:pt x="14843" y="20594"/>
                </a:cubicBezTo>
                <a:close/>
                <a:moveTo>
                  <a:pt x="14781" y="20594"/>
                </a:moveTo>
                <a:cubicBezTo>
                  <a:pt x="14781" y="20594"/>
                  <a:pt x="14781" y="20594"/>
                  <a:pt x="14781" y="20594"/>
                </a:cubicBezTo>
                <a:cubicBezTo>
                  <a:pt x="14781" y="20594"/>
                  <a:pt x="14781" y="20594"/>
                  <a:pt x="14781" y="20594"/>
                </a:cubicBezTo>
                <a:cubicBezTo>
                  <a:pt x="14781" y="20594"/>
                  <a:pt x="14781" y="20594"/>
                  <a:pt x="14781" y="20594"/>
                </a:cubicBezTo>
                <a:close/>
                <a:moveTo>
                  <a:pt x="14468" y="20562"/>
                </a:moveTo>
                <a:cubicBezTo>
                  <a:pt x="14437" y="20562"/>
                  <a:pt x="14406" y="20594"/>
                  <a:pt x="14406" y="20594"/>
                </a:cubicBezTo>
                <a:cubicBezTo>
                  <a:pt x="14531" y="20594"/>
                  <a:pt x="14531" y="20594"/>
                  <a:pt x="14531" y="20594"/>
                </a:cubicBezTo>
                <a:cubicBezTo>
                  <a:pt x="14500" y="20562"/>
                  <a:pt x="14468" y="20594"/>
                  <a:pt x="14468" y="20562"/>
                </a:cubicBezTo>
                <a:close/>
                <a:moveTo>
                  <a:pt x="15312" y="20594"/>
                </a:moveTo>
                <a:cubicBezTo>
                  <a:pt x="15343" y="20594"/>
                  <a:pt x="15343" y="20594"/>
                  <a:pt x="15343" y="20594"/>
                </a:cubicBezTo>
                <a:cubicBezTo>
                  <a:pt x="15312" y="20594"/>
                  <a:pt x="15312" y="20594"/>
                  <a:pt x="15312" y="20594"/>
                </a:cubicBezTo>
                <a:cubicBezTo>
                  <a:pt x="15312" y="20562"/>
                  <a:pt x="15312" y="20594"/>
                  <a:pt x="15312" y="20594"/>
                </a:cubicBezTo>
                <a:close/>
                <a:moveTo>
                  <a:pt x="12500" y="5875"/>
                </a:moveTo>
                <a:cubicBezTo>
                  <a:pt x="12500" y="5875"/>
                  <a:pt x="12500" y="5875"/>
                  <a:pt x="12531" y="5844"/>
                </a:cubicBezTo>
                <a:cubicBezTo>
                  <a:pt x="12500" y="5844"/>
                  <a:pt x="12500" y="5844"/>
                  <a:pt x="12500" y="5844"/>
                </a:cubicBezTo>
                <a:cubicBezTo>
                  <a:pt x="12500" y="5844"/>
                  <a:pt x="12500" y="5844"/>
                  <a:pt x="12500" y="5844"/>
                </a:cubicBezTo>
                <a:cubicBezTo>
                  <a:pt x="12500" y="5844"/>
                  <a:pt x="12500" y="5875"/>
                  <a:pt x="12500" y="5875"/>
                </a:cubicBezTo>
                <a:close/>
                <a:moveTo>
                  <a:pt x="12406" y="5844"/>
                </a:moveTo>
                <a:cubicBezTo>
                  <a:pt x="12406" y="5844"/>
                  <a:pt x="12375" y="5844"/>
                  <a:pt x="12375" y="5875"/>
                </a:cubicBezTo>
                <a:cubicBezTo>
                  <a:pt x="12375" y="5875"/>
                  <a:pt x="12406" y="5875"/>
                  <a:pt x="12406" y="5875"/>
                </a:cubicBezTo>
                <a:cubicBezTo>
                  <a:pt x="12437" y="5875"/>
                  <a:pt x="12437" y="5875"/>
                  <a:pt x="12437" y="5875"/>
                </a:cubicBezTo>
                <a:cubicBezTo>
                  <a:pt x="12437" y="5844"/>
                  <a:pt x="12437" y="5844"/>
                  <a:pt x="12406" y="5844"/>
                </a:cubicBezTo>
                <a:close/>
                <a:moveTo>
                  <a:pt x="11812" y="6219"/>
                </a:moveTo>
                <a:cubicBezTo>
                  <a:pt x="11812" y="6219"/>
                  <a:pt x="11812" y="6187"/>
                  <a:pt x="11812" y="6187"/>
                </a:cubicBezTo>
                <a:cubicBezTo>
                  <a:pt x="11781" y="6219"/>
                  <a:pt x="11750" y="6250"/>
                  <a:pt x="11750" y="6281"/>
                </a:cubicBezTo>
                <a:cubicBezTo>
                  <a:pt x="11750" y="6312"/>
                  <a:pt x="11750" y="6344"/>
                  <a:pt x="11718" y="6375"/>
                </a:cubicBezTo>
                <a:cubicBezTo>
                  <a:pt x="11718" y="6375"/>
                  <a:pt x="11718" y="6406"/>
                  <a:pt x="11718" y="6437"/>
                </a:cubicBezTo>
                <a:cubicBezTo>
                  <a:pt x="11750" y="6437"/>
                  <a:pt x="11750" y="6406"/>
                  <a:pt x="11750" y="6406"/>
                </a:cubicBezTo>
                <a:cubicBezTo>
                  <a:pt x="11781" y="6406"/>
                  <a:pt x="11781" y="6406"/>
                  <a:pt x="11781" y="6437"/>
                </a:cubicBezTo>
                <a:cubicBezTo>
                  <a:pt x="11781" y="6469"/>
                  <a:pt x="11812" y="6469"/>
                  <a:pt x="11843" y="6469"/>
                </a:cubicBezTo>
                <a:cubicBezTo>
                  <a:pt x="11812" y="6469"/>
                  <a:pt x="11812" y="6500"/>
                  <a:pt x="11812" y="6500"/>
                </a:cubicBezTo>
                <a:cubicBezTo>
                  <a:pt x="11812" y="6500"/>
                  <a:pt x="11812" y="6469"/>
                  <a:pt x="11843" y="6469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843" y="6437"/>
                  <a:pt x="11843" y="6437"/>
                  <a:pt x="11843" y="6437"/>
                </a:cubicBezTo>
                <a:cubicBezTo>
                  <a:pt x="11968" y="6312"/>
                  <a:pt x="12093" y="6187"/>
                  <a:pt x="12281" y="6125"/>
                </a:cubicBezTo>
                <a:cubicBezTo>
                  <a:pt x="12375" y="6094"/>
                  <a:pt x="12500" y="6062"/>
                  <a:pt x="12625" y="6062"/>
                </a:cubicBezTo>
                <a:cubicBezTo>
                  <a:pt x="12781" y="6062"/>
                  <a:pt x="12937" y="6094"/>
                  <a:pt x="13093" y="6187"/>
                </a:cubicBezTo>
                <a:cubicBezTo>
                  <a:pt x="13187" y="6281"/>
                  <a:pt x="13281" y="6375"/>
                  <a:pt x="13312" y="6531"/>
                </a:cubicBezTo>
                <a:cubicBezTo>
                  <a:pt x="13312" y="6531"/>
                  <a:pt x="13312" y="6531"/>
                  <a:pt x="13312" y="6531"/>
                </a:cubicBezTo>
                <a:cubicBezTo>
                  <a:pt x="13312" y="6531"/>
                  <a:pt x="13312" y="6531"/>
                  <a:pt x="13312" y="6531"/>
                </a:cubicBezTo>
                <a:cubicBezTo>
                  <a:pt x="13343" y="6531"/>
                  <a:pt x="13343" y="6531"/>
                  <a:pt x="13343" y="6531"/>
                </a:cubicBezTo>
                <a:cubicBezTo>
                  <a:pt x="13375" y="6531"/>
                  <a:pt x="13375" y="6500"/>
                  <a:pt x="13375" y="6500"/>
                </a:cubicBezTo>
                <a:cubicBezTo>
                  <a:pt x="13343" y="6469"/>
                  <a:pt x="13312" y="6437"/>
                  <a:pt x="13312" y="6375"/>
                </a:cubicBezTo>
                <a:cubicBezTo>
                  <a:pt x="13250" y="6312"/>
                  <a:pt x="13218" y="6250"/>
                  <a:pt x="13156" y="6187"/>
                </a:cubicBezTo>
                <a:cubicBezTo>
                  <a:pt x="13062" y="6125"/>
                  <a:pt x="12968" y="6094"/>
                  <a:pt x="12875" y="6062"/>
                </a:cubicBezTo>
                <a:cubicBezTo>
                  <a:pt x="12843" y="6031"/>
                  <a:pt x="12781" y="6000"/>
                  <a:pt x="12750" y="6031"/>
                </a:cubicBezTo>
                <a:cubicBezTo>
                  <a:pt x="12750" y="6031"/>
                  <a:pt x="12750" y="6031"/>
                  <a:pt x="12750" y="6000"/>
                </a:cubicBezTo>
                <a:cubicBezTo>
                  <a:pt x="12781" y="6000"/>
                  <a:pt x="12843" y="6000"/>
                  <a:pt x="12906" y="6000"/>
                </a:cubicBezTo>
                <a:cubicBezTo>
                  <a:pt x="12875" y="5937"/>
                  <a:pt x="12781" y="5969"/>
                  <a:pt x="12718" y="5937"/>
                </a:cubicBezTo>
                <a:cubicBezTo>
                  <a:pt x="12781" y="5906"/>
                  <a:pt x="12843" y="5937"/>
                  <a:pt x="12906" y="5937"/>
                </a:cubicBezTo>
                <a:cubicBezTo>
                  <a:pt x="12875" y="5875"/>
                  <a:pt x="12812" y="5875"/>
                  <a:pt x="12781" y="5875"/>
                </a:cubicBezTo>
                <a:cubicBezTo>
                  <a:pt x="12750" y="5875"/>
                  <a:pt x="12718" y="5844"/>
                  <a:pt x="12656" y="5875"/>
                </a:cubicBezTo>
                <a:cubicBezTo>
                  <a:pt x="12656" y="5875"/>
                  <a:pt x="12656" y="5844"/>
                  <a:pt x="12656" y="5844"/>
                </a:cubicBezTo>
                <a:cubicBezTo>
                  <a:pt x="12656" y="5812"/>
                  <a:pt x="12625" y="5781"/>
                  <a:pt x="12593" y="5812"/>
                </a:cubicBezTo>
                <a:cubicBezTo>
                  <a:pt x="12531" y="5812"/>
                  <a:pt x="12500" y="5781"/>
                  <a:pt x="12468" y="5812"/>
                </a:cubicBezTo>
                <a:cubicBezTo>
                  <a:pt x="12468" y="5812"/>
                  <a:pt x="12437" y="5812"/>
                  <a:pt x="12437" y="5812"/>
                </a:cubicBezTo>
                <a:cubicBezTo>
                  <a:pt x="12437" y="5781"/>
                  <a:pt x="12468" y="5781"/>
                  <a:pt x="12468" y="5781"/>
                </a:cubicBezTo>
                <a:cubicBezTo>
                  <a:pt x="12500" y="5781"/>
                  <a:pt x="12500" y="5781"/>
                  <a:pt x="12531" y="5781"/>
                </a:cubicBezTo>
                <a:lnTo>
                  <a:pt x="12531" y="5781"/>
                </a:lnTo>
                <a:cubicBezTo>
                  <a:pt x="12562" y="5781"/>
                  <a:pt x="12593" y="5750"/>
                  <a:pt x="12562" y="5719"/>
                </a:cubicBezTo>
                <a:cubicBezTo>
                  <a:pt x="12468" y="5719"/>
                  <a:pt x="12375" y="5719"/>
                  <a:pt x="12281" y="5750"/>
                </a:cubicBezTo>
                <a:cubicBezTo>
                  <a:pt x="12281" y="5750"/>
                  <a:pt x="12250" y="5750"/>
                  <a:pt x="12250" y="5781"/>
                </a:cubicBezTo>
                <a:cubicBezTo>
                  <a:pt x="12250" y="5781"/>
                  <a:pt x="12250" y="5781"/>
                  <a:pt x="12250" y="5781"/>
                </a:cubicBezTo>
                <a:cubicBezTo>
                  <a:pt x="12250" y="5812"/>
                  <a:pt x="12312" y="5781"/>
                  <a:pt x="12281" y="5812"/>
                </a:cubicBezTo>
                <a:cubicBezTo>
                  <a:pt x="12281" y="5844"/>
                  <a:pt x="12250" y="5812"/>
                  <a:pt x="12218" y="5812"/>
                </a:cubicBezTo>
                <a:cubicBezTo>
                  <a:pt x="12187" y="5781"/>
                  <a:pt x="12156" y="5812"/>
                  <a:pt x="12125" y="5812"/>
                </a:cubicBezTo>
                <a:cubicBezTo>
                  <a:pt x="12093" y="5812"/>
                  <a:pt x="12093" y="5812"/>
                  <a:pt x="12062" y="5812"/>
                </a:cubicBezTo>
                <a:cubicBezTo>
                  <a:pt x="12031" y="5844"/>
                  <a:pt x="11937" y="5844"/>
                  <a:pt x="11937" y="5906"/>
                </a:cubicBezTo>
                <a:cubicBezTo>
                  <a:pt x="11906" y="6000"/>
                  <a:pt x="11843" y="6031"/>
                  <a:pt x="11781" y="6094"/>
                </a:cubicBezTo>
                <a:cubicBezTo>
                  <a:pt x="11750" y="6125"/>
                  <a:pt x="11718" y="6156"/>
                  <a:pt x="11718" y="6187"/>
                </a:cubicBezTo>
                <a:cubicBezTo>
                  <a:pt x="11718" y="6219"/>
                  <a:pt x="11718" y="6219"/>
                  <a:pt x="11687" y="6219"/>
                </a:cubicBezTo>
                <a:cubicBezTo>
                  <a:pt x="11718" y="6219"/>
                  <a:pt x="11718" y="6219"/>
                  <a:pt x="11718" y="6187"/>
                </a:cubicBezTo>
                <a:cubicBezTo>
                  <a:pt x="11750" y="6219"/>
                  <a:pt x="11718" y="6250"/>
                  <a:pt x="11750" y="6281"/>
                </a:cubicBezTo>
                <a:cubicBezTo>
                  <a:pt x="11781" y="6281"/>
                  <a:pt x="11812" y="6250"/>
                  <a:pt x="11812" y="6219"/>
                </a:cubicBezTo>
                <a:close/>
                <a:moveTo>
                  <a:pt x="10093" y="10094"/>
                </a:moveTo>
                <a:cubicBezTo>
                  <a:pt x="10093" y="10094"/>
                  <a:pt x="10093" y="10094"/>
                  <a:pt x="10093" y="10094"/>
                </a:cubicBezTo>
                <a:cubicBezTo>
                  <a:pt x="10093" y="10094"/>
                  <a:pt x="10093" y="10094"/>
                  <a:pt x="10093" y="10094"/>
                </a:cubicBezTo>
                <a:cubicBezTo>
                  <a:pt x="10093" y="10094"/>
                  <a:pt x="10093" y="10094"/>
                  <a:pt x="10093" y="10094"/>
                </a:cubicBezTo>
                <a:cubicBezTo>
                  <a:pt x="10156" y="10156"/>
                  <a:pt x="10250" y="10094"/>
                  <a:pt x="10281" y="10156"/>
                </a:cubicBezTo>
                <a:cubicBezTo>
                  <a:pt x="10312" y="10187"/>
                  <a:pt x="10250" y="10219"/>
                  <a:pt x="10250" y="10250"/>
                </a:cubicBezTo>
                <a:cubicBezTo>
                  <a:pt x="10250" y="10250"/>
                  <a:pt x="10281" y="10250"/>
                  <a:pt x="10281" y="10281"/>
                </a:cubicBezTo>
                <a:cubicBezTo>
                  <a:pt x="10312" y="10281"/>
                  <a:pt x="10343" y="10281"/>
                  <a:pt x="10343" y="10344"/>
                </a:cubicBezTo>
                <a:cubicBezTo>
                  <a:pt x="10312" y="10375"/>
                  <a:pt x="10312" y="10437"/>
                  <a:pt x="10250" y="10375"/>
                </a:cubicBezTo>
                <a:cubicBezTo>
                  <a:pt x="10250" y="10375"/>
                  <a:pt x="10250" y="10375"/>
                  <a:pt x="10250" y="10375"/>
                </a:cubicBezTo>
                <a:cubicBezTo>
                  <a:pt x="10218" y="10375"/>
                  <a:pt x="10187" y="10344"/>
                  <a:pt x="10250" y="10312"/>
                </a:cubicBezTo>
                <a:cubicBezTo>
                  <a:pt x="10250" y="10312"/>
                  <a:pt x="10250" y="10281"/>
                  <a:pt x="10250" y="10250"/>
                </a:cubicBezTo>
                <a:cubicBezTo>
                  <a:pt x="10250" y="10250"/>
                  <a:pt x="10250" y="10250"/>
                  <a:pt x="10250" y="10250"/>
                </a:cubicBezTo>
                <a:lnTo>
                  <a:pt x="10250" y="10250"/>
                </a:lnTo>
                <a:cubicBezTo>
                  <a:pt x="10250" y="10250"/>
                  <a:pt x="10250" y="10250"/>
                  <a:pt x="10250" y="10250"/>
                </a:cubicBezTo>
                <a:cubicBezTo>
                  <a:pt x="10187" y="10250"/>
                  <a:pt x="10156" y="10187"/>
                  <a:pt x="10093" y="10219"/>
                </a:cubicBezTo>
                <a:cubicBezTo>
                  <a:pt x="10031" y="10219"/>
                  <a:pt x="10031" y="10156"/>
                  <a:pt x="10031" y="10125"/>
                </a:cubicBezTo>
                <a:cubicBezTo>
                  <a:pt x="10062" y="10125"/>
                  <a:pt x="10062" y="10125"/>
                  <a:pt x="10062" y="10125"/>
                </a:cubicBezTo>
                <a:cubicBezTo>
                  <a:pt x="10062" y="10125"/>
                  <a:pt x="10093" y="10094"/>
                  <a:pt x="10093" y="10094"/>
                </a:cubicBezTo>
                <a:close/>
                <a:moveTo>
                  <a:pt x="10312" y="10156"/>
                </a:moveTo>
                <a:cubicBezTo>
                  <a:pt x="10343" y="10125"/>
                  <a:pt x="10375" y="10125"/>
                  <a:pt x="10375" y="10125"/>
                </a:cubicBezTo>
                <a:cubicBezTo>
                  <a:pt x="10468" y="10219"/>
                  <a:pt x="10500" y="10219"/>
                  <a:pt x="10562" y="10062"/>
                </a:cubicBezTo>
                <a:lnTo>
                  <a:pt x="10562" y="10062"/>
                </a:lnTo>
                <a:cubicBezTo>
                  <a:pt x="10500" y="10094"/>
                  <a:pt x="10468" y="10156"/>
                  <a:pt x="10375" y="10125"/>
                </a:cubicBezTo>
                <a:cubicBezTo>
                  <a:pt x="10375" y="10094"/>
                  <a:pt x="10437" y="10062"/>
                  <a:pt x="10406" y="10031"/>
                </a:cubicBezTo>
                <a:cubicBezTo>
                  <a:pt x="10437" y="10031"/>
                  <a:pt x="10437" y="10031"/>
                  <a:pt x="10468" y="10000"/>
                </a:cubicBezTo>
                <a:cubicBezTo>
                  <a:pt x="10468" y="10000"/>
                  <a:pt x="10500" y="9969"/>
                  <a:pt x="10468" y="9969"/>
                </a:cubicBezTo>
                <a:lnTo>
                  <a:pt x="10468" y="9969"/>
                </a:lnTo>
                <a:cubicBezTo>
                  <a:pt x="10468" y="9937"/>
                  <a:pt x="10437" y="9969"/>
                  <a:pt x="10437" y="9969"/>
                </a:cubicBezTo>
                <a:cubicBezTo>
                  <a:pt x="10406" y="10000"/>
                  <a:pt x="10406" y="9969"/>
                  <a:pt x="10375" y="10000"/>
                </a:cubicBezTo>
                <a:cubicBezTo>
                  <a:pt x="10375" y="10000"/>
                  <a:pt x="10406" y="10000"/>
                  <a:pt x="10406" y="10031"/>
                </a:cubicBezTo>
                <a:cubicBezTo>
                  <a:pt x="10375" y="10031"/>
                  <a:pt x="10375" y="10062"/>
                  <a:pt x="10343" y="10094"/>
                </a:cubicBezTo>
                <a:cubicBezTo>
                  <a:pt x="10312" y="10125"/>
                  <a:pt x="10312" y="10094"/>
                  <a:pt x="10281" y="10094"/>
                </a:cubicBezTo>
                <a:cubicBezTo>
                  <a:pt x="10250" y="10094"/>
                  <a:pt x="10250" y="10062"/>
                  <a:pt x="10281" y="10062"/>
                </a:cubicBezTo>
                <a:cubicBezTo>
                  <a:pt x="10281" y="10031"/>
                  <a:pt x="10281" y="10000"/>
                  <a:pt x="10250" y="10000"/>
                </a:cubicBezTo>
                <a:cubicBezTo>
                  <a:pt x="10218" y="10000"/>
                  <a:pt x="10187" y="10000"/>
                  <a:pt x="10187" y="10031"/>
                </a:cubicBezTo>
                <a:cubicBezTo>
                  <a:pt x="10187" y="10125"/>
                  <a:pt x="10125" y="10062"/>
                  <a:pt x="10093" y="10062"/>
                </a:cubicBezTo>
                <a:cubicBezTo>
                  <a:pt x="10093" y="10031"/>
                  <a:pt x="10093" y="10031"/>
                  <a:pt x="10062" y="10031"/>
                </a:cubicBezTo>
                <a:cubicBezTo>
                  <a:pt x="10031" y="10062"/>
                  <a:pt x="10031" y="10031"/>
                  <a:pt x="10000" y="10031"/>
                </a:cubicBezTo>
                <a:cubicBezTo>
                  <a:pt x="10000" y="10000"/>
                  <a:pt x="9968" y="9969"/>
                  <a:pt x="9937" y="10000"/>
                </a:cubicBezTo>
                <a:cubicBezTo>
                  <a:pt x="9906" y="10031"/>
                  <a:pt x="9875" y="10000"/>
                  <a:pt x="9875" y="10000"/>
                </a:cubicBezTo>
                <a:cubicBezTo>
                  <a:pt x="9812" y="9969"/>
                  <a:pt x="9812" y="9969"/>
                  <a:pt x="9781" y="10031"/>
                </a:cubicBezTo>
                <a:cubicBezTo>
                  <a:pt x="9781" y="10031"/>
                  <a:pt x="9812" y="10062"/>
                  <a:pt x="9812" y="10031"/>
                </a:cubicBezTo>
                <a:cubicBezTo>
                  <a:pt x="9843" y="10000"/>
                  <a:pt x="9875" y="10031"/>
                  <a:pt x="9906" y="10062"/>
                </a:cubicBezTo>
                <a:cubicBezTo>
                  <a:pt x="9906" y="10094"/>
                  <a:pt x="9875" y="10125"/>
                  <a:pt x="9843" y="10125"/>
                </a:cubicBezTo>
                <a:cubicBezTo>
                  <a:pt x="9812" y="10156"/>
                  <a:pt x="9781" y="10156"/>
                  <a:pt x="9781" y="10094"/>
                </a:cubicBezTo>
                <a:cubicBezTo>
                  <a:pt x="9781" y="10062"/>
                  <a:pt x="9750" y="10062"/>
                  <a:pt x="9750" y="10062"/>
                </a:cubicBezTo>
                <a:cubicBezTo>
                  <a:pt x="9718" y="10094"/>
                  <a:pt x="9750" y="10094"/>
                  <a:pt x="9750" y="10094"/>
                </a:cubicBezTo>
                <a:cubicBezTo>
                  <a:pt x="9781" y="10156"/>
                  <a:pt x="9812" y="10187"/>
                  <a:pt x="9750" y="10250"/>
                </a:cubicBezTo>
                <a:cubicBezTo>
                  <a:pt x="9750" y="10250"/>
                  <a:pt x="9750" y="10281"/>
                  <a:pt x="9781" y="10281"/>
                </a:cubicBezTo>
                <a:cubicBezTo>
                  <a:pt x="9843" y="10344"/>
                  <a:pt x="9781" y="10375"/>
                  <a:pt x="9750" y="10406"/>
                </a:cubicBezTo>
                <a:cubicBezTo>
                  <a:pt x="9656" y="10469"/>
                  <a:pt x="9656" y="10469"/>
                  <a:pt x="9750" y="10531"/>
                </a:cubicBezTo>
                <a:cubicBezTo>
                  <a:pt x="9718" y="10500"/>
                  <a:pt x="9750" y="10469"/>
                  <a:pt x="9781" y="10437"/>
                </a:cubicBezTo>
                <a:cubicBezTo>
                  <a:pt x="9812" y="10375"/>
                  <a:pt x="9843" y="10437"/>
                  <a:pt x="9875" y="10437"/>
                </a:cubicBezTo>
                <a:cubicBezTo>
                  <a:pt x="9843" y="10406"/>
                  <a:pt x="9875" y="10375"/>
                  <a:pt x="9875" y="10312"/>
                </a:cubicBezTo>
                <a:cubicBezTo>
                  <a:pt x="9875" y="10281"/>
                  <a:pt x="9906" y="10250"/>
                  <a:pt x="9937" y="10250"/>
                </a:cubicBezTo>
                <a:cubicBezTo>
                  <a:pt x="9937" y="10250"/>
                  <a:pt x="9937" y="10250"/>
                  <a:pt x="9937" y="10281"/>
                </a:cubicBezTo>
                <a:lnTo>
                  <a:pt x="9937" y="10281"/>
                </a:lnTo>
                <a:cubicBezTo>
                  <a:pt x="9937" y="10312"/>
                  <a:pt x="9906" y="10312"/>
                  <a:pt x="9875" y="10312"/>
                </a:cubicBezTo>
                <a:cubicBezTo>
                  <a:pt x="9781" y="10250"/>
                  <a:pt x="9812" y="10187"/>
                  <a:pt x="9875" y="10156"/>
                </a:cubicBezTo>
                <a:cubicBezTo>
                  <a:pt x="9906" y="10156"/>
                  <a:pt x="9906" y="10125"/>
                  <a:pt x="9906" y="10125"/>
                </a:cubicBezTo>
                <a:cubicBezTo>
                  <a:pt x="9906" y="10094"/>
                  <a:pt x="9968" y="10062"/>
                  <a:pt x="10000" y="10062"/>
                </a:cubicBezTo>
                <a:cubicBezTo>
                  <a:pt x="10000" y="10062"/>
                  <a:pt x="10000" y="10062"/>
                  <a:pt x="10000" y="10062"/>
                </a:cubicBezTo>
                <a:cubicBezTo>
                  <a:pt x="10000" y="10094"/>
                  <a:pt x="10062" y="10094"/>
                  <a:pt x="10031" y="10125"/>
                </a:cubicBezTo>
                <a:cubicBezTo>
                  <a:pt x="10000" y="10125"/>
                  <a:pt x="9968" y="10187"/>
                  <a:pt x="9906" y="10187"/>
                </a:cubicBezTo>
                <a:cubicBezTo>
                  <a:pt x="9968" y="10250"/>
                  <a:pt x="10062" y="10219"/>
                  <a:pt x="10093" y="10281"/>
                </a:cubicBezTo>
                <a:cubicBezTo>
                  <a:pt x="10093" y="10281"/>
                  <a:pt x="10125" y="10250"/>
                  <a:pt x="10125" y="10250"/>
                </a:cubicBezTo>
                <a:cubicBezTo>
                  <a:pt x="10156" y="10250"/>
                  <a:pt x="10187" y="10250"/>
                  <a:pt x="10187" y="10281"/>
                </a:cubicBezTo>
                <a:cubicBezTo>
                  <a:pt x="10187" y="10312"/>
                  <a:pt x="10187" y="10344"/>
                  <a:pt x="10156" y="10375"/>
                </a:cubicBezTo>
                <a:cubicBezTo>
                  <a:pt x="10125" y="10375"/>
                  <a:pt x="10125" y="10375"/>
                  <a:pt x="10093" y="10344"/>
                </a:cubicBezTo>
                <a:cubicBezTo>
                  <a:pt x="10093" y="10344"/>
                  <a:pt x="10093" y="10344"/>
                  <a:pt x="10093" y="10344"/>
                </a:cubicBezTo>
                <a:cubicBezTo>
                  <a:pt x="10093" y="10344"/>
                  <a:pt x="10062" y="10344"/>
                  <a:pt x="10062" y="10312"/>
                </a:cubicBezTo>
                <a:cubicBezTo>
                  <a:pt x="10031" y="10281"/>
                  <a:pt x="10000" y="10312"/>
                  <a:pt x="9968" y="10312"/>
                </a:cubicBezTo>
                <a:cubicBezTo>
                  <a:pt x="9968" y="10406"/>
                  <a:pt x="9906" y="10406"/>
                  <a:pt x="9906" y="10469"/>
                </a:cubicBezTo>
                <a:cubicBezTo>
                  <a:pt x="9875" y="10469"/>
                  <a:pt x="9812" y="10500"/>
                  <a:pt x="9812" y="10531"/>
                </a:cubicBezTo>
                <a:lnTo>
                  <a:pt x="9812" y="10531"/>
                </a:lnTo>
                <a:cubicBezTo>
                  <a:pt x="9843" y="10562"/>
                  <a:pt x="9875" y="10531"/>
                  <a:pt x="9937" y="10562"/>
                </a:cubicBezTo>
                <a:cubicBezTo>
                  <a:pt x="9906" y="10531"/>
                  <a:pt x="9906" y="10500"/>
                  <a:pt x="9906" y="10469"/>
                </a:cubicBezTo>
                <a:cubicBezTo>
                  <a:pt x="9937" y="10469"/>
                  <a:pt x="9968" y="10469"/>
                  <a:pt x="10000" y="10406"/>
                </a:cubicBezTo>
                <a:cubicBezTo>
                  <a:pt x="10000" y="10375"/>
                  <a:pt x="10031" y="10344"/>
                  <a:pt x="10093" y="10375"/>
                </a:cubicBezTo>
                <a:cubicBezTo>
                  <a:pt x="10125" y="10406"/>
                  <a:pt x="10062" y="10437"/>
                  <a:pt x="10093" y="10469"/>
                </a:cubicBezTo>
                <a:cubicBezTo>
                  <a:pt x="10156" y="10469"/>
                  <a:pt x="10156" y="10375"/>
                  <a:pt x="10218" y="10406"/>
                </a:cubicBezTo>
                <a:cubicBezTo>
                  <a:pt x="10281" y="10437"/>
                  <a:pt x="10250" y="10469"/>
                  <a:pt x="10250" y="10500"/>
                </a:cubicBezTo>
                <a:cubicBezTo>
                  <a:pt x="10281" y="10500"/>
                  <a:pt x="10281" y="10469"/>
                  <a:pt x="10312" y="10437"/>
                </a:cubicBezTo>
                <a:cubicBezTo>
                  <a:pt x="10343" y="10437"/>
                  <a:pt x="10375" y="10437"/>
                  <a:pt x="10375" y="10469"/>
                </a:cubicBezTo>
                <a:cubicBezTo>
                  <a:pt x="10406" y="10500"/>
                  <a:pt x="10375" y="10500"/>
                  <a:pt x="10343" y="10531"/>
                </a:cubicBezTo>
                <a:cubicBezTo>
                  <a:pt x="10312" y="10562"/>
                  <a:pt x="10312" y="10562"/>
                  <a:pt x="10312" y="10594"/>
                </a:cubicBezTo>
                <a:cubicBezTo>
                  <a:pt x="10281" y="10594"/>
                  <a:pt x="10281" y="10625"/>
                  <a:pt x="10250" y="10656"/>
                </a:cubicBezTo>
                <a:lnTo>
                  <a:pt x="10250" y="10656"/>
                </a:lnTo>
                <a:cubicBezTo>
                  <a:pt x="10250" y="10656"/>
                  <a:pt x="10281" y="10687"/>
                  <a:pt x="10281" y="10687"/>
                </a:cubicBezTo>
                <a:cubicBezTo>
                  <a:pt x="10312" y="10656"/>
                  <a:pt x="10343" y="10625"/>
                  <a:pt x="10312" y="10594"/>
                </a:cubicBezTo>
                <a:cubicBezTo>
                  <a:pt x="10343" y="10594"/>
                  <a:pt x="10343" y="10594"/>
                  <a:pt x="10343" y="10594"/>
                </a:cubicBezTo>
                <a:cubicBezTo>
                  <a:pt x="10406" y="10594"/>
                  <a:pt x="10437" y="10562"/>
                  <a:pt x="10437" y="10656"/>
                </a:cubicBezTo>
                <a:cubicBezTo>
                  <a:pt x="10437" y="10656"/>
                  <a:pt x="10468" y="10656"/>
                  <a:pt x="10468" y="10656"/>
                </a:cubicBezTo>
                <a:cubicBezTo>
                  <a:pt x="10500" y="10625"/>
                  <a:pt x="10500" y="10562"/>
                  <a:pt x="10437" y="10562"/>
                </a:cubicBezTo>
                <a:cubicBezTo>
                  <a:pt x="10375" y="10531"/>
                  <a:pt x="10437" y="10500"/>
                  <a:pt x="10437" y="10469"/>
                </a:cubicBezTo>
                <a:cubicBezTo>
                  <a:pt x="10468" y="10437"/>
                  <a:pt x="10500" y="10469"/>
                  <a:pt x="10531" y="10469"/>
                </a:cubicBezTo>
                <a:cubicBezTo>
                  <a:pt x="10531" y="10500"/>
                  <a:pt x="10500" y="10531"/>
                  <a:pt x="10531" y="10562"/>
                </a:cubicBezTo>
                <a:cubicBezTo>
                  <a:pt x="10562" y="10531"/>
                  <a:pt x="10593" y="10500"/>
                  <a:pt x="10562" y="10469"/>
                </a:cubicBezTo>
                <a:cubicBezTo>
                  <a:pt x="10562" y="10469"/>
                  <a:pt x="10531" y="10469"/>
                  <a:pt x="10531" y="10469"/>
                </a:cubicBezTo>
                <a:cubicBezTo>
                  <a:pt x="10468" y="10406"/>
                  <a:pt x="10531" y="10375"/>
                  <a:pt x="10531" y="10312"/>
                </a:cubicBezTo>
                <a:cubicBezTo>
                  <a:pt x="10562" y="10344"/>
                  <a:pt x="10562" y="10375"/>
                  <a:pt x="10625" y="10375"/>
                </a:cubicBezTo>
                <a:cubicBezTo>
                  <a:pt x="10625" y="10406"/>
                  <a:pt x="10593" y="10437"/>
                  <a:pt x="10562" y="10469"/>
                </a:cubicBezTo>
                <a:cubicBezTo>
                  <a:pt x="10593" y="10469"/>
                  <a:pt x="10625" y="10437"/>
                  <a:pt x="10625" y="10437"/>
                </a:cubicBezTo>
                <a:cubicBezTo>
                  <a:pt x="10656" y="10406"/>
                  <a:pt x="10656" y="10375"/>
                  <a:pt x="10687" y="10375"/>
                </a:cubicBezTo>
                <a:cubicBezTo>
                  <a:pt x="10812" y="10437"/>
                  <a:pt x="10812" y="10437"/>
                  <a:pt x="10843" y="10375"/>
                </a:cubicBezTo>
                <a:cubicBezTo>
                  <a:pt x="10843" y="10375"/>
                  <a:pt x="10843" y="10375"/>
                  <a:pt x="10843" y="10375"/>
                </a:cubicBezTo>
                <a:cubicBezTo>
                  <a:pt x="10875" y="10375"/>
                  <a:pt x="10875" y="10344"/>
                  <a:pt x="10875" y="10344"/>
                </a:cubicBezTo>
                <a:lnTo>
                  <a:pt x="10875" y="10344"/>
                </a:lnTo>
                <a:cubicBezTo>
                  <a:pt x="10906" y="10250"/>
                  <a:pt x="10968" y="10312"/>
                  <a:pt x="11000" y="10312"/>
                </a:cubicBezTo>
                <a:cubicBezTo>
                  <a:pt x="11000" y="10312"/>
                  <a:pt x="11000" y="10375"/>
                  <a:pt x="11031" y="10344"/>
                </a:cubicBezTo>
                <a:cubicBezTo>
                  <a:pt x="11031" y="10344"/>
                  <a:pt x="11031" y="10344"/>
                  <a:pt x="11062" y="10312"/>
                </a:cubicBezTo>
                <a:cubicBezTo>
                  <a:pt x="11125" y="10344"/>
                  <a:pt x="11125" y="10375"/>
                  <a:pt x="11093" y="10406"/>
                </a:cubicBezTo>
                <a:cubicBezTo>
                  <a:pt x="11156" y="10375"/>
                  <a:pt x="11218" y="10344"/>
                  <a:pt x="11281" y="10375"/>
                </a:cubicBezTo>
                <a:lnTo>
                  <a:pt x="11281" y="10375"/>
                </a:lnTo>
                <a:cubicBezTo>
                  <a:pt x="11281" y="10375"/>
                  <a:pt x="11281" y="10406"/>
                  <a:pt x="11312" y="10406"/>
                </a:cubicBezTo>
                <a:cubicBezTo>
                  <a:pt x="11312" y="10375"/>
                  <a:pt x="11343" y="10375"/>
                  <a:pt x="11343" y="10344"/>
                </a:cubicBezTo>
                <a:cubicBezTo>
                  <a:pt x="11343" y="10312"/>
                  <a:pt x="11312" y="10344"/>
                  <a:pt x="11281" y="10344"/>
                </a:cubicBezTo>
                <a:cubicBezTo>
                  <a:pt x="11281" y="10375"/>
                  <a:pt x="11281" y="10375"/>
                  <a:pt x="11281" y="10375"/>
                </a:cubicBezTo>
                <a:cubicBezTo>
                  <a:pt x="11218" y="10312"/>
                  <a:pt x="11156" y="10312"/>
                  <a:pt x="11062" y="10312"/>
                </a:cubicBezTo>
                <a:cubicBezTo>
                  <a:pt x="11062" y="10281"/>
                  <a:pt x="11031" y="10281"/>
                  <a:pt x="11000" y="10281"/>
                </a:cubicBezTo>
                <a:cubicBezTo>
                  <a:pt x="10937" y="10281"/>
                  <a:pt x="10937" y="10250"/>
                  <a:pt x="10968" y="10187"/>
                </a:cubicBezTo>
                <a:cubicBezTo>
                  <a:pt x="11000" y="10187"/>
                  <a:pt x="11031" y="10187"/>
                  <a:pt x="11031" y="10156"/>
                </a:cubicBezTo>
                <a:cubicBezTo>
                  <a:pt x="11000" y="10156"/>
                  <a:pt x="11000" y="10156"/>
                  <a:pt x="11000" y="10156"/>
                </a:cubicBezTo>
                <a:cubicBezTo>
                  <a:pt x="10968" y="10156"/>
                  <a:pt x="10968" y="10156"/>
                  <a:pt x="10937" y="10187"/>
                </a:cubicBezTo>
                <a:cubicBezTo>
                  <a:pt x="10937" y="10250"/>
                  <a:pt x="10906" y="10281"/>
                  <a:pt x="10812" y="10250"/>
                </a:cubicBezTo>
                <a:cubicBezTo>
                  <a:pt x="10875" y="10281"/>
                  <a:pt x="10843" y="10312"/>
                  <a:pt x="10843" y="10375"/>
                </a:cubicBezTo>
                <a:cubicBezTo>
                  <a:pt x="10781" y="10375"/>
                  <a:pt x="10750" y="10375"/>
                  <a:pt x="10718" y="10344"/>
                </a:cubicBezTo>
                <a:cubicBezTo>
                  <a:pt x="10718" y="10344"/>
                  <a:pt x="10718" y="10344"/>
                  <a:pt x="10718" y="10344"/>
                </a:cubicBezTo>
                <a:cubicBezTo>
                  <a:pt x="10750" y="10312"/>
                  <a:pt x="10750" y="10312"/>
                  <a:pt x="10718" y="10312"/>
                </a:cubicBezTo>
                <a:cubicBezTo>
                  <a:pt x="10687" y="10281"/>
                  <a:pt x="10687" y="10312"/>
                  <a:pt x="10656" y="10344"/>
                </a:cubicBezTo>
                <a:cubicBezTo>
                  <a:pt x="10656" y="10375"/>
                  <a:pt x="10656" y="10375"/>
                  <a:pt x="10625" y="10375"/>
                </a:cubicBezTo>
                <a:cubicBezTo>
                  <a:pt x="10625" y="10312"/>
                  <a:pt x="10562" y="10312"/>
                  <a:pt x="10593" y="10281"/>
                </a:cubicBezTo>
                <a:lnTo>
                  <a:pt x="10593" y="10281"/>
                </a:lnTo>
                <a:cubicBezTo>
                  <a:pt x="10593" y="10250"/>
                  <a:pt x="10625" y="10250"/>
                  <a:pt x="10593" y="10219"/>
                </a:cubicBezTo>
                <a:cubicBezTo>
                  <a:pt x="10562" y="10219"/>
                  <a:pt x="10562" y="10250"/>
                  <a:pt x="10562" y="10250"/>
                </a:cubicBezTo>
                <a:cubicBezTo>
                  <a:pt x="10531" y="10281"/>
                  <a:pt x="10531" y="10281"/>
                  <a:pt x="10531" y="10312"/>
                </a:cubicBezTo>
                <a:cubicBezTo>
                  <a:pt x="10500" y="10312"/>
                  <a:pt x="10500" y="10312"/>
                  <a:pt x="10468" y="10312"/>
                </a:cubicBezTo>
                <a:cubicBezTo>
                  <a:pt x="10468" y="10312"/>
                  <a:pt x="10468" y="10312"/>
                  <a:pt x="10468" y="10312"/>
                </a:cubicBezTo>
                <a:lnTo>
                  <a:pt x="10468" y="10312"/>
                </a:lnTo>
                <a:cubicBezTo>
                  <a:pt x="10468" y="10312"/>
                  <a:pt x="10468" y="10312"/>
                  <a:pt x="10468" y="10312"/>
                </a:cubicBezTo>
                <a:cubicBezTo>
                  <a:pt x="10468" y="10281"/>
                  <a:pt x="10437" y="10281"/>
                  <a:pt x="10406" y="10281"/>
                </a:cubicBezTo>
                <a:cubicBezTo>
                  <a:pt x="10437" y="10281"/>
                  <a:pt x="10437" y="10250"/>
                  <a:pt x="10437" y="10250"/>
                </a:cubicBezTo>
                <a:cubicBezTo>
                  <a:pt x="10437" y="10250"/>
                  <a:pt x="10437" y="10250"/>
                  <a:pt x="10437" y="10250"/>
                </a:cubicBezTo>
                <a:cubicBezTo>
                  <a:pt x="10437" y="10219"/>
                  <a:pt x="10437" y="10219"/>
                  <a:pt x="10437" y="10219"/>
                </a:cubicBezTo>
                <a:cubicBezTo>
                  <a:pt x="10437" y="10219"/>
                  <a:pt x="10406" y="10219"/>
                  <a:pt x="10406" y="10219"/>
                </a:cubicBezTo>
                <a:cubicBezTo>
                  <a:pt x="10375" y="10281"/>
                  <a:pt x="10343" y="10281"/>
                  <a:pt x="10312" y="10250"/>
                </a:cubicBezTo>
                <a:cubicBezTo>
                  <a:pt x="10281" y="10219"/>
                  <a:pt x="10312" y="10219"/>
                  <a:pt x="10312" y="10187"/>
                </a:cubicBezTo>
                <a:cubicBezTo>
                  <a:pt x="10312" y="10156"/>
                  <a:pt x="10312" y="10156"/>
                  <a:pt x="10312" y="10156"/>
                </a:cubicBezTo>
                <a:close/>
                <a:moveTo>
                  <a:pt x="10593" y="11375"/>
                </a:moveTo>
                <a:cubicBezTo>
                  <a:pt x="10593" y="11406"/>
                  <a:pt x="10625" y="11406"/>
                  <a:pt x="10656" y="11406"/>
                </a:cubicBezTo>
                <a:cubicBezTo>
                  <a:pt x="10656" y="11437"/>
                  <a:pt x="10656" y="11469"/>
                  <a:pt x="10593" y="11469"/>
                </a:cubicBezTo>
                <a:cubicBezTo>
                  <a:pt x="10625" y="11437"/>
                  <a:pt x="10531" y="11469"/>
                  <a:pt x="10562" y="11406"/>
                </a:cubicBezTo>
                <a:lnTo>
                  <a:pt x="10562" y="11406"/>
                </a:lnTo>
                <a:cubicBezTo>
                  <a:pt x="10562" y="11375"/>
                  <a:pt x="10562" y="11375"/>
                  <a:pt x="10562" y="11344"/>
                </a:cubicBezTo>
                <a:cubicBezTo>
                  <a:pt x="10625" y="11344"/>
                  <a:pt x="10593" y="11281"/>
                  <a:pt x="10625" y="11250"/>
                </a:cubicBezTo>
                <a:cubicBezTo>
                  <a:pt x="10625" y="11250"/>
                  <a:pt x="10625" y="11250"/>
                  <a:pt x="10625" y="11250"/>
                </a:cubicBezTo>
                <a:cubicBezTo>
                  <a:pt x="10625" y="11250"/>
                  <a:pt x="10625" y="11250"/>
                  <a:pt x="10625" y="11250"/>
                </a:cubicBezTo>
                <a:cubicBezTo>
                  <a:pt x="10656" y="11250"/>
                  <a:pt x="10656" y="11219"/>
                  <a:pt x="10656" y="11187"/>
                </a:cubicBezTo>
                <a:cubicBezTo>
                  <a:pt x="10687" y="11156"/>
                  <a:pt x="10718" y="11187"/>
                  <a:pt x="10718" y="11187"/>
                </a:cubicBezTo>
                <a:cubicBezTo>
                  <a:pt x="10750" y="11219"/>
                  <a:pt x="10750" y="11219"/>
                  <a:pt x="10750" y="11250"/>
                </a:cubicBezTo>
                <a:cubicBezTo>
                  <a:pt x="10750" y="11281"/>
                  <a:pt x="10718" y="11281"/>
                  <a:pt x="10718" y="11281"/>
                </a:cubicBezTo>
                <a:cubicBezTo>
                  <a:pt x="10687" y="11281"/>
                  <a:pt x="10656" y="11250"/>
                  <a:pt x="10656" y="11281"/>
                </a:cubicBezTo>
                <a:cubicBezTo>
                  <a:pt x="10656" y="11312"/>
                  <a:pt x="10687" y="11312"/>
                  <a:pt x="10687" y="11312"/>
                </a:cubicBezTo>
                <a:cubicBezTo>
                  <a:pt x="10687" y="11312"/>
                  <a:pt x="10718" y="11312"/>
                  <a:pt x="10718" y="11344"/>
                </a:cubicBezTo>
                <a:cubicBezTo>
                  <a:pt x="10718" y="11312"/>
                  <a:pt x="10687" y="11312"/>
                  <a:pt x="10687" y="11312"/>
                </a:cubicBezTo>
                <a:cubicBezTo>
                  <a:pt x="10687" y="11344"/>
                  <a:pt x="10656" y="11344"/>
                  <a:pt x="10656" y="11375"/>
                </a:cubicBezTo>
                <a:cubicBezTo>
                  <a:pt x="10625" y="11375"/>
                  <a:pt x="10625" y="11344"/>
                  <a:pt x="10593" y="11375"/>
                </a:cubicBezTo>
                <a:close/>
                <a:moveTo>
                  <a:pt x="9656" y="12937"/>
                </a:moveTo>
                <a:cubicBezTo>
                  <a:pt x="9687" y="12937"/>
                  <a:pt x="9687" y="12937"/>
                  <a:pt x="9687" y="12937"/>
                </a:cubicBezTo>
                <a:cubicBezTo>
                  <a:pt x="9750" y="12906"/>
                  <a:pt x="9781" y="12937"/>
                  <a:pt x="9750" y="13000"/>
                </a:cubicBezTo>
                <a:cubicBezTo>
                  <a:pt x="9812" y="12969"/>
                  <a:pt x="9812" y="12937"/>
                  <a:pt x="9812" y="12906"/>
                </a:cubicBezTo>
                <a:cubicBezTo>
                  <a:pt x="9812" y="12906"/>
                  <a:pt x="9812" y="12875"/>
                  <a:pt x="9812" y="12875"/>
                </a:cubicBezTo>
                <a:cubicBezTo>
                  <a:pt x="9843" y="12844"/>
                  <a:pt x="9875" y="12875"/>
                  <a:pt x="9906" y="12875"/>
                </a:cubicBezTo>
                <a:cubicBezTo>
                  <a:pt x="9937" y="12875"/>
                  <a:pt x="9906" y="12906"/>
                  <a:pt x="9906" y="12937"/>
                </a:cubicBezTo>
                <a:cubicBezTo>
                  <a:pt x="9875" y="12937"/>
                  <a:pt x="9843" y="12969"/>
                  <a:pt x="9875" y="12969"/>
                </a:cubicBezTo>
                <a:cubicBezTo>
                  <a:pt x="9906" y="13000"/>
                  <a:pt x="9906" y="12969"/>
                  <a:pt x="9937" y="12937"/>
                </a:cubicBezTo>
                <a:cubicBezTo>
                  <a:pt x="10000" y="12844"/>
                  <a:pt x="10093" y="12750"/>
                  <a:pt x="10156" y="12687"/>
                </a:cubicBezTo>
                <a:cubicBezTo>
                  <a:pt x="10218" y="12625"/>
                  <a:pt x="10250" y="12687"/>
                  <a:pt x="10281" y="12719"/>
                </a:cubicBezTo>
                <a:cubicBezTo>
                  <a:pt x="10187" y="12750"/>
                  <a:pt x="10156" y="12844"/>
                  <a:pt x="10093" y="12875"/>
                </a:cubicBezTo>
                <a:cubicBezTo>
                  <a:pt x="10156" y="12875"/>
                  <a:pt x="10156" y="12844"/>
                  <a:pt x="10187" y="12812"/>
                </a:cubicBezTo>
                <a:cubicBezTo>
                  <a:pt x="10250" y="12781"/>
                  <a:pt x="10281" y="12781"/>
                  <a:pt x="10312" y="12875"/>
                </a:cubicBezTo>
                <a:cubicBezTo>
                  <a:pt x="10250" y="12875"/>
                  <a:pt x="10218" y="12906"/>
                  <a:pt x="10156" y="12906"/>
                </a:cubicBezTo>
                <a:cubicBezTo>
                  <a:pt x="10187" y="12906"/>
                  <a:pt x="10187" y="12969"/>
                  <a:pt x="10250" y="12937"/>
                </a:cubicBezTo>
                <a:cubicBezTo>
                  <a:pt x="10281" y="12937"/>
                  <a:pt x="10312" y="12937"/>
                  <a:pt x="10343" y="12969"/>
                </a:cubicBezTo>
                <a:cubicBezTo>
                  <a:pt x="10343" y="12969"/>
                  <a:pt x="10343" y="13000"/>
                  <a:pt x="10312" y="13000"/>
                </a:cubicBezTo>
                <a:cubicBezTo>
                  <a:pt x="10312" y="13031"/>
                  <a:pt x="10281" y="13062"/>
                  <a:pt x="10250" y="13031"/>
                </a:cubicBezTo>
                <a:cubicBezTo>
                  <a:pt x="10218" y="13031"/>
                  <a:pt x="10218" y="13031"/>
                  <a:pt x="10187" y="13031"/>
                </a:cubicBezTo>
                <a:cubicBezTo>
                  <a:pt x="10187" y="13000"/>
                  <a:pt x="10218" y="12969"/>
                  <a:pt x="10156" y="13000"/>
                </a:cubicBezTo>
                <a:cubicBezTo>
                  <a:pt x="10125" y="13000"/>
                  <a:pt x="10093" y="12969"/>
                  <a:pt x="10062" y="13000"/>
                </a:cubicBezTo>
                <a:cubicBezTo>
                  <a:pt x="10062" y="13031"/>
                  <a:pt x="10125" y="13031"/>
                  <a:pt x="10093" y="13062"/>
                </a:cubicBezTo>
                <a:cubicBezTo>
                  <a:pt x="10062" y="13094"/>
                  <a:pt x="10031" y="13125"/>
                  <a:pt x="9968" y="13094"/>
                </a:cubicBezTo>
                <a:cubicBezTo>
                  <a:pt x="10031" y="13156"/>
                  <a:pt x="10000" y="13156"/>
                  <a:pt x="9968" y="13187"/>
                </a:cubicBezTo>
                <a:cubicBezTo>
                  <a:pt x="9937" y="13187"/>
                  <a:pt x="9906" y="13187"/>
                  <a:pt x="9906" y="13156"/>
                </a:cubicBezTo>
                <a:cubicBezTo>
                  <a:pt x="9906" y="13156"/>
                  <a:pt x="9906" y="13156"/>
                  <a:pt x="9906" y="13156"/>
                </a:cubicBezTo>
                <a:cubicBezTo>
                  <a:pt x="9843" y="13156"/>
                  <a:pt x="9812" y="13125"/>
                  <a:pt x="9781" y="13094"/>
                </a:cubicBezTo>
                <a:cubicBezTo>
                  <a:pt x="9750" y="13094"/>
                  <a:pt x="9718" y="13094"/>
                  <a:pt x="9718" y="13062"/>
                </a:cubicBezTo>
                <a:cubicBezTo>
                  <a:pt x="9718" y="13062"/>
                  <a:pt x="9750" y="13031"/>
                  <a:pt x="9781" y="13031"/>
                </a:cubicBezTo>
                <a:cubicBezTo>
                  <a:pt x="9781" y="13031"/>
                  <a:pt x="9781" y="13031"/>
                  <a:pt x="9812" y="13031"/>
                </a:cubicBezTo>
                <a:cubicBezTo>
                  <a:pt x="9781" y="13000"/>
                  <a:pt x="9781" y="13000"/>
                  <a:pt x="9750" y="13000"/>
                </a:cubicBezTo>
                <a:cubicBezTo>
                  <a:pt x="9718" y="13000"/>
                  <a:pt x="9687" y="13000"/>
                  <a:pt x="9656" y="13000"/>
                </a:cubicBezTo>
                <a:cubicBezTo>
                  <a:pt x="9687" y="13031"/>
                  <a:pt x="9656" y="13094"/>
                  <a:pt x="9625" y="13125"/>
                </a:cubicBezTo>
                <a:cubicBezTo>
                  <a:pt x="9593" y="13125"/>
                  <a:pt x="9562" y="13125"/>
                  <a:pt x="9531" y="13094"/>
                </a:cubicBezTo>
                <a:cubicBezTo>
                  <a:pt x="9593" y="13094"/>
                  <a:pt x="9625" y="13094"/>
                  <a:pt x="9625" y="13031"/>
                </a:cubicBezTo>
                <a:cubicBezTo>
                  <a:pt x="9625" y="13000"/>
                  <a:pt x="9656" y="13000"/>
                  <a:pt x="9656" y="13000"/>
                </a:cubicBezTo>
                <a:cubicBezTo>
                  <a:pt x="9656" y="12969"/>
                  <a:pt x="9687" y="12969"/>
                  <a:pt x="9656" y="12937"/>
                </a:cubicBezTo>
                <a:close/>
                <a:moveTo>
                  <a:pt x="10062" y="12937"/>
                </a:moveTo>
                <a:cubicBezTo>
                  <a:pt x="10000" y="12969"/>
                  <a:pt x="9937" y="12937"/>
                  <a:pt x="9968" y="13031"/>
                </a:cubicBezTo>
                <a:cubicBezTo>
                  <a:pt x="9968" y="13062"/>
                  <a:pt x="9937" y="13094"/>
                  <a:pt x="9906" y="13062"/>
                </a:cubicBezTo>
                <a:cubicBezTo>
                  <a:pt x="9875" y="13062"/>
                  <a:pt x="9875" y="13062"/>
                  <a:pt x="9875" y="13062"/>
                </a:cubicBezTo>
                <a:cubicBezTo>
                  <a:pt x="9968" y="13094"/>
                  <a:pt x="9968" y="13094"/>
                  <a:pt x="10062" y="12937"/>
                </a:cubicBezTo>
                <a:close/>
                <a:moveTo>
                  <a:pt x="12625" y="17969"/>
                </a:moveTo>
                <a:cubicBezTo>
                  <a:pt x="12625" y="17969"/>
                  <a:pt x="12625" y="17969"/>
                  <a:pt x="12625" y="17969"/>
                </a:cubicBezTo>
                <a:lnTo>
                  <a:pt x="12625" y="17969"/>
                </a:lnTo>
                <a:cubicBezTo>
                  <a:pt x="12625" y="17969"/>
                  <a:pt x="12625" y="17969"/>
                  <a:pt x="12625" y="17969"/>
                </a:cubicBezTo>
                <a:cubicBezTo>
                  <a:pt x="12625" y="17969"/>
                  <a:pt x="12625" y="17969"/>
                  <a:pt x="12625" y="17969"/>
                </a:cubicBezTo>
                <a:close/>
                <a:moveTo>
                  <a:pt x="12812" y="13875"/>
                </a:moveTo>
                <a:cubicBezTo>
                  <a:pt x="12781" y="13844"/>
                  <a:pt x="12781" y="13875"/>
                  <a:pt x="12781" y="13906"/>
                </a:cubicBezTo>
                <a:cubicBezTo>
                  <a:pt x="12781" y="13906"/>
                  <a:pt x="12750" y="13937"/>
                  <a:pt x="12781" y="13937"/>
                </a:cubicBezTo>
                <a:cubicBezTo>
                  <a:pt x="12781" y="13937"/>
                  <a:pt x="12812" y="13937"/>
                  <a:pt x="12843" y="13937"/>
                </a:cubicBezTo>
                <a:cubicBezTo>
                  <a:pt x="12843" y="13906"/>
                  <a:pt x="12875" y="13906"/>
                  <a:pt x="12906" y="13875"/>
                </a:cubicBezTo>
                <a:cubicBezTo>
                  <a:pt x="12875" y="13875"/>
                  <a:pt x="12843" y="13875"/>
                  <a:pt x="12812" y="13875"/>
                </a:cubicBezTo>
                <a:close/>
                <a:moveTo>
                  <a:pt x="6906" y="11500"/>
                </a:moveTo>
                <a:cubicBezTo>
                  <a:pt x="6906" y="11500"/>
                  <a:pt x="6906" y="11500"/>
                  <a:pt x="6906" y="11500"/>
                </a:cubicBezTo>
                <a:cubicBezTo>
                  <a:pt x="6906" y="11500"/>
                  <a:pt x="6906" y="11500"/>
                  <a:pt x="6906" y="11500"/>
                </a:cubicBezTo>
                <a:lnTo>
                  <a:pt x="6906" y="11500"/>
                </a:lnTo>
                <a:cubicBezTo>
                  <a:pt x="6906" y="11500"/>
                  <a:pt x="6906" y="11500"/>
                  <a:pt x="6906" y="11500"/>
                </a:cubicBezTo>
                <a:cubicBezTo>
                  <a:pt x="6906" y="11500"/>
                  <a:pt x="6906" y="11500"/>
                  <a:pt x="6906" y="11500"/>
                </a:cubicBezTo>
                <a:close/>
                <a:moveTo>
                  <a:pt x="7531" y="8250"/>
                </a:moveTo>
                <a:cubicBezTo>
                  <a:pt x="7500" y="8250"/>
                  <a:pt x="7500" y="8281"/>
                  <a:pt x="7468" y="8312"/>
                </a:cubicBezTo>
                <a:cubicBezTo>
                  <a:pt x="7468" y="8344"/>
                  <a:pt x="7500" y="8375"/>
                  <a:pt x="7500" y="8375"/>
                </a:cubicBezTo>
                <a:cubicBezTo>
                  <a:pt x="7531" y="8344"/>
                  <a:pt x="7562" y="8312"/>
                  <a:pt x="7562" y="8281"/>
                </a:cubicBezTo>
                <a:cubicBezTo>
                  <a:pt x="7562" y="8281"/>
                  <a:pt x="7562" y="8250"/>
                  <a:pt x="7531" y="8250"/>
                </a:cubicBezTo>
                <a:close/>
                <a:moveTo>
                  <a:pt x="8218" y="14437"/>
                </a:moveTo>
                <a:cubicBezTo>
                  <a:pt x="8312" y="14437"/>
                  <a:pt x="8406" y="14469"/>
                  <a:pt x="8500" y="14469"/>
                </a:cubicBezTo>
                <a:cubicBezTo>
                  <a:pt x="8406" y="14406"/>
                  <a:pt x="8312" y="14437"/>
                  <a:pt x="8218" y="14437"/>
                </a:cubicBezTo>
                <a:close/>
                <a:moveTo>
                  <a:pt x="8000" y="6781"/>
                </a:moveTo>
                <a:cubicBezTo>
                  <a:pt x="8000" y="6781"/>
                  <a:pt x="8000" y="6781"/>
                  <a:pt x="8000" y="6781"/>
                </a:cubicBezTo>
                <a:cubicBezTo>
                  <a:pt x="8000" y="6750"/>
                  <a:pt x="8000" y="6750"/>
                  <a:pt x="8000" y="6750"/>
                </a:cubicBezTo>
                <a:cubicBezTo>
                  <a:pt x="8000" y="6750"/>
                  <a:pt x="8000" y="6750"/>
                  <a:pt x="8000" y="6781"/>
                </a:cubicBezTo>
                <a:cubicBezTo>
                  <a:pt x="8000" y="6781"/>
                  <a:pt x="8000" y="6781"/>
                  <a:pt x="8000" y="6781"/>
                </a:cubicBezTo>
                <a:close/>
                <a:moveTo>
                  <a:pt x="7812" y="6781"/>
                </a:moveTo>
                <a:cubicBezTo>
                  <a:pt x="7812" y="6781"/>
                  <a:pt x="7781" y="6781"/>
                  <a:pt x="7781" y="6781"/>
                </a:cubicBezTo>
                <a:cubicBezTo>
                  <a:pt x="7781" y="6781"/>
                  <a:pt x="7812" y="6812"/>
                  <a:pt x="7812" y="6812"/>
                </a:cubicBezTo>
                <a:cubicBezTo>
                  <a:pt x="7812" y="6812"/>
                  <a:pt x="7812" y="6812"/>
                  <a:pt x="7812" y="6781"/>
                </a:cubicBezTo>
                <a:close/>
                <a:moveTo>
                  <a:pt x="8000" y="6687"/>
                </a:moveTo>
                <a:cubicBezTo>
                  <a:pt x="8000" y="6687"/>
                  <a:pt x="8000" y="6656"/>
                  <a:pt x="7968" y="6656"/>
                </a:cubicBezTo>
                <a:cubicBezTo>
                  <a:pt x="7968" y="6656"/>
                  <a:pt x="7968" y="6687"/>
                  <a:pt x="7968" y="6687"/>
                </a:cubicBezTo>
                <a:cubicBezTo>
                  <a:pt x="7968" y="6687"/>
                  <a:pt x="7968" y="6687"/>
                  <a:pt x="7968" y="6719"/>
                </a:cubicBezTo>
                <a:cubicBezTo>
                  <a:pt x="8000" y="6687"/>
                  <a:pt x="8000" y="6687"/>
                  <a:pt x="8000" y="6687"/>
                </a:cubicBezTo>
                <a:close/>
                <a:moveTo>
                  <a:pt x="7656" y="6844"/>
                </a:moveTo>
                <a:cubicBezTo>
                  <a:pt x="7593" y="6844"/>
                  <a:pt x="7593" y="6875"/>
                  <a:pt x="7625" y="6906"/>
                </a:cubicBezTo>
                <a:cubicBezTo>
                  <a:pt x="7625" y="6875"/>
                  <a:pt x="7656" y="6875"/>
                  <a:pt x="7656" y="6844"/>
                </a:cubicBezTo>
                <a:close/>
                <a:moveTo>
                  <a:pt x="8750" y="14875"/>
                </a:moveTo>
                <a:cubicBezTo>
                  <a:pt x="8625" y="14781"/>
                  <a:pt x="8468" y="14812"/>
                  <a:pt x="8312" y="14812"/>
                </a:cubicBezTo>
                <a:cubicBezTo>
                  <a:pt x="8468" y="14812"/>
                  <a:pt x="8593" y="14844"/>
                  <a:pt x="8750" y="14875"/>
                </a:cubicBezTo>
                <a:close/>
                <a:moveTo>
                  <a:pt x="5125" y="15219"/>
                </a:moveTo>
                <a:cubicBezTo>
                  <a:pt x="5125" y="15219"/>
                  <a:pt x="5093" y="15219"/>
                  <a:pt x="5093" y="15250"/>
                </a:cubicBezTo>
                <a:cubicBezTo>
                  <a:pt x="5093" y="15250"/>
                  <a:pt x="5093" y="15250"/>
                  <a:pt x="5125" y="15250"/>
                </a:cubicBezTo>
                <a:cubicBezTo>
                  <a:pt x="5125" y="15250"/>
                  <a:pt x="5125" y="15250"/>
                  <a:pt x="5125" y="15250"/>
                </a:cubicBezTo>
                <a:cubicBezTo>
                  <a:pt x="5125" y="15219"/>
                  <a:pt x="5125" y="15219"/>
                  <a:pt x="5125" y="15219"/>
                </a:cubicBezTo>
                <a:close/>
                <a:moveTo>
                  <a:pt x="7906" y="16187"/>
                </a:moveTo>
                <a:cubicBezTo>
                  <a:pt x="7718" y="16094"/>
                  <a:pt x="7531" y="16062"/>
                  <a:pt x="7343" y="16000"/>
                </a:cubicBezTo>
                <a:cubicBezTo>
                  <a:pt x="7312" y="15969"/>
                  <a:pt x="7312" y="15969"/>
                  <a:pt x="7281" y="16000"/>
                </a:cubicBezTo>
                <a:cubicBezTo>
                  <a:pt x="7281" y="16031"/>
                  <a:pt x="7312" y="16031"/>
                  <a:pt x="7343" y="16031"/>
                </a:cubicBezTo>
                <a:cubicBezTo>
                  <a:pt x="7500" y="16094"/>
                  <a:pt x="7687" y="16125"/>
                  <a:pt x="7843" y="16219"/>
                </a:cubicBezTo>
                <a:cubicBezTo>
                  <a:pt x="7875" y="16219"/>
                  <a:pt x="7906" y="16219"/>
                  <a:pt x="7937" y="16219"/>
                </a:cubicBezTo>
                <a:cubicBezTo>
                  <a:pt x="7937" y="16187"/>
                  <a:pt x="7906" y="16187"/>
                  <a:pt x="7906" y="16187"/>
                </a:cubicBezTo>
                <a:close/>
                <a:moveTo>
                  <a:pt x="5343" y="9875"/>
                </a:moveTo>
                <a:cubicBezTo>
                  <a:pt x="5343" y="9875"/>
                  <a:pt x="5312" y="9875"/>
                  <a:pt x="5312" y="9906"/>
                </a:cubicBezTo>
                <a:cubicBezTo>
                  <a:pt x="5312" y="9937"/>
                  <a:pt x="5312" y="9937"/>
                  <a:pt x="5343" y="9937"/>
                </a:cubicBezTo>
                <a:cubicBezTo>
                  <a:pt x="5375" y="9937"/>
                  <a:pt x="5375" y="9906"/>
                  <a:pt x="5375" y="9906"/>
                </a:cubicBezTo>
                <a:cubicBezTo>
                  <a:pt x="5375" y="9875"/>
                  <a:pt x="5375" y="9875"/>
                  <a:pt x="5343" y="9875"/>
                </a:cubicBezTo>
                <a:close/>
                <a:moveTo>
                  <a:pt x="6437" y="9156"/>
                </a:moveTo>
                <a:cubicBezTo>
                  <a:pt x="6437" y="9156"/>
                  <a:pt x="6437" y="9156"/>
                  <a:pt x="6437" y="9156"/>
                </a:cubicBezTo>
                <a:cubicBezTo>
                  <a:pt x="6406" y="9156"/>
                  <a:pt x="6375" y="9187"/>
                  <a:pt x="6375" y="9219"/>
                </a:cubicBezTo>
                <a:cubicBezTo>
                  <a:pt x="6406" y="9219"/>
                  <a:pt x="6437" y="9187"/>
                  <a:pt x="6437" y="9156"/>
                </a:cubicBezTo>
                <a:close/>
                <a:moveTo>
                  <a:pt x="7125" y="8656"/>
                </a:moveTo>
                <a:cubicBezTo>
                  <a:pt x="7156" y="8656"/>
                  <a:pt x="7187" y="8625"/>
                  <a:pt x="7156" y="8594"/>
                </a:cubicBezTo>
                <a:cubicBezTo>
                  <a:pt x="7125" y="8594"/>
                  <a:pt x="7093" y="8625"/>
                  <a:pt x="7062" y="8656"/>
                </a:cubicBezTo>
                <a:cubicBezTo>
                  <a:pt x="7093" y="8656"/>
                  <a:pt x="7125" y="8656"/>
                  <a:pt x="7125" y="8656"/>
                </a:cubicBezTo>
                <a:close/>
                <a:moveTo>
                  <a:pt x="6937" y="8844"/>
                </a:moveTo>
                <a:cubicBezTo>
                  <a:pt x="6968" y="8812"/>
                  <a:pt x="7000" y="8812"/>
                  <a:pt x="7000" y="8781"/>
                </a:cubicBezTo>
                <a:cubicBezTo>
                  <a:pt x="7000" y="8750"/>
                  <a:pt x="7000" y="8750"/>
                  <a:pt x="7000" y="8750"/>
                </a:cubicBezTo>
                <a:cubicBezTo>
                  <a:pt x="6968" y="8750"/>
                  <a:pt x="6937" y="8781"/>
                  <a:pt x="6906" y="8812"/>
                </a:cubicBezTo>
                <a:cubicBezTo>
                  <a:pt x="6906" y="8812"/>
                  <a:pt x="6937" y="8844"/>
                  <a:pt x="6937" y="8844"/>
                </a:cubicBezTo>
                <a:close/>
                <a:moveTo>
                  <a:pt x="5968" y="9687"/>
                </a:moveTo>
                <a:cubicBezTo>
                  <a:pt x="5968" y="9719"/>
                  <a:pt x="5968" y="9687"/>
                  <a:pt x="6000" y="9687"/>
                </a:cubicBezTo>
                <a:cubicBezTo>
                  <a:pt x="6000" y="9656"/>
                  <a:pt x="6000" y="9625"/>
                  <a:pt x="5968" y="9594"/>
                </a:cubicBezTo>
                <a:cubicBezTo>
                  <a:pt x="5968" y="9625"/>
                  <a:pt x="5937" y="9656"/>
                  <a:pt x="5968" y="9687"/>
                </a:cubicBezTo>
                <a:close/>
                <a:moveTo>
                  <a:pt x="6218" y="9406"/>
                </a:moveTo>
                <a:cubicBezTo>
                  <a:pt x="6218" y="9469"/>
                  <a:pt x="6156" y="9500"/>
                  <a:pt x="6187" y="9562"/>
                </a:cubicBezTo>
                <a:cubicBezTo>
                  <a:pt x="6218" y="9500"/>
                  <a:pt x="6281" y="9469"/>
                  <a:pt x="6218" y="9406"/>
                </a:cubicBezTo>
                <a:close/>
                <a:moveTo>
                  <a:pt x="6000" y="9531"/>
                </a:moveTo>
                <a:cubicBezTo>
                  <a:pt x="6000" y="9562"/>
                  <a:pt x="6031" y="9594"/>
                  <a:pt x="6031" y="9594"/>
                </a:cubicBezTo>
                <a:cubicBezTo>
                  <a:pt x="6062" y="9594"/>
                  <a:pt x="6062" y="9531"/>
                  <a:pt x="6062" y="9500"/>
                </a:cubicBezTo>
                <a:cubicBezTo>
                  <a:pt x="6062" y="9500"/>
                  <a:pt x="6062" y="9469"/>
                  <a:pt x="6062" y="9469"/>
                </a:cubicBezTo>
                <a:cubicBezTo>
                  <a:pt x="6031" y="9500"/>
                  <a:pt x="6000" y="9500"/>
                  <a:pt x="6000" y="9531"/>
                </a:cubicBezTo>
                <a:close/>
                <a:moveTo>
                  <a:pt x="5781" y="9719"/>
                </a:moveTo>
                <a:cubicBezTo>
                  <a:pt x="5750" y="9719"/>
                  <a:pt x="5750" y="9719"/>
                  <a:pt x="5750" y="9750"/>
                </a:cubicBezTo>
                <a:cubicBezTo>
                  <a:pt x="5750" y="9781"/>
                  <a:pt x="5781" y="9812"/>
                  <a:pt x="5812" y="9812"/>
                </a:cubicBezTo>
                <a:cubicBezTo>
                  <a:pt x="5812" y="9844"/>
                  <a:pt x="5843" y="9812"/>
                  <a:pt x="5843" y="9812"/>
                </a:cubicBezTo>
                <a:cubicBezTo>
                  <a:pt x="5843" y="9750"/>
                  <a:pt x="5812" y="9719"/>
                  <a:pt x="5781" y="9719"/>
                </a:cubicBezTo>
                <a:close/>
                <a:moveTo>
                  <a:pt x="5937" y="9750"/>
                </a:moveTo>
                <a:cubicBezTo>
                  <a:pt x="5906" y="9750"/>
                  <a:pt x="5906" y="9750"/>
                  <a:pt x="5906" y="9781"/>
                </a:cubicBezTo>
                <a:cubicBezTo>
                  <a:pt x="5906" y="9844"/>
                  <a:pt x="5843" y="9875"/>
                  <a:pt x="5875" y="9937"/>
                </a:cubicBezTo>
                <a:cubicBezTo>
                  <a:pt x="5875" y="9969"/>
                  <a:pt x="5875" y="10000"/>
                  <a:pt x="5875" y="10000"/>
                </a:cubicBezTo>
                <a:cubicBezTo>
                  <a:pt x="5875" y="10031"/>
                  <a:pt x="5875" y="10031"/>
                  <a:pt x="5906" y="10031"/>
                </a:cubicBezTo>
                <a:cubicBezTo>
                  <a:pt x="5906" y="10031"/>
                  <a:pt x="5906" y="10031"/>
                  <a:pt x="5906" y="10000"/>
                </a:cubicBezTo>
                <a:cubicBezTo>
                  <a:pt x="5937" y="9937"/>
                  <a:pt x="5937" y="9844"/>
                  <a:pt x="5968" y="9781"/>
                </a:cubicBezTo>
                <a:cubicBezTo>
                  <a:pt x="5968" y="9781"/>
                  <a:pt x="5968" y="9750"/>
                  <a:pt x="5937" y="9750"/>
                </a:cubicBezTo>
                <a:close/>
                <a:moveTo>
                  <a:pt x="5750" y="9437"/>
                </a:moveTo>
                <a:cubicBezTo>
                  <a:pt x="5718" y="9531"/>
                  <a:pt x="5687" y="9625"/>
                  <a:pt x="5656" y="9719"/>
                </a:cubicBezTo>
                <a:cubicBezTo>
                  <a:pt x="5625" y="9687"/>
                  <a:pt x="5656" y="9656"/>
                  <a:pt x="5625" y="9625"/>
                </a:cubicBezTo>
                <a:cubicBezTo>
                  <a:pt x="5625" y="9625"/>
                  <a:pt x="5625" y="9625"/>
                  <a:pt x="5625" y="9625"/>
                </a:cubicBezTo>
                <a:cubicBezTo>
                  <a:pt x="5531" y="9719"/>
                  <a:pt x="5656" y="9750"/>
                  <a:pt x="5687" y="9812"/>
                </a:cubicBezTo>
                <a:cubicBezTo>
                  <a:pt x="5625" y="9687"/>
                  <a:pt x="5781" y="9594"/>
                  <a:pt x="5750" y="9437"/>
                </a:cubicBezTo>
                <a:close/>
                <a:moveTo>
                  <a:pt x="19093" y="20562"/>
                </a:moveTo>
                <a:cubicBezTo>
                  <a:pt x="19062" y="20562"/>
                  <a:pt x="19031" y="20531"/>
                  <a:pt x="19031" y="20562"/>
                </a:cubicBezTo>
                <a:cubicBezTo>
                  <a:pt x="19031" y="20594"/>
                  <a:pt x="19031" y="20656"/>
                  <a:pt x="19062" y="20625"/>
                </a:cubicBezTo>
                <a:cubicBezTo>
                  <a:pt x="19093" y="20625"/>
                  <a:pt x="19125" y="20625"/>
                  <a:pt x="19093" y="20594"/>
                </a:cubicBezTo>
                <a:cubicBezTo>
                  <a:pt x="19093" y="20594"/>
                  <a:pt x="19125" y="20531"/>
                  <a:pt x="19093" y="20562"/>
                </a:cubicBezTo>
                <a:close/>
                <a:moveTo>
                  <a:pt x="8906" y="20500"/>
                </a:moveTo>
                <a:cubicBezTo>
                  <a:pt x="8843" y="20469"/>
                  <a:pt x="8812" y="20437"/>
                  <a:pt x="8750" y="20437"/>
                </a:cubicBezTo>
                <a:cubicBezTo>
                  <a:pt x="8781" y="20500"/>
                  <a:pt x="8843" y="20500"/>
                  <a:pt x="8875" y="20531"/>
                </a:cubicBezTo>
                <a:cubicBezTo>
                  <a:pt x="8906" y="20531"/>
                  <a:pt x="8906" y="20531"/>
                  <a:pt x="8906" y="20531"/>
                </a:cubicBezTo>
                <a:cubicBezTo>
                  <a:pt x="8937" y="20500"/>
                  <a:pt x="8906" y="20500"/>
                  <a:pt x="8906" y="20500"/>
                </a:cubicBezTo>
                <a:close/>
                <a:moveTo>
                  <a:pt x="14125" y="18937"/>
                </a:moveTo>
                <a:cubicBezTo>
                  <a:pt x="14062" y="18937"/>
                  <a:pt x="14000" y="18937"/>
                  <a:pt x="13968" y="18969"/>
                </a:cubicBezTo>
                <a:cubicBezTo>
                  <a:pt x="14031" y="18969"/>
                  <a:pt x="14062" y="18969"/>
                  <a:pt x="14125" y="18937"/>
                </a:cubicBezTo>
                <a:close/>
                <a:moveTo>
                  <a:pt x="13968" y="18969"/>
                </a:moveTo>
                <a:cubicBezTo>
                  <a:pt x="13843" y="19000"/>
                  <a:pt x="13718" y="19062"/>
                  <a:pt x="13562" y="19062"/>
                </a:cubicBezTo>
                <a:cubicBezTo>
                  <a:pt x="13656" y="19062"/>
                  <a:pt x="13718" y="19062"/>
                  <a:pt x="13812" y="19031"/>
                </a:cubicBezTo>
                <a:lnTo>
                  <a:pt x="13812" y="19031"/>
                </a:lnTo>
                <a:cubicBezTo>
                  <a:pt x="13875" y="19031"/>
                  <a:pt x="13937" y="19031"/>
                  <a:pt x="13968" y="18969"/>
                </a:cubicBezTo>
                <a:close/>
                <a:moveTo>
                  <a:pt x="14500" y="18812"/>
                </a:moveTo>
                <a:cubicBezTo>
                  <a:pt x="14406" y="18844"/>
                  <a:pt x="14312" y="18844"/>
                  <a:pt x="14218" y="18906"/>
                </a:cubicBezTo>
                <a:cubicBezTo>
                  <a:pt x="14218" y="18906"/>
                  <a:pt x="14218" y="18906"/>
                  <a:pt x="14218" y="18906"/>
                </a:cubicBezTo>
                <a:cubicBezTo>
                  <a:pt x="14343" y="18875"/>
                  <a:pt x="14468" y="18844"/>
                  <a:pt x="14593" y="18812"/>
                </a:cubicBezTo>
                <a:cubicBezTo>
                  <a:pt x="14656" y="18781"/>
                  <a:pt x="14687" y="18812"/>
                  <a:pt x="14718" y="18781"/>
                </a:cubicBezTo>
                <a:cubicBezTo>
                  <a:pt x="14656" y="18750"/>
                  <a:pt x="14593" y="18812"/>
                  <a:pt x="14500" y="18812"/>
                </a:cubicBezTo>
                <a:close/>
                <a:moveTo>
                  <a:pt x="16468" y="9062"/>
                </a:moveTo>
                <a:cubicBezTo>
                  <a:pt x="16468" y="9062"/>
                  <a:pt x="16468" y="9031"/>
                  <a:pt x="16468" y="9031"/>
                </a:cubicBezTo>
                <a:cubicBezTo>
                  <a:pt x="16468" y="9031"/>
                  <a:pt x="16468" y="9000"/>
                  <a:pt x="16437" y="9000"/>
                </a:cubicBezTo>
                <a:cubicBezTo>
                  <a:pt x="16437" y="9000"/>
                  <a:pt x="16437" y="9031"/>
                  <a:pt x="16437" y="9031"/>
                </a:cubicBezTo>
                <a:cubicBezTo>
                  <a:pt x="16437" y="9031"/>
                  <a:pt x="16437" y="9062"/>
                  <a:pt x="16468" y="9062"/>
                </a:cubicBezTo>
                <a:close/>
                <a:moveTo>
                  <a:pt x="9000" y="20062"/>
                </a:moveTo>
                <a:cubicBezTo>
                  <a:pt x="9031" y="20094"/>
                  <a:pt x="9031" y="20125"/>
                  <a:pt x="9062" y="20125"/>
                </a:cubicBezTo>
                <a:cubicBezTo>
                  <a:pt x="9062" y="20094"/>
                  <a:pt x="9031" y="20062"/>
                  <a:pt x="9000" y="20031"/>
                </a:cubicBezTo>
                <a:cubicBezTo>
                  <a:pt x="9000" y="20000"/>
                  <a:pt x="8968" y="19937"/>
                  <a:pt x="8906" y="19906"/>
                </a:cubicBezTo>
                <a:lnTo>
                  <a:pt x="8906" y="19906"/>
                </a:lnTo>
                <a:cubicBezTo>
                  <a:pt x="8937" y="19969"/>
                  <a:pt x="8937" y="20000"/>
                  <a:pt x="9000" y="20062"/>
                </a:cubicBezTo>
                <a:close/>
                <a:moveTo>
                  <a:pt x="9031" y="20219"/>
                </a:moveTo>
                <a:cubicBezTo>
                  <a:pt x="9031" y="20219"/>
                  <a:pt x="9031" y="20250"/>
                  <a:pt x="9031" y="20250"/>
                </a:cubicBezTo>
                <a:cubicBezTo>
                  <a:pt x="9031" y="20250"/>
                  <a:pt x="9031" y="20281"/>
                  <a:pt x="9062" y="20281"/>
                </a:cubicBezTo>
                <a:cubicBezTo>
                  <a:pt x="9062" y="20281"/>
                  <a:pt x="9062" y="20281"/>
                  <a:pt x="9062" y="20281"/>
                </a:cubicBezTo>
                <a:cubicBezTo>
                  <a:pt x="9062" y="20250"/>
                  <a:pt x="9062" y="20250"/>
                  <a:pt x="9062" y="20219"/>
                </a:cubicBezTo>
                <a:cubicBezTo>
                  <a:pt x="9031" y="20219"/>
                  <a:pt x="9031" y="20219"/>
                  <a:pt x="9031" y="20219"/>
                </a:cubicBezTo>
                <a:cubicBezTo>
                  <a:pt x="9031" y="20219"/>
                  <a:pt x="9031" y="20219"/>
                  <a:pt x="9031" y="20219"/>
                </a:cubicBezTo>
                <a:cubicBezTo>
                  <a:pt x="9031" y="20156"/>
                  <a:pt x="8968" y="20094"/>
                  <a:pt x="8906" y="20062"/>
                </a:cubicBezTo>
                <a:lnTo>
                  <a:pt x="8906" y="20062"/>
                </a:lnTo>
                <a:cubicBezTo>
                  <a:pt x="8937" y="20094"/>
                  <a:pt x="9000" y="20156"/>
                  <a:pt x="9031" y="20219"/>
                </a:cubicBezTo>
                <a:close/>
                <a:moveTo>
                  <a:pt x="9000" y="19906"/>
                </a:moveTo>
                <a:cubicBezTo>
                  <a:pt x="9000" y="19906"/>
                  <a:pt x="9031" y="19906"/>
                  <a:pt x="9031" y="19906"/>
                </a:cubicBezTo>
                <a:cubicBezTo>
                  <a:pt x="9031" y="19875"/>
                  <a:pt x="9000" y="19844"/>
                  <a:pt x="8968" y="19844"/>
                </a:cubicBezTo>
                <a:cubicBezTo>
                  <a:pt x="8968" y="19875"/>
                  <a:pt x="8968" y="19906"/>
                  <a:pt x="9000" y="19906"/>
                </a:cubicBezTo>
                <a:close/>
                <a:moveTo>
                  <a:pt x="17343" y="19469"/>
                </a:moveTo>
                <a:cubicBezTo>
                  <a:pt x="17312" y="19500"/>
                  <a:pt x="17312" y="19500"/>
                  <a:pt x="17312" y="19500"/>
                </a:cubicBezTo>
                <a:cubicBezTo>
                  <a:pt x="17312" y="19531"/>
                  <a:pt x="17343" y="19562"/>
                  <a:pt x="17375" y="19594"/>
                </a:cubicBezTo>
                <a:cubicBezTo>
                  <a:pt x="17375" y="19594"/>
                  <a:pt x="17406" y="19594"/>
                  <a:pt x="17437" y="19594"/>
                </a:cubicBezTo>
                <a:cubicBezTo>
                  <a:pt x="17406" y="19562"/>
                  <a:pt x="17406" y="19562"/>
                  <a:pt x="17406" y="19531"/>
                </a:cubicBezTo>
                <a:cubicBezTo>
                  <a:pt x="17375" y="19500"/>
                  <a:pt x="17375" y="19469"/>
                  <a:pt x="17343" y="19469"/>
                </a:cubicBezTo>
                <a:close/>
                <a:moveTo>
                  <a:pt x="14937" y="18312"/>
                </a:moveTo>
                <a:cubicBezTo>
                  <a:pt x="14937" y="18312"/>
                  <a:pt x="14937" y="18312"/>
                  <a:pt x="14937" y="18312"/>
                </a:cubicBezTo>
                <a:cubicBezTo>
                  <a:pt x="14937" y="18312"/>
                  <a:pt x="14937" y="18312"/>
                  <a:pt x="14937" y="18312"/>
                </a:cubicBezTo>
                <a:lnTo>
                  <a:pt x="14937" y="18312"/>
                </a:lnTo>
                <a:cubicBezTo>
                  <a:pt x="14937" y="18312"/>
                  <a:pt x="14937" y="18312"/>
                  <a:pt x="14937" y="18312"/>
                </a:cubicBezTo>
                <a:cubicBezTo>
                  <a:pt x="14937" y="18312"/>
                  <a:pt x="14937" y="18312"/>
                  <a:pt x="14937" y="18312"/>
                </a:cubicBezTo>
                <a:close/>
                <a:moveTo>
                  <a:pt x="13718" y="18625"/>
                </a:moveTo>
                <a:cubicBezTo>
                  <a:pt x="13750" y="18625"/>
                  <a:pt x="13750" y="18656"/>
                  <a:pt x="13781" y="18625"/>
                </a:cubicBezTo>
                <a:cubicBezTo>
                  <a:pt x="13781" y="18625"/>
                  <a:pt x="13781" y="18625"/>
                  <a:pt x="13781" y="18625"/>
                </a:cubicBezTo>
                <a:cubicBezTo>
                  <a:pt x="13781" y="18594"/>
                  <a:pt x="13750" y="18594"/>
                  <a:pt x="13718" y="18625"/>
                </a:cubicBezTo>
                <a:close/>
                <a:moveTo>
                  <a:pt x="13343" y="18531"/>
                </a:moveTo>
                <a:cubicBezTo>
                  <a:pt x="13406" y="18562"/>
                  <a:pt x="13437" y="18531"/>
                  <a:pt x="13468" y="18500"/>
                </a:cubicBezTo>
                <a:cubicBezTo>
                  <a:pt x="13406" y="18500"/>
                  <a:pt x="13375" y="18531"/>
                  <a:pt x="13343" y="18531"/>
                </a:cubicBezTo>
                <a:close/>
                <a:moveTo>
                  <a:pt x="13812" y="18594"/>
                </a:moveTo>
                <a:cubicBezTo>
                  <a:pt x="13875" y="18625"/>
                  <a:pt x="13937" y="18594"/>
                  <a:pt x="13968" y="18562"/>
                </a:cubicBezTo>
                <a:cubicBezTo>
                  <a:pt x="14093" y="18562"/>
                  <a:pt x="14218" y="18500"/>
                  <a:pt x="14343" y="18531"/>
                </a:cubicBezTo>
                <a:cubicBezTo>
                  <a:pt x="14375" y="18531"/>
                  <a:pt x="14375" y="18531"/>
                  <a:pt x="14406" y="18531"/>
                </a:cubicBezTo>
                <a:cubicBezTo>
                  <a:pt x="14375" y="18500"/>
                  <a:pt x="14375" y="18500"/>
                  <a:pt x="14375" y="18500"/>
                </a:cubicBezTo>
                <a:cubicBezTo>
                  <a:pt x="14343" y="18500"/>
                  <a:pt x="14312" y="18469"/>
                  <a:pt x="14281" y="18500"/>
                </a:cubicBezTo>
                <a:cubicBezTo>
                  <a:pt x="14156" y="18500"/>
                  <a:pt x="14062" y="18500"/>
                  <a:pt x="13968" y="18562"/>
                </a:cubicBezTo>
                <a:cubicBezTo>
                  <a:pt x="13906" y="18562"/>
                  <a:pt x="13875" y="18562"/>
                  <a:pt x="13812" y="18594"/>
                </a:cubicBezTo>
                <a:close/>
                <a:moveTo>
                  <a:pt x="13750" y="18844"/>
                </a:moveTo>
                <a:cubicBezTo>
                  <a:pt x="13812" y="18844"/>
                  <a:pt x="13843" y="18844"/>
                  <a:pt x="13875" y="18812"/>
                </a:cubicBezTo>
                <a:cubicBezTo>
                  <a:pt x="13875" y="18812"/>
                  <a:pt x="13875" y="18812"/>
                  <a:pt x="13875" y="18812"/>
                </a:cubicBezTo>
                <a:cubicBezTo>
                  <a:pt x="13812" y="18781"/>
                  <a:pt x="13781" y="18812"/>
                  <a:pt x="13750" y="18844"/>
                </a:cubicBezTo>
                <a:close/>
                <a:moveTo>
                  <a:pt x="13656" y="18437"/>
                </a:moveTo>
                <a:cubicBezTo>
                  <a:pt x="13812" y="18437"/>
                  <a:pt x="13937" y="18375"/>
                  <a:pt x="14093" y="18375"/>
                </a:cubicBezTo>
                <a:cubicBezTo>
                  <a:pt x="14031" y="18312"/>
                  <a:pt x="13968" y="18375"/>
                  <a:pt x="13937" y="18375"/>
                </a:cubicBezTo>
                <a:cubicBezTo>
                  <a:pt x="13843" y="18375"/>
                  <a:pt x="13750" y="18406"/>
                  <a:pt x="13656" y="18437"/>
                </a:cubicBezTo>
                <a:close/>
                <a:moveTo>
                  <a:pt x="14468" y="18031"/>
                </a:moveTo>
                <a:cubicBezTo>
                  <a:pt x="14468" y="18031"/>
                  <a:pt x="14468" y="18031"/>
                  <a:pt x="14468" y="18031"/>
                </a:cubicBezTo>
                <a:cubicBezTo>
                  <a:pt x="14468" y="18031"/>
                  <a:pt x="14468" y="18000"/>
                  <a:pt x="14468" y="18000"/>
                </a:cubicBezTo>
                <a:cubicBezTo>
                  <a:pt x="14468" y="18000"/>
                  <a:pt x="14468" y="18031"/>
                  <a:pt x="14468" y="18031"/>
                </a:cubicBezTo>
                <a:close/>
                <a:moveTo>
                  <a:pt x="14406" y="18406"/>
                </a:moveTo>
                <a:cubicBezTo>
                  <a:pt x="14406" y="18406"/>
                  <a:pt x="14406" y="18406"/>
                  <a:pt x="14406" y="18406"/>
                </a:cubicBezTo>
                <a:cubicBezTo>
                  <a:pt x="14406" y="18406"/>
                  <a:pt x="14406" y="18406"/>
                  <a:pt x="14406" y="18406"/>
                </a:cubicBezTo>
                <a:close/>
                <a:moveTo>
                  <a:pt x="16437" y="8469"/>
                </a:moveTo>
                <a:cubicBezTo>
                  <a:pt x="16468" y="8469"/>
                  <a:pt x="16468" y="8500"/>
                  <a:pt x="16500" y="8531"/>
                </a:cubicBezTo>
                <a:cubicBezTo>
                  <a:pt x="16500" y="8531"/>
                  <a:pt x="16531" y="8531"/>
                  <a:pt x="16562" y="8531"/>
                </a:cubicBezTo>
                <a:cubicBezTo>
                  <a:pt x="16562" y="8500"/>
                  <a:pt x="16531" y="8500"/>
                  <a:pt x="16531" y="8469"/>
                </a:cubicBezTo>
                <a:cubicBezTo>
                  <a:pt x="16531" y="8469"/>
                  <a:pt x="16500" y="8469"/>
                  <a:pt x="16500" y="8437"/>
                </a:cubicBezTo>
                <a:cubicBezTo>
                  <a:pt x="16468" y="8437"/>
                  <a:pt x="16468" y="8406"/>
                  <a:pt x="16437" y="8406"/>
                </a:cubicBezTo>
                <a:cubicBezTo>
                  <a:pt x="16406" y="8437"/>
                  <a:pt x="16437" y="8469"/>
                  <a:pt x="16437" y="8469"/>
                </a:cubicBezTo>
                <a:cubicBezTo>
                  <a:pt x="16437" y="8469"/>
                  <a:pt x="16437" y="8469"/>
                  <a:pt x="16437" y="8469"/>
                </a:cubicBezTo>
                <a:cubicBezTo>
                  <a:pt x="16437" y="8469"/>
                  <a:pt x="16437" y="8469"/>
                  <a:pt x="16437" y="8469"/>
                </a:cubicBezTo>
                <a:close/>
                <a:moveTo>
                  <a:pt x="17093" y="8031"/>
                </a:moveTo>
                <a:cubicBezTo>
                  <a:pt x="17093" y="8031"/>
                  <a:pt x="17093" y="8031"/>
                  <a:pt x="17093" y="8031"/>
                </a:cubicBezTo>
                <a:cubicBezTo>
                  <a:pt x="17093" y="8031"/>
                  <a:pt x="17093" y="8031"/>
                  <a:pt x="17062" y="8031"/>
                </a:cubicBezTo>
                <a:cubicBezTo>
                  <a:pt x="17093" y="8031"/>
                  <a:pt x="17093" y="8031"/>
                  <a:pt x="17093" y="8031"/>
                </a:cubicBezTo>
                <a:cubicBezTo>
                  <a:pt x="17093" y="8031"/>
                  <a:pt x="17093" y="8031"/>
                  <a:pt x="17093" y="8031"/>
                </a:cubicBezTo>
                <a:close/>
                <a:moveTo>
                  <a:pt x="16218" y="8000"/>
                </a:moveTo>
                <a:cubicBezTo>
                  <a:pt x="16250" y="8094"/>
                  <a:pt x="16250" y="8125"/>
                  <a:pt x="16343" y="8094"/>
                </a:cubicBezTo>
                <a:cubicBezTo>
                  <a:pt x="16312" y="8062"/>
                  <a:pt x="16281" y="8031"/>
                  <a:pt x="16218" y="8000"/>
                </a:cubicBezTo>
                <a:close/>
                <a:moveTo>
                  <a:pt x="12937" y="19969"/>
                </a:moveTo>
                <a:cubicBezTo>
                  <a:pt x="12937" y="19906"/>
                  <a:pt x="12937" y="19906"/>
                  <a:pt x="12875" y="19906"/>
                </a:cubicBezTo>
                <a:cubicBezTo>
                  <a:pt x="12812" y="19906"/>
                  <a:pt x="12781" y="19906"/>
                  <a:pt x="12812" y="19969"/>
                </a:cubicBezTo>
                <a:cubicBezTo>
                  <a:pt x="12812" y="20000"/>
                  <a:pt x="12812" y="20062"/>
                  <a:pt x="12812" y="20094"/>
                </a:cubicBezTo>
                <a:cubicBezTo>
                  <a:pt x="12812" y="20125"/>
                  <a:pt x="12812" y="20187"/>
                  <a:pt x="12812" y="20219"/>
                </a:cubicBezTo>
                <a:cubicBezTo>
                  <a:pt x="12781" y="20312"/>
                  <a:pt x="12843" y="20281"/>
                  <a:pt x="12906" y="20281"/>
                </a:cubicBezTo>
                <a:cubicBezTo>
                  <a:pt x="12937" y="20312"/>
                  <a:pt x="12937" y="20281"/>
                  <a:pt x="12937" y="20219"/>
                </a:cubicBezTo>
                <a:cubicBezTo>
                  <a:pt x="12937" y="20156"/>
                  <a:pt x="12906" y="20062"/>
                  <a:pt x="12937" y="19969"/>
                </a:cubicBezTo>
                <a:close/>
                <a:moveTo>
                  <a:pt x="12875" y="20250"/>
                </a:moveTo>
                <a:cubicBezTo>
                  <a:pt x="12843" y="20250"/>
                  <a:pt x="12843" y="20219"/>
                  <a:pt x="12843" y="20219"/>
                </a:cubicBezTo>
                <a:cubicBezTo>
                  <a:pt x="12843" y="20187"/>
                  <a:pt x="12843" y="20125"/>
                  <a:pt x="12843" y="20094"/>
                </a:cubicBezTo>
                <a:cubicBezTo>
                  <a:pt x="12843" y="20094"/>
                  <a:pt x="12843" y="20094"/>
                  <a:pt x="12843" y="20094"/>
                </a:cubicBezTo>
                <a:cubicBezTo>
                  <a:pt x="12843" y="20062"/>
                  <a:pt x="12843" y="20031"/>
                  <a:pt x="12843" y="19969"/>
                </a:cubicBezTo>
                <a:cubicBezTo>
                  <a:pt x="12843" y="19969"/>
                  <a:pt x="12843" y="19937"/>
                  <a:pt x="12875" y="19937"/>
                </a:cubicBezTo>
                <a:cubicBezTo>
                  <a:pt x="12906" y="19937"/>
                  <a:pt x="12906" y="19969"/>
                  <a:pt x="12906" y="19969"/>
                </a:cubicBezTo>
                <a:cubicBezTo>
                  <a:pt x="12906" y="20062"/>
                  <a:pt x="12906" y="20125"/>
                  <a:pt x="12906" y="20219"/>
                </a:cubicBezTo>
                <a:cubicBezTo>
                  <a:pt x="12906" y="20250"/>
                  <a:pt x="12906" y="20250"/>
                  <a:pt x="12875" y="20250"/>
                </a:cubicBezTo>
                <a:close/>
                <a:moveTo>
                  <a:pt x="12656" y="20187"/>
                </a:moveTo>
                <a:cubicBezTo>
                  <a:pt x="12625" y="20187"/>
                  <a:pt x="12625" y="20187"/>
                  <a:pt x="12593" y="20187"/>
                </a:cubicBezTo>
                <a:cubicBezTo>
                  <a:pt x="12531" y="20219"/>
                  <a:pt x="12531" y="20187"/>
                  <a:pt x="12531" y="20125"/>
                </a:cubicBezTo>
                <a:cubicBezTo>
                  <a:pt x="12531" y="20094"/>
                  <a:pt x="12531" y="20031"/>
                  <a:pt x="12531" y="19969"/>
                </a:cubicBezTo>
                <a:cubicBezTo>
                  <a:pt x="12531" y="19906"/>
                  <a:pt x="12500" y="19906"/>
                  <a:pt x="12468" y="19906"/>
                </a:cubicBezTo>
                <a:cubicBezTo>
                  <a:pt x="12406" y="19906"/>
                  <a:pt x="12406" y="19937"/>
                  <a:pt x="12406" y="19969"/>
                </a:cubicBezTo>
                <a:cubicBezTo>
                  <a:pt x="12406" y="20031"/>
                  <a:pt x="12406" y="20062"/>
                  <a:pt x="12406" y="20094"/>
                </a:cubicBezTo>
                <a:cubicBezTo>
                  <a:pt x="12406" y="20156"/>
                  <a:pt x="12375" y="20250"/>
                  <a:pt x="12406" y="20281"/>
                </a:cubicBezTo>
                <a:cubicBezTo>
                  <a:pt x="12468" y="20312"/>
                  <a:pt x="12531" y="20281"/>
                  <a:pt x="12625" y="20281"/>
                </a:cubicBezTo>
                <a:cubicBezTo>
                  <a:pt x="12625" y="20281"/>
                  <a:pt x="12656" y="20281"/>
                  <a:pt x="12656" y="20281"/>
                </a:cubicBezTo>
                <a:cubicBezTo>
                  <a:pt x="12718" y="20281"/>
                  <a:pt x="12718" y="20250"/>
                  <a:pt x="12718" y="20219"/>
                </a:cubicBezTo>
                <a:cubicBezTo>
                  <a:pt x="12718" y="20156"/>
                  <a:pt x="12687" y="20187"/>
                  <a:pt x="12656" y="20187"/>
                </a:cubicBezTo>
                <a:close/>
                <a:moveTo>
                  <a:pt x="12562" y="20250"/>
                </a:moveTo>
                <a:cubicBezTo>
                  <a:pt x="12562" y="20250"/>
                  <a:pt x="12531" y="20281"/>
                  <a:pt x="12500" y="20281"/>
                </a:cubicBezTo>
                <a:cubicBezTo>
                  <a:pt x="12437" y="20281"/>
                  <a:pt x="12437" y="20250"/>
                  <a:pt x="12437" y="20187"/>
                </a:cubicBezTo>
                <a:cubicBezTo>
                  <a:pt x="12437" y="20125"/>
                  <a:pt x="12437" y="20062"/>
                  <a:pt x="12437" y="20000"/>
                </a:cubicBezTo>
                <a:cubicBezTo>
                  <a:pt x="12437" y="20000"/>
                  <a:pt x="12437" y="19969"/>
                  <a:pt x="12468" y="19937"/>
                </a:cubicBezTo>
                <a:cubicBezTo>
                  <a:pt x="12500" y="20000"/>
                  <a:pt x="12468" y="20062"/>
                  <a:pt x="12468" y="20125"/>
                </a:cubicBezTo>
                <a:cubicBezTo>
                  <a:pt x="12468" y="20219"/>
                  <a:pt x="12468" y="20219"/>
                  <a:pt x="12562" y="20219"/>
                </a:cubicBezTo>
                <a:cubicBezTo>
                  <a:pt x="12593" y="20219"/>
                  <a:pt x="12656" y="20219"/>
                  <a:pt x="12656" y="20250"/>
                </a:cubicBezTo>
                <a:cubicBezTo>
                  <a:pt x="12656" y="20281"/>
                  <a:pt x="12593" y="20250"/>
                  <a:pt x="12562" y="20250"/>
                </a:cubicBezTo>
                <a:close/>
                <a:moveTo>
                  <a:pt x="10000" y="19906"/>
                </a:moveTo>
                <a:cubicBezTo>
                  <a:pt x="9937" y="19937"/>
                  <a:pt x="9875" y="19906"/>
                  <a:pt x="9812" y="19906"/>
                </a:cubicBezTo>
                <a:cubicBezTo>
                  <a:pt x="9750" y="19906"/>
                  <a:pt x="9687" y="19906"/>
                  <a:pt x="9718" y="20000"/>
                </a:cubicBezTo>
                <a:cubicBezTo>
                  <a:pt x="9750" y="20031"/>
                  <a:pt x="9718" y="20094"/>
                  <a:pt x="9718" y="20125"/>
                </a:cubicBezTo>
                <a:cubicBezTo>
                  <a:pt x="9718" y="20156"/>
                  <a:pt x="9750" y="20219"/>
                  <a:pt x="9718" y="20250"/>
                </a:cubicBezTo>
                <a:cubicBezTo>
                  <a:pt x="9718" y="20312"/>
                  <a:pt x="9750" y="20312"/>
                  <a:pt x="9812" y="20312"/>
                </a:cubicBezTo>
                <a:cubicBezTo>
                  <a:pt x="9843" y="20312"/>
                  <a:pt x="9875" y="20312"/>
                  <a:pt x="9875" y="20250"/>
                </a:cubicBezTo>
                <a:cubicBezTo>
                  <a:pt x="9843" y="20187"/>
                  <a:pt x="9875" y="20156"/>
                  <a:pt x="9937" y="20156"/>
                </a:cubicBezTo>
                <a:cubicBezTo>
                  <a:pt x="9968" y="20187"/>
                  <a:pt x="10000" y="20156"/>
                  <a:pt x="10000" y="20125"/>
                </a:cubicBezTo>
                <a:cubicBezTo>
                  <a:pt x="10000" y="20094"/>
                  <a:pt x="10000" y="20062"/>
                  <a:pt x="9937" y="20062"/>
                </a:cubicBezTo>
                <a:cubicBezTo>
                  <a:pt x="9906" y="20062"/>
                  <a:pt x="9875" y="20094"/>
                  <a:pt x="9875" y="20031"/>
                </a:cubicBezTo>
                <a:cubicBezTo>
                  <a:pt x="9875" y="20000"/>
                  <a:pt x="9906" y="20031"/>
                  <a:pt x="9937" y="20031"/>
                </a:cubicBezTo>
                <a:cubicBezTo>
                  <a:pt x="9968" y="20000"/>
                  <a:pt x="10000" y="20031"/>
                  <a:pt x="10031" y="20000"/>
                </a:cubicBezTo>
                <a:cubicBezTo>
                  <a:pt x="10031" y="20000"/>
                  <a:pt x="10093" y="20031"/>
                  <a:pt x="10093" y="19969"/>
                </a:cubicBezTo>
                <a:cubicBezTo>
                  <a:pt x="10062" y="19937"/>
                  <a:pt x="10062" y="19906"/>
                  <a:pt x="10000" y="19906"/>
                </a:cubicBezTo>
                <a:close/>
                <a:moveTo>
                  <a:pt x="9906" y="20125"/>
                </a:moveTo>
                <a:cubicBezTo>
                  <a:pt x="9812" y="20125"/>
                  <a:pt x="9812" y="20187"/>
                  <a:pt x="9812" y="20250"/>
                </a:cubicBezTo>
                <a:cubicBezTo>
                  <a:pt x="9812" y="20250"/>
                  <a:pt x="9843" y="20281"/>
                  <a:pt x="9812" y="20281"/>
                </a:cubicBezTo>
                <a:cubicBezTo>
                  <a:pt x="9781" y="20281"/>
                  <a:pt x="9781" y="20250"/>
                  <a:pt x="9781" y="20250"/>
                </a:cubicBezTo>
                <a:cubicBezTo>
                  <a:pt x="9781" y="20156"/>
                  <a:pt x="9781" y="20094"/>
                  <a:pt x="9781" y="20031"/>
                </a:cubicBezTo>
                <a:cubicBezTo>
                  <a:pt x="9781" y="20000"/>
                  <a:pt x="9750" y="19969"/>
                  <a:pt x="9812" y="19969"/>
                </a:cubicBezTo>
                <a:cubicBezTo>
                  <a:pt x="9843" y="19969"/>
                  <a:pt x="9812" y="20000"/>
                  <a:pt x="9812" y="20031"/>
                </a:cubicBezTo>
                <a:cubicBezTo>
                  <a:pt x="9812" y="20062"/>
                  <a:pt x="9843" y="20125"/>
                  <a:pt x="9906" y="20125"/>
                </a:cubicBezTo>
                <a:close/>
                <a:moveTo>
                  <a:pt x="12281" y="20219"/>
                </a:moveTo>
                <a:cubicBezTo>
                  <a:pt x="12125" y="20062"/>
                  <a:pt x="12125" y="20062"/>
                  <a:pt x="12281" y="19969"/>
                </a:cubicBezTo>
                <a:cubicBezTo>
                  <a:pt x="12281" y="19937"/>
                  <a:pt x="12312" y="19937"/>
                  <a:pt x="12312" y="19906"/>
                </a:cubicBezTo>
                <a:cubicBezTo>
                  <a:pt x="12281" y="19906"/>
                  <a:pt x="12281" y="19906"/>
                  <a:pt x="12250" y="19906"/>
                </a:cubicBezTo>
                <a:cubicBezTo>
                  <a:pt x="12187" y="19906"/>
                  <a:pt x="12125" y="19937"/>
                  <a:pt x="12062" y="19969"/>
                </a:cubicBezTo>
                <a:cubicBezTo>
                  <a:pt x="12062" y="20000"/>
                  <a:pt x="12031" y="20031"/>
                  <a:pt x="12031" y="20000"/>
                </a:cubicBezTo>
                <a:cubicBezTo>
                  <a:pt x="12000" y="20000"/>
                  <a:pt x="12000" y="19969"/>
                  <a:pt x="12000" y="19969"/>
                </a:cubicBezTo>
                <a:cubicBezTo>
                  <a:pt x="12000" y="19906"/>
                  <a:pt x="11968" y="19906"/>
                  <a:pt x="11937" y="19906"/>
                </a:cubicBezTo>
                <a:cubicBezTo>
                  <a:pt x="11906" y="19906"/>
                  <a:pt x="11875" y="19906"/>
                  <a:pt x="11875" y="19969"/>
                </a:cubicBezTo>
                <a:cubicBezTo>
                  <a:pt x="11906" y="20062"/>
                  <a:pt x="11906" y="20125"/>
                  <a:pt x="11875" y="20219"/>
                </a:cubicBezTo>
                <a:cubicBezTo>
                  <a:pt x="11875" y="20281"/>
                  <a:pt x="11875" y="20312"/>
                  <a:pt x="11937" y="20281"/>
                </a:cubicBezTo>
                <a:cubicBezTo>
                  <a:pt x="12000" y="20312"/>
                  <a:pt x="12031" y="20312"/>
                  <a:pt x="12000" y="20219"/>
                </a:cubicBezTo>
                <a:cubicBezTo>
                  <a:pt x="12000" y="20219"/>
                  <a:pt x="12000" y="20156"/>
                  <a:pt x="12031" y="20156"/>
                </a:cubicBezTo>
                <a:cubicBezTo>
                  <a:pt x="12062" y="20156"/>
                  <a:pt x="12093" y="20156"/>
                  <a:pt x="12093" y="20187"/>
                </a:cubicBezTo>
                <a:cubicBezTo>
                  <a:pt x="12125" y="20219"/>
                  <a:pt x="12156" y="20250"/>
                  <a:pt x="12156" y="20281"/>
                </a:cubicBezTo>
                <a:cubicBezTo>
                  <a:pt x="12187" y="20312"/>
                  <a:pt x="12218" y="20281"/>
                  <a:pt x="12281" y="20281"/>
                </a:cubicBezTo>
                <a:cubicBezTo>
                  <a:pt x="12281" y="20312"/>
                  <a:pt x="12312" y="20312"/>
                  <a:pt x="12312" y="20281"/>
                </a:cubicBezTo>
                <a:cubicBezTo>
                  <a:pt x="12312" y="20250"/>
                  <a:pt x="12281" y="20219"/>
                  <a:pt x="12281" y="20219"/>
                </a:cubicBezTo>
                <a:close/>
                <a:moveTo>
                  <a:pt x="12000" y="20094"/>
                </a:moveTo>
                <a:cubicBezTo>
                  <a:pt x="12000" y="20094"/>
                  <a:pt x="12000" y="20094"/>
                  <a:pt x="12031" y="20094"/>
                </a:cubicBezTo>
                <a:cubicBezTo>
                  <a:pt x="12031" y="20094"/>
                  <a:pt x="12031" y="20094"/>
                  <a:pt x="12031" y="20094"/>
                </a:cubicBezTo>
                <a:cubicBezTo>
                  <a:pt x="11968" y="20125"/>
                  <a:pt x="11968" y="20156"/>
                  <a:pt x="11968" y="20219"/>
                </a:cubicBezTo>
                <a:cubicBezTo>
                  <a:pt x="11968" y="20250"/>
                  <a:pt x="11968" y="20250"/>
                  <a:pt x="11937" y="20250"/>
                </a:cubicBezTo>
                <a:cubicBezTo>
                  <a:pt x="11937" y="20250"/>
                  <a:pt x="11906" y="20250"/>
                  <a:pt x="11906" y="20219"/>
                </a:cubicBezTo>
                <a:cubicBezTo>
                  <a:pt x="11937" y="20156"/>
                  <a:pt x="11906" y="20062"/>
                  <a:pt x="11906" y="20000"/>
                </a:cubicBezTo>
                <a:cubicBezTo>
                  <a:pt x="11937" y="19969"/>
                  <a:pt x="11906" y="19937"/>
                  <a:pt x="11937" y="19937"/>
                </a:cubicBezTo>
                <a:cubicBezTo>
                  <a:pt x="11968" y="19937"/>
                  <a:pt x="11968" y="20000"/>
                  <a:pt x="11968" y="20000"/>
                </a:cubicBezTo>
                <a:cubicBezTo>
                  <a:pt x="11968" y="20031"/>
                  <a:pt x="11968" y="20062"/>
                  <a:pt x="11968" y="20094"/>
                </a:cubicBezTo>
                <a:cubicBezTo>
                  <a:pt x="11968" y="20125"/>
                  <a:pt x="12000" y="20094"/>
                  <a:pt x="12000" y="20094"/>
                </a:cubicBezTo>
                <a:cubicBezTo>
                  <a:pt x="12031" y="20062"/>
                  <a:pt x="12093" y="20000"/>
                  <a:pt x="12156" y="19969"/>
                </a:cubicBezTo>
                <a:cubicBezTo>
                  <a:pt x="12093" y="20000"/>
                  <a:pt x="12031" y="20062"/>
                  <a:pt x="12000" y="20094"/>
                </a:cubicBezTo>
                <a:close/>
                <a:moveTo>
                  <a:pt x="12093" y="20125"/>
                </a:moveTo>
                <a:cubicBezTo>
                  <a:pt x="12093" y="20125"/>
                  <a:pt x="12093" y="20094"/>
                  <a:pt x="12062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093" y="20094"/>
                  <a:pt x="12093" y="20094"/>
                  <a:pt x="12093" y="20094"/>
                </a:cubicBezTo>
                <a:cubicBezTo>
                  <a:pt x="12156" y="20156"/>
                  <a:pt x="12187" y="20219"/>
                  <a:pt x="12250" y="20281"/>
                </a:cubicBezTo>
                <a:cubicBezTo>
                  <a:pt x="12187" y="20219"/>
                  <a:pt x="12125" y="20156"/>
                  <a:pt x="12093" y="20125"/>
                </a:cubicBezTo>
                <a:close/>
                <a:moveTo>
                  <a:pt x="11031" y="19969"/>
                </a:moveTo>
                <a:cubicBezTo>
                  <a:pt x="11000" y="19906"/>
                  <a:pt x="10906" y="19906"/>
                  <a:pt x="10875" y="19969"/>
                </a:cubicBezTo>
                <a:cubicBezTo>
                  <a:pt x="10812" y="20031"/>
                  <a:pt x="10781" y="20125"/>
                  <a:pt x="10750" y="20219"/>
                </a:cubicBezTo>
                <a:cubicBezTo>
                  <a:pt x="10718" y="20250"/>
                  <a:pt x="10687" y="20281"/>
                  <a:pt x="10718" y="20312"/>
                </a:cubicBezTo>
                <a:cubicBezTo>
                  <a:pt x="10750" y="20312"/>
                  <a:pt x="10812" y="20344"/>
                  <a:pt x="10843" y="20281"/>
                </a:cubicBezTo>
                <a:cubicBezTo>
                  <a:pt x="10875" y="20219"/>
                  <a:pt x="10906" y="20219"/>
                  <a:pt x="10937" y="20219"/>
                </a:cubicBezTo>
                <a:cubicBezTo>
                  <a:pt x="11000" y="20187"/>
                  <a:pt x="11031" y="20219"/>
                  <a:pt x="11062" y="20250"/>
                </a:cubicBezTo>
                <a:cubicBezTo>
                  <a:pt x="11093" y="20312"/>
                  <a:pt x="11156" y="20312"/>
                  <a:pt x="11187" y="20312"/>
                </a:cubicBezTo>
                <a:cubicBezTo>
                  <a:pt x="11218" y="20312"/>
                  <a:pt x="11218" y="20281"/>
                  <a:pt x="11218" y="20250"/>
                </a:cubicBezTo>
                <a:cubicBezTo>
                  <a:pt x="11125" y="20156"/>
                  <a:pt x="11093" y="20062"/>
                  <a:pt x="11031" y="19969"/>
                </a:cubicBezTo>
                <a:close/>
                <a:moveTo>
                  <a:pt x="11031" y="20125"/>
                </a:moveTo>
                <a:cubicBezTo>
                  <a:pt x="11031" y="20094"/>
                  <a:pt x="11000" y="20000"/>
                  <a:pt x="10968" y="20000"/>
                </a:cubicBezTo>
                <a:cubicBezTo>
                  <a:pt x="10906" y="20000"/>
                  <a:pt x="10875" y="20094"/>
                  <a:pt x="10875" y="20156"/>
                </a:cubicBezTo>
                <a:cubicBezTo>
                  <a:pt x="10843" y="20187"/>
                  <a:pt x="10812" y="20219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781" y="20250"/>
                  <a:pt x="10781" y="20250"/>
                  <a:pt x="10781" y="20250"/>
                </a:cubicBezTo>
                <a:cubicBezTo>
                  <a:pt x="10812" y="20156"/>
                  <a:pt x="10875" y="20062"/>
                  <a:pt x="10906" y="19969"/>
                </a:cubicBezTo>
                <a:cubicBezTo>
                  <a:pt x="10937" y="19937"/>
                  <a:pt x="11000" y="19937"/>
                  <a:pt x="11000" y="20000"/>
                </a:cubicBezTo>
                <a:cubicBezTo>
                  <a:pt x="11062" y="20062"/>
                  <a:pt x="11093" y="20156"/>
                  <a:pt x="11125" y="20250"/>
                </a:cubicBezTo>
                <a:cubicBezTo>
                  <a:pt x="11093" y="20219"/>
                  <a:pt x="11062" y="20187"/>
                  <a:pt x="11031" y="20125"/>
                </a:cubicBezTo>
                <a:close/>
                <a:moveTo>
                  <a:pt x="11750" y="19937"/>
                </a:moveTo>
                <a:cubicBezTo>
                  <a:pt x="11750" y="19906"/>
                  <a:pt x="11750" y="19906"/>
                  <a:pt x="11718" y="19906"/>
                </a:cubicBezTo>
                <a:cubicBezTo>
                  <a:pt x="11625" y="19906"/>
                  <a:pt x="11625" y="19906"/>
                  <a:pt x="11625" y="20000"/>
                </a:cubicBezTo>
                <a:cubicBezTo>
                  <a:pt x="11625" y="20031"/>
                  <a:pt x="11625" y="20031"/>
                  <a:pt x="11625" y="20062"/>
                </a:cubicBezTo>
                <a:cubicBezTo>
                  <a:pt x="11625" y="20094"/>
                  <a:pt x="11656" y="20094"/>
                  <a:pt x="11625" y="20094"/>
                </a:cubicBezTo>
                <a:cubicBezTo>
                  <a:pt x="11593" y="20125"/>
                  <a:pt x="11593" y="20094"/>
                  <a:pt x="11593" y="20094"/>
                </a:cubicBezTo>
                <a:cubicBezTo>
                  <a:pt x="11562" y="20031"/>
                  <a:pt x="11500" y="20000"/>
                  <a:pt x="11468" y="19937"/>
                </a:cubicBezTo>
                <a:cubicBezTo>
                  <a:pt x="11406" y="19906"/>
                  <a:pt x="11375" y="19906"/>
                  <a:pt x="11312" y="19906"/>
                </a:cubicBezTo>
                <a:cubicBezTo>
                  <a:pt x="11281" y="19937"/>
                  <a:pt x="11312" y="19969"/>
                  <a:pt x="11312" y="20000"/>
                </a:cubicBezTo>
                <a:cubicBezTo>
                  <a:pt x="11312" y="20062"/>
                  <a:pt x="11312" y="20156"/>
                  <a:pt x="11312" y="20250"/>
                </a:cubicBezTo>
                <a:cubicBezTo>
                  <a:pt x="11312" y="20281"/>
                  <a:pt x="11312" y="20312"/>
                  <a:pt x="11343" y="20312"/>
                </a:cubicBezTo>
                <a:cubicBezTo>
                  <a:pt x="11375" y="20312"/>
                  <a:pt x="11437" y="20312"/>
                  <a:pt x="11406" y="20250"/>
                </a:cubicBezTo>
                <a:cubicBezTo>
                  <a:pt x="11406" y="20187"/>
                  <a:pt x="11406" y="20156"/>
                  <a:pt x="11406" y="20094"/>
                </a:cubicBezTo>
                <a:cubicBezTo>
                  <a:pt x="11468" y="20094"/>
                  <a:pt x="11500" y="20156"/>
                  <a:pt x="11500" y="20156"/>
                </a:cubicBezTo>
                <a:cubicBezTo>
                  <a:pt x="11593" y="20219"/>
                  <a:pt x="11625" y="20344"/>
                  <a:pt x="11781" y="20281"/>
                </a:cubicBezTo>
                <a:cubicBezTo>
                  <a:pt x="11750" y="20281"/>
                  <a:pt x="11750" y="20281"/>
                  <a:pt x="11750" y="20250"/>
                </a:cubicBezTo>
                <a:cubicBezTo>
                  <a:pt x="11750" y="20156"/>
                  <a:pt x="11750" y="20062"/>
                  <a:pt x="11750" y="19937"/>
                </a:cubicBezTo>
                <a:close/>
                <a:moveTo>
                  <a:pt x="11437" y="20000"/>
                </a:moveTo>
                <a:cubicBezTo>
                  <a:pt x="11406" y="20031"/>
                  <a:pt x="11406" y="19969"/>
                  <a:pt x="11375" y="20000"/>
                </a:cubicBezTo>
                <a:cubicBezTo>
                  <a:pt x="11375" y="20000"/>
                  <a:pt x="11375" y="20031"/>
                  <a:pt x="11375" y="20062"/>
                </a:cubicBezTo>
                <a:cubicBezTo>
                  <a:pt x="11375" y="20125"/>
                  <a:pt x="11406" y="20187"/>
                  <a:pt x="11375" y="20250"/>
                </a:cubicBezTo>
                <a:cubicBezTo>
                  <a:pt x="11375" y="20250"/>
                  <a:pt x="11343" y="20250"/>
                  <a:pt x="11343" y="20250"/>
                </a:cubicBezTo>
                <a:cubicBezTo>
                  <a:pt x="11343" y="20187"/>
                  <a:pt x="11343" y="20094"/>
                  <a:pt x="11343" y="20031"/>
                </a:cubicBezTo>
                <a:cubicBezTo>
                  <a:pt x="11343" y="20000"/>
                  <a:pt x="11343" y="19969"/>
                  <a:pt x="11375" y="19969"/>
                </a:cubicBezTo>
                <a:cubicBezTo>
                  <a:pt x="11406" y="19937"/>
                  <a:pt x="11437" y="19969"/>
                  <a:pt x="11437" y="20000"/>
                </a:cubicBezTo>
                <a:cubicBezTo>
                  <a:pt x="11468" y="20031"/>
                  <a:pt x="11500" y="20031"/>
                  <a:pt x="11500" y="20062"/>
                </a:cubicBezTo>
                <a:cubicBezTo>
                  <a:pt x="11468" y="20062"/>
                  <a:pt x="11468" y="20031"/>
                  <a:pt x="11437" y="20000"/>
                </a:cubicBezTo>
                <a:close/>
                <a:moveTo>
                  <a:pt x="11718" y="20219"/>
                </a:moveTo>
                <a:cubicBezTo>
                  <a:pt x="11718" y="20250"/>
                  <a:pt x="11687" y="20281"/>
                  <a:pt x="11656" y="20250"/>
                </a:cubicBezTo>
                <a:cubicBezTo>
                  <a:pt x="11625" y="20219"/>
                  <a:pt x="11562" y="20187"/>
                  <a:pt x="11531" y="20125"/>
                </a:cubicBezTo>
                <a:cubicBezTo>
                  <a:pt x="11500" y="20094"/>
                  <a:pt x="11500" y="20094"/>
                  <a:pt x="11500" y="20062"/>
                </a:cubicBezTo>
                <a:cubicBezTo>
                  <a:pt x="11531" y="20062"/>
                  <a:pt x="11531" y="20094"/>
                  <a:pt x="11531" y="20094"/>
                </a:cubicBezTo>
                <a:cubicBezTo>
                  <a:pt x="11593" y="20156"/>
                  <a:pt x="11625" y="20187"/>
                  <a:pt x="11687" y="20219"/>
                </a:cubicBezTo>
                <a:cubicBezTo>
                  <a:pt x="11687" y="20125"/>
                  <a:pt x="11687" y="20031"/>
                  <a:pt x="11687" y="19969"/>
                </a:cubicBezTo>
                <a:cubicBezTo>
                  <a:pt x="11718" y="19969"/>
                  <a:pt x="11718" y="19969"/>
                  <a:pt x="11718" y="20000"/>
                </a:cubicBezTo>
                <a:cubicBezTo>
                  <a:pt x="11718" y="20062"/>
                  <a:pt x="11718" y="20156"/>
                  <a:pt x="11718" y="20219"/>
                </a:cubicBezTo>
                <a:close/>
                <a:moveTo>
                  <a:pt x="10593" y="20094"/>
                </a:moveTo>
                <a:cubicBezTo>
                  <a:pt x="10625" y="20094"/>
                  <a:pt x="10656" y="20062"/>
                  <a:pt x="10625" y="20000"/>
                </a:cubicBezTo>
                <a:cubicBezTo>
                  <a:pt x="10625" y="19969"/>
                  <a:pt x="10593" y="19906"/>
                  <a:pt x="10531" y="19906"/>
                </a:cubicBezTo>
                <a:cubicBezTo>
                  <a:pt x="10437" y="19906"/>
                  <a:pt x="10312" y="19906"/>
                  <a:pt x="10218" y="19906"/>
                </a:cubicBezTo>
                <a:cubicBezTo>
                  <a:pt x="10187" y="19906"/>
                  <a:pt x="10187" y="19937"/>
                  <a:pt x="10187" y="19969"/>
                </a:cubicBezTo>
                <a:cubicBezTo>
                  <a:pt x="10218" y="20062"/>
                  <a:pt x="10187" y="20156"/>
                  <a:pt x="10187" y="20250"/>
                </a:cubicBezTo>
                <a:cubicBezTo>
                  <a:pt x="10187" y="20281"/>
                  <a:pt x="10156" y="20312"/>
                  <a:pt x="10218" y="20312"/>
                </a:cubicBezTo>
                <a:cubicBezTo>
                  <a:pt x="10281" y="20312"/>
                  <a:pt x="10343" y="20344"/>
                  <a:pt x="10312" y="20250"/>
                </a:cubicBezTo>
                <a:cubicBezTo>
                  <a:pt x="10312" y="20219"/>
                  <a:pt x="10312" y="20187"/>
                  <a:pt x="10343" y="20187"/>
                </a:cubicBezTo>
                <a:cubicBezTo>
                  <a:pt x="10375" y="20156"/>
                  <a:pt x="10406" y="20187"/>
                  <a:pt x="10437" y="20219"/>
                </a:cubicBezTo>
                <a:cubicBezTo>
                  <a:pt x="10437" y="20219"/>
                  <a:pt x="10437" y="20219"/>
                  <a:pt x="10468" y="20250"/>
                </a:cubicBezTo>
                <a:cubicBezTo>
                  <a:pt x="10500" y="20312"/>
                  <a:pt x="10562" y="20312"/>
                  <a:pt x="10625" y="20281"/>
                </a:cubicBezTo>
                <a:cubicBezTo>
                  <a:pt x="10625" y="20281"/>
                  <a:pt x="10625" y="20250"/>
                  <a:pt x="10593" y="20250"/>
                </a:cubicBezTo>
                <a:cubicBezTo>
                  <a:pt x="10562" y="20219"/>
                  <a:pt x="10531" y="20156"/>
                  <a:pt x="10593" y="20094"/>
                </a:cubicBezTo>
                <a:close/>
                <a:moveTo>
                  <a:pt x="10375" y="20000"/>
                </a:moveTo>
                <a:cubicBezTo>
                  <a:pt x="10375" y="20000"/>
                  <a:pt x="10406" y="20000"/>
                  <a:pt x="10406" y="20000"/>
                </a:cubicBezTo>
                <a:cubicBezTo>
                  <a:pt x="10437" y="20031"/>
                  <a:pt x="10500" y="20000"/>
                  <a:pt x="10500" y="20031"/>
                </a:cubicBezTo>
                <a:cubicBezTo>
                  <a:pt x="10500" y="20062"/>
                  <a:pt x="10437" y="20062"/>
                  <a:pt x="10437" y="20062"/>
                </a:cubicBezTo>
                <a:cubicBezTo>
                  <a:pt x="10406" y="20062"/>
                  <a:pt x="10375" y="20062"/>
                  <a:pt x="10375" y="20062"/>
                </a:cubicBezTo>
                <a:cubicBezTo>
                  <a:pt x="10343" y="20062"/>
                  <a:pt x="10343" y="20062"/>
                  <a:pt x="10343" y="20031"/>
                </a:cubicBezTo>
                <a:cubicBezTo>
                  <a:pt x="10312" y="20000"/>
                  <a:pt x="10343" y="20000"/>
                  <a:pt x="10375" y="20000"/>
                </a:cubicBezTo>
                <a:close/>
                <a:moveTo>
                  <a:pt x="10531" y="20187"/>
                </a:moveTo>
                <a:cubicBezTo>
                  <a:pt x="10531" y="20219"/>
                  <a:pt x="10562" y="20219"/>
                  <a:pt x="10562" y="20281"/>
                </a:cubicBezTo>
                <a:cubicBezTo>
                  <a:pt x="10500" y="20250"/>
                  <a:pt x="10500" y="20219"/>
                  <a:pt x="10468" y="20187"/>
                </a:cubicBezTo>
                <a:cubicBezTo>
                  <a:pt x="10437" y="20156"/>
                  <a:pt x="10406" y="20125"/>
                  <a:pt x="10375" y="20125"/>
                </a:cubicBezTo>
                <a:cubicBezTo>
                  <a:pt x="10312" y="20125"/>
                  <a:pt x="10281" y="20156"/>
                  <a:pt x="10281" y="20219"/>
                </a:cubicBezTo>
                <a:cubicBezTo>
                  <a:pt x="10281" y="20219"/>
                  <a:pt x="10312" y="20281"/>
                  <a:pt x="10250" y="20281"/>
                </a:cubicBezTo>
                <a:cubicBezTo>
                  <a:pt x="10218" y="20281"/>
                  <a:pt x="10250" y="20219"/>
                  <a:pt x="10250" y="20219"/>
                </a:cubicBezTo>
                <a:cubicBezTo>
                  <a:pt x="10218" y="20125"/>
                  <a:pt x="10250" y="20062"/>
                  <a:pt x="10250" y="20000"/>
                </a:cubicBezTo>
                <a:cubicBezTo>
                  <a:pt x="10250" y="20000"/>
                  <a:pt x="10218" y="19969"/>
                  <a:pt x="10250" y="19969"/>
                </a:cubicBezTo>
                <a:cubicBezTo>
                  <a:pt x="10281" y="19969"/>
                  <a:pt x="10281" y="19969"/>
                  <a:pt x="10281" y="20000"/>
                </a:cubicBezTo>
                <a:cubicBezTo>
                  <a:pt x="10281" y="20031"/>
                  <a:pt x="10250" y="20094"/>
                  <a:pt x="10312" y="20094"/>
                </a:cubicBezTo>
                <a:cubicBezTo>
                  <a:pt x="10375" y="20125"/>
                  <a:pt x="10468" y="20125"/>
                  <a:pt x="10531" y="20094"/>
                </a:cubicBezTo>
                <a:cubicBezTo>
                  <a:pt x="10562" y="20031"/>
                  <a:pt x="10531" y="20000"/>
                  <a:pt x="10500" y="19969"/>
                </a:cubicBezTo>
                <a:cubicBezTo>
                  <a:pt x="10562" y="19969"/>
                  <a:pt x="10593" y="19969"/>
                  <a:pt x="10593" y="20031"/>
                </a:cubicBezTo>
                <a:cubicBezTo>
                  <a:pt x="10593" y="20062"/>
                  <a:pt x="10593" y="20094"/>
                  <a:pt x="10562" y="20094"/>
                </a:cubicBezTo>
                <a:cubicBezTo>
                  <a:pt x="10468" y="20125"/>
                  <a:pt x="10500" y="20156"/>
                  <a:pt x="10531" y="20187"/>
                </a:cubicBezTo>
                <a:close/>
                <a:moveTo>
                  <a:pt x="13500" y="19969"/>
                </a:moveTo>
                <a:cubicBezTo>
                  <a:pt x="13500" y="19906"/>
                  <a:pt x="13500" y="19906"/>
                  <a:pt x="13437" y="19906"/>
                </a:cubicBezTo>
                <a:cubicBezTo>
                  <a:pt x="13406" y="19906"/>
                  <a:pt x="13375" y="19906"/>
                  <a:pt x="13375" y="19969"/>
                </a:cubicBezTo>
                <a:cubicBezTo>
                  <a:pt x="13375" y="20000"/>
                  <a:pt x="13375" y="20062"/>
                  <a:pt x="13375" y="20094"/>
                </a:cubicBezTo>
                <a:cubicBezTo>
                  <a:pt x="13312" y="20062"/>
                  <a:pt x="13281" y="20000"/>
                  <a:pt x="13250" y="19937"/>
                </a:cubicBezTo>
                <a:cubicBezTo>
                  <a:pt x="13187" y="19906"/>
                  <a:pt x="13156" y="19906"/>
                  <a:pt x="13093" y="19906"/>
                </a:cubicBezTo>
                <a:cubicBezTo>
                  <a:pt x="13062" y="19906"/>
                  <a:pt x="13062" y="19906"/>
                  <a:pt x="13062" y="19937"/>
                </a:cubicBezTo>
                <a:cubicBezTo>
                  <a:pt x="13062" y="20031"/>
                  <a:pt x="13062" y="20156"/>
                  <a:pt x="13062" y="20250"/>
                </a:cubicBezTo>
                <a:cubicBezTo>
                  <a:pt x="13062" y="20312"/>
                  <a:pt x="13093" y="20281"/>
                  <a:pt x="13125" y="20281"/>
                </a:cubicBezTo>
                <a:cubicBezTo>
                  <a:pt x="13156" y="20312"/>
                  <a:pt x="13187" y="20312"/>
                  <a:pt x="13187" y="20250"/>
                </a:cubicBezTo>
                <a:cubicBezTo>
                  <a:pt x="13187" y="20187"/>
                  <a:pt x="13156" y="20125"/>
                  <a:pt x="13187" y="20062"/>
                </a:cubicBezTo>
                <a:cubicBezTo>
                  <a:pt x="13250" y="20125"/>
                  <a:pt x="13312" y="20187"/>
                  <a:pt x="13375" y="20281"/>
                </a:cubicBezTo>
                <a:cubicBezTo>
                  <a:pt x="13406" y="20312"/>
                  <a:pt x="13437" y="20312"/>
                  <a:pt x="13468" y="20281"/>
                </a:cubicBezTo>
                <a:cubicBezTo>
                  <a:pt x="13500" y="20281"/>
                  <a:pt x="13500" y="20250"/>
                  <a:pt x="13500" y="20219"/>
                </a:cubicBezTo>
                <a:cubicBezTo>
                  <a:pt x="13500" y="20125"/>
                  <a:pt x="13500" y="20031"/>
                  <a:pt x="13500" y="19969"/>
                </a:cubicBezTo>
                <a:close/>
                <a:moveTo>
                  <a:pt x="13437" y="20250"/>
                </a:moveTo>
                <a:cubicBezTo>
                  <a:pt x="13406" y="20250"/>
                  <a:pt x="13406" y="20250"/>
                  <a:pt x="13406" y="20219"/>
                </a:cubicBezTo>
                <a:cubicBezTo>
                  <a:pt x="13406" y="20250"/>
                  <a:pt x="13406" y="20250"/>
                  <a:pt x="13437" y="20250"/>
                </a:cubicBezTo>
                <a:cubicBezTo>
                  <a:pt x="13437" y="20250"/>
                  <a:pt x="13437" y="20250"/>
                  <a:pt x="13437" y="20250"/>
                </a:cubicBezTo>
                <a:close/>
                <a:moveTo>
                  <a:pt x="13468" y="20250"/>
                </a:moveTo>
                <a:cubicBezTo>
                  <a:pt x="13468" y="20250"/>
                  <a:pt x="13437" y="20250"/>
                  <a:pt x="13437" y="20250"/>
                </a:cubicBezTo>
                <a:cubicBezTo>
                  <a:pt x="13437" y="20250"/>
                  <a:pt x="13437" y="20219"/>
                  <a:pt x="13437" y="20219"/>
                </a:cubicBezTo>
                <a:cubicBezTo>
                  <a:pt x="13406" y="20219"/>
                  <a:pt x="13406" y="20187"/>
                  <a:pt x="13375" y="20187"/>
                </a:cubicBezTo>
                <a:cubicBezTo>
                  <a:pt x="13343" y="20094"/>
                  <a:pt x="13250" y="20031"/>
                  <a:pt x="13187" y="19969"/>
                </a:cubicBezTo>
                <a:cubicBezTo>
                  <a:pt x="13187" y="19969"/>
                  <a:pt x="13187" y="19969"/>
                  <a:pt x="13187" y="19969"/>
                </a:cubicBezTo>
                <a:cubicBezTo>
                  <a:pt x="13187" y="19969"/>
                  <a:pt x="13187" y="19969"/>
                  <a:pt x="13187" y="19969"/>
                </a:cubicBezTo>
                <a:cubicBezTo>
                  <a:pt x="13156" y="19969"/>
                  <a:pt x="13125" y="19969"/>
                  <a:pt x="13125" y="20000"/>
                </a:cubicBezTo>
                <a:cubicBezTo>
                  <a:pt x="13125" y="20062"/>
                  <a:pt x="13125" y="20125"/>
                  <a:pt x="13125" y="20156"/>
                </a:cubicBezTo>
                <a:cubicBezTo>
                  <a:pt x="13125" y="20187"/>
                  <a:pt x="13125" y="20219"/>
                  <a:pt x="13125" y="20250"/>
                </a:cubicBezTo>
                <a:cubicBezTo>
                  <a:pt x="13093" y="20156"/>
                  <a:pt x="13093" y="20062"/>
                  <a:pt x="13093" y="19969"/>
                </a:cubicBezTo>
                <a:cubicBezTo>
                  <a:pt x="13125" y="19906"/>
                  <a:pt x="13156" y="19969"/>
                  <a:pt x="13187" y="19969"/>
                </a:cubicBezTo>
                <a:cubicBezTo>
                  <a:pt x="13250" y="20031"/>
                  <a:pt x="13343" y="20094"/>
                  <a:pt x="13375" y="20187"/>
                </a:cubicBezTo>
                <a:cubicBezTo>
                  <a:pt x="13406" y="20187"/>
                  <a:pt x="13406" y="20219"/>
                  <a:pt x="13437" y="20219"/>
                </a:cubicBezTo>
                <a:cubicBezTo>
                  <a:pt x="13437" y="20125"/>
                  <a:pt x="13437" y="20031"/>
                  <a:pt x="13437" y="19937"/>
                </a:cubicBezTo>
                <a:cubicBezTo>
                  <a:pt x="13437" y="19937"/>
                  <a:pt x="13437" y="19937"/>
                  <a:pt x="13468" y="19937"/>
                </a:cubicBezTo>
                <a:cubicBezTo>
                  <a:pt x="13468" y="20062"/>
                  <a:pt x="13468" y="20156"/>
                  <a:pt x="13468" y="20250"/>
                </a:cubicBezTo>
                <a:close/>
                <a:moveTo>
                  <a:pt x="16562" y="18281"/>
                </a:moveTo>
                <a:cubicBezTo>
                  <a:pt x="16531" y="18312"/>
                  <a:pt x="16500" y="18312"/>
                  <a:pt x="16437" y="18312"/>
                </a:cubicBezTo>
                <a:cubicBezTo>
                  <a:pt x="16468" y="18344"/>
                  <a:pt x="16500" y="18375"/>
                  <a:pt x="16562" y="18406"/>
                </a:cubicBezTo>
                <a:cubicBezTo>
                  <a:pt x="16593" y="18406"/>
                  <a:pt x="16625" y="18375"/>
                  <a:pt x="16656" y="18375"/>
                </a:cubicBezTo>
                <a:cubicBezTo>
                  <a:pt x="16687" y="18344"/>
                  <a:pt x="16656" y="18312"/>
                  <a:pt x="16656" y="18312"/>
                </a:cubicBezTo>
                <a:cubicBezTo>
                  <a:pt x="16625" y="18250"/>
                  <a:pt x="16593" y="18281"/>
                  <a:pt x="16562" y="18281"/>
                </a:cubicBezTo>
                <a:close/>
                <a:moveTo>
                  <a:pt x="16375" y="18062"/>
                </a:moveTo>
                <a:cubicBezTo>
                  <a:pt x="16468" y="18031"/>
                  <a:pt x="16531" y="18062"/>
                  <a:pt x="16593" y="18000"/>
                </a:cubicBezTo>
                <a:cubicBezTo>
                  <a:pt x="16656" y="17969"/>
                  <a:pt x="16718" y="17906"/>
                  <a:pt x="16812" y="17969"/>
                </a:cubicBezTo>
                <a:cubicBezTo>
                  <a:pt x="16812" y="17969"/>
                  <a:pt x="16875" y="17969"/>
                  <a:pt x="16906" y="17937"/>
                </a:cubicBezTo>
                <a:cubicBezTo>
                  <a:pt x="16906" y="17906"/>
                  <a:pt x="16906" y="17906"/>
                  <a:pt x="16937" y="17906"/>
                </a:cubicBezTo>
                <a:cubicBezTo>
                  <a:pt x="17000" y="17906"/>
                  <a:pt x="17031" y="17875"/>
                  <a:pt x="17093" y="17875"/>
                </a:cubicBezTo>
                <a:cubicBezTo>
                  <a:pt x="17125" y="17875"/>
                  <a:pt x="17093" y="17812"/>
                  <a:pt x="17093" y="17812"/>
                </a:cubicBezTo>
                <a:cubicBezTo>
                  <a:pt x="17031" y="17812"/>
                  <a:pt x="17000" y="17812"/>
                  <a:pt x="16937" y="17812"/>
                </a:cubicBezTo>
                <a:cubicBezTo>
                  <a:pt x="16812" y="17844"/>
                  <a:pt x="16718" y="17937"/>
                  <a:pt x="16593" y="17906"/>
                </a:cubicBezTo>
                <a:cubicBezTo>
                  <a:pt x="16562" y="17906"/>
                  <a:pt x="16562" y="17906"/>
                  <a:pt x="16562" y="17906"/>
                </a:cubicBezTo>
                <a:cubicBezTo>
                  <a:pt x="16531" y="17969"/>
                  <a:pt x="16468" y="17969"/>
                  <a:pt x="16406" y="18000"/>
                </a:cubicBezTo>
                <a:cubicBezTo>
                  <a:pt x="16375" y="18000"/>
                  <a:pt x="16375" y="18000"/>
                  <a:pt x="16375" y="18031"/>
                </a:cubicBezTo>
                <a:cubicBezTo>
                  <a:pt x="16375" y="18031"/>
                  <a:pt x="16375" y="18062"/>
                  <a:pt x="16375" y="18062"/>
                </a:cubicBezTo>
                <a:close/>
                <a:moveTo>
                  <a:pt x="13406" y="20594"/>
                </a:moveTo>
                <a:cubicBezTo>
                  <a:pt x="13406" y="20594"/>
                  <a:pt x="13375" y="20594"/>
                  <a:pt x="13375" y="20625"/>
                </a:cubicBezTo>
                <a:cubicBezTo>
                  <a:pt x="13375" y="20625"/>
                  <a:pt x="13406" y="20656"/>
                  <a:pt x="13406" y="20625"/>
                </a:cubicBezTo>
                <a:cubicBezTo>
                  <a:pt x="13406" y="20625"/>
                  <a:pt x="13437" y="20625"/>
                  <a:pt x="13437" y="20625"/>
                </a:cubicBezTo>
                <a:cubicBezTo>
                  <a:pt x="13437" y="20594"/>
                  <a:pt x="13406" y="20594"/>
                  <a:pt x="13406" y="20594"/>
                </a:cubicBezTo>
                <a:close/>
                <a:moveTo>
                  <a:pt x="13687" y="20625"/>
                </a:moveTo>
                <a:cubicBezTo>
                  <a:pt x="13687" y="20625"/>
                  <a:pt x="13687" y="20625"/>
                  <a:pt x="13718" y="20625"/>
                </a:cubicBezTo>
                <a:cubicBezTo>
                  <a:pt x="13718" y="20625"/>
                  <a:pt x="13718" y="20625"/>
                  <a:pt x="13750" y="20625"/>
                </a:cubicBezTo>
                <a:cubicBezTo>
                  <a:pt x="13718" y="20594"/>
                  <a:pt x="13718" y="20594"/>
                  <a:pt x="13718" y="20594"/>
                </a:cubicBezTo>
                <a:cubicBezTo>
                  <a:pt x="13718" y="20594"/>
                  <a:pt x="13687" y="20594"/>
                  <a:pt x="13687" y="20625"/>
                </a:cubicBezTo>
                <a:close/>
                <a:moveTo>
                  <a:pt x="15250" y="19625"/>
                </a:move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ubicBezTo>
                  <a:pt x="15250" y="19625"/>
                  <a:pt x="15250" y="19625"/>
                  <a:pt x="15250" y="19625"/>
                </a:cubicBezTo>
                <a:close/>
                <a:moveTo>
                  <a:pt x="13031" y="20594"/>
                </a:moveTo>
                <a:cubicBezTo>
                  <a:pt x="13031" y="20594"/>
                  <a:pt x="13000" y="20625"/>
                  <a:pt x="13000" y="20625"/>
                </a:cubicBezTo>
                <a:cubicBezTo>
                  <a:pt x="13000" y="20656"/>
                  <a:pt x="13031" y="20656"/>
                  <a:pt x="13031" y="20656"/>
                </a:cubicBezTo>
                <a:cubicBezTo>
                  <a:pt x="13062" y="20656"/>
                  <a:pt x="13062" y="20656"/>
                  <a:pt x="13062" y="20625"/>
                </a:cubicBezTo>
                <a:cubicBezTo>
                  <a:pt x="13062" y="20625"/>
                  <a:pt x="13031" y="20625"/>
                  <a:pt x="13031" y="20594"/>
                </a:cubicBezTo>
                <a:close/>
                <a:moveTo>
                  <a:pt x="15750" y="19375"/>
                </a:moveTo>
                <a:cubicBezTo>
                  <a:pt x="15750" y="19375"/>
                  <a:pt x="15718" y="19375"/>
                  <a:pt x="15718" y="19375"/>
                </a:cubicBezTo>
                <a:cubicBezTo>
                  <a:pt x="15718" y="19375"/>
                  <a:pt x="15718" y="19375"/>
                  <a:pt x="15718" y="19375"/>
                </a:cubicBezTo>
                <a:cubicBezTo>
                  <a:pt x="15718" y="19375"/>
                  <a:pt x="15718" y="19406"/>
                  <a:pt x="15718" y="19406"/>
                </a:cubicBezTo>
                <a:cubicBezTo>
                  <a:pt x="15718" y="19406"/>
                  <a:pt x="15750" y="19406"/>
                  <a:pt x="15750" y="19375"/>
                </a:cubicBezTo>
                <a:close/>
                <a:moveTo>
                  <a:pt x="15000" y="19906"/>
                </a:moveTo>
                <a:cubicBezTo>
                  <a:pt x="15031" y="19906"/>
                  <a:pt x="15031" y="19906"/>
                  <a:pt x="15062" y="19875"/>
                </a:cubicBezTo>
                <a:cubicBezTo>
                  <a:pt x="15093" y="19875"/>
                  <a:pt x="15187" y="19906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218" y="19812"/>
                  <a:pt x="15218" y="19812"/>
                  <a:pt x="15218" y="19812"/>
                </a:cubicBezTo>
                <a:cubicBezTo>
                  <a:pt x="15156" y="19844"/>
                  <a:pt x="15093" y="19844"/>
                  <a:pt x="15062" y="19875"/>
                </a:cubicBezTo>
                <a:cubicBezTo>
                  <a:pt x="15062" y="19875"/>
                  <a:pt x="15062" y="19875"/>
                  <a:pt x="15062" y="19875"/>
                </a:cubicBezTo>
                <a:cubicBezTo>
                  <a:pt x="15031" y="19875"/>
                  <a:pt x="15000" y="19875"/>
                  <a:pt x="15000" y="19906"/>
                </a:cubicBezTo>
                <a:close/>
                <a:moveTo>
                  <a:pt x="15812" y="19375"/>
                </a:moveTo>
                <a:cubicBezTo>
                  <a:pt x="15812" y="19344"/>
                  <a:pt x="15812" y="19344"/>
                  <a:pt x="15781" y="19344"/>
                </a:cubicBezTo>
                <a:cubicBezTo>
                  <a:pt x="15750" y="19344"/>
                  <a:pt x="15750" y="19344"/>
                  <a:pt x="15750" y="19344"/>
                </a:cubicBezTo>
                <a:cubicBezTo>
                  <a:pt x="15750" y="19375"/>
                  <a:pt x="15781" y="19375"/>
                  <a:pt x="15781" y="19375"/>
                </a:cubicBezTo>
                <a:cubicBezTo>
                  <a:pt x="15812" y="19375"/>
                  <a:pt x="15812" y="19375"/>
                  <a:pt x="15812" y="19375"/>
                </a:cubicBezTo>
                <a:close/>
                <a:moveTo>
                  <a:pt x="13968" y="20187"/>
                </a:moveTo>
                <a:cubicBezTo>
                  <a:pt x="14000" y="20156"/>
                  <a:pt x="14000" y="20125"/>
                  <a:pt x="14031" y="20062"/>
                </a:cubicBezTo>
                <a:cubicBezTo>
                  <a:pt x="14000" y="20125"/>
                  <a:pt x="13968" y="20156"/>
                  <a:pt x="13968" y="20187"/>
                </a:cubicBezTo>
                <a:cubicBezTo>
                  <a:pt x="13968" y="20219"/>
                  <a:pt x="13968" y="20219"/>
                  <a:pt x="13968" y="20219"/>
                </a:cubicBezTo>
                <a:lnTo>
                  <a:pt x="13968" y="20219"/>
                </a:ln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219"/>
                </a:cubicBezTo>
                <a:cubicBezTo>
                  <a:pt x="13968" y="20219"/>
                  <a:pt x="13968" y="20219"/>
                  <a:pt x="13968" y="20187"/>
                </a:cubicBezTo>
                <a:close/>
                <a:moveTo>
                  <a:pt x="14250" y="20562"/>
                </a:moveTo>
                <a:cubicBezTo>
                  <a:pt x="14281" y="20562"/>
                  <a:pt x="14343" y="20531"/>
                  <a:pt x="14406" y="20531"/>
                </a:cubicBezTo>
                <a:cubicBezTo>
                  <a:pt x="14312" y="20500"/>
                  <a:pt x="14281" y="20500"/>
                  <a:pt x="14250" y="20562"/>
                </a:cubicBezTo>
                <a:close/>
                <a:moveTo>
                  <a:pt x="15562" y="20312"/>
                </a:moveTo>
                <a:cubicBezTo>
                  <a:pt x="15500" y="20281"/>
                  <a:pt x="15468" y="20312"/>
                  <a:pt x="15437" y="20344"/>
                </a:cubicBezTo>
                <a:cubicBezTo>
                  <a:pt x="15343" y="20406"/>
                  <a:pt x="15250" y="20406"/>
                  <a:pt x="15156" y="20437"/>
                </a:cubicBezTo>
                <a:lnTo>
                  <a:pt x="15156" y="20437"/>
                </a:lnTo>
                <a:cubicBezTo>
                  <a:pt x="15093" y="20469"/>
                  <a:pt x="15031" y="20500"/>
                  <a:pt x="14968" y="20469"/>
                </a:cubicBezTo>
                <a:cubicBezTo>
                  <a:pt x="15125" y="20437"/>
                  <a:pt x="15281" y="20375"/>
                  <a:pt x="15437" y="20344"/>
                </a:cubicBezTo>
                <a:cubicBezTo>
                  <a:pt x="15468" y="20344"/>
                  <a:pt x="15531" y="20344"/>
                  <a:pt x="15562" y="20312"/>
                </a:cubicBezTo>
                <a:close/>
                <a:moveTo>
                  <a:pt x="13968" y="19906"/>
                </a:moveTo>
                <a:cubicBezTo>
                  <a:pt x="13968" y="19906"/>
                  <a:pt x="13968" y="19906"/>
                  <a:pt x="13968" y="19906"/>
                </a:cubicBezTo>
                <a:cubicBezTo>
                  <a:pt x="13968" y="19906"/>
                  <a:pt x="13968" y="19906"/>
                  <a:pt x="13968" y="19906"/>
                </a:cubicBezTo>
                <a:lnTo>
                  <a:pt x="13968" y="19906"/>
                </a:lnTo>
                <a:cubicBezTo>
                  <a:pt x="13968" y="19906"/>
                  <a:pt x="13968" y="19906"/>
                  <a:pt x="13968" y="19906"/>
                </a:cubicBezTo>
                <a:cubicBezTo>
                  <a:pt x="13968" y="19906"/>
                  <a:pt x="13968" y="19906"/>
                  <a:pt x="13968" y="19906"/>
                </a:cubicBezTo>
                <a:close/>
                <a:moveTo>
                  <a:pt x="15125" y="19656"/>
                </a:moveTo>
                <a:cubicBezTo>
                  <a:pt x="15156" y="19656"/>
                  <a:pt x="15187" y="19687"/>
                  <a:pt x="15218" y="19625"/>
                </a:cubicBezTo>
                <a:cubicBezTo>
                  <a:pt x="15218" y="19625"/>
                  <a:pt x="15218" y="19625"/>
                  <a:pt x="15218" y="19625"/>
                </a:cubicBezTo>
                <a:cubicBezTo>
                  <a:pt x="15156" y="19625"/>
                  <a:pt x="15156" y="19625"/>
                  <a:pt x="15125" y="19656"/>
                </a:cubicBezTo>
                <a:close/>
                <a:moveTo>
                  <a:pt x="14750" y="20156"/>
                </a:moveTo>
                <a:cubicBezTo>
                  <a:pt x="14812" y="20156"/>
                  <a:pt x="14875" y="20125"/>
                  <a:pt x="14906" y="20125"/>
                </a:cubicBezTo>
                <a:cubicBezTo>
                  <a:pt x="14843" y="20094"/>
                  <a:pt x="14812" y="20094"/>
                  <a:pt x="14750" y="20156"/>
                </a:cubicBezTo>
                <a:close/>
                <a:moveTo>
                  <a:pt x="15375" y="19875"/>
                </a:moveTo>
                <a:cubicBezTo>
                  <a:pt x="15437" y="19875"/>
                  <a:pt x="15500" y="19875"/>
                  <a:pt x="15531" y="19844"/>
                </a:cubicBezTo>
                <a:cubicBezTo>
                  <a:pt x="15468" y="19812"/>
                  <a:pt x="15437" y="19844"/>
                  <a:pt x="15375" y="19875"/>
                </a:cubicBezTo>
                <a:close/>
                <a:moveTo>
                  <a:pt x="15468" y="19375"/>
                </a:moveTo>
                <a:cubicBezTo>
                  <a:pt x="15531" y="19437"/>
                  <a:pt x="15562" y="19375"/>
                  <a:pt x="15625" y="19375"/>
                </a:cubicBezTo>
                <a:cubicBezTo>
                  <a:pt x="15562" y="19344"/>
                  <a:pt x="15531" y="19344"/>
                  <a:pt x="15468" y="19375"/>
                </a:cubicBezTo>
                <a:close/>
                <a:moveTo>
                  <a:pt x="14562" y="20312"/>
                </a:moveTo>
                <a:cubicBezTo>
                  <a:pt x="14593" y="20281"/>
                  <a:pt x="14656" y="20312"/>
                  <a:pt x="14718" y="20250"/>
                </a:cubicBezTo>
                <a:cubicBezTo>
                  <a:pt x="14656" y="20250"/>
                  <a:pt x="14593" y="20250"/>
                  <a:pt x="14562" y="20312"/>
                </a:cubicBezTo>
                <a:close/>
                <a:moveTo>
                  <a:pt x="15593" y="19406"/>
                </a:moveTo>
                <a:cubicBezTo>
                  <a:pt x="15562" y="19406"/>
                  <a:pt x="15562" y="19437"/>
                  <a:pt x="15562" y="19469"/>
                </a:cubicBezTo>
                <a:cubicBezTo>
                  <a:pt x="15531" y="19500"/>
                  <a:pt x="15562" y="19531"/>
                  <a:pt x="15593" y="19531"/>
                </a:cubicBezTo>
                <a:cubicBezTo>
                  <a:pt x="15625" y="19531"/>
                  <a:pt x="15593" y="19469"/>
                  <a:pt x="15625" y="19469"/>
                </a:cubicBezTo>
                <a:cubicBezTo>
                  <a:pt x="15625" y="19437"/>
                  <a:pt x="15625" y="19406"/>
                  <a:pt x="15593" y="19406"/>
                </a:cubicBezTo>
                <a:close/>
                <a:moveTo>
                  <a:pt x="14937" y="19969"/>
                </a:moveTo>
                <a:cubicBezTo>
                  <a:pt x="15000" y="20000"/>
                  <a:pt x="15156" y="19969"/>
                  <a:pt x="15187" y="19906"/>
                </a:cubicBezTo>
                <a:cubicBezTo>
                  <a:pt x="15093" y="19906"/>
                  <a:pt x="15031" y="19969"/>
                  <a:pt x="14937" y="19969"/>
                </a:cubicBezTo>
                <a:close/>
                <a:moveTo>
                  <a:pt x="14968" y="20094"/>
                </a:moveTo>
                <a:cubicBezTo>
                  <a:pt x="15062" y="20062"/>
                  <a:pt x="15125" y="20062"/>
                  <a:pt x="15218" y="20031"/>
                </a:cubicBezTo>
                <a:cubicBezTo>
                  <a:pt x="15125" y="20000"/>
                  <a:pt x="15062" y="20062"/>
                  <a:pt x="14968" y="20094"/>
                </a:cubicBezTo>
                <a:close/>
                <a:moveTo>
                  <a:pt x="15531" y="20000"/>
                </a:moveTo>
                <a:cubicBezTo>
                  <a:pt x="15531" y="20000"/>
                  <a:pt x="15531" y="20000"/>
                  <a:pt x="15531" y="20000"/>
                </a:cubicBezTo>
                <a:cubicBezTo>
                  <a:pt x="15531" y="20000"/>
                  <a:pt x="15531" y="20000"/>
                  <a:pt x="15531" y="20000"/>
                </a:cubicBezTo>
                <a:lnTo>
                  <a:pt x="15531" y="20000"/>
                </a:lnTo>
                <a:cubicBezTo>
                  <a:pt x="15531" y="20000"/>
                  <a:pt x="15531" y="20000"/>
                  <a:pt x="15531" y="20000"/>
                </a:cubicBezTo>
                <a:close/>
                <a:moveTo>
                  <a:pt x="14718" y="20531"/>
                </a:moveTo>
                <a:cubicBezTo>
                  <a:pt x="14812" y="20562"/>
                  <a:pt x="14875" y="20531"/>
                  <a:pt x="14937" y="20500"/>
                </a:cubicBezTo>
                <a:cubicBezTo>
                  <a:pt x="14875" y="20469"/>
                  <a:pt x="14812" y="20500"/>
                  <a:pt x="14718" y="20531"/>
                </a:cubicBezTo>
                <a:close/>
                <a:moveTo>
                  <a:pt x="15437" y="19406"/>
                </a:moveTo>
                <a:cubicBezTo>
                  <a:pt x="15406" y="19406"/>
                  <a:pt x="15406" y="19406"/>
                  <a:pt x="15406" y="19375"/>
                </a:cubicBezTo>
                <a:cubicBezTo>
                  <a:pt x="15250" y="19406"/>
                  <a:pt x="15093" y="19406"/>
                  <a:pt x="14937" y="19500"/>
                </a:cubicBezTo>
                <a:cubicBezTo>
                  <a:pt x="15093" y="19469"/>
                  <a:pt x="15250" y="19437"/>
                  <a:pt x="15437" y="19406"/>
                </a:cubicBezTo>
                <a:close/>
                <a:moveTo>
                  <a:pt x="12062" y="20531"/>
                </a:moveTo>
                <a:cubicBezTo>
                  <a:pt x="12281" y="20531"/>
                  <a:pt x="12468" y="20562"/>
                  <a:pt x="12656" y="20562"/>
                </a:cubicBezTo>
                <a:cubicBezTo>
                  <a:pt x="12468" y="20500"/>
                  <a:pt x="12281" y="20531"/>
                  <a:pt x="12062" y="20531"/>
                </a:cubicBezTo>
                <a:close/>
                <a:moveTo>
                  <a:pt x="14812" y="20219"/>
                </a:moveTo>
                <a:cubicBezTo>
                  <a:pt x="14812" y="20250"/>
                  <a:pt x="14843" y="20250"/>
                  <a:pt x="14843" y="20250"/>
                </a:cubicBezTo>
                <a:cubicBezTo>
                  <a:pt x="14968" y="20187"/>
                  <a:pt x="15093" y="20187"/>
                  <a:pt x="15187" y="20125"/>
                </a:cubicBezTo>
                <a:cubicBezTo>
                  <a:pt x="15156" y="20125"/>
                  <a:pt x="15156" y="20094"/>
                  <a:pt x="15156" y="20094"/>
                </a:cubicBezTo>
                <a:cubicBezTo>
                  <a:pt x="15031" y="20156"/>
                  <a:pt x="14937" y="20187"/>
                  <a:pt x="14843" y="20187"/>
                </a:cubicBezTo>
                <a:cubicBezTo>
                  <a:pt x="14812" y="20219"/>
                  <a:pt x="14812" y="20219"/>
                  <a:pt x="14812" y="20219"/>
                </a:cubicBezTo>
                <a:close/>
                <a:moveTo>
                  <a:pt x="14781" y="20344"/>
                </a:moveTo>
                <a:cubicBezTo>
                  <a:pt x="14625" y="20344"/>
                  <a:pt x="14500" y="20406"/>
                  <a:pt x="14375" y="20437"/>
                </a:cubicBezTo>
                <a:cubicBezTo>
                  <a:pt x="14500" y="20437"/>
                  <a:pt x="14625" y="20375"/>
                  <a:pt x="14781" y="20344"/>
                </a:cubicBezTo>
                <a:close/>
                <a:moveTo>
                  <a:pt x="15000" y="20281"/>
                </a:moveTo>
                <a:cubicBezTo>
                  <a:pt x="15000" y="20312"/>
                  <a:pt x="15031" y="20312"/>
                  <a:pt x="15031" y="20281"/>
                </a:cubicBezTo>
                <a:cubicBezTo>
                  <a:pt x="15062" y="20281"/>
                  <a:pt x="15125" y="20250"/>
                  <a:pt x="15156" y="20250"/>
                </a:cubicBezTo>
                <a:cubicBezTo>
                  <a:pt x="15281" y="20219"/>
                  <a:pt x="15406" y="20156"/>
                  <a:pt x="15531" y="20125"/>
                </a:cubicBezTo>
                <a:cubicBezTo>
                  <a:pt x="15500" y="20094"/>
                  <a:pt x="15468" y="20094"/>
                  <a:pt x="15437" y="20125"/>
                </a:cubicBezTo>
                <a:cubicBezTo>
                  <a:pt x="15281" y="20156"/>
                  <a:pt x="15156" y="20219"/>
                  <a:pt x="15031" y="20250"/>
                </a:cubicBezTo>
                <a:cubicBezTo>
                  <a:pt x="15000" y="20250"/>
                  <a:pt x="14968" y="20250"/>
                  <a:pt x="15000" y="20281"/>
                </a:cubicBezTo>
                <a:close/>
                <a:moveTo>
                  <a:pt x="15406" y="19187"/>
                </a:moveTo>
                <a:cubicBezTo>
                  <a:pt x="15218" y="19219"/>
                  <a:pt x="15000" y="19250"/>
                  <a:pt x="14812" y="19312"/>
                </a:cubicBezTo>
                <a:cubicBezTo>
                  <a:pt x="14875" y="19344"/>
                  <a:pt x="14968" y="19312"/>
                  <a:pt x="15031" y="19312"/>
                </a:cubicBezTo>
                <a:cubicBezTo>
                  <a:pt x="15156" y="19281"/>
                  <a:pt x="15281" y="19250"/>
                  <a:pt x="15437" y="19219"/>
                </a:cubicBezTo>
                <a:cubicBezTo>
                  <a:pt x="15468" y="19219"/>
                  <a:pt x="15562" y="19250"/>
                  <a:pt x="15562" y="19187"/>
                </a:cubicBezTo>
                <a:cubicBezTo>
                  <a:pt x="15562" y="19156"/>
                  <a:pt x="15468" y="19156"/>
                  <a:pt x="15406" y="19187"/>
                </a:cubicBezTo>
                <a:close/>
                <a:moveTo>
                  <a:pt x="11000" y="5750"/>
                </a:moveTo>
                <a:cubicBezTo>
                  <a:pt x="11000" y="5750"/>
                  <a:pt x="10968" y="5781"/>
                  <a:pt x="10968" y="5781"/>
                </a:cubicBezTo>
                <a:cubicBezTo>
                  <a:pt x="10937" y="5781"/>
                  <a:pt x="10906" y="5812"/>
                  <a:pt x="10906" y="5875"/>
                </a:cubicBezTo>
                <a:cubicBezTo>
                  <a:pt x="10906" y="5875"/>
                  <a:pt x="10906" y="5875"/>
                  <a:pt x="10906" y="5875"/>
                </a:cubicBezTo>
                <a:cubicBezTo>
                  <a:pt x="10875" y="5875"/>
                  <a:pt x="10843" y="5875"/>
                  <a:pt x="10843" y="5906"/>
                </a:cubicBezTo>
                <a:cubicBezTo>
                  <a:pt x="10843" y="5906"/>
                  <a:pt x="10843" y="5906"/>
                  <a:pt x="10843" y="5906"/>
                </a:cubicBezTo>
                <a:cubicBezTo>
                  <a:pt x="10875" y="5906"/>
                  <a:pt x="10906" y="5906"/>
                  <a:pt x="10906" y="5875"/>
                </a:cubicBezTo>
                <a:cubicBezTo>
                  <a:pt x="10937" y="5844"/>
                  <a:pt x="10968" y="5812"/>
                  <a:pt x="10968" y="5781"/>
                </a:cubicBezTo>
                <a:cubicBezTo>
                  <a:pt x="10968" y="5781"/>
                  <a:pt x="10968" y="5781"/>
                  <a:pt x="10968" y="5781"/>
                </a:cubicBezTo>
                <a:cubicBezTo>
                  <a:pt x="11000" y="5781"/>
                  <a:pt x="11000" y="5781"/>
                  <a:pt x="11000" y="5750"/>
                </a:cubicBezTo>
                <a:close/>
                <a:moveTo>
                  <a:pt x="15093" y="5875"/>
                </a:moveTo>
                <a:cubicBezTo>
                  <a:pt x="15093" y="5875"/>
                  <a:pt x="15093" y="5875"/>
                  <a:pt x="15093" y="5875"/>
                </a:cubicBezTo>
                <a:lnTo>
                  <a:pt x="15093" y="5875"/>
                </a:lnTo>
                <a:cubicBezTo>
                  <a:pt x="15093" y="5875"/>
                  <a:pt x="15093" y="5875"/>
                  <a:pt x="15093" y="5875"/>
                </a:cubicBezTo>
                <a:close/>
                <a:moveTo>
                  <a:pt x="8218" y="10031"/>
                </a:moveTo>
                <a:lnTo>
                  <a:pt x="8218" y="10031"/>
                </a:lnTo>
                <a:lnTo>
                  <a:pt x="8218" y="10031"/>
                </a:lnTo>
                <a:close/>
                <a:moveTo>
                  <a:pt x="10468" y="3406"/>
                </a:moveTo>
                <a:cubicBezTo>
                  <a:pt x="10500" y="3406"/>
                  <a:pt x="10562" y="3406"/>
                  <a:pt x="10562" y="3344"/>
                </a:cubicBezTo>
                <a:cubicBezTo>
                  <a:pt x="10562" y="3344"/>
                  <a:pt x="10562" y="3344"/>
                  <a:pt x="10562" y="3344"/>
                </a:cubicBezTo>
                <a:cubicBezTo>
                  <a:pt x="10500" y="3344"/>
                  <a:pt x="10500" y="3375"/>
                  <a:pt x="10468" y="3406"/>
                </a:cubicBezTo>
                <a:cubicBezTo>
                  <a:pt x="10468" y="3406"/>
                  <a:pt x="10468" y="3406"/>
                  <a:pt x="10468" y="3406"/>
                </a:cubicBezTo>
                <a:cubicBezTo>
                  <a:pt x="10468" y="3406"/>
                  <a:pt x="10468" y="3406"/>
                  <a:pt x="10468" y="3406"/>
                </a:cubicBezTo>
                <a:close/>
                <a:moveTo>
                  <a:pt x="10031" y="12437"/>
                </a:moveTo>
                <a:cubicBezTo>
                  <a:pt x="10031" y="12437"/>
                  <a:pt x="10031" y="12437"/>
                  <a:pt x="10031" y="12437"/>
                </a:cubicBezTo>
                <a:cubicBezTo>
                  <a:pt x="10031" y="12437"/>
                  <a:pt x="10031" y="12437"/>
                  <a:pt x="10031" y="12437"/>
                </a:cubicBezTo>
                <a:cubicBezTo>
                  <a:pt x="10000" y="12437"/>
                  <a:pt x="10000" y="12469"/>
                  <a:pt x="9968" y="12469"/>
                </a:cubicBezTo>
                <a:cubicBezTo>
                  <a:pt x="10031" y="12469"/>
                  <a:pt x="10031" y="12469"/>
                  <a:pt x="10031" y="12437"/>
                </a:cubicBezTo>
                <a:cubicBezTo>
                  <a:pt x="10031" y="12437"/>
                  <a:pt x="10031" y="12437"/>
                  <a:pt x="10031" y="12437"/>
                </a:cubicBezTo>
                <a:cubicBezTo>
                  <a:pt x="10062" y="12437"/>
                  <a:pt x="10062" y="12406"/>
                  <a:pt x="10062" y="12406"/>
                </a:cubicBezTo>
                <a:cubicBezTo>
                  <a:pt x="10031" y="12406"/>
                  <a:pt x="10031" y="12406"/>
                  <a:pt x="10031" y="12437"/>
                </a:cubicBezTo>
                <a:close/>
                <a:moveTo>
                  <a:pt x="11187" y="11781"/>
                </a:moveTo>
                <a:cubicBezTo>
                  <a:pt x="11156" y="11781"/>
                  <a:pt x="11125" y="11812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25" y="11875"/>
                  <a:pt x="11125" y="11875"/>
                </a:cubicBezTo>
                <a:cubicBezTo>
                  <a:pt x="11125" y="11875"/>
                  <a:pt x="11156" y="11844"/>
                  <a:pt x="11156" y="11844"/>
                </a:cubicBezTo>
                <a:cubicBezTo>
                  <a:pt x="11156" y="11812"/>
                  <a:pt x="11218" y="11812"/>
                  <a:pt x="11218" y="11781"/>
                </a:cubicBezTo>
                <a:cubicBezTo>
                  <a:pt x="11218" y="11781"/>
                  <a:pt x="11187" y="11750"/>
                  <a:pt x="11187" y="11781"/>
                </a:cubicBezTo>
                <a:close/>
                <a:moveTo>
                  <a:pt x="13281" y="7031"/>
                </a:moveTo>
                <a:cubicBezTo>
                  <a:pt x="13281" y="7031"/>
                  <a:pt x="13281" y="7031"/>
                  <a:pt x="13281" y="7031"/>
                </a:cubicBezTo>
                <a:cubicBezTo>
                  <a:pt x="13281" y="7031"/>
                  <a:pt x="13281" y="7031"/>
                  <a:pt x="13281" y="7031"/>
                </a:cubicBezTo>
                <a:cubicBezTo>
                  <a:pt x="13281" y="7031"/>
                  <a:pt x="13281" y="7031"/>
                  <a:pt x="13281" y="7062"/>
                </a:cubicBezTo>
                <a:cubicBezTo>
                  <a:pt x="13250" y="7062"/>
                  <a:pt x="13250" y="7031"/>
                  <a:pt x="13250" y="7000"/>
                </a:cubicBezTo>
                <a:cubicBezTo>
                  <a:pt x="13281" y="7000"/>
                  <a:pt x="13312" y="6969"/>
                  <a:pt x="13281" y="6937"/>
                </a:cubicBezTo>
                <a:cubicBezTo>
                  <a:pt x="13218" y="6969"/>
                  <a:pt x="13218" y="6969"/>
                  <a:pt x="13218" y="6906"/>
                </a:cubicBezTo>
                <a:cubicBezTo>
                  <a:pt x="13187" y="6906"/>
                  <a:pt x="13187" y="6937"/>
                  <a:pt x="13187" y="6937"/>
                </a:cubicBezTo>
                <a:cubicBezTo>
                  <a:pt x="13187" y="6937"/>
                  <a:pt x="13187" y="6937"/>
                  <a:pt x="13187" y="6906"/>
                </a:cubicBezTo>
                <a:cubicBezTo>
                  <a:pt x="13187" y="6906"/>
                  <a:pt x="13156" y="6906"/>
                  <a:pt x="13156" y="6906"/>
                </a:cubicBezTo>
                <a:cubicBezTo>
                  <a:pt x="13156" y="6906"/>
                  <a:pt x="13156" y="6906"/>
                  <a:pt x="13125" y="6906"/>
                </a:cubicBezTo>
                <a:cubicBezTo>
                  <a:pt x="13093" y="6875"/>
                  <a:pt x="13062" y="6906"/>
                  <a:pt x="13062" y="6937"/>
                </a:cubicBezTo>
                <a:cubicBezTo>
                  <a:pt x="12968" y="7000"/>
                  <a:pt x="12875" y="7031"/>
                  <a:pt x="12781" y="7031"/>
                </a:cubicBezTo>
                <a:cubicBezTo>
                  <a:pt x="12687" y="7062"/>
                  <a:pt x="12593" y="7094"/>
                  <a:pt x="12468" y="7094"/>
                </a:cubicBezTo>
                <a:cubicBezTo>
                  <a:pt x="12437" y="7094"/>
                  <a:pt x="12437" y="7125"/>
                  <a:pt x="12437" y="7125"/>
                </a:cubicBezTo>
                <a:cubicBezTo>
                  <a:pt x="12437" y="7156"/>
                  <a:pt x="12437" y="7187"/>
                  <a:pt x="12468" y="7187"/>
                </a:cubicBezTo>
                <a:cubicBezTo>
                  <a:pt x="12531" y="7156"/>
                  <a:pt x="12531" y="7219"/>
                  <a:pt x="12562" y="7281"/>
                </a:cubicBezTo>
                <a:cubicBezTo>
                  <a:pt x="12562" y="7219"/>
                  <a:pt x="12593" y="7219"/>
                  <a:pt x="12625" y="7250"/>
                </a:cubicBezTo>
                <a:cubicBezTo>
                  <a:pt x="12625" y="7281"/>
                  <a:pt x="12625" y="7312"/>
                  <a:pt x="12656" y="7281"/>
                </a:cubicBezTo>
                <a:cubicBezTo>
                  <a:pt x="12687" y="7281"/>
                  <a:pt x="12656" y="7250"/>
                  <a:pt x="12656" y="7250"/>
                </a:cubicBezTo>
                <a:cubicBezTo>
                  <a:pt x="12656" y="7219"/>
                  <a:pt x="12656" y="7219"/>
                  <a:pt x="12656" y="7187"/>
                </a:cubicBezTo>
                <a:cubicBezTo>
                  <a:pt x="12687" y="7219"/>
                  <a:pt x="12718" y="7250"/>
                  <a:pt x="12718" y="7281"/>
                </a:cubicBezTo>
                <a:cubicBezTo>
                  <a:pt x="12718" y="7281"/>
                  <a:pt x="12750" y="7312"/>
                  <a:pt x="12750" y="7281"/>
                </a:cubicBezTo>
                <a:cubicBezTo>
                  <a:pt x="12781" y="7250"/>
                  <a:pt x="12781" y="7281"/>
                  <a:pt x="12812" y="7281"/>
                </a:cubicBezTo>
                <a:cubicBezTo>
                  <a:pt x="12906" y="7312"/>
                  <a:pt x="12968" y="7219"/>
                  <a:pt x="13031" y="7250"/>
                </a:cubicBezTo>
                <a:cubicBezTo>
                  <a:pt x="13031" y="7250"/>
                  <a:pt x="13031" y="7250"/>
                  <a:pt x="13031" y="7250"/>
                </a:cubicBezTo>
                <a:cubicBezTo>
                  <a:pt x="13062" y="7125"/>
                  <a:pt x="13156" y="7219"/>
                  <a:pt x="13218" y="7156"/>
                </a:cubicBezTo>
                <a:cubicBezTo>
                  <a:pt x="13218" y="7187"/>
                  <a:pt x="13156" y="7187"/>
                  <a:pt x="13156" y="7219"/>
                </a:cubicBezTo>
                <a:cubicBezTo>
                  <a:pt x="13218" y="7219"/>
                  <a:pt x="13218" y="7219"/>
                  <a:pt x="13187" y="7281"/>
                </a:cubicBezTo>
                <a:cubicBezTo>
                  <a:pt x="13187" y="7312"/>
                  <a:pt x="13218" y="7344"/>
                  <a:pt x="13218" y="7406"/>
                </a:cubicBezTo>
                <a:cubicBezTo>
                  <a:pt x="13218" y="7406"/>
                  <a:pt x="13218" y="7437"/>
                  <a:pt x="13250" y="7437"/>
                </a:cubicBezTo>
                <a:cubicBezTo>
                  <a:pt x="13281" y="7437"/>
                  <a:pt x="13281" y="7406"/>
                  <a:pt x="13281" y="7375"/>
                </a:cubicBezTo>
                <a:cubicBezTo>
                  <a:pt x="13250" y="7344"/>
                  <a:pt x="13281" y="7344"/>
                  <a:pt x="13250" y="7312"/>
                </a:cubicBezTo>
                <a:cubicBezTo>
                  <a:pt x="13250" y="7281"/>
                  <a:pt x="13250" y="7281"/>
                  <a:pt x="13250" y="7250"/>
                </a:cubicBezTo>
                <a:cubicBezTo>
                  <a:pt x="13250" y="7250"/>
                  <a:pt x="13281" y="7250"/>
                  <a:pt x="13281" y="7250"/>
                </a:cubicBezTo>
                <a:cubicBezTo>
                  <a:pt x="13312" y="7281"/>
                  <a:pt x="13281" y="7281"/>
                  <a:pt x="13281" y="7312"/>
                </a:cubicBezTo>
                <a:cubicBezTo>
                  <a:pt x="13281" y="7375"/>
                  <a:pt x="13312" y="7375"/>
                  <a:pt x="13375" y="7375"/>
                </a:cubicBezTo>
                <a:cubicBezTo>
                  <a:pt x="13437" y="7344"/>
                  <a:pt x="13406" y="7281"/>
                  <a:pt x="13468" y="7250"/>
                </a:cubicBezTo>
                <a:cubicBezTo>
                  <a:pt x="13531" y="7187"/>
                  <a:pt x="13562" y="7062"/>
                  <a:pt x="13562" y="6969"/>
                </a:cubicBezTo>
                <a:cubicBezTo>
                  <a:pt x="13531" y="7000"/>
                  <a:pt x="13468" y="7031"/>
                  <a:pt x="13406" y="7094"/>
                </a:cubicBezTo>
                <a:lnTo>
                  <a:pt x="13406" y="7094"/>
                </a:lnTo>
                <a:cubicBezTo>
                  <a:pt x="13406" y="7062"/>
                  <a:pt x="13406" y="7062"/>
                  <a:pt x="13406" y="7031"/>
                </a:cubicBezTo>
                <a:cubicBezTo>
                  <a:pt x="13343" y="7094"/>
                  <a:pt x="13343" y="7094"/>
                  <a:pt x="13343" y="7094"/>
                </a:cubicBezTo>
                <a:cubicBezTo>
                  <a:pt x="13437" y="7187"/>
                  <a:pt x="13312" y="7156"/>
                  <a:pt x="13281" y="7187"/>
                </a:cubicBezTo>
                <a:cubicBezTo>
                  <a:pt x="13281" y="7219"/>
                  <a:pt x="13250" y="7219"/>
                  <a:pt x="13250" y="7187"/>
                </a:cubicBezTo>
                <a:cubicBezTo>
                  <a:pt x="13250" y="7125"/>
                  <a:pt x="13281" y="7094"/>
                  <a:pt x="13281" y="7062"/>
                </a:cubicBezTo>
                <a:cubicBezTo>
                  <a:pt x="13281" y="7062"/>
                  <a:pt x="13281" y="7031"/>
                  <a:pt x="13281" y="7031"/>
                </a:cubicBezTo>
                <a:close/>
                <a:moveTo>
                  <a:pt x="10093" y="11000"/>
                </a:moveTo>
                <a:cubicBezTo>
                  <a:pt x="10062" y="11000"/>
                  <a:pt x="10062" y="11000"/>
                  <a:pt x="10062" y="11000"/>
                </a:cubicBezTo>
                <a:cubicBezTo>
                  <a:pt x="10062" y="11000"/>
                  <a:pt x="10062" y="11000"/>
                  <a:pt x="10062" y="11000"/>
                </a:cubicBezTo>
                <a:cubicBezTo>
                  <a:pt x="10093" y="11000"/>
                  <a:pt x="10093" y="11000"/>
                  <a:pt x="10093" y="11000"/>
                </a:cubicBezTo>
                <a:cubicBezTo>
                  <a:pt x="10093" y="11000"/>
                  <a:pt x="10093" y="11000"/>
                  <a:pt x="10093" y="11000"/>
                </a:cubicBezTo>
                <a:cubicBezTo>
                  <a:pt x="10093" y="11000"/>
                  <a:pt x="10093" y="11000"/>
                  <a:pt x="10093" y="10969"/>
                </a:cubicBezTo>
                <a:cubicBezTo>
                  <a:pt x="10125" y="10969"/>
                  <a:pt x="10125" y="10969"/>
                  <a:pt x="10125" y="10969"/>
                </a:cubicBezTo>
                <a:cubicBezTo>
                  <a:pt x="10125" y="10969"/>
                  <a:pt x="10125" y="10937"/>
                  <a:pt x="10125" y="10937"/>
                </a:cubicBezTo>
                <a:cubicBezTo>
                  <a:pt x="10093" y="10937"/>
                  <a:pt x="10093" y="10969"/>
                  <a:pt x="10093" y="10969"/>
                </a:cubicBezTo>
                <a:cubicBezTo>
                  <a:pt x="10093" y="10969"/>
                  <a:pt x="10093" y="10969"/>
                  <a:pt x="10093" y="11000"/>
                </a:cubicBezTo>
                <a:close/>
                <a:moveTo>
                  <a:pt x="15093" y="11156"/>
                </a:moveTo>
                <a:lnTo>
                  <a:pt x="15093" y="11156"/>
                </a:lnTo>
                <a:lnTo>
                  <a:pt x="15093" y="11156"/>
                </a:lnTo>
                <a:close/>
                <a:moveTo>
                  <a:pt x="14531" y="10156"/>
                </a:moveTo>
                <a:cubicBezTo>
                  <a:pt x="14531" y="10156"/>
                  <a:pt x="14531" y="10125"/>
                  <a:pt x="14531" y="10125"/>
                </a:cubicBezTo>
                <a:cubicBezTo>
                  <a:pt x="14531" y="10125"/>
                  <a:pt x="14531" y="10156"/>
                  <a:pt x="14531" y="10156"/>
                </a:cubicBezTo>
                <a:cubicBezTo>
                  <a:pt x="14531" y="10219"/>
                  <a:pt x="14531" y="10219"/>
                  <a:pt x="14468" y="10187"/>
                </a:cubicBezTo>
                <a:cubicBezTo>
                  <a:pt x="14437" y="10187"/>
                  <a:pt x="14437" y="10187"/>
                  <a:pt x="14406" y="10187"/>
                </a:cubicBezTo>
                <a:cubicBezTo>
                  <a:pt x="14406" y="10187"/>
                  <a:pt x="14406" y="10187"/>
                  <a:pt x="14406" y="10187"/>
                </a:cubicBezTo>
                <a:cubicBezTo>
                  <a:pt x="14406" y="10187"/>
                  <a:pt x="14406" y="10187"/>
                  <a:pt x="14406" y="10187"/>
                </a:cubicBezTo>
                <a:cubicBezTo>
                  <a:pt x="14437" y="10281"/>
                  <a:pt x="14500" y="10250"/>
                  <a:pt x="14593" y="10281"/>
                </a:cubicBezTo>
                <a:lnTo>
                  <a:pt x="14593" y="10281"/>
                </a:lnTo>
                <a:cubicBezTo>
                  <a:pt x="14593" y="10250"/>
                  <a:pt x="14562" y="10219"/>
                  <a:pt x="14593" y="10187"/>
                </a:cubicBezTo>
                <a:cubicBezTo>
                  <a:pt x="14593" y="10156"/>
                  <a:pt x="14562" y="10156"/>
                  <a:pt x="14531" y="10156"/>
                </a:cubicBezTo>
                <a:close/>
                <a:moveTo>
                  <a:pt x="10406" y="11125"/>
                </a:moveTo>
                <a:cubicBezTo>
                  <a:pt x="10375" y="11094"/>
                  <a:pt x="10375" y="11156"/>
                  <a:pt x="10375" y="11156"/>
                </a:cubicBezTo>
                <a:cubicBezTo>
                  <a:pt x="10343" y="11156"/>
                  <a:pt x="10343" y="11125"/>
                  <a:pt x="10343" y="11156"/>
                </a:cubicBezTo>
                <a:cubicBezTo>
                  <a:pt x="10343" y="11187"/>
                  <a:pt x="10343" y="11187"/>
                  <a:pt x="10375" y="11187"/>
                </a:cubicBezTo>
                <a:cubicBezTo>
                  <a:pt x="10406" y="11219"/>
                  <a:pt x="10437" y="11219"/>
                  <a:pt x="10468" y="11187"/>
                </a:cubicBezTo>
                <a:cubicBezTo>
                  <a:pt x="10437" y="11187"/>
                  <a:pt x="10406" y="11156"/>
                  <a:pt x="10406" y="11125"/>
                </a:cubicBezTo>
                <a:cubicBezTo>
                  <a:pt x="10406" y="11125"/>
                  <a:pt x="10406" y="11125"/>
                  <a:pt x="10406" y="11125"/>
                </a:cubicBezTo>
                <a:cubicBezTo>
                  <a:pt x="10437" y="11125"/>
                  <a:pt x="10437" y="11094"/>
                  <a:pt x="10437" y="11094"/>
                </a:cubicBezTo>
                <a:cubicBezTo>
                  <a:pt x="10406" y="11094"/>
                  <a:pt x="10406" y="11094"/>
                  <a:pt x="10406" y="11125"/>
                </a:cubicBezTo>
                <a:close/>
                <a:moveTo>
                  <a:pt x="10437" y="11094"/>
                </a:moveTo>
                <a:cubicBezTo>
                  <a:pt x="10468" y="11062"/>
                  <a:pt x="10468" y="11031"/>
                  <a:pt x="10468" y="11000"/>
                </a:cubicBezTo>
                <a:cubicBezTo>
                  <a:pt x="10437" y="11031"/>
                  <a:pt x="10437" y="11031"/>
                  <a:pt x="10437" y="11094"/>
                </a:cubicBezTo>
                <a:close/>
                <a:moveTo>
                  <a:pt x="9375" y="11344"/>
                </a:move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ubicBezTo>
                  <a:pt x="9375" y="11344"/>
                  <a:pt x="9375" y="11344"/>
                  <a:pt x="9375" y="11344"/>
                </a:cubicBezTo>
                <a:close/>
                <a:moveTo>
                  <a:pt x="14562" y="10312"/>
                </a:moveTo>
                <a:cubicBezTo>
                  <a:pt x="14593" y="10312"/>
                  <a:pt x="14593" y="10312"/>
                  <a:pt x="14593" y="10312"/>
                </a:cubicBezTo>
                <a:cubicBezTo>
                  <a:pt x="14593" y="10312"/>
                  <a:pt x="14562" y="10312"/>
                  <a:pt x="14562" y="10312"/>
                </a:cubicBezTo>
                <a:close/>
                <a:moveTo>
                  <a:pt x="14343" y="11719"/>
                </a:moveTo>
                <a:cubicBezTo>
                  <a:pt x="14343" y="11719"/>
                  <a:pt x="14343" y="11719"/>
                  <a:pt x="14343" y="11719"/>
                </a:cubicBezTo>
                <a:lnTo>
                  <a:pt x="14343" y="11719"/>
                </a:lnTo>
                <a:lnTo>
                  <a:pt x="14343" y="11719"/>
                </a:ln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ubicBezTo>
                  <a:pt x="14343" y="11719"/>
                  <a:pt x="14343" y="11719"/>
                  <a:pt x="14343" y="11719"/>
                </a:cubicBezTo>
                <a:close/>
                <a:moveTo>
                  <a:pt x="14656" y="10344"/>
                </a:moveTo>
                <a:cubicBezTo>
                  <a:pt x="14656" y="10344"/>
                  <a:pt x="14687" y="10344"/>
                  <a:pt x="14687" y="10344"/>
                </a:cubicBezTo>
                <a:cubicBezTo>
                  <a:pt x="14687" y="10344"/>
                  <a:pt x="14656" y="10344"/>
                  <a:pt x="14656" y="10344"/>
                </a:cubicBezTo>
                <a:cubicBezTo>
                  <a:pt x="14656" y="10281"/>
                  <a:pt x="14656" y="10250"/>
                  <a:pt x="14718" y="10281"/>
                </a:cubicBezTo>
                <a:cubicBezTo>
                  <a:pt x="14781" y="10312"/>
                  <a:pt x="14843" y="10344"/>
                  <a:pt x="14750" y="10437"/>
                </a:cubicBezTo>
                <a:cubicBezTo>
                  <a:pt x="14781" y="10406"/>
                  <a:pt x="14906" y="10469"/>
                  <a:pt x="14875" y="10500"/>
                </a:cubicBezTo>
                <a:cubicBezTo>
                  <a:pt x="14843" y="10562"/>
                  <a:pt x="14906" y="10562"/>
                  <a:pt x="14937" y="10562"/>
                </a:cubicBezTo>
                <a:cubicBezTo>
                  <a:pt x="14906" y="10656"/>
                  <a:pt x="14843" y="10719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81" y="10750"/>
                  <a:pt x="14781" y="10750"/>
                  <a:pt x="14781" y="10750"/>
                </a:cubicBezTo>
                <a:cubicBezTo>
                  <a:pt x="14750" y="10750"/>
                  <a:pt x="14750" y="10781"/>
                  <a:pt x="14750" y="10781"/>
                </a:cubicBezTo>
                <a:cubicBezTo>
                  <a:pt x="14718" y="10781"/>
                  <a:pt x="14718" y="10781"/>
                  <a:pt x="14718" y="10781"/>
                </a:cubicBezTo>
                <a:cubicBezTo>
                  <a:pt x="14718" y="10750"/>
                  <a:pt x="14750" y="10719"/>
                  <a:pt x="14781" y="10750"/>
                </a:cubicBezTo>
                <a:cubicBezTo>
                  <a:pt x="14781" y="10719"/>
                  <a:pt x="14781" y="10687"/>
                  <a:pt x="14781" y="10687"/>
                </a:cubicBezTo>
                <a:cubicBezTo>
                  <a:pt x="14750" y="10687"/>
                  <a:pt x="14750" y="10687"/>
                  <a:pt x="14718" y="10719"/>
                </a:cubicBezTo>
                <a:cubicBezTo>
                  <a:pt x="14718" y="10719"/>
                  <a:pt x="14718" y="10719"/>
                  <a:pt x="14687" y="10719"/>
                </a:cubicBezTo>
                <a:cubicBezTo>
                  <a:pt x="14687" y="10750"/>
                  <a:pt x="14687" y="10750"/>
                  <a:pt x="14656" y="10750"/>
                </a:cubicBezTo>
                <a:cubicBezTo>
                  <a:pt x="14656" y="10750"/>
                  <a:pt x="14656" y="10719"/>
                  <a:pt x="14656" y="10719"/>
                </a:cubicBezTo>
                <a:cubicBezTo>
                  <a:pt x="14656" y="10719"/>
                  <a:pt x="14687" y="10719"/>
                  <a:pt x="14687" y="10719"/>
                </a:cubicBezTo>
                <a:cubicBezTo>
                  <a:pt x="14687" y="10656"/>
                  <a:pt x="14781" y="10656"/>
                  <a:pt x="14781" y="10594"/>
                </a:cubicBezTo>
                <a:cubicBezTo>
                  <a:pt x="14750" y="10594"/>
                  <a:pt x="14718" y="10625"/>
                  <a:pt x="14687" y="10625"/>
                </a:cubicBezTo>
                <a:cubicBezTo>
                  <a:pt x="14687" y="10656"/>
                  <a:pt x="14687" y="10656"/>
                  <a:pt x="14687" y="10656"/>
                </a:cubicBezTo>
                <a:cubicBezTo>
                  <a:pt x="14656" y="10687"/>
                  <a:pt x="14656" y="10687"/>
                  <a:pt x="14593" y="10687"/>
                </a:cubicBezTo>
                <a:cubicBezTo>
                  <a:pt x="14625" y="10656"/>
                  <a:pt x="14625" y="10656"/>
                  <a:pt x="14656" y="10625"/>
                </a:cubicBezTo>
                <a:cubicBezTo>
                  <a:pt x="14656" y="10625"/>
                  <a:pt x="14687" y="10625"/>
                  <a:pt x="14687" y="10625"/>
                </a:cubicBezTo>
                <a:cubicBezTo>
                  <a:pt x="14687" y="10594"/>
                  <a:pt x="14718" y="10594"/>
                  <a:pt x="14718" y="10562"/>
                </a:cubicBezTo>
                <a:cubicBezTo>
                  <a:pt x="14656" y="10562"/>
                  <a:pt x="14625" y="10625"/>
                  <a:pt x="14562" y="10656"/>
                </a:cubicBezTo>
                <a:cubicBezTo>
                  <a:pt x="14593" y="10594"/>
                  <a:pt x="14656" y="10562"/>
                  <a:pt x="14687" y="10531"/>
                </a:cubicBezTo>
                <a:cubicBezTo>
                  <a:pt x="14656" y="10531"/>
                  <a:pt x="14625" y="10531"/>
                  <a:pt x="14593" y="10531"/>
                </a:cubicBezTo>
                <a:cubicBezTo>
                  <a:pt x="14593" y="10531"/>
                  <a:pt x="14562" y="10531"/>
                  <a:pt x="14562" y="10531"/>
                </a:cubicBezTo>
                <a:cubicBezTo>
                  <a:pt x="14500" y="10531"/>
                  <a:pt x="14468" y="10594"/>
                  <a:pt x="14406" y="10594"/>
                </a:cubicBezTo>
                <a:cubicBezTo>
                  <a:pt x="14437" y="10562"/>
                  <a:pt x="14437" y="10562"/>
                  <a:pt x="14437" y="10531"/>
                </a:cubicBezTo>
                <a:cubicBezTo>
                  <a:pt x="14437" y="10531"/>
                  <a:pt x="14406" y="10562"/>
                  <a:pt x="14406" y="10562"/>
                </a:cubicBezTo>
                <a:cubicBezTo>
                  <a:pt x="14375" y="10531"/>
                  <a:pt x="14250" y="10531"/>
                  <a:pt x="14250" y="10562"/>
                </a:cubicBezTo>
                <a:cubicBezTo>
                  <a:pt x="14187" y="10594"/>
                  <a:pt x="14125" y="10625"/>
                  <a:pt x="14062" y="10656"/>
                </a:cubicBezTo>
                <a:cubicBezTo>
                  <a:pt x="14062" y="10687"/>
                  <a:pt x="14031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3968" y="10719"/>
                  <a:pt x="13968" y="10719"/>
                  <a:pt x="13968" y="10719"/>
                </a:cubicBezTo>
                <a:cubicBezTo>
                  <a:pt x="14031" y="10719"/>
                  <a:pt x="14062" y="10687"/>
                  <a:pt x="14062" y="10656"/>
                </a:cubicBezTo>
                <a:cubicBezTo>
                  <a:pt x="14062" y="10625"/>
                  <a:pt x="14062" y="10625"/>
                  <a:pt x="14031" y="10625"/>
                </a:cubicBezTo>
                <a:cubicBezTo>
                  <a:pt x="14031" y="10656"/>
                  <a:pt x="14000" y="10656"/>
                  <a:pt x="13968" y="10687"/>
                </a:cubicBezTo>
                <a:cubicBezTo>
                  <a:pt x="13968" y="10687"/>
                  <a:pt x="13968" y="10687"/>
                  <a:pt x="13937" y="10687"/>
                </a:cubicBezTo>
                <a:cubicBezTo>
                  <a:pt x="13906" y="10656"/>
                  <a:pt x="13875" y="10656"/>
                  <a:pt x="13843" y="10687"/>
                </a:cubicBezTo>
                <a:cubicBezTo>
                  <a:pt x="13843" y="10719"/>
                  <a:pt x="13812" y="10719"/>
                  <a:pt x="13812" y="10750"/>
                </a:cubicBezTo>
                <a:cubicBezTo>
                  <a:pt x="13750" y="10781"/>
                  <a:pt x="13656" y="10750"/>
                  <a:pt x="13625" y="10781"/>
                </a:cubicBezTo>
                <a:cubicBezTo>
                  <a:pt x="13625" y="10781"/>
                  <a:pt x="13593" y="10781"/>
                  <a:pt x="13593" y="10781"/>
                </a:cubicBezTo>
                <a:cubicBezTo>
                  <a:pt x="13593" y="10719"/>
                  <a:pt x="13593" y="10750"/>
                  <a:pt x="13562" y="10750"/>
                </a:cubicBezTo>
                <a:cubicBezTo>
                  <a:pt x="13500" y="10812"/>
                  <a:pt x="13500" y="10750"/>
                  <a:pt x="13468" y="10719"/>
                </a:cubicBezTo>
                <a:cubicBezTo>
                  <a:pt x="13468" y="10687"/>
                  <a:pt x="13500" y="10656"/>
                  <a:pt x="13562" y="10625"/>
                </a:cubicBezTo>
                <a:lnTo>
                  <a:pt x="13562" y="10625"/>
                </a:lnTo>
                <a:cubicBezTo>
                  <a:pt x="13531" y="10687"/>
                  <a:pt x="13500" y="10687"/>
                  <a:pt x="13468" y="10719"/>
                </a:cubicBezTo>
                <a:cubicBezTo>
                  <a:pt x="13437" y="10719"/>
                  <a:pt x="13406" y="10719"/>
                  <a:pt x="13343" y="10719"/>
                </a:cubicBezTo>
                <a:cubicBezTo>
                  <a:pt x="13312" y="10719"/>
                  <a:pt x="13312" y="10719"/>
                  <a:pt x="13312" y="10687"/>
                </a:cubicBezTo>
                <a:cubicBezTo>
                  <a:pt x="13250" y="10750"/>
                  <a:pt x="13187" y="10687"/>
                  <a:pt x="13156" y="10719"/>
                </a:cubicBezTo>
                <a:cubicBezTo>
                  <a:pt x="13125" y="10719"/>
                  <a:pt x="13125" y="10750"/>
                  <a:pt x="13093" y="10719"/>
                </a:cubicBezTo>
                <a:cubicBezTo>
                  <a:pt x="13125" y="10687"/>
                  <a:pt x="13156" y="10656"/>
                  <a:pt x="13218" y="10625"/>
                </a:cubicBezTo>
                <a:cubicBezTo>
                  <a:pt x="13187" y="10594"/>
                  <a:pt x="13156" y="10594"/>
                  <a:pt x="13093" y="10594"/>
                </a:cubicBezTo>
                <a:cubicBezTo>
                  <a:pt x="13093" y="10562"/>
                  <a:pt x="13125" y="10562"/>
                  <a:pt x="13125" y="10562"/>
                </a:cubicBezTo>
                <a:cubicBezTo>
                  <a:pt x="13218" y="10531"/>
                  <a:pt x="13312" y="10500"/>
                  <a:pt x="13375" y="10469"/>
                </a:cubicBezTo>
                <a:cubicBezTo>
                  <a:pt x="13437" y="10437"/>
                  <a:pt x="13468" y="10406"/>
                  <a:pt x="13531" y="10406"/>
                </a:cubicBezTo>
                <a:cubicBezTo>
                  <a:pt x="13562" y="10406"/>
                  <a:pt x="13625" y="10344"/>
                  <a:pt x="13656" y="10437"/>
                </a:cubicBezTo>
                <a:cubicBezTo>
                  <a:pt x="13656" y="10500"/>
                  <a:pt x="13656" y="10500"/>
                  <a:pt x="13750" y="10500"/>
                </a:cubicBezTo>
                <a:cubicBezTo>
                  <a:pt x="13718" y="10531"/>
                  <a:pt x="13718" y="10531"/>
                  <a:pt x="13687" y="10531"/>
                </a:cubicBezTo>
                <a:cubicBezTo>
                  <a:pt x="13656" y="10500"/>
                  <a:pt x="13625" y="10469"/>
                  <a:pt x="13593" y="10437"/>
                </a:cubicBezTo>
                <a:lnTo>
                  <a:pt x="13593" y="10437"/>
                </a:lnTo>
                <a:cubicBezTo>
                  <a:pt x="13593" y="10406"/>
                  <a:pt x="13656" y="10437"/>
                  <a:pt x="13656" y="10437"/>
                </a:cubicBezTo>
                <a:cubicBezTo>
                  <a:pt x="13687" y="10406"/>
                  <a:pt x="13750" y="10406"/>
                  <a:pt x="13750" y="10375"/>
                </a:cubicBezTo>
                <a:cubicBezTo>
                  <a:pt x="13687" y="10344"/>
                  <a:pt x="13750" y="10250"/>
                  <a:pt x="13656" y="10281"/>
                </a:cubicBezTo>
                <a:cubicBezTo>
                  <a:pt x="13625" y="10250"/>
                  <a:pt x="13625" y="10250"/>
                  <a:pt x="13593" y="10250"/>
                </a:cubicBezTo>
                <a:cubicBezTo>
                  <a:pt x="13593" y="10219"/>
                  <a:pt x="13593" y="10219"/>
                  <a:pt x="13625" y="10187"/>
                </a:cubicBezTo>
                <a:lnTo>
                  <a:pt x="13625" y="10187"/>
                </a:lnTo>
                <a:cubicBezTo>
                  <a:pt x="13656" y="10187"/>
                  <a:pt x="13656" y="10187"/>
                  <a:pt x="13656" y="10156"/>
                </a:cubicBezTo>
                <a:cubicBezTo>
                  <a:pt x="13625" y="10125"/>
                  <a:pt x="13625" y="10156"/>
                  <a:pt x="13593" y="10156"/>
                </a:cubicBezTo>
                <a:cubicBezTo>
                  <a:pt x="13562" y="10219"/>
                  <a:pt x="13531" y="10219"/>
                  <a:pt x="13468" y="10187"/>
                </a:cubicBezTo>
                <a:cubicBezTo>
                  <a:pt x="13468" y="10219"/>
                  <a:pt x="13500" y="10219"/>
                  <a:pt x="13500" y="10250"/>
                </a:cubicBezTo>
                <a:cubicBezTo>
                  <a:pt x="13468" y="10250"/>
                  <a:pt x="13437" y="10250"/>
                  <a:pt x="13437" y="10281"/>
                </a:cubicBezTo>
                <a:cubicBezTo>
                  <a:pt x="13437" y="10312"/>
                  <a:pt x="13468" y="10312"/>
                  <a:pt x="13500" y="10344"/>
                </a:cubicBezTo>
                <a:cubicBezTo>
                  <a:pt x="13500" y="10344"/>
                  <a:pt x="13531" y="10344"/>
                  <a:pt x="13531" y="10375"/>
                </a:cubicBezTo>
                <a:cubicBezTo>
                  <a:pt x="13500" y="10437"/>
                  <a:pt x="13437" y="10344"/>
                  <a:pt x="13406" y="10375"/>
                </a:cubicBezTo>
                <a:cubicBezTo>
                  <a:pt x="13406" y="10375"/>
                  <a:pt x="13375" y="10375"/>
                  <a:pt x="13375" y="10375"/>
                </a:cubicBezTo>
                <a:cubicBezTo>
                  <a:pt x="13375" y="10344"/>
                  <a:pt x="13375" y="10344"/>
                  <a:pt x="13406" y="10344"/>
                </a:cubicBezTo>
                <a:cubicBezTo>
                  <a:pt x="13406" y="10344"/>
                  <a:pt x="13406" y="10312"/>
                  <a:pt x="13406" y="10312"/>
                </a:cubicBezTo>
                <a:cubicBezTo>
                  <a:pt x="13406" y="10312"/>
                  <a:pt x="13375" y="10312"/>
                  <a:pt x="13375" y="10312"/>
                </a:cubicBezTo>
                <a:cubicBezTo>
                  <a:pt x="13343" y="10312"/>
                  <a:pt x="13281" y="10344"/>
                  <a:pt x="13250" y="10375"/>
                </a:cubicBezTo>
                <a:cubicBezTo>
                  <a:pt x="13281" y="10375"/>
                  <a:pt x="13281" y="10375"/>
                  <a:pt x="13312" y="10375"/>
                </a:cubicBezTo>
                <a:cubicBezTo>
                  <a:pt x="13343" y="10375"/>
                  <a:pt x="13343" y="10375"/>
                  <a:pt x="13343" y="10406"/>
                </a:cubicBezTo>
                <a:cubicBezTo>
                  <a:pt x="13281" y="10406"/>
                  <a:pt x="13218" y="10406"/>
                  <a:pt x="13187" y="10437"/>
                </a:cubicBezTo>
                <a:cubicBezTo>
                  <a:pt x="13156" y="10469"/>
                  <a:pt x="13125" y="10469"/>
                  <a:pt x="13093" y="10437"/>
                </a:cubicBezTo>
                <a:cubicBezTo>
                  <a:pt x="13062" y="10406"/>
                  <a:pt x="13031" y="10406"/>
                  <a:pt x="13000" y="10437"/>
                </a:cubicBezTo>
                <a:lnTo>
                  <a:pt x="13000" y="10437"/>
                </a:lnTo>
                <a:cubicBezTo>
                  <a:pt x="13000" y="10437"/>
                  <a:pt x="13000" y="10437"/>
                  <a:pt x="13000" y="10437"/>
                </a:cubicBezTo>
                <a:cubicBezTo>
                  <a:pt x="12937" y="10437"/>
                  <a:pt x="12875" y="10437"/>
                  <a:pt x="12875" y="10469"/>
                </a:cubicBezTo>
                <a:cubicBezTo>
                  <a:pt x="12843" y="10531"/>
                  <a:pt x="12812" y="10500"/>
                  <a:pt x="12781" y="10469"/>
                </a:cubicBezTo>
                <a:cubicBezTo>
                  <a:pt x="12781" y="10469"/>
                  <a:pt x="12781" y="10469"/>
                  <a:pt x="12781" y="10469"/>
                </a:cubicBezTo>
                <a:cubicBezTo>
                  <a:pt x="12781" y="10437"/>
                  <a:pt x="12781" y="10437"/>
                  <a:pt x="12812" y="10437"/>
                </a:cubicBezTo>
                <a:cubicBezTo>
                  <a:pt x="12843" y="10437"/>
                  <a:pt x="12843" y="10437"/>
                  <a:pt x="12875" y="10406"/>
                </a:cubicBezTo>
                <a:cubicBezTo>
                  <a:pt x="12875" y="10406"/>
                  <a:pt x="12875" y="10406"/>
                  <a:pt x="12875" y="10406"/>
                </a:cubicBezTo>
                <a:cubicBezTo>
                  <a:pt x="12875" y="10406"/>
                  <a:pt x="12875" y="10406"/>
                  <a:pt x="12875" y="10406"/>
                </a:cubicBezTo>
                <a:cubicBezTo>
                  <a:pt x="12843" y="10406"/>
                  <a:pt x="12843" y="10406"/>
                  <a:pt x="12843" y="10406"/>
                </a:cubicBezTo>
                <a:cubicBezTo>
                  <a:pt x="12812" y="10406"/>
                  <a:pt x="12812" y="10406"/>
                  <a:pt x="12781" y="10406"/>
                </a:cubicBezTo>
                <a:cubicBezTo>
                  <a:pt x="12750" y="10406"/>
                  <a:pt x="12750" y="10437"/>
                  <a:pt x="12718" y="10437"/>
                </a:cubicBezTo>
                <a:cubicBezTo>
                  <a:pt x="12718" y="10469"/>
                  <a:pt x="12750" y="10469"/>
                  <a:pt x="12750" y="10500"/>
                </a:cubicBezTo>
                <a:cubicBezTo>
                  <a:pt x="12750" y="10500"/>
                  <a:pt x="12750" y="10500"/>
                  <a:pt x="12750" y="10500"/>
                </a:cubicBezTo>
                <a:cubicBezTo>
                  <a:pt x="12750" y="10500"/>
                  <a:pt x="12750" y="10500"/>
                  <a:pt x="12750" y="10500"/>
                </a:cubicBezTo>
                <a:cubicBezTo>
                  <a:pt x="12718" y="10500"/>
                  <a:pt x="12687" y="10500"/>
                  <a:pt x="12656" y="10437"/>
                </a:cubicBezTo>
                <a:cubicBezTo>
                  <a:pt x="12656" y="10406"/>
                  <a:pt x="12593" y="10500"/>
                  <a:pt x="12531" y="10469"/>
                </a:cubicBezTo>
                <a:cubicBezTo>
                  <a:pt x="12531" y="10469"/>
                  <a:pt x="12500" y="10500"/>
                  <a:pt x="12500" y="10500"/>
                </a:cubicBezTo>
                <a:cubicBezTo>
                  <a:pt x="12500" y="10500"/>
                  <a:pt x="12500" y="10531"/>
                  <a:pt x="12500" y="10531"/>
                </a:cubicBezTo>
                <a:cubicBezTo>
                  <a:pt x="12562" y="10531"/>
                  <a:pt x="12500" y="10594"/>
                  <a:pt x="12531" y="10625"/>
                </a:cubicBezTo>
                <a:cubicBezTo>
                  <a:pt x="12562" y="10656"/>
                  <a:pt x="12593" y="10562"/>
                  <a:pt x="12625" y="10625"/>
                </a:cubicBezTo>
                <a:cubicBezTo>
                  <a:pt x="12593" y="10656"/>
                  <a:pt x="12531" y="10625"/>
                  <a:pt x="12500" y="10719"/>
                </a:cubicBezTo>
                <a:cubicBezTo>
                  <a:pt x="12500" y="10719"/>
                  <a:pt x="12500" y="10719"/>
                  <a:pt x="12500" y="10719"/>
                </a:cubicBezTo>
                <a:cubicBezTo>
                  <a:pt x="12437" y="10687"/>
                  <a:pt x="12437" y="10719"/>
                  <a:pt x="12437" y="10750"/>
                </a:cubicBezTo>
                <a:cubicBezTo>
                  <a:pt x="12406" y="10781"/>
                  <a:pt x="12468" y="10781"/>
                  <a:pt x="12500" y="10812"/>
                </a:cubicBezTo>
                <a:cubicBezTo>
                  <a:pt x="12500" y="10844"/>
                  <a:pt x="12468" y="10844"/>
                  <a:pt x="12437" y="10875"/>
                </a:cubicBezTo>
                <a:cubicBezTo>
                  <a:pt x="12406" y="10844"/>
                  <a:pt x="12406" y="10812"/>
                  <a:pt x="12375" y="10844"/>
                </a:cubicBezTo>
                <a:cubicBezTo>
                  <a:pt x="12375" y="10844"/>
                  <a:pt x="12375" y="10844"/>
                  <a:pt x="12375" y="10844"/>
                </a:cubicBezTo>
                <a:cubicBezTo>
                  <a:pt x="12406" y="10937"/>
                  <a:pt x="12343" y="10906"/>
                  <a:pt x="12312" y="10906"/>
                </a:cubicBezTo>
                <a:cubicBezTo>
                  <a:pt x="12281" y="10937"/>
                  <a:pt x="12250" y="10906"/>
                  <a:pt x="12250" y="10875"/>
                </a:cubicBezTo>
                <a:cubicBezTo>
                  <a:pt x="12281" y="10875"/>
                  <a:pt x="12312" y="10875"/>
                  <a:pt x="12343" y="10812"/>
                </a:cubicBezTo>
                <a:lnTo>
                  <a:pt x="12343" y="10812"/>
                </a:lnTo>
                <a:cubicBezTo>
                  <a:pt x="12281" y="10812"/>
                  <a:pt x="12250" y="10812"/>
                  <a:pt x="12250" y="10781"/>
                </a:cubicBezTo>
                <a:cubicBezTo>
                  <a:pt x="12218" y="10750"/>
                  <a:pt x="12187" y="10812"/>
                  <a:pt x="12156" y="10812"/>
                </a:cubicBezTo>
                <a:cubicBezTo>
                  <a:pt x="12125" y="10812"/>
                  <a:pt x="12125" y="10844"/>
                  <a:pt x="12125" y="10844"/>
                </a:cubicBezTo>
                <a:cubicBezTo>
                  <a:pt x="12187" y="10844"/>
                  <a:pt x="12218" y="10781"/>
                  <a:pt x="12250" y="10875"/>
                </a:cubicBezTo>
                <a:cubicBezTo>
                  <a:pt x="12250" y="10875"/>
                  <a:pt x="12218" y="10875"/>
                  <a:pt x="12187" y="10906"/>
                </a:cubicBezTo>
                <a:cubicBezTo>
                  <a:pt x="12187" y="10906"/>
                  <a:pt x="12187" y="10906"/>
                  <a:pt x="12218" y="10906"/>
                </a:cubicBezTo>
                <a:cubicBezTo>
                  <a:pt x="12250" y="10937"/>
                  <a:pt x="12281" y="11031"/>
                  <a:pt x="12343" y="10969"/>
                </a:cubicBezTo>
                <a:cubicBezTo>
                  <a:pt x="12375" y="10937"/>
                  <a:pt x="12375" y="10969"/>
                  <a:pt x="12375" y="10969"/>
                </a:cubicBezTo>
                <a:cubicBezTo>
                  <a:pt x="12437" y="11000"/>
                  <a:pt x="12500" y="10969"/>
                  <a:pt x="12531" y="10937"/>
                </a:cubicBezTo>
                <a:cubicBezTo>
                  <a:pt x="12562" y="10875"/>
                  <a:pt x="12625" y="10937"/>
                  <a:pt x="12656" y="10875"/>
                </a:cubicBezTo>
                <a:cubicBezTo>
                  <a:pt x="12687" y="10844"/>
                  <a:pt x="12750" y="10812"/>
                  <a:pt x="12781" y="10906"/>
                </a:cubicBezTo>
                <a:cubicBezTo>
                  <a:pt x="12781" y="10937"/>
                  <a:pt x="12781" y="10937"/>
                  <a:pt x="12812" y="10906"/>
                </a:cubicBezTo>
                <a:cubicBezTo>
                  <a:pt x="12812" y="10906"/>
                  <a:pt x="12812" y="10875"/>
                  <a:pt x="12812" y="10875"/>
                </a:cubicBezTo>
                <a:cubicBezTo>
                  <a:pt x="12968" y="10812"/>
                  <a:pt x="13093" y="10781"/>
                  <a:pt x="13250" y="10781"/>
                </a:cubicBezTo>
                <a:cubicBezTo>
                  <a:pt x="13468" y="10781"/>
                  <a:pt x="13656" y="10812"/>
                  <a:pt x="13843" y="10781"/>
                </a:cubicBezTo>
                <a:cubicBezTo>
                  <a:pt x="13906" y="10781"/>
                  <a:pt x="14000" y="10750"/>
                  <a:pt x="14062" y="10844"/>
                </a:cubicBezTo>
                <a:cubicBezTo>
                  <a:pt x="14062" y="10812"/>
                  <a:pt x="14031" y="10781"/>
                  <a:pt x="14031" y="10781"/>
                </a:cubicBezTo>
                <a:cubicBezTo>
                  <a:pt x="14093" y="10781"/>
                  <a:pt x="14125" y="10781"/>
                  <a:pt x="14156" y="10844"/>
                </a:cubicBezTo>
                <a:cubicBezTo>
                  <a:pt x="14187" y="10812"/>
                  <a:pt x="14125" y="10781"/>
                  <a:pt x="14187" y="10781"/>
                </a:cubicBezTo>
                <a:cubicBezTo>
                  <a:pt x="14281" y="10750"/>
                  <a:pt x="14375" y="10812"/>
                  <a:pt x="14468" y="10812"/>
                </a:cubicBezTo>
                <a:cubicBezTo>
                  <a:pt x="14437" y="10844"/>
                  <a:pt x="14500" y="10875"/>
                  <a:pt x="14500" y="10937"/>
                </a:cubicBezTo>
                <a:cubicBezTo>
                  <a:pt x="14468" y="11031"/>
                  <a:pt x="14437" y="10937"/>
                  <a:pt x="14437" y="10906"/>
                </a:cubicBezTo>
                <a:cubicBezTo>
                  <a:pt x="14437" y="10906"/>
                  <a:pt x="14406" y="10906"/>
                  <a:pt x="14406" y="10906"/>
                </a:cubicBezTo>
                <a:lnTo>
                  <a:pt x="14406" y="10906"/>
                </a:lnTo>
                <a:cubicBezTo>
                  <a:pt x="14406" y="10906"/>
                  <a:pt x="14437" y="10906"/>
                  <a:pt x="14437" y="10906"/>
                </a:cubicBezTo>
                <a:cubicBezTo>
                  <a:pt x="14437" y="10906"/>
                  <a:pt x="14468" y="10937"/>
                  <a:pt x="14500" y="10937"/>
                </a:cubicBezTo>
                <a:cubicBezTo>
                  <a:pt x="14562" y="10969"/>
                  <a:pt x="14531" y="10875"/>
                  <a:pt x="14562" y="10875"/>
                </a:cubicBezTo>
                <a:cubicBezTo>
                  <a:pt x="14625" y="10906"/>
                  <a:pt x="14656" y="10812"/>
                  <a:pt x="14687" y="10844"/>
                </a:cubicBezTo>
                <a:cubicBezTo>
                  <a:pt x="14687" y="10812"/>
                  <a:pt x="14718" y="10812"/>
                  <a:pt x="14718" y="10812"/>
                </a:cubicBezTo>
                <a:cubicBezTo>
                  <a:pt x="14718" y="10812"/>
                  <a:pt x="14687" y="10812"/>
                  <a:pt x="14687" y="10844"/>
                </a:cubicBezTo>
                <a:cubicBezTo>
                  <a:pt x="14687" y="10844"/>
                  <a:pt x="14687" y="10875"/>
                  <a:pt x="14687" y="10875"/>
                </a:cubicBezTo>
                <a:cubicBezTo>
                  <a:pt x="14750" y="10875"/>
                  <a:pt x="14812" y="10812"/>
                  <a:pt x="14843" y="10875"/>
                </a:cubicBezTo>
                <a:cubicBezTo>
                  <a:pt x="14875" y="10875"/>
                  <a:pt x="14906" y="10875"/>
                  <a:pt x="14875" y="10844"/>
                </a:cubicBezTo>
                <a:cubicBezTo>
                  <a:pt x="14875" y="10812"/>
                  <a:pt x="14843" y="10750"/>
                  <a:pt x="14781" y="10781"/>
                </a:cubicBezTo>
                <a:cubicBezTo>
                  <a:pt x="14843" y="10719"/>
                  <a:pt x="14906" y="10687"/>
                  <a:pt x="14937" y="10625"/>
                </a:cubicBezTo>
                <a:cubicBezTo>
                  <a:pt x="14968" y="10594"/>
                  <a:pt x="15031" y="10562"/>
                  <a:pt x="14968" y="10500"/>
                </a:cubicBezTo>
                <a:cubicBezTo>
                  <a:pt x="15000" y="10500"/>
                  <a:pt x="15062" y="10531"/>
                  <a:pt x="15062" y="10469"/>
                </a:cubicBezTo>
                <a:cubicBezTo>
                  <a:pt x="15062" y="10406"/>
                  <a:pt x="15093" y="10344"/>
                  <a:pt x="15000" y="10312"/>
                </a:cubicBezTo>
                <a:cubicBezTo>
                  <a:pt x="15000" y="10312"/>
                  <a:pt x="14937" y="10312"/>
                  <a:pt x="14968" y="10281"/>
                </a:cubicBezTo>
                <a:cubicBezTo>
                  <a:pt x="14968" y="10250"/>
                  <a:pt x="15000" y="10250"/>
                  <a:pt x="15031" y="10281"/>
                </a:cubicBezTo>
                <a:cubicBezTo>
                  <a:pt x="15062" y="10312"/>
                  <a:pt x="15093" y="10281"/>
                  <a:pt x="15125" y="10250"/>
                </a:cubicBezTo>
                <a:cubicBezTo>
                  <a:pt x="15062" y="10187"/>
                  <a:pt x="15156" y="10125"/>
                  <a:pt x="15093" y="10094"/>
                </a:cubicBezTo>
                <a:cubicBezTo>
                  <a:pt x="15125" y="10094"/>
                  <a:pt x="15156" y="10094"/>
                  <a:pt x="15187" y="10094"/>
                </a:cubicBezTo>
                <a:cubicBezTo>
                  <a:pt x="15156" y="10062"/>
                  <a:pt x="15125" y="10000"/>
                  <a:pt x="15093" y="10062"/>
                </a:cubicBezTo>
                <a:cubicBezTo>
                  <a:pt x="15062" y="10094"/>
                  <a:pt x="15062" y="10094"/>
                  <a:pt x="15062" y="10094"/>
                </a:cubicBezTo>
                <a:cubicBezTo>
                  <a:pt x="15031" y="10062"/>
                  <a:pt x="15093" y="10031"/>
                  <a:pt x="15031" y="10000"/>
                </a:cubicBezTo>
                <a:cubicBezTo>
                  <a:pt x="15000" y="10000"/>
                  <a:pt x="15000" y="9969"/>
                  <a:pt x="15031" y="9937"/>
                </a:cubicBezTo>
                <a:cubicBezTo>
                  <a:pt x="15062" y="9906"/>
                  <a:pt x="15031" y="9906"/>
                  <a:pt x="15000" y="9875"/>
                </a:cubicBezTo>
                <a:cubicBezTo>
                  <a:pt x="15000" y="9875"/>
                  <a:pt x="14968" y="9875"/>
                  <a:pt x="14968" y="9875"/>
                </a:cubicBezTo>
                <a:cubicBezTo>
                  <a:pt x="14937" y="9875"/>
                  <a:pt x="14937" y="9875"/>
                  <a:pt x="14906" y="9844"/>
                </a:cubicBezTo>
                <a:cubicBezTo>
                  <a:pt x="14906" y="9844"/>
                  <a:pt x="14937" y="9844"/>
                  <a:pt x="14937" y="9812"/>
                </a:cubicBezTo>
                <a:cubicBezTo>
                  <a:pt x="14937" y="9812"/>
                  <a:pt x="14968" y="9812"/>
                  <a:pt x="14968" y="9812"/>
                </a:cubicBezTo>
                <a:cubicBezTo>
                  <a:pt x="15000" y="9750"/>
                  <a:pt x="15000" y="9750"/>
                  <a:pt x="15031" y="9781"/>
                </a:cubicBezTo>
                <a:cubicBezTo>
                  <a:pt x="15062" y="9812"/>
                  <a:pt x="15093" y="9844"/>
                  <a:pt x="15000" y="9844"/>
                </a:cubicBezTo>
                <a:lnTo>
                  <a:pt x="15000" y="9844"/>
                </a:lnTo>
                <a:cubicBezTo>
                  <a:pt x="15000" y="9844"/>
                  <a:pt x="15000" y="9875"/>
                  <a:pt x="15000" y="9875"/>
                </a:cubicBezTo>
                <a:cubicBezTo>
                  <a:pt x="15000" y="9937"/>
                  <a:pt x="15000" y="9937"/>
                  <a:pt x="14937" y="9906"/>
                </a:cubicBezTo>
                <a:cubicBezTo>
                  <a:pt x="14937" y="9906"/>
                  <a:pt x="14906" y="9875"/>
                  <a:pt x="14875" y="9906"/>
                </a:cubicBezTo>
                <a:cubicBezTo>
                  <a:pt x="14875" y="9875"/>
                  <a:pt x="14875" y="9875"/>
                  <a:pt x="14843" y="9875"/>
                </a:cubicBezTo>
                <a:lnTo>
                  <a:pt x="14843" y="9875"/>
                </a:lnTo>
                <a:cubicBezTo>
                  <a:pt x="14843" y="9875"/>
                  <a:pt x="14843" y="9875"/>
                  <a:pt x="14843" y="9875"/>
                </a:cubicBezTo>
                <a:cubicBezTo>
                  <a:pt x="14843" y="9906"/>
                  <a:pt x="14875" y="9906"/>
                  <a:pt x="14875" y="9906"/>
                </a:cubicBezTo>
                <a:cubicBezTo>
                  <a:pt x="14906" y="9937"/>
                  <a:pt x="14937" y="9937"/>
                  <a:pt x="14906" y="10000"/>
                </a:cubicBezTo>
                <a:cubicBezTo>
                  <a:pt x="14875" y="10000"/>
                  <a:pt x="14875" y="9969"/>
                  <a:pt x="14843" y="10000"/>
                </a:cubicBezTo>
                <a:cubicBezTo>
                  <a:pt x="14906" y="10000"/>
                  <a:pt x="14906" y="10094"/>
                  <a:pt x="14968" y="10094"/>
                </a:cubicBezTo>
                <a:cubicBezTo>
                  <a:pt x="15000" y="10094"/>
                  <a:pt x="15000" y="10094"/>
                  <a:pt x="15031" y="10125"/>
                </a:cubicBezTo>
                <a:cubicBezTo>
                  <a:pt x="14968" y="10156"/>
                  <a:pt x="14968" y="10125"/>
                  <a:pt x="14906" y="10125"/>
                </a:cubicBezTo>
                <a:cubicBezTo>
                  <a:pt x="14875" y="10094"/>
                  <a:pt x="14843" y="10031"/>
                  <a:pt x="14781" y="10031"/>
                </a:cubicBezTo>
                <a:cubicBezTo>
                  <a:pt x="14781" y="10031"/>
                  <a:pt x="14781" y="10031"/>
                  <a:pt x="14750" y="10031"/>
                </a:cubicBezTo>
                <a:cubicBezTo>
                  <a:pt x="14750" y="10031"/>
                  <a:pt x="14750" y="10031"/>
                  <a:pt x="14750" y="10031"/>
                </a:cubicBezTo>
                <a:lnTo>
                  <a:pt x="14750" y="10031"/>
                </a:lnTo>
                <a:cubicBezTo>
                  <a:pt x="14781" y="10031"/>
                  <a:pt x="14781" y="10031"/>
                  <a:pt x="14781" y="10031"/>
                </a:cubicBezTo>
                <a:cubicBezTo>
                  <a:pt x="14812" y="10094"/>
                  <a:pt x="14843" y="10094"/>
                  <a:pt x="14875" y="10125"/>
                </a:cubicBezTo>
                <a:cubicBezTo>
                  <a:pt x="14906" y="10156"/>
                  <a:pt x="14937" y="10156"/>
                  <a:pt x="14906" y="10187"/>
                </a:cubicBezTo>
                <a:cubicBezTo>
                  <a:pt x="14875" y="10187"/>
                  <a:pt x="14843" y="10219"/>
                  <a:pt x="14843" y="10187"/>
                </a:cubicBezTo>
                <a:cubicBezTo>
                  <a:pt x="14812" y="10156"/>
                  <a:pt x="14781" y="10125"/>
                  <a:pt x="14750" y="10125"/>
                </a:cubicBezTo>
                <a:cubicBezTo>
                  <a:pt x="14750" y="10094"/>
                  <a:pt x="14718" y="10125"/>
                  <a:pt x="14718" y="10125"/>
                </a:cubicBezTo>
                <a:cubicBezTo>
                  <a:pt x="14718" y="10125"/>
                  <a:pt x="14718" y="10125"/>
                  <a:pt x="14750" y="10125"/>
                </a:cubicBezTo>
                <a:cubicBezTo>
                  <a:pt x="14750" y="10156"/>
                  <a:pt x="14750" y="10156"/>
                  <a:pt x="14750" y="10156"/>
                </a:cubicBezTo>
                <a:cubicBezTo>
                  <a:pt x="14750" y="10187"/>
                  <a:pt x="14750" y="10219"/>
                  <a:pt x="14687" y="10219"/>
                </a:cubicBezTo>
                <a:cubicBezTo>
                  <a:pt x="14687" y="10187"/>
                  <a:pt x="14656" y="10187"/>
                  <a:pt x="14656" y="10156"/>
                </a:cubicBezTo>
                <a:cubicBezTo>
                  <a:pt x="14656" y="10156"/>
                  <a:pt x="14687" y="10125"/>
                  <a:pt x="14625" y="10125"/>
                </a:cubicBezTo>
                <a:cubicBezTo>
                  <a:pt x="14625" y="10125"/>
                  <a:pt x="14593" y="10156"/>
                  <a:pt x="14625" y="10187"/>
                </a:cubicBezTo>
                <a:cubicBezTo>
                  <a:pt x="14656" y="10219"/>
                  <a:pt x="14625" y="10281"/>
                  <a:pt x="14656" y="10344"/>
                </a:cubicBezTo>
                <a:close/>
                <a:moveTo>
                  <a:pt x="13031" y="7500"/>
                </a:moveTo>
                <a:cubicBezTo>
                  <a:pt x="13031" y="7500"/>
                  <a:pt x="13031" y="7500"/>
                  <a:pt x="13031" y="7500"/>
                </a:cubicBezTo>
                <a:cubicBezTo>
                  <a:pt x="13125" y="7469"/>
                  <a:pt x="13031" y="7406"/>
                  <a:pt x="13031" y="7375"/>
                </a:cubicBezTo>
                <a:cubicBezTo>
                  <a:pt x="13000" y="7406"/>
                  <a:pt x="13031" y="7437"/>
                  <a:pt x="13031" y="7500"/>
                </a:cubicBezTo>
                <a:cubicBezTo>
                  <a:pt x="13031" y="7500"/>
                  <a:pt x="13031" y="7500"/>
                  <a:pt x="13031" y="7500"/>
                </a:cubicBezTo>
                <a:cubicBezTo>
                  <a:pt x="13031" y="7500"/>
                  <a:pt x="13000" y="7500"/>
                  <a:pt x="13031" y="7500"/>
                </a:cubicBezTo>
                <a:close/>
                <a:moveTo>
                  <a:pt x="9625" y="9000"/>
                </a:moveTo>
                <a:cubicBezTo>
                  <a:pt x="9625" y="9000"/>
                  <a:pt x="9625" y="9000"/>
                  <a:pt x="9593" y="9000"/>
                </a:cubicBezTo>
                <a:cubicBezTo>
                  <a:pt x="9593" y="9000"/>
                  <a:pt x="9625" y="9000"/>
                  <a:pt x="9625" y="9000"/>
                </a:cubicBezTo>
                <a:cubicBezTo>
                  <a:pt x="9687" y="8969"/>
                  <a:pt x="9687" y="8937"/>
                  <a:pt x="9687" y="8875"/>
                </a:cubicBezTo>
                <a:lnTo>
                  <a:pt x="9687" y="8875"/>
                </a:lnTo>
                <a:cubicBezTo>
                  <a:pt x="9656" y="8906"/>
                  <a:pt x="9625" y="8937"/>
                  <a:pt x="9625" y="9000"/>
                </a:cubicBezTo>
                <a:close/>
                <a:moveTo>
                  <a:pt x="13625" y="10719"/>
                </a:move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ubicBezTo>
                  <a:pt x="13625" y="10719"/>
                  <a:pt x="13625" y="10719"/>
                  <a:pt x="13625" y="10719"/>
                </a:cubicBezTo>
                <a:close/>
                <a:moveTo>
                  <a:pt x="14375" y="2687"/>
                </a:moveTo>
                <a:cubicBezTo>
                  <a:pt x="14375" y="2687"/>
                  <a:pt x="14375" y="2687"/>
                  <a:pt x="14375" y="2687"/>
                </a:cubicBezTo>
                <a:close/>
                <a:moveTo>
                  <a:pt x="14375" y="2687"/>
                </a:moveTo>
                <a:cubicBezTo>
                  <a:pt x="14375" y="2687"/>
                  <a:pt x="14375" y="2687"/>
                  <a:pt x="14406" y="2687"/>
                </a:cubicBezTo>
                <a:cubicBezTo>
                  <a:pt x="14375" y="2687"/>
                  <a:pt x="14375" y="2687"/>
                  <a:pt x="14375" y="2687"/>
                </a:cubicBezTo>
                <a:close/>
                <a:moveTo>
                  <a:pt x="10593" y="12219"/>
                </a:moveTo>
                <a:cubicBezTo>
                  <a:pt x="10593" y="12187"/>
                  <a:pt x="10562" y="12187"/>
                  <a:pt x="10562" y="12187"/>
                </a:cubicBezTo>
                <a:cubicBezTo>
                  <a:pt x="10562" y="12219"/>
                  <a:pt x="10593" y="12219"/>
                  <a:pt x="10593" y="12219"/>
                </a:cubicBezTo>
                <a:cubicBezTo>
                  <a:pt x="10593" y="12219"/>
                  <a:pt x="10593" y="12219"/>
                  <a:pt x="10593" y="12219"/>
                </a:cubicBezTo>
                <a:cubicBezTo>
                  <a:pt x="10593" y="12219"/>
                  <a:pt x="10562" y="12250"/>
                  <a:pt x="10593" y="12250"/>
                </a:cubicBezTo>
                <a:cubicBezTo>
                  <a:pt x="10593" y="12281"/>
                  <a:pt x="10625" y="12250"/>
                  <a:pt x="10625" y="12250"/>
                </a:cubicBezTo>
                <a:lnTo>
                  <a:pt x="10625" y="12250"/>
                </a:lnTo>
                <a:cubicBezTo>
                  <a:pt x="10656" y="12219"/>
                  <a:pt x="10656" y="12219"/>
                  <a:pt x="10656" y="12219"/>
                </a:cubicBezTo>
                <a:cubicBezTo>
                  <a:pt x="10625" y="12187"/>
                  <a:pt x="10625" y="12187"/>
                  <a:pt x="10593" y="12219"/>
                </a:cubicBezTo>
                <a:close/>
                <a:moveTo>
                  <a:pt x="10125" y="10781"/>
                </a:moveTo>
                <a:cubicBezTo>
                  <a:pt x="10125" y="10781"/>
                  <a:pt x="10125" y="10812"/>
                  <a:pt x="10125" y="10812"/>
                </a:cubicBezTo>
                <a:cubicBezTo>
                  <a:pt x="10125" y="10812"/>
                  <a:pt x="10125" y="10812"/>
                  <a:pt x="10125" y="10812"/>
                </a:cubicBezTo>
                <a:cubicBezTo>
                  <a:pt x="10125" y="10812"/>
                  <a:pt x="10156" y="10812"/>
                  <a:pt x="10156" y="10812"/>
                </a:cubicBezTo>
                <a:cubicBezTo>
                  <a:pt x="10156" y="10812"/>
                  <a:pt x="10156" y="10781"/>
                  <a:pt x="10125" y="10781"/>
                </a:cubicBezTo>
                <a:close/>
                <a:moveTo>
                  <a:pt x="13906" y="5812"/>
                </a:moveTo>
                <a:cubicBezTo>
                  <a:pt x="13906" y="5812"/>
                  <a:pt x="13906" y="5812"/>
                  <a:pt x="13906" y="5812"/>
                </a:cubicBezTo>
                <a:cubicBezTo>
                  <a:pt x="13906" y="5844"/>
                  <a:pt x="13906" y="5844"/>
                  <a:pt x="13906" y="5844"/>
                </a:cubicBezTo>
                <a:cubicBezTo>
                  <a:pt x="13906" y="5844"/>
                  <a:pt x="13937" y="5844"/>
                  <a:pt x="13937" y="5844"/>
                </a:cubicBezTo>
                <a:cubicBezTo>
                  <a:pt x="13937" y="5844"/>
                  <a:pt x="13937" y="5812"/>
                  <a:pt x="13906" y="5812"/>
                </a:cubicBezTo>
                <a:close/>
                <a:moveTo>
                  <a:pt x="9093" y="2031"/>
                </a:moveTo>
                <a:cubicBezTo>
                  <a:pt x="9125" y="2000"/>
                  <a:pt x="9125" y="2000"/>
                  <a:pt x="9125" y="1969"/>
                </a:cubicBezTo>
                <a:cubicBezTo>
                  <a:pt x="9125" y="1969"/>
                  <a:pt x="9156" y="1969"/>
                  <a:pt x="9156" y="1937"/>
                </a:cubicBezTo>
                <a:cubicBezTo>
                  <a:pt x="9156" y="1937"/>
                  <a:pt x="9156" y="1937"/>
                  <a:pt x="9156" y="1937"/>
                </a:cubicBezTo>
                <a:lnTo>
                  <a:pt x="9156" y="1937"/>
                </a:lnTo>
                <a:cubicBezTo>
                  <a:pt x="9125" y="1937"/>
                  <a:pt x="9125" y="1969"/>
                  <a:pt x="9125" y="1969"/>
                </a:cubicBezTo>
                <a:cubicBezTo>
                  <a:pt x="9125" y="2000"/>
                  <a:pt x="9125" y="2000"/>
                  <a:pt x="9093" y="2031"/>
                </a:cubicBezTo>
                <a:cubicBezTo>
                  <a:pt x="9062" y="2031"/>
                  <a:pt x="9062" y="2031"/>
                  <a:pt x="9062" y="2094"/>
                </a:cubicBezTo>
                <a:lnTo>
                  <a:pt x="9062" y="2094"/>
                </a:lnTo>
                <a:cubicBezTo>
                  <a:pt x="9093" y="2094"/>
                  <a:pt x="9093" y="2062"/>
                  <a:pt x="9093" y="2031"/>
                </a:cubicBezTo>
                <a:close/>
                <a:moveTo>
                  <a:pt x="15343" y="3000"/>
                </a:moveTo>
                <a:cubicBezTo>
                  <a:pt x="15343" y="3000"/>
                  <a:pt x="15343" y="3000"/>
                  <a:pt x="15375" y="3000"/>
                </a:cubicBezTo>
                <a:cubicBezTo>
                  <a:pt x="15375" y="3000"/>
                  <a:pt x="15406" y="3031"/>
                  <a:pt x="15406" y="3000"/>
                </a:cubicBezTo>
                <a:cubicBezTo>
                  <a:pt x="15437" y="2969"/>
                  <a:pt x="15406" y="2969"/>
                  <a:pt x="15406" y="2969"/>
                </a:cubicBezTo>
                <a:cubicBezTo>
                  <a:pt x="15375" y="2969"/>
                  <a:pt x="15375" y="2969"/>
                  <a:pt x="15343" y="2969"/>
                </a:cubicBezTo>
                <a:cubicBezTo>
                  <a:pt x="15343" y="2969"/>
                  <a:pt x="15343" y="3000"/>
                  <a:pt x="15343" y="3000"/>
                </a:cubicBezTo>
                <a:cubicBezTo>
                  <a:pt x="15343" y="3000"/>
                  <a:pt x="15343" y="3000"/>
                  <a:pt x="15343" y="3000"/>
                </a:cubicBezTo>
                <a:cubicBezTo>
                  <a:pt x="15343" y="3031"/>
                  <a:pt x="15312" y="3031"/>
                  <a:pt x="15312" y="3031"/>
                </a:cubicBezTo>
                <a:cubicBezTo>
                  <a:pt x="15312" y="3031"/>
                  <a:pt x="15312" y="3031"/>
                  <a:pt x="15343" y="3031"/>
                </a:cubicBezTo>
                <a:cubicBezTo>
                  <a:pt x="15343" y="3031"/>
                  <a:pt x="15343" y="3031"/>
                  <a:pt x="15343" y="3000"/>
                </a:cubicBezTo>
                <a:close/>
                <a:moveTo>
                  <a:pt x="9562" y="11656"/>
                </a:moveTo>
                <a:cubicBezTo>
                  <a:pt x="9562" y="11656"/>
                  <a:pt x="9562" y="11656"/>
                  <a:pt x="9562" y="11656"/>
                </a:cubicBezTo>
                <a:cubicBezTo>
                  <a:pt x="9593" y="11656"/>
                  <a:pt x="9593" y="11656"/>
                  <a:pt x="9593" y="11656"/>
                </a:cubicBezTo>
                <a:cubicBezTo>
                  <a:pt x="9593" y="11656"/>
                  <a:pt x="9593" y="11656"/>
                  <a:pt x="9593" y="11625"/>
                </a:cubicBezTo>
                <a:cubicBezTo>
                  <a:pt x="9593" y="11656"/>
                  <a:pt x="9562" y="11656"/>
                  <a:pt x="9562" y="11656"/>
                </a:cubicBezTo>
                <a:close/>
                <a:moveTo>
                  <a:pt x="10312" y="11594"/>
                </a:moveTo>
                <a:cubicBezTo>
                  <a:pt x="10312" y="11594"/>
                  <a:pt x="10312" y="11594"/>
                  <a:pt x="10312" y="11594"/>
                </a:cubicBezTo>
                <a:cubicBezTo>
                  <a:pt x="10312" y="11594"/>
                  <a:pt x="10281" y="11594"/>
                  <a:pt x="10281" y="11594"/>
                </a:cubicBezTo>
                <a:cubicBezTo>
                  <a:pt x="10312" y="11594"/>
                  <a:pt x="10312" y="11594"/>
                  <a:pt x="10312" y="11594"/>
                </a:cubicBezTo>
                <a:cubicBezTo>
                  <a:pt x="10312" y="11594"/>
                  <a:pt x="10312" y="11594"/>
                  <a:pt x="10312" y="11594"/>
                </a:cubicBezTo>
                <a:close/>
                <a:moveTo>
                  <a:pt x="15437" y="8531"/>
                </a:moveTo>
                <a:cubicBezTo>
                  <a:pt x="15437" y="8531"/>
                  <a:pt x="15437" y="8531"/>
                  <a:pt x="15437" y="8531"/>
                </a:cubicBezTo>
                <a:cubicBezTo>
                  <a:pt x="15437" y="8531"/>
                  <a:pt x="15437" y="8531"/>
                  <a:pt x="15437" y="8531"/>
                </a:cubicBezTo>
                <a:lnTo>
                  <a:pt x="15437" y="8531"/>
                </a:lnTo>
                <a:cubicBezTo>
                  <a:pt x="15437" y="8531"/>
                  <a:pt x="15437" y="8531"/>
                  <a:pt x="15437" y="8531"/>
                </a:cubicBezTo>
                <a:cubicBezTo>
                  <a:pt x="15437" y="8531"/>
                  <a:pt x="15437" y="8531"/>
                  <a:pt x="15437" y="8531"/>
                </a:cubicBezTo>
                <a:close/>
                <a:moveTo>
                  <a:pt x="10281" y="11406"/>
                </a:moveTo>
                <a:cubicBezTo>
                  <a:pt x="10281" y="11406"/>
                  <a:pt x="10281" y="11437"/>
                  <a:pt x="10281" y="11437"/>
                </a:cubicBezTo>
                <a:cubicBezTo>
                  <a:pt x="10281" y="11437"/>
                  <a:pt x="10281" y="11469"/>
                  <a:pt x="10281" y="11469"/>
                </a:cubicBezTo>
                <a:cubicBezTo>
                  <a:pt x="10281" y="11469"/>
                  <a:pt x="10281" y="11437"/>
                  <a:pt x="10281" y="11437"/>
                </a:cubicBezTo>
                <a:cubicBezTo>
                  <a:pt x="10250" y="11437"/>
                  <a:pt x="10218" y="11437"/>
                  <a:pt x="10187" y="11437"/>
                </a:cubicBezTo>
                <a:cubicBezTo>
                  <a:pt x="10187" y="11437"/>
                  <a:pt x="10187" y="11437"/>
                  <a:pt x="10187" y="11437"/>
                </a:cubicBezTo>
                <a:lnTo>
                  <a:pt x="10187" y="11437"/>
                </a:lnTo>
                <a:cubicBezTo>
                  <a:pt x="10187" y="11437"/>
                  <a:pt x="10156" y="11406"/>
                  <a:pt x="10156" y="11437"/>
                </a:cubicBezTo>
                <a:cubicBezTo>
                  <a:pt x="10156" y="11437"/>
                  <a:pt x="10156" y="11437"/>
                  <a:pt x="10187" y="11437"/>
                </a:cubicBezTo>
                <a:cubicBezTo>
                  <a:pt x="10187" y="11469"/>
                  <a:pt x="10187" y="11500"/>
                  <a:pt x="10187" y="11500"/>
                </a:cubicBezTo>
                <a:cubicBezTo>
                  <a:pt x="10218" y="11469"/>
                  <a:pt x="10218" y="11469"/>
                  <a:pt x="10250" y="11500"/>
                </a:cubicBezTo>
                <a:cubicBezTo>
                  <a:pt x="10281" y="11531"/>
                  <a:pt x="10281" y="11500"/>
                  <a:pt x="10312" y="11500"/>
                </a:cubicBezTo>
                <a:cubicBezTo>
                  <a:pt x="10312" y="11500"/>
                  <a:pt x="10343" y="11469"/>
                  <a:pt x="10343" y="11469"/>
                </a:cubicBezTo>
                <a:cubicBezTo>
                  <a:pt x="10343" y="11437"/>
                  <a:pt x="10312" y="11437"/>
                  <a:pt x="10281" y="11437"/>
                </a:cubicBezTo>
                <a:cubicBezTo>
                  <a:pt x="10281" y="11437"/>
                  <a:pt x="10281" y="11406"/>
                  <a:pt x="10281" y="11406"/>
                </a:cubicBezTo>
                <a:close/>
                <a:moveTo>
                  <a:pt x="13593" y="10250"/>
                </a:moveTo>
                <a:cubicBezTo>
                  <a:pt x="13625" y="10281"/>
                  <a:pt x="13625" y="10281"/>
                  <a:pt x="13656" y="10281"/>
                </a:cubicBezTo>
                <a:cubicBezTo>
                  <a:pt x="13625" y="10312"/>
                  <a:pt x="13687" y="10344"/>
                  <a:pt x="13687" y="10406"/>
                </a:cubicBezTo>
                <a:cubicBezTo>
                  <a:pt x="13656" y="10312"/>
                  <a:pt x="13593" y="10344"/>
                  <a:pt x="13531" y="10312"/>
                </a:cubicBezTo>
                <a:cubicBezTo>
                  <a:pt x="13468" y="10312"/>
                  <a:pt x="13500" y="10281"/>
                  <a:pt x="13500" y="10250"/>
                </a:cubicBezTo>
                <a:cubicBezTo>
                  <a:pt x="13531" y="10250"/>
                  <a:pt x="13562" y="10250"/>
                  <a:pt x="13593" y="10250"/>
                </a:cubicBezTo>
                <a:close/>
                <a:moveTo>
                  <a:pt x="12312" y="11187"/>
                </a:moveTo>
                <a:cubicBezTo>
                  <a:pt x="12312" y="11187"/>
                  <a:pt x="12312" y="11187"/>
                  <a:pt x="12312" y="11219"/>
                </a:cubicBezTo>
                <a:cubicBezTo>
                  <a:pt x="12312" y="11187"/>
                  <a:pt x="12312" y="11187"/>
                  <a:pt x="12312" y="11187"/>
                </a:cubicBezTo>
                <a:cubicBezTo>
                  <a:pt x="12312" y="11187"/>
                  <a:pt x="12312" y="11187"/>
                  <a:pt x="12312" y="11187"/>
                </a:cubicBezTo>
                <a:cubicBezTo>
                  <a:pt x="12312" y="11187"/>
                  <a:pt x="12312" y="11187"/>
                  <a:pt x="12312" y="11187"/>
                </a:cubicBezTo>
                <a:close/>
                <a:moveTo>
                  <a:pt x="9843" y="11125"/>
                </a:moveTo>
                <a:cubicBezTo>
                  <a:pt x="9843" y="11125"/>
                  <a:pt x="9843" y="11125"/>
                  <a:pt x="9843" y="11125"/>
                </a:cubicBezTo>
                <a:cubicBezTo>
                  <a:pt x="9843" y="11125"/>
                  <a:pt x="9843" y="11125"/>
                  <a:pt x="9843" y="11125"/>
                </a:cubicBezTo>
                <a:cubicBezTo>
                  <a:pt x="9843" y="11125"/>
                  <a:pt x="9812" y="11125"/>
                  <a:pt x="9812" y="11125"/>
                </a:cubicBezTo>
                <a:cubicBezTo>
                  <a:pt x="9812" y="11125"/>
                  <a:pt x="9843" y="11125"/>
                  <a:pt x="9843" y="11125"/>
                </a:cubicBezTo>
                <a:close/>
                <a:moveTo>
                  <a:pt x="14000" y="4687"/>
                </a:move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ubicBezTo>
                  <a:pt x="14000" y="4687"/>
                  <a:pt x="14000" y="4687"/>
                  <a:pt x="14000" y="4687"/>
                </a:cubicBezTo>
                <a:close/>
                <a:moveTo>
                  <a:pt x="10218" y="5562"/>
                </a:moveTo>
                <a:cubicBezTo>
                  <a:pt x="10218" y="5562"/>
                  <a:pt x="10218" y="5531"/>
                  <a:pt x="10218" y="5531"/>
                </a:cubicBezTo>
                <a:cubicBezTo>
                  <a:pt x="10218" y="5531"/>
                  <a:pt x="10218" y="5531"/>
                  <a:pt x="10218" y="5531"/>
                </a:cubicBezTo>
                <a:cubicBezTo>
                  <a:pt x="10218" y="5562"/>
                  <a:pt x="10218" y="5562"/>
                  <a:pt x="10218" y="5562"/>
                </a:cubicBezTo>
                <a:cubicBezTo>
                  <a:pt x="10218" y="5562"/>
                  <a:pt x="10218" y="5562"/>
                  <a:pt x="10218" y="5562"/>
                </a:cubicBezTo>
                <a:close/>
                <a:moveTo>
                  <a:pt x="14031" y="5562"/>
                </a:moveTo>
                <a:cubicBezTo>
                  <a:pt x="14031" y="5562"/>
                  <a:pt x="14031" y="5594"/>
                  <a:pt x="14031" y="5594"/>
                </a:cubicBezTo>
                <a:cubicBezTo>
                  <a:pt x="14031" y="5594"/>
                  <a:pt x="14031" y="5594"/>
                  <a:pt x="14031" y="5594"/>
                </a:cubicBezTo>
                <a:cubicBezTo>
                  <a:pt x="14031" y="5594"/>
                  <a:pt x="14031" y="5594"/>
                  <a:pt x="14031" y="5594"/>
                </a:cubicBezTo>
                <a:cubicBezTo>
                  <a:pt x="14031" y="5562"/>
                  <a:pt x="14031" y="5562"/>
                  <a:pt x="14031" y="5562"/>
                </a:cubicBezTo>
                <a:close/>
                <a:moveTo>
                  <a:pt x="12312" y="13094"/>
                </a:move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ubicBezTo>
                  <a:pt x="12312" y="13094"/>
                  <a:pt x="12312" y="13094"/>
                  <a:pt x="12312" y="13094"/>
                </a:cubicBezTo>
                <a:close/>
                <a:moveTo>
                  <a:pt x="10093" y="3875"/>
                </a:moveTo>
                <a:cubicBezTo>
                  <a:pt x="10093" y="3875"/>
                  <a:pt x="10093" y="3875"/>
                  <a:pt x="10093" y="3875"/>
                </a:cubicBezTo>
                <a:cubicBezTo>
                  <a:pt x="10093" y="3875"/>
                  <a:pt x="10093" y="3844"/>
                  <a:pt x="10093" y="3844"/>
                </a:cubicBezTo>
                <a:cubicBezTo>
                  <a:pt x="10093" y="3844"/>
                  <a:pt x="10093" y="3844"/>
                  <a:pt x="10062" y="3844"/>
                </a:cubicBezTo>
                <a:cubicBezTo>
                  <a:pt x="10062" y="3875"/>
                  <a:pt x="10093" y="3875"/>
                  <a:pt x="10093" y="3875"/>
                </a:cubicBezTo>
                <a:close/>
                <a:moveTo>
                  <a:pt x="9875" y="2781"/>
                </a:moveTo>
                <a:cubicBezTo>
                  <a:pt x="9875" y="2781"/>
                  <a:pt x="9875" y="2781"/>
                  <a:pt x="9843" y="2781"/>
                </a:cubicBezTo>
                <a:cubicBezTo>
                  <a:pt x="9875" y="2781"/>
                  <a:pt x="9875" y="2781"/>
                  <a:pt x="9875" y="2781"/>
                </a:cubicBezTo>
                <a:cubicBezTo>
                  <a:pt x="9968" y="2719"/>
                  <a:pt x="10062" y="2625"/>
                  <a:pt x="10156" y="2562"/>
                </a:cubicBezTo>
                <a:lnTo>
                  <a:pt x="10156" y="2562"/>
                </a:lnTo>
                <a:cubicBezTo>
                  <a:pt x="10093" y="2594"/>
                  <a:pt x="10031" y="2625"/>
                  <a:pt x="9968" y="2656"/>
                </a:cubicBezTo>
                <a:cubicBezTo>
                  <a:pt x="9937" y="2687"/>
                  <a:pt x="9906" y="2719"/>
                  <a:pt x="9875" y="2781"/>
                </a:cubicBezTo>
                <a:close/>
                <a:moveTo>
                  <a:pt x="9968" y="3687"/>
                </a:moveTo>
                <a:cubicBezTo>
                  <a:pt x="9968" y="3687"/>
                  <a:pt x="9968" y="3687"/>
                  <a:pt x="10000" y="3687"/>
                </a:cubicBezTo>
                <a:cubicBezTo>
                  <a:pt x="9968" y="3687"/>
                  <a:pt x="9968" y="3687"/>
                  <a:pt x="9968" y="3687"/>
                </a:cubicBezTo>
                <a:close/>
                <a:moveTo>
                  <a:pt x="10000" y="3687"/>
                </a:moveTo>
                <a:cubicBezTo>
                  <a:pt x="10031" y="3687"/>
                  <a:pt x="10062" y="3656"/>
                  <a:pt x="10062" y="3594"/>
                </a:cubicBezTo>
                <a:cubicBezTo>
                  <a:pt x="10093" y="3531"/>
                  <a:pt x="10125" y="3469"/>
                  <a:pt x="10218" y="3469"/>
                </a:cubicBezTo>
                <a:lnTo>
                  <a:pt x="10218" y="3469"/>
                </a:lnTo>
                <a:cubicBezTo>
                  <a:pt x="10125" y="3500"/>
                  <a:pt x="10125" y="3594"/>
                  <a:pt x="10062" y="3594"/>
                </a:cubicBezTo>
                <a:cubicBezTo>
                  <a:pt x="10031" y="3625"/>
                  <a:pt x="9968" y="3625"/>
                  <a:pt x="10000" y="3687"/>
                </a:cubicBezTo>
                <a:close/>
                <a:moveTo>
                  <a:pt x="11593" y="5312"/>
                </a:moveTo>
                <a:cubicBezTo>
                  <a:pt x="11593" y="5312"/>
                  <a:pt x="11562" y="5312"/>
                  <a:pt x="11562" y="5312"/>
                </a:cubicBezTo>
                <a:cubicBezTo>
                  <a:pt x="11531" y="5312"/>
                  <a:pt x="11500" y="5312"/>
                  <a:pt x="11500" y="5312"/>
                </a:cubicBezTo>
                <a:cubicBezTo>
                  <a:pt x="11500" y="5375"/>
                  <a:pt x="11531" y="5344"/>
                  <a:pt x="11562" y="5375"/>
                </a:cubicBezTo>
                <a:cubicBezTo>
                  <a:pt x="11562" y="5375"/>
                  <a:pt x="11562" y="5375"/>
                  <a:pt x="11562" y="5406"/>
                </a:cubicBezTo>
                <a:cubicBezTo>
                  <a:pt x="11500" y="5406"/>
                  <a:pt x="11468" y="5437"/>
                  <a:pt x="11500" y="5469"/>
                </a:cubicBezTo>
                <a:cubicBezTo>
                  <a:pt x="11562" y="5531"/>
                  <a:pt x="11531" y="5531"/>
                  <a:pt x="11500" y="5562"/>
                </a:cubicBezTo>
                <a:lnTo>
                  <a:pt x="11500" y="5562"/>
                </a:lnTo>
                <a:cubicBezTo>
                  <a:pt x="11468" y="5562"/>
                  <a:pt x="11437" y="5562"/>
                  <a:pt x="11437" y="5594"/>
                </a:cubicBezTo>
                <a:cubicBezTo>
                  <a:pt x="11406" y="5594"/>
                  <a:pt x="11406" y="5625"/>
                  <a:pt x="11343" y="5625"/>
                </a:cubicBezTo>
                <a:cubicBezTo>
                  <a:pt x="11343" y="5625"/>
                  <a:pt x="11343" y="5656"/>
                  <a:pt x="11343" y="5656"/>
                </a:cubicBezTo>
                <a:cubicBezTo>
                  <a:pt x="11437" y="5719"/>
                  <a:pt x="11343" y="5750"/>
                  <a:pt x="11312" y="5750"/>
                </a:cubicBezTo>
                <a:cubicBezTo>
                  <a:pt x="11250" y="5781"/>
                  <a:pt x="11218" y="5844"/>
                  <a:pt x="11187" y="5906"/>
                </a:cubicBezTo>
                <a:cubicBezTo>
                  <a:pt x="11187" y="5906"/>
                  <a:pt x="11187" y="5906"/>
                  <a:pt x="11187" y="5906"/>
                </a:cubicBezTo>
                <a:cubicBezTo>
                  <a:pt x="11156" y="5906"/>
                  <a:pt x="11125" y="5906"/>
                  <a:pt x="11125" y="5906"/>
                </a:cubicBezTo>
                <a:cubicBezTo>
                  <a:pt x="11125" y="5937"/>
                  <a:pt x="11156" y="5937"/>
                  <a:pt x="11156" y="5937"/>
                </a:cubicBezTo>
                <a:cubicBezTo>
                  <a:pt x="11156" y="5937"/>
                  <a:pt x="11187" y="5906"/>
                  <a:pt x="11187" y="5906"/>
                </a:cubicBezTo>
                <a:cubicBezTo>
                  <a:pt x="11218" y="5875"/>
                  <a:pt x="11250" y="5844"/>
                  <a:pt x="11281" y="5812"/>
                </a:cubicBezTo>
                <a:cubicBezTo>
                  <a:pt x="11312" y="5812"/>
                  <a:pt x="11312" y="5781"/>
                  <a:pt x="11343" y="5812"/>
                </a:cubicBezTo>
                <a:cubicBezTo>
                  <a:pt x="11375" y="5812"/>
                  <a:pt x="11343" y="5844"/>
                  <a:pt x="11312" y="5844"/>
                </a:cubicBezTo>
                <a:cubicBezTo>
                  <a:pt x="11281" y="5875"/>
                  <a:pt x="11312" y="5906"/>
                  <a:pt x="11343" y="5906"/>
                </a:cubicBezTo>
                <a:cubicBezTo>
                  <a:pt x="11343" y="5969"/>
                  <a:pt x="11437" y="5937"/>
                  <a:pt x="11437" y="5969"/>
                </a:cubicBezTo>
                <a:cubicBezTo>
                  <a:pt x="11468" y="5937"/>
                  <a:pt x="11406" y="5875"/>
                  <a:pt x="11500" y="5875"/>
                </a:cubicBezTo>
                <a:cubicBezTo>
                  <a:pt x="11500" y="5875"/>
                  <a:pt x="11562" y="5906"/>
                  <a:pt x="11562" y="5937"/>
                </a:cubicBezTo>
                <a:cubicBezTo>
                  <a:pt x="11562" y="5969"/>
                  <a:pt x="11531" y="5937"/>
                  <a:pt x="11500" y="5937"/>
                </a:cubicBezTo>
                <a:cubicBezTo>
                  <a:pt x="11500" y="6031"/>
                  <a:pt x="11562" y="5969"/>
                  <a:pt x="11593" y="6000"/>
                </a:cubicBezTo>
                <a:cubicBezTo>
                  <a:pt x="11562" y="6031"/>
                  <a:pt x="11500" y="6094"/>
                  <a:pt x="11468" y="6094"/>
                </a:cubicBezTo>
                <a:cubicBezTo>
                  <a:pt x="11406" y="6125"/>
                  <a:pt x="11406" y="6156"/>
                  <a:pt x="11406" y="6187"/>
                </a:cubicBezTo>
                <a:cubicBezTo>
                  <a:pt x="11406" y="6250"/>
                  <a:pt x="11437" y="6344"/>
                  <a:pt x="11343" y="6375"/>
                </a:cubicBezTo>
                <a:cubicBezTo>
                  <a:pt x="11281" y="6406"/>
                  <a:pt x="11343" y="6437"/>
                  <a:pt x="11375" y="6469"/>
                </a:cubicBezTo>
                <a:cubicBezTo>
                  <a:pt x="11312" y="6500"/>
                  <a:pt x="11281" y="6562"/>
                  <a:pt x="11187" y="6500"/>
                </a:cubicBezTo>
                <a:cubicBezTo>
                  <a:pt x="11187" y="6500"/>
                  <a:pt x="11187" y="6500"/>
                  <a:pt x="11156" y="6531"/>
                </a:cubicBezTo>
                <a:cubicBezTo>
                  <a:pt x="11156" y="6531"/>
                  <a:pt x="11093" y="6531"/>
                  <a:pt x="11093" y="6531"/>
                </a:cubicBezTo>
                <a:cubicBezTo>
                  <a:pt x="11062" y="6437"/>
                  <a:pt x="11000" y="6500"/>
                  <a:pt x="11000" y="6531"/>
                </a:cubicBezTo>
                <a:cubicBezTo>
                  <a:pt x="10968" y="6594"/>
                  <a:pt x="10937" y="6562"/>
                  <a:pt x="10875" y="6562"/>
                </a:cubicBezTo>
                <a:cubicBezTo>
                  <a:pt x="10906" y="6531"/>
                  <a:pt x="10968" y="6500"/>
                  <a:pt x="10968" y="6437"/>
                </a:cubicBezTo>
                <a:cubicBezTo>
                  <a:pt x="10906" y="6469"/>
                  <a:pt x="10843" y="6531"/>
                  <a:pt x="10781" y="6594"/>
                </a:cubicBezTo>
                <a:cubicBezTo>
                  <a:pt x="10843" y="6625"/>
                  <a:pt x="10937" y="6594"/>
                  <a:pt x="10937" y="6719"/>
                </a:cubicBezTo>
                <a:cubicBezTo>
                  <a:pt x="10937" y="6719"/>
                  <a:pt x="10937" y="6719"/>
                  <a:pt x="10937" y="6719"/>
                </a:cubicBezTo>
                <a:cubicBezTo>
                  <a:pt x="11000" y="6719"/>
                  <a:pt x="11031" y="6781"/>
                  <a:pt x="11093" y="6750"/>
                </a:cubicBezTo>
                <a:cubicBezTo>
                  <a:pt x="11093" y="6781"/>
                  <a:pt x="11062" y="6781"/>
                  <a:pt x="11062" y="6812"/>
                </a:cubicBezTo>
                <a:cubicBezTo>
                  <a:pt x="11156" y="6812"/>
                  <a:pt x="11187" y="6719"/>
                  <a:pt x="11281" y="6750"/>
                </a:cubicBezTo>
                <a:cubicBezTo>
                  <a:pt x="11281" y="6750"/>
                  <a:pt x="11281" y="6719"/>
                  <a:pt x="11281" y="6719"/>
                </a:cubicBezTo>
                <a:cubicBezTo>
                  <a:pt x="11312" y="6687"/>
                  <a:pt x="11375" y="6625"/>
                  <a:pt x="11375" y="6562"/>
                </a:cubicBezTo>
                <a:cubicBezTo>
                  <a:pt x="11375" y="6562"/>
                  <a:pt x="11406" y="6562"/>
                  <a:pt x="11406" y="6562"/>
                </a:cubicBezTo>
                <a:cubicBezTo>
                  <a:pt x="11406" y="6562"/>
                  <a:pt x="11406" y="6594"/>
                  <a:pt x="11406" y="6594"/>
                </a:cubicBezTo>
                <a:cubicBezTo>
                  <a:pt x="11406" y="6625"/>
                  <a:pt x="11437" y="6594"/>
                  <a:pt x="11437" y="6594"/>
                </a:cubicBezTo>
                <a:cubicBezTo>
                  <a:pt x="11437" y="6562"/>
                  <a:pt x="11437" y="6562"/>
                  <a:pt x="11437" y="6531"/>
                </a:cubicBezTo>
                <a:cubicBezTo>
                  <a:pt x="11406" y="6531"/>
                  <a:pt x="11406" y="6531"/>
                  <a:pt x="11406" y="6531"/>
                </a:cubicBezTo>
                <a:cubicBezTo>
                  <a:pt x="11468" y="6531"/>
                  <a:pt x="11500" y="6500"/>
                  <a:pt x="11531" y="6469"/>
                </a:cubicBezTo>
                <a:cubicBezTo>
                  <a:pt x="11562" y="6500"/>
                  <a:pt x="11625" y="6500"/>
                  <a:pt x="11656" y="6469"/>
                </a:cubicBezTo>
                <a:cubicBezTo>
                  <a:pt x="11687" y="6469"/>
                  <a:pt x="11687" y="6469"/>
                  <a:pt x="11687" y="6500"/>
                </a:cubicBezTo>
                <a:cubicBezTo>
                  <a:pt x="11718" y="6531"/>
                  <a:pt x="11718" y="6531"/>
                  <a:pt x="11718" y="6562"/>
                </a:cubicBezTo>
                <a:cubicBezTo>
                  <a:pt x="11687" y="6594"/>
                  <a:pt x="11625" y="6625"/>
                  <a:pt x="11593" y="6656"/>
                </a:cubicBezTo>
                <a:cubicBezTo>
                  <a:pt x="11562" y="6656"/>
                  <a:pt x="11562" y="6656"/>
                  <a:pt x="11562" y="6656"/>
                </a:cubicBezTo>
                <a:cubicBezTo>
                  <a:pt x="11531" y="6781"/>
                  <a:pt x="11625" y="6687"/>
                  <a:pt x="11656" y="6719"/>
                </a:cubicBezTo>
                <a:cubicBezTo>
                  <a:pt x="11718" y="6719"/>
                  <a:pt x="11750" y="6625"/>
                  <a:pt x="11812" y="6719"/>
                </a:cubicBezTo>
                <a:cubicBezTo>
                  <a:pt x="11812" y="6719"/>
                  <a:pt x="11812" y="6719"/>
                  <a:pt x="11843" y="6719"/>
                </a:cubicBezTo>
                <a:cubicBezTo>
                  <a:pt x="11875" y="6656"/>
                  <a:pt x="11937" y="6656"/>
                  <a:pt x="11968" y="6594"/>
                </a:cubicBezTo>
                <a:cubicBezTo>
                  <a:pt x="12000" y="6562"/>
                  <a:pt x="12000" y="6562"/>
                  <a:pt x="12031" y="6594"/>
                </a:cubicBezTo>
                <a:cubicBezTo>
                  <a:pt x="12062" y="6656"/>
                  <a:pt x="12125" y="6719"/>
                  <a:pt x="12187" y="6781"/>
                </a:cubicBezTo>
                <a:cubicBezTo>
                  <a:pt x="12281" y="6812"/>
                  <a:pt x="12375" y="6812"/>
                  <a:pt x="12500" y="6812"/>
                </a:cubicBezTo>
                <a:cubicBezTo>
                  <a:pt x="12656" y="6781"/>
                  <a:pt x="12750" y="6656"/>
                  <a:pt x="12781" y="6469"/>
                </a:cubicBezTo>
                <a:cubicBezTo>
                  <a:pt x="12781" y="6406"/>
                  <a:pt x="12750" y="6375"/>
                  <a:pt x="12750" y="6312"/>
                </a:cubicBezTo>
                <a:cubicBezTo>
                  <a:pt x="12812" y="6344"/>
                  <a:pt x="12781" y="6406"/>
                  <a:pt x="12843" y="6375"/>
                </a:cubicBezTo>
                <a:cubicBezTo>
                  <a:pt x="12875" y="6375"/>
                  <a:pt x="12875" y="6406"/>
                  <a:pt x="12843" y="6437"/>
                </a:cubicBezTo>
                <a:cubicBezTo>
                  <a:pt x="12812" y="6469"/>
                  <a:pt x="12812" y="6531"/>
                  <a:pt x="12812" y="6594"/>
                </a:cubicBezTo>
                <a:cubicBezTo>
                  <a:pt x="12937" y="6594"/>
                  <a:pt x="12906" y="6531"/>
                  <a:pt x="12906" y="6437"/>
                </a:cubicBezTo>
                <a:cubicBezTo>
                  <a:pt x="12968" y="6562"/>
                  <a:pt x="12875" y="6625"/>
                  <a:pt x="12875" y="6719"/>
                </a:cubicBezTo>
                <a:cubicBezTo>
                  <a:pt x="12843" y="6812"/>
                  <a:pt x="12687" y="6781"/>
                  <a:pt x="12656" y="6875"/>
                </a:cubicBezTo>
                <a:cubicBezTo>
                  <a:pt x="12718" y="6875"/>
                  <a:pt x="12781" y="6875"/>
                  <a:pt x="12843" y="6844"/>
                </a:cubicBezTo>
                <a:cubicBezTo>
                  <a:pt x="12875" y="6844"/>
                  <a:pt x="12906" y="6812"/>
                  <a:pt x="12937" y="6750"/>
                </a:cubicBezTo>
                <a:cubicBezTo>
                  <a:pt x="13000" y="6656"/>
                  <a:pt x="13000" y="6594"/>
                  <a:pt x="13000" y="6500"/>
                </a:cubicBezTo>
                <a:cubicBezTo>
                  <a:pt x="13000" y="6469"/>
                  <a:pt x="13000" y="6437"/>
                  <a:pt x="13031" y="6437"/>
                </a:cubicBezTo>
                <a:cubicBezTo>
                  <a:pt x="13031" y="6437"/>
                  <a:pt x="13031" y="6437"/>
                  <a:pt x="13031" y="6437"/>
                </a:cubicBezTo>
                <a:cubicBezTo>
                  <a:pt x="13031" y="6437"/>
                  <a:pt x="13062" y="6437"/>
                  <a:pt x="13062" y="6437"/>
                </a:cubicBezTo>
                <a:cubicBezTo>
                  <a:pt x="13062" y="6437"/>
                  <a:pt x="13031" y="6437"/>
                  <a:pt x="13031" y="6437"/>
                </a:cubicBezTo>
                <a:cubicBezTo>
                  <a:pt x="13031" y="6437"/>
                  <a:pt x="13031" y="6469"/>
                  <a:pt x="13031" y="6469"/>
                </a:cubicBezTo>
                <a:cubicBezTo>
                  <a:pt x="13031" y="6531"/>
                  <a:pt x="13031" y="6594"/>
                  <a:pt x="13031" y="6656"/>
                </a:cubicBezTo>
                <a:cubicBezTo>
                  <a:pt x="13062" y="6625"/>
                  <a:pt x="13062" y="6594"/>
                  <a:pt x="13093" y="6531"/>
                </a:cubicBezTo>
                <a:cubicBezTo>
                  <a:pt x="13125" y="6594"/>
                  <a:pt x="13093" y="6656"/>
                  <a:pt x="13093" y="6719"/>
                </a:cubicBezTo>
                <a:cubicBezTo>
                  <a:pt x="13062" y="6719"/>
                  <a:pt x="13031" y="6750"/>
                  <a:pt x="13062" y="6781"/>
                </a:cubicBezTo>
                <a:cubicBezTo>
                  <a:pt x="13062" y="6812"/>
                  <a:pt x="13125" y="6781"/>
                  <a:pt x="13156" y="6781"/>
                </a:cubicBezTo>
                <a:cubicBezTo>
                  <a:pt x="13187" y="6781"/>
                  <a:pt x="13218" y="6781"/>
                  <a:pt x="13218" y="6781"/>
                </a:cubicBezTo>
                <a:cubicBezTo>
                  <a:pt x="13250" y="6875"/>
                  <a:pt x="13312" y="6844"/>
                  <a:pt x="13343" y="6844"/>
                </a:cubicBezTo>
                <a:cubicBezTo>
                  <a:pt x="13406" y="6844"/>
                  <a:pt x="13437" y="6875"/>
                  <a:pt x="13468" y="6906"/>
                </a:cubicBezTo>
                <a:cubicBezTo>
                  <a:pt x="13562" y="6906"/>
                  <a:pt x="13593" y="6875"/>
                  <a:pt x="13562" y="6812"/>
                </a:cubicBezTo>
                <a:cubicBezTo>
                  <a:pt x="13562" y="6781"/>
                  <a:pt x="13562" y="6750"/>
                  <a:pt x="13562" y="6719"/>
                </a:cubicBezTo>
                <a:cubicBezTo>
                  <a:pt x="13656" y="6625"/>
                  <a:pt x="13656" y="6469"/>
                  <a:pt x="13750" y="6375"/>
                </a:cubicBezTo>
                <a:cubicBezTo>
                  <a:pt x="13812" y="6344"/>
                  <a:pt x="13781" y="6281"/>
                  <a:pt x="13750" y="6250"/>
                </a:cubicBezTo>
                <a:cubicBezTo>
                  <a:pt x="13750" y="6219"/>
                  <a:pt x="13750" y="6187"/>
                  <a:pt x="13781" y="6156"/>
                </a:cubicBezTo>
                <a:cubicBezTo>
                  <a:pt x="13781" y="6156"/>
                  <a:pt x="13781" y="6156"/>
                  <a:pt x="13781" y="6156"/>
                </a:cubicBezTo>
                <a:cubicBezTo>
                  <a:pt x="13812" y="6062"/>
                  <a:pt x="13843" y="5969"/>
                  <a:pt x="13843" y="5906"/>
                </a:cubicBezTo>
                <a:cubicBezTo>
                  <a:pt x="13875" y="5750"/>
                  <a:pt x="13875" y="5750"/>
                  <a:pt x="13968" y="5750"/>
                </a:cubicBezTo>
                <a:cubicBezTo>
                  <a:pt x="13906" y="5719"/>
                  <a:pt x="13968" y="5656"/>
                  <a:pt x="13906" y="5625"/>
                </a:cubicBezTo>
                <a:cubicBezTo>
                  <a:pt x="13906" y="5625"/>
                  <a:pt x="13906" y="5625"/>
                  <a:pt x="13906" y="5625"/>
                </a:cubicBezTo>
                <a:cubicBezTo>
                  <a:pt x="13937" y="5594"/>
                  <a:pt x="13968" y="5500"/>
                  <a:pt x="14031" y="5531"/>
                </a:cubicBezTo>
                <a:cubicBezTo>
                  <a:pt x="14062" y="5531"/>
                  <a:pt x="14062" y="5531"/>
                  <a:pt x="14062" y="5500"/>
                </a:cubicBezTo>
                <a:cubicBezTo>
                  <a:pt x="14031" y="5469"/>
                  <a:pt x="14062" y="5437"/>
                  <a:pt x="14093" y="5437"/>
                </a:cubicBezTo>
                <a:cubicBezTo>
                  <a:pt x="14156" y="5437"/>
                  <a:pt x="14062" y="5375"/>
                  <a:pt x="14125" y="5375"/>
                </a:cubicBezTo>
                <a:cubicBezTo>
                  <a:pt x="14187" y="5375"/>
                  <a:pt x="14156" y="5344"/>
                  <a:pt x="14156" y="5312"/>
                </a:cubicBezTo>
                <a:cubicBezTo>
                  <a:pt x="14156" y="5312"/>
                  <a:pt x="14156" y="5312"/>
                  <a:pt x="14156" y="5312"/>
                </a:cubicBezTo>
                <a:cubicBezTo>
                  <a:pt x="14218" y="5312"/>
                  <a:pt x="14218" y="5281"/>
                  <a:pt x="14218" y="5219"/>
                </a:cubicBezTo>
                <a:cubicBezTo>
                  <a:pt x="14218" y="5219"/>
                  <a:pt x="14218" y="5219"/>
                  <a:pt x="14218" y="5219"/>
                </a:cubicBezTo>
                <a:cubicBezTo>
                  <a:pt x="14218" y="5219"/>
                  <a:pt x="14250" y="5219"/>
                  <a:pt x="14250" y="5219"/>
                </a:cubicBezTo>
                <a:cubicBezTo>
                  <a:pt x="14250" y="5219"/>
                  <a:pt x="14218" y="5219"/>
                  <a:pt x="14218" y="5219"/>
                </a:cubicBezTo>
                <a:cubicBezTo>
                  <a:pt x="14187" y="5219"/>
                  <a:pt x="14156" y="5219"/>
                  <a:pt x="14156" y="5187"/>
                </a:cubicBezTo>
                <a:cubicBezTo>
                  <a:pt x="14218" y="5125"/>
                  <a:pt x="14218" y="5094"/>
                  <a:pt x="14218" y="5031"/>
                </a:cubicBezTo>
                <a:cubicBezTo>
                  <a:pt x="14218" y="5000"/>
                  <a:pt x="14250" y="5000"/>
                  <a:pt x="14281" y="5000"/>
                </a:cubicBezTo>
                <a:cubicBezTo>
                  <a:pt x="14281" y="5000"/>
                  <a:pt x="14312" y="5000"/>
                  <a:pt x="14343" y="5000"/>
                </a:cubicBezTo>
                <a:cubicBezTo>
                  <a:pt x="14281" y="4937"/>
                  <a:pt x="14250" y="5000"/>
                  <a:pt x="14187" y="4969"/>
                </a:cubicBezTo>
                <a:cubicBezTo>
                  <a:pt x="14218" y="5000"/>
                  <a:pt x="14218" y="5031"/>
                  <a:pt x="14218" y="5031"/>
                </a:cubicBezTo>
                <a:cubicBezTo>
                  <a:pt x="14187" y="5094"/>
                  <a:pt x="14156" y="5156"/>
                  <a:pt x="14125" y="5219"/>
                </a:cubicBezTo>
                <a:cubicBezTo>
                  <a:pt x="14125" y="5219"/>
                  <a:pt x="14093" y="5219"/>
                  <a:pt x="14093" y="5219"/>
                </a:cubicBezTo>
                <a:cubicBezTo>
                  <a:pt x="14062" y="5219"/>
                  <a:pt x="14062" y="5187"/>
                  <a:pt x="14093" y="5187"/>
                </a:cubicBezTo>
                <a:cubicBezTo>
                  <a:pt x="14125" y="5156"/>
                  <a:pt x="14125" y="5094"/>
                  <a:pt x="14156" y="5062"/>
                </a:cubicBezTo>
                <a:cubicBezTo>
                  <a:pt x="14125" y="5062"/>
                  <a:pt x="14093" y="5062"/>
                  <a:pt x="14062" y="5062"/>
                </a:cubicBezTo>
                <a:cubicBezTo>
                  <a:pt x="14125" y="5156"/>
                  <a:pt x="14000" y="5125"/>
                  <a:pt x="14000" y="5156"/>
                </a:cubicBezTo>
                <a:cubicBezTo>
                  <a:pt x="14000" y="5156"/>
                  <a:pt x="14031" y="5156"/>
                  <a:pt x="14031" y="5187"/>
                </a:cubicBezTo>
                <a:cubicBezTo>
                  <a:pt x="14031" y="5219"/>
                  <a:pt x="14000" y="5219"/>
                  <a:pt x="14000" y="5219"/>
                </a:cubicBezTo>
                <a:cubicBezTo>
                  <a:pt x="13968" y="5219"/>
                  <a:pt x="13968" y="5219"/>
                  <a:pt x="13968" y="5219"/>
                </a:cubicBezTo>
                <a:cubicBezTo>
                  <a:pt x="13937" y="5156"/>
                  <a:pt x="13906" y="5219"/>
                  <a:pt x="13875" y="5219"/>
                </a:cubicBezTo>
                <a:cubicBezTo>
                  <a:pt x="13875" y="5219"/>
                  <a:pt x="13875" y="5219"/>
                  <a:pt x="13875" y="5219"/>
                </a:cubicBezTo>
                <a:cubicBezTo>
                  <a:pt x="13875" y="5219"/>
                  <a:pt x="13875" y="5219"/>
                  <a:pt x="13843" y="5219"/>
                </a:cubicBezTo>
                <a:cubicBezTo>
                  <a:pt x="13843" y="5187"/>
                  <a:pt x="13843" y="5187"/>
                  <a:pt x="13843" y="5156"/>
                </a:cubicBezTo>
                <a:cubicBezTo>
                  <a:pt x="13812" y="5187"/>
                  <a:pt x="13781" y="5187"/>
                  <a:pt x="13750" y="5187"/>
                </a:cubicBezTo>
                <a:cubicBezTo>
                  <a:pt x="13750" y="5187"/>
                  <a:pt x="13750" y="5219"/>
                  <a:pt x="13750" y="5219"/>
                </a:cubicBezTo>
                <a:cubicBezTo>
                  <a:pt x="13750" y="5219"/>
                  <a:pt x="13750" y="5187"/>
                  <a:pt x="13750" y="5187"/>
                </a:cubicBezTo>
                <a:cubicBezTo>
                  <a:pt x="13750" y="5094"/>
                  <a:pt x="13687" y="5062"/>
                  <a:pt x="13593" y="5094"/>
                </a:cubicBezTo>
                <a:cubicBezTo>
                  <a:pt x="13562" y="5094"/>
                  <a:pt x="13531" y="5094"/>
                  <a:pt x="13531" y="5094"/>
                </a:cubicBezTo>
                <a:cubicBezTo>
                  <a:pt x="13531" y="5094"/>
                  <a:pt x="13531" y="5062"/>
                  <a:pt x="13531" y="5062"/>
                </a:cubicBezTo>
                <a:cubicBezTo>
                  <a:pt x="13593" y="5031"/>
                  <a:pt x="13656" y="5000"/>
                  <a:pt x="13750" y="4969"/>
                </a:cubicBezTo>
                <a:cubicBezTo>
                  <a:pt x="13718" y="4969"/>
                  <a:pt x="13687" y="4969"/>
                  <a:pt x="13687" y="4969"/>
                </a:cubicBezTo>
                <a:cubicBezTo>
                  <a:pt x="13593" y="5031"/>
                  <a:pt x="13500" y="5000"/>
                  <a:pt x="13437" y="4969"/>
                </a:cubicBezTo>
                <a:cubicBezTo>
                  <a:pt x="13406" y="4969"/>
                  <a:pt x="13343" y="5031"/>
                  <a:pt x="13375" y="4937"/>
                </a:cubicBezTo>
                <a:cubicBezTo>
                  <a:pt x="13312" y="4937"/>
                  <a:pt x="13343" y="4906"/>
                  <a:pt x="13343" y="4875"/>
                </a:cubicBezTo>
                <a:cubicBezTo>
                  <a:pt x="13343" y="4844"/>
                  <a:pt x="13312" y="4812"/>
                  <a:pt x="13281" y="4844"/>
                </a:cubicBezTo>
                <a:cubicBezTo>
                  <a:pt x="13281" y="4875"/>
                  <a:pt x="13312" y="4875"/>
                  <a:pt x="13312" y="4906"/>
                </a:cubicBezTo>
                <a:cubicBezTo>
                  <a:pt x="13312" y="4906"/>
                  <a:pt x="13281" y="4906"/>
                  <a:pt x="13281" y="4906"/>
                </a:cubicBezTo>
                <a:cubicBezTo>
                  <a:pt x="13250" y="4906"/>
                  <a:pt x="13250" y="4906"/>
                  <a:pt x="13250" y="4875"/>
                </a:cubicBezTo>
                <a:cubicBezTo>
                  <a:pt x="13218" y="4875"/>
                  <a:pt x="13218" y="4812"/>
                  <a:pt x="13187" y="4844"/>
                </a:cubicBezTo>
                <a:cubicBezTo>
                  <a:pt x="13187" y="4875"/>
                  <a:pt x="13218" y="4875"/>
                  <a:pt x="13218" y="4906"/>
                </a:cubicBezTo>
                <a:cubicBezTo>
                  <a:pt x="13218" y="4906"/>
                  <a:pt x="13250" y="4937"/>
                  <a:pt x="13250" y="4937"/>
                </a:cubicBezTo>
                <a:cubicBezTo>
                  <a:pt x="13250" y="4937"/>
                  <a:pt x="13218" y="4937"/>
                  <a:pt x="13218" y="4937"/>
                </a:cubicBezTo>
                <a:cubicBezTo>
                  <a:pt x="13218" y="4937"/>
                  <a:pt x="13218" y="4937"/>
                  <a:pt x="13218" y="4906"/>
                </a:cubicBezTo>
                <a:cubicBezTo>
                  <a:pt x="13125" y="4937"/>
                  <a:pt x="13093" y="4875"/>
                  <a:pt x="13000" y="4875"/>
                </a:cubicBezTo>
                <a:cubicBezTo>
                  <a:pt x="13000" y="4875"/>
                  <a:pt x="13000" y="4844"/>
                  <a:pt x="13000" y="4844"/>
                </a:cubicBezTo>
                <a:cubicBezTo>
                  <a:pt x="13031" y="4844"/>
                  <a:pt x="13031" y="4844"/>
                  <a:pt x="13031" y="4812"/>
                </a:cubicBezTo>
                <a:cubicBezTo>
                  <a:pt x="13000" y="4812"/>
                  <a:pt x="13000" y="4812"/>
                  <a:pt x="13000" y="4844"/>
                </a:cubicBezTo>
                <a:cubicBezTo>
                  <a:pt x="12968" y="4844"/>
                  <a:pt x="12937" y="4875"/>
                  <a:pt x="12906" y="4875"/>
                </a:cubicBezTo>
                <a:cubicBezTo>
                  <a:pt x="12812" y="4781"/>
                  <a:pt x="12718" y="4812"/>
                  <a:pt x="12625" y="4781"/>
                </a:cubicBezTo>
                <a:cubicBezTo>
                  <a:pt x="12625" y="4812"/>
                  <a:pt x="12593" y="4812"/>
                  <a:pt x="12593" y="4812"/>
                </a:cubicBezTo>
                <a:cubicBezTo>
                  <a:pt x="12593" y="4812"/>
                  <a:pt x="12562" y="4812"/>
                  <a:pt x="12562" y="4812"/>
                </a:cubicBezTo>
                <a:cubicBezTo>
                  <a:pt x="12593" y="4781"/>
                  <a:pt x="12593" y="4781"/>
                  <a:pt x="12625" y="4781"/>
                </a:cubicBezTo>
                <a:cubicBezTo>
                  <a:pt x="12625" y="4781"/>
                  <a:pt x="12625" y="4750"/>
                  <a:pt x="12593" y="4781"/>
                </a:cubicBezTo>
                <a:cubicBezTo>
                  <a:pt x="12531" y="4781"/>
                  <a:pt x="12468" y="4781"/>
                  <a:pt x="12406" y="4844"/>
                </a:cubicBezTo>
                <a:cubicBezTo>
                  <a:pt x="12312" y="4844"/>
                  <a:pt x="12250" y="4875"/>
                  <a:pt x="12187" y="4937"/>
                </a:cubicBezTo>
                <a:cubicBezTo>
                  <a:pt x="12156" y="4937"/>
                  <a:pt x="12156" y="4937"/>
                  <a:pt x="12125" y="4937"/>
                </a:cubicBezTo>
                <a:cubicBezTo>
                  <a:pt x="12093" y="4937"/>
                  <a:pt x="12062" y="4969"/>
                  <a:pt x="12062" y="4906"/>
                </a:cubicBezTo>
                <a:cubicBezTo>
                  <a:pt x="12062" y="4906"/>
                  <a:pt x="12062" y="4906"/>
                  <a:pt x="12062" y="4906"/>
                </a:cubicBezTo>
                <a:cubicBezTo>
                  <a:pt x="12031" y="4875"/>
                  <a:pt x="12000" y="4875"/>
                  <a:pt x="11968" y="4875"/>
                </a:cubicBezTo>
                <a:cubicBezTo>
                  <a:pt x="11968" y="4875"/>
                  <a:pt x="11937" y="4875"/>
                  <a:pt x="11937" y="4906"/>
                </a:cubicBezTo>
                <a:cubicBezTo>
                  <a:pt x="11937" y="4906"/>
                  <a:pt x="11937" y="4937"/>
                  <a:pt x="11968" y="4937"/>
                </a:cubicBezTo>
                <a:cubicBezTo>
                  <a:pt x="11968" y="4937"/>
                  <a:pt x="11968" y="4937"/>
                  <a:pt x="11968" y="4969"/>
                </a:cubicBezTo>
                <a:cubicBezTo>
                  <a:pt x="11937" y="4969"/>
                  <a:pt x="11937" y="4969"/>
                  <a:pt x="11937" y="4969"/>
                </a:cubicBezTo>
                <a:cubicBezTo>
                  <a:pt x="11875" y="4937"/>
                  <a:pt x="11875" y="4937"/>
                  <a:pt x="11812" y="5000"/>
                </a:cubicBezTo>
                <a:cubicBezTo>
                  <a:pt x="11781" y="5031"/>
                  <a:pt x="11781" y="5094"/>
                  <a:pt x="11750" y="5125"/>
                </a:cubicBezTo>
                <a:cubicBezTo>
                  <a:pt x="11750" y="5125"/>
                  <a:pt x="11750" y="5125"/>
                  <a:pt x="11750" y="5125"/>
                </a:cubicBezTo>
                <a:cubicBezTo>
                  <a:pt x="11718" y="5125"/>
                  <a:pt x="11687" y="5125"/>
                  <a:pt x="11687" y="5156"/>
                </a:cubicBezTo>
                <a:cubicBezTo>
                  <a:pt x="11656" y="5156"/>
                  <a:pt x="11656" y="5156"/>
                  <a:pt x="11656" y="5219"/>
                </a:cubicBezTo>
                <a:cubicBezTo>
                  <a:pt x="11687" y="5219"/>
                  <a:pt x="11656" y="5219"/>
                  <a:pt x="11656" y="5250"/>
                </a:cubicBezTo>
                <a:cubicBezTo>
                  <a:pt x="11625" y="5250"/>
                  <a:pt x="11625" y="5281"/>
                  <a:pt x="11593" y="5281"/>
                </a:cubicBezTo>
                <a:cubicBezTo>
                  <a:pt x="11625" y="5312"/>
                  <a:pt x="11656" y="5281"/>
                  <a:pt x="11656" y="5312"/>
                </a:cubicBezTo>
                <a:cubicBezTo>
                  <a:pt x="11656" y="5344"/>
                  <a:pt x="11625" y="5344"/>
                  <a:pt x="11593" y="5344"/>
                </a:cubicBezTo>
                <a:cubicBezTo>
                  <a:pt x="11593" y="5344"/>
                  <a:pt x="11562" y="5344"/>
                  <a:pt x="11562" y="5344"/>
                </a:cubicBezTo>
                <a:cubicBezTo>
                  <a:pt x="11562" y="5344"/>
                  <a:pt x="11562" y="5344"/>
                  <a:pt x="11562" y="5312"/>
                </a:cubicBezTo>
                <a:cubicBezTo>
                  <a:pt x="11562" y="5312"/>
                  <a:pt x="11562" y="5312"/>
                  <a:pt x="11593" y="5312"/>
                </a:cubicBezTo>
                <a:close/>
                <a:moveTo>
                  <a:pt x="10093" y="4812"/>
                </a:moveTo>
                <a:cubicBezTo>
                  <a:pt x="10125" y="4781"/>
                  <a:pt x="10125" y="4781"/>
                  <a:pt x="10125" y="4750"/>
                </a:cubicBezTo>
                <a:cubicBezTo>
                  <a:pt x="10125" y="4750"/>
                  <a:pt x="10125" y="4750"/>
                  <a:pt x="10125" y="4750"/>
                </a:cubicBezTo>
                <a:cubicBezTo>
                  <a:pt x="10093" y="4750"/>
                  <a:pt x="10093" y="4750"/>
                  <a:pt x="10093" y="4781"/>
                </a:cubicBezTo>
                <a:cubicBezTo>
                  <a:pt x="10093" y="4781"/>
                  <a:pt x="10093" y="4781"/>
                  <a:pt x="10093" y="4781"/>
                </a:cubicBezTo>
                <a:cubicBezTo>
                  <a:pt x="10062" y="4781"/>
                  <a:pt x="10062" y="4812"/>
                  <a:pt x="10062" y="4812"/>
                </a:cubicBezTo>
                <a:cubicBezTo>
                  <a:pt x="10062" y="4844"/>
                  <a:pt x="10062" y="4844"/>
                  <a:pt x="10062" y="4844"/>
                </a:cubicBezTo>
                <a:cubicBezTo>
                  <a:pt x="10062" y="4844"/>
                  <a:pt x="10062" y="4844"/>
                  <a:pt x="10062" y="4844"/>
                </a:cubicBezTo>
                <a:cubicBezTo>
                  <a:pt x="10031" y="4875"/>
                  <a:pt x="10000" y="4875"/>
                  <a:pt x="9968" y="4906"/>
                </a:cubicBezTo>
                <a:lnTo>
                  <a:pt x="9968" y="4906"/>
                </a:lnTo>
                <a:cubicBezTo>
                  <a:pt x="10000" y="4875"/>
                  <a:pt x="10000" y="4844"/>
                  <a:pt x="10031" y="4844"/>
                </a:cubicBezTo>
                <a:cubicBezTo>
                  <a:pt x="10031" y="4812"/>
                  <a:pt x="10062" y="4812"/>
                  <a:pt x="10062" y="4812"/>
                </a:cubicBezTo>
                <a:cubicBezTo>
                  <a:pt x="10093" y="4812"/>
                  <a:pt x="10093" y="4812"/>
                  <a:pt x="10093" y="4812"/>
                </a:cubicBezTo>
                <a:close/>
                <a:moveTo>
                  <a:pt x="9718" y="2969"/>
                </a:moveTo>
                <a:cubicBezTo>
                  <a:pt x="9718" y="2969"/>
                  <a:pt x="9718" y="2969"/>
                  <a:pt x="9718" y="2969"/>
                </a:cubicBezTo>
                <a:cubicBezTo>
                  <a:pt x="9687" y="2969"/>
                  <a:pt x="9687" y="2969"/>
                  <a:pt x="9687" y="2969"/>
                </a:cubicBezTo>
                <a:cubicBezTo>
                  <a:pt x="9687" y="2969"/>
                  <a:pt x="9687" y="2969"/>
                  <a:pt x="9687" y="3000"/>
                </a:cubicBezTo>
                <a:cubicBezTo>
                  <a:pt x="9718" y="2969"/>
                  <a:pt x="9718" y="2969"/>
                  <a:pt x="9718" y="2969"/>
                </a:cubicBezTo>
                <a:cubicBezTo>
                  <a:pt x="9750" y="2937"/>
                  <a:pt x="9812" y="2906"/>
                  <a:pt x="9812" y="2844"/>
                </a:cubicBezTo>
                <a:cubicBezTo>
                  <a:pt x="9750" y="2875"/>
                  <a:pt x="9750" y="2906"/>
                  <a:pt x="9718" y="2969"/>
                </a:cubicBezTo>
                <a:close/>
                <a:moveTo>
                  <a:pt x="10093" y="6062"/>
                </a:move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ubicBezTo>
                  <a:pt x="10093" y="6062"/>
                  <a:pt x="10093" y="6062"/>
                  <a:pt x="10093" y="6062"/>
                </a:cubicBezTo>
                <a:close/>
                <a:moveTo>
                  <a:pt x="15187" y="3437"/>
                </a:moveTo>
                <a:cubicBezTo>
                  <a:pt x="15187" y="3437"/>
                  <a:pt x="15187" y="3437"/>
                  <a:pt x="15187" y="3437"/>
                </a:cubicBezTo>
                <a:cubicBezTo>
                  <a:pt x="15218" y="3469"/>
                  <a:pt x="15218" y="3437"/>
                  <a:pt x="15218" y="3437"/>
                </a:cubicBezTo>
                <a:cubicBezTo>
                  <a:pt x="15218" y="3406"/>
                  <a:pt x="15218" y="3406"/>
                  <a:pt x="15218" y="3375"/>
                </a:cubicBezTo>
                <a:cubicBezTo>
                  <a:pt x="15250" y="3375"/>
                  <a:pt x="15250" y="3375"/>
                  <a:pt x="15281" y="3375"/>
                </a:cubicBezTo>
                <a:cubicBezTo>
                  <a:pt x="15281" y="3375"/>
                  <a:pt x="15281" y="3406"/>
                  <a:pt x="15281" y="3406"/>
                </a:cubicBezTo>
                <a:lnTo>
                  <a:pt x="15281" y="3406"/>
                </a:lnTo>
                <a:cubicBezTo>
                  <a:pt x="15281" y="3437"/>
                  <a:pt x="15250" y="3437"/>
                  <a:pt x="15250" y="3437"/>
                </a:cubicBezTo>
                <a:cubicBezTo>
                  <a:pt x="15218" y="3437"/>
                  <a:pt x="15218" y="3437"/>
                  <a:pt x="15218" y="3437"/>
                </a:cubicBezTo>
                <a:cubicBezTo>
                  <a:pt x="15187" y="3437"/>
                  <a:pt x="15187" y="3437"/>
                  <a:pt x="15187" y="3437"/>
                </a:cubicBezTo>
                <a:close/>
                <a:moveTo>
                  <a:pt x="14906" y="11406"/>
                </a:moveTo>
                <a:cubicBezTo>
                  <a:pt x="14906" y="11406"/>
                  <a:pt x="14875" y="11406"/>
                  <a:pt x="14906" y="11406"/>
                </a:cubicBezTo>
                <a:cubicBezTo>
                  <a:pt x="14906" y="11406"/>
                  <a:pt x="14906" y="11437"/>
                  <a:pt x="14906" y="11437"/>
                </a:cubicBezTo>
                <a:cubicBezTo>
                  <a:pt x="14937" y="11406"/>
                  <a:pt x="14937" y="11406"/>
                  <a:pt x="14937" y="11406"/>
                </a:cubicBezTo>
                <a:cubicBezTo>
                  <a:pt x="14937" y="11406"/>
                  <a:pt x="14906" y="11406"/>
                  <a:pt x="14906" y="11406"/>
                </a:cubicBezTo>
                <a:close/>
                <a:moveTo>
                  <a:pt x="13625" y="906"/>
                </a:moveTo>
                <a:cubicBezTo>
                  <a:pt x="13625" y="906"/>
                  <a:pt x="13625" y="906"/>
                  <a:pt x="13625" y="906"/>
                </a:cubicBezTo>
                <a:cubicBezTo>
                  <a:pt x="13625" y="906"/>
                  <a:pt x="13625" y="906"/>
                  <a:pt x="13593" y="906"/>
                </a:cubicBezTo>
                <a:cubicBezTo>
                  <a:pt x="13625" y="906"/>
                  <a:pt x="13625" y="937"/>
                  <a:pt x="13625" y="937"/>
                </a:cubicBezTo>
                <a:cubicBezTo>
                  <a:pt x="13625" y="906"/>
                  <a:pt x="13625" y="906"/>
                  <a:pt x="13625" y="906"/>
                </a:cubicBezTo>
                <a:close/>
                <a:moveTo>
                  <a:pt x="10875" y="11594"/>
                </a:moveTo>
                <a:cubicBezTo>
                  <a:pt x="10906" y="11594"/>
                  <a:pt x="10906" y="11625"/>
                  <a:pt x="10937" y="11625"/>
                </a:cubicBezTo>
                <a:cubicBezTo>
                  <a:pt x="10968" y="11625"/>
                  <a:pt x="10968" y="11594"/>
                  <a:pt x="10968" y="11594"/>
                </a:cubicBezTo>
                <a:cubicBezTo>
                  <a:pt x="11000" y="11562"/>
                  <a:pt x="11031" y="11531"/>
                  <a:pt x="11031" y="11594"/>
                </a:cubicBezTo>
                <a:cubicBezTo>
                  <a:pt x="11031" y="11625"/>
                  <a:pt x="11031" y="11625"/>
                  <a:pt x="11062" y="11625"/>
                </a:cubicBezTo>
                <a:cubicBezTo>
                  <a:pt x="11093" y="11625"/>
                  <a:pt x="11125" y="11625"/>
                  <a:pt x="11125" y="11656"/>
                </a:cubicBezTo>
                <a:lnTo>
                  <a:pt x="11125" y="11656"/>
                </a:lnTo>
                <a:cubicBezTo>
                  <a:pt x="11125" y="11687"/>
                  <a:pt x="11125" y="11719"/>
                  <a:pt x="11062" y="11719"/>
                </a:cubicBezTo>
                <a:cubicBezTo>
                  <a:pt x="11093" y="11656"/>
                  <a:pt x="11062" y="11625"/>
                  <a:pt x="11000" y="11625"/>
                </a:cubicBezTo>
                <a:cubicBezTo>
                  <a:pt x="10968" y="11625"/>
                  <a:pt x="10968" y="11625"/>
                  <a:pt x="10937" y="11625"/>
                </a:cubicBezTo>
                <a:cubicBezTo>
                  <a:pt x="10937" y="11594"/>
                  <a:pt x="10906" y="11594"/>
                  <a:pt x="10875" y="11594"/>
                </a:cubicBezTo>
                <a:cubicBezTo>
                  <a:pt x="10875" y="11469"/>
                  <a:pt x="10812" y="11594"/>
                  <a:pt x="10781" y="11562"/>
                </a:cubicBezTo>
                <a:lnTo>
                  <a:pt x="10781" y="11562"/>
                </a:lnTo>
                <a:cubicBezTo>
                  <a:pt x="10812" y="11625"/>
                  <a:pt x="10843" y="11594"/>
                  <a:pt x="10875" y="11594"/>
                </a:cubicBezTo>
                <a:close/>
                <a:moveTo>
                  <a:pt x="12375" y="10781"/>
                </a:moveTo>
                <a:cubicBezTo>
                  <a:pt x="12375" y="10781"/>
                  <a:pt x="12375" y="10812"/>
                  <a:pt x="12375" y="10812"/>
                </a:cubicBezTo>
                <a:cubicBezTo>
                  <a:pt x="12375" y="10812"/>
                  <a:pt x="12406" y="10781"/>
                  <a:pt x="12406" y="10781"/>
                </a:cubicBezTo>
                <a:cubicBezTo>
                  <a:pt x="12406" y="10781"/>
                  <a:pt x="12406" y="10781"/>
                  <a:pt x="12375" y="10781"/>
                </a:cubicBezTo>
                <a:cubicBezTo>
                  <a:pt x="12375" y="10781"/>
                  <a:pt x="12375" y="10781"/>
                  <a:pt x="12375" y="10781"/>
                </a:cubicBezTo>
                <a:close/>
                <a:moveTo>
                  <a:pt x="10031" y="4281"/>
                </a:move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312"/>
                </a:cubicBezTo>
                <a:cubicBezTo>
                  <a:pt x="10031" y="4312"/>
                  <a:pt x="10031" y="4312"/>
                  <a:pt x="10031" y="4281"/>
                </a:cubicBezTo>
                <a:close/>
                <a:moveTo>
                  <a:pt x="10625" y="12094"/>
                </a:moveTo>
                <a:cubicBezTo>
                  <a:pt x="10656" y="12125"/>
                  <a:pt x="10687" y="12125"/>
                  <a:pt x="10687" y="12125"/>
                </a:cubicBezTo>
                <a:cubicBezTo>
                  <a:pt x="10687" y="12094"/>
                  <a:pt x="10656" y="12094"/>
                  <a:pt x="10625" y="12094"/>
                </a:cubicBezTo>
                <a:close/>
                <a:moveTo>
                  <a:pt x="16093" y="4781"/>
                </a:moveTo>
                <a:cubicBezTo>
                  <a:pt x="16093" y="4781"/>
                  <a:pt x="16062" y="4781"/>
                  <a:pt x="16062" y="4781"/>
                </a:cubicBezTo>
                <a:cubicBezTo>
                  <a:pt x="16062" y="4781"/>
                  <a:pt x="16062" y="4812"/>
                  <a:pt x="16062" y="4812"/>
                </a:cubicBezTo>
                <a:cubicBezTo>
                  <a:pt x="16062" y="4812"/>
                  <a:pt x="16062" y="4812"/>
                  <a:pt x="16062" y="4812"/>
                </a:cubicBezTo>
                <a:cubicBezTo>
                  <a:pt x="16062" y="4812"/>
                  <a:pt x="16062" y="4812"/>
                  <a:pt x="16093" y="4781"/>
                </a:cubicBezTo>
                <a:close/>
                <a:moveTo>
                  <a:pt x="14593" y="10531"/>
                </a:moveTo>
                <a:cubicBezTo>
                  <a:pt x="14593" y="10500"/>
                  <a:pt x="14562" y="10500"/>
                  <a:pt x="14562" y="10531"/>
                </a:cubicBezTo>
                <a:cubicBezTo>
                  <a:pt x="14562" y="10562"/>
                  <a:pt x="14500" y="10562"/>
                  <a:pt x="14531" y="10594"/>
                </a:cubicBezTo>
                <a:cubicBezTo>
                  <a:pt x="14531" y="10594"/>
                  <a:pt x="14531" y="10594"/>
                  <a:pt x="14531" y="10594"/>
                </a:cubicBezTo>
                <a:cubicBezTo>
                  <a:pt x="14562" y="10562"/>
                  <a:pt x="14593" y="10562"/>
                  <a:pt x="14593" y="10531"/>
                </a:cubicBezTo>
                <a:close/>
                <a:moveTo>
                  <a:pt x="10406" y="5125"/>
                </a:moveTo>
                <a:cubicBezTo>
                  <a:pt x="10406" y="5125"/>
                  <a:pt x="10406" y="5125"/>
                  <a:pt x="10406" y="5125"/>
                </a:cubicBezTo>
                <a:cubicBezTo>
                  <a:pt x="10406" y="5094"/>
                  <a:pt x="10406" y="5094"/>
                  <a:pt x="10375" y="5094"/>
                </a:cubicBezTo>
                <a:cubicBezTo>
                  <a:pt x="10375" y="5125"/>
                  <a:pt x="10406" y="5125"/>
                  <a:pt x="10406" y="5125"/>
                </a:cubicBezTo>
                <a:close/>
                <a:moveTo>
                  <a:pt x="10375" y="5094"/>
                </a:moveTo>
                <a:cubicBezTo>
                  <a:pt x="10375" y="5062"/>
                  <a:pt x="10437" y="5062"/>
                  <a:pt x="10406" y="5000"/>
                </a:cubicBezTo>
                <a:cubicBezTo>
                  <a:pt x="10375" y="5031"/>
                  <a:pt x="10343" y="5062"/>
                  <a:pt x="10343" y="5094"/>
                </a:cubicBezTo>
                <a:cubicBezTo>
                  <a:pt x="10312" y="5125"/>
                  <a:pt x="10281" y="5062"/>
                  <a:pt x="10250" y="5062"/>
                </a:cubicBezTo>
                <a:cubicBezTo>
                  <a:pt x="10281" y="5125"/>
                  <a:pt x="10312" y="5125"/>
                  <a:pt x="10343" y="5094"/>
                </a:cubicBezTo>
                <a:lnTo>
                  <a:pt x="10343" y="5094"/>
                </a:lnTo>
                <a:cubicBezTo>
                  <a:pt x="10375" y="5094"/>
                  <a:pt x="10375" y="5094"/>
                  <a:pt x="10375" y="5094"/>
                </a:cubicBezTo>
                <a:close/>
                <a:moveTo>
                  <a:pt x="10843" y="5906"/>
                </a:moveTo>
                <a:cubicBezTo>
                  <a:pt x="10843" y="5906"/>
                  <a:pt x="10843" y="5906"/>
                  <a:pt x="10843" y="5906"/>
                </a:cubicBezTo>
                <a:close/>
                <a:moveTo>
                  <a:pt x="10281" y="5156"/>
                </a:moveTo>
                <a:cubicBezTo>
                  <a:pt x="10250" y="5156"/>
                  <a:pt x="10250" y="5187"/>
                  <a:pt x="10250" y="5187"/>
                </a:cubicBezTo>
                <a:cubicBezTo>
                  <a:pt x="10187" y="5187"/>
                  <a:pt x="10187" y="5250"/>
                  <a:pt x="10156" y="5281"/>
                </a:cubicBezTo>
                <a:lnTo>
                  <a:pt x="10156" y="5281"/>
                </a:lnTo>
                <a:cubicBezTo>
                  <a:pt x="10187" y="5250"/>
                  <a:pt x="10250" y="5250"/>
                  <a:pt x="10250" y="5187"/>
                </a:cubicBezTo>
                <a:cubicBezTo>
                  <a:pt x="10250" y="5187"/>
                  <a:pt x="10281" y="5187"/>
                  <a:pt x="10281" y="5187"/>
                </a:cubicBezTo>
                <a:cubicBezTo>
                  <a:pt x="10281" y="5187"/>
                  <a:pt x="10281" y="5156"/>
                  <a:pt x="10281" y="5156"/>
                </a:cubicBezTo>
                <a:close/>
                <a:moveTo>
                  <a:pt x="14968" y="11375"/>
                </a:moveTo>
                <a:cubicBezTo>
                  <a:pt x="14968" y="11375"/>
                  <a:pt x="15000" y="11375"/>
                  <a:pt x="15031" y="11344"/>
                </a:cubicBezTo>
                <a:cubicBezTo>
                  <a:pt x="15000" y="11344"/>
                  <a:pt x="14968" y="11344"/>
                  <a:pt x="14968" y="11375"/>
                </a:cubicBezTo>
                <a:close/>
                <a:moveTo>
                  <a:pt x="9968" y="10719"/>
                </a:moveTo>
                <a:cubicBezTo>
                  <a:pt x="9968" y="10719"/>
                  <a:pt x="9968" y="10687"/>
                  <a:pt x="10000" y="10687"/>
                </a:cubicBezTo>
                <a:cubicBezTo>
                  <a:pt x="10000" y="10656"/>
                  <a:pt x="9968" y="10687"/>
                  <a:pt x="9937" y="10687"/>
                </a:cubicBezTo>
                <a:cubicBezTo>
                  <a:pt x="9875" y="10656"/>
                  <a:pt x="9875" y="10719"/>
                  <a:pt x="9812" y="10750"/>
                </a:cubicBezTo>
                <a:cubicBezTo>
                  <a:pt x="9843" y="10656"/>
                  <a:pt x="9906" y="10656"/>
                  <a:pt x="9968" y="10594"/>
                </a:cubicBezTo>
                <a:lnTo>
                  <a:pt x="9968" y="10594"/>
                </a:lnTo>
                <a:cubicBezTo>
                  <a:pt x="9968" y="10625"/>
                  <a:pt x="9937" y="10656"/>
                  <a:pt x="9937" y="10687"/>
                </a:cubicBezTo>
                <a:cubicBezTo>
                  <a:pt x="9937" y="10687"/>
                  <a:pt x="9937" y="10719"/>
                  <a:pt x="9968" y="10719"/>
                </a:cubicBezTo>
                <a:close/>
                <a:moveTo>
                  <a:pt x="9343" y="11344"/>
                </a:moveTo>
                <a:cubicBezTo>
                  <a:pt x="9343" y="11344"/>
                  <a:pt x="9312" y="11344"/>
                  <a:pt x="9312" y="11344"/>
                </a:cubicBezTo>
                <a:cubicBezTo>
                  <a:pt x="9312" y="11375"/>
                  <a:pt x="9312" y="11375"/>
                  <a:pt x="9343" y="11375"/>
                </a:cubicBezTo>
                <a:cubicBezTo>
                  <a:pt x="9343" y="11375"/>
                  <a:pt x="9343" y="11375"/>
                  <a:pt x="9343" y="11375"/>
                </a:cubicBezTo>
                <a:cubicBezTo>
                  <a:pt x="9375" y="11344"/>
                  <a:pt x="9343" y="11344"/>
                  <a:pt x="9343" y="11344"/>
                </a:cubicBezTo>
                <a:close/>
                <a:moveTo>
                  <a:pt x="9656" y="5437"/>
                </a:moveTo>
                <a:cubicBezTo>
                  <a:pt x="9625" y="5469"/>
                  <a:pt x="9625" y="5469"/>
                  <a:pt x="9625" y="5500"/>
                </a:cubicBezTo>
                <a:cubicBezTo>
                  <a:pt x="9625" y="5500"/>
                  <a:pt x="9625" y="5500"/>
                  <a:pt x="9625" y="5531"/>
                </a:cubicBezTo>
                <a:cubicBezTo>
                  <a:pt x="9625" y="5531"/>
                  <a:pt x="9593" y="5562"/>
                  <a:pt x="9593" y="5531"/>
                </a:cubicBezTo>
                <a:lnTo>
                  <a:pt x="9593" y="5531"/>
                </a:lnTo>
                <a:cubicBezTo>
                  <a:pt x="9562" y="5531"/>
                  <a:pt x="9593" y="5500"/>
                  <a:pt x="9593" y="5500"/>
                </a:cubicBezTo>
                <a:cubicBezTo>
                  <a:pt x="9593" y="5500"/>
                  <a:pt x="9625" y="5500"/>
                  <a:pt x="9625" y="5500"/>
                </a:cubicBezTo>
                <a:cubicBezTo>
                  <a:pt x="9656" y="5500"/>
                  <a:pt x="9656" y="5469"/>
                  <a:pt x="9656" y="5469"/>
                </a:cubicBezTo>
                <a:cubicBezTo>
                  <a:pt x="9656" y="5469"/>
                  <a:pt x="9656" y="5437"/>
                  <a:pt x="9656" y="5437"/>
                </a:cubicBezTo>
                <a:close/>
                <a:moveTo>
                  <a:pt x="11093" y="6094"/>
                </a:moveTo>
                <a:cubicBezTo>
                  <a:pt x="11093" y="6094"/>
                  <a:pt x="11093" y="6094"/>
                  <a:pt x="11093" y="6094"/>
                </a:cubicBezTo>
                <a:cubicBezTo>
                  <a:pt x="11125" y="6094"/>
                  <a:pt x="11125" y="6062"/>
                  <a:pt x="11125" y="6062"/>
                </a:cubicBezTo>
                <a:cubicBezTo>
                  <a:pt x="11125" y="6031"/>
                  <a:pt x="11125" y="6000"/>
                  <a:pt x="11156" y="6000"/>
                </a:cubicBezTo>
                <a:cubicBezTo>
                  <a:pt x="11156" y="6000"/>
                  <a:pt x="11156" y="6031"/>
                  <a:pt x="11156" y="6031"/>
                </a:cubicBezTo>
                <a:lnTo>
                  <a:pt x="11156" y="6031"/>
                </a:lnTo>
                <a:cubicBezTo>
                  <a:pt x="11156" y="6031"/>
                  <a:pt x="11156" y="6062"/>
                  <a:pt x="11125" y="6062"/>
                </a:cubicBezTo>
                <a:cubicBezTo>
                  <a:pt x="11093" y="6062"/>
                  <a:pt x="11093" y="6062"/>
                  <a:pt x="11093" y="6094"/>
                </a:cubicBezTo>
                <a:close/>
                <a:moveTo>
                  <a:pt x="9437" y="6562"/>
                </a:moveTo>
                <a:cubicBezTo>
                  <a:pt x="9468" y="6562"/>
                  <a:pt x="9468" y="6562"/>
                  <a:pt x="9468" y="6562"/>
                </a:cubicBezTo>
                <a:cubicBezTo>
                  <a:pt x="9468" y="6562"/>
                  <a:pt x="9468" y="6531"/>
                  <a:pt x="9500" y="6531"/>
                </a:cubicBezTo>
                <a:cubicBezTo>
                  <a:pt x="9500" y="6531"/>
                  <a:pt x="9531" y="6531"/>
                  <a:pt x="9531" y="6500"/>
                </a:cubicBezTo>
                <a:cubicBezTo>
                  <a:pt x="9531" y="6500"/>
                  <a:pt x="9531" y="6469"/>
                  <a:pt x="9500" y="6469"/>
                </a:cubicBezTo>
                <a:lnTo>
                  <a:pt x="9500" y="6469"/>
                </a:lnTo>
                <a:cubicBezTo>
                  <a:pt x="9500" y="6469"/>
                  <a:pt x="9468" y="6500"/>
                  <a:pt x="9468" y="6531"/>
                </a:cubicBezTo>
                <a:cubicBezTo>
                  <a:pt x="9468" y="6531"/>
                  <a:pt x="9437" y="6531"/>
                  <a:pt x="9437" y="6562"/>
                </a:cubicBezTo>
                <a:close/>
                <a:moveTo>
                  <a:pt x="10687" y="10250"/>
                </a:moveTo>
                <a:cubicBezTo>
                  <a:pt x="10687" y="10250"/>
                  <a:pt x="10718" y="10219"/>
                  <a:pt x="10718" y="10219"/>
                </a:cubicBezTo>
                <a:cubicBezTo>
                  <a:pt x="10687" y="10219"/>
                  <a:pt x="10687" y="10219"/>
                  <a:pt x="10656" y="10219"/>
                </a:cubicBezTo>
                <a:cubicBezTo>
                  <a:pt x="10593" y="10187"/>
                  <a:pt x="10625" y="10156"/>
                  <a:pt x="10656" y="10125"/>
                </a:cubicBezTo>
                <a:cubicBezTo>
                  <a:pt x="10656" y="10125"/>
                  <a:pt x="10656" y="10125"/>
                  <a:pt x="10687" y="10125"/>
                </a:cubicBezTo>
                <a:lnTo>
                  <a:pt x="10687" y="10125"/>
                </a:lnTo>
                <a:cubicBezTo>
                  <a:pt x="10687" y="10125"/>
                  <a:pt x="10687" y="10156"/>
                  <a:pt x="10687" y="10156"/>
                </a:cubicBezTo>
                <a:cubicBezTo>
                  <a:pt x="10656" y="10187"/>
                  <a:pt x="10656" y="10187"/>
                  <a:pt x="10656" y="10219"/>
                </a:cubicBezTo>
                <a:cubicBezTo>
                  <a:pt x="10656" y="10219"/>
                  <a:pt x="10687" y="10250"/>
                  <a:pt x="10687" y="10250"/>
                </a:cubicBezTo>
                <a:close/>
                <a:moveTo>
                  <a:pt x="13593" y="969"/>
                </a:moveTo>
                <a:cubicBezTo>
                  <a:pt x="13593" y="969"/>
                  <a:pt x="13593" y="937"/>
                  <a:pt x="13562" y="969"/>
                </a:cubicBezTo>
                <a:cubicBezTo>
                  <a:pt x="13562" y="969"/>
                  <a:pt x="13562" y="969"/>
                  <a:pt x="13562" y="969"/>
                </a:cubicBezTo>
                <a:cubicBezTo>
                  <a:pt x="13562" y="969"/>
                  <a:pt x="13593" y="969"/>
                  <a:pt x="13593" y="969"/>
                </a:cubicBezTo>
                <a:cubicBezTo>
                  <a:pt x="13625" y="1000"/>
                  <a:pt x="13656" y="1000"/>
                  <a:pt x="13687" y="1031"/>
                </a:cubicBezTo>
                <a:cubicBezTo>
                  <a:pt x="13718" y="1031"/>
                  <a:pt x="13718" y="1031"/>
                  <a:pt x="13718" y="1000"/>
                </a:cubicBezTo>
                <a:lnTo>
                  <a:pt x="13718" y="1000"/>
                </a:lnTo>
                <a:cubicBezTo>
                  <a:pt x="13750" y="1000"/>
                  <a:pt x="13718" y="1000"/>
                  <a:pt x="13718" y="1000"/>
                </a:cubicBezTo>
                <a:cubicBezTo>
                  <a:pt x="13687" y="969"/>
                  <a:pt x="13625" y="969"/>
                  <a:pt x="13593" y="969"/>
                </a:cubicBezTo>
                <a:close/>
                <a:moveTo>
                  <a:pt x="9718" y="11219"/>
                </a:moveTo>
                <a:cubicBezTo>
                  <a:pt x="9718" y="11219"/>
                  <a:pt x="9718" y="11250"/>
                  <a:pt x="9750" y="11250"/>
                </a:cubicBezTo>
                <a:cubicBezTo>
                  <a:pt x="9750" y="11250"/>
                  <a:pt x="9750" y="11219"/>
                  <a:pt x="9750" y="11219"/>
                </a:cubicBezTo>
                <a:cubicBezTo>
                  <a:pt x="9750" y="11219"/>
                  <a:pt x="9750" y="11219"/>
                  <a:pt x="9750" y="11219"/>
                </a:cubicBezTo>
                <a:cubicBezTo>
                  <a:pt x="9718" y="11219"/>
                  <a:pt x="9718" y="11219"/>
                  <a:pt x="9718" y="11219"/>
                </a:cubicBezTo>
                <a:close/>
                <a:moveTo>
                  <a:pt x="9312" y="8531"/>
                </a:moveTo>
                <a:cubicBezTo>
                  <a:pt x="9312" y="8531"/>
                  <a:pt x="9312" y="8562"/>
                  <a:pt x="9343" y="8562"/>
                </a:cubicBezTo>
                <a:cubicBezTo>
                  <a:pt x="9343" y="8562"/>
                  <a:pt x="9343" y="8531"/>
                  <a:pt x="9343" y="8531"/>
                </a:cubicBezTo>
                <a:cubicBezTo>
                  <a:pt x="9343" y="8531"/>
                  <a:pt x="9343" y="8500"/>
                  <a:pt x="9343" y="8500"/>
                </a:cubicBezTo>
                <a:cubicBezTo>
                  <a:pt x="9343" y="8500"/>
                  <a:pt x="9312" y="8531"/>
                  <a:pt x="9312" y="8531"/>
                </a:cubicBezTo>
                <a:close/>
                <a:moveTo>
                  <a:pt x="14187" y="969"/>
                </a:moveTo>
                <a:cubicBezTo>
                  <a:pt x="14156" y="969"/>
                  <a:pt x="14156" y="969"/>
                  <a:pt x="14125" y="1000"/>
                </a:cubicBezTo>
                <a:cubicBezTo>
                  <a:pt x="14156" y="1000"/>
                  <a:pt x="14187" y="1000"/>
                  <a:pt x="14187" y="969"/>
                </a:cubicBezTo>
                <a:cubicBezTo>
                  <a:pt x="14187" y="969"/>
                  <a:pt x="14218" y="969"/>
                  <a:pt x="14218" y="969"/>
                </a:cubicBezTo>
                <a:cubicBezTo>
                  <a:pt x="14218" y="969"/>
                  <a:pt x="14250" y="969"/>
                  <a:pt x="14281" y="937"/>
                </a:cubicBezTo>
                <a:lnTo>
                  <a:pt x="14281" y="937"/>
                </a:lnTo>
                <a:cubicBezTo>
                  <a:pt x="14281" y="937"/>
                  <a:pt x="14250" y="937"/>
                  <a:pt x="14250" y="937"/>
                </a:cubicBezTo>
                <a:cubicBezTo>
                  <a:pt x="14218" y="906"/>
                  <a:pt x="14187" y="906"/>
                  <a:pt x="14187" y="937"/>
                </a:cubicBezTo>
                <a:cubicBezTo>
                  <a:pt x="14187" y="969"/>
                  <a:pt x="14187" y="969"/>
                  <a:pt x="14187" y="969"/>
                </a:cubicBezTo>
                <a:close/>
                <a:moveTo>
                  <a:pt x="10281" y="12312"/>
                </a:moveTo>
                <a:cubicBezTo>
                  <a:pt x="10281" y="12312"/>
                  <a:pt x="10250" y="12312"/>
                  <a:pt x="10250" y="12312"/>
                </a:cubicBezTo>
                <a:cubicBezTo>
                  <a:pt x="10250" y="12312"/>
                  <a:pt x="10250" y="12344"/>
                  <a:pt x="10281" y="12344"/>
                </a:cubicBezTo>
                <a:cubicBezTo>
                  <a:pt x="10281" y="12344"/>
                  <a:pt x="10281" y="12312"/>
                  <a:pt x="10281" y="12312"/>
                </a:cubicBezTo>
                <a:cubicBezTo>
                  <a:pt x="10281" y="12312"/>
                  <a:pt x="10281" y="12281"/>
                  <a:pt x="10281" y="12312"/>
                </a:cubicBezTo>
                <a:close/>
                <a:moveTo>
                  <a:pt x="10156" y="4344"/>
                </a:moveTo>
                <a:cubicBezTo>
                  <a:pt x="10156" y="4344"/>
                  <a:pt x="10156" y="4375"/>
                  <a:pt x="10125" y="4375"/>
                </a:cubicBezTo>
                <a:cubicBezTo>
                  <a:pt x="10156" y="4375"/>
                  <a:pt x="10187" y="4375"/>
                  <a:pt x="10156" y="4344"/>
                </a:cubicBezTo>
                <a:close/>
                <a:moveTo>
                  <a:pt x="10125" y="4375"/>
                </a:moveTo>
                <a:cubicBezTo>
                  <a:pt x="10093" y="4406"/>
                  <a:pt x="10093" y="4344"/>
                  <a:pt x="10062" y="4344"/>
                </a:cubicBezTo>
                <a:cubicBezTo>
                  <a:pt x="10125" y="4437"/>
                  <a:pt x="10031" y="4437"/>
                  <a:pt x="10031" y="4500"/>
                </a:cubicBezTo>
                <a:cubicBezTo>
                  <a:pt x="10093" y="4500"/>
                  <a:pt x="10125" y="4437"/>
                  <a:pt x="10125" y="4375"/>
                </a:cubicBezTo>
                <a:close/>
                <a:moveTo>
                  <a:pt x="12812" y="10312"/>
                </a:moveTo>
                <a:cubicBezTo>
                  <a:pt x="12781" y="10312"/>
                  <a:pt x="12750" y="10312"/>
                  <a:pt x="12718" y="10312"/>
                </a:cubicBezTo>
                <a:cubicBezTo>
                  <a:pt x="12750" y="10344"/>
                  <a:pt x="12781" y="10344"/>
                  <a:pt x="12812" y="10312"/>
                </a:cubicBezTo>
                <a:close/>
                <a:moveTo>
                  <a:pt x="12687" y="10375"/>
                </a:moveTo>
                <a:cubicBezTo>
                  <a:pt x="12687" y="10375"/>
                  <a:pt x="12718" y="10375"/>
                  <a:pt x="12718" y="10375"/>
                </a:cubicBezTo>
                <a:cubicBezTo>
                  <a:pt x="12718" y="10344"/>
                  <a:pt x="12718" y="10344"/>
                  <a:pt x="12687" y="10344"/>
                </a:cubicBezTo>
                <a:cubicBezTo>
                  <a:pt x="12687" y="10344"/>
                  <a:pt x="12656" y="10344"/>
                  <a:pt x="12656" y="10375"/>
                </a:cubicBezTo>
                <a:cubicBezTo>
                  <a:pt x="12656" y="10375"/>
                  <a:pt x="12687" y="10375"/>
                  <a:pt x="12687" y="10375"/>
                </a:cubicBezTo>
                <a:close/>
                <a:moveTo>
                  <a:pt x="10875" y="5719"/>
                </a:moveTo>
                <a:cubicBezTo>
                  <a:pt x="10875" y="5719"/>
                  <a:pt x="10875" y="5687"/>
                  <a:pt x="10906" y="5687"/>
                </a:cubicBezTo>
                <a:cubicBezTo>
                  <a:pt x="10906" y="5687"/>
                  <a:pt x="10937" y="5687"/>
                  <a:pt x="10937" y="5656"/>
                </a:cubicBezTo>
                <a:lnTo>
                  <a:pt x="10937" y="5656"/>
                </a:lnTo>
                <a:cubicBezTo>
                  <a:pt x="10937" y="5656"/>
                  <a:pt x="10906" y="5625"/>
                  <a:pt x="10906" y="5656"/>
                </a:cubicBezTo>
                <a:cubicBezTo>
                  <a:pt x="10906" y="5656"/>
                  <a:pt x="10875" y="5656"/>
                  <a:pt x="10875" y="5687"/>
                </a:cubicBezTo>
                <a:cubicBezTo>
                  <a:pt x="10875" y="5687"/>
                  <a:pt x="10843" y="5687"/>
                  <a:pt x="10843" y="5719"/>
                </a:cubicBezTo>
                <a:cubicBezTo>
                  <a:pt x="10843" y="5719"/>
                  <a:pt x="10875" y="5719"/>
                  <a:pt x="10875" y="5719"/>
                </a:cubicBezTo>
                <a:close/>
                <a:moveTo>
                  <a:pt x="13781" y="4656"/>
                </a:moveTo>
                <a:cubicBezTo>
                  <a:pt x="13781" y="4656"/>
                  <a:pt x="13812" y="4656"/>
                  <a:pt x="13812" y="4656"/>
                </a:cubicBezTo>
                <a:cubicBezTo>
                  <a:pt x="13843" y="4656"/>
                  <a:pt x="13812" y="4656"/>
                  <a:pt x="13812" y="4625"/>
                </a:cubicBezTo>
                <a:cubicBezTo>
                  <a:pt x="13812" y="4625"/>
                  <a:pt x="13812" y="4594"/>
                  <a:pt x="13812" y="4594"/>
                </a:cubicBezTo>
                <a:cubicBezTo>
                  <a:pt x="13812" y="4562"/>
                  <a:pt x="13843" y="4562"/>
                  <a:pt x="13875" y="4594"/>
                </a:cubicBezTo>
                <a:cubicBezTo>
                  <a:pt x="13875" y="4594"/>
                  <a:pt x="13875" y="4594"/>
                  <a:pt x="13875" y="4594"/>
                </a:cubicBezTo>
                <a:lnTo>
                  <a:pt x="13875" y="4594"/>
                </a:lnTo>
                <a:cubicBezTo>
                  <a:pt x="13875" y="4625"/>
                  <a:pt x="13843" y="4625"/>
                  <a:pt x="13843" y="4625"/>
                </a:cubicBezTo>
                <a:cubicBezTo>
                  <a:pt x="13843" y="4625"/>
                  <a:pt x="13812" y="4625"/>
                  <a:pt x="13812" y="4625"/>
                </a:cubicBezTo>
                <a:cubicBezTo>
                  <a:pt x="13781" y="4625"/>
                  <a:pt x="13781" y="4625"/>
                  <a:pt x="13781" y="4656"/>
                </a:cubicBezTo>
                <a:close/>
                <a:moveTo>
                  <a:pt x="10156" y="9187"/>
                </a:moveTo>
                <a:cubicBezTo>
                  <a:pt x="10156" y="9219"/>
                  <a:pt x="10156" y="9219"/>
                  <a:pt x="10187" y="9250"/>
                </a:cubicBezTo>
                <a:cubicBezTo>
                  <a:pt x="10218" y="9219"/>
                  <a:pt x="10218" y="9187"/>
                  <a:pt x="10281" y="9156"/>
                </a:cubicBezTo>
                <a:cubicBezTo>
                  <a:pt x="10250" y="9219"/>
                  <a:pt x="10218" y="9250"/>
                  <a:pt x="10187" y="9281"/>
                </a:cubicBezTo>
                <a:cubicBezTo>
                  <a:pt x="10187" y="9312"/>
                  <a:pt x="10187" y="9344"/>
                  <a:pt x="10156" y="9344"/>
                </a:cubicBezTo>
                <a:lnTo>
                  <a:pt x="10156" y="9344"/>
                </a:lnTo>
                <a:cubicBezTo>
                  <a:pt x="10156" y="9344"/>
                  <a:pt x="10156" y="9312"/>
                  <a:pt x="10156" y="9312"/>
                </a:cubicBezTo>
                <a:cubicBezTo>
                  <a:pt x="10125" y="9281"/>
                  <a:pt x="10156" y="9281"/>
                  <a:pt x="10187" y="9281"/>
                </a:cubicBezTo>
                <a:cubicBezTo>
                  <a:pt x="10187" y="9281"/>
                  <a:pt x="10187" y="9281"/>
                  <a:pt x="10187" y="9281"/>
                </a:cubicBezTo>
                <a:cubicBezTo>
                  <a:pt x="10187" y="9281"/>
                  <a:pt x="10187" y="9281"/>
                  <a:pt x="10187" y="9281"/>
                </a:cubicBezTo>
                <a:cubicBezTo>
                  <a:pt x="10187" y="9281"/>
                  <a:pt x="10187" y="9250"/>
                  <a:pt x="10187" y="9250"/>
                </a:cubicBezTo>
                <a:cubicBezTo>
                  <a:pt x="10187" y="9219"/>
                  <a:pt x="10187" y="9187"/>
                  <a:pt x="10156" y="9187"/>
                </a:cubicBezTo>
                <a:close/>
                <a:moveTo>
                  <a:pt x="9656" y="6906"/>
                </a:moveTo>
                <a:cubicBezTo>
                  <a:pt x="9656" y="6906"/>
                  <a:pt x="9656" y="6906"/>
                  <a:pt x="9656" y="6906"/>
                </a:cubicBezTo>
                <a:cubicBezTo>
                  <a:pt x="9625" y="6906"/>
                  <a:pt x="9625" y="6937"/>
                  <a:pt x="9625" y="6937"/>
                </a:cubicBezTo>
                <a:cubicBezTo>
                  <a:pt x="9656" y="6937"/>
                  <a:pt x="9656" y="6937"/>
                  <a:pt x="9656" y="6906"/>
                </a:cubicBezTo>
                <a:close/>
                <a:moveTo>
                  <a:pt x="9625" y="6937"/>
                </a:moveTo>
                <a:cubicBezTo>
                  <a:pt x="9593" y="6969"/>
                  <a:pt x="9562" y="6969"/>
                  <a:pt x="9562" y="7031"/>
                </a:cubicBezTo>
                <a:cubicBezTo>
                  <a:pt x="9593" y="7000"/>
                  <a:pt x="9625" y="6969"/>
                  <a:pt x="9625" y="6937"/>
                </a:cubicBezTo>
                <a:close/>
                <a:moveTo>
                  <a:pt x="10093" y="4969"/>
                </a:moveTo>
                <a:cubicBezTo>
                  <a:pt x="10093" y="4969"/>
                  <a:pt x="10062" y="4969"/>
                  <a:pt x="10062" y="5000"/>
                </a:cubicBezTo>
                <a:cubicBezTo>
                  <a:pt x="10062" y="5000"/>
                  <a:pt x="10062" y="5031"/>
                  <a:pt x="10062" y="5031"/>
                </a:cubicBezTo>
                <a:cubicBezTo>
                  <a:pt x="10093" y="5031"/>
                  <a:pt x="10093" y="5000"/>
                  <a:pt x="10125" y="4969"/>
                </a:cubicBezTo>
                <a:cubicBezTo>
                  <a:pt x="10125" y="4969"/>
                  <a:pt x="10125" y="4969"/>
                  <a:pt x="10125" y="4969"/>
                </a:cubicBezTo>
                <a:cubicBezTo>
                  <a:pt x="10125" y="4969"/>
                  <a:pt x="10156" y="4969"/>
                  <a:pt x="10156" y="4937"/>
                </a:cubicBezTo>
                <a:cubicBezTo>
                  <a:pt x="10125" y="4937"/>
                  <a:pt x="10093" y="4937"/>
                  <a:pt x="10093" y="4969"/>
                </a:cubicBezTo>
                <a:close/>
                <a:moveTo>
                  <a:pt x="10156" y="4937"/>
                </a:moveTo>
                <a:cubicBezTo>
                  <a:pt x="10218" y="4906"/>
                  <a:pt x="10218" y="4875"/>
                  <a:pt x="10250" y="4844"/>
                </a:cubicBezTo>
                <a:cubicBezTo>
                  <a:pt x="10250" y="4781"/>
                  <a:pt x="10281" y="4781"/>
                  <a:pt x="10343" y="4750"/>
                </a:cubicBezTo>
                <a:lnTo>
                  <a:pt x="10343" y="4750"/>
                </a:lnTo>
                <a:cubicBezTo>
                  <a:pt x="10281" y="4812"/>
                  <a:pt x="10281" y="4844"/>
                  <a:pt x="10250" y="4844"/>
                </a:cubicBezTo>
                <a:cubicBezTo>
                  <a:pt x="10187" y="4844"/>
                  <a:pt x="10156" y="4875"/>
                  <a:pt x="10156" y="4937"/>
                </a:cubicBezTo>
                <a:close/>
                <a:moveTo>
                  <a:pt x="12406" y="10437"/>
                </a:moveTo>
                <a:cubicBezTo>
                  <a:pt x="12437" y="10469"/>
                  <a:pt x="12468" y="10437"/>
                  <a:pt x="12500" y="10437"/>
                </a:cubicBezTo>
                <a:cubicBezTo>
                  <a:pt x="12437" y="10375"/>
                  <a:pt x="12437" y="10406"/>
                  <a:pt x="12406" y="10437"/>
                </a:cubicBezTo>
                <a:close/>
                <a:moveTo>
                  <a:pt x="9593" y="11250"/>
                </a:moveTo>
                <a:cubicBezTo>
                  <a:pt x="9562" y="11281"/>
                  <a:pt x="9562" y="11312"/>
                  <a:pt x="9531" y="11344"/>
                </a:cubicBezTo>
                <a:cubicBezTo>
                  <a:pt x="9593" y="11312"/>
                  <a:pt x="9593" y="11312"/>
                  <a:pt x="9593" y="11250"/>
                </a:cubicBezTo>
                <a:close/>
                <a:moveTo>
                  <a:pt x="11562" y="10312"/>
                </a:moveTo>
                <a:cubicBezTo>
                  <a:pt x="11562" y="10281"/>
                  <a:pt x="11593" y="10281"/>
                  <a:pt x="11593" y="10250"/>
                </a:cubicBezTo>
                <a:cubicBezTo>
                  <a:pt x="11562" y="10219"/>
                  <a:pt x="11562" y="10250"/>
                  <a:pt x="11531" y="10250"/>
                </a:cubicBezTo>
                <a:cubicBezTo>
                  <a:pt x="11531" y="10219"/>
                  <a:pt x="11500" y="10219"/>
                  <a:pt x="11468" y="10219"/>
                </a:cubicBezTo>
                <a:lnTo>
                  <a:pt x="11468" y="10219"/>
                </a:lnTo>
                <a:cubicBezTo>
                  <a:pt x="11500" y="10250"/>
                  <a:pt x="11531" y="10250"/>
                  <a:pt x="11531" y="10250"/>
                </a:cubicBezTo>
                <a:cubicBezTo>
                  <a:pt x="11531" y="10281"/>
                  <a:pt x="11531" y="10281"/>
                  <a:pt x="11562" y="10312"/>
                </a:cubicBezTo>
                <a:close/>
                <a:moveTo>
                  <a:pt x="9531" y="4000"/>
                </a:moveTo>
                <a:cubicBezTo>
                  <a:pt x="9500" y="4000"/>
                  <a:pt x="9468" y="4031"/>
                  <a:pt x="9468" y="4031"/>
                </a:cubicBezTo>
                <a:cubicBezTo>
                  <a:pt x="9437" y="4062"/>
                  <a:pt x="9437" y="4062"/>
                  <a:pt x="9437" y="4062"/>
                </a:cubicBezTo>
                <a:cubicBezTo>
                  <a:pt x="9468" y="4094"/>
                  <a:pt x="9468" y="4062"/>
                  <a:pt x="9468" y="4062"/>
                </a:cubicBezTo>
                <a:cubicBezTo>
                  <a:pt x="9500" y="4031"/>
                  <a:pt x="9531" y="4031"/>
                  <a:pt x="9531" y="4000"/>
                </a:cubicBezTo>
                <a:cubicBezTo>
                  <a:pt x="9531" y="4000"/>
                  <a:pt x="9531" y="4000"/>
                  <a:pt x="9531" y="4000"/>
                </a:cubicBezTo>
                <a:cubicBezTo>
                  <a:pt x="9562" y="4000"/>
                  <a:pt x="9593" y="4000"/>
                  <a:pt x="9593" y="3937"/>
                </a:cubicBezTo>
                <a:cubicBezTo>
                  <a:pt x="9562" y="3969"/>
                  <a:pt x="9562" y="3969"/>
                  <a:pt x="9531" y="4000"/>
                </a:cubicBezTo>
                <a:close/>
                <a:moveTo>
                  <a:pt x="14906" y="11062"/>
                </a:moveTo>
                <a:cubicBezTo>
                  <a:pt x="14906" y="11094"/>
                  <a:pt x="14906" y="11094"/>
                  <a:pt x="14937" y="11125"/>
                </a:cubicBezTo>
                <a:cubicBezTo>
                  <a:pt x="14937" y="11125"/>
                  <a:pt x="14968" y="11094"/>
                  <a:pt x="14968" y="11094"/>
                </a:cubicBezTo>
                <a:cubicBezTo>
                  <a:pt x="14968" y="11062"/>
                  <a:pt x="14937" y="11062"/>
                  <a:pt x="14906" y="11062"/>
                </a:cubicBezTo>
                <a:cubicBezTo>
                  <a:pt x="14906" y="11062"/>
                  <a:pt x="14906" y="11062"/>
                  <a:pt x="14906" y="11062"/>
                </a:cubicBezTo>
                <a:cubicBezTo>
                  <a:pt x="14906" y="11031"/>
                  <a:pt x="14906" y="11000"/>
                  <a:pt x="14875" y="11000"/>
                </a:cubicBezTo>
                <a:lnTo>
                  <a:pt x="14875" y="11000"/>
                </a:lnTo>
                <a:cubicBezTo>
                  <a:pt x="14875" y="11031"/>
                  <a:pt x="14875" y="11062"/>
                  <a:pt x="14906" y="11062"/>
                </a:cubicBezTo>
                <a:close/>
                <a:moveTo>
                  <a:pt x="10468" y="3594"/>
                </a:moveTo>
                <a:cubicBezTo>
                  <a:pt x="10468" y="3594"/>
                  <a:pt x="10468" y="3594"/>
                  <a:pt x="10468" y="3594"/>
                </a:cubicBezTo>
                <a:cubicBezTo>
                  <a:pt x="10500" y="3562"/>
                  <a:pt x="10500" y="3562"/>
                  <a:pt x="10500" y="3562"/>
                </a:cubicBezTo>
                <a:cubicBezTo>
                  <a:pt x="10500" y="3531"/>
                  <a:pt x="10500" y="3531"/>
                  <a:pt x="10500" y="3531"/>
                </a:cubicBezTo>
                <a:cubicBezTo>
                  <a:pt x="10468" y="3531"/>
                  <a:pt x="10468" y="3562"/>
                  <a:pt x="10468" y="3562"/>
                </a:cubicBezTo>
                <a:cubicBezTo>
                  <a:pt x="10437" y="3562"/>
                  <a:pt x="10406" y="3594"/>
                  <a:pt x="10406" y="3625"/>
                </a:cubicBezTo>
                <a:cubicBezTo>
                  <a:pt x="10437" y="3625"/>
                  <a:pt x="10468" y="3625"/>
                  <a:pt x="10468" y="3594"/>
                </a:cubicBezTo>
                <a:close/>
                <a:moveTo>
                  <a:pt x="10406" y="3625"/>
                </a:moveTo>
                <a:cubicBezTo>
                  <a:pt x="10375" y="3625"/>
                  <a:pt x="10375" y="3656"/>
                  <a:pt x="10343" y="3656"/>
                </a:cubicBezTo>
                <a:cubicBezTo>
                  <a:pt x="10343" y="3594"/>
                  <a:pt x="10281" y="3625"/>
                  <a:pt x="10281" y="3562"/>
                </a:cubicBezTo>
                <a:cubicBezTo>
                  <a:pt x="10250" y="3594"/>
                  <a:pt x="10156" y="3562"/>
                  <a:pt x="10187" y="3687"/>
                </a:cubicBezTo>
                <a:lnTo>
                  <a:pt x="10187" y="3687"/>
                </a:lnTo>
                <a:cubicBezTo>
                  <a:pt x="10250" y="3594"/>
                  <a:pt x="10281" y="3625"/>
                  <a:pt x="10343" y="3656"/>
                </a:cubicBezTo>
                <a:cubicBezTo>
                  <a:pt x="10343" y="3656"/>
                  <a:pt x="10312" y="3687"/>
                  <a:pt x="10343" y="3719"/>
                </a:cubicBezTo>
                <a:lnTo>
                  <a:pt x="10343" y="3719"/>
                </a:lnTo>
                <a:cubicBezTo>
                  <a:pt x="10375" y="3687"/>
                  <a:pt x="10375" y="3656"/>
                  <a:pt x="10406" y="3625"/>
                </a:cubicBezTo>
                <a:close/>
                <a:moveTo>
                  <a:pt x="14062" y="8312"/>
                </a:moveTo>
                <a:cubicBezTo>
                  <a:pt x="14062" y="8312"/>
                  <a:pt x="14062" y="8312"/>
                  <a:pt x="14062" y="8312"/>
                </a:cubicBezTo>
                <a:cubicBezTo>
                  <a:pt x="14062" y="8312"/>
                  <a:pt x="14093" y="8312"/>
                  <a:pt x="14093" y="8281"/>
                </a:cubicBezTo>
                <a:cubicBezTo>
                  <a:pt x="14093" y="8281"/>
                  <a:pt x="14062" y="8281"/>
                  <a:pt x="14062" y="8281"/>
                </a:cubicBezTo>
                <a:cubicBezTo>
                  <a:pt x="14062" y="8281"/>
                  <a:pt x="14062" y="8281"/>
                  <a:pt x="14062" y="8312"/>
                </a:cubicBezTo>
                <a:close/>
                <a:moveTo>
                  <a:pt x="14187" y="10187"/>
                </a:moveTo>
                <a:cubicBezTo>
                  <a:pt x="14187" y="10187"/>
                  <a:pt x="14156" y="10187"/>
                  <a:pt x="14156" y="10187"/>
                </a:cubicBezTo>
                <a:cubicBezTo>
                  <a:pt x="14125" y="10187"/>
                  <a:pt x="14125" y="10219"/>
                  <a:pt x="14125" y="10219"/>
                </a:cubicBezTo>
                <a:cubicBezTo>
                  <a:pt x="14093" y="10219"/>
                  <a:pt x="14062" y="10219"/>
                  <a:pt x="14062" y="10281"/>
                </a:cubicBezTo>
                <a:cubicBezTo>
                  <a:pt x="14062" y="10281"/>
                  <a:pt x="14062" y="10281"/>
                  <a:pt x="14062" y="10281"/>
                </a:cubicBezTo>
                <a:cubicBezTo>
                  <a:pt x="14062" y="10281"/>
                  <a:pt x="14062" y="10281"/>
                  <a:pt x="14031" y="10281"/>
                </a:cubicBezTo>
                <a:cubicBezTo>
                  <a:pt x="14062" y="10281"/>
                  <a:pt x="14062" y="10281"/>
                  <a:pt x="14062" y="10281"/>
                </a:cubicBezTo>
                <a:cubicBezTo>
                  <a:pt x="14093" y="10281"/>
                  <a:pt x="14093" y="10281"/>
                  <a:pt x="14125" y="10281"/>
                </a:cubicBezTo>
                <a:lnTo>
                  <a:pt x="14125" y="10281"/>
                </a:lnTo>
                <a:cubicBezTo>
                  <a:pt x="14125" y="10281"/>
                  <a:pt x="14125" y="10312"/>
                  <a:pt x="14093" y="10312"/>
                </a:cubicBezTo>
                <a:cubicBezTo>
                  <a:pt x="14093" y="10312"/>
                  <a:pt x="14062" y="10344"/>
                  <a:pt x="14093" y="10344"/>
                </a:cubicBezTo>
                <a:cubicBezTo>
                  <a:pt x="14093" y="10344"/>
                  <a:pt x="14125" y="10406"/>
                  <a:pt x="14156" y="10375"/>
                </a:cubicBezTo>
                <a:cubicBezTo>
                  <a:pt x="14187" y="10344"/>
                  <a:pt x="14187" y="10344"/>
                  <a:pt x="14156" y="10312"/>
                </a:cubicBezTo>
                <a:cubicBezTo>
                  <a:pt x="14156" y="10281"/>
                  <a:pt x="14156" y="10281"/>
                  <a:pt x="14125" y="10281"/>
                </a:cubicBezTo>
                <a:cubicBezTo>
                  <a:pt x="14125" y="10250"/>
                  <a:pt x="14125" y="10250"/>
                  <a:pt x="14125" y="10219"/>
                </a:cubicBezTo>
                <a:cubicBezTo>
                  <a:pt x="14156" y="10219"/>
                  <a:pt x="14156" y="10219"/>
                  <a:pt x="14187" y="10187"/>
                </a:cubicBezTo>
                <a:close/>
                <a:moveTo>
                  <a:pt x="14031" y="10281"/>
                </a:moveTo>
                <a:cubicBezTo>
                  <a:pt x="14000" y="10281"/>
                  <a:pt x="13968" y="10312"/>
                  <a:pt x="13968" y="10344"/>
                </a:cubicBezTo>
                <a:lnTo>
                  <a:pt x="13968" y="10344"/>
                </a:lnTo>
                <a:cubicBezTo>
                  <a:pt x="13968" y="10375"/>
                  <a:pt x="14000" y="10375"/>
                  <a:pt x="14031" y="10406"/>
                </a:cubicBezTo>
                <a:cubicBezTo>
                  <a:pt x="14000" y="10344"/>
                  <a:pt x="14031" y="10312"/>
                  <a:pt x="14031" y="10281"/>
                </a:cubicBezTo>
                <a:close/>
                <a:moveTo>
                  <a:pt x="9531" y="5219"/>
                </a:moveTo>
                <a:cubicBezTo>
                  <a:pt x="9531" y="5219"/>
                  <a:pt x="9531" y="5219"/>
                  <a:pt x="9531" y="5219"/>
                </a:cubicBezTo>
                <a:cubicBezTo>
                  <a:pt x="9500" y="5219"/>
                  <a:pt x="9500" y="5250"/>
                  <a:pt x="9468" y="5250"/>
                </a:cubicBezTo>
                <a:cubicBezTo>
                  <a:pt x="9437" y="5281"/>
                  <a:pt x="9406" y="5312"/>
                  <a:pt x="9406" y="5344"/>
                </a:cubicBezTo>
                <a:cubicBezTo>
                  <a:pt x="9437" y="5312"/>
                  <a:pt x="9468" y="5312"/>
                  <a:pt x="9500" y="5281"/>
                </a:cubicBezTo>
                <a:cubicBezTo>
                  <a:pt x="9500" y="5250"/>
                  <a:pt x="9531" y="5250"/>
                  <a:pt x="9531" y="5219"/>
                </a:cubicBezTo>
                <a:cubicBezTo>
                  <a:pt x="9562" y="5187"/>
                  <a:pt x="9593" y="5187"/>
                  <a:pt x="9593" y="5125"/>
                </a:cubicBezTo>
                <a:cubicBezTo>
                  <a:pt x="9562" y="5156"/>
                  <a:pt x="9531" y="5187"/>
                  <a:pt x="9531" y="5219"/>
                </a:cubicBezTo>
                <a:close/>
                <a:moveTo>
                  <a:pt x="12062" y="10781"/>
                </a:moveTo>
                <a:cubicBezTo>
                  <a:pt x="12093" y="10781"/>
                  <a:pt x="12093" y="10781"/>
                  <a:pt x="12093" y="10750"/>
                </a:cubicBezTo>
                <a:cubicBezTo>
                  <a:pt x="12125" y="10750"/>
                  <a:pt x="12156" y="10750"/>
                  <a:pt x="12156" y="10719"/>
                </a:cubicBezTo>
                <a:lnTo>
                  <a:pt x="12156" y="10719"/>
                </a:lnTo>
                <a:cubicBezTo>
                  <a:pt x="12156" y="10687"/>
                  <a:pt x="12156" y="10687"/>
                  <a:pt x="12156" y="10687"/>
                </a:cubicBezTo>
                <a:cubicBezTo>
                  <a:pt x="12125" y="10687"/>
                  <a:pt x="12125" y="10719"/>
                  <a:pt x="12093" y="10750"/>
                </a:cubicBezTo>
                <a:cubicBezTo>
                  <a:pt x="12093" y="10750"/>
                  <a:pt x="12062" y="10750"/>
                  <a:pt x="12062" y="10781"/>
                </a:cubicBezTo>
                <a:close/>
                <a:moveTo>
                  <a:pt x="10187" y="5062"/>
                </a:moveTo>
                <a:cubicBezTo>
                  <a:pt x="10157" y="5062"/>
                  <a:pt x="10156" y="5091"/>
                  <a:pt x="10156" y="5120"/>
                </a:cubicBezTo>
                <a:lnTo>
                  <a:pt x="10156" y="5122"/>
                </a:lnTo>
                <a:lnTo>
                  <a:pt x="10156" y="5123"/>
                </a:lnTo>
                <a:lnTo>
                  <a:pt x="10156" y="5125"/>
                </a:lnTo>
                <a:cubicBezTo>
                  <a:pt x="10093" y="5125"/>
                  <a:pt x="10093" y="5156"/>
                  <a:pt x="10062" y="5187"/>
                </a:cubicBezTo>
                <a:cubicBezTo>
                  <a:pt x="10062" y="5187"/>
                  <a:pt x="10062" y="5219"/>
                  <a:pt x="10093" y="5219"/>
                </a:cubicBezTo>
                <a:lnTo>
                  <a:pt x="10093" y="5219"/>
                </a:lnTo>
                <a:cubicBezTo>
                  <a:pt x="10125" y="5187"/>
                  <a:pt x="10156" y="5156"/>
                  <a:pt x="10156" y="5125"/>
                </a:cubicBezTo>
                <a:cubicBezTo>
                  <a:pt x="10187" y="5094"/>
                  <a:pt x="10187" y="5094"/>
                  <a:pt x="10187" y="5062"/>
                </a:cubicBezTo>
                <a:cubicBezTo>
                  <a:pt x="10187" y="5062"/>
                  <a:pt x="10187" y="5062"/>
                  <a:pt x="10187" y="5062"/>
                </a:cubicBezTo>
                <a:cubicBezTo>
                  <a:pt x="10218" y="5062"/>
                  <a:pt x="10218" y="5062"/>
                  <a:pt x="10250" y="5062"/>
                </a:cubicBezTo>
                <a:cubicBezTo>
                  <a:pt x="10218" y="5062"/>
                  <a:pt x="10250" y="5031"/>
                  <a:pt x="10218" y="5031"/>
                </a:cubicBezTo>
                <a:lnTo>
                  <a:pt x="10218" y="5031"/>
                </a:lnTo>
                <a:cubicBezTo>
                  <a:pt x="10187" y="5031"/>
                  <a:pt x="10187" y="5031"/>
                  <a:pt x="10187" y="5062"/>
                </a:cubicBezTo>
                <a:close/>
                <a:moveTo>
                  <a:pt x="10687" y="10750"/>
                </a:moveTo>
                <a:cubicBezTo>
                  <a:pt x="10656" y="10750"/>
                  <a:pt x="10656" y="10750"/>
                  <a:pt x="10656" y="10781"/>
                </a:cubicBezTo>
                <a:cubicBezTo>
                  <a:pt x="10687" y="10781"/>
                  <a:pt x="10687" y="10781"/>
                  <a:pt x="10687" y="10750"/>
                </a:cubicBezTo>
                <a:cubicBezTo>
                  <a:pt x="10687" y="10750"/>
                  <a:pt x="10687" y="10750"/>
                  <a:pt x="10687" y="10750"/>
                </a:cubicBezTo>
                <a:close/>
                <a:moveTo>
                  <a:pt x="13843" y="10125"/>
                </a:moveTo>
                <a:cubicBezTo>
                  <a:pt x="13812" y="10125"/>
                  <a:pt x="13812" y="10156"/>
                  <a:pt x="13812" y="10187"/>
                </a:cubicBezTo>
                <a:cubicBezTo>
                  <a:pt x="13843" y="10187"/>
                  <a:pt x="13843" y="10156"/>
                  <a:pt x="13843" y="10125"/>
                </a:cubicBezTo>
                <a:cubicBezTo>
                  <a:pt x="13875" y="10125"/>
                  <a:pt x="13906" y="10125"/>
                  <a:pt x="13937" y="10062"/>
                </a:cubicBezTo>
                <a:lnTo>
                  <a:pt x="13937" y="10062"/>
                </a:lnTo>
                <a:cubicBezTo>
                  <a:pt x="13875" y="10062"/>
                  <a:pt x="13875" y="10094"/>
                  <a:pt x="13843" y="10125"/>
                </a:cubicBezTo>
                <a:close/>
                <a:moveTo>
                  <a:pt x="10718" y="10719"/>
                </a:moveTo>
                <a:cubicBezTo>
                  <a:pt x="10750" y="10719"/>
                  <a:pt x="10781" y="10687"/>
                  <a:pt x="10750" y="10656"/>
                </a:cubicBezTo>
                <a:cubicBezTo>
                  <a:pt x="10750" y="10687"/>
                  <a:pt x="10687" y="10687"/>
                  <a:pt x="10718" y="10719"/>
                </a:cubicBezTo>
                <a:close/>
                <a:moveTo>
                  <a:pt x="10031" y="11031"/>
                </a:moveTo>
                <a:cubicBezTo>
                  <a:pt x="10031" y="11031"/>
                  <a:pt x="10031" y="11031"/>
                  <a:pt x="10031" y="11031"/>
                </a:cubicBezTo>
                <a:cubicBezTo>
                  <a:pt x="10000" y="11031"/>
                  <a:pt x="10000" y="11062"/>
                  <a:pt x="10000" y="11094"/>
                </a:cubicBezTo>
                <a:cubicBezTo>
                  <a:pt x="10031" y="11062"/>
                  <a:pt x="10031" y="11062"/>
                  <a:pt x="10031" y="11031"/>
                </a:cubicBezTo>
                <a:close/>
                <a:moveTo>
                  <a:pt x="10343" y="11219"/>
                </a:moveTo>
                <a:cubicBezTo>
                  <a:pt x="10343" y="11250"/>
                  <a:pt x="10312" y="11250"/>
                  <a:pt x="10312" y="11312"/>
                </a:cubicBezTo>
                <a:cubicBezTo>
                  <a:pt x="10343" y="11281"/>
                  <a:pt x="10375" y="11281"/>
                  <a:pt x="10375" y="11250"/>
                </a:cubicBezTo>
                <a:cubicBezTo>
                  <a:pt x="10375" y="11250"/>
                  <a:pt x="10343" y="11219"/>
                  <a:pt x="10343" y="11219"/>
                </a:cubicBezTo>
                <a:close/>
                <a:moveTo>
                  <a:pt x="11687" y="5156"/>
                </a:moveTo>
                <a:cubicBezTo>
                  <a:pt x="11718" y="5156"/>
                  <a:pt x="11750" y="5125"/>
                  <a:pt x="11750" y="5125"/>
                </a:cubicBezTo>
                <a:cubicBezTo>
                  <a:pt x="11750" y="5125"/>
                  <a:pt x="11781" y="5125"/>
                  <a:pt x="11781" y="5156"/>
                </a:cubicBezTo>
                <a:cubicBezTo>
                  <a:pt x="11781" y="5156"/>
                  <a:pt x="11750" y="5187"/>
                  <a:pt x="11718" y="5187"/>
                </a:cubicBezTo>
                <a:cubicBezTo>
                  <a:pt x="11687" y="5187"/>
                  <a:pt x="11687" y="5156"/>
                  <a:pt x="11687" y="5156"/>
                </a:cubicBezTo>
                <a:close/>
                <a:moveTo>
                  <a:pt x="10250" y="5594"/>
                </a:moveTo>
                <a:cubicBezTo>
                  <a:pt x="10250" y="5625"/>
                  <a:pt x="10250" y="5625"/>
                  <a:pt x="10281" y="5625"/>
                </a:cubicBezTo>
                <a:cubicBezTo>
                  <a:pt x="10281" y="5625"/>
                  <a:pt x="10281" y="5625"/>
                  <a:pt x="10281" y="5625"/>
                </a:cubicBezTo>
                <a:cubicBezTo>
                  <a:pt x="10281" y="5594"/>
                  <a:pt x="10281" y="5594"/>
                  <a:pt x="10281" y="5594"/>
                </a:cubicBezTo>
                <a:cubicBezTo>
                  <a:pt x="10281" y="5594"/>
                  <a:pt x="10250" y="5594"/>
                  <a:pt x="10250" y="5594"/>
                </a:cubicBezTo>
                <a:close/>
                <a:moveTo>
                  <a:pt x="9125" y="8531"/>
                </a:moveTo>
                <a:cubicBezTo>
                  <a:pt x="9125" y="8531"/>
                  <a:pt x="9125" y="8500"/>
                  <a:pt x="9125" y="8500"/>
                </a:cubicBezTo>
                <a:cubicBezTo>
                  <a:pt x="9187" y="8469"/>
                  <a:pt x="9187" y="8375"/>
                  <a:pt x="9250" y="8344"/>
                </a:cubicBezTo>
                <a:cubicBezTo>
                  <a:pt x="9187" y="8344"/>
                  <a:pt x="9187" y="8344"/>
                  <a:pt x="9156" y="8406"/>
                </a:cubicBezTo>
                <a:cubicBezTo>
                  <a:pt x="9125" y="8437"/>
                  <a:pt x="9125" y="8437"/>
                  <a:pt x="9093" y="8437"/>
                </a:cubicBezTo>
                <a:cubicBezTo>
                  <a:pt x="9062" y="8437"/>
                  <a:pt x="9093" y="8406"/>
                  <a:pt x="9093" y="8406"/>
                </a:cubicBezTo>
                <a:cubicBezTo>
                  <a:pt x="9156" y="8312"/>
                  <a:pt x="9218" y="8250"/>
                  <a:pt x="9312" y="8187"/>
                </a:cubicBezTo>
                <a:cubicBezTo>
                  <a:pt x="9312" y="8156"/>
                  <a:pt x="9343" y="8156"/>
                  <a:pt x="9343" y="8125"/>
                </a:cubicBezTo>
                <a:cubicBezTo>
                  <a:pt x="9312" y="8094"/>
                  <a:pt x="9312" y="8125"/>
                  <a:pt x="9281" y="8125"/>
                </a:cubicBezTo>
                <a:cubicBezTo>
                  <a:pt x="9250" y="8156"/>
                  <a:pt x="9250" y="8156"/>
                  <a:pt x="9218" y="8125"/>
                </a:cubicBezTo>
                <a:cubicBezTo>
                  <a:pt x="9187" y="8125"/>
                  <a:pt x="9218" y="8094"/>
                  <a:pt x="9250" y="8062"/>
                </a:cubicBezTo>
                <a:cubicBezTo>
                  <a:pt x="9281" y="8062"/>
                  <a:pt x="9312" y="8000"/>
                  <a:pt x="9375" y="7969"/>
                </a:cubicBezTo>
                <a:cubicBezTo>
                  <a:pt x="9406" y="7937"/>
                  <a:pt x="9437" y="7875"/>
                  <a:pt x="9500" y="7812"/>
                </a:cubicBezTo>
                <a:cubicBezTo>
                  <a:pt x="9437" y="7844"/>
                  <a:pt x="9406" y="7844"/>
                  <a:pt x="9375" y="7875"/>
                </a:cubicBezTo>
                <a:cubicBezTo>
                  <a:pt x="9343" y="7937"/>
                  <a:pt x="9281" y="7969"/>
                  <a:pt x="9250" y="8000"/>
                </a:cubicBezTo>
                <a:cubicBezTo>
                  <a:pt x="9187" y="8031"/>
                  <a:pt x="9187" y="8062"/>
                  <a:pt x="9156" y="8125"/>
                </a:cubicBezTo>
                <a:cubicBezTo>
                  <a:pt x="9125" y="8125"/>
                  <a:pt x="9125" y="8125"/>
                  <a:pt x="9093" y="8156"/>
                </a:cubicBezTo>
                <a:cubicBezTo>
                  <a:pt x="9093" y="8187"/>
                  <a:pt x="9062" y="8219"/>
                  <a:pt x="9031" y="8219"/>
                </a:cubicBezTo>
                <a:cubicBezTo>
                  <a:pt x="9031" y="8219"/>
                  <a:pt x="9000" y="8187"/>
                  <a:pt x="9000" y="8187"/>
                </a:cubicBezTo>
                <a:cubicBezTo>
                  <a:pt x="9000" y="8187"/>
                  <a:pt x="9000" y="8156"/>
                  <a:pt x="9000" y="8156"/>
                </a:cubicBezTo>
                <a:cubicBezTo>
                  <a:pt x="9062" y="8125"/>
                  <a:pt x="9062" y="8031"/>
                  <a:pt x="9125" y="8000"/>
                </a:cubicBezTo>
                <a:cubicBezTo>
                  <a:pt x="9187" y="8000"/>
                  <a:pt x="9156" y="7969"/>
                  <a:pt x="9156" y="7969"/>
                </a:cubicBezTo>
                <a:cubicBezTo>
                  <a:pt x="9187" y="7937"/>
                  <a:pt x="9250" y="7906"/>
                  <a:pt x="9250" y="7875"/>
                </a:cubicBezTo>
                <a:lnTo>
                  <a:pt x="9250" y="7875"/>
                </a:lnTo>
                <a:cubicBezTo>
                  <a:pt x="9375" y="7781"/>
                  <a:pt x="9500" y="7656"/>
                  <a:pt x="9562" y="7531"/>
                </a:cubicBezTo>
                <a:cubicBezTo>
                  <a:pt x="9437" y="7594"/>
                  <a:pt x="9406" y="7719"/>
                  <a:pt x="9281" y="7812"/>
                </a:cubicBezTo>
                <a:cubicBezTo>
                  <a:pt x="9250" y="7812"/>
                  <a:pt x="9250" y="7844"/>
                  <a:pt x="9250" y="7875"/>
                </a:cubicBezTo>
                <a:cubicBezTo>
                  <a:pt x="9220" y="7875"/>
                  <a:pt x="9133" y="7875"/>
                  <a:pt x="9152" y="7956"/>
                </a:cubicBezTo>
                <a:cubicBezTo>
                  <a:pt x="9149" y="7960"/>
                  <a:pt x="9141" y="7969"/>
                  <a:pt x="9125" y="7969"/>
                </a:cubicBezTo>
                <a:cubicBezTo>
                  <a:pt x="9031" y="8031"/>
                  <a:pt x="9000" y="8125"/>
                  <a:pt x="8906" y="8219"/>
                </a:cubicBezTo>
                <a:cubicBezTo>
                  <a:pt x="8906" y="8250"/>
                  <a:pt x="8875" y="8281"/>
                  <a:pt x="8843" y="8344"/>
                </a:cubicBezTo>
                <a:cubicBezTo>
                  <a:pt x="8843" y="8344"/>
                  <a:pt x="8843" y="8375"/>
                  <a:pt x="8843" y="8375"/>
                </a:cubicBezTo>
                <a:cubicBezTo>
                  <a:pt x="8875" y="8375"/>
                  <a:pt x="8875" y="8375"/>
                  <a:pt x="8875" y="8344"/>
                </a:cubicBezTo>
                <a:cubicBezTo>
                  <a:pt x="8906" y="8312"/>
                  <a:pt x="8937" y="8250"/>
                  <a:pt x="8968" y="8219"/>
                </a:cubicBezTo>
                <a:cubicBezTo>
                  <a:pt x="8968" y="8219"/>
                  <a:pt x="8968" y="8219"/>
                  <a:pt x="8968" y="8187"/>
                </a:cubicBezTo>
                <a:cubicBezTo>
                  <a:pt x="8968" y="8219"/>
                  <a:pt x="8968" y="8219"/>
                  <a:pt x="8968" y="8219"/>
                </a:cubicBezTo>
                <a:cubicBezTo>
                  <a:pt x="8968" y="8250"/>
                  <a:pt x="9000" y="8250"/>
                  <a:pt x="9031" y="8250"/>
                </a:cubicBezTo>
                <a:cubicBezTo>
                  <a:pt x="9031" y="8250"/>
                  <a:pt x="9031" y="8250"/>
                  <a:pt x="9031" y="8250"/>
                </a:cubicBezTo>
                <a:cubicBezTo>
                  <a:pt x="9000" y="8250"/>
                  <a:pt x="8968" y="8250"/>
                  <a:pt x="8968" y="8312"/>
                </a:cubicBezTo>
                <a:cubicBezTo>
                  <a:pt x="8968" y="8312"/>
                  <a:pt x="8968" y="8344"/>
                  <a:pt x="8968" y="8344"/>
                </a:cubicBezTo>
                <a:cubicBezTo>
                  <a:pt x="8937" y="8375"/>
                  <a:pt x="8875" y="8406"/>
                  <a:pt x="8968" y="8469"/>
                </a:cubicBezTo>
                <a:cubicBezTo>
                  <a:pt x="9000" y="8469"/>
                  <a:pt x="8968" y="8500"/>
                  <a:pt x="8968" y="8500"/>
                </a:cubicBezTo>
                <a:cubicBezTo>
                  <a:pt x="9000" y="8562"/>
                  <a:pt x="9031" y="8594"/>
                  <a:pt x="9062" y="8594"/>
                </a:cubicBezTo>
                <a:cubicBezTo>
                  <a:pt x="9093" y="8625"/>
                  <a:pt x="9093" y="8562"/>
                  <a:pt x="9125" y="8531"/>
                </a:cubicBezTo>
                <a:close/>
                <a:moveTo>
                  <a:pt x="9031" y="8281"/>
                </a:moveTo>
                <a:cubicBezTo>
                  <a:pt x="9093" y="8250"/>
                  <a:pt x="9125" y="8219"/>
                  <a:pt x="9156" y="8156"/>
                </a:cubicBezTo>
                <a:cubicBezTo>
                  <a:pt x="9156" y="8156"/>
                  <a:pt x="9156" y="8156"/>
                  <a:pt x="9156" y="8156"/>
                </a:cubicBezTo>
                <a:cubicBezTo>
                  <a:pt x="9156" y="8156"/>
                  <a:pt x="9187" y="8156"/>
                  <a:pt x="9187" y="8187"/>
                </a:cubicBezTo>
                <a:cubicBezTo>
                  <a:pt x="9187" y="8187"/>
                  <a:pt x="9187" y="8219"/>
                  <a:pt x="9187" y="8219"/>
                </a:cubicBezTo>
                <a:cubicBezTo>
                  <a:pt x="9156" y="8219"/>
                  <a:pt x="9156" y="8187"/>
                  <a:pt x="9156" y="8156"/>
                </a:cubicBezTo>
                <a:cubicBezTo>
                  <a:pt x="9125" y="8219"/>
                  <a:pt x="9093" y="8250"/>
                  <a:pt x="9031" y="8281"/>
                </a:cubicBezTo>
                <a:close/>
                <a:moveTo>
                  <a:pt x="9593" y="7406"/>
                </a:moveTo>
                <a:cubicBezTo>
                  <a:pt x="9625" y="7406"/>
                  <a:pt x="9625" y="7375"/>
                  <a:pt x="9625" y="7344"/>
                </a:cubicBezTo>
                <a:cubicBezTo>
                  <a:pt x="9656" y="7344"/>
                  <a:pt x="9687" y="7344"/>
                  <a:pt x="9687" y="7312"/>
                </a:cubicBezTo>
                <a:cubicBezTo>
                  <a:pt x="9718" y="7281"/>
                  <a:pt x="9718" y="7219"/>
                  <a:pt x="9781" y="7250"/>
                </a:cubicBezTo>
                <a:cubicBezTo>
                  <a:pt x="9781" y="7250"/>
                  <a:pt x="9781" y="7219"/>
                  <a:pt x="9781" y="7219"/>
                </a:cubicBezTo>
                <a:cubicBezTo>
                  <a:pt x="9781" y="7219"/>
                  <a:pt x="9781" y="7187"/>
                  <a:pt x="9750" y="7187"/>
                </a:cubicBezTo>
                <a:cubicBezTo>
                  <a:pt x="9750" y="7187"/>
                  <a:pt x="9750" y="7187"/>
                  <a:pt x="9718" y="7187"/>
                </a:cubicBezTo>
                <a:lnTo>
                  <a:pt x="9718" y="7187"/>
                </a:lnTo>
                <a:cubicBezTo>
                  <a:pt x="9718" y="7250"/>
                  <a:pt x="9656" y="7281"/>
                  <a:pt x="9625" y="7344"/>
                </a:cubicBezTo>
                <a:cubicBezTo>
                  <a:pt x="9625" y="7375"/>
                  <a:pt x="9593" y="7375"/>
                  <a:pt x="9593" y="7406"/>
                </a:cubicBezTo>
                <a:close/>
                <a:moveTo>
                  <a:pt x="10375" y="12062"/>
                </a:moveTo>
                <a:cubicBezTo>
                  <a:pt x="10375" y="12031"/>
                  <a:pt x="10343" y="12062"/>
                  <a:pt x="10312" y="12062"/>
                </a:cubicBezTo>
                <a:cubicBezTo>
                  <a:pt x="10312" y="12094"/>
                  <a:pt x="10281" y="12094"/>
                  <a:pt x="10250" y="12094"/>
                </a:cubicBezTo>
                <a:cubicBezTo>
                  <a:pt x="10218" y="12094"/>
                  <a:pt x="10218" y="12094"/>
                  <a:pt x="10218" y="12125"/>
                </a:cubicBezTo>
                <a:cubicBezTo>
                  <a:pt x="10187" y="12125"/>
                  <a:pt x="10187" y="12156"/>
                  <a:pt x="10156" y="12156"/>
                </a:cubicBezTo>
                <a:cubicBezTo>
                  <a:pt x="10125" y="12125"/>
                  <a:pt x="10187" y="12125"/>
                  <a:pt x="10187" y="12094"/>
                </a:cubicBezTo>
                <a:cubicBezTo>
                  <a:pt x="10156" y="12062"/>
                  <a:pt x="10125" y="12062"/>
                  <a:pt x="10125" y="12062"/>
                </a:cubicBezTo>
                <a:cubicBezTo>
                  <a:pt x="10062" y="12031"/>
                  <a:pt x="10125" y="11969"/>
                  <a:pt x="10062" y="11937"/>
                </a:cubicBezTo>
                <a:cubicBezTo>
                  <a:pt x="10156" y="11937"/>
                  <a:pt x="10156" y="12000"/>
                  <a:pt x="10125" y="12062"/>
                </a:cubicBezTo>
                <a:cubicBezTo>
                  <a:pt x="10156" y="12031"/>
                  <a:pt x="10187" y="12062"/>
                  <a:pt x="10218" y="12062"/>
                </a:cubicBezTo>
                <a:cubicBezTo>
                  <a:pt x="10218" y="12062"/>
                  <a:pt x="10250" y="12031"/>
                  <a:pt x="10281" y="12031"/>
                </a:cubicBezTo>
                <a:lnTo>
                  <a:pt x="10281" y="12031"/>
                </a:lnTo>
                <a:cubicBezTo>
                  <a:pt x="10281" y="12062"/>
                  <a:pt x="10250" y="12062"/>
                  <a:pt x="10250" y="12094"/>
                </a:cubicBezTo>
                <a:cubicBezTo>
                  <a:pt x="10250" y="12125"/>
                  <a:pt x="10281" y="12125"/>
                  <a:pt x="10281" y="12156"/>
                </a:cubicBezTo>
                <a:cubicBezTo>
                  <a:pt x="10312" y="12156"/>
                  <a:pt x="10281" y="12187"/>
                  <a:pt x="10281" y="12187"/>
                </a:cubicBezTo>
                <a:cubicBezTo>
                  <a:pt x="10312" y="12187"/>
                  <a:pt x="10343" y="12187"/>
                  <a:pt x="10343" y="12156"/>
                </a:cubicBezTo>
                <a:cubicBezTo>
                  <a:pt x="10375" y="12125"/>
                  <a:pt x="10406" y="12187"/>
                  <a:pt x="10468" y="12156"/>
                </a:cubicBezTo>
                <a:cubicBezTo>
                  <a:pt x="10406" y="12125"/>
                  <a:pt x="10343" y="12125"/>
                  <a:pt x="10375" y="12062"/>
                </a:cubicBezTo>
                <a:close/>
                <a:moveTo>
                  <a:pt x="13656" y="11312"/>
                </a:moveTo>
                <a:cubicBezTo>
                  <a:pt x="13625" y="11312"/>
                  <a:pt x="13625" y="11312"/>
                  <a:pt x="13593" y="11344"/>
                </a:cubicBezTo>
                <a:cubicBezTo>
                  <a:pt x="13625" y="11344"/>
                  <a:pt x="13656" y="11344"/>
                  <a:pt x="13656" y="11312"/>
                </a:cubicBezTo>
                <a:close/>
                <a:moveTo>
                  <a:pt x="13593" y="11344"/>
                </a:moveTo>
                <a:cubicBezTo>
                  <a:pt x="13562" y="11375"/>
                  <a:pt x="13531" y="11344"/>
                  <a:pt x="13531" y="11406"/>
                </a:cubicBezTo>
                <a:cubicBezTo>
                  <a:pt x="13562" y="11406"/>
                  <a:pt x="13593" y="11375"/>
                  <a:pt x="13593" y="11344"/>
                </a:cubicBezTo>
                <a:close/>
                <a:moveTo>
                  <a:pt x="15281" y="2937"/>
                </a:moveTo>
                <a:cubicBezTo>
                  <a:pt x="15281" y="2937"/>
                  <a:pt x="15312" y="2937"/>
                  <a:pt x="15343" y="2937"/>
                </a:cubicBezTo>
                <a:cubicBezTo>
                  <a:pt x="15312" y="2906"/>
                  <a:pt x="15281" y="2906"/>
                  <a:pt x="15281" y="2937"/>
                </a:cubicBezTo>
                <a:close/>
                <a:moveTo>
                  <a:pt x="12281" y="11156"/>
                </a:moveTo>
                <a:cubicBezTo>
                  <a:pt x="12281" y="11125"/>
                  <a:pt x="12281" y="11125"/>
                  <a:pt x="12281" y="11125"/>
                </a:cubicBezTo>
                <a:cubicBezTo>
                  <a:pt x="12250" y="11125"/>
                  <a:pt x="12250" y="11125"/>
                  <a:pt x="12250" y="11156"/>
                </a:cubicBezTo>
                <a:cubicBezTo>
                  <a:pt x="12250" y="11156"/>
                  <a:pt x="12250" y="11187"/>
                  <a:pt x="12281" y="11187"/>
                </a:cubicBezTo>
                <a:cubicBezTo>
                  <a:pt x="12281" y="11187"/>
                  <a:pt x="12281" y="11156"/>
                  <a:pt x="12281" y="11156"/>
                </a:cubicBezTo>
                <a:close/>
                <a:moveTo>
                  <a:pt x="10593" y="6312"/>
                </a:moveTo>
                <a:cubicBezTo>
                  <a:pt x="10593" y="6312"/>
                  <a:pt x="10593" y="6281"/>
                  <a:pt x="10593" y="6281"/>
                </a:cubicBezTo>
                <a:cubicBezTo>
                  <a:pt x="10593" y="6281"/>
                  <a:pt x="10562" y="6281"/>
                  <a:pt x="10562" y="6312"/>
                </a:cubicBezTo>
                <a:cubicBezTo>
                  <a:pt x="10562" y="6312"/>
                  <a:pt x="10562" y="6312"/>
                  <a:pt x="10593" y="6344"/>
                </a:cubicBezTo>
                <a:cubicBezTo>
                  <a:pt x="10593" y="6344"/>
                  <a:pt x="10593" y="6312"/>
                  <a:pt x="10593" y="6312"/>
                </a:cubicBezTo>
                <a:close/>
                <a:moveTo>
                  <a:pt x="9937" y="8750"/>
                </a:moveTo>
                <a:cubicBezTo>
                  <a:pt x="9937" y="8750"/>
                  <a:pt x="9937" y="8781"/>
                  <a:pt x="9968" y="8750"/>
                </a:cubicBezTo>
                <a:cubicBezTo>
                  <a:pt x="9968" y="8750"/>
                  <a:pt x="10000" y="8750"/>
                  <a:pt x="10000" y="8750"/>
                </a:cubicBezTo>
                <a:cubicBezTo>
                  <a:pt x="10000" y="8719"/>
                  <a:pt x="10000" y="8719"/>
                  <a:pt x="9968" y="8719"/>
                </a:cubicBezTo>
                <a:cubicBezTo>
                  <a:pt x="9968" y="8719"/>
                  <a:pt x="9937" y="8719"/>
                  <a:pt x="9937" y="8750"/>
                </a:cubicBezTo>
                <a:close/>
                <a:moveTo>
                  <a:pt x="10000" y="5812"/>
                </a:moveTo>
                <a:cubicBezTo>
                  <a:pt x="10000" y="5812"/>
                  <a:pt x="10000" y="5812"/>
                  <a:pt x="9968" y="5812"/>
                </a:cubicBezTo>
                <a:cubicBezTo>
                  <a:pt x="9937" y="5812"/>
                  <a:pt x="9937" y="5844"/>
                  <a:pt x="9937" y="5875"/>
                </a:cubicBezTo>
                <a:cubicBezTo>
                  <a:pt x="9937" y="5875"/>
                  <a:pt x="9937" y="5875"/>
                  <a:pt x="9906" y="5906"/>
                </a:cubicBezTo>
                <a:cubicBezTo>
                  <a:pt x="9906" y="5906"/>
                  <a:pt x="9906" y="5937"/>
                  <a:pt x="9875" y="5937"/>
                </a:cubicBezTo>
                <a:lnTo>
                  <a:pt x="9875" y="5937"/>
                </a:lnTo>
                <a:cubicBezTo>
                  <a:pt x="9875" y="5937"/>
                  <a:pt x="9875" y="5937"/>
                  <a:pt x="9875" y="5906"/>
                </a:cubicBezTo>
                <a:cubicBezTo>
                  <a:pt x="9875" y="5906"/>
                  <a:pt x="9875" y="5875"/>
                  <a:pt x="9906" y="5875"/>
                </a:cubicBezTo>
                <a:cubicBezTo>
                  <a:pt x="9906" y="5875"/>
                  <a:pt x="9937" y="5875"/>
                  <a:pt x="9937" y="5875"/>
                </a:cubicBezTo>
                <a:cubicBezTo>
                  <a:pt x="9968" y="5875"/>
                  <a:pt x="10000" y="5844"/>
                  <a:pt x="10000" y="5812"/>
                </a:cubicBezTo>
                <a:close/>
                <a:moveTo>
                  <a:pt x="13843" y="4844"/>
                </a:moveTo>
                <a:cubicBezTo>
                  <a:pt x="13812" y="4844"/>
                  <a:pt x="13812" y="4844"/>
                  <a:pt x="13781" y="4875"/>
                </a:cubicBezTo>
                <a:cubicBezTo>
                  <a:pt x="13812" y="4875"/>
                  <a:pt x="13812" y="4875"/>
                  <a:pt x="13843" y="4844"/>
                </a:cubicBezTo>
                <a:close/>
                <a:moveTo>
                  <a:pt x="9937" y="11125"/>
                </a:moveTo>
                <a:cubicBezTo>
                  <a:pt x="9906" y="11094"/>
                  <a:pt x="9906" y="11125"/>
                  <a:pt x="9906" y="11125"/>
                </a:cubicBezTo>
                <a:cubicBezTo>
                  <a:pt x="9906" y="11156"/>
                  <a:pt x="9906" y="11156"/>
                  <a:pt x="9937" y="11156"/>
                </a:cubicBezTo>
                <a:cubicBezTo>
                  <a:pt x="9937" y="11156"/>
                  <a:pt x="9968" y="11156"/>
                  <a:pt x="9968" y="11125"/>
                </a:cubicBezTo>
                <a:cubicBezTo>
                  <a:pt x="9968" y="11125"/>
                  <a:pt x="9968" y="11125"/>
                  <a:pt x="9937" y="11125"/>
                </a:cubicBezTo>
                <a:close/>
                <a:moveTo>
                  <a:pt x="11375" y="11750"/>
                </a:moveTo>
                <a:cubicBezTo>
                  <a:pt x="11375" y="11781"/>
                  <a:pt x="11375" y="11781"/>
                  <a:pt x="11375" y="11781"/>
                </a:cubicBezTo>
                <a:cubicBezTo>
                  <a:pt x="11312" y="11812"/>
                  <a:pt x="11312" y="11812"/>
                  <a:pt x="11312" y="11875"/>
                </a:cubicBezTo>
                <a:lnTo>
                  <a:pt x="11312" y="11875"/>
                </a:lnTo>
                <a:cubicBezTo>
                  <a:pt x="11343" y="11844"/>
                  <a:pt x="11343" y="11844"/>
                  <a:pt x="11375" y="11781"/>
                </a:cubicBezTo>
                <a:cubicBezTo>
                  <a:pt x="11406" y="11750"/>
                  <a:pt x="11406" y="11750"/>
                  <a:pt x="11406" y="11719"/>
                </a:cubicBezTo>
                <a:cubicBezTo>
                  <a:pt x="11406" y="11719"/>
                  <a:pt x="11375" y="11719"/>
                  <a:pt x="11375" y="11750"/>
                </a:cubicBezTo>
                <a:close/>
                <a:moveTo>
                  <a:pt x="11375" y="10687"/>
                </a:moveTo>
                <a:cubicBezTo>
                  <a:pt x="11406" y="10687"/>
                  <a:pt x="11437" y="10656"/>
                  <a:pt x="11437" y="10625"/>
                </a:cubicBezTo>
                <a:cubicBezTo>
                  <a:pt x="11437" y="10625"/>
                  <a:pt x="11437" y="10594"/>
                  <a:pt x="11437" y="10594"/>
                </a:cubicBezTo>
                <a:cubicBezTo>
                  <a:pt x="11406" y="10594"/>
                  <a:pt x="11375" y="10656"/>
                  <a:pt x="11375" y="10687"/>
                </a:cubicBezTo>
                <a:cubicBezTo>
                  <a:pt x="11375" y="10687"/>
                  <a:pt x="11375" y="10687"/>
                  <a:pt x="11375" y="10687"/>
                </a:cubicBezTo>
                <a:cubicBezTo>
                  <a:pt x="11375" y="10687"/>
                  <a:pt x="11375" y="10687"/>
                  <a:pt x="11375" y="10687"/>
                </a:cubicBezTo>
                <a:cubicBezTo>
                  <a:pt x="11343" y="10719"/>
                  <a:pt x="11312" y="10719"/>
                  <a:pt x="11312" y="10781"/>
                </a:cubicBezTo>
                <a:cubicBezTo>
                  <a:pt x="11375" y="10750"/>
                  <a:pt x="11343" y="10719"/>
                  <a:pt x="11375" y="10687"/>
                </a:cubicBezTo>
                <a:close/>
                <a:moveTo>
                  <a:pt x="11312" y="10781"/>
                </a:moveTo>
                <a:cubicBezTo>
                  <a:pt x="11281" y="10781"/>
                  <a:pt x="11218" y="10750"/>
                  <a:pt x="11218" y="10687"/>
                </a:cubicBezTo>
                <a:cubicBezTo>
                  <a:pt x="11250" y="10656"/>
                  <a:pt x="11281" y="10625"/>
                  <a:pt x="11343" y="10656"/>
                </a:cubicBezTo>
                <a:lnTo>
                  <a:pt x="11343" y="10656"/>
                </a:lnTo>
                <a:cubicBezTo>
                  <a:pt x="11281" y="10594"/>
                  <a:pt x="11281" y="10594"/>
                  <a:pt x="11218" y="10656"/>
                </a:cubicBezTo>
                <a:cubicBezTo>
                  <a:pt x="11156" y="10719"/>
                  <a:pt x="11156" y="10750"/>
                  <a:pt x="11218" y="10781"/>
                </a:cubicBezTo>
                <a:cubicBezTo>
                  <a:pt x="11250" y="10812"/>
                  <a:pt x="11250" y="10812"/>
                  <a:pt x="11250" y="10844"/>
                </a:cubicBezTo>
                <a:cubicBezTo>
                  <a:pt x="11218" y="10844"/>
                  <a:pt x="11218" y="10875"/>
                  <a:pt x="11218" y="10875"/>
                </a:cubicBezTo>
                <a:cubicBezTo>
                  <a:pt x="11218" y="10906"/>
                  <a:pt x="11218" y="10906"/>
                  <a:pt x="11218" y="10937"/>
                </a:cubicBezTo>
                <a:cubicBezTo>
                  <a:pt x="11250" y="10937"/>
                  <a:pt x="11250" y="10906"/>
                  <a:pt x="11250" y="10906"/>
                </a:cubicBezTo>
                <a:cubicBezTo>
                  <a:pt x="11250" y="10844"/>
                  <a:pt x="11312" y="10812"/>
                  <a:pt x="11312" y="10781"/>
                </a:cubicBezTo>
                <a:close/>
                <a:moveTo>
                  <a:pt x="11312" y="11375"/>
                </a:moveTo>
                <a:cubicBezTo>
                  <a:pt x="11281" y="11406"/>
                  <a:pt x="11281" y="11406"/>
                  <a:pt x="11281" y="11437"/>
                </a:cubicBezTo>
                <a:cubicBezTo>
                  <a:pt x="11281" y="11437"/>
                  <a:pt x="11281" y="11437"/>
                  <a:pt x="11281" y="11437"/>
                </a:cubicBezTo>
                <a:cubicBezTo>
                  <a:pt x="11312" y="11437"/>
                  <a:pt x="11312" y="11437"/>
                  <a:pt x="11312" y="11375"/>
                </a:cubicBezTo>
                <a:close/>
                <a:moveTo>
                  <a:pt x="10000" y="7312"/>
                </a:moveTo>
                <a:cubicBezTo>
                  <a:pt x="10031" y="7312"/>
                  <a:pt x="10031" y="7312"/>
                  <a:pt x="10031" y="7281"/>
                </a:cubicBezTo>
                <a:cubicBezTo>
                  <a:pt x="10031" y="7281"/>
                  <a:pt x="10031" y="7281"/>
                  <a:pt x="10031" y="7281"/>
                </a:cubicBezTo>
                <a:cubicBezTo>
                  <a:pt x="10000" y="7281"/>
                  <a:pt x="10000" y="7281"/>
                  <a:pt x="10000" y="7281"/>
                </a:cubicBezTo>
                <a:cubicBezTo>
                  <a:pt x="10000" y="7312"/>
                  <a:pt x="10000" y="7312"/>
                  <a:pt x="10000" y="7312"/>
                </a:cubicBezTo>
                <a:close/>
                <a:moveTo>
                  <a:pt x="13937" y="13375"/>
                </a:moveTo>
                <a:cubicBezTo>
                  <a:pt x="13906" y="13375"/>
                  <a:pt x="13906" y="13375"/>
                  <a:pt x="13906" y="13375"/>
                </a:cubicBezTo>
                <a:cubicBezTo>
                  <a:pt x="13906" y="13406"/>
                  <a:pt x="13906" y="13406"/>
                  <a:pt x="13937" y="13406"/>
                </a:cubicBezTo>
                <a:cubicBezTo>
                  <a:pt x="13937" y="13406"/>
                  <a:pt x="13937" y="13406"/>
                  <a:pt x="13937" y="13375"/>
                </a:cubicBezTo>
                <a:cubicBezTo>
                  <a:pt x="13937" y="13375"/>
                  <a:pt x="13937" y="13375"/>
                  <a:pt x="13937" y="13375"/>
                </a:cubicBezTo>
                <a:close/>
                <a:moveTo>
                  <a:pt x="10031" y="9281"/>
                </a:moveTo>
                <a:cubicBezTo>
                  <a:pt x="10062" y="9281"/>
                  <a:pt x="10062" y="9250"/>
                  <a:pt x="10062" y="9219"/>
                </a:cubicBezTo>
                <a:cubicBezTo>
                  <a:pt x="10125" y="9219"/>
                  <a:pt x="10125" y="9187"/>
                  <a:pt x="10125" y="9156"/>
                </a:cubicBezTo>
                <a:cubicBezTo>
                  <a:pt x="10093" y="9156"/>
                  <a:pt x="10062" y="9156"/>
                  <a:pt x="10062" y="9187"/>
                </a:cubicBezTo>
                <a:cubicBezTo>
                  <a:pt x="10062" y="9187"/>
                  <a:pt x="10062" y="9219"/>
                  <a:pt x="10062" y="9219"/>
                </a:cubicBezTo>
                <a:cubicBezTo>
                  <a:pt x="10031" y="9250"/>
                  <a:pt x="10000" y="9250"/>
                  <a:pt x="10000" y="9281"/>
                </a:cubicBezTo>
                <a:cubicBezTo>
                  <a:pt x="10000" y="9281"/>
                  <a:pt x="10031" y="9281"/>
                  <a:pt x="10031" y="9281"/>
                </a:cubicBezTo>
                <a:close/>
                <a:moveTo>
                  <a:pt x="11125" y="11000"/>
                </a:moveTo>
                <a:cubicBezTo>
                  <a:pt x="11093" y="10969"/>
                  <a:pt x="11062" y="10969"/>
                  <a:pt x="11031" y="10969"/>
                </a:cubicBezTo>
                <a:cubicBezTo>
                  <a:pt x="11031" y="10937"/>
                  <a:pt x="11031" y="10937"/>
                  <a:pt x="11000" y="10937"/>
                </a:cubicBezTo>
                <a:lnTo>
                  <a:pt x="11000" y="10937"/>
                </a:lnTo>
                <a:cubicBezTo>
                  <a:pt x="10968" y="10969"/>
                  <a:pt x="10968" y="10969"/>
                  <a:pt x="10968" y="11000"/>
                </a:cubicBezTo>
                <a:cubicBezTo>
                  <a:pt x="11000" y="11000"/>
                  <a:pt x="11000" y="10937"/>
                  <a:pt x="11031" y="10969"/>
                </a:cubicBezTo>
                <a:cubicBezTo>
                  <a:pt x="11062" y="11000"/>
                  <a:pt x="11093" y="11000"/>
                  <a:pt x="11125" y="11000"/>
                </a:cubicBezTo>
                <a:close/>
                <a:moveTo>
                  <a:pt x="9437" y="11437"/>
                </a:moveTo>
                <a:cubicBezTo>
                  <a:pt x="9406" y="11437"/>
                  <a:pt x="9406" y="11469"/>
                  <a:pt x="9375" y="11469"/>
                </a:cubicBezTo>
                <a:cubicBezTo>
                  <a:pt x="9375" y="11500"/>
                  <a:pt x="9406" y="11500"/>
                  <a:pt x="9437" y="11500"/>
                </a:cubicBezTo>
                <a:cubicBezTo>
                  <a:pt x="9468" y="11500"/>
                  <a:pt x="9500" y="11500"/>
                  <a:pt x="9500" y="11500"/>
                </a:cubicBezTo>
                <a:lnTo>
                  <a:pt x="9500" y="11500"/>
                </a:lnTo>
                <a:cubicBezTo>
                  <a:pt x="9531" y="11531"/>
                  <a:pt x="9562" y="11531"/>
                  <a:pt x="9531" y="11562"/>
                </a:cubicBezTo>
                <a:cubicBezTo>
                  <a:pt x="9500" y="11594"/>
                  <a:pt x="9500" y="11656"/>
                  <a:pt x="9437" y="11687"/>
                </a:cubicBezTo>
                <a:cubicBezTo>
                  <a:pt x="9437" y="11687"/>
                  <a:pt x="9406" y="11687"/>
                  <a:pt x="9406" y="11656"/>
                </a:cubicBezTo>
                <a:cubicBezTo>
                  <a:pt x="9406" y="11656"/>
                  <a:pt x="9406" y="11625"/>
                  <a:pt x="9406" y="11625"/>
                </a:cubicBezTo>
                <a:cubicBezTo>
                  <a:pt x="9468" y="11594"/>
                  <a:pt x="9468" y="11562"/>
                  <a:pt x="9437" y="11500"/>
                </a:cubicBezTo>
                <a:cubicBezTo>
                  <a:pt x="9437" y="11469"/>
                  <a:pt x="9468" y="11469"/>
                  <a:pt x="9437" y="11437"/>
                </a:cubicBezTo>
                <a:close/>
                <a:moveTo>
                  <a:pt x="10218" y="10719"/>
                </a:moveTo>
                <a:cubicBezTo>
                  <a:pt x="10218" y="10719"/>
                  <a:pt x="10218" y="10687"/>
                  <a:pt x="10218" y="10687"/>
                </a:cubicBezTo>
                <a:cubicBezTo>
                  <a:pt x="10187" y="10687"/>
                  <a:pt x="10187" y="10719"/>
                  <a:pt x="10156" y="10750"/>
                </a:cubicBezTo>
                <a:cubicBezTo>
                  <a:pt x="10187" y="10750"/>
                  <a:pt x="10218" y="10750"/>
                  <a:pt x="10218" y="10719"/>
                </a:cubicBezTo>
                <a:close/>
                <a:moveTo>
                  <a:pt x="9875" y="11375"/>
                </a:moveTo>
                <a:cubicBezTo>
                  <a:pt x="9875" y="11375"/>
                  <a:pt x="9843" y="11344"/>
                  <a:pt x="9843" y="11344"/>
                </a:cubicBezTo>
                <a:cubicBezTo>
                  <a:pt x="9812" y="11375"/>
                  <a:pt x="9812" y="11375"/>
                  <a:pt x="9812" y="11437"/>
                </a:cubicBezTo>
                <a:cubicBezTo>
                  <a:pt x="9843" y="11406"/>
                  <a:pt x="9875" y="11406"/>
                  <a:pt x="9875" y="11375"/>
                </a:cubicBezTo>
                <a:close/>
                <a:moveTo>
                  <a:pt x="10156" y="6031"/>
                </a:moveTo>
                <a:cubicBezTo>
                  <a:pt x="10187" y="6031"/>
                  <a:pt x="10187" y="6031"/>
                  <a:pt x="10187" y="6000"/>
                </a:cubicBezTo>
                <a:cubicBezTo>
                  <a:pt x="10156" y="6000"/>
                  <a:pt x="10125" y="6000"/>
                  <a:pt x="10156" y="6031"/>
                </a:cubicBezTo>
                <a:close/>
                <a:moveTo>
                  <a:pt x="11750" y="9062"/>
                </a:moveTo>
                <a:cubicBezTo>
                  <a:pt x="11781" y="9062"/>
                  <a:pt x="11781" y="9031"/>
                  <a:pt x="11781" y="9031"/>
                </a:cubicBezTo>
                <a:cubicBezTo>
                  <a:pt x="11781" y="9000"/>
                  <a:pt x="11750" y="9000"/>
                  <a:pt x="11718" y="9000"/>
                </a:cubicBezTo>
                <a:cubicBezTo>
                  <a:pt x="11718" y="9031"/>
                  <a:pt x="11718" y="9062"/>
                  <a:pt x="11750" y="9062"/>
                </a:cubicBezTo>
                <a:close/>
                <a:moveTo>
                  <a:pt x="11718" y="9000"/>
                </a:moveTo>
                <a:cubicBezTo>
                  <a:pt x="11718" y="9000"/>
                  <a:pt x="11718" y="9000"/>
                  <a:pt x="11718" y="9000"/>
                </a:cubicBezTo>
                <a:moveTo>
                  <a:pt x="10000" y="9312"/>
                </a:moveTo>
                <a:cubicBezTo>
                  <a:pt x="10000" y="9312"/>
                  <a:pt x="9968" y="9312"/>
                  <a:pt x="9968" y="9312"/>
                </a:cubicBezTo>
                <a:cubicBezTo>
                  <a:pt x="9937" y="9312"/>
                  <a:pt x="9937" y="9344"/>
                  <a:pt x="9968" y="9375"/>
                </a:cubicBezTo>
                <a:cubicBezTo>
                  <a:pt x="9968" y="9375"/>
                  <a:pt x="10000" y="9344"/>
                  <a:pt x="10000" y="9312"/>
                </a:cubicBezTo>
                <a:close/>
                <a:moveTo>
                  <a:pt x="10375" y="11625"/>
                </a:moveTo>
                <a:cubicBezTo>
                  <a:pt x="10343" y="11625"/>
                  <a:pt x="10343" y="11594"/>
                  <a:pt x="10343" y="11594"/>
                </a:cubicBezTo>
                <a:cubicBezTo>
                  <a:pt x="10312" y="11625"/>
                  <a:pt x="10281" y="11625"/>
                  <a:pt x="10312" y="11687"/>
                </a:cubicBezTo>
                <a:cubicBezTo>
                  <a:pt x="10312" y="11656"/>
                  <a:pt x="10343" y="11625"/>
                  <a:pt x="10375" y="11625"/>
                </a:cubicBezTo>
                <a:close/>
                <a:moveTo>
                  <a:pt x="10812" y="9187"/>
                </a:moveTo>
                <a:cubicBezTo>
                  <a:pt x="10812" y="9156"/>
                  <a:pt x="10781" y="9156"/>
                  <a:pt x="10781" y="9156"/>
                </a:cubicBezTo>
                <a:cubicBezTo>
                  <a:pt x="10750" y="9156"/>
                  <a:pt x="10750" y="9156"/>
                  <a:pt x="10750" y="9187"/>
                </a:cubicBezTo>
                <a:cubicBezTo>
                  <a:pt x="10750" y="9187"/>
                  <a:pt x="10750" y="9187"/>
                  <a:pt x="10781" y="9187"/>
                </a:cubicBezTo>
                <a:cubicBezTo>
                  <a:pt x="10781" y="9187"/>
                  <a:pt x="10812" y="9187"/>
                  <a:pt x="10812" y="9187"/>
                </a:cubicBezTo>
                <a:close/>
                <a:moveTo>
                  <a:pt x="13562" y="4156"/>
                </a:moveTo>
                <a:cubicBezTo>
                  <a:pt x="13562" y="4187"/>
                  <a:pt x="13593" y="4187"/>
                  <a:pt x="13625" y="4156"/>
                </a:cubicBezTo>
                <a:cubicBezTo>
                  <a:pt x="13593" y="4156"/>
                  <a:pt x="13593" y="4156"/>
                  <a:pt x="13562" y="4156"/>
                </a:cubicBezTo>
                <a:close/>
                <a:moveTo>
                  <a:pt x="11718" y="1094"/>
                </a:moveTo>
                <a:cubicBezTo>
                  <a:pt x="11718" y="1094"/>
                  <a:pt x="11718" y="1062"/>
                  <a:pt x="11750" y="1062"/>
                </a:cubicBezTo>
                <a:cubicBezTo>
                  <a:pt x="11750" y="1062"/>
                  <a:pt x="11718" y="1031"/>
                  <a:pt x="11718" y="1031"/>
                </a:cubicBezTo>
                <a:cubicBezTo>
                  <a:pt x="11687" y="1031"/>
                  <a:pt x="11687" y="1062"/>
                  <a:pt x="11687" y="1062"/>
                </a:cubicBezTo>
                <a:cubicBezTo>
                  <a:pt x="11687" y="1062"/>
                  <a:pt x="11687" y="1094"/>
                  <a:pt x="11718" y="1094"/>
                </a:cubicBezTo>
                <a:close/>
                <a:moveTo>
                  <a:pt x="15718" y="3625"/>
                </a:moveTo>
                <a:cubicBezTo>
                  <a:pt x="15718" y="3625"/>
                  <a:pt x="15718" y="3594"/>
                  <a:pt x="15718" y="3594"/>
                </a:cubicBezTo>
                <a:cubicBezTo>
                  <a:pt x="15687" y="3594"/>
                  <a:pt x="15656" y="3625"/>
                  <a:pt x="15656" y="3656"/>
                </a:cubicBezTo>
                <a:cubicBezTo>
                  <a:pt x="15625" y="3687"/>
                  <a:pt x="15562" y="3687"/>
                  <a:pt x="15593" y="3719"/>
                </a:cubicBezTo>
                <a:lnTo>
                  <a:pt x="15593" y="3719"/>
                </a:lnTo>
                <a:cubicBezTo>
                  <a:pt x="15593" y="3750"/>
                  <a:pt x="15625" y="3687"/>
                  <a:pt x="15656" y="3687"/>
                </a:cubicBezTo>
                <a:cubicBezTo>
                  <a:pt x="15687" y="3719"/>
                  <a:pt x="15718" y="3750"/>
                  <a:pt x="15750" y="3750"/>
                </a:cubicBezTo>
                <a:cubicBezTo>
                  <a:pt x="15750" y="3750"/>
                  <a:pt x="15750" y="3719"/>
                  <a:pt x="15750" y="3719"/>
                </a:cubicBezTo>
                <a:cubicBezTo>
                  <a:pt x="15718" y="3687"/>
                  <a:pt x="15687" y="3687"/>
                  <a:pt x="15656" y="3687"/>
                </a:cubicBezTo>
                <a:cubicBezTo>
                  <a:pt x="15656" y="3687"/>
                  <a:pt x="15656" y="3656"/>
                  <a:pt x="15656" y="3656"/>
                </a:cubicBezTo>
                <a:cubicBezTo>
                  <a:pt x="15687" y="3625"/>
                  <a:pt x="15718" y="3656"/>
                  <a:pt x="15718" y="3625"/>
                </a:cubicBezTo>
                <a:close/>
                <a:moveTo>
                  <a:pt x="9406" y="11094"/>
                </a:moveTo>
                <a:cubicBezTo>
                  <a:pt x="9406" y="11094"/>
                  <a:pt x="9375" y="11094"/>
                  <a:pt x="9375" y="11125"/>
                </a:cubicBezTo>
                <a:cubicBezTo>
                  <a:pt x="9375" y="11125"/>
                  <a:pt x="9406" y="11156"/>
                  <a:pt x="9406" y="11156"/>
                </a:cubicBezTo>
                <a:cubicBezTo>
                  <a:pt x="9437" y="11156"/>
                  <a:pt x="9437" y="11125"/>
                  <a:pt x="9437" y="11125"/>
                </a:cubicBezTo>
                <a:cubicBezTo>
                  <a:pt x="9437" y="11094"/>
                  <a:pt x="9437" y="11094"/>
                  <a:pt x="9406" y="11094"/>
                </a:cubicBezTo>
                <a:close/>
                <a:moveTo>
                  <a:pt x="10312" y="5625"/>
                </a:moveTo>
                <a:cubicBezTo>
                  <a:pt x="10312" y="5656"/>
                  <a:pt x="10312" y="5656"/>
                  <a:pt x="10281" y="5656"/>
                </a:cubicBezTo>
                <a:cubicBezTo>
                  <a:pt x="10281" y="5719"/>
                  <a:pt x="10218" y="5719"/>
                  <a:pt x="10218" y="5781"/>
                </a:cubicBezTo>
                <a:cubicBezTo>
                  <a:pt x="10281" y="5750"/>
                  <a:pt x="10281" y="5719"/>
                  <a:pt x="10312" y="5656"/>
                </a:cubicBezTo>
                <a:cubicBezTo>
                  <a:pt x="10312" y="5656"/>
                  <a:pt x="10312" y="5656"/>
                  <a:pt x="10312" y="5656"/>
                </a:cubicBezTo>
                <a:cubicBezTo>
                  <a:pt x="10343" y="5656"/>
                  <a:pt x="10343" y="5656"/>
                  <a:pt x="10343" y="5656"/>
                </a:cubicBezTo>
                <a:cubicBezTo>
                  <a:pt x="10375" y="5656"/>
                  <a:pt x="10375" y="5625"/>
                  <a:pt x="10375" y="5594"/>
                </a:cubicBezTo>
                <a:cubicBezTo>
                  <a:pt x="10343" y="5594"/>
                  <a:pt x="10343" y="5594"/>
                  <a:pt x="10312" y="5625"/>
                </a:cubicBezTo>
                <a:close/>
                <a:moveTo>
                  <a:pt x="10375" y="5594"/>
                </a:moveTo>
                <a:cubicBezTo>
                  <a:pt x="10437" y="5594"/>
                  <a:pt x="10468" y="5531"/>
                  <a:pt x="10500" y="5500"/>
                </a:cubicBezTo>
                <a:cubicBezTo>
                  <a:pt x="10437" y="5531"/>
                  <a:pt x="10406" y="5531"/>
                  <a:pt x="10375" y="5594"/>
                </a:cubicBezTo>
                <a:close/>
                <a:moveTo>
                  <a:pt x="10468" y="12031"/>
                </a:moveTo>
                <a:cubicBezTo>
                  <a:pt x="10500" y="12000"/>
                  <a:pt x="10531" y="11969"/>
                  <a:pt x="10562" y="11969"/>
                </a:cubicBezTo>
                <a:cubicBezTo>
                  <a:pt x="10500" y="11937"/>
                  <a:pt x="10468" y="11937"/>
                  <a:pt x="10468" y="12031"/>
                </a:cubicBezTo>
                <a:close/>
                <a:moveTo>
                  <a:pt x="10062" y="6250"/>
                </a:moveTo>
                <a:cubicBezTo>
                  <a:pt x="10062" y="6250"/>
                  <a:pt x="10093" y="6250"/>
                  <a:pt x="10093" y="6219"/>
                </a:cubicBezTo>
                <a:cubicBezTo>
                  <a:pt x="10093" y="6219"/>
                  <a:pt x="10093" y="6187"/>
                  <a:pt x="10093" y="6219"/>
                </a:cubicBezTo>
                <a:cubicBezTo>
                  <a:pt x="10062" y="6219"/>
                  <a:pt x="10062" y="6219"/>
                  <a:pt x="10062" y="6250"/>
                </a:cubicBezTo>
                <a:close/>
                <a:moveTo>
                  <a:pt x="13437" y="1687"/>
                </a:moveTo>
                <a:cubicBezTo>
                  <a:pt x="13468" y="1687"/>
                  <a:pt x="13468" y="1656"/>
                  <a:pt x="13468" y="1656"/>
                </a:cubicBezTo>
                <a:cubicBezTo>
                  <a:pt x="13468" y="1656"/>
                  <a:pt x="13468" y="1625"/>
                  <a:pt x="13437" y="1656"/>
                </a:cubicBezTo>
                <a:cubicBezTo>
                  <a:pt x="13437" y="1656"/>
                  <a:pt x="13406" y="1656"/>
                  <a:pt x="13406" y="1656"/>
                </a:cubicBezTo>
                <a:cubicBezTo>
                  <a:pt x="13437" y="1687"/>
                  <a:pt x="13437" y="1687"/>
                  <a:pt x="13437" y="1687"/>
                </a:cubicBezTo>
                <a:close/>
                <a:moveTo>
                  <a:pt x="14968" y="1344"/>
                </a:moveTo>
                <a:cubicBezTo>
                  <a:pt x="14968" y="1344"/>
                  <a:pt x="14968" y="1344"/>
                  <a:pt x="14968" y="1344"/>
                </a:cubicBezTo>
                <a:cubicBezTo>
                  <a:pt x="14968" y="1312"/>
                  <a:pt x="14937" y="1312"/>
                  <a:pt x="14906" y="1344"/>
                </a:cubicBezTo>
                <a:cubicBezTo>
                  <a:pt x="14937" y="1344"/>
                  <a:pt x="14968" y="1375"/>
                  <a:pt x="14968" y="1344"/>
                </a:cubicBezTo>
                <a:close/>
                <a:moveTo>
                  <a:pt x="13906" y="10375"/>
                </a:moveTo>
                <a:cubicBezTo>
                  <a:pt x="13875" y="10406"/>
                  <a:pt x="13875" y="10406"/>
                  <a:pt x="13906" y="10406"/>
                </a:cubicBezTo>
                <a:cubicBezTo>
                  <a:pt x="13937" y="10406"/>
                  <a:pt x="13937" y="10406"/>
                  <a:pt x="13937" y="10375"/>
                </a:cubicBezTo>
                <a:cubicBezTo>
                  <a:pt x="13937" y="10344"/>
                  <a:pt x="13937" y="10344"/>
                  <a:pt x="13906" y="10344"/>
                </a:cubicBezTo>
                <a:cubicBezTo>
                  <a:pt x="13875" y="10344"/>
                  <a:pt x="13906" y="10375"/>
                  <a:pt x="13906" y="10375"/>
                </a:cubicBezTo>
                <a:close/>
                <a:moveTo>
                  <a:pt x="11093" y="1406"/>
                </a:moveTo>
                <a:cubicBezTo>
                  <a:pt x="11062" y="1406"/>
                  <a:pt x="11031" y="1406"/>
                  <a:pt x="11031" y="1469"/>
                </a:cubicBezTo>
                <a:cubicBezTo>
                  <a:pt x="11062" y="1469"/>
                  <a:pt x="11093" y="1437"/>
                  <a:pt x="11093" y="1406"/>
                </a:cubicBezTo>
                <a:close/>
                <a:moveTo>
                  <a:pt x="10031" y="8687"/>
                </a:moveTo>
                <a:cubicBezTo>
                  <a:pt x="10031" y="8687"/>
                  <a:pt x="10031" y="8656"/>
                  <a:pt x="10062" y="8656"/>
                </a:cubicBezTo>
                <a:cubicBezTo>
                  <a:pt x="10062" y="8656"/>
                  <a:pt x="10031" y="8625"/>
                  <a:pt x="10031" y="8625"/>
                </a:cubicBezTo>
                <a:cubicBezTo>
                  <a:pt x="10000" y="8656"/>
                  <a:pt x="10000" y="8656"/>
                  <a:pt x="10000" y="8656"/>
                </a:cubicBezTo>
                <a:cubicBezTo>
                  <a:pt x="10000" y="8687"/>
                  <a:pt x="10000" y="8687"/>
                  <a:pt x="10031" y="8687"/>
                </a:cubicBezTo>
                <a:close/>
                <a:moveTo>
                  <a:pt x="9312" y="1719"/>
                </a:moveTo>
                <a:cubicBezTo>
                  <a:pt x="9468" y="1656"/>
                  <a:pt x="9593" y="1562"/>
                  <a:pt x="9750" y="1500"/>
                </a:cubicBezTo>
                <a:cubicBezTo>
                  <a:pt x="9750" y="1500"/>
                  <a:pt x="9781" y="1500"/>
                  <a:pt x="9781" y="1469"/>
                </a:cubicBezTo>
                <a:cubicBezTo>
                  <a:pt x="9750" y="1469"/>
                  <a:pt x="9750" y="1469"/>
                  <a:pt x="9718" y="1469"/>
                </a:cubicBezTo>
                <a:cubicBezTo>
                  <a:pt x="9625" y="1531"/>
                  <a:pt x="9500" y="1562"/>
                  <a:pt x="9375" y="1625"/>
                </a:cubicBezTo>
                <a:cubicBezTo>
                  <a:pt x="9343" y="1625"/>
                  <a:pt x="9312" y="1656"/>
                  <a:pt x="9312" y="1687"/>
                </a:cubicBezTo>
                <a:cubicBezTo>
                  <a:pt x="9312" y="1687"/>
                  <a:pt x="9312" y="1687"/>
                  <a:pt x="9312" y="1687"/>
                </a:cubicBezTo>
                <a:cubicBezTo>
                  <a:pt x="9281" y="1687"/>
                  <a:pt x="9250" y="1719"/>
                  <a:pt x="9218" y="1750"/>
                </a:cubicBezTo>
                <a:cubicBezTo>
                  <a:pt x="9062" y="1844"/>
                  <a:pt x="8906" y="2031"/>
                  <a:pt x="8812" y="2219"/>
                </a:cubicBezTo>
                <a:cubicBezTo>
                  <a:pt x="8781" y="2250"/>
                  <a:pt x="8750" y="2281"/>
                  <a:pt x="8750" y="2312"/>
                </a:cubicBezTo>
                <a:cubicBezTo>
                  <a:pt x="8718" y="2375"/>
                  <a:pt x="8625" y="2406"/>
                  <a:pt x="8593" y="2469"/>
                </a:cubicBezTo>
                <a:cubicBezTo>
                  <a:pt x="8687" y="2469"/>
                  <a:pt x="8750" y="2406"/>
                  <a:pt x="8781" y="2312"/>
                </a:cubicBezTo>
                <a:cubicBezTo>
                  <a:pt x="8812" y="2312"/>
                  <a:pt x="8812" y="2250"/>
                  <a:pt x="8875" y="2250"/>
                </a:cubicBezTo>
                <a:cubicBezTo>
                  <a:pt x="8906" y="2250"/>
                  <a:pt x="8937" y="2250"/>
                  <a:pt x="8906" y="2219"/>
                </a:cubicBezTo>
                <a:cubicBezTo>
                  <a:pt x="8906" y="2187"/>
                  <a:pt x="8875" y="2219"/>
                  <a:pt x="8843" y="2219"/>
                </a:cubicBezTo>
                <a:cubicBezTo>
                  <a:pt x="8968" y="2062"/>
                  <a:pt x="9093" y="1875"/>
                  <a:pt x="9250" y="1750"/>
                </a:cubicBezTo>
                <a:cubicBezTo>
                  <a:pt x="9281" y="1750"/>
                  <a:pt x="9312" y="1750"/>
                  <a:pt x="9312" y="1719"/>
                </a:cubicBezTo>
                <a:close/>
                <a:moveTo>
                  <a:pt x="10000" y="10719"/>
                </a:moveTo>
                <a:cubicBezTo>
                  <a:pt x="10031" y="10750"/>
                  <a:pt x="10062" y="10719"/>
                  <a:pt x="10093" y="10719"/>
                </a:cubicBezTo>
                <a:cubicBezTo>
                  <a:pt x="10062" y="10687"/>
                  <a:pt x="10031" y="10687"/>
                  <a:pt x="10000" y="10719"/>
                </a:cubicBezTo>
                <a:close/>
                <a:moveTo>
                  <a:pt x="15343" y="2812"/>
                </a:moveTo>
                <a:cubicBezTo>
                  <a:pt x="15375" y="2812"/>
                  <a:pt x="15375" y="2812"/>
                  <a:pt x="15375" y="2812"/>
                </a:cubicBezTo>
                <a:cubicBezTo>
                  <a:pt x="15375" y="2781"/>
                  <a:pt x="15343" y="2781"/>
                  <a:pt x="15343" y="2781"/>
                </a:cubicBezTo>
                <a:cubicBezTo>
                  <a:pt x="15343" y="2781"/>
                  <a:pt x="15312" y="2781"/>
                  <a:pt x="15343" y="2781"/>
                </a:cubicBezTo>
                <a:cubicBezTo>
                  <a:pt x="15343" y="2812"/>
                  <a:pt x="15343" y="2812"/>
                  <a:pt x="15343" y="2812"/>
                </a:cubicBezTo>
                <a:close/>
                <a:moveTo>
                  <a:pt x="9812" y="2062"/>
                </a:moveTo>
                <a:cubicBezTo>
                  <a:pt x="9750" y="2094"/>
                  <a:pt x="9656" y="2125"/>
                  <a:pt x="9625" y="2187"/>
                </a:cubicBezTo>
                <a:cubicBezTo>
                  <a:pt x="9625" y="2187"/>
                  <a:pt x="9625" y="2187"/>
                  <a:pt x="9625" y="2187"/>
                </a:cubicBezTo>
                <a:cubicBezTo>
                  <a:pt x="9625" y="2187"/>
                  <a:pt x="9625" y="2187"/>
                  <a:pt x="9625" y="2187"/>
                </a:cubicBezTo>
                <a:cubicBezTo>
                  <a:pt x="9625" y="2187"/>
                  <a:pt x="9625" y="2219"/>
                  <a:pt x="9625" y="2219"/>
                </a:cubicBezTo>
                <a:cubicBezTo>
                  <a:pt x="9593" y="2219"/>
                  <a:pt x="9593" y="2219"/>
                  <a:pt x="9593" y="2250"/>
                </a:cubicBezTo>
                <a:cubicBezTo>
                  <a:pt x="9593" y="2250"/>
                  <a:pt x="9593" y="2250"/>
                  <a:pt x="9593" y="2250"/>
                </a:cubicBezTo>
                <a:cubicBezTo>
                  <a:pt x="9625" y="2250"/>
                  <a:pt x="9625" y="2219"/>
                  <a:pt x="9625" y="2219"/>
                </a:cubicBezTo>
                <a:cubicBezTo>
                  <a:pt x="9625" y="2219"/>
                  <a:pt x="9625" y="2219"/>
                  <a:pt x="9625" y="2187"/>
                </a:cubicBezTo>
                <a:cubicBezTo>
                  <a:pt x="9687" y="2156"/>
                  <a:pt x="9781" y="2125"/>
                  <a:pt x="9812" y="2062"/>
                </a:cubicBezTo>
                <a:cubicBezTo>
                  <a:pt x="9812" y="2062"/>
                  <a:pt x="9812" y="2062"/>
                  <a:pt x="9812" y="2062"/>
                </a:cubicBezTo>
                <a:cubicBezTo>
                  <a:pt x="9843" y="2062"/>
                  <a:pt x="9875" y="2031"/>
                  <a:pt x="9875" y="2000"/>
                </a:cubicBezTo>
                <a:cubicBezTo>
                  <a:pt x="9843" y="2000"/>
                  <a:pt x="9812" y="2031"/>
                  <a:pt x="9812" y="2062"/>
                </a:cubicBezTo>
                <a:close/>
                <a:moveTo>
                  <a:pt x="9750" y="11094"/>
                </a:moveTo>
                <a:cubicBezTo>
                  <a:pt x="9718" y="11094"/>
                  <a:pt x="9718" y="11094"/>
                  <a:pt x="9718" y="11125"/>
                </a:cubicBezTo>
                <a:cubicBezTo>
                  <a:pt x="9718" y="11125"/>
                  <a:pt x="9718" y="11156"/>
                  <a:pt x="9718" y="11156"/>
                </a:cubicBezTo>
                <a:cubicBezTo>
                  <a:pt x="9750" y="11156"/>
                  <a:pt x="9750" y="11125"/>
                  <a:pt x="9781" y="11125"/>
                </a:cubicBezTo>
                <a:cubicBezTo>
                  <a:pt x="9781" y="11094"/>
                  <a:pt x="9781" y="11094"/>
                  <a:pt x="9750" y="11094"/>
                </a:cubicBezTo>
                <a:close/>
                <a:moveTo>
                  <a:pt x="9531" y="11687"/>
                </a:moveTo>
                <a:cubicBezTo>
                  <a:pt x="9500" y="11687"/>
                  <a:pt x="9500" y="11719"/>
                  <a:pt x="9500" y="11750"/>
                </a:cubicBezTo>
                <a:cubicBezTo>
                  <a:pt x="9500" y="11750"/>
                  <a:pt x="9500" y="11781"/>
                  <a:pt x="9500" y="11781"/>
                </a:cubicBezTo>
                <a:cubicBezTo>
                  <a:pt x="9531" y="11750"/>
                  <a:pt x="9562" y="11719"/>
                  <a:pt x="9562" y="11719"/>
                </a:cubicBezTo>
                <a:cubicBezTo>
                  <a:pt x="9562" y="11687"/>
                  <a:pt x="9562" y="11687"/>
                  <a:pt x="9531" y="11687"/>
                </a:cubicBezTo>
                <a:close/>
                <a:moveTo>
                  <a:pt x="10000" y="11750"/>
                </a:moveTo>
                <a:cubicBezTo>
                  <a:pt x="10000" y="11750"/>
                  <a:pt x="10000" y="11750"/>
                  <a:pt x="10000" y="11750"/>
                </a:cubicBezTo>
                <a:cubicBezTo>
                  <a:pt x="10000" y="11750"/>
                  <a:pt x="10000" y="11750"/>
                  <a:pt x="10000" y="11750"/>
                </a:cubicBezTo>
                <a:cubicBezTo>
                  <a:pt x="10000" y="11750"/>
                  <a:pt x="10000" y="11750"/>
                  <a:pt x="10000" y="11750"/>
                </a:cubicBezTo>
                <a:cubicBezTo>
                  <a:pt x="10062" y="11750"/>
                  <a:pt x="10093" y="11719"/>
                  <a:pt x="10093" y="11687"/>
                </a:cubicBezTo>
                <a:cubicBezTo>
                  <a:pt x="10125" y="11687"/>
                  <a:pt x="10125" y="11656"/>
                  <a:pt x="10156" y="11656"/>
                </a:cubicBezTo>
                <a:cubicBezTo>
                  <a:pt x="10156" y="11687"/>
                  <a:pt x="10187" y="11687"/>
                  <a:pt x="10187" y="11687"/>
                </a:cubicBezTo>
                <a:cubicBezTo>
                  <a:pt x="10218" y="11719"/>
                  <a:pt x="10187" y="11750"/>
                  <a:pt x="10218" y="11750"/>
                </a:cubicBezTo>
                <a:cubicBezTo>
                  <a:pt x="10250" y="11750"/>
                  <a:pt x="10281" y="11719"/>
                  <a:pt x="10281" y="11687"/>
                </a:cubicBezTo>
                <a:lnTo>
                  <a:pt x="10281" y="11687"/>
                </a:lnTo>
                <a:cubicBezTo>
                  <a:pt x="10281" y="11656"/>
                  <a:pt x="10250" y="11687"/>
                  <a:pt x="10218" y="11656"/>
                </a:cubicBezTo>
                <a:cubicBezTo>
                  <a:pt x="10218" y="11656"/>
                  <a:pt x="10187" y="11656"/>
                  <a:pt x="10156" y="11656"/>
                </a:cubicBezTo>
                <a:cubicBezTo>
                  <a:pt x="10156" y="11656"/>
                  <a:pt x="10156" y="11625"/>
                  <a:pt x="10156" y="11625"/>
                </a:cubicBezTo>
                <a:cubicBezTo>
                  <a:pt x="10156" y="11625"/>
                  <a:pt x="10156" y="11625"/>
                  <a:pt x="10156" y="11625"/>
                </a:cubicBezTo>
                <a:lnTo>
                  <a:pt x="10156" y="11625"/>
                </a:lnTo>
                <a:cubicBezTo>
                  <a:pt x="10187" y="11625"/>
                  <a:pt x="10218" y="11594"/>
                  <a:pt x="10250" y="11531"/>
                </a:cubicBezTo>
                <a:cubicBezTo>
                  <a:pt x="10187" y="11531"/>
                  <a:pt x="10156" y="11562"/>
                  <a:pt x="10156" y="11594"/>
                </a:cubicBezTo>
                <a:cubicBezTo>
                  <a:pt x="10125" y="11625"/>
                  <a:pt x="10093" y="11625"/>
                  <a:pt x="10062" y="11625"/>
                </a:cubicBezTo>
                <a:cubicBezTo>
                  <a:pt x="10031" y="11594"/>
                  <a:pt x="10062" y="11562"/>
                  <a:pt x="10062" y="11531"/>
                </a:cubicBezTo>
                <a:cubicBezTo>
                  <a:pt x="10062" y="11500"/>
                  <a:pt x="10093" y="11500"/>
                  <a:pt x="10093" y="11437"/>
                </a:cubicBezTo>
                <a:cubicBezTo>
                  <a:pt x="10062" y="11437"/>
                  <a:pt x="10031" y="11406"/>
                  <a:pt x="9968" y="11469"/>
                </a:cubicBezTo>
                <a:cubicBezTo>
                  <a:pt x="9937" y="11500"/>
                  <a:pt x="10031" y="11469"/>
                  <a:pt x="10000" y="11531"/>
                </a:cubicBezTo>
                <a:cubicBezTo>
                  <a:pt x="9968" y="11500"/>
                  <a:pt x="9906" y="11531"/>
                  <a:pt x="9937" y="11437"/>
                </a:cubicBezTo>
                <a:cubicBezTo>
                  <a:pt x="9968" y="11406"/>
                  <a:pt x="9906" y="11406"/>
                  <a:pt x="9906" y="11375"/>
                </a:cubicBezTo>
                <a:cubicBezTo>
                  <a:pt x="9937" y="11375"/>
                  <a:pt x="9937" y="11375"/>
                  <a:pt x="9968" y="11375"/>
                </a:cubicBezTo>
                <a:cubicBezTo>
                  <a:pt x="10000" y="11406"/>
                  <a:pt x="10000" y="11375"/>
                  <a:pt x="10031" y="11375"/>
                </a:cubicBezTo>
                <a:cubicBezTo>
                  <a:pt x="10031" y="11312"/>
                  <a:pt x="10093" y="11312"/>
                  <a:pt x="10125" y="11250"/>
                </a:cubicBezTo>
                <a:cubicBezTo>
                  <a:pt x="10125" y="11250"/>
                  <a:pt x="10156" y="11219"/>
                  <a:pt x="10187" y="11250"/>
                </a:cubicBezTo>
                <a:cubicBezTo>
                  <a:pt x="10187" y="11281"/>
                  <a:pt x="10156" y="11281"/>
                  <a:pt x="10156" y="11312"/>
                </a:cubicBezTo>
                <a:cubicBezTo>
                  <a:pt x="10187" y="11312"/>
                  <a:pt x="10218" y="11312"/>
                  <a:pt x="10250" y="11375"/>
                </a:cubicBezTo>
                <a:cubicBezTo>
                  <a:pt x="10250" y="11375"/>
                  <a:pt x="10218" y="11406"/>
                  <a:pt x="10218" y="11375"/>
                </a:cubicBezTo>
                <a:lnTo>
                  <a:pt x="10218" y="11375"/>
                </a:lnTo>
                <a:cubicBezTo>
                  <a:pt x="10187" y="11375"/>
                  <a:pt x="10156" y="11344"/>
                  <a:pt x="10156" y="11312"/>
                </a:cubicBezTo>
                <a:cubicBezTo>
                  <a:pt x="10125" y="11312"/>
                  <a:pt x="10093" y="11344"/>
                  <a:pt x="10062" y="11375"/>
                </a:cubicBezTo>
                <a:cubicBezTo>
                  <a:pt x="10093" y="11406"/>
                  <a:pt x="10156" y="11406"/>
                  <a:pt x="10156" y="11469"/>
                </a:cubicBezTo>
                <a:lnTo>
                  <a:pt x="10156" y="11469"/>
                </a:lnTo>
                <a:cubicBezTo>
                  <a:pt x="10125" y="11500"/>
                  <a:pt x="10125" y="11531"/>
                  <a:pt x="10062" y="11531"/>
                </a:cubicBezTo>
                <a:cubicBezTo>
                  <a:pt x="10000" y="11562"/>
                  <a:pt x="9937" y="11625"/>
                  <a:pt x="9875" y="11562"/>
                </a:cubicBezTo>
                <a:cubicBezTo>
                  <a:pt x="9906" y="11594"/>
                  <a:pt x="9906" y="11594"/>
                  <a:pt x="9937" y="11625"/>
                </a:cubicBezTo>
                <a:cubicBezTo>
                  <a:pt x="9906" y="11687"/>
                  <a:pt x="9875" y="11719"/>
                  <a:pt x="9968" y="11719"/>
                </a:cubicBezTo>
                <a:cubicBezTo>
                  <a:pt x="9937" y="11687"/>
                  <a:pt x="9968" y="11656"/>
                  <a:pt x="9968" y="11625"/>
                </a:cubicBezTo>
                <a:cubicBezTo>
                  <a:pt x="10000" y="11656"/>
                  <a:pt x="10031" y="11687"/>
                  <a:pt x="10062" y="11656"/>
                </a:cubicBezTo>
                <a:cubicBezTo>
                  <a:pt x="10062" y="11656"/>
                  <a:pt x="10093" y="11656"/>
                  <a:pt x="10093" y="11656"/>
                </a:cubicBezTo>
                <a:cubicBezTo>
                  <a:pt x="10031" y="11687"/>
                  <a:pt x="10031" y="11719"/>
                  <a:pt x="10000" y="11750"/>
                </a:cubicBezTo>
                <a:close/>
                <a:moveTo>
                  <a:pt x="13781" y="10469"/>
                </a:moveTo>
                <a:cubicBezTo>
                  <a:pt x="13781" y="10469"/>
                  <a:pt x="13781" y="10500"/>
                  <a:pt x="13812" y="10500"/>
                </a:cubicBezTo>
                <a:cubicBezTo>
                  <a:pt x="13812" y="10469"/>
                  <a:pt x="13843" y="10469"/>
                  <a:pt x="13843" y="10437"/>
                </a:cubicBezTo>
                <a:cubicBezTo>
                  <a:pt x="13843" y="10437"/>
                  <a:pt x="13843" y="10437"/>
                  <a:pt x="13812" y="10437"/>
                </a:cubicBezTo>
                <a:cubicBezTo>
                  <a:pt x="13812" y="10437"/>
                  <a:pt x="13781" y="10437"/>
                  <a:pt x="13781" y="10469"/>
                </a:cubicBezTo>
                <a:close/>
                <a:moveTo>
                  <a:pt x="9656" y="6500"/>
                </a:moveTo>
                <a:cubicBezTo>
                  <a:pt x="9625" y="6500"/>
                  <a:pt x="9625" y="6531"/>
                  <a:pt x="9593" y="6594"/>
                </a:cubicBezTo>
                <a:cubicBezTo>
                  <a:pt x="9656" y="6562"/>
                  <a:pt x="9656" y="6531"/>
                  <a:pt x="9656" y="6500"/>
                </a:cubicBezTo>
                <a:cubicBezTo>
                  <a:pt x="9687" y="6469"/>
                  <a:pt x="9687" y="6437"/>
                  <a:pt x="9718" y="6406"/>
                </a:cubicBezTo>
                <a:cubicBezTo>
                  <a:pt x="9750" y="6406"/>
                  <a:pt x="9750" y="6437"/>
                  <a:pt x="9750" y="6437"/>
                </a:cubicBezTo>
                <a:lnTo>
                  <a:pt x="9750" y="6437"/>
                </a:lnTo>
                <a:cubicBezTo>
                  <a:pt x="9718" y="6469"/>
                  <a:pt x="9718" y="6500"/>
                  <a:pt x="9656" y="6500"/>
                </a:cubicBezTo>
                <a:close/>
                <a:moveTo>
                  <a:pt x="10343" y="11062"/>
                </a:moveTo>
                <a:cubicBezTo>
                  <a:pt x="10375" y="11062"/>
                  <a:pt x="10375" y="11062"/>
                  <a:pt x="10375" y="11031"/>
                </a:cubicBezTo>
                <a:cubicBezTo>
                  <a:pt x="10343" y="11000"/>
                  <a:pt x="10312" y="11031"/>
                  <a:pt x="10281" y="11031"/>
                </a:cubicBezTo>
                <a:cubicBezTo>
                  <a:pt x="10312" y="11062"/>
                  <a:pt x="10312" y="11062"/>
                  <a:pt x="10343" y="11062"/>
                </a:cubicBezTo>
                <a:close/>
                <a:moveTo>
                  <a:pt x="13312" y="13187"/>
                </a:moveTo>
                <a:cubicBezTo>
                  <a:pt x="13312" y="13187"/>
                  <a:pt x="13343" y="13187"/>
                  <a:pt x="13343" y="13187"/>
                </a:cubicBezTo>
                <a:cubicBezTo>
                  <a:pt x="13375" y="13187"/>
                  <a:pt x="13375" y="13156"/>
                  <a:pt x="13375" y="13125"/>
                </a:cubicBezTo>
                <a:cubicBezTo>
                  <a:pt x="13343" y="13125"/>
                  <a:pt x="13312" y="13156"/>
                  <a:pt x="13312" y="13187"/>
                </a:cubicBezTo>
                <a:close/>
                <a:moveTo>
                  <a:pt x="10500" y="6375"/>
                </a:moveTo>
                <a:cubicBezTo>
                  <a:pt x="10500" y="6375"/>
                  <a:pt x="10531" y="6375"/>
                  <a:pt x="10531" y="6344"/>
                </a:cubicBezTo>
                <a:cubicBezTo>
                  <a:pt x="10531" y="6344"/>
                  <a:pt x="10531" y="6344"/>
                  <a:pt x="10500" y="6344"/>
                </a:cubicBezTo>
                <a:cubicBezTo>
                  <a:pt x="10500" y="6344"/>
                  <a:pt x="10468" y="6344"/>
                  <a:pt x="10468" y="6375"/>
                </a:cubicBezTo>
                <a:cubicBezTo>
                  <a:pt x="10468" y="6375"/>
                  <a:pt x="10500" y="6375"/>
                  <a:pt x="10500" y="6375"/>
                </a:cubicBezTo>
                <a:close/>
                <a:moveTo>
                  <a:pt x="12937" y="3719"/>
                </a:moveTo>
                <a:cubicBezTo>
                  <a:pt x="12937" y="3719"/>
                  <a:pt x="12937" y="3750"/>
                  <a:pt x="12968" y="3719"/>
                </a:cubicBezTo>
                <a:cubicBezTo>
                  <a:pt x="12968" y="3719"/>
                  <a:pt x="13000" y="3719"/>
                  <a:pt x="13000" y="3719"/>
                </a:cubicBezTo>
                <a:cubicBezTo>
                  <a:pt x="12968" y="3687"/>
                  <a:pt x="12968" y="3687"/>
                  <a:pt x="12968" y="3687"/>
                </a:cubicBezTo>
                <a:cubicBezTo>
                  <a:pt x="12937" y="3687"/>
                  <a:pt x="12937" y="3687"/>
                  <a:pt x="12937" y="3719"/>
                </a:cubicBezTo>
                <a:close/>
                <a:moveTo>
                  <a:pt x="14343" y="1656"/>
                </a:moveTo>
                <a:cubicBezTo>
                  <a:pt x="14343" y="1687"/>
                  <a:pt x="14343" y="1687"/>
                  <a:pt x="14375" y="1687"/>
                </a:cubicBezTo>
                <a:cubicBezTo>
                  <a:pt x="14375" y="1687"/>
                  <a:pt x="14406" y="1687"/>
                  <a:pt x="14406" y="1687"/>
                </a:cubicBezTo>
                <a:cubicBezTo>
                  <a:pt x="14406" y="1656"/>
                  <a:pt x="14406" y="1656"/>
                  <a:pt x="14375" y="1656"/>
                </a:cubicBezTo>
                <a:cubicBezTo>
                  <a:pt x="14375" y="1656"/>
                  <a:pt x="14343" y="1656"/>
                  <a:pt x="14343" y="1656"/>
                </a:cubicBezTo>
                <a:close/>
                <a:moveTo>
                  <a:pt x="9562" y="11500"/>
                </a:moveTo>
                <a:cubicBezTo>
                  <a:pt x="9593" y="11500"/>
                  <a:pt x="9593" y="11469"/>
                  <a:pt x="9625" y="11437"/>
                </a:cubicBezTo>
                <a:cubicBezTo>
                  <a:pt x="9593" y="11437"/>
                  <a:pt x="9562" y="11437"/>
                  <a:pt x="9531" y="11469"/>
                </a:cubicBezTo>
                <a:cubicBezTo>
                  <a:pt x="9531" y="11469"/>
                  <a:pt x="9531" y="11500"/>
                  <a:pt x="9562" y="11500"/>
                </a:cubicBezTo>
                <a:close/>
                <a:moveTo>
                  <a:pt x="11250" y="11469"/>
                </a:moveTo>
                <a:cubicBezTo>
                  <a:pt x="11218" y="11469"/>
                  <a:pt x="11218" y="11500"/>
                  <a:pt x="11187" y="11531"/>
                </a:cubicBezTo>
                <a:cubicBezTo>
                  <a:pt x="11250" y="11531"/>
                  <a:pt x="11250" y="11531"/>
                  <a:pt x="11281" y="11500"/>
                </a:cubicBezTo>
                <a:cubicBezTo>
                  <a:pt x="11281" y="11500"/>
                  <a:pt x="11250" y="11469"/>
                  <a:pt x="11250" y="11469"/>
                </a:cubicBezTo>
                <a:close/>
                <a:moveTo>
                  <a:pt x="10718" y="11031"/>
                </a:moveTo>
                <a:cubicBezTo>
                  <a:pt x="10718" y="11062"/>
                  <a:pt x="10718" y="11062"/>
                  <a:pt x="10718" y="11062"/>
                </a:cubicBezTo>
                <a:cubicBezTo>
                  <a:pt x="10750" y="11062"/>
                  <a:pt x="10781" y="11031"/>
                  <a:pt x="10781" y="11000"/>
                </a:cubicBezTo>
                <a:cubicBezTo>
                  <a:pt x="10750" y="11000"/>
                  <a:pt x="10718" y="11031"/>
                  <a:pt x="10718" y="11031"/>
                </a:cubicBezTo>
                <a:close/>
                <a:moveTo>
                  <a:pt x="12843" y="2375"/>
                </a:moveTo>
                <a:cubicBezTo>
                  <a:pt x="12843" y="2375"/>
                  <a:pt x="12843" y="2406"/>
                  <a:pt x="12843" y="2406"/>
                </a:cubicBezTo>
                <a:cubicBezTo>
                  <a:pt x="12875" y="2406"/>
                  <a:pt x="12875" y="2406"/>
                  <a:pt x="12906" y="2375"/>
                </a:cubicBezTo>
                <a:cubicBezTo>
                  <a:pt x="12906" y="2344"/>
                  <a:pt x="12875" y="2344"/>
                  <a:pt x="12875" y="2344"/>
                </a:cubicBezTo>
                <a:cubicBezTo>
                  <a:pt x="12843" y="2344"/>
                  <a:pt x="12843" y="2344"/>
                  <a:pt x="12843" y="2375"/>
                </a:cubicBezTo>
                <a:close/>
                <a:moveTo>
                  <a:pt x="11062" y="10062"/>
                </a:moveTo>
                <a:cubicBezTo>
                  <a:pt x="11062" y="10062"/>
                  <a:pt x="11062" y="10062"/>
                  <a:pt x="11062" y="10062"/>
                </a:cubicBezTo>
                <a:cubicBezTo>
                  <a:pt x="11031" y="10062"/>
                  <a:pt x="11031" y="10094"/>
                  <a:pt x="11000" y="10125"/>
                </a:cubicBezTo>
                <a:cubicBezTo>
                  <a:pt x="11031" y="10094"/>
                  <a:pt x="11062" y="10094"/>
                  <a:pt x="11062" y="10062"/>
                </a:cubicBezTo>
                <a:close/>
                <a:moveTo>
                  <a:pt x="13343" y="1219"/>
                </a:moveTo>
                <a:cubicBezTo>
                  <a:pt x="13312" y="1187"/>
                  <a:pt x="13281" y="1187"/>
                  <a:pt x="13250" y="1187"/>
                </a:cubicBezTo>
                <a:cubicBezTo>
                  <a:pt x="13250" y="1187"/>
                  <a:pt x="13250" y="1219"/>
                  <a:pt x="13250" y="1219"/>
                </a:cubicBezTo>
                <a:cubicBezTo>
                  <a:pt x="13281" y="1250"/>
                  <a:pt x="13281" y="1219"/>
                  <a:pt x="13343" y="1219"/>
                </a:cubicBezTo>
                <a:close/>
                <a:moveTo>
                  <a:pt x="13531" y="3875"/>
                </a:moveTo>
                <a:cubicBezTo>
                  <a:pt x="13500" y="3906"/>
                  <a:pt x="13531" y="3906"/>
                  <a:pt x="13531" y="3906"/>
                </a:cubicBezTo>
                <a:cubicBezTo>
                  <a:pt x="13562" y="3906"/>
                  <a:pt x="13562" y="3906"/>
                  <a:pt x="13562" y="3875"/>
                </a:cubicBezTo>
                <a:cubicBezTo>
                  <a:pt x="13562" y="3875"/>
                  <a:pt x="13562" y="3875"/>
                  <a:pt x="13531" y="3875"/>
                </a:cubicBezTo>
                <a:cubicBezTo>
                  <a:pt x="13531" y="3875"/>
                  <a:pt x="13531" y="3875"/>
                  <a:pt x="13531" y="3875"/>
                </a:cubicBezTo>
                <a:close/>
                <a:moveTo>
                  <a:pt x="11687" y="9969"/>
                </a:moveTo>
                <a:cubicBezTo>
                  <a:pt x="11656" y="9969"/>
                  <a:pt x="11625" y="9969"/>
                  <a:pt x="11625" y="10000"/>
                </a:cubicBezTo>
                <a:cubicBezTo>
                  <a:pt x="11625" y="10000"/>
                  <a:pt x="11656" y="10000"/>
                  <a:pt x="11656" y="10000"/>
                </a:cubicBezTo>
                <a:cubicBezTo>
                  <a:pt x="11687" y="10000"/>
                  <a:pt x="11687" y="10000"/>
                  <a:pt x="11687" y="9969"/>
                </a:cubicBezTo>
                <a:close/>
                <a:moveTo>
                  <a:pt x="9781" y="7812"/>
                </a:moveTo>
                <a:cubicBezTo>
                  <a:pt x="9812" y="7781"/>
                  <a:pt x="9812" y="7781"/>
                  <a:pt x="9812" y="7750"/>
                </a:cubicBezTo>
                <a:cubicBezTo>
                  <a:pt x="9812" y="7750"/>
                  <a:pt x="9812" y="7750"/>
                  <a:pt x="9781" y="7750"/>
                </a:cubicBezTo>
                <a:cubicBezTo>
                  <a:pt x="9781" y="7750"/>
                  <a:pt x="9750" y="7750"/>
                  <a:pt x="9750" y="7781"/>
                </a:cubicBezTo>
                <a:cubicBezTo>
                  <a:pt x="9750" y="7781"/>
                  <a:pt x="9781" y="7812"/>
                  <a:pt x="9781" y="7812"/>
                </a:cubicBezTo>
                <a:close/>
                <a:moveTo>
                  <a:pt x="13812" y="4719"/>
                </a:moveTo>
                <a:cubicBezTo>
                  <a:pt x="13812" y="4719"/>
                  <a:pt x="13812" y="4719"/>
                  <a:pt x="13812" y="4719"/>
                </a:cubicBezTo>
                <a:cubicBezTo>
                  <a:pt x="13781" y="4687"/>
                  <a:pt x="13750" y="4687"/>
                  <a:pt x="13718" y="4687"/>
                </a:cubicBezTo>
                <a:cubicBezTo>
                  <a:pt x="13750" y="4719"/>
                  <a:pt x="13781" y="4750"/>
                  <a:pt x="13812" y="4719"/>
                </a:cubicBezTo>
                <a:close/>
                <a:moveTo>
                  <a:pt x="10375" y="9469"/>
                </a:moveTo>
                <a:cubicBezTo>
                  <a:pt x="10406" y="9469"/>
                  <a:pt x="10406" y="9437"/>
                  <a:pt x="10406" y="9406"/>
                </a:cubicBezTo>
                <a:cubicBezTo>
                  <a:pt x="10437" y="9406"/>
                  <a:pt x="10406" y="9406"/>
                  <a:pt x="10406" y="9406"/>
                </a:cubicBezTo>
                <a:cubicBezTo>
                  <a:pt x="10375" y="9406"/>
                  <a:pt x="10375" y="9437"/>
                  <a:pt x="10375" y="9437"/>
                </a:cubicBezTo>
                <a:cubicBezTo>
                  <a:pt x="10375" y="9469"/>
                  <a:pt x="10375" y="9469"/>
                  <a:pt x="10375" y="9469"/>
                </a:cubicBezTo>
                <a:close/>
                <a:moveTo>
                  <a:pt x="10718" y="1750"/>
                </a:moveTo>
                <a:cubicBezTo>
                  <a:pt x="10750" y="1750"/>
                  <a:pt x="10781" y="1750"/>
                  <a:pt x="10812" y="1719"/>
                </a:cubicBezTo>
                <a:cubicBezTo>
                  <a:pt x="10750" y="1687"/>
                  <a:pt x="10750" y="1719"/>
                  <a:pt x="10718" y="1750"/>
                </a:cubicBezTo>
                <a:close/>
                <a:moveTo>
                  <a:pt x="13531" y="10469"/>
                </a:moveTo>
                <a:cubicBezTo>
                  <a:pt x="13500" y="10500"/>
                  <a:pt x="13531" y="10500"/>
                  <a:pt x="13531" y="10500"/>
                </a:cubicBezTo>
                <a:cubicBezTo>
                  <a:pt x="13562" y="10500"/>
                  <a:pt x="13562" y="10500"/>
                  <a:pt x="13562" y="10469"/>
                </a:cubicBezTo>
                <a:cubicBezTo>
                  <a:pt x="13562" y="10469"/>
                  <a:pt x="13562" y="10437"/>
                  <a:pt x="13562" y="10437"/>
                </a:cubicBezTo>
                <a:cubicBezTo>
                  <a:pt x="13531" y="10437"/>
                  <a:pt x="13531" y="10469"/>
                  <a:pt x="13531" y="10469"/>
                </a:cubicBezTo>
                <a:close/>
                <a:moveTo>
                  <a:pt x="10531" y="8281"/>
                </a:moveTo>
                <a:cubicBezTo>
                  <a:pt x="10531" y="8281"/>
                  <a:pt x="10531" y="8250"/>
                  <a:pt x="10500" y="8250"/>
                </a:cubicBezTo>
                <a:cubicBezTo>
                  <a:pt x="10468" y="8250"/>
                  <a:pt x="10468" y="8281"/>
                  <a:pt x="10468" y="8281"/>
                </a:cubicBezTo>
                <a:cubicBezTo>
                  <a:pt x="10468" y="8312"/>
                  <a:pt x="10468" y="8312"/>
                  <a:pt x="10468" y="8312"/>
                </a:cubicBezTo>
                <a:cubicBezTo>
                  <a:pt x="10500" y="8312"/>
                  <a:pt x="10500" y="8312"/>
                  <a:pt x="10531" y="8281"/>
                </a:cubicBezTo>
                <a:close/>
                <a:moveTo>
                  <a:pt x="13500" y="1375"/>
                </a:moveTo>
                <a:cubicBezTo>
                  <a:pt x="13468" y="1375"/>
                  <a:pt x="13437" y="1344"/>
                  <a:pt x="13437" y="1375"/>
                </a:cubicBezTo>
                <a:cubicBezTo>
                  <a:pt x="13406" y="1375"/>
                  <a:pt x="13406" y="1375"/>
                  <a:pt x="13437" y="1375"/>
                </a:cubicBezTo>
                <a:cubicBezTo>
                  <a:pt x="13437" y="1406"/>
                  <a:pt x="13468" y="1406"/>
                  <a:pt x="13500" y="1375"/>
                </a:cubicBezTo>
                <a:close/>
                <a:moveTo>
                  <a:pt x="13687" y="3906"/>
                </a:moveTo>
                <a:cubicBezTo>
                  <a:pt x="13656" y="3875"/>
                  <a:pt x="13656" y="3875"/>
                  <a:pt x="13625" y="3906"/>
                </a:cubicBezTo>
                <a:cubicBezTo>
                  <a:pt x="13656" y="3906"/>
                  <a:pt x="13656" y="3906"/>
                  <a:pt x="13687" y="3906"/>
                </a:cubicBezTo>
                <a:close/>
                <a:moveTo>
                  <a:pt x="10218" y="1719"/>
                </a:moveTo>
                <a:cubicBezTo>
                  <a:pt x="10187" y="1687"/>
                  <a:pt x="10187" y="1719"/>
                  <a:pt x="10187" y="1750"/>
                </a:cubicBezTo>
                <a:cubicBezTo>
                  <a:pt x="10187" y="1750"/>
                  <a:pt x="10218" y="1750"/>
                  <a:pt x="10250" y="1719"/>
                </a:cubicBezTo>
                <a:cubicBezTo>
                  <a:pt x="10250" y="1719"/>
                  <a:pt x="10218" y="1719"/>
                  <a:pt x="10218" y="1719"/>
                </a:cubicBezTo>
                <a:close/>
                <a:moveTo>
                  <a:pt x="10000" y="7531"/>
                </a:moveTo>
                <a:cubicBezTo>
                  <a:pt x="10031" y="7531"/>
                  <a:pt x="10031" y="7531"/>
                  <a:pt x="10031" y="7500"/>
                </a:cubicBezTo>
                <a:cubicBezTo>
                  <a:pt x="10031" y="7500"/>
                  <a:pt x="10031" y="7469"/>
                  <a:pt x="10031" y="7469"/>
                </a:cubicBezTo>
                <a:cubicBezTo>
                  <a:pt x="10000" y="7469"/>
                  <a:pt x="10000" y="7500"/>
                  <a:pt x="10000" y="7500"/>
                </a:cubicBezTo>
                <a:cubicBezTo>
                  <a:pt x="10000" y="7531"/>
                  <a:pt x="10000" y="7531"/>
                  <a:pt x="10000" y="7531"/>
                </a:cubicBezTo>
                <a:close/>
                <a:moveTo>
                  <a:pt x="7875" y="3031"/>
                </a:moveTo>
                <a:cubicBezTo>
                  <a:pt x="7843" y="3062"/>
                  <a:pt x="7843" y="3094"/>
                  <a:pt x="7843" y="3125"/>
                </a:cubicBezTo>
                <a:cubicBezTo>
                  <a:pt x="7875" y="3094"/>
                  <a:pt x="7906" y="3094"/>
                  <a:pt x="7906" y="3062"/>
                </a:cubicBezTo>
                <a:cubicBezTo>
                  <a:pt x="7906" y="3031"/>
                  <a:pt x="7875" y="3031"/>
                  <a:pt x="7875" y="3031"/>
                </a:cubicBezTo>
                <a:close/>
                <a:moveTo>
                  <a:pt x="13875" y="3500"/>
                </a:moveTo>
                <a:cubicBezTo>
                  <a:pt x="13843" y="3500"/>
                  <a:pt x="13843" y="3500"/>
                  <a:pt x="13843" y="3500"/>
                </a:cubicBezTo>
                <a:cubicBezTo>
                  <a:pt x="13875" y="3531"/>
                  <a:pt x="13906" y="3531"/>
                  <a:pt x="13937" y="3500"/>
                </a:cubicBezTo>
                <a:cubicBezTo>
                  <a:pt x="13906" y="3500"/>
                  <a:pt x="13906" y="3469"/>
                  <a:pt x="13875" y="3500"/>
                </a:cubicBezTo>
                <a:close/>
                <a:moveTo>
                  <a:pt x="11437" y="10812"/>
                </a:moveTo>
                <a:cubicBezTo>
                  <a:pt x="11468" y="10812"/>
                  <a:pt x="11500" y="10812"/>
                  <a:pt x="11468" y="10781"/>
                </a:cubicBezTo>
                <a:cubicBezTo>
                  <a:pt x="11468" y="10781"/>
                  <a:pt x="11468" y="10750"/>
                  <a:pt x="11468" y="10750"/>
                </a:cubicBezTo>
                <a:cubicBezTo>
                  <a:pt x="11437" y="10750"/>
                  <a:pt x="11437" y="10781"/>
                  <a:pt x="11406" y="10781"/>
                </a:cubicBezTo>
                <a:cubicBezTo>
                  <a:pt x="11406" y="10812"/>
                  <a:pt x="11406" y="10812"/>
                  <a:pt x="11406" y="10812"/>
                </a:cubicBezTo>
                <a:lnTo>
                  <a:pt x="11406" y="10814"/>
                </a:lnTo>
                <a:lnTo>
                  <a:pt x="11406" y="10815"/>
                </a:lnTo>
                <a:lnTo>
                  <a:pt x="11406" y="10817"/>
                </a:lnTo>
                <a:cubicBezTo>
                  <a:pt x="11406" y="10844"/>
                  <a:pt x="11404" y="10844"/>
                  <a:pt x="11375" y="10844"/>
                </a:cubicBezTo>
                <a:cubicBezTo>
                  <a:pt x="11375" y="10875"/>
                  <a:pt x="11343" y="10875"/>
                  <a:pt x="11375" y="10906"/>
                </a:cubicBezTo>
                <a:lnTo>
                  <a:pt x="11375" y="10906"/>
                </a:lnTo>
                <a:cubicBezTo>
                  <a:pt x="11375" y="10937"/>
                  <a:pt x="11406" y="10937"/>
                  <a:pt x="11437" y="10937"/>
                </a:cubicBezTo>
                <a:cubicBezTo>
                  <a:pt x="11468" y="10906"/>
                  <a:pt x="11406" y="10875"/>
                  <a:pt x="11406" y="10844"/>
                </a:cubicBezTo>
                <a:cubicBezTo>
                  <a:pt x="11437" y="10844"/>
                  <a:pt x="11437" y="10812"/>
                  <a:pt x="11437" y="10812"/>
                </a:cubicBezTo>
                <a:close/>
                <a:moveTo>
                  <a:pt x="9875" y="12125"/>
                </a:moveTo>
                <a:cubicBezTo>
                  <a:pt x="9875" y="12125"/>
                  <a:pt x="9875" y="12125"/>
                  <a:pt x="9875" y="12125"/>
                </a:cubicBezTo>
                <a:cubicBezTo>
                  <a:pt x="9875" y="12125"/>
                  <a:pt x="9875" y="12125"/>
                  <a:pt x="9875" y="12125"/>
                </a:cubicBezTo>
                <a:lnTo>
                  <a:pt x="9875" y="12125"/>
                </a:lnTo>
                <a:cubicBezTo>
                  <a:pt x="9875" y="12125"/>
                  <a:pt x="9875" y="12125"/>
                  <a:pt x="9875" y="12125"/>
                </a:cubicBezTo>
                <a:cubicBezTo>
                  <a:pt x="9875" y="12125"/>
                  <a:pt x="9875" y="12125"/>
                  <a:pt x="9875" y="12125"/>
                </a:cubicBezTo>
                <a:lnTo>
                  <a:pt x="9875" y="12125"/>
                </a:lnTo>
                <a:cubicBezTo>
                  <a:pt x="9875" y="12125"/>
                  <a:pt x="9875" y="12125"/>
                  <a:pt x="9875" y="12125"/>
                </a:cubicBezTo>
                <a:close/>
                <a:moveTo>
                  <a:pt x="10312" y="10687"/>
                </a:moveTo>
                <a:cubicBezTo>
                  <a:pt x="10375" y="10719"/>
                  <a:pt x="10375" y="10781"/>
                  <a:pt x="10406" y="10687"/>
                </a:cubicBezTo>
                <a:cubicBezTo>
                  <a:pt x="10375" y="10687"/>
                  <a:pt x="10343" y="10687"/>
                  <a:pt x="10312" y="10687"/>
                </a:cubicBezTo>
                <a:close/>
                <a:moveTo>
                  <a:pt x="10156" y="2219"/>
                </a:moveTo>
                <a:cubicBezTo>
                  <a:pt x="10125" y="2250"/>
                  <a:pt x="10125" y="2250"/>
                  <a:pt x="10093" y="2281"/>
                </a:cubicBezTo>
                <a:cubicBezTo>
                  <a:pt x="10156" y="2281"/>
                  <a:pt x="10156" y="2250"/>
                  <a:pt x="10156" y="2219"/>
                </a:cubicBezTo>
                <a:close/>
                <a:moveTo>
                  <a:pt x="15187" y="1969"/>
                </a:moveTo>
                <a:cubicBezTo>
                  <a:pt x="15187" y="1937"/>
                  <a:pt x="15187" y="1937"/>
                  <a:pt x="15187" y="1937"/>
                </a:cubicBezTo>
                <a:cubicBezTo>
                  <a:pt x="15156" y="1937"/>
                  <a:pt x="15125" y="1937"/>
                  <a:pt x="15125" y="1937"/>
                </a:cubicBezTo>
                <a:cubicBezTo>
                  <a:pt x="15125" y="1969"/>
                  <a:pt x="15125" y="1969"/>
                  <a:pt x="15156" y="1969"/>
                </a:cubicBezTo>
                <a:cubicBezTo>
                  <a:pt x="15156" y="1969"/>
                  <a:pt x="15187" y="2000"/>
                  <a:pt x="15187" y="1969"/>
                </a:cubicBezTo>
                <a:close/>
                <a:moveTo>
                  <a:pt x="13187" y="1969"/>
                </a:moveTo>
                <a:cubicBezTo>
                  <a:pt x="13187" y="1969"/>
                  <a:pt x="13187" y="1969"/>
                  <a:pt x="13218" y="1969"/>
                </a:cubicBezTo>
                <a:cubicBezTo>
                  <a:pt x="13218" y="1969"/>
                  <a:pt x="13218" y="1969"/>
                  <a:pt x="13218" y="1969"/>
                </a:cubicBezTo>
                <a:cubicBezTo>
                  <a:pt x="13218" y="1937"/>
                  <a:pt x="13218" y="1937"/>
                  <a:pt x="13218" y="1937"/>
                </a:cubicBezTo>
                <a:cubicBezTo>
                  <a:pt x="13187" y="1937"/>
                  <a:pt x="13187" y="1937"/>
                  <a:pt x="13187" y="1969"/>
                </a:cubicBezTo>
                <a:close/>
                <a:moveTo>
                  <a:pt x="13687" y="3812"/>
                </a:moveTo>
                <a:cubicBezTo>
                  <a:pt x="13687" y="3812"/>
                  <a:pt x="13718" y="3812"/>
                  <a:pt x="13718" y="3812"/>
                </a:cubicBezTo>
                <a:cubicBezTo>
                  <a:pt x="13718" y="3781"/>
                  <a:pt x="13687" y="3781"/>
                  <a:pt x="13687" y="3781"/>
                </a:cubicBezTo>
                <a:cubicBezTo>
                  <a:pt x="13656" y="3781"/>
                  <a:pt x="13656" y="3781"/>
                  <a:pt x="13656" y="3812"/>
                </a:cubicBezTo>
                <a:cubicBezTo>
                  <a:pt x="13656" y="3812"/>
                  <a:pt x="13656" y="3812"/>
                  <a:pt x="13687" y="3812"/>
                </a:cubicBezTo>
                <a:close/>
                <a:moveTo>
                  <a:pt x="10187" y="8844"/>
                </a:moveTo>
                <a:cubicBezTo>
                  <a:pt x="10187" y="8844"/>
                  <a:pt x="10187" y="8875"/>
                  <a:pt x="10187" y="8875"/>
                </a:cubicBezTo>
                <a:cubicBezTo>
                  <a:pt x="10218" y="8875"/>
                  <a:pt x="10218" y="8844"/>
                  <a:pt x="10250" y="8812"/>
                </a:cubicBezTo>
                <a:cubicBezTo>
                  <a:pt x="10250" y="8812"/>
                  <a:pt x="10250" y="8781"/>
                  <a:pt x="10218" y="8781"/>
                </a:cubicBezTo>
                <a:cubicBezTo>
                  <a:pt x="10187" y="8781"/>
                  <a:pt x="10187" y="8812"/>
                  <a:pt x="10187" y="8844"/>
                </a:cubicBezTo>
                <a:close/>
                <a:moveTo>
                  <a:pt x="13593" y="1406"/>
                </a:moveTo>
                <a:cubicBezTo>
                  <a:pt x="13593" y="1375"/>
                  <a:pt x="13593" y="1375"/>
                  <a:pt x="13562" y="1375"/>
                </a:cubicBezTo>
                <a:cubicBezTo>
                  <a:pt x="13562" y="1375"/>
                  <a:pt x="13531" y="1375"/>
                  <a:pt x="13531" y="1375"/>
                </a:cubicBezTo>
                <a:cubicBezTo>
                  <a:pt x="13531" y="1406"/>
                  <a:pt x="13531" y="1406"/>
                  <a:pt x="13562" y="1406"/>
                </a:cubicBezTo>
                <a:cubicBezTo>
                  <a:pt x="13562" y="1406"/>
                  <a:pt x="13593" y="1406"/>
                  <a:pt x="13593" y="1406"/>
                </a:cubicBezTo>
                <a:close/>
                <a:moveTo>
                  <a:pt x="12625" y="10406"/>
                </a:moveTo>
                <a:cubicBezTo>
                  <a:pt x="12625" y="10406"/>
                  <a:pt x="12625" y="10375"/>
                  <a:pt x="12593" y="10375"/>
                </a:cubicBezTo>
                <a:cubicBezTo>
                  <a:pt x="12562" y="10344"/>
                  <a:pt x="12562" y="10375"/>
                  <a:pt x="12531" y="10406"/>
                </a:cubicBezTo>
                <a:cubicBezTo>
                  <a:pt x="12562" y="10406"/>
                  <a:pt x="12593" y="10437"/>
                  <a:pt x="12625" y="10406"/>
                </a:cubicBezTo>
                <a:close/>
                <a:moveTo>
                  <a:pt x="10562" y="8812"/>
                </a:moveTo>
                <a:cubicBezTo>
                  <a:pt x="10562" y="8812"/>
                  <a:pt x="10562" y="8781"/>
                  <a:pt x="10562" y="8781"/>
                </a:cubicBezTo>
                <a:cubicBezTo>
                  <a:pt x="10531" y="8781"/>
                  <a:pt x="10531" y="8812"/>
                  <a:pt x="10500" y="8844"/>
                </a:cubicBezTo>
                <a:cubicBezTo>
                  <a:pt x="10500" y="8844"/>
                  <a:pt x="10531" y="8875"/>
                  <a:pt x="10531" y="8875"/>
                </a:cubicBezTo>
                <a:cubicBezTo>
                  <a:pt x="10562" y="8844"/>
                  <a:pt x="10562" y="8844"/>
                  <a:pt x="10562" y="8812"/>
                </a:cubicBezTo>
                <a:close/>
                <a:moveTo>
                  <a:pt x="10687" y="9281"/>
                </a:moveTo>
                <a:cubicBezTo>
                  <a:pt x="10687" y="9281"/>
                  <a:pt x="10687" y="9281"/>
                  <a:pt x="10687" y="9281"/>
                </a:cubicBezTo>
                <a:cubicBezTo>
                  <a:pt x="10718" y="9281"/>
                  <a:pt x="10718" y="9250"/>
                  <a:pt x="10718" y="9219"/>
                </a:cubicBezTo>
                <a:cubicBezTo>
                  <a:pt x="10687" y="9219"/>
                  <a:pt x="10687" y="9250"/>
                  <a:pt x="10687" y="9281"/>
                </a:cubicBezTo>
                <a:close/>
                <a:moveTo>
                  <a:pt x="9656" y="11250"/>
                </a:moveTo>
                <a:cubicBezTo>
                  <a:pt x="9656" y="11219"/>
                  <a:pt x="9687" y="11219"/>
                  <a:pt x="9687" y="11187"/>
                </a:cubicBezTo>
                <a:cubicBezTo>
                  <a:pt x="9687" y="11187"/>
                  <a:pt x="9687" y="11156"/>
                  <a:pt x="9687" y="11156"/>
                </a:cubicBezTo>
                <a:cubicBezTo>
                  <a:pt x="9656" y="11187"/>
                  <a:pt x="9625" y="11187"/>
                  <a:pt x="9625" y="11219"/>
                </a:cubicBezTo>
                <a:cubicBezTo>
                  <a:pt x="9625" y="11219"/>
                  <a:pt x="9625" y="11250"/>
                  <a:pt x="9656" y="11250"/>
                </a:cubicBezTo>
                <a:close/>
                <a:moveTo>
                  <a:pt x="9750" y="6219"/>
                </a:moveTo>
                <a:cubicBezTo>
                  <a:pt x="9718" y="6219"/>
                  <a:pt x="9687" y="6250"/>
                  <a:pt x="9687" y="6281"/>
                </a:cubicBezTo>
                <a:cubicBezTo>
                  <a:pt x="9718" y="6281"/>
                  <a:pt x="9750" y="6250"/>
                  <a:pt x="9750" y="6219"/>
                </a:cubicBezTo>
                <a:cubicBezTo>
                  <a:pt x="9750" y="6219"/>
                  <a:pt x="9750" y="6219"/>
                  <a:pt x="9750" y="6219"/>
                </a:cubicBezTo>
                <a:close/>
                <a:moveTo>
                  <a:pt x="15312" y="12781"/>
                </a:moveTo>
                <a:cubicBezTo>
                  <a:pt x="15312" y="12781"/>
                  <a:pt x="15312" y="12750"/>
                  <a:pt x="15312" y="12750"/>
                </a:cubicBezTo>
                <a:cubicBezTo>
                  <a:pt x="15312" y="12750"/>
                  <a:pt x="15312" y="12719"/>
                  <a:pt x="15281" y="12719"/>
                </a:cubicBezTo>
                <a:cubicBezTo>
                  <a:pt x="15281" y="12719"/>
                  <a:pt x="15250" y="12719"/>
                  <a:pt x="15250" y="12750"/>
                </a:cubicBezTo>
                <a:cubicBezTo>
                  <a:pt x="15250" y="12781"/>
                  <a:pt x="15281" y="12781"/>
                  <a:pt x="15312" y="12781"/>
                </a:cubicBezTo>
                <a:close/>
                <a:moveTo>
                  <a:pt x="12656" y="11219"/>
                </a:moveTo>
                <a:cubicBezTo>
                  <a:pt x="12625" y="11219"/>
                  <a:pt x="12625" y="11250"/>
                  <a:pt x="12593" y="11250"/>
                </a:cubicBezTo>
                <a:cubicBezTo>
                  <a:pt x="12593" y="11281"/>
                  <a:pt x="12562" y="11281"/>
                  <a:pt x="12593" y="11312"/>
                </a:cubicBezTo>
                <a:cubicBezTo>
                  <a:pt x="12625" y="11312"/>
                  <a:pt x="12625" y="11312"/>
                  <a:pt x="12625" y="11281"/>
                </a:cubicBezTo>
                <a:cubicBezTo>
                  <a:pt x="12625" y="11250"/>
                  <a:pt x="12687" y="11250"/>
                  <a:pt x="12718" y="11250"/>
                </a:cubicBezTo>
                <a:cubicBezTo>
                  <a:pt x="12687" y="11219"/>
                  <a:pt x="12687" y="11219"/>
                  <a:pt x="12656" y="11219"/>
                </a:cubicBezTo>
                <a:cubicBezTo>
                  <a:pt x="12718" y="11219"/>
                  <a:pt x="12718" y="11187"/>
                  <a:pt x="12718" y="11156"/>
                </a:cubicBezTo>
                <a:cubicBezTo>
                  <a:pt x="12687" y="11156"/>
                  <a:pt x="12687" y="11156"/>
                  <a:pt x="12625" y="11156"/>
                </a:cubicBezTo>
                <a:lnTo>
                  <a:pt x="12625" y="11156"/>
                </a:lnTo>
                <a:cubicBezTo>
                  <a:pt x="12656" y="11156"/>
                  <a:pt x="12656" y="11187"/>
                  <a:pt x="12656" y="11219"/>
                </a:cubicBezTo>
                <a:close/>
                <a:moveTo>
                  <a:pt x="10656" y="1906"/>
                </a:moveTo>
                <a:cubicBezTo>
                  <a:pt x="10656" y="1906"/>
                  <a:pt x="10656" y="1937"/>
                  <a:pt x="10656" y="1937"/>
                </a:cubicBezTo>
                <a:cubicBezTo>
                  <a:pt x="10687" y="1937"/>
                  <a:pt x="10718" y="1906"/>
                  <a:pt x="10750" y="1875"/>
                </a:cubicBezTo>
                <a:cubicBezTo>
                  <a:pt x="10718" y="1875"/>
                  <a:pt x="10687" y="1875"/>
                  <a:pt x="10656" y="1906"/>
                </a:cubicBezTo>
                <a:close/>
                <a:moveTo>
                  <a:pt x="9718" y="8062"/>
                </a:moveTo>
                <a:cubicBezTo>
                  <a:pt x="9750" y="8031"/>
                  <a:pt x="9750" y="8000"/>
                  <a:pt x="9781" y="7969"/>
                </a:cubicBezTo>
                <a:cubicBezTo>
                  <a:pt x="9718" y="7969"/>
                  <a:pt x="9718" y="8031"/>
                  <a:pt x="9718" y="8062"/>
                </a:cubicBezTo>
                <a:close/>
                <a:moveTo>
                  <a:pt x="9781" y="7969"/>
                </a:moveTo>
                <a:cubicBezTo>
                  <a:pt x="9812" y="7969"/>
                  <a:pt x="9843" y="7969"/>
                  <a:pt x="9843" y="7906"/>
                </a:cubicBezTo>
                <a:lnTo>
                  <a:pt x="9843" y="7906"/>
                </a:lnTo>
                <a:cubicBezTo>
                  <a:pt x="9843" y="7906"/>
                  <a:pt x="9843" y="7875"/>
                  <a:pt x="9812" y="7875"/>
                </a:cubicBezTo>
                <a:cubicBezTo>
                  <a:pt x="9781" y="7906"/>
                  <a:pt x="9781" y="7937"/>
                  <a:pt x="9781" y="7969"/>
                </a:cubicBezTo>
                <a:close/>
                <a:moveTo>
                  <a:pt x="13218" y="11937"/>
                </a:moveTo>
                <a:cubicBezTo>
                  <a:pt x="13187" y="11937"/>
                  <a:pt x="13156" y="11937"/>
                  <a:pt x="13156" y="11969"/>
                </a:cubicBezTo>
                <a:cubicBezTo>
                  <a:pt x="13187" y="11969"/>
                  <a:pt x="13218" y="11969"/>
                  <a:pt x="13218" y="11937"/>
                </a:cubicBezTo>
                <a:cubicBezTo>
                  <a:pt x="13218" y="11937"/>
                  <a:pt x="13218" y="11937"/>
                  <a:pt x="13218" y="11937"/>
                </a:cubicBezTo>
                <a:close/>
                <a:moveTo>
                  <a:pt x="11875" y="10156"/>
                </a:moveTo>
                <a:cubicBezTo>
                  <a:pt x="11906" y="10156"/>
                  <a:pt x="11937" y="10125"/>
                  <a:pt x="11968" y="10094"/>
                </a:cubicBezTo>
                <a:cubicBezTo>
                  <a:pt x="11937" y="10094"/>
                  <a:pt x="11875" y="10094"/>
                  <a:pt x="11875" y="10156"/>
                </a:cubicBezTo>
                <a:close/>
                <a:moveTo>
                  <a:pt x="11968" y="10094"/>
                </a:moveTo>
                <a:cubicBezTo>
                  <a:pt x="12000" y="10062"/>
                  <a:pt x="12062" y="10031"/>
                  <a:pt x="12062" y="10000"/>
                </a:cubicBezTo>
                <a:cubicBezTo>
                  <a:pt x="12031" y="10000"/>
                  <a:pt x="11968" y="10031"/>
                  <a:pt x="11968" y="10094"/>
                </a:cubicBezTo>
                <a:close/>
                <a:moveTo>
                  <a:pt x="11625" y="1094"/>
                </a:moveTo>
                <a:cubicBezTo>
                  <a:pt x="11625" y="1094"/>
                  <a:pt x="11625" y="1062"/>
                  <a:pt x="11625" y="1062"/>
                </a:cubicBezTo>
                <a:cubicBezTo>
                  <a:pt x="11593" y="1062"/>
                  <a:pt x="11593" y="1094"/>
                  <a:pt x="11562" y="1094"/>
                </a:cubicBezTo>
                <a:cubicBezTo>
                  <a:pt x="11593" y="1125"/>
                  <a:pt x="11625" y="1094"/>
                  <a:pt x="11625" y="1094"/>
                </a:cubicBezTo>
                <a:close/>
                <a:moveTo>
                  <a:pt x="11781" y="9156"/>
                </a:moveTo>
                <a:cubicBezTo>
                  <a:pt x="11781" y="9156"/>
                  <a:pt x="11750" y="9156"/>
                  <a:pt x="11750" y="9187"/>
                </a:cubicBezTo>
                <a:cubicBezTo>
                  <a:pt x="11750" y="9219"/>
                  <a:pt x="11750" y="9219"/>
                  <a:pt x="11781" y="9219"/>
                </a:cubicBezTo>
                <a:cubicBezTo>
                  <a:pt x="11781" y="9187"/>
                  <a:pt x="11812" y="9187"/>
                  <a:pt x="11812" y="9187"/>
                </a:cubicBezTo>
                <a:cubicBezTo>
                  <a:pt x="11812" y="9156"/>
                  <a:pt x="11812" y="9156"/>
                  <a:pt x="11781" y="9156"/>
                </a:cubicBezTo>
                <a:close/>
                <a:moveTo>
                  <a:pt x="11500" y="1750"/>
                </a:moveTo>
                <a:cubicBezTo>
                  <a:pt x="11437" y="1719"/>
                  <a:pt x="11437" y="1719"/>
                  <a:pt x="11406" y="1750"/>
                </a:cubicBezTo>
                <a:cubicBezTo>
                  <a:pt x="11437" y="1781"/>
                  <a:pt x="11468" y="1781"/>
                  <a:pt x="11500" y="1750"/>
                </a:cubicBezTo>
                <a:close/>
                <a:moveTo>
                  <a:pt x="10812" y="8375"/>
                </a:moveTo>
                <a:cubicBezTo>
                  <a:pt x="10812" y="8375"/>
                  <a:pt x="10781" y="8344"/>
                  <a:pt x="10781" y="8344"/>
                </a:cubicBezTo>
                <a:cubicBezTo>
                  <a:pt x="10750" y="8375"/>
                  <a:pt x="10750" y="8375"/>
                  <a:pt x="10750" y="8406"/>
                </a:cubicBezTo>
                <a:cubicBezTo>
                  <a:pt x="10750" y="8406"/>
                  <a:pt x="10750" y="8437"/>
                  <a:pt x="10781" y="8406"/>
                </a:cubicBezTo>
                <a:cubicBezTo>
                  <a:pt x="10781" y="8406"/>
                  <a:pt x="10812" y="8406"/>
                  <a:pt x="10812" y="8375"/>
                </a:cubicBezTo>
                <a:close/>
                <a:moveTo>
                  <a:pt x="13500" y="2281"/>
                </a:moveTo>
                <a:cubicBezTo>
                  <a:pt x="13500" y="2281"/>
                  <a:pt x="13500" y="2281"/>
                  <a:pt x="13531" y="2281"/>
                </a:cubicBezTo>
                <a:cubicBezTo>
                  <a:pt x="13562" y="2312"/>
                  <a:pt x="13562" y="2312"/>
                  <a:pt x="13593" y="2281"/>
                </a:cubicBezTo>
                <a:cubicBezTo>
                  <a:pt x="13562" y="2250"/>
                  <a:pt x="13531" y="2250"/>
                  <a:pt x="13500" y="2281"/>
                </a:cubicBezTo>
                <a:close/>
                <a:moveTo>
                  <a:pt x="10750" y="2937"/>
                </a:moveTo>
                <a:cubicBezTo>
                  <a:pt x="10750" y="2937"/>
                  <a:pt x="10781" y="2969"/>
                  <a:pt x="10781" y="2969"/>
                </a:cubicBezTo>
                <a:cubicBezTo>
                  <a:pt x="10812" y="2937"/>
                  <a:pt x="10843" y="2937"/>
                  <a:pt x="10843" y="2906"/>
                </a:cubicBezTo>
                <a:cubicBezTo>
                  <a:pt x="10843" y="2906"/>
                  <a:pt x="10812" y="2875"/>
                  <a:pt x="10812" y="2906"/>
                </a:cubicBezTo>
                <a:cubicBezTo>
                  <a:pt x="10781" y="2906"/>
                  <a:pt x="10781" y="2906"/>
                  <a:pt x="10750" y="2937"/>
                </a:cubicBezTo>
                <a:close/>
                <a:moveTo>
                  <a:pt x="12812" y="12562"/>
                </a:moveTo>
                <a:cubicBezTo>
                  <a:pt x="12781" y="12562"/>
                  <a:pt x="12750" y="12594"/>
                  <a:pt x="12750" y="12625"/>
                </a:cubicBezTo>
                <a:cubicBezTo>
                  <a:pt x="12750" y="12625"/>
                  <a:pt x="12781" y="12625"/>
                  <a:pt x="12781" y="12625"/>
                </a:cubicBezTo>
                <a:cubicBezTo>
                  <a:pt x="12812" y="12625"/>
                  <a:pt x="12812" y="12594"/>
                  <a:pt x="12812" y="12562"/>
                </a:cubicBezTo>
                <a:close/>
                <a:moveTo>
                  <a:pt x="10468" y="10719"/>
                </a:moveTo>
                <a:cubicBezTo>
                  <a:pt x="10500" y="10750"/>
                  <a:pt x="10468" y="10781"/>
                  <a:pt x="10468" y="10812"/>
                </a:cubicBezTo>
                <a:cubicBezTo>
                  <a:pt x="10500" y="10781"/>
                  <a:pt x="10531" y="10781"/>
                  <a:pt x="10531" y="10750"/>
                </a:cubicBezTo>
                <a:cubicBezTo>
                  <a:pt x="10531" y="10719"/>
                  <a:pt x="10500" y="10719"/>
                  <a:pt x="10468" y="10719"/>
                </a:cubicBezTo>
                <a:close/>
                <a:moveTo>
                  <a:pt x="12125" y="1250"/>
                </a:moveTo>
                <a:cubicBezTo>
                  <a:pt x="12125" y="1250"/>
                  <a:pt x="12125" y="1250"/>
                  <a:pt x="12093" y="1250"/>
                </a:cubicBezTo>
                <a:cubicBezTo>
                  <a:pt x="12093" y="1219"/>
                  <a:pt x="12062" y="1250"/>
                  <a:pt x="12031" y="1281"/>
                </a:cubicBezTo>
                <a:cubicBezTo>
                  <a:pt x="12062" y="1281"/>
                  <a:pt x="12093" y="1281"/>
                  <a:pt x="12125" y="1250"/>
                </a:cubicBezTo>
                <a:close/>
                <a:moveTo>
                  <a:pt x="13562" y="4469"/>
                </a:moveTo>
                <a:cubicBezTo>
                  <a:pt x="13593" y="4469"/>
                  <a:pt x="13593" y="4469"/>
                  <a:pt x="13593" y="4437"/>
                </a:cubicBezTo>
                <a:cubicBezTo>
                  <a:pt x="13593" y="4406"/>
                  <a:pt x="13593" y="4406"/>
                  <a:pt x="13562" y="4406"/>
                </a:cubicBezTo>
                <a:cubicBezTo>
                  <a:pt x="13562" y="4406"/>
                  <a:pt x="13531" y="4406"/>
                  <a:pt x="13531" y="4437"/>
                </a:cubicBezTo>
                <a:cubicBezTo>
                  <a:pt x="13531" y="4469"/>
                  <a:pt x="13562" y="4469"/>
                  <a:pt x="13562" y="4469"/>
                </a:cubicBezTo>
                <a:close/>
                <a:moveTo>
                  <a:pt x="9500" y="10656"/>
                </a:moveTo>
                <a:cubicBezTo>
                  <a:pt x="9500" y="10656"/>
                  <a:pt x="9468" y="10656"/>
                  <a:pt x="9468" y="10656"/>
                </a:cubicBezTo>
                <a:cubicBezTo>
                  <a:pt x="9437" y="10656"/>
                  <a:pt x="9437" y="10687"/>
                  <a:pt x="9406" y="10719"/>
                </a:cubicBezTo>
                <a:cubicBezTo>
                  <a:pt x="9406" y="10719"/>
                  <a:pt x="9437" y="10719"/>
                  <a:pt x="9437" y="10719"/>
                </a:cubicBezTo>
                <a:cubicBezTo>
                  <a:pt x="9468" y="10719"/>
                  <a:pt x="9500" y="10687"/>
                  <a:pt x="9500" y="10656"/>
                </a:cubicBezTo>
                <a:close/>
                <a:moveTo>
                  <a:pt x="9718" y="11469"/>
                </a:moveTo>
                <a:cubicBezTo>
                  <a:pt x="9687" y="11469"/>
                  <a:pt x="9687" y="11469"/>
                  <a:pt x="9656" y="11469"/>
                </a:cubicBezTo>
                <a:cubicBezTo>
                  <a:pt x="9687" y="11469"/>
                  <a:pt x="9687" y="11500"/>
                  <a:pt x="9687" y="11500"/>
                </a:cubicBezTo>
                <a:cubicBezTo>
                  <a:pt x="9718" y="11531"/>
                  <a:pt x="9750" y="11500"/>
                  <a:pt x="9781" y="11469"/>
                </a:cubicBezTo>
                <a:cubicBezTo>
                  <a:pt x="9781" y="11469"/>
                  <a:pt x="9781" y="11469"/>
                  <a:pt x="9781" y="11437"/>
                </a:cubicBezTo>
                <a:cubicBezTo>
                  <a:pt x="9750" y="11437"/>
                  <a:pt x="9750" y="11469"/>
                  <a:pt x="9718" y="11469"/>
                </a:cubicBezTo>
                <a:close/>
                <a:moveTo>
                  <a:pt x="10000" y="8281"/>
                </a:moveTo>
                <a:cubicBezTo>
                  <a:pt x="10000" y="8250"/>
                  <a:pt x="9968" y="8250"/>
                  <a:pt x="9968" y="8250"/>
                </a:cubicBezTo>
                <a:cubicBezTo>
                  <a:pt x="9937" y="8281"/>
                  <a:pt x="9937" y="8312"/>
                  <a:pt x="9937" y="8375"/>
                </a:cubicBezTo>
                <a:cubicBezTo>
                  <a:pt x="9968" y="8344"/>
                  <a:pt x="10000" y="8312"/>
                  <a:pt x="10000" y="8281"/>
                </a:cubicBezTo>
                <a:close/>
                <a:moveTo>
                  <a:pt x="14781" y="1312"/>
                </a:moveTo>
                <a:cubicBezTo>
                  <a:pt x="14781" y="1312"/>
                  <a:pt x="14812" y="1312"/>
                  <a:pt x="14843" y="1312"/>
                </a:cubicBezTo>
                <a:cubicBezTo>
                  <a:pt x="14843" y="1312"/>
                  <a:pt x="14875" y="1344"/>
                  <a:pt x="14875" y="1312"/>
                </a:cubicBezTo>
                <a:cubicBezTo>
                  <a:pt x="14875" y="1281"/>
                  <a:pt x="14843" y="1281"/>
                  <a:pt x="14843" y="1281"/>
                </a:cubicBezTo>
                <a:cubicBezTo>
                  <a:pt x="14812" y="1281"/>
                  <a:pt x="14781" y="1281"/>
                  <a:pt x="14781" y="1312"/>
                </a:cubicBezTo>
                <a:close/>
                <a:moveTo>
                  <a:pt x="10500" y="5875"/>
                </a:moveTo>
                <a:cubicBezTo>
                  <a:pt x="10531" y="5875"/>
                  <a:pt x="10562" y="5875"/>
                  <a:pt x="10562" y="5812"/>
                </a:cubicBezTo>
                <a:cubicBezTo>
                  <a:pt x="10531" y="5812"/>
                  <a:pt x="10500" y="5844"/>
                  <a:pt x="10500" y="5875"/>
                </a:cubicBezTo>
                <a:close/>
                <a:moveTo>
                  <a:pt x="10562" y="5812"/>
                </a:moveTo>
                <a:cubicBezTo>
                  <a:pt x="10625" y="5812"/>
                  <a:pt x="10625" y="5781"/>
                  <a:pt x="10625" y="5719"/>
                </a:cubicBezTo>
                <a:lnTo>
                  <a:pt x="10625" y="5719"/>
                </a:lnTo>
                <a:cubicBezTo>
                  <a:pt x="10625" y="5750"/>
                  <a:pt x="10562" y="5781"/>
                  <a:pt x="10562" y="5812"/>
                </a:cubicBezTo>
                <a:close/>
                <a:moveTo>
                  <a:pt x="9906" y="7219"/>
                </a:moveTo>
                <a:cubicBezTo>
                  <a:pt x="9968" y="7156"/>
                  <a:pt x="9968" y="7156"/>
                  <a:pt x="9906" y="7125"/>
                </a:cubicBezTo>
                <a:cubicBezTo>
                  <a:pt x="9906" y="7156"/>
                  <a:pt x="9906" y="7187"/>
                  <a:pt x="9906" y="7219"/>
                </a:cubicBezTo>
                <a:close/>
                <a:moveTo>
                  <a:pt x="13750" y="2156"/>
                </a:moveTo>
                <a:cubicBezTo>
                  <a:pt x="13750" y="2156"/>
                  <a:pt x="13750" y="2156"/>
                  <a:pt x="13750" y="2156"/>
                </a:cubicBezTo>
                <a:cubicBezTo>
                  <a:pt x="13781" y="2187"/>
                  <a:pt x="13812" y="2187"/>
                  <a:pt x="13843" y="2156"/>
                </a:cubicBezTo>
                <a:cubicBezTo>
                  <a:pt x="13812" y="2156"/>
                  <a:pt x="13781" y="2125"/>
                  <a:pt x="13750" y="2156"/>
                </a:cubicBezTo>
                <a:close/>
                <a:moveTo>
                  <a:pt x="15500" y="1750"/>
                </a:moveTo>
                <a:cubicBezTo>
                  <a:pt x="15468" y="1750"/>
                  <a:pt x="15437" y="1750"/>
                  <a:pt x="15437" y="1750"/>
                </a:cubicBezTo>
                <a:cubicBezTo>
                  <a:pt x="15468" y="1812"/>
                  <a:pt x="15468" y="1812"/>
                  <a:pt x="15500" y="1750"/>
                </a:cubicBezTo>
                <a:close/>
                <a:moveTo>
                  <a:pt x="9750" y="7406"/>
                </a:moveTo>
                <a:cubicBezTo>
                  <a:pt x="9750" y="7406"/>
                  <a:pt x="9750" y="7406"/>
                  <a:pt x="9750" y="7406"/>
                </a:cubicBezTo>
                <a:cubicBezTo>
                  <a:pt x="9781" y="7406"/>
                  <a:pt x="9781" y="7375"/>
                  <a:pt x="9781" y="7344"/>
                </a:cubicBezTo>
                <a:cubicBezTo>
                  <a:pt x="9781" y="7344"/>
                  <a:pt x="9750" y="7375"/>
                  <a:pt x="9750" y="7406"/>
                </a:cubicBezTo>
                <a:close/>
                <a:moveTo>
                  <a:pt x="11218" y="1344"/>
                </a:moveTo>
                <a:cubicBezTo>
                  <a:pt x="11187" y="1375"/>
                  <a:pt x="11156" y="1375"/>
                  <a:pt x="11156" y="1406"/>
                </a:cubicBezTo>
                <a:cubicBezTo>
                  <a:pt x="11187" y="1406"/>
                  <a:pt x="11218" y="1406"/>
                  <a:pt x="11218" y="1344"/>
                </a:cubicBezTo>
                <a:close/>
                <a:moveTo>
                  <a:pt x="13968" y="10219"/>
                </a:moveTo>
                <a:cubicBezTo>
                  <a:pt x="14000" y="10219"/>
                  <a:pt x="14000" y="10187"/>
                  <a:pt x="14031" y="10187"/>
                </a:cubicBezTo>
                <a:cubicBezTo>
                  <a:pt x="14000" y="10156"/>
                  <a:pt x="14000" y="10156"/>
                  <a:pt x="14000" y="10156"/>
                </a:cubicBezTo>
                <a:cubicBezTo>
                  <a:pt x="13968" y="10156"/>
                  <a:pt x="13937" y="10187"/>
                  <a:pt x="13937" y="10187"/>
                </a:cubicBezTo>
                <a:cubicBezTo>
                  <a:pt x="13937" y="10219"/>
                  <a:pt x="13968" y="10219"/>
                  <a:pt x="13968" y="10219"/>
                </a:cubicBezTo>
                <a:close/>
                <a:moveTo>
                  <a:pt x="13968" y="2187"/>
                </a:moveTo>
                <a:cubicBezTo>
                  <a:pt x="13968" y="2156"/>
                  <a:pt x="13937" y="2156"/>
                  <a:pt x="13937" y="2156"/>
                </a:cubicBezTo>
                <a:cubicBezTo>
                  <a:pt x="13906" y="2156"/>
                  <a:pt x="13906" y="2156"/>
                  <a:pt x="13906" y="2187"/>
                </a:cubicBezTo>
                <a:cubicBezTo>
                  <a:pt x="13906" y="2219"/>
                  <a:pt x="13906" y="2219"/>
                  <a:pt x="13937" y="2219"/>
                </a:cubicBezTo>
                <a:cubicBezTo>
                  <a:pt x="13968" y="2219"/>
                  <a:pt x="13968" y="2219"/>
                  <a:pt x="13968" y="2187"/>
                </a:cubicBezTo>
                <a:close/>
                <a:moveTo>
                  <a:pt x="10156" y="9094"/>
                </a:moveTo>
                <a:cubicBezTo>
                  <a:pt x="10187" y="9094"/>
                  <a:pt x="10187" y="9094"/>
                  <a:pt x="10187" y="9062"/>
                </a:cubicBezTo>
                <a:cubicBezTo>
                  <a:pt x="10187" y="9031"/>
                  <a:pt x="10187" y="9031"/>
                  <a:pt x="10187" y="9031"/>
                </a:cubicBezTo>
                <a:cubicBezTo>
                  <a:pt x="10156" y="9062"/>
                  <a:pt x="10125" y="9062"/>
                  <a:pt x="10125" y="9094"/>
                </a:cubicBezTo>
                <a:cubicBezTo>
                  <a:pt x="10125" y="9094"/>
                  <a:pt x="10156" y="9125"/>
                  <a:pt x="10156" y="9094"/>
                </a:cubicBezTo>
                <a:close/>
                <a:moveTo>
                  <a:pt x="14531" y="4219"/>
                </a:moveTo>
                <a:cubicBezTo>
                  <a:pt x="14531" y="4187"/>
                  <a:pt x="14531" y="4187"/>
                  <a:pt x="14500" y="4187"/>
                </a:cubicBezTo>
                <a:cubicBezTo>
                  <a:pt x="14500" y="4187"/>
                  <a:pt x="14468" y="4187"/>
                  <a:pt x="14468" y="4219"/>
                </a:cubicBezTo>
                <a:cubicBezTo>
                  <a:pt x="14468" y="4219"/>
                  <a:pt x="14500" y="4219"/>
                  <a:pt x="14500" y="4219"/>
                </a:cubicBezTo>
                <a:cubicBezTo>
                  <a:pt x="14531" y="4219"/>
                  <a:pt x="14531" y="4219"/>
                  <a:pt x="14531" y="4219"/>
                </a:cubicBezTo>
                <a:close/>
                <a:moveTo>
                  <a:pt x="11125" y="9812"/>
                </a:moveTo>
                <a:cubicBezTo>
                  <a:pt x="11156" y="9781"/>
                  <a:pt x="11156" y="9781"/>
                  <a:pt x="11187" y="9750"/>
                </a:cubicBezTo>
                <a:cubicBezTo>
                  <a:pt x="11156" y="9719"/>
                  <a:pt x="11156" y="9719"/>
                  <a:pt x="11156" y="9719"/>
                </a:cubicBezTo>
                <a:cubicBezTo>
                  <a:pt x="11125" y="9750"/>
                  <a:pt x="11093" y="9750"/>
                  <a:pt x="11093" y="9781"/>
                </a:cubicBezTo>
                <a:cubicBezTo>
                  <a:pt x="11093" y="9812"/>
                  <a:pt x="11125" y="9812"/>
                  <a:pt x="11125" y="9812"/>
                </a:cubicBezTo>
                <a:close/>
                <a:moveTo>
                  <a:pt x="11062" y="9656"/>
                </a:moveTo>
                <a:cubicBezTo>
                  <a:pt x="11031" y="9656"/>
                  <a:pt x="11000" y="9656"/>
                  <a:pt x="11000" y="9687"/>
                </a:cubicBezTo>
                <a:cubicBezTo>
                  <a:pt x="11000" y="9687"/>
                  <a:pt x="11000" y="9719"/>
                  <a:pt x="11000" y="9719"/>
                </a:cubicBezTo>
                <a:cubicBezTo>
                  <a:pt x="11031" y="9719"/>
                  <a:pt x="11031" y="9687"/>
                  <a:pt x="11062" y="9656"/>
                </a:cubicBezTo>
                <a:close/>
                <a:moveTo>
                  <a:pt x="14812" y="3844"/>
                </a:moveTo>
                <a:cubicBezTo>
                  <a:pt x="14812" y="3844"/>
                  <a:pt x="14812" y="3844"/>
                  <a:pt x="14843" y="3844"/>
                </a:cubicBezTo>
                <a:cubicBezTo>
                  <a:pt x="14843" y="3844"/>
                  <a:pt x="14875" y="3844"/>
                  <a:pt x="14843" y="3812"/>
                </a:cubicBezTo>
                <a:cubicBezTo>
                  <a:pt x="14843" y="3812"/>
                  <a:pt x="14843" y="3812"/>
                  <a:pt x="14812" y="3812"/>
                </a:cubicBezTo>
                <a:cubicBezTo>
                  <a:pt x="14812" y="3812"/>
                  <a:pt x="14781" y="3812"/>
                  <a:pt x="14812" y="3844"/>
                </a:cubicBezTo>
                <a:close/>
                <a:moveTo>
                  <a:pt x="9750" y="10625"/>
                </a:moveTo>
                <a:cubicBezTo>
                  <a:pt x="9781" y="10625"/>
                  <a:pt x="9812" y="10594"/>
                  <a:pt x="9812" y="10562"/>
                </a:cubicBezTo>
                <a:cubicBezTo>
                  <a:pt x="9812" y="10562"/>
                  <a:pt x="9781" y="10562"/>
                  <a:pt x="9781" y="10562"/>
                </a:cubicBezTo>
                <a:cubicBezTo>
                  <a:pt x="9750" y="10562"/>
                  <a:pt x="9750" y="10594"/>
                  <a:pt x="9718" y="10625"/>
                </a:cubicBezTo>
                <a:cubicBezTo>
                  <a:pt x="9718" y="10625"/>
                  <a:pt x="9750" y="10625"/>
                  <a:pt x="9750" y="10625"/>
                </a:cubicBezTo>
                <a:close/>
                <a:moveTo>
                  <a:pt x="13562" y="1812"/>
                </a:moveTo>
                <a:cubicBezTo>
                  <a:pt x="13562" y="1812"/>
                  <a:pt x="13562" y="1844"/>
                  <a:pt x="13562" y="1844"/>
                </a:cubicBezTo>
                <a:cubicBezTo>
                  <a:pt x="13593" y="1875"/>
                  <a:pt x="13625" y="1844"/>
                  <a:pt x="13656" y="1844"/>
                </a:cubicBezTo>
                <a:cubicBezTo>
                  <a:pt x="13625" y="1812"/>
                  <a:pt x="13593" y="1812"/>
                  <a:pt x="13562" y="1812"/>
                </a:cubicBezTo>
                <a:close/>
                <a:moveTo>
                  <a:pt x="13031" y="3125"/>
                </a:moveTo>
                <a:cubicBezTo>
                  <a:pt x="13031" y="3094"/>
                  <a:pt x="13000" y="3094"/>
                  <a:pt x="13000" y="3094"/>
                </a:cubicBezTo>
                <a:cubicBezTo>
                  <a:pt x="13000" y="3094"/>
                  <a:pt x="12968" y="3094"/>
                  <a:pt x="12968" y="3125"/>
                </a:cubicBezTo>
                <a:cubicBezTo>
                  <a:pt x="12968" y="3156"/>
                  <a:pt x="12968" y="3156"/>
                  <a:pt x="13000" y="3156"/>
                </a:cubicBezTo>
                <a:cubicBezTo>
                  <a:pt x="13000" y="3156"/>
                  <a:pt x="13031" y="3156"/>
                  <a:pt x="13031" y="3125"/>
                </a:cubicBezTo>
                <a:close/>
                <a:moveTo>
                  <a:pt x="14250" y="3781"/>
                </a:moveTo>
                <a:cubicBezTo>
                  <a:pt x="14250" y="3750"/>
                  <a:pt x="14250" y="3750"/>
                  <a:pt x="14218" y="3750"/>
                </a:cubicBezTo>
                <a:cubicBezTo>
                  <a:pt x="14218" y="3750"/>
                  <a:pt x="14187" y="3750"/>
                  <a:pt x="14187" y="3781"/>
                </a:cubicBezTo>
                <a:cubicBezTo>
                  <a:pt x="14187" y="3812"/>
                  <a:pt x="14218" y="3812"/>
                  <a:pt x="14218" y="3812"/>
                </a:cubicBezTo>
                <a:cubicBezTo>
                  <a:pt x="14250" y="3812"/>
                  <a:pt x="14250" y="3812"/>
                  <a:pt x="14250" y="3781"/>
                </a:cubicBezTo>
                <a:close/>
                <a:moveTo>
                  <a:pt x="13781" y="10375"/>
                </a:moveTo>
                <a:cubicBezTo>
                  <a:pt x="13812" y="10344"/>
                  <a:pt x="13843" y="10344"/>
                  <a:pt x="13843" y="10312"/>
                </a:cubicBezTo>
                <a:cubicBezTo>
                  <a:pt x="13812" y="10281"/>
                  <a:pt x="13812" y="10312"/>
                  <a:pt x="13781" y="10312"/>
                </a:cubicBezTo>
                <a:cubicBezTo>
                  <a:pt x="13781" y="10312"/>
                  <a:pt x="13781" y="10312"/>
                  <a:pt x="13750" y="10312"/>
                </a:cubicBezTo>
                <a:cubicBezTo>
                  <a:pt x="13750" y="10344"/>
                  <a:pt x="13750" y="10375"/>
                  <a:pt x="13781" y="10375"/>
                </a:cubicBezTo>
                <a:close/>
                <a:moveTo>
                  <a:pt x="10281" y="5906"/>
                </a:moveTo>
                <a:cubicBezTo>
                  <a:pt x="10281" y="5906"/>
                  <a:pt x="10250" y="5906"/>
                  <a:pt x="10250" y="5906"/>
                </a:cubicBezTo>
                <a:cubicBezTo>
                  <a:pt x="10250" y="5906"/>
                  <a:pt x="10218" y="5937"/>
                  <a:pt x="10218" y="5969"/>
                </a:cubicBezTo>
                <a:cubicBezTo>
                  <a:pt x="10250" y="5969"/>
                  <a:pt x="10281" y="5937"/>
                  <a:pt x="10281" y="5906"/>
                </a:cubicBezTo>
                <a:close/>
                <a:moveTo>
                  <a:pt x="13343" y="1812"/>
                </a:moveTo>
                <a:cubicBezTo>
                  <a:pt x="13312" y="1781"/>
                  <a:pt x="13312" y="1781"/>
                  <a:pt x="13281" y="1781"/>
                </a:cubicBezTo>
                <a:cubicBezTo>
                  <a:pt x="13281" y="1781"/>
                  <a:pt x="13281" y="1812"/>
                  <a:pt x="13281" y="1812"/>
                </a:cubicBezTo>
                <a:cubicBezTo>
                  <a:pt x="13312" y="1812"/>
                  <a:pt x="13343" y="1844"/>
                  <a:pt x="13343" y="1812"/>
                </a:cubicBezTo>
                <a:close/>
                <a:moveTo>
                  <a:pt x="12937" y="2219"/>
                </a:moveTo>
                <a:cubicBezTo>
                  <a:pt x="12906" y="2250"/>
                  <a:pt x="12937" y="2250"/>
                  <a:pt x="12937" y="2250"/>
                </a:cubicBezTo>
                <a:cubicBezTo>
                  <a:pt x="12968" y="2250"/>
                  <a:pt x="12968" y="2250"/>
                  <a:pt x="13000" y="2250"/>
                </a:cubicBezTo>
                <a:cubicBezTo>
                  <a:pt x="13000" y="2219"/>
                  <a:pt x="12968" y="2219"/>
                  <a:pt x="12968" y="2219"/>
                </a:cubicBezTo>
                <a:cubicBezTo>
                  <a:pt x="12937" y="2219"/>
                  <a:pt x="12937" y="2219"/>
                  <a:pt x="12937" y="2219"/>
                </a:cubicBezTo>
                <a:close/>
                <a:moveTo>
                  <a:pt x="12281" y="11625"/>
                </a:moveTo>
                <a:cubicBezTo>
                  <a:pt x="12250" y="11656"/>
                  <a:pt x="12250" y="11656"/>
                  <a:pt x="12250" y="11687"/>
                </a:cubicBezTo>
                <a:cubicBezTo>
                  <a:pt x="12281" y="11687"/>
                  <a:pt x="12312" y="11687"/>
                  <a:pt x="12312" y="11656"/>
                </a:cubicBezTo>
                <a:cubicBezTo>
                  <a:pt x="12312" y="11656"/>
                  <a:pt x="12281" y="11625"/>
                  <a:pt x="12281" y="11625"/>
                </a:cubicBezTo>
                <a:close/>
                <a:moveTo>
                  <a:pt x="15812" y="3812"/>
                </a:moveTo>
                <a:cubicBezTo>
                  <a:pt x="15812" y="3812"/>
                  <a:pt x="15781" y="3812"/>
                  <a:pt x="15781" y="3844"/>
                </a:cubicBezTo>
                <a:cubicBezTo>
                  <a:pt x="15781" y="3844"/>
                  <a:pt x="15781" y="3844"/>
                  <a:pt x="15812" y="3844"/>
                </a:cubicBezTo>
                <a:cubicBezTo>
                  <a:pt x="15812" y="3844"/>
                  <a:pt x="15843" y="3844"/>
                  <a:pt x="15843" y="3844"/>
                </a:cubicBezTo>
                <a:cubicBezTo>
                  <a:pt x="15843" y="3812"/>
                  <a:pt x="15843" y="3812"/>
                  <a:pt x="15812" y="3812"/>
                </a:cubicBezTo>
                <a:close/>
                <a:moveTo>
                  <a:pt x="15781" y="3312"/>
                </a:moveTo>
                <a:cubicBezTo>
                  <a:pt x="15781" y="3344"/>
                  <a:pt x="15781" y="3344"/>
                  <a:pt x="15812" y="3344"/>
                </a:cubicBezTo>
                <a:cubicBezTo>
                  <a:pt x="15843" y="3344"/>
                  <a:pt x="15875" y="3344"/>
                  <a:pt x="15906" y="3344"/>
                </a:cubicBezTo>
                <a:cubicBezTo>
                  <a:pt x="15875" y="3312"/>
                  <a:pt x="15843" y="3312"/>
                  <a:pt x="15812" y="3281"/>
                </a:cubicBezTo>
                <a:cubicBezTo>
                  <a:pt x="15812" y="3281"/>
                  <a:pt x="15781" y="3281"/>
                  <a:pt x="15781" y="3312"/>
                </a:cubicBezTo>
                <a:close/>
                <a:moveTo>
                  <a:pt x="14218" y="4187"/>
                </a:moveTo>
                <a:cubicBezTo>
                  <a:pt x="14218" y="4156"/>
                  <a:pt x="14218" y="4156"/>
                  <a:pt x="14218" y="4156"/>
                </a:cubicBezTo>
                <a:cubicBezTo>
                  <a:pt x="14187" y="4125"/>
                  <a:pt x="14187" y="4125"/>
                  <a:pt x="14125" y="4156"/>
                </a:cubicBezTo>
                <a:cubicBezTo>
                  <a:pt x="14156" y="4187"/>
                  <a:pt x="14187" y="4187"/>
                  <a:pt x="14218" y="4187"/>
                </a:cubicBezTo>
                <a:close/>
                <a:moveTo>
                  <a:pt x="12468" y="11062"/>
                </a:moveTo>
                <a:cubicBezTo>
                  <a:pt x="12437" y="11031"/>
                  <a:pt x="12437" y="11000"/>
                  <a:pt x="12406" y="11031"/>
                </a:cubicBezTo>
                <a:cubicBezTo>
                  <a:pt x="12406" y="11031"/>
                  <a:pt x="12375" y="11031"/>
                  <a:pt x="12375" y="11031"/>
                </a:cubicBezTo>
                <a:cubicBezTo>
                  <a:pt x="12406" y="11062"/>
                  <a:pt x="12437" y="11031"/>
                  <a:pt x="12468" y="11062"/>
                </a:cubicBezTo>
                <a:close/>
                <a:moveTo>
                  <a:pt x="11593" y="10219"/>
                </a:moveTo>
                <a:cubicBezTo>
                  <a:pt x="11593" y="10219"/>
                  <a:pt x="11593" y="10219"/>
                  <a:pt x="11625" y="10219"/>
                </a:cubicBezTo>
                <a:cubicBezTo>
                  <a:pt x="11656" y="10219"/>
                  <a:pt x="11656" y="10219"/>
                  <a:pt x="11687" y="10187"/>
                </a:cubicBezTo>
                <a:cubicBezTo>
                  <a:pt x="11687" y="10187"/>
                  <a:pt x="11687" y="10156"/>
                  <a:pt x="11656" y="10156"/>
                </a:cubicBezTo>
                <a:cubicBezTo>
                  <a:pt x="11625" y="10156"/>
                  <a:pt x="11625" y="10187"/>
                  <a:pt x="11593" y="10219"/>
                </a:cubicBezTo>
                <a:close/>
                <a:moveTo>
                  <a:pt x="11250" y="2437"/>
                </a:moveTo>
                <a:cubicBezTo>
                  <a:pt x="11218" y="2437"/>
                  <a:pt x="11187" y="2437"/>
                  <a:pt x="11187" y="2500"/>
                </a:cubicBezTo>
                <a:cubicBezTo>
                  <a:pt x="11218" y="2500"/>
                  <a:pt x="11218" y="2469"/>
                  <a:pt x="11250" y="2437"/>
                </a:cubicBezTo>
                <a:close/>
                <a:moveTo>
                  <a:pt x="13218" y="2250"/>
                </a:moveTo>
                <a:cubicBezTo>
                  <a:pt x="13218" y="2250"/>
                  <a:pt x="13218" y="2250"/>
                  <a:pt x="13218" y="2250"/>
                </a:cubicBezTo>
                <a:cubicBezTo>
                  <a:pt x="13250" y="2281"/>
                  <a:pt x="13281" y="2281"/>
                  <a:pt x="13312" y="2250"/>
                </a:cubicBezTo>
                <a:cubicBezTo>
                  <a:pt x="13281" y="2219"/>
                  <a:pt x="13250" y="2219"/>
                  <a:pt x="13218" y="2250"/>
                </a:cubicBezTo>
                <a:close/>
                <a:moveTo>
                  <a:pt x="10031" y="9625"/>
                </a:moveTo>
                <a:cubicBezTo>
                  <a:pt x="10031" y="9625"/>
                  <a:pt x="10031" y="9656"/>
                  <a:pt x="10031" y="9656"/>
                </a:cubicBezTo>
                <a:cubicBezTo>
                  <a:pt x="10000" y="9687"/>
                  <a:pt x="10000" y="9687"/>
                  <a:pt x="10000" y="9719"/>
                </a:cubicBezTo>
                <a:cubicBezTo>
                  <a:pt x="10000" y="9719"/>
                  <a:pt x="10000" y="9719"/>
                  <a:pt x="10031" y="9719"/>
                </a:cubicBezTo>
                <a:cubicBezTo>
                  <a:pt x="10031" y="9719"/>
                  <a:pt x="10062" y="9687"/>
                  <a:pt x="10062" y="9687"/>
                </a:cubicBezTo>
                <a:cubicBezTo>
                  <a:pt x="10062" y="9656"/>
                  <a:pt x="10062" y="9625"/>
                  <a:pt x="10031" y="9625"/>
                </a:cubicBezTo>
                <a:close/>
                <a:moveTo>
                  <a:pt x="15406" y="3219"/>
                </a:moveTo>
                <a:cubicBezTo>
                  <a:pt x="15437" y="3250"/>
                  <a:pt x="15437" y="3250"/>
                  <a:pt x="15468" y="3219"/>
                </a:cubicBezTo>
                <a:cubicBezTo>
                  <a:pt x="15437" y="3219"/>
                  <a:pt x="15406" y="3187"/>
                  <a:pt x="15375" y="3219"/>
                </a:cubicBezTo>
                <a:cubicBezTo>
                  <a:pt x="15375" y="3219"/>
                  <a:pt x="15375" y="3219"/>
                  <a:pt x="15406" y="3219"/>
                </a:cubicBezTo>
                <a:close/>
                <a:moveTo>
                  <a:pt x="10125" y="4594"/>
                </a:moveTo>
                <a:cubicBezTo>
                  <a:pt x="10156" y="4594"/>
                  <a:pt x="10156" y="4562"/>
                  <a:pt x="10187" y="4562"/>
                </a:cubicBezTo>
                <a:cubicBezTo>
                  <a:pt x="10187" y="4562"/>
                  <a:pt x="10187" y="4562"/>
                  <a:pt x="10187" y="4562"/>
                </a:cubicBezTo>
                <a:cubicBezTo>
                  <a:pt x="10281" y="4594"/>
                  <a:pt x="10250" y="4625"/>
                  <a:pt x="10187" y="4656"/>
                </a:cubicBezTo>
                <a:cubicBezTo>
                  <a:pt x="10156" y="4656"/>
                  <a:pt x="10156" y="4687"/>
                  <a:pt x="10156" y="4719"/>
                </a:cubicBezTo>
                <a:cubicBezTo>
                  <a:pt x="10250" y="4687"/>
                  <a:pt x="10250" y="4562"/>
                  <a:pt x="10375" y="4594"/>
                </a:cubicBezTo>
                <a:cubicBezTo>
                  <a:pt x="10375" y="4562"/>
                  <a:pt x="10343" y="4594"/>
                  <a:pt x="10343" y="4562"/>
                </a:cubicBezTo>
                <a:cubicBezTo>
                  <a:pt x="10343" y="4531"/>
                  <a:pt x="10312" y="4531"/>
                  <a:pt x="10312" y="4531"/>
                </a:cubicBezTo>
                <a:cubicBezTo>
                  <a:pt x="10281" y="4625"/>
                  <a:pt x="10218" y="4562"/>
                  <a:pt x="10187" y="4531"/>
                </a:cubicBezTo>
                <a:cubicBezTo>
                  <a:pt x="10125" y="4531"/>
                  <a:pt x="10125" y="4562"/>
                  <a:pt x="10125" y="4594"/>
                </a:cubicBezTo>
                <a:close/>
                <a:moveTo>
                  <a:pt x="11812" y="10062"/>
                </a:moveTo>
                <a:cubicBezTo>
                  <a:pt x="11812" y="10031"/>
                  <a:pt x="11843" y="10031"/>
                  <a:pt x="11875" y="10000"/>
                </a:cubicBezTo>
                <a:cubicBezTo>
                  <a:pt x="11875" y="10000"/>
                  <a:pt x="11843" y="10000"/>
                  <a:pt x="11843" y="10000"/>
                </a:cubicBezTo>
                <a:cubicBezTo>
                  <a:pt x="11812" y="10000"/>
                  <a:pt x="11812" y="10031"/>
                  <a:pt x="11812" y="10062"/>
                </a:cubicBezTo>
                <a:close/>
                <a:moveTo>
                  <a:pt x="10937" y="2562"/>
                </a:moveTo>
                <a:cubicBezTo>
                  <a:pt x="10937" y="2562"/>
                  <a:pt x="10937" y="2562"/>
                  <a:pt x="10937" y="2562"/>
                </a:cubicBezTo>
                <a:cubicBezTo>
                  <a:pt x="10968" y="2594"/>
                  <a:pt x="11000" y="2562"/>
                  <a:pt x="11000" y="2531"/>
                </a:cubicBezTo>
                <a:cubicBezTo>
                  <a:pt x="10968" y="2531"/>
                  <a:pt x="10968" y="2531"/>
                  <a:pt x="10937" y="2562"/>
                </a:cubicBezTo>
                <a:close/>
                <a:moveTo>
                  <a:pt x="14843" y="2937"/>
                </a:moveTo>
                <a:cubicBezTo>
                  <a:pt x="14812" y="2937"/>
                  <a:pt x="14812" y="2969"/>
                  <a:pt x="14812" y="2969"/>
                </a:cubicBezTo>
                <a:cubicBezTo>
                  <a:pt x="14843" y="2969"/>
                  <a:pt x="14875" y="2969"/>
                  <a:pt x="14906" y="2969"/>
                </a:cubicBezTo>
                <a:cubicBezTo>
                  <a:pt x="14875" y="2937"/>
                  <a:pt x="14875" y="2937"/>
                  <a:pt x="14843" y="2937"/>
                </a:cubicBezTo>
                <a:close/>
                <a:moveTo>
                  <a:pt x="10687" y="1781"/>
                </a:moveTo>
                <a:cubicBezTo>
                  <a:pt x="10687" y="1750"/>
                  <a:pt x="10687" y="1750"/>
                  <a:pt x="10687" y="1750"/>
                </a:cubicBezTo>
                <a:cubicBezTo>
                  <a:pt x="10656" y="1750"/>
                  <a:pt x="10625" y="1781"/>
                  <a:pt x="10593" y="1812"/>
                </a:cubicBezTo>
                <a:cubicBezTo>
                  <a:pt x="10656" y="1812"/>
                  <a:pt x="10687" y="1812"/>
                  <a:pt x="10687" y="1781"/>
                </a:cubicBezTo>
                <a:close/>
                <a:moveTo>
                  <a:pt x="15125" y="13469"/>
                </a:moveTo>
                <a:cubicBezTo>
                  <a:pt x="15156" y="13469"/>
                  <a:pt x="15156" y="13469"/>
                  <a:pt x="15156" y="13437"/>
                </a:cubicBezTo>
                <a:cubicBezTo>
                  <a:pt x="15156" y="13437"/>
                  <a:pt x="15156" y="13406"/>
                  <a:pt x="15125" y="13406"/>
                </a:cubicBezTo>
                <a:cubicBezTo>
                  <a:pt x="15093" y="13406"/>
                  <a:pt x="15093" y="13437"/>
                  <a:pt x="15093" y="13437"/>
                </a:cubicBezTo>
                <a:cubicBezTo>
                  <a:pt x="15093" y="13469"/>
                  <a:pt x="15093" y="13469"/>
                  <a:pt x="15125" y="13469"/>
                </a:cubicBezTo>
                <a:close/>
                <a:moveTo>
                  <a:pt x="15000" y="13469"/>
                </a:moveTo>
                <a:cubicBezTo>
                  <a:pt x="15000" y="13469"/>
                  <a:pt x="15000" y="13469"/>
                  <a:pt x="15000" y="13469"/>
                </a:cubicBezTo>
                <a:cubicBezTo>
                  <a:pt x="15000" y="13469"/>
                  <a:pt x="15000" y="13469"/>
                  <a:pt x="15000" y="13469"/>
                </a:cubicBezTo>
                <a:lnTo>
                  <a:pt x="15000" y="13469"/>
                </a:lnTo>
                <a:cubicBezTo>
                  <a:pt x="15000" y="13469"/>
                  <a:pt x="15000" y="13469"/>
                  <a:pt x="15000" y="13469"/>
                </a:cubicBezTo>
                <a:cubicBezTo>
                  <a:pt x="15000" y="13469"/>
                  <a:pt x="15000" y="13469"/>
                  <a:pt x="15000" y="13469"/>
                </a:cubicBezTo>
                <a:close/>
                <a:moveTo>
                  <a:pt x="13312" y="2094"/>
                </a:moveTo>
                <a:cubicBezTo>
                  <a:pt x="13312" y="2125"/>
                  <a:pt x="13343" y="2125"/>
                  <a:pt x="13375" y="2125"/>
                </a:cubicBezTo>
                <a:cubicBezTo>
                  <a:pt x="13375" y="2125"/>
                  <a:pt x="13375" y="2094"/>
                  <a:pt x="13375" y="2094"/>
                </a:cubicBezTo>
                <a:cubicBezTo>
                  <a:pt x="13343" y="2094"/>
                  <a:pt x="13343" y="2094"/>
                  <a:pt x="13312" y="2094"/>
                </a:cubicBezTo>
                <a:close/>
                <a:moveTo>
                  <a:pt x="8656" y="2531"/>
                </a:moveTo>
                <a:cubicBezTo>
                  <a:pt x="8625" y="2562"/>
                  <a:pt x="8625" y="2594"/>
                  <a:pt x="8593" y="2625"/>
                </a:cubicBezTo>
                <a:cubicBezTo>
                  <a:pt x="8593" y="2625"/>
                  <a:pt x="8593" y="2625"/>
                  <a:pt x="8625" y="2625"/>
                </a:cubicBezTo>
                <a:cubicBezTo>
                  <a:pt x="8656" y="2625"/>
                  <a:pt x="8656" y="2594"/>
                  <a:pt x="8687" y="2562"/>
                </a:cubicBezTo>
                <a:cubicBezTo>
                  <a:pt x="8687" y="2562"/>
                  <a:pt x="8656" y="2531"/>
                  <a:pt x="8656" y="2531"/>
                </a:cubicBezTo>
                <a:close/>
                <a:moveTo>
                  <a:pt x="10812" y="2312"/>
                </a:moveTo>
                <a:cubicBezTo>
                  <a:pt x="10812" y="2312"/>
                  <a:pt x="10812" y="2312"/>
                  <a:pt x="10812" y="2312"/>
                </a:cubicBezTo>
                <a:cubicBezTo>
                  <a:pt x="10843" y="2344"/>
                  <a:pt x="10875" y="2312"/>
                  <a:pt x="10906" y="2312"/>
                </a:cubicBezTo>
                <a:cubicBezTo>
                  <a:pt x="10906" y="2312"/>
                  <a:pt x="10906" y="2281"/>
                  <a:pt x="10906" y="2281"/>
                </a:cubicBezTo>
                <a:cubicBezTo>
                  <a:pt x="10875" y="2250"/>
                  <a:pt x="10843" y="2281"/>
                  <a:pt x="10812" y="2312"/>
                </a:cubicBezTo>
                <a:close/>
                <a:moveTo>
                  <a:pt x="9812" y="6594"/>
                </a:moveTo>
                <a:cubicBezTo>
                  <a:pt x="9812" y="6562"/>
                  <a:pt x="9781" y="6562"/>
                  <a:pt x="9781" y="6562"/>
                </a:cubicBezTo>
                <a:cubicBezTo>
                  <a:pt x="9750" y="6562"/>
                  <a:pt x="9750" y="6594"/>
                  <a:pt x="9750" y="6625"/>
                </a:cubicBezTo>
                <a:cubicBezTo>
                  <a:pt x="9781" y="6625"/>
                  <a:pt x="9781" y="6594"/>
                  <a:pt x="9812" y="6594"/>
                </a:cubicBezTo>
                <a:close/>
                <a:moveTo>
                  <a:pt x="13187" y="2062"/>
                </a:moveTo>
                <a:cubicBezTo>
                  <a:pt x="13187" y="2062"/>
                  <a:pt x="13156" y="2062"/>
                  <a:pt x="13156" y="2094"/>
                </a:cubicBezTo>
                <a:cubicBezTo>
                  <a:pt x="13156" y="2125"/>
                  <a:pt x="13187" y="2125"/>
                  <a:pt x="13187" y="2125"/>
                </a:cubicBezTo>
                <a:cubicBezTo>
                  <a:pt x="13218" y="2125"/>
                  <a:pt x="13218" y="2125"/>
                  <a:pt x="13218" y="2094"/>
                </a:cubicBezTo>
                <a:cubicBezTo>
                  <a:pt x="13218" y="2094"/>
                  <a:pt x="13218" y="2062"/>
                  <a:pt x="13187" y="2062"/>
                </a:cubicBezTo>
                <a:close/>
                <a:moveTo>
                  <a:pt x="15375" y="12594"/>
                </a:moveTo>
                <a:cubicBezTo>
                  <a:pt x="15343" y="12594"/>
                  <a:pt x="15312" y="12562"/>
                  <a:pt x="15281" y="12594"/>
                </a:cubicBezTo>
                <a:cubicBezTo>
                  <a:pt x="15281" y="12594"/>
                  <a:pt x="15281" y="12625"/>
                  <a:pt x="15281" y="12625"/>
                </a:cubicBezTo>
                <a:cubicBezTo>
                  <a:pt x="15312" y="12656"/>
                  <a:pt x="15343" y="12625"/>
                  <a:pt x="15375" y="12594"/>
                </a:cubicBezTo>
                <a:close/>
                <a:moveTo>
                  <a:pt x="13093" y="2687"/>
                </a:moveTo>
                <a:cubicBezTo>
                  <a:pt x="13093" y="2687"/>
                  <a:pt x="13093" y="2719"/>
                  <a:pt x="13093" y="2719"/>
                </a:cubicBezTo>
                <a:cubicBezTo>
                  <a:pt x="13125" y="2750"/>
                  <a:pt x="13156" y="2719"/>
                  <a:pt x="13187" y="2719"/>
                </a:cubicBezTo>
                <a:cubicBezTo>
                  <a:pt x="13156" y="2687"/>
                  <a:pt x="13125" y="2687"/>
                  <a:pt x="13093" y="2687"/>
                </a:cubicBezTo>
                <a:close/>
                <a:moveTo>
                  <a:pt x="13375" y="3406"/>
                </a:moveTo>
                <a:cubicBezTo>
                  <a:pt x="13375" y="3375"/>
                  <a:pt x="13343" y="3375"/>
                  <a:pt x="13343" y="3375"/>
                </a:cubicBezTo>
                <a:cubicBezTo>
                  <a:pt x="13312" y="3375"/>
                  <a:pt x="13281" y="3375"/>
                  <a:pt x="13281" y="3406"/>
                </a:cubicBezTo>
                <a:cubicBezTo>
                  <a:pt x="13281" y="3437"/>
                  <a:pt x="13312" y="3437"/>
                  <a:pt x="13312" y="3437"/>
                </a:cubicBezTo>
                <a:cubicBezTo>
                  <a:pt x="13343" y="3437"/>
                  <a:pt x="13343" y="3437"/>
                  <a:pt x="13375" y="3406"/>
                </a:cubicBezTo>
                <a:close/>
                <a:moveTo>
                  <a:pt x="10125" y="10031"/>
                </a:moveTo>
                <a:cubicBezTo>
                  <a:pt x="10156" y="10000"/>
                  <a:pt x="10187" y="10000"/>
                  <a:pt x="10187" y="9969"/>
                </a:cubicBezTo>
                <a:cubicBezTo>
                  <a:pt x="10187" y="9937"/>
                  <a:pt x="10187" y="9937"/>
                  <a:pt x="10187" y="9937"/>
                </a:cubicBezTo>
                <a:cubicBezTo>
                  <a:pt x="10156" y="9906"/>
                  <a:pt x="10218" y="9844"/>
                  <a:pt x="10187" y="9812"/>
                </a:cubicBezTo>
                <a:cubicBezTo>
                  <a:pt x="10187" y="9781"/>
                  <a:pt x="10218" y="9781"/>
                  <a:pt x="10218" y="9781"/>
                </a:cubicBezTo>
                <a:lnTo>
                  <a:pt x="10218" y="9781"/>
                </a:lnTo>
                <a:cubicBezTo>
                  <a:pt x="10250" y="9812"/>
                  <a:pt x="10250" y="9844"/>
                  <a:pt x="10250" y="9875"/>
                </a:cubicBezTo>
                <a:cubicBezTo>
                  <a:pt x="10218" y="9906"/>
                  <a:pt x="10218" y="9937"/>
                  <a:pt x="10187" y="9937"/>
                </a:cubicBezTo>
                <a:cubicBezTo>
                  <a:pt x="10125" y="9937"/>
                  <a:pt x="10125" y="9969"/>
                  <a:pt x="10093" y="10000"/>
                </a:cubicBezTo>
                <a:cubicBezTo>
                  <a:pt x="10093" y="10000"/>
                  <a:pt x="10125" y="10031"/>
                  <a:pt x="10125" y="10031"/>
                </a:cubicBezTo>
                <a:close/>
                <a:moveTo>
                  <a:pt x="11125" y="2781"/>
                </a:moveTo>
                <a:cubicBezTo>
                  <a:pt x="11156" y="2781"/>
                  <a:pt x="11187" y="2781"/>
                  <a:pt x="11218" y="2750"/>
                </a:cubicBezTo>
                <a:cubicBezTo>
                  <a:pt x="11187" y="2750"/>
                  <a:pt x="11156" y="2750"/>
                  <a:pt x="11125" y="2781"/>
                </a:cubicBezTo>
                <a:close/>
                <a:moveTo>
                  <a:pt x="14937" y="1625"/>
                </a:moveTo>
                <a:cubicBezTo>
                  <a:pt x="14968" y="1656"/>
                  <a:pt x="14968" y="1656"/>
                  <a:pt x="15000" y="1656"/>
                </a:cubicBezTo>
                <a:cubicBezTo>
                  <a:pt x="15031" y="1625"/>
                  <a:pt x="15031" y="1625"/>
                  <a:pt x="15031" y="1625"/>
                </a:cubicBezTo>
                <a:cubicBezTo>
                  <a:pt x="15000" y="1594"/>
                  <a:pt x="14968" y="1594"/>
                  <a:pt x="14937" y="1625"/>
                </a:cubicBezTo>
                <a:close/>
                <a:moveTo>
                  <a:pt x="11812" y="11406"/>
                </a:moveTo>
                <a:cubicBezTo>
                  <a:pt x="11812" y="11406"/>
                  <a:pt x="11812" y="11375"/>
                  <a:pt x="11843" y="11375"/>
                </a:cubicBezTo>
                <a:cubicBezTo>
                  <a:pt x="11843" y="11344"/>
                  <a:pt x="11843" y="11344"/>
                  <a:pt x="11812" y="11344"/>
                </a:cubicBezTo>
                <a:cubicBezTo>
                  <a:pt x="11781" y="11344"/>
                  <a:pt x="11781" y="11375"/>
                  <a:pt x="11781" y="11406"/>
                </a:cubicBezTo>
                <a:cubicBezTo>
                  <a:pt x="11781" y="11406"/>
                  <a:pt x="11781" y="11406"/>
                  <a:pt x="11812" y="11406"/>
                </a:cubicBezTo>
                <a:close/>
                <a:moveTo>
                  <a:pt x="11406" y="9469"/>
                </a:moveTo>
                <a:cubicBezTo>
                  <a:pt x="11406" y="9437"/>
                  <a:pt x="11375" y="9437"/>
                  <a:pt x="11375" y="9437"/>
                </a:cubicBezTo>
                <a:cubicBezTo>
                  <a:pt x="11343" y="9437"/>
                  <a:pt x="11375" y="9500"/>
                  <a:pt x="11343" y="9531"/>
                </a:cubicBezTo>
                <a:cubicBezTo>
                  <a:pt x="11375" y="9500"/>
                  <a:pt x="11406" y="9500"/>
                  <a:pt x="11406" y="9469"/>
                </a:cubicBezTo>
                <a:close/>
                <a:moveTo>
                  <a:pt x="11250" y="10219"/>
                </a:moveTo>
                <a:cubicBezTo>
                  <a:pt x="11250" y="10219"/>
                  <a:pt x="11281" y="10219"/>
                  <a:pt x="11281" y="10219"/>
                </a:cubicBezTo>
                <a:cubicBezTo>
                  <a:pt x="11312" y="10187"/>
                  <a:pt x="11312" y="10156"/>
                  <a:pt x="11312" y="10125"/>
                </a:cubicBezTo>
                <a:cubicBezTo>
                  <a:pt x="11312" y="10094"/>
                  <a:pt x="11375" y="10094"/>
                  <a:pt x="11312" y="10062"/>
                </a:cubicBezTo>
                <a:cubicBezTo>
                  <a:pt x="11281" y="10031"/>
                  <a:pt x="11250" y="10031"/>
                  <a:pt x="11250" y="10062"/>
                </a:cubicBezTo>
                <a:cubicBezTo>
                  <a:pt x="11218" y="10094"/>
                  <a:pt x="11187" y="10094"/>
                  <a:pt x="11187" y="10062"/>
                </a:cubicBezTo>
                <a:cubicBezTo>
                  <a:pt x="11187" y="9969"/>
                  <a:pt x="11156" y="10031"/>
                  <a:pt x="11093" y="10031"/>
                </a:cubicBezTo>
                <a:cubicBezTo>
                  <a:pt x="11093" y="10031"/>
                  <a:pt x="11093" y="10031"/>
                  <a:pt x="11062" y="10031"/>
                </a:cubicBezTo>
                <a:cubicBezTo>
                  <a:pt x="11093" y="9969"/>
                  <a:pt x="11125" y="9937"/>
                  <a:pt x="11187" y="9906"/>
                </a:cubicBezTo>
                <a:cubicBezTo>
                  <a:pt x="11187" y="9937"/>
                  <a:pt x="11156" y="10000"/>
                  <a:pt x="11218" y="10000"/>
                </a:cubicBezTo>
                <a:cubicBezTo>
                  <a:pt x="11250" y="10000"/>
                  <a:pt x="11281" y="10000"/>
                  <a:pt x="11281" y="9969"/>
                </a:cubicBezTo>
                <a:cubicBezTo>
                  <a:pt x="11281" y="9937"/>
                  <a:pt x="11312" y="9937"/>
                  <a:pt x="11312" y="9937"/>
                </a:cubicBezTo>
                <a:cubicBezTo>
                  <a:pt x="11343" y="9937"/>
                  <a:pt x="11343" y="9969"/>
                  <a:pt x="11312" y="9969"/>
                </a:cubicBezTo>
                <a:cubicBezTo>
                  <a:pt x="11312" y="10000"/>
                  <a:pt x="11312" y="10031"/>
                  <a:pt x="11343" y="10031"/>
                </a:cubicBezTo>
                <a:cubicBezTo>
                  <a:pt x="11375" y="10031"/>
                  <a:pt x="11406" y="10031"/>
                  <a:pt x="11406" y="10062"/>
                </a:cubicBezTo>
                <a:lnTo>
                  <a:pt x="11406" y="10062"/>
                </a:lnTo>
                <a:cubicBezTo>
                  <a:pt x="11406" y="10094"/>
                  <a:pt x="11375" y="10125"/>
                  <a:pt x="11343" y="10125"/>
                </a:cubicBezTo>
                <a:cubicBezTo>
                  <a:pt x="11343" y="10125"/>
                  <a:pt x="11343" y="10125"/>
                  <a:pt x="11312" y="10125"/>
                </a:cubicBezTo>
                <a:cubicBezTo>
                  <a:pt x="11281" y="10156"/>
                  <a:pt x="11250" y="10156"/>
                  <a:pt x="11250" y="10219"/>
                </a:cubicBezTo>
                <a:close/>
                <a:moveTo>
                  <a:pt x="13968" y="3875"/>
                </a:moveTo>
                <a:cubicBezTo>
                  <a:pt x="13937" y="3906"/>
                  <a:pt x="13968" y="3906"/>
                  <a:pt x="14000" y="3906"/>
                </a:cubicBezTo>
                <a:cubicBezTo>
                  <a:pt x="14000" y="3906"/>
                  <a:pt x="14031" y="3906"/>
                  <a:pt x="14031" y="3875"/>
                </a:cubicBezTo>
                <a:cubicBezTo>
                  <a:pt x="14031" y="3875"/>
                  <a:pt x="14000" y="3875"/>
                  <a:pt x="14000" y="3844"/>
                </a:cubicBezTo>
                <a:cubicBezTo>
                  <a:pt x="13968" y="3844"/>
                  <a:pt x="13968" y="3844"/>
                  <a:pt x="13968" y="3875"/>
                </a:cubicBezTo>
                <a:close/>
                <a:moveTo>
                  <a:pt x="9968" y="3531"/>
                </a:moveTo>
                <a:cubicBezTo>
                  <a:pt x="9906" y="3531"/>
                  <a:pt x="9906" y="3562"/>
                  <a:pt x="9875" y="3625"/>
                </a:cubicBezTo>
                <a:cubicBezTo>
                  <a:pt x="9906" y="3594"/>
                  <a:pt x="9937" y="3562"/>
                  <a:pt x="9968" y="3531"/>
                </a:cubicBezTo>
                <a:cubicBezTo>
                  <a:pt x="9968" y="3469"/>
                  <a:pt x="10000" y="3469"/>
                  <a:pt x="10031" y="3406"/>
                </a:cubicBezTo>
                <a:lnTo>
                  <a:pt x="10031" y="3406"/>
                </a:lnTo>
                <a:cubicBezTo>
                  <a:pt x="10031" y="3500"/>
                  <a:pt x="10000" y="3500"/>
                  <a:pt x="9968" y="3531"/>
                </a:cubicBezTo>
                <a:close/>
                <a:moveTo>
                  <a:pt x="12062" y="11812"/>
                </a:moveTo>
                <a:cubicBezTo>
                  <a:pt x="12062" y="11812"/>
                  <a:pt x="12062" y="11781"/>
                  <a:pt x="12031" y="11781"/>
                </a:cubicBezTo>
                <a:cubicBezTo>
                  <a:pt x="12000" y="11781"/>
                  <a:pt x="12000" y="11812"/>
                  <a:pt x="12000" y="11844"/>
                </a:cubicBezTo>
                <a:cubicBezTo>
                  <a:pt x="12031" y="11844"/>
                  <a:pt x="12031" y="11812"/>
                  <a:pt x="12062" y="11812"/>
                </a:cubicBezTo>
                <a:cubicBezTo>
                  <a:pt x="12093" y="11812"/>
                  <a:pt x="12093" y="11812"/>
                  <a:pt x="12125" y="11844"/>
                </a:cubicBezTo>
                <a:cubicBezTo>
                  <a:pt x="12125" y="11844"/>
                  <a:pt x="12156" y="11812"/>
                  <a:pt x="12156" y="11844"/>
                </a:cubicBezTo>
                <a:cubicBezTo>
                  <a:pt x="12156" y="11875"/>
                  <a:pt x="12156" y="11875"/>
                  <a:pt x="12125" y="11875"/>
                </a:cubicBezTo>
                <a:cubicBezTo>
                  <a:pt x="12093" y="11906"/>
                  <a:pt x="12125" y="11875"/>
                  <a:pt x="12093" y="11875"/>
                </a:cubicBezTo>
                <a:lnTo>
                  <a:pt x="12093" y="11875"/>
                </a:lnTo>
                <a:cubicBezTo>
                  <a:pt x="12062" y="11844"/>
                  <a:pt x="12062" y="11844"/>
                  <a:pt x="12062" y="11812"/>
                </a:cubicBezTo>
                <a:close/>
                <a:moveTo>
                  <a:pt x="12937" y="1937"/>
                </a:moveTo>
                <a:cubicBezTo>
                  <a:pt x="12968" y="1937"/>
                  <a:pt x="12968" y="1937"/>
                  <a:pt x="12937" y="1906"/>
                </a:cubicBezTo>
                <a:cubicBezTo>
                  <a:pt x="12906" y="1906"/>
                  <a:pt x="12906" y="1906"/>
                  <a:pt x="12875" y="1937"/>
                </a:cubicBezTo>
                <a:cubicBezTo>
                  <a:pt x="12906" y="1937"/>
                  <a:pt x="12937" y="1969"/>
                  <a:pt x="12937" y="1937"/>
                </a:cubicBezTo>
                <a:close/>
                <a:moveTo>
                  <a:pt x="13937" y="2875"/>
                </a:moveTo>
                <a:cubicBezTo>
                  <a:pt x="13968" y="2875"/>
                  <a:pt x="14000" y="2906"/>
                  <a:pt x="14000" y="2875"/>
                </a:cubicBezTo>
                <a:cubicBezTo>
                  <a:pt x="14000" y="2844"/>
                  <a:pt x="13968" y="2844"/>
                  <a:pt x="13937" y="2844"/>
                </a:cubicBezTo>
                <a:cubicBezTo>
                  <a:pt x="13937" y="2875"/>
                  <a:pt x="13906" y="2812"/>
                  <a:pt x="13906" y="2875"/>
                </a:cubicBezTo>
                <a:cubicBezTo>
                  <a:pt x="13906" y="2906"/>
                  <a:pt x="13937" y="2875"/>
                  <a:pt x="13937" y="2875"/>
                </a:cubicBezTo>
                <a:close/>
                <a:moveTo>
                  <a:pt x="10906" y="3187"/>
                </a:moveTo>
                <a:cubicBezTo>
                  <a:pt x="10906" y="3187"/>
                  <a:pt x="10875" y="3156"/>
                  <a:pt x="10875" y="3156"/>
                </a:cubicBezTo>
                <a:cubicBezTo>
                  <a:pt x="10843" y="3156"/>
                  <a:pt x="10843" y="3187"/>
                  <a:pt x="10812" y="3219"/>
                </a:cubicBezTo>
                <a:cubicBezTo>
                  <a:pt x="10843" y="3219"/>
                  <a:pt x="10875" y="3219"/>
                  <a:pt x="10906" y="3187"/>
                </a:cubicBezTo>
                <a:close/>
                <a:moveTo>
                  <a:pt x="10062" y="7250"/>
                </a:moveTo>
                <a:cubicBezTo>
                  <a:pt x="10062" y="7250"/>
                  <a:pt x="10093" y="7250"/>
                  <a:pt x="10093" y="7250"/>
                </a:cubicBezTo>
                <a:cubicBezTo>
                  <a:pt x="10125" y="7250"/>
                  <a:pt x="10125" y="7219"/>
                  <a:pt x="10125" y="7219"/>
                </a:cubicBezTo>
                <a:cubicBezTo>
                  <a:pt x="10125" y="7187"/>
                  <a:pt x="10093" y="7187"/>
                  <a:pt x="10093" y="7187"/>
                </a:cubicBezTo>
                <a:cubicBezTo>
                  <a:pt x="10093" y="7156"/>
                  <a:pt x="10062" y="7125"/>
                  <a:pt x="10062" y="7094"/>
                </a:cubicBezTo>
                <a:cubicBezTo>
                  <a:pt x="10062" y="7094"/>
                  <a:pt x="10062" y="7062"/>
                  <a:pt x="10031" y="7062"/>
                </a:cubicBezTo>
                <a:lnTo>
                  <a:pt x="10031" y="7062"/>
                </a:lnTo>
                <a:cubicBezTo>
                  <a:pt x="10031" y="7062"/>
                  <a:pt x="10000" y="7094"/>
                  <a:pt x="10000" y="7094"/>
                </a:cubicBezTo>
                <a:cubicBezTo>
                  <a:pt x="10000" y="7094"/>
                  <a:pt x="10000" y="7125"/>
                  <a:pt x="10000" y="7125"/>
                </a:cubicBezTo>
                <a:cubicBezTo>
                  <a:pt x="10031" y="7156"/>
                  <a:pt x="10062" y="7156"/>
                  <a:pt x="10093" y="7187"/>
                </a:cubicBezTo>
                <a:cubicBezTo>
                  <a:pt x="10093" y="7187"/>
                  <a:pt x="10093" y="7187"/>
                  <a:pt x="10093" y="7219"/>
                </a:cubicBezTo>
                <a:cubicBezTo>
                  <a:pt x="10062" y="7219"/>
                  <a:pt x="10062" y="7219"/>
                  <a:pt x="10062" y="7250"/>
                </a:cubicBezTo>
                <a:close/>
                <a:moveTo>
                  <a:pt x="9968" y="3531"/>
                </a:moveTo>
                <a:cubicBezTo>
                  <a:pt x="9968" y="3531"/>
                  <a:pt x="9968" y="3531"/>
                  <a:pt x="9968" y="3531"/>
                </a:cubicBezTo>
                <a:cubicBezTo>
                  <a:pt x="9968" y="3531"/>
                  <a:pt x="9968" y="3531"/>
                  <a:pt x="9968" y="3531"/>
                </a:cubicBezTo>
                <a:close/>
                <a:moveTo>
                  <a:pt x="9500" y="10125"/>
                </a:moveTo>
                <a:cubicBezTo>
                  <a:pt x="9468" y="10125"/>
                  <a:pt x="9468" y="10156"/>
                  <a:pt x="9468" y="10187"/>
                </a:cubicBezTo>
                <a:cubicBezTo>
                  <a:pt x="9437" y="10187"/>
                  <a:pt x="9468" y="10187"/>
                  <a:pt x="9468" y="10187"/>
                </a:cubicBezTo>
                <a:cubicBezTo>
                  <a:pt x="9500" y="10187"/>
                  <a:pt x="9500" y="10187"/>
                  <a:pt x="9531" y="10156"/>
                </a:cubicBezTo>
                <a:cubicBezTo>
                  <a:pt x="9531" y="10156"/>
                  <a:pt x="9531" y="10125"/>
                  <a:pt x="9500" y="10125"/>
                </a:cubicBezTo>
                <a:close/>
                <a:moveTo>
                  <a:pt x="11468" y="2937"/>
                </a:moveTo>
                <a:cubicBezTo>
                  <a:pt x="11468" y="2937"/>
                  <a:pt x="11468" y="2937"/>
                  <a:pt x="11437" y="2937"/>
                </a:cubicBezTo>
                <a:cubicBezTo>
                  <a:pt x="11406" y="2906"/>
                  <a:pt x="11406" y="2937"/>
                  <a:pt x="11375" y="2969"/>
                </a:cubicBezTo>
                <a:cubicBezTo>
                  <a:pt x="11406" y="2969"/>
                  <a:pt x="11437" y="2969"/>
                  <a:pt x="11468" y="2937"/>
                </a:cubicBezTo>
                <a:close/>
                <a:moveTo>
                  <a:pt x="9625" y="10875"/>
                </a:moveTo>
                <a:cubicBezTo>
                  <a:pt x="9656" y="10875"/>
                  <a:pt x="9687" y="10844"/>
                  <a:pt x="9718" y="10844"/>
                </a:cubicBezTo>
                <a:cubicBezTo>
                  <a:pt x="9656" y="10812"/>
                  <a:pt x="9625" y="10812"/>
                  <a:pt x="9625" y="10875"/>
                </a:cubicBezTo>
                <a:close/>
                <a:moveTo>
                  <a:pt x="9718" y="10844"/>
                </a:moveTo>
                <a:cubicBezTo>
                  <a:pt x="9718" y="10875"/>
                  <a:pt x="9781" y="10906"/>
                  <a:pt x="9750" y="10937"/>
                </a:cubicBezTo>
                <a:cubicBezTo>
                  <a:pt x="9718" y="10969"/>
                  <a:pt x="9687" y="10937"/>
                  <a:pt x="9656" y="10937"/>
                </a:cubicBezTo>
                <a:cubicBezTo>
                  <a:pt x="9625" y="10937"/>
                  <a:pt x="9625" y="10906"/>
                  <a:pt x="9593" y="10906"/>
                </a:cubicBezTo>
                <a:cubicBezTo>
                  <a:pt x="9562" y="10875"/>
                  <a:pt x="9562" y="10906"/>
                  <a:pt x="9562" y="10906"/>
                </a:cubicBezTo>
                <a:cubicBezTo>
                  <a:pt x="9531" y="10906"/>
                  <a:pt x="9531" y="10937"/>
                  <a:pt x="9531" y="10969"/>
                </a:cubicBezTo>
                <a:cubicBezTo>
                  <a:pt x="9531" y="10969"/>
                  <a:pt x="9562" y="10969"/>
                  <a:pt x="9562" y="10969"/>
                </a:cubicBezTo>
                <a:cubicBezTo>
                  <a:pt x="9625" y="10937"/>
                  <a:pt x="9687" y="11031"/>
                  <a:pt x="9781" y="11000"/>
                </a:cubicBezTo>
                <a:cubicBezTo>
                  <a:pt x="9781" y="11000"/>
                  <a:pt x="9812" y="11000"/>
                  <a:pt x="9812" y="11031"/>
                </a:cubicBezTo>
                <a:cubicBezTo>
                  <a:pt x="9812" y="11062"/>
                  <a:pt x="9812" y="11062"/>
                  <a:pt x="9843" y="11062"/>
                </a:cubicBezTo>
                <a:lnTo>
                  <a:pt x="9843" y="11062"/>
                </a:lnTo>
                <a:cubicBezTo>
                  <a:pt x="9843" y="11062"/>
                  <a:pt x="9843" y="11062"/>
                  <a:pt x="9843" y="11031"/>
                </a:cubicBezTo>
                <a:cubicBezTo>
                  <a:pt x="9875" y="11000"/>
                  <a:pt x="9843" y="11000"/>
                  <a:pt x="9812" y="10969"/>
                </a:cubicBezTo>
                <a:cubicBezTo>
                  <a:pt x="9750" y="10969"/>
                  <a:pt x="9781" y="10969"/>
                  <a:pt x="9812" y="10906"/>
                </a:cubicBezTo>
                <a:cubicBezTo>
                  <a:pt x="9843" y="10875"/>
                  <a:pt x="9875" y="10875"/>
                  <a:pt x="9906" y="10906"/>
                </a:cubicBezTo>
                <a:cubicBezTo>
                  <a:pt x="9906" y="10875"/>
                  <a:pt x="9906" y="10844"/>
                  <a:pt x="9906" y="10844"/>
                </a:cubicBezTo>
                <a:cubicBezTo>
                  <a:pt x="9906" y="10812"/>
                  <a:pt x="9906" y="10812"/>
                  <a:pt x="9875" y="10812"/>
                </a:cubicBezTo>
                <a:cubicBezTo>
                  <a:pt x="9875" y="10781"/>
                  <a:pt x="9875" y="10812"/>
                  <a:pt x="9843" y="10812"/>
                </a:cubicBezTo>
                <a:cubicBezTo>
                  <a:pt x="9843" y="10875"/>
                  <a:pt x="9781" y="10875"/>
                  <a:pt x="9718" y="10844"/>
                </a:cubicBezTo>
                <a:close/>
                <a:moveTo>
                  <a:pt x="9656" y="8719"/>
                </a:moveTo>
                <a:cubicBezTo>
                  <a:pt x="9625" y="8750"/>
                  <a:pt x="9593" y="8781"/>
                  <a:pt x="9593" y="8812"/>
                </a:cubicBezTo>
                <a:cubicBezTo>
                  <a:pt x="9625" y="8812"/>
                  <a:pt x="9656" y="8781"/>
                  <a:pt x="9656" y="8719"/>
                </a:cubicBezTo>
                <a:close/>
                <a:moveTo>
                  <a:pt x="9593" y="8812"/>
                </a:moveTo>
                <a:cubicBezTo>
                  <a:pt x="9500" y="8844"/>
                  <a:pt x="9500" y="8906"/>
                  <a:pt x="9437" y="8969"/>
                </a:cubicBezTo>
                <a:cubicBezTo>
                  <a:pt x="9500" y="8937"/>
                  <a:pt x="9562" y="8875"/>
                  <a:pt x="9593" y="8812"/>
                </a:cubicBezTo>
                <a:close/>
                <a:moveTo>
                  <a:pt x="9843" y="11250"/>
                </a:moveTo>
                <a:cubicBezTo>
                  <a:pt x="9906" y="11281"/>
                  <a:pt x="9906" y="11312"/>
                  <a:pt x="9906" y="11344"/>
                </a:cubicBezTo>
                <a:cubicBezTo>
                  <a:pt x="9937" y="11344"/>
                  <a:pt x="9968" y="11312"/>
                  <a:pt x="9968" y="11281"/>
                </a:cubicBezTo>
                <a:cubicBezTo>
                  <a:pt x="9937" y="11281"/>
                  <a:pt x="9906" y="11250"/>
                  <a:pt x="9843" y="11250"/>
                </a:cubicBezTo>
                <a:close/>
                <a:moveTo>
                  <a:pt x="11843" y="11812"/>
                </a:moveTo>
                <a:cubicBezTo>
                  <a:pt x="11812" y="11812"/>
                  <a:pt x="11781" y="11844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750" y="11906"/>
                  <a:pt x="11718" y="11937"/>
                  <a:pt x="11718" y="11969"/>
                </a:cubicBezTo>
                <a:cubicBezTo>
                  <a:pt x="11750" y="11937"/>
                  <a:pt x="11781" y="11969"/>
                  <a:pt x="11843" y="11937"/>
                </a:cubicBezTo>
                <a:cubicBezTo>
                  <a:pt x="11781" y="11937"/>
                  <a:pt x="11781" y="11937"/>
                  <a:pt x="11781" y="11906"/>
                </a:cubicBezTo>
                <a:cubicBezTo>
                  <a:pt x="11781" y="11906"/>
                  <a:pt x="11781" y="11906"/>
                  <a:pt x="11781" y="11906"/>
                </a:cubicBezTo>
                <a:cubicBezTo>
                  <a:pt x="11812" y="11875"/>
                  <a:pt x="11843" y="11875"/>
                  <a:pt x="11875" y="11812"/>
                </a:cubicBezTo>
                <a:cubicBezTo>
                  <a:pt x="11875" y="11812"/>
                  <a:pt x="11843" y="11812"/>
                  <a:pt x="11843" y="11812"/>
                </a:cubicBezTo>
                <a:close/>
                <a:moveTo>
                  <a:pt x="14625" y="1000"/>
                </a:moveTo>
                <a:cubicBezTo>
                  <a:pt x="14593" y="1000"/>
                  <a:pt x="14593" y="969"/>
                  <a:pt x="14531" y="969"/>
                </a:cubicBezTo>
                <a:cubicBezTo>
                  <a:pt x="14531" y="969"/>
                  <a:pt x="14531" y="1000"/>
                  <a:pt x="14531" y="1000"/>
                </a:cubicBezTo>
                <a:cubicBezTo>
                  <a:pt x="14562" y="1031"/>
                  <a:pt x="14593" y="1031"/>
                  <a:pt x="14625" y="1000"/>
                </a:cubicBezTo>
                <a:close/>
                <a:moveTo>
                  <a:pt x="11031" y="3125"/>
                </a:moveTo>
                <a:cubicBezTo>
                  <a:pt x="11062" y="3125"/>
                  <a:pt x="11093" y="3125"/>
                  <a:pt x="11093" y="3094"/>
                </a:cubicBezTo>
                <a:cubicBezTo>
                  <a:pt x="11125" y="3094"/>
                  <a:pt x="11093" y="3062"/>
                  <a:pt x="11093" y="3062"/>
                </a:cubicBezTo>
                <a:cubicBezTo>
                  <a:pt x="11062" y="3062"/>
                  <a:pt x="11062" y="3062"/>
                  <a:pt x="11031" y="3125"/>
                </a:cubicBezTo>
                <a:close/>
                <a:moveTo>
                  <a:pt x="10218" y="4156"/>
                </a:moveTo>
                <a:cubicBezTo>
                  <a:pt x="10250" y="4156"/>
                  <a:pt x="10281" y="4125"/>
                  <a:pt x="10281" y="4094"/>
                </a:cubicBezTo>
                <a:cubicBezTo>
                  <a:pt x="10281" y="4094"/>
                  <a:pt x="10250" y="4094"/>
                  <a:pt x="10250" y="4094"/>
                </a:cubicBezTo>
                <a:cubicBezTo>
                  <a:pt x="10250" y="4125"/>
                  <a:pt x="10218" y="4125"/>
                  <a:pt x="10187" y="4156"/>
                </a:cubicBezTo>
                <a:cubicBezTo>
                  <a:pt x="10187" y="4156"/>
                  <a:pt x="10218" y="4156"/>
                  <a:pt x="10218" y="4156"/>
                </a:cubicBezTo>
                <a:close/>
                <a:moveTo>
                  <a:pt x="10281" y="9969"/>
                </a:moveTo>
                <a:cubicBezTo>
                  <a:pt x="10281" y="10000"/>
                  <a:pt x="10312" y="10000"/>
                  <a:pt x="10312" y="10000"/>
                </a:cubicBezTo>
                <a:cubicBezTo>
                  <a:pt x="10343" y="10000"/>
                  <a:pt x="10343" y="9937"/>
                  <a:pt x="10343" y="9906"/>
                </a:cubicBezTo>
                <a:cubicBezTo>
                  <a:pt x="10343" y="9937"/>
                  <a:pt x="10281" y="9937"/>
                  <a:pt x="10281" y="9969"/>
                </a:cubicBezTo>
                <a:close/>
                <a:moveTo>
                  <a:pt x="12750" y="3562"/>
                </a:moveTo>
                <a:cubicBezTo>
                  <a:pt x="12781" y="3594"/>
                  <a:pt x="12812" y="3562"/>
                  <a:pt x="12843" y="3562"/>
                </a:cubicBezTo>
                <a:cubicBezTo>
                  <a:pt x="12781" y="3531"/>
                  <a:pt x="12781" y="3531"/>
                  <a:pt x="12750" y="3562"/>
                </a:cubicBezTo>
                <a:close/>
                <a:moveTo>
                  <a:pt x="10843" y="1969"/>
                </a:moveTo>
                <a:cubicBezTo>
                  <a:pt x="10812" y="2000"/>
                  <a:pt x="10781" y="2000"/>
                  <a:pt x="10781" y="2031"/>
                </a:cubicBezTo>
                <a:cubicBezTo>
                  <a:pt x="10750" y="2031"/>
                  <a:pt x="10781" y="2031"/>
                  <a:pt x="10781" y="2031"/>
                </a:cubicBezTo>
                <a:cubicBezTo>
                  <a:pt x="10812" y="2031"/>
                  <a:pt x="10843" y="2031"/>
                  <a:pt x="10843" y="2000"/>
                </a:cubicBezTo>
                <a:cubicBezTo>
                  <a:pt x="10843" y="1969"/>
                  <a:pt x="10843" y="1969"/>
                  <a:pt x="10843" y="1969"/>
                </a:cubicBezTo>
                <a:close/>
                <a:moveTo>
                  <a:pt x="11187" y="2000"/>
                </a:moveTo>
                <a:cubicBezTo>
                  <a:pt x="11218" y="2000"/>
                  <a:pt x="11187" y="2000"/>
                  <a:pt x="11187" y="2000"/>
                </a:cubicBezTo>
                <a:cubicBezTo>
                  <a:pt x="11156" y="2000"/>
                  <a:pt x="11125" y="2000"/>
                  <a:pt x="11125" y="2031"/>
                </a:cubicBezTo>
                <a:cubicBezTo>
                  <a:pt x="11156" y="2031"/>
                  <a:pt x="11187" y="2031"/>
                  <a:pt x="11187" y="2000"/>
                </a:cubicBezTo>
                <a:close/>
                <a:moveTo>
                  <a:pt x="11000" y="1937"/>
                </a:moveTo>
                <a:cubicBezTo>
                  <a:pt x="11000" y="1906"/>
                  <a:pt x="10968" y="1906"/>
                  <a:pt x="10968" y="1906"/>
                </a:cubicBezTo>
                <a:cubicBezTo>
                  <a:pt x="10937" y="1906"/>
                  <a:pt x="10906" y="1937"/>
                  <a:pt x="10906" y="1969"/>
                </a:cubicBezTo>
                <a:cubicBezTo>
                  <a:pt x="10906" y="1969"/>
                  <a:pt x="10906" y="1969"/>
                  <a:pt x="10937" y="1969"/>
                </a:cubicBezTo>
                <a:cubicBezTo>
                  <a:pt x="10937" y="1969"/>
                  <a:pt x="10968" y="1937"/>
                  <a:pt x="11000" y="1937"/>
                </a:cubicBezTo>
                <a:close/>
                <a:moveTo>
                  <a:pt x="16000" y="2062"/>
                </a:moveTo>
                <a:cubicBezTo>
                  <a:pt x="15968" y="2031"/>
                  <a:pt x="15906" y="2031"/>
                  <a:pt x="15906" y="2000"/>
                </a:cubicBezTo>
                <a:cubicBezTo>
                  <a:pt x="15906" y="2000"/>
                  <a:pt x="15875" y="2000"/>
                  <a:pt x="15875" y="2000"/>
                </a:cubicBezTo>
                <a:cubicBezTo>
                  <a:pt x="15843" y="2031"/>
                  <a:pt x="15843" y="2031"/>
                  <a:pt x="15843" y="2031"/>
                </a:cubicBezTo>
                <a:cubicBezTo>
                  <a:pt x="15906" y="2031"/>
                  <a:pt x="15937" y="2062"/>
                  <a:pt x="16000" y="2062"/>
                </a:cubicBezTo>
                <a:close/>
                <a:moveTo>
                  <a:pt x="13937" y="13281"/>
                </a:moveTo>
                <a:cubicBezTo>
                  <a:pt x="13937" y="13250"/>
                  <a:pt x="13937" y="13250"/>
                  <a:pt x="13906" y="13250"/>
                </a:cubicBezTo>
                <a:cubicBezTo>
                  <a:pt x="13906" y="13250"/>
                  <a:pt x="13875" y="13250"/>
                  <a:pt x="13875" y="13281"/>
                </a:cubicBezTo>
                <a:cubicBezTo>
                  <a:pt x="13875" y="13312"/>
                  <a:pt x="13875" y="13312"/>
                  <a:pt x="13906" y="13312"/>
                </a:cubicBezTo>
                <a:cubicBezTo>
                  <a:pt x="13937" y="13312"/>
                  <a:pt x="13937" y="13281"/>
                  <a:pt x="13937" y="13281"/>
                </a:cubicBezTo>
                <a:close/>
                <a:moveTo>
                  <a:pt x="13875" y="2875"/>
                </a:moveTo>
                <a:cubicBezTo>
                  <a:pt x="13812" y="2844"/>
                  <a:pt x="13781" y="2844"/>
                  <a:pt x="13750" y="2875"/>
                </a:cubicBezTo>
                <a:cubicBezTo>
                  <a:pt x="13781" y="2875"/>
                  <a:pt x="13812" y="2875"/>
                  <a:pt x="13875" y="2875"/>
                </a:cubicBezTo>
                <a:close/>
                <a:moveTo>
                  <a:pt x="13125" y="2875"/>
                </a:moveTo>
                <a:cubicBezTo>
                  <a:pt x="13093" y="2844"/>
                  <a:pt x="13062" y="2844"/>
                  <a:pt x="13031" y="2875"/>
                </a:cubicBezTo>
                <a:cubicBezTo>
                  <a:pt x="13062" y="2875"/>
                  <a:pt x="13093" y="2906"/>
                  <a:pt x="13125" y="2875"/>
                </a:cubicBezTo>
                <a:close/>
                <a:moveTo>
                  <a:pt x="10125" y="2875"/>
                </a:moveTo>
                <a:cubicBezTo>
                  <a:pt x="10093" y="2906"/>
                  <a:pt x="10062" y="2906"/>
                  <a:pt x="10031" y="2937"/>
                </a:cubicBezTo>
                <a:cubicBezTo>
                  <a:pt x="10031" y="2969"/>
                  <a:pt x="10062" y="2969"/>
                  <a:pt x="10062" y="2969"/>
                </a:cubicBezTo>
                <a:cubicBezTo>
                  <a:pt x="10093" y="2937"/>
                  <a:pt x="10125" y="2906"/>
                  <a:pt x="10125" y="2906"/>
                </a:cubicBezTo>
                <a:cubicBezTo>
                  <a:pt x="10125" y="2875"/>
                  <a:pt x="10125" y="2875"/>
                  <a:pt x="10125" y="2875"/>
                </a:cubicBezTo>
                <a:close/>
                <a:moveTo>
                  <a:pt x="12093" y="11187"/>
                </a:moveTo>
                <a:cubicBezTo>
                  <a:pt x="12062" y="11187"/>
                  <a:pt x="12031" y="11219"/>
                  <a:pt x="12031" y="11250"/>
                </a:cubicBezTo>
                <a:cubicBezTo>
                  <a:pt x="12031" y="11250"/>
                  <a:pt x="12031" y="11250"/>
                  <a:pt x="12062" y="11250"/>
                </a:cubicBezTo>
                <a:cubicBezTo>
                  <a:pt x="12062" y="11219"/>
                  <a:pt x="12093" y="11219"/>
                  <a:pt x="12093" y="11187"/>
                </a:cubicBezTo>
                <a:cubicBezTo>
                  <a:pt x="12093" y="11187"/>
                  <a:pt x="12093" y="11156"/>
                  <a:pt x="12093" y="11187"/>
                </a:cubicBezTo>
                <a:close/>
                <a:moveTo>
                  <a:pt x="9625" y="1937"/>
                </a:moveTo>
                <a:cubicBezTo>
                  <a:pt x="9562" y="1969"/>
                  <a:pt x="9531" y="2000"/>
                  <a:pt x="9468" y="2062"/>
                </a:cubicBezTo>
                <a:cubicBezTo>
                  <a:pt x="9437" y="2062"/>
                  <a:pt x="9437" y="2125"/>
                  <a:pt x="9406" y="2125"/>
                </a:cubicBezTo>
                <a:cubicBezTo>
                  <a:pt x="9406" y="2062"/>
                  <a:pt x="9437" y="2062"/>
                  <a:pt x="9437" y="2031"/>
                </a:cubicBezTo>
                <a:cubicBezTo>
                  <a:pt x="9468" y="2000"/>
                  <a:pt x="9500" y="2000"/>
                  <a:pt x="9437" y="1969"/>
                </a:cubicBezTo>
                <a:lnTo>
                  <a:pt x="9437" y="1969"/>
                </a:lnTo>
                <a:cubicBezTo>
                  <a:pt x="9406" y="1969"/>
                  <a:pt x="9437" y="1906"/>
                  <a:pt x="9406" y="1937"/>
                </a:cubicBezTo>
                <a:cubicBezTo>
                  <a:pt x="9375" y="1969"/>
                  <a:pt x="9343" y="2000"/>
                  <a:pt x="9343" y="2031"/>
                </a:cubicBezTo>
                <a:cubicBezTo>
                  <a:pt x="9343" y="2062"/>
                  <a:pt x="9343" y="2062"/>
                  <a:pt x="9343" y="2062"/>
                </a:cubicBezTo>
                <a:cubicBezTo>
                  <a:pt x="9406" y="2031"/>
                  <a:pt x="9375" y="2062"/>
                  <a:pt x="9375" y="2094"/>
                </a:cubicBezTo>
                <a:cubicBezTo>
                  <a:pt x="9375" y="2125"/>
                  <a:pt x="9375" y="2125"/>
                  <a:pt x="9406" y="2125"/>
                </a:cubicBezTo>
                <a:cubicBezTo>
                  <a:pt x="9406" y="2125"/>
                  <a:pt x="9406" y="2156"/>
                  <a:pt x="9406" y="2156"/>
                </a:cubicBezTo>
                <a:cubicBezTo>
                  <a:pt x="9406" y="2156"/>
                  <a:pt x="9437" y="2156"/>
                  <a:pt x="9437" y="2156"/>
                </a:cubicBezTo>
                <a:cubicBezTo>
                  <a:pt x="9468" y="2125"/>
                  <a:pt x="9468" y="2094"/>
                  <a:pt x="9500" y="2094"/>
                </a:cubicBezTo>
                <a:cubicBezTo>
                  <a:pt x="9531" y="2031"/>
                  <a:pt x="9593" y="2000"/>
                  <a:pt x="9625" y="1937"/>
                </a:cubicBezTo>
                <a:cubicBezTo>
                  <a:pt x="9656" y="1937"/>
                  <a:pt x="9687" y="1906"/>
                  <a:pt x="9718" y="1875"/>
                </a:cubicBezTo>
                <a:cubicBezTo>
                  <a:pt x="9687" y="1906"/>
                  <a:pt x="9656" y="1906"/>
                  <a:pt x="9625" y="1937"/>
                </a:cubicBezTo>
                <a:close/>
                <a:moveTo>
                  <a:pt x="10531" y="2906"/>
                </a:moveTo>
                <a:cubicBezTo>
                  <a:pt x="10500" y="2906"/>
                  <a:pt x="10468" y="2906"/>
                  <a:pt x="10468" y="2937"/>
                </a:cubicBezTo>
                <a:cubicBezTo>
                  <a:pt x="10468" y="2937"/>
                  <a:pt x="10468" y="2969"/>
                  <a:pt x="10468" y="2969"/>
                </a:cubicBezTo>
                <a:cubicBezTo>
                  <a:pt x="10500" y="2969"/>
                  <a:pt x="10531" y="2937"/>
                  <a:pt x="10562" y="2906"/>
                </a:cubicBezTo>
                <a:cubicBezTo>
                  <a:pt x="10562" y="2906"/>
                  <a:pt x="10531" y="2906"/>
                  <a:pt x="10531" y="2906"/>
                </a:cubicBezTo>
                <a:close/>
                <a:moveTo>
                  <a:pt x="14750" y="3094"/>
                </a:moveTo>
                <a:cubicBezTo>
                  <a:pt x="14781" y="3094"/>
                  <a:pt x="14781" y="3062"/>
                  <a:pt x="14750" y="3062"/>
                </a:cubicBezTo>
                <a:cubicBezTo>
                  <a:pt x="14750" y="3062"/>
                  <a:pt x="14718" y="3062"/>
                  <a:pt x="14687" y="3062"/>
                </a:cubicBezTo>
                <a:cubicBezTo>
                  <a:pt x="14718" y="3094"/>
                  <a:pt x="14718" y="3125"/>
                  <a:pt x="14750" y="3094"/>
                </a:cubicBezTo>
                <a:close/>
                <a:moveTo>
                  <a:pt x="10625" y="8937"/>
                </a:moveTo>
                <a:cubicBezTo>
                  <a:pt x="10656" y="8906"/>
                  <a:pt x="10687" y="8906"/>
                  <a:pt x="10687" y="8875"/>
                </a:cubicBezTo>
                <a:cubicBezTo>
                  <a:pt x="10656" y="8875"/>
                  <a:pt x="10625" y="8875"/>
                  <a:pt x="10625" y="8937"/>
                </a:cubicBezTo>
                <a:close/>
                <a:moveTo>
                  <a:pt x="10687" y="8875"/>
                </a:moveTo>
                <a:cubicBezTo>
                  <a:pt x="10718" y="8844"/>
                  <a:pt x="10718" y="8781"/>
                  <a:pt x="10781" y="8781"/>
                </a:cubicBezTo>
                <a:lnTo>
                  <a:pt x="10781" y="8781"/>
                </a:lnTo>
                <a:cubicBezTo>
                  <a:pt x="10781" y="8812"/>
                  <a:pt x="10750" y="8875"/>
                  <a:pt x="10687" y="8875"/>
                </a:cubicBezTo>
                <a:close/>
                <a:moveTo>
                  <a:pt x="13562" y="3344"/>
                </a:moveTo>
                <a:cubicBezTo>
                  <a:pt x="13593" y="3375"/>
                  <a:pt x="13625" y="3375"/>
                  <a:pt x="13656" y="3344"/>
                </a:cubicBezTo>
                <a:cubicBezTo>
                  <a:pt x="13625" y="3344"/>
                  <a:pt x="13593" y="3312"/>
                  <a:pt x="13562" y="3344"/>
                </a:cubicBezTo>
                <a:close/>
                <a:moveTo>
                  <a:pt x="10343" y="2594"/>
                </a:moveTo>
                <a:cubicBezTo>
                  <a:pt x="10375" y="2594"/>
                  <a:pt x="10375" y="2562"/>
                  <a:pt x="10406" y="2531"/>
                </a:cubicBezTo>
                <a:cubicBezTo>
                  <a:pt x="10406" y="2531"/>
                  <a:pt x="10437" y="2531"/>
                  <a:pt x="10437" y="2531"/>
                </a:cubicBezTo>
                <a:cubicBezTo>
                  <a:pt x="10500" y="2500"/>
                  <a:pt x="10531" y="2500"/>
                  <a:pt x="10562" y="2469"/>
                </a:cubicBezTo>
                <a:cubicBezTo>
                  <a:pt x="10562" y="2469"/>
                  <a:pt x="10562" y="2437"/>
                  <a:pt x="10531" y="2437"/>
                </a:cubicBezTo>
                <a:lnTo>
                  <a:pt x="10531" y="2437"/>
                </a:lnTo>
                <a:cubicBezTo>
                  <a:pt x="10500" y="2437"/>
                  <a:pt x="10468" y="2469"/>
                  <a:pt x="10437" y="2531"/>
                </a:cubicBezTo>
                <a:cubicBezTo>
                  <a:pt x="10375" y="2500"/>
                  <a:pt x="10375" y="2531"/>
                  <a:pt x="10343" y="2562"/>
                </a:cubicBezTo>
                <a:cubicBezTo>
                  <a:pt x="10343" y="2562"/>
                  <a:pt x="10343" y="2594"/>
                  <a:pt x="10343" y="2594"/>
                </a:cubicBezTo>
                <a:close/>
                <a:moveTo>
                  <a:pt x="10000" y="3000"/>
                </a:moveTo>
                <a:cubicBezTo>
                  <a:pt x="10000" y="3000"/>
                  <a:pt x="10000" y="2969"/>
                  <a:pt x="10000" y="2969"/>
                </a:cubicBezTo>
                <a:cubicBezTo>
                  <a:pt x="9968" y="3000"/>
                  <a:pt x="9968" y="3000"/>
                  <a:pt x="9937" y="3031"/>
                </a:cubicBezTo>
                <a:cubicBezTo>
                  <a:pt x="9937" y="3031"/>
                  <a:pt x="9937" y="3031"/>
                  <a:pt x="9906" y="3062"/>
                </a:cubicBezTo>
                <a:cubicBezTo>
                  <a:pt x="9968" y="3031"/>
                  <a:pt x="10000" y="3031"/>
                  <a:pt x="10000" y="3000"/>
                </a:cubicBezTo>
                <a:close/>
                <a:moveTo>
                  <a:pt x="10968" y="11500"/>
                </a:moveTo>
                <a:cubicBezTo>
                  <a:pt x="11000" y="11500"/>
                  <a:pt x="11000" y="11500"/>
                  <a:pt x="11031" y="11531"/>
                </a:cubicBezTo>
                <a:cubicBezTo>
                  <a:pt x="11031" y="11562"/>
                  <a:pt x="11093" y="11500"/>
                  <a:pt x="11062" y="11469"/>
                </a:cubicBezTo>
                <a:cubicBezTo>
                  <a:pt x="11031" y="11437"/>
                  <a:pt x="11000" y="11531"/>
                  <a:pt x="10968" y="11500"/>
                </a:cubicBezTo>
                <a:close/>
                <a:moveTo>
                  <a:pt x="11031" y="1906"/>
                </a:moveTo>
                <a:cubicBezTo>
                  <a:pt x="11062" y="1906"/>
                  <a:pt x="11093" y="1906"/>
                  <a:pt x="11125" y="1875"/>
                </a:cubicBezTo>
                <a:cubicBezTo>
                  <a:pt x="11125" y="1875"/>
                  <a:pt x="11093" y="1875"/>
                  <a:pt x="11093" y="1875"/>
                </a:cubicBezTo>
                <a:cubicBezTo>
                  <a:pt x="11062" y="1875"/>
                  <a:pt x="11062" y="1875"/>
                  <a:pt x="11031" y="1906"/>
                </a:cubicBezTo>
                <a:close/>
                <a:moveTo>
                  <a:pt x="15437" y="1875"/>
                </a:moveTo>
                <a:cubicBezTo>
                  <a:pt x="15406" y="1844"/>
                  <a:pt x="15375" y="1844"/>
                  <a:pt x="15343" y="1844"/>
                </a:cubicBezTo>
                <a:cubicBezTo>
                  <a:pt x="15343" y="1844"/>
                  <a:pt x="15343" y="1875"/>
                  <a:pt x="15343" y="1875"/>
                </a:cubicBezTo>
                <a:cubicBezTo>
                  <a:pt x="15375" y="1906"/>
                  <a:pt x="15406" y="1875"/>
                  <a:pt x="15437" y="1875"/>
                </a:cubicBezTo>
                <a:close/>
                <a:moveTo>
                  <a:pt x="14531" y="1844"/>
                </a:moveTo>
                <a:cubicBezTo>
                  <a:pt x="14500" y="1844"/>
                  <a:pt x="14468" y="1844"/>
                  <a:pt x="14468" y="1844"/>
                </a:cubicBezTo>
                <a:cubicBezTo>
                  <a:pt x="14468" y="1875"/>
                  <a:pt x="14468" y="1875"/>
                  <a:pt x="14500" y="1875"/>
                </a:cubicBezTo>
                <a:cubicBezTo>
                  <a:pt x="14500" y="1875"/>
                  <a:pt x="14531" y="1906"/>
                  <a:pt x="14531" y="1875"/>
                </a:cubicBezTo>
                <a:cubicBezTo>
                  <a:pt x="14531" y="1844"/>
                  <a:pt x="14531" y="1844"/>
                  <a:pt x="14531" y="1844"/>
                </a:cubicBezTo>
                <a:close/>
                <a:moveTo>
                  <a:pt x="10875" y="11594"/>
                </a:moveTo>
                <a:cubicBezTo>
                  <a:pt x="10875" y="11594"/>
                  <a:pt x="10875" y="11594"/>
                  <a:pt x="10875" y="11594"/>
                </a:cubicBezTo>
                <a:cubicBezTo>
                  <a:pt x="10875" y="11594"/>
                  <a:pt x="10875" y="11594"/>
                  <a:pt x="10875" y="11594"/>
                </a:cubicBezTo>
                <a:close/>
                <a:moveTo>
                  <a:pt x="14812" y="2812"/>
                </a:moveTo>
                <a:cubicBezTo>
                  <a:pt x="14812" y="2781"/>
                  <a:pt x="14781" y="2812"/>
                  <a:pt x="14781" y="2812"/>
                </a:cubicBezTo>
                <a:cubicBezTo>
                  <a:pt x="14812" y="2844"/>
                  <a:pt x="14843" y="2844"/>
                  <a:pt x="14843" y="2844"/>
                </a:cubicBezTo>
                <a:cubicBezTo>
                  <a:pt x="14875" y="2844"/>
                  <a:pt x="14875" y="2844"/>
                  <a:pt x="14875" y="2844"/>
                </a:cubicBezTo>
                <a:cubicBezTo>
                  <a:pt x="14875" y="2812"/>
                  <a:pt x="14843" y="2812"/>
                  <a:pt x="14812" y="2812"/>
                </a:cubicBezTo>
                <a:close/>
                <a:moveTo>
                  <a:pt x="14375" y="1812"/>
                </a:moveTo>
                <a:cubicBezTo>
                  <a:pt x="14343" y="1812"/>
                  <a:pt x="14312" y="1812"/>
                  <a:pt x="14312" y="1844"/>
                </a:cubicBezTo>
                <a:cubicBezTo>
                  <a:pt x="14343" y="1875"/>
                  <a:pt x="14343" y="1875"/>
                  <a:pt x="14375" y="1875"/>
                </a:cubicBezTo>
                <a:cubicBezTo>
                  <a:pt x="14406" y="1875"/>
                  <a:pt x="14406" y="1875"/>
                  <a:pt x="14406" y="1844"/>
                </a:cubicBezTo>
                <a:cubicBezTo>
                  <a:pt x="14406" y="1812"/>
                  <a:pt x="14375" y="1812"/>
                  <a:pt x="14375" y="1812"/>
                </a:cubicBezTo>
                <a:close/>
                <a:moveTo>
                  <a:pt x="15781" y="2500"/>
                </a:moveTo>
                <a:cubicBezTo>
                  <a:pt x="15812" y="2500"/>
                  <a:pt x="15843" y="2500"/>
                  <a:pt x="15906" y="2500"/>
                </a:cubicBezTo>
                <a:cubicBezTo>
                  <a:pt x="15843" y="2469"/>
                  <a:pt x="15812" y="2469"/>
                  <a:pt x="15781" y="2437"/>
                </a:cubicBezTo>
                <a:cubicBezTo>
                  <a:pt x="15781" y="2437"/>
                  <a:pt x="15750" y="2437"/>
                  <a:pt x="15750" y="2469"/>
                </a:cubicBezTo>
                <a:cubicBezTo>
                  <a:pt x="15750" y="2469"/>
                  <a:pt x="15750" y="2500"/>
                  <a:pt x="15781" y="2500"/>
                </a:cubicBezTo>
                <a:close/>
                <a:moveTo>
                  <a:pt x="11500" y="1250"/>
                </a:moveTo>
                <a:cubicBezTo>
                  <a:pt x="11406" y="1250"/>
                  <a:pt x="11406" y="1250"/>
                  <a:pt x="11406" y="1312"/>
                </a:cubicBezTo>
                <a:cubicBezTo>
                  <a:pt x="11437" y="1281"/>
                  <a:pt x="11468" y="1281"/>
                  <a:pt x="11500" y="1250"/>
                </a:cubicBezTo>
                <a:close/>
                <a:moveTo>
                  <a:pt x="15093" y="3375"/>
                </a:moveTo>
                <a:cubicBezTo>
                  <a:pt x="15156" y="3437"/>
                  <a:pt x="15156" y="3437"/>
                  <a:pt x="15187" y="3344"/>
                </a:cubicBezTo>
                <a:cubicBezTo>
                  <a:pt x="15156" y="3344"/>
                  <a:pt x="15125" y="3375"/>
                  <a:pt x="15093" y="3375"/>
                </a:cubicBezTo>
                <a:close/>
                <a:moveTo>
                  <a:pt x="10468" y="9781"/>
                </a:moveTo>
                <a:cubicBezTo>
                  <a:pt x="10468" y="9781"/>
                  <a:pt x="10500" y="9750"/>
                  <a:pt x="10500" y="9719"/>
                </a:cubicBezTo>
                <a:cubicBezTo>
                  <a:pt x="10500" y="9719"/>
                  <a:pt x="10500" y="9719"/>
                  <a:pt x="10500" y="9719"/>
                </a:cubicBezTo>
                <a:cubicBezTo>
                  <a:pt x="10468" y="9719"/>
                  <a:pt x="10437" y="9750"/>
                  <a:pt x="10437" y="9750"/>
                </a:cubicBezTo>
                <a:cubicBezTo>
                  <a:pt x="10437" y="9781"/>
                  <a:pt x="10437" y="9781"/>
                  <a:pt x="10468" y="9781"/>
                </a:cubicBezTo>
                <a:close/>
                <a:moveTo>
                  <a:pt x="11781" y="11719"/>
                </a:moveTo>
                <a:cubicBezTo>
                  <a:pt x="11781" y="11687"/>
                  <a:pt x="11812" y="11687"/>
                  <a:pt x="11812" y="11656"/>
                </a:cubicBezTo>
                <a:cubicBezTo>
                  <a:pt x="11812" y="11656"/>
                  <a:pt x="11812" y="11625"/>
                  <a:pt x="11812" y="11625"/>
                </a:cubicBezTo>
                <a:cubicBezTo>
                  <a:pt x="11781" y="11625"/>
                  <a:pt x="11750" y="11687"/>
                  <a:pt x="11750" y="11687"/>
                </a:cubicBezTo>
                <a:cubicBezTo>
                  <a:pt x="11750" y="11719"/>
                  <a:pt x="11750" y="11719"/>
                  <a:pt x="11781" y="11719"/>
                </a:cubicBezTo>
                <a:close/>
                <a:moveTo>
                  <a:pt x="12000" y="11625"/>
                </a:moveTo>
                <a:cubicBezTo>
                  <a:pt x="11968" y="11625"/>
                  <a:pt x="11968" y="11687"/>
                  <a:pt x="11937" y="11687"/>
                </a:cubicBezTo>
                <a:cubicBezTo>
                  <a:pt x="11937" y="11687"/>
                  <a:pt x="11937" y="11719"/>
                  <a:pt x="11968" y="11719"/>
                </a:cubicBezTo>
                <a:cubicBezTo>
                  <a:pt x="11968" y="11687"/>
                  <a:pt x="12000" y="11687"/>
                  <a:pt x="12000" y="11656"/>
                </a:cubicBezTo>
                <a:cubicBezTo>
                  <a:pt x="12000" y="11656"/>
                  <a:pt x="12000" y="11625"/>
                  <a:pt x="12000" y="11625"/>
                </a:cubicBezTo>
                <a:close/>
                <a:moveTo>
                  <a:pt x="10625" y="2250"/>
                </a:moveTo>
                <a:cubicBezTo>
                  <a:pt x="10531" y="2281"/>
                  <a:pt x="10468" y="2312"/>
                  <a:pt x="10406" y="2344"/>
                </a:cubicBezTo>
                <a:cubicBezTo>
                  <a:pt x="10406" y="2375"/>
                  <a:pt x="10375" y="2375"/>
                  <a:pt x="10406" y="2375"/>
                </a:cubicBezTo>
                <a:cubicBezTo>
                  <a:pt x="10406" y="2406"/>
                  <a:pt x="10406" y="2406"/>
                  <a:pt x="10437" y="2406"/>
                </a:cubicBezTo>
                <a:cubicBezTo>
                  <a:pt x="10500" y="2344"/>
                  <a:pt x="10562" y="2344"/>
                  <a:pt x="10625" y="2281"/>
                </a:cubicBezTo>
                <a:cubicBezTo>
                  <a:pt x="10656" y="2250"/>
                  <a:pt x="10718" y="2281"/>
                  <a:pt x="10718" y="2219"/>
                </a:cubicBezTo>
                <a:cubicBezTo>
                  <a:pt x="10750" y="2219"/>
                  <a:pt x="10812" y="2187"/>
                  <a:pt x="10843" y="2156"/>
                </a:cubicBezTo>
                <a:cubicBezTo>
                  <a:pt x="10875" y="2156"/>
                  <a:pt x="10875" y="2156"/>
                  <a:pt x="10875" y="2156"/>
                </a:cubicBezTo>
                <a:cubicBezTo>
                  <a:pt x="10968" y="2125"/>
                  <a:pt x="11000" y="2094"/>
                  <a:pt x="11062" y="2062"/>
                </a:cubicBezTo>
                <a:cubicBezTo>
                  <a:pt x="11062" y="2062"/>
                  <a:pt x="11093" y="2062"/>
                  <a:pt x="11093" y="2031"/>
                </a:cubicBezTo>
                <a:cubicBezTo>
                  <a:pt x="11093" y="2031"/>
                  <a:pt x="11062" y="2031"/>
                  <a:pt x="11031" y="2031"/>
                </a:cubicBezTo>
                <a:cubicBezTo>
                  <a:pt x="11000" y="2062"/>
                  <a:pt x="10937" y="2094"/>
                  <a:pt x="10875" y="2125"/>
                </a:cubicBezTo>
                <a:cubicBezTo>
                  <a:pt x="10843" y="2125"/>
                  <a:pt x="10843" y="2125"/>
                  <a:pt x="10843" y="2156"/>
                </a:cubicBezTo>
                <a:cubicBezTo>
                  <a:pt x="10843" y="2153"/>
                  <a:pt x="10842" y="2126"/>
                  <a:pt x="10812" y="2156"/>
                </a:cubicBezTo>
                <a:lnTo>
                  <a:pt x="10812" y="2156"/>
                </a:lnTo>
                <a:cubicBezTo>
                  <a:pt x="10781" y="2156"/>
                  <a:pt x="10718" y="2156"/>
                  <a:pt x="10718" y="2219"/>
                </a:cubicBezTo>
                <a:cubicBezTo>
                  <a:pt x="10656" y="2219"/>
                  <a:pt x="10625" y="2219"/>
                  <a:pt x="10625" y="2250"/>
                </a:cubicBezTo>
                <a:close/>
                <a:moveTo>
                  <a:pt x="10906" y="4875"/>
                </a:moveTo>
                <a:cubicBezTo>
                  <a:pt x="10906" y="4875"/>
                  <a:pt x="10906" y="4875"/>
                  <a:pt x="10906" y="4875"/>
                </a:cubicBezTo>
                <a:cubicBezTo>
                  <a:pt x="10937" y="4875"/>
                  <a:pt x="10968" y="4844"/>
                  <a:pt x="10968" y="4812"/>
                </a:cubicBezTo>
                <a:cubicBezTo>
                  <a:pt x="11000" y="4812"/>
                  <a:pt x="11000" y="4812"/>
                  <a:pt x="11000" y="4781"/>
                </a:cubicBezTo>
                <a:cubicBezTo>
                  <a:pt x="10968" y="4781"/>
                  <a:pt x="10968" y="4781"/>
                  <a:pt x="10968" y="4781"/>
                </a:cubicBezTo>
                <a:cubicBezTo>
                  <a:pt x="10937" y="4812"/>
                  <a:pt x="10906" y="4844"/>
                  <a:pt x="10906" y="4875"/>
                </a:cubicBezTo>
                <a:close/>
                <a:moveTo>
                  <a:pt x="11000" y="4781"/>
                </a:moveTo>
                <a:cubicBezTo>
                  <a:pt x="11000" y="4750"/>
                  <a:pt x="11031" y="4719"/>
                  <a:pt x="11093" y="4719"/>
                </a:cubicBezTo>
                <a:lnTo>
                  <a:pt x="11093" y="4719"/>
                </a:lnTo>
                <a:cubicBezTo>
                  <a:pt x="11062" y="4750"/>
                  <a:pt x="11031" y="4781"/>
                  <a:pt x="11000" y="4781"/>
                </a:cubicBezTo>
                <a:close/>
                <a:moveTo>
                  <a:pt x="13250" y="2719"/>
                </a:moveTo>
                <a:cubicBezTo>
                  <a:pt x="13281" y="2750"/>
                  <a:pt x="13312" y="2750"/>
                  <a:pt x="13375" y="2719"/>
                </a:cubicBezTo>
                <a:cubicBezTo>
                  <a:pt x="13312" y="2719"/>
                  <a:pt x="13281" y="2719"/>
                  <a:pt x="13250" y="2719"/>
                </a:cubicBezTo>
                <a:close/>
                <a:moveTo>
                  <a:pt x="11843" y="9625"/>
                </a:moveTo>
                <a:cubicBezTo>
                  <a:pt x="11812" y="9625"/>
                  <a:pt x="11812" y="9656"/>
                  <a:pt x="11812" y="9656"/>
                </a:cubicBezTo>
                <a:cubicBezTo>
                  <a:pt x="11781" y="9687"/>
                  <a:pt x="11812" y="9687"/>
                  <a:pt x="11812" y="9687"/>
                </a:cubicBezTo>
                <a:cubicBezTo>
                  <a:pt x="11843" y="9687"/>
                  <a:pt x="11843" y="9656"/>
                  <a:pt x="11875" y="9656"/>
                </a:cubicBezTo>
                <a:cubicBezTo>
                  <a:pt x="11875" y="9625"/>
                  <a:pt x="11843" y="9625"/>
                  <a:pt x="11843" y="9625"/>
                </a:cubicBezTo>
                <a:close/>
                <a:moveTo>
                  <a:pt x="10593" y="8375"/>
                </a:moveTo>
                <a:cubicBezTo>
                  <a:pt x="10562" y="8375"/>
                  <a:pt x="10531" y="8406"/>
                  <a:pt x="10531" y="8406"/>
                </a:cubicBezTo>
                <a:cubicBezTo>
                  <a:pt x="10531" y="8437"/>
                  <a:pt x="10531" y="8437"/>
                  <a:pt x="10562" y="8437"/>
                </a:cubicBezTo>
                <a:cubicBezTo>
                  <a:pt x="10593" y="8437"/>
                  <a:pt x="10593" y="8406"/>
                  <a:pt x="10593" y="8375"/>
                </a:cubicBezTo>
                <a:close/>
                <a:moveTo>
                  <a:pt x="10562" y="3937"/>
                </a:moveTo>
                <a:cubicBezTo>
                  <a:pt x="10562" y="3937"/>
                  <a:pt x="10593" y="3969"/>
                  <a:pt x="10593" y="3969"/>
                </a:cubicBezTo>
                <a:cubicBezTo>
                  <a:pt x="10625" y="3969"/>
                  <a:pt x="10625" y="3937"/>
                  <a:pt x="10656" y="3906"/>
                </a:cubicBezTo>
                <a:cubicBezTo>
                  <a:pt x="10625" y="3906"/>
                  <a:pt x="10593" y="3906"/>
                  <a:pt x="10562" y="3937"/>
                </a:cubicBezTo>
                <a:close/>
                <a:moveTo>
                  <a:pt x="13531" y="3344"/>
                </a:moveTo>
                <a:cubicBezTo>
                  <a:pt x="13531" y="3344"/>
                  <a:pt x="13562" y="3344"/>
                  <a:pt x="13562" y="3312"/>
                </a:cubicBezTo>
                <a:cubicBezTo>
                  <a:pt x="13562" y="3281"/>
                  <a:pt x="13531" y="3281"/>
                  <a:pt x="13500" y="3281"/>
                </a:cubicBezTo>
                <a:cubicBezTo>
                  <a:pt x="13500" y="3281"/>
                  <a:pt x="13468" y="3281"/>
                  <a:pt x="13468" y="3312"/>
                </a:cubicBezTo>
                <a:cubicBezTo>
                  <a:pt x="13468" y="3344"/>
                  <a:pt x="13500" y="3344"/>
                  <a:pt x="13531" y="3344"/>
                </a:cubicBezTo>
                <a:close/>
                <a:moveTo>
                  <a:pt x="14312" y="2250"/>
                </a:moveTo>
                <a:cubicBezTo>
                  <a:pt x="14343" y="2281"/>
                  <a:pt x="14375" y="2281"/>
                  <a:pt x="14406" y="2250"/>
                </a:cubicBezTo>
                <a:cubicBezTo>
                  <a:pt x="14406" y="2250"/>
                  <a:pt x="14406" y="2250"/>
                  <a:pt x="14406" y="2250"/>
                </a:cubicBezTo>
                <a:cubicBezTo>
                  <a:pt x="14375" y="2219"/>
                  <a:pt x="14343" y="2219"/>
                  <a:pt x="14312" y="2250"/>
                </a:cubicBezTo>
                <a:close/>
                <a:moveTo>
                  <a:pt x="11781" y="1187"/>
                </a:moveTo>
                <a:cubicBezTo>
                  <a:pt x="11781" y="1187"/>
                  <a:pt x="11750" y="1187"/>
                  <a:pt x="11750" y="1187"/>
                </a:cubicBezTo>
                <a:cubicBezTo>
                  <a:pt x="11718" y="1156"/>
                  <a:pt x="11687" y="1187"/>
                  <a:pt x="11687" y="1219"/>
                </a:cubicBezTo>
                <a:cubicBezTo>
                  <a:pt x="11718" y="1219"/>
                  <a:pt x="11750" y="1219"/>
                  <a:pt x="11781" y="1187"/>
                </a:cubicBezTo>
                <a:close/>
                <a:moveTo>
                  <a:pt x="14343" y="2344"/>
                </a:moveTo>
                <a:cubicBezTo>
                  <a:pt x="14343" y="2375"/>
                  <a:pt x="14312" y="2375"/>
                  <a:pt x="14343" y="2375"/>
                </a:cubicBezTo>
                <a:cubicBezTo>
                  <a:pt x="14343" y="2406"/>
                  <a:pt x="14375" y="2406"/>
                  <a:pt x="14406" y="2406"/>
                </a:cubicBezTo>
                <a:cubicBezTo>
                  <a:pt x="14406" y="2375"/>
                  <a:pt x="14375" y="2344"/>
                  <a:pt x="14343" y="2344"/>
                </a:cubicBezTo>
                <a:close/>
                <a:moveTo>
                  <a:pt x="8437" y="2781"/>
                </a:moveTo>
                <a:cubicBezTo>
                  <a:pt x="8406" y="2781"/>
                  <a:pt x="8406" y="2812"/>
                  <a:pt x="8406" y="2812"/>
                </a:cubicBezTo>
                <a:cubicBezTo>
                  <a:pt x="8406" y="2844"/>
                  <a:pt x="8406" y="2875"/>
                  <a:pt x="8437" y="2875"/>
                </a:cubicBezTo>
                <a:cubicBezTo>
                  <a:pt x="8468" y="2875"/>
                  <a:pt x="8468" y="2844"/>
                  <a:pt x="8468" y="2812"/>
                </a:cubicBezTo>
                <a:cubicBezTo>
                  <a:pt x="8468" y="2812"/>
                  <a:pt x="8468" y="2781"/>
                  <a:pt x="8437" y="2781"/>
                </a:cubicBezTo>
                <a:close/>
                <a:moveTo>
                  <a:pt x="10250" y="2781"/>
                </a:moveTo>
                <a:cubicBezTo>
                  <a:pt x="10250" y="2781"/>
                  <a:pt x="10250" y="2812"/>
                  <a:pt x="10250" y="2812"/>
                </a:cubicBezTo>
                <a:cubicBezTo>
                  <a:pt x="10312" y="2781"/>
                  <a:pt x="10343" y="2781"/>
                  <a:pt x="10343" y="2719"/>
                </a:cubicBezTo>
                <a:cubicBezTo>
                  <a:pt x="10343" y="2687"/>
                  <a:pt x="10406" y="2656"/>
                  <a:pt x="10437" y="2656"/>
                </a:cubicBezTo>
                <a:cubicBezTo>
                  <a:pt x="10437" y="2656"/>
                  <a:pt x="10437" y="2656"/>
                  <a:pt x="10468" y="2656"/>
                </a:cubicBezTo>
                <a:lnTo>
                  <a:pt x="10468" y="2656"/>
                </a:lnTo>
                <a:cubicBezTo>
                  <a:pt x="10468" y="2656"/>
                  <a:pt x="10468" y="2687"/>
                  <a:pt x="10437" y="2687"/>
                </a:cubicBezTo>
                <a:cubicBezTo>
                  <a:pt x="10406" y="2687"/>
                  <a:pt x="10375" y="2719"/>
                  <a:pt x="10343" y="2719"/>
                </a:cubicBezTo>
                <a:cubicBezTo>
                  <a:pt x="10281" y="2719"/>
                  <a:pt x="10281" y="2750"/>
                  <a:pt x="10250" y="2781"/>
                </a:cubicBezTo>
                <a:close/>
                <a:moveTo>
                  <a:pt x="14531" y="2281"/>
                </a:moveTo>
                <a:cubicBezTo>
                  <a:pt x="14531" y="2250"/>
                  <a:pt x="14500" y="2250"/>
                  <a:pt x="14468" y="2250"/>
                </a:cubicBezTo>
                <a:cubicBezTo>
                  <a:pt x="14468" y="2250"/>
                  <a:pt x="14437" y="2250"/>
                  <a:pt x="14468" y="2281"/>
                </a:cubicBezTo>
                <a:cubicBezTo>
                  <a:pt x="14468" y="2312"/>
                  <a:pt x="14468" y="2312"/>
                  <a:pt x="14500" y="2312"/>
                </a:cubicBezTo>
                <a:cubicBezTo>
                  <a:pt x="14531" y="2312"/>
                  <a:pt x="14531" y="2312"/>
                  <a:pt x="14531" y="2281"/>
                </a:cubicBezTo>
                <a:close/>
                <a:moveTo>
                  <a:pt x="14156" y="2594"/>
                </a:moveTo>
                <a:cubicBezTo>
                  <a:pt x="14187" y="2625"/>
                  <a:pt x="14218" y="2625"/>
                  <a:pt x="14250" y="2625"/>
                </a:cubicBezTo>
                <a:cubicBezTo>
                  <a:pt x="14250" y="2625"/>
                  <a:pt x="14250" y="2594"/>
                  <a:pt x="14250" y="2594"/>
                </a:cubicBezTo>
                <a:cubicBezTo>
                  <a:pt x="14218" y="2594"/>
                  <a:pt x="14187" y="2594"/>
                  <a:pt x="14156" y="2594"/>
                </a:cubicBezTo>
                <a:close/>
                <a:moveTo>
                  <a:pt x="14312" y="1125"/>
                </a:moveTo>
                <a:cubicBezTo>
                  <a:pt x="14343" y="1125"/>
                  <a:pt x="14375" y="1125"/>
                  <a:pt x="14343" y="1094"/>
                </a:cubicBezTo>
                <a:cubicBezTo>
                  <a:pt x="14343" y="1062"/>
                  <a:pt x="14343" y="1062"/>
                  <a:pt x="14312" y="1062"/>
                </a:cubicBezTo>
                <a:cubicBezTo>
                  <a:pt x="14281" y="1062"/>
                  <a:pt x="14281" y="1062"/>
                  <a:pt x="14281" y="1094"/>
                </a:cubicBezTo>
                <a:cubicBezTo>
                  <a:pt x="14281" y="1094"/>
                  <a:pt x="14312" y="1125"/>
                  <a:pt x="14312" y="1125"/>
                </a:cubicBezTo>
                <a:close/>
                <a:moveTo>
                  <a:pt x="11593" y="10562"/>
                </a:moveTo>
                <a:cubicBezTo>
                  <a:pt x="11562" y="10531"/>
                  <a:pt x="11531" y="10531"/>
                  <a:pt x="11500" y="10500"/>
                </a:cubicBezTo>
                <a:cubicBezTo>
                  <a:pt x="11500" y="10500"/>
                  <a:pt x="11500" y="10500"/>
                  <a:pt x="11468" y="10500"/>
                </a:cubicBezTo>
                <a:cubicBezTo>
                  <a:pt x="11468" y="10500"/>
                  <a:pt x="11468" y="10531"/>
                  <a:pt x="11468" y="10531"/>
                </a:cubicBezTo>
                <a:cubicBezTo>
                  <a:pt x="11468" y="10562"/>
                  <a:pt x="11500" y="10562"/>
                  <a:pt x="11500" y="10562"/>
                </a:cubicBezTo>
                <a:cubicBezTo>
                  <a:pt x="11531" y="10562"/>
                  <a:pt x="11562" y="10562"/>
                  <a:pt x="11593" y="10562"/>
                </a:cubicBezTo>
                <a:close/>
                <a:moveTo>
                  <a:pt x="9968" y="3187"/>
                </a:moveTo>
                <a:cubicBezTo>
                  <a:pt x="10000" y="3187"/>
                  <a:pt x="10031" y="3156"/>
                  <a:pt x="10031" y="3125"/>
                </a:cubicBezTo>
                <a:cubicBezTo>
                  <a:pt x="10000" y="3125"/>
                  <a:pt x="9968" y="3125"/>
                  <a:pt x="9968" y="3187"/>
                </a:cubicBezTo>
                <a:close/>
                <a:moveTo>
                  <a:pt x="15562" y="12625"/>
                </a:moveTo>
                <a:cubicBezTo>
                  <a:pt x="15593" y="12656"/>
                  <a:pt x="15593" y="12625"/>
                  <a:pt x="15625" y="12594"/>
                </a:cubicBezTo>
                <a:cubicBezTo>
                  <a:pt x="15593" y="12625"/>
                  <a:pt x="15562" y="12562"/>
                  <a:pt x="15531" y="12594"/>
                </a:cubicBezTo>
                <a:cubicBezTo>
                  <a:pt x="15531" y="12625"/>
                  <a:pt x="15531" y="12625"/>
                  <a:pt x="15562" y="12625"/>
                </a:cubicBezTo>
                <a:close/>
                <a:moveTo>
                  <a:pt x="10312" y="10937"/>
                </a:moveTo>
                <a:cubicBezTo>
                  <a:pt x="10343" y="10937"/>
                  <a:pt x="10343" y="10969"/>
                  <a:pt x="10343" y="10969"/>
                </a:cubicBezTo>
                <a:cubicBezTo>
                  <a:pt x="10375" y="10969"/>
                  <a:pt x="10406" y="10937"/>
                  <a:pt x="10406" y="10906"/>
                </a:cubicBezTo>
                <a:cubicBezTo>
                  <a:pt x="10406" y="10906"/>
                  <a:pt x="10406" y="10906"/>
                  <a:pt x="10406" y="10906"/>
                </a:cubicBezTo>
                <a:cubicBezTo>
                  <a:pt x="10375" y="10906"/>
                  <a:pt x="10343" y="10937"/>
                  <a:pt x="10312" y="10937"/>
                </a:cubicBezTo>
                <a:close/>
                <a:moveTo>
                  <a:pt x="14187" y="1469"/>
                </a:moveTo>
                <a:cubicBezTo>
                  <a:pt x="14156" y="1469"/>
                  <a:pt x="14156" y="1500"/>
                  <a:pt x="14156" y="1500"/>
                </a:cubicBezTo>
                <a:cubicBezTo>
                  <a:pt x="14187" y="1531"/>
                  <a:pt x="14218" y="1531"/>
                  <a:pt x="14250" y="1531"/>
                </a:cubicBezTo>
                <a:cubicBezTo>
                  <a:pt x="14250" y="1469"/>
                  <a:pt x="14218" y="1469"/>
                  <a:pt x="14187" y="1469"/>
                </a:cubicBezTo>
                <a:close/>
                <a:moveTo>
                  <a:pt x="10375" y="3969"/>
                </a:moveTo>
                <a:cubicBezTo>
                  <a:pt x="10375" y="3969"/>
                  <a:pt x="10406" y="3969"/>
                  <a:pt x="10406" y="3969"/>
                </a:cubicBezTo>
                <a:cubicBezTo>
                  <a:pt x="10437" y="3969"/>
                  <a:pt x="10437" y="3937"/>
                  <a:pt x="10468" y="3937"/>
                </a:cubicBezTo>
                <a:cubicBezTo>
                  <a:pt x="10468" y="3906"/>
                  <a:pt x="10468" y="3906"/>
                  <a:pt x="10468" y="3875"/>
                </a:cubicBezTo>
                <a:cubicBezTo>
                  <a:pt x="10437" y="3906"/>
                  <a:pt x="10406" y="3937"/>
                  <a:pt x="10375" y="3969"/>
                </a:cubicBezTo>
                <a:close/>
                <a:moveTo>
                  <a:pt x="9843" y="6125"/>
                </a:moveTo>
                <a:cubicBezTo>
                  <a:pt x="9812" y="6125"/>
                  <a:pt x="9781" y="6156"/>
                  <a:pt x="9781" y="6219"/>
                </a:cubicBezTo>
                <a:cubicBezTo>
                  <a:pt x="9812" y="6187"/>
                  <a:pt x="9843" y="6156"/>
                  <a:pt x="9843" y="6125"/>
                </a:cubicBezTo>
                <a:cubicBezTo>
                  <a:pt x="9843" y="6125"/>
                  <a:pt x="9843" y="6125"/>
                  <a:pt x="9843" y="6125"/>
                </a:cubicBezTo>
                <a:cubicBezTo>
                  <a:pt x="9875" y="6094"/>
                  <a:pt x="9906" y="6094"/>
                  <a:pt x="9937" y="6094"/>
                </a:cubicBezTo>
                <a:lnTo>
                  <a:pt x="9937" y="6094"/>
                </a:lnTo>
                <a:cubicBezTo>
                  <a:pt x="9937" y="6062"/>
                  <a:pt x="9937" y="6062"/>
                  <a:pt x="9937" y="6062"/>
                </a:cubicBezTo>
                <a:cubicBezTo>
                  <a:pt x="9937" y="6031"/>
                  <a:pt x="9906" y="6031"/>
                  <a:pt x="9906" y="6062"/>
                </a:cubicBezTo>
                <a:cubicBezTo>
                  <a:pt x="9875" y="6062"/>
                  <a:pt x="9875" y="6094"/>
                  <a:pt x="9843" y="6125"/>
                </a:cubicBezTo>
                <a:close/>
                <a:moveTo>
                  <a:pt x="14437" y="1125"/>
                </a:moveTo>
                <a:cubicBezTo>
                  <a:pt x="14468" y="1125"/>
                  <a:pt x="14500" y="1125"/>
                  <a:pt x="14500" y="1094"/>
                </a:cubicBezTo>
                <a:cubicBezTo>
                  <a:pt x="14500" y="1094"/>
                  <a:pt x="14468" y="1094"/>
                  <a:pt x="14437" y="1094"/>
                </a:cubicBezTo>
                <a:cubicBezTo>
                  <a:pt x="14437" y="1094"/>
                  <a:pt x="14406" y="1094"/>
                  <a:pt x="14406" y="1094"/>
                </a:cubicBezTo>
                <a:cubicBezTo>
                  <a:pt x="14406" y="1125"/>
                  <a:pt x="14437" y="1125"/>
                  <a:pt x="14437" y="1125"/>
                </a:cubicBezTo>
                <a:close/>
                <a:moveTo>
                  <a:pt x="14656" y="1437"/>
                </a:moveTo>
                <a:cubicBezTo>
                  <a:pt x="14687" y="1469"/>
                  <a:pt x="14718" y="1469"/>
                  <a:pt x="14750" y="1437"/>
                </a:cubicBezTo>
                <a:cubicBezTo>
                  <a:pt x="14718" y="1406"/>
                  <a:pt x="14687" y="1406"/>
                  <a:pt x="14656" y="1406"/>
                </a:cubicBezTo>
                <a:cubicBezTo>
                  <a:pt x="14625" y="1406"/>
                  <a:pt x="14625" y="1437"/>
                  <a:pt x="14656" y="1437"/>
                </a:cubicBezTo>
                <a:close/>
                <a:moveTo>
                  <a:pt x="11218" y="9281"/>
                </a:moveTo>
                <a:cubicBezTo>
                  <a:pt x="11218" y="9281"/>
                  <a:pt x="11218" y="9250"/>
                  <a:pt x="11218" y="9281"/>
                </a:cubicBezTo>
                <a:cubicBezTo>
                  <a:pt x="11156" y="9281"/>
                  <a:pt x="11156" y="9312"/>
                  <a:pt x="11156" y="9344"/>
                </a:cubicBezTo>
                <a:cubicBezTo>
                  <a:pt x="11187" y="9437"/>
                  <a:pt x="11125" y="9437"/>
                  <a:pt x="11062" y="9437"/>
                </a:cubicBezTo>
                <a:lnTo>
                  <a:pt x="11062" y="9437"/>
                </a:lnTo>
                <a:cubicBezTo>
                  <a:pt x="11093" y="9406"/>
                  <a:pt x="11093" y="9344"/>
                  <a:pt x="11156" y="9344"/>
                </a:cubicBezTo>
                <a:cubicBezTo>
                  <a:pt x="11218" y="9344"/>
                  <a:pt x="11218" y="9312"/>
                  <a:pt x="11218" y="9281"/>
                </a:cubicBezTo>
                <a:close/>
                <a:moveTo>
                  <a:pt x="11125" y="2312"/>
                </a:moveTo>
                <a:cubicBezTo>
                  <a:pt x="11125" y="2312"/>
                  <a:pt x="11093" y="2312"/>
                  <a:pt x="11093" y="2344"/>
                </a:cubicBezTo>
                <a:cubicBezTo>
                  <a:pt x="11093" y="2375"/>
                  <a:pt x="11093" y="2375"/>
                  <a:pt x="11125" y="2375"/>
                </a:cubicBezTo>
                <a:cubicBezTo>
                  <a:pt x="11125" y="2344"/>
                  <a:pt x="11156" y="2375"/>
                  <a:pt x="11156" y="2344"/>
                </a:cubicBezTo>
                <a:cubicBezTo>
                  <a:pt x="11156" y="2312"/>
                  <a:pt x="11156" y="2312"/>
                  <a:pt x="11125" y="2312"/>
                </a:cubicBezTo>
                <a:close/>
                <a:moveTo>
                  <a:pt x="10937" y="10687"/>
                </a:moveTo>
                <a:cubicBezTo>
                  <a:pt x="10968" y="10656"/>
                  <a:pt x="10968" y="10625"/>
                  <a:pt x="10968" y="10594"/>
                </a:cubicBezTo>
                <a:cubicBezTo>
                  <a:pt x="10968" y="10562"/>
                  <a:pt x="10968" y="10531"/>
                  <a:pt x="11000" y="10531"/>
                </a:cubicBezTo>
                <a:cubicBezTo>
                  <a:pt x="11031" y="10500"/>
                  <a:pt x="11000" y="10500"/>
                  <a:pt x="11000" y="10469"/>
                </a:cubicBezTo>
                <a:cubicBezTo>
                  <a:pt x="11031" y="10469"/>
                  <a:pt x="11062" y="10469"/>
                  <a:pt x="11093" y="10437"/>
                </a:cubicBezTo>
                <a:lnTo>
                  <a:pt x="11093" y="10437"/>
                </a:lnTo>
                <a:cubicBezTo>
                  <a:pt x="11062" y="10500"/>
                  <a:pt x="11062" y="10562"/>
                  <a:pt x="10968" y="10594"/>
                </a:cubicBezTo>
                <a:cubicBezTo>
                  <a:pt x="10937" y="10594"/>
                  <a:pt x="10937" y="10625"/>
                  <a:pt x="10906" y="10656"/>
                </a:cubicBezTo>
                <a:cubicBezTo>
                  <a:pt x="10906" y="10656"/>
                  <a:pt x="10906" y="10687"/>
                  <a:pt x="10906" y="10687"/>
                </a:cubicBezTo>
                <a:cubicBezTo>
                  <a:pt x="10937" y="10687"/>
                  <a:pt x="10937" y="10687"/>
                  <a:pt x="10937" y="10687"/>
                </a:cubicBezTo>
                <a:close/>
                <a:moveTo>
                  <a:pt x="13375" y="10125"/>
                </a:moveTo>
                <a:cubicBezTo>
                  <a:pt x="13406" y="10187"/>
                  <a:pt x="13437" y="10187"/>
                  <a:pt x="13468" y="10187"/>
                </a:cubicBezTo>
                <a:cubicBezTo>
                  <a:pt x="13468" y="10094"/>
                  <a:pt x="13406" y="10125"/>
                  <a:pt x="13375" y="10125"/>
                </a:cubicBezTo>
                <a:close/>
                <a:moveTo>
                  <a:pt x="14468" y="1656"/>
                </a:moveTo>
                <a:cubicBezTo>
                  <a:pt x="14468" y="1687"/>
                  <a:pt x="14437" y="1687"/>
                  <a:pt x="14437" y="1687"/>
                </a:cubicBezTo>
                <a:cubicBezTo>
                  <a:pt x="14437" y="1719"/>
                  <a:pt x="14468" y="1719"/>
                  <a:pt x="14500" y="1719"/>
                </a:cubicBezTo>
                <a:cubicBezTo>
                  <a:pt x="14500" y="1719"/>
                  <a:pt x="14531" y="1719"/>
                  <a:pt x="14531" y="1719"/>
                </a:cubicBezTo>
                <a:cubicBezTo>
                  <a:pt x="14531" y="1687"/>
                  <a:pt x="14500" y="1687"/>
                  <a:pt x="14468" y="1656"/>
                </a:cubicBezTo>
                <a:close/>
                <a:moveTo>
                  <a:pt x="10437" y="8375"/>
                </a:moveTo>
                <a:cubicBezTo>
                  <a:pt x="10437" y="8344"/>
                  <a:pt x="10437" y="8344"/>
                  <a:pt x="10437" y="8344"/>
                </a:cubicBezTo>
                <a:cubicBezTo>
                  <a:pt x="10406" y="8344"/>
                  <a:pt x="10375" y="8375"/>
                  <a:pt x="10375" y="8406"/>
                </a:cubicBezTo>
                <a:cubicBezTo>
                  <a:pt x="10375" y="8406"/>
                  <a:pt x="10406" y="8406"/>
                  <a:pt x="10406" y="8406"/>
                </a:cubicBezTo>
                <a:cubicBezTo>
                  <a:pt x="10437" y="8406"/>
                  <a:pt x="10437" y="8375"/>
                  <a:pt x="10437" y="8375"/>
                </a:cubicBezTo>
                <a:close/>
                <a:moveTo>
                  <a:pt x="13625" y="1656"/>
                </a:moveTo>
                <a:cubicBezTo>
                  <a:pt x="13593" y="1656"/>
                  <a:pt x="13562" y="1656"/>
                  <a:pt x="13500" y="1687"/>
                </a:cubicBezTo>
                <a:cubicBezTo>
                  <a:pt x="13562" y="1687"/>
                  <a:pt x="13593" y="1687"/>
                  <a:pt x="13625" y="1656"/>
                </a:cubicBezTo>
                <a:close/>
                <a:moveTo>
                  <a:pt x="9562" y="1719"/>
                </a:moveTo>
                <a:cubicBezTo>
                  <a:pt x="9562" y="1719"/>
                  <a:pt x="9531" y="1719"/>
                  <a:pt x="9531" y="1750"/>
                </a:cubicBezTo>
                <a:cubicBezTo>
                  <a:pt x="9531" y="1750"/>
                  <a:pt x="9562" y="1781"/>
                  <a:pt x="9562" y="1781"/>
                </a:cubicBezTo>
                <a:cubicBezTo>
                  <a:pt x="9593" y="1781"/>
                  <a:pt x="9625" y="1781"/>
                  <a:pt x="9593" y="1750"/>
                </a:cubicBezTo>
                <a:cubicBezTo>
                  <a:pt x="9593" y="1719"/>
                  <a:pt x="9593" y="1719"/>
                  <a:pt x="9562" y="1719"/>
                </a:cubicBezTo>
                <a:close/>
                <a:moveTo>
                  <a:pt x="10812" y="1844"/>
                </a:moveTo>
                <a:cubicBezTo>
                  <a:pt x="10812" y="1844"/>
                  <a:pt x="10812" y="1875"/>
                  <a:pt x="10812" y="1875"/>
                </a:cubicBezTo>
                <a:cubicBezTo>
                  <a:pt x="10843" y="1844"/>
                  <a:pt x="10875" y="1844"/>
                  <a:pt x="10875" y="1812"/>
                </a:cubicBezTo>
                <a:cubicBezTo>
                  <a:pt x="10843" y="1812"/>
                  <a:pt x="10812" y="1812"/>
                  <a:pt x="10812" y="1844"/>
                </a:cubicBezTo>
                <a:close/>
                <a:moveTo>
                  <a:pt x="13468" y="1781"/>
                </a:moveTo>
                <a:cubicBezTo>
                  <a:pt x="13437" y="1781"/>
                  <a:pt x="13437" y="1781"/>
                  <a:pt x="13437" y="1812"/>
                </a:cubicBezTo>
                <a:cubicBezTo>
                  <a:pt x="13437" y="1844"/>
                  <a:pt x="13437" y="1844"/>
                  <a:pt x="13468" y="1844"/>
                </a:cubicBezTo>
                <a:cubicBezTo>
                  <a:pt x="13468" y="1844"/>
                  <a:pt x="13500" y="1844"/>
                  <a:pt x="13500" y="1812"/>
                </a:cubicBezTo>
                <a:cubicBezTo>
                  <a:pt x="13500" y="1781"/>
                  <a:pt x="13468" y="1781"/>
                  <a:pt x="13468" y="1781"/>
                </a:cubicBezTo>
                <a:close/>
                <a:moveTo>
                  <a:pt x="14781" y="3344"/>
                </a:moveTo>
                <a:cubicBezTo>
                  <a:pt x="14750" y="3344"/>
                  <a:pt x="14718" y="3344"/>
                  <a:pt x="14750" y="3375"/>
                </a:cubicBezTo>
                <a:cubicBezTo>
                  <a:pt x="14750" y="3375"/>
                  <a:pt x="14750" y="3375"/>
                  <a:pt x="14781" y="3375"/>
                </a:cubicBezTo>
                <a:cubicBezTo>
                  <a:pt x="14781" y="3375"/>
                  <a:pt x="14812" y="3406"/>
                  <a:pt x="14812" y="3375"/>
                </a:cubicBezTo>
                <a:cubicBezTo>
                  <a:pt x="14812" y="3344"/>
                  <a:pt x="14781" y="3344"/>
                  <a:pt x="14781" y="3344"/>
                </a:cubicBezTo>
                <a:close/>
                <a:moveTo>
                  <a:pt x="10000" y="7344"/>
                </a:moveTo>
                <a:cubicBezTo>
                  <a:pt x="10000" y="7344"/>
                  <a:pt x="9968" y="7344"/>
                  <a:pt x="9968" y="7344"/>
                </a:cubicBezTo>
                <a:cubicBezTo>
                  <a:pt x="9937" y="7344"/>
                  <a:pt x="9906" y="7375"/>
                  <a:pt x="9906" y="7406"/>
                </a:cubicBezTo>
                <a:cubicBezTo>
                  <a:pt x="9937" y="7406"/>
                  <a:pt x="9968" y="7406"/>
                  <a:pt x="10000" y="7344"/>
                </a:cubicBezTo>
                <a:close/>
                <a:moveTo>
                  <a:pt x="9906" y="7406"/>
                </a:moveTo>
                <a:cubicBezTo>
                  <a:pt x="9843" y="7406"/>
                  <a:pt x="9843" y="7469"/>
                  <a:pt x="9812" y="7500"/>
                </a:cubicBezTo>
                <a:cubicBezTo>
                  <a:pt x="9750" y="7562"/>
                  <a:pt x="9750" y="7625"/>
                  <a:pt x="9718" y="7687"/>
                </a:cubicBezTo>
                <a:cubicBezTo>
                  <a:pt x="9781" y="7625"/>
                  <a:pt x="9843" y="7594"/>
                  <a:pt x="9812" y="7500"/>
                </a:cubicBezTo>
                <a:cubicBezTo>
                  <a:pt x="9906" y="7531"/>
                  <a:pt x="9906" y="7469"/>
                  <a:pt x="9906" y="7406"/>
                </a:cubicBezTo>
                <a:close/>
                <a:moveTo>
                  <a:pt x="14562" y="2906"/>
                </a:moveTo>
                <a:cubicBezTo>
                  <a:pt x="14562" y="2937"/>
                  <a:pt x="14593" y="2937"/>
                  <a:pt x="14625" y="2937"/>
                </a:cubicBezTo>
                <a:cubicBezTo>
                  <a:pt x="14625" y="2937"/>
                  <a:pt x="14656" y="2937"/>
                  <a:pt x="14656" y="2906"/>
                </a:cubicBezTo>
                <a:cubicBezTo>
                  <a:pt x="14625" y="2906"/>
                  <a:pt x="14625" y="2906"/>
                  <a:pt x="14593" y="2906"/>
                </a:cubicBezTo>
                <a:cubicBezTo>
                  <a:pt x="14562" y="2875"/>
                  <a:pt x="14562" y="2906"/>
                  <a:pt x="14562" y="2906"/>
                </a:cubicBezTo>
                <a:close/>
                <a:moveTo>
                  <a:pt x="9843" y="7281"/>
                </a:moveTo>
                <a:cubicBezTo>
                  <a:pt x="9812" y="7281"/>
                  <a:pt x="9812" y="7312"/>
                  <a:pt x="9843" y="7312"/>
                </a:cubicBezTo>
                <a:cubicBezTo>
                  <a:pt x="9875" y="7312"/>
                  <a:pt x="9875" y="7281"/>
                  <a:pt x="9906" y="7250"/>
                </a:cubicBezTo>
                <a:cubicBezTo>
                  <a:pt x="9906" y="7250"/>
                  <a:pt x="9906" y="7250"/>
                  <a:pt x="9875" y="7250"/>
                </a:cubicBezTo>
                <a:cubicBezTo>
                  <a:pt x="9843" y="7250"/>
                  <a:pt x="9843" y="7250"/>
                  <a:pt x="9843" y="7281"/>
                </a:cubicBezTo>
                <a:close/>
                <a:moveTo>
                  <a:pt x="14968" y="2969"/>
                </a:moveTo>
                <a:cubicBezTo>
                  <a:pt x="14968" y="3000"/>
                  <a:pt x="15000" y="3000"/>
                  <a:pt x="15031" y="3000"/>
                </a:cubicBezTo>
                <a:cubicBezTo>
                  <a:pt x="15031" y="3000"/>
                  <a:pt x="15031" y="3000"/>
                  <a:pt x="15031" y="2969"/>
                </a:cubicBezTo>
                <a:cubicBezTo>
                  <a:pt x="15031" y="2969"/>
                  <a:pt x="15000" y="2969"/>
                  <a:pt x="15000" y="2969"/>
                </a:cubicBezTo>
                <a:cubicBezTo>
                  <a:pt x="14968" y="2969"/>
                  <a:pt x="14968" y="2969"/>
                  <a:pt x="14968" y="2969"/>
                </a:cubicBezTo>
                <a:close/>
                <a:moveTo>
                  <a:pt x="10156" y="5500"/>
                </a:moveTo>
                <a:cubicBezTo>
                  <a:pt x="10187" y="5437"/>
                  <a:pt x="10218" y="5437"/>
                  <a:pt x="10250" y="5375"/>
                </a:cubicBezTo>
                <a:cubicBezTo>
                  <a:pt x="10187" y="5406"/>
                  <a:pt x="10156" y="5406"/>
                  <a:pt x="10156" y="5500"/>
                </a:cubicBezTo>
                <a:close/>
                <a:moveTo>
                  <a:pt x="9750" y="4969"/>
                </a:moveTo>
                <a:cubicBezTo>
                  <a:pt x="9750" y="4969"/>
                  <a:pt x="9750" y="4969"/>
                  <a:pt x="9718" y="4969"/>
                </a:cubicBezTo>
                <a:cubicBezTo>
                  <a:pt x="9718" y="5000"/>
                  <a:pt x="9687" y="5031"/>
                  <a:pt x="9656" y="5062"/>
                </a:cubicBezTo>
                <a:cubicBezTo>
                  <a:pt x="9718" y="5062"/>
                  <a:pt x="9718" y="5031"/>
                  <a:pt x="9750" y="5000"/>
                </a:cubicBezTo>
                <a:cubicBezTo>
                  <a:pt x="9750" y="5000"/>
                  <a:pt x="9750" y="5000"/>
                  <a:pt x="9750" y="4969"/>
                </a:cubicBezTo>
                <a:close/>
                <a:moveTo>
                  <a:pt x="15000" y="3469"/>
                </a:moveTo>
                <a:cubicBezTo>
                  <a:pt x="15000" y="3469"/>
                  <a:pt x="14968" y="3469"/>
                  <a:pt x="14968" y="3500"/>
                </a:cubicBezTo>
                <a:cubicBezTo>
                  <a:pt x="14968" y="3531"/>
                  <a:pt x="15000" y="3531"/>
                  <a:pt x="15000" y="3531"/>
                </a:cubicBezTo>
                <a:cubicBezTo>
                  <a:pt x="15031" y="3531"/>
                  <a:pt x="15062" y="3531"/>
                  <a:pt x="15062" y="3500"/>
                </a:cubicBezTo>
                <a:cubicBezTo>
                  <a:pt x="15031" y="3469"/>
                  <a:pt x="15031" y="3469"/>
                  <a:pt x="15000" y="3469"/>
                </a:cubicBezTo>
                <a:close/>
                <a:moveTo>
                  <a:pt x="13625" y="2000"/>
                </a:moveTo>
                <a:cubicBezTo>
                  <a:pt x="13593" y="2031"/>
                  <a:pt x="13625" y="2031"/>
                  <a:pt x="13625" y="2031"/>
                </a:cubicBezTo>
                <a:cubicBezTo>
                  <a:pt x="13656" y="2031"/>
                  <a:pt x="13687" y="2031"/>
                  <a:pt x="13687" y="2000"/>
                </a:cubicBezTo>
                <a:cubicBezTo>
                  <a:pt x="13687" y="1969"/>
                  <a:pt x="13656" y="1969"/>
                  <a:pt x="13656" y="1969"/>
                </a:cubicBezTo>
                <a:cubicBezTo>
                  <a:pt x="13625" y="1969"/>
                  <a:pt x="13625" y="1969"/>
                  <a:pt x="13625" y="2000"/>
                </a:cubicBezTo>
                <a:close/>
                <a:moveTo>
                  <a:pt x="11031" y="1312"/>
                </a:moveTo>
                <a:cubicBezTo>
                  <a:pt x="11031" y="1281"/>
                  <a:pt x="11031" y="1281"/>
                  <a:pt x="11031" y="1281"/>
                </a:cubicBezTo>
                <a:cubicBezTo>
                  <a:pt x="11000" y="1281"/>
                  <a:pt x="10968" y="1312"/>
                  <a:pt x="10937" y="1344"/>
                </a:cubicBezTo>
                <a:cubicBezTo>
                  <a:pt x="10937" y="1344"/>
                  <a:pt x="10906" y="1312"/>
                  <a:pt x="10906" y="1344"/>
                </a:cubicBezTo>
                <a:cubicBezTo>
                  <a:pt x="10843" y="1375"/>
                  <a:pt x="10781" y="1375"/>
                  <a:pt x="10718" y="1437"/>
                </a:cubicBezTo>
                <a:cubicBezTo>
                  <a:pt x="10781" y="1406"/>
                  <a:pt x="10843" y="1406"/>
                  <a:pt x="10906" y="1375"/>
                </a:cubicBezTo>
                <a:cubicBezTo>
                  <a:pt x="10937" y="1375"/>
                  <a:pt x="10937" y="1344"/>
                  <a:pt x="10937" y="1344"/>
                </a:cubicBezTo>
                <a:cubicBezTo>
                  <a:pt x="11000" y="1344"/>
                  <a:pt x="11000" y="1344"/>
                  <a:pt x="11031" y="1312"/>
                </a:cubicBezTo>
                <a:close/>
                <a:moveTo>
                  <a:pt x="12062" y="10000"/>
                </a:moveTo>
                <a:cubicBezTo>
                  <a:pt x="12125" y="10000"/>
                  <a:pt x="12156" y="9969"/>
                  <a:pt x="12187" y="10062"/>
                </a:cubicBezTo>
                <a:lnTo>
                  <a:pt x="12187" y="10062"/>
                </a:lnTo>
                <a:cubicBezTo>
                  <a:pt x="12187" y="10062"/>
                  <a:pt x="12218" y="10062"/>
                  <a:pt x="12218" y="10062"/>
                </a:cubicBezTo>
                <a:cubicBezTo>
                  <a:pt x="12250" y="10031"/>
                  <a:pt x="12250" y="10031"/>
                  <a:pt x="12250" y="10031"/>
                </a:cubicBezTo>
                <a:cubicBezTo>
                  <a:pt x="12250" y="10000"/>
                  <a:pt x="12250" y="10000"/>
                  <a:pt x="12218" y="10000"/>
                </a:cubicBezTo>
                <a:cubicBezTo>
                  <a:pt x="12156" y="9969"/>
                  <a:pt x="12093" y="9937"/>
                  <a:pt x="12031" y="9937"/>
                </a:cubicBezTo>
                <a:cubicBezTo>
                  <a:pt x="12031" y="9969"/>
                  <a:pt x="12062" y="9969"/>
                  <a:pt x="12062" y="10000"/>
                </a:cubicBezTo>
                <a:close/>
                <a:moveTo>
                  <a:pt x="9843" y="5781"/>
                </a:moveTo>
                <a:cubicBezTo>
                  <a:pt x="9812" y="5781"/>
                  <a:pt x="9781" y="5812"/>
                  <a:pt x="9781" y="5844"/>
                </a:cubicBezTo>
                <a:cubicBezTo>
                  <a:pt x="9812" y="5812"/>
                  <a:pt x="9843" y="5812"/>
                  <a:pt x="9843" y="5781"/>
                </a:cubicBezTo>
                <a:close/>
                <a:moveTo>
                  <a:pt x="14093" y="4156"/>
                </a:moveTo>
                <a:cubicBezTo>
                  <a:pt x="14125" y="4156"/>
                  <a:pt x="14125" y="4125"/>
                  <a:pt x="14125" y="4125"/>
                </a:cubicBezTo>
                <a:cubicBezTo>
                  <a:pt x="14093" y="4094"/>
                  <a:pt x="14062" y="4094"/>
                  <a:pt x="14031" y="4125"/>
                </a:cubicBezTo>
                <a:cubicBezTo>
                  <a:pt x="14062" y="4125"/>
                  <a:pt x="14062" y="4156"/>
                  <a:pt x="14093" y="4156"/>
                </a:cubicBezTo>
                <a:close/>
                <a:moveTo>
                  <a:pt x="14312" y="3719"/>
                </a:moveTo>
                <a:cubicBezTo>
                  <a:pt x="14343" y="3719"/>
                  <a:pt x="14375" y="3719"/>
                  <a:pt x="14375" y="3687"/>
                </a:cubicBezTo>
                <a:cubicBezTo>
                  <a:pt x="14343" y="3656"/>
                  <a:pt x="14343" y="3656"/>
                  <a:pt x="14312" y="3656"/>
                </a:cubicBezTo>
                <a:cubicBezTo>
                  <a:pt x="14312" y="3656"/>
                  <a:pt x="14281" y="3656"/>
                  <a:pt x="14281" y="3687"/>
                </a:cubicBezTo>
                <a:cubicBezTo>
                  <a:pt x="14281" y="3719"/>
                  <a:pt x="14312" y="3719"/>
                  <a:pt x="14312" y="3719"/>
                </a:cubicBezTo>
                <a:close/>
                <a:moveTo>
                  <a:pt x="13687" y="2125"/>
                </a:moveTo>
                <a:cubicBezTo>
                  <a:pt x="13687" y="2125"/>
                  <a:pt x="13656" y="2125"/>
                  <a:pt x="13656" y="2125"/>
                </a:cubicBezTo>
                <a:cubicBezTo>
                  <a:pt x="13625" y="2125"/>
                  <a:pt x="13625" y="2125"/>
                  <a:pt x="13625" y="2125"/>
                </a:cubicBezTo>
                <a:cubicBezTo>
                  <a:pt x="13593" y="2156"/>
                  <a:pt x="13625" y="2156"/>
                  <a:pt x="13656" y="2156"/>
                </a:cubicBezTo>
                <a:cubicBezTo>
                  <a:pt x="13656" y="2156"/>
                  <a:pt x="13687" y="2156"/>
                  <a:pt x="13687" y="2125"/>
                </a:cubicBezTo>
                <a:close/>
                <a:moveTo>
                  <a:pt x="14062" y="4562"/>
                </a:moveTo>
                <a:cubicBezTo>
                  <a:pt x="14093" y="4594"/>
                  <a:pt x="14093" y="4531"/>
                  <a:pt x="14125" y="4531"/>
                </a:cubicBezTo>
                <a:cubicBezTo>
                  <a:pt x="14125" y="4531"/>
                  <a:pt x="14125" y="4531"/>
                  <a:pt x="14156" y="4531"/>
                </a:cubicBezTo>
                <a:cubicBezTo>
                  <a:pt x="14156" y="4500"/>
                  <a:pt x="14125" y="4500"/>
                  <a:pt x="14125" y="4500"/>
                </a:cubicBezTo>
                <a:cubicBezTo>
                  <a:pt x="14093" y="4500"/>
                  <a:pt x="14062" y="4500"/>
                  <a:pt x="14062" y="4531"/>
                </a:cubicBezTo>
                <a:cubicBezTo>
                  <a:pt x="14062" y="4562"/>
                  <a:pt x="14031" y="4562"/>
                  <a:pt x="14062" y="4562"/>
                </a:cubicBezTo>
                <a:close/>
                <a:moveTo>
                  <a:pt x="14875" y="3531"/>
                </a:moveTo>
                <a:cubicBezTo>
                  <a:pt x="14875" y="3531"/>
                  <a:pt x="14906" y="3531"/>
                  <a:pt x="14906" y="3500"/>
                </a:cubicBezTo>
                <a:cubicBezTo>
                  <a:pt x="14906" y="3469"/>
                  <a:pt x="14875" y="3469"/>
                  <a:pt x="14875" y="3469"/>
                </a:cubicBezTo>
                <a:cubicBezTo>
                  <a:pt x="14843" y="3469"/>
                  <a:pt x="14812" y="3469"/>
                  <a:pt x="14812" y="3500"/>
                </a:cubicBezTo>
                <a:cubicBezTo>
                  <a:pt x="14812" y="3531"/>
                  <a:pt x="14843" y="3531"/>
                  <a:pt x="14875" y="3531"/>
                </a:cubicBezTo>
                <a:close/>
                <a:moveTo>
                  <a:pt x="9750" y="3937"/>
                </a:moveTo>
                <a:cubicBezTo>
                  <a:pt x="9781" y="3937"/>
                  <a:pt x="9812" y="3906"/>
                  <a:pt x="9812" y="3875"/>
                </a:cubicBezTo>
                <a:cubicBezTo>
                  <a:pt x="9843" y="3875"/>
                  <a:pt x="9875" y="3812"/>
                  <a:pt x="9906" y="3812"/>
                </a:cubicBezTo>
                <a:cubicBezTo>
                  <a:pt x="9906" y="3812"/>
                  <a:pt x="9937" y="3812"/>
                  <a:pt x="9937" y="3812"/>
                </a:cubicBezTo>
                <a:cubicBezTo>
                  <a:pt x="9937" y="3812"/>
                  <a:pt x="9937" y="3812"/>
                  <a:pt x="9937" y="3781"/>
                </a:cubicBezTo>
                <a:cubicBezTo>
                  <a:pt x="9937" y="3781"/>
                  <a:pt x="9906" y="3781"/>
                  <a:pt x="9906" y="3812"/>
                </a:cubicBezTo>
                <a:cubicBezTo>
                  <a:pt x="9843" y="3750"/>
                  <a:pt x="9843" y="3844"/>
                  <a:pt x="9812" y="3875"/>
                </a:cubicBezTo>
                <a:cubicBezTo>
                  <a:pt x="9781" y="3875"/>
                  <a:pt x="9750" y="3906"/>
                  <a:pt x="9750" y="3937"/>
                </a:cubicBezTo>
                <a:close/>
                <a:moveTo>
                  <a:pt x="9593" y="11562"/>
                </a:moveTo>
                <a:cubicBezTo>
                  <a:pt x="9625" y="11562"/>
                  <a:pt x="9625" y="11625"/>
                  <a:pt x="9656" y="11594"/>
                </a:cubicBezTo>
                <a:cubicBezTo>
                  <a:pt x="9687" y="11594"/>
                  <a:pt x="9687" y="11562"/>
                  <a:pt x="9687" y="11562"/>
                </a:cubicBezTo>
                <a:cubicBezTo>
                  <a:pt x="9656" y="11531"/>
                  <a:pt x="9625" y="11562"/>
                  <a:pt x="9593" y="11562"/>
                </a:cubicBezTo>
                <a:close/>
                <a:moveTo>
                  <a:pt x="14718" y="1562"/>
                </a:moveTo>
                <a:cubicBezTo>
                  <a:pt x="14718" y="1562"/>
                  <a:pt x="14687" y="1562"/>
                  <a:pt x="14687" y="1594"/>
                </a:cubicBezTo>
                <a:cubicBezTo>
                  <a:pt x="14687" y="1594"/>
                  <a:pt x="14718" y="1594"/>
                  <a:pt x="14718" y="1594"/>
                </a:cubicBezTo>
                <a:cubicBezTo>
                  <a:pt x="14750" y="1594"/>
                  <a:pt x="14781" y="1625"/>
                  <a:pt x="14781" y="1594"/>
                </a:cubicBezTo>
                <a:cubicBezTo>
                  <a:pt x="14781" y="1562"/>
                  <a:pt x="14750" y="1562"/>
                  <a:pt x="14718" y="1562"/>
                </a:cubicBezTo>
                <a:close/>
                <a:moveTo>
                  <a:pt x="13093" y="1094"/>
                </a:moveTo>
                <a:cubicBezTo>
                  <a:pt x="13093" y="1094"/>
                  <a:pt x="13125" y="1094"/>
                  <a:pt x="13125" y="1062"/>
                </a:cubicBezTo>
                <a:cubicBezTo>
                  <a:pt x="13125" y="1031"/>
                  <a:pt x="13093" y="1031"/>
                  <a:pt x="13093" y="1031"/>
                </a:cubicBezTo>
                <a:cubicBezTo>
                  <a:pt x="13062" y="1031"/>
                  <a:pt x="13031" y="1031"/>
                  <a:pt x="13031" y="1062"/>
                </a:cubicBezTo>
                <a:cubicBezTo>
                  <a:pt x="13031" y="1094"/>
                  <a:pt x="13062" y="1094"/>
                  <a:pt x="13093" y="1094"/>
                </a:cubicBezTo>
                <a:close/>
                <a:moveTo>
                  <a:pt x="13718" y="4187"/>
                </a:moveTo>
                <a:cubicBezTo>
                  <a:pt x="13718" y="4219"/>
                  <a:pt x="13750" y="4187"/>
                  <a:pt x="13750" y="4187"/>
                </a:cubicBezTo>
                <a:cubicBezTo>
                  <a:pt x="13750" y="4156"/>
                  <a:pt x="13718" y="4156"/>
                  <a:pt x="13687" y="4156"/>
                </a:cubicBezTo>
                <a:cubicBezTo>
                  <a:pt x="13687" y="4156"/>
                  <a:pt x="13656" y="4156"/>
                  <a:pt x="13656" y="4187"/>
                </a:cubicBezTo>
                <a:cubicBezTo>
                  <a:pt x="13656" y="4187"/>
                  <a:pt x="13687" y="4187"/>
                  <a:pt x="13718" y="4187"/>
                </a:cubicBezTo>
                <a:close/>
                <a:moveTo>
                  <a:pt x="14812" y="3937"/>
                </a:moveTo>
                <a:cubicBezTo>
                  <a:pt x="14812" y="3937"/>
                  <a:pt x="14781" y="3937"/>
                  <a:pt x="14781" y="3969"/>
                </a:cubicBezTo>
                <a:cubicBezTo>
                  <a:pt x="14781" y="4000"/>
                  <a:pt x="14812" y="4000"/>
                  <a:pt x="14812" y="4000"/>
                </a:cubicBezTo>
                <a:cubicBezTo>
                  <a:pt x="14843" y="4000"/>
                  <a:pt x="14843" y="4000"/>
                  <a:pt x="14843" y="3969"/>
                </a:cubicBezTo>
                <a:cubicBezTo>
                  <a:pt x="14843" y="3937"/>
                  <a:pt x="14843" y="3937"/>
                  <a:pt x="14812" y="3937"/>
                </a:cubicBezTo>
                <a:close/>
                <a:moveTo>
                  <a:pt x="11593" y="11719"/>
                </a:moveTo>
                <a:cubicBezTo>
                  <a:pt x="11625" y="11687"/>
                  <a:pt x="11625" y="11656"/>
                  <a:pt x="11656" y="11625"/>
                </a:cubicBezTo>
                <a:cubicBezTo>
                  <a:pt x="11593" y="11625"/>
                  <a:pt x="11593" y="11687"/>
                  <a:pt x="11593" y="11719"/>
                </a:cubicBezTo>
                <a:close/>
                <a:moveTo>
                  <a:pt x="11656" y="11625"/>
                </a:moveTo>
                <a:cubicBezTo>
                  <a:pt x="11718" y="11625"/>
                  <a:pt x="11718" y="11531"/>
                  <a:pt x="11781" y="11469"/>
                </a:cubicBezTo>
                <a:cubicBezTo>
                  <a:pt x="11781" y="11469"/>
                  <a:pt x="11781" y="11469"/>
                  <a:pt x="11750" y="11437"/>
                </a:cubicBezTo>
                <a:cubicBezTo>
                  <a:pt x="11750" y="11437"/>
                  <a:pt x="11750" y="11469"/>
                  <a:pt x="11750" y="11469"/>
                </a:cubicBezTo>
                <a:lnTo>
                  <a:pt x="11750" y="11469"/>
                </a:lnTo>
                <a:cubicBezTo>
                  <a:pt x="11718" y="11531"/>
                  <a:pt x="11656" y="11562"/>
                  <a:pt x="11656" y="11625"/>
                </a:cubicBezTo>
                <a:close/>
                <a:moveTo>
                  <a:pt x="14218" y="1062"/>
                </a:moveTo>
                <a:cubicBezTo>
                  <a:pt x="14187" y="1062"/>
                  <a:pt x="14187" y="1031"/>
                  <a:pt x="14156" y="1062"/>
                </a:cubicBezTo>
                <a:cubicBezTo>
                  <a:pt x="14156" y="1094"/>
                  <a:pt x="14187" y="1094"/>
                  <a:pt x="14218" y="1094"/>
                </a:cubicBezTo>
                <a:cubicBezTo>
                  <a:pt x="14218" y="1094"/>
                  <a:pt x="14250" y="1094"/>
                  <a:pt x="14250" y="1062"/>
                </a:cubicBezTo>
                <a:cubicBezTo>
                  <a:pt x="14250" y="1031"/>
                  <a:pt x="14218" y="1031"/>
                  <a:pt x="14218" y="1062"/>
                </a:cubicBezTo>
                <a:close/>
                <a:moveTo>
                  <a:pt x="10625" y="8156"/>
                </a:moveTo>
                <a:cubicBezTo>
                  <a:pt x="10625" y="8156"/>
                  <a:pt x="10593" y="8156"/>
                  <a:pt x="10593" y="8156"/>
                </a:cubicBezTo>
                <a:cubicBezTo>
                  <a:pt x="10562" y="8156"/>
                  <a:pt x="10562" y="8187"/>
                  <a:pt x="10562" y="8219"/>
                </a:cubicBezTo>
                <a:cubicBezTo>
                  <a:pt x="10593" y="8219"/>
                  <a:pt x="10625" y="8187"/>
                  <a:pt x="10625" y="8156"/>
                </a:cubicBezTo>
                <a:close/>
                <a:moveTo>
                  <a:pt x="9687" y="6125"/>
                </a:moveTo>
                <a:cubicBezTo>
                  <a:pt x="9718" y="6125"/>
                  <a:pt x="9718" y="6062"/>
                  <a:pt x="9750" y="6062"/>
                </a:cubicBezTo>
                <a:cubicBezTo>
                  <a:pt x="9718" y="6062"/>
                  <a:pt x="9687" y="6062"/>
                  <a:pt x="9687" y="6094"/>
                </a:cubicBezTo>
                <a:cubicBezTo>
                  <a:pt x="9687" y="6094"/>
                  <a:pt x="9687" y="6125"/>
                  <a:pt x="9687" y="6125"/>
                </a:cubicBezTo>
                <a:close/>
                <a:moveTo>
                  <a:pt x="11656" y="11812"/>
                </a:moveTo>
                <a:cubicBezTo>
                  <a:pt x="11718" y="11812"/>
                  <a:pt x="11718" y="11781"/>
                  <a:pt x="11718" y="11750"/>
                </a:cubicBezTo>
                <a:cubicBezTo>
                  <a:pt x="11718" y="11750"/>
                  <a:pt x="11718" y="11750"/>
                  <a:pt x="11718" y="11750"/>
                </a:cubicBezTo>
                <a:cubicBezTo>
                  <a:pt x="11687" y="11750"/>
                  <a:pt x="11687" y="11781"/>
                  <a:pt x="11656" y="11812"/>
                </a:cubicBezTo>
                <a:close/>
                <a:moveTo>
                  <a:pt x="14781" y="1437"/>
                </a:moveTo>
                <a:cubicBezTo>
                  <a:pt x="14781" y="1437"/>
                  <a:pt x="14781" y="1437"/>
                  <a:pt x="14781" y="1437"/>
                </a:cubicBezTo>
                <a:cubicBezTo>
                  <a:pt x="14812" y="1469"/>
                  <a:pt x="14843" y="1469"/>
                  <a:pt x="14906" y="1469"/>
                </a:cubicBezTo>
                <a:cubicBezTo>
                  <a:pt x="14843" y="1437"/>
                  <a:pt x="14843" y="1406"/>
                  <a:pt x="14781" y="1437"/>
                </a:cubicBezTo>
                <a:close/>
                <a:moveTo>
                  <a:pt x="10906" y="10469"/>
                </a:moveTo>
                <a:cubicBezTo>
                  <a:pt x="10875" y="10469"/>
                  <a:pt x="10843" y="10500"/>
                  <a:pt x="10843" y="10531"/>
                </a:cubicBezTo>
                <a:cubicBezTo>
                  <a:pt x="10843" y="10531"/>
                  <a:pt x="10875" y="10562"/>
                  <a:pt x="10875" y="10531"/>
                </a:cubicBezTo>
                <a:cubicBezTo>
                  <a:pt x="10906" y="10531"/>
                  <a:pt x="10906" y="10500"/>
                  <a:pt x="10937" y="10469"/>
                </a:cubicBezTo>
                <a:cubicBezTo>
                  <a:pt x="10937" y="10469"/>
                  <a:pt x="10906" y="10469"/>
                  <a:pt x="10906" y="10469"/>
                </a:cubicBezTo>
                <a:close/>
                <a:moveTo>
                  <a:pt x="14593" y="2750"/>
                </a:moveTo>
                <a:cubicBezTo>
                  <a:pt x="14562" y="2750"/>
                  <a:pt x="14531" y="2750"/>
                  <a:pt x="14531" y="2781"/>
                </a:cubicBezTo>
                <a:cubicBezTo>
                  <a:pt x="14531" y="2812"/>
                  <a:pt x="14562" y="2812"/>
                  <a:pt x="14593" y="2812"/>
                </a:cubicBezTo>
                <a:cubicBezTo>
                  <a:pt x="14593" y="2812"/>
                  <a:pt x="14625" y="2812"/>
                  <a:pt x="14625" y="2781"/>
                </a:cubicBezTo>
                <a:cubicBezTo>
                  <a:pt x="14625" y="2750"/>
                  <a:pt x="14593" y="2750"/>
                  <a:pt x="14593" y="2750"/>
                </a:cubicBezTo>
                <a:close/>
                <a:moveTo>
                  <a:pt x="13437" y="3437"/>
                </a:moveTo>
                <a:cubicBezTo>
                  <a:pt x="13437" y="3437"/>
                  <a:pt x="13468" y="3437"/>
                  <a:pt x="13468" y="3406"/>
                </a:cubicBezTo>
                <a:cubicBezTo>
                  <a:pt x="13468" y="3375"/>
                  <a:pt x="13468" y="3375"/>
                  <a:pt x="13437" y="3375"/>
                </a:cubicBezTo>
                <a:cubicBezTo>
                  <a:pt x="13437" y="3375"/>
                  <a:pt x="13406" y="3375"/>
                  <a:pt x="13406" y="3406"/>
                </a:cubicBezTo>
                <a:cubicBezTo>
                  <a:pt x="13406" y="3437"/>
                  <a:pt x="13406" y="3437"/>
                  <a:pt x="13437" y="3437"/>
                </a:cubicBezTo>
                <a:close/>
                <a:moveTo>
                  <a:pt x="10812" y="5187"/>
                </a:moveTo>
                <a:cubicBezTo>
                  <a:pt x="10812" y="5187"/>
                  <a:pt x="10812" y="5156"/>
                  <a:pt x="10781" y="5156"/>
                </a:cubicBezTo>
                <a:cubicBezTo>
                  <a:pt x="10750" y="5156"/>
                  <a:pt x="10750" y="5219"/>
                  <a:pt x="10718" y="5219"/>
                </a:cubicBezTo>
                <a:cubicBezTo>
                  <a:pt x="10718" y="5219"/>
                  <a:pt x="10718" y="5219"/>
                  <a:pt x="10718" y="5250"/>
                </a:cubicBezTo>
                <a:cubicBezTo>
                  <a:pt x="10750" y="5250"/>
                  <a:pt x="10781" y="5219"/>
                  <a:pt x="10812" y="5187"/>
                </a:cubicBezTo>
                <a:close/>
                <a:moveTo>
                  <a:pt x="10187" y="2375"/>
                </a:moveTo>
                <a:cubicBezTo>
                  <a:pt x="10187" y="2375"/>
                  <a:pt x="10187" y="2375"/>
                  <a:pt x="10187" y="2375"/>
                </a:cubicBezTo>
                <a:cubicBezTo>
                  <a:pt x="10250" y="2375"/>
                  <a:pt x="10250" y="2344"/>
                  <a:pt x="10281" y="2312"/>
                </a:cubicBezTo>
                <a:cubicBezTo>
                  <a:pt x="10218" y="2312"/>
                  <a:pt x="10218" y="2344"/>
                  <a:pt x="10187" y="2375"/>
                </a:cubicBezTo>
                <a:close/>
                <a:moveTo>
                  <a:pt x="14468" y="1406"/>
                </a:moveTo>
                <a:cubicBezTo>
                  <a:pt x="14500" y="1406"/>
                  <a:pt x="14500" y="1406"/>
                  <a:pt x="14500" y="1375"/>
                </a:cubicBezTo>
                <a:cubicBezTo>
                  <a:pt x="14468" y="1375"/>
                  <a:pt x="14437" y="1375"/>
                  <a:pt x="14375" y="1375"/>
                </a:cubicBezTo>
                <a:cubicBezTo>
                  <a:pt x="14406" y="1406"/>
                  <a:pt x="14437" y="1406"/>
                  <a:pt x="14468" y="1406"/>
                </a:cubicBezTo>
                <a:close/>
                <a:moveTo>
                  <a:pt x="13343" y="2562"/>
                </a:moveTo>
                <a:cubicBezTo>
                  <a:pt x="13375" y="2594"/>
                  <a:pt x="13406" y="2625"/>
                  <a:pt x="13437" y="2594"/>
                </a:cubicBezTo>
                <a:cubicBezTo>
                  <a:pt x="13437" y="2594"/>
                  <a:pt x="13437" y="2562"/>
                  <a:pt x="13437" y="2562"/>
                </a:cubicBezTo>
                <a:cubicBezTo>
                  <a:pt x="13406" y="2562"/>
                  <a:pt x="13375" y="2562"/>
                  <a:pt x="13343" y="2562"/>
                </a:cubicBezTo>
                <a:close/>
                <a:moveTo>
                  <a:pt x="10468" y="4406"/>
                </a:moveTo>
                <a:cubicBezTo>
                  <a:pt x="10531" y="4406"/>
                  <a:pt x="10531" y="4344"/>
                  <a:pt x="10562" y="4312"/>
                </a:cubicBezTo>
                <a:cubicBezTo>
                  <a:pt x="10500" y="4312"/>
                  <a:pt x="10468" y="4344"/>
                  <a:pt x="10468" y="4406"/>
                </a:cubicBezTo>
                <a:close/>
                <a:moveTo>
                  <a:pt x="14312" y="3531"/>
                </a:moveTo>
                <a:cubicBezTo>
                  <a:pt x="14281" y="3531"/>
                  <a:pt x="14281" y="3531"/>
                  <a:pt x="14250" y="3531"/>
                </a:cubicBezTo>
                <a:cubicBezTo>
                  <a:pt x="14250" y="3531"/>
                  <a:pt x="14218" y="3531"/>
                  <a:pt x="14218" y="3531"/>
                </a:cubicBezTo>
                <a:cubicBezTo>
                  <a:pt x="14218" y="3562"/>
                  <a:pt x="14250" y="3562"/>
                  <a:pt x="14281" y="3562"/>
                </a:cubicBezTo>
                <a:cubicBezTo>
                  <a:pt x="14281" y="3562"/>
                  <a:pt x="14312" y="3562"/>
                  <a:pt x="14312" y="3531"/>
                </a:cubicBezTo>
                <a:close/>
                <a:moveTo>
                  <a:pt x="9968" y="6937"/>
                </a:moveTo>
                <a:cubicBezTo>
                  <a:pt x="9968" y="6937"/>
                  <a:pt x="9968" y="6969"/>
                  <a:pt x="9968" y="6969"/>
                </a:cubicBezTo>
                <a:cubicBezTo>
                  <a:pt x="10000" y="6969"/>
                  <a:pt x="10000" y="6937"/>
                  <a:pt x="10031" y="6937"/>
                </a:cubicBezTo>
                <a:cubicBezTo>
                  <a:pt x="10031" y="6906"/>
                  <a:pt x="10031" y="6906"/>
                  <a:pt x="10031" y="6906"/>
                </a:cubicBezTo>
                <a:cubicBezTo>
                  <a:pt x="10000" y="6906"/>
                  <a:pt x="9968" y="6906"/>
                  <a:pt x="9968" y="6937"/>
                </a:cubicBezTo>
                <a:close/>
                <a:moveTo>
                  <a:pt x="15031" y="2562"/>
                </a:moveTo>
                <a:cubicBezTo>
                  <a:pt x="15031" y="2594"/>
                  <a:pt x="15062" y="2594"/>
                  <a:pt x="15062" y="2594"/>
                </a:cubicBezTo>
                <a:cubicBezTo>
                  <a:pt x="15062" y="2594"/>
                  <a:pt x="15093" y="2594"/>
                  <a:pt x="15093" y="2562"/>
                </a:cubicBezTo>
                <a:cubicBezTo>
                  <a:pt x="15062" y="2531"/>
                  <a:pt x="15062" y="2531"/>
                  <a:pt x="15031" y="2531"/>
                </a:cubicBezTo>
                <a:cubicBezTo>
                  <a:pt x="15031" y="2531"/>
                  <a:pt x="15000" y="2562"/>
                  <a:pt x="15031" y="2562"/>
                </a:cubicBezTo>
                <a:close/>
                <a:moveTo>
                  <a:pt x="11718" y="1344"/>
                </a:moveTo>
                <a:cubicBezTo>
                  <a:pt x="11656" y="1312"/>
                  <a:pt x="11656" y="1344"/>
                  <a:pt x="11625" y="1375"/>
                </a:cubicBezTo>
                <a:cubicBezTo>
                  <a:pt x="11656" y="1375"/>
                  <a:pt x="11687" y="1375"/>
                  <a:pt x="11718" y="1344"/>
                </a:cubicBezTo>
                <a:close/>
                <a:moveTo>
                  <a:pt x="8812" y="9531"/>
                </a:moveTo>
                <a:cubicBezTo>
                  <a:pt x="8781" y="9531"/>
                  <a:pt x="8781" y="9562"/>
                  <a:pt x="8781" y="9562"/>
                </a:cubicBezTo>
                <a:cubicBezTo>
                  <a:pt x="8781" y="9594"/>
                  <a:pt x="8781" y="9594"/>
                  <a:pt x="8781" y="9594"/>
                </a:cubicBezTo>
                <a:cubicBezTo>
                  <a:pt x="8812" y="9594"/>
                  <a:pt x="8812" y="9594"/>
                  <a:pt x="8812" y="9562"/>
                </a:cubicBezTo>
                <a:cubicBezTo>
                  <a:pt x="8812" y="9562"/>
                  <a:pt x="8812" y="9531"/>
                  <a:pt x="8812" y="9531"/>
                </a:cubicBezTo>
                <a:close/>
                <a:moveTo>
                  <a:pt x="13125" y="2406"/>
                </a:moveTo>
                <a:cubicBezTo>
                  <a:pt x="13125" y="2437"/>
                  <a:pt x="13156" y="2437"/>
                  <a:pt x="13187" y="2437"/>
                </a:cubicBezTo>
                <a:cubicBezTo>
                  <a:pt x="13187" y="2437"/>
                  <a:pt x="13218" y="2437"/>
                  <a:pt x="13218" y="2406"/>
                </a:cubicBezTo>
                <a:cubicBezTo>
                  <a:pt x="13218" y="2375"/>
                  <a:pt x="13187" y="2375"/>
                  <a:pt x="13187" y="2375"/>
                </a:cubicBezTo>
                <a:cubicBezTo>
                  <a:pt x="13156" y="2375"/>
                  <a:pt x="13125" y="2375"/>
                  <a:pt x="13125" y="2406"/>
                </a:cubicBezTo>
                <a:close/>
                <a:moveTo>
                  <a:pt x="11250" y="3156"/>
                </a:moveTo>
                <a:cubicBezTo>
                  <a:pt x="11218" y="3156"/>
                  <a:pt x="11187" y="3156"/>
                  <a:pt x="11187" y="3187"/>
                </a:cubicBezTo>
                <a:cubicBezTo>
                  <a:pt x="11187" y="3219"/>
                  <a:pt x="11187" y="3219"/>
                  <a:pt x="11218" y="3219"/>
                </a:cubicBezTo>
                <a:cubicBezTo>
                  <a:pt x="11218" y="3187"/>
                  <a:pt x="11281" y="3219"/>
                  <a:pt x="11281" y="3156"/>
                </a:cubicBezTo>
                <a:cubicBezTo>
                  <a:pt x="11281" y="3156"/>
                  <a:pt x="11250" y="3156"/>
                  <a:pt x="11250" y="3156"/>
                </a:cubicBezTo>
                <a:close/>
                <a:moveTo>
                  <a:pt x="13375" y="2437"/>
                </a:moveTo>
                <a:cubicBezTo>
                  <a:pt x="13375" y="2406"/>
                  <a:pt x="13343" y="2406"/>
                  <a:pt x="13343" y="2406"/>
                </a:cubicBezTo>
                <a:cubicBezTo>
                  <a:pt x="13312" y="2406"/>
                  <a:pt x="13281" y="2375"/>
                  <a:pt x="13281" y="2406"/>
                </a:cubicBezTo>
                <a:cubicBezTo>
                  <a:pt x="13281" y="2437"/>
                  <a:pt x="13281" y="2437"/>
                  <a:pt x="13312" y="2437"/>
                </a:cubicBezTo>
                <a:cubicBezTo>
                  <a:pt x="13343" y="2437"/>
                  <a:pt x="13343" y="2437"/>
                  <a:pt x="13375" y="2437"/>
                </a:cubicBezTo>
                <a:close/>
                <a:moveTo>
                  <a:pt x="12000" y="12062"/>
                </a:moveTo>
                <a:cubicBezTo>
                  <a:pt x="12031" y="12062"/>
                  <a:pt x="12000" y="12125"/>
                  <a:pt x="12062" y="12094"/>
                </a:cubicBezTo>
                <a:cubicBezTo>
                  <a:pt x="12093" y="12094"/>
                  <a:pt x="12125" y="12094"/>
                  <a:pt x="12093" y="12062"/>
                </a:cubicBezTo>
                <a:cubicBezTo>
                  <a:pt x="12093" y="12031"/>
                  <a:pt x="12031" y="12062"/>
                  <a:pt x="12000" y="12062"/>
                </a:cubicBezTo>
                <a:close/>
                <a:moveTo>
                  <a:pt x="14406" y="3062"/>
                </a:moveTo>
                <a:cubicBezTo>
                  <a:pt x="14406" y="3062"/>
                  <a:pt x="14437" y="3062"/>
                  <a:pt x="14468" y="3062"/>
                </a:cubicBezTo>
                <a:cubicBezTo>
                  <a:pt x="14500" y="3062"/>
                  <a:pt x="14500" y="3062"/>
                  <a:pt x="14500" y="3031"/>
                </a:cubicBezTo>
                <a:cubicBezTo>
                  <a:pt x="14500" y="3031"/>
                  <a:pt x="14468" y="3031"/>
                  <a:pt x="14468" y="3031"/>
                </a:cubicBezTo>
                <a:cubicBezTo>
                  <a:pt x="14437" y="3031"/>
                  <a:pt x="14406" y="3031"/>
                  <a:pt x="14406" y="3062"/>
                </a:cubicBezTo>
                <a:close/>
                <a:moveTo>
                  <a:pt x="12187" y="1250"/>
                </a:moveTo>
                <a:cubicBezTo>
                  <a:pt x="12218" y="1250"/>
                  <a:pt x="12250" y="1250"/>
                  <a:pt x="12250" y="1219"/>
                </a:cubicBezTo>
                <a:cubicBezTo>
                  <a:pt x="12250" y="1219"/>
                  <a:pt x="12218" y="1219"/>
                  <a:pt x="12218" y="1219"/>
                </a:cubicBezTo>
                <a:cubicBezTo>
                  <a:pt x="12187" y="1219"/>
                  <a:pt x="12187" y="1219"/>
                  <a:pt x="12156" y="1250"/>
                </a:cubicBezTo>
                <a:cubicBezTo>
                  <a:pt x="12156" y="1250"/>
                  <a:pt x="12187" y="1250"/>
                  <a:pt x="12187" y="1250"/>
                </a:cubicBezTo>
                <a:close/>
                <a:moveTo>
                  <a:pt x="13125" y="1344"/>
                </a:moveTo>
                <a:cubicBezTo>
                  <a:pt x="13125" y="1375"/>
                  <a:pt x="13156" y="1375"/>
                  <a:pt x="13156" y="1375"/>
                </a:cubicBezTo>
                <a:cubicBezTo>
                  <a:pt x="13187" y="1375"/>
                  <a:pt x="13218" y="1375"/>
                  <a:pt x="13218" y="1344"/>
                </a:cubicBezTo>
                <a:cubicBezTo>
                  <a:pt x="13218" y="1344"/>
                  <a:pt x="13187" y="1344"/>
                  <a:pt x="13187" y="1312"/>
                </a:cubicBezTo>
                <a:cubicBezTo>
                  <a:pt x="13156" y="1344"/>
                  <a:pt x="13156" y="1312"/>
                  <a:pt x="13125" y="1344"/>
                </a:cubicBezTo>
                <a:close/>
                <a:moveTo>
                  <a:pt x="10906" y="2719"/>
                </a:moveTo>
                <a:cubicBezTo>
                  <a:pt x="10906" y="2719"/>
                  <a:pt x="10875" y="2719"/>
                  <a:pt x="10875" y="2719"/>
                </a:cubicBezTo>
                <a:cubicBezTo>
                  <a:pt x="10843" y="2719"/>
                  <a:pt x="10812" y="2719"/>
                  <a:pt x="10812" y="2781"/>
                </a:cubicBezTo>
                <a:cubicBezTo>
                  <a:pt x="10843" y="2781"/>
                  <a:pt x="10875" y="2750"/>
                  <a:pt x="10906" y="2719"/>
                </a:cubicBezTo>
                <a:close/>
                <a:moveTo>
                  <a:pt x="10750" y="5062"/>
                </a:moveTo>
                <a:cubicBezTo>
                  <a:pt x="10687" y="5031"/>
                  <a:pt x="10656" y="5062"/>
                  <a:pt x="10656" y="5125"/>
                </a:cubicBezTo>
                <a:cubicBezTo>
                  <a:pt x="10718" y="5125"/>
                  <a:pt x="10718" y="5062"/>
                  <a:pt x="10750" y="5062"/>
                </a:cubicBezTo>
                <a:close/>
                <a:moveTo>
                  <a:pt x="14531" y="2531"/>
                </a:moveTo>
                <a:cubicBezTo>
                  <a:pt x="14531" y="2562"/>
                  <a:pt x="14531" y="2562"/>
                  <a:pt x="14562" y="2562"/>
                </a:cubicBezTo>
                <a:cubicBezTo>
                  <a:pt x="14593" y="2562"/>
                  <a:pt x="14593" y="2562"/>
                  <a:pt x="14593" y="2562"/>
                </a:cubicBezTo>
                <a:cubicBezTo>
                  <a:pt x="14593" y="2531"/>
                  <a:pt x="14593" y="2500"/>
                  <a:pt x="14562" y="2500"/>
                </a:cubicBezTo>
                <a:cubicBezTo>
                  <a:pt x="14531" y="2500"/>
                  <a:pt x="14531" y="2500"/>
                  <a:pt x="14531" y="2531"/>
                </a:cubicBezTo>
                <a:close/>
                <a:moveTo>
                  <a:pt x="10750" y="9812"/>
                </a:moveTo>
                <a:cubicBezTo>
                  <a:pt x="10781" y="9812"/>
                  <a:pt x="10781" y="9781"/>
                  <a:pt x="10781" y="9781"/>
                </a:cubicBezTo>
                <a:cubicBezTo>
                  <a:pt x="10781" y="9750"/>
                  <a:pt x="10750" y="9750"/>
                  <a:pt x="10750" y="9781"/>
                </a:cubicBezTo>
                <a:cubicBezTo>
                  <a:pt x="10718" y="9781"/>
                  <a:pt x="10718" y="9781"/>
                  <a:pt x="10718" y="9781"/>
                </a:cubicBezTo>
                <a:cubicBezTo>
                  <a:pt x="10718" y="9812"/>
                  <a:pt x="10718" y="9844"/>
                  <a:pt x="10750" y="9812"/>
                </a:cubicBezTo>
                <a:close/>
                <a:moveTo>
                  <a:pt x="10718" y="9781"/>
                </a:moveTo>
                <a:cubicBezTo>
                  <a:pt x="10718" y="9750"/>
                  <a:pt x="10687" y="9750"/>
                  <a:pt x="10687" y="9719"/>
                </a:cubicBezTo>
                <a:lnTo>
                  <a:pt x="10687" y="9719"/>
                </a:lnTo>
                <a:cubicBezTo>
                  <a:pt x="10687" y="9719"/>
                  <a:pt x="10687" y="9687"/>
                  <a:pt x="10656" y="9687"/>
                </a:cubicBezTo>
                <a:cubicBezTo>
                  <a:pt x="10656" y="9719"/>
                  <a:pt x="10625" y="9719"/>
                  <a:pt x="10625" y="9750"/>
                </a:cubicBezTo>
                <a:cubicBezTo>
                  <a:pt x="10625" y="9750"/>
                  <a:pt x="10656" y="9750"/>
                  <a:pt x="10656" y="9750"/>
                </a:cubicBezTo>
                <a:cubicBezTo>
                  <a:pt x="10687" y="9750"/>
                  <a:pt x="10687" y="9750"/>
                  <a:pt x="10718" y="9781"/>
                </a:cubicBezTo>
                <a:close/>
                <a:moveTo>
                  <a:pt x="10500" y="2156"/>
                </a:moveTo>
                <a:cubicBezTo>
                  <a:pt x="10562" y="2156"/>
                  <a:pt x="10593" y="2125"/>
                  <a:pt x="10625" y="2094"/>
                </a:cubicBezTo>
                <a:cubicBezTo>
                  <a:pt x="10562" y="2094"/>
                  <a:pt x="10531" y="2125"/>
                  <a:pt x="10500" y="2156"/>
                </a:cubicBezTo>
                <a:cubicBezTo>
                  <a:pt x="10437" y="2187"/>
                  <a:pt x="10406" y="2187"/>
                  <a:pt x="10375" y="2250"/>
                </a:cubicBezTo>
                <a:cubicBezTo>
                  <a:pt x="10406" y="2250"/>
                  <a:pt x="10406" y="2250"/>
                  <a:pt x="10406" y="2250"/>
                </a:cubicBezTo>
                <a:cubicBezTo>
                  <a:pt x="10437" y="2219"/>
                  <a:pt x="10468" y="2187"/>
                  <a:pt x="10500" y="2156"/>
                </a:cubicBezTo>
                <a:close/>
                <a:moveTo>
                  <a:pt x="10718" y="4000"/>
                </a:moveTo>
                <a:cubicBezTo>
                  <a:pt x="10687" y="4031"/>
                  <a:pt x="10718" y="4031"/>
                  <a:pt x="10718" y="4031"/>
                </a:cubicBezTo>
                <a:cubicBezTo>
                  <a:pt x="10750" y="4031"/>
                  <a:pt x="10750" y="4000"/>
                  <a:pt x="10781" y="4000"/>
                </a:cubicBezTo>
                <a:cubicBezTo>
                  <a:pt x="10781" y="3969"/>
                  <a:pt x="10750" y="3969"/>
                  <a:pt x="10750" y="3969"/>
                </a:cubicBezTo>
                <a:cubicBezTo>
                  <a:pt x="10718" y="3969"/>
                  <a:pt x="10718" y="4000"/>
                  <a:pt x="10718" y="4000"/>
                </a:cubicBezTo>
                <a:close/>
                <a:moveTo>
                  <a:pt x="10656" y="2062"/>
                </a:moveTo>
                <a:cubicBezTo>
                  <a:pt x="10656" y="2094"/>
                  <a:pt x="10656" y="2094"/>
                  <a:pt x="10687" y="2094"/>
                </a:cubicBezTo>
                <a:cubicBezTo>
                  <a:pt x="10687" y="2062"/>
                  <a:pt x="10718" y="2094"/>
                  <a:pt x="10750" y="2031"/>
                </a:cubicBezTo>
                <a:cubicBezTo>
                  <a:pt x="10750" y="2031"/>
                  <a:pt x="10718" y="2031"/>
                  <a:pt x="10718" y="2031"/>
                </a:cubicBezTo>
                <a:cubicBezTo>
                  <a:pt x="10687" y="2031"/>
                  <a:pt x="10656" y="2031"/>
                  <a:pt x="10656" y="2062"/>
                </a:cubicBezTo>
                <a:close/>
                <a:moveTo>
                  <a:pt x="10687" y="8875"/>
                </a:moveTo>
                <a:cubicBezTo>
                  <a:pt x="10687" y="8875"/>
                  <a:pt x="10687" y="8875"/>
                  <a:pt x="10687" y="8875"/>
                </a:cubicBezTo>
                <a:close/>
                <a:moveTo>
                  <a:pt x="11250" y="9844"/>
                </a:moveTo>
                <a:cubicBezTo>
                  <a:pt x="11250" y="9844"/>
                  <a:pt x="11250" y="9812"/>
                  <a:pt x="11250" y="9812"/>
                </a:cubicBezTo>
                <a:cubicBezTo>
                  <a:pt x="11187" y="9844"/>
                  <a:pt x="11187" y="9875"/>
                  <a:pt x="11187" y="9906"/>
                </a:cubicBezTo>
                <a:cubicBezTo>
                  <a:pt x="11218" y="9906"/>
                  <a:pt x="11250" y="9875"/>
                  <a:pt x="11250" y="9844"/>
                </a:cubicBezTo>
                <a:close/>
                <a:moveTo>
                  <a:pt x="14093" y="2469"/>
                </a:moveTo>
                <a:cubicBezTo>
                  <a:pt x="14093" y="2437"/>
                  <a:pt x="14062" y="2437"/>
                  <a:pt x="14031" y="2437"/>
                </a:cubicBezTo>
                <a:cubicBezTo>
                  <a:pt x="14031" y="2437"/>
                  <a:pt x="14000" y="2437"/>
                  <a:pt x="14000" y="2469"/>
                </a:cubicBezTo>
                <a:cubicBezTo>
                  <a:pt x="14000" y="2500"/>
                  <a:pt x="14031" y="2500"/>
                  <a:pt x="14062" y="2500"/>
                </a:cubicBezTo>
                <a:cubicBezTo>
                  <a:pt x="14062" y="2500"/>
                  <a:pt x="14093" y="2500"/>
                  <a:pt x="14093" y="2469"/>
                </a:cubicBezTo>
                <a:close/>
                <a:moveTo>
                  <a:pt x="14406" y="2156"/>
                </a:moveTo>
                <a:cubicBezTo>
                  <a:pt x="14437" y="2187"/>
                  <a:pt x="14468" y="2156"/>
                  <a:pt x="14531" y="2156"/>
                </a:cubicBezTo>
                <a:cubicBezTo>
                  <a:pt x="14500" y="2125"/>
                  <a:pt x="14468" y="2125"/>
                  <a:pt x="14437" y="2125"/>
                </a:cubicBezTo>
                <a:cubicBezTo>
                  <a:pt x="14406" y="2125"/>
                  <a:pt x="14406" y="2156"/>
                  <a:pt x="14406" y="2156"/>
                </a:cubicBezTo>
                <a:close/>
                <a:moveTo>
                  <a:pt x="11218" y="8937"/>
                </a:moveTo>
                <a:cubicBezTo>
                  <a:pt x="11218" y="8937"/>
                  <a:pt x="11218" y="8937"/>
                  <a:pt x="11187" y="8937"/>
                </a:cubicBezTo>
                <a:cubicBezTo>
                  <a:pt x="11187" y="8937"/>
                  <a:pt x="11156" y="8969"/>
                  <a:pt x="11125" y="8969"/>
                </a:cubicBezTo>
                <a:cubicBezTo>
                  <a:pt x="11125" y="9000"/>
                  <a:pt x="11156" y="9000"/>
                  <a:pt x="11156" y="9000"/>
                </a:cubicBezTo>
                <a:cubicBezTo>
                  <a:pt x="11187" y="9000"/>
                  <a:pt x="11218" y="8969"/>
                  <a:pt x="11218" y="8937"/>
                </a:cubicBezTo>
                <a:close/>
                <a:moveTo>
                  <a:pt x="13218" y="2875"/>
                </a:moveTo>
                <a:cubicBezTo>
                  <a:pt x="13250" y="2875"/>
                  <a:pt x="13281" y="2906"/>
                  <a:pt x="13281" y="2875"/>
                </a:cubicBezTo>
                <a:cubicBezTo>
                  <a:pt x="13281" y="2844"/>
                  <a:pt x="13250" y="2844"/>
                  <a:pt x="13218" y="2844"/>
                </a:cubicBezTo>
                <a:cubicBezTo>
                  <a:pt x="13187" y="2844"/>
                  <a:pt x="13187" y="2844"/>
                  <a:pt x="13187" y="2875"/>
                </a:cubicBezTo>
                <a:cubicBezTo>
                  <a:pt x="13187" y="2875"/>
                  <a:pt x="13218" y="2875"/>
                  <a:pt x="13218" y="2875"/>
                </a:cubicBezTo>
                <a:close/>
                <a:moveTo>
                  <a:pt x="10812" y="6281"/>
                </a:moveTo>
                <a:cubicBezTo>
                  <a:pt x="10781" y="6312"/>
                  <a:pt x="10781" y="6312"/>
                  <a:pt x="10750" y="6344"/>
                </a:cubicBezTo>
                <a:cubicBezTo>
                  <a:pt x="10750" y="6344"/>
                  <a:pt x="10781" y="6344"/>
                  <a:pt x="10781" y="6344"/>
                </a:cubicBezTo>
                <a:cubicBezTo>
                  <a:pt x="10812" y="6344"/>
                  <a:pt x="10812" y="6344"/>
                  <a:pt x="10812" y="6312"/>
                </a:cubicBezTo>
                <a:cubicBezTo>
                  <a:pt x="10843" y="6312"/>
                  <a:pt x="10812" y="6281"/>
                  <a:pt x="10812" y="6281"/>
                </a:cubicBezTo>
                <a:close/>
                <a:moveTo>
                  <a:pt x="10000" y="4187"/>
                </a:moveTo>
                <a:cubicBezTo>
                  <a:pt x="10031" y="4187"/>
                  <a:pt x="10031" y="4187"/>
                  <a:pt x="10031" y="4187"/>
                </a:cubicBezTo>
                <a:cubicBezTo>
                  <a:pt x="10093" y="4250"/>
                  <a:pt x="10156" y="4250"/>
                  <a:pt x="10218" y="4219"/>
                </a:cubicBezTo>
                <a:lnTo>
                  <a:pt x="10218" y="4219"/>
                </a:lnTo>
                <a:cubicBezTo>
                  <a:pt x="10156" y="4156"/>
                  <a:pt x="10093" y="4187"/>
                  <a:pt x="10031" y="4187"/>
                </a:cubicBezTo>
                <a:cubicBezTo>
                  <a:pt x="10031" y="4156"/>
                  <a:pt x="10031" y="4125"/>
                  <a:pt x="10031" y="4156"/>
                </a:cubicBezTo>
                <a:cubicBezTo>
                  <a:pt x="10000" y="4156"/>
                  <a:pt x="9968" y="4156"/>
                  <a:pt x="9968" y="4187"/>
                </a:cubicBezTo>
                <a:cubicBezTo>
                  <a:pt x="9968" y="4219"/>
                  <a:pt x="9968" y="4219"/>
                  <a:pt x="9968" y="4219"/>
                </a:cubicBezTo>
                <a:cubicBezTo>
                  <a:pt x="10000" y="4219"/>
                  <a:pt x="10000" y="4219"/>
                  <a:pt x="10000" y="4187"/>
                </a:cubicBezTo>
                <a:close/>
                <a:moveTo>
                  <a:pt x="13468" y="1969"/>
                </a:moveTo>
                <a:cubicBezTo>
                  <a:pt x="13468" y="2000"/>
                  <a:pt x="13500" y="2000"/>
                  <a:pt x="13500" y="2000"/>
                </a:cubicBezTo>
                <a:cubicBezTo>
                  <a:pt x="13531" y="2000"/>
                  <a:pt x="13531" y="2000"/>
                  <a:pt x="13531" y="1969"/>
                </a:cubicBezTo>
                <a:cubicBezTo>
                  <a:pt x="13531" y="1969"/>
                  <a:pt x="13500" y="1969"/>
                  <a:pt x="13500" y="1969"/>
                </a:cubicBezTo>
                <a:cubicBezTo>
                  <a:pt x="13468" y="1969"/>
                  <a:pt x="13468" y="1969"/>
                  <a:pt x="13468" y="1969"/>
                </a:cubicBezTo>
                <a:close/>
                <a:moveTo>
                  <a:pt x="13375" y="2750"/>
                </a:moveTo>
                <a:cubicBezTo>
                  <a:pt x="13437" y="2750"/>
                  <a:pt x="13468" y="2781"/>
                  <a:pt x="13500" y="2750"/>
                </a:cubicBezTo>
                <a:cubicBezTo>
                  <a:pt x="13468" y="2719"/>
                  <a:pt x="13437" y="2687"/>
                  <a:pt x="13375" y="2750"/>
                </a:cubicBezTo>
                <a:close/>
                <a:moveTo>
                  <a:pt x="10812" y="2625"/>
                </a:moveTo>
                <a:cubicBezTo>
                  <a:pt x="10843" y="2625"/>
                  <a:pt x="10875" y="2625"/>
                  <a:pt x="10906" y="2562"/>
                </a:cubicBezTo>
                <a:cubicBezTo>
                  <a:pt x="10875" y="2594"/>
                  <a:pt x="10812" y="2562"/>
                  <a:pt x="10812" y="2625"/>
                </a:cubicBezTo>
                <a:cubicBezTo>
                  <a:pt x="10812" y="2625"/>
                  <a:pt x="10812" y="2625"/>
                  <a:pt x="10812" y="2625"/>
                </a:cubicBezTo>
                <a:close/>
                <a:moveTo>
                  <a:pt x="13906" y="4750"/>
                </a:moveTo>
                <a:cubicBezTo>
                  <a:pt x="13906" y="4750"/>
                  <a:pt x="13875" y="4719"/>
                  <a:pt x="13875" y="4719"/>
                </a:cubicBezTo>
                <a:cubicBezTo>
                  <a:pt x="13843" y="4719"/>
                  <a:pt x="13843" y="4719"/>
                  <a:pt x="13843" y="4750"/>
                </a:cubicBezTo>
                <a:cubicBezTo>
                  <a:pt x="13843" y="4750"/>
                  <a:pt x="13812" y="4781"/>
                  <a:pt x="13843" y="4812"/>
                </a:cubicBezTo>
                <a:cubicBezTo>
                  <a:pt x="13906" y="4812"/>
                  <a:pt x="13843" y="4750"/>
                  <a:pt x="13906" y="4750"/>
                </a:cubicBezTo>
                <a:close/>
                <a:moveTo>
                  <a:pt x="11031" y="1750"/>
                </a:moveTo>
                <a:cubicBezTo>
                  <a:pt x="11031" y="1750"/>
                  <a:pt x="11031" y="1750"/>
                  <a:pt x="11000" y="1750"/>
                </a:cubicBezTo>
                <a:cubicBezTo>
                  <a:pt x="10968" y="1750"/>
                  <a:pt x="10937" y="1750"/>
                  <a:pt x="10937" y="1812"/>
                </a:cubicBezTo>
                <a:cubicBezTo>
                  <a:pt x="10968" y="1781"/>
                  <a:pt x="11000" y="1812"/>
                  <a:pt x="11031" y="1750"/>
                </a:cubicBezTo>
                <a:close/>
                <a:moveTo>
                  <a:pt x="11843" y="11312"/>
                </a:moveTo>
                <a:cubicBezTo>
                  <a:pt x="11875" y="11312"/>
                  <a:pt x="11875" y="11250"/>
                  <a:pt x="11906" y="11219"/>
                </a:cubicBezTo>
                <a:cubicBezTo>
                  <a:pt x="11875" y="11250"/>
                  <a:pt x="11812" y="11281"/>
                  <a:pt x="11843" y="11312"/>
                </a:cubicBezTo>
                <a:close/>
                <a:moveTo>
                  <a:pt x="13562" y="2906"/>
                </a:moveTo>
                <a:cubicBezTo>
                  <a:pt x="13562" y="2875"/>
                  <a:pt x="13531" y="2875"/>
                  <a:pt x="13531" y="2875"/>
                </a:cubicBezTo>
                <a:cubicBezTo>
                  <a:pt x="13500" y="2875"/>
                  <a:pt x="13468" y="2875"/>
                  <a:pt x="13468" y="2875"/>
                </a:cubicBezTo>
                <a:cubicBezTo>
                  <a:pt x="13468" y="2937"/>
                  <a:pt x="13500" y="2906"/>
                  <a:pt x="13531" y="2906"/>
                </a:cubicBezTo>
                <a:cubicBezTo>
                  <a:pt x="13531" y="2906"/>
                  <a:pt x="13562" y="2937"/>
                  <a:pt x="13562" y="2906"/>
                </a:cubicBezTo>
                <a:close/>
                <a:moveTo>
                  <a:pt x="13156" y="3156"/>
                </a:moveTo>
                <a:cubicBezTo>
                  <a:pt x="13156" y="3094"/>
                  <a:pt x="13125" y="3094"/>
                  <a:pt x="13093" y="3125"/>
                </a:cubicBezTo>
                <a:cubicBezTo>
                  <a:pt x="13062" y="3125"/>
                  <a:pt x="13062" y="3125"/>
                  <a:pt x="13062" y="3125"/>
                </a:cubicBezTo>
                <a:cubicBezTo>
                  <a:pt x="13093" y="3156"/>
                  <a:pt x="13125" y="3156"/>
                  <a:pt x="13156" y="3156"/>
                </a:cubicBezTo>
                <a:close/>
                <a:moveTo>
                  <a:pt x="13468" y="1125"/>
                </a:moveTo>
                <a:cubicBezTo>
                  <a:pt x="13500" y="1156"/>
                  <a:pt x="13531" y="1125"/>
                  <a:pt x="13531" y="1094"/>
                </a:cubicBezTo>
                <a:cubicBezTo>
                  <a:pt x="13500" y="1094"/>
                  <a:pt x="13468" y="1062"/>
                  <a:pt x="13437" y="1094"/>
                </a:cubicBezTo>
                <a:cubicBezTo>
                  <a:pt x="13437" y="1094"/>
                  <a:pt x="13437" y="1125"/>
                  <a:pt x="13468" y="1125"/>
                </a:cubicBezTo>
                <a:close/>
                <a:moveTo>
                  <a:pt x="9625" y="10562"/>
                </a:moveTo>
                <a:cubicBezTo>
                  <a:pt x="9625" y="10562"/>
                  <a:pt x="9656" y="10531"/>
                  <a:pt x="9656" y="10500"/>
                </a:cubicBezTo>
                <a:cubicBezTo>
                  <a:pt x="9656" y="10500"/>
                  <a:pt x="9625" y="10500"/>
                  <a:pt x="9625" y="10500"/>
                </a:cubicBezTo>
                <a:cubicBezTo>
                  <a:pt x="9625" y="10500"/>
                  <a:pt x="9593" y="10531"/>
                  <a:pt x="9593" y="10562"/>
                </a:cubicBezTo>
                <a:cubicBezTo>
                  <a:pt x="9593" y="10562"/>
                  <a:pt x="9593" y="10594"/>
                  <a:pt x="9625" y="10562"/>
                </a:cubicBezTo>
                <a:close/>
                <a:moveTo>
                  <a:pt x="9625" y="10500"/>
                </a:moveTo>
                <a:cubicBezTo>
                  <a:pt x="9625" y="10469"/>
                  <a:pt x="9593" y="10469"/>
                  <a:pt x="9593" y="10469"/>
                </a:cubicBezTo>
                <a:cubicBezTo>
                  <a:pt x="9593" y="10406"/>
                  <a:pt x="9656" y="10375"/>
                  <a:pt x="9687" y="10344"/>
                </a:cubicBezTo>
                <a:lnTo>
                  <a:pt x="9687" y="10344"/>
                </a:lnTo>
                <a:cubicBezTo>
                  <a:pt x="9718" y="10344"/>
                  <a:pt x="9750" y="10312"/>
                  <a:pt x="9718" y="10312"/>
                </a:cubicBezTo>
                <a:cubicBezTo>
                  <a:pt x="9687" y="10281"/>
                  <a:pt x="9687" y="10312"/>
                  <a:pt x="9687" y="10312"/>
                </a:cubicBezTo>
                <a:cubicBezTo>
                  <a:pt x="9625" y="10312"/>
                  <a:pt x="9625" y="10375"/>
                  <a:pt x="9593" y="10375"/>
                </a:cubicBezTo>
                <a:cubicBezTo>
                  <a:pt x="9593" y="10375"/>
                  <a:pt x="9562" y="10406"/>
                  <a:pt x="9562" y="10406"/>
                </a:cubicBezTo>
                <a:cubicBezTo>
                  <a:pt x="9531" y="10469"/>
                  <a:pt x="9562" y="10469"/>
                  <a:pt x="9593" y="10469"/>
                </a:cubicBezTo>
                <a:cubicBezTo>
                  <a:pt x="9593" y="10469"/>
                  <a:pt x="9593" y="10469"/>
                  <a:pt x="9593" y="10469"/>
                </a:cubicBezTo>
                <a:cubicBezTo>
                  <a:pt x="9593" y="10469"/>
                  <a:pt x="9593" y="10500"/>
                  <a:pt x="9625" y="10500"/>
                </a:cubicBezTo>
                <a:close/>
                <a:moveTo>
                  <a:pt x="15312" y="2312"/>
                </a:moveTo>
                <a:cubicBezTo>
                  <a:pt x="15343" y="2312"/>
                  <a:pt x="15343" y="2281"/>
                  <a:pt x="15343" y="2281"/>
                </a:cubicBezTo>
                <a:cubicBezTo>
                  <a:pt x="15312" y="2250"/>
                  <a:pt x="15281" y="2250"/>
                  <a:pt x="15250" y="2281"/>
                </a:cubicBezTo>
                <a:cubicBezTo>
                  <a:pt x="15281" y="2312"/>
                  <a:pt x="15312" y="2312"/>
                  <a:pt x="15312" y="2312"/>
                </a:cubicBezTo>
                <a:close/>
                <a:moveTo>
                  <a:pt x="11875" y="12344"/>
                </a:moveTo>
                <a:cubicBezTo>
                  <a:pt x="11906" y="12344"/>
                  <a:pt x="11937" y="12344"/>
                  <a:pt x="11968" y="12312"/>
                </a:cubicBezTo>
                <a:cubicBezTo>
                  <a:pt x="11937" y="12281"/>
                  <a:pt x="11906" y="12312"/>
                  <a:pt x="11875" y="12281"/>
                </a:cubicBezTo>
                <a:cubicBezTo>
                  <a:pt x="11875" y="12281"/>
                  <a:pt x="11875" y="12250"/>
                  <a:pt x="11906" y="12250"/>
                </a:cubicBezTo>
                <a:cubicBezTo>
                  <a:pt x="11937" y="12219"/>
                  <a:pt x="12000" y="12187"/>
                  <a:pt x="12000" y="12125"/>
                </a:cubicBezTo>
                <a:cubicBezTo>
                  <a:pt x="11968" y="12125"/>
                  <a:pt x="11906" y="12156"/>
                  <a:pt x="11875" y="12125"/>
                </a:cubicBezTo>
                <a:cubicBezTo>
                  <a:pt x="11750" y="12094"/>
                  <a:pt x="11718" y="12156"/>
                  <a:pt x="11718" y="12219"/>
                </a:cubicBezTo>
                <a:cubicBezTo>
                  <a:pt x="11687" y="12219"/>
                  <a:pt x="11687" y="12219"/>
                  <a:pt x="11656" y="12219"/>
                </a:cubicBezTo>
                <a:cubicBezTo>
                  <a:pt x="11625" y="12156"/>
                  <a:pt x="11625" y="12156"/>
                  <a:pt x="11593" y="12219"/>
                </a:cubicBezTo>
                <a:cubicBezTo>
                  <a:pt x="11625" y="12250"/>
                  <a:pt x="11656" y="12219"/>
                  <a:pt x="11656" y="12250"/>
                </a:cubicBezTo>
                <a:lnTo>
                  <a:pt x="11656" y="12250"/>
                </a:lnTo>
                <a:cubicBezTo>
                  <a:pt x="11687" y="12312"/>
                  <a:pt x="11718" y="12250"/>
                  <a:pt x="11718" y="12250"/>
                </a:cubicBezTo>
                <a:cubicBezTo>
                  <a:pt x="11750" y="12250"/>
                  <a:pt x="11781" y="12250"/>
                  <a:pt x="11750" y="12281"/>
                </a:cubicBezTo>
                <a:cubicBezTo>
                  <a:pt x="11750" y="12312"/>
                  <a:pt x="11750" y="12312"/>
                  <a:pt x="11781" y="12312"/>
                </a:cubicBezTo>
                <a:cubicBezTo>
                  <a:pt x="11781" y="12344"/>
                  <a:pt x="11812" y="12344"/>
                  <a:pt x="11812" y="12312"/>
                </a:cubicBezTo>
                <a:cubicBezTo>
                  <a:pt x="11812" y="12281"/>
                  <a:pt x="11843" y="12281"/>
                  <a:pt x="11875" y="12281"/>
                </a:cubicBezTo>
                <a:cubicBezTo>
                  <a:pt x="11875" y="12312"/>
                  <a:pt x="11843" y="12344"/>
                  <a:pt x="11875" y="12344"/>
                </a:cubicBezTo>
                <a:close/>
                <a:moveTo>
                  <a:pt x="13812" y="4625"/>
                </a:moveTo>
                <a:cubicBezTo>
                  <a:pt x="13812" y="4625"/>
                  <a:pt x="13812" y="4625"/>
                  <a:pt x="13812" y="4625"/>
                </a:cubicBezTo>
                <a:cubicBezTo>
                  <a:pt x="13812" y="4625"/>
                  <a:pt x="13812" y="4625"/>
                  <a:pt x="13812" y="4625"/>
                </a:cubicBezTo>
                <a:lnTo>
                  <a:pt x="13812" y="4625"/>
                </a:lnTo>
                <a:cubicBezTo>
                  <a:pt x="13812" y="4625"/>
                  <a:pt x="13812" y="4625"/>
                  <a:pt x="13812" y="4625"/>
                </a:cubicBezTo>
                <a:close/>
                <a:moveTo>
                  <a:pt x="11937" y="12437"/>
                </a:moveTo>
                <a:cubicBezTo>
                  <a:pt x="11875" y="12437"/>
                  <a:pt x="11843" y="12500"/>
                  <a:pt x="11781" y="12469"/>
                </a:cubicBezTo>
                <a:cubicBezTo>
                  <a:pt x="11812" y="12500"/>
                  <a:pt x="11843" y="12500"/>
                  <a:pt x="11875" y="12500"/>
                </a:cubicBezTo>
                <a:cubicBezTo>
                  <a:pt x="11937" y="12531"/>
                  <a:pt x="11906" y="12469"/>
                  <a:pt x="11937" y="12437"/>
                </a:cubicBezTo>
                <a:close/>
                <a:moveTo>
                  <a:pt x="11781" y="12469"/>
                </a:moveTo>
                <a:cubicBezTo>
                  <a:pt x="11781" y="12469"/>
                  <a:pt x="11781" y="12469"/>
                  <a:pt x="11781" y="12469"/>
                </a:cubicBezTo>
                <a:moveTo>
                  <a:pt x="9625" y="11031"/>
                </a:moveTo>
                <a:cubicBezTo>
                  <a:pt x="9593" y="11031"/>
                  <a:pt x="9593" y="11062"/>
                  <a:pt x="9593" y="11094"/>
                </a:cubicBezTo>
                <a:cubicBezTo>
                  <a:pt x="9562" y="11094"/>
                  <a:pt x="9593" y="11094"/>
                  <a:pt x="9593" y="11094"/>
                </a:cubicBezTo>
                <a:cubicBezTo>
                  <a:pt x="9625" y="11094"/>
                  <a:pt x="9656" y="11094"/>
                  <a:pt x="9656" y="11062"/>
                </a:cubicBezTo>
                <a:cubicBezTo>
                  <a:pt x="9656" y="11062"/>
                  <a:pt x="9656" y="11031"/>
                  <a:pt x="9625" y="11031"/>
                </a:cubicBezTo>
                <a:close/>
                <a:moveTo>
                  <a:pt x="10687" y="5687"/>
                </a:moveTo>
                <a:cubicBezTo>
                  <a:pt x="10718" y="5687"/>
                  <a:pt x="10750" y="5656"/>
                  <a:pt x="10750" y="5625"/>
                </a:cubicBezTo>
                <a:cubicBezTo>
                  <a:pt x="10718" y="5625"/>
                  <a:pt x="10687" y="5656"/>
                  <a:pt x="10656" y="5687"/>
                </a:cubicBezTo>
                <a:cubicBezTo>
                  <a:pt x="10656" y="5687"/>
                  <a:pt x="10687" y="5719"/>
                  <a:pt x="10687" y="5687"/>
                </a:cubicBezTo>
                <a:close/>
                <a:moveTo>
                  <a:pt x="10625" y="3000"/>
                </a:moveTo>
                <a:cubicBezTo>
                  <a:pt x="10562" y="3031"/>
                  <a:pt x="10562" y="3031"/>
                  <a:pt x="10531" y="3062"/>
                </a:cubicBezTo>
                <a:cubicBezTo>
                  <a:pt x="10593" y="3062"/>
                  <a:pt x="10593" y="3062"/>
                  <a:pt x="10625" y="3000"/>
                </a:cubicBezTo>
                <a:close/>
                <a:moveTo>
                  <a:pt x="12343" y="10406"/>
                </a:moveTo>
                <a:cubicBezTo>
                  <a:pt x="12312" y="10406"/>
                  <a:pt x="12343" y="10437"/>
                  <a:pt x="12312" y="10469"/>
                </a:cubicBezTo>
                <a:cubicBezTo>
                  <a:pt x="12312" y="10469"/>
                  <a:pt x="12343" y="10500"/>
                  <a:pt x="12343" y="10500"/>
                </a:cubicBezTo>
                <a:cubicBezTo>
                  <a:pt x="12375" y="10500"/>
                  <a:pt x="12375" y="10500"/>
                  <a:pt x="12375" y="10469"/>
                </a:cubicBezTo>
                <a:cubicBezTo>
                  <a:pt x="12375" y="10437"/>
                  <a:pt x="12375" y="10406"/>
                  <a:pt x="12343" y="10406"/>
                </a:cubicBezTo>
                <a:close/>
                <a:moveTo>
                  <a:pt x="13718" y="1156"/>
                </a:moveTo>
                <a:cubicBezTo>
                  <a:pt x="13750" y="1156"/>
                  <a:pt x="13781" y="1156"/>
                  <a:pt x="13812" y="1156"/>
                </a:cubicBezTo>
                <a:cubicBezTo>
                  <a:pt x="13781" y="1125"/>
                  <a:pt x="13750" y="1094"/>
                  <a:pt x="13718" y="1125"/>
                </a:cubicBezTo>
                <a:cubicBezTo>
                  <a:pt x="13718" y="1125"/>
                  <a:pt x="13718" y="1125"/>
                  <a:pt x="13718" y="1156"/>
                </a:cubicBezTo>
                <a:close/>
                <a:moveTo>
                  <a:pt x="13750" y="10156"/>
                </a:moveTo>
                <a:cubicBezTo>
                  <a:pt x="13750" y="10125"/>
                  <a:pt x="13718" y="10094"/>
                  <a:pt x="13687" y="10062"/>
                </a:cubicBezTo>
                <a:cubicBezTo>
                  <a:pt x="13687" y="10094"/>
                  <a:pt x="13656" y="10156"/>
                  <a:pt x="13750" y="10156"/>
                </a:cubicBezTo>
                <a:close/>
                <a:moveTo>
                  <a:pt x="10031" y="9969"/>
                </a:moveTo>
                <a:cubicBezTo>
                  <a:pt x="10031" y="9969"/>
                  <a:pt x="10031" y="9937"/>
                  <a:pt x="10031" y="9937"/>
                </a:cubicBezTo>
                <a:cubicBezTo>
                  <a:pt x="10031" y="9875"/>
                  <a:pt x="10000" y="9906"/>
                  <a:pt x="9968" y="9875"/>
                </a:cubicBezTo>
                <a:cubicBezTo>
                  <a:pt x="10000" y="9906"/>
                  <a:pt x="9968" y="9969"/>
                  <a:pt x="10031" y="9969"/>
                </a:cubicBezTo>
                <a:close/>
                <a:moveTo>
                  <a:pt x="13062" y="10219"/>
                </a:moveTo>
                <a:cubicBezTo>
                  <a:pt x="13062" y="10219"/>
                  <a:pt x="13062" y="10250"/>
                  <a:pt x="13062" y="10250"/>
                </a:cubicBezTo>
                <a:cubicBezTo>
                  <a:pt x="13093" y="10250"/>
                  <a:pt x="13125" y="10219"/>
                  <a:pt x="13125" y="10187"/>
                </a:cubicBezTo>
                <a:cubicBezTo>
                  <a:pt x="13125" y="10187"/>
                  <a:pt x="13125" y="10187"/>
                  <a:pt x="13093" y="10156"/>
                </a:cubicBezTo>
                <a:cubicBezTo>
                  <a:pt x="13062" y="10187"/>
                  <a:pt x="13062" y="10187"/>
                  <a:pt x="13062" y="10219"/>
                </a:cubicBezTo>
                <a:close/>
                <a:moveTo>
                  <a:pt x="12906" y="7656"/>
                </a:moveTo>
                <a:cubicBezTo>
                  <a:pt x="12937" y="7656"/>
                  <a:pt x="12937" y="7656"/>
                  <a:pt x="12937" y="7625"/>
                </a:cubicBezTo>
                <a:cubicBezTo>
                  <a:pt x="12906" y="7594"/>
                  <a:pt x="12937" y="7562"/>
                  <a:pt x="12875" y="7562"/>
                </a:cubicBezTo>
                <a:cubicBezTo>
                  <a:pt x="12843" y="7562"/>
                  <a:pt x="12875" y="7594"/>
                  <a:pt x="12875" y="7594"/>
                </a:cubicBezTo>
                <a:cubicBezTo>
                  <a:pt x="12875" y="7625"/>
                  <a:pt x="12875" y="7656"/>
                  <a:pt x="12906" y="7656"/>
                </a:cubicBezTo>
                <a:close/>
                <a:moveTo>
                  <a:pt x="9156" y="7969"/>
                </a:moveTo>
                <a:cubicBezTo>
                  <a:pt x="9156" y="7969"/>
                  <a:pt x="9156" y="7969"/>
                  <a:pt x="9156" y="7969"/>
                </a:cubicBezTo>
                <a:cubicBezTo>
                  <a:pt x="9156" y="7969"/>
                  <a:pt x="9156" y="7969"/>
                  <a:pt x="9156" y="7969"/>
                </a:cubicBezTo>
                <a:lnTo>
                  <a:pt x="9156" y="7969"/>
                </a:lnTo>
                <a:cubicBezTo>
                  <a:pt x="9156" y="7969"/>
                  <a:pt x="9156" y="7969"/>
                  <a:pt x="9156" y="7969"/>
                </a:cubicBezTo>
                <a:cubicBezTo>
                  <a:pt x="9156" y="7969"/>
                  <a:pt x="9156" y="7969"/>
                  <a:pt x="9156" y="7969"/>
                </a:cubicBezTo>
                <a:lnTo>
                  <a:pt x="9156" y="7969"/>
                </a:lnTo>
                <a:cubicBezTo>
                  <a:pt x="9156" y="7969"/>
                  <a:pt x="9156" y="7969"/>
                  <a:pt x="9156" y="7969"/>
                </a:cubicBezTo>
                <a:close/>
                <a:moveTo>
                  <a:pt x="15125" y="2844"/>
                </a:moveTo>
                <a:cubicBezTo>
                  <a:pt x="15125" y="2812"/>
                  <a:pt x="15125" y="2812"/>
                  <a:pt x="15093" y="2812"/>
                </a:cubicBezTo>
                <a:cubicBezTo>
                  <a:pt x="15093" y="2812"/>
                  <a:pt x="15062" y="2812"/>
                  <a:pt x="15062" y="2844"/>
                </a:cubicBezTo>
                <a:cubicBezTo>
                  <a:pt x="15062" y="2875"/>
                  <a:pt x="15093" y="2844"/>
                  <a:pt x="15093" y="2875"/>
                </a:cubicBezTo>
                <a:cubicBezTo>
                  <a:pt x="15125" y="2875"/>
                  <a:pt x="15125" y="2875"/>
                  <a:pt x="15125" y="2844"/>
                </a:cubicBezTo>
                <a:close/>
                <a:moveTo>
                  <a:pt x="10156" y="2719"/>
                </a:moveTo>
                <a:cubicBezTo>
                  <a:pt x="10187" y="2687"/>
                  <a:pt x="10218" y="2687"/>
                  <a:pt x="10250" y="2625"/>
                </a:cubicBezTo>
                <a:cubicBezTo>
                  <a:pt x="10187" y="2656"/>
                  <a:pt x="10156" y="2656"/>
                  <a:pt x="10156" y="2719"/>
                </a:cubicBezTo>
                <a:close/>
                <a:moveTo>
                  <a:pt x="11343" y="1656"/>
                </a:moveTo>
                <a:cubicBezTo>
                  <a:pt x="11343" y="1625"/>
                  <a:pt x="11375" y="1625"/>
                  <a:pt x="11406" y="1594"/>
                </a:cubicBezTo>
                <a:cubicBezTo>
                  <a:pt x="11406" y="1594"/>
                  <a:pt x="11375" y="1594"/>
                  <a:pt x="11375" y="1594"/>
                </a:cubicBezTo>
                <a:cubicBezTo>
                  <a:pt x="11343" y="1594"/>
                  <a:pt x="11312" y="1594"/>
                  <a:pt x="11312" y="1625"/>
                </a:cubicBezTo>
                <a:cubicBezTo>
                  <a:pt x="11312" y="1625"/>
                  <a:pt x="11312" y="1656"/>
                  <a:pt x="11343" y="1656"/>
                </a:cubicBezTo>
                <a:close/>
                <a:moveTo>
                  <a:pt x="12500" y="1094"/>
                </a:moveTo>
                <a:cubicBezTo>
                  <a:pt x="12500" y="1094"/>
                  <a:pt x="12531" y="1094"/>
                  <a:pt x="12531" y="1094"/>
                </a:cubicBezTo>
                <a:cubicBezTo>
                  <a:pt x="12531" y="1031"/>
                  <a:pt x="12500" y="1031"/>
                  <a:pt x="12468" y="1062"/>
                </a:cubicBezTo>
                <a:cubicBezTo>
                  <a:pt x="12437" y="1062"/>
                  <a:pt x="12437" y="1062"/>
                  <a:pt x="12437" y="1094"/>
                </a:cubicBezTo>
                <a:cubicBezTo>
                  <a:pt x="12437" y="1125"/>
                  <a:pt x="12468" y="1094"/>
                  <a:pt x="12500" y="1094"/>
                </a:cubicBezTo>
                <a:close/>
                <a:moveTo>
                  <a:pt x="12531" y="1094"/>
                </a:moveTo>
                <a:cubicBezTo>
                  <a:pt x="12562" y="1187"/>
                  <a:pt x="12562" y="1094"/>
                  <a:pt x="12593" y="1094"/>
                </a:cubicBezTo>
                <a:lnTo>
                  <a:pt x="12593" y="1094"/>
                </a:lnTo>
                <a:cubicBezTo>
                  <a:pt x="12593" y="1094"/>
                  <a:pt x="12625" y="1094"/>
                  <a:pt x="12625" y="1062"/>
                </a:cubicBezTo>
                <a:cubicBezTo>
                  <a:pt x="12625" y="1031"/>
                  <a:pt x="12593" y="1031"/>
                  <a:pt x="12562" y="1031"/>
                </a:cubicBezTo>
                <a:cubicBezTo>
                  <a:pt x="12531" y="1031"/>
                  <a:pt x="12562" y="1094"/>
                  <a:pt x="12531" y="1094"/>
                </a:cubicBezTo>
                <a:close/>
                <a:moveTo>
                  <a:pt x="11062" y="2281"/>
                </a:moveTo>
                <a:cubicBezTo>
                  <a:pt x="11093" y="2219"/>
                  <a:pt x="11156" y="2219"/>
                  <a:pt x="11156" y="2187"/>
                </a:cubicBezTo>
                <a:cubicBezTo>
                  <a:pt x="11156" y="2187"/>
                  <a:pt x="11156" y="2156"/>
                  <a:pt x="11125" y="2156"/>
                </a:cubicBezTo>
                <a:cubicBezTo>
                  <a:pt x="11093" y="2187"/>
                  <a:pt x="11062" y="2187"/>
                  <a:pt x="11062" y="2281"/>
                </a:cubicBezTo>
                <a:close/>
                <a:moveTo>
                  <a:pt x="11937" y="10250"/>
                </a:moveTo>
                <a:cubicBezTo>
                  <a:pt x="11937" y="10281"/>
                  <a:pt x="12000" y="10250"/>
                  <a:pt x="12000" y="10281"/>
                </a:cubicBezTo>
                <a:cubicBezTo>
                  <a:pt x="12031" y="10281"/>
                  <a:pt x="12000" y="10312"/>
                  <a:pt x="12000" y="10312"/>
                </a:cubicBezTo>
                <a:cubicBezTo>
                  <a:pt x="11968" y="10344"/>
                  <a:pt x="12000" y="10344"/>
                  <a:pt x="12000" y="10344"/>
                </a:cubicBezTo>
                <a:cubicBezTo>
                  <a:pt x="12000" y="10344"/>
                  <a:pt x="12000" y="10344"/>
                  <a:pt x="12031" y="10344"/>
                </a:cubicBezTo>
                <a:cubicBezTo>
                  <a:pt x="12062" y="10312"/>
                  <a:pt x="12062" y="10312"/>
                  <a:pt x="12062" y="10375"/>
                </a:cubicBezTo>
                <a:cubicBezTo>
                  <a:pt x="12062" y="10437"/>
                  <a:pt x="12125" y="10406"/>
                  <a:pt x="12125" y="10437"/>
                </a:cubicBezTo>
                <a:cubicBezTo>
                  <a:pt x="12093" y="10500"/>
                  <a:pt x="12062" y="10437"/>
                  <a:pt x="12031" y="10469"/>
                </a:cubicBezTo>
                <a:cubicBezTo>
                  <a:pt x="12031" y="10437"/>
                  <a:pt x="12031" y="10406"/>
                  <a:pt x="12000" y="10437"/>
                </a:cubicBezTo>
                <a:cubicBezTo>
                  <a:pt x="11968" y="10437"/>
                  <a:pt x="11937" y="10469"/>
                  <a:pt x="11937" y="10406"/>
                </a:cubicBezTo>
                <a:cubicBezTo>
                  <a:pt x="11937" y="10406"/>
                  <a:pt x="11906" y="10406"/>
                  <a:pt x="11906" y="10406"/>
                </a:cubicBezTo>
                <a:cubicBezTo>
                  <a:pt x="11843" y="10437"/>
                  <a:pt x="11781" y="10500"/>
                  <a:pt x="11750" y="10562"/>
                </a:cubicBezTo>
                <a:cubicBezTo>
                  <a:pt x="11718" y="10594"/>
                  <a:pt x="11781" y="10594"/>
                  <a:pt x="11781" y="10625"/>
                </a:cubicBezTo>
                <a:cubicBezTo>
                  <a:pt x="11781" y="10625"/>
                  <a:pt x="11781" y="10625"/>
                  <a:pt x="11781" y="10656"/>
                </a:cubicBezTo>
                <a:cubicBezTo>
                  <a:pt x="11781" y="10656"/>
                  <a:pt x="11781" y="10656"/>
                  <a:pt x="11781" y="10656"/>
                </a:cubicBezTo>
                <a:cubicBezTo>
                  <a:pt x="11750" y="10656"/>
                  <a:pt x="11718" y="10687"/>
                  <a:pt x="11687" y="10625"/>
                </a:cubicBezTo>
                <a:cubicBezTo>
                  <a:pt x="11718" y="10625"/>
                  <a:pt x="11718" y="10625"/>
                  <a:pt x="11718" y="10594"/>
                </a:cubicBezTo>
                <a:cubicBezTo>
                  <a:pt x="11718" y="10594"/>
                  <a:pt x="11718" y="10594"/>
                  <a:pt x="11718" y="10594"/>
                </a:cubicBezTo>
                <a:cubicBezTo>
                  <a:pt x="11718" y="10625"/>
                  <a:pt x="11687" y="10625"/>
                  <a:pt x="11687" y="10625"/>
                </a:cubicBezTo>
                <a:cubicBezTo>
                  <a:pt x="11687" y="10656"/>
                  <a:pt x="11625" y="10687"/>
                  <a:pt x="11625" y="10719"/>
                </a:cubicBezTo>
                <a:cubicBezTo>
                  <a:pt x="11593" y="10750"/>
                  <a:pt x="11593" y="10781"/>
                  <a:pt x="11562" y="10812"/>
                </a:cubicBezTo>
                <a:cubicBezTo>
                  <a:pt x="11593" y="10812"/>
                  <a:pt x="11625" y="10750"/>
                  <a:pt x="11656" y="10781"/>
                </a:cubicBezTo>
                <a:cubicBezTo>
                  <a:pt x="11656" y="10812"/>
                  <a:pt x="11625" y="10812"/>
                  <a:pt x="11593" y="10844"/>
                </a:cubicBezTo>
                <a:cubicBezTo>
                  <a:pt x="11625" y="10844"/>
                  <a:pt x="11656" y="10844"/>
                  <a:pt x="11656" y="10875"/>
                </a:cubicBezTo>
                <a:cubicBezTo>
                  <a:pt x="11687" y="10875"/>
                  <a:pt x="11687" y="10875"/>
                  <a:pt x="11687" y="10875"/>
                </a:cubicBezTo>
                <a:cubicBezTo>
                  <a:pt x="11656" y="10906"/>
                  <a:pt x="11625" y="10906"/>
                  <a:pt x="11593" y="10906"/>
                </a:cubicBezTo>
                <a:cubicBezTo>
                  <a:pt x="11562" y="10906"/>
                  <a:pt x="11531" y="10906"/>
                  <a:pt x="11562" y="10875"/>
                </a:cubicBezTo>
                <a:cubicBezTo>
                  <a:pt x="11562" y="10844"/>
                  <a:pt x="11562" y="10844"/>
                  <a:pt x="11531" y="10844"/>
                </a:cubicBezTo>
                <a:cubicBezTo>
                  <a:pt x="11531" y="10844"/>
                  <a:pt x="11531" y="10844"/>
                  <a:pt x="11531" y="10844"/>
                </a:cubicBezTo>
                <a:cubicBezTo>
                  <a:pt x="11500" y="10875"/>
                  <a:pt x="11500" y="10875"/>
                  <a:pt x="11500" y="10906"/>
                </a:cubicBezTo>
                <a:cubicBezTo>
                  <a:pt x="11500" y="10937"/>
                  <a:pt x="11531" y="10906"/>
                  <a:pt x="11531" y="10906"/>
                </a:cubicBezTo>
                <a:cubicBezTo>
                  <a:pt x="11593" y="10937"/>
                  <a:pt x="11656" y="10906"/>
                  <a:pt x="11656" y="11000"/>
                </a:cubicBezTo>
                <a:cubicBezTo>
                  <a:pt x="11656" y="11000"/>
                  <a:pt x="11687" y="11000"/>
                  <a:pt x="11687" y="11000"/>
                </a:cubicBezTo>
                <a:cubicBezTo>
                  <a:pt x="11687" y="11031"/>
                  <a:pt x="11718" y="11062"/>
                  <a:pt x="11718" y="11031"/>
                </a:cubicBezTo>
                <a:cubicBezTo>
                  <a:pt x="11750" y="11000"/>
                  <a:pt x="11750" y="10969"/>
                  <a:pt x="11718" y="10969"/>
                </a:cubicBezTo>
                <a:cubicBezTo>
                  <a:pt x="11687" y="10969"/>
                  <a:pt x="11687" y="10937"/>
                  <a:pt x="11687" y="10906"/>
                </a:cubicBezTo>
                <a:cubicBezTo>
                  <a:pt x="11781" y="10937"/>
                  <a:pt x="11812" y="10906"/>
                  <a:pt x="11812" y="10844"/>
                </a:cubicBezTo>
                <a:cubicBezTo>
                  <a:pt x="11781" y="10844"/>
                  <a:pt x="11781" y="10875"/>
                  <a:pt x="11781" y="10906"/>
                </a:cubicBezTo>
                <a:cubicBezTo>
                  <a:pt x="11750" y="10937"/>
                  <a:pt x="11718" y="10906"/>
                  <a:pt x="11750" y="10844"/>
                </a:cubicBezTo>
                <a:cubicBezTo>
                  <a:pt x="11750" y="10844"/>
                  <a:pt x="11750" y="10844"/>
                  <a:pt x="11750" y="10844"/>
                </a:cubicBezTo>
                <a:cubicBezTo>
                  <a:pt x="11781" y="10844"/>
                  <a:pt x="11781" y="10781"/>
                  <a:pt x="11843" y="10781"/>
                </a:cubicBezTo>
                <a:cubicBezTo>
                  <a:pt x="11843" y="10812"/>
                  <a:pt x="11843" y="10812"/>
                  <a:pt x="11875" y="10812"/>
                </a:cubicBezTo>
                <a:cubicBezTo>
                  <a:pt x="11875" y="10812"/>
                  <a:pt x="11906" y="10781"/>
                  <a:pt x="11937" y="10750"/>
                </a:cubicBezTo>
                <a:cubicBezTo>
                  <a:pt x="11937" y="10750"/>
                  <a:pt x="12000" y="10719"/>
                  <a:pt x="11937" y="10687"/>
                </a:cubicBezTo>
                <a:cubicBezTo>
                  <a:pt x="11906" y="10687"/>
                  <a:pt x="11906" y="10656"/>
                  <a:pt x="11937" y="10656"/>
                </a:cubicBezTo>
                <a:cubicBezTo>
                  <a:pt x="11937" y="10656"/>
                  <a:pt x="11968" y="10625"/>
                  <a:pt x="11968" y="10656"/>
                </a:cubicBezTo>
                <a:lnTo>
                  <a:pt x="11968" y="10656"/>
                </a:lnTo>
                <a:cubicBezTo>
                  <a:pt x="11968" y="10687"/>
                  <a:pt x="12000" y="10687"/>
                  <a:pt x="12000" y="10687"/>
                </a:cubicBezTo>
                <a:cubicBezTo>
                  <a:pt x="12062" y="10625"/>
                  <a:pt x="12125" y="10625"/>
                  <a:pt x="12187" y="10562"/>
                </a:cubicBezTo>
                <a:cubicBezTo>
                  <a:pt x="12187" y="10531"/>
                  <a:pt x="12218" y="10531"/>
                  <a:pt x="12187" y="10500"/>
                </a:cubicBezTo>
                <a:cubicBezTo>
                  <a:pt x="12156" y="10469"/>
                  <a:pt x="12187" y="10469"/>
                  <a:pt x="12218" y="10437"/>
                </a:cubicBezTo>
                <a:cubicBezTo>
                  <a:pt x="12250" y="10437"/>
                  <a:pt x="12250" y="10406"/>
                  <a:pt x="12250" y="10375"/>
                </a:cubicBezTo>
                <a:cubicBezTo>
                  <a:pt x="12218" y="10406"/>
                  <a:pt x="12156" y="10469"/>
                  <a:pt x="12125" y="10375"/>
                </a:cubicBezTo>
                <a:cubicBezTo>
                  <a:pt x="12125" y="10344"/>
                  <a:pt x="12187" y="10375"/>
                  <a:pt x="12187" y="10344"/>
                </a:cubicBezTo>
                <a:cubicBezTo>
                  <a:pt x="12187" y="10281"/>
                  <a:pt x="12125" y="10312"/>
                  <a:pt x="12125" y="10281"/>
                </a:cubicBezTo>
                <a:cubicBezTo>
                  <a:pt x="12125" y="10250"/>
                  <a:pt x="12187" y="10250"/>
                  <a:pt x="12187" y="10187"/>
                </a:cubicBezTo>
                <a:cubicBezTo>
                  <a:pt x="12156" y="10187"/>
                  <a:pt x="12125" y="10219"/>
                  <a:pt x="12093" y="10219"/>
                </a:cubicBezTo>
                <a:cubicBezTo>
                  <a:pt x="12093" y="10187"/>
                  <a:pt x="12031" y="10156"/>
                  <a:pt x="12093" y="10125"/>
                </a:cubicBezTo>
                <a:lnTo>
                  <a:pt x="12093" y="10125"/>
                </a:lnTo>
                <a:cubicBezTo>
                  <a:pt x="12125" y="10125"/>
                  <a:pt x="12187" y="10094"/>
                  <a:pt x="12218" y="10156"/>
                </a:cubicBezTo>
                <a:cubicBezTo>
                  <a:pt x="12250" y="10187"/>
                  <a:pt x="12281" y="10156"/>
                  <a:pt x="12281" y="10125"/>
                </a:cubicBezTo>
                <a:cubicBezTo>
                  <a:pt x="12250" y="10125"/>
                  <a:pt x="12218" y="10094"/>
                  <a:pt x="12156" y="10094"/>
                </a:cubicBezTo>
                <a:cubicBezTo>
                  <a:pt x="12125" y="10062"/>
                  <a:pt x="12031" y="10094"/>
                  <a:pt x="12031" y="10156"/>
                </a:cubicBezTo>
                <a:cubicBezTo>
                  <a:pt x="12031" y="10187"/>
                  <a:pt x="12062" y="10219"/>
                  <a:pt x="12093" y="10219"/>
                </a:cubicBezTo>
                <a:cubicBezTo>
                  <a:pt x="12093" y="10250"/>
                  <a:pt x="12062" y="10281"/>
                  <a:pt x="12000" y="10281"/>
                </a:cubicBezTo>
                <a:cubicBezTo>
                  <a:pt x="12000" y="10250"/>
                  <a:pt x="12000" y="10219"/>
                  <a:pt x="12000" y="10187"/>
                </a:cubicBezTo>
                <a:cubicBezTo>
                  <a:pt x="11968" y="10219"/>
                  <a:pt x="11937" y="10219"/>
                  <a:pt x="11937" y="10250"/>
                </a:cubicBezTo>
                <a:close/>
                <a:moveTo>
                  <a:pt x="13875" y="2594"/>
                </a:moveTo>
                <a:cubicBezTo>
                  <a:pt x="13843" y="2562"/>
                  <a:pt x="13812" y="2562"/>
                  <a:pt x="13781" y="2594"/>
                </a:cubicBezTo>
                <a:cubicBezTo>
                  <a:pt x="13812" y="2625"/>
                  <a:pt x="13812" y="2625"/>
                  <a:pt x="13875" y="2594"/>
                </a:cubicBezTo>
                <a:close/>
                <a:moveTo>
                  <a:pt x="10437" y="4250"/>
                </a:moveTo>
                <a:cubicBezTo>
                  <a:pt x="10437" y="4250"/>
                  <a:pt x="10437" y="4281"/>
                  <a:pt x="10437" y="4250"/>
                </a:cubicBezTo>
                <a:cubicBezTo>
                  <a:pt x="10468" y="4250"/>
                  <a:pt x="10500" y="4219"/>
                  <a:pt x="10500" y="4219"/>
                </a:cubicBezTo>
                <a:cubicBezTo>
                  <a:pt x="10500" y="4187"/>
                  <a:pt x="10500" y="4187"/>
                  <a:pt x="10468" y="4187"/>
                </a:cubicBezTo>
                <a:cubicBezTo>
                  <a:pt x="10468" y="4187"/>
                  <a:pt x="10437" y="4219"/>
                  <a:pt x="10437" y="4250"/>
                </a:cubicBezTo>
                <a:close/>
                <a:moveTo>
                  <a:pt x="13250" y="2531"/>
                </a:moveTo>
                <a:cubicBezTo>
                  <a:pt x="13218" y="2531"/>
                  <a:pt x="13187" y="2531"/>
                  <a:pt x="13187" y="2562"/>
                </a:cubicBezTo>
                <a:cubicBezTo>
                  <a:pt x="13187" y="2594"/>
                  <a:pt x="13218" y="2594"/>
                  <a:pt x="13250" y="2594"/>
                </a:cubicBezTo>
                <a:cubicBezTo>
                  <a:pt x="13250" y="2594"/>
                  <a:pt x="13281" y="2594"/>
                  <a:pt x="13281" y="2562"/>
                </a:cubicBezTo>
                <a:cubicBezTo>
                  <a:pt x="13281" y="2531"/>
                  <a:pt x="13250" y="2531"/>
                  <a:pt x="13250" y="2531"/>
                </a:cubicBezTo>
                <a:close/>
                <a:moveTo>
                  <a:pt x="14656" y="1219"/>
                </a:moveTo>
                <a:cubicBezTo>
                  <a:pt x="14718" y="1219"/>
                  <a:pt x="14656" y="1187"/>
                  <a:pt x="14656" y="1156"/>
                </a:cubicBezTo>
                <a:cubicBezTo>
                  <a:pt x="14656" y="1187"/>
                  <a:pt x="14593" y="1187"/>
                  <a:pt x="14625" y="1219"/>
                </a:cubicBezTo>
                <a:cubicBezTo>
                  <a:pt x="14625" y="1219"/>
                  <a:pt x="14656" y="1219"/>
                  <a:pt x="14656" y="1219"/>
                </a:cubicBezTo>
                <a:close/>
                <a:moveTo>
                  <a:pt x="12062" y="12219"/>
                </a:moveTo>
                <a:cubicBezTo>
                  <a:pt x="12000" y="12250"/>
                  <a:pt x="11968" y="12281"/>
                  <a:pt x="12000" y="12312"/>
                </a:cubicBezTo>
                <a:cubicBezTo>
                  <a:pt x="12000" y="12344"/>
                  <a:pt x="12031" y="12344"/>
                  <a:pt x="12062" y="12344"/>
                </a:cubicBezTo>
                <a:cubicBezTo>
                  <a:pt x="12062" y="12312"/>
                  <a:pt x="12000" y="12281"/>
                  <a:pt x="12062" y="12219"/>
                </a:cubicBezTo>
                <a:close/>
                <a:moveTo>
                  <a:pt x="12062" y="12344"/>
                </a:moveTo>
                <a:cubicBezTo>
                  <a:pt x="12093" y="12375"/>
                  <a:pt x="12093" y="12406"/>
                  <a:pt x="12156" y="12437"/>
                </a:cubicBezTo>
                <a:cubicBezTo>
                  <a:pt x="12125" y="12469"/>
                  <a:pt x="12062" y="12469"/>
                  <a:pt x="12031" y="12500"/>
                </a:cubicBezTo>
                <a:cubicBezTo>
                  <a:pt x="12031" y="12531"/>
                  <a:pt x="12000" y="12531"/>
                  <a:pt x="12031" y="12562"/>
                </a:cubicBezTo>
                <a:cubicBezTo>
                  <a:pt x="12031" y="12562"/>
                  <a:pt x="12062" y="12562"/>
                  <a:pt x="12062" y="12531"/>
                </a:cubicBezTo>
                <a:cubicBezTo>
                  <a:pt x="12093" y="12500"/>
                  <a:pt x="12156" y="12469"/>
                  <a:pt x="12187" y="12469"/>
                </a:cubicBezTo>
                <a:cubicBezTo>
                  <a:pt x="12218" y="12437"/>
                  <a:pt x="12187" y="12437"/>
                  <a:pt x="12156" y="12437"/>
                </a:cubicBezTo>
                <a:lnTo>
                  <a:pt x="12156" y="12437"/>
                </a:lnTo>
                <a:cubicBezTo>
                  <a:pt x="12156" y="12375"/>
                  <a:pt x="12156" y="12375"/>
                  <a:pt x="12218" y="12375"/>
                </a:cubicBezTo>
                <a:cubicBezTo>
                  <a:pt x="12250" y="12406"/>
                  <a:pt x="12250" y="12406"/>
                  <a:pt x="12281" y="12375"/>
                </a:cubicBezTo>
                <a:cubicBezTo>
                  <a:pt x="12218" y="12344"/>
                  <a:pt x="12156" y="12312"/>
                  <a:pt x="12062" y="12344"/>
                </a:cubicBezTo>
                <a:close/>
                <a:moveTo>
                  <a:pt x="9781" y="3750"/>
                </a:moveTo>
                <a:cubicBezTo>
                  <a:pt x="9781" y="3719"/>
                  <a:pt x="9750" y="3719"/>
                  <a:pt x="9750" y="3719"/>
                </a:cubicBezTo>
                <a:cubicBezTo>
                  <a:pt x="9718" y="3719"/>
                  <a:pt x="9718" y="3781"/>
                  <a:pt x="9687" y="3781"/>
                </a:cubicBezTo>
                <a:cubicBezTo>
                  <a:pt x="9687" y="3781"/>
                  <a:pt x="9687" y="3812"/>
                  <a:pt x="9687" y="3812"/>
                </a:cubicBezTo>
                <a:cubicBezTo>
                  <a:pt x="9718" y="3812"/>
                  <a:pt x="9750" y="3781"/>
                  <a:pt x="9781" y="3750"/>
                </a:cubicBezTo>
                <a:close/>
                <a:moveTo>
                  <a:pt x="11281" y="9219"/>
                </a:moveTo>
                <a:cubicBezTo>
                  <a:pt x="11250" y="9250"/>
                  <a:pt x="11281" y="9250"/>
                  <a:pt x="11312" y="9250"/>
                </a:cubicBezTo>
                <a:cubicBezTo>
                  <a:pt x="11312" y="9250"/>
                  <a:pt x="11343" y="9250"/>
                  <a:pt x="11343" y="9219"/>
                </a:cubicBezTo>
                <a:cubicBezTo>
                  <a:pt x="11343" y="9187"/>
                  <a:pt x="11312" y="9187"/>
                  <a:pt x="11312" y="9156"/>
                </a:cubicBezTo>
                <a:cubicBezTo>
                  <a:pt x="11281" y="9156"/>
                  <a:pt x="11281" y="9187"/>
                  <a:pt x="11281" y="9219"/>
                </a:cubicBezTo>
                <a:close/>
                <a:moveTo>
                  <a:pt x="11687" y="10312"/>
                </a:moveTo>
                <a:cubicBezTo>
                  <a:pt x="11718" y="10344"/>
                  <a:pt x="11718" y="10312"/>
                  <a:pt x="11750" y="10312"/>
                </a:cubicBezTo>
                <a:cubicBezTo>
                  <a:pt x="11781" y="10312"/>
                  <a:pt x="11781" y="10312"/>
                  <a:pt x="11812" y="10312"/>
                </a:cubicBezTo>
                <a:cubicBezTo>
                  <a:pt x="11812" y="10281"/>
                  <a:pt x="11781" y="10281"/>
                  <a:pt x="11781" y="10250"/>
                </a:cubicBezTo>
                <a:cubicBezTo>
                  <a:pt x="11750" y="10250"/>
                  <a:pt x="11718" y="10250"/>
                  <a:pt x="11718" y="10281"/>
                </a:cubicBezTo>
                <a:cubicBezTo>
                  <a:pt x="11687" y="10281"/>
                  <a:pt x="11687" y="10281"/>
                  <a:pt x="11687" y="10312"/>
                </a:cubicBezTo>
                <a:close/>
                <a:moveTo>
                  <a:pt x="11812" y="10312"/>
                </a:moveTo>
                <a:cubicBezTo>
                  <a:pt x="11875" y="10312"/>
                  <a:pt x="11875" y="10281"/>
                  <a:pt x="11906" y="10281"/>
                </a:cubicBezTo>
                <a:cubicBezTo>
                  <a:pt x="11937" y="10312"/>
                  <a:pt x="11906" y="10344"/>
                  <a:pt x="11875" y="10344"/>
                </a:cubicBezTo>
                <a:cubicBezTo>
                  <a:pt x="11843" y="10344"/>
                  <a:pt x="11843" y="10375"/>
                  <a:pt x="11812" y="10406"/>
                </a:cubicBezTo>
                <a:cubicBezTo>
                  <a:pt x="11812" y="10406"/>
                  <a:pt x="11812" y="10437"/>
                  <a:pt x="11781" y="10406"/>
                </a:cubicBezTo>
                <a:cubicBezTo>
                  <a:pt x="11781" y="10406"/>
                  <a:pt x="11781" y="10406"/>
                  <a:pt x="11781" y="10375"/>
                </a:cubicBezTo>
                <a:lnTo>
                  <a:pt x="11781" y="10375"/>
                </a:lnTo>
                <a:cubicBezTo>
                  <a:pt x="11781" y="10344"/>
                  <a:pt x="11812" y="10344"/>
                  <a:pt x="11812" y="10312"/>
                </a:cubicBezTo>
                <a:close/>
                <a:moveTo>
                  <a:pt x="10000" y="10562"/>
                </a:moveTo>
                <a:cubicBezTo>
                  <a:pt x="10031" y="10562"/>
                  <a:pt x="10062" y="10531"/>
                  <a:pt x="10062" y="10531"/>
                </a:cubicBezTo>
                <a:cubicBezTo>
                  <a:pt x="10062" y="10500"/>
                  <a:pt x="10062" y="10469"/>
                  <a:pt x="10031" y="10469"/>
                </a:cubicBezTo>
                <a:cubicBezTo>
                  <a:pt x="10000" y="10469"/>
                  <a:pt x="10031" y="10500"/>
                  <a:pt x="10000" y="10531"/>
                </a:cubicBezTo>
                <a:cubicBezTo>
                  <a:pt x="10000" y="10531"/>
                  <a:pt x="9968" y="10562"/>
                  <a:pt x="10000" y="10562"/>
                </a:cubicBezTo>
                <a:close/>
                <a:moveTo>
                  <a:pt x="14750" y="3656"/>
                </a:moveTo>
                <a:cubicBezTo>
                  <a:pt x="14781" y="3656"/>
                  <a:pt x="14781" y="3625"/>
                  <a:pt x="14781" y="3625"/>
                </a:cubicBezTo>
                <a:cubicBezTo>
                  <a:pt x="14781" y="3594"/>
                  <a:pt x="14750" y="3562"/>
                  <a:pt x="14718" y="3562"/>
                </a:cubicBezTo>
                <a:cubicBezTo>
                  <a:pt x="14718" y="3562"/>
                  <a:pt x="14687" y="3562"/>
                  <a:pt x="14687" y="3594"/>
                </a:cubicBezTo>
                <a:cubicBezTo>
                  <a:pt x="14718" y="3625"/>
                  <a:pt x="14750" y="3625"/>
                  <a:pt x="14750" y="3656"/>
                </a:cubicBezTo>
                <a:close/>
                <a:moveTo>
                  <a:pt x="13312" y="1344"/>
                </a:moveTo>
                <a:cubicBezTo>
                  <a:pt x="13312" y="1312"/>
                  <a:pt x="13281" y="1312"/>
                  <a:pt x="13281" y="1344"/>
                </a:cubicBezTo>
                <a:cubicBezTo>
                  <a:pt x="13281" y="1375"/>
                  <a:pt x="13281" y="1375"/>
                  <a:pt x="13312" y="1375"/>
                </a:cubicBezTo>
                <a:cubicBezTo>
                  <a:pt x="13343" y="1375"/>
                  <a:pt x="13343" y="1406"/>
                  <a:pt x="13375" y="1375"/>
                </a:cubicBezTo>
                <a:cubicBezTo>
                  <a:pt x="13343" y="1344"/>
                  <a:pt x="13343" y="1344"/>
                  <a:pt x="13312" y="1344"/>
                </a:cubicBezTo>
                <a:close/>
                <a:moveTo>
                  <a:pt x="13062" y="844"/>
                </a:moveTo>
                <a:cubicBezTo>
                  <a:pt x="13062" y="844"/>
                  <a:pt x="13093" y="844"/>
                  <a:pt x="13093" y="812"/>
                </a:cubicBezTo>
                <a:cubicBezTo>
                  <a:pt x="13093" y="781"/>
                  <a:pt x="13062" y="781"/>
                  <a:pt x="13031" y="781"/>
                </a:cubicBezTo>
                <a:cubicBezTo>
                  <a:pt x="13031" y="781"/>
                  <a:pt x="13000" y="781"/>
                  <a:pt x="13000" y="812"/>
                </a:cubicBezTo>
                <a:cubicBezTo>
                  <a:pt x="13000" y="844"/>
                  <a:pt x="13031" y="844"/>
                  <a:pt x="13062" y="844"/>
                </a:cubicBezTo>
                <a:close/>
                <a:moveTo>
                  <a:pt x="9656" y="6500"/>
                </a:moveTo>
                <a:cubicBezTo>
                  <a:pt x="9656" y="6500"/>
                  <a:pt x="9656" y="6500"/>
                  <a:pt x="9656" y="6500"/>
                </a:cubicBezTo>
                <a:cubicBezTo>
                  <a:pt x="9656" y="6500"/>
                  <a:pt x="9656" y="6500"/>
                  <a:pt x="9656" y="6500"/>
                </a:cubicBezTo>
                <a:close/>
                <a:moveTo>
                  <a:pt x="12906" y="12937"/>
                </a:moveTo>
                <a:cubicBezTo>
                  <a:pt x="12875" y="12969"/>
                  <a:pt x="12843" y="12969"/>
                  <a:pt x="12812" y="12969"/>
                </a:cubicBezTo>
                <a:cubicBezTo>
                  <a:pt x="12812" y="12969"/>
                  <a:pt x="12812" y="13000"/>
                  <a:pt x="12812" y="13031"/>
                </a:cubicBezTo>
                <a:cubicBezTo>
                  <a:pt x="12781" y="13031"/>
                  <a:pt x="12750" y="13031"/>
                  <a:pt x="12750" y="13031"/>
                </a:cubicBezTo>
                <a:cubicBezTo>
                  <a:pt x="12718" y="13031"/>
                  <a:pt x="12656" y="13031"/>
                  <a:pt x="12687" y="13062"/>
                </a:cubicBezTo>
                <a:lnTo>
                  <a:pt x="12687" y="13062"/>
                </a:lnTo>
                <a:cubicBezTo>
                  <a:pt x="12687" y="13094"/>
                  <a:pt x="12718" y="13062"/>
                  <a:pt x="12750" y="13062"/>
                </a:cubicBezTo>
                <a:cubicBezTo>
                  <a:pt x="12781" y="13062"/>
                  <a:pt x="12812" y="13031"/>
                  <a:pt x="12812" y="13031"/>
                </a:cubicBezTo>
                <a:cubicBezTo>
                  <a:pt x="12812" y="13000"/>
                  <a:pt x="12843" y="13000"/>
                  <a:pt x="12843" y="13000"/>
                </a:cubicBezTo>
                <a:cubicBezTo>
                  <a:pt x="12875" y="12969"/>
                  <a:pt x="12906" y="13000"/>
                  <a:pt x="12906" y="12969"/>
                </a:cubicBezTo>
                <a:cubicBezTo>
                  <a:pt x="12906" y="12969"/>
                  <a:pt x="12906" y="12937"/>
                  <a:pt x="12906" y="12937"/>
                </a:cubicBezTo>
                <a:close/>
                <a:moveTo>
                  <a:pt x="11562" y="9281"/>
                </a:moveTo>
                <a:cubicBezTo>
                  <a:pt x="11562" y="9312"/>
                  <a:pt x="11531" y="9312"/>
                  <a:pt x="11500" y="9344"/>
                </a:cubicBezTo>
                <a:cubicBezTo>
                  <a:pt x="11500" y="9344"/>
                  <a:pt x="11531" y="9375"/>
                  <a:pt x="11531" y="9375"/>
                </a:cubicBezTo>
                <a:cubicBezTo>
                  <a:pt x="11562" y="9375"/>
                  <a:pt x="11593" y="9344"/>
                  <a:pt x="11593" y="9312"/>
                </a:cubicBezTo>
                <a:cubicBezTo>
                  <a:pt x="11593" y="9281"/>
                  <a:pt x="11593" y="9281"/>
                  <a:pt x="11562" y="9281"/>
                </a:cubicBezTo>
                <a:close/>
                <a:moveTo>
                  <a:pt x="11000" y="4781"/>
                </a:moveTo>
                <a:cubicBezTo>
                  <a:pt x="11000" y="4781"/>
                  <a:pt x="11000" y="4781"/>
                  <a:pt x="11000" y="4781"/>
                </a:cubicBezTo>
                <a:cubicBezTo>
                  <a:pt x="11000" y="4781"/>
                  <a:pt x="11000" y="4781"/>
                  <a:pt x="11000" y="4781"/>
                </a:cubicBezTo>
                <a:close/>
                <a:moveTo>
                  <a:pt x="10375" y="3500"/>
                </a:moveTo>
                <a:cubicBezTo>
                  <a:pt x="10343" y="3500"/>
                  <a:pt x="10281" y="3500"/>
                  <a:pt x="10281" y="3562"/>
                </a:cubicBezTo>
                <a:cubicBezTo>
                  <a:pt x="10343" y="3562"/>
                  <a:pt x="10343" y="3531"/>
                  <a:pt x="10375" y="3500"/>
                </a:cubicBezTo>
                <a:close/>
                <a:moveTo>
                  <a:pt x="10625" y="8344"/>
                </a:moveTo>
                <a:cubicBezTo>
                  <a:pt x="10625" y="8344"/>
                  <a:pt x="10656" y="8344"/>
                  <a:pt x="10656" y="8344"/>
                </a:cubicBezTo>
                <a:cubicBezTo>
                  <a:pt x="10687" y="8312"/>
                  <a:pt x="10718" y="8281"/>
                  <a:pt x="10687" y="8250"/>
                </a:cubicBezTo>
                <a:cubicBezTo>
                  <a:pt x="10656" y="8281"/>
                  <a:pt x="10625" y="8281"/>
                  <a:pt x="10625" y="8344"/>
                </a:cubicBezTo>
                <a:close/>
                <a:moveTo>
                  <a:pt x="11281" y="8812"/>
                </a:moveTo>
                <a:cubicBezTo>
                  <a:pt x="11281" y="8844"/>
                  <a:pt x="11250" y="8875"/>
                  <a:pt x="11281" y="8906"/>
                </a:cubicBezTo>
                <a:cubicBezTo>
                  <a:pt x="11281" y="8906"/>
                  <a:pt x="11312" y="8906"/>
                  <a:pt x="11312" y="8906"/>
                </a:cubicBezTo>
                <a:cubicBezTo>
                  <a:pt x="11343" y="8875"/>
                  <a:pt x="11312" y="8844"/>
                  <a:pt x="11281" y="8812"/>
                </a:cubicBezTo>
                <a:close/>
                <a:moveTo>
                  <a:pt x="14656" y="3219"/>
                </a:moveTo>
                <a:cubicBezTo>
                  <a:pt x="14656" y="3219"/>
                  <a:pt x="14687" y="3219"/>
                  <a:pt x="14687" y="3219"/>
                </a:cubicBezTo>
                <a:cubicBezTo>
                  <a:pt x="14687" y="3187"/>
                  <a:pt x="14656" y="3187"/>
                  <a:pt x="14656" y="3156"/>
                </a:cubicBezTo>
                <a:cubicBezTo>
                  <a:pt x="14625" y="3156"/>
                  <a:pt x="14593" y="3156"/>
                  <a:pt x="14593" y="3187"/>
                </a:cubicBezTo>
                <a:cubicBezTo>
                  <a:pt x="14593" y="3219"/>
                  <a:pt x="14625" y="3219"/>
                  <a:pt x="14656" y="3219"/>
                </a:cubicBezTo>
                <a:close/>
                <a:moveTo>
                  <a:pt x="15000" y="2094"/>
                </a:moveTo>
                <a:cubicBezTo>
                  <a:pt x="15000" y="2094"/>
                  <a:pt x="15000" y="2062"/>
                  <a:pt x="15000" y="2062"/>
                </a:cubicBezTo>
                <a:cubicBezTo>
                  <a:pt x="14968" y="2031"/>
                  <a:pt x="14937" y="2031"/>
                  <a:pt x="14937" y="2031"/>
                </a:cubicBezTo>
                <a:cubicBezTo>
                  <a:pt x="14906" y="2031"/>
                  <a:pt x="14906" y="2062"/>
                  <a:pt x="14906" y="2062"/>
                </a:cubicBezTo>
                <a:cubicBezTo>
                  <a:pt x="14906" y="2062"/>
                  <a:pt x="14906" y="2094"/>
                  <a:pt x="14937" y="2094"/>
                </a:cubicBezTo>
                <a:cubicBezTo>
                  <a:pt x="14937" y="2094"/>
                  <a:pt x="14968" y="2125"/>
                  <a:pt x="15000" y="2094"/>
                </a:cubicBezTo>
                <a:close/>
                <a:moveTo>
                  <a:pt x="10187" y="10906"/>
                </a:moveTo>
                <a:cubicBezTo>
                  <a:pt x="10218" y="10906"/>
                  <a:pt x="10250" y="10875"/>
                  <a:pt x="10250" y="10812"/>
                </a:cubicBezTo>
                <a:cubicBezTo>
                  <a:pt x="10218" y="10875"/>
                  <a:pt x="10187" y="10812"/>
                  <a:pt x="10125" y="10844"/>
                </a:cubicBezTo>
                <a:cubicBezTo>
                  <a:pt x="10187" y="10844"/>
                  <a:pt x="10156" y="10937"/>
                  <a:pt x="10187" y="10906"/>
                </a:cubicBezTo>
                <a:close/>
                <a:moveTo>
                  <a:pt x="15031" y="1250"/>
                </a:moveTo>
                <a:cubicBezTo>
                  <a:pt x="15062" y="1250"/>
                  <a:pt x="15093" y="1281"/>
                  <a:pt x="15156" y="1250"/>
                </a:cubicBezTo>
                <a:cubicBezTo>
                  <a:pt x="15125" y="1219"/>
                  <a:pt x="15062" y="1250"/>
                  <a:pt x="15031" y="1219"/>
                </a:cubicBezTo>
                <a:cubicBezTo>
                  <a:pt x="15031" y="1187"/>
                  <a:pt x="15031" y="1219"/>
                  <a:pt x="15000" y="1219"/>
                </a:cubicBezTo>
                <a:cubicBezTo>
                  <a:pt x="15000" y="1219"/>
                  <a:pt x="15000" y="1250"/>
                  <a:pt x="15031" y="1250"/>
                </a:cubicBezTo>
                <a:close/>
                <a:moveTo>
                  <a:pt x="14406" y="2906"/>
                </a:moveTo>
                <a:cubicBezTo>
                  <a:pt x="14468" y="2906"/>
                  <a:pt x="14500" y="2906"/>
                  <a:pt x="14531" y="2906"/>
                </a:cubicBezTo>
                <a:cubicBezTo>
                  <a:pt x="14500" y="2875"/>
                  <a:pt x="14468" y="2875"/>
                  <a:pt x="14406" y="2906"/>
                </a:cubicBezTo>
                <a:close/>
                <a:moveTo>
                  <a:pt x="12312" y="1375"/>
                </a:moveTo>
                <a:cubicBezTo>
                  <a:pt x="12312" y="1375"/>
                  <a:pt x="12343" y="1375"/>
                  <a:pt x="12343" y="1375"/>
                </a:cubicBezTo>
                <a:cubicBezTo>
                  <a:pt x="12343" y="1344"/>
                  <a:pt x="12343" y="1344"/>
                  <a:pt x="12312" y="1344"/>
                </a:cubicBezTo>
                <a:cubicBezTo>
                  <a:pt x="12281" y="1344"/>
                  <a:pt x="12281" y="1312"/>
                  <a:pt x="12281" y="1344"/>
                </a:cubicBezTo>
                <a:cubicBezTo>
                  <a:pt x="12250" y="1375"/>
                  <a:pt x="12281" y="1375"/>
                  <a:pt x="12312" y="1375"/>
                </a:cubicBezTo>
                <a:close/>
                <a:moveTo>
                  <a:pt x="9593" y="10250"/>
                </a:moveTo>
                <a:cubicBezTo>
                  <a:pt x="9500" y="10281"/>
                  <a:pt x="9500" y="10312"/>
                  <a:pt x="9593" y="10375"/>
                </a:cubicBezTo>
                <a:cubicBezTo>
                  <a:pt x="9593" y="10312"/>
                  <a:pt x="9562" y="10281"/>
                  <a:pt x="9593" y="10250"/>
                </a:cubicBezTo>
                <a:close/>
                <a:moveTo>
                  <a:pt x="11718" y="3000"/>
                </a:moveTo>
                <a:cubicBezTo>
                  <a:pt x="11750" y="3031"/>
                  <a:pt x="11781" y="3000"/>
                  <a:pt x="11812" y="2969"/>
                </a:cubicBezTo>
                <a:cubicBezTo>
                  <a:pt x="11781" y="2969"/>
                  <a:pt x="11718" y="2937"/>
                  <a:pt x="11718" y="3000"/>
                </a:cubicBezTo>
                <a:close/>
                <a:moveTo>
                  <a:pt x="11156" y="1844"/>
                </a:moveTo>
                <a:cubicBezTo>
                  <a:pt x="11156" y="1875"/>
                  <a:pt x="11187" y="1875"/>
                  <a:pt x="11187" y="1875"/>
                </a:cubicBezTo>
                <a:cubicBezTo>
                  <a:pt x="11218" y="1844"/>
                  <a:pt x="11250" y="1844"/>
                  <a:pt x="11250" y="1812"/>
                </a:cubicBezTo>
                <a:cubicBezTo>
                  <a:pt x="11250" y="1812"/>
                  <a:pt x="11250" y="1812"/>
                  <a:pt x="11250" y="1812"/>
                </a:cubicBezTo>
                <a:cubicBezTo>
                  <a:pt x="11218" y="1812"/>
                  <a:pt x="11187" y="1812"/>
                  <a:pt x="11156" y="1844"/>
                </a:cubicBezTo>
                <a:close/>
                <a:moveTo>
                  <a:pt x="11937" y="12406"/>
                </a:moveTo>
                <a:cubicBezTo>
                  <a:pt x="11875" y="12406"/>
                  <a:pt x="11843" y="12312"/>
                  <a:pt x="11781" y="12375"/>
                </a:cubicBezTo>
                <a:cubicBezTo>
                  <a:pt x="11843" y="12344"/>
                  <a:pt x="11875" y="12437"/>
                  <a:pt x="11937" y="12406"/>
                </a:cubicBezTo>
                <a:close/>
                <a:moveTo>
                  <a:pt x="10062" y="11219"/>
                </a:moveTo>
                <a:cubicBezTo>
                  <a:pt x="10093" y="11187"/>
                  <a:pt x="10125" y="11156"/>
                  <a:pt x="10125" y="11125"/>
                </a:cubicBezTo>
                <a:cubicBezTo>
                  <a:pt x="10062" y="11125"/>
                  <a:pt x="10062" y="11187"/>
                  <a:pt x="10031" y="11187"/>
                </a:cubicBezTo>
                <a:cubicBezTo>
                  <a:pt x="10000" y="11187"/>
                  <a:pt x="10000" y="11219"/>
                  <a:pt x="10031" y="11219"/>
                </a:cubicBezTo>
                <a:cubicBezTo>
                  <a:pt x="10031" y="11219"/>
                  <a:pt x="10031" y="11219"/>
                  <a:pt x="10062" y="11219"/>
                </a:cubicBezTo>
                <a:close/>
                <a:moveTo>
                  <a:pt x="9968" y="2375"/>
                </a:moveTo>
                <a:cubicBezTo>
                  <a:pt x="9937" y="2406"/>
                  <a:pt x="9875" y="2437"/>
                  <a:pt x="9875" y="2500"/>
                </a:cubicBezTo>
                <a:cubicBezTo>
                  <a:pt x="9906" y="2469"/>
                  <a:pt x="9968" y="2437"/>
                  <a:pt x="9968" y="2375"/>
                </a:cubicBezTo>
                <a:close/>
                <a:moveTo>
                  <a:pt x="14031" y="2219"/>
                </a:moveTo>
                <a:cubicBezTo>
                  <a:pt x="14031" y="2250"/>
                  <a:pt x="14062" y="2219"/>
                  <a:pt x="14093" y="2250"/>
                </a:cubicBezTo>
                <a:cubicBezTo>
                  <a:pt x="14093" y="2250"/>
                  <a:pt x="14125" y="2250"/>
                  <a:pt x="14125" y="2219"/>
                </a:cubicBezTo>
                <a:cubicBezTo>
                  <a:pt x="14125" y="2187"/>
                  <a:pt x="14093" y="2187"/>
                  <a:pt x="14062" y="2187"/>
                </a:cubicBezTo>
                <a:cubicBezTo>
                  <a:pt x="14062" y="2187"/>
                  <a:pt x="14031" y="2187"/>
                  <a:pt x="14031" y="2219"/>
                </a:cubicBezTo>
                <a:close/>
                <a:moveTo>
                  <a:pt x="10093" y="3750"/>
                </a:moveTo>
                <a:cubicBezTo>
                  <a:pt x="10031" y="3750"/>
                  <a:pt x="10000" y="3781"/>
                  <a:pt x="10000" y="3844"/>
                </a:cubicBezTo>
                <a:cubicBezTo>
                  <a:pt x="10062" y="3844"/>
                  <a:pt x="10062" y="3781"/>
                  <a:pt x="10093" y="3750"/>
                </a:cubicBezTo>
                <a:close/>
                <a:moveTo>
                  <a:pt x="10187" y="6281"/>
                </a:moveTo>
                <a:cubicBezTo>
                  <a:pt x="10093" y="6312"/>
                  <a:pt x="10093" y="6375"/>
                  <a:pt x="10062" y="6406"/>
                </a:cubicBezTo>
                <a:cubicBezTo>
                  <a:pt x="10093" y="6375"/>
                  <a:pt x="10156" y="6344"/>
                  <a:pt x="10187" y="6281"/>
                </a:cubicBezTo>
                <a:close/>
                <a:moveTo>
                  <a:pt x="13968" y="3031"/>
                </a:moveTo>
                <a:cubicBezTo>
                  <a:pt x="14000" y="3031"/>
                  <a:pt x="14031" y="3031"/>
                  <a:pt x="14031" y="3031"/>
                </a:cubicBezTo>
                <a:cubicBezTo>
                  <a:pt x="14062" y="3031"/>
                  <a:pt x="14062" y="3031"/>
                  <a:pt x="14062" y="3031"/>
                </a:cubicBezTo>
                <a:cubicBezTo>
                  <a:pt x="14093" y="3031"/>
                  <a:pt x="14125" y="3031"/>
                  <a:pt x="14125" y="3031"/>
                </a:cubicBezTo>
                <a:cubicBezTo>
                  <a:pt x="14125" y="3031"/>
                  <a:pt x="14125" y="3000"/>
                  <a:pt x="14125" y="3000"/>
                </a:cubicBezTo>
                <a:cubicBezTo>
                  <a:pt x="14125" y="3000"/>
                  <a:pt x="14093" y="3000"/>
                  <a:pt x="14062" y="3000"/>
                </a:cubicBezTo>
                <a:cubicBezTo>
                  <a:pt x="14062" y="3000"/>
                  <a:pt x="14062" y="3000"/>
                  <a:pt x="14031" y="3000"/>
                </a:cubicBezTo>
                <a:cubicBezTo>
                  <a:pt x="14031" y="3000"/>
                  <a:pt x="14000" y="3000"/>
                  <a:pt x="13968" y="3000"/>
                </a:cubicBezTo>
                <a:cubicBezTo>
                  <a:pt x="13968" y="2969"/>
                  <a:pt x="13937" y="3000"/>
                  <a:pt x="13937" y="3000"/>
                </a:cubicBezTo>
                <a:cubicBezTo>
                  <a:pt x="13937" y="3031"/>
                  <a:pt x="13968" y="3031"/>
                  <a:pt x="13968" y="3031"/>
                </a:cubicBezTo>
                <a:close/>
                <a:moveTo>
                  <a:pt x="11031" y="3250"/>
                </a:moveTo>
                <a:cubicBezTo>
                  <a:pt x="11093" y="3250"/>
                  <a:pt x="11125" y="3250"/>
                  <a:pt x="11156" y="3219"/>
                </a:cubicBezTo>
                <a:cubicBezTo>
                  <a:pt x="11093" y="3187"/>
                  <a:pt x="11062" y="3219"/>
                  <a:pt x="11031" y="3250"/>
                </a:cubicBezTo>
                <a:close/>
                <a:moveTo>
                  <a:pt x="11781" y="12219"/>
                </a:moveTo>
                <a:cubicBezTo>
                  <a:pt x="11781" y="12219"/>
                  <a:pt x="11812" y="12187"/>
                  <a:pt x="11812" y="12187"/>
                </a:cubicBezTo>
                <a:cubicBezTo>
                  <a:pt x="11843" y="12187"/>
                  <a:pt x="11843" y="12219"/>
                  <a:pt x="11843" y="12219"/>
                </a:cubicBezTo>
                <a:cubicBezTo>
                  <a:pt x="11843" y="12250"/>
                  <a:pt x="11812" y="12250"/>
                  <a:pt x="11812" y="12250"/>
                </a:cubicBezTo>
                <a:cubicBezTo>
                  <a:pt x="11781" y="12250"/>
                  <a:pt x="11781" y="12219"/>
                  <a:pt x="11781" y="12219"/>
                </a:cubicBezTo>
                <a:close/>
                <a:moveTo>
                  <a:pt x="10812" y="8937"/>
                </a:moveTo>
                <a:cubicBezTo>
                  <a:pt x="10843" y="8937"/>
                  <a:pt x="10875" y="8906"/>
                  <a:pt x="10875" y="8906"/>
                </a:cubicBezTo>
                <a:cubicBezTo>
                  <a:pt x="10875" y="8875"/>
                  <a:pt x="10875" y="8875"/>
                  <a:pt x="10843" y="8875"/>
                </a:cubicBezTo>
                <a:cubicBezTo>
                  <a:pt x="10812" y="8875"/>
                  <a:pt x="10812" y="8875"/>
                  <a:pt x="10812" y="8906"/>
                </a:cubicBezTo>
                <a:cubicBezTo>
                  <a:pt x="10812" y="8906"/>
                  <a:pt x="10812" y="8937"/>
                  <a:pt x="10812" y="8937"/>
                </a:cubicBezTo>
                <a:close/>
                <a:moveTo>
                  <a:pt x="12187" y="9750"/>
                </a:moveTo>
                <a:cubicBezTo>
                  <a:pt x="12187" y="9750"/>
                  <a:pt x="12156" y="9750"/>
                  <a:pt x="12156" y="9781"/>
                </a:cubicBezTo>
                <a:cubicBezTo>
                  <a:pt x="12125" y="9781"/>
                  <a:pt x="12125" y="9812"/>
                  <a:pt x="12125" y="9844"/>
                </a:cubicBezTo>
                <a:cubicBezTo>
                  <a:pt x="12125" y="9844"/>
                  <a:pt x="12156" y="9844"/>
                  <a:pt x="12187" y="9875"/>
                </a:cubicBezTo>
                <a:cubicBezTo>
                  <a:pt x="12156" y="9844"/>
                  <a:pt x="12156" y="9812"/>
                  <a:pt x="12156" y="9812"/>
                </a:cubicBezTo>
                <a:cubicBezTo>
                  <a:pt x="12187" y="9781"/>
                  <a:pt x="12218" y="9781"/>
                  <a:pt x="12187" y="9750"/>
                </a:cubicBezTo>
                <a:close/>
                <a:moveTo>
                  <a:pt x="9437" y="9750"/>
                </a:moveTo>
                <a:cubicBezTo>
                  <a:pt x="9437" y="9781"/>
                  <a:pt x="9406" y="9812"/>
                  <a:pt x="9406" y="9844"/>
                </a:cubicBezTo>
                <a:cubicBezTo>
                  <a:pt x="9406" y="9844"/>
                  <a:pt x="9406" y="9844"/>
                  <a:pt x="9406" y="9875"/>
                </a:cubicBezTo>
                <a:cubicBezTo>
                  <a:pt x="9406" y="9875"/>
                  <a:pt x="9437" y="9875"/>
                  <a:pt x="9437" y="9875"/>
                </a:cubicBezTo>
                <a:cubicBezTo>
                  <a:pt x="9468" y="9844"/>
                  <a:pt x="9468" y="9781"/>
                  <a:pt x="9437" y="9750"/>
                </a:cubicBezTo>
                <a:cubicBezTo>
                  <a:pt x="9406" y="9719"/>
                  <a:pt x="9375" y="9719"/>
                  <a:pt x="9437" y="9656"/>
                </a:cubicBezTo>
                <a:lnTo>
                  <a:pt x="9437" y="9656"/>
                </a:lnTo>
                <a:cubicBezTo>
                  <a:pt x="9375" y="9656"/>
                  <a:pt x="9343" y="9687"/>
                  <a:pt x="9343" y="9719"/>
                </a:cubicBezTo>
                <a:cubicBezTo>
                  <a:pt x="9343" y="9750"/>
                  <a:pt x="9406" y="9719"/>
                  <a:pt x="9406" y="9750"/>
                </a:cubicBezTo>
                <a:cubicBezTo>
                  <a:pt x="9406" y="9750"/>
                  <a:pt x="9437" y="9750"/>
                  <a:pt x="9437" y="9750"/>
                </a:cubicBezTo>
                <a:close/>
                <a:moveTo>
                  <a:pt x="9625" y="3000"/>
                </a:moveTo>
                <a:cubicBezTo>
                  <a:pt x="9625" y="3031"/>
                  <a:pt x="9593" y="3031"/>
                  <a:pt x="9593" y="3031"/>
                </a:cubicBezTo>
                <a:cubicBezTo>
                  <a:pt x="9562" y="3062"/>
                  <a:pt x="9531" y="3062"/>
                  <a:pt x="9531" y="3094"/>
                </a:cubicBezTo>
                <a:cubicBezTo>
                  <a:pt x="9562" y="3125"/>
                  <a:pt x="9593" y="3094"/>
                  <a:pt x="9593" y="3062"/>
                </a:cubicBezTo>
                <a:cubicBezTo>
                  <a:pt x="9625" y="3062"/>
                  <a:pt x="9656" y="3062"/>
                  <a:pt x="9656" y="3031"/>
                </a:cubicBezTo>
                <a:cubicBezTo>
                  <a:pt x="9656" y="3000"/>
                  <a:pt x="9656" y="3000"/>
                  <a:pt x="9625" y="3000"/>
                </a:cubicBezTo>
                <a:close/>
                <a:moveTo>
                  <a:pt x="9687" y="1719"/>
                </a:moveTo>
                <a:cubicBezTo>
                  <a:pt x="9687" y="1687"/>
                  <a:pt x="9656" y="1656"/>
                  <a:pt x="9656" y="1625"/>
                </a:cubicBezTo>
                <a:cubicBezTo>
                  <a:pt x="9593" y="1687"/>
                  <a:pt x="9593" y="1687"/>
                  <a:pt x="9687" y="1719"/>
                </a:cubicBezTo>
                <a:close/>
                <a:moveTo>
                  <a:pt x="10343" y="6312"/>
                </a:moveTo>
                <a:cubicBezTo>
                  <a:pt x="10343" y="6344"/>
                  <a:pt x="10343" y="6344"/>
                  <a:pt x="10343" y="6344"/>
                </a:cubicBezTo>
                <a:cubicBezTo>
                  <a:pt x="10375" y="6281"/>
                  <a:pt x="10437" y="6281"/>
                  <a:pt x="10468" y="6250"/>
                </a:cubicBezTo>
                <a:cubicBezTo>
                  <a:pt x="10406" y="6250"/>
                  <a:pt x="10375" y="6281"/>
                  <a:pt x="10343" y="6312"/>
                </a:cubicBezTo>
                <a:cubicBezTo>
                  <a:pt x="10343" y="6312"/>
                  <a:pt x="10343" y="6312"/>
                  <a:pt x="10343" y="6312"/>
                </a:cubicBezTo>
                <a:close/>
                <a:moveTo>
                  <a:pt x="14593" y="3094"/>
                </a:moveTo>
                <a:cubicBezTo>
                  <a:pt x="14625" y="3094"/>
                  <a:pt x="14656" y="3094"/>
                  <a:pt x="14656" y="3062"/>
                </a:cubicBezTo>
                <a:cubicBezTo>
                  <a:pt x="14656" y="3031"/>
                  <a:pt x="14625" y="3031"/>
                  <a:pt x="14593" y="3031"/>
                </a:cubicBezTo>
                <a:cubicBezTo>
                  <a:pt x="14562" y="3031"/>
                  <a:pt x="14562" y="3031"/>
                  <a:pt x="14562" y="3062"/>
                </a:cubicBezTo>
                <a:cubicBezTo>
                  <a:pt x="14562" y="3094"/>
                  <a:pt x="14593" y="3062"/>
                  <a:pt x="14593" y="3094"/>
                </a:cubicBezTo>
                <a:close/>
                <a:moveTo>
                  <a:pt x="11906" y="969"/>
                </a:moveTo>
                <a:cubicBezTo>
                  <a:pt x="11875" y="1000"/>
                  <a:pt x="11875" y="1000"/>
                  <a:pt x="11843" y="1000"/>
                </a:cubicBezTo>
                <a:cubicBezTo>
                  <a:pt x="11843" y="1000"/>
                  <a:pt x="11812" y="1031"/>
                  <a:pt x="11843" y="1062"/>
                </a:cubicBezTo>
                <a:cubicBezTo>
                  <a:pt x="11875" y="1031"/>
                  <a:pt x="11906" y="1031"/>
                  <a:pt x="11906" y="969"/>
                </a:cubicBezTo>
                <a:close/>
                <a:moveTo>
                  <a:pt x="13125" y="3000"/>
                </a:moveTo>
                <a:cubicBezTo>
                  <a:pt x="13093" y="3000"/>
                  <a:pt x="13093" y="3031"/>
                  <a:pt x="13125" y="3031"/>
                </a:cubicBezTo>
                <a:cubicBezTo>
                  <a:pt x="13156" y="3031"/>
                  <a:pt x="13187" y="3031"/>
                  <a:pt x="13250" y="3000"/>
                </a:cubicBezTo>
                <a:cubicBezTo>
                  <a:pt x="13187" y="3000"/>
                  <a:pt x="13156" y="2969"/>
                  <a:pt x="13125" y="3000"/>
                </a:cubicBezTo>
                <a:close/>
                <a:moveTo>
                  <a:pt x="9343" y="1875"/>
                </a:moveTo>
                <a:cubicBezTo>
                  <a:pt x="9312" y="1906"/>
                  <a:pt x="9281" y="1937"/>
                  <a:pt x="9281" y="1969"/>
                </a:cubicBezTo>
                <a:cubicBezTo>
                  <a:pt x="9250" y="1969"/>
                  <a:pt x="9281" y="2000"/>
                  <a:pt x="9281" y="2000"/>
                </a:cubicBezTo>
                <a:cubicBezTo>
                  <a:pt x="9343" y="1969"/>
                  <a:pt x="9343" y="1937"/>
                  <a:pt x="9375" y="1906"/>
                </a:cubicBezTo>
                <a:cubicBezTo>
                  <a:pt x="9375" y="1906"/>
                  <a:pt x="9343" y="1875"/>
                  <a:pt x="9343" y="1875"/>
                </a:cubicBezTo>
                <a:close/>
                <a:moveTo>
                  <a:pt x="15437" y="2969"/>
                </a:moveTo>
                <a:cubicBezTo>
                  <a:pt x="15437" y="3000"/>
                  <a:pt x="15437" y="3031"/>
                  <a:pt x="15468" y="3062"/>
                </a:cubicBezTo>
                <a:cubicBezTo>
                  <a:pt x="15500" y="3062"/>
                  <a:pt x="15468" y="3031"/>
                  <a:pt x="15500" y="3000"/>
                </a:cubicBezTo>
                <a:cubicBezTo>
                  <a:pt x="15531" y="3000"/>
                  <a:pt x="15531" y="3000"/>
                  <a:pt x="15531" y="3000"/>
                </a:cubicBezTo>
                <a:cubicBezTo>
                  <a:pt x="15531" y="2969"/>
                  <a:pt x="15500" y="2969"/>
                  <a:pt x="15500" y="2969"/>
                </a:cubicBezTo>
                <a:cubicBezTo>
                  <a:pt x="15468" y="2969"/>
                  <a:pt x="15468" y="2969"/>
                  <a:pt x="15437" y="2969"/>
                </a:cubicBezTo>
                <a:close/>
                <a:moveTo>
                  <a:pt x="13500" y="4312"/>
                </a:moveTo>
                <a:cubicBezTo>
                  <a:pt x="13531" y="4281"/>
                  <a:pt x="13593" y="4344"/>
                  <a:pt x="13593" y="4281"/>
                </a:cubicBezTo>
                <a:cubicBezTo>
                  <a:pt x="13593" y="4250"/>
                  <a:pt x="13531" y="4281"/>
                  <a:pt x="13500" y="4281"/>
                </a:cubicBezTo>
                <a:cubicBezTo>
                  <a:pt x="13500" y="4281"/>
                  <a:pt x="13468" y="4250"/>
                  <a:pt x="13468" y="4281"/>
                </a:cubicBezTo>
                <a:cubicBezTo>
                  <a:pt x="13468" y="4312"/>
                  <a:pt x="13500" y="4312"/>
                  <a:pt x="13500" y="4312"/>
                </a:cubicBezTo>
                <a:close/>
                <a:moveTo>
                  <a:pt x="10343" y="8687"/>
                </a:moveTo>
                <a:cubicBezTo>
                  <a:pt x="10375" y="8687"/>
                  <a:pt x="10375" y="8656"/>
                  <a:pt x="10343" y="8656"/>
                </a:cubicBezTo>
                <a:cubicBezTo>
                  <a:pt x="10343" y="8656"/>
                  <a:pt x="10312" y="8656"/>
                  <a:pt x="10312" y="8687"/>
                </a:cubicBezTo>
                <a:cubicBezTo>
                  <a:pt x="10312" y="8719"/>
                  <a:pt x="10281" y="8719"/>
                  <a:pt x="10281" y="8719"/>
                </a:cubicBezTo>
                <a:cubicBezTo>
                  <a:pt x="10250" y="8750"/>
                  <a:pt x="10250" y="8750"/>
                  <a:pt x="10250" y="8750"/>
                </a:cubicBezTo>
                <a:cubicBezTo>
                  <a:pt x="10250" y="8750"/>
                  <a:pt x="10250" y="8781"/>
                  <a:pt x="10281" y="8781"/>
                </a:cubicBezTo>
                <a:cubicBezTo>
                  <a:pt x="10312" y="8750"/>
                  <a:pt x="10343" y="8719"/>
                  <a:pt x="10343" y="8687"/>
                </a:cubicBezTo>
                <a:close/>
                <a:moveTo>
                  <a:pt x="14750" y="2156"/>
                </a:moveTo>
                <a:cubicBezTo>
                  <a:pt x="14718" y="2156"/>
                  <a:pt x="14687" y="2187"/>
                  <a:pt x="14687" y="2187"/>
                </a:cubicBezTo>
                <a:cubicBezTo>
                  <a:pt x="14718" y="2219"/>
                  <a:pt x="14750" y="2219"/>
                  <a:pt x="14781" y="2219"/>
                </a:cubicBezTo>
                <a:cubicBezTo>
                  <a:pt x="14781" y="2250"/>
                  <a:pt x="14812" y="2219"/>
                  <a:pt x="14812" y="2219"/>
                </a:cubicBezTo>
                <a:cubicBezTo>
                  <a:pt x="14812" y="2187"/>
                  <a:pt x="14750" y="2187"/>
                  <a:pt x="14750" y="2156"/>
                </a:cubicBezTo>
                <a:close/>
                <a:moveTo>
                  <a:pt x="9406" y="7187"/>
                </a:moveTo>
                <a:cubicBezTo>
                  <a:pt x="9406" y="7187"/>
                  <a:pt x="9406" y="7219"/>
                  <a:pt x="9406" y="7219"/>
                </a:cubicBezTo>
                <a:cubicBezTo>
                  <a:pt x="9406" y="7219"/>
                  <a:pt x="9437" y="7219"/>
                  <a:pt x="9437" y="7219"/>
                </a:cubicBezTo>
                <a:cubicBezTo>
                  <a:pt x="9468" y="7187"/>
                  <a:pt x="9500" y="7156"/>
                  <a:pt x="9531" y="7062"/>
                </a:cubicBezTo>
                <a:cubicBezTo>
                  <a:pt x="9468" y="7125"/>
                  <a:pt x="9437" y="7156"/>
                  <a:pt x="9406" y="7187"/>
                </a:cubicBezTo>
                <a:close/>
                <a:moveTo>
                  <a:pt x="15437" y="3312"/>
                </a:moveTo>
                <a:cubicBezTo>
                  <a:pt x="15437" y="3312"/>
                  <a:pt x="15468" y="3344"/>
                  <a:pt x="15468" y="3344"/>
                </a:cubicBezTo>
                <a:cubicBezTo>
                  <a:pt x="15531" y="3344"/>
                  <a:pt x="15562" y="3344"/>
                  <a:pt x="15625" y="3344"/>
                </a:cubicBezTo>
                <a:cubicBezTo>
                  <a:pt x="15562" y="3312"/>
                  <a:pt x="15531" y="3312"/>
                  <a:pt x="15468" y="3281"/>
                </a:cubicBezTo>
                <a:cubicBezTo>
                  <a:pt x="15468" y="3281"/>
                  <a:pt x="15437" y="3312"/>
                  <a:pt x="15437" y="3312"/>
                </a:cubicBezTo>
                <a:cubicBezTo>
                  <a:pt x="15437" y="3312"/>
                  <a:pt x="15406" y="3281"/>
                  <a:pt x="15375" y="3281"/>
                </a:cubicBezTo>
                <a:cubicBezTo>
                  <a:pt x="15343" y="3281"/>
                  <a:pt x="15281" y="3281"/>
                  <a:pt x="15250" y="3281"/>
                </a:cubicBezTo>
                <a:cubicBezTo>
                  <a:pt x="15250" y="3281"/>
                  <a:pt x="15218" y="3281"/>
                  <a:pt x="15218" y="3312"/>
                </a:cubicBezTo>
                <a:lnTo>
                  <a:pt x="15218" y="3312"/>
                </a:lnTo>
                <a:cubicBezTo>
                  <a:pt x="15218" y="3312"/>
                  <a:pt x="15250" y="3312"/>
                  <a:pt x="15250" y="3312"/>
                </a:cubicBezTo>
                <a:cubicBezTo>
                  <a:pt x="15281" y="3312"/>
                  <a:pt x="15343" y="3344"/>
                  <a:pt x="15375" y="3344"/>
                </a:cubicBezTo>
                <a:cubicBezTo>
                  <a:pt x="15375" y="3344"/>
                  <a:pt x="15406" y="3344"/>
                  <a:pt x="15406" y="3375"/>
                </a:cubicBezTo>
                <a:cubicBezTo>
                  <a:pt x="15406" y="3375"/>
                  <a:pt x="15375" y="3375"/>
                  <a:pt x="15375" y="3375"/>
                </a:cubicBezTo>
                <a:cubicBezTo>
                  <a:pt x="15343" y="3375"/>
                  <a:pt x="15312" y="3406"/>
                  <a:pt x="15312" y="3437"/>
                </a:cubicBezTo>
                <a:cubicBezTo>
                  <a:pt x="15343" y="3437"/>
                  <a:pt x="15375" y="3406"/>
                  <a:pt x="15375" y="3469"/>
                </a:cubicBezTo>
                <a:cubicBezTo>
                  <a:pt x="15375" y="3500"/>
                  <a:pt x="15343" y="3469"/>
                  <a:pt x="15312" y="3500"/>
                </a:cubicBezTo>
                <a:cubicBezTo>
                  <a:pt x="15312" y="3500"/>
                  <a:pt x="15281" y="3500"/>
                  <a:pt x="15250" y="3531"/>
                </a:cubicBezTo>
                <a:cubicBezTo>
                  <a:pt x="15281" y="3531"/>
                  <a:pt x="15343" y="3562"/>
                  <a:pt x="15406" y="3500"/>
                </a:cubicBezTo>
                <a:cubicBezTo>
                  <a:pt x="15437" y="3469"/>
                  <a:pt x="15468" y="3437"/>
                  <a:pt x="15500" y="3437"/>
                </a:cubicBezTo>
                <a:cubicBezTo>
                  <a:pt x="15531" y="3437"/>
                  <a:pt x="15531" y="3406"/>
                  <a:pt x="15531" y="3406"/>
                </a:cubicBezTo>
                <a:cubicBezTo>
                  <a:pt x="15500" y="3406"/>
                  <a:pt x="15500" y="3406"/>
                  <a:pt x="15500" y="3406"/>
                </a:cubicBezTo>
                <a:cubicBezTo>
                  <a:pt x="15437" y="3406"/>
                  <a:pt x="15406" y="3375"/>
                  <a:pt x="15437" y="3312"/>
                </a:cubicBezTo>
                <a:close/>
                <a:moveTo>
                  <a:pt x="8687" y="2500"/>
                </a:moveTo>
                <a:cubicBezTo>
                  <a:pt x="8687" y="2500"/>
                  <a:pt x="8718" y="2500"/>
                  <a:pt x="8718" y="2500"/>
                </a:cubicBezTo>
                <a:cubicBezTo>
                  <a:pt x="8750" y="2500"/>
                  <a:pt x="8781" y="2437"/>
                  <a:pt x="8812" y="2406"/>
                </a:cubicBezTo>
                <a:cubicBezTo>
                  <a:pt x="8812" y="2406"/>
                  <a:pt x="8812" y="2406"/>
                  <a:pt x="8812" y="2375"/>
                </a:cubicBezTo>
                <a:cubicBezTo>
                  <a:pt x="8750" y="2406"/>
                  <a:pt x="8718" y="2437"/>
                  <a:pt x="8687" y="2500"/>
                </a:cubicBezTo>
                <a:close/>
                <a:moveTo>
                  <a:pt x="14687" y="2031"/>
                </a:moveTo>
                <a:cubicBezTo>
                  <a:pt x="14718" y="2031"/>
                  <a:pt x="14718" y="2031"/>
                  <a:pt x="14718" y="2031"/>
                </a:cubicBezTo>
                <a:cubicBezTo>
                  <a:pt x="14687" y="2000"/>
                  <a:pt x="14656" y="2031"/>
                  <a:pt x="14656" y="2000"/>
                </a:cubicBezTo>
                <a:cubicBezTo>
                  <a:pt x="14625" y="2000"/>
                  <a:pt x="14625" y="2000"/>
                  <a:pt x="14593" y="2000"/>
                </a:cubicBezTo>
                <a:cubicBezTo>
                  <a:pt x="14625" y="2062"/>
                  <a:pt x="14656" y="2062"/>
                  <a:pt x="14687" y="2031"/>
                </a:cubicBezTo>
                <a:close/>
                <a:moveTo>
                  <a:pt x="10250" y="2500"/>
                </a:moveTo>
                <a:cubicBezTo>
                  <a:pt x="10281" y="2469"/>
                  <a:pt x="10343" y="2469"/>
                  <a:pt x="10375" y="2406"/>
                </a:cubicBezTo>
                <a:cubicBezTo>
                  <a:pt x="10312" y="2406"/>
                  <a:pt x="10281" y="2437"/>
                  <a:pt x="10250" y="2500"/>
                </a:cubicBezTo>
                <a:close/>
                <a:moveTo>
                  <a:pt x="10093" y="7187"/>
                </a:moveTo>
                <a:cubicBezTo>
                  <a:pt x="10093" y="7187"/>
                  <a:pt x="10093" y="7187"/>
                  <a:pt x="10093" y="7187"/>
                </a:cubicBezTo>
                <a:cubicBezTo>
                  <a:pt x="10093" y="7187"/>
                  <a:pt x="10093" y="7187"/>
                  <a:pt x="10093" y="7187"/>
                </a:cubicBezTo>
                <a:close/>
                <a:moveTo>
                  <a:pt x="14312" y="969"/>
                </a:moveTo>
                <a:cubicBezTo>
                  <a:pt x="14312" y="1000"/>
                  <a:pt x="14343" y="1000"/>
                  <a:pt x="14375" y="1000"/>
                </a:cubicBezTo>
                <a:cubicBezTo>
                  <a:pt x="14375" y="969"/>
                  <a:pt x="14375" y="969"/>
                  <a:pt x="14375" y="937"/>
                </a:cubicBezTo>
                <a:cubicBezTo>
                  <a:pt x="14343" y="937"/>
                  <a:pt x="14343" y="906"/>
                  <a:pt x="14343" y="875"/>
                </a:cubicBezTo>
                <a:cubicBezTo>
                  <a:pt x="14281" y="906"/>
                  <a:pt x="14312" y="937"/>
                  <a:pt x="14312" y="969"/>
                </a:cubicBezTo>
                <a:close/>
                <a:moveTo>
                  <a:pt x="9343" y="9875"/>
                </a:moveTo>
                <a:cubicBezTo>
                  <a:pt x="9312" y="9906"/>
                  <a:pt x="9312" y="9937"/>
                  <a:pt x="9281" y="9937"/>
                </a:cubicBezTo>
                <a:cubicBezTo>
                  <a:pt x="9281" y="9969"/>
                  <a:pt x="9250" y="9969"/>
                  <a:pt x="9281" y="9969"/>
                </a:cubicBezTo>
                <a:cubicBezTo>
                  <a:pt x="9281" y="9969"/>
                  <a:pt x="9281" y="9969"/>
                  <a:pt x="9281" y="10000"/>
                </a:cubicBezTo>
                <a:cubicBezTo>
                  <a:pt x="9312" y="9969"/>
                  <a:pt x="9375" y="9937"/>
                  <a:pt x="9375" y="9906"/>
                </a:cubicBezTo>
                <a:cubicBezTo>
                  <a:pt x="9375" y="9906"/>
                  <a:pt x="9406" y="9875"/>
                  <a:pt x="9375" y="9875"/>
                </a:cubicBezTo>
                <a:cubicBezTo>
                  <a:pt x="9375" y="9875"/>
                  <a:pt x="9343" y="9875"/>
                  <a:pt x="9343" y="9875"/>
                </a:cubicBezTo>
                <a:close/>
                <a:moveTo>
                  <a:pt x="10250" y="2031"/>
                </a:moveTo>
                <a:cubicBezTo>
                  <a:pt x="10218" y="2031"/>
                  <a:pt x="10218" y="2031"/>
                  <a:pt x="10218" y="2031"/>
                </a:cubicBezTo>
                <a:cubicBezTo>
                  <a:pt x="10156" y="2062"/>
                  <a:pt x="10125" y="2094"/>
                  <a:pt x="10062" y="2125"/>
                </a:cubicBezTo>
                <a:cubicBezTo>
                  <a:pt x="10156" y="2125"/>
                  <a:pt x="10187" y="2062"/>
                  <a:pt x="10218" y="2062"/>
                </a:cubicBezTo>
                <a:cubicBezTo>
                  <a:pt x="10250" y="2062"/>
                  <a:pt x="10250" y="2031"/>
                  <a:pt x="10250" y="2031"/>
                </a:cubicBezTo>
                <a:close/>
                <a:moveTo>
                  <a:pt x="10875" y="6406"/>
                </a:moveTo>
                <a:cubicBezTo>
                  <a:pt x="10875" y="6406"/>
                  <a:pt x="10875" y="6375"/>
                  <a:pt x="10875" y="6406"/>
                </a:cubicBezTo>
                <a:cubicBezTo>
                  <a:pt x="10843" y="6406"/>
                  <a:pt x="10812" y="6437"/>
                  <a:pt x="10750" y="6469"/>
                </a:cubicBezTo>
                <a:cubicBezTo>
                  <a:pt x="10750" y="6469"/>
                  <a:pt x="10750" y="6469"/>
                  <a:pt x="10781" y="6500"/>
                </a:cubicBezTo>
                <a:cubicBezTo>
                  <a:pt x="10812" y="6500"/>
                  <a:pt x="10875" y="6437"/>
                  <a:pt x="10875" y="6406"/>
                </a:cubicBezTo>
                <a:close/>
                <a:moveTo>
                  <a:pt x="10531" y="4531"/>
                </a:moveTo>
                <a:cubicBezTo>
                  <a:pt x="10531" y="4531"/>
                  <a:pt x="10500" y="4531"/>
                  <a:pt x="10500" y="4531"/>
                </a:cubicBezTo>
                <a:cubicBezTo>
                  <a:pt x="10468" y="4562"/>
                  <a:pt x="10406" y="4594"/>
                  <a:pt x="10406" y="4656"/>
                </a:cubicBezTo>
                <a:cubicBezTo>
                  <a:pt x="10468" y="4625"/>
                  <a:pt x="10468" y="4594"/>
                  <a:pt x="10531" y="4562"/>
                </a:cubicBezTo>
                <a:cubicBezTo>
                  <a:pt x="10531" y="4562"/>
                  <a:pt x="10531" y="4531"/>
                  <a:pt x="10531" y="4531"/>
                </a:cubicBezTo>
                <a:close/>
                <a:moveTo>
                  <a:pt x="12062" y="11812"/>
                </a:moveTo>
                <a:cubicBezTo>
                  <a:pt x="12062" y="11812"/>
                  <a:pt x="12062" y="11812"/>
                  <a:pt x="12062" y="11812"/>
                </a:cubicBezTo>
                <a:cubicBezTo>
                  <a:pt x="12062" y="11812"/>
                  <a:pt x="12062" y="11812"/>
                  <a:pt x="12062" y="11812"/>
                </a:cubicBezTo>
                <a:lnTo>
                  <a:pt x="12062" y="11812"/>
                </a:lnTo>
                <a:cubicBezTo>
                  <a:pt x="12062" y="11812"/>
                  <a:pt x="12062" y="11812"/>
                  <a:pt x="12062" y="11812"/>
                </a:cubicBezTo>
                <a:close/>
                <a:moveTo>
                  <a:pt x="13468" y="2594"/>
                </a:moveTo>
                <a:cubicBezTo>
                  <a:pt x="13468" y="2625"/>
                  <a:pt x="13500" y="2625"/>
                  <a:pt x="13531" y="2625"/>
                </a:cubicBezTo>
                <a:cubicBezTo>
                  <a:pt x="13562" y="2625"/>
                  <a:pt x="13593" y="2625"/>
                  <a:pt x="13593" y="2594"/>
                </a:cubicBezTo>
                <a:cubicBezTo>
                  <a:pt x="13593" y="2562"/>
                  <a:pt x="13562" y="2562"/>
                  <a:pt x="13531" y="2562"/>
                </a:cubicBezTo>
                <a:cubicBezTo>
                  <a:pt x="13500" y="2562"/>
                  <a:pt x="13500" y="2562"/>
                  <a:pt x="13468" y="2594"/>
                </a:cubicBezTo>
                <a:close/>
                <a:moveTo>
                  <a:pt x="13125" y="1156"/>
                </a:moveTo>
                <a:cubicBezTo>
                  <a:pt x="13093" y="1156"/>
                  <a:pt x="13093" y="1187"/>
                  <a:pt x="13093" y="1187"/>
                </a:cubicBezTo>
                <a:cubicBezTo>
                  <a:pt x="13093" y="1219"/>
                  <a:pt x="13125" y="1219"/>
                  <a:pt x="13156" y="1219"/>
                </a:cubicBezTo>
                <a:cubicBezTo>
                  <a:pt x="13156" y="1219"/>
                  <a:pt x="13187" y="1219"/>
                  <a:pt x="13187" y="1187"/>
                </a:cubicBezTo>
                <a:cubicBezTo>
                  <a:pt x="13187" y="1156"/>
                  <a:pt x="13156" y="1187"/>
                  <a:pt x="13125" y="1156"/>
                </a:cubicBezTo>
                <a:close/>
                <a:moveTo>
                  <a:pt x="14562" y="2156"/>
                </a:moveTo>
                <a:cubicBezTo>
                  <a:pt x="14562" y="2219"/>
                  <a:pt x="14625" y="2187"/>
                  <a:pt x="14625" y="2219"/>
                </a:cubicBezTo>
                <a:cubicBezTo>
                  <a:pt x="14656" y="2219"/>
                  <a:pt x="14656" y="2187"/>
                  <a:pt x="14656" y="2187"/>
                </a:cubicBezTo>
                <a:cubicBezTo>
                  <a:pt x="14656" y="2156"/>
                  <a:pt x="14625" y="2156"/>
                  <a:pt x="14593" y="2156"/>
                </a:cubicBezTo>
                <a:cubicBezTo>
                  <a:pt x="14593" y="2156"/>
                  <a:pt x="14562" y="2156"/>
                  <a:pt x="14562" y="2156"/>
                </a:cubicBezTo>
                <a:close/>
                <a:moveTo>
                  <a:pt x="11500" y="11281"/>
                </a:moveTo>
                <a:cubicBezTo>
                  <a:pt x="11562" y="11250"/>
                  <a:pt x="11593" y="11219"/>
                  <a:pt x="11625" y="11187"/>
                </a:cubicBezTo>
                <a:cubicBezTo>
                  <a:pt x="11656" y="11156"/>
                  <a:pt x="11625" y="11156"/>
                  <a:pt x="11593" y="11156"/>
                </a:cubicBezTo>
                <a:cubicBezTo>
                  <a:pt x="11593" y="11219"/>
                  <a:pt x="11531" y="11219"/>
                  <a:pt x="11500" y="11281"/>
                </a:cubicBezTo>
                <a:close/>
                <a:moveTo>
                  <a:pt x="11593" y="11156"/>
                </a:moveTo>
                <a:cubicBezTo>
                  <a:pt x="11562" y="11125"/>
                  <a:pt x="11562" y="11062"/>
                  <a:pt x="11593" y="11031"/>
                </a:cubicBezTo>
                <a:cubicBezTo>
                  <a:pt x="11593" y="11031"/>
                  <a:pt x="11625" y="11031"/>
                  <a:pt x="11625" y="11000"/>
                </a:cubicBezTo>
                <a:cubicBezTo>
                  <a:pt x="11625" y="11000"/>
                  <a:pt x="11625" y="11000"/>
                  <a:pt x="11625" y="11000"/>
                </a:cubicBezTo>
                <a:cubicBezTo>
                  <a:pt x="11625" y="10969"/>
                  <a:pt x="11593" y="10969"/>
                  <a:pt x="11593" y="11000"/>
                </a:cubicBezTo>
                <a:cubicBezTo>
                  <a:pt x="11562" y="11031"/>
                  <a:pt x="11531" y="11031"/>
                  <a:pt x="11500" y="11031"/>
                </a:cubicBezTo>
                <a:cubicBezTo>
                  <a:pt x="11500" y="11031"/>
                  <a:pt x="11500" y="11031"/>
                  <a:pt x="11468" y="11031"/>
                </a:cubicBezTo>
                <a:cubicBezTo>
                  <a:pt x="11500" y="11062"/>
                  <a:pt x="11531" y="11031"/>
                  <a:pt x="11531" y="11062"/>
                </a:cubicBezTo>
                <a:cubicBezTo>
                  <a:pt x="11531" y="11062"/>
                  <a:pt x="11531" y="11062"/>
                  <a:pt x="11500" y="11062"/>
                </a:cubicBezTo>
                <a:cubicBezTo>
                  <a:pt x="11500" y="11094"/>
                  <a:pt x="11468" y="11125"/>
                  <a:pt x="11437" y="11125"/>
                </a:cubicBezTo>
                <a:cubicBezTo>
                  <a:pt x="11375" y="11125"/>
                  <a:pt x="11406" y="11094"/>
                  <a:pt x="11406" y="11062"/>
                </a:cubicBezTo>
                <a:cubicBezTo>
                  <a:pt x="11406" y="11031"/>
                  <a:pt x="11406" y="11031"/>
                  <a:pt x="11406" y="11000"/>
                </a:cubicBezTo>
                <a:cubicBezTo>
                  <a:pt x="11375" y="11000"/>
                  <a:pt x="11375" y="11000"/>
                  <a:pt x="11375" y="11000"/>
                </a:cubicBezTo>
                <a:cubicBezTo>
                  <a:pt x="11375" y="11031"/>
                  <a:pt x="11375" y="11031"/>
                  <a:pt x="11375" y="11031"/>
                </a:cubicBezTo>
                <a:cubicBezTo>
                  <a:pt x="11375" y="11094"/>
                  <a:pt x="11375" y="11094"/>
                  <a:pt x="11312" y="11125"/>
                </a:cubicBezTo>
                <a:cubicBezTo>
                  <a:pt x="11281" y="11125"/>
                  <a:pt x="11250" y="11094"/>
                  <a:pt x="11281" y="11156"/>
                </a:cubicBezTo>
                <a:cubicBezTo>
                  <a:pt x="11281" y="11156"/>
                  <a:pt x="11312" y="11156"/>
                  <a:pt x="11312" y="11156"/>
                </a:cubicBezTo>
                <a:cubicBezTo>
                  <a:pt x="11375" y="11156"/>
                  <a:pt x="11406" y="11094"/>
                  <a:pt x="11468" y="11187"/>
                </a:cubicBezTo>
                <a:cubicBezTo>
                  <a:pt x="11468" y="11187"/>
                  <a:pt x="11468" y="11187"/>
                  <a:pt x="11468" y="11187"/>
                </a:cubicBezTo>
                <a:cubicBezTo>
                  <a:pt x="11500" y="11125"/>
                  <a:pt x="11531" y="11156"/>
                  <a:pt x="11593" y="11156"/>
                </a:cubicBezTo>
                <a:close/>
                <a:moveTo>
                  <a:pt x="15281" y="10656"/>
                </a:moveTo>
                <a:cubicBezTo>
                  <a:pt x="15312" y="10656"/>
                  <a:pt x="15343" y="10656"/>
                  <a:pt x="15343" y="10594"/>
                </a:cubicBezTo>
                <a:cubicBezTo>
                  <a:pt x="15312" y="10594"/>
                  <a:pt x="15281" y="10594"/>
                  <a:pt x="15281" y="10594"/>
                </a:cubicBezTo>
                <a:cubicBezTo>
                  <a:pt x="15250" y="10594"/>
                  <a:pt x="15218" y="10594"/>
                  <a:pt x="15250" y="10594"/>
                </a:cubicBezTo>
                <a:cubicBezTo>
                  <a:pt x="15250" y="10625"/>
                  <a:pt x="15250" y="10656"/>
                  <a:pt x="15281" y="10656"/>
                </a:cubicBezTo>
                <a:close/>
                <a:moveTo>
                  <a:pt x="9437" y="9750"/>
                </a:moveTo>
                <a:cubicBezTo>
                  <a:pt x="9437" y="9750"/>
                  <a:pt x="9437" y="9750"/>
                  <a:pt x="9437" y="9750"/>
                </a:cubicBezTo>
                <a:cubicBezTo>
                  <a:pt x="9437" y="9750"/>
                  <a:pt x="9437" y="9750"/>
                  <a:pt x="9437" y="9750"/>
                </a:cubicBezTo>
                <a:close/>
                <a:moveTo>
                  <a:pt x="10281" y="5312"/>
                </a:moveTo>
                <a:cubicBezTo>
                  <a:pt x="10343" y="5281"/>
                  <a:pt x="10375" y="5250"/>
                  <a:pt x="10437" y="5219"/>
                </a:cubicBezTo>
                <a:cubicBezTo>
                  <a:pt x="10343" y="5219"/>
                  <a:pt x="10312" y="5281"/>
                  <a:pt x="10281" y="5312"/>
                </a:cubicBezTo>
                <a:close/>
                <a:moveTo>
                  <a:pt x="10343" y="9750"/>
                </a:moveTo>
                <a:cubicBezTo>
                  <a:pt x="10343" y="9750"/>
                  <a:pt x="10343" y="9750"/>
                  <a:pt x="10343" y="9719"/>
                </a:cubicBezTo>
                <a:cubicBezTo>
                  <a:pt x="10312" y="9719"/>
                  <a:pt x="10312" y="9719"/>
                  <a:pt x="10312" y="9719"/>
                </a:cubicBezTo>
                <a:cubicBezTo>
                  <a:pt x="10281" y="9750"/>
                  <a:pt x="10250" y="9750"/>
                  <a:pt x="10250" y="9781"/>
                </a:cubicBezTo>
                <a:cubicBezTo>
                  <a:pt x="10281" y="9812"/>
                  <a:pt x="10312" y="9844"/>
                  <a:pt x="10375" y="9844"/>
                </a:cubicBezTo>
                <a:cubicBezTo>
                  <a:pt x="10343" y="9812"/>
                  <a:pt x="10312" y="9781"/>
                  <a:pt x="10343" y="9750"/>
                </a:cubicBezTo>
                <a:close/>
                <a:moveTo>
                  <a:pt x="9875" y="5219"/>
                </a:moveTo>
                <a:cubicBezTo>
                  <a:pt x="9875" y="5187"/>
                  <a:pt x="9812" y="5187"/>
                  <a:pt x="9781" y="5187"/>
                </a:cubicBezTo>
                <a:cubicBezTo>
                  <a:pt x="9875" y="5250"/>
                  <a:pt x="9781" y="5250"/>
                  <a:pt x="9781" y="5312"/>
                </a:cubicBezTo>
                <a:cubicBezTo>
                  <a:pt x="9812" y="5281"/>
                  <a:pt x="9875" y="5250"/>
                  <a:pt x="9875" y="5219"/>
                </a:cubicBezTo>
                <a:close/>
                <a:moveTo>
                  <a:pt x="14312" y="4500"/>
                </a:moveTo>
                <a:cubicBezTo>
                  <a:pt x="14281" y="4469"/>
                  <a:pt x="14281" y="4469"/>
                  <a:pt x="14250" y="4500"/>
                </a:cubicBezTo>
                <a:cubicBezTo>
                  <a:pt x="14250" y="4500"/>
                  <a:pt x="14218" y="4500"/>
                  <a:pt x="14218" y="4500"/>
                </a:cubicBezTo>
                <a:cubicBezTo>
                  <a:pt x="14187" y="4500"/>
                  <a:pt x="14187" y="4531"/>
                  <a:pt x="14187" y="4531"/>
                </a:cubicBezTo>
                <a:cubicBezTo>
                  <a:pt x="14187" y="4531"/>
                  <a:pt x="14187" y="4562"/>
                  <a:pt x="14218" y="4562"/>
                </a:cubicBezTo>
                <a:cubicBezTo>
                  <a:pt x="14250" y="4562"/>
                  <a:pt x="14250" y="4500"/>
                  <a:pt x="14312" y="4500"/>
                </a:cubicBezTo>
                <a:cubicBezTo>
                  <a:pt x="14312" y="4531"/>
                  <a:pt x="14312" y="4562"/>
                  <a:pt x="14343" y="4562"/>
                </a:cubicBezTo>
                <a:cubicBezTo>
                  <a:pt x="14375" y="4562"/>
                  <a:pt x="14375" y="4531"/>
                  <a:pt x="14375" y="4500"/>
                </a:cubicBezTo>
                <a:cubicBezTo>
                  <a:pt x="14343" y="4500"/>
                  <a:pt x="14312" y="4531"/>
                  <a:pt x="14312" y="4500"/>
                </a:cubicBezTo>
                <a:close/>
                <a:moveTo>
                  <a:pt x="11906" y="1156"/>
                </a:moveTo>
                <a:cubicBezTo>
                  <a:pt x="11875" y="1125"/>
                  <a:pt x="11843" y="1156"/>
                  <a:pt x="11812" y="1094"/>
                </a:cubicBezTo>
                <a:cubicBezTo>
                  <a:pt x="11812" y="1094"/>
                  <a:pt x="11812" y="1094"/>
                  <a:pt x="11812" y="1094"/>
                </a:cubicBezTo>
                <a:cubicBezTo>
                  <a:pt x="11812" y="1094"/>
                  <a:pt x="11812" y="1125"/>
                  <a:pt x="11812" y="1125"/>
                </a:cubicBezTo>
                <a:cubicBezTo>
                  <a:pt x="11812" y="1187"/>
                  <a:pt x="11843" y="1187"/>
                  <a:pt x="11906" y="1156"/>
                </a:cubicBezTo>
                <a:close/>
                <a:moveTo>
                  <a:pt x="11406" y="10844"/>
                </a:moveTo>
                <a:cubicBezTo>
                  <a:pt x="11406" y="10844"/>
                  <a:pt x="11406" y="10844"/>
                  <a:pt x="11406" y="10844"/>
                </a:cubicBezTo>
                <a:cubicBezTo>
                  <a:pt x="11406" y="10844"/>
                  <a:pt x="11406" y="10844"/>
                  <a:pt x="11406" y="10812"/>
                </a:cubicBezTo>
                <a:moveTo>
                  <a:pt x="10343" y="9500"/>
                </a:moveTo>
                <a:cubicBezTo>
                  <a:pt x="10281" y="9531"/>
                  <a:pt x="10281" y="9594"/>
                  <a:pt x="10218" y="9625"/>
                </a:cubicBezTo>
                <a:cubicBezTo>
                  <a:pt x="10218" y="9625"/>
                  <a:pt x="10218" y="9656"/>
                  <a:pt x="10218" y="9656"/>
                </a:cubicBezTo>
                <a:cubicBezTo>
                  <a:pt x="10250" y="9656"/>
                  <a:pt x="10250" y="9656"/>
                  <a:pt x="10250" y="9656"/>
                </a:cubicBezTo>
                <a:cubicBezTo>
                  <a:pt x="10281" y="9594"/>
                  <a:pt x="10312" y="9562"/>
                  <a:pt x="10343" y="9500"/>
                </a:cubicBezTo>
                <a:close/>
                <a:moveTo>
                  <a:pt x="13187" y="7406"/>
                </a:moveTo>
                <a:cubicBezTo>
                  <a:pt x="13187" y="7375"/>
                  <a:pt x="13156" y="7344"/>
                  <a:pt x="13125" y="7344"/>
                </a:cubicBezTo>
                <a:cubicBezTo>
                  <a:pt x="13062" y="7375"/>
                  <a:pt x="13125" y="7406"/>
                  <a:pt x="13125" y="7406"/>
                </a:cubicBezTo>
                <a:cubicBezTo>
                  <a:pt x="13125" y="7437"/>
                  <a:pt x="13125" y="7437"/>
                  <a:pt x="13125" y="7437"/>
                </a:cubicBezTo>
                <a:cubicBezTo>
                  <a:pt x="13125" y="7469"/>
                  <a:pt x="13125" y="7500"/>
                  <a:pt x="13156" y="7500"/>
                </a:cubicBezTo>
                <a:cubicBezTo>
                  <a:pt x="13187" y="7469"/>
                  <a:pt x="13187" y="7469"/>
                  <a:pt x="13187" y="7437"/>
                </a:cubicBezTo>
                <a:cubicBezTo>
                  <a:pt x="13187" y="7437"/>
                  <a:pt x="13187" y="7437"/>
                  <a:pt x="13187" y="7406"/>
                </a:cubicBezTo>
                <a:close/>
                <a:moveTo>
                  <a:pt x="15593" y="2687"/>
                </a:moveTo>
                <a:cubicBezTo>
                  <a:pt x="15625" y="2687"/>
                  <a:pt x="15625" y="2687"/>
                  <a:pt x="15625" y="2656"/>
                </a:cubicBezTo>
                <a:cubicBezTo>
                  <a:pt x="15625" y="2656"/>
                  <a:pt x="15625" y="2687"/>
                  <a:pt x="15593" y="2687"/>
                </a:cubicBezTo>
                <a:cubicBezTo>
                  <a:pt x="15562" y="2719"/>
                  <a:pt x="15531" y="2750"/>
                  <a:pt x="15500" y="2750"/>
                </a:cubicBezTo>
                <a:lnTo>
                  <a:pt x="15500" y="2750"/>
                </a:lnTo>
                <a:cubicBezTo>
                  <a:pt x="15531" y="2781"/>
                  <a:pt x="15562" y="2781"/>
                  <a:pt x="15593" y="2750"/>
                </a:cubicBezTo>
                <a:cubicBezTo>
                  <a:pt x="15625" y="2750"/>
                  <a:pt x="15593" y="2719"/>
                  <a:pt x="15593" y="2719"/>
                </a:cubicBezTo>
                <a:cubicBezTo>
                  <a:pt x="15593" y="2719"/>
                  <a:pt x="15593" y="2687"/>
                  <a:pt x="15593" y="2687"/>
                </a:cubicBezTo>
                <a:close/>
                <a:moveTo>
                  <a:pt x="13250" y="3844"/>
                </a:moveTo>
                <a:cubicBezTo>
                  <a:pt x="13312" y="3844"/>
                  <a:pt x="13343" y="3844"/>
                  <a:pt x="13375" y="3844"/>
                </a:cubicBezTo>
                <a:cubicBezTo>
                  <a:pt x="13343" y="3844"/>
                  <a:pt x="13312" y="3812"/>
                  <a:pt x="13281" y="3812"/>
                </a:cubicBezTo>
                <a:cubicBezTo>
                  <a:pt x="13250" y="3812"/>
                  <a:pt x="13250" y="3812"/>
                  <a:pt x="13218" y="3812"/>
                </a:cubicBezTo>
                <a:cubicBezTo>
                  <a:pt x="13218" y="3844"/>
                  <a:pt x="13250" y="3844"/>
                  <a:pt x="13250" y="3844"/>
                </a:cubicBezTo>
                <a:close/>
                <a:moveTo>
                  <a:pt x="10156" y="10562"/>
                </a:moveTo>
                <a:cubicBezTo>
                  <a:pt x="10156" y="10562"/>
                  <a:pt x="10093" y="10594"/>
                  <a:pt x="10093" y="10625"/>
                </a:cubicBezTo>
                <a:cubicBezTo>
                  <a:pt x="10125" y="10687"/>
                  <a:pt x="10187" y="10625"/>
                  <a:pt x="10218" y="10656"/>
                </a:cubicBezTo>
                <a:cubicBezTo>
                  <a:pt x="10218" y="10687"/>
                  <a:pt x="10218" y="10656"/>
                  <a:pt x="10218" y="10656"/>
                </a:cubicBezTo>
                <a:cubicBezTo>
                  <a:pt x="10187" y="10625"/>
                  <a:pt x="10187" y="10594"/>
                  <a:pt x="10156" y="10562"/>
                </a:cubicBezTo>
                <a:close/>
                <a:moveTo>
                  <a:pt x="9343" y="9750"/>
                </a:moveTo>
                <a:cubicBezTo>
                  <a:pt x="9312" y="9750"/>
                  <a:pt x="9312" y="9750"/>
                  <a:pt x="9312" y="9781"/>
                </a:cubicBezTo>
                <a:cubicBezTo>
                  <a:pt x="9281" y="9812"/>
                  <a:pt x="9250" y="9844"/>
                  <a:pt x="9218" y="9906"/>
                </a:cubicBezTo>
                <a:cubicBezTo>
                  <a:pt x="9250" y="9875"/>
                  <a:pt x="9281" y="9875"/>
                  <a:pt x="9312" y="9844"/>
                </a:cubicBezTo>
                <a:cubicBezTo>
                  <a:pt x="9343" y="9812"/>
                  <a:pt x="9343" y="9781"/>
                  <a:pt x="9343" y="9750"/>
                </a:cubicBezTo>
                <a:close/>
                <a:moveTo>
                  <a:pt x="13281" y="3125"/>
                </a:moveTo>
                <a:cubicBezTo>
                  <a:pt x="13312" y="3187"/>
                  <a:pt x="13343" y="3187"/>
                  <a:pt x="13406" y="3156"/>
                </a:cubicBezTo>
                <a:cubicBezTo>
                  <a:pt x="13375" y="3125"/>
                  <a:pt x="13312" y="3156"/>
                  <a:pt x="13281" y="3125"/>
                </a:cubicBezTo>
                <a:close/>
                <a:moveTo>
                  <a:pt x="16062" y="4125"/>
                </a:moveTo>
                <a:cubicBezTo>
                  <a:pt x="16093" y="4125"/>
                  <a:pt x="16093" y="4094"/>
                  <a:pt x="16093" y="4094"/>
                </a:cubicBezTo>
                <a:cubicBezTo>
                  <a:pt x="16093" y="4031"/>
                  <a:pt x="16031" y="4062"/>
                  <a:pt x="16031" y="4031"/>
                </a:cubicBezTo>
                <a:cubicBezTo>
                  <a:pt x="16000" y="4031"/>
                  <a:pt x="16000" y="4062"/>
                  <a:pt x="15968" y="4062"/>
                </a:cubicBezTo>
                <a:cubicBezTo>
                  <a:pt x="16000" y="4125"/>
                  <a:pt x="16031" y="4094"/>
                  <a:pt x="16062" y="4125"/>
                </a:cubicBezTo>
                <a:close/>
                <a:moveTo>
                  <a:pt x="9718" y="1875"/>
                </a:moveTo>
                <a:cubicBezTo>
                  <a:pt x="9781" y="1844"/>
                  <a:pt x="9843" y="1812"/>
                  <a:pt x="9906" y="1781"/>
                </a:cubicBezTo>
                <a:cubicBezTo>
                  <a:pt x="9812" y="1781"/>
                  <a:pt x="9750" y="1812"/>
                  <a:pt x="9718" y="1875"/>
                </a:cubicBezTo>
                <a:close/>
                <a:moveTo>
                  <a:pt x="14562" y="1937"/>
                </a:moveTo>
                <a:cubicBezTo>
                  <a:pt x="14593" y="1906"/>
                  <a:pt x="14656" y="1906"/>
                  <a:pt x="14687" y="1875"/>
                </a:cubicBezTo>
                <a:cubicBezTo>
                  <a:pt x="14562" y="1812"/>
                  <a:pt x="14593" y="1906"/>
                  <a:pt x="14562" y="1937"/>
                </a:cubicBezTo>
                <a:close/>
                <a:moveTo>
                  <a:pt x="9718" y="7469"/>
                </a:moveTo>
                <a:cubicBezTo>
                  <a:pt x="9687" y="7437"/>
                  <a:pt x="9687" y="7469"/>
                  <a:pt x="9656" y="7469"/>
                </a:cubicBezTo>
                <a:cubicBezTo>
                  <a:pt x="9625" y="7500"/>
                  <a:pt x="9625" y="7562"/>
                  <a:pt x="9625" y="7594"/>
                </a:cubicBezTo>
                <a:cubicBezTo>
                  <a:pt x="9656" y="7562"/>
                  <a:pt x="9687" y="7531"/>
                  <a:pt x="9718" y="7500"/>
                </a:cubicBezTo>
                <a:cubicBezTo>
                  <a:pt x="9718" y="7500"/>
                  <a:pt x="9718" y="7469"/>
                  <a:pt x="9718" y="7469"/>
                </a:cubicBezTo>
                <a:close/>
                <a:moveTo>
                  <a:pt x="9781" y="8750"/>
                </a:moveTo>
                <a:cubicBezTo>
                  <a:pt x="9843" y="8719"/>
                  <a:pt x="9906" y="8687"/>
                  <a:pt x="9906" y="8625"/>
                </a:cubicBezTo>
                <a:cubicBezTo>
                  <a:pt x="9843" y="8656"/>
                  <a:pt x="9843" y="8719"/>
                  <a:pt x="9781" y="8750"/>
                </a:cubicBezTo>
                <a:close/>
                <a:moveTo>
                  <a:pt x="9906" y="8625"/>
                </a:moveTo>
                <a:cubicBezTo>
                  <a:pt x="9968" y="8594"/>
                  <a:pt x="9968" y="8531"/>
                  <a:pt x="10000" y="8469"/>
                </a:cubicBezTo>
                <a:lnTo>
                  <a:pt x="10000" y="8469"/>
                </a:lnTo>
                <a:cubicBezTo>
                  <a:pt x="9937" y="8500"/>
                  <a:pt x="9906" y="8562"/>
                  <a:pt x="9906" y="8625"/>
                </a:cubicBezTo>
                <a:close/>
                <a:moveTo>
                  <a:pt x="14281" y="7187"/>
                </a:moveTo>
                <a:cubicBezTo>
                  <a:pt x="14187" y="7250"/>
                  <a:pt x="14218" y="7281"/>
                  <a:pt x="14250" y="7344"/>
                </a:cubicBezTo>
                <a:cubicBezTo>
                  <a:pt x="14312" y="7312"/>
                  <a:pt x="14250" y="7250"/>
                  <a:pt x="14281" y="7187"/>
                </a:cubicBezTo>
                <a:close/>
                <a:moveTo>
                  <a:pt x="10093" y="9625"/>
                </a:moveTo>
                <a:cubicBezTo>
                  <a:pt x="10125" y="9625"/>
                  <a:pt x="10156" y="9656"/>
                  <a:pt x="10187" y="9687"/>
                </a:cubicBezTo>
                <a:cubicBezTo>
                  <a:pt x="10187" y="9719"/>
                  <a:pt x="10187" y="9719"/>
                  <a:pt x="10218" y="9687"/>
                </a:cubicBezTo>
                <a:cubicBezTo>
                  <a:pt x="10218" y="9687"/>
                  <a:pt x="10218" y="9687"/>
                  <a:pt x="10218" y="9687"/>
                </a:cubicBezTo>
                <a:cubicBezTo>
                  <a:pt x="10218" y="9625"/>
                  <a:pt x="10156" y="9625"/>
                  <a:pt x="10125" y="9594"/>
                </a:cubicBezTo>
                <a:cubicBezTo>
                  <a:pt x="10125" y="9562"/>
                  <a:pt x="10125" y="9562"/>
                  <a:pt x="10093" y="9562"/>
                </a:cubicBezTo>
                <a:cubicBezTo>
                  <a:pt x="10093" y="9594"/>
                  <a:pt x="10093" y="9594"/>
                  <a:pt x="10093" y="9625"/>
                </a:cubicBezTo>
                <a:close/>
                <a:moveTo>
                  <a:pt x="13906" y="2594"/>
                </a:moveTo>
                <a:cubicBezTo>
                  <a:pt x="13906" y="2562"/>
                  <a:pt x="13906" y="2594"/>
                  <a:pt x="13906" y="2594"/>
                </a:cubicBezTo>
                <a:cubicBezTo>
                  <a:pt x="13937" y="2625"/>
                  <a:pt x="13968" y="2625"/>
                  <a:pt x="14000" y="2625"/>
                </a:cubicBezTo>
                <a:cubicBezTo>
                  <a:pt x="14031" y="2625"/>
                  <a:pt x="14031" y="2625"/>
                  <a:pt x="14031" y="2594"/>
                </a:cubicBezTo>
                <a:cubicBezTo>
                  <a:pt x="14062" y="2625"/>
                  <a:pt x="14093" y="2625"/>
                  <a:pt x="14093" y="2625"/>
                </a:cubicBezTo>
                <a:cubicBezTo>
                  <a:pt x="14125" y="2625"/>
                  <a:pt x="14125" y="2625"/>
                  <a:pt x="14125" y="2594"/>
                </a:cubicBezTo>
                <a:cubicBezTo>
                  <a:pt x="14125" y="2594"/>
                  <a:pt x="14125" y="2594"/>
                  <a:pt x="14093" y="2594"/>
                </a:cubicBezTo>
                <a:cubicBezTo>
                  <a:pt x="14093" y="2594"/>
                  <a:pt x="14093" y="2594"/>
                  <a:pt x="14093" y="2594"/>
                </a:cubicBezTo>
                <a:cubicBezTo>
                  <a:pt x="14062" y="2594"/>
                  <a:pt x="14062" y="2594"/>
                  <a:pt x="14031" y="2594"/>
                </a:cubicBezTo>
                <a:cubicBezTo>
                  <a:pt x="14000" y="2531"/>
                  <a:pt x="13968" y="2594"/>
                  <a:pt x="13906" y="2594"/>
                </a:cubicBezTo>
                <a:close/>
                <a:moveTo>
                  <a:pt x="10437" y="8781"/>
                </a:moveTo>
                <a:cubicBezTo>
                  <a:pt x="10468" y="8781"/>
                  <a:pt x="10562" y="8656"/>
                  <a:pt x="10562" y="8656"/>
                </a:cubicBezTo>
                <a:cubicBezTo>
                  <a:pt x="10562" y="8625"/>
                  <a:pt x="10562" y="8625"/>
                  <a:pt x="10531" y="8625"/>
                </a:cubicBezTo>
                <a:cubicBezTo>
                  <a:pt x="10531" y="8625"/>
                  <a:pt x="10531" y="8625"/>
                  <a:pt x="10531" y="8625"/>
                </a:cubicBezTo>
                <a:cubicBezTo>
                  <a:pt x="10500" y="8656"/>
                  <a:pt x="10468" y="8687"/>
                  <a:pt x="10437" y="8719"/>
                </a:cubicBezTo>
                <a:cubicBezTo>
                  <a:pt x="10437" y="8719"/>
                  <a:pt x="10437" y="8750"/>
                  <a:pt x="10437" y="8750"/>
                </a:cubicBezTo>
                <a:cubicBezTo>
                  <a:pt x="10437" y="8750"/>
                  <a:pt x="10437" y="8750"/>
                  <a:pt x="10437" y="8781"/>
                </a:cubicBezTo>
                <a:close/>
                <a:moveTo>
                  <a:pt x="14625" y="1125"/>
                </a:moveTo>
                <a:cubicBezTo>
                  <a:pt x="14656" y="1094"/>
                  <a:pt x="14687" y="1094"/>
                  <a:pt x="14656" y="1062"/>
                </a:cubicBezTo>
                <a:cubicBezTo>
                  <a:pt x="14656" y="1062"/>
                  <a:pt x="14625" y="1062"/>
                  <a:pt x="14625" y="1094"/>
                </a:cubicBezTo>
                <a:cubicBezTo>
                  <a:pt x="14593" y="1125"/>
                  <a:pt x="14562" y="1094"/>
                  <a:pt x="14500" y="1125"/>
                </a:cubicBezTo>
                <a:cubicBezTo>
                  <a:pt x="14562" y="1187"/>
                  <a:pt x="14593" y="1125"/>
                  <a:pt x="14625" y="1125"/>
                </a:cubicBezTo>
                <a:close/>
                <a:moveTo>
                  <a:pt x="12062" y="656"/>
                </a:moveTo>
                <a:cubicBezTo>
                  <a:pt x="12062" y="656"/>
                  <a:pt x="12062" y="656"/>
                  <a:pt x="12062" y="656"/>
                </a:cubicBezTo>
                <a:cubicBezTo>
                  <a:pt x="12062" y="656"/>
                  <a:pt x="12062" y="656"/>
                  <a:pt x="12062" y="656"/>
                </a:cubicBezTo>
                <a:lnTo>
                  <a:pt x="12062" y="656"/>
                </a:lnTo>
                <a:cubicBezTo>
                  <a:pt x="12062" y="656"/>
                  <a:pt x="12062" y="656"/>
                  <a:pt x="12062" y="656"/>
                </a:cubicBezTo>
                <a:cubicBezTo>
                  <a:pt x="12062" y="656"/>
                  <a:pt x="12062" y="656"/>
                  <a:pt x="12062" y="656"/>
                </a:cubicBezTo>
                <a:close/>
                <a:moveTo>
                  <a:pt x="14687" y="1031"/>
                </a:moveTo>
                <a:cubicBezTo>
                  <a:pt x="14718" y="1031"/>
                  <a:pt x="14750" y="1031"/>
                  <a:pt x="14781" y="1062"/>
                </a:cubicBezTo>
                <a:cubicBezTo>
                  <a:pt x="14812" y="1094"/>
                  <a:pt x="14843" y="1094"/>
                  <a:pt x="14843" y="1031"/>
                </a:cubicBezTo>
                <a:cubicBezTo>
                  <a:pt x="14781" y="1031"/>
                  <a:pt x="14750" y="1031"/>
                  <a:pt x="14687" y="1000"/>
                </a:cubicBezTo>
                <a:cubicBezTo>
                  <a:pt x="14656" y="1000"/>
                  <a:pt x="14656" y="1000"/>
                  <a:pt x="14656" y="1031"/>
                </a:cubicBezTo>
                <a:cubicBezTo>
                  <a:pt x="14656" y="1062"/>
                  <a:pt x="14656" y="1031"/>
                  <a:pt x="14687" y="1031"/>
                </a:cubicBezTo>
                <a:close/>
                <a:moveTo>
                  <a:pt x="14312" y="11937"/>
                </a:moveTo>
                <a:cubicBezTo>
                  <a:pt x="14312" y="11969"/>
                  <a:pt x="14343" y="11969"/>
                  <a:pt x="14343" y="11937"/>
                </a:cubicBezTo>
                <a:cubicBezTo>
                  <a:pt x="14343" y="11937"/>
                  <a:pt x="14343" y="11937"/>
                  <a:pt x="14343" y="11937"/>
                </a:cubicBezTo>
                <a:cubicBezTo>
                  <a:pt x="14343" y="11906"/>
                  <a:pt x="14312" y="11875"/>
                  <a:pt x="14312" y="11875"/>
                </a:cubicBezTo>
                <a:cubicBezTo>
                  <a:pt x="14281" y="11844"/>
                  <a:pt x="14250" y="11812"/>
                  <a:pt x="14250" y="11844"/>
                </a:cubicBezTo>
                <a:cubicBezTo>
                  <a:pt x="14218" y="11906"/>
                  <a:pt x="14312" y="11875"/>
                  <a:pt x="14312" y="11937"/>
                </a:cubicBezTo>
                <a:close/>
                <a:moveTo>
                  <a:pt x="8312" y="2812"/>
                </a:moveTo>
                <a:cubicBezTo>
                  <a:pt x="8281" y="2812"/>
                  <a:pt x="8250" y="2844"/>
                  <a:pt x="8250" y="2875"/>
                </a:cubicBezTo>
                <a:cubicBezTo>
                  <a:pt x="8250" y="2906"/>
                  <a:pt x="8250" y="2906"/>
                  <a:pt x="8281" y="2906"/>
                </a:cubicBezTo>
                <a:cubicBezTo>
                  <a:pt x="8343" y="2937"/>
                  <a:pt x="8312" y="2875"/>
                  <a:pt x="8375" y="2875"/>
                </a:cubicBezTo>
                <a:cubicBezTo>
                  <a:pt x="8343" y="2844"/>
                  <a:pt x="8343" y="2812"/>
                  <a:pt x="8312" y="2812"/>
                </a:cubicBezTo>
                <a:close/>
                <a:moveTo>
                  <a:pt x="9687" y="5219"/>
                </a:moveTo>
                <a:cubicBezTo>
                  <a:pt x="9656" y="5250"/>
                  <a:pt x="9625" y="5312"/>
                  <a:pt x="9562" y="5375"/>
                </a:cubicBezTo>
                <a:cubicBezTo>
                  <a:pt x="9625" y="5344"/>
                  <a:pt x="9687" y="5281"/>
                  <a:pt x="9718" y="5219"/>
                </a:cubicBezTo>
                <a:cubicBezTo>
                  <a:pt x="9687" y="5219"/>
                  <a:pt x="9687" y="5219"/>
                  <a:pt x="9687" y="5219"/>
                </a:cubicBezTo>
                <a:close/>
                <a:moveTo>
                  <a:pt x="15250" y="9906"/>
                </a:moveTo>
                <a:cubicBezTo>
                  <a:pt x="15250" y="9906"/>
                  <a:pt x="15250" y="9906"/>
                  <a:pt x="15250" y="9906"/>
                </a:cubicBezTo>
                <a:cubicBezTo>
                  <a:pt x="15250" y="9906"/>
                  <a:pt x="15250" y="9906"/>
                  <a:pt x="15250" y="9906"/>
                </a:cubicBezTo>
                <a:lnTo>
                  <a:pt x="15250" y="9906"/>
                </a:lnTo>
                <a:cubicBezTo>
                  <a:pt x="15250" y="9906"/>
                  <a:pt x="15250" y="9906"/>
                  <a:pt x="15250" y="9906"/>
                </a:cubicBezTo>
                <a:cubicBezTo>
                  <a:pt x="15250" y="9906"/>
                  <a:pt x="15250" y="9906"/>
                  <a:pt x="15250" y="9906"/>
                </a:cubicBezTo>
                <a:close/>
                <a:moveTo>
                  <a:pt x="10250" y="12094"/>
                </a:moveTo>
                <a:cubicBezTo>
                  <a:pt x="10250" y="12094"/>
                  <a:pt x="10250" y="12094"/>
                  <a:pt x="10250" y="12094"/>
                </a:cubicBezTo>
                <a:cubicBezTo>
                  <a:pt x="10250" y="12094"/>
                  <a:pt x="10250" y="12094"/>
                  <a:pt x="10250" y="12094"/>
                </a:cubicBezTo>
                <a:lnTo>
                  <a:pt x="10250" y="12094"/>
                </a:lnTo>
                <a:cubicBezTo>
                  <a:pt x="10250" y="12094"/>
                  <a:pt x="10250" y="12094"/>
                  <a:pt x="10250" y="12094"/>
                </a:cubicBezTo>
                <a:close/>
                <a:moveTo>
                  <a:pt x="14562" y="3344"/>
                </a:moveTo>
                <a:cubicBezTo>
                  <a:pt x="14562" y="3312"/>
                  <a:pt x="14531" y="3312"/>
                  <a:pt x="14531" y="3312"/>
                </a:cubicBezTo>
                <a:cubicBezTo>
                  <a:pt x="14500" y="3312"/>
                  <a:pt x="14468" y="3312"/>
                  <a:pt x="14468" y="3344"/>
                </a:cubicBezTo>
                <a:cubicBezTo>
                  <a:pt x="14468" y="3344"/>
                  <a:pt x="14437" y="3375"/>
                  <a:pt x="14437" y="3406"/>
                </a:cubicBezTo>
                <a:cubicBezTo>
                  <a:pt x="14468" y="3375"/>
                  <a:pt x="14468" y="3375"/>
                  <a:pt x="14500" y="3375"/>
                </a:cubicBezTo>
                <a:cubicBezTo>
                  <a:pt x="14531" y="3375"/>
                  <a:pt x="14562" y="3375"/>
                  <a:pt x="14562" y="3344"/>
                </a:cubicBezTo>
                <a:close/>
                <a:moveTo>
                  <a:pt x="15062" y="10750"/>
                </a:moveTo>
                <a:cubicBezTo>
                  <a:pt x="15031" y="10781"/>
                  <a:pt x="15000" y="10812"/>
                  <a:pt x="14937" y="10812"/>
                </a:cubicBezTo>
                <a:cubicBezTo>
                  <a:pt x="14937" y="10844"/>
                  <a:pt x="14937" y="10875"/>
                  <a:pt x="14968" y="10875"/>
                </a:cubicBezTo>
                <a:cubicBezTo>
                  <a:pt x="15031" y="10906"/>
                  <a:pt x="15000" y="10750"/>
                  <a:pt x="15093" y="10781"/>
                </a:cubicBezTo>
                <a:cubicBezTo>
                  <a:pt x="15093" y="10781"/>
                  <a:pt x="15093" y="10781"/>
                  <a:pt x="15093" y="10750"/>
                </a:cubicBezTo>
                <a:cubicBezTo>
                  <a:pt x="15093" y="10750"/>
                  <a:pt x="15093" y="10750"/>
                  <a:pt x="15062" y="10750"/>
                </a:cubicBezTo>
                <a:close/>
                <a:moveTo>
                  <a:pt x="11687" y="8875"/>
                </a:moveTo>
                <a:cubicBezTo>
                  <a:pt x="11656" y="8906"/>
                  <a:pt x="11625" y="8906"/>
                  <a:pt x="11593" y="8969"/>
                </a:cubicBezTo>
                <a:cubicBezTo>
                  <a:pt x="11593" y="8969"/>
                  <a:pt x="11593" y="9000"/>
                  <a:pt x="11625" y="9000"/>
                </a:cubicBezTo>
                <a:cubicBezTo>
                  <a:pt x="11656" y="8937"/>
                  <a:pt x="11718" y="8969"/>
                  <a:pt x="11718" y="8906"/>
                </a:cubicBezTo>
                <a:cubicBezTo>
                  <a:pt x="11718" y="8906"/>
                  <a:pt x="11718" y="8875"/>
                  <a:pt x="11687" y="8875"/>
                </a:cubicBezTo>
                <a:close/>
                <a:moveTo>
                  <a:pt x="9625" y="11406"/>
                </a:moveTo>
                <a:cubicBezTo>
                  <a:pt x="9625" y="11406"/>
                  <a:pt x="9656" y="11437"/>
                  <a:pt x="9656" y="11406"/>
                </a:cubicBezTo>
                <a:cubicBezTo>
                  <a:pt x="9687" y="11344"/>
                  <a:pt x="9781" y="11344"/>
                  <a:pt x="9781" y="11250"/>
                </a:cubicBezTo>
                <a:cubicBezTo>
                  <a:pt x="9718" y="11281"/>
                  <a:pt x="9718" y="11344"/>
                  <a:pt x="9625" y="11344"/>
                </a:cubicBezTo>
                <a:cubicBezTo>
                  <a:pt x="9625" y="11344"/>
                  <a:pt x="9625" y="11375"/>
                  <a:pt x="9625" y="11406"/>
                </a:cubicBezTo>
                <a:close/>
                <a:moveTo>
                  <a:pt x="13156" y="11844"/>
                </a:moveTo>
                <a:cubicBezTo>
                  <a:pt x="13218" y="11812"/>
                  <a:pt x="13250" y="11812"/>
                  <a:pt x="13312" y="11750"/>
                </a:cubicBezTo>
                <a:cubicBezTo>
                  <a:pt x="13250" y="11781"/>
                  <a:pt x="13187" y="11781"/>
                  <a:pt x="13156" y="11844"/>
                </a:cubicBezTo>
                <a:close/>
                <a:moveTo>
                  <a:pt x="13531" y="3062"/>
                </a:moveTo>
                <a:cubicBezTo>
                  <a:pt x="13562" y="3094"/>
                  <a:pt x="13625" y="3062"/>
                  <a:pt x="13656" y="3094"/>
                </a:cubicBezTo>
                <a:cubicBezTo>
                  <a:pt x="13656" y="3094"/>
                  <a:pt x="13687" y="3094"/>
                  <a:pt x="13687" y="3094"/>
                </a:cubicBezTo>
                <a:cubicBezTo>
                  <a:pt x="13687" y="3062"/>
                  <a:pt x="13687" y="3062"/>
                  <a:pt x="13687" y="3062"/>
                </a:cubicBezTo>
                <a:cubicBezTo>
                  <a:pt x="13625" y="3031"/>
                  <a:pt x="13593" y="3031"/>
                  <a:pt x="13531" y="3062"/>
                </a:cubicBezTo>
                <a:close/>
                <a:moveTo>
                  <a:pt x="11812" y="10312"/>
                </a:moveTo>
                <a:cubicBezTo>
                  <a:pt x="11812" y="10312"/>
                  <a:pt x="11812" y="10312"/>
                  <a:pt x="11812" y="10312"/>
                </a:cubicBezTo>
                <a:cubicBezTo>
                  <a:pt x="11812" y="10312"/>
                  <a:pt x="11812" y="10312"/>
                  <a:pt x="11812" y="10312"/>
                </a:cubicBezTo>
                <a:close/>
                <a:moveTo>
                  <a:pt x="12687" y="12625"/>
                </a:moveTo>
                <a:cubicBezTo>
                  <a:pt x="12687" y="12625"/>
                  <a:pt x="12687" y="12625"/>
                  <a:pt x="12687" y="12625"/>
                </a:cubicBezTo>
                <a:cubicBezTo>
                  <a:pt x="12687" y="12625"/>
                  <a:pt x="12687" y="12625"/>
                  <a:pt x="12687" y="12625"/>
                </a:cubicBezTo>
                <a:lnTo>
                  <a:pt x="12687" y="12625"/>
                </a:lnTo>
                <a:cubicBezTo>
                  <a:pt x="12687" y="12625"/>
                  <a:pt x="12687" y="12625"/>
                  <a:pt x="12687" y="12625"/>
                </a:cubicBezTo>
                <a:close/>
                <a:moveTo>
                  <a:pt x="10531" y="9281"/>
                </a:moveTo>
                <a:cubicBezTo>
                  <a:pt x="10531" y="9281"/>
                  <a:pt x="10562" y="9250"/>
                  <a:pt x="10531" y="9250"/>
                </a:cubicBezTo>
                <a:cubicBezTo>
                  <a:pt x="10468" y="9250"/>
                  <a:pt x="10468" y="9312"/>
                  <a:pt x="10437" y="9344"/>
                </a:cubicBezTo>
                <a:cubicBezTo>
                  <a:pt x="10437" y="9344"/>
                  <a:pt x="10437" y="9375"/>
                  <a:pt x="10437" y="9375"/>
                </a:cubicBezTo>
                <a:cubicBezTo>
                  <a:pt x="10468" y="9344"/>
                  <a:pt x="10531" y="9344"/>
                  <a:pt x="10531" y="9281"/>
                </a:cubicBezTo>
                <a:close/>
                <a:moveTo>
                  <a:pt x="11468" y="9344"/>
                </a:moveTo>
                <a:cubicBezTo>
                  <a:pt x="11437" y="9375"/>
                  <a:pt x="11437" y="9406"/>
                  <a:pt x="11406" y="9437"/>
                </a:cubicBezTo>
                <a:cubicBezTo>
                  <a:pt x="11406" y="9469"/>
                  <a:pt x="11437" y="9469"/>
                  <a:pt x="11468" y="9469"/>
                </a:cubicBezTo>
                <a:cubicBezTo>
                  <a:pt x="11500" y="9469"/>
                  <a:pt x="11500" y="9437"/>
                  <a:pt x="11500" y="9406"/>
                </a:cubicBezTo>
                <a:cubicBezTo>
                  <a:pt x="11500" y="9375"/>
                  <a:pt x="11500" y="9344"/>
                  <a:pt x="11468" y="9344"/>
                </a:cubicBezTo>
                <a:close/>
                <a:moveTo>
                  <a:pt x="10375" y="9687"/>
                </a:moveTo>
                <a:cubicBezTo>
                  <a:pt x="10406" y="9625"/>
                  <a:pt x="10468" y="9594"/>
                  <a:pt x="10500" y="9500"/>
                </a:cubicBezTo>
                <a:cubicBezTo>
                  <a:pt x="10406" y="9562"/>
                  <a:pt x="10406" y="9625"/>
                  <a:pt x="10343" y="9656"/>
                </a:cubicBezTo>
                <a:cubicBezTo>
                  <a:pt x="10343" y="9687"/>
                  <a:pt x="10343" y="9687"/>
                  <a:pt x="10375" y="9687"/>
                </a:cubicBezTo>
                <a:cubicBezTo>
                  <a:pt x="10375" y="9719"/>
                  <a:pt x="10375" y="9719"/>
                  <a:pt x="10375" y="9687"/>
                </a:cubicBezTo>
                <a:close/>
                <a:moveTo>
                  <a:pt x="15906" y="3000"/>
                </a:moveTo>
                <a:cubicBezTo>
                  <a:pt x="15812" y="2969"/>
                  <a:pt x="15687" y="3000"/>
                  <a:pt x="15593" y="3000"/>
                </a:cubicBezTo>
                <a:cubicBezTo>
                  <a:pt x="15687" y="3000"/>
                  <a:pt x="15812" y="3031"/>
                  <a:pt x="15906" y="3031"/>
                </a:cubicBezTo>
                <a:cubicBezTo>
                  <a:pt x="15906" y="3031"/>
                  <a:pt x="15906" y="3000"/>
                  <a:pt x="15906" y="3000"/>
                </a:cubicBezTo>
                <a:close/>
                <a:moveTo>
                  <a:pt x="11156" y="9500"/>
                </a:moveTo>
                <a:cubicBezTo>
                  <a:pt x="11156" y="9500"/>
                  <a:pt x="11156" y="9531"/>
                  <a:pt x="11187" y="9531"/>
                </a:cubicBezTo>
                <a:cubicBezTo>
                  <a:pt x="11187" y="9531"/>
                  <a:pt x="11187" y="9531"/>
                  <a:pt x="11218" y="9531"/>
                </a:cubicBezTo>
                <a:cubicBezTo>
                  <a:pt x="11250" y="9469"/>
                  <a:pt x="11312" y="9437"/>
                  <a:pt x="11312" y="9375"/>
                </a:cubicBezTo>
                <a:cubicBezTo>
                  <a:pt x="11406" y="9375"/>
                  <a:pt x="11437" y="9281"/>
                  <a:pt x="11500" y="9250"/>
                </a:cubicBezTo>
                <a:lnTo>
                  <a:pt x="11500" y="9250"/>
                </a:lnTo>
                <a:cubicBezTo>
                  <a:pt x="11500" y="9219"/>
                  <a:pt x="11500" y="9187"/>
                  <a:pt x="11468" y="9187"/>
                </a:cubicBezTo>
                <a:cubicBezTo>
                  <a:pt x="11437" y="9187"/>
                  <a:pt x="11406" y="9156"/>
                  <a:pt x="11406" y="9125"/>
                </a:cubicBezTo>
                <a:cubicBezTo>
                  <a:pt x="11406" y="9094"/>
                  <a:pt x="11406" y="9094"/>
                  <a:pt x="11375" y="9094"/>
                </a:cubicBezTo>
                <a:cubicBezTo>
                  <a:pt x="11343" y="9094"/>
                  <a:pt x="11343" y="9125"/>
                  <a:pt x="11343" y="9156"/>
                </a:cubicBezTo>
                <a:cubicBezTo>
                  <a:pt x="11343" y="9156"/>
                  <a:pt x="11375" y="9187"/>
                  <a:pt x="11375" y="9187"/>
                </a:cubicBezTo>
                <a:cubicBezTo>
                  <a:pt x="11406" y="9219"/>
                  <a:pt x="11437" y="9219"/>
                  <a:pt x="11375" y="9250"/>
                </a:cubicBezTo>
                <a:cubicBezTo>
                  <a:pt x="11343" y="9281"/>
                  <a:pt x="11312" y="9312"/>
                  <a:pt x="11312" y="9375"/>
                </a:cubicBezTo>
                <a:cubicBezTo>
                  <a:pt x="11250" y="9375"/>
                  <a:pt x="11250" y="9469"/>
                  <a:pt x="11156" y="9500"/>
                </a:cubicBezTo>
                <a:close/>
                <a:moveTo>
                  <a:pt x="15000" y="3125"/>
                </a:moveTo>
                <a:cubicBezTo>
                  <a:pt x="15000" y="3125"/>
                  <a:pt x="15000" y="3094"/>
                  <a:pt x="15000" y="3094"/>
                </a:cubicBezTo>
                <a:cubicBezTo>
                  <a:pt x="14937" y="3125"/>
                  <a:pt x="14875" y="3062"/>
                  <a:pt x="14812" y="3094"/>
                </a:cubicBezTo>
                <a:cubicBezTo>
                  <a:pt x="14843" y="3125"/>
                  <a:pt x="14906" y="3125"/>
                  <a:pt x="14968" y="3156"/>
                </a:cubicBezTo>
                <a:cubicBezTo>
                  <a:pt x="14968" y="3156"/>
                  <a:pt x="15000" y="3156"/>
                  <a:pt x="15000" y="3125"/>
                </a:cubicBezTo>
                <a:close/>
                <a:moveTo>
                  <a:pt x="10562" y="6437"/>
                </a:moveTo>
                <a:cubicBezTo>
                  <a:pt x="10562" y="6437"/>
                  <a:pt x="10531" y="6437"/>
                  <a:pt x="10531" y="6437"/>
                </a:cubicBezTo>
                <a:cubicBezTo>
                  <a:pt x="10500" y="6469"/>
                  <a:pt x="10437" y="6500"/>
                  <a:pt x="10406" y="6562"/>
                </a:cubicBezTo>
                <a:cubicBezTo>
                  <a:pt x="10500" y="6562"/>
                  <a:pt x="10500" y="6469"/>
                  <a:pt x="10562" y="6469"/>
                </a:cubicBezTo>
                <a:cubicBezTo>
                  <a:pt x="10562" y="6469"/>
                  <a:pt x="10562" y="6437"/>
                  <a:pt x="10562" y="6437"/>
                </a:cubicBezTo>
                <a:close/>
                <a:moveTo>
                  <a:pt x="10500" y="6031"/>
                </a:moveTo>
                <a:cubicBezTo>
                  <a:pt x="10468" y="6062"/>
                  <a:pt x="10437" y="6094"/>
                  <a:pt x="10406" y="6125"/>
                </a:cubicBezTo>
                <a:cubicBezTo>
                  <a:pt x="10406" y="6125"/>
                  <a:pt x="10406" y="6156"/>
                  <a:pt x="10406" y="6156"/>
                </a:cubicBezTo>
                <a:cubicBezTo>
                  <a:pt x="10437" y="6125"/>
                  <a:pt x="10500" y="6094"/>
                  <a:pt x="10531" y="6062"/>
                </a:cubicBezTo>
                <a:cubicBezTo>
                  <a:pt x="10562" y="6031"/>
                  <a:pt x="10562" y="6031"/>
                  <a:pt x="10562" y="6000"/>
                </a:cubicBezTo>
                <a:cubicBezTo>
                  <a:pt x="10531" y="6000"/>
                  <a:pt x="10531" y="6000"/>
                  <a:pt x="10500" y="6031"/>
                </a:cubicBezTo>
                <a:close/>
                <a:moveTo>
                  <a:pt x="14937" y="1469"/>
                </a:moveTo>
                <a:cubicBezTo>
                  <a:pt x="15000" y="1500"/>
                  <a:pt x="15062" y="1531"/>
                  <a:pt x="15156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156" y="1562"/>
                  <a:pt x="15187" y="1562"/>
                  <a:pt x="15187" y="1531"/>
                </a:cubicBezTo>
                <a:cubicBezTo>
                  <a:pt x="15187" y="1531"/>
                  <a:pt x="15187" y="1531"/>
                  <a:pt x="15187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156" y="1531"/>
                  <a:pt x="15156" y="1531"/>
                  <a:pt x="15156" y="1531"/>
                </a:cubicBezTo>
                <a:cubicBezTo>
                  <a:pt x="15093" y="1469"/>
                  <a:pt x="15000" y="1469"/>
                  <a:pt x="14937" y="1469"/>
                </a:cubicBezTo>
                <a:close/>
                <a:moveTo>
                  <a:pt x="12718" y="1094"/>
                </a:moveTo>
                <a:cubicBezTo>
                  <a:pt x="12750" y="1062"/>
                  <a:pt x="12781" y="1094"/>
                  <a:pt x="12812" y="1094"/>
                </a:cubicBezTo>
                <a:cubicBezTo>
                  <a:pt x="12843" y="1094"/>
                  <a:pt x="12843" y="1094"/>
                  <a:pt x="12875" y="1062"/>
                </a:cubicBezTo>
                <a:cubicBezTo>
                  <a:pt x="12875" y="1031"/>
                  <a:pt x="12843" y="1031"/>
                  <a:pt x="12812" y="1031"/>
                </a:cubicBezTo>
                <a:cubicBezTo>
                  <a:pt x="12812" y="1031"/>
                  <a:pt x="12781" y="1031"/>
                  <a:pt x="12750" y="1031"/>
                </a:cubicBezTo>
                <a:cubicBezTo>
                  <a:pt x="12718" y="1031"/>
                  <a:pt x="12718" y="1031"/>
                  <a:pt x="12718" y="1031"/>
                </a:cubicBezTo>
                <a:cubicBezTo>
                  <a:pt x="12687" y="1031"/>
                  <a:pt x="12656" y="1031"/>
                  <a:pt x="12656" y="1062"/>
                </a:cubicBezTo>
                <a:cubicBezTo>
                  <a:pt x="12687" y="1094"/>
                  <a:pt x="12687" y="1094"/>
                  <a:pt x="12718" y="1094"/>
                </a:cubicBezTo>
                <a:close/>
                <a:moveTo>
                  <a:pt x="13781" y="3000"/>
                </a:moveTo>
                <a:cubicBezTo>
                  <a:pt x="13781" y="3000"/>
                  <a:pt x="13781" y="3000"/>
                  <a:pt x="13781" y="3000"/>
                </a:cubicBezTo>
                <a:cubicBezTo>
                  <a:pt x="13812" y="3000"/>
                  <a:pt x="13875" y="3031"/>
                  <a:pt x="13906" y="3000"/>
                </a:cubicBezTo>
                <a:cubicBezTo>
                  <a:pt x="13906" y="2969"/>
                  <a:pt x="13812" y="3000"/>
                  <a:pt x="13781" y="2969"/>
                </a:cubicBezTo>
                <a:cubicBezTo>
                  <a:pt x="13781" y="2969"/>
                  <a:pt x="13781" y="2969"/>
                  <a:pt x="13781" y="2969"/>
                </a:cubicBezTo>
                <a:cubicBezTo>
                  <a:pt x="13750" y="2969"/>
                  <a:pt x="13718" y="2969"/>
                  <a:pt x="13718" y="2969"/>
                </a:cubicBezTo>
                <a:cubicBezTo>
                  <a:pt x="13718" y="2969"/>
                  <a:pt x="13687" y="3000"/>
                  <a:pt x="13718" y="3000"/>
                </a:cubicBezTo>
                <a:cubicBezTo>
                  <a:pt x="13718" y="3031"/>
                  <a:pt x="13750" y="3000"/>
                  <a:pt x="13781" y="3000"/>
                </a:cubicBezTo>
                <a:close/>
                <a:moveTo>
                  <a:pt x="15500" y="2594"/>
                </a:moveTo>
                <a:cubicBezTo>
                  <a:pt x="15531" y="2594"/>
                  <a:pt x="15531" y="2562"/>
                  <a:pt x="15500" y="2531"/>
                </a:cubicBezTo>
                <a:cubicBezTo>
                  <a:pt x="15468" y="2562"/>
                  <a:pt x="15437" y="2562"/>
                  <a:pt x="15406" y="2562"/>
                </a:cubicBezTo>
                <a:cubicBezTo>
                  <a:pt x="15437" y="2625"/>
                  <a:pt x="15468" y="2625"/>
                  <a:pt x="15500" y="2594"/>
                </a:cubicBezTo>
                <a:close/>
                <a:moveTo>
                  <a:pt x="14062" y="1375"/>
                </a:moveTo>
                <a:cubicBezTo>
                  <a:pt x="14062" y="1375"/>
                  <a:pt x="14093" y="1375"/>
                  <a:pt x="14125" y="1344"/>
                </a:cubicBezTo>
                <a:cubicBezTo>
                  <a:pt x="14125" y="1375"/>
                  <a:pt x="14156" y="1375"/>
                  <a:pt x="14187" y="1375"/>
                </a:cubicBezTo>
                <a:cubicBezTo>
                  <a:pt x="14218" y="1375"/>
                  <a:pt x="14250" y="1375"/>
                  <a:pt x="14312" y="1406"/>
                </a:cubicBezTo>
                <a:cubicBezTo>
                  <a:pt x="14312" y="1406"/>
                  <a:pt x="14343" y="1406"/>
                  <a:pt x="14343" y="1375"/>
                </a:cubicBezTo>
                <a:cubicBezTo>
                  <a:pt x="14343" y="1344"/>
                  <a:pt x="14343" y="1344"/>
                  <a:pt x="14312" y="1344"/>
                </a:cubicBezTo>
                <a:lnTo>
                  <a:pt x="14312" y="1344"/>
                </a:lnTo>
                <a:cubicBezTo>
                  <a:pt x="14281" y="1344"/>
                  <a:pt x="14218" y="1344"/>
                  <a:pt x="14156" y="1312"/>
                </a:cubicBezTo>
                <a:cubicBezTo>
                  <a:pt x="14156" y="1312"/>
                  <a:pt x="14156" y="1312"/>
                  <a:pt x="14125" y="1344"/>
                </a:cubicBezTo>
                <a:cubicBezTo>
                  <a:pt x="14062" y="1312"/>
                  <a:pt x="14000" y="1312"/>
                  <a:pt x="13937" y="1281"/>
                </a:cubicBezTo>
                <a:cubicBezTo>
                  <a:pt x="13937" y="1281"/>
                  <a:pt x="13906" y="1281"/>
                  <a:pt x="13906" y="1312"/>
                </a:cubicBezTo>
                <a:cubicBezTo>
                  <a:pt x="13906" y="1312"/>
                  <a:pt x="13906" y="1312"/>
                  <a:pt x="13937" y="1312"/>
                </a:cubicBezTo>
                <a:cubicBezTo>
                  <a:pt x="13968" y="1312"/>
                  <a:pt x="14000" y="1344"/>
                  <a:pt x="14062" y="1375"/>
                </a:cubicBezTo>
                <a:close/>
                <a:moveTo>
                  <a:pt x="10468" y="3281"/>
                </a:moveTo>
                <a:cubicBezTo>
                  <a:pt x="10468" y="3281"/>
                  <a:pt x="10500" y="3281"/>
                  <a:pt x="10500" y="3250"/>
                </a:cubicBezTo>
                <a:cubicBezTo>
                  <a:pt x="10562" y="3219"/>
                  <a:pt x="10593" y="3187"/>
                  <a:pt x="10656" y="3156"/>
                </a:cubicBezTo>
                <a:cubicBezTo>
                  <a:pt x="10625" y="3156"/>
                  <a:pt x="10468" y="3219"/>
                  <a:pt x="10468" y="3250"/>
                </a:cubicBezTo>
                <a:cubicBezTo>
                  <a:pt x="10468" y="3250"/>
                  <a:pt x="10468" y="3281"/>
                  <a:pt x="10468" y="3281"/>
                </a:cubicBezTo>
                <a:close/>
                <a:moveTo>
                  <a:pt x="15531" y="2594"/>
                </a:moveTo>
                <a:cubicBezTo>
                  <a:pt x="15531" y="2625"/>
                  <a:pt x="15562" y="2625"/>
                  <a:pt x="15562" y="2625"/>
                </a:cubicBezTo>
                <a:cubicBezTo>
                  <a:pt x="15625" y="2625"/>
                  <a:pt x="15687" y="2656"/>
                  <a:pt x="15781" y="2625"/>
                </a:cubicBezTo>
                <a:cubicBezTo>
                  <a:pt x="15781" y="2625"/>
                  <a:pt x="15781" y="2625"/>
                  <a:pt x="15781" y="2625"/>
                </a:cubicBezTo>
                <a:cubicBezTo>
                  <a:pt x="15687" y="2594"/>
                  <a:pt x="15625" y="2594"/>
                  <a:pt x="15562" y="2594"/>
                </a:cubicBezTo>
                <a:cubicBezTo>
                  <a:pt x="15562" y="2594"/>
                  <a:pt x="15531" y="2594"/>
                  <a:pt x="15531" y="2594"/>
                </a:cubicBezTo>
                <a:close/>
                <a:moveTo>
                  <a:pt x="13687" y="3469"/>
                </a:moveTo>
                <a:cubicBezTo>
                  <a:pt x="13687" y="3469"/>
                  <a:pt x="13687" y="3437"/>
                  <a:pt x="13687" y="3437"/>
                </a:cubicBezTo>
                <a:cubicBezTo>
                  <a:pt x="13625" y="3437"/>
                  <a:pt x="13593" y="3437"/>
                  <a:pt x="13531" y="3406"/>
                </a:cubicBezTo>
                <a:cubicBezTo>
                  <a:pt x="13531" y="3406"/>
                  <a:pt x="13531" y="3437"/>
                  <a:pt x="13500" y="3437"/>
                </a:cubicBezTo>
                <a:cubicBezTo>
                  <a:pt x="13500" y="3437"/>
                  <a:pt x="13531" y="3469"/>
                  <a:pt x="13531" y="3469"/>
                </a:cubicBezTo>
                <a:cubicBezTo>
                  <a:pt x="13593" y="3469"/>
                  <a:pt x="13625" y="3469"/>
                  <a:pt x="13656" y="3469"/>
                </a:cubicBezTo>
                <a:cubicBezTo>
                  <a:pt x="13687" y="3469"/>
                  <a:pt x="13687" y="3469"/>
                  <a:pt x="13687" y="3469"/>
                </a:cubicBezTo>
                <a:close/>
                <a:moveTo>
                  <a:pt x="13625" y="13281"/>
                </a:moveTo>
                <a:cubicBezTo>
                  <a:pt x="13625" y="13281"/>
                  <a:pt x="13593" y="13281"/>
                  <a:pt x="13593" y="13281"/>
                </a:cubicBezTo>
                <a:cubicBezTo>
                  <a:pt x="13531" y="13344"/>
                  <a:pt x="13625" y="13344"/>
                  <a:pt x="13625" y="13375"/>
                </a:cubicBezTo>
                <a:cubicBezTo>
                  <a:pt x="13625" y="13406"/>
                  <a:pt x="13656" y="13406"/>
                  <a:pt x="13656" y="13406"/>
                </a:cubicBezTo>
                <a:cubicBezTo>
                  <a:pt x="13656" y="13406"/>
                  <a:pt x="13687" y="13406"/>
                  <a:pt x="13687" y="13375"/>
                </a:cubicBezTo>
                <a:cubicBezTo>
                  <a:pt x="13656" y="13344"/>
                  <a:pt x="13656" y="13344"/>
                  <a:pt x="13656" y="13312"/>
                </a:cubicBezTo>
                <a:cubicBezTo>
                  <a:pt x="13656" y="13281"/>
                  <a:pt x="13656" y="13281"/>
                  <a:pt x="13625" y="13281"/>
                </a:cubicBezTo>
                <a:close/>
                <a:moveTo>
                  <a:pt x="11031" y="2375"/>
                </a:moveTo>
                <a:cubicBezTo>
                  <a:pt x="11031" y="2375"/>
                  <a:pt x="11031" y="2344"/>
                  <a:pt x="11031" y="2375"/>
                </a:cubicBezTo>
                <a:cubicBezTo>
                  <a:pt x="10968" y="2375"/>
                  <a:pt x="10906" y="2406"/>
                  <a:pt x="10843" y="2437"/>
                </a:cubicBezTo>
                <a:cubicBezTo>
                  <a:pt x="10843" y="2437"/>
                  <a:pt x="10843" y="2469"/>
                  <a:pt x="10843" y="2469"/>
                </a:cubicBezTo>
                <a:cubicBezTo>
                  <a:pt x="10843" y="2469"/>
                  <a:pt x="10875" y="2469"/>
                  <a:pt x="10875" y="2469"/>
                </a:cubicBezTo>
                <a:cubicBezTo>
                  <a:pt x="10906" y="2437"/>
                  <a:pt x="10968" y="2437"/>
                  <a:pt x="11031" y="2406"/>
                </a:cubicBezTo>
                <a:cubicBezTo>
                  <a:pt x="11031" y="2406"/>
                  <a:pt x="11031" y="2375"/>
                  <a:pt x="11031" y="2375"/>
                </a:cubicBezTo>
                <a:close/>
                <a:moveTo>
                  <a:pt x="11656" y="11906"/>
                </a:moveTo>
                <a:cubicBezTo>
                  <a:pt x="11656" y="11906"/>
                  <a:pt x="11656" y="11875"/>
                  <a:pt x="11656" y="11875"/>
                </a:cubicBezTo>
                <a:cubicBezTo>
                  <a:pt x="11656" y="11875"/>
                  <a:pt x="11656" y="11844"/>
                  <a:pt x="11656" y="11844"/>
                </a:cubicBezTo>
                <a:cubicBezTo>
                  <a:pt x="11625" y="11844"/>
                  <a:pt x="11625" y="11844"/>
                  <a:pt x="11625" y="11844"/>
                </a:cubicBezTo>
                <a:cubicBezTo>
                  <a:pt x="11593" y="11906"/>
                  <a:pt x="11562" y="11906"/>
                  <a:pt x="11500" y="11906"/>
                </a:cubicBezTo>
                <a:cubicBezTo>
                  <a:pt x="11531" y="11937"/>
                  <a:pt x="11562" y="11969"/>
                  <a:pt x="11593" y="11937"/>
                </a:cubicBezTo>
                <a:cubicBezTo>
                  <a:pt x="11593" y="11906"/>
                  <a:pt x="11625" y="11906"/>
                  <a:pt x="11625" y="11937"/>
                </a:cubicBezTo>
                <a:cubicBezTo>
                  <a:pt x="11656" y="11937"/>
                  <a:pt x="11656" y="11969"/>
                  <a:pt x="11687" y="11937"/>
                </a:cubicBezTo>
                <a:cubicBezTo>
                  <a:pt x="11687" y="11937"/>
                  <a:pt x="11687" y="11906"/>
                  <a:pt x="11656" y="11906"/>
                </a:cubicBezTo>
                <a:close/>
                <a:moveTo>
                  <a:pt x="15062" y="1656"/>
                </a:moveTo>
                <a:cubicBezTo>
                  <a:pt x="15062" y="1656"/>
                  <a:pt x="15062" y="1656"/>
                  <a:pt x="15062" y="1656"/>
                </a:cubicBezTo>
                <a:cubicBezTo>
                  <a:pt x="15125" y="1687"/>
                  <a:pt x="15187" y="1687"/>
                  <a:pt x="15250" y="1687"/>
                </a:cubicBezTo>
                <a:cubicBezTo>
                  <a:pt x="15250" y="1687"/>
                  <a:pt x="15250" y="1687"/>
                  <a:pt x="15250" y="1687"/>
                </a:cubicBezTo>
                <a:cubicBezTo>
                  <a:pt x="15250" y="1687"/>
                  <a:pt x="15250" y="1656"/>
                  <a:pt x="15218" y="1656"/>
                </a:cubicBezTo>
                <a:cubicBezTo>
                  <a:pt x="15187" y="1656"/>
                  <a:pt x="15156" y="1656"/>
                  <a:pt x="15093" y="1625"/>
                </a:cubicBezTo>
                <a:cubicBezTo>
                  <a:pt x="15093" y="1625"/>
                  <a:pt x="15062" y="1625"/>
                  <a:pt x="15062" y="1656"/>
                </a:cubicBezTo>
                <a:close/>
                <a:moveTo>
                  <a:pt x="16750" y="4594"/>
                </a:moveTo>
                <a:cubicBezTo>
                  <a:pt x="16750" y="4594"/>
                  <a:pt x="16750" y="4594"/>
                  <a:pt x="16750" y="4594"/>
                </a:cubicBezTo>
                <a:cubicBezTo>
                  <a:pt x="16750" y="4594"/>
                  <a:pt x="16750" y="4594"/>
                  <a:pt x="16750" y="4594"/>
                </a:cubicBezTo>
                <a:lnTo>
                  <a:pt x="16750" y="4594"/>
                </a:lnTo>
                <a:cubicBezTo>
                  <a:pt x="16750" y="4594"/>
                  <a:pt x="16750" y="4594"/>
                  <a:pt x="16750" y="4594"/>
                </a:cubicBezTo>
                <a:cubicBezTo>
                  <a:pt x="16750" y="4594"/>
                  <a:pt x="16750" y="4594"/>
                  <a:pt x="16750" y="4594"/>
                </a:cubicBezTo>
                <a:close/>
                <a:moveTo>
                  <a:pt x="14218" y="4656"/>
                </a:moveTo>
                <a:cubicBezTo>
                  <a:pt x="14218" y="4656"/>
                  <a:pt x="14187" y="4625"/>
                  <a:pt x="14187" y="4625"/>
                </a:cubicBezTo>
                <a:cubicBezTo>
                  <a:pt x="14125" y="4625"/>
                  <a:pt x="14062" y="4625"/>
                  <a:pt x="14031" y="4656"/>
                </a:cubicBezTo>
                <a:cubicBezTo>
                  <a:pt x="14062" y="4656"/>
                  <a:pt x="14125" y="4656"/>
                  <a:pt x="14187" y="4687"/>
                </a:cubicBezTo>
                <a:cubicBezTo>
                  <a:pt x="14187" y="4687"/>
                  <a:pt x="14218" y="4656"/>
                  <a:pt x="14218" y="4656"/>
                </a:cubicBezTo>
                <a:close/>
                <a:moveTo>
                  <a:pt x="8718" y="9531"/>
                </a:moveTo>
                <a:cubicBezTo>
                  <a:pt x="8687" y="9531"/>
                  <a:pt x="8656" y="9594"/>
                  <a:pt x="8625" y="9625"/>
                </a:cubicBezTo>
                <a:cubicBezTo>
                  <a:pt x="8656" y="9625"/>
                  <a:pt x="8718" y="9625"/>
                  <a:pt x="8718" y="9656"/>
                </a:cubicBezTo>
                <a:cubicBezTo>
                  <a:pt x="8718" y="9656"/>
                  <a:pt x="8750" y="9656"/>
                  <a:pt x="8750" y="9625"/>
                </a:cubicBezTo>
                <a:cubicBezTo>
                  <a:pt x="8718" y="9594"/>
                  <a:pt x="8750" y="9531"/>
                  <a:pt x="8718" y="9531"/>
                </a:cubicBezTo>
                <a:close/>
                <a:moveTo>
                  <a:pt x="15625" y="3250"/>
                </a:moveTo>
                <a:cubicBezTo>
                  <a:pt x="15718" y="3250"/>
                  <a:pt x="15812" y="3250"/>
                  <a:pt x="15906" y="3219"/>
                </a:cubicBezTo>
                <a:cubicBezTo>
                  <a:pt x="15812" y="3219"/>
                  <a:pt x="15718" y="3219"/>
                  <a:pt x="15625" y="3219"/>
                </a:cubicBezTo>
                <a:cubicBezTo>
                  <a:pt x="15625" y="3219"/>
                  <a:pt x="15625" y="3250"/>
                  <a:pt x="15625" y="3250"/>
                </a:cubicBezTo>
                <a:close/>
                <a:moveTo>
                  <a:pt x="13000" y="937"/>
                </a:moveTo>
                <a:cubicBezTo>
                  <a:pt x="13062" y="906"/>
                  <a:pt x="13125" y="969"/>
                  <a:pt x="13187" y="937"/>
                </a:cubicBezTo>
                <a:cubicBezTo>
                  <a:pt x="13125" y="906"/>
                  <a:pt x="13062" y="906"/>
                  <a:pt x="13000" y="906"/>
                </a:cubicBezTo>
                <a:cubicBezTo>
                  <a:pt x="12968" y="906"/>
                  <a:pt x="12968" y="906"/>
                  <a:pt x="12968" y="906"/>
                </a:cubicBezTo>
                <a:cubicBezTo>
                  <a:pt x="12968" y="937"/>
                  <a:pt x="13000" y="937"/>
                  <a:pt x="13000" y="937"/>
                </a:cubicBezTo>
                <a:close/>
                <a:moveTo>
                  <a:pt x="14093" y="1937"/>
                </a:moveTo>
                <a:cubicBezTo>
                  <a:pt x="14156" y="1937"/>
                  <a:pt x="14218" y="1969"/>
                  <a:pt x="14250" y="1969"/>
                </a:cubicBezTo>
                <a:cubicBezTo>
                  <a:pt x="14281" y="1969"/>
                  <a:pt x="14281" y="1969"/>
                  <a:pt x="14312" y="1969"/>
                </a:cubicBezTo>
                <a:cubicBezTo>
                  <a:pt x="14312" y="1937"/>
                  <a:pt x="14281" y="1937"/>
                  <a:pt x="14281" y="1937"/>
                </a:cubicBezTo>
                <a:cubicBezTo>
                  <a:pt x="14218" y="1937"/>
                  <a:pt x="14156" y="1906"/>
                  <a:pt x="14093" y="1937"/>
                </a:cubicBezTo>
                <a:close/>
                <a:moveTo>
                  <a:pt x="14062" y="4875"/>
                </a:moveTo>
                <a:cubicBezTo>
                  <a:pt x="14031" y="4844"/>
                  <a:pt x="14000" y="4844"/>
                  <a:pt x="13968" y="4781"/>
                </a:cubicBezTo>
                <a:cubicBezTo>
                  <a:pt x="13968" y="4844"/>
                  <a:pt x="13937" y="4844"/>
                  <a:pt x="13875" y="4844"/>
                </a:cubicBezTo>
                <a:cubicBezTo>
                  <a:pt x="13937" y="4906"/>
                  <a:pt x="14000" y="4875"/>
                  <a:pt x="14062" y="4875"/>
                </a:cubicBezTo>
                <a:close/>
                <a:moveTo>
                  <a:pt x="14375" y="3156"/>
                </a:moveTo>
                <a:cubicBezTo>
                  <a:pt x="14343" y="3156"/>
                  <a:pt x="14343" y="3156"/>
                  <a:pt x="14343" y="3187"/>
                </a:cubicBezTo>
                <a:cubicBezTo>
                  <a:pt x="14343" y="3187"/>
                  <a:pt x="14375" y="3187"/>
                  <a:pt x="14375" y="3187"/>
                </a:cubicBezTo>
                <a:cubicBezTo>
                  <a:pt x="14437" y="3187"/>
                  <a:pt x="14500" y="3187"/>
                  <a:pt x="14562" y="3187"/>
                </a:cubicBezTo>
                <a:cubicBezTo>
                  <a:pt x="14562" y="3187"/>
                  <a:pt x="14375" y="3156"/>
                  <a:pt x="14375" y="3156"/>
                </a:cubicBezTo>
                <a:close/>
                <a:moveTo>
                  <a:pt x="14687" y="4344"/>
                </a:moveTo>
                <a:cubicBezTo>
                  <a:pt x="14656" y="4344"/>
                  <a:pt x="14593" y="4312"/>
                  <a:pt x="14500" y="4344"/>
                </a:cubicBezTo>
                <a:cubicBezTo>
                  <a:pt x="14593" y="4375"/>
                  <a:pt x="14656" y="4375"/>
                  <a:pt x="14687" y="4375"/>
                </a:cubicBezTo>
                <a:cubicBezTo>
                  <a:pt x="14718" y="4375"/>
                  <a:pt x="14718" y="4344"/>
                  <a:pt x="14718" y="4344"/>
                </a:cubicBezTo>
                <a:cubicBezTo>
                  <a:pt x="14718" y="4344"/>
                  <a:pt x="14718" y="4344"/>
                  <a:pt x="14687" y="4344"/>
                </a:cubicBezTo>
                <a:close/>
                <a:moveTo>
                  <a:pt x="10937" y="11625"/>
                </a:moveTo>
                <a:cubicBezTo>
                  <a:pt x="10937" y="11625"/>
                  <a:pt x="10937" y="11625"/>
                  <a:pt x="10937" y="11625"/>
                </a:cubicBezTo>
                <a:cubicBezTo>
                  <a:pt x="10937" y="11625"/>
                  <a:pt x="10937" y="11625"/>
                  <a:pt x="10937" y="11625"/>
                </a:cubicBezTo>
                <a:close/>
                <a:moveTo>
                  <a:pt x="14375" y="3000"/>
                </a:moveTo>
                <a:cubicBezTo>
                  <a:pt x="14312" y="3000"/>
                  <a:pt x="14250" y="3000"/>
                  <a:pt x="14156" y="3031"/>
                </a:cubicBezTo>
                <a:cubicBezTo>
                  <a:pt x="14250" y="3062"/>
                  <a:pt x="14312" y="3062"/>
                  <a:pt x="14375" y="3062"/>
                </a:cubicBezTo>
                <a:cubicBezTo>
                  <a:pt x="14375" y="3062"/>
                  <a:pt x="14406" y="3031"/>
                  <a:pt x="14406" y="3031"/>
                </a:cubicBezTo>
                <a:cubicBezTo>
                  <a:pt x="14375" y="3031"/>
                  <a:pt x="14375" y="3000"/>
                  <a:pt x="14375" y="3000"/>
                </a:cubicBezTo>
                <a:close/>
                <a:moveTo>
                  <a:pt x="15656" y="2000"/>
                </a:moveTo>
                <a:cubicBezTo>
                  <a:pt x="15625" y="2000"/>
                  <a:pt x="15656" y="2000"/>
                  <a:pt x="15687" y="2000"/>
                </a:cubicBezTo>
                <a:cubicBezTo>
                  <a:pt x="15718" y="1969"/>
                  <a:pt x="15781" y="2000"/>
                  <a:pt x="15812" y="2031"/>
                </a:cubicBezTo>
                <a:cubicBezTo>
                  <a:pt x="15843" y="2000"/>
                  <a:pt x="15843" y="2000"/>
                  <a:pt x="15812" y="1969"/>
                </a:cubicBezTo>
                <a:cubicBezTo>
                  <a:pt x="15781" y="1969"/>
                  <a:pt x="15781" y="1969"/>
                  <a:pt x="15750" y="1969"/>
                </a:cubicBezTo>
                <a:cubicBezTo>
                  <a:pt x="15687" y="1937"/>
                  <a:pt x="15656" y="1937"/>
                  <a:pt x="15718" y="1875"/>
                </a:cubicBezTo>
                <a:cubicBezTo>
                  <a:pt x="15656" y="1875"/>
                  <a:pt x="15656" y="1906"/>
                  <a:pt x="15625" y="1906"/>
                </a:cubicBezTo>
                <a:cubicBezTo>
                  <a:pt x="15593" y="1937"/>
                  <a:pt x="15687" y="1969"/>
                  <a:pt x="15656" y="2000"/>
                </a:cubicBezTo>
                <a:close/>
                <a:moveTo>
                  <a:pt x="15812" y="2031"/>
                </a:moveTo>
                <a:cubicBezTo>
                  <a:pt x="15812" y="2031"/>
                  <a:pt x="15812" y="2031"/>
                  <a:pt x="15812" y="2031"/>
                </a:cubicBezTo>
                <a:moveTo>
                  <a:pt x="9906" y="12062"/>
                </a:moveTo>
                <a:cubicBezTo>
                  <a:pt x="9906" y="12062"/>
                  <a:pt x="9906" y="12062"/>
                  <a:pt x="9906" y="12062"/>
                </a:cubicBezTo>
                <a:cubicBezTo>
                  <a:pt x="9906" y="12062"/>
                  <a:pt x="9906" y="12062"/>
                  <a:pt x="9906" y="12062"/>
                </a:cubicBezTo>
                <a:close/>
                <a:moveTo>
                  <a:pt x="15468" y="2469"/>
                </a:moveTo>
                <a:cubicBezTo>
                  <a:pt x="15468" y="2500"/>
                  <a:pt x="15500" y="2469"/>
                  <a:pt x="15531" y="2469"/>
                </a:cubicBezTo>
                <a:cubicBezTo>
                  <a:pt x="15562" y="2500"/>
                  <a:pt x="15625" y="2469"/>
                  <a:pt x="15656" y="2500"/>
                </a:cubicBezTo>
                <a:cubicBezTo>
                  <a:pt x="15687" y="2500"/>
                  <a:pt x="15718" y="2500"/>
                  <a:pt x="15687" y="2469"/>
                </a:cubicBezTo>
                <a:cubicBezTo>
                  <a:pt x="15687" y="2437"/>
                  <a:pt x="15687" y="2437"/>
                  <a:pt x="15656" y="2437"/>
                </a:cubicBezTo>
                <a:cubicBezTo>
                  <a:pt x="15625" y="2437"/>
                  <a:pt x="15562" y="2437"/>
                  <a:pt x="15531" y="2437"/>
                </a:cubicBezTo>
                <a:cubicBezTo>
                  <a:pt x="15500" y="2437"/>
                  <a:pt x="15468" y="2437"/>
                  <a:pt x="15468" y="2469"/>
                </a:cubicBezTo>
                <a:close/>
                <a:moveTo>
                  <a:pt x="16125" y="2406"/>
                </a:moveTo>
                <a:cubicBezTo>
                  <a:pt x="16125" y="2406"/>
                  <a:pt x="16125" y="2406"/>
                  <a:pt x="16125" y="2406"/>
                </a:cubicBezTo>
                <a:cubicBezTo>
                  <a:pt x="16125" y="2406"/>
                  <a:pt x="16125" y="2406"/>
                  <a:pt x="16125" y="2406"/>
                </a:cubicBezTo>
                <a:lnTo>
                  <a:pt x="16125" y="2406"/>
                </a:lnTo>
                <a:cubicBezTo>
                  <a:pt x="16125" y="2406"/>
                  <a:pt x="16125" y="2406"/>
                  <a:pt x="16125" y="2406"/>
                </a:cubicBezTo>
                <a:cubicBezTo>
                  <a:pt x="16125" y="2406"/>
                  <a:pt x="16125" y="2406"/>
                  <a:pt x="16125" y="2406"/>
                </a:cubicBezTo>
                <a:close/>
                <a:moveTo>
                  <a:pt x="9875" y="7687"/>
                </a:moveTo>
                <a:cubicBezTo>
                  <a:pt x="9906" y="7656"/>
                  <a:pt x="9906" y="7656"/>
                  <a:pt x="9937" y="7625"/>
                </a:cubicBezTo>
                <a:cubicBezTo>
                  <a:pt x="9968" y="7594"/>
                  <a:pt x="9968" y="7562"/>
                  <a:pt x="9937" y="7531"/>
                </a:cubicBezTo>
                <a:cubicBezTo>
                  <a:pt x="9937" y="7594"/>
                  <a:pt x="9875" y="7625"/>
                  <a:pt x="9875" y="7656"/>
                </a:cubicBezTo>
                <a:cubicBezTo>
                  <a:pt x="9843" y="7656"/>
                  <a:pt x="9812" y="7687"/>
                  <a:pt x="9843" y="7719"/>
                </a:cubicBezTo>
                <a:cubicBezTo>
                  <a:pt x="9875" y="7719"/>
                  <a:pt x="9875" y="7687"/>
                  <a:pt x="9875" y="7687"/>
                </a:cubicBezTo>
                <a:close/>
                <a:moveTo>
                  <a:pt x="10843" y="11969"/>
                </a:moveTo>
                <a:cubicBezTo>
                  <a:pt x="10875" y="11906"/>
                  <a:pt x="10781" y="11906"/>
                  <a:pt x="10812" y="11875"/>
                </a:cubicBezTo>
                <a:cubicBezTo>
                  <a:pt x="10812" y="11875"/>
                  <a:pt x="10812" y="11875"/>
                  <a:pt x="10843" y="11875"/>
                </a:cubicBezTo>
                <a:cubicBezTo>
                  <a:pt x="10843" y="11906"/>
                  <a:pt x="10875" y="11906"/>
                  <a:pt x="10875" y="11875"/>
                </a:cubicBezTo>
                <a:cubicBezTo>
                  <a:pt x="10906" y="11875"/>
                  <a:pt x="10875" y="11875"/>
                  <a:pt x="10875" y="11875"/>
                </a:cubicBezTo>
                <a:cubicBezTo>
                  <a:pt x="10843" y="11844"/>
                  <a:pt x="10843" y="11844"/>
                  <a:pt x="10843" y="11812"/>
                </a:cubicBezTo>
                <a:cubicBezTo>
                  <a:pt x="10875" y="11812"/>
                  <a:pt x="10875" y="11812"/>
                  <a:pt x="10875" y="11812"/>
                </a:cubicBezTo>
                <a:cubicBezTo>
                  <a:pt x="10875" y="11812"/>
                  <a:pt x="10875" y="11812"/>
                  <a:pt x="10843" y="11812"/>
                </a:cubicBezTo>
                <a:cubicBezTo>
                  <a:pt x="10875" y="11844"/>
                  <a:pt x="10968" y="11812"/>
                  <a:pt x="10937" y="11906"/>
                </a:cubicBezTo>
                <a:cubicBezTo>
                  <a:pt x="10906" y="11937"/>
                  <a:pt x="11000" y="11937"/>
                  <a:pt x="11031" y="11969"/>
                </a:cubicBezTo>
                <a:cubicBezTo>
                  <a:pt x="10968" y="12000"/>
                  <a:pt x="10906" y="11969"/>
                  <a:pt x="10843" y="11969"/>
                </a:cubicBezTo>
                <a:close/>
                <a:moveTo>
                  <a:pt x="10781" y="11312"/>
                </a:moveTo>
                <a:cubicBezTo>
                  <a:pt x="10781" y="11344"/>
                  <a:pt x="10750" y="11375"/>
                  <a:pt x="10750" y="11375"/>
                </a:cubicBezTo>
                <a:cubicBezTo>
                  <a:pt x="10750" y="11406"/>
                  <a:pt x="10718" y="11375"/>
                  <a:pt x="10687" y="11406"/>
                </a:cubicBezTo>
                <a:cubicBezTo>
                  <a:pt x="10687" y="11375"/>
                  <a:pt x="10718" y="11344"/>
                  <a:pt x="10718" y="11344"/>
                </a:cubicBezTo>
                <a:cubicBezTo>
                  <a:pt x="10750" y="11344"/>
                  <a:pt x="10750" y="11312"/>
                  <a:pt x="10781" y="11312"/>
                </a:cubicBezTo>
                <a:close/>
                <a:moveTo>
                  <a:pt x="10468" y="11719"/>
                </a:moveTo>
                <a:cubicBezTo>
                  <a:pt x="10468" y="11719"/>
                  <a:pt x="10468" y="11719"/>
                  <a:pt x="10468" y="11719"/>
                </a:cubicBezTo>
                <a:cubicBezTo>
                  <a:pt x="10468" y="11687"/>
                  <a:pt x="10500" y="11687"/>
                  <a:pt x="10531" y="11687"/>
                </a:cubicBezTo>
                <a:cubicBezTo>
                  <a:pt x="10562" y="11687"/>
                  <a:pt x="10593" y="11687"/>
                  <a:pt x="10625" y="11687"/>
                </a:cubicBezTo>
                <a:cubicBezTo>
                  <a:pt x="10625" y="11687"/>
                  <a:pt x="10593" y="11719"/>
                  <a:pt x="10593" y="11719"/>
                </a:cubicBezTo>
                <a:cubicBezTo>
                  <a:pt x="10562" y="11750"/>
                  <a:pt x="10531" y="11750"/>
                  <a:pt x="10468" y="11719"/>
                </a:cubicBezTo>
                <a:close/>
                <a:moveTo>
                  <a:pt x="10625" y="11531"/>
                </a:moveTo>
                <a:cubicBezTo>
                  <a:pt x="10656" y="11531"/>
                  <a:pt x="10656" y="11469"/>
                  <a:pt x="10656" y="11469"/>
                </a:cubicBezTo>
                <a:cubicBezTo>
                  <a:pt x="10687" y="11437"/>
                  <a:pt x="10687" y="11437"/>
                  <a:pt x="10687" y="11437"/>
                </a:cubicBezTo>
                <a:cubicBezTo>
                  <a:pt x="10687" y="11406"/>
                  <a:pt x="10687" y="11406"/>
                  <a:pt x="10687" y="11406"/>
                </a:cubicBezTo>
                <a:cubicBezTo>
                  <a:pt x="10718" y="11406"/>
                  <a:pt x="10718" y="11406"/>
                  <a:pt x="10718" y="11437"/>
                </a:cubicBezTo>
                <a:cubicBezTo>
                  <a:pt x="10718" y="11437"/>
                  <a:pt x="10718" y="11437"/>
                  <a:pt x="10718" y="11437"/>
                </a:cubicBezTo>
                <a:cubicBezTo>
                  <a:pt x="10718" y="11437"/>
                  <a:pt x="10718" y="11437"/>
                  <a:pt x="10718" y="11437"/>
                </a:cubicBezTo>
                <a:cubicBezTo>
                  <a:pt x="10718" y="11437"/>
                  <a:pt x="10781" y="11437"/>
                  <a:pt x="10750" y="11469"/>
                </a:cubicBezTo>
                <a:cubicBezTo>
                  <a:pt x="10718" y="11500"/>
                  <a:pt x="10750" y="11531"/>
                  <a:pt x="10718" y="11531"/>
                </a:cubicBezTo>
                <a:cubicBezTo>
                  <a:pt x="10718" y="11531"/>
                  <a:pt x="10687" y="11562"/>
                  <a:pt x="10687" y="11562"/>
                </a:cubicBezTo>
                <a:cubicBezTo>
                  <a:pt x="10687" y="11562"/>
                  <a:pt x="10718" y="11531"/>
                  <a:pt x="10718" y="11531"/>
                </a:cubicBezTo>
                <a:cubicBezTo>
                  <a:pt x="10687" y="11500"/>
                  <a:pt x="10656" y="11500"/>
                  <a:pt x="10656" y="11531"/>
                </a:cubicBezTo>
                <a:cubicBezTo>
                  <a:pt x="10656" y="11594"/>
                  <a:pt x="10656" y="11562"/>
                  <a:pt x="10625" y="11531"/>
                </a:cubicBezTo>
                <a:close/>
                <a:moveTo>
                  <a:pt x="10718" y="11719"/>
                </a:moveTo>
                <a:cubicBezTo>
                  <a:pt x="10718" y="11719"/>
                  <a:pt x="10687" y="11719"/>
                  <a:pt x="10687" y="11719"/>
                </a:cubicBezTo>
                <a:cubicBezTo>
                  <a:pt x="10687" y="11687"/>
                  <a:pt x="10687" y="11687"/>
                  <a:pt x="10656" y="11687"/>
                </a:cubicBezTo>
                <a:cubicBezTo>
                  <a:pt x="10656" y="11687"/>
                  <a:pt x="10656" y="11687"/>
                  <a:pt x="10687" y="11687"/>
                </a:cubicBezTo>
                <a:cubicBezTo>
                  <a:pt x="10718" y="11656"/>
                  <a:pt x="10750" y="11625"/>
                  <a:pt x="10781" y="11687"/>
                </a:cubicBezTo>
                <a:cubicBezTo>
                  <a:pt x="10750" y="11719"/>
                  <a:pt x="10718" y="11719"/>
                  <a:pt x="10718" y="11719"/>
                </a:cubicBezTo>
                <a:close/>
                <a:moveTo>
                  <a:pt x="9812" y="4031"/>
                </a:moveTo>
                <a:cubicBezTo>
                  <a:pt x="9812" y="4031"/>
                  <a:pt x="9812" y="4031"/>
                  <a:pt x="9812" y="4031"/>
                </a:cubicBezTo>
                <a:cubicBezTo>
                  <a:pt x="9812" y="4031"/>
                  <a:pt x="9812" y="4031"/>
                  <a:pt x="9812" y="4031"/>
                </a:cubicBezTo>
                <a:lnTo>
                  <a:pt x="9812" y="4031"/>
                </a:lnTo>
                <a:cubicBezTo>
                  <a:pt x="9812" y="4031"/>
                  <a:pt x="9812" y="4031"/>
                  <a:pt x="9812" y="4031"/>
                </a:cubicBezTo>
                <a:cubicBezTo>
                  <a:pt x="9812" y="4031"/>
                  <a:pt x="9812" y="4031"/>
                  <a:pt x="9812" y="4031"/>
                </a:cubicBezTo>
                <a:close/>
                <a:moveTo>
                  <a:pt x="14406" y="1531"/>
                </a:moveTo>
                <a:cubicBezTo>
                  <a:pt x="14406" y="1531"/>
                  <a:pt x="14437" y="1562"/>
                  <a:pt x="14437" y="1562"/>
                </a:cubicBezTo>
                <a:cubicBezTo>
                  <a:pt x="14500" y="1562"/>
                  <a:pt x="14562" y="1562"/>
                  <a:pt x="14593" y="1594"/>
                </a:cubicBezTo>
                <a:cubicBezTo>
                  <a:pt x="14625" y="1594"/>
                  <a:pt x="14625" y="1594"/>
                  <a:pt x="14656" y="1562"/>
                </a:cubicBezTo>
                <a:cubicBezTo>
                  <a:pt x="14656" y="1562"/>
                  <a:pt x="14656" y="1531"/>
                  <a:pt x="14625" y="1531"/>
                </a:cubicBezTo>
                <a:cubicBezTo>
                  <a:pt x="14562" y="1531"/>
                  <a:pt x="14531" y="1531"/>
                  <a:pt x="14468" y="1500"/>
                </a:cubicBezTo>
                <a:cubicBezTo>
                  <a:pt x="14437" y="1500"/>
                  <a:pt x="14437" y="1500"/>
                  <a:pt x="14406" y="1531"/>
                </a:cubicBezTo>
                <a:close/>
                <a:moveTo>
                  <a:pt x="13812" y="13281"/>
                </a:moveTo>
                <a:cubicBezTo>
                  <a:pt x="13812" y="13344"/>
                  <a:pt x="13750" y="13312"/>
                  <a:pt x="13718" y="13344"/>
                </a:cubicBezTo>
                <a:cubicBezTo>
                  <a:pt x="13687" y="13344"/>
                  <a:pt x="13687" y="13375"/>
                  <a:pt x="13718" y="13375"/>
                </a:cubicBezTo>
                <a:cubicBezTo>
                  <a:pt x="13718" y="13406"/>
                  <a:pt x="13718" y="13406"/>
                  <a:pt x="13750" y="13406"/>
                </a:cubicBezTo>
                <a:cubicBezTo>
                  <a:pt x="13781" y="13375"/>
                  <a:pt x="13781" y="13344"/>
                  <a:pt x="13843" y="13344"/>
                </a:cubicBezTo>
                <a:cubicBezTo>
                  <a:pt x="13843" y="13344"/>
                  <a:pt x="13843" y="13312"/>
                  <a:pt x="13843" y="13312"/>
                </a:cubicBezTo>
                <a:cubicBezTo>
                  <a:pt x="13843" y="13281"/>
                  <a:pt x="13843" y="13281"/>
                  <a:pt x="13812" y="13281"/>
                </a:cubicBezTo>
                <a:close/>
                <a:moveTo>
                  <a:pt x="15656" y="2719"/>
                </a:moveTo>
                <a:cubicBezTo>
                  <a:pt x="15656" y="2750"/>
                  <a:pt x="15656" y="2750"/>
                  <a:pt x="15656" y="2750"/>
                </a:cubicBezTo>
                <a:cubicBezTo>
                  <a:pt x="15625" y="2781"/>
                  <a:pt x="15656" y="2781"/>
                  <a:pt x="15656" y="2781"/>
                </a:cubicBezTo>
                <a:cubicBezTo>
                  <a:pt x="15718" y="2812"/>
                  <a:pt x="15781" y="2781"/>
                  <a:pt x="15875" y="2750"/>
                </a:cubicBezTo>
                <a:cubicBezTo>
                  <a:pt x="15812" y="2719"/>
                  <a:pt x="15718" y="2719"/>
                  <a:pt x="15656" y="2719"/>
                </a:cubicBezTo>
                <a:close/>
                <a:moveTo>
                  <a:pt x="10593" y="2437"/>
                </a:moveTo>
                <a:cubicBezTo>
                  <a:pt x="10656" y="2406"/>
                  <a:pt x="10750" y="2406"/>
                  <a:pt x="10781" y="2344"/>
                </a:cubicBezTo>
                <a:cubicBezTo>
                  <a:pt x="10718" y="2375"/>
                  <a:pt x="10656" y="2375"/>
                  <a:pt x="10593" y="2406"/>
                </a:cubicBezTo>
                <a:cubicBezTo>
                  <a:pt x="10562" y="2406"/>
                  <a:pt x="10562" y="2437"/>
                  <a:pt x="10562" y="2437"/>
                </a:cubicBezTo>
                <a:cubicBezTo>
                  <a:pt x="10593" y="2469"/>
                  <a:pt x="10593" y="2437"/>
                  <a:pt x="10593" y="2437"/>
                </a:cubicBezTo>
                <a:close/>
                <a:moveTo>
                  <a:pt x="13968" y="2719"/>
                </a:moveTo>
                <a:cubicBezTo>
                  <a:pt x="13937" y="2687"/>
                  <a:pt x="13937" y="2719"/>
                  <a:pt x="13937" y="2750"/>
                </a:cubicBezTo>
                <a:cubicBezTo>
                  <a:pt x="13937" y="2750"/>
                  <a:pt x="13937" y="2750"/>
                  <a:pt x="13968" y="2750"/>
                </a:cubicBezTo>
                <a:cubicBezTo>
                  <a:pt x="14031" y="2750"/>
                  <a:pt x="14062" y="2750"/>
                  <a:pt x="14125" y="2781"/>
                </a:cubicBezTo>
                <a:cubicBezTo>
                  <a:pt x="14125" y="2781"/>
                  <a:pt x="14156" y="2750"/>
                  <a:pt x="14156" y="2750"/>
                </a:cubicBezTo>
                <a:cubicBezTo>
                  <a:pt x="14093" y="2719"/>
                  <a:pt x="14031" y="2719"/>
                  <a:pt x="13968" y="2719"/>
                </a:cubicBezTo>
                <a:close/>
                <a:moveTo>
                  <a:pt x="10531" y="1375"/>
                </a:moveTo>
                <a:cubicBezTo>
                  <a:pt x="10437" y="1437"/>
                  <a:pt x="10343" y="1469"/>
                  <a:pt x="10250" y="1531"/>
                </a:cubicBezTo>
                <a:cubicBezTo>
                  <a:pt x="10250" y="1531"/>
                  <a:pt x="10250" y="1531"/>
                  <a:pt x="10250" y="1562"/>
                </a:cubicBezTo>
                <a:cubicBezTo>
                  <a:pt x="10375" y="1531"/>
                  <a:pt x="10437" y="1437"/>
                  <a:pt x="10531" y="1406"/>
                </a:cubicBezTo>
                <a:cubicBezTo>
                  <a:pt x="10531" y="1406"/>
                  <a:pt x="10531" y="1375"/>
                  <a:pt x="10531" y="1375"/>
                </a:cubicBezTo>
                <a:close/>
                <a:moveTo>
                  <a:pt x="12125" y="11656"/>
                </a:moveTo>
                <a:cubicBezTo>
                  <a:pt x="12156" y="11656"/>
                  <a:pt x="12187" y="11625"/>
                  <a:pt x="12187" y="11594"/>
                </a:cubicBezTo>
                <a:cubicBezTo>
                  <a:pt x="12156" y="11625"/>
                  <a:pt x="12125" y="11625"/>
                  <a:pt x="12062" y="11594"/>
                </a:cubicBezTo>
                <a:cubicBezTo>
                  <a:pt x="12031" y="11594"/>
                  <a:pt x="12062" y="11562"/>
                  <a:pt x="12062" y="11500"/>
                </a:cubicBezTo>
                <a:cubicBezTo>
                  <a:pt x="12062" y="11562"/>
                  <a:pt x="12000" y="11562"/>
                  <a:pt x="12031" y="11625"/>
                </a:cubicBezTo>
                <a:cubicBezTo>
                  <a:pt x="12031" y="11656"/>
                  <a:pt x="12093" y="11656"/>
                  <a:pt x="12125" y="11656"/>
                </a:cubicBezTo>
                <a:close/>
                <a:moveTo>
                  <a:pt x="10812" y="2469"/>
                </a:moveTo>
                <a:cubicBezTo>
                  <a:pt x="10718" y="2500"/>
                  <a:pt x="10625" y="2531"/>
                  <a:pt x="10562" y="2594"/>
                </a:cubicBezTo>
                <a:cubicBezTo>
                  <a:pt x="10656" y="2594"/>
                  <a:pt x="10750" y="2531"/>
                  <a:pt x="10812" y="2469"/>
                </a:cubicBezTo>
                <a:close/>
                <a:moveTo>
                  <a:pt x="9906" y="4312"/>
                </a:moveTo>
                <a:cubicBezTo>
                  <a:pt x="9968" y="4344"/>
                  <a:pt x="9937" y="4375"/>
                  <a:pt x="9937" y="4437"/>
                </a:cubicBezTo>
                <a:cubicBezTo>
                  <a:pt x="9968" y="4437"/>
                  <a:pt x="10000" y="4406"/>
                  <a:pt x="10000" y="4375"/>
                </a:cubicBezTo>
                <a:cubicBezTo>
                  <a:pt x="10031" y="4312"/>
                  <a:pt x="9906" y="4312"/>
                  <a:pt x="9937" y="4250"/>
                </a:cubicBezTo>
                <a:cubicBezTo>
                  <a:pt x="9906" y="4281"/>
                  <a:pt x="9875" y="4312"/>
                  <a:pt x="9906" y="4312"/>
                </a:cubicBezTo>
                <a:close/>
                <a:moveTo>
                  <a:pt x="10000" y="1406"/>
                </a:moveTo>
                <a:cubicBezTo>
                  <a:pt x="9968" y="1406"/>
                  <a:pt x="9968" y="1406"/>
                  <a:pt x="9968" y="1437"/>
                </a:cubicBezTo>
                <a:cubicBezTo>
                  <a:pt x="9968" y="1469"/>
                  <a:pt x="10000" y="1500"/>
                  <a:pt x="10031" y="1500"/>
                </a:cubicBezTo>
                <a:cubicBezTo>
                  <a:pt x="10062" y="1500"/>
                  <a:pt x="10062" y="1500"/>
                  <a:pt x="10093" y="1469"/>
                </a:cubicBezTo>
                <a:cubicBezTo>
                  <a:pt x="10062" y="1437"/>
                  <a:pt x="10031" y="1406"/>
                  <a:pt x="10000" y="1406"/>
                </a:cubicBezTo>
                <a:close/>
                <a:moveTo>
                  <a:pt x="13968" y="1781"/>
                </a:moveTo>
                <a:cubicBezTo>
                  <a:pt x="14031" y="1781"/>
                  <a:pt x="14093" y="1781"/>
                  <a:pt x="14125" y="1812"/>
                </a:cubicBezTo>
                <a:cubicBezTo>
                  <a:pt x="14156" y="1812"/>
                  <a:pt x="14156" y="1812"/>
                  <a:pt x="14156" y="1812"/>
                </a:cubicBezTo>
                <a:cubicBezTo>
                  <a:pt x="14093" y="1750"/>
                  <a:pt x="14000" y="1750"/>
                  <a:pt x="13906" y="1750"/>
                </a:cubicBezTo>
                <a:cubicBezTo>
                  <a:pt x="13843" y="1750"/>
                  <a:pt x="13750" y="1750"/>
                  <a:pt x="13687" y="1719"/>
                </a:cubicBezTo>
                <a:cubicBezTo>
                  <a:pt x="13687" y="1719"/>
                  <a:pt x="13656" y="1719"/>
                  <a:pt x="13656" y="1687"/>
                </a:cubicBezTo>
                <a:cubicBezTo>
                  <a:pt x="13656" y="1656"/>
                  <a:pt x="13687" y="1687"/>
                  <a:pt x="13718" y="1687"/>
                </a:cubicBezTo>
                <a:cubicBezTo>
                  <a:pt x="13750" y="1687"/>
                  <a:pt x="13781" y="1719"/>
                  <a:pt x="13843" y="1687"/>
                </a:cubicBezTo>
                <a:lnTo>
                  <a:pt x="13843" y="1687"/>
                </a:lnTo>
                <a:cubicBezTo>
                  <a:pt x="13875" y="1687"/>
                  <a:pt x="13875" y="1719"/>
                  <a:pt x="13906" y="1750"/>
                </a:cubicBezTo>
                <a:cubicBezTo>
                  <a:pt x="13906" y="1781"/>
                  <a:pt x="13937" y="1781"/>
                  <a:pt x="13968" y="1781"/>
                </a:cubicBezTo>
                <a:close/>
                <a:moveTo>
                  <a:pt x="11968" y="10906"/>
                </a:moveTo>
                <a:cubicBezTo>
                  <a:pt x="11937" y="10875"/>
                  <a:pt x="11937" y="10906"/>
                  <a:pt x="11937" y="10906"/>
                </a:cubicBezTo>
                <a:cubicBezTo>
                  <a:pt x="11906" y="10906"/>
                  <a:pt x="11906" y="10937"/>
                  <a:pt x="11875" y="10969"/>
                </a:cubicBezTo>
                <a:cubicBezTo>
                  <a:pt x="11875" y="10969"/>
                  <a:pt x="11843" y="11000"/>
                  <a:pt x="11812" y="11031"/>
                </a:cubicBezTo>
                <a:cubicBezTo>
                  <a:pt x="11781" y="11000"/>
                  <a:pt x="11781" y="11000"/>
                  <a:pt x="11781" y="11031"/>
                </a:cubicBezTo>
                <a:cubicBezTo>
                  <a:pt x="11812" y="11031"/>
                  <a:pt x="11843" y="11094"/>
                  <a:pt x="11875" y="11031"/>
                </a:cubicBezTo>
                <a:cubicBezTo>
                  <a:pt x="11906" y="11000"/>
                  <a:pt x="11906" y="10969"/>
                  <a:pt x="11968" y="10937"/>
                </a:cubicBezTo>
                <a:cubicBezTo>
                  <a:pt x="11968" y="10906"/>
                  <a:pt x="11968" y="10906"/>
                  <a:pt x="11968" y="10906"/>
                </a:cubicBezTo>
                <a:close/>
                <a:moveTo>
                  <a:pt x="10125" y="12281"/>
                </a:moveTo>
                <a:cubicBezTo>
                  <a:pt x="10125" y="12281"/>
                  <a:pt x="10125" y="12281"/>
                  <a:pt x="10125" y="12281"/>
                </a:cubicBezTo>
                <a:close/>
                <a:moveTo>
                  <a:pt x="13500" y="3031"/>
                </a:moveTo>
                <a:cubicBezTo>
                  <a:pt x="13406" y="3000"/>
                  <a:pt x="13343" y="3000"/>
                  <a:pt x="13250" y="3031"/>
                </a:cubicBezTo>
                <a:cubicBezTo>
                  <a:pt x="13343" y="3062"/>
                  <a:pt x="13406" y="3031"/>
                  <a:pt x="13500" y="3031"/>
                </a:cubicBezTo>
                <a:close/>
                <a:moveTo>
                  <a:pt x="12250" y="12625"/>
                </a:moveTo>
                <a:cubicBezTo>
                  <a:pt x="12250" y="12625"/>
                  <a:pt x="12250" y="12625"/>
                  <a:pt x="12250" y="12625"/>
                </a:cubicBezTo>
                <a:cubicBezTo>
                  <a:pt x="12250" y="12625"/>
                  <a:pt x="12250" y="12625"/>
                  <a:pt x="12250" y="12625"/>
                </a:cubicBezTo>
                <a:lnTo>
                  <a:pt x="12250" y="12625"/>
                </a:lnTo>
                <a:cubicBezTo>
                  <a:pt x="12250" y="12625"/>
                  <a:pt x="12250" y="12625"/>
                  <a:pt x="12250" y="12625"/>
                </a:cubicBezTo>
                <a:close/>
                <a:moveTo>
                  <a:pt x="15437" y="2906"/>
                </a:moveTo>
                <a:cubicBezTo>
                  <a:pt x="15437" y="2875"/>
                  <a:pt x="15500" y="2937"/>
                  <a:pt x="15500" y="2875"/>
                </a:cubicBezTo>
                <a:cubicBezTo>
                  <a:pt x="15500" y="2844"/>
                  <a:pt x="15468" y="2844"/>
                  <a:pt x="15437" y="2844"/>
                </a:cubicBezTo>
                <a:cubicBezTo>
                  <a:pt x="15406" y="2844"/>
                  <a:pt x="15406" y="2844"/>
                  <a:pt x="15406" y="2844"/>
                </a:cubicBezTo>
                <a:cubicBezTo>
                  <a:pt x="15375" y="2844"/>
                  <a:pt x="15312" y="2812"/>
                  <a:pt x="15312" y="2875"/>
                </a:cubicBezTo>
                <a:cubicBezTo>
                  <a:pt x="15312" y="2906"/>
                  <a:pt x="15375" y="2875"/>
                  <a:pt x="15437" y="2906"/>
                </a:cubicBezTo>
                <a:close/>
                <a:moveTo>
                  <a:pt x="14281" y="2687"/>
                </a:moveTo>
                <a:cubicBezTo>
                  <a:pt x="14250" y="2719"/>
                  <a:pt x="14187" y="2719"/>
                  <a:pt x="14187" y="2750"/>
                </a:cubicBezTo>
                <a:cubicBezTo>
                  <a:pt x="14187" y="2781"/>
                  <a:pt x="14250" y="2750"/>
                  <a:pt x="14281" y="2781"/>
                </a:cubicBezTo>
                <a:cubicBezTo>
                  <a:pt x="14281" y="2781"/>
                  <a:pt x="14312" y="2781"/>
                  <a:pt x="14343" y="2781"/>
                </a:cubicBezTo>
                <a:cubicBezTo>
                  <a:pt x="14343" y="2781"/>
                  <a:pt x="14375" y="2781"/>
                  <a:pt x="14375" y="2750"/>
                </a:cubicBezTo>
                <a:cubicBezTo>
                  <a:pt x="14375" y="2719"/>
                  <a:pt x="14343" y="2750"/>
                  <a:pt x="14343" y="2719"/>
                </a:cubicBezTo>
                <a:cubicBezTo>
                  <a:pt x="14312" y="2719"/>
                  <a:pt x="14281" y="2750"/>
                  <a:pt x="14281" y="2687"/>
                </a:cubicBezTo>
                <a:cubicBezTo>
                  <a:pt x="14281" y="2687"/>
                  <a:pt x="14281" y="2687"/>
                  <a:pt x="14281" y="2687"/>
                </a:cubicBezTo>
                <a:close/>
                <a:moveTo>
                  <a:pt x="10843" y="8562"/>
                </a:moveTo>
                <a:cubicBezTo>
                  <a:pt x="10843" y="8531"/>
                  <a:pt x="10875" y="8531"/>
                  <a:pt x="10906" y="8531"/>
                </a:cubicBezTo>
                <a:cubicBezTo>
                  <a:pt x="10906" y="8531"/>
                  <a:pt x="10937" y="8500"/>
                  <a:pt x="10937" y="8469"/>
                </a:cubicBezTo>
                <a:cubicBezTo>
                  <a:pt x="10937" y="8469"/>
                  <a:pt x="10937" y="8469"/>
                  <a:pt x="10906" y="8437"/>
                </a:cubicBezTo>
                <a:cubicBezTo>
                  <a:pt x="10906" y="8437"/>
                  <a:pt x="10906" y="8437"/>
                  <a:pt x="10875" y="8469"/>
                </a:cubicBezTo>
                <a:cubicBezTo>
                  <a:pt x="10875" y="8469"/>
                  <a:pt x="10843" y="8500"/>
                  <a:pt x="10812" y="8500"/>
                </a:cubicBezTo>
                <a:cubicBezTo>
                  <a:pt x="10781" y="8500"/>
                  <a:pt x="10781" y="8500"/>
                  <a:pt x="10781" y="8531"/>
                </a:cubicBezTo>
                <a:cubicBezTo>
                  <a:pt x="10750" y="8562"/>
                  <a:pt x="10781" y="8562"/>
                  <a:pt x="10812" y="8594"/>
                </a:cubicBezTo>
                <a:cubicBezTo>
                  <a:pt x="10812" y="8594"/>
                  <a:pt x="10843" y="8562"/>
                  <a:pt x="10843" y="8562"/>
                </a:cubicBezTo>
                <a:close/>
                <a:moveTo>
                  <a:pt x="9750" y="1562"/>
                </a:moveTo>
                <a:cubicBezTo>
                  <a:pt x="9781" y="1594"/>
                  <a:pt x="9781" y="1594"/>
                  <a:pt x="9781" y="1594"/>
                </a:cubicBezTo>
                <a:cubicBezTo>
                  <a:pt x="9781" y="1625"/>
                  <a:pt x="9750" y="1625"/>
                  <a:pt x="9750" y="1594"/>
                </a:cubicBezTo>
                <a:cubicBezTo>
                  <a:pt x="9718" y="1594"/>
                  <a:pt x="9718" y="1594"/>
                  <a:pt x="9687" y="1625"/>
                </a:cubicBezTo>
                <a:cubicBezTo>
                  <a:pt x="9687" y="1625"/>
                  <a:pt x="9687" y="1656"/>
                  <a:pt x="9718" y="1687"/>
                </a:cubicBezTo>
                <a:cubicBezTo>
                  <a:pt x="9718" y="1687"/>
                  <a:pt x="9750" y="1687"/>
                  <a:pt x="9781" y="1656"/>
                </a:cubicBezTo>
                <a:cubicBezTo>
                  <a:pt x="9781" y="1656"/>
                  <a:pt x="9812" y="1656"/>
                  <a:pt x="9812" y="1625"/>
                </a:cubicBezTo>
                <a:cubicBezTo>
                  <a:pt x="9843" y="1625"/>
                  <a:pt x="9875" y="1625"/>
                  <a:pt x="9843" y="1594"/>
                </a:cubicBezTo>
                <a:cubicBezTo>
                  <a:pt x="9843" y="1562"/>
                  <a:pt x="9812" y="1531"/>
                  <a:pt x="9781" y="1531"/>
                </a:cubicBezTo>
                <a:cubicBezTo>
                  <a:pt x="9781" y="1531"/>
                  <a:pt x="9750" y="1531"/>
                  <a:pt x="9750" y="1562"/>
                </a:cubicBezTo>
                <a:cubicBezTo>
                  <a:pt x="9750" y="1562"/>
                  <a:pt x="9750" y="1562"/>
                  <a:pt x="9750" y="1562"/>
                </a:cubicBezTo>
                <a:close/>
                <a:moveTo>
                  <a:pt x="14218" y="2344"/>
                </a:moveTo>
                <a:cubicBezTo>
                  <a:pt x="14218" y="2344"/>
                  <a:pt x="14218" y="2344"/>
                  <a:pt x="14218" y="2375"/>
                </a:cubicBezTo>
                <a:cubicBezTo>
                  <a:pt x="14250" y="2375"/>
                  <a:pt x="14250" y="2406"/>
                  <a:pt x="14281" y="2375"/>
                </a:cubicBezTo>
                <a:cubicBezTo>
                  <a:pt x="14312" y="2375"/>
                  <a:pt x="14312" y="2312"/>
                  <a:pt x="14312" y="2281"/>
                </a:cubicBezTo>
                <a:cubicBezTo>
                  <a:pt x="14312" y="2250"/>
                  <a:pt x="14281" y="2219"/>
                  <a:pt x="14250" y="2219"/>
                </a:cubicBezTo>
                <a:cubicBezTo>
                  <a:pt x="14218" y="2219"/>
                  <a:pt x="14187" y="2219"/>
                  <a:pt x="14187" y="2219"/>
                </a:cubicBezTo>
                <a:cubicBezTo>
                  <a:pt x="14187" y="2250"/>
                  <a:pt x="14218" y="2250"/>
                  <a:pt x="14218" y="2250"/>
                </a:cubicBezTo>
                <a:cubicBezTo>
                  <a:pt x="14250" y="2250"/>
                  <a:pt x="14281" y="2250"/>
                  <a:pt x="14281" y="2281"/>
                </a:cubicBezTo>
                <a:cubicBezTo>
                  <a:pt x="14281" y="2344"/>
                  <a:pt x="14250" y="2344"/>
                  <a:pt x="14218" y="2344"/>
                </a:cubicBezTo>
                <a:close/>
                <a:moveTo>
                  <a:pt x="13906" y="1750"/>
                </a:moveTo>
                <a:cubicBezTo>
                  <a:pt x="13906" y="1750"/>
                  <a:pt x="13906" y="1750"/>
                  <a:pt x="13906" y="1750"/>
                </a:cubicBezTo>
                <a:cubicBezTo>
                  <a:pt x="13906" y="1750"/>
                  <a:pt x="13906" y="1750"/>
                  <a:pt x="13906" y="1750"/>
                </a:cubicBezTo>
                <a:lnTo>
                  <a:pt x="13906" y="1750"/>
                </a:lnTo>
                <a:cubicBezTo>
                  <a:pt x="13906" y="1750"/>
                  <a:pt x="13906" y="1750"/>
                  <a:pt x="13906" y="1750"/>
                </a:cubicBezTo>
                <a:close/>
                <a:moveTo>
                  <a:pt x="16062" y="3656"/>
                </a:moveTo>
                <a:cubicBezTo>
                  <a:pt x="16125" y="3656"/>
                  <a:pt x="16156" y="3687"/>
                  <a:pt x="16187" y="3687"/>
                </a:cubicBezTo>
                <a:cubicBezTo>
                  <a:pt x="16250" y="3750"/>
                  <a:pt x="16281" y="3687"/>
                  <a:pt x="16312" y="3656"/>
                </a:cubicBezTo>
                <a:cubicBezTo>
                  <a:pt x="16281" y="3656"/>
                  <a:pt x="16218" y="3687"/>
                  <a:pt x="16187" y="3656"/>
                </a:cubicBezTo>
                <a:cubicBezTo>
                  <a:pt x="16156" y="3594"/>
                  <a:pt x="16125" y="3625"/>
                  <a:pt x="16062" y="3625"/>
                </a:cubicBezTo>
                <a:cubicBezTo>
                  <a:pt x="16062" y="3656"/>
                  <a:pt x="16031" y="3656"/>
                  <a:pt x="16000" y="3656"/>
                </a:cubicBezTo>
                <a:cubicBezTo>
                  <a:pt x="16031" y="3656"/>
                  <a:pt x="16031" y="3687"/>
                  <a:pt x="16062" y="3656"/>
                </a:cubicBezTo>
                <a:close/>
                <a:moveTo>
                  <a:pt x="9906" y="8781"/>
                </a:moveTo>
                <a:cubicBezTo>
                  <a:pt x="9906" y="8781"/>
                  <a:pt x="9875" y="8781"/>
                  <a:pt x="9875" y="8781"/>
                </a:cubicBezTo>
                <a:cubicBezTo>
                  <a:pt x="9843" y="8875"/>
                  <a:pt x="9781" y="8937"/>
                  <a:pt x="9750" y="9000"/>
                </a:cubicBezTo>
                <a:cubicBezTo>
                  <a:pt x="9718" y="9000"/>
                  <a:pt x="9718" y="9031"/>
                  <a:pt x="9750" y="9031"/>
                </a:cubicBezTo>
                <a:cubicBezTo>
                  <a:pt x="9750" y="9031"/>
                  <a:pt x="9750" y="9031"/>
                  <a:pt x="9750" y="9031"/>
                </a:cubicBezTo>
                <a:cubicBezTo>
                  <a:pt x="9812" y="8969"/>
                  <a:pt x="9875" y="8906"/>
                  <a:pt x="9906" y="8812"/>
                </a:cubicBezTo>
                <a:cubicBezTo>
                  <a:pt x="9906" y="8812"/>
                  <a:pt x="9906" y="8781"/>
                  <a:pt x="9906" y="8781"/>
                </a:cubicBezTo>
                <a:close/>
                <a:moveTo>
                  <a:pt x="14125" y="11937"/>
                </a:moveTo>
                <a:cubicBezTo>
                  <a:pt x="14062" y="11906"/>
                  <a:pt x="14062" y="11875"/>
                  <a:pt x="14093" y="11844"/>
                </a:cubicBezTo>
                <a:cubicBezTo>
                  <a:pt x="14062" y="11875"/>
                  <a:pt x="14000" y="11906"/>
                  <a:pt x="13968" y="11937"/>
                </a:cubicBezTo>
                <a:cubicBezTo>
                  <a:pt x="14000" y="11969"/>
                  <a:pt x="14062" y="11906"/>
                  <a:pt x="14062" y="11969"/>
                </a:cubicBezTo>
                <a:cubicBezTo>
                  <a:pt x="14093" y="12000"/>
                  <a:pt x="14093" y="12000"/>
                  <a:pt x="14125" y="12000"/>
                </a:cubicBezTo>
                <a:cubicBezTo>
                  <a:pt x="14156" y="11969"/>
                  <a:pt x="14125" y="11937"/>
                  <a:pt x="14125" y="11937"/>
                </a:cubicBezTo>
                <a:close/>
                <a:moveTo>
                  <a:pt x="9593" y="4844"/>
                </a:moveTo>
                <a:close/>
                <a:moveTo>
                  <a:pt x="10281" y="5500"/>
                </a:moveTo>
                <a:cubicBezTo>
                  <a:pt x="10375" y="5437"/>
                  <a:pt x="10500" y="5312"/>
                  <a:pt x="10500" y="5281"/>
                </a:cubicBezTo>
                <a:cubicBezTo>
                  <a:pt x="10437" y="5344"/>
                  <a:pt x="10375" y="5406"/>
                  <a:pt x="10281" y="5500"/>
                </a:cubicBezTo>
                <a:close/>
                <a:moveTo>
                  <a:pt x="14031" y="4500"/>
                </a:moveTo>
                <a:cubicBezTo>
                  <a:pt x="14031" y="4469"/>
                  <a:pt x="13968" y="4500"/>
                  <a:pt x="13937" y="4469"/>
                </a:cubicBezTo>
                <a:cubicBezTo>
                  <a:pt x="13937" y="4469"/>
                  <a:pt x="13906" y="4469"/>
                  <a:pt x="13906" y="4469"/>
                </a:cubicBezTo>
                <a:cubicBezTo>
                  <a:pt x="13875" y="4469"/>
                  <a:pt x="13875" y="4469"/>
                  <a:pt x="13843" y="4469"/>
                </a:cubicBezTo>
                <a:cubicBezTo>
                  <a:pt x="13843" y="4469"/>
                  <a:pt x="13843" y="4500"/>
                  <a:pt x="13843" y="4500"/>
                </a:cubicBezTo>
                <a:cubicBezTo>
                  <a:pt x="13906" y="4500"/>
                  <a:pt x="13937" y="4531"/>
                  <a:pt x="13937" y="4562"/>
                </a:cubicBezTo>
                <a:cubicBezTo>
                  <a:pt x="13937" y="4594"/>
                  <a:pt x="13968" y="4594"/>
                  <a:pt x="13968" y="4562"/>
                </a:cubicBezTo>
                <a:cubicBezTo>
                  <a:pt x="13968" y="4531"/>
                  <a:pt x="14031" y="4562"/>
                  <a:pt x="14031" y="4500"/>
                </a:cubicBezTo>
                <a:close/>
                <a:moveTo>
                  <a:pt x="14187" y="2375"/>
                </a:moveTo>
                <a:cubicBezTo>
                  <a:pt x="14187" y="2344"/>
                  <a:pt x="14156" y="2344"/>
                  <a:pt x="14156" y="2312"/>
                </a:cubicBezTo>
                <a:cubicBezTo>
                  <a:pt x="14125" y="2312"/>
                  <a:pt x="14093" y="2312"/>
                  <a:pt x="14062" y="2281"/>
                </a:cubicBezTo>
                <a:cubicBezTo>
                  <a:pt x="14031" y="2250"/>
                  <a:pt x="14000" y="2312"/>
                  <a:pt x="13937" y="2312"/>
                </a:cubicBezTo>
                <a:cubicBezTo>
                  <a:pt x="13937" y="2312"/>
                  <a:pt x="13937" y="2344"/>
                  <a:pt x="13968" y="2344"/>
                </a:cubicBezTo>
                <a:cubicBezTo>
                  <a:pt x="13968" y="2344"/>
                  <a:pt x="14000" y="2344"/>
                  <a:pt x="14000" y="2344"/>
                </a:cubicBezTo>
                <a:cubicBezTo>
                  <a:pt x="14062" y="2344"/>
                  <a:pt x="14093" y="2375"/>
                  <a:pt x="14125" y="2375"/>
                </a:cubicBezTo>
                <a:cubicBezTo>
                  <a:pt x="14156" y="2375"/>
                  <a:pt x="14156" y="2375"/>
                  <a:pt x="14187" y="2375"/>
                </a:cubicBezTo>
                <a:close/>
                <a:moveTo>
                  <a:pt x="9843" y="9937"/>
                </a:moveTo>
                <a:cubicBezTo>
                  <a:pt x="9875" y="9937"/>
                  <a:pt x="9875" y="9937"/>
                  <a:pt x="9906" y="9906"/>
                </a:cubicBezTo>
                <a:cubicBezTo>
                  <a:pt x="9906" y="9906"/>
                  <a:pt x="9906" y="9875"/>
                  <a:pt x="9906" y="9844"/>
                </a:cubicBezTo>
                <a:cubicBezTo>
                  <a:pt x="9875" y="9844"/>
                  <a:pt x="9781" y="9875"/>
                  <a:pt x="9812" y="9781"/>
                </a:cubicBezTo>
                <a:cubicBezTo>
                  <a:pt x="9843" y="9750"/>
                  <a:pt x="9781" y="9750"/>
                  <a:pt x="9781" y="9750"/>
                </a:cubicBezTo>
                <a:cubicBezTo>
                  <a:pt x="9781" y="9812"/>
                  <a:pt x="9718" y="9844"/>
                  <a:pt x="9718" y="9906"/>
                </a:cubicBezTo>
                <a:cubicBezTo>
                  <a:pt x="9781" y="9844"/>
                  <a:pt x="9781" y="9844"/>
                  <a:pt x="9843" y="9937"/>
                </a:cubicBezTo>
                <a:close/>
                <a:moveTo>
                  <a:pt x="16125" y="4906"/>
                </a:moveTo>
                <a:cubicBezTo>
                  <a:pt x="16093" y="4906"/>
                  <a:pt x="16093" y="4906"/>
                  <a:pt x="16093" y="4875"/>
                </a:cubicBezTo>
                <a:cubicBezTo>
                  <a:pt x="16062" y="4875"/>
                  <a:pt x="16062" y="4875"/>
                  <a:pt x="16031" y="4875"/>
                </a:cubicBezTo>
                <a:cubicBezTo>
                  <a:pt x="16031" y="4906"/>
                  <a:pt x="16062" y="4906"/>
                  <a:pt x="16062" y="4937"/>
                </a:cubicBezTo>
                <a:cubicBezTo>
                  <a:pt x="16093" y="4937"/>
                  <a:pt x="16093" y="4937"/>
                  <a:pt x="16125" y="4937"/>
                </a:cubicBezTo>
                <a:cubicBezTo>
                  <a:pt x="16156" y="4906"/>
                  <a:pt x="16187" y="4906"/>
                  <a:pt x="16187" y="4875"/>
                </a:cubicBezTo>
                <a:cubicBezTo>
                  <a:pt x="16187" y="4812"/>
                  <a:pt x="16125" y="4844"/>
                  <a:pt x="16156" y="4812"/>
                </a:cubicBezTo>
                <a:cubicBezTo>
                  <a:pt x="16156" y="4781"/>
                  <a:pt x="16125" y="4812"/>
                  <a:pt x="16125" y="4812"/>
                </a:cubicBezTo>
                <a:cubicBezTo>
                  <a:pt x="16093" y="4844"/>
                  <a:pt x="16093" y="4844"/>
                  <a:pt x="16125" y="4875"/>
                </a:cubicBezTo>
                <a:cubicBezTo>
                  <a:pt x="16125" y="4875"/>
                  <a:pt x="16125" y="4875"/>
                  <a:pt x="16125" y="4906"/>
                </a:cubicBezTo>
                <a:close/>
                <a:moveTo>
                  <a:pt x="13968" y="3250"/>
                </a:moveTo>
                <a:cubicBezTo>
                  <a:pt x="13968" y="3250"/>
                  <a:pt x="13937" y="3250"/>
                  <a:pt x="13937" y="3250"/>
                </a:cubicBezTo>
                <a:cubicBezTo>
                  <a:pt x="13937" y="3250"/>
                  <a:pt x="13906" y="3250"/>
                  <a:pt x="13906" y="3250"/>
                </a:cubicBezTo>
                <a:cubicBezTo>
                  <a:pt x="13843" y="3281"/>
                  <a:pt x="13812" y="3219"/>
                  <a:pt x="13750" y="3250"/>
                </a:cubicBezTo>
                <a:cubicBezTo>
                  <a:pt x="13812" y="3250"/>
                  <a:pt x="13875" y="3281"/>
                  <a:pt x="13937" y="3281"/>
                </a:cubicBezTo>
                <a:cubicBezTo>
                  <a:pt x="14000" y="3281"/>
                  <a:pt x="13968" y="3250"/>
                  <a:pt x="13968" y="3250"/>
                </a:cubicBezTo>
                <a:cubicBezTo>
                  <a:pt x="13968" y="3250"/>
                  <a:pt x="13968" y="3219"/>
                  <a:pt x="13968" y="3219"/>
                </a:cubicBezTo>
                <a:cubicBezTo>
                  <a:pt x="13968" y="3219"/>
                  <a:pt x="13968" y="3219"/>
                  <a:pt x="13968" y="3250"/>
                </a:cubicBezTo>
                <a:close/>
                <a:moveTo>
                  <a:pt x="13937" y="1062"/>
                </a:moveTo>
                <a:cubicBezTo>
                  <a:pt x="13968" y="1062"/>
                  <a:pt x="14000" y="1062"/>
                  <a:pt x="14000" y="1031"/>
                </a:cubicBezTo>
                <a:cubicBezTo>
                  <a:pt x="14000" y="1000"/>
                  <a:pt x="13968" y="1000"/>
                  <a:pt x="13937" y="1000"/>
                </a:cubicBezTo>
                <a:cubicBezTo>
                  <a:pt x="13906" y="1000"/>
                  <a:pt x="13906" y="1062"/>
                  <a:pt x="13875" y="1031"/>
                </a:cubicBezTo>
                <a:cubicBezTo>
                  <a:pt x="13843" y="969"/>
                  <a:pt x="13812" y="1000"/>
                  <a:pt x="13781" y="1000"/>
                </a:cubicBezTo>
                <a:cubicBezTo>
                  <a:pt x="13843" y="1031"/>
                  <a:pt x="13875" y="1125"/>
                  <a:pt x="13937" y="1062"/>
                </a:cubicBezTo>
                <a:close/>
                <a:moveTo>
                  <a:pt x="9531" y="7437"/>
                </a:moveTo>
                <a:cubicBezTo>
                  <a:pt x="9531" y="7437"/>
                  <a:pt x="9531" y="7437"/>
                  <a:pt x="9531" y="7406"/>
                </a:cubicBezTo>
                <a:cubicBezTo>
                  <a:pt x="9500" y="7406"/>
                  <a:pt x="9500" y="7437"/>
                  <a:pt x="9500" y="7437"/>
                </a:cubicBezTo>
                <a:cubicBezTo>
                  <a:pt x="9437" y="7469"/>
                  <a:pt x="9406" y="7531"/>
                  <a:pt x="9343" y="7594"/>
                </a:cubicBezTo>
                <a:cubicBezTo>
                  <a:pt x="9343" y="7594"/>
                  <a:pt x="9281" y="7625"/>
                  <a:pt x="9312" y="7687"/>
                </a:cubicBezTo>
                <a:cubicBezTo>
                  <a:pt x="9375" y="7594"/>
                  <a:pt x="9468" y="7531"/>
                  <a:pt x="9531" y="7437"/>
                </a:cubicBezTo>
                <a:close/>
                <a:moveTo>
                  <a:pt x="14000" y="8500"/>
                </a:moveTo>
                <a:cubicBezTo>
                  <a:pt x="13968" y="8531"/>
                  <a:pt x="13937" y="8469"/>
                  <a:pt x="13906" y="8469"/>
                </a:cubicBezTo>
                <a:cubicBezTo>
                  <a:pt x="14000" y="8531"/>
                  <a:pt x="13937" y="8625"/>
                  <a:pt x="13937" y="8719"/>
                </a:cubicBezTo>
                <a:cubicBezTo>
                  <a:pt x="13937" y="8719"/>
                  <a:pt x="13968" y="8719"/>
                  <a:pt x="13968" y="8687"/>
                </a:cubicBezTo>
                <a:cubicBezTo>
                  <a:pt x="13968" y="8656"/>
                  <a:pt x="13968" y="8594"/>
                  <a:pt x="14031" y="8562"/>
                </a:cubicBezTo>
                <a:cubicBezTo>
                  <a:pt x="14031" y="8562"/>
                  <a:pt x="14031" y="8500"/>
                  <a:pt x="14000" y="8500"/>
                </a:cubicBezTo>
                <a:close/>
                <a:moveTo>
                  <a:pt x="14093" y="3281"/>
                </a:moveTo>
                <a:cubicBezTo>
                  <a:pt x="14093" y="3281"/>
                  <a:pt x="14093" y="3281"/>
                  <a:pt x="14093" y="3312"/>
                </a:cubicBezTo>
                <a:cubicBezTo>
                  <a:pt x="14093" y="3312"/>
                  <a:pt x="14125" y="3312"/>
                  <a:pt x="14125" y="3312"/>
                </a:cubicBezTo>
                <a:cubicBezTo>
                  <a:pt x="14218" y="3312"/>
                  <a:pt x="14281" y="3344"/>
                  <a:pt x="14375" y="3344"/>
                </a:cubicBezTo>
                <a:cubicBezTo>
                  <a:pt x="14312" y="3281"/>
                  <a:pt x="14156" y="3250"/>
                  <a:pt x="14093" y="3281"/>
                </a:cubicBezTo>
                <a:close/>
                <a:moveTo>
                  <a:pt x="14281" y="4062"/>
                </a:moveTo>
                <a:cubicBezTo>
                  <a:pt x="14343" y="4094"/>
                  <a:pt x="14406" y="4094"/>
                  <a:pt x="14468" y="4125"/>
                </a:cubicBezTo>
                <a:cubicBezTo>
                  <a:pt x="14500" y="4125"/>
                  <a:pt x="14531" y="4094"/>
                  <a:pt x="14531" y="4062"/>
                </a:cubicBezTo>
                <a:cubicBezTo>
                  <a:pt x="14531" y="4062"/>
                  <a:pt x="14531" y="4062"/>
                  <a:pt x="14500" y="4062"/>
                </a:cubicBezTo>
                <a:cubicBezTo>
                  <a:pt x="14437" y="4062"/>
                  <a:pt x="14343" y="4062"/>
                  <a:pt x="14281" y="4031"/>
                </a:cubicBezTo>
                <a:cubicBezTo>
                  <a:pt x="14250" y="4000"/>
                  <a:pt x="14250" y="4031"/>
                  <a:pt x="14250" y="4031"/>
                </a:cubicBezTo>
                <a:cubicBezTo>
                  <a:pt x="14250" y="4062"/>
                  <a:pt x="14250" y="4062"/>
                  <a:pt x="14281" y="4062"/>
                </a:cubicBezTo>
                <a:close/>
                <a:moveTo>
                  <a:pt x="15625" y="3125"/>
                </a:moveTo>
                <a:cubicBezTo>
                  <a:pt x="15718" y="3156"/>
                  <a:pt x="15812" y="3187"/>
                  <a:pt x="15937" y="3094"/>
                </a:cubicBezTo>
                <a:cubicBezTo>
                  <a:pt x="15812" y="3094"/>
                  <a:pt x="15718" y="3094"/>
                  <a:pt x="15625" y="3094"/>
                </a:cubicBezTo>
                <a:cubicBezTo>
                  <a:pt x="15625" y="3125"/>
                  <a:pt x="15625" y="3125"/>
                  <a:pt x="15625" y="3125"/>
                </a:cubicBezTo>
                <a:close/>
                <a:moveTo>
                  <a:pt x="14812" y="2469"/>
                </a:moveTo>
                <a:cubicBezTo>
                  <a:pt x="14687" y="2406"/>
                  <a:pt x="14656" y="2406"/>
                  <a:pt x="14593" y="2437"/>
                </a:cubicBezTo>
                <a:cubicBezTo>
                  <a:pt x="14656" y="2469"/>
                  <a:pt x="14718" y="2469"/>
                  <a:pt x="14718" y="2531"/>
                </a:cubicBezTo>
                <a:cubicBezTo>
                  <a:pt x="14718" y="2531"/>
                  <a:pt x="14687" y="2531"/>
                  <a:pt x="14687" y="2531"/>
                </a:cubicBezTo>
                <a:cubicBezTo>
                  <a:pt x="14656" y="2531"/>
                  <a:pt x="14656" y="2531"/>
                  <a:pt x="14656" y="2562"/>
                </a:cubicBezTo>
                <a:cubicBezTo>
                  <a:pt x="14656" y="2594"/>
                  <a:pt x="14656" y="2594"/>
                  <a:pt x="14687" y="2594"/>
                </a:cubicBezTo>
                <a:cubicBezTo>
                  <a:pt x="14687" y="2594"/>
                  <a:pt x="14718" y="2594"/>
                  <a:pt x="14718" y="2594"/>
                </a:cubicBezTo>
                <a:cubicBezTo>
                  <a:pt x="14750" y="2562"/>
                  <a:pt x="14781" y="2656"/>
                  <a:pt x="14812" y="2594"/>
                </a:cubicBezTo>
                <a:cubicBezTo>
                  <a:pt x="14812" y="2562"/>
                  <a:pt x="14750" y="2594"/>
                  <a:pt x="14750" y="2562"/>
                </a:cubicBezTo>
                <a:cubicBezTo>
                  <a:pt x="14718" y="2500"/>
                  <a:pt x="14781" y="2500"/>
                  <a:pt x="14812" y="2469"/>
                </a:cubicBezTo>
                <a:close/>
                <a:moveTo>
                  <a:pt x="10906" y="10062"/>
                </a:moveTo>
                <a:cubicBezTo>
                  <a:pt x="10937" y="10000"/>
                  <a:pt x="11031" y="10000"/>
                  <a:pt x="11031" y="9906"/>
                </a:cubicBezTo>
                <a:cubicBezTo>
                  <a:pt x="11031" y="9906"/>
                  <a:pt x="11062" y="9906"/>
                  <a:pt x="11062" y="9875"/>
                </a:cubicBezTo>
                <a:cubicBezTo>
                  <a:pt x="11062" y="9875"/>
                  <a:pt x="11093" y="9844"/>
                  <a:pt x="11093" y="9844"/>
                </a:cubicBezTo>
                <a:cubicBezTo>
                  <a:pt x="11093" y="9844"/>
                  <a:pt x="11093" y="9812"/>
                  <a:pt x="11062" y="9812"/>
                </a:cubicBezTo>
                <a:cubicBezTo>
                  <a:pt x="11062" y="9812"/>
                  <a:pt x="11031" y="9844"/>
                  <a:pt x="11031" y="9844"/>
                </a:cubicBezTo>
                <a:cubicBezTo>
                  <a:pt x="11000" y="9906"/>
                  <a:pt x="10937" y="9969"/>
                  <a:pt x="10875" y="10031"/>
                </a:cubicBezTo>
                <a:cubicBezTo>
                  <a:pt x="10875" y="10031"/>
                  <a:pt x="10843" y="10062"/>
                  <a:pt x="10875" y="10094"/>
                </a:cubicBezTo>
                <a:cubicBezTo>
                  <a:pt x="10875" y="10094"/>
                  <a:pt x="10906" y="10094"/>
                  <a:pt x="10906" y="10062"/>
                </a:cubicBezTo>
                <a:close/>
                <a:moveTo>
                  <a:pt x="11218" y="10969"/>
                </a:moveTo>
                <a:cubicBezTo>
                  <a:pt x="11187" y="10937"/>
                  <a:pt x="11156" y="10969"/>
                  <a:pt x="11156" y="11000"/>
                </a:cubicBezTo>
                <a:cubicBezTo>
                  <a:pt x="11187" y="11000"/>
                  <a:pt x="11218" y="11000"/>
                  <a:pt x="11250" y="11031"/>
                </a:cubicBezTo>
                <a:cubicBezTo>
                  <a:pt x="11250" y="11062"/>
                  <a:pt x="11250" y="11094"/>
                  <a:pt x="11187" y="11125"/>
                </a:cubicBezTo>
                <a:cubicBezTo>
                  <a:pt x="11187" y="11125"/>
                  <a:pt x="11187" y="11125"/>
                  <a:pt x="11187" y="11125"/>
                </a:cubicBezTo>
                <a:cubicBezTo>
                  <a:pt x="11187" y="11125"/>
                  <a:pt x="11156" y="11156"/>
                  <a:pt x="11187" y="11156"/>
                </a:cubicBezTo>
                <a:cubicBezTo>
                  <a:pt x="11187" y="11156"/>
                  <a:pt x="11218" y="11156"/>
                  <a:pt x="11218" y="11156"/>
                </a:cubicBezTo>
                <a:cubicBezTo>
                  <a:pt x="11250" y="11094"/>
                  <a:pt x="11312" y="11062"/>
                  <a:pt x="11312" y="10969"/>
                </a:cubicBezTo>
                <a:cubicBezTo>
                  <a:pt x="11312" y="11031"/>
                  <a:pt x="11250" y="11000"/>
                  <a:pt x="11218" y="10969"/>
                </a:cubicBezTo>
                <a:close/>
                <a:moveTo>
                  <a:pt x="9281" y="4156"/>
                </a:moveTo>
                <a:cubicBezTo>
                  <a:pt x="9281" y="4156"/>
                  <a:pt x="9281" y="4156"/>
                  <a:pt x="9281" y="4156"/>
                </a:cubicBezTo>
                <a:cubicBezTo>
                  <a:pt x="9281" y="4156"/>
                  <a:pt x="9281" y="4156"/>
                  <a:pt x="9281" y="4156"/>
                </a:cubicBezTo>
                <a:lnTo>
                  <a:pt x="9281" y="4156"/>
                </a:lnTo>
                <a:cubicBezTo>
                  <a:pt x="9281" y="4156"/>
                  <a:pt x="9281" y="4156"/>
                  <a:pt x="9281" y="4156"/>
                </a:cubicBezTo>
                <a:close/>
                <a:moveTo>
                  <a:pt x="11468" y="12562"/>
                </a:moveTo>
                <a:cubicBezTo>
                  <a:pt x="11468" y="12562"/>
                  <a:pt x="11468" y="12562"/>
                  <a:pt x="11468" y="12562"/>
                </a:cubicBezTo>
                <a:cubicBezTo>
                  <a:pt x="11468" y="12562"/>
                  <a:pt x="11468" y="12562"/>
                  <a:pt x="11468" y="12562"/>
                </a:cubicBezTo>
                <a:lnTo>
                  <a:pt x="11468" y="12562"/>
                </a:lnTo>
                <a:cubicBezTo>
                  <a:pt x="11468" y="12562"/>
                  <a:pt x="11468" y="12562"/>
                  <a:pt x="11468" y="12562"/>
                </a:cubicBezTo>
                <a:cubicBezTo>
                  <a:pt x="11468" y="12562"/>
                  <a:pt x="11468" y="12562"/>
                  <a:pt x="11468" y="12562"/>
                </a:cubicBezTo>
                <a:close/>
                <a:moveTo>
                  <a:pt x="10906" y="11344"/>
                </a:moveTo>
                <a:cubicBezTo>
                  <a:pt x="10906" y="11344"/>
                  <a:pt x="10906" y="11344"/>
                  <a:pt x="10906" y="11344"/>
                </a:cubicBezTo>
                <a:cubicBezTo>
                  <a:pt x="10906" y="11344"/>
                  <a:pt x="10906" y="11344"/>
                  <a:pt x="10906" y="11344"/>
                </a:cubicBezTo>
                <a:lnTo>
                  <a:pt x="10906" y="11344"/>
                </a:lnTo>
                <a:cubicBezTo>
                  <a:pt x="10906" y="11344"/>
                  <a:pt x="10906" y="11344"/>
                  <a:pt x="10906" y="11344"/>
                </a:cubicBezTo>
                <a:cubicBezTo>
                  <a:pt x="10906" y="11344"/>
                  <a:pt x="10906" y="11344"/>
                  <a:pt x="10906" y="11344"/>
                </a:cubicBezTo>
                <a:close/>
                <a:moveTo>
                  <a:pt x="14031" y="3406"/>
                </a:moveTo>
                <a:cubicBezTo>
                  <a:pt x="14031" y="3406"/>
                  <a:pt x="14031" y="3406"/>
                  <a:pt x="14031" y="3406"/>
                </a:cubicBezTo>
                <a:cubicBezTo>
                  <a:pt x="14031" y="3406"/>
                  <a:pt x="14031" y="3375"/>
                  <a:pt x="14031" y="3375"/>
                </a:cubicBezTo>
                <a:cubicBezTo>
                  <a:pt x="14000" y="3375"/>
                  <a:pt x="13968" y="3375"/>
                  <a:pt x="13937" y="3406"/>
                </a:cubicBezTo>
                <a:cubicBezTo>
                  <a:pt x="13968" y="3437"/>
                  <a:pt x="14000" y="3437"/>
                  <a:pt x="14031" y="3437"/>
                </a:cubicBezTo>
                <a:cubicBezTo>
                  <a:pt x="14093" y="3437"/>
                  <a:pt x="14125" y="3406"/>
                  <a:pt x="14156" y="3437"/>
                </a:cubicBezTo>
                <a:cubicBezTo>
                  <a:pt x="14218" y="3469"/>
                  <a:pt x="14281" y="3437"/>
                  <a:pt x="14375" y="3437"/>
                </a:cubicBezTo>
                <a:cubicBezTo>
                  <a:pt x="14250" y="3375"/>
                  <a:pt x="14125" y="3375"/>
                  <a:pt x="14031" y="3406"/>
                </a:cubicBezTo>
                <a:close/>
                <a:moveTo>
                  <a:pt x="10593" y="5625"/>
                </a:moveTo>
                <a:cubicBezTo>
                  <a:pt x="10656" y="5562"/>
                  <a:pt x="10750" y="5437"/>
                  <a:pt x="10843" y="5375"/>
                </a:cubicBezTo>
                <a:cubicBezTo>
                  <a:pt x="10812" y="5344"/>
                  <a:pt x="10812" y="5344"/>
                  <a:pt x="10812" y="5344"/>
                </a:cubicBezTo>
                <a:cubicBezTo>
                  <a:pt x="10718" y="5437"/>
                  <a:pt x="10625" y="5531"/>
                  <a:pt x="10562" y="5625"/>
                </a:cubicBezTo>
                <a:cubicBezTo>
                  <a:pt x="10562" y="5625"/>
                  <a:pt x="10531" y="5625"/>
                  <a:pt x="10531" y="5656"/>
                </a:cubicBezTo>
                <a:cubicBezTo>
                  <a:pt x="10562" y="5656"/>
                  <a:pt x="10562" y="5656"/>
                  <a:pt x="10593" y="5625"/>
                </a:cubicBezTo>
                <a:close/>
                <a:moveTo>
                  <a:pt x="14062" y="2875"/>
                </a:moveTo>
                <a:cubicBezTo>
                  <a:pt x="14031" y="2875"/>
                  <a:pt x="14031" y="2875"/>
                  <a:pt x="14031" y="2875"/>
                </a:cubicBezTo>
                <a:cubicBezTo>
                  <a:pt x="14031" y="2906"/>
                  <a:pt x="14062" y="2906"/>
                  <a:pt x="14062" y="2906"/>
                </a:cubicBezTo>
                <a:cubicBezTo>
                  <a:pt x="14093" y="2906"/>
                  <a:pt x="14125" y="2875"/>
                  <a:pt x="14125" y="2875"/>
                </a:cubicBezTo>
                <a:cubicBezTo>
                  <a:pt x="14187" y="2937"/>
                  <a:pt x="14281" y="2844"/>
                  <a:pt x="14343" y="2906"/>
                </a:cubicBezTo>
                <a:cubicBezTo>
                  <a:pt x="14375" y="2906"/>
                  <a:pt x="14375" y="2906"/>
                  <a:pt x="14375" y="2875"/>
                </a:cubicBezTo>
                <a:cubicBezTo>
                  <a:pt x="14375" y="2875"/>
                  <a:pt x="14343" y="2875"/>
                  <a:pt x="14343" y="2875"/>
                </a:cubicBezTo>
                <a:cubicBezTo>
                  <a:pt x="14312" y="2875"/>
                  <a:pt x="14250" y="2875"/>
                  <a:pt x="14218" y="2875"/>
                </a:cubicBezTo>
                <a:cubicBezTo>
                  <a:pt x="14156" y="2875"/>
                  <a:pt x="14125" y="2844"/>
                  <a:pt x="14062" y="2875"/>
                </a:cubicBezTo>
                <a:close/>
                <a:moveTo>
                  <a:pt x="13312" y="969"/>
                </a:moveTo>
                <a:cubicBezTo>
                  <a:pt x="13312" y="969"/>
                  <a:pt x="13343" y="1000"/>
                  <a:pt x="13375" y="1031"/>
                </a:cubicBezTo>
                <a:cubicBezTo>
                  <a:pt x="13343" y="1062"/>
                  <a:pt x="13281" y="1031"/>
                  <a:pt x="13312" y="1094"/>
                </a:cubicBezTo>
                <a:cubicBezTo>
                  <a:pt x="13312" y="1125"/>
                  <a:pt x="13343" y="1125"/>
                  <a:pt x="13375" y="1125"/>
                </a:cubicBezTo>
                <a:cubicBezTo>
                  <a:pt x="13406" y="1125"/>
                  <a:pt x="13406" y="1094"/>
                  <a:pt x="13406" y="1062"/>
                </a:cubicBezTo>
                <a:cubicBezTo>
                  <a:pt x="13375" y="1031"/>
                  <a:pt x="13375" y="969"/>
                  <a:pt x="13343" y="937"/>
                </a:cubicBezTo>
                <a:cubicBezTo>
                  <a:pt x="13312" y="906"/>
                  <a:pt x="13281" y="906"/>
                  <a:pt x="13281" y="937"/>
                </a:cubicBezTo>
                <a:cubicBezTo>
                  <a:pt x="13250" y="937"/>
                  <a:pt x="13250" y="937"/>
                  <a:pt x="13250" y="937"/>
                </a:cubicBezTo>
                <a:cubicBezTo>
                  <a:pt x="13250" y="969"/>
                  <a:pt x="13281" y="969"/>
                  <a:pt x="13312" y="969"/>
                </a:cubicBezTo>
                <a:close/>
                <a:moveTo>
                  <a:pt x="14156" y="2469"/>
                </a:moveTo>
                <a:cubicBezTo>
                  <a:pt x="14156" y="2500"/>
                  <a:pt x="14156" y="2500"/>
                  <a:pt x="14156" y="2500"/>
                </a:cubicBezTo>
                <a:cubicBezTo>
                  <a:pt x="14250" y="2500"/>
                  <a:pt x="14343" y="2531"/>
                  <a:pt x="14437" y="2531"/>
                </a:cubicBezTo>
                <a:cubicBezTo>
                  <a:pt x="14437" y="2531"/>
                  <a:pt x="14468" y="2562"/>
                  <a:pt x="14500" y="2531"/>
                </a:cubicBezTo>
                <a:cubicBezTo>
                  <a:pt x="14500" y="2500"/>
                  <a:pt x="14468" y="2500"/>
                  <a:pt x="14468" y="2500"/>
                </a:cubicBezTo>
                <a:cubicBezTo>
                  <a:pt x="14375" y="2469"/>
                  <a:pt x="14281" y="2469"/>
                  <a:pt x="14187" y="2469"/>
                </a:cubicBezTo>
                <a:cubicBezTo>
                  <a:pt x="14156" y="2469"/>
                  <a:pt x="14156" y="2469"/>
                  <a:pt x="14156" y="2469"/>
                </a:cubicBezTo>
                <a:close/>
                <a:moveTo>
                  <a:pt x="13375" y="1250"/>
                </a:moveTo>
                <a:cubicBezTo>
                  <a:pt x="13375" y="1250"/>
                  <a:pt x="13406" y="1250"/>
                  <a:pt x="13406" y="1250"/>
                </a:cubicBezTo>
                <a:cubicBezTo>
                  <a:pt x="13500" y="1281"/>
                  <a:pt x="13593" y="1281"/>
                  <a:pt x="13687" y="1281"/>
                </a:cubicBezTo>
                <a:cubicBezTo>
                  <a:pt x="13718" y="1281"/>
                  <a:pt x="13781" y="1281"/>
                  <a:pt x="13812" y="1312"/>
                </a:cubicBezTo>
                <a:cubicBezTo>
                  <a:pt x="13812" y="1312"/>
                  <a:pt x="13843" y="1344"/>
                  <a:pt x="13875" y="1312"/>
                </a:cubicBezTo>
                <a:cubicBezTo>
                  <a:pt x="13875" y="1312"/>
                  <a:pt x="13875" y="1312"/>
                  <a:pt x="13875" y="1281"/>
                </a:cubicBezTo>
                <a:cubicBezTo>
                  <a:pt x="13875" y="1250"/>
                  <a:pt x="13843" y="1281"/>
                  <a:pt x="13812" y="1281"/>
                </a:cubicBezTo>
                <a:cubicBezTo>
                  <a:pt x="13687" y="1250"/>
                  <a:pt x="13562" y="1219"/>
                  <a:pt x="13406" y="1219"/>
                </a:cubicBezTo>
                <a:cubicBezTo>
                  <a:pt x="13406" y="1219"/>
                  <a:pt x="13375" y="1219"/>
                  <a:pt x="13375" y="1250"/>
                </a:cubicBezTo>
                <a:close/>
                <a:moveTo>
                  <a:pt x="14031" y="1875"/>
                </a:moveTo>
                <a:cubicBezTo>
                  <a:pt x="13937" y="1906"/>
                  <a:pt x="13843" y="1844"/>
                  <a:pt x="13781" y="1844"/>
                </a:cubicBezTo>
                <a:cubicBezTo>
                  <a:pt x="13750" y="1844"/>
                  <a:pt x="13718" y="1812"/>
                  <a:pt x="13687" y="1844"/>
                </a:cubicBezTo>
                <a:cubicBezTo>
                  <a:pt x="13687" y="1875"/>
                  <a:pt x="13750" y="1875"/>
                  <a:pt x="13750" y="1875"/>
                </a:cubicBezTo>
                <a:cubicBezTo>
                  <a:pt x="13781" y="1875"/>
                  <a:pt x="13781" y="1875"/>
                  <a:pt x="13812" y="1875"/>
                </a:cubicBezTo>
                <a:cubicBezTo>
                  <a:pt x="13875" y="1906"/>
                  <a:pt x="13906" y="1906"/>
                  <a:pt x="13906" y="1969"/>
                </a:cubicBezTo>
                <a:cubicBezTo>
                  <a:pt x="13937" y="1906"/>
                  <a:pt x="13968" y="1906"/>
                  <a:pt x="14031" y="1937"/>
                </a:cubicBezTo>
                <a:cubicBezTo>
                  <a:pt x="14031" y="1937"/>
                  <a:pt x="14062" y="1937"/>
                  <a:pt x="14062" y="1906"/>
                </a:cubicBezTo>
                <a:cubicBezTo>
                  <a:pt x="14062" y="1875"/>
                  <a:pt x="14031" y="1875"/>
                  <a:pt x="14031" y="1875"/>
                </a:cubicBezTo>
                <a:close/>
                <a:moveTo>
                  <a:pt x="10406" y="10031"/>
                </a:moveTo>
                <a:cubicBezTo>
                  <a:pt x="10406" y="10031"/>
                  <a:pt x="10406" y="10031"/>
                  <a:pt x="10406" y="10031"/>
                </a:cubicBezTo>
                <a:close/>
                <a:moveTo>
                  <a:pt x="11125" y="10719"/>
                </a:moveTo>
                <a:cubicBezTo>
                  <a:pt x="11062" y="10687"/>
                  <a:pt x="11062" y="10687"/>
                  <a:pt x="11093" y="10656"/>
                </a:cubicBezTo>
                <a:cubicBezTo>
                  <a:pt x="11156" y="10594"/>
                  <a:pt x="11218" y="10562"/>
                  <a:pt x="11218" y="10469"/>
                </a:cubicBezTo>
                <a:cubicBezTo>
                  <a:pt x="11187" y="10500"/>
                  <a:pt x="11187" y="10500"/>
                  <a:pt x="11156" y="10500"/>
                </a:cubicBezTo>
                <a:cubicBezTo>
                  <a:pt x="11093" y="10625"/>
                  <a:pt x="11031" y="10719"/>
                  <a:pt x="10937" y="10844"/>
                </a:cubicBezTo>
                <a:cubicBezTo>
                  <a:pt x="10937" y="10844"/>
                  <a:pt x="10937" y="10844"/>
                  <a:pt x="10937" y="10844"/>
                </a:cubicBezTo>
                <a:cubicBezTo>
                  <a:pt x="10875" y="10844"/>
                  <a:pt x="10875" y="10875"/>
                  <a:pt x="10843" y="10906"/>
                </a:cubicBezTo>
                <a:cubicBezTo>
                  <a:pt x="10843" y="10906"/>
                  <a:pt x="10843" y="10906"/>
                  <a:pt x="10843" y="10906"/>
                </a:cubicBezTo>
                <a:cubicBezTo>
                  <a:pt x="10843" y="10906"/>
                  <a:pt x="10843" y="10906"/>
                  <a:pt x="10812" y="10906"/>
                </a:cubicBezTo>
                <a:cubicBezTo>
                  <a:pt x="10812" y="10937"/>
                  <a:pt x="10781" y="10937"/>
                  <a:pt x="10781" y="10969"/>
                </a:cubicBezTo>
                <a:cubicBezTo>
                  <a:pt x="10781" y="10969"/>
                  <a:pt x="10812" y="10969"/>
                  <a:pt x="10812" y="10969"/>
                </a:cubicBezTo>
                <a:cubicBezTo>
                  <a:pt x="10843" y="10969"/>
                  <a:pt x="10843" y="10969"/>
                  <a:pt x="10843" y="10937"/>
                </a:cubicBezTo>
                <a:cubicBezTo>
                  <a:pt x="10843" y="10937"/>
                  <a:pt x="10843" y="10937"/>
                  <a:pt x="10843" y="10906"/>
                </a:cubicBezTo>
                <a:cubicBezTo>
                  <a:pt x="10906" y="10906"/>
                  <a:pt x="10937" y="10875"/>
                  <a:pt x="10937" y="10844"/>
                </a:cubicBezTo>
                <a:cubicBezTo>
                  <a:pt x="10968" y="10844"/>
                  <a:pt x="11000" y="10844"/>
                  <a:pt x="11031" y="10844"/>
                </a:cubicBezTo>
                <a:cubicBezTo>
                  <a:pt x="11000" y="10781"/>
                  <a:pt x="11031" y="10750"/>
                  <a:pt x="11062" y="10750"/>
                </a:cubicBezTo>
                <a:cubicBezTo>
                  <a:pt x="11093" y="10750"/>
                  <a:pt x="11093" y="10750"/>
                  <a:pt x="11125" y="10750"/>
                </a:cubicBezTo>
                <a:cubicBezTo>
                  <a:pt x="11125" y="10750"/>
                  <a:pt x="11125" y="10750"/>
                  <a:pt x="11125" y="10750"/>
                </a:cubicBezTo>
                <a:cubicBezTo>
                  <a:pt x="11125" y="10750"/>
                  <a:pt x="11125" y="10719"/>
                  <a:pt x="11125" y="10719"/>
                </a:cubicBezTo>
                <a:close/>
                <a:moveTo>
                  <a:pt x="10468" y="10312"/>
                </a:moveTo>
                <a:cubicBezTo>
                  <a:pt x="10468" y="10437"/>
                  <a:pt x="10437" y="10437"/>
                  <a:pt x="10375" y="10406"/>
                </a:cubicBezTo>
                <a:cubicBezTo>
                  <a:pt x="10343" y="10406"/>
                  <a:pt x="10343" y="10406"/>
                  <a:pt x="10343" y="10406"/>
                </a:cubicBezTo>
                <a:cubicBezTo>
                  <a:pt x="10312" y="10406"/>
                  <a:pt x="10312" y="10406"/>
                  <a:pt x="10312" y="10437"/>
                </a:cubicBezTo>
                <a:cubicBezTo>
                  <a:pt x="10312" y="10406"/>
                  <a:pt x="10312" y="10406"/>
                  <a:pt x="10343" y="10406"/>
                </a:cubicBezTo>
                <a:cubicBezTo>
                  <a:pt x="10375" y="10375"/>
                  <a:pt x="10375" y="10344"/>
                  <a:pt x="10406" y="10312"/>
                </a:cubicBezTo>
                <a:cubicBezTo>
                  <a:pt x="10406" y="10312"/>
                  <a:pt x="10437" y="10312"/>
                  <a:pt x="10468" y="10312"/>
                </a:cubicBezTo>
                <a:cubicBezTo>
                  <a:pt x="10468" y="10312"/>
                  <a:pt x="10468" y="10312"/>
                  <a:pt x="10468" y="10312"/>
                </a:cubicBezTo>
                <a:close/>
                <a:moveTo>
                  <a:pt x="10312" y="10594"/>
                </a:moveTo>
                <a:cubicBezTo>
                  <a:pt x="10312" y="10594"/>
                  <a:pt x="10312" y="10594"/>
                  <a:pt x="10312" y="10594"/>
                </a:cubicBezTo>
                <a:close/>
                <a:moveTo>
                  <a:pt x="14031" y="3156"/>
                </a:moveTo>
                <a:cubicBezTo>
                  <a:pt x="14125" y="3156"/>
                  <a:pt x="14218" y="3219"/>
                  <a:pt x="14312" y="3156"/>
                </a:cubicBezTo>
                <a:cubicBezTo>
                  <a:pt x="14125" y="3156"/>
                  <a:pt x="13937" y="3156"/>
                  <a:pt x="13750" y="3125"/>
                </a:cubicBezTo>
                <a:cubicBezTo>
                  <a:pt x="13843" y="3156"/>
                  <a:pt x="13937" y="3187"/>
                  <a:pt x="14031" y="3156"/>
                </a:cubicBezTo>
                <a:close/>
                <a:moveTo>
                  <a:pt x="12500" y="11094"/>
                </a:moveTo>
                <a:cubicBezTo>
                  <a:pt x="12437" y="11125"/>
                  <a:pt x="12406" y="11125"/>
                  <a:pt x="12375" y="11094"/>
                </a:cubicBezTo>
                <a:cubicBezTo>
                  <a:pt x="12375" y="11094"/>
                  <a:pt x="12343" y="11062"/>
                  <a:pt x="12343" y="11062"/>
                </a:cubicBezTo>
                <a:cubicBezTo>
                  <a:pt x="12343" y="11062"/>
                  <a:pt x="12312" y="11062"/>
                  <a:pt x="12312" y="11094"/>
                </a:cubicBezTo>
                <a:cubicBezTo>
                  <a:pt x="12312" y="11094"/>
                  <a:pt x="12312" y="11094"/>
                  <a:pt x="12343" y="11125"/>
                </a:cubicBezTo>
                <a:cubicBezTo>
                  <a:pt x="12406" y="11125"/>
                  <a:pt x="12437" y="11219"/>
                  <a:pt x="12437" y="11281"/>
                </a:cubicBezTo>
                <a:cubicBezTo>
                  <a:pt x="12437" y="11312"/>
                  <a:pt x="12468" y="11312"/>
                  <a:pt x="12468" y="11312"/>
                </a:cubicBezTo>
                <a:cubicBezTo>
                  <a:pt x="12500" y="11281"/>
                  <a:pt x="12562" y="11156"/>
                  <a:pt x="12531" y="11125"/>
                </a:cubicBezTo>
                <a:cubicBezTo>
                  <a:pt x="12531" y="11094"/>
                  <a:pt x="12531" y="11031"/>
                  <a:pt x="12500" y="11094"/>
                </a:cubicBezTo>
                <a:close/>
                <a:moveTo>
                  <a:pt x="11312" y="10125"/>
                </a:moveTo>
                <a:cubicBezTo>
                  <a:pt x="11312" y="10125"/>
                  <a:pt x="11312" y="10125"/>
                  <a:pt x="11312" y="10125"/>
                </a:cubicBezTo>
                <a:cubicBezTo>
                  <a:pt x="11312" y="10125"/>
                  <a:pt x="11312" y="10125"/>
                  <a:pt x="11312" y="10125"/>
                </a:cubicBezTo>
                <a:lnTo>
                  <a:pt x="11312" y="10125"/>
                </a:lnTo>
                <a:cubicBezTo>
                  <a:pt x="11312" y="10125"/>
                  <a:pt x="11312" y="10125"/>
                  <a:pt x="11312" y="10125"/>
                </a:cubicBezTo>
                <a:cubicBezTo>
                  <a:pt x="11312" y="10125"/>
                  <a:pt x="11312" y="10125"/>
                  <a:pt x="11312" y="10125"/>
                </a:cubicBezTo>
                <a:close/>
                <a:moveTo>
                  <a:pt x="13937" y="1156"/>
                </a:moveTo>
                <a:cubicBezTo>
                  <a:pt x="13906" y="1125"/>
                  <a:pt x="13875" y="1125"/>
                  <a:pt x="13843" y="1156"/>
                </a:cubicBezTo>
                <a:cubicBezTo>
                  <a:pt x="13968" y="1219"/>
                  <a:pt x="14125" y="1187"/>
                  <a:pt x="14250" y="1219"/>
                </a:cubicBezTo>
                <a:cubicBezTo>
                  <a:pt x="14250" y="1219"/>
                  <a:pt x="14250" y="1219"/>
                  <a:pt x="14250" y="1219"/>
                </a:cubicBezTo>
                <a:cubicBezTo>
                  <a:pt x="14250" y="1219"/>
                  <a:pt x="14250" y="1219"/>
                  <a:pt x="14250" y="1250"/>
                </a:cubicBezTo>
                <a:cubicBezTo>
                  <a:pt x="14250" y="1250"/>
                  <a:pt x="14218" y="1281"/>
                  <a:pt x="14250" y="1312"/>
                </a:cubicBezTo>
                <a:cubicBezTo>
                  <a:pt x="14312" y="1312"/>
                  <a:pt x="14312" y="1250"/>
                  <a:pt x="14312" y="1219"/>
                </a:cubicBezTo>
                <a:cubicBezTo>
                  <a:pt x="14312" y="1219"/>
                  <a:pt x="14281" y="1187"/>
                  <a:pt x="14281" y="1187"/>
                </a:cubicBezTo>
                <a:cubicBezTo>
                  <a:pt x="14218" y="1187"/>
                  <a:pt x="14187" y="1187"/>
                  <a:pt x="14125" y="1187"/>
                </a:cubicBezTo>
                <a:cubicBezTo>
                  <a:pt x="14093" y="1187"/>
                  <a:pt x="14062" y="1156"/>
                  <a:pt x="14031" y="1156"/>
                </a:cubicBezTo>
                <a:cubicBezTo>
                  <a:pt x="14031" y="1094"/>
                  <a:pt x="14062" y="1094"/>
                  <a:pt x="14093" y="1094"/>
                </a:cubicBezTo>
                <a:cubicBezTo>
                  <a:pt x="14093" y="1062"/>
                  <a:pt x="14093" y="1062"/>
                  <a:pt x="14093" y="1062"/>
                </a:cubicBezTo>
                <a:cubicBezTo>
                  <a:pt x="14062" y="1031"/>
                  <a:pt x="14031" y="1094"/>
                  <a:pt x="14000" y="1125"/>
                </a:cubicBezTo>
                <a:cubicBezTo>
                  <a:pt x="14000" y="1156"/>
                  <a:pt x="14000" y="1187"/>
                  <a:pt x="13937" y="1156"/>
                </a:cubicBezTo>
                <a:close/>
                <a:moveTo>
                  <a:pt x="9312" y="8594"/>
                </a:moveTo>
                <a:cubicBezTo>
                  <a:pt x="9281" y="8562"/>
                  <a:pt x="9250" y="8594"/>
                  <a:pt x="9250" y="8594"/>
                </a:cubicBezTo>
                <a:cubicBezTo>
                  <a:pt x="9218" y="8594"/>
                  <a:pt x="9218" y="8625"/>
                  <a:pt x="9218" y="8625"/>
                </a:cubicBezTo>
                <a:cubicBezTo>
                  <a:pt x="9218" y="8562"/>
                  <a:pt x="9218" y="8531"/>
                  <a:pt x="9218" y="8500"/>
                </a:cubicBezTo>
                <a:cubicBezTo>
                  <a:pt x="9187" y="8562"/>
                  <a:pt x="9125" y="8594"/>
                  <a:pt x="9062" y="8656"/>
                </a:cubicBezTo>
                <a:cubicBezTo>
                  <a:pt x="9062" y="8687"/>
                  <a:pt x="9031" y="8750"/>
                  <a:pt x="9093" y="8719"/>
                </a:cubicBezTo>
                <a:cubicBezTo>
                  <a:pt x="9125" y="8719"/>
                  <a:pt x="9125" y="8750"/>
                  <a:pt x="9125" y="8750"/>
                </a:cubicBezTo>
                <a:cubicBezTo>
                  <a:pt x="9125" y="8781"/>
                  <a:pt x="9093" y="8781"/>
                  <a:pt x="9125" y="8812"/>
                </a:cubicBezTo>
                <a:cubicBezTo>
                  <a:pt x="9187" y="8750"/>
                  <a:pt x="9218" y="8687"/>
                  <a:pt x="9281" y="8625"/>
                </a:cubicBezTo>
                <a:cubicBezTo>
                  <a:pt x="9281" y="8625"/>
                  <a:pt x="9312" y="8625"/>
                  <a:pt x="9312" y="8594"/>
                </a:cubicBezTo>
                <a:close/>
                <a:moveTo>
                  <a:pt x="9187" y="8687"/>
                </a:moveTo>
                <a:cubicBezTo>
                  <a:pt x="9156" y="8687"/>
                  <a:pt x="9156" y="8656"/>
                  <a:pt x="9156" y="8656"/>
                </a:cubicBezTo>
                <a:cubicBezTo>
                  <a:pt x="9156" y="8625"/>
                  <a:pt x="9187" y="8625"/>
                  <a:pt x="9218" y="8625"/>
                </a:cubicBezTo>
                <a:cubicBezTo>
                  <a:pt x="9218" y="8656"/>
                  <a:pt x="9218" y="8656"/>
                  <a:pt x="9187" y="8687"/>
                </a:cubicBezTo>
                <a:close/>
                <a:moveTo>
                  <a:pt x="11593" y="11156"/>
                </a:moveTo>
                <a:cubicBezTo>
                  <a:pt x="11593" y="11156"/>
                  <a:pt x="11593" y="11156"/>
                  <a:pt x="11593" y="11156"/>
                </a:cubicBezTo>
                <a:close/>
                <a:moveTo>
                  <a:pt x="13968" y="8187"/>
                </a:moveTo>
                <a:cubicBezTo>
                  <a:pt x="13968" y="8219"/>
                  <a:pt x="13968" y="8250"/>
                  <a:pt x="13937" y="8250"/>
                </a:cubicBezTo>
                <a:cubicBezTo>
                  <a:pt x="13906" y="8281"/>
                  <a:pt x="13937" y="8312"/>
                  <a:pt x="13937" y="8344"/>
                </a:cubicBezTo>
                <a:cubicBezTo>
                  <a:pt x="13937" y="8375"/>
                  <a:pt x="13968" y="8375"/>
                  <a:pt x="13968" y="8375"/>
                </a:cubicBezTo>
                <a:cubicBezTo>
                  <a:pt x="14000" y="8375"/>
                  <a:pt x="14031" y="8344"/>
                  <a:pt x="14031" y="8312"/>
                </a:cubicBezTo>
                <a:cubicBezTo>
                  <a:pt x="14031" y="8219"/>
                  <a:pt x="14093" y="8219"/>
                  <a:pt x="14156" y="8219"/>
                </a:cubicBezTo>
                <a:cubicBezTo>
                  <a:pt x="14125" y="8156"/>
                  <a:pt x="14093" y="8125"/>
                  <a:pt x="14125" y="8094"/>
                </a:cubicBezTo>
                <a:cubicBezTo>
                  <a:pt x="14125" y="8062"/>
                  <a:pt x="14093" y="8062"/>
                  <a:pt x="14093" y="8062"/>
                </a:cubicBezTo>
                <a:cubicBezTo>
                  <a:pt x="14062" y="8125"/>
                  <a:pt x="13968" y="8125"/>
                  <a:pt x="13968" y="8187"/>
                </a:cubicBezTo>
                <a:close/>
                <a:moveTo>
                  <a:pt x="14250" y="8375"/>
                </a:moveTo>
                <a:cubicBezTo>
                  <a:pt x="14156" y="8406"/>
                  <a:pt x="14187" y="8312"/>
                  <a:pt x="14125" y="8312"/>
                </a:cubicBezTo>
                <a:cubicBezTo>
                  <a:pt x="14156" y="8375"/>
                  <a:pt x="14093" y="8375"/>
                  <a:pt x="14062" y="8375"/>
                </a:cubicBezTo>
                <a:cubicBezTo>
                  <a:pt x="14031" y="8406"/>
                  <a:pt x="14000" y="8375"/>
                  <a:pt x="14000" y="8437"/>
                </a:cubicBezTo>
                <a:cubicBezTo>
                  <a:pt x="14000" y="8469"/>
                  <a:pt x="14031" y="8469"/>
                  <a:pt x="14062" y="8437"/>
                </a:cubicBezTo>
                <a:cubicBezTo>
                  <a:pt x="14062" y="8437"/>
                  <a:pt x="14062" y="8469"/>
                  <a:pt x="14062" y="8469"/>
                </a:cubicBezTo>
                <a:cubicBezTo>
                  <a:pt x="14062" y="8562"/>
                  <a:pt x="14156" y="8531"/>
                  <a:pt x="14187" y="8594"/>
                </a:cubicBezTo>
                <a:cubicBezTo>
                  <a:pt x="14187" y="8531"/>
                  <a:pt x="14218" y="8500"/>
                  <a:pt x="14187" y="8469"/>
                </a:cubicBezTo>
                <a:cubicBezTo>
                  <a:pt x="14187" y="8437"/>
                  <a:pt x="14156" y="8375"/>
                  <a:pt x="14218" y="8406"/>
                </a:cubicBezTo>
                <a:cubicBezTo>
                  <a:pt x="14250" y="8406"/>
                  <a:pt x="14250" y="8406"/>
                  <a:pt x="14250" y="8375"/>
                </a:cubicBezTo>
                <a:cubicBezTo>
                  <a:pt x="14250" y="8375"/>
                  <a:pt x="14250" y="8344"/>
                  <a:pt x="14250" y="8375"/>
                </a:cubicBezTo>
                <a:close/>
                <a:moveTo>
                  <a:pt x="14906" y="5281"/>
                </a:moveTo>
                <a:cubicBezTo>
                  <a:pt x="14906" y="5281"/>
                  <a:pt x="14937" y="5250"/>
                  <a:pt x="14906" y="5250"/>
                </a:cubicBezTo>
                <a:cubicBezTo>
                  <a:pt x="14906" y="5219"/>
                  <a:pt x="14875" y="5219"/>
                  <a:pt x="14875" y="5219"/>
                </a:cubicBezTo>
                <a:cubicBezTo>
                  <a:pt x="14843" y="5219"/>
                  <a:pt x="14843" y="5250"/>
                  <a:pt x="14843" y="5250"/>
                </a:cubicBezTo>
                <a:cubicBezTo>
                  <a:pt x="14843" y="5312"/>
                  <a:pt x="14843" y="5312"/>
                  <a:pt x="14781" y="5344"/>
                </a:cubicBezTo>
                <a:cubicBezTo>
                  <a:pt x="14781" y="5344"/>
                  <a:pt x="14781" y="5344"/>
                  <a:pt x="14781" y="5344"/>
                </a:cubicBezTo>
                <a:cubicBezTo>
                  <a:pt x="14843" y="5406"/>
                  <a:pt x="14781" y="5469"/>
                  <a:pt x="14750" y="5500"/>
                </a:cubicBezTo>
                <a:cubicBezTo>
                  <a:pt x="14718" y="5594"/>
                  <a:pt x="14718" y="5656"/>
                  <a:pt x="14750" y="5750"/>
                </a:cubicBezTo>
                <a:cubicBezTo>
                  <a:pt x="14750" y="5750"/>
                  <a:pt x="14750" y="5781"/>
                  <a:pt x="14781" y="5750"/>
                </a:cubicBezTo>
                <a:cubicBezTo>
                  <a:pt x="14781" y="5750"/>
                  <a:pt x="14812" y="5750"/>
                  <a:pt x="14812" y="5719"/>
                </a:cubicBezTo>
                <a:cubicBezTo>
                  <a:pt x="14843" y="5625"/>
                  <a:pt x="14875" y="5531"/>
                  <a:pt x="14906" y="5406"/>
                </a:cubicBezTo>
                <a:cubicBezTo>
                  <a:pt x="14937" y="5375"/>
                  <a:pt x="14937" y="5344"/>
                  <a:pt x="14906" y="5312"/>
                </a:cubicBezTo>
                <a:cubicBezTo>
                  <a:pt x="14875" y="5312"/>
                  <a:pt x="14875" y="5281"/>
                  <a:pt x="14906" y="5281"/>
                </a:cubicBezTo>
                <a:close/>
                <a:moveTo>
                  <a:pt x="12093" y="10375"/>
                </a:moveTo>
                <a:cubicBezTo>
                  <a:pt x="12093" y="10344"/>
                  <a:pt x="12093" y="10344"/>
                  <a:pt x="12125" y="10344"/>
                </a:cubicBezTo>
                <a:cubicBezTo>
                  <a:pt x="12125" y="10344"/>
                  <a:pt x="12125" y="10344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125" y="10375"/>
                  <a:pt x="12125" y="10375"/>
                </a:cubicBezTo>
                <a:cubicBezTo>
                  <a:pt x="12125" y="10375"/>
                  <a:pt x="12093" y="10375"/>
                  <a:pt x="12093" y="10375"/>
                </a:cubicBezTo>
                <a:close/>
                <a:moveTo>
                  <a:pt x="12031" y="10469"/>
                </a:moveTo>
                <a:cubicBezTo>
                  <a:pt x="12031" y="10469"/>
                  <a:pt x="12093" y="10500"/>
                  <a:pt x="12031" y="10531"/>
                </a:cubicBezTo>
                <a:cubicBezTo>
                  <a:pt x="12000" y="10531"/>
                  <a:pt x="11968" y="10562"/>
                  <a:pt x="11968" y="10500"/>
                </a:cubicBezTo>
                <a:cubicBezTo>
                  <a:pt x="11968" y="10469"/>
                  <a:pt x="12000" y="10469"/>
                  <a:pt x="12031" y="10469"/>
                </a:cubicBezTo>
                <a:close/>
                <a:moveTo>
                  <a:pt x="11750" y="10750"/>
                </a:moveTo>
                <a:cubicBezTo>
                  <a:pt x="11750" y="10750"/>
                  <a:pt x="11718" y="10750"/>
                  <a:pt x="11718" y="10750"/>
                </a:cubicBezTo>
                <a:cubicBezTo>
                  <a:pt x="11750" y="10719"/>
                  <a:pt x="11750" y="10687"/>
                  <a:pt x="11781" y="10687"/>
                </a:cubicBezTo>
                <a:cubicBezTo>
                  <a:pt x="11812" y="10750"/>
                  <a:pt x="11812" y="10781"/>
                  <a:pt x="11750" y="10750"/>
                </a:cubicBezTo>
                <a:close/>
                <a:moveTo>
                  <a:pt x="11843" y="10781"/>
                </a:moveTo>
                <a:cubicBezTo>
                  <a:pt x="11843" y="10781"/>
                  <a:pt x="11843" y="10781"/>
                  <a:pt x="11843" y="10781"/>
                </a:cubicBezTo>
                <a:cubicBezTo>
                  <a:pt x="11843" y="10781"/>
                  <a:pt x="11843" y="10781"/>
                  <a:pt x="11843" y="10781"/>
                </a:cubicBezTo>
                <a:cubicBezTo>
                  <a:pt x="11843" y="10781"/>
                  <a:pt x="11843" y="10781"/>
                  <a:pt x="11843" y="10781"/>
                </a:cubicBezTo>
                <a:close/>
                <a:moveTo>
                  <a:pt x="11781" y="10687"/>
                </a:moveTo>
                <a:cubicBezTo>
                  <a:pt x="11781" y="10687"/>
                  <a:pt x="11781" y="10656"/>
                  <a:pt x="11781" y="10656"/>
                </a:cubicBezTo>
                <a:cubicBezTo>
                  <a:pt x="11781" y="10656"/>
                  <a:pt x="11781" y="10656"/>
                  <a:pt x="11781" y="10656"/>
                </a:cubicBezTo>
                <a:cubicBezTo>
                  <a:pt x="11812" y="10625"/>
                  <a:pt x="11843" y="10594"/>
                  <a:pt x="11875" y="10625"/>
                </a:cubicBezTo>
                <a:cubicBezTo>
                  <a:pt x="11875" y="10687"/>
                  <a:pt x="11843" y="10687"/>
                  <a:pt x="11781" y="10687"/>
                </a:cubicBezTo>
                <a:close/>
                <a:moveTo>
                  <a:pt x="11875" y="10625"/>
                </a:moveTo>
                <a:cubicBezTo>
                  <a:pt x="11843" y="10594"/>
                  <a:pt x="11875" y="10562"/>
                  <a:pt x="11875" y="10562"/>
                </a:cubicBezTo>
                <a:cubicBezTo>
                  <a:pt x="11906" y="10531"/>
                  <a:pt x="11906" y="10531"/>
                  <a:pt x="11937" y="10531"/>
                </a:cubicBezTo>
                <a:cubicBezTo>
                  <a:pt x="11937" y="10562"/>
                  <a:pt x="11968" y="10562"/>
                  <a:pt x="11968" y="10562"/>
                </a:cubicBezTo>
                <a:cubicBezTo>
                  <a:pt x="11968" y="10594"/>
                  <a:pt x="11937" y="10594"/>
                  <a:pt x="11937" y="10594"/>
                </a:cubicBezTo>
                <a:cubicBezTo>
                  <a:pt x="11906" y="10625"/>
                  <a:pt x="11906" y="10625"/>
                  <a:pt x="11875" y="10625"/>
                </a:cubicBezTo>
                <a:close/>
                <a:moveTo>
                  <a:pt x="14750" y="12031"/>
                </a:moveTo>
                <a:cubicBezTo>
                  <a:pt x="14750" y="12031"/>
                  <a:pt x="14750" y="12031"/>
                  <a:pt x="14750" y="12031"/>
                </a:cubicBezTo>
                <a:close/>
                <a:moveTo>
                  <a:pt x="13843" y="5219"/>
                </a:moveTo>
                <a:cubicBezTo>
                  <a:pt x="13843" y="5219"/>
                  <a:pt x="13843" y="5250"/>
                  <a:pt x="13843" y="5250"/>
                </a:cubicBezTo>
                <a:cubicBezTo>
                  <a:pt x="13843" y="5250"/>
                  <a:pt x="13843" y="5250"/>
                  <a:pt x="13875" y="5250"/>
                </a:cubicBezTo>
                <a:cubicBezTo>
                  <a:pt x="13843" y="5250"/>
                  <a:pt x="13843" y="5250"/>
                  <a:pt x="13843" y="5250"/>
                </a:cubicBezTo>
                <a:cubicBezTo>
                  <a:pt x="13843" y="5250"/>
                  <a:pt x="13843" y="5281"/>
                  <a:pt x="13843" y="5281"/>
                </a:cubicBezTo>
                <a:cubicBezTo>
                  <a:pt x="13843" y="5281"/>
                  <a:pt x="13843" y="5281"/>
                  <a:pt x="13843" y="5281"/>
                </a:cubicBezTo>
                <a:cubicBezTo>
                  <a:pt x="13843" y="5281"/>
                  <a:pt x="13843" y="5281"/>
                  <a:pt x="13843" y="5281"/>
                </a:cubicBezTo>
                <a:cubicBezTo>
                  <a:pt x="13812" y="5250"/>
                  <a:pt x="13781" y="5281"/>
                  <a:pt x="13781" y="5312"/>
                </a:cubicBezTo>
                <a:cubicBezTo>
                  <a:pt x="13781" y="5344"/>
                  <a:pt x="13750" y="5344"/>
                  <a:pt x="13718" y="5344"/>
                </a:cubicBezTo>
                <a:cubicBezTo>
                  <a:pt x="13718" y="5344"/>
                  <a:pt x="13718" y="5344"/>
                  <a:pt x="13718" y="5344"/>
                </a:cubicBezTo>
                <a:cubicBezTo>
                  <a:pt x="13718" y="5312"/>
                  <a:pt x="13750" y="5312"/>
                  <a:pt x="13750" y="5281"/>
                </a:cubicBezTo>
                <a:cubicBezTo>
                  <a:pt x="13781" y="5250"/>
                  <a:pt x="13812" y="5219"/>
                  <a:pt x="13843" y="5219"/>
                </a:cubicBezTo>
                <a:close/>
                <a:moveTo>
                  <a:pt x="13937" y="5344"/>
                </a:moveTo>
                <a:cubicBezTo>
                  <a:pt x="13937" y="5281"/>
                  <a:pt x="13968" y="5312"/>
                  <a:pt x="14000" y="5312"/>
                </a:cubicBezTo>
                <a:cubicBezTo>
                  <a:pt x="14000" y="5312"/>
                  <a:pt x="14000" y="5312"/>
                  <a:pt x="14031" y="5312"/>
                </a:cubicBezTo>
                <a:cubicBezTo>
                  <a:pt x="14031" y="5281"/>
                  <a:pt x="14031" y="5281"/>
                  <a:pt x="14062" y="5250"/>
                </a:cubicBezTo>
                <a:cubicBezTo>
                  <a:pt x="14031" y="5281"/>
                  <a:pt x="14031" y="5281"/>
                  <a:pt x="14031" y="5312"/>
                </a:cubicBezTo>
                <a:cubicBezTo>
                  <a:pt x="14031" y="5375"/>
                  <a:pt x="13968" y="5344"/>
                  <a:pt x="13937" y="5344"/>
                </a:cubicBezTo>
                <a:cubicBezTo>
                  <a:pt x="13937" y="5344"/>
                  <a:pt x="13937" y="5344"/>
                  <a:pt x="13937" y="5344"/>
                </a:cubicBezTo>
                <a:close/>
                <a:moveTo>
                  <a:pt x="13843" y="5312"/>
                </a:moveTo>
                <a:cubicBezTo>
                  <a:pt x="13843" y="5312"/>
                  <a:pt x="13843" y="5312"/>
                  <a:pt x="13843" y="5312"/>
                </a:cubicBezTo>
                <a:cubicBezTo>
                  <a:pt x="13843" y="5312"/>
                  <a:pt x="13843" y="5312"/>
                  <a:pt x="13843" y="5312"/>
                </a:cubicBezTo>
                <a:close/>
                <a:moveTo>
                  <a:pt x="13843" y="5594"/>
                </a:moveTo>
                <a:cubicBezTo>
                  <a:pt x="13843" y="5625"/>
                  <a:pt x="13843" y="5625"/>
                  <a:pt x="13812" y="5656"/>
                </a:cubicBezTo>
                <a:cubicBezTo>
                  <a:pt x="13812" y="5656"/>
                  <a:pt x="13781" y="5625"/>
                  <a:pt x="13781" y="5625"/>
                </a:cubicBezTo>
                <a:cubicBezTo>
                  <a:pt x="13812" y="5594"/>
                  <a:pt x="13812" y="5594"/>
                  <a:pt x="13843" y="5594"/>
                </a:cubicBezTo>
                <a:close/>
                <a:moveTo>
                  <a:pt x="13531" y="5687"/>
                </a:moveTo>
                <a:cubicBezTo>
                  <a:pt x="13500" y="5687"/>
                  <a:pt x="13500" y="5750"/>
                  <a:pt x="13468" y="5750"/>
                </a:cubicBezTo>
                <a:cubicBezTo>
                  <a:pt x="13468" y="5719"/>
                  <a:pt x="13468" y="5687"/>
                  <a:pt x="13468" y="5687"/>
                </a:cubicBezTo>
                <a:cubicBezTo>
                  <a:pt x="13468" y="5687"/>
                  <a:pt x="13437" y="5656"/>
                  <a:pt x="13468" y="5656"/>
                </a:cubicBezTo>
                <a:cubicBezTo>
                  <a:pt x="13437" y="5656"/>
                  <a:pt x="13468" y="5687"/>
                  <a:pt x="13468" y="5687"/>
                </a:cubicBezTo>
                <a:cubicBezTo>
                  <a:pt x="13468" y="5656"/>
                  <a:pt x="13500" y="5656"/>
                  <a:pt x="13468" y="5625"/>
                </a:cubicBezTo>
                <a:cubicBezTo>
                  <a:pt x="13500" y="5625"/>
                  <a:pt x="13500" y="5625"/>
                  <a:pt x="13531" y="5656"/>
                </a:cubicBezTo>
                <a:cubicBezTo>
                  <a:pt x="13562" y="5656"/>
                  <a:pt x="13562" y="5687"/>
                  <a:pt x="13531" y="5687"/>
                </a:cubicBezTo>
                <a:close/>
                <a:moveTo>
                  <a:pt x="13750" y="5687"/>
                </a:moveTo>
                <a:cubicBezTo>
                  <a:pt x="13718" y="5719"/>
                  <a:pt x="13687" y="5781"/>
                  <a:pt x="13625" y="5781"/>
                </a:cubicBezTo>
                <a:cubicBezTo>
                  <a:pt x="13625" y="5781"/>
                  <a:pt x="13625" y="5812"/>
                  <a:pt x="13625" y="5812"/>
                </a:cubicBezTo>
                <a:cubicBezTo>
                  <a:pt x="13625" y="5812"/>
                  <a:pt x="13625" y="5781"/>
                  <a:pt x="13625" y="5781"/>
                </a:cubicBezTo>
                <a:cubicBezTo>
                  <a:pt x="13656" y="5750"/>
                  <a:pt x="13687" y="5719"/>
                  <a:pt x="13750" y="5687"/>
                </a:cubicBezTo>
                <a:cubicBezTo>
                  <a:pt x="13750" y="5687"/>
                  <a:pt x="13781" y="5687"/>
                  <a:pt x="13750" y="5687"/>
                </a:cubicBezTo>
                <a:close/>
                <a:moveTo>
                  <a:pt x="13750" y="5625"/>
                </a:moveTo>
                <a:cubicBezTo>
                  <a:pt x="13718" y="5625"/>
                  <a:pt x="13718" y="5625"/>
                  <a:pt x="13718" y="5656"/>
                </a:cubicBezTo>
                <a:cubicBezTo>
                  <a:pt x="13718" y="5656"/>
                  <a:pt x="13718" y="5656"/>
                  <a:pt x="13718" y="5656"/>
                </a:cubicBezTo>
                <a:cubicBezTo>
                  <a:pt x="13718" y="5656"/>
                  <a:pt x="13718" y="5656"/>
                  <a:pt x="13718" y="5656"/>
                </a:cubicBezTo>
                <a:cubicBezTo>
                  <a:pt x="13687" y="5656"/>
                  <a:pt x="13656" y="5656"/>
                  <a:pt x="13656" y="5625"/>
                </a:cubicBezTo>
                <a:cubicBezTo>
                  <a:pt x="13656" y="5625"/>
                  <a:pt x="13656" y="5594"/>
                  <a:pt x="13687" y="5594"/>
                </a:cubicBezTo>
                <a:cubicBezTo>
                  <a:pt x="13687" y="5594"/>
                  <a:pt x="13718" y="5562"/>
                  <a:pt x="13750" y="5625"/>
                </a:cubicBezTo>
                <a:close/>
                <a:moveTo>
                  <a:pt x="13750" y="5219"/>
                </a:moveTo>
                <a:cubicBezTo>
                  <a:pt x="13750" y="5250"/>
                  <a:pt x="13718" y="5250"/>
                  <a:pt x="13718" y="5219"/>
                </a:cubicBezTo>
                <a:cubicBezTo>
                  <a:pt x="13718" y="5219"/>
                  <a:pt x="13750" y="5219"/>
                  <a:pt x="13750" y="5219"/>
                </a:cubicBezTo>
                <a:close/>
                <a:moveTo>
                  <a:pt x="13687" y="5375"/>
                </a:moveTo>
                <a:cubicBezTo>
                  <a:pt x="13687" y="5375"/>
                  <a:pt x="13718" y="5375"/>
                  <a:pt x="13718" y="5375"/>
                </a:cubicBezTo>
                <a:cubicBezTo>
                  <a:pt x="13687" y="5406"/>
                  <a:pt x="13656" y="5406"/>
                  <a:pt x="13656" y="5406"/>
                </a:cubicBezTo>
                <a:cubicBezTo>
                  <a:pt x="13656" y="5375"/>
                  <a:pt x="13656" y="5375"/>
                  <a:pt x="13687" y="5375"/>
                </a:cubicBezTo>
                <a:close/>
                <a:moveTo>
                  <a:pt x="13531" y="5500"/>
                </a:moveTo>
                <a:cubicBezTo>
                  <a:pt x="13562" y="5500"/>
                  <a:pt x="13593" y="5437"/>
                  <a:pt x="13656" y="5406"/>
                </a:cubicBezTo>
                <a:cubicBezTo>
                  <a:pt x="13656" y="5500"/>
                  <a:pt x="13593" y="5531"/>
                  <a:pt x="13531" y="5562"/>
                </a:cubicBezTo>
                <a:cubicBezTo>
                  <a:pt x="13531" y="5531"/>
                  <a:pt x="13531" y="5531"/>
                  <a:pt x="13531" y="5500"/>
                </a:cubicBezTo>
                <a:close/>
                <a:moveTo>
                  <a:pt x="13437" y="5031"/>
                </a:moveTo>
                <a:cubicBezTo>
                  <a:pt x="13437" y="5031"/>
                  <a:pt x="13437" y="5031"/>
                  <a:pt x="13437" y="5031"/>
                </a:cubicBezTo>
                <a:cubicBezTo>
                  <a:pt x="13437" y="5031"/>
                  <a:pt x="13437" y="5031"/>
                  <a:pt x="13437" y="5031"/>
                </a:cubicBezTo>
                <a:cubicBezTo>
                  <a:pt x="13437" y="5031"/>
                  <a:pt x="13437" y="5031"/>
                  <a:pt x="13437" y="5031"/>
                </a:cubicBezTo>
                <a:close/>
                <a:moveTo>
                  <a:pt x="13437" y="5594"/>
                </a:moveTo>
                <a:cubicBezTo>
                  <a:pt x="13437" y="5594"/>
                  <a:pt x="13437" y="5594"/>
                  <a:pt x="13437" y="5594"/>
                </a:cubicBezTo>
                <a:cubicBezTo>
                  <a:pt x="13437" y="5562"/>
                  <a:pt x="13437" y="5562"/>
                  <a:pt x="13437" y="5562"/>
                </a:cubicBezTo>
                <a:cubicBezTo>
                  <a:pt x="13437" y="5562"/>
                  <a:pt x="13437" y="5562"/>
                  <a:pt x="13437" y="5594"/>
                </a:cubicBezTo>
                <a:cubicBezTo>
                  <a:pt x="13468" y="5562"/>
                  <a:pt x="13468" y="5562"/>
                  <a:pt x="13468" y="5562"/>
                </a:cubicBezTo>
                <a:cubicBezTo>
                  <a:pt x="13468" y="5562"/>
                  <a:pt x="13468" y="5562"/>
                  <a:pt x="13437" y="5594"/>
                </a:cubicBezTo>
                <a:cubicBezTo>
                  <a:pt x="13437" y="5594"/>
                  <a:pt x="13437" y="5594"/>
                  <a:pt x="13437" y="5594"/>
                </a:cubicBezTo>
                <a:cubicBezTo>
                  <a:pt x="13437" y="5594"/>
                  <a:pt x="13406" y="5625"/>
                  <a:pt x="13406" y="5625"/>
                </a:cubicBezTo>
                <a:cubicBezTo>
                  <a:pt x="13406" y="5625"/>
                  <a:pt x="13437" y="5594"/>
                  <a:pt x="13437" y="5594"/>
                </a:cubicBezTo>
                <a:cubicBezTo>
                  <a:pt x="13437" y="5594"/>
                  <a:pt x="13406" y="5594"/>
                  <a:pt x="13406" y="5594"/>
                </a:cubicBezTo>
                <a:cubicBezTo>
                  <a:pt x="13406" y="5594"/>
                  <a:pt x="13437" y="5594"/>
                  <a:pt x="13437" y="5594"/>
                </a:cubicBezTo>
                <a:close/>
                <a:moveTo>
                  <a:pt x="12312" y="6375"/>
                </a:moveTo>
                <a:cubicBezTo>
                  <a:pt x="12281" y="6406"/>
                  <a:pt x="12281" y="6437"/>
                  <a:pt x="12218" y="6437"/>
                </a:cubicBezTo>
                <a:cubicBezTo>
                  <a:pt x="12218" y="6437"/>
                  <a:pt x="12187" y="6437"/>
                  <a:pt x="12187" y="6406"/>
                </a:cubicBezTo>
                <a:cubicBezTo>
                  <a:pt x="12156" y="6375"/>
                  <a:pt x="12187" y="6375"/>
                  <a:pt x="12218" y="6375"/>
                </a:cubicBezTo>
                <a:cubicBezTo>
                  <a:pt x="12218" y="6375"/>
                  <a:pt x="12218" y="6375"/>
                  <a:pt x="12250" y="6375"/>
                </a:cubicBezTo>
                <a:cubicBezTo>
                  <a:pt x="12250" y="6344"/>
                  <a:pt x="12250" y="6312"/>
                  <a:pt x="12281" y="6344"/>
                </a:cubicBezTo>
                <a:cubicBezTo>
                  <a:pt x="12312" y="6344"/>
                  <a:pt x="12312" y="6375"/>
                  <a:pt x="12312" y="6375"/>
                </a:cubicBezTo>
                <a:close/>
                <a:moveTo>
                  <a:pt x="12468" y="6594"/>
                </a:moveTo>
                <a:cubicBezTo>
                  <a:pt x="12468" y="6594"/>
                  <a:pt x="12468" y="6594"/>
                  <a:pt x="12468" y="6594"/>
                </a:cubicBezTo>
                <a:cubicBezTo>
                  <a:pt x="12437" y="6625"/>
                  <a:pt x="12437" y="6594"/>
                  <a:pt x="12437" y="6594"/>
                </a:cubicBezTo>
                <a:cubicBezTo>
                  <a:pt x="12437" y="6594"/>
                  <a:pt x="12437" y="6562"/>
                  <a:pt x="12437" y="6562"/>
                </a:cubicBezTo>
                <a:cubicBezTo>
                  <a:pt x="12500" y="6531"/>
                  <a:pt x="12531" y="6500"/>
                  <a:pt x="12562" y="6437"/>
                </a:cubicBezTo>
                <a:cubicBezTo>
                  <a:pt x="12562" y="6406"/>
                  <a:pt x="12593" y="6375"/>
                  <a:pt x="12625" y="6375"/>
                </a:cubicBezTo>
                <a:cubicBezTo>
                  <a:pt x="12593" y="6469"/>
                  <a:pt x="12531" y="6562"/>
                  <a:pt x="12468" y="6594"/>
                </a:cubicBezTo>
                <a:close/>
                <a:moveTo>
                  <a:pt x="12968" y="6625"/>
                </a:moveTo>
                <a:cubicBezTo>
                  <a:pt x="12968" y="6625"/>
                  <a:pt x="12968" y="6625"/>
                  <a:pt x="12937" y="6625"/>
                </a:cubicBezTo>
                <a:cubicBezTo>
                  <a:pt x="12968" y="6562"/>
                  <a:pt x="12968" y="6500"/>
                  <a:pt x="12968" y="6437"/>
                </a:cubicBezTo>
                <a:cubicBezTo>
                  <a:pt x="12968" y="6437"/>
                  <a:pt x="12968" y="6437"/>
                  <a:pt x="13000" y="6437"/>
                </a:cubicBezTo>
                <a:cubicBezTo>
                  <a:pt x="13000" y="6500"/>
                  <a:pt x="13000" y="6562"/>
                  <a:pt x="12968" y="6625"/>
                </a:cubicBezTo>
                <a:close/>
                <a:moveTo>
                  <a:pt x="13125" y="6750"/>
                </a:moveTo>
                <a:cubicBezTo>
                  <a:pt x="13125" y="6750"/>
                  <a:pt x="13093" y="6781"/>
                  <a:pt x="13093" y="6750"/>
                </a:cubicBezTo>
                <a:cubicBezTo>
                  <a:pt x="13125" y="6687"/>
                  <a:pt x="13125" y="6625"/>
                  <a:pt x="13156" y="6562"/>
                </a:cubicBezTo>
                <a:cubicBezTo>
                  <a:pt x="13156" y="6562"/>
                  <a:pt x="13125" y="6531"/>
                  <a:pt x="13125" y="6531"/>
                </a:cubicBezTo>
                <a:cubicBezTo>
                  <a:pt x="13125" y="6531"/>
                  <a:pt x="13156" y="6562"/>
                  <a:pt x="13156" y="6562"/>
                </a:cubicBezTo>
                <a:cubicBezTo>
                  <a:pt x="13156" y="6625"/>
                  <a:pt x="13156" y="6687"/>
                  <a:pt x="13125" y="6750"/>
                </a:cubicBezTo>
                <a:close/>
                <a:moveTo>
                  <a:pt x="13312" y="5750"/>
                </a:moveTo>
                <a:cubicBezTo>
                  <a:pt x="13312" y="5750"/>
                  <a:pt x="13343" y="5750"/>
                  <a:pt x="13343" y="5750"/>
                </a:cubicBezTo>
                <a:cubicBezTo>
                  <a:pt x="13343" y="5750"/>
                  <a:pt x="13312" y="5750"/>
                  <a:pt x="13312" y="5750"/>
                </a:cubicBezTo>
                <a:close/>
                <a:moveTo>
                  <a:pt x="13312" y="4969"/>
                </a:moveTo>
                <a:cubicBezTo>
                  <a:pt x="13312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281" y="4969"/>
                </a:cubicBezTo>
                <a:cubicBezTo>
                  <a:pt x="13281" y="4969"/>
                  <a:pt x="13281" y="4969"/>
                  <a:pt x="13312" y="4969"/>
                </a:cubicBezTo>
                <a:close/>
                <a:moveTo>
                  <a:pt x="13250" y="5406"/>
                </a:moveTo>
                <a:cubicBezTo>
                  <a:pt x="13281" y="5406"/>
                  <a:pt x="13281" y="5437"/>
                  <a:pt x="13281" y="5437"/>
                </a:cubicBezTo>
                <a:cubicBezTo>
                  <a:pt x="13281" y="5469"/>
                  <a:pt x="13281" y="5469"/>
                  <a:pt x="13250" y="5469"/>
                </a:cubicBezTo>
                <a:cubicBezTo>
                  <a:pt x="13250" y="5469"/>
                  <a:pt x="13218" y="5469"/>
                  <a:pt x="13218" y="5469"/>
                </a:cubicBezTo>
                <a:cubicBezTo>
                  <a:pt x="13218" y="5437"/>
                  <a:pt x="13250" y="5406"/>
                  <a:pt x="13250" y="5406"/>
                </a:cubicBezTo>
                <a:close/>
                <a:moveTo>
                  <a:pt x="13281" y="6156"/>
                </a:moveTo>
                <a:cubicBezTo>
                  <a:pt x="13281" y="6156"/>
                  <a:pt x="13281" y="6156"/>
                  <a:pt x="13281" y="6156"/>
                </a:cubicBezTo>
                <a:cubicBezTo>
                  <a:pt x="13281" y="6156"/>
                  <a:pt x="13281" y="6156"/>
                  <a:pt x="13281" y="6156"/>
                </a:cubicBezTo>
                <a:cubicBezTo>
                  <a:pt x="13281" y="6156"/>
                  <a:pt x="13281" y="6156"/>
                  <a:pt x="13281" y="6156"/>
                </a:cubicBezTo>
                <a:close/>
                <a:moveTo>
                  <a:pt x="13250" y="6156"/>
                </a:moveTo>
                <a:cubicBezTo>
                  <a:pt x="13250" y="6187"/>
                  <a:pt x="13250" y="6187"/>
                  <a:pt x="13250" y="6187"/>
                </a:cubicBezTo>
                <a:cubicBezTo>
                  <a:pt x="13250" y="6187"/>
                  <a:pt x="13250" y="6187"/>
                  <a:pt x="13250" y="6156"/>
                </a:cubicBezTo>
                <a:cubicBezTo>
                  <a:pt x="13218" y="6156"/>
                  <a:pt x="13218" y="6156"/>
                  <a:pt x="13218" y="6156"/>
                </a:cubicBezTo>
                <a:cubicBezTo>
                  <a:pt x="13218" y="6156"/>
                  <a:pt x="13218" y="6156"/>
                  <a:pt x="13250" y="6156"/>
                </a:cubicBezTo>
                <a:close/>
                <a:moveTo>
                  <a:pt x="12250" y="5062"/>
                </a:moveTo>
                <a:cubicBezTo>
                  <a:pt x="12250" y="5062"/>
                  <a:pt x="12250" y="5062"/>
                  <a:pt x="12250" y="5062"/>
                </a:cubicBezTo>
                <a:cubicBezTo>
                  <a:pt x="12250" y="5094"/>
                  <a:pt x="12250" y="5094"/>
                  <a:pt x="12250" y="5094"/>
                </a:cubicBezTo>
                <a:cubicBezTo>
                  <a:pt x="12187" y="5125"/>
                  <a:pt x="12156" y="5156"/>
                  <a:pt x="12093" y="5187"/>
                </a:cubicBezTo>
                <a:cubicBezTo>
                  <a:pt x="12062" y="5219"/>
                  <a:pt x="12062" y="5187"/>
                  <a:pt x="12062" y="5156"/>
                </a:cubicBezTo>
                <a:cubicBezTo>
                  <a:pt x="12125" y="5187"/>
                  <a:pt x="12156" y="5125"/>
                  <a:pt x="12187" y="5094"/>
                </a:cubicBezTo>
                <a:cubicBezTo>
                  <a:pt x="12218" y="5094"/>
                  <a:pt x="12218" y="5062"/>
                  <a:pt x="12250" y="5062"/>
                </a:cubicBezTo>
                <a:close/>
                <a:moveTo>
                  <a:pt x="12218" y="5000"/>
                </a:moveTo>
                <a:cubicBezTo>
                  <a:pt x="12218" y="5000"/>
                  <a:pt x="12218" y="5000"/>
                  <a:pt x="12218" y="5000"/>
                </a:cubicBezTo>
                <a:cubicBezTo>
                  <a:pt x="12218" y="5000"/>
                  <a:pt x="12250" y="5000"/>
                  <a:pt x="12250" y="5031"/>
                </a:cubicBezTo>
                <a:cubicBezTo>
                  <a:pt x="12218" y="5031"/>
                  <a:pt x="12218" y="5031"/>
                  <a:pt x="12218" y="5031"/>
                </a:cubicBezTo>
                <a:cubicBezTo>
                  <a:pt x="12218" y="5031"/>
                  <a:pt x="12218" y="5031"/>
                  <a:pt x="12218" y="5000"/>
                </a:cubicBezTo>
                <a:close/>
                <a:moveTo>
                  <a:pt x="12187" y="4937"/>
                </a:moveTo>
                <a:cubicBezTo>
                  <a:pt x="12250" y="4906"/>
                  <a:pt x="12281" y="4906"/>
                  <a:pt x="12343" y="4875"/>
                </a:cubicBezTo>
                <a:cubicBezTo>
                  <a:pt x="12375" y="4844"/>
                  <a:pt x="12406" y="4844"/>
                  <a:pt x="12437" y="4875"/>
                </a:cubicBezTo>
                <a:cubicBezTo>
                  <a:pt x="12437" y="4875"/>
                  <a:pt x="12437" y="4875"/>
                  <a:pt x="12437" y="4875"/>
                </a:cubicBezTo>
                <a:cubicBezTo>
                  <a:pt x="12437" y="4875"/>
                  <a:pt x="12468" y="4875"/>
                  <a:pt x="12468" y="4875"/>
                </a:cubicBezTo>
                <a:cubicBezTo>
                  <a:pt x="12468" y="4875"/>
                  <a:pt x="12437" y="4875"/>
                  <a:pt x="12437" y="4875"/>
                </a:cubicBezTo>
                <a:cubicBezTo>
                  <a:pt x="12375" y="4906"/>
                  <a:pt x="12281" y="4937"/>
                  <a:pt x="12218" y="4969"/>
                </a:cubicBezTo>
                <a:cubicBezTo>
                  <a:pt x="12187" y="5000"/>
                  <a:pt x="12187" y="4969"/>
                  <a:pt x="12187" y="4937"/>
                </a:cubicBezTo>
                <a:close/>
                <a:moveTo>
                  <a:pt x="11968" y="5031"/>
                </a:moveTo>
                <a:cubicBezTo>
                  <a:pt x="11968" y="5031"/>
                  <a:pt x="11968" y="5031"/>
                  <a:pt x="11968" y="5031"/>
                </a:cubicBezTo>
                <a:cubicBezTo>
                  <a:pt x="12000" y="5031"/>
                  <a:pt x="12000" y="5031"/>
                  <a:pt x="12000" y="5031"/>
                </a:cubicBezTo>
                <a:cubicBezTo>
                  <a:pt x="12031" y="5031"/>
                  <a:pt x="12062" y="5031"/>
                  <a:pt x="12062" y="5031"/>
                </a:cubicBezTo>
                <a:cubicBezTo>
                  <a:pt x="12062" y="5031"/>
                  <a:pt x="12062" y="5062"/>
                  <a:pt x="12031" y="5062"/>
                </a:cubicBezTo>
                <a:cubicBezTo>
                  <a:pt x="12031" y="5062"/>
                  <a:pt x="11968" y="5125"/>
                  <a:pt x="11968" y="5031"/>
                </a:cubicBezTo>
                <a:close/>
                <a:moveTo>
                  <a:pt x="11968" y="5156"/>
                </a:moveTo>
                <a:cubicBezTo>
                  <a:pt x="12000" y="5125"/>
                  <a:pt x="12031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094"/>
                  <a:pt x="12062" y="5094"/>
                </a:cubicBezTo>
                <a:cubicBezTo>
                  <a:pt x="12062" y="5094"/>
                  <a:pt x="12062" y="5094"/>
                  <a:pt x="12062" y="5094"/>
                </a:cubicBezTo>
                <a:cubicBezTo>
                  <a:pt x="12062" y="5094"/>
                  <a:pt x="12062" y="5094"/>
                  <a:pt x="12062" y="5094"/>
                </a:cubicBezTo>
                <a:cubicBezTo>
                  <a:pt x="12093" y="5062"/>
                  <a:pt x="12156" y="5031"/>
                  <a:pt x="12187" y="5031"/>
                </a:cubicBezTo>
                <a:cubicBezTo>
                  <a:pt x="12156" y="5062"/>
                  <a:pt x="12125" y="5125"/>
                  <a:pt x="12062" y="5125"/>
                </a:cubicBezTo>
                <a:lnTo>
                  <a:pt x="12062" y="5125"/>
                </a:ln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31" y="5156"/>
                  <a:pt x="12062" y="5156"/>
                </a:cubicBezTo>
                <a:cubicBezTo>
                  <a:pt x="12031" y="5156"/>
                  <a:pt x="12000" y="5187"/>
                  <a:pt x="12000" y="5187"/>
                </a:cubicBezTo>
                <a:cubicBezTo>
                  <a:pt x="11968" y="5187"/>
                  <a:pt x="11968" y="5156"/>
                  <a:pt x="11968" y="5156"/>
                </a:cubicBezTo>
                <a:close/>
                <a:moveTo>
                  <a:pt x="11937" y="5219"/>
                </a:moveTo>
                <a:cubicBezTo>
                  <a:pt x="11937" y="5219"/>
                  <a:pt x="11937" y="5219"/>
                  <a:pt x="11937" y="5219"/>
                </a:cubicBezTo>
                <a:cubicBezTo>
                  <a:pt x="11937" y="5250"/>
                  <a:pt x="11906" y="5250"/>
                  <a:pt x="11875" y="5250"/>
                </a:cubicBezTo>
                <a:cubicBezTo>
                  <a:pt x="11843" y="5281"/>
                  <a:pt x="11843" y="5281"/>
                  <a:pt x="11843" y="5312"/>
                </a:cubicBezTo>
                <a:cubicBezTo>
                  <a:pt x="11812" y="5312"/>
                  <a:pt x="11812" y="5312"/>
                  <a:pt x="11781" y="5312"/>
                </a:cubicBezTo>
                <a:cubicBezTo>
                  <a:pt x="11781" y="5250"/>
                  <a:pt x="11843" y="5281"/>
                  <a:pt x="11875" y="5250"/>
                </a:cubicBezTo>
                <a:cubicBezTo>
                  <a:pt x="11875" y="5250"/>
                  <a:pt x="11875" y="5250"/>
                  <a:pt x="11875" y="5250"/>
                </a:cubicBezTo>
                <a:cubicBezTo>
                  <a:pt x="11875" y="5187"/>
                  <a:pt x="11906" y="5187"/>
                  <a:pt x="11937" y="5219"/>
                </a:cubicBezTo>
                <a:close/>
                <a:moveTo>
                  <a:pt x="11781" y="5187"/>
                </a:moveTo>
                <a:cubicBezTo>
                  <a:pt x="11812" y="5156"/>
                  <a:pt x="11812" y="5156"/>
                  <a:pt x="11875" y="5156"/>
                </a:cubicBezTo>
                <a:cubicBezTo>
                  <a:pt x="11843" y="5187"/>
                  <a:pt x="11812" y="5219"/>
                  <a:pt x="11781" y="5219"/>
                </a:cubicBezTo>
                <a:cubicBezTo>
                  <a:pt x="11781" y="5219"/>
                  <a:pt x="11781" y="5187"/>
                  <a:pt x="11781" y="5187"/>
                </a:cubicBezTo>
                <a:close/>
                <a:moveTo>
                  <a:pt x="11781" y="5531"/>
                </a:moveTo>
                <a:cubicBezTo>
                  <a:pt x="11812" y="5531"/>
                  <a:pt x="11812" y="5531"/>
                  <a:pt x="11812" y="5531"/>
                </a:cubicBezTo>
                <a:cubicBezTo>
                  <a:pt x="11812" y="5531"/>
                  <a:pt x="11812" y="5531"/>
                  <a:pt x="11781" y="5531"/>
                </a:cubicBezTo>
                <a:cubicBezTo>
                  <a:pt x="11781" y="5562"/>
                  <a:pt x="11781" y="5562"/>
                  <a:pt x="11781" y="5562"/>
                </a:cubicBezTo>
                <a:cubicBezTo>
                  <a:pt x="11781" y="5562"/>
                  <a:pt x="11750" y="5594"/>
                  <a:pt x="11750" y="5594"/>
                </a:cubicBezTo>
                <a:cubicBezTo>
                  <a:pt x="11718" y="5594"/>
                  <a:pt x="11718" y="5594"/>
                  <a:pt x="11718" y="5562"/>
                </a:cubicBezTo>
                <a:cubicBezTo>
                  <a:pt x="11718" y="5531"/>
                  <a:pt x="11718" y="5531"/>
                  <a:pt x="11750" y="5531"/>
                </a:cubicBezTo>
                <a:cubicBezTo>
                  <a:pt x="11750" y="5531"/>
                  <a:pt x="11781" y="5531"/>
                  <a:pt x="11781" y="5531"/>
                </a:cubicBezTo>
                <a:close/>
                <a:moveTo>
                  <a:pt x="11750" y="5219"/>
                </a:moveTo>
                <a:cubicBezTo>
                  <a:pt x="11750" y="5219"/>
                  <a:pt x="11781" y="5250"/>
                  <a:pt x="11781" y="5250"/>
                </a:cubicBezTo>
                <a:cubicBezTo>
                  <a:pt x="11750" y="5250"/>
                  <a:pt x="11718" y="5281"/>
                  <a:pt x="11718" y="5281"/>
                </a:cubicBezTo>
                <a:cubicBezTo>
                  <a:pt x="11687" y="5281"/>
                  <a:pt x="11687" y="5281"/>
                  <a:pt x="11687" y="5281"/>
                </a:cubicBezTo>
                <a:cubicBezTo>
                  <a:pt x="11687" y="5250"/>
                  <a:pt x="11718" y="5219"/>
                  <a:pt x="11750" y="5219"/>
                </a:cubicBezTo>
                <a:close/>
                <a:moveTo>
                  <a:pt x="11500" y="5594"/>
                </a:moveTo>
                <a:cubicBezTo>
                  <a:pt x="11468" y="5625"/>
                  <a:pt x="11468" y="5625"/>
                  <a:pt x="11437" y="5594"/>
                </a:cubicBezTo>
                <a:cubicBezTo>
                  <a:pt x="11468" y="5594"/>
                  <a:pt x="11468" y="5594"/>
                  <a:pt x="11500" y="5594"/>
                </a:cubicBezTo>
                <a:close/>
                <a:moveTo>
                  <a:pt x="11343" y="5906"/>
                </a:moveTo>
                <a:cubicBezTo>
                  <a:pt x="11343" y="5844"/>
                  <a:pt x="11406" y="5844"/>
                  <a:pt x="11437" y="5812"/>
                </a:cubicBezTo>
                <a:cubicBezTo>
                  <a:pt x="11468" y="5781"/>
                  <a:pt x="11531" y="5781"/>
                  <a:pt x="11500" y="5719"/>
                </a:cubicBezTo>
                <a:cubicBezTo>
                  <a:pt x="11468" y="5687"/>
                  <a:pt x="11531" y="5687"/>
                  <a:pt x="11531" y="5687"/>
                </a:cubicBezTo>
                <a:cubicBezTo>
                  <a:pt x="11531" y="5781"/>
                  <a:pt x="11468" y="5875"/>
                  <a:pt x="11343" y="5906"/>
                </a:cubicBezTo>
                <a:close/>
                <a:moveTo>
                  <a:pt x="11531" y="5687"/>
                </a:moveTo>
                <a:cubicBezTo>
                  <a:pt x="11531" y="5656"/>
                  <a:pt x="11531" y="5656"/>
                  <a:pt x="11562" y="5625"/>
                </a:cubicBezTo>
                <a:cubicBezTo>
                  <a:pt x="11562" y="5625"/>
                  <a:pt x="11593" y="5656"/>
                  <a:pt x="11593" y="5656"/>
                </a:cubicBezTo>
                <a:cubicBezTo>
                  <a:pt x="11593" y="5687"/>
                  <a:pt x="11562" y="5687"/>
                  <a:pt x="11531" y="5687"/>
                </a:cubicBezTo>
                <a:close/>
                <a:moveTo>
                  <a:pt x="11656" y="5594"/>
                </a:moveTo>
                <a:cubicBezTo>
                  <a:pt x="11656" y="5594"/>
                  <a:pt x="11687" y="5594"/>
                  <a:pt x="11687" y="5594"/>
                </a:cubicBezTo>
                <a:cubicBezTo>
                  <a:pt x="11687" y="5625"/>
                  <a:pt x="11656" y="5625"/>
                  <a:pt x="11656" y="5625"/>
                </a:cubicBezTo>
                <a:cubicBezTo>
                  <a:pt x="11625" y="5625"/>
                  <a:pt x="11625" y="5625"/>
                  <a:pt x="11625" y="5625"/>
                </a:cubicBezTo>
                <a:cubicBezTo>
                  <a:pt x="11625" y="5594"/>
                  <a:pt x="11625" y="5594"/>
                  <a:pt x="11656" y="5594"/>
                </a:cubicBezTo>
                <a:close/>
                <a:moveTo>
                  <a:pt x="11562" y="5406"/>
                </a:moveTo>
                <a:cubicBezTo>
                  <a:pt x="11562" y="5406"/>
                  <a:pt x="11593" y="5406"/>
                  <a:pt x="11625" y="5406"/>
                </a:cubicBezTo>
                <a:cubicBezTo>
                  <a:pt x="11625" y="5437"/>
                  <a:pt x="11593" y="5469"/>
                  <a:pt x="11562" y="5469"/>
                </a:cubicBezTo>
                <a:cubicBezTo>
                  <a:pt x="11531" y="5469"/>
                  <a:pt x="11562" y="5437"/>
                  <a:pt x="11562" y="5406"/>
                </a:cubicBezTo>
                <a:close/>
                <a:moveTo>
                  <a:pt x="12406" y="10937"/>
                </a:moveTo>
                <a:cubicBezTo>
                  <a:pt x="12406" y="10937"/>
                  <a:pt x="12375" y="10937"/>
                  <a:pt x="12406" y="10937"/>
                </a:cubicBezTo>
                <a:cubicBezTo>
                  <a:pt x="12406" y="10937"/>
                  <a:pt x="12406" y="10937"/>
                  <a:pt x="12437" y="10906"/>
                </a:cubicBezTo>
                <a:cubicBezTo>
                  <a:pt x="12437" y="10906"/>
                  <a:pt x="12437" y="10906"/>
                  <a:pt x="12437" y="10906"/>
                </a:cubicBezTo>
                <a:cubicBezTo>
                  <a:pt x="12437" y="10937"/>
                  <a:pt x="12437" y="10937"/>
                  <a:pt x="12437" y="10937"/>
                </a:cubicBezTo>
                <a:cubicBezTo>
                  <a:pt x="12437" y="10937"/>
                  <a:pt x="12437" y="10937"/>
                  <a:pt x="12406" y="10937"/>
                </a:cubicBezTo>
                <a:close/>
                <a:moveTo>
                  <a:pt x="12656" y="10656"/>
                </a:moveTo>
                <a:cubicBezTo>
                  <a:pt x="12656" y="10625"/>
                  <a:pt x="12625" y="10625"/>
                  <a:pt x="12625" y="10625"/>
                </a:cubicBezTo>
                <a:cubicBezTo>
                  <a:pt x="12656" y="10625"/>
                  <a:pt x="12656" y="10625"/>
                  <a:pt x="12656" y="10625"/>
                </a:cubicBezTo>
                <a:cubicBezTo>
                  <a:pt x="12656" y="10625"/>
                  <a:pt x="12656" y="10625"/>
                  <a:pt x="12656" y="10656"/>
                </a:cubicBezTo>
                <a:close/>
                <a:moveTo>
                  <a:pt x="12750" y="10562"/>
                </a:moveTo>
                <a:cubicBezTo>
                  <a:pt x="12781" y="10625"/>
                  <a:pt x="12718" y="10594"/>
                  <a:pt x="12718" y="10625"/>
                </a:cubicBezTo>
                <a:cubicBezTo>
                  <a:pt x="12718" y="10625"/>
                  <a:pt x="12718" y="10656"/>
                  <a:pt x="12718" y="10656"/>
                </a:cubicBezTo>
                <a:cubicBezTo>
                  <a:pt x="12750" y="10656"/>
                  <a:pt x="12750" y="10656"/>
                  <a:pt x="12750" y="10687"/>
                </a:cubicBezTo>
                <a:cubicBezTo>
                  <a:pt x="12750" y="10687"/>
                  <a:pt x="12750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718" y="10687"/>
                  <a:pt x="12718" y="10687"/>
                  <a:pt x="12718" y="10687"/>
                </a:cubicBezTo>
                <a:cubicBezTo>
                  <a:pt x="12687" y="10687"/>
                  <a:pt x="12687" y="10687"/>
                  <a:pt x="12687" y="10687"/>
                </a:cubicBezTo>
                <a:cubicBezTo>
                  <a:pt x="12687" y="10656"/>
                  <a:pt x="12718" y="10656"/>
                  <a:pt x="12718" y="10656"/>
                </a:cubicBezTo>
                <a:cubicBezTo>
                  <a:pt x="12718" y="10656"/>
                  <a:pt x="12718" y="10625"/>
                  <a:pt x="12718" y="10625"/>
                </a:cubicBezTo>
                <a:cubicBezTo>
                  <a:pt x="12718" y="10625"/>
                  <a:pt x="12687" y="10625"/>
                  <a:pt x="12687" y="10594"/>
                </a:cubicBezTo>
                <a:cubicBezTo>
                  <a:pt x="12718" y="10594"/>
                  <a:pt x="12718" y="10531"/>
                  <a:pt x="12750" y="10562"/>
                </a:cubicBezTo>
                <a:cubicBezTo>
                  <a:pt x="12781" y="10562"/>
                  <a:pt x="12812" y="10562"/>
                  <a:pt x="12843" y="10562"/>
                </a:cubicBezTo>
                <a:cubicBezTo>
                  <a:pt x="12812" y="10562"/>
                  <a:pt x="12781" y="10562"/>
                  <a:pt x="12750" y="10562"/>
                </a:cubicBezTo>
                <a:close/>
                <a:moveTo>
                  <a:pt x="14781" y="10781"/>
                </a:moveTo>
                <a:cubicBezTo>
                  <a:pt x="14781" y="10781"/>
                  <a:pt x="14781" y="10781"/>
                  <a:pt x="14781" y="10781"/>
                </a:cubicBezTo>
                <a:cubicBezTo>
                  <a:pt x="14781" y="10781"/>
                  <a:pt x="14781" y="10781"/>
                  <a:pt x="14781" y="10781"/>
                </a:cubicBezTo>
                <a:cubicBezTo>
                  <a:pt x="14781" y="10781"/>
                  <a:pt x="14781" y="10781"/>
                  <a:pt x="14781" y="10781"/>
                </a:cubicBezTo>
                <a:close/>
                <a:moveTo>
                  <a:pt x="14562" y="10656"/>
                </a:moveTo>
                <a:cubicBezTo>
                  <a:pt x="14562" y="10687"/>
                  <a:pt x="14531" y="10687"/>
                  <a:pt x="14500" y="10687"/>
                </a:cubicBezTo>
                <a:cubicBezTo>
                  <a:pt x="14500" y="10656"/>
                  <a:pt x="14531" y="10656"/>
                  <a:pt x="14562" y="10656"/>
                </a:cubicBezTo>
                <a:close/>
                <a:moveTo>
                  <a:pt x="14531" y="10594"/>
                </a:moveTo>
                <a:cubicBezTo>
                  <a:pt x="14531" y="10625"/>
                  <a:pt x="14500" y="10656"/>
                  <a:pt x="14468" y="10625"/>
                </a:cubicBezTo>
                <a:cubicBezTo>
                  <a:pt x="14500" y="10625"/>
                  <a:pt x="14500" y="10562"/>
                  <a:pt x="14531" y="10594"/>
                </a:cubicBezTo>
                <a:close/>
                <a:moveTo>
                  <a:pt x="14312" y="10594"/>
                </a:moveTo>
                <a:cubicBezTo>
                  <a:pt x="14312" y="10594"/>
                  <a:pt x="14312" y="10594"/>
                  <a:pt x="14312" y="10594"/>
                </a:cubicBezTo>
                <a:cubicBezTo>
                  <a:pt x="14312" y="10625"/>
                  <a:pt x="14312" y="10625"/>
                  <a:pt x="14312" y="10625"/>
                </a:cubicBezTo>
                <a:cubicBezTo>
                  <a:pt x="14312" y="10625"/>
                  <a:pt x="14312" y="10594"/>
                  <a:pt x="14312" y="10594"/>
                </a:cubicBezTo>
                <a:cubicBezTo>
                  <a:pt x="14312" y="10594"/>
                  <a:pt x="14312" y="10594"/>
                  <a:pt x="14312" y="10594"/>
                </a:cubicBezTo>
                <a:close/>
                <a:moveTo>
                  <a:pt x="14218" y="10687"/>
                </a:moveTo>
                <a:cubicBezTo>
                  <a:pt x="14218" y="10656"/>
                  <a:pt x="14218" y="10656"/>
                  <a:pt x="14250" y="10656"/>
                </a:cubicBezTo>
                <a:cubicBezTo>
                  <a:pt x="14250" y="10625"/>
                  <a:pt x="14281" y="10594"/>
                  <a:pt x="14312" y="10625"/>
                </a:cubicBezTo>
                <a:cubicBezTo>
                  <a:pt x="14312" y="10656"/>
                  <a:pt x="14281" y="10656"/>
                  <a:pt x="14250" y="10656"/>
                </a:cubicBezTo>
                <a:cubicBezTo>
                  <a:pt x="14250" y="10687"/>
                  <a:pt x="14250" y="10687"/>
                  <a:pt x="14218" y="10687"/>
                </a:cubicBezTo>
                <a:cubicBezTo>
                  <a:pt x="14218" y="10687"/>
                  <a:pt x="14218" y="10719"/>
                  <a:pt x="14218" y="10719"/>
                </a:cubicBezTo>
                <a:cubicBezTo>
                  <a:pt x="14187" y="10687"/>
                  <a:pt x="14218" y="10687"/>
                  <a:pt x="14218" y="10687"/>
                </a:cubicBezTo>
                <a:close/>
                <a:moveTo>
                  <a:pt x="14125" y="10687"/>
                </a:moveTo>
                <a:cubicBezTo>
                  <a:pt x="14125" y="10656"/>
                  <a:pt x="14156" y="10656"/>
                  <a:pt x="14187" y="10625"/>
                </a:cubicBezTo>
                <a:cubicBezTo>
                  <a:pt x="14187" y="10656"/>
                  <a:pt x="14156" y="10687"/>
                  <a:pt x="14125" y="10687"/>
                </a:cubicBezTo>
                <a:cubicBezTo>
                  <a:pt x="14125" y="10687"/>
                  <a:pt x="14093" y="10719"/>
                  <a:pt x="14093" y="10719"/>
                </a:cubicBezTo>
                <a:cubicBezTo>
                  <a:pt x="14093" y="10687"/>
                  <a:pt x="14093" y="10687"/>
                  <a:pt x="14125" y="10687"/>
                </a:cubicBezTo>
                <a:close/>
                <a:moveTo>
                  <a:pt x="13031" y="10594"/>
                </a:moveTo>
                <a:cubicBezTo>
                  <a:pt x="13062" y="10562"/>
                  <a:pt x="13093" y="10594"/>
                  <a:pt x="13093" y="10594"/>
                </a:cubicBezTo>
                <a:cubicBezTo>
                  <a:pt x="13093" y="10625"/>
                  <a:pt x="13062" y="10594"/>
                  <a:pt x="13031" y="10594"/>
                </a:cubicBezTo>
                <a:close/>
                <a:moveTo>
                  <a:pt x="12062" y="5125"/>
                </a:move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ubicBezTo>
                  <a:pt x="12062" y="5125"/>
                  <a:pt x="12062" y="5125"/>
                  <a:pt x="12062" y="5125"/>
                </a:cubicBezTo>
                <a:close/>
                <a:moveTo>
                  <a:pt x="10125" y="13437"/>
                </a:moveTo>
                <a:cubicBezTo>
                  <a:pt x="10156" y="13375"/>
                  <a:pt x="10218" y="13312"/>
                  <a:pt x="10281" y="13344"/>
                </a:cubicBezTo>
                <a:cubicBezTo>
                  <a:pt x="10281" y="13344"/>
                  <a:pt x="10312" y="13344"/>
                  <a:pt x="10312" y="13375"/>
                </a:cubicBezTo>
                <a:lnTo>
                  <a:pt x="10312" y="13375"/>
                </a:lnTo>
                <a:cubicBezTo>
                  <a:pt x="10312" y="13375"/>
                  <a:pt x="10281" y="13375"/>
                  <a:pt x="10281" y="13406"/>
                </a:cubicBezTo>
                <a:cubicBezTo>
                  <a:pt x="10281" y="13437"/>
                  <a:pt x="10250" y="13469"/>
                  <a:pt x="10218" y="13500"/>
                </a:cubicBezTo>
                <a:lnTo>
                  <a:pt x="10218" y="13500"/>
                </a:lnTo>
                <a:cubicBezTo>
                  <a:pt x="10187" y="13500"/>
                  <a:pt x="10187" y="13531"/>
                  <a:pt x="10187" y="13531"/>
                </a:cubicBezTo>
                <a:cubicBezTo>
                  <a:pt x="10187" y="13562"/>
                  <a:pt x="10187" y="13562"/>
                  <a:pt x="10187" y="13562"/>
                </a:cubicBezTo>
                <a:cubicBezTo>
                  <a:pt x="10187" y="13594"/>
                  <a:pt x="10250" y="13562"/>
                  <a:pt x="10250" y="13594"/>
                </a:cubicBezTo>
                <a:lnTo>
                  <a:pt x="10250" y="13594"/>
                </a:lnTo>
                <a:cubicBezTo>
                  <a:pt x="10156" y="13656"/>
                  <a:pt x="10156" y="13656"/>
                  <a:pt x="10187" y="13687"/>
                </a:cubicBezTo>
                <a:cubicBezTo>
                  <a:pt x="10187" y="13656"/>
                  <a:pt x="10218" y="13656"/>
                  <a:pt x="10218" y="13656"/>
                </a:cubicBezTo>
                <a:cubicBezTo>
                  <a:pt x="10281" y="13594"/>
                  <a:pt x="10343" y="13562"/>
                  <a:pt x="10375" y="13500"/>
                </a:cubicBezTo>
                <a:cubicBezTo>
                  <a:pt x="10343" y="13500"/>
                  <a:pt x="10312" y="13500"/>
                  <a:pt x="10312" y="13469"/>
                </a:cubicBezTo>
                <a:cubicBezTo>
                  <a:pt x="10312" y="13500"/>
                  <a:pt x="10343" y="13500"/>
                  <a:pt x="10312" y="13531"/>
                </a:cubicBezTo>
                <a:cubicBezTo>
                  <a:pt x="10312" y="13562"/>
                  <a:pt x="10281" y="13562"/>
                  <a:pt x="10281" y="13562"/>
                </a:cubicBezTo>
                <a:cubicBezTo>
                  <a:pt x="10250" y="13562"/>
                  <a:pt x="10218" y="13562"/>
                  <a:pt x="10187" y="13562"/>
                </a:cubicBezTo>
                <a:cubicBezTo>
                  <a:pt x="10187" y="13562"/>
                  <a:pt x="10187" y="13562"/>
                  <a:pt x="10187" y="13531"/>
                </a:cubicBezTo>
                <a:cubicBezTo>
                  <a:pt x="10187" y="13531"/>
                  <a:pt x="10156" y="13562"/>
                  <a:pt x="10125" y="13562"/>
                </a:cubicBezTo>
                <a:cubicBezTo>
                  <a:pt x="10125" y="13500"/>
                  <a:pt x="10250" y="13469"/>
                  <a:pt x="10156" y="13437"/>
                </a:cubicBezTo>
                <a:cubicBezTo>
                  <a:pt x="10156" y="13437"/>
                  <a:pt x="10125" y="13437"/>
                  <a:pt x="10125" y="13437"/>
                </a:cubicBezTo>
                <a:close/>
                <a:moveTo>
                  <a:pt x="9937" y="12844"/>
                </a:moveTo>
                <a:cubicBezTo>
                  <a:pt x="9937" y="12844"/>
                  <a:pt x="9906" y="12844"/>
                  <a:pt x="9906" y="12812"/>
                </a:cubicBezTo>
                <a:cubicBezTo>
                  <a:pt x="9906" y="12781"/>
                  <a:pt x="9937" y="12750"/>
                  <a:pt x="9968" y="12750"/>
                </a:cubicBezTo>
                <a:cubicBezTo>
                  <a:pt x="9968" y="12750"/>
                  <a:pt x="10000" y="12750"/>
                  <a:pt x="10031" y="12781"/>
                </a:cubicBezTo>
                <a:cubicBezTo>
                  <a:pt x="10000" y="12812"/>
                  <a:pt x="9968" y="12844"/>
                  <a:pt x="9937" y="12844"/>
                </a:cubicBezTo>
                <a:close/>
                <a:moveTo>
                  <a:pt x="10125" y="12687"/>
                </a:moveTo>
                <a:cubicBezTo>
                  <a:pt x="10125" y="12687"/>
                  <a:pt x="10093" y="12750"/>
                  <a:pt x="10031" y="12719"/>
                </a:cubicBezTo>
                <a:cubicBezTo>
                  <a:pt x="10000" y="12719"/>
                  <a:pt x="10000" y="12687"/>
                  <a:pt x="10000" y="12656"/>
                </a:cubicBezTo>
                <a:cubicBezTo>
                  <a:pt x="10031" y="12656"/>
                  <a:pt x="10031" y="12625"/>
                  <a:pt x="10062" y="12625"/>
                </a:cubicBezTo>
                <a:cubicBezTo>
                  <a:pt x="10062" y="12625"/>
                  <a:pt x="10062" y="12625"/>
                  <a:pt x="10062" y="12625"/>
                </a:cubicBezTo>
                <a:cubicBezTo>
                  <a:pt x="10093" y="12656"/>
                  <a:pt x="10156" y="12625"/>
                  <a:pt x="10125" y="12687"/>
                </a:cubicBezTo>
                <a:close/>
                <a:moveTo>
                  <a:pt x="12375" y="17531"/>
                </a:moveTo>
                <a:close/>
                <a:moveTo>
                  <a:pt x="9437" y="11875"/>
                </a:move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ubicBezTo>
                  <a:pt x="9437" y="11875"/>
                  <a:pt x="9437" y="11875"/>
                  <a:pt x="9437" y="11875"/>
                </a:cubicBezTo>
                <a:close/>
                <a:moveTo>
                  <a:pt x="9531" y="11906"/>
                </a:moveTo>
                <a:cubicBezTo>
                  <a:pt x="9531" y="11906"/>
                  <a:pt x="9531" y="11906"/>
                  <a:pt x="9531" y="11906"/>
                </a:cubicBezTo>
                <a:cubicBezTo>
                  <a:pt x="9531" y="11906"/>
                  <a:pt x="9531" y="11906"/>
                  <a:pt x="9531" y="11906"/>
                </a:cubicBezTo>
                <a:close/>
                <a:moveTo>
                  <a:pt x="9687" y="4187"/>
                </a:moveTo>
                <a:cubicBezTo>
                  <a:pt x="9687" y="4187"/>
                  <a:pt x="9687" y="4187"/>
                  <a:pt x="9687" y="4187"/>
                </a:cubicBezTo>
                <a:close/>
                <a:moveTo>
                  <a:pt x="8687" y="3312"/>
                </a:move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ubicBezTo>
                  <a:pt x="8687" y="3312"/>
                  <a:pt x="8687" y="3312"/>
                  <a:pt x="8687" y="3312"/>
                </a:cubicBezTo>
                <a:close/>
                <a:moveTo>
                  <a:pt x="8906" y="3375"/>
                </a:moveTo>
                <a:cubicBezTo>
                  <a:pt x="8906" y="3375"/>
                  <a:pt x="8906" y="3375"/>
                  <a:pt x="8906" y="3375"/>
                </a:cubicBezTo>
                <a:cubicBezTo>
                  <a:pt x="8906" y="3375"/>
                  <a:pt x="8906" y="3375"/>
                  <a:pt x="8906" y="3375"/>
                </a:cubicBezTo>
                <a:close/>
                <a:moveTo>
                  <a:pt x="15156" y="11250"/>
                </a:moveTo>
                <a:cubicBezTo>
                  <a:pt x="15156" y="11250"/>
                  <a:pt x="15156" y="11250"/>
                  <a:pt x="15156" y="11250"/>
                </a:cubicBezTo>
                <a:cubicBezTo>
                  <a:pt x="15156" y="11219"/>
                  <a:pt x="15156" y="11219"/>
                  <a:pt x="15125" y="11219"/>
                </a:cubicBezTo>
                <a:cubicBezTo>
                  <a:pt x="15125" y="11219"/>
                  <a:pt x="15125" y="11219"/>
                  <a:pt x="15125" y="11219"/>
                </a:cubicBezTo>
                <a:cubicBezTo>
                  <a:pt x="15125" y="11219"/>
                  <a:pt x="15125" y="11187"/>
                  <a:pt x="15093" y="11187"/>
                </a:cubicBezTo>
                <a:cubicBezTo>
                  <a:pt x="15093" y="11219"/>
                  <a:pt x="15093" y="11219"/>
                  <a:pt x="15125" y="11219"/>
                </a:cubicBezTo>
                <a:cubicBezTo>
                  <a:pt x="15125" y="11250"/>
                  <a:pt x="15125" y="11281"/>
                  <a:pt x="15156" y="11281"/>
                </a:cubicBezTo>
                <a:cubicBezTo>
                  <a:pt x="15156" y="11281"/>
                  <a:pt x="15156" y="11312"/>
                  <a:pt x="15187" y="11312"/>
                </a:cubicBez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7" y="11312"/>
                </a:lnTo>
                <a:lnTo>
                  <a:pt x="15188" y="11312"/>
                </a:lnTo>
                <a:lnTo>
                  <a:pt x="15188" y="11312"/>
                </a:lnTo>
                <a:lnTo>
                  <a:pt x="15188" y="11312"/>
                </a:lnTo>
                <a:moveTo>
                  <a:pt x="15218" y="11312"/>
                </a:moveTo>
                <a:cubicBezTo>
                  <a:pt x="15218" y="11281"/>
                  <a:pt x="15187" y="11281"/>
                  <a:pt x="15156" y="11250"/>
                </a:cubicBezTo>
                <a:lnTo>
                  <a:pt x="15156" y="11250"/>
                </a:lnTo>
                <a:moveTo>
                  <a:pt x="14968" y="11875"/>
                </a:moveTo>
                <a:cubicBezTo>
                  <a:pt x="14968" y="11875"/>
                  <a:pt x="14968" y="11875"/>
                  <a:pt x="14968" y="11875"/>
                </a:cubicBezTo>
                <a:cubicBezTo>
                  <a:pt x="14968" y="11875"/>
                  <a:pt x="14968" y="11875"/>
                  <a:pt x="14968" y="11875"/>
                </a:cubicBezTo>
                <a:close/>
                <a:moveTo>
                  <a:pt x="11906" y="14062"/>
                </a:move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ubicBezTo>
                  <a:pt x="11906" y="14062"/>
                  <a:pt x="11906" y="14062"/>
                  <a:pt x="11906" y="14062"/>
                </a:cubicBezTo>
                <a:close/>
                <a:moveTo>
                  <a:pt x="16375" y="9937"/>
                </a:move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ubicBezTo>
                  <a:pt x="16375" y="9937"/>
                  <a:pt x="16375" y="9937"/>
                  <a:pt x="16375" y="9937"/>
                </a:cubicBezTo>
                <a:close/>
                <a:moveTo>
                  <a:pt x="15156" y="11687"/>
                </a:moveTo>
                <a:cubicBezTo>
                  <a:pt x="15156" y="11687"/>
                  <a:pt x="15156" y="11687"/>
                  <a:pt x="15156" y="11687"/>
                </a:cubicBezTo>
                <a:cubicBezTo>
                  <a:pt x="15156" y="11687"/>
                  <a:pt x="15156" y="11687"/>
                  <a:pt x="15156" y="11687"/>
                </a:cubicBezTo>
                <a:close/>
                <a:moveTo>
                  <a:pt x="16343" y="12187"/>
                </a:move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ubicBezTo>
                  <a:pt x="16343" y="12187"/>
                  <a:pt x="16343" y="12187"/>
                  <a:pt x="16343" y="12187"/>
                </a:cubicBezTo>
                <a:close/>
                <a:moveTo>
                  <a:pt x="15937" y="12719"/>
                </a:moveTo>
                <a:cubicBezTo>
                  <a:pt x="15937" y="12719"/>
                  <a:pt x="15937" y="12719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ubicBezTo>
                  <a:pt x="15937" y="12719"/>
                  <a:pt x="15937" y="12719"/>
                  <a:pt x="15937" y="12719"/>
                </a:cubicBezTo>
                <a:close/>
                <a:moveTo>
                  <a:pt x="6812" y="3312"/>
                </a:moveTo>
                <a:cubicBezTo>
                  <a:pt x="6812" y="3344"/>
                  <a:pt x="6812" y="3344"/>
                  <a:pt x="6812" y="3344"/>
                </a:cubicBezTo>
                <a:cubicBezTo>
                  <a:pt x="6781" y="3344"/>
                  <a:pt x="6750" y="3375"/>
                  <a:pt x="6750" y="3437"/>
                </a:cubicBezTo>
                <a:cubicBezTo>
                  <a:pt x="6750" y="3406"/>
                  <a:pt x="6812" y="3375"/>
                  <a:pt x="6812" y="3344"/>
                </a:cubicBezTo>
                <a:cubicBezTo>
                  <a:pt x="6812" y="3344"/>
                  <a:pt x="6812" y="3344"/>
                  <a:pt x="6812" y="3312"/>
                </a:cubicBezTo>
                <a:close/>
                <a:moveTo>
                  <a:pt x="5718" y="15875"/>
                </a:moveTo>
                <a:cubicBezTo>
                  <a:pt x="5906" y="15937"/>
                  <a:pt x="6062" y="16000"/>
                  <a:pt x="6218" y="16062"/>
                </a:cubicBezTo>
                <a:cubicBezTo>
                  <a:pt x="6250" y="16094"/>
                  <a:pt x="6312" y="16125"/>
                  <a:pt x="6375" y="16125"/>
                </a:cubicBezTo>
                <a:cubicBezTo>
                  <a:pt x="6406" y="16187"/>
                  <a:pt x="6468" y="16156"/>
                  <a:pt x="6468" y="16219"/>
                </a:cubicBezTo>
                <a:lnTo>
                  <a:pt x="6468" y="16219"/>
                </a:lnTo>
                <a:cubicBezTo>
                  <a:pt x="6531" y="16219"/>
                  <a:pt x="6593" y="16219"/>
                  <a:pt x="6656" y="16250"/>
                </a:cubicBezTo>
                <a:cubicBezTo>
                  <a:pt x="6656" y="16281"/>
                  <a:pt x="6687" y="16281"/>
                  <a:pt x="6687" y="16250"/>
                </a:cubicBezTo>
                <a:cubicBezTo>
                  <a:pt x="6687" y="16250"/>
                  <a:pt x="6687" y="16219"/>
                  <a:pt x="6656" y="16219"/>
                </a:cubicBezTo>
                <a:cubicBezTo>
                  <a:pt x="6625" y="16219"/>
                  <a:pt x="6562" y="16187"/>
                  <a:pt x="6531" y="16187"/>
                </a:cubicBezTo>
                <a:cubicBezTo>
                  <a:pt x="6468" y="16156"/>
                  <a:pt x="6437" y="16094"/>
                  <a:pt x="6375" y="16125"/>
                </a:cubicBezTo>
                <a:cubicBezTo>
                  <a:pt x="6343" y="16094"/>
                  <a:pt x="6343" y="16094"/>
                  <a:pt x="6312" y="16094"/>
                </a:cubicBezTo>
                <a:cubicBezTo>
                  <a:pt x="6187" y="16000"/>
                  <a:pt x="6062" y="15969"/>
                  <a:pt x="5906" y="15906"/>
                </a:cubicBezTo>
                <a:cubicBezTo>
                  <a:pt x="5718" y="15812"/>
                  <a:pt x="5531" y="15750"/>
                  <a:pt x="5343" y="15687"/>
                </a:cubicBezTo>
                <a:cubicBezTo>
                  <a:pt x="5312" y="15687"/>
                  <a:pt x="5312" y="15687"/>
                  <a:pt x="5281" y="15656"/>
                </a:cubicBezTo>
                <a:cubicBezTo>
                  <a:pt x="5125" y="15625"/>
                  <a:pt x="5000" y="15562"/>
                  <a:pt x="4843" y="15562"/>
                </a:cubicBezTo>
                <a:cubicBezTo>
                  <a:pt x="4843" y="15562"/>
                  <a:pt x="4843" y="15562"/>
                  <a:pt x="4843" y="15562"/>
                </a:cubicBezTo>
                <a:cubicBezTo>
                  <a:pt x="4843" y="15562"/>
                  <a:pt x="4843" y="15562"/>
                  <a:pt x="4843" y="15562"/>
                </a:cubicBezTo>
                <a:cubicBezTo>
                  <a:pt x="4968" y="15625"/>
                  <a:pt x="5125" y="15656"/>
                  <a:pt x="5250" y="15687"/>
                </a:cubicBezTo>
                <a:cubicBezTo>
                  <a:pt x="5406" y="15719"/>
                  <a:pt x="5562" y="15812"/>
                  <a:pt x="5718" y="15875"/>
                </a:cubicBezTo>
                <a:close/>
                <a:moveTo>
                  <a:pt x="12125" y="14750"/>
                </a:moveTo>
                <a:cubicBezTo>
                  <a:pt x="12125" y="14750"/>
                  <a:pt x="12125" y="14750"/>
                  <a:pt x="12125" y="14750"/>
                </a:cubicBezTo>
                <a:lnTo>
                  <a:pt x="12125" y="14750"/>
                </a:lnTo>
                <a:cubicBezTo>
                  <a:pt x="12125" y="14750"/>
                  <a:pt x="12125" y="14750"/>
                  <a:pt x="12125" y="14750"/>
                </a:cubicBezTo>
                <a:cubicBezTo>
                  <a:pt x="12125" y="14750"/>
                  <a:pt x="12125" y="14750"/>
                  <a:pt x="12125" y="14750"/>
                </a:cubicBezTo>
                <a:lnTo>
                  <a:pt x="12125" y="14750"/>
                </a:lnTo>
                <a:cubicBezTo>
                  <a:pt x="12125" y="14750"/>
                  <a:pt x="12125" y="14750"/>
                  <a:pt x="12125" y="14750"/>
                </a:cubicBezTo>
                <a:close/>
                <a:moveTo>
                  <a:pt x="11656" y="18531"/>
                </a:moveTo>
                <a:cubicBezTo>
                  <a:pt x="11656" y="18531"/>
                  <a:pt x="11656" y="18531"/>
                  <a:pt x="11656" y="18531"/>
                </a:cubicBezTo>
                <a:cubicBezTo>
                  <a:pt x="11656" y="18531"/>
                  <a:pt x="11656" y="18531"/>
                  <a:pt x="11656" y="18531"/>
                </a:cubicBezTo>
                <a:lnTo>
                  <a:pt x="11656" y="18531"/>
                </a:lnTo>
                <a:cubicBezTo>
                  <a:pt x="11656" y="18531"/>
                  <a:pt x="11656" y="18531"/>
                  <a:pt x="11656" y="18531"/>
                </a:cubicBezTo>
                <a:close/>
                <a:moveTo>
                  <a:pt x="11062" y="13500"/>
                </a:moveTo>
                <a:lnTo>
                  <a:pt x="11062" y="13500"/>
                </a:lnTo>
                <a:lnTo>
                  <a:pt x="11062" y="13500"/>
                </a:lnTo>
                <a:close/>
                <a:moveTo>
                  <a:pt x="19000" y="13281"/>
                </a:moveTo>
                <a:cubicBezTo>
                  <a:pt x="19000" y="13281"/>
                  <a:pt x="19000" y="13281"/>
                  <a:pt x="18968" y="13281"/>
                </a:cubicBezTo>
                <a:cubicBezTo>
                  <a:pt x="19000" y="13281"/>
                  <a:pt x="19000" y="13281"/>
                  <a:pt x="19000" y="13281"/>
                </a:cubicBezTo>
                <a:cubicBezTo>
                  <a:pt x="19000" y="13344"/>
                  <a:pt x="19031" y="13406"/>
                  <a:pt x="19093" y="13469"/>
                </a:cubicBezTo>
                <a:cubicBezTo>
                  <a:pt x="19093" y="13375"/>
                  <a:pt x="19062" y="13312"/>
                  <a:pt x="19000" y="13281"/>
                </a:cubicBezTo>
                <a:close/>
                <a:moveTo>
                  <a:pt x="11093" y="13031"/>
                </a:moveTo>
                <a:lnTo>
                  <a:pt x="11125" y="13031"/>
                </a:lnTo>
                <a:lnTo>
                  <a:pt x="11125" y="13031"/>
                </a:lnTo>
                <a:lnTo>
                  <a:pt x="11093" y="13031"/>
                </a:lnTo>
                <a:cubicBezTo>
                  <a:pt x="11031" y="13031"/>
                  <a:pt x="11000" y="13156"/>
                  <a:pt x="10906" y="13094"/>
                </a:cubicBezTo>
                <a:lnTo>
                  <a:pt x="10906" y="13094"/>
                </a:lnTo>
                <a:cubicBezTo>
                  <a:pt x="11000" y="13156"/>
                  <a:pt x="11031" y="13125"/>
                  <a:pt x="11093" y="13031"/>
                </a:cubicBezTo>
                <a:close/>
                <a:moveTo>
                  <a:pt x="9718" y="12531"/>
                </a:moveTo>
                <a:cubicBezTo>
                  <a:pt x="9718" y="12531"/>
                  <a:pt x="9718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lnTo>
                  <a:pt x="9718" y="12531"/>
                </a:ln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ubicBezTo>
                  <a:pt x="9718" y="12531"/>
                  <a:pt x="9718" y="12531"/>
                  <a:pt x="9718" y="12531"/>
                </a:cubicBezTo>
                <a:close/>
                <a:moveTo>
                  <a:pt x="7343" y="2437"/>
                </a:moveTo>
                <a:cubicBezTo>
                  <a:pt x="7375" y="2437"/>
                  <a:pt x="7375" y="2437"/>
                  <a:pt x="7375" y="2437"/>
                </a:cubicBezTo>
                <a:cubicBezTo>
                  <a:pt x="7375" y="2406"/>
                  <a:pt x="7375" y="2406"/>
                  <a:pt x="7375" y="2375"/>
                </a:cubicBezTo>
                <a:cubicBezTo>
                  <a:pt x="7375" y="2344"/>
                  <a:pt x="7375" y="2344"/>
                  <a:pt x="7375" y="2312"/>
                </a:cubicBezTo>
                <a:cubicBezTo>
                  <a:pt x="7406" y="2312"/>
                  <a:pt x="7375" y="2375"/>
                  <a:pt x="7406" y="2344"/>
                </a:cubicBezTo>
                <a:cubicBezTo>
                  <a:pt x="7406" y="2344"/>
                  <a:pt x="7437" y="2344"/>
                  <a:pt x="7437" y="2344"/>
                </a:cubicBezTo>
                <a:cubicBezTo>
                  <a:pt x="7437" y="2344"/>
                  <a:pt x="7437" y="2344"/>
                  <a:pt x="7437" y="2375"/>
                </a:cubicBezTo>
                <a:cubicBezTo>
                  <a:pt x="7437" y="2375"/>
                  <a:pt x="7437" y="2375"/>
                  <a:pt x="7437" y="2375"/>
                </a:cubicBezTo>
                <a:cubicBezTo>
                  <a:pt x="7468" y="2406"/>
                  <a:pt x="7468" y="2437"/>
                  <a:pt x="7406" y="2469"/>
                </a:cubicBezTo>
                <a:lnTo>
                  <a:pt x="7406" y="2469"/>
                </a:lnTo>
                <a:cubicBezTo>
                  <a:pt x="7375" y="2500"/>
                  <a:pt x="7406" y="2437"/>
                  <a:pt x="7375" y="2437"/>
                </a:cubicBezTo>
                <a:cubicBezTo>
                  <a:pt x="7343" y="2437"/>
                  <a:pt x="7343" y="2437"/>
                  <a:pt x="7343" y="2437"/>
                </a:cubicBezTo>
                <a:cubicBezTo>
                  <a:pt x="7343" y="2437"/>
                  <a:pt x="7343" y="2437"/>
                  <a:pt x="7343" y="2437"/>
                </a:cubicBezTo>
                <a:close/>
                <a:moveTo>
                  <a:pt x="2031" y="16719"/>
                </a:moveTo>
                <a:cubicBezTo>
                  <a:pt x="2031" y="16719"/>
                  <a:pt x="2031" y="16719"/>
                  <a:pt x="2031" y="16719"/>
                </a:cubicBezTo>
                <a:cubicBezTo>
                  <a:pt x="2062" y="16719"/>
                  <a:pt x="2062" y="16719"/>
                  <a:pt x="2062" y="16719"/>
                </a:cubicBezTo>
                <a:cubicBezTo>
                  <a:pt x="2062" y="16719"/>
                  <a:pt x="2062" y="16719"/>
                  <a:pt x="2062" y="16719"/>
                </a:cubicBezTo>
                <a:cubicBezTo>
                  <a:pt x="2031" y="16719"/>
                  <a:pt x="2031" y="16719"/>
                  <a:pt x="2031" y="16719"/>
                </a:cubicBezTo>
                <a:close/>
                <a:moveTo>
                  <a:pt x="10812" y="14156"/>
                </a:moveTo>
                <a:cubicBezTo>
                  <a:pt x="10812" y="14187"/>
                  <a:pt x="10843" y="14156"/>
                  <a:pt x="10843" y="14156"/>
                </a:cubicBezTo>
                <a:cubicBezTo>
                  <a:pt x="10843" y="14125"/>
                  <a:pt x="10843" y="14125"/>
                  <a:pt x="10875" y="14125"/>
                </a:cubicBezTo>
                <a:cubicBezTo>
                  <a:pt x="10875" y="14094"/>
                  <a:pt x="10906" y="14094"/>
                  <a:pt x="10875" y="14062"/>
                </a:cubicBezTo>
                <a:cubicBezTo>
                  <a:pt x="10875" y="14062"/>
                  <a:pt x="10843" y="14031"/>
                  <a:pt x="10812" y="14062"/>
                </a:cubicBezTo>
                <a:cubicBezTo>
                  <a:pt x="10812" y="14094"/>
                  <a:pt x="10781" y="14094"/>
                  <a:pt x="10781" y="14125"/>
                </a:cubicBezTo>
                <a:cubicBezTo>
                  <a:pt x="10718" y="14156"/>
                  <a:pt x="10687" y="14187"/>
                  <a:pt x="10593" y="14187"/>
                </a:cubicBezTo>
                <a:cubicBezTo>
                  <a:pt x="10593" y="14187"/>
                  <a:pt x="10562" y="14156"/>
                  <a:pt x="10531" y="14125"/>
                </a:cubicBezTo>
                <a:cubicBezTo>
                  <a:pt x="10531" y="14125"/>
                  <a:pt x="10531" y="14125"/>
                  <a:pt x="10531" y="14125"/>
                </a:cubicBezTo>
                <a:cubicBezTo>
                  <a:pt x="10500" y="14125"/>
                  <a:pt x="10500" y="14125"/>
                  <a:pt x="10531" y="14125"/>
                </a:cubicBezTo>
                <a:lnTo>
                  <a:pt x="10531" y="14125"/>
                </a:ln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94"/>
                  <a:pt x="10531" y="14094"/>
                </a:cubicBezTo>
                <a:cubicBezTo>
                  <a:pt x="10531" y="14094"/>
                  <a:pt x="10531" y="14062"/>
                  <a:pt x="10531" y="14062"/>
                </a:cubicBezTo>
                <a:cubicBezTo>
                  <a:pt x="10437" y="14094"/>
                  <a:pt x="10406" y="14000"/>
                  <a:pt x="10343" y="13969"/>
                </a:cubicBezTo>
                <a:cubicBezTo>
                  <a:pt x="10343" y="13969"/>
                  <a:pt x="10343" y="13969"/>
                  <a:pt x="10312" y="13937"/>
                </a:cubicBezTo>
                <a:cubicBezTo>
                  <a:pt x="10312" y="13906"/>
                  <a:pt x="10343" y="13937"/>
                  <a:pt x="10343" y="13937"/>
                </a:cubicBezTo>
                <a:cubicBezTo>
                  <a:pt x="10375" y="13937"/>
                  <a:pt x="10406" y="13906"/>
                  <a:pt x="10406" y="13906"/>
                </a:cubicBezTo>
                <a:cubicBezTo>
                  <a:pt x="10437" y="13875"/>
                  <a:pt x="10500" y="13844"/>
                  <a:pt x="10531" y="13906"/>
                </a:cubicBezTo>
                <a:cubicBezTo>
                  <a:pt x="10531" y="13937"/>
                  <a:pt x="10562" y="13937"/>
                  <a:pt x="10593" y="13937"/>
                </a:cubicBezTo>
                <a:cubicBezTo>
                  <a:pt x="10625" y="13875"/>
                  <a:pt x="10656" y="13875"/>
                  <a:pt x="10687" y="13844"/>
                </a:cubicBezTo>
                <a:cubicBezTo>
                  <a:pt x="10656" y="13875"/>
                  <a:pt x="10656" y="13906"/>
                  <a:pt x="10625" y="13937"/>
                </a:cubicBezTo>
                <a:cubicBezTo>
                  <a:pt x="10656" y="13937"/>
                  <a:pt x="10656" y="13937"/>
                  <a:pt x="10656" y="13937"/>
                </a:cubicBezTo>
                <a:cubicBezTo>
                  <a:pt x="10687" y="13969"/>
                  <a:pt x="10750" y="13969"/>
                  <a:pt x="10750" y="13906"/>
                </a:cubicBezTo>
                <a:cubicBezTo>
                  <a:pt x="10781" y="13969"/>
                  <a:pt x="10750" y="13969"/>
                  <a:pt x="10750" y="14000"/>
                </a:cubicBezTo>
                <a:cubicBezTo>
                  <a:pt x="10812" y="14000"/>
                  <a:pt x="10843" y="14000"/>
                  <a:pt x="10906" y="14031"/>
                </a:cubicBezTo>
                <a:cubicBezTo>
                  <a:pt x="10906" y="14062"/>
                  <a:pt x="10937" y="14062"/>
                  <a:pt x="10968" y="14031"/>
                </a:cubicBezTo>
                <a:cubicBezTo>
                  <a:pt x="10968" y="14000"/>
                  <a:pt x="11000" y="13969"/>
                  <a:pt x="11031" y="13969"/>
                </a:cubicBezTo>
                <a:cubicBezTo>
                  <a:pt x="11000" y="14031"/>
                  <a:pt x="10937" y="14094"/>
                  <a:pt x="10906" y="14156"/>
                </a:cubicBezTo>
                <a:cubicBezTo>
                  <a:pt x="10875" y="14156"/>
                  <a:pt x="10875" y="14156"/>
                  <a:pt x="10843" y="14156"/>
                </a:cubicBezTo>
                <a:cubicBezTo>
                  <a:pt x="10812" y="14156"/>
                  <a:pt x="10812" y="14156"/>
                  <a:pt x="10812" y="14156"/>
                </a:cubicBezTo>
                <a:close/>
                <a:moveTo>
                  <a:pt x="4156" y="16625"/>
                </a:moveTo>
                <a:cubicBezTo>
                  <a:pt x="4187" y="16656"/>
                  <a:pt x="4218" y="16625"/>
                  <a:pt x="4281" y="16656"/>
                </a:cubicBezTo>
                <a:cubicBezTo>
                  <a:pt x="4437" y="16719"/>
                  <a:pt x="4625" y="16719"/>
                  <a:pt x="4781" y="16781"/>
                </a:cubicBezTo>
                <a:cubicBezTo>
                  <a:pt x="4937" y="16844"/>
                  <a:pt x="5125" y="16906"/>
                  <a:pt x="5312" y="16969"/>
                </a:cubicBezTo>
                <a:cubicBezTo>
                  <a:pt x="5406" y="17031"/>
                  <a:pt x="5531" y="17125"/>
                  <a:pt x="5687" y="17094"/>
                </a:cubicBezTo>
                <a:cubicBezTo>
                  <a:pt x="5593" y="17062"/>
                  <a:pt x="5531" y="16969"/>
                  <a:pt x="5437" y="16906"/>
                </a:cubicBezTo>
                <a:cubicBezTo>
                  <a:pt x="5375" y="16906"/>
                  <a:pt x="5343" y="16875"/>
                  <a:pt x="5343" y="16844"/>
                </a:cubicBezTo>
                <a:cubicBezTo>
                  <a:pt x="5281" y="16781"/>
                  <a:pt x="5218" y="16750"/>
                  <a:pt x="5156" y="16750"/>
                </a:cubicBezTo>
                <a:cubicBezTo>
                  <a:pt x="5156" y="16750"/>
                  <a:pt x="5156" y="16719"/>
                  <a:pt x="5125" y="16719"/>
                </a:cubicBezTo>
                <a:cubicBezTo>
                  <a:pt x="5093" y="16719"/>
                  <a:pt x="5062" y="16719"/>
                  <a:pt x="5062" y="16687"/>
                </a:cubicBezTo>
                <a:cubicBezTo>
                  <a:pt x="5062" y="16625"/>
                  <a:pt x="5093" y="16687"/>
                  <a:pt x="5125" y="16656"/>
                </a:cubicBezTo>
                <a:cubicBezTo>
                  <a:pt x="5093" y="16625"/>
                  <a:pt x="5031" y="16625"/>
                  <a:pt x="5000" y="16594"/>
                </a:cubicBezTo>
                <a:cubicBezTo>
                  <a:pt x="4781" y="16469"/>
                  <a:pt x="4562" y="16437"/>
                  <a:pt x="4312" y="16375"/>
                </a:cubicBezTo>
                <a:cubicBezTo>
                  <a:pt x="4093" y="16312"/>
                  <a:pt x="3875" y="16312"/>
                  <a:pt x="3656" y="16250"/>
                </a:cubicBezTo>
                <a:cubicBezTo>
                  <a:pt x="3468" y="16187"/>
                  <a:pt x="3250" y="16156"/>
                  <a:pt x="3062" y="16156"/>
                </a:cubicBezTo>
                <a:cubicBezTo>
                  <a:pt x="2968" y="16187"/>
                  <a:pt x="2906" y="16156"/>
                  <a:pt x="2812" y="16219"/>
                </a:cubicBezTo>
                <a:cubicBezTo>
                  <a:pt x="2875" y="16219"/>
                  <a:pt x="2906" y="16219"/>
                  <a:pt x="2937" y="16219"/>
                </a:cubicBezTo>
                <a:cubicBezTo>
                  <a:pt x="3093" y="16219"/>
                  <a:pt x="3281" y="16219"/>
                  <a:pt x="3437" y="16250"/>
                </a:cubicBezTo>
                <a:cubicBezTo>
                  <a:pt x="3593" y="16281"/>
                  <a:pt x="3750" y="16312"/>
                  <a:pt x="3906" y="16344"/>
                </a:cubicBezTo>
                <a:cubicBezTo>
                  <a:pt x="4031" y="16375"/>
                  <a:pt x="4156" y="16375"/>
                  <a:pt x="4281" y="16406"/>
                </a:cubicBezTo>
                <a:cubicBezTo>
                  <a:pt x="4312" y="16406"/>
                  <a:pt x="4343" y="16406"/>
                  <a:pt x="4343" y="16406"/>
                </a:cubicBezTo>
                <a:cubicBezTo>
                  <a:pt x="4343" y="16437"/>
                  <a:pt x="4312" y="16437"/>
                  <a:pt x="4312" y="16437"/>
                </a:cubicBezTo>
                <a:cubicBezTo>
                  <a:pt x="4375" y="16469"/>
                  <a:pt x="4468" y="16500"/>
                  <a:pt x="4562" y="16531"/>
                </a:cubicBezTo>
                <a:cubicBezTo>
                  <a:pt x="4468" y="16562"/>
                  <a:pt x="4406" y="16500"/>
                  <a:pt x="4312" y="16500"/>
                </a:cubicBezTo>
                <a:cubicBezTo>
                  <a:pt x="4375" y="16562"/>
                  <a:pt x="4468" y="16562"/>
                  <a:pt x="4531" y="16594"/>
                </a:cubicBezTo>
                <a:cubicBezTo>
                  <a:pt x="4625" y="16625"/>
                  <a:pt x="4718" y="16625"/>
                  <a:pt x="4781" y="16687"/>
                </a:cubicBezTo>
                <a:cubicBezTo>
                  <a:pt x="4781" y="16687"/>
                  <a:pt x="4750" y="16687"/>
                  <a:pt x="4750" y="16719"/>
                </a:cubicBezTo>
                <a:cubicBezTo>
                  <a:pt x="4875" y="16750"/>
                  <a:pt x="5031" y="16781"/>
                  <a:pt x="5156" y="16844"/>
                </a:cubicBezTo>
                <a:cubicBezTo>
                  <a:pt x="5156" y="16844"/>
                  <a:pt x="5187" y="16844"/>
                  <a:pt x="5187" y="16844"/>
                </a:cubicBezTo>
                <a:cubicBezTo>
                  <a:pt x="5187" y="16875"/>
                  <a:pt x="5156" y="16875"/>
                  <a:pt x="5125" y="16844"/>
                </a:cubicBezTo>
                <a:cubicBezTo>
                  <a:pt x="5000" y="16812"/>
                  <a:pt x="4875" y="16781"/>
                  <a:pt x="4750" y="16719"/>
                </a:cubicBezTo>
                <a:cubicBezTo>
                  <a:pt x="4687" y="16687"/>
                  <a:pt x="4625" y="16719"/>
                  <a:pt x="4562" y="16687"/>
                </a:cubicBezTo>
                <a:cubicBezTo>
                  <a:pt x="4468" y="16656"/>
                  <a:pt x="4343" y="16625"/>
                  <a:pt x="4250" y="16594"/>
                </a:cubicBezTo>
                <a:cubicBezTo>
                  <a:pt x="4218" y="16594"/>
                  <a:pt x="4187" y="16594"/>
                  <a:pt x="4156" y="16594"/>
                </a:cubicBezTo>
                <a:lnTo>
                  <a:pt x="4156" y="16593"/>
                </a:lnTo>
                <a:lnTo>
                  <a:pt x="4156" y="16592"/>
                </a:lnTo>
                <a:lnTo>
                  <a:pt x="4156" y="16592"/>
                </a:lnTo>
                <a:lnTo>
                  <a:pt x="4156" y="16591"/>
                </a:lnTo>
                <a:lnTo>
                  <a:pt x="4156" y="16591"/>
                </a:lnTo>
                <a:lnTo>
                  <a:pt x="4156" y="16591"/>
                </a:lnTo>
                <a:lnTo>
                  <a:pt x="4156" y="16590"/>
                </a:lnTo>
                <a:lnTo>
                  <a:pt x="4156" y="16589"/>
                </a:lnTo>
                <a:lnTo>
                  <a:pt x="4156" y="16589"/>
                </a:lnTo>
                <a:lnTo>
                  <a:pt x="4156" y="16588"/>
                </a:lnTo>
                <a:lnTo>
                  <a:pt x="4156" y="16588"/>
                </a:lnTo>
                <a:lnTo>
                  <a:pt x="4156" y="16588"/>
                </a:lnTo>
                <a:lnTo>
                  <a:pt x="4156" y="16587"/>
                </a:lnTo>
                <a:lnTo>
                  <a:pt x="4156" y="16586"/>
                </a:lnTo>
                <a:lnTo>
                  <a:pt x="4156" y="16586"/>
                </a:lnTo>
                <a:lnTo>
                  <a:pt x="4156" y="16585"/>
                </a:lnTo>
                <a:lnTo>
                  <a:pt x="4156" y="16584"/>
                </a:lnTo>
                <a:lnTo>
                  <a:pt x="4156" y="16584"/>
                </a:lnTo>
                <a:lnTo>
                  <a:pt x="4156" y="16584"/>
                </a:lnTo>
                <a:lnTo>
                  <a:pt x="4156" y="16583"/>
                </a:lnTo>
                <a:lnTo>
                  <a:pt x="4156" y="16583"/>
                </a:lnTo>
                <a:lnTo>
                  <a:pt x="4156" y="16582"/>
                </a:lnTo>
                <a:lnTo>
                  <a:pt x="4156" y="16582"/>
                </a:lnTo>
                <a:lnTo>
                  <a:pt x="4156" y="16581"/>
                </a:lnTo>
                <a:lnTo>
                  <a:pt x="4156" y="16581"/>
                </a:lnTo>
                <a:lnTo>
                  <a:pt x="4156" y="16580"/>
                </a:lnTo>
                <a:lnTo>
                  <a:pt x="4156" y="16580"/>
                </a:lnTo>
                <a:lnTo>
                  <a:pt x="4156" y="16579"/>
                </a:lnTo>
                <a:lnTo>
                  <a:pt x="4156" y="16579"/>
                </a:lnTo>
                <a:lnTo>
                  <a:pt x="4156" y="16578"/>
                </a:lnTo>
                <a:lnTo>
                  <a:pt x="4156" y="16578"/>
                </a:lnTo>
                <a:lnTo>
                  <a:pt x="4156" y="16577"/>
                </a:lnTo>
                <a:lnTo>
                  <a:pt x="4156" y="16577"/>
                </a:lnTo>
                <a:lnTo>
                  <a:pt x="4156" y="16576"/>
                </a:lnTo>
                <a:lnTo>
                  <a:pt x="4156" y="16576"/>
                </a:lnTo>
                <a:lnTo>
                  <a:pt x="4156" y="16575"/>
                </a:lnTo>
                <a:lnTo>
                  <a:pt x="4156" y="16575"/>
                </a:lnTo>
                <a:lnTo>
                  <a:pt x="4156" y="16575"/>
                </a:lnTo>
                <a:lnTo>
                  <a:pt x="4156" y="16574"/>
                </a:lnTo>
                <a:lnTo>
                  <a:pt x="4156" y="16574"/>
                </a:lnTo>
                <a:lnTo>
                  <a:pt x="4156" y="16573"/>
                </a:lnTo>
                <a:lnTo>
                  <a:pt x="4156" y="16573"/>
                </a:lnTo>
                <a:lnTo>
                  <a:pt x="4156" y="16572"/>
                </a:lnTo>
                <a:lnTo>
                  <a:pt x="4156" y="16572"/>
                </a:lnTo>
                <a:lnTo>
                  <a:pt x="4156" y="16572"/>
                </a:lnTo>
                <a:lnTo>
                  <a:pt x="4156" y="16571"/>
                </a:lnTo>
                <a:lnTo>
                  <a:pt x="4156" y="16571"/>
                </a:lnTo>
                <a:lnTo>
                  <a:pt x="4156" y="16570"/>
                </a:lnTo>
                <a:lnTo>
                  <a:pt x="4156" y="16570"/>
                </a:lnTo>
                <a:lnTo>
                  <a:pt x="4156" y="16569"/>
                </a:lnTo>
                <a:lnTo>
                  <a:pt x="4156" y="16569"/>
                </a:lnTo>
                <a:lnTo>
                  <a:pt x="4156" y="16569"/>
                </a:lnTo>
                <a:lnTo>
                  <a:pt x="4156" y="16568"/>
                </a:lnTo>
                <a:lnTo>
                  <a:pt x="4156" y="16568"/>
                </a:lnTo>
                <a:lnTo>
                  <a:pt x="4156" y="16568"/>
                </a:lnTo>
                <a:lnTo>
                  <a:pt x="4156" y="16567"/>
                </a:lnTo>
                <a:lnTo>
                  <a:pt x="4156" y="16567"/>
                </a:lnTo>
                <a:lnTo>
                  <a:pt x="4156" y="16567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6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5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4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3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lnTo>
                  <a:pt x="4156" y="16562"/>
                </a:lnTo>
                <a:cubicBezTo>
                  <a:pt x="4125" y="16562"/>
                  <a:pt x="4125" y="16562"/>
                  <a:pt x="4125" y="16562"/>
                </a:cubicBezTo>
                <a:cubicBezTo>
                  <a:pt x="4093" y="16562"/>
                  <a:pt x="4093" y="16562"/>
                  <a:pt x="4093" y="16562"/>
                </a:cubicBezTo>
                <a:cubicBezTo>
                  <a:pt x="3968" y="16531"/>
                  <a:pt x="3875" y="16469"/>
                  <a:pt x="3750" y="16469"/>
                </a:cubicBezTo>
                <a:cubicBezTo>
                  <a:pt x="3562" y="16406"/>
                  <a:pt x="3343" y="16375"/>
                  <a:pt x="3125" y="16344"/>
                </a:cubicBezTo>
                <a:cubicBezTo>
                  <a:pt x="2937" y="16312"/>
                  <a:pt x="2781" y="16312"/>
                  <a:pt x="2593" y="16312"/>
                </a:cubicBezTo>
                <a:cubicBezTo>
                  <a:pt x="2531" y="16312"/>
                  <a:pt x="2531" y="16312"/>
                  <a:pt x="2468" y="16375"/>
                </a:cubicBezTo>
                <a:cubicBezTo>
                  <a:pt x="3062" y="16312"/>
                  <a:pt x="3593" y="16469"/>
                  <a:pt x="4156" y="16625"/>
                </a:cubicBezTo>
                <a:lnTo>
                  <a:pt x="4156" y="16625"/>
                </a:lnTo>
                <a:lnTo>
                  <a:pt x="4156" y="16594"/>
                </a:lnTo>
                <a:moveTo>
                  <a:pt x="4593" y="16562"/>
                </a:moveTo>
                <a:cubicBezTo>
                  <a:pt x="4625" y="16562"/>
                  <a:pt x="4687" y="16531"/>
                  <a:pt x="4718" y="16594"/>
                </a:cubicBezTo>
                <a:cubicBezTo>
                  <a:pt x="4656" y="16594"/>
                  <a:pt x="4625" y="16562"/>
                  <a:pt x="4593" y="16562"/>
                </a:cubicBezTo>
                <a:close/>
                <a:moveTo>
                  <a:pt x="7656" y="20531"/>
                </a:moveTo>
                <a:cubicBezTo>
                  <a:pt x="7656" y="20531"/>
                  <a:pt x="7656" y="20531"/>
                  <a:pt x="7656" y="20531"/>
                </a:cubicBezTo>
                <a:cubicBezTo>
                  <a:pt x="7656" y="20531"/>
                  <a:pt x="7656" y="20531"/>
                  <a:pt x="7656" y="20531"/>
                </a:cubicBezTo>
                <a:cubicBezTo>
                  <a:pt x="7656" y="20531"/>
                  <a:pt x="7656" y="20500"/>
                  <a:pt x="7656" y="20500"/>
                </a:cubicBezTo>
                <a:cubicBezTo>
                  <a:pt x="7625" y="20469"/>
                  <a:pt x="7593" y="20469"/>
                  <a:pt x="7593" y="20437"/>
                </a:cubicBezTo>
                <a:cubicBezTo>
                  <a:pt x="7593" y="20469"/>
                  <a:pt x="7562" y="20437"/>
                  <a:pt x="7562" y="20437"/>
                </a:cubicBezTo>
                <a:cubicBezTo>
                  <a:pt x="7562" y="20437"/>
                  <a:pt x="7593" y="20469"/>
                  <a:pt x="7562" y="20469"/>
                </a:cubicBezTo>
                <a:cubicBezTo>
                  <a:pt x="7562" y="20500"/>
                  <a:pt x="7531" y="20500"/>
                  <a:pt x="7531" y="20469"/>
                </a:cubicBezTo>
                <a:cubicBezTo>
                  <a:pt x="7468" y="20437"/>
                  <a:pt x="7406" y="20437"/>
                  <a:pt x="7343" y="20406"/>
                </a:cubicBezTo>
                <a:cubicBezTo>
                  <a:pt x="7250" y="20344"/>
                  <a:pt x="7125" y="20344"/>
                  <a:pt x="7000" y="20312"/>
                </a:cubicBezTo>
                <a:cubicBezTo>
                  <a:pt x="7031" y="20375"/>
                  <a:pt x="7062" y="20375"/>
                  <a:pt x="7125" y="20375"/>
                </a:cubicBezTo>
                <a:cubicBezTo>
                  <a:pt x="7281" y="20406"/>
                  <a:pt x="7406" y="20437"/>
                  <a:pt x="7531" y="20531"/>
                </a:cubicBezTo>
                <a:cubicBezTo>
                  <a:pt x="7562" y="20531"/>
                  <a:pt x="7562" y="20531"/>
                  <a:pt x="7562" y="20531"/>
                </a:cubicBezTo>
                <a:cubicBezTo>
                  <a:pt x="7593" y="20469"/>
                  <a:pt x="7625" y="20500"/>
                  <a:pt x="7656" y="20500"/>
                </a:cubicBezTo>
                <a:cubicBezTo>
                  <a:pt x="7656" y="20500"/>
                  <a:pt x="7656" y="20531"/>
                  <a:pt x="7656" y="20531"/>
                </a:cubicBezTo>
                <a:close/>
                <a:moveTo>
                  <a:pt x="9531" y="15062"/>
                </a:moveTo>
                <a:cubicBezTo>
                  <a:pt x="9531" y="15062"/>
                  <a:pt x="9531" y="15062"/>
                  <a:pt x="9531" y="15094"/>
                </a:cubicBezTo>
                <a:cubicBezTo>
                  <a:pt x="9468" y="15062"/>
                  <a:pt x="9437" y="15062"/>
                  <a:pt x="9406" y="15062"/>
                </a:cubicBezTo>
                <a:lnTo>
                  <a:pt x="9406" y="15062"/>
                </a:lnTo>
                <a:cubicBezTo>
                  <a:pt x="9250" y="15125"/>
                  <a:pt x="9093" y="15125"/>
                  <a:pt x="8937" y="15156"/>
                </a:cubicBezTo>
                <a:cubicBezTo>
                  <a:pt x="8937" y="15187"/>
                  <a:pt x="8937" y="15156"/>
                  <a:pt x="8906" y="15156"/>
                </a:cubicBezTo>
                <a:cubicBezTo>
                  <a:pt x="8812" y="15094"/>
                  <a:pt x="8718" y="15094"/>
                  <a:pt x="8593" y="15094"/>
                </a:cubicBezTo>
                <a:cubicBezTo>
                  <a:pt x="8687" y="15125"/>
                  <a:pt x="8781" y="15125"/>
                  <a:pt x="8875" y="15156"/>
                </a:cubicBezTo>
                <a:cubicBezTo>
                  <a:pt x="8937" y="15187"/>
                  <a:pt x="9000" y="15187"/>
                  <a:pt x="9062" y="15187"/>
                </a:cubicBezTo>
                <a:cubicBezTo>
                  <a:pt x="9156" y="15125"/>
                  <a:pt x="9281" y="15125"/>
                  <a:pt x="9375" y="15125"/>
                </a:cubicBezTo>
                <a:cubicBezTo>
                  <a:pt x="9437" y="15094"/>
                  <a:pt x="9500" y="15094"/>
                  <a:pt x="9562" y="15156"/>
                </a:cubicBezTo>
                <a:cubicBezTo>
                  <a:pt x="9531" y="15156"/>
                  <a:pt x="9531" y="15187"/>
                  <a:pt x="9500" y="15187"/>
                </a:cubicBezTo>
                <a:cubicBezTo>
                  <a:pt x="9531" y="15219"/>
                  <a:pt x="9562" y="15219"/>
                  <a:pt x="9562" y="15219"/>
                </a:cubicBezTo>
                <a:cubicBezTo>
                  <a:pt x="9593" y="15219"/>
                  <a:pt x="9625" y="15219"/>
                  <a:pt x="9625" y="15250"/>
                </a:cubicBezTo>
                <a:cubicBezTo>
                  <a:pt x="9625" y="15281"/>
                  <a:pt x="9593" y="15281"/>
                  <a:pt x="9562" y="15281"/>
                </a:cubicBezTo>
                <a:cubicBezTo>
                  <a:pt x="9531" y="15281"/>
                  <a:pt x="9500" y="15281"/>
                  <a:pt x="9468" y="15281"/>
                </a:cubicBezTo>
                <a:cubicBezTo>
                  <a:pt x="9500" y="15312"/>
                  <a:pt x="9562" y="15312"/>
                  <a:pt x="9625" y="15312"/>
                </a:cubicBezTo>
                <a:cubicBezTo>
                  <a:pt x="9656" y="15281"/>
                  <a:pt x="9687" y="15281"/>
                  <a:pt x="9718" y="15312"/>
                </a:cubicBezTo>
                <a:cubicBezTo>
                  <a:pt x="9718" y="15375"/>
                  <a:pt x="9656" y="15344"/>
                  <a:pt x="9656" y="15375"/>
                </a:cubicBezTo>
                <a:cubicBezTo>
                  <a:pt x="9687" y="15375"/>
                  <a:pt x="9718" y="15375"/>
                  <a:pt x="9750" y="15375"/>
                </a:cubicBezTo>
                <a:cubicBezTo>
                  <a:pt x="9781" y="15375"/>
                  <a:pt x="9812" y="15406"/>
                  <a:pt x="9812" y="15406"/>
                </a:cubicBezTo>
                <a:cubicBezTo>
                  <a:pt x="9781" y="15469"/>
                  <a:pt x="9843" y="15469"/>
                  <a:pt x="9875" y="15469"/>
                </a:cubicBezTo>
                <a:cubicBezTo>
                  <a:pt x="9875" y="15469"/>
                  <a:pt x="9906" y="15500"/>
                  <a:pt x="9906" y="15500"/>
                </a:cubicBezTo>
                <a:cubicBezTo>
                  <a:pt x="9906" y="15562"/>
                  <a:pt x="9937" y="15562"/>
                  <a:pt x="10000" y="15562"/>
                </a:cubicBezTo>
                <a:cubicBezTo>
                  <a:pt x="10218" y="15750"/>
                  <a:pt x="10437" y="15937"/>
                  <a:pt x="10562" y="16219"/>
                </a:cubicBezTo>
                <a:cubicBezTo>
                  <a:pt x="10625" y="16219"/>
                  <a:pt x="10656" y="16281"/>
                  <a:pt x="10656" y="16312"/>
                </a:cubicBezTo>
                <a:cubicBezTo>
                  <a:pt x="10687" y="16344"/>
                  <a:pt x="10718" y="16406"/>
                  <a:pt x="10750" y="16406"/>
                </a:cubicBezTo>
                <a:cubicBezTo>
                  <a:pt x="10781" y="16406"/>
                  <a:pt x="10781" y="16437"/>
                  <a:pt x="10781" y="16437"/>
                </a:cubicBezTo>
                <a:cubicBezTo>
                  <a:pt x="10781" y="16469"/>
                  <a:pt x="10781" y="16469"/>
                  <a:pt x="10781" y="16469"/>
                </a:cubicBezTo>
                <a:cubicBezTo>
                  <a:pt x="10750" y="16469"/>
                  <a:pt x="10750" y="16437"/>
                  <a:pt x="10750" y="16437"/>
                </a:cubicBezTo>
                <a:cubicBezTo>
                  <a:pt x="10718" y="16437"/>
                  <a:pt x="10718" y="16406"/>
                  <a:pt x="10718" y="16406"/>
                </a:cubicBezTo>
                <a:cubicBezTo>
                  <a:pt x="10687" y="16375"/>
                  <a:pt x="10656" y="16375"/>
                  <a:pt x="10656" y="16437"/>
                </a:cubicBezTo>
                <a:cubicBezTo>
                  <a:pt x="10656" y="16437"/>
                  <a:pt x="10656" y="16469"/>
                  <a:pt x="10625" y="16531"/>
                </a:cubicBezTo>
                <a:cubicBezTo>
                  <a:pt x="10625" y="16469"/>
                  <a:pt x="10562" y="16437"/>
                  <a:pt x="10500" y="16437"/>
                </a:cubicBezTo>
                <a:cubicBezTo>
                  <a:pt x="10531" y="16406"/>
                  <a:pt x="10562" y="16406"/>
                  <a:pt x="10593" y="16375"/>
                </a:cubicBezTo>
                <a:cubicBezTo>
                  <a:pt x="10656" y="16344"/>
                  <a:pt x="10625" y="16312"/>
                  <a:pt x="10562" y="16312"/>
                </a:cubicBezTo>
                <a:cubicBezTo>
                  <a:pt x="10593" y="16281"/>
                  <a:pt x="10562" y="16250"/>
                  <a:pt x="10562" y="16219"/>
                </a:cubicBezTo>
                <a:cubicBezTo>
                  <a:pt x="10500" y="16187"/>
                  <a:pt x="10437" y="16219"/>
                  <a:pt x="10375" y="16219"/>
                </a:cubicBezTo>
                <a:cubicBezTo>
                  <a:pt x="10375" y="16250"/>
                  <a:pt x="10375" y="16250"/>
                  <a:pt x="10343" y="16250"/>
                </a:cubicBezTo>
                <a:cubicBezTo>
                  <a:pt x="10187" y="16250"/>
                  <a:pt x="10031" y="16312"/>
                  <a:pt x="9875" y="16344"/>
                </a:cubicBezTo>
                <a:cubicBezTo>
                  <a:pt x="9843" y="16344"/>
                  <a:pt x="9812" y="16344"/>
                  <a:pt x="9781" y="16344"/>
                </a:cubicBezTo>
                <a:lnTo>
                  <a:pt x="9781" y="16344"/>
                </a:lnTo>
                <a:cubicBezTo>
                  <a:pt x="9968" y="16312"/>
                  <a:pt x="10156" y="16187"/>
                  <a:pt x="10375" y="16219"/>
                </a:cubicBezTo>
                <a:cubicBezTo>
                  <a:pt x="10406" y="16187"/>
                  <a:pt x="10406" y="16187"/>
                  <a:pt x="10406" y="16156"/>
                </a:cubicBezTo>
                <a:cubicBezTo>
                  <a:pt x="10437" y="16125"/>
                  <a:pt x="10437" y="16094"/>
                  <a:pt x="10375" y="16062"/>
                </a:cubicBezTo>
                <a:cubicBezTo>
                  <a:pt x="10343" y="16062"/>
                  <a:pt x="10281" y="16062"/>
                  <a:pt x="10343" y="16000"/>
                </a:cubicBezTo>
                <a:cubicBezTo>
                  <a:pt x="10343" y="16000"/>
                  <a:pt x="10343" y="16000"/>
                  <a:pt x="10343" y="16000"/>
                </a:cubicBezTo>
                <a:cubicBezTo>
                  <a:pt x="10343" y="15969"/>
                  <a:pt x="10187" y="15844"/>
                  <a:pt x="10156" y="15844"/>
                </a:cubicBezTo>
                <a:cubicBezTo>
                  <a:pt x="10125" y="15844"/>
                  <a:pt x="10062" y="15844"/>
                  <a:pt x="10000" y="15844"/>
                </a:cubicBezTo>
                <a:cubicBezTo>
                  <a:pt x="10031" y="15844"/>
                  <a:pt x="10031" y="15812"/>
                  <a:pt x="10062" y="15812"/>
                </a:cubicBezTo>
                <a:cubicBezTo>
                  <a:pt x="10093" y="15812"/>
                  <a:pt x="10125" y="15812"/>
                  <a:pt x="10125" y="15781"/>
                </a:cubicBezTo>
                <a:cubicBezTo>
                  <a:pt x="10156" y="15750"/>
                  <a:pt x="10093" y="15719"/>
                  <a:pt x="10093" y="15719"/>
                </a:cubicBezTo>
                <a:cubicBezTo>
                  <a:pt x="10062" y="15719"/>
                  <a:pt x="10062" y="15719"/>
                  <a:pt x="10062" y="15687"/>
                </a:cubicBezTo>
                <a:cubicBezTo>
                  <a:pt x="10062" y="15656"/>
                  <a:pt x="10031" y="15625"/>
                  <a:pt x="9968" y="15656"/>
                </a:cubicBezTo>
                <a:cubicBezTo>
                  <a:pt x="9937" y="15656"/>
                  <a:pt x="9875" y="15656"/>
                  <a:pt x="9843" y="15656"/>
                </a:cubicBezTo>
                <a:cubicBezTo>
                  <a:pt x="9875" y="15594"/>
                  <a:pt x="9906" y="15625"/>
                  <a:pt x="9937" y="15625"/>
                </a:cubicBezTo>
                <a:lnTo>
                  <a:pt x="9937" y="15625"/>
                </a:lnTo>
                <a:cubicBezTo>
                  <a:pt x="9968" y="15594"/>
                  <a:pt x="10000" y="15625"/>
                  <a:pt x="10000" y="15562"/>
                </a:cubicBezTo>
                <a:cubicBezTo>
                  <a:pt x="9968" y="15531"/>
                  <a:pt x="9968" y="15469"/>
                  <a:pt x="9906" y="15437"/>
                </a:cubicBezTo>
                <a:cubicBezTo>
                  <a:pt x="9812" y="15406"/>
                  <a:pt x="9750" y="15281"/>
                  <a:pt x="9656" y="15219"/>
                </a:cubicBezTo>
                <a:cubicBezTo>
                  <a:pt x="9625" y="15187"/>
                  <a:pt x="9625" y="15187"/>
                  <a:pt x="9625" y="15156"/>
                </a:cubicBezTo>
                <a:cubicBezTo>
                  <a:pt x="9625" y="15094"/>
                  <a:pt x="9593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ubicBezTo>
                  <a:pt x="9531" y="15062"/>
                  <a:pt x="9531" y="15062"/>
                  <a:pt x="9531" y="15062"/>
                </a:cubicBezTo>
                <a:cubicBezTo>
                  <a:pt x="9531" y="15031"/>
                  <a:pt x="9531" y="15031"/>
                  <a:pt x="9500" y="15031"/>
                </a:cubicBezTo>
                <a:lnTo>
                  <a:pt x="9500" y="15031"/>
                </a:lnTo>
                <a:cubicBezTo>
                  <a:pt x="9500" y="15031"/>
                  <a:pt x="9500" y="15031"/>
                  <a:pt x="9500" y="15031"/>
                </a:cubicBezTo>
                <a:cubicBezTo>
                  <a:pt x="9500" y="15062"/>
                  <a:pt x="9531" y="15031"/>
                  <a:pt x="9531" y="15062"/>
                </a:cubicBezTo>
                <a:close/>
                <a:moveTo>
                  <a:pt x="4812" y="15031"/>
                </a:moveTo>
                <a:lnTo>
                  <a:pt x="4812" y="15062"/>
                </a:lnTo>
                <a:lnTo>
                  <a:pt x="4812" y="15031"/>
                </a:lnTo>
                <a:close/>
                <a:moveTo>
                  <a:pt x="11312" y="18250"/>
                </a:moveTo>
                <a:cubicBezTo>
                  <a:pt x="11312" y="18250"/>
                  <a:pt x="11281" y="18250"/>
                  <a:pt x="11281" y="18250"/>
                </a:cubicBezTo>
                <a:cubicBezTo>
                  <a:pt x="11281" y="18250"/>
                  <a:pt x="11312" y="18250"/>
                  <a:pt x="11312" y="18250"/>
                </a:cubicBezTo>
                <a:cubicBezTo>
                  <a:pt x="11312" y="18250"/>
                  <a:pt x="11312" y="18250"/>
                  <a:pt x="11312" y="18250"/>
                </a:cubicBezTo>
                <a:cubicBezTo>
                  <a:pt x="11312" y="18250"/>
                  <a:pt x="11312" y="18250"/>
                  <a:pt x="11312" y="18250"/>
                </a:cubicBezTo>
                <a:close/>
                <a:moveTo>
                  <a:pt x="8781" y="19094"/>
                </a:moveTo>
                <a:cubicBezTo>
                  <a:pt x="8750" y="19094"/>
                  <a:pt x="8750" y="19125"/>
                  <a:pt x="8750" y="19125"/>
                </a:cubicBezTo>
                <a:cubicBezTo>
                  <a:pt x="8781" y="19125"/>
                  <a:pt x="8781" y="19125"/>
                  <a:pt x="8781" y="19125"/>
                </a:cubicBezTo>
                <a:cubicBezTo>
                  <a:pt x="8812" y="19156"/>
                  <a:pt x="8843" y="19187"/>
                  <a:pt x="8875" y="19156"/>
                </a:cubicBezTo>
                <a:lnTo>
                  <a:pt x="8875" y="19156"/>
                </a:lnTo>
                <a:cubicBezTo>
                  <a:pt x="8875" y="19156"/>
                  <a:pt x="8875" y="19156"/>
                  <a:pt x="8875" y="19156"/>
                </a:cubicBezTo>
                <a:cubicBezTo>
                  <a:pt x="8875" y="19125"/>
                  <a:pt x="8812" y="19125"/>
                  <a:pt x="8812" y="19125"/>
                </a:cubicBezTo>
                <a:cubicBezTo>
                  <a:pt x="8781" y="19094"/>
                  <a:pt x="8781" y="19094"/>
                  <a:pt x="8781" y="19094"/>
                </a:cubicBezTo>
                <a:close/>
                <a:moveTo>
                  <a:pt x="5750" y="19094"/>
                </a:moveTo>
                <a:cubicBezTo>
                  <a:pt x="5750" y="19094"/>
                  <a:pt x="5750" y="19062"/>
                  <a:pt x="5750" y="19062"/>
                </a:cubicBezTo>
                <a:cubicBezTo>
                  <a:pt x="5687" y="19031"/>
                  <a:pt x="5625" y="19000"/>
                  <a:pt x="5562" y="19000"/>
                </a:cubicBezTo>
                <a:cubicBezTo>
                  <a:pt x="5562" y="18969"/>
                  <a:pt x="5531" y="19000"/>
                  <a:pt x="5500" y="19000"/>
                </a:cubicBezTo>
                <a:lnTo>
                  <a:pt x="5500" y="19000"/>
                </a:lnTo>
                <a:cubicBezTo>
                  <a:pt x="5531" y="19000"/>
                  <a:pt x="5562" y="19031"/>
                  <a:pt x="5593" y="19031"/>
                </a:cubicBezTo>
                <a:cubicBezTo>
                  <a:pt x="5625" y="19031"/>
                  <a:pt x="5687" y="19094"/>
                  <a:pt x="5718" y="19094"/>
                </a:cubicBezTo>
                <a:cubicBezTo>
                  <a:pt x="5750" y="19094"/>
                  <a:pt x="5750" y="19094"/>
                  <a:pt x="5750" y="19094"/>
                </a:cubicBezTo>
                <a:close/>
                <a:moveTo>
                  <a:pt x="2218" y="18375"/>
                </a:move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ubicBezTo>
                  <a:pt x="2218" y="18375"/>
                  <a:pt x="2218" y="18375"/>
                  <a:pt x="2218" y="18375"/>
                </a:cubicBezTo>
                <a:close/>
                <a:moveTo>
                  <a:pt x="12593" y="19281"/>
                </a:moveTo>
                <a:cubicBezTo>
                  <a:pt x="12593" y="19281"/>
                  <a:pt x="12593" y="19312"/>
                  <a:pt x="12625" y="19281"/>
                </a:cubicBezTo>
                <a:cubicBezTo>
                  <a:pt x="12625" y="19281"/>
                  <a:pt x="12625" y="19281"/>
                  <a:pt x="12656" y="19281"/>
                </a:cubicBezTo>
                <a:cubicBezTo>
                  <a:pt x="12656" y="19281"/>
                  <a:pt x="12656" y="19281"/>
                  <a:pt x="12687" y="19281"/>
                </a:cubicBezTo>
                <a:cubicBezTo>
                  <a:pt x="12687" y="19281"/>
                  <a:pt x="12687" y="19281"/>
                  <a:pt x="12687" y="19281"/>
                </a:cubicBezTo>
                <a:cubicBezTo>
                  <a:pt x="12750" y="19250"/>
                  <a:pt x="12843" y="19281"/>
                  <a:pt x="12937" y="19219"/>
                </a:cubicBezTo>
                <a:cubicBezTo>
                  <a:pt x="12843" y="19250"/>
                  <a:pt x="12750" y="19187"/>
                  <a:pt x="12687" y="19250"/>
                </a:cubicBezTo>
                <a:lnTo>
                  <a:pt x="12687" y="19250"/>
                </a:lnTo>
                <a:cubicBezTo>
                  <a:pt x="12687" y="19250"/>
                  <a:pt x="12687" y="19250"/>
                  <a:pt x="12687" y="19250"/>
                </a:cubicBezTo>
                <a:cubicBezTo>
                  <a:pt x="12656" y="19219"/>
                  <a:pt x="12656" y="19250"/>
                  <a:pt x="12625" y="19250"/>
                </a:cubicBezTo>
                <a:cubicBezTo>
                  <a:pt x="12625" y="19250"/>
                  <a:pt x="12593" y="19250"/>
                  <a:pt x="12562" y="19250"/>
                </a:cubicBezTo>
                <a:cubicBezTo>
                  <a:pt x="12500" y="19281"/>
                  <a:pt x="12406" y="19250"/>
                  <a:pt x="12343" y="19281"/>
                </a:cubicBezTo>
                <a:cubicBezTo>
                  <a:pt x="12343" y="19250"/>
                  <a:pt x="12312" y="19250"/>
                  <a:pt x="12312" y="19250"/>
                </a:cubicBezTo>
                <a:cubicBezTo>
                  <a:pt x="12312" y="19250"/>
                  <a:pt x="12312" y="19281"/>
                  <a:pt x="12312" y="19281"/>
                </a:cubicBezTo>
                <a:cubicBezTo>
                  <a:pt x="12312" y="19281"/>
                  <a:pt x="12343" y="19281"/>
                  <a:pt x="12343" y="19281"/>
                </a:cubicBezTo>
                <a:cubicBezTo>
                  <a:pt x="12375" y="19281"/>
                  <a:pt x="12406" y="19281"/>
                  <a:pt x="12437" y="19281"/>
                </a:cubicBezTo>
                <a:cubicBezTo>
                  <a:pt x="12468" y="19312"/>
                  <a:pt x="12500" y="19312"/>
                  <a:pt x="12531" y="19281"/>
                </a:cubicBezTo>
                <a:cubicBezTo>
                  <a:pt x="12562" y="19281"/>
                  <a:pt x="12562" y="19281"/>
                  <a:pt x="12593" y="19281"/>
                </a:cubicBezTo>
                <a:close/>
                <a:moveTo>
                  <a:pt x="7375" y="2594"/>
                </a:moveTo>
                <a:cubicBezTo>
                  <a:pt x="7375" y="2594"/>
                  <a:pt x="7375" y="2594"/>
                  <a:pt x="7375" y="2594"/>
                </a:cubicBezTo>
                <a:cubicBezTo>
                  <a:pt x="7375" y="2594"/>
                  <a:pt x="7375" y="2594"/>
                  <a:pt x="7375" y="2594"/>
                </a:cubicBezTo>
                <a:lnTo>
                  <a:pt x="7375" y="2594"/>
                </a:lnTo>
                <a:lnTo>
                  <a:pt x="7375" y="2594"/>
                </a:lnTo>
                <a:cubicBezTo>
                  <a:pt x="7375" y="2594"/>
                  <a:pt x="7375" y="2594"/>
                  <a:pt x="7375" y="2594"/>
                </a:cubicBezTo>
                <a:cubicBezTo>
                  <a:pt x="7375" y="2594"/>
                  <a:pt x="7375" y="2594"/>
                  <a:pt x="7375" y="2594"/>
                </a:cubicBezTo>
                <a:close/>
                <a:moveTo>
                  <a:pt x="2687" y="16594"/>
                </a:moveTo>
                <a:cubicBezTo>
                  <a:pt x="2687" y="16594"/>
                  <a:pt x="2687" y="16594"/>
                  <a:pt x="2687" y="16594"/>
                </a:cubicBezTo>
                <a:cubicBezTo>
                  <a:pt x="2687" y="16594"/>
                  <a:pt x="2687" y="16594"/>
                  <a:pt x="2687" y="16594"/>
                </a:cubicBezTo>
                <a:cubicBezTo>
                  <a:pt x="2687" y="16594"/>
                  <a:pt x="2687" y="16594"/>
                  <a:pt x="2656" y="16594"/>
                </a:cubicBezTo>
                <a:cubicBezTo>
                  <a:pt x="2687" y="16594"/>
                  <a:pt x="2687" y="16594"/>
                  <a:pt x="2687" y="16594"/>
                </a:cubicBezTo>
                <a:close/>
                <a:moveTo>
                  <a:pt x="9906" y="17719"/>
                </a:moveTo>
                <a:cubicBezTo>
                  <a:pt x="9906" y="17719"/>
                  <a:pt x="9906" y="17719"/>
                  <a:pt x="9906" y="17719"/>
                </a:cubicBezTo>
                <a:cubicBezTo>
                  <a:pt x="9906" y="17719"/>
                  <a:pt x="9906" y="17719"/>
                  <a:pt x="9875" y="17719"/>
                </a:cubicBezTo>
                <a:cubicBezTo>
                  <a:pt x="9875" y="17719"/>
                  <a:pt x="9875" y="17719"/>
                  <a:pt x="9875" y="17719"/>
                </a:cubicBezTo>
                <a:cubicBezTo>
                  <a:pt x="9875" y="17719"/>
                  <a:pt x="9906" y="17719"/>
                  <a:pt x="9906" y="17719"/>
                </a:cubicBezTo>
                <a:close/>
                <a:moveTo>
                  <a:pt x="10968" y="18812"/>
                </a:moveTo>
                <a:cubicBezTo>
                  <a:pt x="10937" y="18812"/>
                  <a:pt x="10937" y="18812"/>
                  <a:pt x="10937" y="18781"/>
                </a:cubicBezTo>
                <a:cubicBezTo>
                  <a:pt x="10906" y="18750"/>
                  <a:pt x="10843" y="18781"/>
                  <a:pt x="10812" y="18781"/>
                </a:cubicBezTo>
                <a:cubicBezTo>
                  <a:pt x="10781" y="18781"/>
                  <a:pt x="10750" y="18781"/>
                  <a:pt x="10718" y="18750"/>
                </a:cubicBezTo>
                <a:cubicBezTo>
                  <a:pt x="10718" y="18750"/>
                  <a:pt x="10687" y="18750"/>
                  <a:pt x="10718" y="18750"/>
                </a:cubicBezTo>
                <a:cubicBezTo>
                  <a:pt x="10718" y="18719"/>
                  <a:pt x="10718" y="18719"/>
                  <a:pt x="10750" y="18719"/>
                </a:cubicBezTo>
                <a:cubicBezTo>
                  <a:pt x="10750" y="18750"/>
                  <a:pt x="10750" y="18750"/>
                  <a:pt x="10781" y="18719"/>
                </a:cubicBezTo>
                <a:cubicBezTo>
                  <a:pt x="10843" y="18687"/>
                  <a:pt x="10875" y="18719"/>
                  <a:pt x="10937" y="18687"/>
                </a:cubicBezTo>
                <a:cubicBezTo>
                  <a:pt x="11000" y="18687"/>
                  <a:pt x="11062" y="18750"/>
                  <a:pt x="11156" y="18750"/>
                </a:cubicBezTo>
                <a:cubicBezTo>
                  <a:pt x="11250" y="18750"/>
                  <a:pt x="11312" y="18781"/>
                  <a:pt x="11406" y="18781"/>
                </a:cubicBezTo>
                <a:cubicBezTo>
                  <a:pt x="11500" y="18781"/>
                  <a:pt x="11593" y="18812"/>
                  <a:pt x="11687" y="18781"/>
                </a:cubicBezTo>
                <a:cubicBezTo>
                  <a:pt x="11843" y="18812"/>
                  <a:pt x="12031" y="18750"/>
                  <a:pt x="12187" y="18687"/>
                </a:cubicBezTo>
                <a:cubicBezTo>
                  <a:pt x="12093" y="18687"/>
                  <a:pt x="12000" y="18719"/>
                  <a:pt x="11906" y="18719"/>
                </a:cubicBezTo>
                <a:cubicBezTo>
                  <a:pt x="11812" y="18750"/>
                  <a:pt x="11718" y="18750"/>
                  <a:pt x="11656" y="18750"/>
                </a:cubicBezTo>
                <a:cubicBezTo>
                  <a:pt x="11562" y="18781"/>
                  <a:pt x="11500" y="18750"/>
                  <a:pt x="11406" y="18750"/>
                </a:cubicBezTo>
                <a:cubicBezTo>
                  <a:pt x="11468" y="18719"/>
                  <a:pt x="11500" y="18750"/>
                  <a:pt x="11531" y="18719"/>
                </a:cubicBezTo>
                <a:cubicBezTo>
                  <a:pt x="11500" y="18687"/>
                  <a:pt x="11437" y="18687"/>
                  <a:pt x="11406" y="18656"/>
                </a:cubicBezTo>
                <a:cubicBezTo>
                  <a:pt x="11375" y="18625"/>
                  <a:pt x="11312" y="18594"/>
                  <a:pt x="11281" y="18656"/>
                </a:cubicBezTo>
                <a:cubicBezTo>
                  <a:pt x="11281" y="18656"/>
                  <a:pt x="11281" y="18656"/>
                  <a:pt x="11250" y="18656"/>
                </a:cubicBezTo>
                <a:cubicBezTo>
                  <a:pt x="11218" y="18625"/>
                  <a:pt x="11187" y="18625"/>
                  <a:pt x="11156" y="18625"/>
                </a:cubicBezTo>
                <a:cubicBezTo>
                  <a:pt x="11125" y="18625"/>
                  <a:pt x="11125" y="18625"/>
                  <a:pt x="11093" y="18625"/>
                </a:cubicBezTo>
                <a:cubicBezTo>
                  <a:pt x="11000" y="18562"/>
                  <a:pt x="10875" y="18562"/>
                  <a:pt x="10781" y="18562"/>
                </a:cubicBezTo>
                <a:cubicBezTo>
                  <a:pt x="10750" y="18562"/>
                  <a:pt x="10718" y="18562"/>
                  <a:pt x="10687" y="18562"/>
                </a:cubicBezTo>
                <a:cubicBezTo>
                  <a:pt x="10593" y="18500"/>
                  <a:pt x="10500" y="18469"/>
                  <a:pt x="10406" y="18469"/>
                </a:cubicBezTo>
                <a:cubicBezTo>
                  <a:pt x="10500" y="18531"/>
                  <a:pt x="10593" y="18562"/>
                  <a:pt x="10718" y="18625"/>
                </a:cubicBezTo>
                <a:cubicBezTo>
                  <a:pt x="10718" y="18625"/>
                  <a:pt x="10718" y="18625"/>
                  <a:pt x="10718" y="18625"/>
                </a:cubicBezTo>
                <a:cubicBezTo>
                  <a:pt x="10812" y="18594"/>
                  <a:pt x="10906" y="18625"/>
                  <a:pt x="10968" y="18625"/>
                </a:cubicBezTo>
                <a:cubicBezTo>
                  <a:pt x="11000" y="18625"/>
                  <a:pt x="11031" y="18625"/>
                  <a:pt x="11062" y="18656"/>
                </a:cubicBezTo>
                <a:cubicBezTo>
                  <a:pt x="11093" y="18687"/>
                  <a:pt x="11062" y="18687"/>
                  <a:pt x="11062" y="18687"/>
                </a:cubicBezTo>
                <a:cubicBezTo>
                  <a:pt x="11062" y="18687"/>
                  <a:pt x="11062" y="18687"/>
                  <a:pt x="11062" y="18687"/>
                </a:cubicBezTo>
                <a:cubicBezTo>
                  <a:pt x="11062" y="18687"/>
                  <a:pt x="11062" y="18687"/>
                  <a:pt x="11062" y="18687"/>
                </a:cubicBezTo>
                <a:cubicBezTo>
                  <a:pt x="11062" y="18687"/>
                  <a:pt x="11031" y="18687"/>
                  <a:pt x="11031" y="18687"/>
                </a:cubicBezTo>
                <a:cubicBezTo>
                  <a:pt x="11031" y="18687"/>
                  <a:pt x="11031" y="18687"/>
                  <a:pt x="11031" y="18687"/>
                </a:cubicBezTo>
                <a:cubicBezTo>
                  <a:pt x="10937" y="18656"/>
                  <a:pt x="10875" y="18656"/>
                  <a:pt x="10781" y="18625"/>
                </a:cubicBezTo>
                <a:cubicBezTo>
                  <a:pt x="10781" y="18625"/>
                  <a:pt x="10750" y="18656"/>
                  <a:pt x="10750" y="18687"/>
                </a:cubicBezTo>
                <a:cubicBezTo>
                  <a:pt x="10750" y="18687"/>
                  <a:pt x="10750" y="18687"/>
                  <a:pt x="10750" y="18687"/>
                </a:cubicBezTo>
                <a:cubicBezTo>
                  <a:pt x="10750" y="18687"/>
                  <a:pt x="10750" y="18687"/>
                  <a:pt x="10750" y="18687"/>
                </a:cubicBezTo>
                <a:cubicBezTo>
                  <a:pt x="10750" y="18687"/>
                  <a:pt x="10750" y="18687"/>
                  <a:pt x="10718" y="18687"/>
                </a:cubicBezTo>
                <a:cubicBezTo>
                  <a:pt x="10562" y="18594"/>
                  <a:pt x="10375" y="18562"/>
                  <a:pt x="10187" y="18562"/>
                </a:cubicBezTo>
                <a:cubicBezTo>
                  <a:pt x="10343" y="18625"/>
                  <a:pt x="10531" y="18625"/>
                  <a:pt x="10687" y="18687"/>
                </a:cubicBezTo>
                <a:cubicBezTo>
                  <a:pt x="10656" y="18781"/>
                  <a:pt x="10593" y="18687"/>
                  <a:pt x="10562" y="18750"/>
                </a:cubicBezTo>
                <a:lnTo>
                  <a:pt x="10562" y="18750"/>
                </a:lnTo>
                <a:cubicBezTo>
                  <a:pt x="10625" y="18750"/>
                  <a:pt x="10656" y="18781"/>
                  <a:pt x="10718" y="18812"/>
                </a:cubicBezTo>
                <a:cubicBezTo>
                  <a:pt x="10750" y="18812"/>
                  <a:pt x="10812" y="18844"/>
                  <a:pt x="10843" y="18812"/>
                </a:cubicBezTo>
                <a:cubicBezTo>
                  <a:pt x="10875" y="18781"/>
                  <a:pt x="10906" y="18781"/>
                  <a:pt x="10937" y="18781"/>
                </a:cubicBezTo>
                <a:cubicBezTo>
                  <a:pt x="10937" y="18812"/>
                  <a:pt x="10937" y="18812"/>
                  <a:pt x="10968" y="18812"/>
                </a:cubicBezTo>
                <a:cubicBezTo>
                  <a:pt x="10968" y="18812"/>
                  <a:pt x="10968" y="18812"/>
                  <a:pt x="10968" y="18812"/>
                </a:cubicBezTo>
                <a:close/>
                <a:moveTo>
                  <a:pt x="11250" y="18656"/>
                </a:moveTo>
                <a:cubicBezTo>
                  <a:pt x="11250" y="18656"/>
                  <a:pt x="11250" y="18687"/>
                  <a:pt x="11281" y="18656"/>
                </a:cubicBezTo>
                <a:cubicBezTo>
                  <a:pt x="11281" y="18656"/>
                  <a:pt x="11281" y="18656"/>
                  <a:pt x="11281" y="18656"/>
                </a:cubicBezTo>
                <a:cubicBezTo>
                  <a:pt x="11281" y="18656"/>
                  <a:pt x="11312" y="18656"/>
                  <a:pt x="11312" y="18687"/>
                </a:cubicBezTo>
                <a:cubicBezTo>
                  <a:pt x="11312" y="18656"/>
                  <a:pt x="11312" y="18656"/>
                  <a:pt x="11312" y="18687"/>
                </a:cubicBezTo>
                <a:cubicBezTo>
                  <a:pt x="11312" y="18656"/>
                  <a:pt x="11312" y="18656"/>
                  <a:pt x="11312" y="18687"/>
                </a:cubicBezTo>
                <a:cubicBezTo>
                  <a:pt x="11312" y="18687"/>
                  <a:pt x="11312" y="18687"/>
                  <a:pt x="11312" y="18687"/>
                </a:cubicBezTo>
                <a:cubicBezTo>
                  <a:pt x="11343" y="18719"/>
                  <a:pt x="11406" y="18687"/>
                  <a:pt x="11406" y="18719"/>
                </a:cubicBezTo>
                <a:cubicBezTo>
                  <a:pt x="11375" y="18781"/>
                  <a:pt x="11343" y="18750"/>
                  <a:pt x="11312" y="18750"/>
                </a:cubicBezTo>
                <a:cubicBezTo>
                  <a:pt x="11250" y="18750"/>
                  <a:pt x="11187" y="18750"/>
                  <a:pt x="11125" y="18687"/>
                </a:cubicBezTo>
                <a:cubicBezTo>
                  <a:pt x="11125" y="18687"/>
                  <a:pt x="11125" y="18687"/>
                  <a:pt x="11093" y="18687"/>
                </a:cubicBezTo>
                <a:cubicBezTo>
                  <a:pt x="11125" y="18687"/>
                  <a:pt x="11125" y="18687"/>
                  <a:pt x="11125" y="18687"/>
                </a:cubicBezTo>
                <a:cubicBezTo>
                  <a:pt x="11156" y="18625"/>
                  <a:pt x="11218" y="18656"/>
                  <a:pt x="11250" y="18656"/>
                </a:cubicBezTo>
                <a:close/>
                <a:moveTo>
                  <a:pt x="4031" y="17312"/>
                </a:moveTo>
                <a:cubicBezTo>
                  <a:pt x="4031" y="17312"/>
                  <a:pt x="4031" y="17312"/>
                  <a:pt x="4031" y="17312"/>
                </a:cubicBezTo>
                <a:cubicBezTo>
                  <a:pt x="4031" y="17312"/>
                  <a:pt x="4031" y="17312"/>
                  <a:pt x="4031" y="17312"/>
                </a:cubicBezTo>
                <a:cubicBezTo>
                  <a:pt x="4062" y="17312"/>
                  <a:pt x="4062" y="17312"/>
                  <a:pt x="4062" y="17312"/>
                </a:cubicBezTo>
                <a:cubicBezTo>
                  <a:pt x="4031" y="17312"/>
                  <a:pt x="4031" y="17312"/>
                  <a:pt x="4031" y="17312"/>
                </a:cubicBezTo>
                <a:close/>
                <a:moveTo>
                  <a:pt x="8781" y="19562"/>
                </a:moveTo>
                <a:cubicBezTo>
                  <a:pt x="8781" y="19562"/>
                  <a:pt x="8781" y="19562"/>
                  <a:pt x="8781" y="19562"/>
                </a:cubicBezTo>
                <a:cubicBezTo>
                  <a:pt x="8781" y="19562"/>
                  <a:pt x="8781" y="19562"/>
                  <a:pt x="8781" y="19562"/>
                </a:cubicBezTo>
                <a:lnTo>
                  <a:pt x="8781" y="19562"/>
                </a:lnTo>
                <a:cubicBezTo>
                  <a:pt x="8781" y="19562"/>
                  <a:pt x="8781" y="19562"/>
                  <a:pt x="8781" y="19562"/>
                </a:cubicBezTo>
                <a:cubicBezTo>
                  <a:pt x="8781" y="19562"/>
                  <a:pt x="8781" y="19562"/>
                  <a:pt x="8781" y="19562"/>
                </a:cubicBezTo>
                <a:close/>
                <a:moveTo>
                  <a:pt x="10312" y="19594"/>
                </a:moveTo>
                <a:cubicBezTo>
                  <a:pt x="10312" y="19562"/>
                  <a:pt x="10312" y="19562"/>
                  <a:pt x="10312" y="19562"/>
                </a:cubicBezTo>
                <a:cubicBezTo>
                  <a:pt x="10312" y="19531"/>
                  <a:pt x="10281" y="19531"/>
                  <a:pt x="10281" y="19500"/>
                </a:cubicBezTo>
                <a:cubicBezTo>
                  <a:pt x="10156" y="19437"/>
                  <a:pt x="10031" y="19375"/>
                  <a:pt x="9906" y="19344"/>
                </a:cubicBezTo>
                <a:cubicBezTo>
                  <a:pt x="9875" y="19281"/>
                  <a:pt x="9843" y="19312"/>
                  <a:pt x="9812" y="19312"/>
                </a:cubicBezTo>
                <a:cubicBezTo>
                  <a:pt x="9781" y="19250"/>
                  <a:pt x="9718" y="19281"/>
                  <a:pt x="9656" y="19250"/>
                </a:cubicBezTo>
                <a:cubicBezTo>
                  <a:pt x="9531" y="19219"/>
                  <a:pt x="9437" y="19187"/>
                  <a:pt x="9312" y="19125"/>
                </a:cubicBezTo>
                <a:cubicBezTo>
                  <a:pt x="9281" y="19125"/>
                  <a:pt x="9250" y="19125"/>
                  <a:pt x="9218" y="19094"/>
                </a:cubicBezTo>
                <a:cubicBezTo>
                  <a:pt x="9156" y="19062"/>
                  <a:pt x="9093" y="19062"/>
                  <a:pt x="9062" y="18969"/>
                </a:cubicBezTo>
                <a:cubicBezTo>
                  <a:pt x="9031" y="19000"/>
                  <a:pt x="9000" y="18969"/>
                  <a:pt x="8968" y="18969"/>
                </a:cubicBezTo>
                <a:lnTo>
                  <a:pt x="8968" y="18969"/>
                </a:lnTo>
                <a:cubicBezTo>
                  <a:pt x="8968" y="18969"/>
                  <a:pt x="8968" y="18969"/>
                  <a:pt x="8968" y="18969"/>
                </a:cubicBezTo>
                <a:cubicBezTo>
                  <a:pt x="8968" y="18937"/>
                  <a:pt x="8937" y="18969"/>
                  <a:pt x="8906" y="18937"/>
                </a:cubicBezTo>
                <a:cubicBezTo>
                  <a:pt x="8906" y="18969"/>
                  <a:pt x="8937" y="19000"/>
                  <a:pt x="8968" y="19000"/>
                </a:cubicBezTo>
                <a:cubicBezTo>
                  <a:pt x="8968" y="19000"/>
                  <a:pt x="9000" y="19031"/>
                  <a:pt x="9000" y="19031"/>
                </a:cubicBezTo>
                <a:cubicBezTo>
                  <a:pt x="9093" y="19062"/>
                  <a:pt x="9187" y="19125"/>
                  <a:pt x="9250" y="19156"/>
                </a:cubicBezTo>
                <a:cubicBezTo>
                  <a:pt x="9343" y="19187"/>
                  <a:pt x="9406" y="19187"/>
                  <a:pt x="9468" y="19219"/>
                </a:cubicBezTo>
                <a:cubicBezTo>
                  <a:pt x="9593" y="19281"/>
                  <a:pt x="9687" y="19312"/>
                  <a:pt x="9812" y="19312"/>
                </a:cubicBezTo>
                <a:cubicBezTo>
                  <a:pt x="9812" y="19312"/>
                  <a:pt x="9812" y="19312"/>
                  <a:pt x="9812" y="19312"/>
                </a:cubicBezTo>
                <a:cubicBezTo>
                  <a:pt x="9812" y="19312"/>
                  <a:pt x="9812" y="19312"/>
                  <a:pt x="9812" y="19312"/>
                </a:cubicBezTo>
                <a:cubicBezTo>
                  <a:pt x="9812" y="19344"/>
                  <a:pt x="9843" y="19344"/>
                  <a:pt x="9875" y="19344"/>
                </a:cubicBezTo>
                <a:cubicBezTo>
                  <a:pt x="9968" y="19406"/>
                  <a:pt x="10093" y="19469"/>
                  <a:pt x="10187" y="19500"/>
                </a:cubicBezTo>
                <a:cubicBezTo>
                  <a:pt x="10250" y="19531"/>
                  <a:pt x="10281" y="19562"/>
                  <a:pt x="10312" y="19562"/>
                </a:cubicBezTo>
                <a:cubicBezTo>
                  <a:pt x="10312" y="19562"/>
                  <a:pt x="10312" y="19562"/>
                  <a:pt x="10312" y="19594"/>
                </a:cubicBezTo>
                <a:cubicBezTo>
                  <a:pt x="10312" y="19594"/>
                  <a:pt x="10343" y="19594"/>
                  <a:pt x="10343" y="19594"/>
                </a:cubicBezTo>
                <a:lnTo>
                  <a:pt x="10343" y="19594"/>
                </a:lnTo>
                <a:cubicBezTo>
                  <a:pt x="10343" y="19594"/>
                  <a:pt x="10343" y="19594"/>
                  <a:pt x="10343" y="19594"/>
                </a:cubicBezTo>
                <a:cubicBezTo>
                  <a:pt x="10343" y="19594"/>
                  <a:pt x="10343" y="19594"/>
                  <a:pt x="10312" y="19594"/>
                </a:cubicBezTo>
                <a:close/>
                <a:moveTo>
                  <a:pt x="10500" y="18719"/>
                </a:moveTo>
                <a:cubicBezTo>
                  <a:pt x="10531" y="18719"/>
                  <a:pt x="10531" y="18719"/>
                  <a:pt x="10531" y="18719"/>
                </a:cubicBezTo>
                <a:cubicBezTo>
                  <a:pt x="10531" y="18719"/>
                  <a:pt x="10531" y="18719"/>
                  <a:pt x="10531" y="18719"/>
                </a:cubicBezTo>
                <a:cubicBezTo>
                  <a:pt x="10531" y="18719"/>
                  <a:pt x="10531" y="18719"/>
                  <a:pt x="10531" y="18719"/>
                </a:cubicBezTo>
                <a:cubicBezTo>
                  <a:pt x="10500" y="18719"/>
                  <a:pt x="10500" y="18719"/>
                  <a:pt x="10500" y="18719"/>
                </a:cubicBezTo>
                <a:close/>
                <a:moveTo>
                  <a:pt x="11062" y="13219"/>
                </a:moveTo>
                <a:cubicBezTo>
                  <a:pt x="11062" y="13219"/>
                  <a:pt x="11062" y="13219"/>
                  <a:pt x="11093" y="13187"/>
                </a:cubicBezTo>
                <a:cubicBezTo>
                  <a:pt x="11093" y="13187"/>
                  <a:pt x="11156" y="13187"/>
                  <a:pt x="11156" y="13156"/>
                </a:cubicBezTo>
                <a:cubicBezTo>
                  <a:pt x="11156" y="13094"/>
                  <a:pt x="11093" y="13156"/>
                  <a:pt x="11093" y="13125"/>
                </a:cubicBezTo>
                <a:lnTo>
                  <a:pt x="11093" y="13125"/>
                </a:lnTo>
                <a:cubicBezTo>
                  <a:pt x="11062" y="13125"/>
                  <a:pt x="11062" y="13125"/>
                  <a:pt x="11062" y="13125"/>
                </a:cubicBezTo>
                <a:cubicBezTo>
                  <a:pt x="11062" y="13156"/>
                  <a:pt x="11093" y="13156"/>
                  <a:pt x="11062" y="13187"/>
                </a:cubicBezTo>
                <a:cubicBezTo>
                  <a:pt x="11062" y="13187"/>
                  <a:pt x="11031" y="13187"/>
                  <a:pt x="11062" y="13219"/>
                </a:cubicBezTo>
                <a:close/>
                <a:moveTo>
                  <a:pt x="10937" y="19656"/>
                </a:moveTo>
                <a:cubicBezTo>
                  <a:pt x="10906" y="19656"/>
                  <a:pt x="10906" y="19656"/>
                  <a:pt x="10906" y="19656"/>
                </a:cubicBezTo>
                <a:cubicBezTo>
                  <a:pt x="10906" y="19656"/>
                  <a:pt x="10906" y="19656"/>
                  <a:pt x="10906" y="19656"/>
                </a:cubicBezTo>
                <a:cubicBezTo>
                  <a:pt x="10906" y="19656"/>
                  <a:pt x="10937" y="19656"/>
                  <a:pt x="10937" y="19656"/>
                </a:cubicBezTo>
                <a:cubicBezTo>
                  <a:pt x="10937" y="19656"/>
                  <a:pt x="10937" y="19656"/>
                  <a:pt x="10937" y="19656"/>
                </a:cubicBezTo>
                <a:close/>
                <a:moveTo>
                  <a:pt x="10500" y="13312"/>
                </a:moveTo>
                <a:cubicBezTo>
                  <a:pt x="10500" y="13312"/>
                  <a:pt x="10500" y="13312"/>
                  <a:pt x="10468" y="13312"/>
                </a:cubicBezTo>
                <a:cubicBezTo>
                  <a:pt x="10500" y="13312"/>
                  <a:pt x="10500" y="13312"/>
                  <a:pt x="10500" y="13312"/>
                </a:cubicBezTo>
                <a:cubicBezTo>
                  <a:pt x="10500" y="13312"/>
                  <a:pt x="10500" y="13312"/>
                  <a:pt x="10500" y="13312"/>
                </a:cubicBezTo>
                <a:close/>
                <a:moveTo>
                  <a:pt x="10375" y="13500"/>
                </a:moveTo>
                <a:cubicBezTo>
                  <a:pt x="10375" y="13500"/>
                  <a:pt x="10375" y="13500"/>
                  <a:pt x="10375" y="13500"/>
                </a:cubicBezTo>
                <a:moveTo>
                  <a:pt x="8781" y="18781"/>
                </a:moveTo>
                <a:cubicBezTo>
                  <a:pt x="8781" y="18781"/>
                  <a:pt x="8812" y="18781"/>
                  <a:pt x="8812" y="18781"/>
                </a:cubicBezTo>
                <a:cubicBezTo>
                  <a:pt x="8875" y="18812"/>
                  <a:pt x="8937" y="18812"/>
                  <a:pt x="9000" y="18844"/>
                </a:cubicBezTo>
                <a:cubicBezTo>
                  <a:pt x="9156" y="18969"/>
                  <a:pt x="9343" y="19031"/>
                  <a:pt x="9531" y="19094"/>
                </a:cubicBezTo>
                <a:cubicBezTo>
                  <a:pt x="9656" y="19125"/>
                  <a:pt x="9812" y="19187"/>
                  <a:pt x="9968" y="19250"/>
                </a:cubicBezTo>
                <a:cubicBezTo>
                  <a:pt x="10062" y="19281"/>
                  <a:pt x="10125" y="19344"/>
                  <a:pt x="10218" y="19344"/>
                </a:cubicBezTo>
                <a:cubicBezTo>
                  <a:pt x="10250" y="19375"/>
                  <a:pt x="10250" y="19375"/>
                  <a:pt x="10281" y="19375"/>
                </a:cubicBezTo>
                <a:cubicBezTo>
                  <a:pt x="10281" y="19406"/>
                  <a:pt x="10281" y="19437"/>
                  <a:pt x="10281" y="19437"/>
                </a:cubicBezTo>
                <a:cubicBezTo>
                  <a:pt x="10250" y="19469"/>
                  <a:pt x="10250" y="19437"/>
                  <a:pt x="10218" y="19437"/>
                </a:cubicBezTo>
                <a:lnTo>
                  <a:pt x="10218" y="19437"/>
                </a:lnTo>
                <a:cubicBezTo>
                  <a:pt x="9968" y="19281"/>
                  <a:pt x="9718" y="19187"/>
                  <a:pt x="9437" y="19094"/>
                </a:cubicBezTo>
                <a:cubicBezTo>
                  <a:pt x="9312" y="19062"/>
                  <a:pt x="9187" y="19000"/>
                  <a:pt x="9062" y="18969"/>
                </a:cubicBezTo>
                <a:cubicBezTo>
                  <a:pt x="9031" y="18906"/>
                  <a:pt x="8937" y="18906"/>
                  <a:pt x="8875" y="18844"/>
                </a:cubicBezTo>
                <a:cubicBezTo>
                  <a:pt x="8843" y="18844"/>
                  <a:pt x="8843" y="18812"/>
                  <a:pt x="8812" y="18781"/>
                </a:cubicBezTo>
                <a:cubicBezTo>
                  <a:pt x="8812" y="18781"/>
                  <a:pt x="8781" y="18781"/>
                  <a:pt x="8781" y="18781"/>
                </a:cubicBezTo>
                <a:cubicBezTo>
                  <a:pt x="8781" y="18781"/>
                  <a:pt x="8781" y="18781"/>
                  <a:pt x="8781" y="18781"/>
                </a:cubicBezTo>
                <a:close/>
                <a:moveTo>
                  <a:pt x="10781" y="12969"/>
                </a:moveTo>
                <a:cubicBezTo>
                  <a:pt x="10781" y="12969"/>
                  <a:pt x="10781" y="12969"/>
                  <a:pt x="10781" y="12969"/>
                </a:cubicBezTo>
                <a:cubicBezTo>
                  <a:pt x="10812" y="12969"/>
                  <a:pt x="10812" y="12937"/>
                  <a:pt x="10812" y="12937"/>
                </a:cubicBezTo>
                <a:cubicBezTo>
                  <a:pt x="10812" y="12937"/>
                  <a:pt x="10781" y="12937"/>
                  <a:pt x="10781" y="12969"/>
                </a:cubicBezTo>
                <a:cubicBezTo>
                  <a:pt x="10781" y="12969"/>
                  <a:pt x="10750" y="12969"/>
                  <a:pt x="10750" y="13000"/>
                </a:cubicBezTo>
                <a:cubicBezTo>
                  <a:pt x="10781" y="13000"/>
                  <a:pt x="10781" y="12969"/>
                  <a:pt x="10781" y="12969"/>
                </a:cubicBezTo>
                <a:close/>
                <a:moveTo>
                  <a:pt x="10750" y="13000"/>
                </a:moveTo>
                <a:cubicBezTo>
                  <a:pt x="10750" y="13000"/>
                  <a:pt x="10718" y="13000"/>
                  <a:pt x="10718" y="13031"/>
                </a:cubicBezTo>
                <a:lnTo>
                  <a:pt x="10718" y="13031"/>
                </a:lnTo>
                <a:cubicBezTo>
                  <a:pt x="10750" y="13031"/>
                  <a:pt x="10750" y="13000"/>
                  <a:pt x="10750" y="13000"/>
                </a:cubicBezTo>
                <a:close/>
                <a:moveTo>
                  <a:pt x="11562" y="13781"/>
                </a:moveTo>
                <a:cubicBezTo>
                  <a:pt x="11562" y="13812"/>
                  <a:pt x="11562" y="13812"/>
                  <a:pt x="11562" y="13812"/>
                </a:cubicBezTo>
                <a:cubicBezTo>
                  <a:pt x="11562" y="13812"/>
                  <a:pt x="11593" y="13812"/>
                  <a:pt x="11593" y="13812"/>
                </a:cubicBezTo>
                <a:cubicBezTo>
                  <a:pt x="11593" y="13781"/>
                  <a:pt x="11593" y="13781"/>
                  <a:pt x="11593" y="13781"/>
                </a:cubicBezTo>
                <a:cubicBezTo>
                  <a:pt x="11625" y="13781"/>
                  <a:pt x="11625" y="13781"/>
                  <a:pt x="11625" y="13781"/>
                </a:cubicBezTo>
                <a:cubicBezTo>
                  <a:pt x="11656" y="13750"/>
                  <a:pt x="11718" y="13750"/>
                  <a:pt x="11750" y="13719"/>
                </a:cubicBezTo>
                <a:cubicBezTo>
                  <a:pt x="11750" y="13687"/>
                  <a:pt x="11781" y="13687"/>
                  <a:pt x="11781" y="13687"/>
                </a:cubicBezTo>
                <a:cubicBezTo>
                  <a:pt x="11781" y="13656"/>
                  <a:pt x="11750" y="13656"/>
                  <a:pt x="11750" y="13656"/>
                </a:cubicBezTo>
                <a:cubicBezTo>
                  <a:pt x="11687" y="13656"/>
                  <a:pt x="11656" y="13719"/>
                  <a:pt x="11593" y="13750"/>
                </a:cubicBezTo>
                <a:lnTo>
                  <a:pt x="11593" y="13750"/>
                </a:lnTo>
                <a:cubicBezTo>
                  <a:pt x="11593" y="13750"/>
                  <a:pt x="11593" y="13781"/>
                  <a:pt x="11593" y="13781"/>
                </a:cubicBezTo>
                <a:cubicBezTo>
                  <a:pt x="11562" y="13781"/>
                  <a:pt x="11562" y="13781"/>
                  <a:pt x="11562" y="13781"/>
                </a:cubicBezTo>
                <a:close/>
                <a:moveTo>
                  <a:pt x="4531" y="18875"/>
                </a:moveTo>
                <a:cubicBezTo>
                  <a:pt x="4531" y="18875"/>
                  <a:pt x="4531" y="18875"/>
                  <a:pt x="4562" y="18875"/>
                </a:cubicBezTo>
                <a:cubicBezTo>
                  <a:pt x="4562" y="18875"/>
                  <a:pt x="4531" y="18875"/>
                  <a:pt x="4531" y="18875"/>
                </a:cubicBezTo>
                <a:cubicBezTo>
                  <a:pt x="4531" y="18875"/>
                  <a:pt x="4531" y="18875"/>
                  <a:pt x="4531" y="18875"/>
                </a:cubicBezTo>
                <a:cubicBezTo>
                  <a:pt x="4500" y="18875"/>
                  <a:pt x="4531" y="18875"/>
                  <a:pt x="4531" y="18875"/>
                </a:cubicBezTo>
                <a:close/>
                <a:moveTo>
                  <a:pt x="9156" y="15937"/>
                </a:moveTo>
                <a:cubicBezTo>
                  <a:pt x="9156" y="15906"/>
                  <a:pt x="9125" y="15906"/>
                  <a:pt x="9125" y="15937"/>
                </a:cubicBezTo>
                <a:cubicBezTo>
                  <a:pt x="9125" y="15937"/>
                  <a:pt x="9156" y="15937"/>
                  <a:pt x="9156" y="15937"/>
                </a:cubicBezTo>
                <a:close/>
                <a:moveTo>
                  <a:pt x="11750" y="17625"/>
                </a:moveTo>
                <a:cubicBezTo>
                  <a:pt x="11750" y="17594"/>
                  <a:pt x="11718" y="17594"/>
                  <a:pt x="11718" y="17625"/>
                </a:cubicBezTo>
                <a:cubicBezTo>
                  <a:pt x="11718" y="17625"/>
                  <a:pt x="11750" y="17625"/>
                  <a:pt x="11750" y="17625"/>
                </a:cubicBezTo>
                <a:close/>
                <a:moveTo>
                  <a:pt x="8406" y="13094"/>
                </a:moveTo>
                <a:cubicBezTo>
                  <a:pt x="8406" y="13094"/>
                  <a:pt x="8406" y="13094"/>
                  <a:pt x="8406" y="13094"/>
                </a:cubicBezTo>
                <a:cubicBezTo>
                  <a:pt x="8406" y="13094"/>
                  <a:pt x="8406" y="13094"/>
                  <a:pt x="8406" y="13094"/>
                </a:cubicBezTo>
                <a:lnTo>
                  <a:pt x="8406" y="13094"/>
                </a:lnTo>
                <a:cubicBezTo>
                  <a:pt x="8406" y="13094"/>
                  <a:pt x="8406" y="13094"/>
                  <a:pt x="8406" y="13094"/>
                </a:cubicBezTo>
                <a:cubicBezTo>
                  <a:pt x="8406" y="13094"/>
                  <a:pt x="8406" y="13094"/>
                  <a:pt x="8406" y="13094"/>
                </a:cubicBezTo>
                <a:close/>
                <a:moveTo>
                  <a:pt x="12437" y="18656"/>
                </a:moveTo>
                <a:cubicBezTo>
                  <a:pt x="12468" y="18656"/>
                  <a:pt x="12468" y="18687"/>
                  <a:pt x="12500" y="18656"/>
                </a:cubicBezTo>
                <a:cubicBezTo>
                  <a:pt x="12468" y="18656"/>
                  <a:pt x="12468" y="18656"/>
                  <a:pt x="12437" y="18656"/>
                </a:cubicBezTo>
                <a:close/>
                <a:moveTo>
                  <a:pt x="3468" y="16750"/>
                </a:moveTo>
                <a:cubicBezTo>
                  <a:pt x="3468" y="16750"/>
                  <a:pt x="3468" y="16750"/>
                  <a:pt x="3468" y="16750"/>
                </a:cubicBezTo>
                <a:cubicBezTo>
                  <a:pt x="3468" y="16750"/>
                  <a:pt x="3468" y="16719"/>
                  <a:pt x="3468" y="16719"/>
                </a:cubicBezTo>
                <a:cubicBezTo>
                  <a:pt x="3468" y="16719"/>
                  <a:pt x="3468" y="16719"/>
                  <a:pt x="3468" y="16719"/>
                </a:cubicBezTo>
                <a:cubicBezTo>
                  <a:pt x="3468" y="16750"/>
                  <a:pt x="3468" y="16750"/>
                  <a:pt x="3468" y="16750"/>
                </a:cubicBezTo>
                <a:close/>
                <a:moveTo>
                  <a:pt x="7968" y="17937"/>
                </a:moveTo>
                <a:cubicBezTo>
                  <a:pt x="7968" y="17937"/>
                  <a:pt x="7968" y="17937"/>
                  <a:pt x="7968" y="17937"/>
                </a:cubicBezTo>
                <a:cubicBezTo>
                  <a:pt x="7937" y="17937"/>
                  <a:pt x="7937" y="17937"/>
                  <a:pt x="7937" y="17937"/>
                </a:cubicBezTo>
                <a:cubicBezTo>
                  <a:pt x="7937" y="17937"/>
                  <a:pt x="7968" y="17937"/>
                  <a:pt x="7968" y="17937"/>
                </a:cubicBezTo>
                <a:cubicBezTo>
                  <a:pt x="7968" y="17937"/>
                  <a:pt x="7968" y="17937"/>
                  <a:pt x="7968" y="17937"/>
                </a:cubicBezTo>
                <a:close/>
                <a:moveTo>
                  <a:pt x="8375" y="16531"/>
                </a:moveTo>
                <a:cubicBezTo>
                  <a:pt x="8375" y="16531"/>
                  <a:pt x="8375" y="16531"/>
                  <a:pt x="8375" y="16531"/>
                </a:cubicBezTo>
                <a:cubicBezTo>
                  <a:pt x="8375" y="16531"/>
                  <a:pt x="8375" y="16531"/>
                  <a:pt x="8375" y="16531"/>
                </a:cubicBezTo>
                <a:lnTo>
                  <a:pt x="8375" y="16531"/>
                </a:lnTo>
                <a:cubicBezTo>
                  <a:pt x="8375" y="16531"/>
                  <a:pt x="8375" y="16531"/>
                  <a:pt x="8375" y="16531"/>
                </a:cubicBezTo>
                <a:cubicBezTo>
                  <a:pt x="8375" y="16531"/>
                  <a:pt x="8375" y="16531"/>
                  <a:pt x="8375" y="16531"/>
                </a:cubicBezTo>
                <a:close/>
                <a:moveTo>
                  <a:pt x="11281" y="13187"/>
                </a:moveTo>
                <a:cubicBezTo>
                  <a:pt x="11312" y="13219"/>
                  <a:pt x="11312" y="13187"/>
                  <a:pt x="11312" y="13187"/>
                </a:cubicBezTo>
                <a:cubicBezTo>
                  <a:pt x="11343" y="13187"/>
                  <a:pt x="11375" y="13156"/>
                  <a:pt x="11375" y="13125"/>
                </a:cubicBezTo>
                <a:cubicBezTo>
                  <a:pt x="11343" y="13125"/>
                  <a:pt x="11343" y="13156"/>
                  <a:pt x="11312" y="13156"/>
                </a:cubicBezTo>
                <a:cubicBezTo>
                  <a:pt x="11312" y="13156"/>
                  <a:pt x="11312" y="13156"/>
                  <a:pt x="11312" y="13156"/>
                </a:cubicBezTo>
                <a:cubicBezTo>
                  <a:pt x="11312" y="13187"/>
                  <a:pt x="11281" y="13187"/>
                  <a:pt x="11281" y="13187"/>
                </a:cubicBezTo>
                <a:cubicBezTo>
                  <a:pt x="11281" y="13187"/>
                  <a:pt x="11281" y="13187"/>
                  <a:pt x="11281" y="13187"/>
                </a:cubicBezTo>
                <a:close/>
                <a:moveTo>
                  <a:pt x="3812" y="17469"/>
                </a:moveTo>
                <a:cubicBezTo>
                  <a:pt x="3812" y="17469"/>
                  <a:pt x="3812" y="17469"/>
                  <a:pt x="3812" y="17469"/>
                </a:cubicBezTo>
                <a:cubicBezTo>
                  <a:pt x="3812" y="17469"/>
                  <a:pt x="3781" y="17469"/>
                  <a:pt x="3781" y="17469"/>
                </a:cubicBezTo>
                <a:lnTo>
                  <a:pt x="3781" y="17469"/>
                </a:lnTo>
                <a:lnTo>
                  <a:pt x="3781" y="17469"/>
                </a:lnTo>
                <a:cubicBezTo>
                  <a:pt x="3781" y="17469"/>
                  <a:pt x="3781" y="17469"/>
                  <a:pt x="3812" y="17469"/>
                </a:cubicBezTo>
                <a:close/>
                <a:moveTo>
                  <a:pt x="12593" y="16812"/>
                </a:moveTo>
                <a:cubicBezTo>
                  <a:pt x="12593" y="16812"/>
                  <a:pt x="12625" y="16812"/>
                  <a:pt x="12625" y="16812"/>
                </a:cubicBezTo>
                <a:cubicBezTo>
                  <a:pt x="12593" y="16812"/>
                  <a:pt x="12593" y="16781"/>
                  <a:pt x="12593" y="16781"/>
                </a:cubicBezTo>
                <a:cubicBezTo>
                  <a:pt x="12593" y="16781"/>
                  <a:pt x="12593" y="16781"/>
                  <a:pt x="12593" y="16812"/>
                </a:cubicBezTo>
                <a:cubicBezTo>
                  <a:pt x="12593" y="16812"/>
                  <a:pt x="12593" y="16812"/>
                  <a:pt x="12593" y="16812"/>
                </a:cubicBezTo>
                <a:close/>
                <a:moveTo>
                  <a:pt x="9531" y="16781"/>
                </a:moveTo>
                <a:cubicBezTo>
                  <a:pt x="9500" y="16750"/>
                  <a:pt x="9500" y="16781"/>
                  <a:pt x="9468" y="16781"/>
                </a:cubicBezTo>
                <a:cubicBezTo>
                  <a:pt x="9468" y="16781"/>
                  <a:pt x="9500" y="16781"/>
                  <a:pt x="9531" y="16781"/>
                </a:cubicBezTo>
                <a:close/>
                <a:moveTo>
                  <a:pt x="4750" y="18937"/>
                </a:moveTo>
                <a:cubicBezTo>
                  <a:pt x="4750" y="18969"/>
                  <a:pt x="4750" y="18969"/>
                  <a:pt x="4750" y="18969"/>
                </a:cubicBezTo>
                <a:cubicBezTo>
                  <a:pt x="4781" y="18969"/>
                  <a:pt x="4812" y="18969"/>
                  <a:pt x="4781" y="18937"/>
                </a:cubicBezTo>
                <a:cubicBezTo>
                  <a:pt x="4781" y="18937"/>
                  <a:pt x="4750" y="18937"/>
                  <a:pt x="4750" y="18937"/>
                </a:cubicBezTo>
                <a:close/>
                <a:moveTo>
                  <a:pt x="8968" y="14969"/>
                </a:moveTo>
                <a:cubicBezTo>
                  <a:pt x="8968" y="14969"/>
                  <a:pt x="8968" y="14969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lnTo>
                  <a:pt x="8968" y="14969"/>
                </a:lnTo>
                <a:cubicBezTo>
                  <a:pt x="8968" y="14969"/>
                  <a:pt x="8968" y="14969"/>
                  <a:pt x="8968" y="14969"/>
                </a:cubicBezTo>
                <a:cubicBezTo>
                  <a:pt x="8968" y="14969"/>
                  <a:pt x="8968" y="14969"/>
                  <a:pt x="8968" y="14969"/>
                </a:cubicBezTo>
                <a:close/>
                <a:moveTo>
                  <a:pt x="937" y="18156"/>
                </a:moveTo>
                <a:cubicBezTo>
                  <a:pt x="968" y="18156"/>
                  <a:pt x="1000" y="18156"/>
                  <a:pt x="1000" y="18156"/>
                </a:cubicBezTo>
                <a:cubicBezTo>
                  <a:pt x="1000" y="18156"/>
                  <a:pt x="1000" y="18125"/>
                  <a:pt x="1000" y="18125"/>
                </a:cubicBezTo>
                <a:cubicBezTo>
                  <a:pt x="968" y="18125"/>
                  <a:pt x="968" y="18125"/>
                  <a:pt x="937" y="18156"/>
                </a:cubicBezTo>
                <a:close/>
                <a:moveTo>
                  <a:pt x="1531" y="17812"/>
                </a:moveTo>
                <a:cubicBezTo>
                  <a:pt x="1500" y="17812"/>
                  <a:pt x="1468" y="17812"/>
                  <a:pt x="1437" y="17812"/>
                </a:cubicBezTo>
                <a:cubicBezTo>
                  <a:pt x="1468" y="17844"/>
                  <a:pt x="1500" y="17844"/>
                  <a:pt x="1531" y="17812"/>
                </a:cubicBezTo>
                <a:close/>
                <a:moveTo>
                  <a:pt x="11562" y="14312"/>
                </a:moveTo>
                <a:cubicBezTo>
                  <a:pt x="11531" y="14312"/>
                  <a:pt x="11500" y="14312"/>
                  <a:pt x="11500" y="14344"/>
                </a:cubicBezTo>
                <a:cubicBezTo>
                  <a:pt x="11500" y="14344"/>
                  <a:pt x="11531" y="14344"/>
                  <a:pt x="11562" y="14312"/>
                </a:cubicBezTo>
                <a:close/>
                <a:moveTo>
                  <a:pt x="11500" y="14344"/>
                </a:moveTo>
                <a:cubicBezTo>
                  <a:pt x="11406" y="14344"/>
                  <a:pt x="11406" y="14406"/>
                  <a:pt x="11343" y="14437"/>
                </a:cubicBezTo>
                <a:cubicBezTo>
                  <a:pt x="11281" y="14469"/>
                  <a:pt x="11187" y="14500"/>
                  <a:pt x="11187" y="14562"/>
                </a:cubicBezTo>
                <a:cubicBezTo>
                  <a:pt x="11187" y="14562"/>
                  <a:pt x="11187" y="14562"/>
                  <a:pt x="11187" y="14562"/>
                </a:cubicBezTo>
                <a:cubicBezTo>
                  <a:pt x="11156" y="14562"/>
                  <a:pt x="11156" y="14562"/>
                  <a:pt x="11156" y="14562"/>
                </a:cubicBezTo>
                <a:cubicBezTo>
                  <a:pt x="11125" y="14594"/>
                  <a:pt x="11125" y="14594"/>
                  <a:pt x="11093" y="14594"/>
                </a:cubicBezTo>
                <a:cubicBezTo>
                  <a:pt x="11093" y="14625"/>
                  <a:pt x="11093" y="14625"/>
                  <a:pt x="11125" y="14625"/>
                </a:cubicBezTo>
                <a:cubicBezTo>
                  <a:pt x="11125" y="14625"/>
                  <a:pt x="11156" y="14625"/>
                  <a:pt x="11156" y="14625"/>
                </a:cubicBezTo>
                <a:cubicBezTo>
                  <a:pt x="11187" y="14594"/>
                  <a:pt x="11187" y="14594"/>
                  <a:pt x="11187" y="14594"/>
                </a:cubicBezTo>
                <a:cubicBezTo>
                  <a:pt x="11218" y="14594"/>
                  <a:pt x="11250" y="14594"/>
                  <a:pt x="11281" y="14562"/>
                </a:cubicBezTo>
                <a:cubicBezTo>
                  <a:pt x="11343" y="14469"/>
                  <a:pt x="11437" y="14437"/>
                  <a:pt x="11500" y="14344"/>
                </a:cubicBezTo>
                <a:close/>
                <a:moveTo>
                  <a:pt x="2500" y="18656"/>
                </a:moveTo>
                <a:cubicBezTo>
                  <a:pt x="2500" y="18656"/>
                  <a:pt x="2500" y="18687"/>
                  <a:pt x="2500" y="18687"/>
                </a:cubicBezTo>
                <a:cubicBezTo>
                  <a:pt x="2531" y="18687"/>
                  <a:pt x="2531" y="18687"/>
                  <a:pt x="2531" y="18656"/>
                </a:cubicBezTo>
                <a:cubicBezTo>
                  <a:pt x="2531" y="18656"/>
                  <a:pt x="2531" y="18656"/>
                  <a:pt x="2500" y="18656"/>
                </a:cubicBezTo>
                <a:cubicBezTo>
                  <a:pt x="2500" y="18656"/>
                  <a:pt x="2500" y="18656"/>
                  <a:pt x="2500" y="18656"/>
                </a:cubicBezTo>
                <a:close/>
                <a:moveTo>
                  <a:pt x="9375" y="15750"/>
                </a:moveTo>
                <a:cubicBezTo>
                  <a:pt x="9437" y="15750"/>
                  <a:pt x="9468" y="15750"/>
                  <a:pt x="9500" y="15750"/>
                </a:cubicBezTo>
                <a:cubicBezTo>
                  <a:pt x="9437" y="15719"/>
                  <a:pt x="9437" y="15719"/>
                  <a:pt x="9375" y="15750"/>
                </a:cubicBezTo>
                <a:close/>
                <a:moveTo>
                  <a:pt x="12281" y="18687"/>
                </a:moveTo>
                <a:cubicBezTo>
                  <a:pt x="12281" y="18656"/>
                  <a:pt x="12250" y="18687"/>
                  <a:pt x="12218" y="18687"/>
                </a:cubicBezTo>
                <a:cubicBezTo>
                  <a:pt x="12250" y="18687"/>
                  <a:pt x="12281" y="18719"/>
                  <a:pt x="12281" y="18687"/>
                </a:cubicBezTo>
                <a:close/>
                <a:moveTo>
                  <a:pt x="1437" y="18781"/>
                </a:moveTo>
                <a:cubicBezTo>
                  <a:pt x="1406" y="18750"/>
                  <a:pt x="1375" y="18781"/>
                  <a:pt x="1343" y="18781"/>
                </a:cubicBezTo>
                <a:cubicBezTo>
                  <a:pt x="1375" y="18781"/>
                  <a:pt x="1406" y="18781"/>
                  <a:pt x="1437" y="18781"/>
                </a:cubicBezTo>
                <a:close/>
                <a:moveTo>
                  <a:pt x="10500" y="12781"/>
                </a:moveTo>
                <a:cubicBezTo>
                  <a:pt x="10500" y="12781"/>
                  <a:pt x="10500" y="12781"/>
                  <a:pt x="10500" y="12812"/>
                </a:cubicBezTo>
                <a:cubicBezTo>
                  <a:pt x="10531" y="12812"/>
                  <a:pt x="10531" y="12781"/>
                  <a:pt x="10531" y="12750"/>
                </a:cubicBezTo>
                <a:cubicBezTo>
                  <a:pt x="10625" y="12781"/>
                  <a:pt x="10625" y="12781"/>
                  <a:pt x="10593" y="12687"/>
                </a:cubicBezTo>
                <a:lnTo>
                  <a:pt x="10593" y="12687"/>
                </a:lnTo>
                <a:cubicBezTo>
                  <a:pt x="10593" y="12687"/>
                  <a:pt x="10593" y="12687"/>
                  <a:pt x="10593" y="12687"/>
                </a:cubicBezTo>
                <a:cubicBezTo>
                  <a:pt x="10562" y="12719"/>
                  <a:pt x="10562" y="12719"/>
                  <a:pt x="10531" y="12750"/>
                </a:cubicBezTo>
                <a:cubicBezTo>
                  <a:pt x="10500" y="12750"/>
                  <a:pt x="10468" y="12750"/>
                  <a:pt x="10500" y="12781"/>
                </a:cubicBezTo>
                <a:close/>
                <a:moveTo>
                  <a:pt x="4343" y="17594"/>
                </a:moveTo>
                <a:cubicBezTo>
                  <a:pt x="4312" y="17562"/>
                  <a:pt x="4281" y="17594"/>
                  <a:pt x="4250" y="17562"/>
                </a:cubicBezTo>
                <a:cubicBezTo>
                  <a:pt x="4218" y="17562"/>
                  <a:pt x="4218" y="17562"/>
                  <a:pt x="4218" y="17562"/>
                </a:cubicBezTo>
                <a:cubicBezTo>
                  <a:pt x="4187" y="17531"/>
                  <a:pt x="4187" y="17531"/>
                  <a:pt x="4156" y="17531"/>
                </a:cubicBezTo>
                <a:lnTo>
                  <a:pt x="4156" y="17531"/>
                </a:lnTo>
                <a:cubicBezTo>
                  <a:pt x="4156" y="17531"/>
                  <a:pt x="4156" y="17562"/>
                  <a:pt x="4156" y="17562"/>
                </a:cubicBezTo>
                <a:cubicBezTo>
                  <a:pt x="4156" y="17594"/>
                  <a:pt x="4187" y="17562"/>
                  <a:pt x="4187" y="17594"/>
                </a:cubicBezTo>
                <a:cubicBezTo>
                  <a:pt x="4218" y="17594"/>
                  <a:pt x="4218" y="17594"/>
                  <a:pt x="4218" y="17594"/>
                </a:cubicBezTo>
                <a:cubicBezTo>
                  <a:pt x="4250" y="17594"/>
                  <a:pt x="4281" y="17594"/>
                  <a:pt x="4312" y="17625"/>
                </a:cubicBezTo>
                <a:cubicBezTo>
                  <a:pt x="4593" y="17719"/>
                  <a:pt x="5031" y="17875"/>
                  <a:pt x="5062" y="17844"/>
                </a:cubicBezTo>
                <a:lnTo>
                  <a:pt x="5062" y="17844"/>
                </a:lnTo>
                <a:cubicBezTo>
                  <a:pt x="4906" y="17781"/>
                  <a:pt x="4781" y="17719"/>
                  <a:pt x="4625" y="17687"/>
                </a:cubicBezTo>
                <a:cubicBezTo>
                  <a:pt x="4531" y="17656"/>
                  <a:pt x="4437" y="17594"/>
                  <a:pt x="4343" y="17594"/>
                </a:cubicBezTo>
                <a:close/>
                <a:moveTo>
                  <a:pt x="10531" y="16344"/>
                </a:moveTo>
                <a:cubicBezTo>
                  <a:pt x="10562" y="16375"/>
                  <a:pt x="10562" y="16344"/>
                  <a:pt x="10562" y="16312"/>
                </a:cubicBezTo>
                <a:cubicBezTo>
                  <a:pt x="10562" y="16312"/>
                  <a:pt x="10531" y="16312"/>
                  <a:pt x="10531" y="16312"/>
                </a:cubicBezTo>
                <a:cubicBezTo>
                  <a:pt x="10531" y="16344"/>
                  <a:pt x="10531" y="16344"/>
                  <a:pt x="10531" y="16344"/>
                </a:cubicBezTo>
                <a:close/>
                <a:moveTo>
                  <a:pt x="10531" y="16312"/>
                </a:moveTo>
                <a:cubicBezTo>
                  <a:pt x="10531" y="16312"/>
                  <a:pt x="10500" y="16312"/>
                  <a:pt x="10500" y="16312"/>
                </a:cubicBezTo>
                <a:cubicBezTo>
                  <a:pt x="10531" y="16312"/>
                  <a:pt x="10531" y="16312"/>
                  <a:pt x="10531" y="16312"/>
                </a:cubicBezTo>
                <a:close/>
                <a:moveTo>
                  <a:pt x="9531" y="15094"/>
                </a:moveTo>
                <a:cubicBezTo>
                  <a:pt x="9531" y="15094"/>
                  <a:pt x="9531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ubicBezTo>
                  <a:pt x="9531" y="15094"/>
                  <a:pt x="9531" y="15094"/>
                  <a:pt x="9531" y="15094"/>
                </a:cubicBezTo>
                <a:close/>
                <a:moveTo>
                  <a:pt x="10437" y="12750"/>
                </a:moveTo>
                <a:cubicBezTo>
                  <a:pt x="10437" y="12750"/>
                  <a:pt x="10437" y="12750"/>
                  <a:pt x="10437" y="12750"/>
                </a:cubicBezTo>
                <a:moveTo>
                  <a:pt x="12625" y="18937"/>
                </a:moveTo>
                <a:cubicBezTo>
                  <a:pt x="12625" y="18937"/>
                  <a:pt x="12625" y="18937"/>
                  <a:pt x="12625" y="18937"/>
                </a:cubicBezTo>
                <a:cubicBezTo>
                  <a:pt x="12593" y="18906"/>
                  <a:pt x="12593" y="18969"/>
                  <a:pt x="12593" y="18969"/>
                </a:cubicBezTo>
                <a:cubicBezTo>
                  <a:pt x="12593" y="18969"/>
                  <a:pt x="12625" y="18969"/>
                  <a:pt x="12625" y="18937"/>
                </a:cubicBezTo>
                <a:close/>
                <a:moveTo>
                  <a:pt x="12093" y="19000"/>
                </a:moveTo>
                <a:cubicBezTo>
                  <a:pt x="12062" y="18969"/>
                  <a:pt x="12031" y="19000"/>
                  <a:pt x="12031" y="19000"/>
                </a:cubicBezTo>
                <a:cubicBezTo>
                  <a:pt x="12000" y="18969"/>
                  <a:pt x="11968" y="18969"/>
                  <a:pt x="11937" y="18969"/>
                </a:cubicBezTo>
                <a:cubicBezTo>
                  <a:pt x="11875" y="18969"/>
                  <a:pt x="11812" y="18906"/>
                  <a:pt x="11781" y="18875"/>
                </a:cubicBezTo>
                <a:cubicBezTo>
                  <a:pt x="11718" y="18812"/>
                  <a:pt x="11656" y="18812"/>
                  <a:pt x="11625" y="18844"/>
                </a:cubicBezTo>
                <a:cubicBezTo>
                  <a:pt x="11500" y="18875"/>
                  <a:pt x="11375" y="18844"/>
                  <a:pt x="11250" y="18812"/>
                </a:cubicBezTo>
                <a:cubicBezTo>
                  <a:pt x="11187" y="18812"/>
                  <a:pt x="11125" y="18750"/>
                  <a:pt x="11031" y="18781"/>
                </a:cubicBezTo>
                <a:cubicBezTo>
                  <a:pt x="11031" y="18781"/>
                  <a:pt x="11031" y="18781"/>
                  <a:pt x="11031" y="18781"/>
                </a:cubicBezTo>
                <a:cubicBezTo>
                  <a:pt x="11031" y="18781"/>
                  <a:pt x="11031" y="18781"/>
                  <a:pt x="11000" y="18781"/>
                </a:cubicBezTo>
                <a:cubicBezTo>
                  <a:pt x="11000" y="18781"/>
                  <a:pt x="11031" y="18781"/>
                  <a:pt x="11031" y="18812"/>
                </a:cubicBezTo>
                <a:cubicBezTo>
                  <a:pt x="11031" y="18812"/>
                  <a:pt x="11062" y="18844"/>
                  <a:pt x="11093" y="18844"/>
                </a:cubicBezTo>
                <a:cubicBezTo>
                  <a:pt x="11187" y="18844"/>
                  <a:pt x="11281" y="18875"/>
                  <a:pt x="11375" y="18906"/>
                </a:cubicBezTo>
                <a:cubicBezTo>
                  <a:pt x="11375" y="18906"/>
                  <a:pt x="11375" y="18906"/>
                  <a:pt x="11375" y="18906"/>
                </a:cubicBezTo>
                <a:cubicBezTo>
                  <a:pt x="11406" y="18937"/>
                  <a:pt x="11406" y="18969"/>
                  <a:pt x="11437" y="18969"/>
                </a:cubicBezTo>
                <a:cubicBezTo>
                  <a:pt x="11593" y="19000"/>
                  <a:pt x="11750" y="18969"/>
                  <a:pt x="11937" y="18969"/>
                </a:cubicBezTo>
                <a:cubicBezTo>
                  <a:pt x="11937" y="19000"/>
                  <a:pt x="11968" y="19000"/>
                  <a:pt x="11968" y="19000"/>
                </a:cubicBezTo>
                <a:cubicBezTo>
                  <a:pt x="11968" y="19000"/>
                  <a:pt x="12000" y="19000"/>
                  <a:pt x="12000" y="19000"/>
                </a:cubicBezTo>
                <a:cubicBezTo>
                  <a:pt x="12000" y="19094"/>
                  <a:pt x="12062" y="19094"/>
                  <a:pt x="12125" y="19094"/>
                </a:cubicBezTo>
                <a:cubicBezTo>
                  <a:pt x="12125" y="19094"/>
                  <a:pt x="12156" y="19094"/>
                  <a:pt x="12156" y="19094"/>
                </a:cubicBezTo>
                <a:cubicBezTo>
                  <a:pt x="12187" y="19094"/>
                  <a:pt x="12187" y="19094"/>
                  <a:pt x="12187" y="19094"/>
                </a:cubicBezTo>
                <a:cubicBezTo>
                  <a:pt x="12218" y="19062"/>
                  <a:pt x="12187" y="19062"/>
                  <a:pt x="12187" y="19062"/>
                </a:cubicBezTo>
                <a:cubicBezTo>
                  <a:pt x="12125" y="19031"/>
                  <a:pt x="12093" y="19062"/>
                  <a:pt x="12062" y="19031"/>
                </a:cubicBezTo>
                <a:cubicBezTo>
                  <a:pt x="12062" y="19031"/>
                  <a:pt x="12093" y="19000"/>
                  <a:pt x="12093" y="19000"/>
                </a:cubicBezTo>
                <a:close/>
                <a:moveTo>
                  <a:pt x="11375" y="18906"/>
                </a:moveTo>
                <a:cubicBezTo>
                  <a:pt x="11375" y="18906"/>
                  <a:pt x="11375" y="18875"/>
                  <a:pt x="11406" y="18875"/>
                </a:cubicBezTo>
                <a:cubicBezTo>
                  <a:pt x="11531" y="18875"/>
                  <a:pt x="11656" y="18906"/>
                  <a:pt x="11750" y="18937"/>
                </a:cubicBezTo>
                <a:cubicBezTo>
                  <a:pt x="11625" y="18937"/>
                  <a:pt x="11500" y="18937"/>
                  <a:pt x="11375" y="18906"/>
                </a:cubicBezTo>
                <a:close/>
                <a:moveTo>
                  <a:pt x="11250" y="14406"/>
                </a:moveTo>
                <a:cubicBezTo>
                  <a:pt x="11250" y="14406"/>
                  <a:pt x="11218" y="14406"/>
                  <a:pt x="11218" y="14406"/>
                </a:cubicBezTo>
                <a:cubicBezTo>
                  <a:pt x="11187" y="14375"/>
                  <a:pt x="11187" y="14406"/>
                  <a:pt x="11187" y="14437"/>
                </a:cubicBezTo>
                <a:cubicBezTo>
                  <a:pt x="11187" y="14500"/>
                  <a:pt x="11125" y="14500"/>
                  <a:pt x="11093" y="14500"/>
                </a:cubicBezTo>
                <a:cubicBezTo>
                  <a:pt x="11093" y="14531"/>
                  <a:pt x="11093" y="14500"/>
                  <a:pt x="11093" y="14469"/>
                </a:cubicBezTo>
                <a:cubicBezTo>
                  <a:pt x="11062" y="14469"/>
                  <a:pt x="11000" y="14437"/>
                  <a:pt x="10968" y="14469"/>
                </a:cubicBezTo>
                <a:cubicBezTo>
                  <a:pt x="10968" y="14469"/>
                  <a:pt x="10937" y="14469"/>
                  <a:pt x="10937" y="14437"/>
                </a:cubicBezTo>
                <a:cubicBezTo>
                  <a:pt x="10937" y="14406"/>
                  <a:pt x="10906" y="14406"/>
                  <a:pt x="10875" y="14406"/>
                </a:cubicBezTo>
                <a:cubicBezTo>
                  <a:pt x="10843" y="14406"/>
                  <a:pt x="10843" y="14406"/>
                  <a:pt x="10843" y="14375"/>
                </a:cubicBezTo>
                <a:cubicBezTo>
                  <a:pt x="10843" y="14344"/>
                  <a:pt x="10843" y="14312"/>
                  <a:pt x="10812" y="14344"/>
                </a:cubicBezTo>
                <a:lnTo>
                  <a:pt x="10812" y="14344"/>
                </a:lnTo>
                <a:cubicBezTo>
                  <a:pt x="10781" y="14344"/>
                  <a:pt x="10781" y="14344"/>
                  <a:pt x="10781" y="14312"/>
                </a:cubicBezTo>
                <a:cubicBezTo>
                  <a:pt x="10750" y="14312"/>
                  <a:pt x="10781" y="14312"/>
                  <a:pt x="10781" y="14281"/>
                </a:cubicBezTo>
                <a:cubicBezTo>
                  <a:pt x="10812" y="14281"/>
                  <a:pt x="10843" y="14250"/>
                  <a:pt x="10906" y="14250"/>
                </a:cubicBezTo>
                <a:cubicBezTo>
                  <a:pt x="10906" y="14219"/>
                  <a:pt x="10906" y="14219"/>
                  <a:pt x="10937" y="14219"/>
                </a:cubicBezTo>
                <a:cubicBezTo>
                  <a:pt x="10937" y="14219"/>
                  <a:pt x="10937" y="14219"/>
                  <a:pt x="10937" y="14219"/>
                </a:cubicBezTo>
                <a:cubicBezTo>
                  <a:pt x="10968" y="14187"/>
                  <a:pt x="11000" y="14156"/>
                  <a:pt x="11031" y="14125"/>
                </a:cubicBezTo>
                <a:cubicBezTo>
                  <a:pt x="11062" y="14156"/>
                  <a:pt x="11031" y="14187"/>
                  <a:pt x="11031" y="14187"/>
                </a:cubicBezTo>
                <a:cubicBezTo>
                  <a:pt x="11031" y="14219"/>
                  <a:pt x="11031" y="14219"/>
                  <a:pt x="11031" y="14219"/>
                </a:cubicBezTo>
                <a:cubicBezTo>
                  <a:pt x="11000" y="14219"/>
                  <a:pt x="10968" y="14219"/>
                  <a:pt x="10937" y="14219"/>
                </a:cubicBezTo>
                <a:cubicBezTo>
                  <a:pt x="10937" y="14219"/>
                  <a:pt x="10937" y="14219"/>
                  <a:pt x="10937" y="14219"/>
                </a:cubicBezTo>
                <a:cubicBezTo>
                  <a:pt x="10937" y="14250"/>
                  <a:pt x="10937" y="14250"/>
                  <a:pt x="10906" y="14250"/>
                </a:cubicBezTo>
                <a:cubicBezTo>
                  <a:pt x="10937" y="14281"/>
                  <a:pt x="10937" y="14312"/>
                  <a:pt x="11000" y="14281"/>
                </a:cubicBezTo>
                <a:cubicBezTo>
                  <a:pt x="11000" y="14281"/>
                  <a:pt x="11062" y="14250"/>
                  <a:pt x="11031" y="14219"/>
                </a:cubicBezTo>
                <a:cubicBezTo>
                  <a:pt x="11031" y="14219"/>
                  <a:pt x="11031" y="14219"/>
                  <a:pt x="11031" y="14187"/>
                </a:cubicBezTo>
                <a:cubicBezTo>
                  <a:pt x="11062" y="14219"/>
                  <a:pt x="11062" y="14219"/>
                  <a:pt x="11093" y="14219"/>
                </a:cubicBezTo>
                <a:cubicBezTo>
                  <a:pt x="11125" y="14187"/>
                  <a:pt x="11156" y="14156"/>
                  <a:pt x="11156" y="14250"/>
                </a:cubicBezTo>
                <a:cubicBezTo>
                  <a:pt x="11156" y="14250"/>
                  <a:pt x="11187" y="14250"/>
                  <a:pt x="11218" y="14250"/>
                </a:cubicBezTo>
                <a:cubicBezTo>
                  <a:pt x="11250" y="14219"/>
                  <a:pt x="11250" y="14250"/>
                  <a:pt x="11281" y="14250"/>
                </a:cubicBezTo>
                <a:cubicBezTo>
                  <a:pt x="11281" y="14312"/>
                  <a:pt x="11250" y="14281"/>
                  <a:pt x="11218" y="14281"/>
                </a:cubicBezTo>
                <a:cubicBezTo>
                  <a:pt x="11218" y="14312"/>
                  <a:pt x="11187" y="14312"/>
                  <a:pt x="11187" y="14312"/>
                </a:cubicBezTo>
                <a:cubicBezTo>
                  <a:pt x="11156" y="14375"/>
                  <a:pt x="11125" y="14375"/>
                  <a:pt x="11062" y="14406"/>
                </a:cubicBezTo>
                <a:cubicBezTo>
                  <a:pt x="11062" y="14406"/>
                  <a:pt x="11062" y="14375"/>
                  <a:pt x="11062" y="14375"/>
                </a:cubicBezTo>
                <a:cubicBezTo>
                  <a:pt x="11062" y="14375"/>
                  <a:pt x="11062" y="14375"/>
                  <a:pt x="11062" y="14344"/>
                </a:cubicBezTo>
                <a:cubicBezTo>
                  <a:pt x="11062" y="14344"/>
                  <a:pt x="11062" y="14344"/>
                  <a:pt x="11062" y="14344"/>
                </a:cubicBezTo>
                <a:cubicBezTo>
                  <a:pt x="11093" y="14344"/>
                  <a:pt x="11125" y="14312"/>
                  <a:pt x="11156" y="14312"/>
                </a:cubicBezTo>
                <a:cubicBezTo>
                  <a:pt x="11156" y="14250"/>
                  <a:pt x="11125" y="14250"/>
                  <a:pt x="11093" y="14250"/>
                </a:cubicBezTo>
                <a:cubicBezTo>
                  <a:pt x="11062" y="14250"/>
                  <a:pt x="11062" y="14281"/>
                  <a:pt x="11031" y="14281"/>
                </a:cubicBezTo>
                <a:cubicBezTo>
                  <a:pt x="11031" y="14344"/>
                  <a:pt x="11062" y="14312"/>
                  <a:pt x="11062" y="14344"/>
                </a:cubicBezTo>
                <a:cubicBezTo>
                  <a:pt x="11062" y="14344"/>
                  <a:pt x="11062" y="14344"/>
                  <a:pt x="11062" y="14344"/>
                </a:cubicBezTo>
                <a:cubicBezTo>
                  <a:pt x="11062" y="14344"/>
                  <a:pt x="11031" y="14344"/>
                  <a:pt x="11031" y="14344"/>
                </a:cubicBezTo>
                <a:cubicBezTo>
                  <a:pt x="10968" y="14344"/>
                  <a:pt x="10937" y="14375"/>
                  <a:pt x="10968" y="14375"/>
                </a:cubicBezTo>
                <a:cubicBezTo>
                  <a:pt x="11000" y="14406"/>
                  <a:pt x="11031" y="14406"/>
                  <a:pt x="11062" y="14375"/>
                </a:cubicBezTo>
                <a:cubicBezTo>
                  <a:pt x="11062" y="14375"/>
                  <a:pt x="11062" y="14406"/>
                  <a:pt x="11062" y="14406"/>
                </a:cubicBezTo>
                <a:cubicBezTo>
                  <a:pt x="11093" y="14406"/>
                  <a:pt x="11093" y="14437"/>
                  <a:pt x="11093" y="14469"/>
                </a:cubicBezTo>
                <a:cubicBezTo>
                  <a:pt x="11125" y="14469"/>
                  <a:pt x="11156" y="14437"/>
                  <a:pt x="11187" y="14437"/>
                </a:cubicBezTo>
                <a:cubicBezTo>
                  <a:pt x="11218" y="14437"/>
                  <a:pt x="11218" y="14437"/>
                  <a:pt x="11250" y="14406"/>
                </a:cubicBezTo>
                <a:cubicBezTo>
                  <a:pt x="11281" y="14406"/>
                  <a:pt x="11281" y="14406"/>
                  <a:pt x="11281" y="14406"/>
                </a:cubicBezTo>
                <a:cubicBezTo>
                  <a:pt x="11312" y="14406"/>
                  <a:pt x="11312" y="14375"/>
                  <a:pt x="11312" y="14375"/>
                </a:cubicBezTo>
                <a:cubicBezTo>
                  <a:pt x="11312" y="14375"/>
                  <a:pt x="11312" y="14344"/>
                  <a:pt x="11312" y="14344"/>
                </a:cubicBezTo>
                <a:cubicBezTo>
                  <a:pt x="11343" y="14344"/>
                  <a:pt x="11375" y="14312"/>
                  <a:pt x="11406" y="14344"/>
                </a:cubicBezTo>
                <a:cubicBezTo>
                  <a:pt x="11406" y="14312"/>
                  <a:pt x="11406" y="14281"/>
                  <a:pt x="11406" y="14250"/>
                </a:cubicBezTo>
                <a:cubicBezTo>
                  <a:pt x="11375" y="14281"/>
                  <a:pt x="11312" y="14281"/>
                  <a:pt x="11312" y="14344"/>
                </a:cubicBezTo>
                <a:lnTo>
                  <a:pt x="11312" y="14344"/>
                </a:lnTo>
                <a:cubicBezTo>
                  <a:pt x="11312" y="14344"/>
                  <a:pt x="11312" y="14344"/>
                  <a:pt x="11312" y="14344"/>
                </a:cubicBezTo>
                <a:cubicBezTo>
                  <a:pt x="11281" y="14344"/>
                  <a:pt x="11281" y="14344"/>
                  <a:pt x="11281" y="14344"/>
                </a:cubicBezTo>
                <a:cubicBezTo>
                  <a:pt x="11281" y="14375"/>
                  <a:pt x="11250" y="14375"/>
                  <a:pt x="11250" y="14406"/>
                </a:cubicBezTo>
                <a:close/>
                <a:moveTo>
                  <a:pt x="2625" y="16594"/>
                </a:moveTo>
                <a:cubicBezTo>
                  <a:pt x="2593" y="16594"/>
                  <a:pt x="2562" y="16562"/>
                  <a:pt x="2531" y="16594"/>
                </a:cubicBezTo>
                <a:cubicBezTo>
                  <a:pt x="2562" y="16625"/>
                  <a:pt x="2593" y="16594"/>
                  <a:pt x="2625" y="16594"/>
                </a:cubicBezTo>
                <a:close/>
                <a:moveTo>
                  <a:pt x="11406" y="18219"/>
                </a:moveTo>
                <a:cubicBezTo>
                  <a:pt x="11406" y="18219"/>
                  <a:pt x="11375" y="18219"/>
                  <a:pt x="11375" y="18187"/>
                </a:cubicBezTo>
                <a:cubicBezTo>
                  <a:pt x="11375" y="18219"/>
                  <a:pt x="11343" y="18219"/>
                  <a:pt x="11343" y="18219"/>
                </a:cubicBezTo>
                <a:cubicBezTo>
                  <a:pt x="11343" y="18250"/>
                  <a:pt x="11375" y="18250"/>
                  <a:pt x="11375" y="18250"/>
                </a:cubicBezTo>
                <a:cubicBezTo>
                  <a:pt x="11406" y="18250"/>
                  <a:pt x="11406" y="18250"/>
                  <a:pt x="11406" y="18219"/>
                </a:cubicBezTo>
                <a:close/>
                <a:moveTo>
                  <a:pt x="11000" y="16812"/>
                </a:moveTo>
                <a:cubicBezTo>
                  <a:pt x="11000" y="16844"/>
                  <a:pt x="11000" y="16844"/>
                  <a:pt x="11000" y="16844"/>
                </a:cubicBezTo>
                <a:cubicBezTo>
                  <a:pt x="11031" y="16844"/>
                  <a:pt x="11031" y="16812"/>
                  <a:pt x="11031" y="16781"/>
                </a:cubicBezTo>
                <a:cubicBezTo>
                  <a:pt x="11062" y="16781"/>
                  <a:pt x="11062" y="16781"/>
                  <a:pt x="11062" y="16812"/>
                </a:cubicBezTo>
                <a:cubicBezTo>
                  <a:pt x="11093" y="16812"/>
                  <a:pt x="11093" y="16844"/>
                  <a:pt x="11125" y="16812"/>
                </a:cubicBezTo>
                <a:cubicBezTo>
                  <a:pt x="11156" y="16812"/>
                  <a:pt x="11125" y="16781"/>
                  <a:pt x="11093" y="16781"/>
                </a:cubicBezTo>
                <a:cubicBezTo>
                  <a:pt x="11062" y="16719"/>
                  <a:pt x="11000" y="16687"/>
                  <a:pt x="10937" y="16625"/>
                </a:cubicBezTo>
                <a:cubicBezTo>
                  <a:pt x="10937" y="16625"/>
                  <a:pt x="10937" y="16625"/>
                  <a:pt x="10937" y="16625"/>
                </a:cubicBezTo>
                <a:cubicBezTo>
                  <a:pt x="10937" y="16625"/>
                  <a:pt x="10937" y="16625"/>
                  <a:pt x="10937" y="16625"/>
                </a:cubicBezTo>
                <a:cubicBezTo>
                  <a:pt x="10937" y="16625"/>
                  <a:pt x="10937" y="16656"/>
                  <a:pt x="10937" y="16656"/>
                </a:cubicBezTo>
                <a:cubicBezTo>
                  <a:pt x="10968" y="16719"/>
                  <a:pt x="11031" y="16719"/>
                  <a:pt x="11031" y="16781"/>
                </a:cubicBezTo>
                <a:cubicBezTo>
                  <a:pt x="11031" y="16781"/>
                  <a:pt x="11000" y="16781"/>
                  <a:pt x="11000" y="16812"/>
                </a:cubicBezTo>
                <a:close/>
                <a:moveTo>
                  <a:pt x="3562" y="18656"/>
                </a:moveTo>
                <a:cubicBezTo>
                  <a:pt x="3593" y="18687"/>
                  <a:pt x="3593" y="18687"/>
                  <a:pt x="3625" y="18687"/>
                </a:cubicBezTo>
                <a:cubicBezTo>
                  <a:pt x="3625" y="18687"/>
                  <a:pt x="3625" y="18687"/>
                  <a:pt x="3625" y="18687"/>
                </a:cubicBezTo>
                <a:cubicBezTo>
                  <a:pt x="3625" y="18656"/>
                  <a:pt x="3593" y="18656"/>
                  <a:pt x="3562" y="18656"/>
                </a:cubicBezTo>
                <a:close/>
                <a:moveTo>
                  <a:pt x="3625" y="16781"/>
                </a:moveTo>
                <a:cubicBezTo>
                  <a:pt x="3593" y="16781"/>
                  <a:pt x="3593" y="16719"/>
                  <a:pt x="3562" y="16750"/>
                </a:cubicBezTo>
                <a:cubicBezTo>
                  <a:pt x="3562" y="16750"/>
                  <a:pt x="3562" y="16750"/>
                  <a:pt x="3562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31" y="16750"/>
                  <a:pt x="3531" y="16750"/>
                  <a:pt x="3531" y="16750"/>
                </a:cubicBezTo>
                <a:cubicBezTo>
                  <a:pt x="3562" y="16781"/>
                  <a:pt x="3593" y="16781"/>
                  <a:pt x="3625" y="16781"/>
                </a:cubicBezTo>
                <a:close/>
                <a:moveTo>
                  <a:pt x="2093" y="16750"/>
                </a:moveTo>
                <a:cubicBezTo>
                  <a:pt x="2125" y="16750"/>
                  <a:pt x="2187" y="16750"/>
                  <a:pt x="2218" y="16750"/>
                </a:cubicBezTo>
                <a:cubicBezTo>
                  <a:pt x="2187" y="16750"/>
                  <a:pt x="2125" y="16719"/>
                  <a:pt x="2093" y="16750"/>
                </a:cubicBezTo>
                <a:close/>
                <a:moveTo>
                  <a:pt x="10500" y="16250"/>
                </a:moveTo>
                <a:cubicBezTo>
                  <a:pt x="10468" y="16250"/>
                  <a:pt x="10468" y="16250"/>
                  <a:pt x="10468" y="16250"/>
                </a:cubicBezTo>
                <a:cubicBezTo>
                  <a:pt x="10468" y="16281"/>
                  <a:pt x="10500" y="16281"/>
                  <a:pt x="10500" y="16312"/>
                </a:cubicBezTo>
                <a:cubicBezTo>
                  <a:pt x="10500" y="16281"/>
                  <a:pt x="10531" y="16250"/>
                  <a:pt x="10500" y="16250"/>
                </a:cubicBezTo>
                <a:close/>
                <a:moveTo>
                  <a:pt x="2062" y="17719"/>
                </a:moveTo>
                <a:cubicBezTo>
                  <a:pt x="2093" y="17750"/>
                  <a:pt x="2125" y="17781"/>
                  <a:pt x="2156" y="17750"/>
                </a:cubicBezTo>
                <a:cubicBezTo>
                  <a:pt x="2156" y="17719"/>
                  <a:pt x="2125" y="17719"/>
                  <a:pt x="2062" y="17719"/>
                </a:cubicBezTo>
                <a:close/>
                <a:moveTo>
                  <a:pt x="9562" y="16812"/>
                </a:moveTo>
                <a:cubicBezTo>
                  <a:pt x="9562" y="16812"/>
                  <a:pt x="9593" y="16812"/>
                  <a:pt x="9593" y="16781"/>
                </a:cubicBezTo>
                <a:cubicBezTo>
                  <a:pt x="9625" y="16781"/>
                  <a:pt x="9593" y="16781"/>
                  <a:pt x="9593" y="16781"/>
                </a:cubicBezTo>
                <a:cubicBezTo>
                  <a:pt x="9593" y="16781"/>
                  <a:pt x="9562" y="16781"/>
                  <a:pt x="9562" y="16812"/>
                </a:cubicBezTo>
                <a:close/>
                <a:moveTo>
                  <a:pt x="1593" y="17844"/>
                </a:moveTo>
                <a:cubicBezTo>
                  <a:pt x="1593" y="17844"/>
                  <a:pt x="1593" y="17844"/>
                  <a:pt x="1593" y="17844"/>
                </a:cubicBezTo>
                <a:cubicBezTo>
                  <a:pt x="1625" y="17844"/>
                  <a:pt x="1687" y="17875"/>
                  <a:pt x="1718" y="17875"/>
                </a:cubicBezTo>
                <a:cubicBezTo>
                  <a:pt x="1906" y="17906"/>
                  <a:pt x="2125" y="17969"/>
                  <a:pt x="2343" y="18000"/>
                </a:cubicBezTo>
                <a:cubicBezTo>
                  <a:pt x="2125" y="17937"/>
                  <a:pt x="1937" y="17844"/>
                  <a:pt x="1718" y="17844"/>
                </a:cubicBezTo>
                <a:cubicBezTo>
                  <a:pt x="1687" y="17812"/>
                  <a:pt x="1625" y="17844"/>
                  <a:pt x="1593" y="17844"/>
                </a:cubicBezTo>
                <a:close/>
                <a:moveTo>
                  <a:pt x="7312" y="18969"/>
                </a:moveTo>
                <a:cubicBezTo>
                  <a:pt x="7312" y="18937"/>
                  <a:pt x="7281" y="18906"/>
                  <a:pt x="7250" y="18906"/>
                </a:cubicBezTo>
                <a:cubicBezTo>
                  <a:pt x="7187" y="18844"/>
                  <a:pt x="7093" y="18781"/>
                  <a:pt x="7000" y="18750"/>
                </a:cubicBezTo>
                <a:cubicBezTo>
                  <a:pt x="7062" y="18812"/>
                  <a:pt x="7156" y="18875"/>
                  <a:pt x="7218" y="18906"/>
                </a:cubicBezTo>
                <a:cubicBezTo>
                  <a:pt x="7250" y="18937"/>
                  <a:pt x="7281" y="18969"/>
                  <a:pt x="7312" y="18969"/>
                </a:cubicBezTo>
                <a:close/>
                <a:moveTo>
                  <a:pt x="4718" y="19156"/>
                </a:moveTo>
                <a:cubicBezTo>
                  <a:pt x="4718" y="19156"/>
                  <a:pt x="4687" y="19125"/>
                  <a:pt x="4656" y="19125"/>
                </a:cubicBezTo>
                <a:cubicBezTo>
                  <a:pt x="4656" y="19125"/>
                  <a:pt x="4656" y="19156"/>
                  <a:pt x="4656" y="19156"/>
                </a:cubicBezTo>
                <a:cubicBezTo>
                  <a:pt x="4656" y="19187"/>
                  <a:pt x="4687" y="19156"/>
                  <a:pt x="4718" y="19187"/>
                </a:cubicBezTo>
                <a:cubicBezTo>
                  <a:pt x="4750" y="19219"/>
                  <a:pt x="4781" y="19219"/>
                  <a:pt x="4812" y="19219"/>
                </a:cubicBezTo>
                <a:cubicBezTo>
                  <a:pt x="4781" y="19156"/>
                  <a:pt x="4750" y="19156"/>
                  <a:pt x="4718" y="19156"/>
                </a:cubicBezTo>
                <a:close/>
                <a:moveTo>
                  <a:pt x="11500" y="13719"/>
                </a:moveTo>
                <a:cubicBezTo>
                  <a:pt x="11437" y="13719"/>
                  <a:pt x="11406" y="13750"/>
                  <a:pt x="11406" y="13781"/>
                </a:cubicBezTo>
                <a:cubicBezTo>
                  <a:pt x="11406" y="13844"/>
                  <a:pt x="11375" y="13844"/>
                  <a:pt x="11343" y="13844"/>
                </a:cubicBezTo>
                <a:lnTo>
                  <a:pt x="11343" y="13844"/>
                </a:lnTo>
                <a:cubicBezTo>
                  <a:pt x="11312" y="13844"/>
                  <a:pt x="11312" y="13812"/>
                  <a:pt x="11312" y="13781"/>
                </a:cubicBezTo>
                <a:cubicBezTo>
                  <a:pt x="11343" y="13781"/>
                  <a:pt x="11375" y="13781"/>
                  <a:pt x="11406" y="13781"/>
                </a:cubicBezTo>
                <a:cubicBezTo>
                  <a:pt x="11468" y="13781"/>
                  <a:pt x="11468" y="13750"/>
                  <a:pt x="11500" y="13719"/>
                </a:cubicBezTo>
                <a:close/>
                <a:moveTo>
                  <a:pt x="4937" y="15062"/>
                </a:moveTo>
                <a:cubicBezTo>
                  <a:pt x="4937" y="15031"/>
                  <a:pt x="4937" y="15031"/>
                  <a:pt x="4906" y="15031"/>
                </a:cubicBezTo>
                <a:cubicBezTo>
                  <a:pt x="4875" y="15031"/>
                  <a:pt x="4875" y="15031"/>
                  <a:pt x="4875" y="15062"/>
                </a:cubicBezTo>
                <a:cubicBezTo>
                  <a:pt x="4875" y="15062"/>
                  <a:pt x="4875" y="15062"/>
                  <a:pt x="4875" y="15062"/>
                </a:cubicBezTo>
                <a:cubicBezTo>
                  <a:pt x="4906" y="15062"/>
                  <a:pt x="4937" y="15094"/>
                  <a:pt x="4937" y="15062"/>
                </a:cubicBezTo>
                <a:close/>
                <a:moveTo>
                  <a:pt x="9343" y="16500"/>
                </a:moveTo>
                <a:cubicBezTo>
                  <a:pt x="9343" y="16500"/>
                  <a:pt x="9343" y="16500"/>
                  <a:pt x="9343" y="16500"/>
                </a:cubicBezTo>
                <a:cubicBezTo>
                  <a:pt x="9312" y="16500"/>
                  <a:pt x="9312" y="16500"/>
                  <a:pt x="9312" y="16500"/>
                </a:cubicBezTo>
                <a:cubicBezTo>
                  <a:pt x="9312" y="16531"/>
                  <a:pt x="9312" y="16531"/>
                  <a:pt x="9312" y="16531"/>
                </a:cubicBezTo>
                <a:cubicBezTo>
                  <a:pt x="9343" y="16531"/>
                  <a:pt x="9343" y="16531"/>
                  <a:pt x="9343" y="16500"/>
                </a:cubicBezTo>
                <a:close/>
                <a:moveTo>
                  <a:pt x="10843" y="12656"/>
                </a:moveTo>
                <a:cubicBezTo>
                  <a:pt x="10812" y="12656"/>
                  <a:pt x="10781" y="12656"/>
                  <a:pt x="10750" y="12656"/>
                </a:cubicBezTo>
                <a:cubicBezTo>
                  <a:pt x="10781" y="12687"/>
                  <a:pt x="10781" y="12687"/>
                  <a:pt x="10812" y="12719"/>
                </a:cubicBezTo>
                <a:cubicBezTo>
                  <a:pt x="10812" y="12719"/>
                  <a:pt x="10843" y="12719"/>
                  <a:pt x="10843" y="12719"/>
                </a:cubicBezTo>
                <a:lnTo>
                  <a:pt x="10843" y="12719"/>
                </a:lnTo>
                <a:cubicBezTo>
                  <a:pt x="10875" y="12719"/>
                  <a:pt x="10906" y="12687"/>
                  <a:pt x="10906" y="12719"/>
                </a:cubicBezTo>
                <a:cubicBezTo>
                  <a:pt x="10906" y="12750"/>
                  <a:pt x="10875" y="12750"/>
                  <a:pt x="10843" y="12781"/>
                </a:cubicBezTo>
                <a:cubicBezTo>
                  <a:pt x="10843" y="12781"/>
                  <a:pt x="10843" y="12781"/>
                  <a:pt x="10812" y="12781"/>
                </a:cubicBezTo>
                <a:cubicBezTo>
                  <a:pt x="10812" y="12781"/>
                  <a:pt x="10781" y="12781"/>
                  <a:pt x="10781" y="12781"/>
                </a:cubicBezTo>
                <a:cubicBezTo>
                  <a:pt x="10812" y="12812"/>
                  <a:pt x="10781" y="12844"/>
                  <a:pt x="10781" y="12844"/>
                </a:cubicBezTo>
                <a:cubicBezTo>
                  <a:pt x="10750" y="12875"/>
                  <a:pt x="10750" y="12875"/>
                  <a:pt x="10781" y="12875"/>
                </a:cubicBezTo>
                <a:cubicBezTo>
                  <a:pt x="10781" y="12906"/>
                  <a:pt x="10812" y="12875"/>
                  <a:pt x="10812" y="12875"/>
                </a:cubicBezTo>
                <a:cubicBezTo>
                  <a:pt x="10843" y="12844"/>
                  <a:pt x="10843" y="12812"/>
                  <a:pt x="10906" y="12812"/>
                </a:cubicBezTo>
                <a:cubicBezTo>
                  <a:pt x="10968" y="12844"/>
                  <a:pt x="11000" y="12781"/>
                  <a:pt x="11062" y="12750"/>
                </a:cubicBezTo>
                <a:cubicBezTo>
                  <a:pt x="11093" y="12781"/>
                  <a:pt x="11000" y="12812"/>
                  <a:pt x="11062" y="12844"/>
                </a:cubicBezTo>
                <a:cubicBezTo>
                  <a:pt x="11000" y="12844"/>
                  <a:pt x="10937" y="12875"/>
                  <a:pt x="10906" y="12937"/>
                </a:cubicBezTo>
                <a:cubicBezTo>
                  <a:pt x="10968" y="13000"/>
                  <a:pt x="11031" y="12906"/>
                  <a:pt x="11062" y="12875"/>
                </a:cubicBezTo>
                <a:cubicBezTo>
                  <a:pt x="11125" y="12844"/>
                  <a:pt x="11156" y="12844"/>
                  <a:pt x="11218" y="12906"/>
                </a:cubicBezTo>
                <a:cubicBezTo>
                  <a:pt x="11156" y="12875"/>
                  <a:pt x="11093" y="12906"/>
                  <a:pt x="11062" y="12937"/>
                </a:cubicBezTo>
                <a:cubicBezTo>
                  <a:pt x="11000" y="12969"/>
                  <a:pt x="10968" y="13000"/>
                  <a:pt x="10906" y="13062"/>
                </a:cubicBezTo>
                <a:cubicBezTo>
                  <a:pt x="10843" y="13062"/>
                  <a:pt x="10812" y="13094"/>
                  <a:pt x="10781" y="13125"/>
                </a:cubicBezTo>
                <a:lnTo>
                  <a:pt x="10781" y="13125"/>
                </a:lnTo>
                <a:cubicBezTo>
                  <a:pt x="10843" y="13125"/>
                  <a:pt x="10843" y="13094"/>
                  <a:pt x="10906" y="13062"/>
                </a:cubicBezTo>
                <a:cubicBezTo>
                  <a:pt x="10937" y="13000"/>
                  <a:pt x="10937" y="12969"/>
                  <a:pt x="10875" y="12937"/>
                </a:cubicBezTo>
                <a:cubicBezTo>
                  <a:pt x="10843" y="12937"/>
                  <a:pt x="10875" y="12906"/>
                  <a:pt x="10875" y="12906"/>
                </a:cubicBezTo>
                <a:lnTo>
                  <a:pt x="10875" y="12906"/>
                </a:lnTo>
                <a:cubicBezTo>
                  <a:pt x="10937" y="12875"/>
                  <a:pt x="10937" y="12844"/>
                  <a:pt x="10906" y="12812"/>
                </a:cubicBezTo>
                <a:cubicBezTo>
                  <a:pt x="10906" y="12750"/>
                  <a:pt x="10937" y="12719"/>
                  <a:pt x="11000" y="12719"/>
                </a:cubicBezTo>
                <a:cubicBezTo>
                  <a:pt x="11000" y="12719"/>
                  <a:pt x="11031" y="12750"/>
                  <a:pt x="11031" y="12719"/>
                </a:cubicBezTo>
                <a:cubicBezTo>
                  <a:pt x="11031" y="12719"/>
                  <a:pt x="11031" y="12719"/>
                  <a:pt x="11031" y="12719"/>
                </a:cubicBezTo>
                <a:cubicBezTo>
                  <a:pt x="11031" y="12687"/>
                  <a:pt x="11000" y="12687"/>
                  <a:pt x="10968" y="12687"/>
                </a:cubicBezTo>
                <a:cubicBezTo>
                  <a:pt x="10937" y="12719"/>
                  <a:pt x="10906" y="12656"/>
                  <a:pt x="10843" y="12687"/>
                </a:cubicBezTo>
                <a:cubicBezTo>
                  <a:pt x="10843" y="12656"/>
                  <a:pt x="10875" y="12625"/>
                  <a:pt x="10843" y="12656"/>
                </a:cubicBezTo>
                <a:close/>
                <a:moveTo>
                  <a:pt x="375" y="18094"/>
                </a:moveTo>
                <a:cubicBezTo>
                  <a:pt x="437" y="18094"/>
                  <a:pt x="500" y="18094"/>
                  <a:pt x="593" y="18094"/>
                </a:cubicBezTo>
                <a:cubicBezTo>
                  <a:pt x="593" y="18094"/>
                  <a:pt x="593" y="18094"/>
                  <a:pt x="593" y="18094"/>
                </a:cubicBezTo>
                <a:cubicBezTo>
                  <a:pt x="531" y="18094"/>
                  <a:pt x="437" y="18094"/>
                  <a:pt x="375" y="18094"/>
                </a:cubicBezTo>
                <a:cubicBezTo>
                  <a:pt x="375" y="18094"/>
                  <a:pt x="375" y="18094"/>
                  <a:pt x="375" y="18094"/>
                </a:cubicBezTo>
                <a:close/>
                <a:moveTo>
                  <a:pt x="10625" y="13469"/>
                </a:moveTo>
                <a:cubicBezTo>
                  <a:pt x="10656" y="13469"/>
                  <a:pt x="10687" y="13437"/>
                  <a:pt x="10687" y="13406"/>
                </a:cubicBezTo>
                <a:cubicBezTo>
                  <a:pt x="10656" y="13406"/>
                  <a:pt x="10625" y="13437"/>
                  <a:pt x="10625" y="13469"/>
                </a:cubicBezTo>
                <a:cubicBezTo>
                  <a:pt x="10625" y="13469"/>
                  <a:pt x="10625" y="13469"/>
                  <a:pt x="10625" y="13469"/>
                </a:cubicBezTo>
                <a:close/>
                <a:moveTo>
                  <a:pt x="10937" y="13531"/>
                </a:moveTo>
                <a:cubicBezTo>
                  <a:pt x="10968" y="13531"/>
                  <a:pt x="11000" y="13500"/>
                  <a:pt x="11000" y="13469"/>
                </a:cubicBezTo>
                <a:cubicBezTo>
                  <a:pt x="10968" y="13469"/>
                  <a:pt x="10937" y="13500"/>
                  <a:pt x="10937" y="13531"/>
                </a:cubicBezTo>
                <a:close/>
                <a:moveTo>
                  <a:pt x="18250" y="15062"/>
                </a:moveTo>
                <a:cubicBezTo>
                  <a:pt x="18250" y="15062"/>
                  <a:pt x="18250" y="15062"/>
                  <a:pt x="18250" y="15062"/>
                </a:cubicBezTo>
                <a:cubicBezTo>
                  <a:pt x="18250" y="15062"/>
                  <a:pt x="18250" y="15062"/>
                  <a:pt x="18250" y="15062"/>
                </a:cubicBezTo>
                <a:lnTo>
                  <a:pt x="18250" y="15062"/>
                </a:lnTo>
                <a:cubicBezTo>
                  <a:pt x="18250" y="15062"/>
                  <a:pt x="18250" y="15062"/>
                  <a:pt x="18250" y="15062"/>
                </a:cubicBezTo>
                <a:cubicBezTo>
                  <a:pt x="18250" y="15062"/>
                  <a:pt x="18250" y="15062"/>
                  <a:pt x="18250" y="15062"/>
                </a:cubicBezTo>
                <a:close/>
                <a:moveTo>
                  <a:pt x="10656" y="13812"/>
                </a:moveTo>
                <a:cubicBezTo>
                  <a:pt x="10687" y="13812"/>
                  <a:pt x="10718" y="13750"/>
                  <a:pt x="10750" y="13719"/>
                </a:cubicBezTo>
                <a:cubicBezTo>
                  <a:pt x="10687" y="13750"/>
                  <a:pt x="10656" y="13750"/>
                  <a:pt x="10656" y="13812"/>
                </a:cubicBezTo>
                <a:close/>
                <a:moveTo>
                  <a:pt x="10562" y="13719"/>
                </a:moveTo>
                <a:cubicBezTo>
                  <a:pt x="10625" y="13719"/>
                  <a:pt x="10656" y="13687"/>
                  <a:pt x="10656" y="13625"/>
                </a:cubicBezTo>
                <a:cubicBezTo>
                  <a:pt x="10625" y="13625"/>
                  <a:pt x="10593" y="13656"/>
                  <a:pt x="10562" y="13719"/>
                </a:cubicBezTo>
                <a:close/>
                <a:moveTo>
                  <a:pt x="5343" y="18969"/>
                </a:moveTo>
                <a:cubicBezTo>
                  <a:pt x="5375" y="18969"/>
                  <a:pt x="5406" y="18969"/>
                  <a:pt x="5468" y="19000"/>
                </a:cubicBezTo>
                <a:cubicBezTo>
                  <a:pt x="5375" y="18937"/>
                  <a:pt x="5375" y="18937"/>
                  <a:pt x="5343" y="18969"/>
                </a:cubicBezTo>
                <a:close/>
                <a:moveTo>
                  <a:pt x="6906" y="17969"/>
                </a:moveTo>
                <a:cubicBezTo>
                  <a:pt x="6875" y="17906"/>
                  <a:pt x="6843" y="17875"/>
                  <a:pt x="6812" y="17875"/>
                </a:cubicBezTo>
                <a:cubicBezTo>
                  <a:pt x="6781" y="17875"/>
                  <a:pt x="6781" y="17906"/>
                  <a:pt x="6781" y="17906"/>
                </a:cubicBezTo>
                <a:cubicBezTo>
                  <a:pt x="6812" y="17937"/>
                  <a:pt x="6843" y="17937"/>
                  <a:pt x="6906" y="17969"/>
                </a:cubicBezTo>
                <a:close/>
                <a:moveTo>
                  <a:pt x="11062" y="13375"/>
                </a:moveTo>
                <a:cubicBezTo>
                  <a:pt x="11093" y="13375"/>
                  <a:pt x="11093" y="13344"/>
                  <a:pt x="11093" y="13344"/>
                </a:cubicBezTo>
                <a:cubicBezTo>
                  <a:pt x="11062" y="13312"/>
                  <a:pt x="11062" y="13344"/>
                  <a:pt x="11031" y="13344"/>
                </a:cubicBezTo>
                <a:cubicBezTo>
                  <a:pt x="11000" y="13406"/>
                  <a:pt x="11000" y="13437"/>
                  <a:pt x="11062" y="13437"/>
                </a:cubicBezTo>
                <a:cubicBezTo>
                  <a:pt x="11062" y="13406"/>
                  <a:pt x="11031" y="13406"/>
                  <a:pt x="11062" y="13375"/>
                </a:cubicBezTo>
                <a:close/>
                <a:moveTo>
                  <a:pt x="11062" y="13437"/>
                </a:moveTo>
                <a:cubicBezTo>
                  <a:pt x="11093" y="13469"/>
                  <a:pt x="11062" y="13469"/>
                  <a:pt x="11093" y="13500"/>
                </a:cubicBezTo>
                <a:cubicBezTo>
                  <a:pt x="11125" y="13469"/>
                  <a:pt x="11156" y="13469"/>
                  <a:pt x="11187" y="13531"/>
                </a:cubicBezTo>
                <a:cubicBezTo>
                  <a:pt x="11187" y="13531"/>
                  <a:pt x="11187" y="13531"/>
                  <a:pt x="11187" y="13531"/>
                </a:cubicBezTo>
                <a:cubicBezTo>
                  <a:pt x="11156" y="13562"/>
                  <a:pt x="11125" y="13562"/>
                  <a:pt x="11125" y="13562"/>
                </a:cubicBezTo>
                <a:cubicBezTo>
                  <a:pt x="11125" y="13594"/>
                  <a:pt x="11156" y="13594"/>
                  <a:pt x="11156" y="13594"/>
                </a:cubicBezTo>
                <a:cubicBezTo>
                  <a:pt x="11187" y="13625"/>
                  <a:pt x="11156" y="13687"/>
                  <a:pt x="11218" y="13687"/>
                </a:cubicBezTo>
                <a:cubicBezTo>
                  <a:pt x="11250" y="13687"/>
                  <a:pt x="11281" y="13656"/>
                  <a:pt x="11312" y="13687"/>
                </a:cubicBezTo>
                <a:cubicBezTo>
                  <a:pt x="11312" y="13719"/>
                  <a:pt x="11250" y="13719"/>
                  <a:pt x="11250" y="13750"/>
                </a:cubicBezTo>
                <a:cubicBezTo>
                  <a:pt x="11250" y="13750"/>
                  <a:pt x="11250" y="13781"/>
                  <a:pt x="11250" y="13781"/>
                </a:cubicBezTo>
                <a:cubicBezTo>
                  <a:pt x="11250" y="13781"/>
                  <a:pt x="11281" y="13781"/>
                  <a:pt x="11312" y="13781"/>
                </a:cubicBezTo>
                <a:cubicBezTo>
                  <a:pt x="11312" y="13719"/>
                  <a:pt x="11468" y="13594"/>
                  <a:pt x="11531" y="13594"/>
                </a:cubicBezTo>
                <a:cubicBezTo>
                  <a:pt x="11562" y="13656"/>
                  <a:pt x="11593" y="13656"/>
                  <a:pt x="11625" y="13656"/>
                </a:cubicBezTo>
                <a:lnTo>
                  <a:pt x="11625" y="13656"/>
                </a:lnTo>
                <a:cubicBezTo>
                  <a:pt x="11687" y="13625"/>
                  <a:pt x="11718" y="13594"/>
                  <a:pt x="11750" y="13562"/>
                </a:cubicBezTo>
                <a:cubicBezTo>
                  <a:pt x="11687" y="13562"/>
                  <a:pt x="11625" y="13625"/>
                  <a:pt x="11531" y="13594"/>
                </a:cubicBezTo>
                <a:cubicBezTo>
                  <a:pt x="11562" y="13531"/>
                  <a:pt x="11656" y="13531"/>
                  <a:pt x="11687" y="13500"/>
                </a:cubicBezTo>
                <a:cubicBezTo>
                  <a:pt x="11656" y="13469"/>
                  <a:pt x="11656" y="13500"/>
                  <a:pt x="11625" y="13500"/>
                </a:cubicBezTo>
                <a:cubicBezTo>
                  <a:pt x="11562" y="13500"/>
                  <a:pt x="11500" y="13562"/>
                  <a:pt x="11437" y="13562"/>
                </a:cubicBezTo>
                <a:cubicBezTo>
                  <a:pt x="11437" y="13562"/>
                  <a:pt x="11437" y="13562"/>
                  <a:pt x="11437" y="13562"/>
                </a:cubicBezTo>
                <a:cubicBezTo>
                  <a:pt x="11406" y="13531"/>
                  <a:pt x="11406" y="13531"/>
                  <a:pt x="11437" y="13500"/>
                </a:cubicBezTo>
                <a:cubicBezTo>
                  <a:pt x="11468" y="13500"/>
                  <a:pt x="11468" y="13469"/>
                  <a:pt x="11500" y="13469"/>
                </a:cubicBezTo>
                <a:cubicBezTo>
                  <a:pt x="11500" y="13469"/>
                  <a:pt x="11500" y="13437"/>
                  <a:pt x="11500" y="13437"/>
                </a:cubicBezTo>
                <a:cubicBezTo>
                  <a:pt x="11468" y="13469"/>
                  <a:pt x="11406" y="13437"/>
                  <a:pt x="11375" y="13500"/>
                </a:cubicBezTo>
                <a:cubicBezTo>
                  <a:pt x="11343" y="13500"/>
                  <a:pt x="11343" y="13531"/>
                  <a:pt x="11312" y="13500"/>
                </a:cubicBezTo>
                <a:cubicBezTo>
                  <a:pt x="11312" y="13500"/>
                  <a:pt x="11312" y="13469"/>
                  <a:pt x="11312" y="13469"/>
                </a:cubicBezTo>
                <a:cubicBezTo>
                  <a:pt x="11343" y="13437"/>
                  <a:pt x="11406" y="13406"/>
                  <a:pt x="11437" y="13344"/>
                </a:cubicBezTo>
                <a:cubicBezTo>
                  <a:pt x="11375" y="13375"/>
                  <a:pt x="11343" y="13375"/>
                  <a:pt x="11312" y="13375"/>
                </a:cubicBezTo>
                <a:cubicBezTo>
                  <a:pt x="11312" y="13375"/>
                  <a:pt x="11312" y="13375"/>
                  <a:pt x="11312" y="13375"/>
                </a:cubicBezTo>
                <a:cubicBezTo>
                  <a:pt x="11312" y="13406"/>
                  <a:pt x="11250" y="13500"/>
                  <a:pt x="11218" y="13469"/>
                </a:cubicBezTo>
                <a:cubicBezTo>
                  <a:pt x="11187" y="13469"/>
                  <a:pt x="11156" y="13469"/>
                  <a:pt x="11187" y="13406"/>
                </a:cubicBezTo>
                <a:cubicBezTo>
                  <a:pt x="11218" y="13406"/>
                  <a:pt x="11250" y="13344"/>
                  <a:pt x="11312" y="13375"/>
                </a:cubicBezTo>
                <a:lnTo>
                  <a:pt x="11312" y="13375"/>
                </a:lnTo>
                <a:cubicBezTo>
                  <a:pt x="11312" y="13375"/>
                  <a:pt x="11312" y="13375"/>
                  <a:pt x="11312" y="13375"/>
                </a:cubicBezTo>
                <a:cubicBezTo>
                  <a:pt x="11312" y="13344"/>
                  <a:pt x="11312" y="13312"/>
                  <a:pt x="11312" y="13312"/>
                </a:cubicBezTo>
                <a:cubicBezTo>
                  <a:pt x="11281" y="13281"/>
                  <a:pt x="11281" y="13312"/>
                  <a:pt x="11250" y="13312"/>
                </a:cubicBezTo>
                <a:cubicBezTo>
                  <a:pt x="11218" y="13344"/>
                  <a:pt x="11187" y="13375"/>
                  <a:pt x="11156" y="13406"/>
                </a:cubicBezTo>
                <a:lnTo>
                  <a:pt x="11156" y="13406"/>
                </a:lnTo>
                <a:cubicBezTo>
                  <a:pt x="11125" y="13406"/>
                  <a:pt x="11125" y="13469"/>
                  <a:pt x="11062" y="13437"/>
                </a:cubicBezTo>
                <a:close/>
                <a:moveTo>
                  <a:pt x="11156" y="13594"/>
                </a:moveTo>
                <a:cubicBezTo>
                  <a:pt x="11187" y="13594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187" y="13562"/>
                  <a:pt x="11187" y="13562"/>
                  <a:pt x="11187" y="13562"/>
                </a:cubicBezTo>
                <a:cubicBezTo>
                  <a:pt x="11218" y="13531"/>
                  <a:pt x="11250" y="13469"/>
                  <a:pt x="11281" y="13531"/>
                </a:cubicBezTo>
                <a:cubicBezTo>
                  <a:pt x="11312" y="13531"/>
                  <a:pt x="11312" y="13562"/>
                  <a:pt x="11312" y="13562"/>
                </a:cubicBezTo>
                <a:cubicBezTo>
                  <a:pt x="11281" y="13594"/>
                  <a:pt x="11250" y="13625"/>
                  <a:pt x="11187" y="13594"/>
                </a:cubicBezTo>
                <a:cubicBezTo>
                  <a:pt x="11187" y="13594"/>
                  <a:pt x="11187" y="13594"/>
                  <a:pt x="11156" y="13594"/>
                </a:cubicBezTo>
                <a:close/>
                <a:moveTo>
                  <a:pt x="7500" y="20562"/>
                </a:moveTo>
                <a:cubicBezTo>
                  <a:pt x="7500" y="20594"/>
                  <a:pt x="7531" y="20594"/>
                  <a:pt x="7562" y="20594"/>
                </a:cubicBezTo>
                <a:cubicBezTo>
                  <a:pt x="7562" y="20562"/>
                  <a:pt x="7531" y="20562"/>
                  <a:pt x="7500" y="20562"/>
                </a:cubicBezTo>
                <a:close/>
                <a:moveTo>
                  <a:pt x="7562" y="20594"/>
                </a:moveTo>
                <a:cubicBezTo>
                  <a:pt x="7562" y="20594"/>
                  <a:pt x="7562" y="20594"/>
                  <a:pt x="7562" y="20594"/>
                </a:cubicBezTo>
                <a:moveTo>
                  <a:pt x="10718" y="12844"/>
                </a:moveTo>
                <a:cubicBezTo>
                  <a:pt x="10687" y="12844"/>
                  <a:pt x="10656" y="12875"/>
                  <a:pt x="10656" y="12937"/>
                </a:cubicBezTo>
                <a:cubicBezTo>
                  <a:pt x="10687" y="12906"/>
                  <a:pt x="10718" y="12875"/>
                  <a:pt x="10718" y="12844"/>
                </a:cubicBezTo>
                <a:close/>
                <a:moveTo>
                  <a:pt x="10656" y="12937"/>
                </a:moveTo>
                <a:cubicBezTo>
                  <a:pt x="10625" y="12969"/>
                  <a:pt x="10593" y="13000"/>
                  <a:pt x="10531" y="13062"/>
                </a:cubicBezTo>
                <a:cubicBezTo>
                  <a:pt x="10531" y="13062"/>
                  <a:pt x="10500" y="13062"/>
                  <a:pt x="10500" y="13062"/>
                </a:cubicBezTo>
                <a:lnTo>
                  <a:pt x="10500" y="13062"/>
                </a:lnTo>
                <a:cubicBezTo>
                  <a:pt x="10468" y="13031"/>
                  <a:pt x="10500" y="13031"/>
                  <a:pt x="10500" y="13031"/>
                </a:cubicBezTo>
                <a:cubicBezTo>
                  <a:pt x="10531" y="13000"/>
                  <a:pt x="10500" y="13000"/>
                  <a:pt x="10468" y="12969"/>
                </a:cubicBezTo>
                <a:cubicBezTo>
                  <a:pt x="10562" y="13031"/>
                  <a:pt x="10593" y="12937"/>
                  <a:pt x="10656" y="12937"/>
                </a:cubicBezTo>
                <a:close/>
                <a:moveTo>
                  <a:pt x="12781" y="19312"/>
                </a:moveTo>
                <a:cubicBezTo>
                  <a:pt x="12750" y="19312"/>
                  <a:pt x="12687" y="19312"/>
                  <a:pt x="12656" y="19312"/>
                </a:cubicBezTo>
                <a:cubicBezTo>
                  <a:pt x="12750" y="19344"/>
                  <a:pt x="12750" y="19344"/>
                  <a:pt x="12781" y="19312"/>
                </a:cubicBezTo>
                <a:close/>
                <a:moveTo>
                  <a:pt x="10843" y="18437"/>
                </a:moveTo>
                <a:cubicBezTo>
                  <a:pt x="10906" y="18469"/>
                  <a:pt x="10906" y="18469"/>
                  <a:pt x="11000" y="18469"/>
                </a:cubicBezTo>
                <a:cubicBezTo>
                  <a:pt x="10937" y="18437"/>
                  <a:pt x="10906" y="18406"/>
                  <a:pt x="10843" y="18437"/>
                </a:cubicBezTo>
                <a:close/>
                <a:moveTo>
                  <a:pt x="7468" y="20344"/>
                </a:moveTo>
                <a:cubicBezTo>
                  <a:pt x="7468" y="20406"/>
                  <a:pt x="7500" y="20437"/>
                  <a:pt x="7562" y="20437"/>
                </a:cubicBezTo>
                <a:cubicBezTo>
                  <a:pt x="7531" y="20406"/>
                  <a:pt x="7500" y="20375"/>
                  <a:pt x="7468" y="20344"/>
                </a:cubicBezTo>
                <a:close/>
                <a:moveTo>
                  <a:pt x="11500" y="13844"/>
                </a:moveTo>
                <a:cubicBezTo>
                  <a:pt x="11500" y="13844"/>
                  <a:pt x="11468" y="13844"/>
                  <a:pt x="11437" y="13875"/>
                </a:cubicBezTo>
                <a:cubicBezTo>
                  <a:pt x="11437" y="13875"/>
                  <a:pt x="11468" y="13875"/>
                  <a:pt x="11468" y="13875"/>
                </a:cubicBezTo>
                <a:cubicBezTo>
                  <a:pt x="11500" y="13875"/>
                  <a:pt x="11531" y="13875"/>
                  <a:pt x="11531" y="13844"/>
                </a:cubicBezTo>
                <a:cubicBezTo>
                  <a:pt x="11531" y="13844"/>
                  <a:pt x="11531" y="13812"/>
                  <a:pt x="11500" y="13844"/>
                </a:cubicBezTo>
                <a:close/>
                <a:moveTo>
                  <a:pt x="10593" y="13500"/>
                </a:moveTo>
                <a:cubicBezTo>
                  <a:pt x="10562" y="13500"/>
                  <a:pt x="10531" y="13531"/>
                  <a:pt x="10531" y="13594"/>
                </a:cubicBezTo>
                <a:cubicBezTo>
                  <a:pt x="10562" y="13562"/>
                  <a:pt x="10593" y="13562"/>
                  <a:pt x="10593" y="13500"/>
                </a:cubicBezTo>
                <a:close/>
                <a:moveTo>
                  <a:pt x="11218" y="13812"/>
                </a:moveTo>
                <a:cubicBezTo>
                  <a:pt x="11187" y="13812"/>
                  <a:pt x="11156" y="13844"/>
                  <a:pt x="11156" y="13875"/>
                </a:cubicBezTo>
                <a:cubicBezTo>
                  <a:pt x="11187" y="13875"/>
                  <a:pt x="11218" y="13844"/>
                  <a:pt x="11218" y="13812"/>
                </a:cubicBezTo>
                <a:close/>
                <a:moveTo>
                  <a:pt x="9000" y="15437"/>
                </a:moveTo>
                <a:cubicBezTo>
                  <a:pt x="9000" y="15406"/>
                  <a:pt x="8968" y="15406"/>
                  <a:pt x="8906" y="15437"/>
                </a:cubicBezTo>
                <a:cubicBezTo>
                  <a:pt x="8937" y="15437"/>
                  <a:pt x="8937" y="15437"/>
                  <a:pt x="8968" y="15437"/>
                </a:cubicBezTo>
                <a:cubicBezTo>
                  <a:pt x="9000" y="15469"/>
                  <a:pt x="9031" y="15469"/>
                  <a:pt x="9000" y="15437"/>
                </a:cubicBezTo>
                <a:close/>
                <a:moveTo>
                  <a:pt x="2250" y="18594"/>
                </a:moveTo>
                <a:cubicBezTo>
                  <a:pt x="2218" y="18562"/>
                  <a:pt x="2187" y="18562"/>
                  <a:pt x="2156" y="18562"/>
                </a:cubicBezTo>
                <a:cubicBezTo>
                  <a:pt x="2093" y="18500"/>
                  <a:pt x="2031" y="18531"/>
                  <a:pt x="2000" y="18500"/>
                </a:cubicBezTo>
                <a:cubicBezTo>
                  <a:pt x="2000" y="18500"/>
                  <a:pt x="1968" y="18500"/>
                  <a:pt x="1968" y="18500"/>
                </a:cubicBezTo>
                <a:lnTo>
                  <a:pt x="1968" y="18500"/>
                </a:lnTo>
                <a:cubicBezTo>
                  <a:pt x="1968" y="18500"/>
                  <a:pt x="1968" y="18531"/>
                  <a:pt x="1968" y="18531"/>
                </a:cubicBezTo>
                <a:cubicBezTo>
                  <a:pt x="2031" y="18562"/>
                  <a:pt x="2093" y="18562"/>
                  <a:pt x="2125" y="18562"/>
                </a:cubicBezTo>
                <a:cubicBezTo>
                  <a:pt x="2156" y="18625"/>
                  <a:pt x="2218" y="18594"/>
                  <a:pt x="2250" y="18594"/>
                </a:cubicBezTo>
                <a:close/>
                <a:moveTo>
                  <a:pt x="4718" y="18937"/>
                </a:moveTo>
                <a:cubicBezTo>
                  <a:pt x="4656" y="18906"/>
                  <a:pt x="4625" y="18875"/>
                  <a:pt x="4562" y="18906"/>
                </a:cubicBezTo>
                <a:cubicBezTo>
                  <a:pt x="4625" y="18937"/>
                  <a:pt x="4656" y="18937"/>
                  <a:pt x="4718" y="18937"/>
                </a:cubicBezTo>
                <a:close/>
                <a:moveTo>
                  <a:pt x="9343" y="16156"/>
                </a:moveTo>
                <a:cubicBezTo>
                  <a:pt x="9343" y="16156"/>
                  <a:pt x="9343" y="16125"/>
                  <a:pt x="9343" y="16125"/>
                </a:cubicBezTo>
                <a:cubicBezTo>
                  <a:pt x="9312" y="16125"/>
                  <a:pt x="9250" y="16094"/>
                  <a:pt x="9218" y="16125"/>
                </a:cubicBezTo>
                <a:cubicBezTo>
                  <a:pt x="9250" y="16156"/>
                  <a:pt x="9281" y="16125"/>
                  <a:pt x="9312" y="16156"/>
                </a:cubicBezTo>
                <a:cubicBezTo>
                  <a:pt x="9343" y="16187"/>
                  <a:pt x="9343" y="16156"/>
                  <a:pt x="9343" y="16156"/>
                </a:cubicBezTo>
                <a:close/>
                <a:moveTo>
                  <a:pt x="2906" y="17062"/>
                </a:moveTo>
                <a:cubicBezTo>
                  <a:pt x="2968" y="17094"/>
                  <a:pt x="3000" y="17125"/>
                  <a:pt x="3031" y="17094"/>
                </a:cubicBezTo>
                <a:cubicBezTo>
                  <a:pt x="3000" y="17062"/>
                  <a:pt x="2968" y="17062"/>
                  <a:pt x="2906" y="17062"/>
                </a:cubicBezTo>
                <a:close/>
                <a:moveTo>
                  <a:pt x="7250" y="19500"/>
                </a:moveTo>
                <a:cubicBezTo>
                  <a:pt x="7281" y="19562"/>
                  <a:pt x="7312" y="19594"/>
                  <a:pt x="7375" y="19594"/>
                </a:cubicBezTo>
                <a:cubicBezTo>
                  <a:pt x="7343" y="19562"/>
                  <a:pt x="7312" y="19531"/>
                  <a:pt x="7250" y="19500"/>
                </a:cubicBezTo>
                <a:close/>
                <a:moveTo>
                  <a:pt x="10750" y="13156"/>
                </a:moveTo>
                <a:cubicBezTo>
                  <a:pt x="10718" y="13187"/>
                  <a:pt x="10687" y="13125"/>
                  <a:pt x="10656" y="13156"/>
                </a:cubicBezTo>
                <a:cubicBezTo>
                  <a:pt x="10687" y="13187"/>
                  <a:pt x="10718" y="13187"/>
                  <a:pt x="10687" y="13219"/>
                </a:cubicBezTo>
                <a:cubicBezTo>
                  <a:pt x="10750" y="13219"/>
                  <a:pt x="10750" y="13187"/>
                  <a:pt x="10750" y="13156"/>
                </a:cubicBezTo>
                <a:close/>
                <a:moveTo>
                  <a:pt x="10687" y="13219"/>
                </a:moveTo>
                <a:cubicBezTo>
                  <a:pt x="10656" y="13219"/>
                  <a:pt x="10625" y="13250"/>
                  <a:pt x="10625" y="13281"/>
                </a:cubicBezTo>
                <a:lnTo>
                  <a:pt x="10625" y="13281"/>
                </a:lnTo>
                <a:cubicBezTo>
                  <a:pt x="10625" y="13312"/>
                  <a:pt x="10687" y="13312"/>
                  <a:pt x="10750" y="13312"/>
                </a:cubicBezTo>
                <a:cubicBezTo>
                  <a:pt x="10687" y="13281"/>
                  <a:pt x="10687" y="13250"/>
                  <a:pt x="10687" y="13219"/>
                </a:cubicBezTo>
                <a:close/>
                <a:moveTo>
                  <a:pt x="10937" y="13906"/>
                </a:moveTo>
                <a:cubicBezTo>
                  <a:pt x="10937" y="13875"/>
                  <a:pt x="10937" y="13875"/>
                  <a:pt x="10906" y="13875"/>
                </a:cubicBezTo>
                <a:cubicBezTo>
                  <a:pt x="10875" y="13906"/>
                  <a:pt x="10843" y="13937"/>
                  <a:pt x="10812" y="13969"/>
                </a:cubicBezTo>
                <a:cubicBezTo>
                  <a:pt x="10906" y="14000"/>
                  <a:pt x="10906" y="13906"/>
                  <a:pt x="10937" y="13906"/>
                </a:cubicBezTo>
                <a:close/>
                <a:moveTo>
                  <a:pt x="31" y="18625"/>
                </a:moveTo>
                <a:cubicBezTo>
                  <a:pt x="31" y="18656"/>
                  <a:pt x="62" y="18625"/>
                  <a:pt x="93" y="18625"/>
                </a:cubicBezTo>
                <a:cubicBezTo>
                  <a:pt x="125" y="18625"/>
                  <a:pt x="156" y="18625"/>
                  <a:pt x="218" y="18625"/>
                </a:cubicBezTo>
                <a:cubicBezTo>
                  <a:pt x="218" y="18625"/>
                  <a:pt x="218" y="18625"/>
                  <a:pt x="218" y="18625"/>
                </a:cubicBezTo>
                <a:cubicBezTo>
                  <a:pt x="156" y="18594"/>
                  <a:pt x="125" y="18594"/>
                  <a:pt x="62" y="18594"/>
                </a:cubicBezTo>
                <a:cubicBezTo>
                  <a:pt x="62" y="18594"/>
                  <a:pt x="31" y="18594"/>
                  <a:pt x="31" y="18625"/>
                </a:cubicBezTo>
                <a:close/>
                <a:moveTo>
                  <a:pt x="10531" y="13187"/>
                </a:moveTo>
                <a:cubicBezTo>
                  <a:pt x="10531" y="13219"/>
                  <a:pt x="10562" y="13187"/>
                  <a:pt x="10562" y="13187"/>
                </a:cubicBezTo>
                <a:cubicBezTo>
                  <a:pt x="10593" y="13187"/>
                  <a:pt x="10593" y="13187"/>
                  <a:pt x="10593" y="13156"/>
                </a:cubicBezTo>
                <a:cubicBezTo>
                  <a:pt x="10593" y="13125"/>
                  <a:pt x="10562" y="13125"/>
                  <a:pt x="10531" y="13094"/>
                </a:cubicBezTo>
                <a:cubicBezTo>
                  <a:pt x="10531" y="13125"/>
                  <a:pt x="10562" y="13156"/>
                  <a:pt x="10531" y="13156"/>
                </a:cubicBezTo>
                <a:cubicBezTo>
                  <a:pt x="10531" y="13187"/>
                  <a:pt x="10531" y="13187"/>
                  <a:pt x="10531" y="13187"/>
                </a:cubicBezTo>
                <a:close/>
                <a:moveTo>
                  <a:pt x="10531" y="13375"/>
                </a:moveTo>
                <a:cubicBezTo>
                  <a:pt x="10531" y="13375"/>
                  <a:pt x="10531" y="13375"/>
                  <a:pt x="10531" y="13375"/>
                </a:cubicBezTo>
                <a:cubicBezTo>
                  <a:pt x="10531" y="13344"/>
                  <a:pt x="10593" y="13344"/>
                  <a:pt x="10593" y="13281"/>
                </a:cubicBezTo>
                <a:cubicBezTo>
                  <a:pt x="10562" y="13312"/>
                  <a:pt x="10562" y="13344"/>
                  <a:pt x="10531" y="13344"/>
                </a:cubicBezTo>
                <a:cubicBezTo>
                  <a:pt x="10531" y="13344"/>
                  <a:pt x="10531" y="13375"/>
                  <a:pt x="10531" y="13375"/>
                </a:cubicBezTo>
                <a:close/>
                <a:moveTo>
                  <a:pt x="1750" y="16906"/>
                </a:moveTo>
                <a:cubicBezTo>
                  <a:pt x="1781" y="16906"/>
                  <a:pt x="1781" y="16875"/>
                  <a:pt x="1812" y="16844"/>
                </a:cubicBezTo>
                <a:cubicBezTo>
                  <a:pt x="1812" y="16844"/>
                  <a:pt x="1843" y="16844"/>
                  <a:pt x="1843" y="16844"/>
                </a:cubicBezTo>
                <a:cubicBezTo>
                  <a:pt x="1843" y="16844"/>
                  <a:pt x="1843" y="16844"/>
                  <a:pt x="1875" y="16844"/>
                </a:cubicBezTo>
                <a:cubicBezTo>
                  <a:pt x="1875" y="16875"/>
                  <a:pt x="1875" y="16875"/>
                  <a:pt x="1906" y="16844"/>
                </a:cubicBezTo>
                <a:cubicBezTo>
                  <a:pt x="1937" y="16844"/>
                  <a:pt x="1937" y="16844"/>
                  <a:pt x="1968" y="16844"/>
                </a:cubicBezTo>
                <a:cubicBezTo>
                  <a:pt x="2156" y="16875"/>
                  <a:pt x="2343" y="16906"/>
                  <a:pt x="2500" y="16937"/>
                </a:cubicBezTo>
                <a:cubicBezTo>
                  <a:pt x="2531" y="16969"/>
                  <a:pt x="2562" y="16969"/>
                  <a:pt x="2593" y="16937"/>
                </a:cubicBezTo>
                <a:cubicBezTo>
                  <a:pt x="2593" y="16937"/>
                  <a:pt x="2625" y="16937"/>
                  <a:pt x="2656" y="16937"/>
                </a:cubicBezTo>
                <a:cubicBezTo>
                  <a:pt x="2656" y="16937"/>
                  <a:pt x="2656" y="16937"/>
                  <a:pt x="2687" y="16937"/>
                </a:cubicBezTo>
                <a:cubicBezTo>
                  <a:pt x="2687" y="16937"/>
                  <a:pt x="2718" y="16937"/>
                  <a:pt x="2750" y="16969"/>
                </a:cubicBezTo>
                <a:cubicBezTo>
                  <a:pt x="2906" y="17000"/>
                  <a:pt x="3062" y="17031"/>
                  <a:pt x="3187" y="17062"/>
                </a:cubicBezTo>
                <a:cubicBezTo>
                  <a:pt x="3375" y="17094"/>
                  <a:pt x="3562" y="17125"/>
                  <a:pt x="3750" y="17187"/>
                </a:cubicBezTo>
                <a:cubicBezTo>
                  <a:pt x="3843" y="17219"/>
                  <a:pt x="3937" y="17250"/>
                  <a:pt x="4062" y="17250"/>
                </a:cubicBezTo>
                <a:cubicBezTo>
                  <a:pt x="4156" y="17281"/>
                  <a:pt x="4281" y="17312"/>
                  <a:pt x="4375" y="17375"/>
                </a:cubicBezTo>
                <a:cubicBezTo>
                  <a:pt x="4375" y="17375"/>
                  <a:pt x="4375" y="17375"/>
                  <a:pt x="4343" y="17375"/>
                </a:cubicBezTo>
                <a:cubicBezTo>
                  <a:pt x="4343" y="17375"/>
                  <a:pt x="4343" y="17375"/>
                  <a:pt x="4343" y="17375"/>
                </a:cubicBezTo>
                <a:cubicBezTo>
                  <a:pt x="4281" y="17344"/>
                  <a:pt x="4187" y="17312"/>
                  <a:pt x="4062" y="17344"/>
                </a:cubicBezTo>
                <a:cubicBezTo>
                  <a:pt x="4156" y="17344"/>
                  <a:pt x="4250" y="17406"/>
                  <a:pt x="4343" y="17406"/>
                </a:cubicBezTo>
                <a:cubicBezTo>
                  <a:pt x="4343" y="17437"/>
                  <a:pt x="4375" y="17437"/>
                  <a:pt x="4406" y="17437"/>
                </a:cubicBezTo>
                <a:cubicBezTo>
                  <a:pt x="4468" y="17469"/>
                  <a:pt x="4562" y="17469"/>
                  <a:pt x="4625" y="17500"/>
                </a:cubicBezTo>
                <a:cubicBezTo>
                  <a:pt x="4906" y="17625"/>
                  <a:pt x="5218" y="17719"/>
                  <a:pt x="5531" y="17812"/>
                </a:cubicBezTo>
                <a:cubicBezTo>
                  <a:pt x="5562" y="17812"/>
                  <a:pt x="5625" y="17844"/>
                  <a:pt x="5656" y="17812"/>
                </a:cubicBezTo>
                <a:cubicBezTo>
                  <a:pt x="5625" y="17781"/>
                  <a:pt x="5593" y="17781"/>
                  <a:pt x="5562" y="17750"/>
                </a:cubicBezTo>
                <a:cubicBezTo>
                  <a:pt x="5500" y="17750"/>
                  <a:pt x="5437" y="17719"/>
                  <a:pt x="5375" y="17719"/>
                </a:cubicBezTo>
                <a:cubicBezTo>
                  <a:pt x="5062" y="17625"/>
                  <a:pt x="4781" y="17500"/>
                  <a:pt x="4468" y="17437"/>
                </a:cubicBezTo>
                <a:cubicBezTo>
                  <a:pt x="4437" y="17406"/>
                  <a:pt x="4437" y="17406"/>
                  <a:pt x="4406" y="17375"/>
                </a:cubicBezTo>
                <a:cubicBezTo>
                  <a:pt x="4437" y="17375"/>
                  <a:pt x="4468" y="17375"/>
                  <a:pt x="4468" y="17375"/>
                </a:cubicBezTo>
                <a:cubicBezTo>
                  <a:pt x="4656" y="17437"/>
                  <a:pt x="4875" y="17500"/>
                  <a:pt x="5062" y="17562"/>
                </a:cubicBezTo>
                <a:cubicBezTo>
                  <a:pt x="5187" y="17594"/>
                  <a:pt x="5312" y="17656"/>
                  <a:pt x="5437" y="17656"/>
                </a:cubicBezTo>
                <a:cubicBezTo>
                  <a:pt x="5625" y="17687"/>
                  <a:pt x="5812" y="17750"/>
                  <a:pt x="5968" y="17844"/>
                </a:cubicBezTo>
                <a:cubicBezTo>
                  <a:pt x="5968" y="17844"/>
                  <a:pt x="6000" y="17875"/>
                  <a:pt x="6000" y="17844"/>
                </a:cubicBezTo>
                <a:cubicBezTo>
                  <a:pt x="6000" y="17812"/>
                  <a:pt x="6000" y="17812"/>
                  <a:pt x="5968" y="17812"/>
                </a:cubicBezTo>
                <a:cubicBezTo>
                  <a:pt x="5875" y="17750"/>
                  <a:pt x="5781" y="17719"/>
                  <a:pt x="5656" y="17687"/>
                </a:cubicBezTo>
                <a:cubicBezTo>
                  <a:pt x="5500" y="17625"/>
                  <a:pt x="5375" y="17594"/>
                  <a:pt x="5218" y="17562"/>
                </a:cubicBezTo>
                <a:cubicBezTo>
                  <a:pt x="5062" y="17500"/>
                  <a:pt x="4875" y="17437"/>
                  <a:pt x="4718" y="17406"/>
                </a:cubicBezTo>
                <a:cubicBezTo>
                  <a:pt x="4500" y="17312"/>
                  <a:pt x="4281" y="17250"/>
                  <a:pt x="4062" y="17187"/>
                </a:cubicBezTo>
                <a:cubicBezTo>
                  <a:pt x="3812" y="17125"/>
                  <a:pt x="3562" y="17062"/>
                  <a:pt x="3312" y="17000"/>
                </a:cubicBezTo>
                <a:cubicBezTo>
                  <a:pt x="3062" y="16937"/>
                  <a:pt x="2812" y="16875"/>
                  <a:pt x="2562" y="16875"/>
                </a:cubicBezTo>
                <a:cubicBezTo>
                  <a:pt x="2312" y="16844"/>
                  <a:pt x="2093" y="16781"/>
                  <a:pt x="1875" y="16812"/>
                </a:cubicBezTo>
                <a:cubicBezTo>
                  <a:pt x="1843" y="16812"/>
                  <a:pt x="1812" y="16812"/>
                  <a:pt x="1812" y="16812"/>
                </a:cubicBezTo>
                <a:cubicBezTo>
                  <a:pt x="1750" y="16844"/>
                  <a:pt x="1750" y="16875"/>
                  <a:pt x="1718" y="16875"/>
                </a:cubicBezTo>
                <a:cubicBezTo>
                  <a:pt x="1718" y="16875"/>
                  <a:pt x="1718" y="16906"/>
                  <a:pt x="1750" y="16906"/>
                </a:cubicBezTo>
                <a:close/>
                <a:moveTo>
                  <a:pt x="10718" y="14250"/>
                </a:moveTo>
                <a:cubicBezTo>
                  <a:pt x="10781" y="14281"/>
                  <a:pt x="10781" y="14250"/>
                  <a:pt x="10812" y="14187"/>
                </a:cubicBezTo>
                <a:cubicBezTo>
                  <a:pt x="10750" y="14219"/>
                  <a:pt x="10718" y="14219"/>
                  <a:pt x="10687" y="14250"/>
                </a:cubicBezTo>
                <a:cubicBezTo>
                  <a:pt x="10687" y="14250"/>
                  <a:pt x="10718" y="14250"/>
                  <a:pt x="10718" y="14250"/>
                </a:cubicBezTo>
                <a:close/>
                <a:moveTo>
                  <a:pt x="6656" y="18125"/>
                </a:moveTo>
                <a:cubicBezTo>
                  <a:pt x="6656" y="18125"/>
                  <a:pt x="6687" y="18125"/>
                  <a:pt x="6687" y="18094"/>
                </a:cubicBezTo>
                <a:cubicBezTo>
                  <a:pt x="6687" y="18062"/>
                  <a:pt x="6656" y="18062"/>
                  <a:pt x="6625" y="18062"/>
                </a:cubicBezTo>
                <a:cubicBezTo>
                  <a:pt x="6593" y="18062"/>
                  <a:pt x="6593" y="18062"/>
                  <a:pt x="6593" y="18062"/>
                </a:cubicBezTo>
                <a:cubicBezTo>
                  <a:pt x="6593" y="18125"/>
                  <a:pt x="6625" y="18094"/>
                  <a:pt x="6656" y="18125"/>
                </a:cubicBezTo>
                <a:close/>
                <a:moveTo>
                  <a:pt x="3718" y="17656"/>
                </a:moveTo>
                <a:cubicBezTo>
                  <a:pt x="3656" y="17625"/>
                  <a:pt x="3625" y="17625"/>
                  <a:pt x="3562" y="17625"/>
                </a:cubicBezTo>
                <a:cubicBezTo>
                  <a:pt x="3593" y="17656"/>
                  <a:pt x="3656" y="17656"/>
                  <a:pt x="3718" y="17656"/>
                </a:cubicBezTo>
                <a:close/>
                <a:moveTo>
                  <a:pt x="10531" y="12750"/>
                </a:moveTo>
                <a:cubicBezTo>
                  <a:pt x="10531" y="12750"/>
                  <a:pt x="10531" y="12750"/>
                  <a:pt x="10531" y="12750"/>
                </a:cubicBezTo>
                <a:cubicBezTo>
                  <a:pt x="10531" y="12750"/>
                  <a:pt x="10531" y="12750"/>
                  <a:pt x="10531" y="12750"/>
                </a:cubicBezTo>
                <a:close/>
                <a:moveTo>
                  <a:pt x="6687" y="18219"/>
                </a:moveTo>
                <a:cubicBezTo>
                  <a:pt x="6718" y="18219"/>
                  <a:pt x="6750" y="18281"/>
                  <a:pt x="6781" y="18250"/>
                </a:cubicBezTo>
                <a:cubicBezTo>
                  <a:pt x="6750" y="18219"/>
                  <a:pt x="6718" y="18187"/>
                  <a:pt x="6687" y="18219"/>
                </a:cubicBezTo>
                <a:close/>
                <a:moveTo>
                  <a:pt x="6343" y="17781"/>
                </a:moveTo>
                <a:cubicBezTo>
                  <a:pt x="6406" y="17844"/>
                  <a:pt x="6468" y="17875"/>
                  <a:pt x="6531" y="17875"/>
                </a:cubicBezTo>
                <a:cubicBezTo>
                  <a:pt x="6531" y="17875"/>
                  <a:pt x="6531" y="17875"/>
                  <a:pt x="6531" y="17875"/>
                </a:cubicBezTo>
                <a:cubicBezTo>
                  <a:pt x="6562" y="17906"/>
                  <a:pt x="6593" y="17906"/>
                  <a:pt x="6656" y="17937"/>
                </a:cubicBezTo>
                <a:cubicBezTo>
                  <a:pt x="6656" y="17906"/>
                  <a:pt x="6625" y="17875"/>
                  <a:pt x="6625" y="17844"/>
                </a:cubicBezTo>
                <a:cubicBezTo>
                  <a:pt x="6593" y="17812"/>
                  <a:pt x="6531" y="17781"/>
                  <a:pt x="6468" y="17750"/>
                </a:cubicBezTo>
                <a:cubicBezTo>
                  <a:pt x="6468" y="17750"/>
                  <a:pt x="6437" y="17750"/>
                  <a:pt x="6437" y="17719"/>
                </a:cubicBezTo>
                <a:cubicBezTo>
                  <a:pt x="6437" y="17719"/>
                  <a:pt x="6468" y="17719"/>
                  <a:pt x="6468" y="17719"/>
                </a:cubicBezTo>
                <a:cubicBezTo>
                  <a:pt x="6562" y="17781"/>
                  <a:pt x="6687" y="17781"/>
                  <a:pt x="6750" y="17875"/>
                </a:cubicBezTo>
                <a:lnTo>
                  <a:pt x="6750" y="17875"/>
                </a:lnTo>
                <a:cubicBezTo>
                  <a:pt x="6687" y="17906"/>
                  <a:pt x="6687" y="17844"/>
                  <a:pt x="6625" y="17844"/>
                </a:cubicBezTo>
                <a:cubicBezTo>
                  <a:pt x="6593" y="17844"/>
                  <a:pt x="6562" y="17844"/>
                  <a:pt x="6562" y="17844"/>
                </a:cubicBezTo>
                <a:cubicBezTo>
                  <a:pt x="6500" y="17812"/>
                  <a:pt x="6437" y="17781"/>
                  <a:pt x="6343" y="17781"/>
                </a:cubicBezTo>
                <a:close/>
                <a:moveTo>
                  <a:pt x="9812" y="13219"/>
                </a:moveTo>
                <a:cubicBezTo>
                  <a:pt x="9781" y="13250"/>
                  <a:pt x="9750" y="13250"/>
                  <a:pt x="9718" y="13250"/>
                </a:cubicBezTo>
                <a:cubicBezTo>
                  <a:pt x="9718" y="13281"/>
                  <a:pt x="9687" y="13281"/>
                  <a:pt x="9687" y="13281"/>
                </a:cubicBezTo>
                <a:cubicBezTo>
                  <a:pt x="9687" y="13312"/>
                  <a:pt x="9718" y="13312"/>
                  <a:pt x="9718" y="13312"/>
                </a:cubicBezTo>
                <a:cubicBezTo>
                  <a:pt x="9718" y="13312"/>
                  <a:pt x="9718" y="13312"/>
                  <a:pt x="9718" y="13344"/>
                </a:cubicBezTo>
                <a:cubicBezTo>
                  <a:pt x="9718" y="13375"/>
                  <a:pt x="9750" y="13406"/>
                  <a:pt x="9781" y="13406"/>
                </a:cubicBezTo>
                <a:cubicBezTo>
                  <a:pt x="9812" y="13406"/>
                  <a:pt x="9843" y="13375"/>
                  <a:pt x="9875" y="13344"/>
                </a:cubicBezTo>
                <a:cubicBezTo>
                  <a:pt x="9875" y="13344"/>
                  <a:pt x="9875" y="13312"/>
                  <a:pt x="9875" y="13312"/>
                </a:cubicBezTo>
                <a:cubicBezTo>
                  <a:pt x="9875" y="13312"/>
                  <a:pt x="9843" y="13312"/>
                  <a:pt x="9843" y="13312"/>
                </a:cubicBezTo>
                <a:cubicBezTo>
                  <a:pt x="9812" y="13344"/>
                  <a:pt x="9781" y="13312"/>
                  <a:pt x="9718" y="13312"/>
                </a:cubicBezTo>
                <a:cubicBezTo>
                  <a:pt x="9750" y="13281"/>
                  <a:pt x="9812" y="13281"/>
                  <a:pt x="9812" y="13219"/>
                </a:cubicBezTo>
                <a:close/>
                <a:moveTo>
                  <a:pt x="18250" y="14812"/>
                </a:moveTo>
                <a:cubicBezTo>
                  <a:pt x="18250" y="14812"/>
                  <a:pt x="18250" y="14812"/>
                  <a:pt x="18250" y="14812"/>
                </a:cubicBezTo>
                <a:cubicBezTo>
                  <a:pt x="18250" y="14812"/>
                  <a:pt x="18250" y="14812"/>
                  <a:pt x="18250" y="14812"/>
                </a:cubicBezTo>
                <a:lnTo>
                  <a:pt x="18250" y="14812"/>
                </a:lnTo>
                <a:cubicBezTo>
                  <a:pt x="18250" y="14812"/>
                  <a:pt x="18250" y="14812"/>
                  <a:pt x="18250" y="14812"/>
                </a:cubicBezTo>
                <a:cubicBezTo>
                  <a:pt x="18250" y="14812"/>
                  <a:pt x="18250" y="14812"/>
                  <a:pt x="18250" y="14812"/>
                </a:cubicBezTo>
                <a:close/>
                <a:moveTo>
                  <a:pt x="10625" y="13750"/>
                </a:moveTo>
                <a:cubicBezTo>
                  <a:pt x="10562" y="13781"/>
                  <a:pt x="10531" y="13781"/>
                  <a:pt x="10468" y="13781"/>
                </a:cubicBezTo>
                <a:cubicBezTo>
                  <a:pt x="10468" y="13750"/>
                  <a:pt x="10531" y="13719"/>
                  <a:pt x="10531" y="13687"/>
                </a:cubicBezTo>
                <a:cubicBezTo>
                  <a:pt x="10437" y="13719"/>
                  <a:pt x="10406" y="13781"/>
                  <a:pt x="10343" y="13844"/>
                </a:cubicBezTo>
                <a:cubicBezTo>
                  <a:pt x="10406" y="13844"/>
                  <a:pt x="10406" y="13781"/>
                  <a:pt x="10468" y="13781"/>
                </a:cubicBezTo>
                <a:cubicBezTo>
                  <a:pt x="10562" y="13875"/>
                  <a:pt x="10562" y="13875"/>
                  <a:pt x="10625" y="13750"/>
                </a:cubicBezTo>
                <a:close/>
                <a:moveTo>
                  <a:pt x="8906" y="15531"/>
                </a:moveTo>
                <a:cubicBezTo>
                  <a:pt x="8937" y="15531"/>
                  <a:pt x="9000" y="15562"/>
                  <a:pt x="9062" y="15562"/>
                </a:cubicBezTo>
                <a:cubicBezTo>
                  <a:pt x="9000" y="15500"/>
                  <a:pt x="8937" y="15531"/>
                  <a:pt x="8906" y="15531"/>
                </a:cubicBezTo>
                <a:close/>
                <a:moveTo>
                  <a:pt x="5093" y="17062"/>
                </a:moveTo>
                <a:cubicBezTo>
                  <a:pt x="5156" y="17125"/>
                  <a:pt x="5218" y="17094"/>
                  <a:pt x="5250" y="17125"/>
                </a:cubicBezTo>
                <a:cubicBezTo>
                  <a:pt x="5281" y="17125"/>
                  <a:pt x="5281" y="17156"/>
                  <a:pt x="5281" y="17156"/>
                </a:cubicBezTo>
                <a:lnTo>
                  <a:pt x="5281" y="17156"/>
                </a:lnTo>
                <a:cubicBezTo>
                  <a:pt x="5437" y="17187"/>
                  <a:pt x="5562" y="17250"/>
                  <a:pt x="5656" y="17312"/>
                </a:cubicBezTo>
                <a:cubicBezTo>
                  <a:pt x="5687" y="17344"/>
                  <a:pt x="5718" y="17344"/>
                  <a:pt x="5718" y="17344"/>
                </a:cubicBezTo>
                <a:cubicBezTo>
                  <a:pt x="5656" y="17250"/>
                  <a:pt x="5531" y="17219"/>
                  <a:pt x="5437" y="17156"/>
                </a:cubicBezTo>
                <a:cubicBezTo>
                  <a:pt x="5375" y="17125"/>
                  <a:pt x="5312" y="17094"/>
                  <a:pt x="5250" y="17125"/>
                </a:cubicBezTo>
                <a:cubicBezTo>
                  <a:pt x="5218" y="17094"/>
                  <a:pt x="5156" y="17062"/>
                  <a:pt x="5093" y="17062"/>
                </a:cubicBezTo>
                <a:close/>
                <a:moveTo>
                  <a:pt x="7531" y="18281"/>
                </a:moveTo>
                <a:cubicBezTo>
                  <a:pt x="7500" y="18281"/>
                  <a:pt x="7500" y="18250"/>
                  <a:pt x="7468" y="18250"/>
                </a:cubicBezTo>
                <a:cubicBezTo>
                  <a:pt x="7437" y="18219"/>
                  <a:pt x="7406" y="18219"/>
                  <a:pt x="7375" y="18250"/>
                </a:cubicBezTo>
                <a:cubicBezTo>
                  <a:pt x="7375" y="18250"/>
                  <a:pt x="7375" y="18250"/>
                  <a:pt x="7375" y="18250"/>
                </a:cubicBezTo>
                <a:cubicBezTo>
                  <a:pt x="7406" y="18281"/>
                  <a:pt x="7437" y="18281"/>
                  <a:pt x="7468" y="18281"/>
                </a:cubicBezTo>
                <a:cubicBezTo>
                  <a:pt x="7468" y="18281"/>
                  <a:pt x="7468" y="18312"/>
                  <a:pt x="7531" y="18281"/>
                </a:cubicBezTo>
                <a:close/>
                <a:moveTo>
                  <a:pt x="3500" y="19062"/>
                </a:moveTo>
                <a:cubicBezTo>
                  <a:pt x="3437" y="19062"/>
                  <a:pt x="3406" y="19031"/>
                  <a:pt x="3375" y="19031"/>
                </a:cubicBezTo>
                <a:cubicBezTo>
                  <a:pt x="3375" y="19031"/>
                  <a:pt x="3343" y="19031"/>
                  <a:pt x="3343" y="19062"/>
                </a:cubicBezTo>
                <a:cubicBezTo>
                  <a:pt x="3343" y="19062"/>
                  <a:pt x="3343" y="19062"/>
                  <a:pt x="3343" y="19062"/>
                </a:cubicBezTo>
                <a:cubicBezTo>
                  <a:pt x="3406" y="19062"/>
                  <a:pt x="3437" y="19094"/>
                  <a:pt x="3500" y="19062"/>
                </a:cubicBezTo>
                <a:close/>
                <a:moveTo>
                  <a:pt x="7468" y="20062"/>
                </a:moveTo>
                <a:cubicBezTo>
                  <a:pt x="7468" y="20062"/>
                  <a:pt x="7468" y="20062"/>
                  <a:pt x="7468" y="20062"/>
                </a:cubicBezTo>
                <a:cubicBezTo>
                  <a:pt x="7468" y="20062"/>
                  <a:pt x="7468" y="20062"/>
                  <a:pt x="7468" y="20062"/>
                </a:cubicBezTo>
                <a:lnTo>
                  <a:pt x="7468" y="20062"/>
                </a:lnTo>
                <a:cubicBezTo>
                  <a:pt x="7468" y="20062"/>
                  <a:pt x="7468" y="20062"/>
                  <a:pt x="7468" y="20062"/>
                </a:cubicBezTo>
                <a:close/>
                <a:moveTo>
                  <a:pt x="1312" y="17219"/>
                </a:moveTo>
                <a:cubicBezTo>
                  <a:pt x="1500" y="17156"/>
                  <a:pt x="1718" y="17187"/>
                  <a:pt x="1906" y="17219"/>
                </a:cubicBezTo>
                <a:cubicBezTo>
                  <a:pt x="2156" y="17250"/>
                  <a:pt x="2406" y="17312"/>
                  <a:pt x="2656" y="17375"/>
                </a:cubicBezTo>
                <a:cubicBezTo>
                  <a:pt x="2812" y="17406"/>
                  <a:pt x="2968" y="17437"/>
                  <a:pt x="3125" y="17469"/>
                </a:cubicBezTo>
                <a:cubicBezTo>
                  <a:pt x="3250" y="17500"/>
                  <a:pt x="3343" y="17531"/>
                  <a:pt x="3468" y="17531"/>
                </a:cubicBezTo>
                <a:cubicBezTo>
                  <a:pt x="3625" y="17562"/>
                  <a:pt x="3781" y="17625"/>
                  <a:pt x="3937" y="17656"/>
                </a:cubicBezTo>
                <a:cubicBezTo>
                  <a:pt x="4093" y="17687"/>
                  <a:pt x="4250" y="17719"/>
                  <a:pt x="4406" y="17781"/>
                </a:cubicBezTo>
                <a:cubicBezTo>
                  <a:pt x="4562" y="17812"/>
                  <a:pt x="4750" y="17844"/>
                  <a:pt x="4937" y="17937"/>
                </a:cubicBezTo>
                <a:cubicBezTo>
                  <a:pt x="5156" y="18000"/>
                  <a:pt x="5375" y="18062"/>
                  <a:pt x="5593" y="18125"/>
                </a:cubicBezTo>
                <a:cubicBezTo>
                  <a:pt x="5718" y="18187"/>
                  <a:pt x="5875" y="18219"/>
                  <a:pt x="6000" y="18219"/>
                </a:cubicBezTo>
                <a:cubicBezTo>
                  <a:pt x="6031" y="18250"/>
                  <a:pt x="6093" y="18281"/>
                  <a:pt x="6125" y="18281"/>
                </a:cubicBezTo>
                <a:cubicBezTo>
                  <a:pt x="6187" y="18281"/>
                  <a:pt x="6187" y="18281"/>
                  <a:pt x="6156" y="18219"/>
                </a:cubicBezTo>
                <a:cubicBezTo>
                  <a:pt x="6125" y="18187"/>
                  <a:pt x="6187" y="18187"/>
                  <a:pt x="6218" y="18187"/>
                </a:cubicBezTo>
                <a:cubicBezTo>
                  <a:pt x="6156" y="18156"/>
                  <a:pt x="6125" y="18125"/>
                  <a:pt x="6062" y="18125"/>
                </a:cubicBezTo>
                <a:cubicBezTo>
                  <a:pt x="6062" y="18156"/>
                  <a:pt x="6125" y="18156"/>
                  <a:pt x="6093" y="18219"/>
                </a:cubicBezTo>
                <a:cubicBezTo>
                  <a:pt x="6093" y="18219"/>
                  <a:pt x="6062" y="18219"/>
                  <a:pt x="6031" y="18187"/>
                </a:cubicBezTo>
                <a:cubicBezTo>
                  <a:pt x="5843" y="18094"/>
                  <a:pt x="5656" y="18094"/>
                  <a:pt x="5437" y="18031"/>
                </a:cubicBezTo>
                <a:cubicBezTo>
                  <a:pt x="5218" y="17937"/>
                  <a:pt x="4968" y="17906"/>
                  <a:pt x="4718" y="17812"/>
                </a:cubicBezTo>
                <a:cubicBezTo>
                  <a:pt x="4625" y="17781"/>
                  <a:pt x="4531" y="17719"/>
                  <a:pt x="4437" y="17719"/>
                </a:cubicBezTo>
                <a:cubicBezTo>
                  <a:pt x="4312" y="17656"/>
                  <a:pt x="4156" y="17625"/>
                  <a:pt x="4031" y="17594"/>
                </a:cubicBezTo>
                <a:cubicBezTo>
                  <a:pt x="3812" y="17531"/>
                  <a:pt x="3593" y="17469"/>
                  <a:pt x="3343" y="17437"/>
                </a:cubicBezTo>
                <a:cubicBezTo>
                  <a:pt x="3187" y="17406"/>
                  <a:pt x="3031" y="17375"/>
                  <a:pt x="2875" y="17344"/>
                </a:cubicBezTo>
                <a:cubicBezTo>
                  <a:pt x="2656" y="17312"/>
                  <a:pt x="2468" y="17250"/>
                  <a:pt x="2250" y="17219"/>
                </a:cubicBezTo>
                <a:cubicBezTo>
                  <a:pt x="2093" y="17187"/>
                  <a:pt x="1937" y="17156"/>
                  <a:pt x="1781" y="17125"/>
                </a:cubicBezTo>
                <a:cubicBezTo>
                  <a:pt x="1781" y="17125"/>
                  <a:pt x="1781" y="17125"/>
                  <a:pt x="1781" y="17125"/>
                </a:cubicBezTo>
                <a:cubicBezTo>
                  <a:pt x="1750" y="17125"/>
                  <a:pt x="1750" y="17125"/>
                  <a:pt x="1718" y="17125"/>
                </a:cubicBezTo>
                <a:cubicBezTo>
                  <a:pt x="1718" y="17125"/>
                  <a:pt x="1687" y="17125"/>
                  <a:pt x="1687" y="17125"/>
                </a:cubicBezTo>
                <a:cubicBezTo>
                  <a:pt x="1687" y="17125"/>
                  <a:pt x="1687" y="17125"/>
                  <a:pt x="1687" y="17125"/>
                </a:cubicBezTo>
                <a:cubicBezTo>
                  <a:pt x="1656" y="17094"/>
                  <a:pt x="1687" y="17094"/>
                  <a:pt x="1718" y="17094"/>
                </a:cubicBezTo>
                <a:cubicBezTo>
                  <a:pt x="1781" y="17094"/>
                  <a:pt x="1843" y="17094"/>
                  <a:pt x="1906" y="17094"/>
                </a:cubicBezTo>
                <a:cubicBezTo>
                  <a:pt x="1781" y="17031"/>
                  <a:pt x="1656" y="17062"/>
                  <a:pt x="1531" y="17062"/>
                </a:cubicBezTo>
                <a:cubicBezTo>
                  <a:pt x="1562" y="17094"/>
                  <a:pt x="1625" y="17062"/>
                  <a:pt x="1625" y="17094"/>
                </a:cubicBezTo>
                <a:cubicBezTo>
                  <a:pt x="1593" y="17125"/>
                  <a:pt x="1562" y="17125"/>
                  <a:pt x="1531" y="17125"/>
                </a:cubicBezTo>
                <a:cubicBezTo>
                  <a:pt x="1406" y="17062"/>
                  <a:pt x="1375" y="17156"/>
                  <a:pt x="1281" y="17187"/>
                </a:cubicBezTo>
                <a:cubicBezTo>
                  <a:pt x="1250" y="17219"/>
                  <a:pt x="1187" y="17219"/>
                  <a:pt x="1187" y="17250"/>
                </a:cubicBezTo>
                <a:cubicBezTo>
                  <a:pt x="1250" y="17281"/>
                  <a:pt x="1281" y="17281"/>
                  <a:pt x="1312" y="17219"/>
                </a:cubicBezTo>
                <a:close/>
                <a:moveTo>
                  <a:pt x="12906" y="18125"/>
                </a:moveTo>
                <a:cubicBezTo>
                  <a:pt x="12906" y="18125"/>
                  <a:pt x="12906" y="18125"/>
                  <a:pt x="12906" y="18125"/>
                </a:cubicBezTo>
                <a:close/>
                <a:moveTo>
                  <a:pt x="13062" y="18094"/>
                </a:moveTo>
                <a:cubicBezTo>
                  <a:pt x="13062" y="18094"/>
                  <a:pt x="13062" y="18094"/>
                  <a:pt x="13062" y="18094"/>
                </a:cubicBezTo>
                <a:cubicBezTo>
                  <a:pt x="13062" y="18094"/>
                  <a:pt x="13062" y="18094"/>
                  <a:pt x="13062" y="18094"/>
                </a:cubicBezTo>
                <a:close/>
                <a:moveTo>
                  <a:pt x="4750" y="19531"/>
                </a:moveTo>
                <a:cubicBezTo>
                  <a:pt x="4750" y="19531"/>
                  <a:pt x="4750" y="19531"/>
                  <a:pt x="4750" y="19562"/>
                </a:cubicBezTo>
                <a:cubicBezTo>
                  <a:pt x="4750" y="19562"/>
                  <a:pt x="4750" y="19562"/>
                  <a:pt x="4750" y="19531"/>
                </a:cubicBezTo>
                <a:cubicBezTo>
                  <a:pt x="4656" y="19437"/>
                  <a:pt x="4500" y="19375"/>
                  <a:pt x="4375" y="19344"/>
                </a:cubicBezTo>
                <a:lnTo>
                  <a:pt x="4375" y="19344"/>
                </a:lnTo>
                <a:cubicBezTo>
                  <a:pt x="4500" y="19406"/>
                  <a:pt x="4625" y="19500"/>
                  <a:pt x="4750" y="19531"/>
                </a:cubicBezTo>
                <a:cubicBezTo>
                  <a:pt x="4781" y="19594"/>
                  <a:pt x="4812" y="19594"/>
                  <a:pt x="4875" y="19625"/>
                </a:cubicBezTo>
                <a:lnTo>
                  <a:pt x="4875" y="19625"/>
                </a:lnTo>
                <a:cubicBezTo>
                  <a:pt x="4875" y="19625"/>
                  <a:pt x="4906" y="19594"/>
                  <a:pt x="4906" y="19594"/>
                </a:cubicBezTo>
                <a:cubicBezTo>
                  <a:pt x="4875" y="19562"/>
                  <a:pt x="4812" y="19531"/>
                  <a:pt x="4781" y="19531"/>
                </a:cubicBezTo>
                <a:cubicBezTo>
                  <a:pt x="4781" y="19531"/>
                  <a:pt x="4781" y="19531"/>
                  <a:pt x="4750" y="19531"/>
                </a:cubicBezTo>
                <a:close/>
                <a:moveTo>
                  <a:pt x="7593" y="2250"/>
                </a:moveTo>
                <a:cubicBezTo>
                  <a:pt x="7593" y="2250"/>
                  <a:pt x="7593" y="2250"/>
                  <a:pt x="7593" y="2250"/>
                </a:cubicBezTo>
                <a:cubicBezTo>
                  <a:pt x="7593" y="2250"/>
                  <a:pt x="7593" y="2250"/>
                  <a:pt x="7593" y="2250"/>
                </a:cubicBezTo>
                <a:close/>
                <a:moveTo>
                  <a:pt x="9437" y="17469"/>
                </a:moveTo>
                <a:cubicBezTo>
                  <a:pt x="9406" y="17469"/>
                  <a:pt x="9406" y="17469"/>
                  <a:pt x="9375" y="17500"/>
                </a:cubicBezTo>
                <a:cubicBezTo>
                  <a:pt x="9375" y="17500"/>
                  <a:pt x="9375" y="17500"/>
                  <a:pt x="9375" y="17500"/>
                </a:cubicBezTo>
                <a:cubicBezTo>
                  <a:pt x="9437" y="17531"/>
                  <a:pt x="9468" y="17594"/>
                  <a:pt x="9531" y="17562"/>
                </a:cubicBezTo>
                <a:cubicBezTo>
                  <a:pt x="9500" y="17531"/>
                  <a:pt x="9468" y="17500"/>
                  <a:pt x="9437" y="17469"/>
                </a:cubicBezTo>
                <a:close/>
                <a:moveTo>
                  <a:pt x="2875" y="18937"/>
                </a:moveTo>
                <a:cubicBezTo>
                  <a:pt x="2906" y="19000"/>
                  <a:pt x="2968" y="19000"/>
                  <a:pt x="3062" y="18969"/>
                </a:cubicBezTo>
                <a:cubicBezTo>
                  <a:pt x="2968" y="18937"/>
                  <a:pt x="2906" y="18937"/>
                  <a:pt x="2875" y="18937"/>
                </a:cubicBezTo>
                <a:close/>
                <a:moveTo>
                  <a:pt x="12875" y="18937"/>
                </a:moveTo>
                <a:cubicBezTo>
                  <a:pt x="12906" y="18937"/>
                  <a:pt x="12968" y="18969"/>
                  <a:pt x="13000" y="18906"/>
                </a:cubicBezTo>
                <a:cubicBezTo>
                  <a:pt x="12968" y="18906"/>
                  <a:pt x="12906" y="18844"/>
                  <a:pt x="12875" y="18937"/>
                </a:cubicBezTo>
                <a:close/>
                <a:moveTo>
                  <a:pt x="3937" y="16219"/>
                </a:moveTo>
                <a:cubicBezTo>
                  <a:pt x="3968" y="16281"/>
                  <a:pt x="4031" y="16281"/>
                  <a:pt x="4062" y="16250"/>
                </a:cubicBezTo>
                <a:cubicBezTo>
                  <a:pt x="4093" y="16250"/>
                  <a:pt x="4093" y="16281"/>
                  <a:pt x="4093" y="16250"/>
                </a:cubicBezTo>
                <a:cubicBezTo>
                  <a:pt x="4093" y="16219"/>
                  <a:pt x="4093" y="16219"/>
                  <a:pt x="4062" y="16219"/>
                </a:cubicBezTo>
                <a:cubicBezTo>
                  <a:pt x="4031" y="16219"/>
                  <a:pt x="4000" y="16219"/>
                  <a:pt x="3937" y="16219"/>
                </a:cubicBezTo>
                <a:close/>
                <a:moveTo>
                  <a:pt x="11343" y="13594"/>
                </a:moveTo>
                <a:cubicBezTo>
                  <a:pt x="11375" y="13500"/>
                  <a:pt x="11406" y="13562"/>
                  <a:pt x="11437" y="13562"/>
                </a:cubicBezTo>
                <a:cubicBezTo>
                  <a:pt x="11437" y="13594"/>
                  <a:pt x="11406" y="13656"/>
                  <a:pt x="11343" y="13594"/>
                </a:cubicBezTo>
                <a:cubicBezTo>
                  <a:pt x="11375" y="13656"/>
                  <a:pt x="11343" y="13656"/>
                  <a:pt x="11281" y="13625"/>
                </a:cubicBezTo>
                <a:cubicBezTo>
                  <a:pt x="11312" y="13625"/>
                  <a:pt x="11312" y="13594"/>
                  <a:pt x="11343" y="13594"/>
                </a:cubicBezTo>
                <a:close/>
                <a:moveTo>
                  <a:pt x="10468" y="13062"/>
                </a:moveTo>
                <a:cubicBezTo>
                  <a:pt x="10437" y="13094"/>
                  <a:pt x="10406" y="13062"/>
                  <a:pt x="10343" y="13094"/>
                </a:cubicBezTo>
                <a:cubicBezTo>
                  <a:pt x="10406" y="13125"/>
                  <a:pt x="10375" y="13156"/>
                  <a:pt x="10375" y="13187"/>
                </a:cubicBezTo>
                <a:cubicBezTo>
                  <a:pt x="10406" y="13156"/>
                  <a:pt x="10468" y="13125"/>
                  <a:pt x="10468" y="13062"/>
                </a:cubicBezTo>
                <a:close/>
                <a:moveTo>
                  <a:pt x="3125" y="19000"/>
                </a:moveTo>
                <a:cubicBezTo>
                  <a:pt x="3187" y="19031"/>
                  <a:pt x="3281" y="19062"/>
                  <a:pt x="3312" y="19031"/>
                </a:cubicBezTo>
                <a:cubicBezTo>
                  <a:pt x="3250" y="19031"/>
                  <a:pt x="3187" y="18969"/>
                  <a:pt x="3125" y="19000"/>
                </a:cubicBezTo>
                <a:close/>
                <a:moveTo>
                  <a:pt x="3500" y="18656"/>
                </a:moveTo>
                <a:cubicBezTo>
                  <a:pt x="3437" y="18656"/>
                  <a:pt x="3375" y="18594"/>
                  <a:pt x="3281" y="18594"/>
                </a:cubicBezTo>
                <a:cubicBezTo>
                  <a:pt x="3343" y="18625"/>
                  <a:pt x="3437" y="18656"/>
                  <a:pt x="3500" y="18656"/>
                </a:cubicBezTo>
                <a:close/>
                <a:moveTo>
                  <a:pt x="1031" y="17437"/>
                </a:moveTo>
                <a:cubicBezTo>
                  <a:pt x="1000" y="17437"/>
                  <a:pt x="1000" y="17437"/>
                  <a:pt x="1000" y="17437"/>
                </a:cubicBezTo>
                <a:cubicBezTo>
                  <a:pt x="1000" y="17437"/>
                  <a:pt x="1000" y="17437"/>
                  <a:pt x="1000" y="17437"/>
                </a:cubicBezTo>
                <a:cubicBezTo>
                  <a:pt x="1000" y="17437"/>
                  <a:pt x="1000" y="17437"/>
                  <a:pt x="1031" y="17437"/>
                </a:cubicBezTo>
                <a:cubicBezTo>
                  <a:pt x="1031" y="17437"/>
                  <a:pt x="1062" y="17437"/>
                  <a:pt x="1062" y="17437"/>
                </a:cubicBezTo>
                <a:cubicBezTo>
                  <a:pt x="1062" y="17437"/>
                  <a:pt x="1093" y="17437"/>
                  <a:pt x="1093" y="17437"/>
                </a:cubicBezTo>
                <a:cubicBezTo>
                  <a:pt x="1375" y="17406"/>
                  <a:pt x="1687" y="17469"/>
                  <a:pt x="1968" y="17531"/>
                </a:cubicBezTo>
                <a:lnTo>
                  <a:pt x="1968" y="17531"/>
                </a:lnTo>
                <a:cubicBezTo>
                  <a:pt x="2062" y="17531"/>
                  <a:pt x="2156" y="17562"/>
                  <a:pt x="2218" y="17562"/>
                </a:cubicBezTo>
                <a:cubicBezTo>
                  <a:pt x="2062" y="17500"/>
                  <a:pt x="1875" y="17469"/>
                  <a:pt x="1687" y="17437"/>
                </a:cubicBezTo>
                <a:cubicBezTo>
                  <a:pt x="1562" y="17406"/>
                  <a:pt x="1437" y="17406"/>
                  <a:pt x="1343" y="17406"/>
                </a:cubicBezTo>
                <a:cubicBezTo>
                  <a:pt x="1250" y="17406"/>
                  <a:pt x="1156" y="17406"/>
                  <a:pt x="1062" y="17437"/>
                </a:cubicBez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7"/>
                </a:lnTo>
                <a:lnTo>
                  <a:pt x="1062" y="17436"/>
                </a:lnTo>
                <a:lnTo>
                  <a:pt x="1062" y="17436"/>
                </a:lnTo>
                <a:lnTo>
                  <a:pt x="1062" y="17436"/>
                </a:lnTo>
                <a:lnTo>
                  <a:pt x="1062" y="17435"/>
                </a:lnTo>
                <a:lnTo>
                  <a:pt x="1062" y="17435"/>
                </a:lnTo>
                <a:lnTo>
                  <a:pt x="1062" y="17434"/>
                </a:lnTo>
                <a:lnTo>
                  <a:pt x="1062" y="17434"/>
                </a:lnTo>
                <a:lnTo>
                  <a:pt x="1062" y="17433"/>
                </a:lnTo>
                <a:lnTo>
                  <a:pt x="1062" y="17433"/>
                </a:lnTo>
                <a:lnTo>
                  <a:pt x="1062" y="17432"/>
                </a:lnTo>
                <a:lnTo>
                  <a:pt x="1062" y="17432"/>
                </a:lnTo>
                <a:lnTo>
                  <a:pt x="1062" y="17431"/>
                </a:lnTo>
                <a:lnTo>
                  <a:pt x="1062" y="17431"/>
                </a:lnTo>
                <a:lnTo>
                  <a:pt x="1062" y="17430"/>
                </a:lnTo>
                <a:lnTo>
                  <a:pt x="1062" y="17429"/>
                </a:lnTo>
                <a:lnTo>
                  <a:pt x="1062" y="17429"/>
                </a:lnTo>
                <a:lnTo>
                  <a:pt x="1062" y="17428"/>
                </a:lnTo>
                <a:lnTo>
                  <a:pt x="1062" y="17427"/>
                </a:lnTo>
                <a:lnTo>
                  <a:pt x="1062" y="17427"/>
                </a:lnTo>
                <a:lnTo>
                  <a:pt x="1062" y="17406"/>
                </a:lnTo>
                <a:cubicBezTo>
                  <a:pt x="1312" y="17312"/>
                  <a:pt x="1562" y="17375"/>
                  <a:pt x="1843" y="17406"/>
                </a:cubicBezTo>
                <a:cubicBezTo>
                  <a:pt x="1906" y="17406"/>
                  <a:pt x="1968" y="17437"/>
                  <a:pt x="2031" y="17437"/>
                </a:cubicBezTo>
                <a:cubicBezTo>
                  <a:pt x="2187" y="17500"/>
                  <a:pt x="2375" y="17531"/>
                  <a:pt x="2531" y="17562"/>
                </a:cubicBezTo>
                <a:cubicBezTo>
                  <a:pt x="2750" y="17594"/>
                  <a:pt x="2968" y="17656"/>
                  <a:pt x="3187" y="17687"/>
                </a:cubicBezTo>
                <a:cubicBezTo>
                  <a:pt x="3406" y="17719"/>
                  <a:pt x="3593" y="17781"/>
                  <a:pt x="3781" y="17812"/>
                </a:cubicBezTo>
                <a:cubicBezTo>
                  <a:pt x="3875" y="17844"/>
                  <a:pt x="4000" y="17844"/>
                  <a:pt x="4093" y="17875"/>
                </a:cubicBezTo>
                <a:cubicBezTo>
                  <a:pt x="4250" y="17937"/>
                  <a:pt x="4437" y="17969"/>
                  <a:pt x="4593" y="18031"/>
                </a:cubicBezTo>
                <a:cubicBezTo>
                  <a:pt x="4718" y="18094"/>
                  <a:pt x="4875" y="18125"/>
                  <a:pt x="5000" y="18187"/>
                </a:cubicBezTo>
                <a:cubicBezTo>
                  <a:pt x="5187" y="18219"/>
                  <a:pt x="5375" y="18281"/>
                  <a:pt x="5562" y="18344"/>
                </a:cubicBezTo>
                <a:cubicBezTo>
                  <a:pt x="5656" y="18344"/>
                  <a:pt x="5750" y="18375"/>
                  <a:pt x="5812" y="18406"/>
                </a:cubicBezTo>
                <a:cubicBezTo>
                  <a:pt x="5875" y="18437"/>
                  <a:pt x="5937" y="18437"/>
                  <a:pt x="6000" y="18437"/>
                </a:cubicBezTo>
                <a:cubicBezTo>
                  <a:pt x="6093" y="18500"/>
                  <a:pt x="6156" y="18531"/>
                  <a:pt x="6250" y="18531"/>
                </a:cubicBezTo>
                <a:cubicBezTo>
                  <a:pt x="6187" y="18469"/>
                  <a:pt x="6093" y="18469"/>
                  <a:pt x="6031" y="18406"/>
                </a:cubicBezTo>
                <a:cubicBezTo>
                  <a:pt x="5968" y="18375"/>
                  <a:pt x="5906" y="18344"/>
                  <a:pt x="5812" y="18344"/>
                </a:cubicBezTo>
                <a:cubicBezTo>
                  <a:pt x="5718" y="18312"/>
                  <a:pt x="5625" y="18281"/>
                  <a:pt x="5531" y="18250"/>
                </a:cubicBezTo>
                <a:cubicBezTo>
                  <a:pt x="5468" y="18219"/>
                  <a:pt x="5375" y="18250"/>
                  <a:pt x="5343" y="18187"/>
                </a:cubicBezTo>
                <a:cubicBezTo>
                  <a:pt x="5687" y="18219"/>
                  <a:pt x="6000" y="18344"/>
                  <a:pt x="6343" y="18437"/>
                </a:cubicBezTo>
                <a:cubicBezTo>
                  <a:pt x="6312" y="18375"/>
                  <a:pt x="6250" y="18375"/>
                  <a:pt x="6187" y="18375"/>
                </a:cubicBezTo>
                <a:cubicBezTo>
                  <a:pt x="5968" y="18281"/>
                  <a:pt x="5750" y="18219"/>
                  <a:pt x="5531" y="18187"/>
                </a:cubicBezTo>
                <a:cubicBezTo>
                  <a:pt x="5312" y="18125"/>
                  <a:pt x="5062" y="18031"/>
                  <a:pt x="4843" y="17969"/>
                </a:cubicBezTo>
                <a:cubicBezTo>
                  <a:pt x="4781" y="17937"/>
                  <a:pt x="4718" y="17906"/>
                  <a:pt x="4656" y="17906"/>
                </a:cubicBezTo>
                <a:cubicBezTo>
                  <a:pt x="4593" y="17906"/>
                  <a:pt x="4531" y="17906"/>
                  <a:pt x="4468" y="17844"/>
                </a:cubicBezTo>
                <a:cubicBezTo>
                  <a:pt x="4375" y="17875"/>
                  <a:pt x="4250" y="17812"/>
                  <a:pt x="4156" y="17781"/>
                </a:cubicBezTo>
                <a:cubicBezTo>
                  <a:pt x="4031" y="17750"/>
                  <a:pt x="3906" y="17719"/>
                  <a:pt x="3781" y="17687"/>
                </a:cubicBezTo>
                <a:cubicBezTo>
                  <a:pt x="3937" y="17687"/>
                  <a:pt x="4062" y="17719"/>
                  <a:pt x="4156" y="17750"/>
                </a:cubicBezTo>
                <a:cubicBezTo>
                  <a:pt x="4281" y="17781"/>
                  <a:pt x="4375" y="17844"/>
                  <a:pt x="4468" y="17844"/>
                </a:cubicBezTo>
                <a:lnTo>
                  <a:pt x="4468" y="17844"/>
                </a:lnTo>
                <a:cubicBezTo>
                  <a:pt x="4531" y="17875"/>
                  <a:pt x="4625" y="17844"/>
                  <a:pt x="4656" y="17906"/>
                </a:cubicBezTo>
                <a:cubicBezTo>
                  <a:pt x="4875" y="18031"/>
                  <a:pt x="5093" y="18062"/>
                  <a:pt x="5312" y="18187"/>
                </a:cubicBezTo>
                <a:cubicBezTo>
                  <a:pt x="5218" y="18187"/>
                  <a:pt x="5125" y="18156"/>
                  <a:pt x="5062" y="18125"/>
                </a:cubicBezTo>
                <a:cubicBezTo>
                  <a:pt x="4843" y="18031"/>
                  <a:pt x="4656" y="17969"/>
                  <a:pt x="4437" y="17906"/>
                </a:cubicBezTo>
                <a:cubicBezTo>
                  <a:pt x="4187" y="17844"/>
                  <a:pt x="3968" y="17781"/>
                  <a:pt x="3718" y="17719"/>
                </a:cubicBezTo>
                <a:cubicBezTo>
                  <a:pt x="3593" y="17687"/>
                  <a:pt x="3437" y="17656"/>
                  <a:pt x="3312" y="17625"/>
                </a:cubicBezTo>
                <a:cubicBezTo>
                  <a:pt x="3031" y="17594"/>
                  <a:pt x="2781" y="17531"/>
                  <a:pt x="2531" y="17500"/>
                </a:cubicBezTo>
                <a:cubicBezTo>
                  <a:pt x="2375" y="17469"/>
                  <a:pt x="2218" y="17406"/>
                  <a:pt x="2062" y="17375"/>
                </a:cubicBezTo>
                <a:cubicBezTo>
                  <a:pt x="1937" y="17344"/>
                  <a:pt x="1812" y="17344"/>
                  <a:pt x="1687" y="17344"/>
                </a:cubicBezTo>
                <a:cubicBezTo>
                  <a:pt x="1468" y="17281"/>
                  <a:pt x="1250" y="17281"/>
                  <a:pt x="1031" y="17375"/>
                </a:cubicBezTo>
                <a:cubicBezTo>
                  <a:pt x="968" y="17375"/>
                  <a:pt x="968" y="17406"/>
                  <a:pt x="937" y="17437"/>
                </a:cubicBezTo>
                <a:cubicBezTo>
                  <a:pt x="968" y="17469"/>
                  <a:pt x="1000" y="17469"/>
                  <a:pt x="1031" y="17437"/>
                </a:cubicBezTo>
                <a:close/>
                <a:moveTo>
                  <a:pt x="12343" y="17937"/>
                </a:moveTo>
                <a:cubicBezTo>
                  <a:pt x="12375" y="17937"/>
                  <a:pt x="12343" y="17875"/>
                  <a:pt x="12343" y="17844"/>
                </a:cubicBezTo>
                <a:cubicBezTo>
                  <a:pt x="12312" y="17875"/>
                  <a:pt x="12250" y="17844"/>
                  <a:pt x="12250" y="17906"/>
                </a:cubicBezTo>
                <a:cubicBezTo>
                  <a:pt x="12250" y="17906"/>
                  <a:pt x="12312" y="17969"/>
                  <a:pt x="12343" y="17937"/>
                </a:cubicBezTo>
                <a:close/>
                <a:moveTo>
                  <a:pt x="2125" y="16594"/>
                </a:moveTo>
                <a:cubicBezTo>
                  <a:pt x="2250" y="16594"/>
                  <a:pt x="2375" y="16594"/>
                  <a:pt x="2500" y="16594"/>
                </a:cubicBezTo>
                <a:cubicBezTo>
                  <a:pt x="2375" y="16562"/>
                  <a:pt x="2250" y="16562"/>
                  <a:pt x="2125" y="16594"/>
                </a:cubicBezTo>
                <a:close/>
                <a:moveTo>
                  <a:pt x="9281" y="16312"/>
                </a:moveTo>
                <a:cubicBezTo>
                  <a:pt x="9312" y="16312"/>
                  <a:pt x="9343" y="16312"/>
                  <a:pt x="9375" y="16312"/>
                </a:cubicBezTo>
                <a:cubicBezTo>
                  <a:pt x="9406" y="16344"/>
                  <a:pt x="9437" y="16344"/>
                  <a:pt x="9500" y="16312"/>
                </a:cubicBezTo>
                <a:cubicBezTo>
                  <a:pt x="9406" y="16312"/>
                  <a:pt x="9343" y="16250"/>
                  <a:pt x="9281" y="16312"/>
                </a:cubicBezTo>
                <a:close/>
                <a:moveTo>
                  <a:pt x="4250" y="18594"/>
                </a:moveTo>
                <a:cubicBezTo>
                  <a:pt x="4187" y="18531"/>
                  <a:pt x="4093" y="18562"/>
                  <a:pt x="4031" y="18562"/>
                </a:cubicBezTo>
                <a:cubicBezTo>
                  <a:pt x="4093" y="18562"/>
                  <a:pt x="4156" y="18625"/>
                  <a:pt x="4250" y="18594"/>
                </a:cubicBezTo>
                <a:cubicBezTo>
                  <a:pt x="4250" y="18625"/>
                  <a:pt x="4281" y="18625"/>
                  <a:pt x="4281" y="18625"/>
                </a:cubicBezTo>
                <a:cubicBezTo>
                  <a:pt x="4406" y="18656"/>
                  <a:pt x="4500" y="18687"/>
                  <a:pt x="4625" y="18719"/>
                </a:cubicBezTo>
                <a:cubicBezTo>
                  <a:pt x="4656" y="18750"/>
                  <a:pt x="4718" y="18750"/>
                  <a:pt x="4750" y="18812"/>
                </a:cubicBezTo>
                <a:cubicBezTo>
                  <a:pt x="4656" y="18812"/>
                  <a:pt x="4562" y="18750"/>
                  <a:pt x="4468" y="18719"/>
                </a:cubicBezTo>
                <a:cubicBezTo>
                  <a:pt x="4218" y="18687"/>
                  <a:pt x="3968" y="18594"/>
                  <a:pt x="3687" y="18562"/>
                </a:cubicBezTo>
                <a:cubicBezTo>
                  <a:pt x="3531" y="18531"/>
                  <a:pt x="3406" y="18469"/>
                  <a:pt x="3250" y="18469"/>
                </a:cubicBezTo>
                <a:cubicBezTo>
                  <a:pt x="3218" y="18469"/>
                  <a:pt x="3187" y="18437"/>
                  <a:pt x="3187" y="18437"/>
                </a:cubicBezTo>
                <a:cubicBezTo>
                  <a:pt x="3187" y="18375"/>
                  <a:pt x="3218" y="18406"/>
                  <a:pt x="3250" y="18406"/>
                </a:cubicBezTo>
                <a:cubicBezTo>
                  <a:pt x="3375" y="18406"/>
                  <a:pt x="3468" y="18437"/>
                  <a:pt x="3562" y="18437"/>
                </a:cubicBezTo>
                <a:cubicBezTo>
                  <a:pt x="3562" y="18437"/>
                  <a:pt x="3562" y="18437"/>
                  <a:pt x="3562" y="18437"/>
                </a:cubicBezTo>
                <a:cubicBezTo>
                  <a:pt x="3593" y="18469"/>
                  <a:pt x="3593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69"/>
                  <a:pt x="3625" y="18469"/>
                  <a:pt x="3625" y="18469"/>
                </a:cubicBezTo>
                <a:cubicBezTo>
                  <a:pt x="3625" y="18437"/>
                  <a:pt x="3593" y="18437"/>
                  <a:pt x="3593" y="18437"/>
                </a:cubicBezTo>
                <a:cubicBezTo>
                  <a:pt x="3562" y="18437"/>
                  <a:pt x="3562" y="18437"/>
                  <a:pt x="3531" y="18406"/>
                </a:cubicBezTo>
                <a:cubicBezTo>
                  <a:pt x="3406" y="18406"/>
                  <a:pt x="3281" y="18375"/>
                  <a:pt x="3187" y="18344"/>
                </a:cubicBezTo>
                <a:cubicBezTo>
                  <a:pt x="3093" y="18344"/>
                  <a:pt x="3031" y="18344"/>
                  <a:pt x="2968" y="18312"/>
                </a:cubicBezTo>
                <a:cubicBezTo>
                  <a:pt x="3000" y="18375"/>
                  <a:pt x="3062" y="18344"/>
                  <a:pt x="3125" y="18375"/>
                </a:cubicBezTo>
                <a:cubicBezTo>
                  <a:pt x="3125" y="18406"/>
                  <a:pt x="3125" y="18437"/>
                  <a:pt x="3093" y="18437"/>
                </a:cubicBezTo>
                <a:cubicBezTo>
                  <a:pt x="3031" y="18406"/>
                  <a:pt x="2937" y="18437"/>
                  <a:pt x="2875" y="18406"/>
                </a:cubicBezTo>
                <a:cubicBezTo>
                  <a:pt x="2750" y="18344"/>
                  <a:pt x="2593" y="18344"/>
                  <a:pt x="2468" y="18312"/>
                </a:cubicBezTo>
                <a:cubicBezTo>
                  <a:pt x="2343" y="18250"/>
                  <a:pt x="2218" y="18250"/>
                  <a:pt x="2062" y="18187"/>
                </a:cubicBezTo>
                <a:cubicBezTo>
                  <a:pt x="1906" y="18156"/>
                  <a:pt x="1781" y="18125"/>
                  <a:pt x="1625" y="18094"/>
                </a:cubicBezTo>
                <a:cubicBezTo>
                  <a:pt x="1468" y="18062"/>
                  <a:pt x="1343" y="18094"/>
                  <a:pt x="1218" y="18031"/>
                </a:cubicBezTo>
                <a:cubicBezTo>
                  <a:pt x="1218" y="18031"/>
                  <a:pt x="1218" y="18031"/>
                  <a:pt x="1218" y="18031"/>
                </a:cubicBezTo>
                <a:cubicBezTo>
                  <a:pt x="1218" y="18031"/>
                  <a:pt x="1218" y="18031"/>
                  <a:pt x="1218" y="18031"/>
                </a:cubicBezTo>
                <a:cubicBezTo>
                  <a:pt x="1187" y="18031"/>
                  <a:pt x="1187" y="18031"/>
                  <a:pt x="1187" y="18031"/>
                </a:cubicBezTo>
                <a:cubicBezTo>
                  <a:pt x="1187" y="18031"/>
                  <a:pt x="1187" y="18031"/>
                  <a:pt x="1187" y="18031"/>
                </a:cubicBezTo>
                <a:cubicBezTo>
                  <a:pt x="1156" y="18031"/>
                  <a:pt x="1156" y="18031"/>
                  <a:pt x="1156" y="18031"/>
                </a:cubicBezTo>
                <a:cubicBezTo>
                  <a:pt x="1125" y="18031"/>
                  <a:pt x="1125" y="18000"/>
                  <a:pt x="1093" y="18031"/>
                </a:cubicBezTo>
                <a:cubicBezTo>
                  <a:pt x="1093" y="18031"/>
                  <a:pt x="1062" y="18031"/>
                  <a:pt x="1062" y="18031"/>
                </a:cubicBezTo>
                <a:cubicBezTo>
                  <a:pt x="1031" y="18031"/>
                  <a:pt x="1031" y="18000"/>
                  <a:pt x="1031" y="18031"/>
                </a:cubicBezTo>
                <a:cubicBezTo>
                  <a:pt x="1000" y="18031"/>
                  <a:pt x="968" y="18031"/>
                  <a:pt x="937" y="18031"/>
                </a:cubicBezTo>
                <a:cubicBezTo>
                  <a:pt x="750" y="18000"/>
                  <a:pt x="562" y="17969"/>
                  <a:pt x="343" y="18000"/>
                </a:cubicBezTo>
                <a:cubicBezTo>
                  <a:pt x="281" y="18000"/>
                  <a:pt x="250" y="18031"/>
                  <a:pt x="187" y="18062"/>
                </a:cubicBezTo>
                <a:cubicBezTo>
                  <a:pt x="218" y="18062"/>
                  <a:pt x="218" y="18062"/>
                  <a:pt x="218" y="18062"/>
                </a:cubicBezTo>
                <a:lnTo>
                  <a:pt x="218" y="18062"/>
                </a:lnTo>
                <a:cubicBezTo>
                  <a:pt x="375" y="18031"/>
                  <a:pt x="531" y="18031"/>
                  <a:pt x="687" y="18062"/>
                </a:cubicBezTo>
                <a:cubicBezTo>
                  <a:pt x="906" y="18094"/>
                  <a:pt x="1125" y="18094"/>
                  <a:pt x="1343" y="18125"/>
                </a:cubicBezTo>
                <a:cubicBezTo>
                  <a:pt x="1593" y="18156"/>
                  <a:pt x="1843" y="18187"/>
                  <a:pt x="2062" y="18281"/>
                </a:cubicBezTo>
                <a:cubicBezTo>
                  <a:pt x="2125" y="18281"/>
                  <a:pt x="2187" y="18312"/>
                  <a:pt x="2250" y="18312"/>
                </a:cubicBezTo>
                <a:cubicBezTo>
                  <a:pt x="2375" y="18344"/>
                  <a:pt x="2468" y="18375"/>
                  <a:pt x="2562" y="18375"/>
                </a:cubicBezTo>
                <a:cubicBezTo>
                  <a:pt x="2718" y="18437"/>
                  <a:pt x="2875" y="18469"/>
                  <a:pt x="3031" y="18500"/>
                </a:cubicBezTo>
                <a:cubicBezTo>
                  <a:pt x="3187" y="18500"/>
                  <a:pt x="3343" y="18562"/>
                  <a:pt x="3531" y="18594"/>
                </a:cubicBezTo>
                <a:cubicBezTo>
                  <a:pt x="3625" y="18594"/>
                  <a:pt x="3750" y="18625"/>
                  <a:pt x="3843" y="18656"/>
                </a:cubicBezTo>
                <a:cubicBezTo>
                  <a:pt x="4000" y="18687"/>
                  <a:pt x="4187" y="18719"/>
                  <a:pt x="4312" y="18781"/>
                </a:cubicBezTo>
                <a:cubicBezTo>
                  <a:pt x="4343" y="18781"/>
                  <a:pt x="4343" y="18781"/>
                  <a:pt x="4343" y="18781"/>
                </a:cubicBezTo>
                <a:cubicBezTo>
                  <a:pt x="4468" y="18812"/>
                  <a:pt x="4625" y="18844"/>
                  <a:pt x="4750" y="18875"/>
                </a:cubicBezTo>
                <a:cubicBezTo>
                  <a:pt x="4875" y="18906"/>
                  <a:pt x="4968" y="18969"/>
                  <a:pt x="5093" y="19000"/>
                </a:cubicBezTo>
                <a:cubicBezTo>
                  <a:pt x="5250" y="19031"/>
                  <a:pt x="5406" y="19094"/>
                  <a:pt x="5562" y="19125"/>
                </a:cubicBezTo>
                <a:cubicBezTo>
                  <a:pt x="5562" y="19156"/>
                  <a:pt x="5562" y="19156"/>
                  <a:pt x="5562" y="19125"/>
                </a:cubicBezTo>
                <a:cubicBezTo>
                  <a:pt x="5562" y="19125"/>
                  <a:pt x="5562" y="19125"/>
                  <a:pt x="5562" y="19125"/>
                </a:cubicBezTo>
                <a:cubicBezTo>
                  <a:pt x="5562" y="19125"/>
                  <a:pt x="5562" y="19125"/>
                  <a:pt x="5562" y="19125"/>
                </a:cubicBezTo>
                <a:cubicBezTo>
                  <a:pt x="5593" y="19125"/>
                  <a:pt x="5656" y="19187"/>
                  <a:pt x="5687" y="19156"/>
                </a:cubicBezTo>
                <a:cubicBezTo>
                  <a:pt x="5843" y="19250"/>
                  <a:pt x="6000" y="19312"/>
                  <a:pt x="6156" y="19344"/>
                </a:cubicBezTo>
                <a:cubicBezTo>
                  <a:pt x="6312" y="19375"/>
                  <a:pt x="6500" y="19437"/>
                  <a:pt x="6656" y="19469"/>
                </a:cubicBezTo>
                <a:cubicBezTo>
                  <a:pt x="6656" y="19500"/>
                  <a:pt x="6687" y="19500"/>
                  <a:pt x="6718" y="19500"/>
                </a:cubicBezTo>
                <a:cubicBezTo>
                  <a:pt x="6718" y="19469"/>
                  <a:pt x="6687" y="19469"/>
                  <a:pt x="6687" y="19469"/>
                </a:cubicBezTo>
                <a:cubicBezTo>
                  <a:pt x="6562" y="19406"/>
                  <a:pt x="6437" y="19344"/>
                  <a:pt x="6312" y="19312"/>
                </a:cubicBezTo>
                <a:cubicBezTo>
                  <a:pt x="6156" y="19281"/>
                  <a:pt x="6031" y="19250"/>
                  <a:pt x="5906" y="19187"/>
                </a:cubicBezTo>
                <a:cubicBezTo>
                  <a:pt x="5812" y="19156"/>
                  <a:pt x="5750" y="19125"/>
                  <a:pt x="5656" y="19125"/>
                </a:cubicBezTo>
                <a:cubicBezTo>
                  <a:pt x="5625" y="19094"/>
                  <a:pt x="5593" y="19062"/>
                  <a:pt x="5562" y="19094"/>
                </a:cubicBezTo>
                <a:cubicBezTo>
                  <a:pt x="5406" y="19031"/>
                  <a:pt x="5250" y="19000"/>
                  <a:pt x="5093" y="18937"/>
                </a:cubicBezTo>
                <a:cubicBezTo>
                  <a:pt x="4968" y="18906"/>
                  <a:pt x="4843" y="18875"/>
                  <a:pt x="4750" y="18812"/>
                </a:cubicBezTo>
                <a:cubicBezTo>
                  <a:pt x="4843" y="18781"/>
                  <a:pt x="4906" y="18875"/>
                  <a:pt x="5000" y="18844"/>
                </a:cubicBezTo>
                <a:cubicBezTo>
                  <a:pt x="5093" y="18906"/>
                  <a:pt x="5187" y="18937"/>
                  <a:pt x="5312" y="18937"/>
                </a:cubicBezTo>
                <a:cubicBezTo>
                  <a:pt x="5187" y="18906"/>
                  <a:pt x="5093" y="18875"/>
                  <a:pt x="5000" y="18844"/>
                </a:cubicBezTo>
                <a:cubicBezTo>
                  <a:pt x="4843" y="18750"/>
                  <a:pt x="4687" y="18687"/>
                  <a:pt x="4500" y="18656"/>
                </a:cubicBezTo>
                <a:cubicBezTo>
                  <a:pt x="4437" y="18625"/>
                  <a:pt x="4343" y="18594"/>
                  <a:pt x="4250" y="18594"/>
                </a:cubicBezTo>
                <a:close/>
                <a:moveTo>
                  <a:pt x="7343" y="19312"/>
                </a:moveTo>
                <a:cubicBezTo>
                  <a:pt x="7312" y="19312"/>
                  <a:pt x="7312" y="19312"/>
                  <a:pt x="7281" y="19281"/>
                </a:cubicBezTo>
                <a:cubicBezTo>
                  <a:pt x="7281" y="19312"/>
                  <a:pt x="7250" y="19281"/>
                  <a:pt x="7250" y="19312"/>
                </a:cubicBezTo>
                <a:cubicBezTo>
                  <a:pt x="7250" y="19312"/>
                  <a:pt x="7281" y="19344"/>
                  <a:pt x="7281" y="19344"/>
                </a:cubicBezTo>
                <a:cubicBezTo>
                  <a:pt x="7312" y="19375"/>
                  <a:pt x="7343" y="19406"/>
                  <a:pt x="7375" y="19406"/>
                </a:cubicBezTo>
                <a:cubicBezTo>
                  <a:pt x="7375" y="19406"/>
                  <a:pt x="7375" y="19375"/>
                  <a:pt x="7375" y="19344"/>
                </a:cubicBezTo>
                <a:cubicBezTo>
                  <a:pt x="7343" y="19375"/>
                  <a:pt x="7343" y="19344"/>
                  <a:pt x="7343" y="19312"/>
                </a:cubicBezTo>
                <a:close/>
                <a:moveTo>
                  <a:pt x="7375" y="19344"/>
                </a:moveTo>
                <a:cubicBezTo>
                  <a:pt x="7437" y="19344"/>
                  <a:pt x="7375" y="19312"/>
                  <a:pt x="7375" y="19281"/>
                </a:cubicBezTo>
                <a:cubicBezTo>
                  <a:pt x="7281" y="19219"/>
                  <a:pt x="7218" y="19156"/>
                  <a:pt x="7093" y="19094"/>
                </a:cubicBezTo>
                <a:cubicBezTo>
                  <a:pt x="7000" y="19062"/>
                  <a:pt x="6906" y="19000"/>
                  <a:pt x="6781" y="19000"/>
                </a:cubicBezTo>
                <a:cubicBezTo>
                  <a:pt x="6656" y="18937"/>
                  <a:pt x="6500" y="18937"/>
                  <a:pt x="6375" y="18875"/>
                </a:cubicBezTo>
                <a:cubicBezTo>
                  <a:pt x="6343" y="18844"/>
                  <a:pt x="6312" y="18844"/>
                  <a:pt x="6281" y="18844"/>
                </a:cubicBezTo>
                <a:cubicBezTo>
                  <a:pt x="6218" y="18812"/>
                  <a:pt x="6187" y="18781"/>
                  <a:pt x="6093" y="18781"/>
                </a:cubicBezTo>
                <a:cubicBezTo>
                  <a:pt x="6031" y="18719"/>
                  <a:pt x="5937" y="18719"/>
                  <a:pt x="5875" y="18719"/>
                </a:cubicBezTo>
                <a:cubicBezTo>
                  <a:pt x="5937" y="18750"/>
                  <a:pt x="6031" y="18781"/>
                  <a:pt x="6093" y="18812"/>
                </a:cubicBezTo>
                <a:cubicBezTo>
                  <a:pt x="6156" y="18844"/>
                  <a:pt x="6218" y="18844"/>
                  <a:pt x="6281" y="18875"/>
                </a:cubicBezTo>
                <a:cubicBezTo>
                  <a:pt x="6281" y="18875"/>
                  <a:pt x="6281" y="18875"/>
                  <a:pt x="6281" y="18875"/>
                </a:cubicBezTo>
                <a:cubicBezTo>
                  <a:pt x="6281" y="18875"/>
                  <a:pt x="6250" y="18906"/>
                  <a:pt x="6250" y="18906"/>
                </a:cubicBezTo>
                <a:cubicBezTo>
                  <a:pt x="6187" y="18875"/>
                  <a:pt x="6125" y="18875"/>
                  <a:pt x="6093" y="18844"/>
                </a:cubicBezTo>
                <a:cubicBezTo>
                  <a:pt x="6000" y="18812"/>
                  <a:pt x="5937" y="18781"/>
                  <a:pt x="5843" y="18812"/>
                </a:cubicBezTo>
                <a:cubicBezTo>
                  <a:pt x="5812" y="18781"/>
                  <a:pt x="5750" y="18750"/>
                  <a:pt x="5718" y="18750"/>
                </a:cubicBezTo>
                <a:cubicBezTo>
                  <a:pt x="5625" y="18719"/>
                  <a:pt x="5562" y="18687"/>
                  <a:pt x="5468" y="18687"/>
                </a:cubicBezTo>
                <a:cubicBezTo>
                  <a:pt x="5468" y="18656"/>
                  <a:pt x="5437" y="18656"/>
                  <a:pt x="5406" y="18656"/>
                </a:cubicBezTo>
                <a:cubicBezTo>
                  <a:pt x="5281" y="18594"/>
                  <a:pt x="5156" y="18562"/>
                  <a:pt x="5031" y="18531"/>
                </a:cubicBezTo>
                <a:cubicBezTo>
                  <a:pt x="4875" y="18500"/>
                  <a:pt x="4750" y="18500"/>
                  <a:pt x="4625" y="18437"/>
                </a:cubicBezTo>
                <a:cubicBezTo>
                  <a:pt x="4375" y="18312"/>
                  <a:pt x="4093" y="18219"/>
                  <a:pt x="3781" y="18156"/>
                </a:cubicBezTo>
                <a:cubicBezTo>
                  <a:pt x="3531" y="18094"/>
                  <a:pt x="3281" y="18062"/>
                  <a:pt x="3031" y="18000"/>
                </a:cubicBezTo>
                <a:cubicBezTo>
                  <a:pt x="2875" y="17969"/>
                  <a:pt x="2687" y="17937"/>
                  <a:pt x="2531" y="17906"/>
                </a:cubicBezTo>
                <a:cubicBezTo>
                  <a:pt x="2312" y="17875"/>
                  <a:pt x="2125" y="17812"/>
                  <a:pt x="1906" y="17750"/>
                </a:cubicBezTo>
                <a:cubicBezTo>
                  <a:pt x="1875" y="17719"/>
                  <a:pt x="1843" y="17750"/>
                  <a:pt x="1843" y="17750"/>
                </a:cubicBezTo>
                <a:cubicBezTo>
                  <a:pt x="1812" y="17750"/>
                  <a:pt x="1812" y="17750"/>
                  <a:pt x="1812" y="17750"/>
                </a:cubicBezTo>
                <a:cubicBezTo>
                  <a:pt x="1781" y="17750"/>
                  <a:pt x="1781" y="17750"/>
                  <a:pt x="1781" y="17750"/>
                </a:cubicBezTo>
                <a:cubicBezTo>
                  <a:pt x="1781" y="17750"/>
                  <a:pt x="1750" y="17750"/>
                  <a:pt x="1750" y="17750"/>
                </a:cubicBezTo>
                <a:cubicBezTo>
                  <a:pt x="1718" y="17750"/>
                  <a:pt x="1718" y="17750"/>
                  <a:pt x="1718" y="17719"/>
                </a:cubicBezTo>
                <a:cubicBezTo>
                  <a:pt x="1656" y="17719"/>
                  <a:pt x="1562" y="17687"/>
                  <a:pt x="1500" y="17687"/>
                </a:cubicBezTo>
                <a:cubicBezTo>
                  <a:pt x="1343" y="17687"/>
                  <a:pt x="1187" y="17656"/>
                  <a:pt x="1031" y="17656"/>
                </a:cubicBezTo>
                <a:cubicBezTo>
                  <a:pt x="1000" y="17625"/>
                  <a:pt x="937" y="17687"/>
                  <a:pt x="875" y="17625"/>
                </a:cubicBezTo>
                <a:cubicBezTo>
                  <a:pt x="1281" y="17594"/>
                  <a:pt x="1656" y="17656"/>
                  <a:pt x="2031" y="17719"/>
                </a:cubicBezTo>
                <a:cubicBezTo>
                  <a:pt x="2031" y="17719"/>
                  <a:pt x="2031" y="17719"/>
                  <a:pt x="2000" y="17719"/>
                </a:cubicBezTo>
                <a:cubicBezTo>
                  <a:pt x="1937" y="17656"/>
                  <a:pt x="1843" y="17687"/>
                  <a:pt x="1781" y="17656"/>
                </a:cubicBezTo>
                <a:cubicBezTo>
                  <a:pt x="1593" y="17594"/>
                  <a:pt x="1406" y="17625"/>
                  <a:pt x="1218" y="17594"/>
                </a:cubicBezTo>
                <a:cubicBezTo>
                  <a:pt x="1125" y="17562"/>
                  <a:pt x="1062" y="17562"/>
                  <a:pt x="968" y="17594"/>
                </a:cubicBezTo>
                <a:cubicBezTo>
                  <a:pt x="937" y="17594"/>
                  <a:pt x="875" y="17625"/>
                  <a:pt x="843" y="17594"/>
                </a:cubicBezTo>
                <a:cubicBezTo>
                  <a:pt x="968" y="17531"/>
                  <a:pt x="1125" y="17531"/>
                  <a:pt x="1281" y="17562"/>
                </a:cubicBezTo>
                <a:cubicBezTo>
                  <a:pt x="1593" y="17562"/>
                  <a:pt x="1906" y="17625"/>
                  <a:pt x="2218" y="17687"/>
                </a:cubicBezTo>
                <a:cubicBezTo>
                  <a:pt x="2437" y="17750"/>
                  <a:pt x="2656" y="17781"/>
                  <a:pt x="2875" y="17844"/>
                </a:cubicBezTo>
                <a:cubicBezTo>
                  <a:pt x="2937" y="17844"/>
                  <a:pt x="2968" y="17875"/>
                  <a:pt x="3031" y="17875"/>
                </a:cubicBezTo>
                <a:cubicBezTo>
                  <a:pt x="3156" y="17875"/>
                  <a:pt x="3250" y="17906"/>
                  <a:pt x="3343" y="17906"/>
                </a:cubicBezTo>
                <a:cubicBezTo>
                  <a:pt x="3531" y="17969"/>
                  <a:pt x="3718" y="17969"/>
                  <a:pt x="3875" y="18031"/>
                </a:cubicBezTo>
                <a:cubicBezTo>
                  <a:pt x="4000" y="18094"/>
                  <a:pt x="4125" y="18094"/>
                  <a:pt x="4281" y="18156"/>
                </a:cubicBezTo>
                <a:cubicBezTo>
                  <a:pt x="4437" y="18187"/>
                  <a:pt x="4593" y="18250"/>
                  <a:pt x="4750" y="18281"/>
                </a:cubicBezTo>
                <a:cubicBezTo>
                  <a:pt x="4875" y="18344"/>
                  <a:pt x="5000" y="18375"/>
                  <a:pt x="5156" y="18406"/>
                </a:cubicBezTo>
                <a:cubicBezTo>
                  <a:pt x="5312" y="18469"/>
                  <a:pt x="5468" y="18531"/>
                  <a:pt x="5625" y="18562"/>
                </a:cubicBezTo>
                <a:cubicBezTo>
                  <a:pt x="5625" y="18562"/>
                  <a:pt x="5625" y="18562"/>
                  <a:pt x="5625" y="18562"/>
                </a:cubicBezTo>
                <a:cubicBezTo>
                  <a:pt x="5718" y="18594"/>
                  <a:pt x="5812" y="18594"/>
                  <a:pt x="5906" y="18656"/>
                </a:cubicBezTo>
                <a:cubicBezTo>
                  <a:pt x="6000" y="18687"/>
                  <a:pt x="6093" y="18687"/>
                  <a:pt x="6187" y="18750"/>
                </a:cubicBezTo>
                <a:cubicBezTo>
                  <a:pt x="6218" y="18750"/>
                  <a:pt x="6250" y="18750"/>
                  <a:pt x="6250" y="18750"/>
                </a:cubicBezTo>
                <a:cubicBezTo>
                  <a:pt x="6281" y="18781"/>
                  <a:pt x="6312" y="18781"/>
                  <a:pt x="6343" y="18812"/>
                </a:cubicBezTo>
                <a:cubicBezTo>
                  <a:pt x="6343" y="18812"/>
                  <a:pt x="6375" y="18812"/>
                  <a:pt x="6375" y="18812"/>
                </a:cubicBezTo>
                <a:cubicBezTo>
                  <a:pt x="6375" y="18812"/>
                  <a:pt x="6375" y="18781"/>
                  <a:pt x="6375" y="18781"/>
                </a:cubicBezTo>
                <a:cubicBezTo>
                  <a:pt x="6343" y="18750"/>
                  <a:pt x="6312" y="18750"/>
                  <a:pt x="6250" y="18719"/>
                </a:cubicBezTo>
                <a:cubicBezTo>
                  <a:pt x="6156" y="18656"/>
                  <a:pt x="6031" y="18687"/>
                  <a:pt x="5937" y="18594"/>
                </a:cubicBezTo>
                <a:cubicBezTo>
                  <a:pt x="5843" y="18562"/>
                  <a:pt x="5750" y="18531"/>
                  <a:pt x="5656" y="18531"/>
                </a:cubicBezTo>
                <a:cubicBezTo>
                  <a:pt x="5625" y="18500"/>
                  <a:pt x="5625" y="18500"/>
                  <a:pt x="5593" y="18500"/>
                </a:cubicBezTo>
                <a:cubicBezTo>
                  <a:pt x="5531" y="18500"/>
                  <a:pt x="5468" y="18469"/>
                  <a:pt x="5437" y="18469"/>
                </a:cubicBezTo>
                <a:cubicBezTo>
                  <a:pt x="5312" y="18406"/>
                  <a:pt x="5187" y="18375"/>
                  <a:pt x="5031" y="18312"/>
                </a:cubicBezTo>
                <a:cubicBezTo>
                  <a:pt x="4906" y="18281"/>
                  <a:pt x="4781" y="18250"/>
                  <a:pt x="4656" y="18219"/>
                </a:cubicBezTo>
                <a:cubicBezTo>
                  <a:pt x="4500" y="18187"/>
                  <a:pt x="4375" y="18125"/>
                  <a:pt x="4250" y="18094"/>
                </a:cubicBezTo>
                <a:cubicBezTo>
                  <a:pt x="4093" y="18062"/>
                  <a:pt x="3968" y="18000"/>
                  <a:pt x="3843" y="17969"/>
                </a:cubicBezTo>
                <a:cubicBezTo>
                  <a:pt x="3718" y="17937"/>
                  <a:pt x="3625" y="17906"/>
                  <a:pt x="3500" y="17875"/>
                </a:cubicBezTo>
                <a:cubicBezTo>
                  <a:pt x="3406" y="17844"/>
                  <a:pt x="3312" y="17875"/>
                  <a:pt x="3250" y="17844"/>
                </a:cubicBezTo>
                <a:cubicBezTo>
                  <a:pt x="3031" y="17781"/>
                  <a:pt x="2812" y="17750"/>
                  <a:pt x="2625" y="17719"/>
                </a:cubicBezTo>
                <a:cubicBezTo>
                  <a:pt x="2593" y="17687"/>
                  <a:pt x="2562" y="17719"/>
                  <a:pt x="2531" y="17719"/>
                </a:cubicBezTo>
                <a:cubicBezTo>
                  <a:pt x="2343" y="17656"/>
                  <a:pt x="2156" y="17625"/>
                  <a:pt x="1968" y="17594"/>
                </a:cubicBezTo>
                <a:cubicBezTo>
                  <a:pt x="1750" y="17531"/>
                  <a:pt x="1562" y="17500"/>
                  <a:pt x="1343" y="17500"/>
                </a:cubicBezTo>
                <a:cubicBezTo>
                  <a:pt x="1156" y="17469"/>
                  <a:pt x="968" y="17469"/>
                  <a:pt x="812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18" y="17594"/>
                  <a:pt x="687" y="17625"/>
                  <a:pt x="656" y="17687"/>
                </a:cubicBezTo>
                <a:cubicBezTo>
                  <a:pt x="656" y="17687"/>
                  <a:pt x="656" y="17687"/>
                  <a:pt x="625" y="17719"/>
                </a:cubicBezTo>
                <a:cubicBezTo>
                  <a:pt x="625" y="17687"/>
                  <a:pt x="593" y="17719"/>
                  <a:pt x="593" y="17719"/>
                </a:cubicBezTo>
                <a:cubicBezTo>
                  <a:pt x="593" y="17781"/>
                  <a:pt x="625" y="17750"/>
                  <a:pt x="625" y="17750"/>
                </a:cubicBezTo>
                <a:lnTo>
                  <a:pt x="625" y="17750"/>
                </a:lnTo>
                <a:cubicBezTo>
                  <a:pt x="812" y="17719"/>
                  <a:pt x="968" y="17719"/>
                  <a:pt x="1125" y="17719"/>
                </a:cubicBezTo>
                <a:cubicBezTo>
                  <a:pt x="1312" y="17719"/>
                  <a:pt x="1500" y="17750"/>
                  <a:pt x="1718" y="17781"/>
                </a:cubicBezTo>
                <a:cubicBezTo>
                  <a:pt x="1937" y="17844"/>
                  <a:pt x="2187" y="17875"/>
                  <a:pt x="2406" y="17937"/>
                </a:cubicBezTo>
                <a:cubicBezTo>
                  <a:pt x="2593" y="17969"/>
                  <a:pt x="2812" y="18031"/>
                  <a:pt x="3031" y="18062"/>
                </a:cubicBezTo>
                <a:cubicBezTo>
                  <a:pt x="3250" y="18094"/>
                  <a:pt x="3468" y="18156"/>
                  <a:pt x="3656" y="18219"/>
                </a:cubicBezTo>
                <a:cubicBezTo>
                  <a:pt x="3781" y="18219"/>
                  <a:pt x="3875" y="18281"/>
                  <a:pt x="4000" y="18281"/>
                </a:cubicBezTo>
                <a:cubicBezTo>
                  <a:pt x="4031" y="18281"/>
                  <a:pt x="4031" y="18281"/>
                  <a:pt x="4062" y="18344"/>
                </a:cubicBezTo>
                <a:cubicBezTo>
                  <a:pt x="3781" y="18250"/>
                  <a:pt x="3500" y="18219"/>
                  <a:pt x="3218" y="18156"/>
                </a:cubicBezTo>
                <a:cubicBezTo>
                  <a:pt x="3062" y="18094"/>
                  <a:pt x="2875" y="18094"/>
                  <a:pt x="2687" y="18062"/>
                </a:cubicBezTo>
                <a:cubicBezTo>
                  <a:pt x="2781" y="18094"/>
                  <a:pt x="2906" y="18125"/>
                  <a:pt x="3000" y="18156"/>
                </a:cubicBezTo>
                <a:cubicBezTo>
                  <a:pt x="3062" y="18156"/>
                  <a:pt x="3125" y="18187"/>
                  <a:pt x="3218" y="18187"/>
                </a:cubicBezTo>
                <a:cubicBezTo>
                  <a:pt x="3250" y="18187"/>
                  <a:pt x="3281" y="18187"/>
                  <a:pt x="3312" y="18187"/>
                </a:cubicBezTo>
                <a:cubicBezTo>
                  <a:pt x="3437" y="18219"/>
                  <a:pt x="3562" y="18250"/>
                  <a:pt x="3687" y="18281"/>
                </a:cubicBezTo>
                <a:cubicBezTo>
                  <a:pt x="3781" y="18312"/>
                  <a:pt x="3875" y="18344"/>
                  <a:pt x="4000" y="18344"/>
                </a:cubicBezTo>
                <a:cubicBezTo>
                  <a:pt x="4093" y="18375"/>
                  <a:pt x="4187" y="18406"/>
                  <a:pt x="4281" y="18437"/>
                </a:cubicBezTo>
                <a:cubicBezTo>
                  <a:pt x="4500" y="18500"/>
                  <a:pt x="4687" y="18562"/>
                  <a:pt x="4906" y="18625"/>
                </a:cubicBezTo>
                <a:cubicBezTo>
                  <a:pt x="4906" y="18594"/>
                  <a:pt x="4843" y="18594"/>
                  <a:pt x="4875" y="18562"/>
                </a:cubicBezTo>
                <a:cubicBezTo>
                  <a:pt x="4875" y="18562"/>
                  <a:pt x="4875" y="18562"/>
                  <a:pt x="4906" y="18562"/>
                </a:cubicBezTo>
                <a:cubicBezTo>
                  <a:pt x="5031" y="18594"/>
                  <a:pt x="5187" y="18625"/>
                  <a:pt x="5312" y="18656"/>
                </a:cubicBezTo>
                <a:cubicBezTo>
                  <a:pt x="5375" y="18687"/>
                  <a:pt x="5406" y="18719"/>
                  <a:pt x="5468" y="18687"/>
                </a:cubicBezTo>
                <a:cubicBezTo>
                  <a:pt x="5531" y="18750"/>
                  <a:pt x="5625" y="18750"/>
                  <a:pt x="5687" y="18781"/>
                </a:cubicBezTo>
                <a:cubicBezTo>
                  <a:pt x="5687" y="18781"/>
                  <a:pt x="5687" y="18781"/>
                  <a:pt x="5687" y="18781"/>
                </a:cubicBezTo>
                <a:cubicBezTo>
                  <a:pt x="5750" y="18812"/>
                  <a:pt x="5781" y="18844"/>
                  <a:pt x="5843" y="18844"/>
                </a:cubicBezTo>
                <a:cubicBezTo>
                  <a:pt x="5875" y="18844"/>
                  <a:pt x="5906" y="18844"/>
                  <a:pt x="5968" y="18844"/>
                </a:cubicBezTo>
                <a:cubicBezTo>
                  <a:pt x="5968" y="18844"/>
                  <a:pt x="5968" y="18844"/>
                  <a:pt x="5968" y="18844"/>
                </a:cubicBezTo>
                <a:cubicBezTo>
                  <a:pt x="5968" y="18844"/>
                  <a:pt x="5968" y="18844"/>
                  <a:pt x="5968" y="18844"/>
                </a:cubicBezTo>
                <a:cubicBezTo>
                  <a:pt x="5968" y="18875"/>
                  <a:pt x="6000" y="18875"/>
                  <a:pt x="6000" y="18875"/>
                </a:cubicBezTo>
                <a:cubicBezTo>
                  <a:pt x="6062" y="18937"/>
                  <a:pt x="6093" y="18906"/>
                  <a:pt x="6125" y="18906"/>
                </a:cubicBezTo>
                <a:cubicBezTo>
                  <a:pt x="6125" y="18906"/>
                  <a:pt x="6125" y="18906"/>
                  <a:pt x="6125" y="18906"/>
                </a:cubicBezTo>
                <a:cubicBezTo>
                  <a:pt x="6156" y="18937"/>
                  <a:pt x="6156" y="18937"/>
                  <a:pt x="6156" y="18937"/>
                </a:cubicBezTo>
                <a:cubicBezTo>
                  <a:pt x="6281" y="18969"/>
                  <a:pt x="6375" y="19031"/>
                  <a:pt x="6500" y="19062"/>
                </a:cubicBezTo>
                <a:cubicBezTo>
                  <a:pt x="6468" y="19000"/>
                  <a:pt x="6406" y="18969"/>
                  <a:pt x="6375" y="18969"/>
                </a:cubicBezTo>
                <a:cubicBezTo>
                  <a:pt x="6375" y="18937"/>
                  <a:pt x="6375" y="18937"/>
                  <a:pt x="6375" y="18937"/>
                </a:cubicBezTo>
                <a:cubicBezTo>
                  <a:pt x="6375" y="18937"/>
                  <a:pt x="6406" y="18906"/>
                  <a:pt x="6406" y="18906"/>
                </a:cubicBezTo>
                <a:cubicBezTo>
                  <a:pt x="6531" y="18937"/>
                  <a:pt x="6656" y="18969"/>
                  <a:pt x="6781" y="19000"/>
                </a:cubicBezTo>
                <a:cubicBezTo>
                  <a:pt x="6906" y="19062"/>
                  <a:pt x="7062" y="19125"/>
                  <a:pt x="7187" y="19187"/>
                </a:cubicBezTo>
                <a:cubicBezTo>
                  <a:pt x="7218" y="19219"/>
                  <a:pt x="7281" y="19219"/>
                  <a:pt x="7281" y="19281"/>
                </a:cubicBezTo>
                <a:cubicBezTo>
                  <a:pt x="7312" y="19281"/>
                  <a:pt x="7343" y="19281"/>
                  <a:pt x="7343" y="19312"/>
                </a:cubicBezTo>
                <a:cubicBezTo>
                  <a:pt x="7375" y="19312"/>
                  <a:pt x="7375" y="19344"/>
                  <a:pt x="7375" y="19344"/>
                </a:cubicBezTo>
                <a:close/>
                <a:moveTo>
                  <a:pt x="6406" y="18687"/>
                </a:moveTo>
                <a:cubicBezTo>
                  <a:pt x="6468" y="18719"/>
                  <a:pt x="6500" y="18750"/>
                  <a:pt x="6593" y="18750"/>
                </a:cubicBezTo>
                <a:cubicBezTo>
                  <a:pt x="6593" y="18750"/>
                  <a:pt x="6593" y="18750"/>
                  <a:pt x="6593" y="18750"/>
                </a:cubicBezTo>
                <a:cubicBezTo>
                  <a:pt x="6812" y="18781"/>
                  <a:pt x="7000" y="18875"/>
                  <a:pt x="7156" y="18969"/>
                </a:cubicBezTo>
                <a:cubicBezTo>
                  <a:pt x="7218" y="19031"/>
                  <a:pt x="7250" y="19031"/>
                  <a:pt x="7250" y="19062"/>
                </a:cubicBezTo>
                <a:cubicBezTo>
                  <a:pt x="7187" y="19094"/>
                  <a:pt x="7187" y="19031"/>
                  <a:pt x="7125" y="19031"/>
                </a:cubicBezTo>
                <a:cubicBezTo>
                  <a:pt x="7218" y="19094"/>
                  <a:pt x="7281" y="19187"/>
                  <a:pt x="7375" y="19219"/>
                </a:cubicBezTo>
                <a:cubicBezTo>
                  <a:pt x="7375" y="19187"/>
                  <a:pt x="7312" y="19156"/>
                  <a:pt x="7312" y="19125"/>
                </a:cubicBezTo>
                <a:cubicBezTo>
                  <a:pt x="7343" y="19125"/>
                  <a:pt x="7375" y="19156"/>
                  <a:pt x="7406" y="19125"/>
                </a:cubicBezTo>
                <a:cubicBezTo>
                  <a:pt x="7343" y="19094"/>
                  <a:pt x="7281" y="19000"/>
                  <a:pt x="7218" y="18969"/>
                </a:cubicBezTo>
                <a:cubicBezTo>
                  <a:pt x="7000" y="18844"/>
                  <a:pt x="6812" y="18750"/>
                  <a:pt x="6593" y="18719"/>
                </a:cubicBezTo>
                <a:cubicBezTo>
                  <a:pt x="6531" y="18687"/>
                  <a:pt x="6468" y="18687"/>
                  <a:pt x="6406" y="18687"/>
                </a:cubicBezTo>
                <a:close/>
                <a:moveTo>
                  <a:pt x="7375" y="19219"/>
                </a:moveTo>
                <a:cubicBezTo>
                  <a:pt x="7375" y="19219"/>
                  <a:pt x="7375" y="19219"/>
                  <a:pt x="7375" y="19219"/>
                </a:cubicBezTo>
                <a:cubicBezTo>
                  <a:pt x="7375" y="19219"/>
                  <a:pt x="7375" y="19219"/>
                  <a:pt x="7375" y="19219"/>
                </a:cubicBezTo>
                <a:cubicBezTo>
                  <a:pt x="7375" y="19219"/>
                  <a:pt x="7375" y="19219"/>
                  <a:pt x="7375" y="19219"/>
                </a:cubicBezTo>
                <a:close/>
                <a:moveTo>
                  <a:pt x="7250" y="19062"/>
                </a:moveTo>
                <a:cubicBezTo>
                  <a:pt x="7281" y="19062"/>
                  <a:pt x="7312" y="19094"/>
                  <a:pt x="7312" y="19125"/>
                </a:cubicBezTo>
                <a:cubicBezTo>
                  <a:pt x="7281" y="19125"/>
                  <a:pt x="7281" y="19094"/>
                  <a:pt x="7250" y="19062"/>
                </a:cubicBezTo>
                <a:close/>
                <a:moveTo>
                  <a:pt x="3562" y="16969"/>
                </a:moveTo>
                <a:cubicBezTo>
                  <a:pt x="3531" y="16969"/>
                  <a:pt x="3531" y="16969"/>
                  <a:pt x="3531" y="16969"/>
                </a:cubicBezTo>
                <a:cubicBezTo>
                  <a:pt x="3437" y="16937"/>
                  <a:pt x="3343" y="16906"/>
                  <a:pt x="3250" y="16937"/>
                </a:cubicBezTo>
                <a:cubicBezTo>
                  <a:pt x="3343" y="16969"/>
                  <a:pt x="3437" y="16969"/>
                  <a:pt x="3531" y="16969"/>
                </a:cubicBezTo>
                <a:cubicBezTo>
                  <a:pt x="3531" y="16969"/>
                  <a:pt x="3531" y="17000"/>
                  <a:pt x="3531" y="17000"/>
                </a:cubicBezTo>
                <a:cubicBezTo>
                  <a:pt x="3562" y="17000"/>
                  <a:pt x="3562" y="17000"/>
                  <a:pt x="3562" y="16969"/>
                </a:cubicBezTo>
                <a:close/>
                <a:moveTo>
                  <a:pt x="3250" y="16937"/>
                </a:moveTo>
                <a:cubicBezTo>
                  <a:pt x="3250" y="16937"/>
                  <a:pt x="3250" y="16937"/>
                  <a:pt x="3250" y="16906"/>
                </a:cubicBezTo>
                <a:cubicBezTo>
                  <a:pt x="3250" y="16875"/>
                  <a:pt x="3187" y="16906"/>
                  <a:pt x="3187" y="16844"/>
                </a:cubicBezTo>
                <a:cubicBezTo>
                  <a:pt x="3187" y="16844"/>
                  <a:pt x="3218" y="16844"/>
                  <a:pt x="3218" y="16844"/>
                </a:cubicBezTo>
                <a:cubicBezTo>
                  <a:pt x="3406" y="16875"/>
                  <a:pt x="3593" y="16906"/>
                  <a:pt x="3781" y="16969"/>
                </a:cubicBezTo>
                <a:cubicBezTo>
                  <a:pt x="3875" y="17000"/>
                  <a:pt x="3968" y="17000"/>
                  <a:pt x="4062" y="17031"/>
                </a:cubicBezTo>
                <a:cubicBezTo>
                  <a:pt x="4343" y="17125"/>
                  <a:pt x="4625" y="17219"/>
                  <a:pt x="4906" y="17281"/>
                </a:cubicBezTo>
                <a:cubicBezTo>
                  <a:pt x="4906" y="17312"/>
                  <a:pt x="4937" y="17312"/>
                  <a:pt x="4937" y="17344"/>
                </a:cubicBezTo>
                <a:cubicBezTo>
                  <a:pt x="4937" y="17375"/>
                  <a:pt x="4906" y="17344"/>
                  <a:pt x="4875" y="17344"/>
                </a:cubicBezTo>
                <a:cubicBezTo>
                  <a:pt x="4750" y="17312"/>
                  <a:pt x="4625" y="17250"/>
                  <a:pt x="4468" y="17219"/>
                </a:cubicBezTo>
                <a:cubicBezTo>
                  <a:pt x="4343" y="17187"/>
                  <a:pt x="4218" y="17125"/>
                  <a:pt x="4062" y="17094"/>
                </a:cubicBezTo>
                <a:cubicBezTo>
                  <a:pt x="4062" y="17094"/>
                  <a:pt x="4062" y="17094"/>
                  <a:pt x="4062" y="17094"/>
                </a:cubicBezTo>
                <a:cubicBezTo>
                  <a:pt x="4031" y="17094"/>
                  <a:pt x="4031" y="17094"/>
                  <a:pt x="4000" y="17094"/>
                </a:cubicBezTo>
                <a:cubicBezTo>
                  <a:pt x="4000" y="17094"/>
                  <a:pt x="4031" y="17125"/>
                  <a:pt x="4062" y="17125"/>
                </a:cubicBezTo>
                <a:cubicBezTo>
                  <a:pt x="4062" y="17125"/>
                  <a:pt x="4062" y="17125"/>
                  <a:pt x="4062" y="17125"/>
                </a:cubicBezTo>
                <a:cubicBezTo>
                  <a:pt x="4187" y="17156"/>
                  <a:pt x="4312" y="17219"/>
                  <a:pt x="4437" y="17250"/>
                </a:cubicBezTo>
                <a:cubicBezTo>
                  <a:pt x="4718" y="17344"/>
                  <a:pt x="5031" y="17437"/>
                  <a:pt x="5312" y="17500"/>
                </a:cubicBezTo>
                <a:cubicBezTo>
                  <a:pt x="5218" y="17437"/>
                  <a:pt x="5062" y="17406"/>
                  <a:pt x="4937" y="17344"/>
                </a:cubicBezTo>
                <a:cubicBezTo>
                  <a:pt x="4968" y="17312"/>
                  <a:pt x="5000" y="17312"/>
                  <a:pt x="5031" y="17312"/>
                </a:cubicBezTo>
                <a:cubicBezTo>
                  <a:pt x="5156" y="17344"/>
                  <a:pt x="5250" y="17375"/>
                  <a:pt x="5343" y="17406"/>
                </a:cubicBezTo>
                <a:cubicBezTo>
                  <a:pt x="5375" y="17406"/>
                  <a:pt x="5375" y="17406"/>
                  <a:pt x="5375" y="17406"/>
                </a:cubicBezTo>
                <a:cubicBezTo>
                  <a:pt x="5468" y="17437"/>
                  <a:pt x="5562" y="17469"/>
                  <a:pt x="5656" y="17500"/>
                </a:cubicBezTo>
                <a:cubicBezTo>
                  <a:pt x="5750" y="17531"/>
                  <a:pt x="5812" y="17594"/>
                  <a:pt x="5875" y="17625"/>
                </a:cubicBezTo>
                <a:cubicBezTo>
                  <a:pt x="5906" y="17625"/>
                  <a:pt x="5906" y="17625"/>
                  <a:pt x="5937" y="17625"/>
                </a:cubicBezTo>
                <a:cubicBezTo>
                  <a:pt x="5937" y="17594"/>
                  <a:pt x="5906" y="17594"/>
                  <a:pt x="5906" y="17562"/>
                </a:cubicBezTo>
                <a:cubicBezTo>
                  <a:pt x="5875" y="17562"/>
                  <a:pt x="5812" y="17562"/>
                  <a:pt x="5781" y="17500"/>
                </a:cubicBezTo>
                <a:cubicBezTo>
                  <a:pt x="5812" y="17500"/>
                  <a:pt x="5843" y="17531"/>
                  <a:pt x="5875" y="17500"/>
                </a:cubicBezTo>
                <a:cubicBezTo>
                  <a:pt x="5843" y="17469"/>
                  <a:pt x="5812" y="17469"/>
                  <a:pt x="5812" y="17437"/>
                </a:cubicBezTo>
                <a:cubicBezTo>
                  <a:pt x="5906" y="17406"/>
                  <a:pt x="5968" y="17469"/>
                  <a:pt x="6031" y="17500"/>
                </a:cubicBezTo>
                <a:cubicBezTo>
                  <a:pt x="6250" y="17562"/>
                  <a:pt x="6437" y="17656"/>
                  <a:pt x="6656" y="17750"/>
                </a:cubicBezTo>
                <a:cubicBezTo>
                  <a:pt x="6687" y="17781"/>
                  <a:pt x="6718" y="17844"/>
                  <a:pt x="6750" y="17781"/>
                </a:cubicBezTo>
                <a:cubicBezTo>
                  <a:pt x="6750" y="17750"/>
                  <a:pt x="6687" y="17719"/>
                  <a:pt x="6656" y="17719"/>
                </a:cubicBezTo>
                <a:cubicBezTo>
                  <a:pt x="6468" y="17594"/>
                  <a:pt x="6281" y="17531"/>
                  <a:pt x="6062" y="17469"/>
                </a:cubicBezTo>
                <a:cubicBezTo>
                  <a:pt x="5968" y="17437"/>
                  <a:pt x="5906" y="17406"/>
                  <a:pt x="5812" y="17344"/>
                </a:cubicBezTo>
                <a:cubicBezTo>
                  <a:pt x="5781" y="17344"/>
                  <a:pt x="5781" y="17344"/>
                  <a:pt x="5750" y="17344"/>
                </a:cubicBezTo>
                <a:cubicBezTo>
                  <a:pt x="5750" y="17406"/>
                  <a:pt x="5843" y="17375"/>
                  <a:pt x="5812" y="17437"/>
                </a:cubicBezTo>
                <a:cubicBezTo>
                  <a:pt x="5750" y="17437"/>
                  <a:pt x="5718" y="17375"/>
                  <a:pt x="5656" y="17375"/>
                </a:cubicBezTo>
                <a:cubicBezTo>
                  <a:pt x="5718" y="17437"/>
                  <a:pt x="5781" y="17437"/>
                  <a:pt x="5781" y="17500"/>
                </a:cubicBezTo>
                <a:cubicBezTo>
                  <a:pt x="5781" y="17500"/>
                  <a:pt x="5750" y="17500"/>
                  <a:pt x="5750" y="17500"/>
                </a:cubicBezTo>
                <a:cubicBezTo>
                  <a:pt x="5625" y="17437"/>
                  <a:pt x="5500" y="17406"/>
                  <a:pt x="5375" y="17375"/>
                </a:cubicBezTo>
                <a:cubicBezTo>
                  <a:pt x="5375" y="17375"/>
                  <a:pt x="5343" y="17375"/>
                  <a:pt x="5343" y="17375"/>
                </a:cubicBezTo>
                <a:cubicBezTo>
                  <a:pt x="5343" y="17344"/>
                  <a:pt x="5312" y="17344"/>
                  <a:pt x="5281" y="17344"/>
                </a:cubicBezTo>
                <a:cubicBezTo>
                  <a:pt x="5187" y="17344"/>
                  <a:pt x="5093" y="17281"/>
                  <a:pt x="5000" y="17250"/>
                </a:cubicBezTo>
                <a:cubicBezTo>
                  <a:pt x="4812" y="17219"/>
                  <a:pt x="4625" y="17125"/>
                  <a:pt x="4437" y="17094"/>
                </a:cubicBezTo>
                <a:cubicBezTo>
                  <a:pt x="4343" y="17062"/>
                  <a:pt x="4250" y="17000"/>
                  <a:pt x="4156" y="17000"/>
                </a:cubicBezTo>
                <a:cubicBezTo>
                  <a:pt x="4031" y="16969"/>
                  <a:pt x="3906" y="16937"/>
                  <a:pt x="3781" y="16906"/>
                </a:cubicBezTo>
                <a:cubicBezTo>
                  <a:pt x="3687" y="16875"/>
                  <a:pt x="3593" y="16844"/>
                  <a:pt x="3500" y="16812"/>
                </a:cubicBezTo>
                <a:cubicBezTo>
                  <a:pt x="3312" y="16781"/>
                  <a:pt x="3156" y="16750"/>
                  <a:pt x="2968" y="16719"/>
                </a:cubicBezTo>
                <a:cubicBezTo>
                  <a:pt x="2718" y="16687"/>
                  <a:pt x="2468" y="16625"/>
                  <a:pt x="2218" y="16625"/>
                </a:cubicBezTo>
                <a:cubicBezTo>
                  <a:pt x="2156" y="16625"/>
                  <a:pt x="2093" y="16625"/>
                  <a:pt x="2031" y="16656"/>
                </a:cubicBezTo>
                <a:cubicBezTo>
                  <a:pt x="2031" y="16687"/>
                  <a:pt x="2062" y="16687"/>
                  <a:pt x="2093" y="16687"/>
                </a:cubicBezTo>
                <a:lnTo>
                  <a:pt x="2093" y="16687"/>
                </a:lnTo>
                <a:cubicBezTo>
                  <a:pt x="2187" y="16687"/>
                  <a:pt x="2281" y="16687"/>
                  <a:pt x="2375" y="16719"/>
                </a:cubicBezTo>
                <a:cubicBezTo>
                  <a:pt x="2468" y="16719"/>
                  <a:pt x="2531" y="16719"/>
                  <a:pt x="2625" y="16750"/>
                </a:cubicBezTo>
                <a:cubicBezTo>
                  <a:pt x="2781" y="16750"/>
                  <a:pt x="2937" y="16781"/>
                  <a:pt x="3125" y="16844"/>
                </a:cubicBezTo>
                <a:cubicBezTo>
                  <a:pt x="3093" y="16875"/>
                  <a:pt x="3062" y="16875"/>
                  <a:pt x="3031" y="16875"/>
                </a:cubicBezTo>
                <a:cubicBezTo>
                  <a:pt x="2937" y="16844"/>
                  <a:pt x="2843" y="16812"/>
                  <a:pt x="2750" y="16844"/>
                </a:cubicBezTo>
                <a:cubicBezTo>
                  <a:pt x="2906" y="16875"/>
                  <a:pt x="3093" y="16906"/>
                  <a:pt x="3250" y="16906"/>
                </a:cubicBezTo>
                <a:cubicBezTo>
                  <a:pt x="3250" y="16937"/>
                  <a:pt x="3250" y="16937"/>
                  <a:pt x="3250" y="16937"/>
                </a:cubicBezTo>
                <a:close/>
                <a:moveTo>
                  <a:pt x="10843" y="16500"/>
                </a:moveTo>
                <a:cubicBezTo>
                  <a:pt x="10812" y="16500"/>
                  <a:pt x="10812" y="16500"/>
                  <a:pt x="10812" y="16500"/>
                </a:cubicBezTo>
                <a:cubicBezTo>
                  <a:pt x="10812" y="16531"/>
                  <a:pt x="10843" y="16531"/>
                  <a:pt x="10843" y="16562"/>
                </a:cubicBezTo>
                <a:cubicBezTo>
                  <a:pt x="10875" y="16594"/>
                  <a:pt x="10875" y="16625"/>
                  <a:pt x="10937" y="16594"/>
                </a:cubicBezTo>
                <a:cubicBezTo>
                  <a:pt x="10937" y="16594"/>
                  <a:pt x="10937" y="16562"/>
                  <a:pt x="10937" y="16562"/>
                </a:cubicBezTo>
                <a:cubicBezTo>
                  <a:pt x="10906" y="16531"/>
                  <a:pt x="10843" y="16531"/>
                  <a:pt x="10843" y="16500"/>
                </a:cubicBezTo>
                <a:close/>
                <a:moveTo>
                  <a:pt x="2656" y="17875"/>
                </a:moveTo>
                <a:cubicBezTo>
                  <a:pt x="2750" y="17906"/>
                  <a:pt x="2781" y="17906"/>
                  <a:pt x="2843" y="17875"/>
                </a:cubicBezTo>
                <a:cubicBezTo>
                  <a:pt x="2781" y="17844"/>
                  <a:pt x="2718" y="17875"/>
                  <a:pt x="2656" y="17875"/>
                </a:cubicBezTo>
                <a:close/>
                <a:moveTo>
                  <a:pt x="6937" y="17719"/>
                </a:moveTo>
                <a:cubicBezTo>
                  <a:pt x="6968" y="17781"/>
                  <a:pt x="7031" y="17781"/>
                  <a:pt x="7093" y="17781"/>
                </a:cubicBezTo>
                <a:cubicBezTo>
                  <a:pt x="7062" y="17719"/>
                  <a:pt x="7000" y="17719"/>
                  <a:pt x="6937" y="17719"/>
                </a:cubicBezTo>
                <a:close/>
                <a:moveTo>
                  <a:pt x="7531" y="18062"/>
                </a:moveTo>
                <a:cubicBezTo>
                  <a:pt x="7468" y="18031"/>
                  <a:pt x="7406" y="18000"/>
                  <a:pt x="7343" y="18000"/>
                </a:cubicBezTo>
                <a:cubicBezTo>
                  <a:pt x="7343" y="18000"/>
                  <a:pt x="7343" y="17969"/>
                  <a:pt x="7312" y="17969"/>
                </a:cubicBezTo>
                <a:cubicBezTo>
                  <a:pt x="7312" y="17969"/>
                  <a:pt x="7312" y="18000"/>
                  <a:pt x="7312" y="18000"/>
                </a:cubicBezTo>
                <a:cubicBezTo>
                  <a:pt x="7312" y="18000"/>
                  <a:pt x="7312" y="18000"/>
                  <a:pt x="7343" y="18000"/>
                </a:cubicBezTo>
                <a:cubicBezTo>
                  <a:pt x="7375" y="18062"/>
                  <a:pt x="7468" y="18031"/>
                  <a:pt x="7531" y="18062"/>
                </a:cubicBezTo>
                <a:close/>
                <a:moveTo>
                  <a:pt x="6031" y="18562"/>
                </a:moveTo>
                <a:cubicBezTo>
                  <a:pt x="6062" y="18562"/>
                  <a:pt x="6062" y="18594"/>
                  <a:pt x="6093" y="18594"/>
                </a:cubicBezTo>
                <a:cubicBezTo>
                  <a:pt x="6125" y="18594"/>
                  <a:pt x="6156" y="18594"/>
                  <a:pt x="6187" y="18594"/>
                </a:cubicBezTo>
                <a:cubicBezTo>
                  <a:pt x="6187" y="18562"/>
                  <a:pt x="6156" y="18562"/>
                  <a:pt x="6125" y="18562"/>
                </a:cubicBezTo>
                <a:cubicBezTo>
                  <a:pt x="6093" y="18562"/>
                  <a:pt x="6062" y="18531"/>
                  <a:pt x="6031" y="18562"/>
                </a:cubicBezTo>
                <a:close/>
                <a:moveTo>
                  <a:pt x="3656" y="16094"/>
                </a:moveTo>
                <a:cubicBezTo>
                  <a:pt x="3718" y="16125"/>
                  <a:pt x="3781" y="16156"/>
                  <a:pt x="3875" y="16094"/>
                </a:cubicBezTo>
                <a:cubicBezTo>
                  <a:pt x="3781" y="16062"/>
                  <a:pt x="3718" y="16062"/>
                  <a:pt x="3656" y="16094"/>
                </a:cubicBezTo>
                <a:close/>
                <a:moveTo>
                  <a:pt x="8968" y="15312"/>
                </a:moveTo>
                <a:cubicBezTo>
                  <a:pt x="8906" y="15312"/>
                  <a:pt x="8812" y="15312"/>
                  <a:pt x="8750" y="15281"/>
                </a:cubicBezTo>
                <a:cubicBezTo>
                  <a:pt x="8812" y="15344"/>
                  <a:pt x="8875" y="15344"/>
                  <a:pt x="8968" y="15344"/>
                </a:cubicBezTo>
                <a:cubicBezTo>
                  <a:pt x="8968" y="15344"/>
                  <a:pt x="8968" y="15344"/>
                  <a:pt x="8968" y="15312"/>
                </a:cubicBezTo>
                <a:close/>
                <a:moveTo>
                  <a:pt x="8875" y="15969"/>
                </a:moveTo>
                <a:cubicBezTo>
                  <a:pt x="8812" y="15937"/>
                  <a:pt x="8781" y="15906"/>
                  <a:pt x="8718" y="15937"/>
                </a:cubicBezTo>
                <a:cubicBezTo>
                  <a:pt x="8750" y="15969"/>
                  <a:pt x="8781" y="16000"/>
                  <a:pt x="8843" y="16000"/>
                </a:cubicBezTo>
                <a:cubicBezTo>
                  <a:pt x="8843" y="16031"/>
                  <a:pt x="8875" y="16031"/>
                  <a:pt x="8875" y="16000"/>
                </a:cubicBezTo>
                <a:cubicBezTo>
                  <a:pt x="8906" y="15969"/>
                  <a:pt x="8875" y="15969"/>
                  <a:pt x="8875" y="15969"/>
                </a:cubicBezTo>
                <a:close/>
                <a:moveTo>
                  <a:pt x="12531" y="18781"/>
                </a:moveTo>
                <a:cubicBezTo>
                  <a:pt x="12531" y="18812"/>
                  <a:pt x="12562" y="18812"/>
                  <a:pt x="12593" y="18781"/>
                </a:cubicBezTo>
                <a:cubicBezTo>
                  <a:pt x="12625" y="18750"/>
                  <a:pt x="12687" y="18750"/>
                  <a:pt x="12750" y="18750"/>
                </a:cubicBezTo>
                <a:cubicBezTo>
                  <a:pt x="12687" y="18687"/>
                  <a:pt x="12625" y="18750"/>
                  <a:pt x="12562" y="18750"/>
                </a:cubicBezTo>
                <a:cubicBezTo>
                  <a:pt x="12562" y="18750"/>
                  <a:pt x="12531" y="18750"/>
                  <a:pt x="12531" y="18781"/>
                </a:cubicBezTo>
                <a:close/>
                <a:moveTo>
                  <a:pt x="2187" y="20406"/>
                </a:moveTo>
                <a:cubicBezTo>
                  <a:pt x="2187" y="20375"/>
                  <a:pt x="2125" y="20406"/>
                  <a:pt x="2125" y="20375"/>
                </a:cubicBezTo>
                <a:cubicBezTo>
                  <a:pt x="2093" y="20375"/>
                  <a:pt x="2062" y="20375"/>
                  <a:pt x="2062" y="20344"/>
                </a:cubicBezTo>
                <a:cubicBezTo>
                  <a:pt x="2031" y="20344"/>
                  <a:pt x="2000" y="20344"/>
                  <a:pt x="1968" y="20344"/>
                </a:cubicBezTo>
                <a:cubicBezTo>
                  <a:pt x="2031" y="20375"/>
                  <a:pt x="2062" y="20406"/>
                  <a:pt x="2093" y="20406"/>
                </a:cubicBezTo>
                <a:cubicBezTo>
                  <a:pt x="2125" y="20406"/>
                  <a:pt x="2156" y="20469"/>
                  <a:pt x="2187" y="20406"/>
                </a:cubicBezTo>
                <a:close/>
                <a:moveTo>
                  <a:pt x="5000" y="18469"/>
                </a:moveTo>
                <a:cubicBezTo>
                  <a:pt x="5093" y="18500"/>
                  <a:pt x="5156" y="18531"/>
                  <a:pt x="5218" y="18500"/>
                </a:cubicBezTo>
                <a:cubicBezTo>
                  <a:pt x="5156" y="18469"/>
                  <a:pt x="5093" y="18437"/>
                  <a:pt x="5000" y="18469"/>
                </a:cubicBezTo>
                <a:close/>
                <a:moveTo>
                  <a:pt x="3906" y="17500"/>
                </a:moveTo>
                <a:cubicBezTo>
                  <a:pt x="3906" y="17500"/>
                  <a:pt x="3906" y="17500"/>
                  <a:pt x="3937" y="17500"/>
                </a:cubicBezTo>
                <a:cubicBezTo>
                  <a:pt x="3968" y="17562"/>
                  <a:pt x="4062" y="17531"/>
                  <a:pt x="4125" y="17562"/>
                </a:cubicBezTo>
                <a:cubicBezTo>
                  <a:pt x="4125" y="17562"/>
                  <a:pt x="4125" y="17562"/>
                  <a:pt x="4125" y="17562"/>
                </a:cubicBezTo>
                <a:cubicBezTo>
                  <a:pt x="4125" y="17562"/>
                  <a:pt x="4125" y="17531"/>
                  <a:pt x="4125" y="17531"/>
                </a:cubicBezTo>
                <a:cubicBezTo>
                  <a:pt x="4062" y="17531"/>
                  <a:pt x="4000" y="17469"/>
                  <a:pt x="3906" y="17500"/>
                </a:cubicBezTo>
                <a:close/>
                <a:moveTo>
                  <a:pt x="8062" y="20437"/>
                </a:moveTo>
                <a:cubicBezTo>
                  <a:pt x="8093" y="20500"/>
                  <a:pt x="8156" y="20469"/>
                  <a:pt x="8187" y="20500"/>
                </a:cubicBezTo>
                <a:cubicBezTo>
                  <a:pt x="8250" y="20531"/>
                  <a:pt x="8343" y="20594"/>
                  <a:pt x="8437" y="20594"/>
                </a:cubicBezTo>
                <a:cubicBezTo>
                  <a:pt x="8343" y="20562"/>
                  <a:pt x="8250" y="20500"/>
                  <a:pt x="8187" y="20469"/>
                </a:cubicBezTo>
                <a:cubicBezTo>
                  <a:pt x="8156" y="20437"/>
                  <a:pt x="8093" y="20437"/>
                  <a:pt x="8062" y="20437"/>
                </a:cubicBezTo>
                <a:close/>
                <a:moveTo>
                  <a:pt x="1687" y="20281"/>
                </a:moveTo>
                <a:cubicBezTo>
                  <a:pt x="1781" y="20312"/>
                  <a:pt x="1843" y="20312"/>
                  <a:pt x="1937" y="20344"/>
                </a:cubicBezTo>
                <a:cubicBezTo>
                  <a:pt x="1875" y="20281"/>
                  <a:pt x="1781" y="20250"/>
                  <a:pt x="1718" y="20250"/>
                </a:cubicBezTo>
                <a:cubicBezTo>
                  <a:pt x="1687" y="20250"/>
                  <a:pt x="1687" y="20250"/>
                  <a:pt x="1687" y="20281"/>
                </a:cubicBezTo>
                <a:close/>
                <a:moveTo>
                  <a:pt x="7406" y="20156"/>
                </a:moveTo>
                <a:cubicBezTo>
                  <a:pt x="7468" y="20219"/>
                  <a:pt x="7531" y="20250"/>
                  <a:pt x="7593" y="20312"/>
                </a:cubicBezTo>
                <a:cubicBezTo>
                  <a:pt x="7562" y="20219"/>
                  <a:pt x="7531" y="20187"/>
                  <a:pt x="7406" y="20156"/>
                </a:cubicBezTo>
                <a:close/>
                <a:moveTo>
                  <a:pt x="17062" y="15344"/>
                </a:moveTo>
                <a:cubicBezTo>
                  <a:pt x="17062" y="15312"/>
                  <a:pt x="17031" y="15312"/>
                  <a:pt x="17031" y="15312"/>
                </a:cubicBezTo>
                <a:cubicBezTo>
                  <a:pt x="16968" y="15344"/>
                  <a:pt x="16937" y="15344"/>
                  <a:pt x="16906" y="15406"/>
                </a:cubicBezTo>
                <a:cubicBezTo>
                  <a:pt x="16968" y="15406"/>
                  <a:pt x="17000" y="15375"/>
                  <a:pt x="17031" y="15375"/>
                </a:cubicBezTo>
                <a:cubicBezTo>
                  <a:pt x="17062" y="15375"/>
                  <a:pt x="17062" y="15344"/>
                  <a:pt x="17062" y="15344"/>
                </a:cubicBezTo>
                <a:close/>
                <a:moveTo>
                  <a:pt x="11812" y="17844"/>
                </a:moveTo>
                <a:cubicBezTo>
                  <a:pt x="11718" y="17812"/>
                  <a:pt x="11656" y="17844"/>
                  <a:pt x="11562" y="17844"/>
                </a:cubicBezTo>
                <a:cubicBezTo>
                  <a:pt x="11656" y="17875"/>
                  <a:pt x="11718" y="17875"/>
                  <a:pt x="11812" y="17844"/>
                </a:cubicBezTo>
                <a:close/>
                <a:moveTo>
                  <a:pt x="4156" y="18781"/>
                </a:moveTo>
                <a:cubicBezTo>
                  <a:pt x="4125" y="18750"/>
                  <a:pt x="4125" y="18750"/>
                  <a:pt x="4093" y="18781"/>
                </a:cubicBezTo>
                <a:cubicBezTo>
                  <a:pt x="4125" y="18812"/>
                  <a:pt x="4125" y="18812"/>
                  <a:pt x="4156" y="18781"/>
                </a:cubicBezTo>
                <a:cubicBezTo>
                  <a:pt x="4250" y="18844"/>
                  <a:pt x="4375" y="18844"/>
                  <a:pt x="4468" y="18844"/>
                </a:cubicBezTo>
                <a:cubicBezTo>
                  <a:pt x="4375" y="18844"/>
                  <a:pt x="4281" y="18781"/>
                  <a:pt x="4156" y="18781"/>
                </a:cubicBezTo>
                <a:close/>
                <a:moveTo>
                  <a:pt x="10656" y="12937"/>
                </a:moveTo>
                <a:cubicBezTo>
                  <a:pt x="10656" y="12937"/>
                  <a:pt x="10656" y="12937"/>
                  <a:pt x="10656" y="12937"/>
                </a:cubicBezTo>
                <a:close/>
                <a:moveTo>
                  <a:pt x="2656" y="18062"/>
                </a:moveTo>
                <a:cubicBezTo>
                  <a:pt x="2562" y="18031"/>
                  <a:pt x="2468" y="18000"/>
                  <a:pt x="2375" y="18000"/>
                </a:cubicBezTo>
                <a:cubicBezTo>
                  <a:pt x="2468" y="18062"/>
                  <a:pt x="2562" y="18062"/>
                  <a:pt x="2656" y="18062"/>
                </a:cubicBezTo>
                <a:close/>
                <a:moveTo>
                  <a:pt x="1093" y="18375"/>
                </a:moveTo>
                <a:cubicBezTo>
                  <a:pt x="1156" y="18375"/>
                  <a:pt x="1218" y="18406"/>
                  <a:pt x="1312" y="18375"/>
                </a:cubicBezTo>
                <a:cubicBezTo>
                  <a:pt x="1250" y="18344"/>
                  <a:pt x="1187" y="18344"/>
                  <a:pt x="1093" y="18344"/>
                </a:cubicBezTo>
                <a:cubicBezTo>
                  <a:pt x="1093" y="18344"/>
                  <a:pt x="1093" y="18344"/>
                  <a:pt x="1093" y="18344"/>
                </a:cubicBezTo>
                <a:cubicBezTo>
                  <a:pt x="1093" y="18344"/>
                  <a:pt x="1093" y="18375"/>
                  <a:pt x="1093" y="18375"/>
                </a:cubicBezTo>
                <a:close/>
                <a:moveTo>
                  <a:pt x="5500" y="16500"/>
                </a:moveTo>
                <a:cubicBezTo>
                  <a:pt x="5531" y="16469"/>
                  <a:pt x="5500" y="16469"/>
                  <a:pt x="5468" y="16437"/>
                </a:cubicBezTo>
                <a:cubicBezTo>
                  <a:pt x="5437" y="16406"/>
                  <a:pt x="5375" y="16437"/>
                  <a:pt x="5312" y="16375"/>
                </a:cubicBezTo>
                <a:cubicBezTo>
                  <a:pt x="5343" y="16437"/>
                  <a:pt x="5406" y="16469"/>
                  <a:pt x="5468" y="16500"/>
                </a:cubicBezTo>
                <a:cubicBezTo>
                  <a:pt x="5468" y="16500"/>
                  <a:pt x="5500" y="16500"/>
                  <a:pt x="5500" y="16500"/>
                </a:cubicBezTo>
                <a:close/>
                <a:moveTo>
                  <a:pt x="8718" y="15219"/>
                </a:moveTo>
                <a:cubicBezTo>
                  <a:pt x="8781" y="15250"/>
                  <a:pt x="8843" y="15219"/>
                  <a:pt x="8906" y="15281"/>
                </a:cubicBezTo>
                <a:cubicBezTo>
                  <a:pt x="8875" y="15219"/>
                  <a:pt x="8718" y="15187"/>
                  <a:pt x="8687" y="15187"/>
                </a:cubicBezTo>
                <a:cubicBezTo>
                  <a:pt x="8687" y="15187"/>
                  <a:pt x="8687" y="15219"/>
                  <a:pt x="8687" y="15219"/>
                </a:cubicBezTo>
                <a:cubicBezTo>
                  <a:pt x="8687" y="15219"/>
                  <a:pt x="8687" y="15219"/>
                  <a:pt x="8718" y="15219"/>
                </a:cubicBezTo>
                <a:close/>
                <a:moveTo>
                  <a:pt x="11218" y="12562"/>
                </a:moveTo>
                <a:cubicBezTo>
                  <a:pt x="11218" y="12562"/>
                  <a:pt x="11218" y="12562"/>
                  <a:pt x="11218" y="12562"/>
                </a:cubicBezTo>
                <a:cubicBezTo>
                  <a:pt x="11218" y="12562"/>
                  <a:pt x="11218" y="12562"/>
                  <a:pt x="11218" y="12562"/>
                </a:cubicBezTo>
                <a:lnTo>
                  <a:pt x="11218" y="12562"/>
                </a:lnTo>
                <a:cubicBezTo>
                  <a:pt x="11218" y="12562"/>
                  <a:pt x="11218" y="12562"/>
                  <a:pt x="11218" y="12562"/>
                </a:cubicBezTo>
                <a:close/>
                <a:moveTo>
                  <a:pt x="2562" y="17844"/>
                </a:moveTo>
                <a:cubicBezTo>
                  <a:pt x="2437" y="17781"/>
                  <a:pt x="2312" y="17781"/>
                  <a:pt x="2218" y="17750"/>
                </a:cubicBezTo>
                <a:cubicBezTo>
                  <a:pt x="2312" y="17812"/>
                  <a:pt x="2437" y="17844"/>
                  <a:pt x="2562" y="17844"/>
                </a:cubicBezTo>
                <a:close/>
                <a:moveTo>
                  <a:pt x="7312" y="16500"/>
                </a:moveTo>
                <a:cubicBezTo>
                  <a:pt x="7281" y="16437"/>
                  <a:pt x="7218" y="16469"/>
                  <a:pt x="7156" y="16437"/>
                </a:cubicBezTo>
                <a:cubicBezTo>
                  <a:pt x="7031" y="16375"/>
                  <a:pt x="6875" y="16312"/>
                  <a:pt x="6750" y="16281"/>
                </a:cubicBezTo>
                <a:lnTo>
                  <a:pt x="6750" y="16281"/>
                </a:lnTo>
                <a:cubicBezTo>
                  <a:pt x="6718" y="16250"/>
                  <a:pt x="6718" y="16250"/>
                  <a:pt x="6718" y="16281"/>
                </a:cubicBezTo>
                <a:cubicBezTo>
                  <a:pt x="6718" y="16281"/>
                  <a:pt x="6718" y="16312"/>
                  <a:pt x="6718" y="16312"/>
                </a:cubicBezTo>
                <a:cubicBezTo>
                  <a:pt x="6875" y="16375"/>
                  <a:pt x="7000" y="16437"/>
                  <a:pt x="7156" y="16469"/>
                </a:cubicBezTo>
                <a:cubicBezTo>
                  <a:pt x="7156" y="16469"/>
                  <a:pt x="7156" y="16469"/>
                  <a:pt x="7156" y="16469"/>
                </a:cubicBezTo>
                <a:cubicBezTo>
                  <a:pt x="7187" y="16531"/>
                  <a:pt x="7250" y="16500"/>
                  <a:pt x="7312" y="16500"/>
                </a:cubicBezTo>
                <a:close/>
                <a:moveTo>
                  <a:pt x="9250" y="16500"/>
                </a:moveTo>
                <a:cubicBezTo>
                  <a:pt x="9187" y="16437"/>
                  <a:pt x="9125" y="16406"/>
                  <a:pt x="9031" y="16406"/>
                </a:cubicBezTo>
                <a:cubicBezTo>
                  <a:pt x="9031" y="16406"/>
                  <a:pt x="9031" y="16406"/>
                  <a:pt x="9031" y="16437"/>
                </a:cubicBezTo>
                <a:cubicBezTo>
                  <a:pt x="9031" y="16437"/>
                  <a:pt x="9031" y="16437"/>
                  <a:pt x="9031" y="16437"/>
                </a:cubicBezTo>
                <a:cubicBezTo>
                  <a:pt x="9093" y="16469"/>
                  <a:pt x="9156" y="16500"/>
                  <a:pt x="9250" y="16500"/>
                </a:cubicBezTo>
                <a:close/>
                <a:moveTo>
                  <a:pt x="7062" y="18406"/>
                </a:moveTo>
                <a:cubicBezTo>
                  <a:pt x="7062" y="18406"/>
                  <a:pt x="7062" y="18406"/>
                  <a:pt x="7093" y="18406"/>
                </a:cubicBezTo>
                <a:cubicBezTo>
                  <a:pt x="7093" y="18375"/>
                  <a:pt x="7093" y="18375"/>
                  <a:pt x="7093" y="18375"/>
                </a:cubicBezTo>
                <a:cubicBezTo>
                  <a:pt x="7000" y="18344"/>
                  <a:pt x="6937" y="18312"/>
                  <a:pt x="6875" y="18281"/>
                </a:cubicBezTo>
                <a:cubicBezTo>
                  <a:pt x="6875" y="18281"/>
                  <a:pt x="6875" y="18281"/>
                  <a:pt x="6875" y="18281"/>
                </a:cubicBezTo>
                <a:cubicBezTo>
                  <a:pt x="6875" y="18312"/>
                  <a:pt x="6875" y="18312"/>
                  <a:pt x="6875" y="18312"/>
                </a:cubicBezTo>
                <a:cubicBezTo>
                  <a:pt x="6937" y="18344"/>
                  <a:pt x="7000" y="18375"/>
                  <a:pt x="7062" y="18406"/>
                </a:cubicBezTo>
                <a:close/>
                <a:moveTo>
                  <a:pt x="7187" y="17562"/>
                </a:moveTo>
                <a:cubicBezTo>
                  <a:pt x="7156" y="17562"/>
                  <a:pt x="7156" y="17562"/>
                  <a:pt x="7156" y="17594"/>
                </a:cubicBezTo>
                <a:cubicBezTo>
                  <a:pt x="7156" y="17594"/>
                  <a:pt x="7156" y="17594"/>
                  <a:pt x="7187" y="17625"/>
                </a:cubicBezTo>
                <a:cubicBezTo>
                  <a:pt x="7218" y="17625"/>
                  <a:pt x="7281" y="17656"/>
                  <a:pt x="7343" y="17656"/>
                </a:cubicBezTo>
                <a:cubicBezTo>
                  <a:pt x="7312" y="17594"/>
                  <a:pt x="7218" y="17562"/>
                  <a:pt x="7187" y="17562"/>
                </a:cubicBezTo>
                <a:close/>
                <a:moveTo>
                  <a:pt x="12000" y="18062"/>
                </a:moveTo>
                <a:cubicBezTo>
                  <a:pt x="12093" y="18031"/>
                  <a:pt x="12187" y="18000"/>
                  <a:pt x="12281" y="18000"/>
                </a:cubicBezTo>
                <a:cubicBezTo>
                  <a:pt x="12281" y="18000"/>
                  <a:pt x="12281" y="17969"/>
                  <a:pt x="12281" y="17969"/>
                </a:cubicBezTo>
                <a:cubicBezTo>
                  <a:pt x="12281" y="17969"/>
                  <a:pt x="12250" y="17969"/>
                  <a:pt x="12250" y="17969"/>
                </a:cubicBezTo>
                <a:cubicBezTo>
                  <a:pt x="12156" y="17969"/>
                  <a:pt x="12093" y="18000"/>
                  <a:pt x="12000" y="18062"/>
                </a:cubicBezTo>
                <a:close/>
                <a:moveTo>
                  <a:pt x="5250" y="18719"/>
                </a:moveTo>
                <a:cubicBezTo>
                  <a:pt x="5250" y="18719"/>
                  <a:pt x="5250" y="18750"/>
                  <a:pt x="5250" y="18750"/>
                </a:cubicBezTo>
                <a:cubicBezTo>
                  <a:pt x="5343" y="18750"/>
                  <a:pt x="5406" y="18812"/>
                  <a:pt x="5531" y="18812"/>
                </a:cubicBezTo>
                <a:cubicBezTo>
                  <a:pt x="5437" y="18781"/>
                  <a:pt x="5375" y="18719"/>
                  <a:pt x="5281" y="18719"/>
                </a:cubicBezTo>
                <a:cubicBezTo>
                  <a:pt x="5281" y="18687"/>
                  <a:pt x="5250" y="18687"/>
                  <a:pt x="5250" y="18719"/>
                </a:cubicBezTo>
                <a:close/>
                <a:moveTo>
                  <a:pt x="5437" y="20531"/>
                </a:moveTo>
                <a:cubicBezTo>
                  <a:pt x="5531" y="20531"/>
                  <a:pt x="5625" y="20625"/>
                  <a:pt x="5718" y="20562"/>
                </a:cubicBezTo>
                <a:cubicBezTo>
                  <a:pt x="5625" y="20562"/>
                  <a:pt x="5531" y="20531"/>
                  <a:pt x="5437" y="20531"/>
                </a:cubicBezTo>
                <a:close/>
                <a:moveTo>
                  <a:pt x="5937" y="18969"/>
                </a:moveTo>
                <a:cubicBezTo>
                  <a:pt x="5937" y="18969"/>
                  <a:pt x="5937" y="18937"/>
                  <a:pt x="5937" y="18937"/>
                </a:cubicBezTo>
                <a:cubicBezTo>
                  <a:pt x="5843" y="18906"/>
                  <a:pt x="5781" y="18906"/>
                  <a:pt x="5687" y="18875"/>
                </a:cubicBezTo>
                <a:cubicBezTo>
                  <a:pt x="5750" y="18937"/>
                  <a:pt x="5843" y="18937"/>
                  <a:pt x="5937" y="18969"/>
                </a:cubicBezTo>
                <a:close/>
                <a:moveTo>
                  <a:pt x="1906" y="20094"/>
                </a:moveTo>
                <a:cubicBezTo>
                  <a:pt x="2000" y="20156"/>
                  <a:pt x="2125" y="20219"/>
                  <a:pt x="2250" y="20219"/>
                </a:cubicBezTo>
                <a:cubicBezTo>
                  <a:pt x="2218" y="20219"/>
                  <a:pt x="2218" y="20219"/>
                  <a:pt x="2218" y="20219"/>
                </a:cubicBezTo>
                <a:cubicBezTo>
                  <a:pt x="2125" y="20156"/>
                  <a:pt x="2000" y="20094"/>
                  <a:pt x="1906" y="20094"/>
                </a:cubicBezTo>
                <a:cubicBezTo>
                  <a:pt x="1906" y="20094"/>
                  <a:pt x="1906" y="20094"/>
                  <a:pt x="1875" y="20094"/>
                </a:cubicBezTo>
                <a:cubicBezTo>
                  <a:pt x="1750" y="20094"/>
                  <a:pt x="1625" y="20031"/>
                  <a:pt x="1500" y="20000"/>
                </a:cubicBezTo>
                <a:cubicBezTo>
                  <a:pt x="1468" y="20000"/>
                  <a:pt x="1406" y="20000"/>
                  <a:pt x="1375" y="19937"/>
                </a:cubicBezTo>
                <a:cubicBezTo>
                  <a:pt x="1500" y="19969"/>
                  <a:pt x="1625" y="20000"/>
                  <a:pt x="1750" y="20031"/>
                </a:cubicBezTo>
                <a:lnTo>
                  <a:pt x="1750" y="20031"/>
                </a:lnTo>
                <a:cubicBezTo>
                  <a:pt x="1812" y="20062"/>
                  <a:pt x="1875" y="20062"/>
                  <a:pt x="1875" y="20094"/>
                </a:cubicBezTo>
                <a:cubicBezTo>
                  <a:pt x="1906" y="20094"/>
                  <a:pt x="1906" y="20094"/>
                  <a:pt x="1906" y="20094"/>
                </a:cubicBezTo>
                <a:close/>
                <a:moveTo>
                  <a:pt x="2250" y="20219"/>
                </a:moveTo>
                <a:cubicBezTo>
                  <a:pt x="2312" y="20281"/>
                  <a:pt x="2406" y="20344"/>
                  <a:pt x="2500" y="20375"/>
                </a:cubicBezTo>
                <a:cubicBezTo>
                  <a:pt x="2562" y="20469"/>
                  <a:pt x="2687" y="20500"/>
                  <a:pt x="2781" y="20562"/>
                </a:cubicBezTo>
                <a:cubicBezTo>
                  <a:pt x="2812" y="20594"/>
                  <a:pt x="2812" y="20656"/>
                  <a:pt x="2875" y="20625"/>
                </a:cubicBezTo>
                <a:cubicBezTo>
                  <a:pt x="2843" y="20594"/>
                  <a:pt x="2781" y="20531"/>
                  <a:pt x="2718" y="20500"/>
                </a:cubicBezTo>
                <a:cubicBezTo>
                  <a:pt x="2656" y="20469"/>
                  <a:pt x="2593" y="20406"/>
                  <a:pt x="2500" y="20375"/>
                </a:cubicBezTo>
                <a:lnTo>
                  <a:pt x="2500" y="20375"/>
                </a:lnTo>
                <a:cubicBezTo>
                  <a:pt x="2437" y="20312"/>
                  <a:pt x="2343" y="20219"/>
                  <a:pt x="2250" y="20219"/>
                </a:cubicBezTo>
                <a:close/>
                <a:moveTo>
                  <a:pt x="11968" y="19187"/>
                </a:moveTo>
                <a:cubicBezTo>
                  <a:pt x="12062" y="19187"/>
                  <a:pt x="12125" y="19187"/>
                  <a:pt x="12218" y="19187"/>
                </a:cubicBezTo>
                <a:cubicBezTo>
                  <a:pt x="12218" y="19187"/>
                  <a:pt x="12218" y="19156"/>
                  <a:pt x="12218" y="19156"/>
                </a:cubicBezTo>
                <a:cubicBezTo>
                  <a:pt x="12125" y="19156"/>
                  <a:pt x="12062" y="19156"/>
                  <a:pt x="11968" y="19156"/>
                </a:cubicBezTo>
                <a:cubicBezTo>
                  <a:pt x="11875" y="19156"/>
                  <a:pt x="11750" y="19156"/>
                  <a:pt x="11656" y="19125"/>
                </a:cubicBezTo>
                <a:cubicBezTo>
                  <a:pt x="11750" y="19187"/>
                  <a:pt x="11843" y="19187"/>
                  <a:pt x="11968" y="19187"/>
                </a:cubicBezTo>
                <a:close/>
                <a:moveTo>
                  <a:pt x="9343" y="15750"/>
                </a:moveTo>
                <a:cubicBezTo>
                  <a:pt x="9218" y="15750"/>
                  <a:pt x="9125" y="15719"/>
                  <a:pt x="9000" y="15750"/>
                </a:cubicBezTo>
                <a:cubicBezTo>
                  <a:pt x="9125" y="15750"/>
                  <a:pt x="9218" y="15844"/>
                  <a:pt x="9343" y="15750"/>
                </a:cubicBezTo>
                <a:close/>
                <a:moveTo>
                  <a:pt x="3750" y="18687"/>
                </a:moveTo>
                <a:cubicBezTo>
                  <a:pt x="3718" y="18687"/>
                  <a:pt x="3718" y="18687"/>
                  <a:pt x="3687" y="18687"/>
                </a:cubicBezTo>
                <a:cubicBezTo>
                  <a:pt x="3718" y="18687"/>
                  <a:pt x="3718" y="18687"/>
                  <a:pt x="3718" y="18719"/>
                </a:cubicBezTo>
                <a:cubicBezTo>
                  <a:pt x="3812" y="18750"/>
                  <a:pt x="3937" y="18781"/>
                  <a:pt x="4031" y="18781"/>
                </a:cubicBezTo>
                <a:cubicBezTo>
                  <a:pt x="3937" y="18719"/>
                  <a:pt x="3843" y="18687"/>
                  <a:pt x="3750" y="18687"/>
                </a:cubicBezTo>
                <a:cubicBezTo>
                  <a:pt x="3750" y="18687"/>
                  <a:pt x="3750" y="18687"/>
                  <a:pt x="3750" y="18687"/>
                </a:cubicBezTo>
                <a:close/>
                <a:moveTo>
                  <a:pt x="1312" y="19937"/>
                </a:moveTo>
                <a:cubicBezTo>
                  <a:pt x="1218" y="19937"/>
                  <a:pt x="1125" y="19844"/>
                  <a:pt x="1031" y="19906"/>
                </a:cubicBezTo>
                <a:cubicBezTo>
                  <a:pt x="1031" y="19875"/>
                  <a:pt x="968" y="19875"/>
                  <a:pt x="968" y="19875"/>
                </a:cubicBezTo>
                <a:lnTo>
                  <a:pt x="968" y="19875"/>
                </a:lnTo>
                <a:cubicBezTo>
                  <a:pt x="750" y="19812"/>
                  <a:pt x="531" y="19781"/>
                  <a:pt x="312" y="19750"/>
                </a:cubicBezTo>
                <a:cubicBezTo>
                  <a:pt x="218" y="19750"/>
                  <a:pt x="125" y="19719"/>
                  <a:pt x="31" y="19750"/>
                </a:cubicBezTo>
                <a:cubicBezTo>
                  <a:pt x="375" y="19812"/>
                  <a:pt x="687" y="19844"/>
                  <a:pt x="1031" y="19906"/>
                </a:cubicBezTo>
                <a:cubicBezTo>
                  <a:pt x="1125" y="19937"/>
                  <a:pt x="1218" y="19937"/>
                  <a:pt x="1312" y="19969"/>
                </a:cubicBezTo>
                <a:cubicBezTo>
                  <a:pt x="1312" y="19969"/>
                  <a:pt x="1312" y="19937"/>
                  <a:pt x="1312" y="19937"/>
                </a:cubicBezTo>
                <a:close/>
                <a:moveTo>
                  <a:pt x="7468" y="17406"/>
                </a:moveTo>
                <a:cubicBezTo>
                  <a:pt x="7468" y="17406"/>
                  <a:pt x="7468" y="17406"/>
                  <a:pt x="7468" y="17437"/>
                </a:cubicBezTo>
                <a:cubicBezTo>
                  <a:pt x="7500" y="17500"/>
                  <a:pt x="7593" y="17469"/>
                  <a:pt x="7687" y="17531"/>
                </a:cubicBezTo>
                <a:cubicBezTo>
                  <a:pt x="7687" y="17531"/>
                  <a:pt x="7687" y="17500"/>
                  <a:pt x="7687" y="17500"/>
                </a:cubicBezTo>
                <a:cubicBezTo>
                  <a:pt x="7718" y="17469"/>
                  <a:pt x="7687" y="17469"/>
                  <a:pt x="7687" y="17469"/>
                </a:cubicBezTo>
                <a:cubicBezTo>
                  <a:pt x="7593" y="17437"/>
                  <a:pt x="7531" y="17437"/>
                  <a:pt x="7468" y="17406"/>
                </a:cubicBezTo>
                <a:close/>
                <a:moveTo>
                  <a:pt x="5375" y="19156"/>
                </a:moveTo>
                <a:lnTo>
                  <a:pt x="5375" y="19156"/>
                </a:lnTo>
                <a:lnTo>
                  <a:pt x="5375" y="19156"/>
                </a:lnTo>
                <a:cubicBezTo>
                  <a:pt x="5437" y="19219"/>
                  <a:pt x="5531" y="19219"/>
                  <a:pt x="5593" y="19250"/>
                </a:cubicBezTo>
                <a:lnTo>
                  <a:pt x="5593" y="19250"/>
                </a:lnTo>
                <a:cubicBezTo>
                  <a:pt x="5625" y="19250"/>
                  <a:pt x="5625" y="19219"/>
                  <a:pt x="5656" y="19219"/>
                </a:cubicBezTo>
                <a:cubicBezTo>
                  <a:pt x="5625" y="19219"/>
                  <a:pt x="5625" y="19187"/>
                  <a:pt x="5625" y="19187"/>
                </a:cubicBezTo>
                <a:cubicBezTo>
                  <a:pt x="5531" y="19156"/>
                  <a:pt x="5468" y="19156"/>
                  <a:pt x="5375" y="19156"/>
                </a:cubicBez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6"/>
                </a:lnTo>
                <a:close/>
                <a:moveTo>
                  <a:pt x="5375" y="19156"/>
                </a:moveTo>
                <a:lnTo>
                  <a:pt x="5375" y="19155"/>
                </a:lnTo>
                <a:lnTo>
                  <a:pt x="5375" y="19156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5"/>
                </a:lnTo>
                <a:close/>
                <a:moveTo>
                  <a:pt x="5375" y="19155"/>
                </a:moveTo>
                <a:lnTo>
                  <a:pt x="5375" y="19154"/>
                </a:lnTo>
                <a:lnTo>
                  <a:pt x="5375" y="19155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4"/>
                </a:lnTo>
                <a:close/>
                <a:moveTo>
                  <a:pt x="5375" y="19154"/>
                </a:moveTo>
                <a:lnTo>
                  <a:pt x="5375" y="19153"/>
                </a:lnTo>
                <a:lnTo>
                  <a:pt x="5375" y="19154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3"/>
                </a:lnTo>
                <a:close/>
                <a:moveTo>
                  <a:pt x="5375" y="19153"/>
                </a:moveTo>
                <a:lnTo>
                  <a:pt x="5375" y="19152"/>
                </a:lnTo>
                <a:lnTo>
                  <a:pt x="5375" y="19153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2"/>
                </a:lnTo>
                <a:close/>
                <a:moveTo>
                  <a:pt x="5375" y="19152"/>
                </a:moveTo>
                <a:lnTo>
                  <a:pt x="5375" y="19151"/>
                </a:lnTo>
                <a:lnTo>
                  <a:pt x="5375" y="19152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1"/>
                </a:lnTo>
                <a:close/>
                <a:moveTo>
                  <a:pt x="5375" y="19151"/>
                </a:moveTo>
                <a:lnTo>
                  <a:pt x="5375" y="19150"/>
                </a:lnTo>
                <a:lnTo>
                  <a:pt x="5375" y="19151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50"/>
                </a:lnTo>
                <a:close/>
                <a:moveTo>
                  <a:pt x="5375" y="19150"/>
                </a:moveTo>
                <a:lnTo>
                  <a:pt x="5375" y="19149"/>
                </a:lnTo>
                <a:lnTo>
                  <a:pt x="5375" y="19150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9"/>
                </a:lnTo>
                <a:close/>
                <a:moveTo>
                  <a:pt x="5375" y="19149"/>
                </a:moveTo>
                <a:lnTo>
                  <a:pt x="5375" y="19148"/>
                </a:lnTo>
                <a:lnTo>
                  <a:pt x="5375" y="19149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8"/>
                </a:lnTo>
                <a:close/>
                <a:moveTo>
                  <a:pt x="5375" y="19148"/>
                </a:moveTo>
                <a:lnTo>
                  <a:pt x="5375" y="19147"/>
                </a:lnTo>
                <a:lnTo>
                  <a:pt x="5375" y="19148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7"/>
                </a:lnTo>
                <a:close/>
                <a:moveTo>
                  <a:pt x="5375" y="19147"/>
                </a:moveTo>
                <a:lnTo>
                  <a:pt x="5375" y="19146"/>
                </a:lnTo>
                <a:lnTo>
                  <a:pt x="5375" y="19147"/>
                </a:lnTo>
                <a:close/>
                <a:moveTo>
                  <a:pt x="5375" y="19146"/>
                </a:moveTo>
                <a:lnTo>
                  <a:pt x="5375" y="19146"/>
                </a:lnTo>
                <a:close/>
                <a:moveTo>
                  <a:pt x="5375" y="19146"/>
                </a:moveTo>
                <a:lnTo>
                  <a:pt x="5375" y="19146"/>
                </a:lnTo>
                <a:close/>
                <a:moveTo>
                  <a:pt x="5375" y="19146"/>
                </a:moveTo>
                <a:lnTo>
                  <a:pt x="5375" y="19145"/>
                </a:lnTo>
                <a:lnTo>
                  <a:pt x="5375" y="19146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5"/>
                </a:lnTo>
                <a:close/>
                <a:moveTo>
                  <a:pt x="5375" y="19145"/>
                </a:moveTo>
                <a:lnTo>
                  <a:pt x="5375" y="19144"/>
                </a:lnTo>
                <a:lnTo>
                  <a:pt x="5375" y="19145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4"/>
                </a:lnTo>
                <a:close/>
                <a:moveTo>
                  <a:pt x="5375" y="19144"/>
                </a:moveTo>
                <a:lnTo>
                  <a:pt x="5375" y="19143"/>
                </a:lnTo>
                <a:lnTo>
                  <a:pt x="5375" y="19144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3"/>
                </a:lnTo>
                <a:close/>
                <a:moveTo>
                  <a:pt x="5375" y="19143"/>
                </a:moveTo>
                <a:lnTo>
                  <a:pt x="5375" y="19142"/>
                </a:lnTo>
                <a:lnTo>
                  <a:pt x="5375" y="19143"/>
                </a:lnTo>
                <a:close/>
                <a:moveTo>
                  <a:pt x="5375" y="19142"/>
                </a:moveTo>
                <a:lnTo>
                  <a:pt x="5375" y="19142"/>
                </a:lnTo>
                <a:close/>
                <a:moveTo>
                  <a:pt x="5375" y="19142"/>
                </a:moveTo>
                <a:lnTo>
                  <a:pt x="5375" y="19142"/>
                </a:lnTo>
                <a:close/>
                <a:moveTo>
                  <a:pt x="5375" y="19142"/>
                </a:moveTo>
                <a:lnTo>
                  <a:pt x="5375" y="19141"/>
                </a:lnTo>
                <a:lnTo>
                  <a:pt x="5375" y="19142"/>
                </a:lnTo>
                <a:close/>
                <a:moveTo>
                  <a:pt x="5375" y="19141"/>
                </a:moveTo>
                <a:lnTo>
                  <a:pt x="5375" y="19141"/>
                </a:lnTo>
                <a:close/>
                <a:moveTo>
                  <a:pt x="5375" y="19141"/>
                </a:moveTo>
                <a:lnTo>
                  <a:pt x="5375" y="19141"/>
                </a:lnTo>
                <a:close/>
                <a:moveTo>
                  <a:pt x="5375" y="19141"/>
                </a:moveTo>
                <a:lnTo>
                  <a:pt x="5375" y="19140"/>
                </a:lnTo>
                <a:lnTo>
                  <a:pt x="5375" y="19141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40"/>
                </a:lnTo>
                <a:close/>
                <a:moveTo>
                  <a:pt x="5375" y="19140"/>
                </a:moveTo>
                <a:lnTo>
                  <a:pt x="5375" y="19139"/>
                </a:lnTo>
                <a:lnTo>
                  <a:pt x="5375" y="19140"/>
                </a:lnTo>
                <a:close/>
                <a:moveTo>
                  <a:pt x="5375" y="19139"/>
                </a:moveTo>
                <a:lnTo>
                  <a:pt x="5375" y="19139"/>
                </a:lnTo>
                <a:close/>
                <a:moveTo>
                  <a:pt x="5375" y="19139"/>
                </a:moveTo>
                <a:lnTo>
                  <a:pt x="5375" y="19139"/>
                </a:lnTo>
                <a:close/>
                <a:moveTo>
                  <a:pt x="5375" y="19139"/>
                </a:moveTo>
                <a:lnTo>
                  <a:pt x="5375" y="19138"/>
                </a:lnTo>
                <a:lnTo>
                  <a:pt x="5375" y="19139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8"/>
                </a:lnTo>
                <a:close/>
                <a:moveTo>
                  <a:pt x="5375" y="19138"/>
                </a:moveTo>
                <a:lnTo>
                  <a:pt x="5375" y="19137"/>
                </a:lnTo>
                <a:lnTo>
                  <a:pt x="5375" y="19138"/>
                </a:lnTo>
                <a:close/>
                <a:moveTo>
                  <a:pt x="5375" y="19137"/>
                </a:moveTo>
                <a:lnTo>
                  <a:pt x="5375" y="19137"/>
                </a:lnTo>
                <a:close/>
                <a:moveTo>
                  <a:pt x="5375" y="19137"/>
                </a:moveTo>
                <a:lnTo>
                  <a:pt x="5375" y="19137"/>
                </a:lnTo>
                <a:close/>
                <a:moveTo>
                  <a:pt x="5375" y="19137"/>
                </a:moveTo>
                <a:lnTo>
                  <a:pt x="5375" y="19136"/>
                </a:lnTo>
                <a:lnTo>
                  <a:pt x="5375" y="19137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6"/>
                </a:lnTo>
                <a:close/>
                <a:moveTo>
                  <a:pt x="5375" y="19136"/>
                </a:moveTo>
                <a:lnTo>
                  <a:pt x="5375" y="19135"/>
                </a:lnTo>
                <a:lnTo>
                  <a:pt x="5375" y="19136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5"/>
                </a:lnTo>
                <a:close/>
                <a:moveTo>
                  <a:pt x="5375" y="19135"/>
                </a:moveTo>
                <a:lnTo>
                  <a:pt x="5375" y="19134"/>
                </a:lnTo>
                <a:lnTo>
                  <a:pt x="5375" y="19135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4"/>
                </a:lnTo>
                <a:close/>
                <a:moveTo>
                  <a:pt x="5375" y="19134"/>
                </a:moveTo>
                <a:lnTo>
                  <a:pt x="5375" y="19133"/>
                </a:lnTo>
                <a:lnTo>
                  <a:pt x="5375" y="19134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3"/>
                </a:lnTo>
                <a:close/>
                <a:moveTo>
                  <a:pt x="5375" y="19133"/>
                </a:moveTo>
                <a:lnTo>
                  <a:pt x="5375" y="19132"/>
                </a:lnTo>
                <a:lnTo>
                  <a:pt x="5375" y="19133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2"/>
                </a:lnTo>
                <a:close/>
                <a:moveTo>
                  <a:pt x="5375" y="19132"/>
                </a:moveTo>
                <a:lnTo>
                  <a:pt x="5375" y="19131"/>
                </a:lnTo>
                <a:lnTo>
                  <a:pt x="5375" y="19132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1"/>
                </a:lnTo>
                <a:close/>
                <a:moveTo>
                  <a:pt x="5375" y="19131"/>
                </a:moveTo>
                <a:lnTo>
                  <a:pt x="5375" y="19130"/>
                </a:lnTo>
                <a:lnTo>
                  <a:pt x="5375" y="19131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30"/>
                </a:lnTo>
                <a:close/>
                <a:moveTo>
                  <a:pt x="5375" y="19130"/>
                </a:moveTo>
                <a:lnTo>
                  <a:pt x="5375" y="19129"/>
                </a:lnTo>
                <a:lnTo>
                  <a:pt x="5375" y="19130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9"/>
                </a:lnTo>
                <a:close/>
                <a:moveTo>
                  <a:pt x="5375" y="19129"/>
                </a:moveTo>
                <a:lnTo>
                  <a:pt x="5375" y="19128"/>
                </a:lnTo>
                <a:lnTo>
                  <a:pt x="5375" y="19129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8"/>
                </a:lnTo>
                <a:close/>
                <a:moveTo>
                  <a:pt x="5375" y="19128"/>
                </a:moveTo>
                <a:lnTo>
                  <a:pt x="5375" y="19127"/>
                </a:lnTo>
                <a:lnTo>
                  <a:pt x="5375" y="19128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7"/>
                </a:lnTo>
                <a:close/>
                <a:moveTo>
                  <a:pt x="5375" y="19127"/>
                </a:moveTo>
                <a:lnTo>
                  <a:pt x="5375" y="19126"/>
                </a:lnTo>
                <a:lnTo>
                  <a:pt x="5375" y="19127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6"/>
                </a:lnTo>
                <a:close/>
                <a:moveTo>
                  <a:pt x="5375" y="19126"/>
                </a:moveTo>
                <a:lnTo>
                  <a:pt x="5375" y="19125"/>
                </a:lnTo>
                <a:lnTo>
                  <a:pt x="5375" y="19126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5375" y="19125"/>
                </a:moveTo>
                <a:lnTo>
                  <a:pt x="5375" y="19125"/>
                </a:lnTo>
                <a:close/>
                <a:moveTo>
                  <a:pt x="1375" y="18187"/>
                </a:moveTo>
                <a:cubicBezTo>
                  <a:pt x="1218" y="18125"/>
                  <a:pt x="1093" y="18125"/>
                  <a:pt x="1031" y="18156"/>
                </a:cubicBezTo>
                <a:cubicBezTo>
                  <a:pt x="1125" y="18187"/>
                  <a:pt x="1312" y="18219"/>
                  <a:pt x="1375" y="18187"/>
                </a:cubicBezTo>
                <a:close/>
                <a:moveTo>
                  <a:pt x="7312" y="19125"/>
                </a:moveTo>
                <a:cubicBezTo>
                  <a:pt x="7312" y="19125"/>
                  <a:pt x="7312" y="19125"/>
                  <a:pt x="7312" y="19125"/>
                </a:cubicBezTo>
                <a:cubicBezTo>
                  <a:pt x="7312" y="19125"/>
                  <a:pt x="7312" y="19125"/>
                  <a:pt x="7312" y="19125"/>
                </a:cubicBezTo>
                <a:lnTo>
                  <a:pt x="7312" y="19125"/>
                </a:lnTo>
                <a:cubicBezTo>
                  <a:pt x="7312" y="19125"/>
                  <a:pt x="7312" y="19125"/>
                  <a:pt x="7312" y="19125"/>
                </a:cubicBezTo>
                <a:close/>
                <a:moveTo>
                  <a:pt x="843" y="18719"/>
                </a:moveTo>
                <a:cubicBezTo>
                  <a:pt x="843" y="18750"/>
                  <a:pt x="875" y="18750"/>
                  <a:pt x="906" y="18750"/>
                </a:cubicBezTo>
                <a:cubicBezTo>
                  <a:pt x="1000" y="18781"/>
                  <a:pt x="1093" y="18719"/>
                  <a:pt x="1187" y="18750"/>
                </a:cubicBezTo>
                <a:cubicBezTo>
                  <a:pt x="1093" y="18719"/>
                  <a:pt x="1000" y="18687"/>
                  <a:pt x="906" y="18687"/>
                </a:cubicBezTo>
                <a:cubicBezTo>
                  <a:pt x="906" y="18687"/>
                  <a:pt x="875" y="18687"/>
                  <a:pt x="843" y="18719"/>
                </a:cubicBezTo>
                <a:close/>
                <a:moveTo>
                  <a:pt x="10656" y="18500"/>
                </a:moveTo>
                <a:cubicBezTo>
                  <a:pt x="10656" y="18500"/>
                  <a:pt x="10656" y="18500"/>
                  <a:pt x="10656" y="18500"/>
                </a:cubicBezTo>
                <a:cubicBezTo>
                  <a:pt x="10781" y="18500"/>
                  <a:pt x="10875" y="18531"/>
                  <a:pt x="10968" y="18562"/>
                </a:cubicBezTo>
                <a:cubicBezTo>
                  <a:pt x="11000" y="18562"/>
                  <a:pt x="11000" y="18562"/>
                  <a:pt x="11031" y="18531"/>
                </a:cubicBezTo>
                <a:cubicBezTo>
                  <a:pt x="11031" y="18531"/>
                  <a:pt x="11000" y="18531"/>
                  <a:pt x="11000" y="18500"/>
                </a:cubicBezTo>
                <a:cubicBezTo>
                  <a:pt x="10906" y="18469"/>
                  <a:pt x="10781" y="18469"/>
                  <a:pt x="10687" y="18469"/>
                </a:cubicBezTo>
                <a:cubicBezTo>
                  <a:pt x="10656" y="18469"/>
                  <a:pt x="10625" y="18437"/>
                  <a:pt x="10625" y="18437"/>
                </a:cubicBezTo>
                <a:cubicBezTo>
                  <a:pt x="10562" y="18406"/>
                  <a:pt x="10500" y="18375"/>
                  <a:pt x="10406" y="18375"/>
                </a:cubicBezTo>
                <a:cubicBezTo>
                  <a:pt x="10312" y="18312"/>
                  <a:pt x="10187" y="18344"/>
                  <a:pt x="10093" y="18312"/>
                </a:cubicBezTo>
                <a:cubicBezTo>
                  <a:pt x="10093" y="18312"/>
                  <a:pt x="10093" y="18312"/>
                  <a:pt x="10093" y="18312"/>
                </a:cubicBezTo>
                <a:cubicBezTo>
                  <a:pt x="10187" y="18344"/>
                  <a:pt x="10281" y="18375"/>
                  <a:pt x="10375" y="18375"/>
                </a:cubicBezTo>
                <a:cubicBezTo>
                  <a:pt x="10468" y="18437"/>
                  <a:pt x="10562" y="18469"/>
                  <a:pt x="10656" y="18500"/>
                </a:cubicBezTo>
                <a:close/>
                <a:moveTo>
                  <a:pt x="14500" y="16656"/>
                </a:moveTo>
                <a:cubicBezTo>
                  <a:pt x="14406" y="16625"/>
                  <a:pt x="14312" y="16656"/>
                  <a:pt x="14218" y="16656"/>
                </a:cubicBezTo>
                <a:cubicBezTo>
                  <a:pt x="14218" y="16656"/>
                  <a:pt x="14187" y="16656"/>
                  <a:pt x="14156" y="16656"/>
                </a:cubicBezTo>
                <a:cubicBezTo>
                  <a:pt x="14156" y="16656"/>
                  <a:pt x="14156" y="16656"/>
                  <a:pt x="14125" y="16656"/>
                </a:cubicBezTo>
                <a:cubicBezTo>
                  <a:pt x="14125" y="16656"/>
                  <a:pt x="14125" y="16656"/>
                  <a:pt x="14093" y="16656"/>
                </a:cubicBezTo>
                <a:cubicBezTo>
                  <a:pt x="13937" y="16625"/>
                  <a:pt x="13781" y="16625"/>
                  <a:pt x="13625" y="16500"/>
                </a:cubicBezTo>
                <a:cubicBezTo>
                  <a:pt x="13625" y="16500"/>
                  <a:pt x="13593" y="16500"/>
                  <a:pt x="13562" y="16500"/>
                </a:cubicBezTo>
                <a:cubicBezTo>
                  <a:pt x="13718" y="16656"/>
                  <a:pt x="13906" y="16656"/>
                  <a:pt x="14062" y="16687"/>
                </a:cubicBezTo>
                <a:cubicBezTo>
                  <a:pt x="14218" y="16687"/>
                  <a:pt x="14343" y="16719"/>
                  <a:pt x="14500" y="16656"/>
                </a:cubicBezTo>
                <a:close/>
                <a:moveTo>
                  <a:pt x="2218" y="20437"/>
                </a:moveTo>
                <a:cubicBezTo>
                  <a:pt x="2312" y="20531"/>
                  <a:pt x="2406" y="20594"/>
                  <a:pt x="2531" y="20625"/>
                </a:cubicBezTo>
                <a:cubicBezTo>
                  <a:pt x="2437" y="20531"/>
                  <a:pt x="2343" y="20469"/>
                  <a:pt x="2218" y="20437"/>
                </a:cubicBezTo>
                <a:close/>
                <a:moveTo>
                  <a:pt x="10187" y="13687"/>
                </a:moveTo>
                <a:cubicBezTo>
                  <a:pt x="10250" y="13781"/>
                  <a:pt x="10250" y="13781"/>
                  <a:pt x="10312" y="13719"/>
                </a:cubicBezTo>
                <a:lnTo>
                  <a:pt x="10312" y="13719"/>
                </a:lnTo>
                <a:cubicBezTo>
                  <a:pt x="10343" y="13719"/>
                  <a:pt x="10375" y="13687"/>
                  <a:pt x="10406" y="13719"/>
                </a:cubicBezTo>
                <a:cubicBezTo>
                  <a:pt x="10406" y="13719"/>
                  <a:pt x="10437" y="13719"/>
                  <a:pt x="10437" y="13719"/>
                </a:cubicBezTo>
                <a:cubicBezTo>
                  <a:pt x="10406" y="13656"/>
                  <a:pt x="10468" y="13625"/>
                  <a:pt x="10468" y="13562"/>
                </a:cubicBezTo>
                <a:cubicBezTo>
                  <a:pt x="10437" y="13594"/>
                  <a:pt x="10406" y="13594"/>
                  <a:pt x="10375" y="13656"/>
                </a:cubicBezTo>
                <a:cubicBezTo>
                  <a:pt x="10312" y="13687"/>
                  <a:pt x="10281" y="13750"/>
                  <a:pt x="10187" y="13687"/>
                </a:cubicBezTo>
                <a:close/>
                <a:moveTo>
                  <a:pt x="5312" y="18531"/>
                </a:moveTo>
                <a:cubicBezTo>
                  <a:pt x="5312" y="18500"/>
                  <a:pt x="5281" y="18500"/>
                  <a:pt x="5218" y="18531"/>
                </a:cubicBezTo>
                <a:cubicBezTo>
                  <a:pt x="5250" y="18562"/>
                  <a:pt x="5281" y="18562"/>
                  <a:pt x="5312" y="18562"/>
                </a:cubicBezTo>
                <a:cubicBezTo>
                  <a:pt x="5343" y="18562"/>
                  <a:pt x="5406" y="18594"/>
                  <a:pt x="5437" y="18594"/>
                </a:cubicBezTo>
                <a:cubicBezTo>
                  <a:pt x="5500" y="18625"/>
                  <a:pt x="5593" y="18687"/>
                  <a:pt x="5687" y="18656"/>
                </a:cubicBezTo>
                <a:cubicBezTo>
                  <a:pt x="5656" y="18625"/>
                  <a:pt x="5625" y="18625"/>
                  <a:pt x="5593" y="18625"/>
                </a:cubicBezTo>
                <a:cubicBezTo>
                  <a:pt x="5500" y="18594"/>
                  <a:pt x="5406" y="18562"/>
                  <a:pt x="5312" y="18531"/>
                </a:cubicBezTo>
                <a:close/>
                <a:moveTo>
                  <a:pt x="7187" y="18656"/>
                </a:moveTo>
                <a:cubicBezTo>
                  <a:pt x="7125" y="18625"/>
                  <a:pt x="7031" y="18562"/>
                  <a:pt x="6937" y="18500"/>
                </a:cubicBezTo>
                <a:cubicBezTo>
                  <a:pt x="7000" y="18594"/>
                  <a:pt x="7093" y="18656"/>
                  <a:pt x="7187" y="18656"/>
                </a:cubicBezTo>
                <a:close/>
                <a:moveTo>
                  <a:pt x="10468" y="13312"/>
                </a:moveTo>
                <a:cubicBezTo>
                  <a:pt x="10468" y="13312"/>
                  <a:pt x="10468" y="13312"/>
                  <a:pt x="10468" y="13312"/>
                </a:cubicBezTo>
                <a:close/>
                <a:moveTo>
                  <a:pt x="12625" y="19031"/>
                </a:moveTo>
                <a:cubicBezTo>
                  <a:pt x="12531" y="19031"/>
                  <a:pt x="12406" y="19031"/>
                  <a:pt x="12312" y="19094"/>
                </a:cubicBezTo>
                <a:cubicBezTo>
                  <a:pt x="12406" y="19062"/>
                  <a:pt x="12531" y="19094"/>
                  <a:pt x="12625" y="19031"/>
                </a:cubicBezTo>
                <a:close/>
                <a:moveTo>
                  <a:pt x="11968" y="17250"/>
                </a:moveTo>
                <a:cubicBezTo>
                  <a:pt x="11968" y="17250"/>
                  <a:pt x="11968" y="17250"/>
                  <a:pt x="11968" y="17250"/>
                </a:cubicBezTo>
                <a:cubicBezTo>
                  <a:pt x="11968" y="17250"/>
                  <a:pt x="11968" y="17250"/>
                  <a:pt x="11968" y="17250"/>
                </a:cubicBezTo>
                <a:close/>
                <a:moveTo>
                  <a:pt x="10593" y="18937"/>
                </a:moveTo>
                <a:cubicBezTo>
                  <a:pt x="10687" y="18969"/>
                  <a:pt x="10812" y="19000"/>
                  <a:pt x="10906" y="19031"/>
                </a:cubicBezTo>
                <a:cubicBezTo>
                  <a:pt x="10937" y="19031"/>
                  <a:pt x="10937" y="19031"/>
                  <a:pt x="10937" y="19000"/>
                </a:cubicBezTo>
                <a:cubicBezTo>
                  <a:pt x="10843" y="18937"/>
                  <a:pt x="10718" y="18937"/>
                  <a:pt x="10593" y="18937"/>
                </a:cubicBezTo>
                <a:close/>
                <a:moveTo>
                  <a:pt x="8812" y="16125"/>
                </a:moveTo>
                <a:cubicBezTo>
                  <a:pt x="8781" y="16125"/>
                  <a:pt x="8750" y="16125"/>
                  <a:pt x="8750" y="16125"/>
                </a:cubicBezTo>
                <a:cubicBezTo>
                  <a:pt x="8750" y="16156"/>
                  <a:pt x="8750" y="16156"/>
                  <a:pt x="8750" y="16156"/>
                </a:cubicBezTo>
                <a:cubicBezTo>
                  <a:pt x="8843" y="16187"/>
                  <a:pt x="8906" y="16219"/>
                  <a:pt x="8968" y="16219"/>
                </a:cubicBezTo>
                <a:cubicBezTo>
                  <a:pt x="9000" y="16219"/>
                  <a:pt x="9000" y="16219"/>
                  <a:pt x="9000" y="16219"/>
                </a:cubicBezTo>
                <a:cubicBezTo>
                  <a:pt x="9000" y="16187"/>
                  <a:pt x="9000" y="16187"/>
                  <a:pt x="9000" y="16187"/>
                </a:cubicBezTo>
                <a:cubicBezTo>
                  <a:pt x="8937" y="16156"/>
                  <a:pt x="8875" y="16156"/>
                  <a:pt x="8812" y="16125"/>
                </a:cubicBezTo>
                <a:close/>
                <a:moveTo>
                  <a:pt x="2281" y="17594"/>
                </a:moveTo>
                <a:cubicBezTo>
                  <a:pt x="2406" y="17625"/>
                  <a:pt x="2531" y="17656"/>
                  <a:pt x="2656" y="17656"/>
                </a:cubicBezTo>
                <a:cubicBezTo>
                  <a:pt x="2531" y="17656"/>
                  <a:pt x="2406" y="17594"/>
                  <a:pt x="2281" y="17594"/>
                </a:cubicBezTo>
                <a:close/>
                <a:moveTo>
                  <a:pt x="906" y="17781"/>
                </a:moveTo>
                <a:cubicBezTo>
                  <a:pt x="843" y="17781"/>
                  <a:pt x="750" y="17781"/>
                  <a:pt x="687" y="17781"/>
                </a:cubicBezTo>
                <a:cubicBezTo>
                  <a:pt x="687" y="17781"/>
                  <a:pt x="687" y="17781"/>
                  <a:pt x="687" y="17781"/>
                </a:cubicBezTo>
                <a:cubicBezTo>
                  <a:pt x="750" y="17781"/>
                  <a:pt x="843" y="17781"/>
                  <a:pt x="906" y="17781"/>
                </a:cubicBezTo>
                <a:cubicBezTo>
                  <a:pt x="1031" y="17844"/>
                  <a:pt x="1156" y="17812"/>
                  <a:pt x="1250" y="17812"/>
                </a:cubicBezTo>
                <a:cubicBezTo>
                  <a:pt x="1156" y="17750"/>
                  <a:pt x="1031" y="17750"/>
                  <a:pt x="906" y="17781"/>
                </a:cubicBezTo>
                <a:close/>
                <a:moveTo>
                  <a:pt x="6718" y="18312"/>
                </a:moveTo>
                <a:cubicBezTo>
                  <a:pt x="6625" y="18250"/>
                  <a:pt x="6468" y="18219"/>
                  <a:pt x="6406" y="18250"/>
                </a:cubicBezTo>
                <a:cubicBezTo>
                  <a:pt x="6500" y="18281"/>
                  <a:pt x="6593" y="18312"/>
                  <a:pt x="6687" y="18344"/>
                </a:cubicBezTo>
                <a:cubicBezTo>
                  <a:pt x="6687" y="18312"/>
                  <a:pt x="6718" y="18312"/>
                  <a:pt x="6718" y="18312"/>
                </a:cubicBezTo>
                <a:close/>
                <a:moveTo>
                  <a:pt x="4125" y="15656"/>
                </a:moveTo>
                <a:cubicBezTo>
                  <a:pt x="4250" y="15687"/>
                  <a:pt x="4375" y="15719"/>
                  <a:pt x="4500" y="15719"/>
                </a:cubicBezTo>
                <a:cubicBezTo>
                  <a:pt x="4375" y="15656"/>
                  <a:pt x="4250" y="15656"/>
                  <a:pt x="4125" y="15656"/>
                </a:cubicBezTo>
                <a:close/>
                <a:moveTo>
                  <a:pt x="6125" y="17219"/>
                </a:moveTo>
                <a:cubicBezTo>
                  <a:pt x="6062" y="17156"/>
                  <a:pt x="6062" y="17187"/>
                  <a:pt x="6031" y="17219"/>
                </a:cubicBezTo>
                <a:cubicBezTo>
                  <a:pt x="6000" y="17250"/>
                  <a:pt x="6062" y="17250"/>
                  <a:pt x="6062" y="17281"/>
                </a:cubicBezTo>
                <a:cubicBezTo>
                  <a:pt x="6062" y="17312"/>
                  <a:pt x="6125" y="17281"/>
                  <a:pt x="6125" y="17312"/>
                </a:cubicBezTo>
                <a:cubicBezTo>
                  <a:pt x="6125" y="17344"/>
                  <a:pt x="6156" y="17344"/>
                  <a:pt x="6156" y="17344"/>
                </a:cubicBezTo>
                <a:cubicBezTo>
                  <a:pt x="6156" y="17312"/>
                  <a:pt x="6187" y="17312"/>
                  <a:pt x="6218" y="17281"/>
                </a:cubicBezTo>
                <a:cubicBezTo>
                  <a:pt x="6218" y="17250"/>
                  <a:pt x="6187" y="17250"/>
                  <a:pt x="6187" y="17250"/>
                </a:cubicBezTo>
                <a:cubicBezTo>
                  <a:pt x="6156" y="17250"/>
                  <a:pt x="6125" y="17219"/>
                  <a:pt x="6125" y="17219"/>
                </a:cubicBezTo>
                <a:close/>
                <a:moveTo>
                  <a:pt x="12625" y="19187"/>
                </a:moveTo>
                <a:cubicBezTo>
                  <a:pt x="12500" y="19219"/>
                  <a:pt x="12375" y="19156"/>
                  <a:pt x="12281" y="19187"/>
                </a:cubicBezTo>
                <a:cubicBezTo>
                  <a:pt x="12375" y="19219"/>
                  <a:pt x="12500" y="19250"/>
                  <a:pt x="12625" y="19187"/>
                </a:cubicBezTo>
                <a:close/>
                <a:moveTo>
                  <a:pt x="6906" y="18094"/>
                </a:moveTo>
                <a:cubicBezTo>
                  <a:pt x="6906" y="18094"/>
                  <a:pt x="6906" y="18094"/>
                  <a:pt x="6906" y="18094"/>
                </a:cubicBezTo>
                <a:cubicBezTo>
                  <a:pt x="6906" y="18094"/>
                  <a:pt x="6906" y="18094"/>
                  <a:pt x="6906" y="18094"/>
                </a:cubicBezTo>
                <a:lnTo>
                  <a:pt x="6906" y="18094"/>
                </a:lnTo>
                <a:cubicBezTo>
                  <a:pt x="6906" y="18094"/>
                  <a:pt x="6906" y="18094"/>
                  <a:pt x="6906" y="18094"/>
                </a:cubicBezTo>
                <a:cubicBezTo>
                  <a:pt x="6906" y="18094"/>
                  <a:pt x="6906" y="18094"/>
                  <a:pt x="6906" y="18094"/>
                </a:cubicBezTo>
                <a:close/>
                <a:moveTo>
                  <a:pt x="8312" y="17156"/>
                </a:moveTo>
                <a:cubicBezTo>
                  <a:pt x="8218" y="17094"/>
                  <a:pt x="8156" y="17031"/>
                  <a:pt x="8031" y="17000"/>
                </a:cubicBezTo>
                <a:cubicBezTo>
                  <a:pt x="7937" y="16937"/>
                  <a:pt x="7843" y="16875"/>
                  <a:pt x="7718" y="16875"/>
                </a:cubicBezTo>
                <a:cubicBezTo>
                  <a:pt x="7843" y="16937"/>
                  <a:pt x="7937" y="17000"/>
                  <a:pt x="8031" y="17031"/>
                </a:cubicBezTo>
                <a:cubicBezTo>
                  <a:pt x="8125" y="17094"/>
                  <a:pt x="8218" y="17125"/>
                  <a:pt x="8312" y="17156"/>
                </a:cubicBezTo>
                <a:close/>
                <a:moveTo>
                  <a:pt x="7093" y="18531"/>
                </a:moveTo>
                <a:cubicBezTo>
                  <a:pt x="7125" y="18562"/>
                  <a:pt x="7156" y="18562"/>
                  <a:pt x="7218" y="18562"/>
                </a:cubicBezTo>
                <a:cubicBezTo>
                  <a:pt x="7187" y="18531"/>
                  <a:pt x="7156" y="18500"/>
                  <a:pt x="7093" y="18500"/>
                </a:cubicBezTo>
                <a:cubicBezTo>
                  <a:pt x="7000" y="18437"/>
                  <a:pt x="6906" y="18375"/>
                  <a:pt x="6781" y="18344"/>
                </a:cubicBezTo>
                <a:cubicBezTo>
                  <a:pt x="6875" y="18437"/>
                  <a:pt x="7000" y="18469"/>
                  <a:pt x="7093" y="18531"/>
                </a:cubicBezTo>
                <a:close/>
                <a:moveTo>
                  <a:pt x="12562" y="18625"/>
                </a:moveTo>
                <a:cubicBezTo>
                  <a:pt x="12562" y="18625"/>
                  <a:pt x="12531" y="18625"/>
                  <a:pt x="12531" y="18656"/>
                </a:cubicBezTo>
                <a:cubicBezTo>
                  <a:pt x="12562" y="18656"/>
                  <a:pt x="12593" y="18656"/>
                  <a:pt x="12656" y="18656"/>
                </a:cubicBezTo>
                <a:cubicBezTo>
                  <a:pt x="12718" y="18656"/>
                  <a:pt x="12781" y="18625"/>
                  <a:pt x="12843" y="18625"/>
                </a:cubicBezTo>
                <a:cubicBezTo>
                  <a:pt x="12875" y="18625"/>
                  <a:pt x="12906" y="18594"/>
                  <a:pt x="12937" y="18594"/>
                </a:cubicBezTo>
                <a:cubicBezTo>
                  <a:pt x="12812" y="18562"/>
                  <a:pt x="12718" y="18656"/>
                  <a:pt x="12593" y="18594"/>
                </a:cubicBezTo>
                <a:cubicBezTo>
                  <a:pt x="12593" y="18594"/>
                  <a:pt x="12562" y="18625"/>
                  <a:pt x="12562" y="18625"/>
                </a:cubicBezTo>
                <a:close/>
                <a:moveTo>
                  <a:pt x="3250" y="17375"/>
                </a:moveTo>
                <a:cubicBezTo>
                  <a:pt x="3406" y="17406"/>
                  <a:pt x="3562" y="17437"/>
                  <a:pt x="3718" y="17469"/>
                </a:cubicBezTo>
                <a:cubicBezTo>
                  <a:pt x="3750" y="17500"/>
                  <a:pt x="3750" y="17469"/>
                  <a:pt x="3781" y="17469"/>
                </a:cubicBezTo>
                <a:cubicBezTo>
                  <a:pt x="3593" y="17406"/>
                  <a:pt x="3406" y="17375"/>
                  <a:pt x="3218" y="17344"/>
                </a:cubicBezTo>
                <a:cubicBezTo>
                  <a:pt x="3218" y="17375"/>
                  <a:pt x="3250" y="17375"/>
                  <a:pt x="3250" y="17375"/>
                </a:cubicBez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9"/>
                </a:lnTo>
                <a:close/>
                <a:moveTo>
                  <a:pt x="3781" y="17469"/>
                </a:moveTo>
                <a:lnTo>
                  <a:pt x="3781" y="17468"/>
                </a:lnTo>
                <a:lnTo>
                  <a:pt x="3781" y="17469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8"/>
                </a:lnTo>
                <a:close/>
                <a:moveTo>
                  <a:pt x="3781" y="17468"/>
                </a:moveTo>
                <a:lnTo>
                  <a:pt x="3781" y="17467"/>
                </a:lnTo>
                <a:lnTo>
                  <a:pt x="3781" y="17468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7"/>
                </a:lnTo>
                <a:close/>
                <a:moveTo>
                  <a:pt x="3781" y="17467"/>
                </a:moveTo>
                <a:lnTo>
                  <a:pt x="3781" y="17466"/>
                </a:lnTo>
                <a:lnTo>
                  <a:pt x="3781" y="17467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6"/>
                </a:lnTo>
                <a:close/>
                <a:moveTo>
                  <a:pt x="3781" y="17466"/>
                </a:moveTo>
                <a:lnTo>
                  <a:pt x="3781" y="17465"/>
                </a:lnTo>
                <a:lnTo>
                  <a:pt x="3781" y="17466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5"/>
                </a:lnTo>
                <a:close/>
                <a:moveTo>
                  <a:pt x="3781" y="17465"/>
                </a:moveTo>
                <a:lnTo>
                  <a:pt x="3781" y="17464"/>
                </a:lnTo>
                <a:lnTo>
                  <a:pt x="3781" y="17465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4"/>
                </a:lnTo>
                <a:close/>
                <a:moveTo>
                  <a:pt x="3781" y="17464"/>
                </a:moveTo>
                <a:lnTo>
                  <a:pt x="3781" y="17463"/>
                </a:lnTo>
                <a:lnTo>
                  <a:pt x="3781" y="17464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3"/>
                </a:lnTo>
                <a:close/>
                <a:moveTo>
                  <a:pt x="3781" y="17463"/>
                </a:moveTo>
                <a:lnTo>
                  <a:pt x="3781" y="17462"/>
                </a:lnTo>
                <a:lnTo>
                  <a:pt x="3781" y="17463"/>
                </a:lnTo>
                <a:close/>
                <a:moveTo>
                  <a:pt x="3781" y="17462"/>
                </a:moveTo>
                <a:lnTo>
                  <a:pt x="3781" y="17462"/>
                </a:lnTo>
                <a:close/>
                <a:moveTo>
                  <a:pt x="3781" y="17462"/>
                </a:moveTo>
                <a:lnTo>
                  <a:pt x="3781" y="17462"/>
                </a:lnTo>
                <a:close/>
                <a:moveTo>
                  <a:pt x="3781" y="17462"/>
                </a:moveTo>
                <a:lnTo>
                  <a:pt x="3781" y="17461"/>
                </a:lnTo>
                <a:lnTo>
                  <a:pt x="3781" y="17462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1"/>
                </a:lnTo>
                <a:close/>
                <a:moveTo>
                  <a:pt x="3781" y="17461"/>
                </a:moveTo>
                <a:lnTo>
                  <a:pt x="3781" y="17460"/>
                </a:lnTo>
                <a:lnTo>
                  <a:pt x="3781" y="17461"/>
                </a:lnTo>
                <a:close/>
                <a:moveTo>
                  <a:pt x="3781" y="17460"/>
                </a:moveTo>
                <a:lnTo>
                  <a:pt x="3781" y="17460"/>
                </a:lnTo>
                <a:close/>
                <a:moveTo>
                  <a:pt x="3781" y="17460"/>
                </a:moveTo>
                <a:lnTo>
                  <a:pt x="3781" y="17460"/>
                </a:lnTo>
                <a:close/>
                <a:moveTo>
                  <a:pt x="3781" y="17460"/>
                </a:moveTo>
                <a:lnTo>
                  <a:pt x="3781" y="17459"/>
                </a:lnTo>
                <a:lnTo>
                  <a:pt x="3781" y="17460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9"/>
                </a:lnTo>
                <a:close/>
                <a:moveTo>
                  <a:pt x="3781" y="17459"/>
                </a:moveTo>
                <a:lnTo>
                  <a:pt x="3781" y="17458"/>
                </a:lnTo>
                <a:lnTo>
                  <a:pt x="3781" y="17459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8"/>
                </a:lnTo>
                <a:close/>
                <a:moveTo>
                  <a:pt x="3781" y="17458"/>
                </a:moveTo>
                <a:lnTo>
                  <a:pt x="3781" y="17457"/>
                </a:lnTo>
                <a:lnTo>
                  <a:pt x="3781" y="17458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7"/>
                </a:lnTo>
                <a:close/>
                <a:moveTo>
                  <a:pt x="3781" y="17457"/>
                </a:moveTo>
                <a:lnTo>
                  <a:pt x="3781" y="17456"/>
                </a:lnTo>
                <a:lnTo>
                  <a:pt x="3781" y="17457"/>
                </a:lnTo>
                <a:close/>
                <a:moveTo>
                  <a:pt x="3781" y="17456"/>
                </a:moveTo>
                <a:lnTo>
                  <a:pt x="3781" y="17456"/>
                </a:lnTo>
                <a:close/>
                <a:moveTo>
                  <a:pt x="3781" y="17456"/>
                </a:moveTo>
                <a:lnTo>
                  <a:pt x="3781" y="17456"/>
                </a:lnTo>
                <a:close/>
                <a:moveTo>
                  <a:pt x="3781" y="17456"/>
                </a:moveTo>
                <a:lnTo>
                  <a:pt x="3781" y="17455"/>
                </a:lnTo>
                <a:lnTo>
                  <a:pt x="3781" y="17456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5"/>
                </a:lnTo>
                <a:close/>
                <a:moveTo>
                  <a:pt x="3781" y="17455"/>
                </a:moveTo>
                <a:lnTo>
                  <a:pt x="3781" y="17454"/>
                </a:lnTo>
                <a:lnTo>
                  <a:pt x="3781" y="17455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4"/>
                </a:lnTo>
                <a:close/>
                <a:moveTo>
                  <a:pt x="3781" y="17454"/>
                </a:moveTo>
                <a:lnTo>
                  <a:pt x="3781" y="17453"/>
                </a:lnTo>
                <a:lnTo>
                  <a:pt x="3781" y="17454"/>
                </a:lnTo>
                <a:close/>
                <a:moveTo>
                  <a:pt x="3781" y="17453"/>
                </a:moveTo>
                <a:lnTo>
                  <a:pt x="3781" y="17453"/>
                </a:lnTo>
                <a:close/>
                <a:moveTo>
                  <a:pt x="3781" y="17453"/>
                </a:moveTo>
                <a:lnTo>
                  <a:pt x="3781" y="17453"/>
                </a:lnTo>
                <a:close/>
                <a:moveTo>
                  <a:pt x="3781" y="17453"/>
                </a:moveTo>
                <a:lnTo>
                  <a:pt x="3781" y="17452"/>
                </a:lnTo>
                <a:lnTo>
                  <a:pt x="3781" y="17453"/>
                </a:lnTo>
                <a:close/>
                <a:moveTo>
                  <a:pt x="3781" y="17452"/>
                </a:moveTo>
                <a:lnTo>
                  <a:pt x="3781" y="17452"/>
                </a:lnTo>
                <a:close/>
                <a:moveTo>
                  <a:pt x="3781" y="17452"/>
                </a:moveTo>
                <a:lnTo>
                  <a:pt x="3781" y="17452"/>
                </a:lnTo>
                <a:close/>
                <a:moveTo>
                  <a:pt x="3781" y="17452"/>
                </a:moveTo>
                <a:lnTo>
                  <a:pt x="3781" y="17451"/>
                </a:lnTo>
                <a:lnTo>
                  <a:pt x="3781" y="17452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1"/>
                </a:lnTo>
                <a:close/>
                <a:moveTo>
                  <a:pt x="3781" y="17451"/>
                </a:moveTo>
                <a:lnTo>
                  <a:pt x="3781" y="17450"/>
                </a:lnTo>
                <a:lnTo>
                  <a:pt x="3781" y="17451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50"/>
                </a:lnTo>
                <a:close/>
                <a:moveTo>
                  <a:pt x="3781" y="17450"/>
                </a:moveTo>
                <a:lnTo>
                  <a:pt x="3781" y="17449"/>
                </a:lnTo>
                <a:lnTo>
                  <a:pt x="3781" y="17450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9"/>
                </a:lnTo>
                <a:close/>
                <a:moveTo>
                  <a:pt x="3781" y="17449"/>
                </a:moveTo>
                <a:lnTo>
                  <a:pt x="3781" y="17448"/>
                </a:lnTo>
                <a:lnTo>
                  <a:pt x="3781" y="17449"/>
                </a:lnTo>
                <a:close/>
                <a:moveTo>
                  <a:pt x="3781" y="17448"/>
                </a:moveTo>
                <a:lnTo>
                  <a:pt x="3781" y="17448"/>
                </a:lnTo>
                <a:close/>
                <a:moveTo>
                  <a:pt x="3781" y="17448"/>
                </a:moveTo>
                <a:lnTo>
                  <a:pt x="3781" y="17448"/>
                </a:lnTo>
                <a:close/>
                <a:moveTo>
                  <a:pt x="3781" y="17448"/>
                </a:moveTo>
                <a:lnTo>
                  <a:pt x="3781" y="17447"/>
                </a:lnTo>
                <a:lnTo>
                  <a:pt x="3781" y="17448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7"/>
                </a:lnTo>
                <a:close/>
                <a:moveTo>
                  <a:pt x="3781" y="17447"/>
                </a:moveTo>
                <a:lnTo>
                  <a:pt x="3781" y="17446"/>
                </a:lnTo>
                <a:lnTo>
                  <a:pt x="3781" y="17447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6"/>
                </a:lnTo>
                <a:close/>
                <a:moveTo>
                  <a:pt x="3781" y="17446"/>
                </a:moveTo>
                <a:lnTo>
                  <a:pt x="3781" y="17445"/>
                </a:lnTo>
                <a:lnTo>
                  <a:pt x="3781" y="17446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5"/>
                </a:lnTo>
                <a:close/>
                <a:moveTo>
                  <a:pt x="3781" y="17445"/>
                </a:moveTo>
                <a:lnTo>
                  <a:pt x="3781" y="17444"/>
                </a:lnTo>
                <a:lnTo>
                  <a:pt x="3781" y="17445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4"/>
                </a:lnTo>
                <a:close/>
                <a:moveTo>
                  <a:pt x="3781" y="17444"/>
                </a:moveTo>
                <a:lnTo>
                  <a:pt x="3781" y="17443"/>
                </a:lnTo>
                <a:lnTo>
                  <a:pt x="3781" y="17444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3"/>
                </a:lnTo>
                <a:close/>
                <a:moveTo>
                  <a:pt x="3781" y="17443"/>
                </a:moveTo>
                <a:lnTo>
                  <a:pt x="3781" y="17442"/>
                </a:lnTo>
                <a:lnTo>
                  <a:pt x="3781" y="17443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2"/>
                </a:lnTo>
                <a:close/>
                <a:moveTo>
                  <a:pt x="3781" y="17442"/>
                </a:moveTo>
                <a:lnTo>
                  <a:pt x="3781" y="17441"/>
                </a:lnTo>
                <a:lnTo>
                  <a:pt x="3781" y="17442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1"/>
                </a:lnTo>
                <a:close/>
                <a:moveTo>
                  <a:pt x="3781" y="17441"/>
                </a:moveTo>
                <a:lnTo>
                  <a:pt x="3781" y="17440"/>
                </a:lnTo>
                <a:lnTo>
                  <a:pt x="3781" y="17441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40"/>
                </a:lnTo>
                <a:close/>
                <a:moveTo>
                  <a:pt x="3781" y="17440"/>
                </a:moveTo>
                <a:lnTo>
                  <a:pt x="3781" y="17439"/>
                </a:lnTo>
                <a:lnTo>
                  <a:pt x="3781" y="17440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9"/>
                </a:lnTo>
                <a:close/>
                <a:moveTo>
                  <a:pt x="3781" y="17439"/>
                </a:moveTo>
                <a:lnTo>
                  <a:pt x="3781" y="17438"/>
                </a:lnTo>
                <a:lnTo>
                  <a:pt x="3781" y="17439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8"/>
                </a:lnTo>
                <a:close/>
                <a:moveTo>
                  <a:pt x="3781" y="17438"/>
                </a:moveTo>
                <a:lnTo>
                  <a:pt x="3781" y="17437"/>
                </a:lnTo>
                <a:lnTo>
                  <a:pt x="3781" y="17438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3781" y="17437"/>
                </a:moveTo>
                <a:lnTo>
                  <a:pt x="3781" y="17437"/>
                </a:lnTo>
                <a:close/>
                <a:moveTo>
                  <a:pt x="9968" y="17375"/>
                </a:moveTo>
                <a:cubicBezTo>
                  <a:pt x="9968" y="17344"/>
                  <a:pt x="9968" y="17344"/>
                  <a:pt x="9937" y="17344"/>
                </a:cubicBezTo>
                <a:cubicBezTo>
                  <a:pt x="9937" y="17312"/>
                  <a:pt x="9906" y="17281"/>
                  <a:pt x="9875" y="17281"/>
                </a:cubicBezTo>
                <a:cubicBezTo>
                  <a:pt x="9843" y="17312"/>
                  <a:pt x="9812" y="17281"/>
                  <a:pt x="9781" y="17281"/>
                </a:cubicBezTo>
                <a:cubicBezTo>
                  <a:pt x="9750" y="17250"/>
                  <a:pt x="9687" y="17250"/>
                  <a:pt x="9625" y="17281"/>
                </a:cubicBezTo>
                <a:cubicBezTo>
                  <a:pt x="9718" y="17312"/>
                  <a:pt x="9843" y="17344"/>
                  <a:pt x="9937" y="17375"/>
                </a:cubicBezTo>
                <a:cubicBezTo>
                  <a:pt x="9937" y="17375"/>
                  <a:pt x="9937" y="17375"/>
                  <a:pt x="9968" y="17375"/>
                </a:cubicBezTo>
                <a:close/>
                <a:moveTo>
                  <a:pt x="3562" y="16969"/>
                </a:moveTo>
                <a:cubicBezTo>
                  <a:pt x="3593" y="17031"/>
                  <a:pt x="3656" y="17031"/>
                  <a:pt x="3718" y="17062"/>
                </a:cubicBezTo>
                <a:lnTo>
                  <a:pt x="3718" y="17062"/>
                </a:lnTo>
                <a:cubicBezTo>
                  <a:pt x="3781" y="17062"/>
                  <a:pt x="3875" y="17094"/>
                  <a:pt x="3937" y="17062"/>
                </a:cubicBezTo>
                <a:cubicBezTo>
                  <a:pt x="3843" y="17031"/>
                  <a:pt x="3750" y="17031"/>
                  <a:pt x="3687" y="17000"/>
                </a:cubicBezTo>
                <a:cubicBezTo>
                  <a:pt x="3656" y="16969"/>
                  <a:pt x="3593" y="16969"/>
                  <a:pt x="3562" y="16969"/>
                </a:cubicBezTo>
                <a:close/>
                <a:moveTo>
                  <a:pt x="10625" y="12406"/>
                </a:moveTo>
                <a:cubicBezTo>
                  <a:pt x="10625" y="12406"/>
                  <a:pt x="10625" y="12375"/>
                  <a:pt x="10625" y="12375"/>
                </a:cubicBezTo>
                <a:cubicBezTo>
                  <a:pt x="10625" y="12375"/>
                  <a:pt x="10625" y="12375"/>
                  <a:pt x="10625" y="12375"/>
                </a:cubicBezTo>
                <a:cubicBezTo>
                  <a:pt x="10625" y="12375"/>
                  <a:pt x="10625" y="12406"/>
                  <a:pt x="10625" y="12406"/>
                </a:cubicBezTo>
                <a:close/>
                <a:moveTo>
                  <a:pt x="10875" y="12156"/>
                </a:moveTo>
                <a:cubicBezTo>
                  <a:pt x="10843" y="12156"/>
                  <a:pt x="10812" y="12125"/>
                  <a:pt x="10781" y="12094"/>
                </a:cubicBezTo>
                <a:cubicBezTo>
                  <a:pt x="10781" y="12062"/>
                  <a:pt x="10875" y="12000"/>
                  <a:pt x="10906" y="12000"/>
                </a:cubicBezTo>
                <a:cubicBezTo>
                  <a:pt x="10968" y="12031"/>
                  <a:pt x="11031" y="12031"/>
                  <a:pt x="11093" y="12062"/>
                </a:cubicBezTo>
                <a:cubicBezTo>
                  <a:pt x="11000" y="12094"/>
                  <a:pt x="10906" y="12000"/>
                  <a:pt x="10875" y="12156"/>
                </a:cubicBezTo>
                <a:close/>
                <a:moveTo>
                  <a:pt x="11093" y="12156"/>
                </a:moveTo>
                <a:cubicBezTo>
                  <a:pt x="11125" y="12125"/>
                  <a:pt x="11125" y="12156"/>
                  <a:pt x="11156" y="12187"/>
                </a:cubicBezTo>
                <a:cubicBezTo>
                  <a:pt x="11156" y="12187"/>
                  <a:pt x="11156" y="12187"/>
                  <a:pt x="11156" y="12187"/>
                </a:cubicBezTo>
                <a:cubicBezTo>
                  <a:pt x="11187" y="12156"/>
                  <a:pt x="11187" y="12156"/>
                  <a:pt x="11218" y="12187"/>
                </a:cubicBezTo>
                <a:cubicBezTo>
                  <a:pt x="11187" y="12187"/>
                  <a:pt x="11187" y="12187"/>
                  <a:pt x="11156" y="12187"/>
                </a:cubicBezTo>
                <a:cubicBezTo>
                  <a:pt x="11156" y="12219"/>
                  <a:pt x="11187" y="12219"/>
                  <a:pt x="11156" y="12219"/>
                </a:cubicBezTo>
                <a:cubicBezTo>
                  <a:pt x="11125" y="12219"/>
                  <a:pt x="11093" y="12281"/>
                  <a:pt x="11062" y="12281"/>
                </a:cubicBezTo>
                <a:cubicBezTo>
                  <a:pt x="11062" y="12281"/>
                  <a:pt x="11062" y="12281"/>
                  <a:pt x="11031" y="12250"/>
                </a:cubicBezTo>
                <a:cubicBezTo>
                  <a:pt x="11000" y="12219"/>
                  <a:pt x="11062" y="12187"/>
                  <a:pt x="11093" y="12156"/>
                </a:cubicBezTo>
                <a:close/>
                <a:moveTo>
                  <a:pt x="10875" y="12344"/>
                </a:moveTo>
                <a:cubicBezTo>
                  <a:pt x="10875" y="12344"/>
                  <a:pt x="10875" y="12344"/>
                  <a:pt x="10875" y="12344"/>
                </a:cubicBezTo>
                <a:cubicBezTo>
                  <a:pt x="10875" y="12344"/>
                  <a:pt x="10906" y="12312"/>
                  <a:pt x="10875" y="12312"/>
                </a:cubicBezTo>
                <a:cubicBezTo>
                  <a:pt x="10968" y="12281"/>
                  <a:pt x="10968" y="12281"/>
                  <a:pt x="11031" y="12312"/>
                </a:cubicBezTo>
                <a:cubicBezTo>
                  <a:pt x="11000" y="12344"/>
                  <a:pt x="11000" y="12375"/>
                  <a:pt x="10937" y="12375"/>
                </a:cubicBezTo>
                <a:cubicBezTo>
                  <a:pt x="10937" y="12375"/>
                  <a:pt x="10906" y="12375"/>
                  <a:pt x="10875" y="12344"/>
                </a:cubicBezTo>
                <a:close/>
                <a:moveTo>
                  <a:pt x="10312" y="18250"/>
                </a:moveTo>
                <a:cubicBezTo>
                  <a:pt x="10312" y="18281"/>
                  <a:pt x="10343" y="18281"/>
                  <a:pt x="10343" y="18281"/>
                </a:cubicBezTo>
                <a:cubicBezTo>
                  <a:pt x="10437" y="18312"/>
                  <a:pt x="10531" y="18344"/>
                  <a:pt x="10625" y="18406"/>
                </a:cubicBezTo>
                <a:cubicBezTo>
                  <a:pt x="10625" y="18406"/>
                  <a:pt x="10656" y="18406"/>
                  <a:pt x="10656" y="18375"/>
                </a:cubicBezTo>
                <a:cubicBezTo>
                  <a:pt x="10656" y="18375"/>
                  <a:pt x="10656" y="18344"/>
                  <a:pt x="10656" y="18344"/>
                </a:cubicBezTo>
                <a:cubicBezTo>
                  <a:pt x="10625" y="18344"/>
                  <a:pt x="10562" y="18312"/>
                  <a:pt x="10531" y="18312"/>
                </a:cubicBezTo>
                <a:cubicBezTo>
                  <a:pt x="10468" y="18281"/>
                  <a:pt x="10406" y="18250"/>
                  <a:pt x="10375" y="18250"/>
                </a:cubicBezTo>
                <a:cubicBezTo>
                  <a:pt x="10343" y="18250"/>
                  <a:pt x="10343" y="18250"/>
                  <a:pt x="10312" y="18250"/>
                </a:cubicBezTo>
                <a:close/>
                <a:moveTo>
                  <a:pt x="2187" y="18375"/>
                </a:moveTo>
                <a:cubicBezTo>
                  <a:pt x="2031" y="18281"/>
                  <a:pt x="1843" y="18250"/>
                  <a:pt x="1687" y="18250"/>
                </a:cubicBezTo>
                <a:cubicBezTo>
                  <a:pt x="1843" y="18312"/>
                  <a:pt x="2000" y="18344"/>
                  <a:pt x="2187" y="18375"/>
                </a:cubicBezTo>
                <a:close/>
                <a:moveTo>
                  <a:pt x="2250" y="18781"/>
                </a:moveTo>
                <a:cubicBezTo>
                  <a:pt x="2093" y="18750"/>
                  <a:pt x="1937" y="18656"/>
                  <a:pt x="1781" y="18656"/>
                </a:cubicBezTo>
                <a:cubicBezTo>
                  <a:pt x="1781" y="18656"/>
                  <a:pt x="1781" y="18656"/>
                  <a:pt x="1781" y="18687"/>
                </a:cubicBezTo>
                <a:cubicBezTo>
                  <a:pt x="1937" y="18719"/>
                  <a:pt x="2093" y="18750"/>
                  <a:pt x="2250" y="18812"/>
                </a:cubicBezTo>
                <a:cubicBezTo>
                  <a:pt x="2250" y="18781"/>
                  <a:pt x="2250" y="18781"/>
                  <a:pt x="2250" y="18781"/>
                </a:cubicBezTo>
                <a:close/>
                <a:moveTo>
                  <a:pt x="9562" y="15937"/>
                </a:moveTo>
                <a:cubicBezTo>
                  <a:pt x="9593" y="15937"/>
                  <a:pt x="9625" y="15937"/>
                  <a:pt x="9656" y="15906"/>
                </a:cubicBezTo>
                <a:cubicBezTo>
                  <a:pt x="9625" y="15937"/>
                  <a:pt x="9593" y="15937"/>
                  <a:pt x="9562" y="15937"/>
                </a:cubicBezTo>
                <a:cubicBezTo>
                  <a:pt x="9437" y="15937"/>
                  <a:pt x="9312" y="15937"/>
                  <a:pt x="9187" y="15937"/>
                </a:cubicBezTo>
                <a:cubicBezTo>
                  <a:pt x="9312" y="16000"/>
                  <a:pt x="9437" y="15969"/>
                  <a:pt x="9562" y="15937"/>
                </a:cubicBezTo>
                <a:close/>
                <a:moveTo>
                  <a:pt x="6937" y="17437"/>
                </a:moveTo>
                <a:cubicBezTo>
                  <a:pt x="6875" y="17437"/>
                  <a:pt x="6812" y="17375"/>
                  <a:pt x="6718" y="17406"/>
                </a:cubicBezTo>
                <a:cubicBezTo>
                  <a:pt x="6718" y="17344"/>
                  <a:pt x="6687" y="17344"/>
                  <a:pt x="6656" y="17344"/>
                </a:cubicBezTo>
                <a:cubicBezTo>
                  <a:pt x="6500" y="17281"/>
                  <a:pt x="6312" y="17219"/>
                  <a:pt x="6156" y="17125"/>
                </a:cubicBezTo>
                <a:cubicBezTo>
                  <a:pt x="6093" y="17094"/>
                  <a:pt x="6062" y="17062"/>
                  <a:pt x="5968" y="17062"/>
                </a:cubicBezTo>
                <a:cubicBezTo>
                  <a:pt x="6093" y="17156"/>
                  <a:pt x="6187" y="17187"/>
                  <a:pt x="6281" y="17250"/>
                </a:cubicBezTo>
                <a:cubicBezTo>
                  <a:pt x="6437" y="17312"/>
                  <a:pt x="6562" y="17375"/>
                  <a:pt x="6718" y="17406"/>
                </a:cubicBezTo>
                <a:cubicBezTo>
                  <a:pt x="6781" y="17469"/>
                  <a:pt x="7031" y="17531"/>
                  <a:pt x="7093" y="17500"/>
                </a:cubicBezTo>
                <a:cubicBezTo>
                  <a:pt x="7031" y="17500"/>
                  <a:pt x="7000" y="17469"/>
                  <a:pt x="6937" y="17437"/>
                </a:cubicBezTo>
                <a:close/>
                <a:moveTo>
                  <a:pt x="6531" y="18031"/>
                </a:moveTo>
                <a:cubicBezTo>
                  <a:pt x="6531" y="18000"/>
                  <a:pt x="6500" y="18000"/>
                  <a:pt x="6500" y="18000"/>
                </a:cubicBezTo>
                <a:cubicBezTo>
                  <a:pt x="6468" y="18000"/>
                  <a:pt x="6437" y="18000"/>
                  <a:pt x="6406" y="17969"/>
                </a:cubicBezTo>
                <a:cubicBezTo>
                  <a:pt x="6312" y="17937"/>
                  <a:pt x="6187" y="17969"/>
                  <a:pt x="6093" y="17937"/>
                </a:cubicBezTo>
                <a:cubicBezTo>
                  <a:pt x="6156" y="17969"/>
                  <a:pt x="6218" y="17969"/>
                  <a:pt x="6281" y="18000"/>
                </a:cubicBezTo>
                <a:cubicBezTo>
                  <a:pt x="6343" y="18000"/>
                  <a:pt x="6406" y="18031"/>
                  <a:pt x="6468" y="18031"/>
                </a:cubicBezTo>
                <a:cubicBezTo>
                  <a:pt x="6500" y="18031"/>
                  <a:pt x="6500" y="18062"/>
                  <a:pt x="6531" y="18031"/>
                </a:cubicBezTo>
                <a:close/>
                <a:moveTo>
                  <a:pt x="1281" y="18562"/>
                </a:moveTo>
                <a:cubicBezTo>
                  <a:pt x="1343" y="18594"/>
                  <a:pt x="1718" y="18656"/>
                  <a:pt x="1750" y="18625"/>
                </a:cubicBezTo>
                <a:cubicBezTo>
                  <a:pt x="1593" y="18625"/>
                  <a:pt x="1437" y="18562"/>
                  <a:pt x="1281" y="18562"/>
                </a:cubicBezTo>
                <a:close/>
                <a:moveTo>
                  <a:pt x="10843" y="18344"/>
                </a:moveTo>
                <a:cubicBezTo>
                  <a:pt x="10812" y="18344"/>
                  <a:pt x="10812" y="18344"/>
                  <a:pt x="10812" y="18344"/>
                </a:cubicBezTo>
                <a:cubicBezTo>
                  <a:pt x="10812" y="18344"/>
                  <a:pt x="10812" y="18375"/>
                  <a:pt x="10812" y="18375"/>
                </a:cubicBezTo>
                <a:cubicBezTo>
                  <a:pt x="10875" y="18375"/>
                  <a:pt x="10906" y="18406"/>
                  <a:pt x="10968" y="18406"/>
                </a:cubicBezTo>
                <a:cubicBezTo>
                  <a:pt x="11062" y="18437"/>
                  <a:pt x="11187" y="18406"/>
                  <a:pt x="11281" y="18375"/>
                </a:cubicBezTo>
                <a:cubicBezTo>
                  <a:pt x="11343" y="18375"/>
                  <a:pt x="11406" y="18375"/>
                  <a:pt x="11468" y="18344"/>
                </a:cubicBezTo>
                <a:cubicBezTo>
                  <a:pt x="11406" y="18344"/>
                  <a:pt x="11343" y="18312"/>
                  <a:pt x="11281" y="18344"/>
                </a:cubicBezTo>
                <a:cubicBezTo>
                  <a:pt x="11125" y="18375"/>
                  <a:pt x="10968" y="18406"/>
                  <a:pt x="10843" y="18344"/>
                </a:cubicBezTo>
                <a:close/>
                <a:moveTo>
                  <a:pt x="6718" y="17531"/>
                </a:moveTo>
                <a:cubicBezTo>
                  <a:pt x="6718" y="17531"/>
                  <a:pt x="6718" y="17531"/>
                  <a:pt x="6718" y="17531"/>
                </a:cubicBezTo>
                <a:cubicBezTo>
                  <a:pt x="6750" y="17562"/>
                  <a:pt x="6781" y="17594"/>
                  <a:pt x="6812" y="17562"/>
                </a:cubicBezTo>
                <a:cubicBezTo>
                  <a:pt x="6812" y="17531"/>
                  <a:pt x="6781" y="17531"/>
                  <a:pt x="6750" y="17531"/>
                </a:cubicBezTo>
                <a:cubicBezTo>
                  <a:pt x="6718" y="17500"/>
                  <a:pt x="6718" y="17500"/>
                  <a:pt x="6718" y="17500"/>
                </a:cubicBezTo>
                <a:cubicBezTo>
                  <a:pt x="6625" y="17469"/>
                  <a:pt x="6531" y="17437"/>
                  <a:pt x="6468" y="17375"/>
                </a:cubicBezTo>
                <a:cubicBezTo>
                  <a:pt x="6406" y="17375"/>
                  <a:pt x="6375" y="17312"/>
                  <a:pt x="6281" y="17344"/>
                </a:cubicBezTo>
                <a:cubicBezTo>
                  <a:pt x="6406" y="17406"/>
                  <a:pt x="6468" y="17437"/>
                  <a:pt x="6562" y="17500"/>
                </a:cubicBezTo>
                <a:cubicBezTo>
                  <a:pt x="6625" y="17500"/>
                  <a:pt x="6656" y="17531"/>
                  <a:pt x="6718" y="17531"/>
                </a:cubicBezTo>
                <a:close/>
                <a:moveTo>
                  <a:pt x="12406" y="18406"/>
                </a:moveTo>
                <a:cubicBezTo>
                  <a:pt x="12281" y="18406"/>
                  <a:pt x="12156" y="18469"/>
                  <a:pt x="12031" y="18469"/>
                </a:cubicBezTo>
                <a:cubicBezTo>
                  <a:pt x="12031" y="18469"/>
                  <a:pt x="12000" y="18469"/>
                  <a:pt x="12000" y="18500"/>
                </a:cubicBezTo>
                <a:cubicBezTo>
                  <a:pt x="12000" y="18500"/>
                  <a:pt x="12000" y="18500"/>
                  <a:pt x="11968" y="18500"/>
                </a:cubicBezTo>
                <a:cubicBezTo>
                  <a:pt x="11968" y="18469"/>
                  <a:pt x="11968" y="18469"/>
                  <a:pt x="11937" y="18469"/>
                </a:cubicBezTo>
                <a:cubicBezTo>
                  <a:pt x="11906" y="18500"/>
                  <a:pt x="11843" y="18469"/>
                  <a:pt x="11781" y="18531"/>
                </a:cubicBezTo>
                <a:cubicBezTo>
                  <a:pt x="11875" y="18500"/>
                  <a:pt x="11937" y="18531"/>
                  <a:pt x="12000" y="18500"/>
                </a:cubicBezTo>
                <a:cubicBezTo>
                  <a:pt x="12187" y="18500"/>
                  <a:pt x="12343" y="18437"/>
                  <a:pt x="12531" y="18406"/>
                </a:cubicBezTo>
                <a:cubicBezTo>
                  <a:pt x="12468" y="18375"/>
                  <a:pt x="12437" y="18406"/>
                  <a:pt x="12406" y="18406"/>
                </a:cubicBezTo>
                <a:close/>
                <a:moveTo>
                  <a:pt x="5250" y="19875"/>
                </a:moveTo>
                <a:cubicBezTo>
                  <a:pt x="5406" y="19937"/>
                  <a:pt x="5593" y="19937"/>
                  <a:pt x="5750" y="19969"/>
                </a:cubicBezTo>
                <a:cubicBezTo>
                  <a:pt x="5812" y="19969"/>
                  <a:pt x="5875" y="20000"/>
                  <a:pt x="5937" y="20031"/>
                </a:cubicBezTo>
                <a:cubicBezTo>
                  <a:pt x="6062" y="20062"/>
                  <a:pt x="6187" y="20125"/>
                  <a:pt x="6312" y="20156"/>
                </a:cubicBezTo>
                <a:cubicBezTo>
                  <a:pt x="6437" y="20187"/>
                  <a:pt x="6562" y="20187"/>
                  <a:pt x="6656" y="20219"/>
                </a:cubicBezTo>
                <a:cubicBezTo>
                  <a:pt x="6750" y="20250"/>
                  <a:pt x="6843" y="20281"/>
                  <a:pt x="6968" y="20281"/>
                </a:cubicBezTo>
                <a:cubicBezTo>
                  <a:pt x="6968" y="20281"/>
                  <a:pt x="6937" y="20250"/>
                  <a:pt x="6937" y="20250"/>
                </a:cubicBezTo>
                <a:cubicBezTo>
                  <a:pt x="6843" y="20219"/>
                  <a:pt x="6750" y="20187"/>
                  <a:pt x="6625" y="20156"/>
                </a:cubicBezTo>
                <a:cubicBezTo>
                  <a:pt x="6343" y="20125"/>
                  <a:pt x="6093" y="20031"/>
                  <a:pt x="5843" y="19937"/>
                </a:cubicBezTo>
                <a:cubicBezTo>
                  <a:pt x="5656" y="19906"/>
                  <a:pt x="5437" y="19906"/>
                  <a:pt x="5250" y="19875"/>
                </a:cubicBezTo>
                <a:close/>
                <a:moveTo>
                  <a:pt x="10937" y="18781"/>
                </a:moveTo>
                <a:cubicBezTo>
                  <a:pt x="10937" y="18781"/>
                  <a:pt x="10937" y="18781"/>
                  <a:pt x="10937" y="18781"/>
                </a:cubicBezTo>
                <a:close/>
                <a:moveTo>
                  <a:pt x="2750" y="20250"/>
                </a:moveTo>
                <a:cubicBezTo>
                  <a:pt x="2750" y="20250"/>
                  <a:pt x="2750" y="20250"/>
                  <a:pt x="2750" y="20250"/>
                </a:cubicBezTo>
                <a:close/>
                <a:moveTo>
                  <a:pt x="10218" y="19250"/>
                </a:moveTo>
                <a:cubicBezTo>
                  <a:pt x="10218" y="19250"/>
                  <a:pt x="10187" y="19219"/>
                  <a:pt x="10187" y="19219"/>
                </a:cubicBezTo>
                <a:cubicBezTo>
                  <a:pt x="10093" y="19187"/>
                  <a:pt x="10000" y="19125"/>
                  <a:pt x="9906" y="19094"/>
                </a:cubicBezTo>
                <a:cubicBezTo>
                  <a:pt x="9906" y="19094"/>
                  <a:pt x="9875" y="19094"/>
                  <a:pt x="9875" y="19094"/>
                </a:cubicBezTo>
                <a:cubicBezTo>
                  <a:pt x="9750" y="19062"/>
                  <a:pt x="9625" y="19000"/>
                  <a:pt x="9500" y="18969"/>
                </a:cubicBezTo>
                <a:cubicBezTo>
                  <a:pt x="9437" y="18969"/>
                  <a:pt x="9375" y="18937"/>
                  <a:pt x="9312" y="18906"/>
                </a:cubicBezTo>
                <a:cubicBezTo>
                  <a:pt x="9250" y="18875"/>
                  <a:pt x="9187" y="18844"/>
                  <a:pt x="9125" y="18844"/>
                </a:cubicBezTo>
                <a:cubicBezTo>
                  <a:pt x="9062" y="18812"/>
                  <a:pt x="9031" y="18750"/>
                  <a:pt x="8968" y="18719"/>
                </a:cubicBezTo>
                <a:cubicBezTo>
                  <a:pt x="8937" y="18719"/>
                  <a:pt x="8937" y="18719"/>
                  <a:pt x="8906" y="18719"/>
                </a:cubicBezTo>
                <a:cubicBezTo>
                  <a:pt x="8906" y="18750"/>
                  <a:pt x="8906" y="18750"/>
                  <a:pt x="8937" y="18781"/>
                </a:cubicBezTo>
                <a:cubicBezTo>
                  <a:pt x="9000" y="18781"/>
                  <a:pt x="9031" y="18844"/>
                  <a:pt x="9093" y="18844"/>
                </a:cubicBezTo>
                <a:cubicBezTo>
                  <a:pt x="9125" y="18875"/>
                  <a:pt x="9156" y="18906"/>
                  <a:pt x="9187" y="18906"/>
                </a:cubicBezTo>
                <a:cubicBezTo>
                  <a:pt x="9343" y="18937"/>
                  <a:pt x="9468" y="19000"/>
                  <a:pt x="9593" y="19031"/>
                </a:cubicBezTo>
                <a:cubicBezTo>
                  <a:pt x="9687" y="19062"/>
                  <a:pt x="9781" y="19094"/>
                  <a:pt x="9875" y="19125"/>
                </a:cubicBezTo>
                <a:cubicBezTo>
                  <a:pt x="9875" y="19125"/>
                  <a:pt x="9906" y="19125"/>
                  <a:pt x="9906" y="19125"/>
                </a:cubicBezTo>
                <a:cubicBezTo>
                  <a:pt x="10000" y="19187"/>
                  <a:pt x="10125" y="19219"/>
                  <a:pt x="10187" y="19281"/>
                </a:cubicBezTo>
                <a:cubicBezTo>
                  <a:pt x="10218" y="19281"/>
                  <a:pt x="10218" y="19312"/>
                  <a:pt x="10250" y="19281"/>
                </a:cubicBezTo>
                <a:cubicBezTo>
                  <a:pt x="10250" y="19250"/>
                  <a:pt x="10218" y="19250"/>
                  <a:pt x="10218" y="19250"/>
                </a:cubicBezTo>
                <a:close/>
                <a:moveTo>
                  <a:pt x="9250" y="17625"/>
                </a:moveTo>
                <a:cubicBezTo>
                  <a:pt x="9156" y="17594"/>
                  <a:pt x="9062" y="17562"/>
                  <a:pt x="8968" y="17500"/>
                </a:cubicBezTo>
                <a:cubicBezTo>
                  <a:pt x="8906" y="17469"/>
                  <a:pt x="8843" y="17437"/>
                  <a:pt x="8781" y="17406"/>
                </a:cubicBezTo>
                <a:cubicBezTo>
                  <a:pt x="8687" y="17344"/>
                  <a:pt x="8562" y="17344"/>
                  <a:pt x="8468" y="17312"/>
                </a:cubicBezTo>
                <a:cubicBezTo>
                  <a:pt x="8468" y="17312"/>
                  <a:pt x="8468" y="17281"/>
                  <a:pt x="8437" y="17312"/>
                </a:cubicBezTo>
                <a:cubicBezTo>
                  <a:pt x="8437" y="17312"/>
                  <a:pt x="8437" y="17312"/>
                  <a:pt x="8437" y="17312"/>
                </a:cubicBezTo>
                <a:cubicBezTo>
                  <a:pt x="8437" y="17344"/>
                  <a:pt x="8468" y="17344"/>
                  <a:pt x="8468" y="17344"/>
                </a:cubicBezTo>
                <a:cubicBezTo>
                  <a:pt x="8562" y="17312"/>
                  <a:pt x="8625" y="17375"/>
                  <a:pt x="8687" y="17406"/>
                </a:cubicBezTo>
                <a:cubicBezTo>
                  <a:pt x="8750" y="17437"/>
                  <a:pt x="8781" y="17469"/>
                  <a:pt x="8843" y="17500"/>
                </a:cubicBezTo>
                <a:cubicBezTo>
                  <a:pt x="8968" y="17531"/>
                  <a:pt x="9093" y="17625"/>
                  <a:pt x="9218" y="17656"/>
                </a:cubicBezTo>
                <a:cubicBezTo>
                  <a:pt x="9343" y="17719"/>
                  <a:pt x="9468" y="17781"/>
                  <a:pt x="9593" y="17812"/>
                </a:cubicBezTo>
                <a:cubicBezTo>
                  <a:pt x="9531" y="17687"/>
                  <a:pt x="9375" y="17687"/>
                  <a:pt x="9250" y="17625"/>
                </a:cubicBezTo>
                <a:close/>
                <a:moveTo>
                  <a:pt x="11156" y="18969"/>
                </a:moveTo>
                <a:cubicBezTo>
                  <a:pt x="11156" y="18969"/>
                  <a:pt x="11187" y="18969"/>
                  <a:pt x="11187" y="18969"/>
                </a:cubicBezTo>
                <a:cubicBezTo>
                  <a:pt x="11187" y="18969"/>
                  <a:pt x="11218" y="18969"/>
                  <a:pt x="11218" y="18969"/>
                </a:cubicBezTo>
                <a:cubicBezTo>
                  <a:pt x="11218" y="18969"/>
                  <a:pt x="11218" y="18969"/>
                  <a:pt x="11250" y="18969"/>
                </a:cubicBezTo>
                <a:cubicBezTo>
                  <a:pt x="11250" y="18969"/>
                  <a:pt x="11250" y="18969"/>
                  <a:pt x="11250" y="18969"/>
                </a:cubicBezTo>
                <a:cubicBezTo>
                  <a:pt x="11250" y="18969"/>
                  <a:pt x="11250" y="18969"/>
                  <a:pt x="11250" y="18969"/>
                </a:cubicBezTo>
                <a:cubicBezTo>
                  <a:pt x="11281" y="19000"/>
                  <a:pt x="11312" y="19000"/>
                  <a:pt x="11343" y="19000"/>
                </a:cubicBezTo>
                <a:cubicBezTo>
                  <a:pt x="11468" y="19031"/>
                  <a:pt x="11562" y="19094"/>
                  <a:pt x="11656" y="19062"/>
                </a:cubicBezTo>
                <a:cubicBezTo>
                  <a:pt x="11718" y="19094"/>
                  <a:pt x="11781" y="19062"/>
                  <a:pt x="11843" y="19062"/>
                </a:cubicBezTo>
                <a:cubicBezTo>
                  <a:pt x="11812" y="19062"/>
                  <a:pt x="11812" y="19031"/>
                  <a:pt x="11781" y="19031"/>
                </a:cubicBezTo>
                <a:cubicBezTo>
                  <a:pt x="11750" y="19062"/>
                  <a:pt x="11687" y="19062"/>
                  <a:pt x="11625" y="19031"/>
                </a:cubicBezTo>
                <a:cubicBezTo>
                  <a:pt x="11468" y="19000"/>
                  <a:pt x="11312" y="18937"/>
                  <a:pt x="11156" y="18937"/>
                </a:cubicBezTo>
                <a:cubicBezTo>
                  <a:pt x="11156" y="18906"/>
                  <a:pt x="11125" y="18906"/>
                  <a:pt x="11125" y="18906"/>
                </a:cubicBezTo>
                <a:cubicBezTo>
                  <a:pt x="11031" y="18875"/>
                  <a:pt x="10937" y="18906"/>
                  <a:pt x="10843" y="18875"/>
                </a:cubicBezTo>
                <a:cubicBezTo>
                  <a:pt x="10718" y="18875"/>
                  <a:pt x="10593" y="18812"/>
                  <a:pt x="10468" y="18844"/>
                </a:cubicBezTo>
                <a:cubicBezTo>
                  <a:pt x="10562" y="18844"/>
                  <a:pt x="10687" y="18875"/>
                  <a:pt x="10781" y="18906"/>
                </a:cubicBezTo>
                <a:cubicBezTo>
                  <a:pt x="10906" y="18937"/>
                  <a:pt x="11031" y="18937"/>
                  <a:pt x="11156" y="18969"/>
                </a:cubicBezTo>
                <a:cubicBezTo>
                  <a:pt x="11156" y="18969"/>
                  <a:pt x="11156" y="18969"/>
                  <a:pt x="11156" y="18969"/>
                </a:cubicBezTo>
                <a:close/>
                <a:moveTo>
                  <a:pt x="10468" y="18187"/>
                </a:moveTo>
                <a:cubicBezTo>
                  <a:pt x="10343" y="18125"/>
                  <a:pt x="10218" y="18094"/>
                  <a:pt x="10062" y="18062"/>
                </a:cubicBezTo>
                <a:cubicBezTo>
                  <a:pt x="10093" y="18125"/>
                  <a:pt x="10125" y="18125"/>
                  <a:pt x="10156" y="18125"/>
                </a:cubicBezTo>
                <a:cubicBezTo>
                  <a:pt x="10250" y="18156"/>
                  <a:pt x="10375" y="18187"/>
                  <a:pt x="10468" y="18219"/>
                </a:cubicBezTo>
                <a:cubicBezTo>
                  <a:pt x="10500" y="18250"/>
                  <a:pt x="10531" y="18250"/>
                  <a:pt x="10531" y="18219"/>
                </a:cubicBezTo>
                <a:cubicBezTo>
                  <a:pt x="10531" y="18187"/>
                  <a:pt x="10500" y="18187"/>
                  <a:pt x="10468" y="18187"/>
                </a:cubicBezTo>
                <a:close/>
                <a:moveTo>
                  <a:pt x="15250" y="16219"/>
                </a:moveTo>
                <a:cubicBezTo>
                  <a:pt x="15250" y="16219"/>
                  <a:pt x="15250" y="16219"/>
                  <a:pt x="15250" y="16219"/>
                </a:cubicBezTo>
                <a:cubicBezTo>
                  <a:pt x="15250" y="16219"/>
                  <a:pt x="15250" y="16219"/>
                  <a:pt x="15250" y="16219"/>
                </a:cubicBezTo>
                <a:close/>
                <a:moveTo>
                  <a:pt x="15343" y="16125"/>
                </a:move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ubicBezTo>
                  <a:pt x="15343" y="16125"/>
                  <a:pt x="15343" y="16125"/>
                  <a:pt x="15343" y="16125"/>
                </a:cubicBezTo>
                <a:close/>
                <a:moveTo>
                  <a:pt x="2312" y="18812"/>
                </a:moveTo>
                <a:cubicBezTo>
                  <a:pt x="2468" y="18844"/>
                  <a:pt x="2625" y="18937"/>
                  <a:pt x="2812" y="18937"/>
                </a:cubicBezTo>
                <a:cubicBezTo>
                  <a:pt x="2625" y="18875"/>
                  <a:pt x="2468" y="18812"/>
                  <a:pt x="2312" y="18812"/>
                </a:cubicBezTo>
                <a:close/>
                <a:moveTo>
                  <a:pt x="9531" y="17156"/>
                </a:moveTo>
                <a:cubicBezTo>
                  <a:pt x="9593" y="17156"/>
                  <a:pt x="9625" y="17156"/>
                  <a:pt x="9656" y="17187"/>
                </a:cubicBezTo>
                <a:cubicBezTo>
                  <a:pt x="9718" y="17219"/>
                  <a:pt x="9781" y="17219"/>
                  <a:pt x="9812" y="17250"/>
                </a:cubicBezTo>
                <a:cubicBezTo>
                  <a:pt x="9843" y="17250"/>
                  <a:pt x="9843" y="17250"/>
                  <a:pt x="9875" y="17219"/>
                </a:cubicBezTo>
                <a:cubicBezTo>
                  <a:pt x="9875" y="17219"/>
                  <a:pt x="9843" y="17219"/>
                  <a:pt x="9843" y="17187"/>
                </a:cubicBezTo>
                <a:cubicBezTo>
                  <a:pt x="9750" y="17156"/>
                  <a:pt x="9656" y="17125"/>
                  <a:pt x="9562" y="17094"/>
                </a:cubicBezTo>
                <a:cubicBezTo>
                  <a:pt x="9531" y="17094"/>
                  <a:pt x="9500" y="17094"/>
                  <a:pt x="9500" y="17125"/>
                </a:cubicBezTo>
                <a:cubicBezTo>
                  <a:pt x="9500" y="17156"/>
                  <a:pt x="9531" y="17156"/>
                  <a:pt x="9531" y="17156"/>
                </a:cubicBezTo>
                <a:close/>
                <a:moveTo>
                  <a:pt x="1343" y="17250"/>
                </a:moveTo>
                <a:cubicBezTo>
                  <a:pt x="1562" y="17219"/>
                  <a:pt x="1781" y="17312"/>
                  <a:pt x="2031" y="17312"/>
                </a:cubicBezTo>
                <a:cubicBezTo>
                  <a:pt x="1906" y="17250"/>
                  <a:pt x="1437" y="17219"/>
                  <a:pt x="1343" y="17250"/>
                </a:cubicBezTo>
                <a:close/>
                <a:moveTo>
                  <a:pt x="11562" y="18437"/>
                </a:moveTo>
                <a:cubicBezTo>
                  <a:pt x="11562" y="18469"/>
                  <a:pt x="11593" y="18437"/>
                  <a:pt x="11625" y="18437"/>
                </a:cubicBezTo>
                <a:cubicBezTo>
                  <a:pt x="11718" y="18437"/>
                  <a:pt x="11843" y="18406"/>
                  <a:pt x="11937" y="18406"/>
                </a:cubicBezTo>
                <a:cubicBezTo>
                  <a:pt x="12000" y="18406"/>
                  <a:pt x="12031" y="18406"/>
                  <a:pt x="12093" y="18375"/>
                </a:cubicBezTo>
                <a:cubicBezTo>
                  <a:pt x="11937" y="18344"/>
                  <a:pt x="11781" y="18375"/>
                  <a:pt x="11625" y="18406"/>
                </a:cubicBezTo>
                <a:cubicBezTo>
                  <a:pt x="11593" y="18406"/>
                  <a:pt x="11562" y="18406"/>
                  <a:pt x="11562" y="18437"/>
                </a:cubicBezTo>
                <a:close/>
                <a:moveTo>
                  <a:pt x="3125" y="17125"/>
                </a:moveTo>
                <a:cubicBezTo>
                  <a:pt x="3156" y="17156"/>
                  <a:pt x="3718" y="17250"/>
                  <a:pt x="3750" y="17250"/>
                </a:cubicBezTo>
                <a:cubicBezTo>
                  <a:pt x="3593" y="17187"/>
                  <a:pt x="3218" y="17094"/>
                  <a:pt x="3125" y="17125"/>
                </a:cubicBezTo>
                <a:close/>
                <a:moveTo>
                  <a:pt x="62" y="18437"/>
                </a:moveTo>
                <a:cubicBezTo>
                  <a:pt x="281" y="18469"/>
                  <a:pt x="531" y="18469"/>
                  <a:pt x="750" y="18500"/>
                </a:cubicBezTo>
                <a:cubicBezTo>
                  <a:pt x="531" y="18469"/>
                  <a:pt x="281" y="18437"/>
                  <a:pt x="62" y="18437"/>
                </a:cubicBezTo>
                <a:close/>
                <a:moveTo>
                  <a:pt x="11968" y="18156"/>
                </a:moveTo>
                <a:cubicBezTo>
                  <a:pt x="11906" y="18156"/>
                  <a:pt x="11875" y="18125"/>
                  <a:pt x="11812" y="18156"/>
                </a:cubicBezTo>
                <a:cubicBezTo>
                  <a:pt x="11718" y="18156"/>
                  <a:pt x="11593" y="18156"/>
                  <a:pt x="11500" y="18187"/>
                </a:cubicBezTo>
                <a:cubicBezTo>
                  <a:pt x="11500" y="18187"/>
                  <a:pt x="11437" y="18187"/>
                  <a:pt x="11437" y="18219"/>
                </a:cubicBezTo>
                <a:cubicBezTo>
                  <a:pt x="11468" y="18250"/>
                  <a:pt x="11500" y="18219"/>
                  <a:pt x="11531" y="18219"/>
                </a:cubicBezTo>
                <a:cubicBezTo>
                  <a:pt x="11625" y="18219"/>
                  <a:pt x="11718" y="18187"/>
                  <a:pt x="11812" y="18187"/>
                </a:cubicBezTo>
                <a:cubicBezTo>
                  <a:pt x="11937" y="18187"/>
                  <a:pt x="11937" y="18187"/>
                  <a:pt x="11968" y="18156"/>
                </a:cubicBezTo>
                <a:close/>
                <a:moveTo>
                  <a:pt x="3062" y="16062"/>
                </a:moveTo>
                <a:cubicBezTo>
                  <a:pt x="3250" y="16062"/>
                  <a:pt x="3437" y="16094"/>
                  <a:pt x="3625" y="16094"/>
                </a:cubicBezTo>
                <a:cubicBezTo>
                  <a:pt x="3562" y="16000"/>
                  <a:pt x="3156" y="16000"/>
                  <a:pt x="3062" y="16062"/>
                </a:cubicBezTo>
                <a:close/>
                <a:moveTo>
                  <a:pt x="2062" y="19531"/>
                </a:moveTo>
                <a:cubicBezTo>
                  <a:pt x="2093" y="19562"/>
                  <a:pt x="2156" y="19625"/>
                  <a:pt x="2218" y="19594"/>
                </a:cubicBezTo>
                <a:cubicBezTo>
                  <a:pt x="2156" y="19531"/>
                  <a:pt x="2062" y="19500"/>
                  <a:pt x="1968" y="19469"/>
                </a:cubicBezTo>
                <a:cubicBezTo>
                  <a:pt x="1875" y="19469"/>
                  <a:pt x="1781" y="19437"/>
                  <a:pt x="1656" y="19406"/>
                </a:cubicBezTo>
                <a:cubicBezTo>
                  <a:pt x="1656" y="19406"/>
                  <a:pt x="1625" y="19406"/>
                  <a:pt x="1625" y="19406"/>
                </a:cubicBezTo>
                <a:cubicBezTo>
                  <a:pt x="1625" y="19437"/>
                  <a:pt x="1656" y="19437"/>
                  <a:pt x="1656" y="19437"/>
                </a:cubicBezTo>
                <a:cubicBezTo>
                  <a:pt x="1781" y="19469"/>
                  <a:pt x="1906" y="19500"/>
                  <a:pt x="2062" y="19531"/>
                </a:cubicBezTo>
                <a:close/>
                <a:moveTo>
                  <a:pt x="62" y="19531"/>
                </a:moveTo>
                <a:cubicBezTo>
                  <a:pt x="312" y="19594"/>
                  <a:pt x="562" y="19625"/>
                  <a:pt x="812" y="19656"/>
                </a:cubicBezTo>
                <a:cubicBezTo>
                  <a:pt x="562" y="19562"/>
                  <a:pt x="312" y="19594"/>
                  <a:pt x="62" y="19531"/>
                </a:cubicBezTo>
                <a:close/>
                <a:moveTo>
                  <a:pt x="9093" y="15562"/>
                </a:moveTo>
                <a:cubicBezTo>
                  <a:pt x="9312" y="15562"/>
                  <a:pt x="9531" y="15500"/>
                  <a:pt x="9750" y="15469"/>
                </a:cubicBezTo>
                <a:cubicBezTo>
                  <a:pt x="9531" y="15437"/>
                  <a:pt x="9312" y="15531"/>
                  <a:pt x="9093" y="15562"/>
                </a:cubicBezTo>
                <a:close/>
                <a:moveTo>
                  <a:pt x="12843" y="18344"/>
                </a:moveTo>
                <a:cubicBezTo>
                  <a:pt x="12812" y="18344"/>
                  <a:pt x="12781" y="18344"/>
                  <a:pt x="12750" y="18344"/>
                </a:cubicBezTo>
                <a:cubicBezTo>
                  <a:pt x="12687" y="18375"/>
                  <a:pt x="12625" y="18344"/>
                  <a:pt x="12593" y="18406"/>
                </a:cubicBezTo>
                <a:cubicBezTo>
                  <a:pt x="12687" y="18406"/>
                  <a:pt x="12812" y="18375"/>
                  <a:pt x="12906" y="18375"/>
                </a:cubicBezTo>
                <a:cubicBezTo>
                  <a:pt x="12968" y="18375"/>
                  <a:pt x="13000" y="18344"/>
                  <a:pt x="12937" y="18281"/>
                </a:cubicBezTo>
                <a:cubicBezTo>
                  <a:pt x="12937" y="18281"/>
                  <a:pt x="12906" y="18281"/>
                  <a:pt x="12906" y="18250"/>
                </a:cubicBezTo>
                <a:cubicBezTo>
                  <a:pt x="12906" y="18250"/>
                  <a:pt x="12937" y="18250"/>
                  <a:pt x="12937" y="18250"/>
                </a:cubicBezTo>
                <a:cubicBezTo>
                  <a:pt x="12937" y="18250"/>
                  <a:pt x="12937" y="18250"/>
                  <a:pt x="12937" y="18281"/>
                </a:cubicBezTo>
                <a:cubicBezTo>
                  <a:pt x="12968" y="18281"/>
                  <a:pt x="12968" y="18281"/>
                  <a:pt x="13000" y="18281"/>
                </a:cubicBezTo>
                <a:cubicBezTo>
                  <a:pt x="13000" y="18250"/>
                  <a:pt x="12968" y="18219"/>
                  <a:pt x="12968" y="18219"/>
                </a:cubicBezTo>
                <a:cubicBezTo>
                  <a:pt x="12937" y="18187"/>
                  <a:pt x="12906" y="18219"/>
                  <a:pt x="12906" y="18219"/>
                </a:cubicBezTo>
                <a:cubicBezTo>
                  <a:pt x="12875" y="18250"/>
                  <a:pt x="12843" y="18250"/>
                  <a:pt x="12875" y="18281"/>
                </a:cubicBezTo>
                <a:cubicBezTo>
                  <a:pt x="12937" y="18344"/>
                  <a:pt x="12906" y="18344"/>
                  <a:pt x="12843" y="18344"/>
                </a:cubicBezTo>
                <a:close/>
                <a:moveTo>
                  <a:pt x="13000" y="18281"/>
                </a:moveTo>
                <a:cubicBezTo>
                  <a:pt x="13000" y="18281"/>
                  <a:pt x="13000" y="18281"/>
                  <a:pt x="13000" y="18281"/>
                </a:cubicBezTo>
                <a:moveTo>
                  <a:pt x="6687" y="19187"/>
                </a:moveTo>
                <a:cubicBezTo>
                  <a:pt x="6531" y="19125"/>
                  <a:pt x="6375" y="19062"/>
                  <a:pt x="6218" y="19000"/>
                </a:cubicBezTo>
                <a:cubicBezTo>
                  <a:pt x="6187" y="18969"/>
                  <a:pt x="6125" y="18969"/>
                  <a:pt x="6062" y="19000"/>
                </a:cubicBezTo>
                <a:cubicBezTo>
                  <a:pt x="6218" y="19031"/>
                  <a:pt x="6312" y="19094"/>
                  <a:pt x="6437" y="19125"/>
                </a:cubicBezTo>
                <a:cubicBezTo>
                  <a:pt x="6531" y="19156"/>
                  <a:pt x="6625" y="19187"/>
                  <a:pt x="6718" y="19219"/>
                </a:cubicBezTo>
                <a:cubicBezTo>
                  <a:pt x="6718" y="19219"/>
                  <a:pt x="6718" y="19187"/>
                  <a:pt x="6687" y="19187"/>
                </a:cubicBezTo>
                <a:close/>
                <a:moveTo>
                  <a:pt x="6718" y="19219"/>
                </a:moveTo>
                <a:cubicBezTo>
                  <a:pt x="6750" y="19250"/>
                  <a:pt x="6781" y="19250"/>
                  <a:pt x="6812" y="19250"/>
                </a:cubicBezTo>
                <a:cubicBezTo>
                  <a:pt x="6968" y="19281"/>
                  <a:pt x="7125" y="19344"/>
                  <a:pt x="7281" y="19437"/>
                </a:cubicBezTo>
                <a:cubicBezTo>
                  <a:pt x="7343" y="19500"/>
                  <a:pt x="7375" y="19562"/>
                  <a:pt x="7437" y="19594"/>
                </a:cubicBezTo>
                <a:cubicBezTo>
                  <a:pt x="7406" y="19406"/>
                  <a:pt x="6968" y="19219"/>
                  <a:pt x="6718" y="19219"/>
                </a:cubicBezTo>
                <a:close/>
                <a:moveTo>
                  <a:pt x="7375" y="17406"/>
                </a:moveTo>
                <a:cubicBezTo>
                  <a:pt x="7406" y="17406"/>
                  <a:pt x="7375" y="17406"/>
                  <a:pt x="7375" y="17375"/>
                </a:cubicBezTo>
                <a:cubicBezTo>
                  <a:pt x="7343" y="17344"/>
                  <a:pt x="7281" y="17344"/>
                  <a:pt x="7250" y="17344"/>
                </a:cubicBezTo>
                <a:cubicBezTo>
                  <a:pt x="7125" y="17281"/>
                  <a:pt x="7000" y="17250"/>
                  <a:pt x="6875" y="17187"/>
                </a:cubicBezTo>
                <a:cubicBezTo>
                  <a:pt x="6812" y="17156"/>
                  <a:pt x="6750" y="17094"/>
                  <a:pt x="6687" y="17094"/>
                </a:cubicBezTo>
                <a:cubicBezTo>
                  <a:pt x="6531" y="17062"/>
                  <a:pt x="6406" y="16969"/>
                  <a:pt x="6281" y="16937"/>
                </a:cubicBezTo>
                <a:cubicBezTo>
                  <a:pt x="6093" y="16875"/>
                  <a:pt x="5937" y="16781"/>
                  <a:pt x="5750" y="16719"/>
                </a:cubicBezTo>
                <a:cubicBezTo>
                  <a:pt x="5750" y="16719"/>
                  <a:pt x="5750" y="16719"/>
                  <a:pt x="5750" y="16719"/>
                </a:cubicBezTo>
                <a:cubicBezTo>
                  <a:pt x="5687" y="16656"/>
                  <a:pt x="5593" y="16625"/>
                  <a:pt x="5531" y="16594"/>
                </a:cubicBezTo>
                <a:cubicBezTo>
                  <a:pt x="5593" y="16656"/>
                  <a:pt x="5625" y="16750"/>
                  <a:pt x="5718" y="16750"/>
                </a:cubicBezTo>
                <a:cubicBezTo>
                  <a:pt x="5843" y="16812"/>
                  <a:pt x="5968" y="16875"/>
                  <a:pt x="6125" y="16937"/>
                </a:cubicBezTo>
                <a:cubicBezTo>
                  <a:pt x="6187" y="16969"/>
                  <a:pt x="6281" y="17000"/>
                  <a:pt x="6375" y="17031"/>
                </a:cubicBezTo>
                <a:cubicBezTo>
                  <a:pt x="6531" y="17094"/>
                  <a:pt x="6656" y="17125"/>
                  <a:pt x="6781" y="17187"/>
                </a:cubicBezTo>
                <a:cubicBezTo>
                  <a:pt x="6812" y="17187"/>
                  <a:pt x="6812" y="17187"/>
                  <a:pt x="6812" y="17187"/>
                </a:cubicBezTo>
                <a:cubicBezTo>
                  <a:pt x="6843" y="17219"/>
                  <a:pt x="6843" y="17219"/>
                  <a:pt x="6875" y="17219"/>
                </a:cubicBezTo>
                <a:cubicBezTo>
                  <a:pt x="6906" y="17219"/>
                  <a:pt x="6906" y="17250"/>
                  <a:pt x="6937" y="17250"/>
                </a:cubicBezTo>
                <a:cubicBezTo>
                  <a:pt x="7062" y="17312"/>
                  <a:pt x="7218" y="17375"/>
                  <a:pt x="7343" y="17437"/>
                </a:cubicBezTo>
                <a:cubicBezTo>
                  <a:pt x="7375" y="17437"/>
                  <a:pt x="7375" y="17437"/>
                  <a:pt x="7375" y="17406"/>
                </a:cubicBezTo>
                <a:close/>
                <a:moveTo>
                  <a:pt x="11187" y="18500"/>
                </a:moveTo>
                <a:cubicBezTo>
                  <a:pt x="11156" y="18437"/>
                  <a:pt x="11093" y="18469"/>
                  <a:pt x="11031" y="18469"/>
                </a:cubicBezTo>
                <a:cubicBezTo>
                  <a:pt x="11031" y="18469"/>
                  <a:pt x="11031" y="18469"/>
                  <a:pt x="11031" y="18469"/>
                </a:cubicBezTo>
                <a:cubicBezTo>
                  <a:pt x="11031" y="18469"/>
                  <a:pt x="11031" y="18469"/>
                  <a:pt x="11031" y="18469"/>
                </a:cubicBezTo>
                <a:cubicBezTo>
                  <a:pt x="11062" y="18500"/>
                  <a:pt x="11062" y="18594"/>
                  <a:pt x="11125" y="18562"/>
                </a:cubicBezTo>
                <a:cubicBezTo>
                  <a:pt x="11156" y="18562"/>
                  <a:pt x="11187" y="18562"/>
                  <a:pt x="11187" y="18562"/>
                </a:cubicBezTo>
                <a:cubicBezTo>
                  <a:pt x="11312" y="18656"/>
                  <a:pt x="11437" y="18594"/>
                  <a:pt x="11562" y="18562"/>
                </a:cubicBezTo>
                <a:cubicBezTo>
                  <a:pt x="11593" y="18562"/>
                  <a:pt x="11625" y="18562"/>
                  <a:pt x="11593" y="18531"/>
                </a:cubicBezTo>
                <a:cubicBezTo>
                  <a:pt x="11593" y="18500"/>
                  <a:pt x="11562" y="18531"/>
                  <a:pt x="11562" y="18531"/>
                </a:cubicBezTo>
                <a:cubicBezTo>
                  <a:pt x="11406" y="18562"/>
                  <a:pt x="11281" y="18594"/>
                  <a:pt x="11125" y="18531"/>
                </a:cubicBezTo>
                <a:cubicBezTo>
                  <a:pt x="11156" y="18531"/>
                  <a:pt x="11187" y="18500"/>
                  <a:pt x="11187" y="18500"/>
                </a:cubicBezTo>
                <a:close/>
                <a:moveTo>
                  <a:pt x="4218" y="20531"/>
                </a:moveTo>
                <a:cubicBezTo>
                  <a:pt x="4093" y="20437"/>
                  <a:pt x="3937" y="20375"/>
                  <a:pt x="3812" y="20281"/>
                </a:cubicBezTo>
                <a:cubicBezTo>
                  <a:pt x="3687" y="20187"/>
                  <a:pt x="3531" y="20094"/>
                  <a:pt x="3375" y="20000"/>
                </a:cubicBezTo>
                <a:cubicBezTo>
                  <a:pt x="3250" y="19937"/>
                  <a:pt x="3125" y="19844"/>
                  <a:pt x="3000" y="19812"/>
                </a:cubicBezTo>
                <a:cubicBezTo>
                  <a:pt x="2781" y="19719"/>
                  <a:pt x="2531" y="19687"/>
                  <a:pt x="2312" y="19594"/>
                </a:cubicBezTo>
                <a:cubicBezTo>
                  <a:pt x="2281" y="19594"/>
                  <a:pt x="2281" y="19594"/>
                  <a:pt x="2281" y="19594"/>
                </a:cubicBezTo>
                <a:cubicBezTo>
                  <a:pt x="2250" y="19625"/>
                  <a:pt x="2281" y="19625"/>
                  <a:pt x="2312" y="19625"/>
                </a:cubicBezTo>
                <a:cubicBezTo>
                  <a:pt x="2437" y="19687"/>
                  <a:pt x="2593" y="19719"/>
                  <a:pt x="2750" y="19781"/>
                </a:cubicBezTo>
                <a:cubicBezTo>
                  <a:pt x="2812" y="19812"/>
                  <a:pt x="2875" y="19844"/>
                  <a:pt x="2968" y="19844"/>
                </a:cubicBezTo>
                <a:cubicBezTo>
                  <a:pt x="2968" y="19844"/>
                  <a:pt x="2968" y="19844"/>
                  <a:pt x="3000" y="19844"/>
                </a:cubicBezTo>
                <a:cubicBezTo>
                  <a:pt x="3156" y="19937"/>
                  <a:pt x="3343" y="20000"/>
                  <a:pt x="3500" y="20125"/>
                </a:cubicBezTo>
                <a:cubicBezTo>
                  <a:pt x="3718" y="20281"/>
                  <a:pt x="3937" y="20406"/>
                  <a:pt x="4187" y="20562"/>
                </a:cubicBezTo>
                <a:cubicBezTo>
                  <a:pt x="4218" y="20594"/>
                  <a:pt x="4250" y="20625"/>
                  <a:pt x="4312" y="20625"/>
                </a:cubicBezTo>
                <a:cubicBezTo>
                  <a:pt x="4312" y="20562"/>
                  <a:pt x="4250" y="20562"/>
                  <a:pt x="4218" y="20531"/>
                </a:cubicBezTo>
                <a:close/>
                <a:moveTo>
                  <a:pt x="8875" y="16469"/>
                </a:moveTo>
                <a:cubicBezTo>
                  <a:pt x="8875" y="16500"/>
                  <a:pt x="8906" y="16500"/>
                  <a:pt x="8906" y="16531"/>
                </a:cubicBezTo>
                <a:cubicBezTo>
                  <a:pt x="8906" y="16531"/>
                  <a:pt x="8937" y="16531"/>
                  <a:pt x="8937" y="16531"/>
                </a:cubicBezTo>
                <a:cubicBezTo>
                  <a:pt x="9093" y="16594"/>
                  <a:pt x="9250" y="16594"/>
                  <a:pt x="9406" y="16656"/>
                </a:cubicBezTo>
                <a:cubicBezTo>
                  <a:pt x="9406" y="16687"/>
                  <a:pt x="9406" y="16687"/>
                  <a:pt x="9437" y="16687"/>
                </a:cubicBezTo>
                <a:cubicBezTo>
                  <a:pt x="9437" y="16656"/>
                  <a:pt x="9437" y="16656"/>
                  <a:pt x="9406" y="16625"/>
                </a:cubicBezTo>
                <a:cubicBezTo>
                  <a:pt x="9406" y="16625"/>
                  <a:pt x="9375" y="16625"/>
                  <a:pt x="9375" y="16594"/>
                </a:cubicBezTo>
                <a:cubicBezTo>
                  <a:pt x="9218" y="16531"/>
                  <a:pt x="9062" y="16500"/>
                  <a:pt x="8937" y="16469"/>
                </a:cubicBezTo>
                <a:cubicBezTo>
                  <a:pt x="8906" y="16469"/>
                  <a:pt x="8906" y="16469"/>
                  <a:pt x="8875" y="16469"/>
                </a:cubicBezTo>
                <a:close/>
                <a:moveTo>
                  <a:pt x="5875" y="18469"/>
                </a:moveTo>
                <a:cubicBezTo>
                  <a:pt x="5875" y="18469"/>
                  <a:pt x="5875" y="18469"/>
                  <a:pt x="5875" y="18469"/>
                </a:cubicBezTo>
                <a:cubicBezTo>
                  <a:pt x="5781" y="18469"/>
                  <a:pt x="5656" y="18406"/>
                  <a:pt x="5562" y="18406"/>
                </a:cubicBezTo>
                <a:cubicBezTo>
                  <a:pt x="5468" y="18375"/>
                  <a:pt x="5375" y="18312"/>
                  <a:pt x="5281" y="18312"/>
                </a:cubicBezTo>
                <a:cubicBezTo>
                  <a:pt x="5218" y="18281"/>
                  <a:pt x="5125" y="18281"/>
                  <a:pt x="5062" y="18250"/>
                </a:cubicBezTo>
                <a:cubicBezTo>
                  <a:pt x="5031" y="18219"/>
                  <a:pt x="4968" y="18219"/>
                  <a:pt x="4906" y="18187"/>
                </a:cubicBezTo>
                <a:cubicBezTo>
                  <a:pt x="4843" y="18156"/>
                  <a:pt x="4781" y="18156"/>
                  <a:pt x="4718" y="18125"/>
                </a:cubicBezTo>
                <a:cubicBezTo>
                  <a:pt x="4656" y="18125"/>
                  <a:pt x="4593" y="18062"/>
                  <a:pt x="4531" y="18094"/>
                </a:cubicBezTo>
                <a:cubicBezTo>
                  <a:pt x="4593" y="18125"/>
                  <a:pt x="4625" y="18125"/>
                  <a:pt x="4687" y="18156"/>
                </a:cubicBezTo>
                <a:cubicBezTo>
                  <a:pt x="4812" y="18219"/>
                  <a:pt x="4937" y="18219"/>
                  <a:pt x="5062" y="18281"/>
                </a:cubicBezTo>
                <a:cubicBezTo>
                  <a:pt x="5125" y="18312"/>
                  <a:pt x="5218" y="18312"/>
                  <a:pt x="5281" y="18344"/>
                </a:cubicBezTo>
                <a:cubicBezTo>
                  <a:pt x="5375" y="18375"/>
                  <a:pt x="5500" y="18406"/>
                  <a:pt x="5593" y="18437"/>
                </a:cubicBezTo>
                <a:cubicBezTo>
                  <a:pt x="5687" y="18469"/>
                  <a:pt x="5781" y="18469"/>
                  <a:pt x="5875" y="18531"/>
                </a:cubicBezTo>
                <a:cubicBezTo>
                  <a:pt x="5906" y="18531"/>
                  <a:pt x="5937" y="18562"/>
                  <a:pt x="5968" y="18531"/>
                </a:cubicBezTo>
                <a:cubicBezTo>
                  <a:pt x="5968" y="18531"/>
                  <a:pt x="5968" y="18531"/>
                  <a:pt x="5968" y="18500"/>
                </a:cubicBezTo>
                <a:cubicBezTo>
                  <a:pt x="5937" y="18500"/>
                  <a:pt x="5906" y="18469"/>
                  <a:pt x="5875" y="18469"/>
                </a:cubicBezTo>
                <a:close/>
                <a:moveTo>
                  <a:pt x="10468" y="14000"/>
                </a:moveTo>
                <a:cubicBezTo>
                  <a:pt x="10437" y="14000"/>
                  <a:pt x="10406" y="13969"/>
                  <a:pt x="10406" y="13969"/>
                </a:cubicBezTo>
                <a:cubicBezTo>
                  <a:pt x="10406" y="13937"/>
                  <a:pt x="10437" y="13937"/>
                  <a:pt x="10468" y="13937"/>
                </a:cubicBezTo>
                <a:cubicBezTo>
                  <a:pt x="10500" y="13937"/>
                  <a:pt x="10500" y="13937"/>
                  <a:pt x="10531" y="13969"/>
                </a:cubicBezTo>
                <a:cubicBezTo>
                  <a:pt x="10500" y="14000"/>
                  <a:pt x="10500" y="14000"/>
                  <a:pt x="10468" y="14000"/>
                </a:cubicBezTo>
                <a:close/>
                <a:moveTo>
                  <a:pt x="10562" y="14000"/>
                </a:moveTo>
                <a:cubicBezTo>
                  <a:pt x="10593" y="13969"/>
                  <a:pt x="10625" y="13969"/>
                  <a:pt x="10656" y="14000"/>
                </a:cubicBezTo>
                <a:cubicBezTo>
                  <a:pt x="10656" y="14000"/>
                  <a:pt x="10656" y="14000"/>
                  <a:pt x="10656" y="14031"/>
                </a:cubicBezTo>
                <a:cubicBezTo>
                  <a:pt x="10625" y="14031"/>
                  <a:pt x="10593" y="14062"/>
                  <a:pt x="10562" y="14062"/>
                </a:cubicBezTo>
                <a:cubicBezTo>
                  <a:pt x="10562" y="14031"/>
                  <a:pt x="10500" y="14031"/>
                  <a:pt x="10562" y="14000"/>
                </a:cubicBezTo>
                <a:close/>
                <a:moveTo>
                  <a:pt x="10656" y="14031"/>
                </a:moveTo>
                <a:cubicBezTo>
                  <a:pt x="10687" y="14031"/>
                  <a:pt x="10718" y="14000"/>
                  <a:pt x="10750" y="14000"/>
                </a:cubicBezTo>
                <a:cubicBezTo>
                  <a:pt x="10750" y="14000"/>
                  <a:pt x="10750" y="14000"/>
                  <a:pt x="10750" y="14000"/>
                </a:cubicBezTo>
                <a:cubicBezTo>
                  <a:pt x="10750" y="14031"/>
                  <a:pt x="10812" y="14000"/>
                  <a:pt x="10781" y="14031"/>
                </a:cubicBezTo>
                <a:cubicBezTo>
                  <a:pt x="10781" y="14062"/>
                  <a:pt x="10750" y="14062"/>
                  <a:pt x="10718" y="14062"/>
                </a:cubicBezTo>
                <a:cubicBezTo>
                  <a:pt x="10687" y="14031"/>
                  <a:pt x="10687" y="14094"/>
                  <a:pt x="10687" y="14094"/>
                </a:cubicBezTo>
                <a:cubicBezTo>
                  <a:pt x="10625" y="14062"/>
                  <a:pt x="10687" y="14031"/>
                  <a:pt x="10656" y="14031"/>
                </a:cubicBezTo>
                <a:close/>
                <a:moveTo>
                  <a:pt x="10562" y="14125"/>
                </a:moveTo>
                <a:cubicBezTo>
                  <a:pt x="10562" y="14125"/>
                  <a:pt x="10562" y="14094"/>
                  <a:pt x="10593" y="14094"/>
                </a:cubicBezTo>
                <a:cubicBezTo>
                  <a:pt x="10625" y="14094"/>
                  <a:pt x="10656" y="14094"/>
                  <a:pt x="10656" y="14125"/>
                </a:cubicBezTo>
                <a:cubicBezTo>
                  <a:pt x="10656" y="14156"/>
                  <a:pt x="10625" y="14156"/>
                  <a:pt x="10593" y="14156"/>
                </a:cubicBezTo>
                <a:cubicBezTo>
                  <a:pt x="10593" y="14125"/>
                  <a:pt x="10562" y="14125"/>
                  <a:pt x="10562" y="14125"/>
                </a:cubicBezTo>
                <a:cubicBezTo>
                  <a:pt x="10562" y="14125"/>
                  <a:pt x="10531" y="14125"/>
                  <a:pt x="10531" y="14125"/>
                </a:cubicBezTo>
                <a:cubicBezTo>
                  <a:pt x="10531" y="14125"/>
                  <a:pt x="10562" y="14125"/>
                  <a:pt x="10562" y="14125"/>
                </a:cubicBezTo>
                <a:close/>
                <a:moveTo>
                  <a:pt x="10906" y="12812"/>
                </a:moveTo>
                <a:cubicBezTo>
                  <a:pt x="10906" y="12812"/>
                  <a:pt x="10906" y="12812"/>
                  <a:pt x="10906" y="12812"/>
                </a:cubicBezTo>
                <a:cubicBezTo>
                  <a:pt x="10906" y="12812"/>
                  <a:pt x="10906" y="12812"/>
                  <a:pt x="10906" y="12812"/>
                </a:cubicBezTo>
                <a:lnTo>
                  <a:pt x="10906" y="12812"/>
                </a:lnTo>
                <a:cubicBezTo>
                  <a:pt x="10906" y="12812"/>
                  <a:pt x="10906" y="12812"/>
                  <a:pt x="10906" y="12812"/>
                </a:cubicBezTo>
                <a:close/>
                <a:moveTo>
                  <a:pt x="11593" y="17156"/>
                </a:moveTo>
                <a:cubicBezTo>
                  <a:pt x="11625" y="17156"/>
                  <a:pt x="11656" y="17156"/>
                  <a:pt x="11687" y="17125"/>
                </a:cubicBezTo>
                <a:cubicBezTo>
                  <a:pt x="11625" y="17094"/>
                  <a:pt x="11562" y="17156"/>
                  <a:pt x="11468" y="17156"/>
                </a:cubicBezTo>
                <a:cubicBezTo>
                  <a:pt x="11468" y="17156"/>
                  <a:pt x="11468" y="17187"/>
                  <a:pt x="11468" y="17187"/>
                </a:cubicBezTo>
                <a:cubicBezTo>
                  <a:pt x="11437" y="17250"/>
                  <a:pt x="11437" y="17312"/>
                  <a:pt x="11343" y="17312"/>
                </a:cubicBezTo>
                <a:cubicBezTo>
                  <a:pt x="11312" y="17281"/>
                  <a:pt x="11281" y="17312"/>
                  <a:pt x="11250" y="17312"/>
                </a:cubicBezTo>
                <a:cubicBezTo>
                  <a:pt x="11250" y="17312"/>
                  <a:pt x="11250" y="17344"/>
                  <a:pt x="11250" y="17344"/>
                </a:cubicBezTo>
                <a:cubicBezTo>
                  <a:pt x="11343" y="17344"/>
                  <a:pt x="11437" y="17344"/>
                  <a:pt x="11500" y="17250"/>
                </a:cubicBezTo>
                <a:cubicBezTo>
                  <a:pt x="11531" y="17250"/>
                  <a:pt x="11531" y="17219"/>
                  <a:pt x="11562" y="17250"/>
                </a:cubicBezTo>
                <a:cubicBezTo>
                  <a:pt x="11562" y="17281"/>
                  <a:pt x="11593" y="17312"/>
                  <a:pt x="11625" y="17281"/>
                </a:cubicBezTo>
                <a:cubicBezTo>
                  <a:pt x="11656" y="17250"/>
                  <a:pt x="11593" y="17250"/>
                  <a:pt x="11593" y="17219"/>
                </a:cubicBezTo>
                <a:cubicBezTo>
                  <a:pt x="11562" y="17219"/>
                  <a:pt x="11562" y="17187"/>
                  <a:pt x="11562" y="17187"/>
                </a:cubicBezTo>
                <a:cubicBezTo>
                  <a:pt x="11562" y="17156"/>
                  <a:pt x="11593" y="17156"/>
                  <a:pt x="11593" y="17156"/>
                </a:cubicBezTo>
                <a:close/>
                <a:moveTo>
                  <a:pt x="8593" y="12187"/>
                </a:moveTo>
                <a:cubicBezTo>
                  <a:pt x="8593" y="12187"/>
                  <a:pt x="8593" y="12187"/>
                  <a:pt x="8593" y="12187"/>
                </a:cubicBezTo>
                <a:cubicBezTo>
                  <a:pt x="8593" y="12187"/>
                  <a:pt x="8593" y="12187"/>
                  <a:pt x="8593" y="12187"/>
                </a:cubicBezTo>
                <a:close/>
                <a:moveTo>
                  <a:pt x="1062" y="17437"/>
                </a:moveTo>
                <a:cubicBezTo>
                  <a:pt x="1062" y="17437"/>
                  <a:pt x="1062" y="17437"/>
                  <a:pt x="1062" y="17437"/>
                </a:cubicBezTo>
                <a:cubicBezTo>
                  <a:pt x="1062" y="17437"/>
                  <a:pt x="1062" y="17437"/>
                  <a:pt x="1062" y="17437"/>
                </a:cubicBezTo>
                <a:close/>
                <a:moveTo>
                  <a:pt x="7531" y="20000"/>
                </a:moveTo>
                <a:cubicBezTo>
                  <a:pt x="7531" y="20000"/>
                  <a:pt x="7531" y="20000"/>
                  <a:pt x="7531" y="20000"/>
                </a:cubicBezTo>
                <a:cubicBezTo>
                  <a:pt x="7531" y="20000"/>
                  <a:pt x="7531" y="20000"/>
                  <a:pt x="7531" y="20000"/>
                </a:cubicBezTo>
                <a:lnTo>
                  <a:pt x="7531" y="20000"/>
                </a:lnTo>
                <a:cubicBezTo>
                  <a:pt x="7531" y="20000"/>
                  <a:pt x="7531" y="20000"/>
                  <a:pt x="7531" y="20000"/>
                </a:cubicBezTo>
                <a:cubicBezTo>
                  <a:pt x="7531" y="20000"/>
                  <a:pt x="7531" y="20000"/>
                  <a:pt x="7531" y="20000"/>
                </a:cubicBezTo>
                <a:close/>
                <a:moveTo>
                  <a:pt x="3593" y="17844"/>
                </a:moveTo>
                <a:cubicBezTo>
                  <a:pt x="3312" y="17750"/>
                  <a:pt x="3031" y="17719"/>
                  <a:pt x="2718" y="17687"/>
                </a:cubicBezTo>
                <a:cubicBezTo>
                  <a:pt x="3000" y="17750"/>
                  <a:pt x="3312" y="17812"/>
                  <a:pt x="3593" y="17844"/>
                </a:cubicBezTo>
                <a:close/>
                <a:moveTo>
                  <a:pt x="6250" y="17406"/>
                </a:moveTo>
                <a:cubicBezTo>
                  <a:pt x="6250" y="17406"/>
                  <a:pt x="6250" y="17406"/>
                  <a:pt x="6281" y="17406"/>
                </a:cubicBezTo>
                <a:cubicBezTo>
                  <a:pt x="6281" y="17437"/>
                  <a:pt x="6312" y="17469"/>
                  <a:pt x="6343" y="17469"/>
                </a:cubicBezTo>
                <a:lnTo>
                  <a:pt x="6343" y="17469"/>
                </a:lnTo>
                <a:cubicBezTo>
                  <a:pt x="6500" y="17562"/>
                  <a:pt x="6656" y="17625"/>
                  <a:pt x="6812" y="17719"/>
                </a:cubicBezTo>
                <a:cubicBezTo>
                  <a:pt x="6843" y="17719"/>
                  <a:pt x="6875" y="17719"/>
                  <a:pt x="6875" y="17719"/>
                </a:cubicBezTo>
                <a:cubicBezTo>
                  <a:pt x="6875" y="17687"/>
                  <a:pt x="6875" y="17687"/>
                  <a:pt x="6843" y="17656"/>
                </a:cubicBezTo>
                <a:cubicBezTo>
                  <a:pt x="6656" y="17594"/>
                  <a:pt x="6468" y="17500"/>
                  <a:pt x="6281" y="17406"/>
                </a:cubicBezTo>
                <a:cubicBezTo>
                  <a:pt x="6250" y="17406"/>
                  <a:pt x="6250" y="17406"/>
                  <a:pt x="6250" y="17406"/>
                </a:cubicBezTo>
                <a:close/>
                <a:moveTo>
                  <a:pt x="6718" y="20625"/>
                </a:moveTo>
                <a:cubicBezTo>
                  <a:pt x="6468" y="20531"/>
                  <a:pt x="6250" y="20437"/>
                  <a:pt x="6000" y="20406"/>
                </a:cubicBezTo>
                <a:cubicBezTo>
                  <a:pt x="6250" y="20469"/>
                  <a:pt x="6468" y="20625"/>
                  <a:pt x="6718" y="20625"/>
                </a:cubicBezTo>
                <a:close/>
                <a:moveTo>
                  <a:pt x="1843" y="16875"/>
                </a:moveTo>
                <a:cubicBezTo>
                  <a:pt x="2156" y="16937"/>
                  <a:pt x="2500" y="17000"/>
                  <a:pt x="2812" y="17062"/>
                </a:cubicBezTo>
                <a:cubicBezTo>
                  <a:pt x="2812" y="17062"/>
                  <a:pt x="2812" y="17062"/>
                  <a:pt x="2843" y="17031"/>
                </a:cubicBezTo>
                <a:cubicBezTo>
                  <a:pt x="2687" y="17000"/>
                  <a:pt x="1875" y="16875"/>
                  <a:pt x="1843" y="16875"/>
                </a:cubicBezTo>
                <a:close/>
                <a:moveTo>
                  <a:pt x="8343" y="16594"/>
                </a:moveTo>
                <a:cubicBezTo>
                  <a:pt x="8343" y="16594"/>
                  <a:pt x="8343" y="16594"/>
                  <a:pt x="8343" y="16594"/>
                </a:cubicBezTo>
                <a:cubicBezTo>
                  <a:pt x="8343" y="16594"/>
                  <a:pt x="8343" y="16594"/>
                  <a:pt x="8343" y="16594"/>
                </a:cubicBezTo>
                <a:lnTo>
                  <a:pt x="8343" y="16594"/>
                </a:lnTo>
                <a:cubicBezTo>
                  <a:pt x="8343" y="16594"/>
                  <a:pt x="8343" y="16594"/>
                  <a:pt x="8343" y="16594"/>
                </a:cubicBezTo>
                <a:cubicBezTo>
                  <a:pt x="8343" y="16594"/>
                  <a:pt x="8343" y="16594"/>
                  <a:pt x="8343" y="16594"/>
                </a:cubicBezTo>
                <a:close/>
                <a:moveTo>
                  <a:pt x="6687" y="17281"/>
                </a:moveTo>
                <a:cubicBezTo>
                  <a:pt x="6687" y="17281"/>
                  <a:pt x="6718" y="17281"/>
                  <a:pt x="6718" y="17281"/>
                </a:cubicBezTo>
                <a:cubicBezTo>
                  <a:pt x="6718" y="17250"/>
                  <a:pt x="6718" y="17250"/>
                  <a:pt x="6718" y="17250"/>
                </a:cubicBezTo>
                <a:cubicBezTo>
                  <a:pt x="6656" y="17187"/>
                  <a:pt x="6593" y="17219"/>
                  <a:pt x="6562" y="17187"/>
                </a:cubicBezTo>
                <a:cubicBezTo>
                  <a:pt x="6375" y="17094"/>
                  <a:pt x="6187" y="17031"/>
                  <a:pt x="5968" y="16937"/>
                </a:cubicBezTo>
                <a:cubicBezTo>
                  <a:pt x="5968" y="16969"/>
                  <a:pt x="5968" y="16969"/>
                  <a:pt x="5968" y="16969"/>
                </a:cubicBezTo>
                <a:cubicBezTo>
                  <a:pt x="6000" y="16969"/>
                  <a:pt x="6000" y="17000"/>
                  <a:pt x="6031" y="17031"/>
                </a:cubicBezTo>
                <a:cubicBezTo>
                  <a:pt x="6125" y="17062"/>
                  <a:pt x="6218" y="17094"/>
                  <a:pt x="6281" y="17125"/>
                </a:cubicBezTo>
                <a:cubicBezTo>
                  <a:pt x="6437" y="17187"/>
                  <a:pt x="6562" y="17219"/>
                  <a:pt x="6687" y="17281"/>
                </a:cubicBezTo>
                <a:close/>
                <a:moveTo>
                  <a:pt x="13031" y="18750"/>
                </a:moveTo>
                <a:cubicBezTo>
                  <a:pt x="12718" y="18844"/>
                  <a:pt x="12375" y="18875"/>
                  <a:pt x="12031" y="18937"/>
                </a:cubicBezTo>
                <a:cubicBezTo>
                  <a:pt x="12250" y="18969"/>
                  <a:pt x="13000" y="18844"/>
                  <a:pt x="13031" y="18750"/>
                </a:cubicBezTo>
                <a:close/>
                <a:moveTo>
                  <a:pt x="9562" y="18094"/>
                </a:moveTo>
                <a:cubicBezTo>
                  <a:pt x="9562" y="18094"/>
                  <a:pt x="9562" y="18062"/>
                  <a:pt x="9562" y="18062"/>
                </a:cubicBezTo>
                <a:cubicBezTo>
                  <a:pt x="9281" y="18031"/>
                  <a:pt x="9062" y="17875"/>
                  <a:pt x="8812" y="17781"/>
                </a:cubicBezTo>
                <a:cubicBezTo>
                  <a:pt x="9031" y="17937"/>
                  <a:pt x="9281" y="18031"/>
                  <a:pt x="9562" y="18094"/>
                </a:cubicBezTo>
                <a:close/>
                <a:moveTo>
                  <a:pt x="11125" y="12750"/>
                </a:moveTo>
                <a:cubicBezTo>
                  <a:pt x="11125" y="12750"/>
                  <a:pt x="11125" y="12750"/>
                  <a:pt x="11125" y="12750"/>
                </a:cubicBezTo>
                <a:lnTo>
                  <a:pt x="11125" y="12750"/>
                </a:lnTo>
                <a:cubicBezTo>
                  <a:pt x="11125" y="12750"/>
                  <a:pt x="11125" y="12750"/>
                  <a:pt x="11125" y="12750"/>
                </a:cubicBezTo>
                <a:cubicBezTo>
                  <a:pt x="11125" y="12750"/>
                  <a:pt x="11125" y="12750"/>
                  <a:pt x="11125" y="12750"/>
                </a:cubicBezTo>
                <a:close/>
                <a:moveTo>
                  <a:pt x="3687" y="19344"/>
                </a:moveTo>
                <a:cubicBezTo>
                  <a:pt x="3562" y="19281"/>
                  <a:pt x="3000" y="19125"/>
                  <a:pt x="2750" y="19125"/>
                </a:cubicBezTo>
                <a:cubicBezTo>
                  <a:pt x="2687" y="19062"/>
                  <a:pt x="2625" y="19094"/>
                  <a:pt x="2562" y="19062"/>
                </a:cubicBezTo>
                <a:cubicBezTo>
                  <a:pt x="2562" y="19062"/>
                  <a:pt x="2562" y="19031"/>
                  <a:pt x="2531" y="19031"/>
                </a:cubicBezTo>
                <a:cubicBezTo>
                  <a:pt x="2468" y="19062"/>
                  <a:pt x="2437" y="19031"/>
                  <a:pt x="2406" y="19000"/>
                </a:cubicBezTo>
                <a:cubicBezTo>
                  <a:pt x="2437" y="18969"/>
                  <a:pt x="2468" y="19000"/>
                  <a:pt x="2500" y="19000"/>
                </a:cubicBezTo>
                <a:cubicBezTo>
                  <a:pt x="2500" y="19000"/>
                  <a:pt x="2531" y="19000"/>
                  <a:pt x="2562" y="19031"/>
                </a:cubicBezTo>
                <a:cubicBezTo>
                  <a:pt x="2750" y="19031"/>
                  <a:pt x="2937" y="19094"/>
                  <a:pt x="3156" y="19125"/>
                </a:cubicBezTo>
                <a:cubicBezTo>
                  <a:pt x="3312" y="19156"/>
                  <a:pt x="3468" y="19219"/>
                  <a:pt x="3625" y="19250"/>
                </a:cubicBezTo>
                <a:cubicBezTo>
                  <a:pt x="3875" y="19312"/>
                  <a:pt x="4125" y="19375"/>
                  <a:pt x="4343" y="19531"/>
                </a:cubicBezTo>
                <a:cubicBezTo>
                  <a:pt x="4468" y="19625"/>
                  <a:pt x="4593" y="19687"/>
                  <a:pt x="4718" y="19750"/>
                </a:cubicBezTo>
                <a:cubicBezTo>
                  <a:pt x="4781" y="19781"/>
                  <a:pt x="4875" y="19812"/>
                  <a:pt x="4937" y="19844"/>
                </a:cubicBezTo>
                <a:cubicBezTo>
                  <a:pt x="5031" y="19937"/>
                  <a:pt x="5156" y="19969"/>
                  <a:pt x="5250" y="20000"/>
                </a:cubicBezTo>
                <a:cubicBezTo>
                  <a:pt x="5406" y="20062"/>
                  <a:pt x="5531" y="20094"/>
                  <a:pt x="5687" y="20094"/>
                </a:cubicBezTo>
                <a:cubicBezTo>
                  <a:pt x="5843" y="20094"/>
                  <a:pt x="6000" y="20156"/>
                  <a:pt x="6156" y="20187"/>
                </a:cubicBezTo>
                <a:cubicBezTo>
                  <a:pt x="6437" y="20281"/>
                  <a:pt x="6718" y="20344"/>
                  <a:pt x="7000" y="20406"/>
                </a:cubicBezTo>
                <a:cubicBezTo>
                  <a:pt x="6906" y="20344"/>
                  <a:pt x="6812" y="20312"/>
                  <a:pt x="6718" y="20312"/>
                </a:cubicBezTo>
                <a:cubicBezTo>
                  <a:pt x="6437" y="20281"/>
                  <a:pt x="6218" y="20156"/>
                  <a:pt x="5968" y="20094"/>
                </a:cubicBezTo>
                <a:cubicBezTo>
                  <a:pt x="5812" y="20062"/>
                  <a:pt x="5687" y="20031"/>
                  <a:pt x="5531" y="20000"/>
                </a:cubicBezTo>
                <a:cubicBezTo>
                  <a:pt x="5437" y="20000"/>
                  <a:pt x="5343" y="19969"/>
                  <a:pt x="5250" y="19937"/>
                </a:cubicBezTo>
                <a:cubicBezTo>
                  <a:pt x="5156" y="19906"/>
                  <a:pt x="5093" y="19844"/>
                  <a:pt x="5031" y="19844"/>
                </a:cubicBezTo>
                <a:cubicBezTo>
                  <a:pt x="4906" y="19812"/>
                  <a:pt x="4812" y="19750"/>
                  <a:pt x="4718" y="19687"/>
                </a:cubicBezTo>
                <a:cubicBezTo>
                  <a:pt x="4625" y="19656"/>
                  <a:pt x="4500" y="19562"/>
                  <a:pt x="4406" y="19500"/>
                </a:cubicBezTo>
                <a:cubicBezTo>
                  <a:pt x="4281" y="19406"/>
                  <a:pt x="4156" y="19344"/>
                  <a:pt x="4000" y="19281"/>
                </a:cubicBezTo>
                <a:cubicBezTo>
                  <a:pt x="3843" y="19219"/>
                  <a:pt x="3656" y="19187"/>
                  <a:pt x="3468" y="19156"/>
                </a:cubicBezTo>
                <a:cubicBezTo>
                  <a:pt x="3343" y="19125"/>
                  <a:pt x="3187" y="19094"/>
                  <a:pt x="3031" y="19062"/>
                </a:cubicBezTo>
                <a:cubicBezTo>
                  <a:pt x="2875" y="19000"/>
                  <a:pt x="2718" y="18969"/>
                  <a:pt x="2562" y="18937"/>
                </a:cubicBezTo>
                <a:cubicBezTo>
                  <a:pt x="2406" y="18906"/>
                  <a:pt x="2250" y="18844"/>
                  <a:pt x="2125" y="18812"/>
                </a:cubicBezTo>
                <a:cubicBezTo>
                  <a:pt x="2000" y="18812"/>
                  <a:pt x="1906" y="18719"/>
                  <a:pt x="1781" y="18750"/>
                </a:cubicBezTo>
                <a:cubicBezTo>
                  <a:pt x="1781" y="18781"/>
                  <a:pt x="1750" y="18750"/>
                  <a:pt x="1750" y="18750"/>
                </a:cubicBezTo>
                <a:lnTo>
                  <a:pt x="1750" y="18750"/>
                </a:lnTo>
                <a:cubicBezTo>
                  <a:pt x="1718" y="18719"/>
                  <a:pt x="1687" y="18719"/>
                  <a:pt x="1656" y="18719"/>
                </a:cubicBezTo>
                <a:cubicBezTo>
                  <a:pt x="1531" y="18719"/>
                  <a:pt x="1437" y="18656"/>
                  <a:pt x="1312" y="18656"/>
                </a:cubicBezTo>
                <a:cubicBezTo>
                  <a:pt x="1093" y="18594"/>
                  <a:pt x="906" y="18594"/>
                  <a:pt x="687" y="18562"/>
                </a:cubicBezTo>
                <a:cubicBezTo>
                  <a:pt x="468" y="18531"/>
                  <a:pt x="281" y="18500"/>
                  <a:pt x="62" y="18500"/>
                </a:cubicBezTo>
                <a:cubicBezTo>
                  <a:pt x="62" y="18500"/>
                  <a:pt x="31" y="18469"/>
                  <a:pt x="31" y="18500"/>
                </a:cubicBezTo>
                <a:cubicBezTo>
                  <a:pt x="31" y="18531"/>
                  <a:pt x="31" y="18531"/>
                  <a:pt x="62" y="18531"/>
                </a:cubicBezTo>
                <a:cubicBezTo>
                  <a:pt x="62" y="18562"/>
                  <a:pt x="93" y="18562"/>
                  <a:pt x="93" y="18562"/>
                </a:cubicBezTo>
                <a:cubicBezTo>
                  <a:pt x="343" y="18562"/>
                  <a:pt x="562" y="18594"/>
                  <a:pt x="812" y="18625"/>
                </a:cubicBezTo>
                <a:cubicBezTo>
                  <a:pt x="1000" y="18656"/>
                  <a:pt x="1187" y="18687"/>
                  <a:pt x="1375" y="18719"/>
                </a:cubicBezTo>
                <a:cubicBezTo>
                  <a:pt x="1687" y="18750"/>
                  <a:pt x="2000" y="18844"/>
                  <a:pt x="2312" y="18937"/>
                </a:cubicBezTo>
                <a:cubicBezTo>
                  <a:pt x="2343" y="18969"/>
                  <a:pt x="2375" y="18969"/>
                  <a:pt x="2406" y="19000"/>
                </a:cubicBezTo>
                <a:cubicBezTo>
                  <a:pt x="2375" y="19031"/>
                  <a:pt x="2343" y="19031"/>
                  <a:pt x="2312" y="19031"/>
                </a:cubicBezTo>
                <a:cubicBezTo>
                  <a:pt x="2281" y="18969"/>
                  <a:pt x="2250" y="19000"/>
                  <a:pt x="2187" y="18969"/>
                </a:cubicBezTo>
                <a:cubicBezTo>
                  <a:pt x="2156" y="18937"/>
                  <a:pt x="2093" y="18937"/>
                  <a:pt x="2062" y="18937"/>
                </a:cubicBezTo>
                <a:cubicBezTo>
                  <a:pt x="1906" y="18875"/>
                  <a:pt x="1750" y="18844"/>
                  <a:pt x="1625" y="18812"/>
                </a:cubicBezTo>
                <a:cubicBezTo>
                  <a:pt x="1562" y="18812"/>
                  <a:pt x="1531" y="18781"/>
                  <a:pt x="1468" y="18812"/>
                </a:cubicBezTo>
                <a:cubicBezTo>
                  <a:pt x="1593" y="18844"/>
                  <a:pt x="1687" y="18875"/>
                  <a:pt x="1812" y="18906"/>
                </a:cubicBezTo>
                <a:cubicBezTo>
                  <a:pt x="1875" y="18906"/>
                  <a:pt x="1937" y="18906"/>
                  <a:pt x="2000" y="18937"/>
                </a:cubicBezTo>
                <a:cubicBezTo>
                  <a:pt x="2062" y="18969"/>
                  <a:pt x="2125" y="18969"/>
                  <a:pt x="2187" y="19000"/>
                </a:cubicBezTo>
                <a:cubicBezTo>
                  <a:pt x="2187" y="19000"/>
                  <a:pt x="2187" y="19000"/>
                  <a:pt x="2187" y="19000"/>
                </a:cubicBezTo>
                <a:cubicBezTo>
                  <a:pt x="2312" y="19062"/>
                  <a:pt x="2437" y="19062"/>
                  <a:pt x="2562" y="19062"/>
                </a:cubicBezTo>
                <a:cubicBezTo>
                  <a:pt x="2625" y="19125"/>
                  <a:pt x="2687" y="19125"/>
                  <a:pt x="2750" y="19125"/>
                </a:cubicBezTo>
                <a:cubicBezTo>
                  <a:pt x="3062" y="19187"/>
                  <a:pt x="3375" y="19281"/>
                  <a:pt x="3687" y="19344"/>
                </a:cubicBezTo>
                <a:close/>
                <a:moveTo>
                  <a:pt x="5843" y="19125"/>
                </a:moveTo>
                <a:cubicBezTo>
                  <a:pt x="6156" y="19219"/>
                  <a:pt x="6468" y="19312"/>
                  <a:pt x="6781" y="19437"/>
                </a:cubicBezTo>
                <a:cubicBezTo>
                  <a:pt x="6500" y="19250"/>
                  <a:pt x="6156" y="19187"/>
                  <a:pt x="5843" y="19125"/>
                </a:cubicBezTo>
                <a:close/>
                <a:moveTo>
                  <a:pt x="9843" y="18625"/>
                </a:moveTo>
                <a:cubicBezTo>
                  <a:pt x="9625" y="18531"/>
                  <a:pt x="9406" y="18469"/>
                  <a:pt x="9187" y="18406"/>
                </a:cubicBezTo>
                <a:cubicBezTo>
                  <a:pt x="9187" y="18406"/>
                  <a:pt x="9187" y="18406"/>
                  <a:pt x="9187" y="18406"/>
                </a:cubicBezTo>
                <a:cubicBezTo>
                  <a:pt x="9062" y="18344"/>
                  <a:pt x="8937" y="18250"/>
                  <a:pt x="8781" y="18187"/>
                </a:cubicBezTo>
                <a:cubicBezTo>
                  <a:pt x="8812" y="18250"/>
                  <a:pt x="8875" y="18281"/>
                  <a:pt x="8906" y="18281"/>
                </a:cubicBezTo>
                <a:cubicBezTo>
                  <a:pt x="9000" y="18344"/>
                  <a:pt x="9062" y="18437"/>
                  <a:pt x="9156" y="18437"/>
                </a:cubicBezTo>
                <a:cubicBezTo>
                  <a:pt x="9187" y="18437"/>
                  <a:pt x="9187" y="18469"/>
                  <a:pt x="9218" y="18469"/>
                </a:cubicBezTo>
                <a:cubicBezTo>
                  <a:pt x="9406" y="18531"/>
                  <a:pt x="9593" y="18562"/>
                  <a:pt x="9750" y="18625"/>
                </a:cubicBezTo>
                <a:cubicBezTo>
                  <a:pt x="9812" y="18656"/>
                  <a:pt x="9875" y="18719"/>
                  <a:pt x="9937" y="18687"/>
                </a:cubicBezTo>
                <a:cubicBezTo>
                  <a:pt x="10000" y="18719"/>
                  <a:pt x="10000" y="18750"/>
                  <a:pt x="10062" y="18781"/>
                </a:cubicBezTo>
                <a:cubicBezTo>
                  <a:pt x="10062" y="18781"/>
                  <a:pt x="10093" y="18781"/>
                  <a:pt x="10093" y="18750"/>
                </a:cubicBezTo>
                <a:cubicBezTo>
                  <a:pt x="10093" y="18750"/>
                  <a:pt x="10093" y="18719"/>
                  <a:pt x="10093" y="18719"/>
                </a:cubicBezTo>
                <a:cubicBezTo>
                  <a:pt x="10031" y="18719"/>
                  <a:pt x="10000" y="18687"/>
                  <a:pt x="9968" y="18687"/>
                </a:cubicBezTo>
                <a:cubicBezTo>
                  <a:pt x="9937" y="18625"/>
                  <a:pt x="9875" y="18656"/>
                  <a:pt x="9843" y="18625"/>
                </a:cubicBezTo>
                <a:close/>
                <a:moveTo>
                  <a:pt x="7250" y="19062"/>
                </a:moveTo>
                <a:cubicBezTo>
                  <a:pt x="7250" y="19062"/>
                  <a:pt x="7250" y="19062"/>
                  <a:pt x="7250" y="19062"/>
                </a:cubicBezTo>
                <a:cubicBezTo>
                  <a:pt x="7250" y="19062"/>
                  <a:pt x="7250" y="19062"/>
                  <a:pt x="7250" y="19062"/>
                </a:cubicBezTo>
                <a:close/>
                <a:moveTo>
                  <a:pt x="5812" y="19875"/>
                </a:moveTo>
                <a:cubicBezTo>
                  <a:pt x="5718" y="19812"/>
                  <a:pt x="5625" y="19781"/>
                  <a:pt x="5531" y="19781"/>
                </a:cubicBezTo>
                <a:cubicBezTo>
                  <a:pt x="5406" y="19750"/>
                  <a:pt x="5281" y="19750"/>
                  <a:pt x="5187" y="19719"/>
                </a:cubicBezTo>
                <a:cubicBezTo>
                  <a:pt x="5156" y="19687"/>
                  <a:pt x="5125" y="19656"/>
                  <a:pt x="5093" y="19687"/>
                </a:cubicBezTo>
                <a:cubicBezTo>
                  <a:pt x="5093" y="19719"/>
                  <a:pt x="5093" y="19719"/>
                  <a:pt x="5093" y="19719"/>
                </a:cubicBezTo>
                <a:cubicBezTo>
                  <a:pt x="5218" y="19750"/>
                  <a:pt x="5312" y="19812"/>
                  <a:pt x="5437" y="19812"/>
                </a:cubicBezTo>
                <a:cubicBezTo>
                  <a:pt x="5625" y="19844"/>
                  <a:pt x="5781" y="19875"/>
                  <a:pt x="5968" y="19937"/>
                </a:cubicBezTo>
                <a:cubicBezTo>
                  <a:pt x="6125" y="20000"/>
                  <a:pt x="6281" y="20062"/>
                  <a:pt x="6468" y="20062"/>
                </a:cubicBezTo>
                <a:cubicBezTo>
                  <a:pt x="6281" y="20031"/>
                  <a:pt x="6156" y="19937"/>
                  <a:pt x="5968" y="19906"/>
                </a:cubicBezTo>
                <a:cubicBezTo>
                  <a:pt x="5937" y="19875"/>
                  <a:pt x="5875" y="19875"/>
                  <a:pt x="5812" y="19875"/>
                </a:cubicBezTo>
                <a:close/>
                <a:moveTo>
                  <a:pt x="10906" y="14312"/>
                </a:moveTo>
                <a:cubicBezTo>
                  <a:pt x="10906" y="14312"/>
                  <a:pt x="10937" y="14312"/>
                  <a:pt x="10937" y="14344"/>
                </a:cubicBezTo>
                <a:cubicBezTo>
                  <a:pt x="10937" y="14344"/>
                  <a:pt x="10906" y="14344"/>
                  <a:pt x="10906" y="14344"/>
                </a:cubicBezTo>
                <a:cubicBezTo>
                  <a:pt x="10906" y="14344"/>
                  <a:pt x="10906" y="14344"/>
                  <a:pt x="10906" y="14312"/>
                </a:cubicBezTo>
                <a:cubicBezTo>
                  <a:pt x="10906" y="14312"/>
                  <a:pt x="10906" y="14312"/>
                  <a:pt x="10906" y="14312"/>
                </a:cubicBezTo>
                <a:close/>
                <a:moveTo>
                  <a:pt x="6406" y="19437"/>
                </a:moveTo>
                <a:cubicBezTo>
                  <a:pt x="6250" y="19406"/>
                  <a:pt x="6093" y="19375"/>
                  <a:pt x="5968" y="19344"/>
                </a:cubicBezTo>
                <a:cubicBezTo>
                  <a:pt x="5875" y="19312"/>
                  <a:pt x="5812" y="19281"/>
                  <a:pt x="5750" y="19250"/>
                </a:cubicBezTo>
                <a:cubicBezTo>
                  <a:pt x="5750" y="19250"/>
                  <a:pt x="5718" y="19250"/>
                  <a:pt x="5718" y="19250"/>
                </a:cubicBezTo>
                <a:cubicBezTo>
                  <a:pt x="5687" y="19281"/>
                  <a:pt x="5718" y="19281"/>
                  <a:pt x="5718" y="19281"/>
                </a:cubicBezTo>
                <a:cubicBezTo>
                  <a:pt x="5843" y="19344"/>
                  <a:pt x="5937" y="19375"/>
                  <a:pt x="6062" y="19406"/>
                </a:cubicBezTo>
                <a:cubicBezTo>
                  <a:pt x="6218" y="19437"/>
                  <a:pt x="6406" y="19469"/>
                  <a:pt x="6562" y="19531"/>
                </a:cubicBezTo>
                <a:cubicBezTo>
                  <a:pt x="6625" y="19562"/>
                  <a:pt x="6687" y="19594"/>
                  <a:pt x="6750" y="19594"/>
                </a:cubicBezTo>
                <a:cubicBezTo>
                  <a:pt x="6750" y="19562"/>
                  <a:pt x="6750" y="19562"/>
                  <a:pt x="6718" y="19562"/>
                </a:cubicBezTo>
                <a:cubicBezTo>
                  <a:pt x="6625" y="19500"/>
                  <a:pt x="6500" y="19469"/>
                  <a:pt x="6406" y="19437"/>
                </a:cubicBezTo>
                <a:close/>
                <a:moveTo>
                  <a:pt x="10250" y="12562"/>
                </a:moveTo>
                <a:cubicBezTo>
                  <a:pt x="10250" y="12562"/>
                  <a:pt x="10250" y="12562"/>
                  <a:pt x="10250" y="12562"/>
                </a:cubicBezTo>
                <a:cubicBezTo>
                  <a:pt x="10250" y="12562"/>
                  <a:pt x="10250" y="12562"/>
                  <a:pt x="10250" y="12562"/>
                </a:cubicBezTo>
                <a:close/>
                <a:moveTo>
                  <a:pt x="6562" y="19281"/>
                </a:moveTo>
                <a:cubicBezTo>
                  <a:pt x="6593" y="19312"/>
                  <a:pt x="6593" y="19281"/>
                  <a:pt x="6625" y="19281"/>
                </a:cubicBezTo>
                <a:cubicBezTo>
                  <a:pt x="6625" y="19281"/>
                  <a:pt x="6593" y="19250"/>
                  <a:pt x="6593" y="19250"/>
                </a:cubicBezTo>
                <a:cubicBezTo>
                  <a:pt x="6593" y="19219"/>
                  <a:pt x="6562" y="19219"/>
                  <a:pt x="6531" y="19219"/>
                </a:cubicBezTo>
                <a:cubicBezTo>
                  <a:pt x="6468" y="19187"/>
                  <a:pt x="6406" y="19156"/>
                  <a:pt x="6343" y="19125"/>
                </a:cubicBezTo>
                <a:cubicBezTo>
                  <a:pt x="6156" y="19062"/>
                  <a:pt x="5937" y="19000"/>
                  <a:pt x="5750" y="18969"/>
                </a:cubicBezTo>
                <a:lnTo>
                  <a:pt x="5750" y="18969"/>
                </a:lnTo>
                <a:lnTo>
                  <a:pt x="5749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lnTo>
                  <a:pt x="5750" y="18969"/>
                </a:lnTo>
                <a:cubicBezTo>
                  <a:pt x="5875" y="19062"/>
                  <a:pt x="6031" y="19094"/>
                  <a:pt x="6187" y="19156"/>
                </a:cubicBezTo>
                <a:cubicBezTo>
                  <a:pt x="6312" y="19187"/>
                  <a:pt x="6437" y="19219"/>
                  <a:pt x="6562" y="19281"/>
                </a:cubicBezTo>
                <a:close/>
                <a:moveTo>
                  <a:pt x="5749" y="18969"/>
                </a:move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lnTo>
                  <a:pt x="5749" y="18969"/>
                </a:lnTo>
                <a:close/>
                <a:moveTo>
                  <a:pt x="5748" y="18969"/>
                </a:moveTo>
                <a:lnTo>
                  <a:pt x="5748" y="18969"/>
                </a:lnTo>
                <a:lnTo>
                  <a:pt x="5748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7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lnTo>
                  <a:pt x="5748" y="18969"/>
                </a:lnTo>
                <a:close/>
                <a:moveTo>
                  <a:pt x="5747" y="18969"/>
                </a:moveTo>
                <a:lnTo>
                  <a:pt x="5747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5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6" y="18969"/>
                </a:lnTo>
                <a:lnTo>
                  <a:pt x="5747" y="18969"/>
                </a:lnTo>
                <a:lnTo>
                  <a:pt x="5747" y="18969"/>
                </a:lnTo>
                <a:close/>
                <a:moveTo>
                  <a:pt x="5745" y="18969"/>
                </a:moveTo>
                <a:lnTo>
                  <a:pt x="5745" y="18969"/>
                </a:lnTo>
                <a:lnTo>
                  <a:pt x="5745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5" y="18969"/>
                </a:lnTo>
                <a:lnTo>
                  <a:pt x="5745" y="18969"/>
                </a:lnTo>
                <a:lnTo>
                  <a:pt x="5745" y="18969"/>
                </a:lnTo>
                <a:lnTo>
                  <a:pt x="5745" y="18969"/>
                </a:lnTo>
                <a:close/>
                <a:moveTo>
                  <a:pt x="5744" y="18969"/>
                </a:moveTo>
                <a:lnTo>
                  <a:pt x="5744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3" y="18969"/>
                </a:lnTo>
                <a:lnTo>
                  <a:pt x="5744" y="18969"/>
                </a:lnTo>
                <a:lnTo>
                  <a:pt x="5744" y="18969"/>
                </a:lnTo>
                <a:lnTo>
                  <a:pt x="5744" y="18969"/>
                </a:lnTo>
                <a:close/>
                <a:moveTo>
                  <a:pt x="5743" y="18969"/>
                </a:move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2" y="18969"/>
                </a:lnTo>
                <a:lnTo>
                  <a:pt x="5743" y="18969"/>
                </a:lnTo>
                <a:close/>
                <a:moveTo>
                  <a:pt x="5742" y="18969"/>
                </a:moveTo>
                <a:lnTo>
                  <a:pt x="5741" y="18969"/>
                </a:lnTo>
                <a:lnTo>
                  <a:pt x="5740" y="18969"/>
                </a:lnTo>
                <a:lnTo>
                  <a:pt x="5741" y="18969"/>
                </a:lnTo>
                <a:lnTo>
                  <a:pt x="5741" y="18969"/>
                </a:lnTo>
                <a:lnTo>
                  <a:pt x="5741" y="18969"/>
                </a:lnTo>
                <a:lnTo>
                  <a:pt x="5742" y="18969"/>
                </a:lnTo>
                <a:close/>
                <a:moveTo>
                  <a:pt x="5740" y="18969"/>
                </a:moveTo>
                <a:lnTo>
                  <a:pt x="5740" y="18969"/>
                </a:lnTo>
                <a:lnTo>
                  <a:pt x="5740" y="18969"/>
                </a:lnTo>
                <a:lnTo>
                  <a:pt x="5739" y="18969"/>
                </a:lnTo>
                <a:lnTo>
                  <a:pt x="5739" y="18969"/>
                </a:lnTo>
                <a:lnTo>
                  <a:pt x="5740" y="18969"/>
                </a:lnTo>
                <a:lnTo>
                  <a:pt x="5740" y="18969"/>
                </a:lnTo>
                <a:lnTo>
                  <a:pt x="5740" y="18969"/>
                </a:lnTo>
                <a:close/>
                <a:moveTo>
                  <a:pt x="5739" y="18969"/>
                </a:moveTo>
                <a:lnTo>
                  <a:pt x="5739" y="18969"/>
                </a:lnTo>
                <a:lnTo>
                  <a:pt x="5738" y="18969"/>
                </a:lnTo>
                <a:lnTo>
                  <a:pt x="5738" y="18969"/>
                </a:lnTo>
                <a:lnTo>
                  <a:pt x="5738" y="18969"/>
                </a:lnTo>
                <a:lnTo>
                  <a:pt x="5739" y="18969"/>
                </a:lnTo>
                <a:lnTo>
                  <a:pt x="5739" y="18969"/>
                </a:lnTo>
                <a:close/>
                <a:moveTo>
                  <a:pt x="5738" y="18969"/>
                </a:moveTo>
                <a:lnTo>
                  <a:pt x="5738" y="18969"/>
                </a:lnTo>
                <a:lnTo>
                  <a:pt x="5737" y="18969"/>
                </a:lnTo>
                <a:lnTo>
                  <a:pt x="5737" y="18969"/>
                </a:lnTo>
                <a:lnTo>
                  <a:pt x="5738" y="18969"/>
                </a:lnTo>
                <a:lnTo>
                  <a:pt x="5738" y="18969"/>
                </a:lnTo>
                <a:close/>
                <a:moveTo>
                  <a:pt x="5737" y="18969"/>
                </a:moveTo>
                <a:lnTo>
                  <a:pt x="5737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6" y="18969"/>
                </a:lnTo>
                <a:lnTo>
                  <a:pt x="5737" y="18969"/>
                </a:lnTo>
                <a:close/>
                <a:moveTo>
                  <a:pt x="5736" y="18969"/>
                </a:moveTo>
                <a:lnTo>
                  <a:pt x="5735" y="18969"/>
                </a:lnTo>
                <a:lnTo>
                  <a:pt x="5735" y="18969"/>
                </a:lnTo>
                <a:lnTo>
                  <a:pt x="5735" y="18969"/>
                </a:lnTo>
                <a:lnTo>
                  <a:pt x="5736" y="18969"/>
                </a:lnTo>
                <a:close/>
                <a:moveTo>
                  <a:pt x="5735" y="18969"/>
                </a:moveTo>
                <a:lnTo>
                  <a:pt x="5735" y="18969"/>
                </a:lnTo>
                <a:lnTo>
                  <a:pt x="5734" y="18969"/>
                </a:lnTo>
                <a:lnTo>
                  <a:pt x="5735" y="18969"/>
                </a:lnTo>
                <a:lnTo>
                  <a:pt x="5735" y="18969"/>
                </a:lnTo>
                <a:close/>
                <a:moveTo>
                  <a:pt x="5734" y="18969"/>
                </a:moveTo>
                <a:lnTo>
                  <a:pt x="5734" y="18969"/>
                </a:lnTo>
                <a:lnTo>
                  <a:pt x="5733" y="18969"/>
                </a:lnTo>
                <a:lnTo>
                  <a:pt x="5734" y="18969"/>
                </a:lnTo>
                <a:lnTo>
                  <a:pt x="5734" y="18969"/>
                </a:lnTo>
                <a:close/>
                <a:moveTo>
                  <a:pt x="5733" y="18969"/>
                </a:moveTo>
                <a:lnTo>
                  <a:pt x="5733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3" y="18969"/>
                </a:lnTo>
                <a:lnTo>
                  <a:pt x="5733" y="18969"/>
                </a:lnTo>
                <a:close/>
                <a:moveTo>
                  <a:pt x="5732" y="18969"/>
                </a:move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lnTo>
                  <a:pt x="5732" y="18969"/>
                </a:lnTo>
                <a:close/>
                <a:moveTo>
                  <a:pt x="5732" y="18969"/>
                </a:moveTo>
                <a:lnTo>
                  <a:pt x="5731" y="18969"/>
                </a:lnTo>
                <a:lnTo>
                  <a:pt x="5731" y="18969"/>
                </a:lnTo>
                <a:lnTo>
                  <a:pt x="5731" y="18969"/>
                </a:lnTo>
                <a:lnTo>
                  <a:pt x="5731" y="18969"/>
                </a:lnTo>
                <a:lnTo>
                  <a:pt x="5732" y="18969"/>
                </a:lnTo>
                <a:close/>
                <a:moveTo>
                  <a:pt x="5731" y="18969"/>
                </a:moveTo>
                <a:lnTo>
                  <a:pt x="5730" y="18969"/>
                </a:lnTo>
                <a:lnTo>
                  <a:pt x="5730" y="18969"/>
                </a:lnTo>
                <a:lnTo>
                  <a:pt x="5730" y="18969"/>
                </a:lnTo>
                <a:lnTo>
                  <a:pt x="5731" y="18969"/>
                </a:lnTo>
                <a:close/>
                <a:moveTo>
                  <a:pt x="5730" y="18969"/>
                </a:moveTo>
                <a:lnTo>
                  <a:pt x="5730" y="18969"/>
                </a:lnTo>
                <a:lnTo>
                  <a:pt x="5729" y="18969"/>
                </a:lnTo>
                <a:lnTo>
                  <a:pt x="5730" y="18969"/>
                </a:lnTo>
                <a:lnTo>
                  <a:pt x="5730" y="18969"/>
                </a:lnTo>
                <a:close/>
                <a:moveTo>
                  <a:pt x="5729" y="18969"/>
                </a:moveTo>
                <a:lnTo>
                  <a:pt x="5729" y="18969"/>
                </a:lnTo>
                <a:lnTo>
                  <a:pt x="5728" y="18969"/>
                </a:lnTo>
                <a:lnTo>
                  <a:pt x="5729" y="18969"/>
                </a:lnTo>
                <a:lnTo>
                  <a:pt x="5729" y="18969"/>
                </a:lnTo>
                <a:close/>
                <a:moveTo>
                  <a:pt x="5728" y="18969"/>
                </a:moveTo>
                <a:lnTo>
                  <a:pt x="5728" y="18969"/>
                </a:lnTo>
                <a:lnTo>
                  <a:pt x="5728" y="18969"/>
                </a:lnTo>
                <a:lnTo>
                  <a:pt x="5728" y="18969"/>
                </a:lnTo>
                <a:close/>
                <a:moveTo>
                  <a:pt x="5728" y="18969"/>
                </a:moveTo>
                <a:lnTo>
                  <a:pt x="5728" y="18969"/>
                </a:lnTo>
                <a:lnTo>
                  <a:pt x="5727" y="18969"/>
                </a:lnTo>
                <a:lnTo>
                  <a:pt x="5727" y="18969"/>
                </a:lnTo>
                <a:lnTo>
                  <a:pt x="5728" y="18969"/>
                </a:lnTo>
                <a:close/>
                <a:moveTo>
                  <a:pt x="5727" y="18969"/>
                </a:moveTo>
                <a:lnTo>
                  <a:pt x="5727" y="18969"/>
                </a:lnTo>
                <a:lnTo>
                  <a:pt x="5727" y="18969"/>
                </a:lnTo>
                <a:lnTo>
                  <a:pt x="5727" y="18969"/>
                </a:lnTo>
                <a:close/>
                <a:moveTo>
                  <a:pt x="5727" y="18969"/>
                </a:moveTo>
                <a:lnTo>
                  <a:pt x="5726" y="18969"/>
                </a:lnTo>
                <a:lnTo>
                  <a:pt x="5726" y="18969"/>
                </a:lnTo>
                <a:lnTo>
                  <a:pt x="5726" y="18969"/>
                </a:lnTo>
                <a:lnTo>
                  <a:pt x="5726" y="18969"/>
                </a:lnTo>
                <a:lnTo>
                  <a:pt x="5727" y="18969"/>
                </a:lnTo>
                <a:close/>
                <a:moveTo>
                  <a:pt x="5726" y="18969"/>
                </a:moveTo>
                <a:lnTo>
                  <a:pt x="5726" y="18969"/>
                </a:lnTo>
                <a:lnTo>
                  <a:pt x="5725" y="18969"/>
                </a:lnTo>
                <a:lnTo>
                  <a:pt x="5726" y="18969"/>
                </a:lnTo>
                <a:close/>
                <a:moveTo>
                  <a:pt x="5725" y="18969"/>
                </a:moveTo>
                <a:lnTo>
                  <a:pt x="5725" y="18969"/>
                </a:lnTo>
                <a:lnTo>
                  <a:pt x="5725" y="18969"/>
                </a:lnTo>
                <a:lnTo>
                  <a:pt x="5725" y="18969"/>
                </a:lnTo>
                <a:lnTo>
                  <a:pt x="5725" y="18969"/>
                </a:lnTo>
                <a:close/>
                <a:moveTo>
                  <a:pt x="5725" y="18969"/>
                </a:moveTo>
                <a:lnTo>
                  <a:pt x="5724" y="18969"/>
                </a:lnTo>
                <a:lnTo>
                  <a:pt x="5725" y="18969"/>
                </a:lnTo>
                <a:close/>
                <a:moveTo>
                  <a:pt x="5724" y="18969"/>
                </a:moveTo>
                <a:lnTo>
                  <a:pt x="5724" y="18969"/>
                </a:lnTo>
                <a:lnTo>
                  <a:pt x="5724" y="18969"/>
                </a:lnTo>
                <a:lnTo>
                  <a:pt x="5724" y="18969"/>
                </a:lnTo>
                <a:close/>
                <a:moveTo>
                  <a:pt x="5724" y="18969"/>
                </a:moveTo>
                <a:lnTo>
                  <a:pt x="5724" y="18969"/>
                </a:lnTo>
                <a:lnTo>
                  <a:pt x="5723" y="18969"/>
                </a:lnTo>
                <a:lnTo>
                  <a:pt x="5724" y="18969"/>
                </a:lnTo>
                <a:lnTo>
                  <a:pt x="5724" y="18969"/>
                </a:lnTo>
                <a:close/>
                <a:moveTo>
                  <a:pt x="5723" y="18969"/>
                </a:moveTo>
                <a:lnTo>
                  <a:pt x="5723" y="18969"/>
                </a:lnTo>
                <a:lnTo>
                  <a:pt x="5723" y="18969"/>
                </a:lnTo>
                <a:lnTo>
                  <a:pt x="5723" y="18969"/>
                </a:lnTo>
                <a:close/>
                <a:moveTo>
                  <a:pt x="5723" y="18969"/>
                </a:moveTo>
                <a:lnTo>
                  <a:pt x="5723" y="18969"/>
                </a:lnTo>
                <a:lnTo>
                  <a:pt x="5723" y="18969"/>
                </a:lnTo>
                <a:lnTo>
                  <a:pt x="5723" y="18969"/>
                </a:lnTo>
                <a:close/>
                <a:moveTo>
                  <a:pt x="5723" y="18969"/>
                </a:moveTo>
                <a:lnTo>
                  <a:pt x="5722" y="18969"/>
                </a:lnTo>
                <a:lnTo>
                  <a:pt x="5723" y="18969"/>
                </a:lnTo>
                <a:close/>
                <a:moveTo>
                  <a:pt x="5722" y="18969"/>
                </a:moveTo>
                <a:lnTo>
                  <a:pt x="5722" y="18969"/>
                </a:lnTo>
                <a:lnTo>
                  <a:pt x="5722" y="18969"/>
                </a:lnTo>
                <a:lnTo>
                  <a:pt x="5722" y="18969"/>
                </a:lnTo>
                <a:close/>
                <a:moveTo>
                  <a:pt x="5722" y="18969"/>
                </a:moveTo>
                <a:lnTo>
                  <a:pt x="5722" y="18969"/>
                </a:lnTo>
                <a:lnTo>
                  <a:pt x="5722" y="18969"/>
                </a:lnTo>
                <a:lnTo>
                  <a:pt x="5722" y="18969"/>
                </a:lnTo>
                <a:close/>
                <a:moveTo>
                  <a:pt x="5722" y="18969"/>
                </a:moveTo>
                <a:lnTo>
                  <a:pt x="5721" y="18969"/>
                </a:lnTo>
                <a:lnTo>
                  <a:pt x="5722" y="18969"/>
                </a:lnTo>
                <a:close/>
                <a:moveTo>
                  <a:pt x="5721" y="18969"/>
                </a:move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close/>
                <a:moveTo>
                  <a:pt x="5721" y="18969"/>
                </a:moveTo>
                <a:lnTo>
                  <a:pt x="5721" y="18969"/>
                </a:lnTo>
                <a:lnTo>
                  <a:pt x="5721" y="18969"/>
                </a:lnTo>
                <a:lnTo>
                  <a:pt x="5721" y="18969"/>
                </a:lnTo>
                <a:close/>
                <a:moveTo>
                  <a:pt x="5721" y="18969"/>
                </a:moveTo>
                <a:lnTo>
                  <a:pt x="5720" y="18969"/>
                </a:lnTo>
                <a:lnTo>
                  <a:pt x="5721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lnTo>
                  <a:pt x="5720" y="18969"/>
                </a:lnTo>
                <a:close/>
                <a:moveTo>
                  <a:pt x="5720" y="18969"/>
                </a:moveTo>
                <a:lnTo>
                  <a:pt x="5719" y="18969"/>
                </a:lnTo>
                <a:lnTo>
                  <a:pt x="5720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9" y="18969"/>
                </a:ln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close/>
                <a:moveTo>
                  <a:pt x="5719" y="18969"/>
                </a:moveTo>
                <a:lnTo>
                  <a:pt x="5719" y="18969"/>
                </a:lnTo>
                <a:lnTo>
                  <a:pt x="5718" y="18969"/>
                </a:lnTo>
                <a:lnTo>
                  <a:pt x="5719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lnTo>
                  <a:pt x="5718" y="18969"/>
                </a:lnTo>
                <a:lnTo>
                  <a:pt x="5718" y="18969"/>
                </a:lnTo>
                <a:close/>
                <a:moveTo>
                  <a:pt x="5718" y="18969"/>
                </a:moveTo>
                <a:lnTo>
                  <a:pt x="5718" y="18969"/>
                </a:lnTo>
                <a:close/>
                <a:moveTo>
                  <a:pt x="5718" y="18969"/>
                </a:moveTo>
                <a:cubicBezTo>
                  <a:pt x="5625" y="18937"/>
                  <a:pt x="5562" y="18875"/>
                  <a:pt x="5468" y="18844"/>
                </a:cubicBezTo>
                <a:cubicBezTo>
                  <a:pt x="5468" y="18844"/>
                  <a:pt x="5437" y="18844"/>
                  <a:pt x="5437" y="18844"/>
                </a:cubicBezTo>
                <a:cubicBezTo>
                  <a:pt x="5281" y="18812"/>
                  <a:pt x="5093" y="18781"/>
                  <a:pt x="4937" y="18687"/>
                </a:cubicBezTo>
                <a:cubicBezTo>
                  <a:pt x="4875" y="18656"/>
                  <a:pt x="4812" y="18625"/>
                  <a:pt x="4718" y="18625"/>
                </a:cubicBezTo>
                <a:cubicBezTo>
                  <a:pt x="4562" y="18562"/>
                  <a:pt x="4375" y="18500"/>
                  <a:pt x="4218" y="18469"/>
                </a:cubicBezTo>
                <a:cubicBezTo>
                  <a:pt x="4000" y="18375"/>
                  <a:pt x="3750" y="18344"/>
                  <a:pt x="3500" y="18312"/>
                </a:cubicBezTo>
                <a:cubicBezTo>
                  <a:pt x="3375" y="18281"/>
                  <a:pt x="3250" y="18250"/>
                  <a:pt x="3093" y="18219"/>
                </a:cubicBezTo>
                <a:cubicBezTo>
                  <a:pt x="2937" y="18187"/>
                  <a:pt x="2750" y="18156"/>
                  <a:pt x="2593" y="18125"/>
                </a:cubicBezTo>
                <a:cubicBezTo>
                  <a:pt x="2406" y="18094"/>
                  <a:pt x="2218" y="18031"/>
                  <a:pt x="2031" y="18000"/>
                </a:cubicBezTo>
                <a:cubicBezTo>
                  <a:pt x="1750" y="17906"/>
                  <a:pt x="1500" y="17875"/>
                  <a:pt x="1218" y="17875"/>
                </a:cubicBezTo>
                <a:cubicBezTo>
                  <a:pt x="1000" y="17844"/>
                  <a:pt x="812" y="17812"/>
                  <a:pt x="593" y="17844"/>
                </a:cubicBezTo>
                <a:cubicBezTo>
                  <a:pt x="531" y="17844"/>
                  <a:pt x="468" y="17844"/>
                  <a:pt x="406" y="17906"/>
                </a:cubicBezTo>
                <a:cubicBezTo>
                  <a:pt x="437" y="17906"/>
                  <a:pt x="468" y="17906"/>
                  <a:pt x="500" y="17906"/>
                </a:cubicBezTo>
                <a:cubicBezTo>
                  <a:pt x="531" y="17906"/>
                  <a:pt x="531" y="17906"/>
                  <a:pt x="562" y="17906"/>
                </a:cubicBezTo>
                <a:lnTo>
                  <a:pt x="562" y="17906"/>
                </a:lnTo>
                <a:cubicBezTo>
                  <a:pt x="656" y="17906"/>
                  <a:pt x="750" y="17844"/>
                  <a:pt x="875" y="17906"/>
                </a:cubicBezTo>
                <a:cubicBezTo>
                  <a:pt x="812" y="17937"/>
                  <a:pt x="750" y="17937"/>
                  <a:pt x="687" y="17906"/>
                </a:cubicBezTo>
                <a:cubicBezTo>
                  <a:pt x="656" y="17906"/>
                  <a:pt x="593" y="17937"/>
                  <a:pt x="562" y="17906"/>
                </a:cubicBezTo>
                <a:cubicBezTo>
                  <a:pt x="531" y="17906"/>
                  <a:pt x="531" y="17906"/>
                  <a:pt x="500" y="17906"/>
                </a:cubicBezTo>
                <a:cubicBezTo>
                  <a:pt x="500" y="17937"/>
                  <a:pt x="468" y="17937"/>
                  <a:pt x="468" y="17969"/>
                </a:cubicBezTo>
                <a:cubicBezTo>
                  <a:pt x="906" y="17937"/>
                  <a:pt x="1312" y="18000"/>
                  <a:pt x="1750" y="18062"/>
                </a:cubicBezTo>
                <a:cubicBezTo>
                  <a:pt x="1687" y="18031"/>
                  <a:pt x="1625" y="18031"/>
                  <a:pt x="1562" y="18000"/>
                </a:cubicBezTo>
                <a:cubicBezTo>
                  <a:pt x="1500" y="18000"/>
                  <a:pt x="1468" y="17969"/>
                  <a:pt x="1406" y="17969"/>
                </a:cubicBezTo>
                <a:cubicBezTo>
                  <a:pt x="1312" y="18000"/>
                  <a:pt x="1218" y="17937"/>
                  <a:pt x="1125" y="17937"/>
                </a:cubicBezTo>
                <a:cubicBezTo>
                  <a:pt x="1093" y="17969"/>
                  <a:pt x="1031" y="17937"/>
                  <a:pt x="1031" y="17906"/>
                </a:cubicBezTo>
                <a:cubicBezTo>
                  <a:pt x="1312" y="17906"/>
                  <a:pt x="1625" y="17969"/>
                  <a:pt x="1906" y="18000"/>
                </a:cubicBezTo>
                <a:cubicBezTo>
                  <a:pt x="2031" y="18031"/>
                  <a:pt x="2156" y="18094"/>
                  <a:pt x="2312" y="18125"/>
                </a:cubicBezTo>
                <a:cubicBezTo>
                  <a:pt x="2406" y="18156"/>
                  <a:pt x="2468" y="18187"/>
                  <a:pt x="2562" y="18187"/>
                </a:cubicBezTo>
                <a:cubicBezTo>
                  <a:pt x="2687" y="18187"/>
                  <a:pt x="2812" y="18219"/>
                  <a:pt x="2906" y="18250"/>
                </a:cubicBezTo>
                <a:cubicBezTo>
                  <a:pt x="3125" y="18281"/>
                  <a:pt x="3312" y="18344"/>
                  <a:pt x="3531" y="18375"/>
                </a:cubicBezTo>
                <a:cubicBezTo>
                  <a:pt x="3718" y="18406"/>
                  <a:pt x="3906" y="18437"/>
                  <a:pt x="4093" y="18500"/>
                </a:cubicBezTo>
                <a:cubicBezTo>
                  <a:pt x="4281" y="18531"/>
                  <a:pt x="4468" y="18594"/>
                  <a:pt x="4656" y="18656"/>
                </a:cubicBezTo>
                <a:cubicBezTo>
                  <a:pt x="4781" y="18687"/>
                  <a:pt x="4906" y="18750"/>
                  <a:pt x="5000" y="18781"/>
                </a:cubicBezTo>
                <a:cubicBezTo>
                  <a:pt x="5125" y="18844"/>
                  <a:pt x="5281" y="18875"/>
                  <a:pt x="5406" y="18875"/>
                </a:cubicBezTo>
                <a:cubicBezTo>
                  <a:pt x="5437" y="18906"/>
                  <a:pt x="5437" y="18906"/>
                  <a:pt x="5468" y="18906"/>
                </a:cubicBezTo>
                <a:cubicBezTo>
                  <a:pt x="5562" y="18969"/>
                  <a:pt x="5625" y="19000"/>
                  <a:pt x="5718" y="18969"/>
                </a:cubicBezTo>
                <a:close/>
                <a:moveTo>
                  <a:pt x="9125" y="17687"/>
                </a:moveTo>
                <a:cubicBezTo>
                  <a:pt x="9000" y="17625"/>
                  <a:pt x="8843" y="17531"/>
                  <a:pt x="8687" y="17500"/>
                </a:cubicBezTo>
                <a:cubicBezTo>
                  <a:pt x="9000" y="17750"/>
                  <a:pt x="9406" y="17812"/>
                  <a:pt x="9750" y="17969"/>
                </a:cubicBezTo>
                <a:cubicBezTo>
                  <a:pt x="9656" y="17875"/>
                  <a:pt x="9531" y="17844"/>
                  <a:pt x="9437" y="17812"/>
                </a:cubicBezTo>
                <a:cubicBezTo>
                  <a:pt x="9343" y="17781"/>
                  <a:pt x="9218" y="17750"/>
                  <a:pt x="9125" y="17687"/>
                </a:cubicBezTo>
                <a:close/>
                <a:moveTo>
                  <a:pt x="11218" y="16844"/>
                </a:moveTo>
                <a:cubicBezTo>
                  <a:pt x="11156" y="16844"/>
                  <a:pt x="11187" y="16906"/>
                  <a:pt x="11125" y="16906"/>
                </a:cubicBezTo>
                <a:cubicBezTo>
                  <a:pt x="11125" y="16906"/>
                  <a:pt x="11125" y="16875"/>
                  <a:pt x="11125" y="16875"/>
                </a:cubicBezTo>
                <a:cubicBezTo>
                  <a:pt x="11125" y="16844"/>
                  <a:pt x="11093" y="16844"/>
                  <a:pt x="11093" y="16844"/>
                </a:cubicBezTo>
                <a:cubicBezTo>
                  <a:pt x="11062" y="16844"/>
                  <a:pt x="11031" y="16875"/>
                  <a:pt x="11031" y="16906"/>
                </a:cubicBezTo>
                <a:cubicBezTo>
                  <a:pt x="11031" y="16937"/>
                  <a:pt x="11062" y="16937"/>
                  <a:pt x="11062" y="16969"/>
                </a:cubicBezTo>
                <a:cubicBezTo>
                  <a:pt x="11093" y="17031"/>
                  <a:pt x="11156" y="17000"/>
                  <a:pt x="11156" y="17062"/>
                </a:cubicBezTo>
                <a:cubicBezTo>
                  <a:pt x="11156" y="17094"/>
                  <a:pt x="11218" y="17125"/>
                  <a:pt x="11250" y="17094"/>
                </a:cubicBezTo>
                <a:cubicBezTo>
                  <a:pt x="11281" y="17094"/>
                  <a:pt x="11281" y="17062"/>
                  <a:pt x="11281" y="17031"/>
                </a:cubicBezTo>
                <a:cubicBezTo>
                  <a:pt x="11250" y="17031"/>
                  <a:pt x="11250" y="17000"/>
                  <a:pt x="11281" y="17000"/>
                </a:cubicBezTo>
                <a:cubicBezTo>
                  <a:pt x="11281" y="17000"/>
                  <a:pt x="11281" y="17000"/>
                  <a:pt x="11281" y="17000"/>
                </a:cubicBezTo>
                <a:cubicBezTo>
                  <a:pt x="11312" y="17031"/>
                  <a:pt x="11375" y="17062"/>
                  <a:pt x="11312" y="17125"/>
                </a:cubicBezTo>
                <a:cubicBezTo>
                  <a:pt x="11312" y="17156"/>
                  <a:pt x="11281" y="17187"/>
                  <a:pt x="11343" y="17219"/>
                </a:cubicBezTo>
                <a:cubicBezTo>
                  <a:pt x="11375" y="17219"/>
                  <a:pt x="11406" y="17187"/>
                  <a:pt x="11406" y="17156"/>
                </a:cubicBezTo>
                <a:cubicBezTo>
                  <a:pt x="11437" y="17156"/>
                  <a:pt x="11468" y="17125"/>
                  <a:pt x="11437" y="17094"/>
                </a:cubicBezTo>
                <a:cubicBezTo>
                  <a:pt x="11375" y="17062"/>
                  <a:pt x="11406" y="17031"/>
                  <a:pt x="11437" y="16969"/>
                </a:cubicBezTo>
                <a:cubicBezTo>
                  <a:pt x="11312" y="17031"/>
                  <a:pt x="11281" y="16906"/>
                  <a:pt x="11187" y="16906"/>
                </a:cubicBezTo>
                <a:cubicBezTo>
                  <a:pt x="11250" y="16875"/>
                  <a:pt x="11281" y="16875"/>
                  <a:pt x="11312" y="16844"/>
                </a:cubicBezTo>
                <a:cubicBezTo>
                  <a:pt x="11281" y="16812"/>
                  <a:pt x="11250" y="16844"/>
                  <a:pt x="11218" y="16844"/>
                </a:cubicBezTo>
                <a:close/>
                <a:moveTo>
                  <a:pt x="3343" y="18844"/>
                </a:moveTo>
                <a:cubicBezTo>
                  <a:pt x="3593" y="18906"/>
                  <a:pt x="3843" y="18969"/>
                  <a:pt x="4093" y="19000"/>
                </a:cubicBezTo>
                <a:cubicBezTo>
                  <a:pt x="4093" y="19000"/>
                  <a:pt x="4093" y="19000"/>
                  <a:pt x="4093" y="18969"/>
                </a:cubicBezTo>
                <a:cubicBezTo>
                  <a:pt x="3593" y="18875"/>
                  <a:pt x="3093" y="18781"/>
                  <a:pt x="2562" y="18687"/>
                </a:cubicBezTo>
                <a:cubicBezTo>
                  <a:pt x="2812" y="18750"/>
                  <a:pt x="3062" y="18812"/>
                  <a:pt x="3343" y="18844"/>
                </a:cubicBezTo>
                <a:close/>
                <a:moveTo>
                  <a:pt x="1343" y="18344"/>
                </a:moveTo>
                <a:cubicBezTo>
                  <a:pt x="1343" y="18344"/>
                  <a:pt x="1343" y="18344"/>
                  <a:pt x="1343" y="18312"/>
                </a:cubicBezTo>
                <a:cubicBezTo>
                  <a:pt x="1343" y="18312"/>
                  <a:pt x="1343" y="18312"/>
                  <a:pt x="1343" y="18312"/>
                </a:cubicBezTo>
                <a:cubicBezTo>
                  <a:pt x="1343" y="18312"/>
                  <a:pt x="1343" y="18312"/>
                  <a:pt x="1343" y="18312"/>
                </a:cubicBezTo>
                <a:cubicBezTo>
                  <a:pt x="1343" y="18312"/>
                  <a:pt x="1375" y="18344"/>
                  <a:pt x="1375" y="18344"/>
                </a:cubicBezTo>
                <a:cubicBezTo>
                  <a:pt x="1375" y="18344"/>
                  <a:pt x="1343" y="18344"/>
                  <a:pt x="1343" y="18344"/>
                </a:cubicBezTo>
                <a:close/>
                <a:moveTo>
                  <a:pt x="3968" y="18094"/>
                </a:moveTo>
                <a:cubicBezTo>
                  <a:pt x="3906" y="18094"/>
                  <a:pt x="3843" y="18062"/>
                  <a:pt x="3781" y="18062"/>
                </a:cubicBezTo>
                <a:cubicBezTo>
                  <a:pt x="3562" y="18031"/>
                  <a:pt x="3375" y="17969"/>
                  <a:pt x="3156" y="17937"/>
                </a:cubicBezTo>
                <a:cubicBezTo>
                  <a:pt x="3093" y="17937"/>
                  <a:pt x="3000" y="17906"/>
                  <a:pt x="2937" y="17906"/>
                </a:cubicBezTo>
                <a:cubicBezTo>
                  <a:pt x="3093" y="17969"/>
                  <a:pt x="3250" y="18000"/>
                  <a:pt x="3406" y="18031"/>
                </a:cubicBezTo>
                <a:cubicBezTo>
                  <a:pt x="3531" y="18031"/>
                  <a:pt x="3687" y="18062"/>
                  <a:pt x="3812" y="18094"/>
                </a:cubicBezTo>
                <a:cubicBezTo>
                  <a:pt x="3968" y="18156"/>
                  <a:pt x="4156" y="18187"/>
                  <a:pt x="4281" y="18250"/>
                </a:cubicBezTo>
                <a:cubicBezTo>
                  <a:pt x="4312" y="18250"/>
                  <a:pt x="4312" y="18250"/>
                  <a:pt x="4312" y="18250"/>
                </a:cubicBezTo>
                <a:cubicBezTo>
                  <a:pt x="4312" y="18250"/>
                  <a:pt x="4312" y="18250"/>
                  <a:pt x="4312" y="18250"/>
                </a:cubicBezTo>
                <a:cubicBezTo>
                  <a:pt x="4312" y="18250"/>
                  <a:pt x="4312" y="18250"/>
                  <a:pt x="4281" y="18250"/>
                </a:cubicBezTo>
                <a:cubicBezTo>
                  <a:pt x="4281" y="18250"/>
                  <a:pt x="4281" y="18219"/>
                  <a:pt x="4281" y="18219"/>
                </a:cubicBezTo>
                <a:cubicBezTo>
                  <a:pt x="4187" y="18187"/>
                  <a:pt x="4062" y="18125"/>
                  <a:pt x="3968" y="18094"/>
                </a:cubicBezTo>
                <a:close/>
                <a:moveTo>
                  <a:pt x="5843" y="16687"/>
                </a:moveTo>
                <a:cubicBezTo>
                  <a:pt x="5968" y="16750"/>
                  <a:pt x="6093" y="16812"/>
                  <a:pt x="6218" y="16844"/>
                </a:cubicBezTo>
                <a:cubicBezTo>
                  <a:pt x="6312" y="16875"/>
                  <a:pt x="6406" y="16906"/>
                  <a:pt x="6500" y="16937"/>
                </a:cubicBezTo>
                <a:cubicBezTo>
                  <a:pt x="6593" y="16969"/>
                  <a:pt x="6656" y="17000"/>
                  <a:pt x="6750" y="17031"/>
                </a:cubicBezTo>
                <a:cubicBezTo>
                  <a:pt x="6750" y="17062"/>
                  <a:pt x="6781" y="17062"/>
                  <a:pt x="6781" y="17062"/>
                </a:cubicBezTo>
                <a:cubicBezTo>
                  <a:pt x="6812" y="17031"/>
                  <a:pt x="6781" y="17000"/>
                  <a:pt x="6781" y="17000"/>
                </a:cubicBezTo>
                <a:cubicBezTo>
                  <a:pt x="6593" y="16906"/>
                  <a:pt x="6375" y="16844"/>
                  <a:pt x="6187" y="16781"/>
                </a:cubicBezTo>
                <a:cubicBezTo>
                  <a:pt x="6093" y="16750"/>
                  <a:pt x="6000" y="16687"/>
                  <a:pt x="5875" y="16656"/>
                </a:cubicBezTo>
                <a:cubicBezTo>
                  <a:pt x="5781" y="16625"/>
                  <a:pt x="5718" y="16562"/>
                  <a:pt x="5625" y="16531"/>
                </a:cubicBezTo>
                <a:cubicBezTo>
                  <a:pt x="5625" y="16531"/>
                  <a:pt x="5625" y="16531"/>
                  <a:pt x="5625" y="16531"/>
                </a:cubicBezTo>
                <a:cubicBezTo>
                  <a:pt x="5593" y="16531"/>
                  <a:pt x="5593" y="16531"/>
                  <a:pt x="5593" y="16531"/>
                </a:cubicBezTo>
                <a:cubicBezTo>
                  <a:pt x="5562" y="16562"/>
                  <a:pt x="5593" y="16531"/>
                  <a:pt x="5593" y="16562"/>
                </a:cubicBezTo>
                <a:cubicBezTo>
                  <a:pt x="5687" y="16625"/>
                  <a:pt x="5750" y="16656"/>
                  <a:pt x="5843" y="16687"/>
                </a:cubicBezTo>
                <a:close/>
                <a:moveTo>
                  <a:pt x="1437" y="19781"/>
                </a:moveTo>
                <a:cubicBezTo>
                  <a:pt x="1562" y="19812"/>
                  <a:pt x="1687" y="19844"/>
                  <a:pt x="1812" y="19875"/>
                </a:cubicBezTo>
                <a:cubicBezTo>
                  <a:pt x="1968" y="19937"/>
                  <a:pt x="2125" y="19969"/>
                  <a:pt x="2250" y="20031"/>
                </a:cubicBezTo>
                <a:cubicBezTo>
                  <a:pt x="2312" y="20031"/>
                  <a:pt x="2312" y="20062"/>
                  <a:pt x="2375" y="20062"/>
                </a:cubicBezTo>
                <a:cubicBezTo>
                  <a:pt x="2375" y="20031"/>
                  <a:pt x="2375" y="20031"/>
                  <a:pt x="2343" y="20031"/>
                </a:cubicBezTo>
                <a:cubicBezTo>
                  <a:pt x="2218" y="19937"/>
                  <a:pt x="2062" y="19937"/>
                  <a:pt x="1937" y="19875"/>
                </a:cubicBezTo>
                <a:cubicBezTo>
                  <a:pt x="1750" y="19812"/>
                  <a:pt x="1593" y="19781"/>
                  <a:pt x="1437" y="19750"/>
                </a:cubicBezTo>
                <a:cubicBezTo>
                  <a:pt x="1250" y="19719"/>
                  <a:pt x="1062" y="19687"/>
                  <a:pt x="906" y="19656"/>
                </a:cubicBezTo>
                <a:cubicBezTo>
                  <a:pt x="875" y="19656"/>
                  <a:pt x="843" y="19625"/>
                  <a:pt x="843" y="19656"/>
                </a:cubicBezTo>
                <a:cubicBezTo>
                  <a:pt x="843" y="19687"/>
                  <a:pt x="875" y="19687"/>
                  <a:pt x="875" y="19687"/>
                </a:cubicBezTo>
                <a:cubicBezTo>
                  <a:pt x="1062" y="19719"/>
                  <a:pt x="1250" y="19750"/>
                  <a:pt x="1437" y="19781"/>
                </a:cubicBezTo>
                <a:close/>
                <a:moveTo>
                  <a:pt x="31" y="18969"/>
                </a:moveTo>
                <a:cubicBezTo>
                  <a:pt x="562" y="19062"/>
                  <a:pt x="1062" y="19125"/>
                  <a:pt x="1562" y="19219"/>
                </a:cubicBezTo>
                <a:cubicBezTo>
                  <a:pt x="1062" y="19094"/>
                  <a:pt x="562" y="19031"/>
                  <a:pt x="31" y="18969"/>
                </a:cubicBezTo>
                <a:close/>
                <a:moveTo>
                  <a:pt x="12562" y="16062"/>
                </a:moveTo>
                <a:cubicBezTo>
                  <a:pt x="12656" y="16125"/>
                  <a:pt x="12750" y="16187"/>
                  <a:pt x="12843" y="16250"/>
                </a:cubicBezTo>
                <a:cubicBezTo>
                  <a:pt x="12937" y="16281"/>
                  <a:pt x="13031" y="16312"/>
                  <a:pt x="13125" y="16344"/>
                </a:cubicBezTo>
                <a:cubicBezTo>
                  <a:pt x="13156" y="16344"/>
                  <a:pt x="13156" y="16375"/>
                  <a:pt x="13187" y="16344"/>
                </a:cubicBezTo>
                <a:cubicBezTo>
                  <a:pt x="13187" y="16312"/>
                  <a:pt x="13156" y="16312"/>
                  <a:pt x="13125" y="16312"/>
                </a:cubicBezTo>
                <a:cubicBezTo>
                  <a:pt x="13093" y="16281"/>
                  <a:pt x="13062" y="16281"/>
                  <a:pt x="13000" y="16250"/>
                </a:cubicBezTo>
                <a:cubicBezTo>
                  <a:pt x="12937" y="16219"/>
                  <a:pt x="12875" y="16156"/>
                  <a:pt x="12812" y="16094"/>
                </a:cubicBezTo>
                <a:cubicBezTo>
                  <a:pt x="12718" y="16062"/>
                  <a:pt x="12625" y="16000"/>
                  <a:pt x="12531" y="15969"/>
                </a:cubicBezTo>
                <a:cubicBezTo>
                  <a:pt x="12531" y="15937"/>
                  <a:pt x="12531" y="15969"/>
                  <a:pt x="12531" y="15969"/>
                </a:cubicBezTo>
                <a:cubicBezTo>
                  <a:pt x="12468" y="16031"/>
                  <a:pt x="12531" y="16062"/>
                  <a:pt x="12562" y="16062"/>
                </a:cubicBezTo>
                <a:close/>
                <a:moveTo>
                  <a:pt x="9656" y="18312"/>
                </a:moveTo>
                <a:cubicBezTo>
                  <a:pt x="9500" y="18312"/>
                  <a:pt x="9375" y="18250"/>
                  <a:pt x="9250" y="18219"/>
                </a:cubicBezTo>
                <a:cubicBezTo>
                  <a:pt x="9125" y="18156"/>
                  <a:pt x="9000" y="18062"/>
                  <a:pt x="8875" y="18000"/>
                </a:cubicBezTo>
                <a:cubicBezTo>
                  <a:pt x="8843" y="18000"/>
                  <a:pt x="8812" y="17937"/>
                  <a:pt x="8718" y="17969"/>
                </a:cubicBezTo>
                <a:cubicBezTo>
                  <a:pt x="8843" y="18031"/>
                  <a:pt x="8906" y="18062"/>
                  <a:pt x="9000" y="18125"/>
                </a:cubicBezTo>
                <a:cubicBezTo>
                  <a:pt x="9031" y="18156"/>
                  <a:pt x="9062" y="18156"/>
                  <a:pt x="9062" y="18187"/>
                </a:cubicBezTo>
                <a:cubicBezTo>
                  <a:pt x="9218" y="18219"/>
                  <a:pt x="9343" y="18281"/>
                  <a:pt x="9500" y="18312"/>
                </a:cubicBezTo>
                <a:cubicBezTo>
                  <a:pt x="9625" y="18375"/>
                  <a:pt x="9781" y="18406"/>
                  <a:pt x="9937" y="18469"/>
                </a:cubicBezTo>
                <a:cubicBezTo>
                  <a:pt x="9937" y="18500"/>
                  <a:pt x="9968" y="18500"/>
                  <a:pt x="10000" y="18500"/>
                </a:cubicBezTo>
                <a:cubicBezTo>
                  <a:pt x="10000" y="18469"/>
                  <a:pt x="9968" y="18437"/>
                  <a:pt x="9937" y="18437"/>
                </a:cubicBezTo>
                <a:cubicBezTo>
                  <a:pt x="9843" y="18406"/>
                  <a:pt x="9750" y="18344"/>
                  <a:pt x="9656" y="18312"/>
                </a:cubicBezTo>
                <a:close/>
                <a:moveTo>
                  <a:pt x="4125" y="16187"/>
                </a:moveTo>
                <a:cubicBezTo>
                  <a:pt x="4218" y="16219"/>
                  <a:pt x="4312" y="16219"/>
                  <a:pt x="4406" y="16250"/>
                </a:cubicBezTo>
                <a:cubicBezTo>
                  <a:pt x="4625" y="16281"/>
                  <a:pt x="4812" y="16344"/>
                  <a:pt x="5031" y="16406"/>
                </a:cubicBezTo>
                <a:cubicBezTo>
                  <a:pt x="5156" y="16469"/>
                  <a:pt x="5312" y="16500"/>
                  <a:pt x="5437" y="16594"/>
                </a:cubicBezTo>
                <a:cubicBezTo>
                  <a:pt x="5468" y="16594"/>
                  <a:pt x="5500" y="16594"/>
                  <a:pt x="5500" y="16594"/>
                </a:cubicBezTo>
                <a:cubicBezTo>
                  <a:pt x="5500" y="16562"/>
                  <a:pt x="5500" y="16562"/>
                  <a:pt x="5468" y="16531"/>
                </a:cubicBezTo>
                <a:cubicBezTo>
                  <a:pt x="5312" y="16500"/>
                  <a:pt x="5187" y="16437"/>
                  <a:pt x="5031" y="16375"/>
                </a:cubicBezTo>
                <a:cubicBezTo>
                  <a:pt x="4781" y="16281"/>
                  <a:pt x="4562" y="16219"/>
                  <a:pt x="4312" y="16187"/>
                </a:cubicBezTo>
                <a:cubicBezTo>
                  <a:pt x="4250" y="16156"/>
                  <a:pt x="4187" y="16125"/>
                  <a:pt x="4125" y="16156"/>
                </a:cubicBezTo>
                <a:cubicBezTo>
                  <a:pt x="4125" y="16156"/>
                  <a:pt x="4125" y="16156"/>
                  <a:pt x="4125" y="16125"/>
                </a:cubicBezTo>
                <a:cubicBezTo>
                  <a:pt x="4093" y="16125"/>
                  <a:pt x="4093" y="16125"/>
                  <a:pt x="4093" y="16125"/>
                </a:cubicBezTo>
                <a:cubicBezTo>
                  <a:pt x="4031" y="16125"/>
                  <a:pt x="4000" y="16125"/>
                  <a:pt x="3937" y="16125"/>
                </a:cubicBezTo>
                <a:cubicBezTo>
                  <a:pt x="4000" y="16187"/>
                  <a:pt x="4062" y="16187"/>
                  <a:pt x="4093" y="16187"/>
                </a:cubicBezTo>
                <a:cubicBezTo>
                  <a:pt x="4125" y="16187"/>
                  <a:pt x="4125" y="16187"/>
                  <a:pt x="4125" y="16187"/>
                </a:cubicBezTo>
                <a:close/>
                <a:moveTo>
                  <a:pt x="11312" y="13375"/>
                </a:moveTo>
                <a:cubicBezTo>
                  <a:pt x="11312" y="13375"/>
                  <a:pt x="11312" y="13375"/>
                  <a:pt x="11312" y="13375"/>
                </a:cubicBezTo>
                <a:cubicBezTo>
                  <a:pt x="11312" y="13375"/>
                  <a:pt x="11312" y="13375"/>
                  <a:pt x="11312" y="13375"/>
                </a:cubicBezTo>
                <a:close/>
                <a:moveTo>
                  <a:pt x="11312" y="13781"/>
                </a:moveTo>
                <a:cubicBezTo>
                  <a:pt x="11312" y="13781"/>
                  <a:pt x="11312" y="13781"/>
                  <a:pt x="11312" y="13781"/>
                </a:cubicBezTo>
                <a:close/>
                <a:moveTo>
                  <a:pt x="11062" y="13437"/>
                </a:moveTo>
                <a:cubicBezTo>
                  <a:pt x="11062" y="13437"/>
                  <a:pt x="11062" y="13437"/>
                  <a:pt x="11062" y="13437"/>
                </a:cubicBezTo>
                <a:close/>
                <a:moveTo>
                  <a:pt x="62" y="18375"/>
                </a:moveTo>
                <a:cubicBezTo>
                  <a:pt x="125" y="18375"/>
                  <a:pt x="187" y="18375"/>
                  <a:pt x="250" y="18375"/>
                </a:cubicBezTo>
                <a:cubicBezTo>
                  <a:pt x="437" y="18406"/>
                  <a:pt x="625" y="18406"/>
                  <a:pt x="812" y="18437"/>
                </a:cubicBezTo>
                <a:cubicBezTo>
                  <a:pt x="875" y="18469"/>
                  <a:pt x="968" y="18437"/>
                  <a:pt x="1000" y="18500"/>
                </a:cubicBezTo>
                <a:cubicBezTo>
                  <a:pt x="968" y="18531"/>
                  <a:pt x="906" y="18469"/>
                  <a:pt x="843" y="18531"/>
                </a:cubicBezTo>
                <a:cubicBezTo>
                  <a:pt x="906" y="18531"/>
                  <a:pt x="968" y="18562"/>
                  <a:pt x="1031" y="18562"/>
                </a:cubicBezTo>
                <a:cubicBezTo>
                  <a:pt x="1062" y="18562"/>
                  <a:pt x="1093" y="18594"/>
                  <a:pt x="1125" y="18562"/>
                </a:cubicBezTo>
                <a:cubicBezTo>
                  <a:pt x="1125" y="18500"/>
                  <a:pt x="1062" y="18531"/>
                  <a:pt x="1031" y="18500"/>
                </a:cubicBezTo>
                <a:cubicBezTo>
                  <a:pt x="1093" y="18469"/>
                  <a:pt x="1125" y="18500"/>
                  <a:pt x="1187" y="18500"/>
                </a:cubicBezTo>
                <a:cubicBezTo>
                  <a:pt x="1218" y="18500"/>
                  <a:pt x="1218" y="18500"/>
                  <a:pt x="1250" y="18469"/>
                </a:cubicBezTo>
                <a:cubicBezTo>
                  <a:pt x="1250" y="18437"/>
                  <a:pt x="1218" y="18437"/>
                  <a:pt x="1187" y="18437"/>
                </a:cubicBezTo>
                <a:cubicBezTo>
                  <a:pt x="1156" y="18406"/>
                  <a:pt x="1093" y="18406"/>
                  <a:pt x="1062" y="18406"/>
                </a:cubicBezTo>
                <a:cubicBezTo>
                  <a:pt x="1031" y="18406"/>
                  <a:pt x="1031" y="18406"/>
                  <a:pt x="1031" y="18406"/>
                </a:cubicBezTo>
                <a:cubicBezTo>
                  <a:pt x="1031" y="18406"/>
                  <a:pt x="1000" y="18406"/>
                  <a:pt x="1000" y="18406"/>
                </a:cubicBezTo>
                <a:cubicBezTo>
                  <a:pt x="1000" y="18406"/>
                  <a:pt x="1000" y="18406"/>
                  <a:pt x="1000" y="18406"/>
                </a:cubicBezTo>
                <a:cubicBezTo>
                  <a:pt x="1000" y="18406"/>
                  <a:pt x="1000" y="18406"/>
                  <a:pt x="1000" y="18406"/>
                </a:cubicBezTo>
                <a:cubicBezTo>
                  <a:pt x="1000" y="18406"/>
                  <a:pt x="968" y="18406"/>
                  <a:pt x="968" y="18406"/>
                </a:cubicBezTo>
                <a:cubicBezTo>
                  <a:pt x="937" y="18406"/>
                  <a:pt x="906" y="18406"/>
                  <a:pt x="875" y="18375"/>
                </a:cubicBezTo>
                <a:cubicBezTo>
                  <a:pt x="843" y="18375"/>
                  <a:pt x="812" y="18375"/>
                  <a:pt x="781" y="18375"/>
                </a:cubicBezTo>
                <a:cubicBezTo>
                  <a:pt x="593" y="18375"/>
                  <a:pt x="406" y="18312"/>
                  <a:pt x="218" y="18312"/>
                </a:cubicBezTo>
                <a:cubicBezTo>
                  <a:pt x="187" y="18312"/>
                  <a:pt x="156" y="18281"/>
                  <a:pt x="156" y="18312"/>
                </a:cubicBezTo>
                <a:cubicBezTo>
                  <a:pt x="125" y="18312"/>
                  <a:pt x="125" y="18312"/>
                  <a:pt x="93" y="18312"/>
                </a:cubicBezTo>
                <a:cubicBezTo>
                  <a:pt x="93" y="18312"/>
                  <a:pt x="62" y="18312"/>
                  <a:pt x="62" y="18281"/>
                </a:cubicBezTo>
                <a:cubicBezTo>
                  <a:pt x="218" y="18281"/>
                  <a:pt x="343" y="18281"/>
                  <a:pt x="500" y="18312"/>
                </a:cubicBezTo>
                <a:cubicBezTo>
                  <a:pt x="625" y="18312"/>
                  <a:pt x="750" y="18312"/>
                  <a:pt x="906" y="18344"/>
                </a:cubicBezTo>
                <a:cubicBezTo>
                  <a:pt x="937" y="18375"/>
                  <a:pt x="937" y="18344"/>
                  <a:pt x="968" y="18344"/>
                </a:cubicBezTo>
                <a:cubicBezTo>
                  <a:pt x="1000" y="18344"/>
                  <a:pt x="1000" y="18344"/>
                  <a:pt x="1000" y="18344"/>
                </a:cubicBezTo>
                <a:cubicBezTo>
                  <a:pt x="1000" y="18312"/>
                  <a:pt x="1000" y="18312"/>
                  <a:pt x="968" y="18312"/>
                </a:cubicBezTo>
                <a:cubicBezTo>
                  <a:pt x="875" y="18312"/>
                  <a:pt x="750" y="18281"/>
                  <a:pt x="656" y="18281"/>
                </a:cubicBezTo>
                <a:cubicBezTo>
                  <a:pt x="500" y="18281"/>
                  <a:pt x="375" y="18250"/>
                  <a:pt x="250" y="18250"/>
                </a:cubicBezTo>
                <a:cubicBezTo>
                  <a:pt x="218" y="18250"/>
                  <a:pt x="218" y="18250"/>
                  <a:pt x="218" y="18219"/>
                </a:cubicBezTo>
                <a:cubicBezTo>
                  <a:pt x="312" y="18187"/>
                  <a:pt x="437" y="18219"/>
                  <a:pt x="531" y="18219"/>
                </a:cubicBezTo>
                <a:cubicBezTo>
                  <a:pt x="687" y="18250"/>
                  <a:pt x="843" y="18250"/>
                  <a:pt x="968" y="18281"/>
                </a:cubicBezTo>
                <a:cubicBezTo>
                  <a:pt x="1000" y="18281"/>
                  <a:pt x="1031" y="18281"/>
                  <a:pt x="1031" y="18250"/>
                </a:cubicBezTo>
                <a:cubicBezTo>
                  <a:pt x="1062" y="18219"/>
                  <a:pt x="1000" y="18219"/>
                  <a:pt x="1000" y="18219"/>
                </a:cubicBezTo>
                <a:cubicBezTo>
                  <a:pt x="750" y="18187"/>
                  <a:pt x="500" y="18156"/>
                  <a:pt x="281" y="18156"/>
                </a:cubicBezTo>
                <a:cubicBezTo>
                  <a:pt x="187" y="18156"/>
                  <a:pt x="125" y="18156"/>
                  <a:pt x="62" y="18187"/>
                </a:cubicBezTo>
                <a:cubicBezTo>
                  <a:pt x="31" y="18187"/>
                  <a:pt x="31" y="18219"/>
                  <a:pt x="31" y="18219"/>
                </a:cubicBezTo>
                <a:cubicBezTo>
                  <a:pt x="31" y="18250"/>
                  <a:pt x="31" y="18281"/>
                  <a:pt x="31" y="18344"/>
                </a:cubicBezTo>
                <a:cubicBezTo>
                  <a:pt x="31" y="18375"/>
                  <a:pt x="31" y="18375"/>
                  <a:pt x="62" y="18375"/>
                </a:cubicBezTo>
                <a:close/>
                <a:moveTo>
                  <a:pt x="1687" y="19594"/>
                </a:moveTo>
                <a:cubicBezTo>
                  <a:pt x="1468" y="19531"/>
                  <a:pt x="1218" y="19500"/>
                  <a:pt x="968" y="19469"/>
                </a:cubicBezTo>
                <a:cubicBezTo>
                  <a:pt x="843" y="19437"/>
                  <a:pt x="656" y="19437"/>
                  <a:pt x="531" y="19406"/>
                </a:cubicBezTo>
                <a:cubicBezTo>
                  <a:pt x="468" y="19406"/>
                  <a:pt x="406" y="19375"/>
                  <a:pt x="343" y="19375"/>
                </a:cubicBezTo>
                <a:cubicBezTo>
                  <a:pt x="250" y="19344"/>
                  <a:pt x="125" y="19344"/>
                  <a:pt x="31" y="19344"/>
                </a:cubicBezTo>
                <a:cubicBezTo>
                  <a:pt x="31" y="19344"/>
                  <a:pt x="31" y="19375"/>
                  <a:pt x="31" y="19375"/>
                </a:cubicBezTo>
                <a:cubicBezTo>
                  <a:pt x="687" y="19437"/>
                  <a:pt x="1343" y="19531"/>
                  <a:pt x="2000" y="19687"/>
                </a:cubicBezTo>
                <a:cubicBezTo>
                  <a:pt x="1906" y="19656"/>
                  <a:pt x="1781" y="19625"/>
                  <a:pt x="1687" y="19594"/>
                </a:cubicBezTo>
                <a:close/>
                <a:moveTo>
                  <a:pt x="6843" y="20437"/>
                </a:moveTo>
                <a:cubicBezTo>
                  <a:pt x="6750" y="20437"/>
                  <a:pt x="6625" y="20406"/>
                  <a:pt x="6531" y="20375"/>
                </a:cubicBezTo>
                <a:cubicBezTo>
                  <a:pt x="6343" y="20312"/>
                  <a:pt x="6187" y="20219"/>
                  <a:pt x="5968" y="20187"/>
                </a:cubicBezTo>
                <a:cubicBezTo>
                  <a:pt x="5781" y="20125"/>
                  <a:pt x="5531" y="20156"/>
                  <a:pt x="5343" y="20125"/>
                </a:cubicBezTo>
                <a:cubicBezTo>
                  <a:pt x="5500" y="20187"/>
                  <a:pt x="5656" y="20156"/>
                  <a:pt x="5843" y="20187"/>
                </a:cubicBezTo>
                <a:cubicBezTo>
                  <a:pt x="5906" y="20187"/>
                  <a:pt x="5937" y="20219"/>
                  <a:pt x="6000" y="20219"/>
                </a:cubicBezTo>
                <a:cubicBezTo>
                  <a:pt x="6125" y="20250"/>
                  <a:pt x="6218" y="20312"/>
                  <a:pt x="6343" y="20344"/>
                </a:cubicBezTo>
                <a:cubicBezTo>
                  <a:pt x="6656" y="20469"/>
                  <a:pt x="7031" y="20531"/>
                  <a:pt x="7375" y="20594"/>
                </a:cubicBezTo>
                <a:cubicBezTo>
                  <a:pt x="7375" y="20594"/>
                  <a:pt x="7406" y="20625"/>
                  <a:pt x="7406" y="20594"/>
                </a:cubicBezTo>
                <a:cubicBezTo>
                  <a:pt x="7375" y="20562"/>
                  <a:pt x="7312" y="20562"/>
                  <a:pt x="7250" y="20562"/>
                </a:cubicBezTo>
                <a:cubicBezTo>
                  <a:pt x="7125" y="20531"/>
                  <a:pt x="6968" y="20469"/>
                  <a:pt x="6843" y="20437"/>
                </a:cubicBezTo>
                <a:close/>
                <a:moveTo>
                  <a:pt x="9125" y="19219"/>
                </a:moveTo>
                <a:cubicBezTo>
                  <a:pt x="9250" y="19281"/>
                  <a:pt x="9406" y="19312"/>
                  <a:pt x="9531" y="19344"/>
                </a:cubicBezTo>
                <a:cubicBezTo>
                  <a:pt x="9781" y="19437"/>
                  <a:pt x="10000" y="19531"/>
                  <a:pt x="10218" y="19656"/>
                </a:cubicBezTo>
                <a:cubicBezTo>
                  <a:pt x="10250" y="19687"/>
                  <a:pt x="10281" y="19687"/>
                  <a:pt x="10312" y="19719"/>
                </a:cubicBezTo>
                <a:cubicBezTo>
                  <a:pt x="10312" y="19719"/>
                  <a:pt x="10343" y="19719"/>
                  <a:pt x="10343" y="19687"/>
                </a:cubicBezTo>
                <a:cubicBezTo>
                  <a:pt x="10343" y="19687"/>
                  <a:pt x="10343" y="19687"/>
                  <a:pt x="10343" y="19687"/>
                </a:cubicBezTo>
                <a:cubicBezTo>
                  <a:pt x="10312" y="19656"/>
                  <a:pt x="10312" y="19656"/>
                  <a:pt x="10281" y="19625"/>
                </a:cubicBezTo>
                <a:cubicBezTo>
                  <a:pt x="10062" y="19500"/>
                  <a:pt x="9812" y="19375"/>
                  <a:pt x="9531" y="19312"/>
                </a:cubicBezTo>
                <a:cubicBezTo>
                  <a:pt x="9312" y="19281"/>
                  <a:pt x="9093" y="19125"/>
                  <a:pt x="8875" y="19031"/>
                </a:cubicBezTo>
                <a:cubicBezTo>
                  <a:pt x="8843" y="19031"/>
                  <a:pt x="8812" y="19000"/>
                  <a:pt x="8750" y="19031"/>
                </a:cubicBezTo>
                <a:cubicBezTo>
                  <a:pt x="8781" y="19031"/>
                  <a:pt x="8843" y="19062"/>
                  <a:pt x="8875" y="19062"/>
                </a:cubicBezTo>
                <a:cubicBezTo>
                  <a:pt x="8968" y="19125"/>
                  <a:pt x="9031" y="19156"/>
                  <a:pt x="9125" y="19219"/>
                </a:cubicBezTo>
                <a:close/>
                <a:moveTo>
                  <a:pt x="9062" y="18969"/>
                </a:moveTo>
                <a:cubicBezTo>
                  <a:pt x="9062" y="18969"/>
                  <a:pt x="9062" y="18969"/>
                  <a:pt x="9062" y="18969"/>
                </a:cubicBezTo>
                <a:cubicBezTo>
                  <a:pt x="9062" y="18969"/>
                  <a:pt x="9062" y="18969"/>
                  <a:pt x="9062" y="18969"/>
                </a:cubicBezTo>
                <a:close/>
                <a:moveTo>
                  <a:pt x="10093" y="13219"/>
                </a:move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ubicBezTo>
                  <a:pt x="10093" y="13219"/>
                  <a:pt x="10093" y="13219"/>
                  <a:pt x="10093" y="13219"/>
                </a:cubicBezTo>
                <a:close/>
                <a:moveTo>
                  <a:pt x="6687" y="16469"/>
                </a:moveTo>
                <a:cubicBezTo>
                  <a:pt x="6562" y="16437"/>
                  <a:pt x="6468" y="16375"/>
                  <a:pt x="6375" y="16344"/>
                </a:cubicBezTo>
                <a:cubicBezTo>
                  <a:pt x="6187" y="16281"/>
                  <a:pt x="6000" y="16219"/>
                  <a:pt x="5812" y="16125"/>
                </a:cubicBezTo>
                <a:cubicBezTo>
                  <a:pt x="5656" y="16062"/>
                  <a:pt x="5531" y="16000"/>
                  <a:pt x="5375" y="15937"/>
                </a:cubicBezTo>
                <a:cubicBezTo>
                  <a:pt x="5312" y="15906"/>
                  <a:pt x="5250" y="15875"/>
                  <a:pt x="5187" y="15875"/>
                </a:cubicBezTo>
                <a:cubicBezTo>
                  <a:pt x="5062" y="15844"/>
                  <a:pt x="4968" y="15812"/>
                  <a:pt x="4843" y="15750"/>
                </a:cubicBezTo>
                <a:cubicBezTo>
                  <a:pt x="4812" y="15750"/>
                  <a:pt x="4781" y="15750"/>
                  <a:pt x="4750" y="15750"/>
                </a:cubicBezTo>
                <a:cubicBezTo>
                  <a:pt x="4781" y="15812"/>
                  <a:pt x="4843" y="15812"/>
                  <a:pt x="4906" y="15844"/>
                </a:cubicBezTo>
                <a:cubicBezTo>
                  <a:pt x="5125" y="15906"/>
                  <a:pt x="5312" y="15969"/>
                  <a:pt x="5531" y="16062"/>
                </a:cubicBezTo>
                <a:cubicBezTo>
                  <a:pt x="5687" y="16125"/>
                  <a:pt x="5843" y="16187"/>
                  <a:pt x="6000" y="16250"/>
                </a:cubicBezTo>
                <a:cubicBezTo>
                  <a:pt x="6156" y="16344"/>
                  <a:pt x="6312" y="16375"/>
                  <a:pt x="6468" y="16437"/>
                </a:cubicBezTo>
                <a:cubicBezTo>
                  <a:pt x="6531" y="16469"/>
                  <a:pt x="6625" y="16500"/>
                  <a:pt x="6718" y="16500"/>
                </a:cubicBezTo>
                <a:cubicBezTo>
                  <a:pt x="6718" y="16469"/>
                  <a:pt x="6687" y="16469"/>
                  <a:pt x="6687" y="16469"/>
                </a:cubicBezTo>
                <a:close/>
                <a:moveTo>
                  <a:pt x="6718" y="16500"/>
                </a:moveTo>
                <a:cubicBezTo>
                  <a:pt x="6718" y="16531"/>
                  <a:pt x="6718" y="16531"/>
                  <a:pt x="6750" y="16531"/>
                </a:cubicBezTo>
                <a:cubicBezTo>
                  <a:pt x="6875" y="16594"/>
                  <a:pt x="7000" y="16656"/>
                  <a:pt x="7125" y="16687"/>
                </a:cubicBezTo>
                <a:cubicBezTo>
                  <a:pt x="7187" y="16719"/>
                  <a:pt x="7218" y="16719"/>
                  <a:pt x="7187" y="16781"/>
                </a:cubicBezTo>
                <a:cubicBezTo>
                  <a:pt x="7125" y="16812"/>
                  <a:pt x="7093" y="16750"/>
                  <a:pt x="7062" y="16719"/>
                </a:cubicBezTo>
                <a:cubicBezTo>
                  <a:pt x="6906" y="16687"/>
                  <a:pt x="6750" y="16625"/>
                  <a:pt x="6593" y="16562"/>
                </a:cubicBezTo>
                <a:cubicBezTo>
                  <a:pt x="6468" y="16500"/>
                  <a:pt x="6343" y="16469"/>
                  <a:pt x="6218" y="16406"/>
                </a:cubicBezTo>
                <a:cubicBezTo>
                  <a:pt x="6125" y="16375"/>
                  <a:pt x="6031" y="16344"/>
                  <a:pt x="5937" y="16312"/>
                </a:cubicBezTo>
                <a:cubicBezTo>
                  <a:pt x="5812" y="16219"/>
                  <a:pt x="5656" y="16187"/>
                  <a:pt x="5531" y="16125"/>
                </a:cubicBezTo>
                <a:cubicBezTo>
                  <a:pt x="5406" y="16062"/>
                  <a:pt x="5250" y="16000"/>
                  <a:pt x="5093" y="15969"/>
                </a:cubicBezTo>
                <a:cubicBezTo>
                  <a:pt x="4968" y="15937"/>
                  <a:pt x="4875" y="15875"/>
                  <a:pt x="4781" y="15844"/>
                </a:cubicBezTo>
                <a:cubicBezTo>
                  <a:pt x="4531" y="15781"/>
                  <a:pt x="4312" y="15750"/>
                  <a:pt x="4062" y="15719"/>
                </a:cubicBezTo>
                <a:cubicBezTo>
                  <a:pt x="3937" y="15719"/>
                  <a:pt x="3843" y="15719"/>
                  <a:pt x="3718" y="15750"/>
                </a:cubicBezTo>
                <a:lnTo>
                  <a:pt x="3718" y="15750"/>
                </a:lnTo>
                <a:cubicBezTo>
                  <a:pt x="3656" y="15750"/>
                  <a:pt x="3625" y="15750"/>
                  <a:pt x="3562" y="15781"/>
                </a:cubicBezTo>
                <a:cubicBezTo>
                  <a:pt x="3531" y="15812"/>
                  <a:pt x="3531" y="15812"/>
                  <a:pt x="3531" y="15844"/>
                </a:cubicBezTo>
                <a:cubicBezTo>
                  <a:pt x="3562" y="15844"/>
                  <a:pt x="3562" y="15844"/>
                  <a:pt x="3593" y="15844"/>
                </a:cubicBezTo>
                <a:cubicBezTo>
                  <a:pt x="3625" y="15844"/>
                  <a:pt x="3656" y="15844"/>
                  <a:pt x="3718" y="15844"/>
                </a:cubicBezTo>
                <a:cubicBezTo>
                  <a:pt x="3750" y="15844"/>
                  <a:pt x="3750" y="15844"/>
                  <a:pt x="3750" y="15781"/>
                </a:cubicBezTo>
                <a:cubicBezTo>
                  <a:pt x="3750" y="15781"/>
                  <a:pt x="3750" y="15781"/>
                  <a:pt x="3750" y="15750"/>
                </a:cubicBezTo>
                <a:cubicBezTo>
                  <a:pt x="3781" y="15750"/>
                  <a:pt x="3812" y="15781"/>
                  <a:pt x="3843" y="15781"/>
                </a:cubicBezTo>
                <a:cubicBezTo>
                  <a:pt x="3937" y="15750"/>
                  <a:pt x="4031" y="15750"/>
                  <a:pt x="4125" y="15781"/>
                </a:cubicBezTo>
                <a:cubicBezTo>
                  <a:pt x="4250" y="15781"/>
                  <a:pt x="4375" y="15844"/>
                  <a:pt x="4531" y="15844"/>
                </a:cubicBezTo>
                <a:cubicBezTo>
                  <a:pt x="4562" y="15844"/>
                  <a:pt x="4625" y="15875"/>
                  <a:pt x="4625" y="15906"/>
                </a:cubicBezTo>
                <a:cubicBezTo>
                  <a:pt x="4625" y="15937"/>
                  <a:pt x="4562" y="15937"/>
                  <a:pt x="4625" y="15969"/>
                </a:cubicBezTo>
                <a:cubicBezTo>
                  <a:pt x="4625" y="15969"/>
                  <a:pt x="4656" y="15969"/>
                  <a:pt x="4687" y="15969"/>
                </a:cubicBezTo>
                <a:cubicBezTo>
                  <a:pt x="4906" y="16031"/>
                  <a:pt x="5093" y="16125"/>
                  <a:pt x="5312" y="16219"/>
                </a:cubicBezTo>
                <a:cubicBezTo>
                  <a:pt x="5437" y="16250"/>
                  <a:pt x="5562" y="16344"/>
                  <a:pt x="5687" y="16375"/>
                </a:cubicBezTo>
                <a:cubicBezTo>
                  <a:pt x="5687" y="16375"/>
                  <a:pt x="5687" y="16375"/>
                  <a:pt x="5687" y="16375"/>
                </a:cubicBezTo>
                <a:cubicBezTo>
                  <a:pt x="5687" y="16375"/>
                  <a:pt x="5718" y="16375"/>
                  <a:pt x="5718" y="16375"/>
                </a:cubicBezTo>
                <a:cubicBezTo>
                  <a:pt x="5843" y="16437"/>
                  <a:pt x="5937" y="16500"/>
                  <a:pt x="6062" y="16562"/>
                </a:cubicBezTo>
                <a:cubicBezTo>
                  <a:pt x="6156" y="16594"/>
                  <a:pt x="6250" y="16625"/>
                  <a:pt x="6343" y="16625"/>
                </a:cubicBezTo>
                <a:cubicBezTo>
                  <a:pt x="6406" y="16656"/>
                  <a:pt x="6437" y="16656"/>
                  <a:pt x="6468" y="16687"/>
                </a:cubicBezTo>
                <a:cubicBezTo>
                  <a:pt x="6531" y="16687"/>
                  <a:pt x="6593" y="16750"/>
                  <a:pt x="6687" y="16750"/>
                </a:cubicBezTo>
                <a:cubicBezTo>
                  <a:pt x="6687" y="16750"/>
                  <a:pt x="6687" y="16750"/>
                  <a:pt x="6687" y="16750"/>
                </a:cubicBezTo>
                <a:cubicBezTo>
                  <a:pt x="6718" y="16781"/>
                  <a:pt x="6781" y="16781"/>
                  <a:pt x="6812" y="16812"/>
                </a:cubicBezTo>
                <a:cubicBezTo>
                  <a:pt x="6812" y="16750"/>
                  <a:pt x="6750" y="16719"/>
                  <a:pt x="6687" y="16719"/>
                </a:cubicBezTo>
                <a:cubicBezTo>
                  <a:pt x="6687" y="16719"/>
                  <a:pt x="6687" y="16719"/>
                  <a:pt x="6687" y="16719"/>
                </a:cubicBezTo>
                <a:cubicBezTo>
                  <a:pt x="6687" y="16719"/>
                  <a:pt x="6687" y="16719"/>
                  <a:pt x="6656" y="16719"/>
                </a:cubicBezTo>
                <a:cubicBezTo>
                  <a:pt x="6593" y="16687"/>
                  <a:pt x="6500" y="16625"/>
                  <a:pt x="6406" y="16594"/>
                </a:cubicBezTo>
                <a:cubicBezTo>
                  <a:pt x="6250" y="16562"/>
                  <a:pt x="6093" y="16500"/>
                  <a:pt x="5968" y="16437"/>
                </a:cubicBezTo>
                <a:cubicBezTo>
                  <a:pt x="5875" y="16406"/>
                  <a:pt x="5812" y="16344"/>
                  <a:pt x="5718" y="16344"/>
                </a:cubicBezTo>
                <a:cubicBezTo>
                  <a:pt x="5718" y="16344"/>
                  <a:pt x="5718" y="16344"/>
                  <a:pt x="5718" y="16344"/>
                </a:cubicBezTo>
                <a:cubicBezTo>
                  <a:pt x="5687" y="16344"/>
                  <a:pt x="5687" y="16312"/>
                  <a:pt x="5687" y="16312"/>
                </a:cubicBezTo>
                <a:cubicBezTo>
                  <a:pt x="5531" y="16250"/>
                  <a:pt x="5375" y="16187"/>
                  <a:pt x="5218" y="16125"/>
                </a:cubicBezTo>
                <a:cubicBezTo>
                  <a:pt x="5156" y="16094"/>
                  <a:pt x="5093" y="16094"/>
                  <a:pt x="5031" y="16031"/>
                </a:cubicBezTo>
                <a:cubicBezTo>
                  <a:pt x="5062" y="16031"/>
                  <a:pt x="5093" y="16031"/>
                  <a:pt x="5125" y="16031"/>
                </a:cubicBezTo>
                <a:cubicBezTo>
                  <a:pt x="5125" y="16062"/>
                  <a:pt x="5125" y="16062"/>
                  <a:pt x="5156" y="16062"/>
                </a:cubicBezTo>
                <a:cubicBezTo>
                  <a:pt x="5375" y="16125"/>
                  <a:pt x="5562" y="16219"/>
                  <a:pt x="5781" y="16312"/>
                </a:cubicBezTo>
                <a:cubicBezTo>
                  <a:pt x="6000" y="16406"/>
                  <a:pt x="6250" y="16500"/>
                  <a:pt x="6500" y="16594"/>
                </a:cubicBezTo>
                <a:cubicBezTo>
                  <a:pt x="6625" y="16625"/>
                  <a:pt x="6750" y="16656"/>
                  <a:pt x="6875" y="16719"/>
                </a:cubicBezTo>
                <a:cubicBezTo>
                  <a:pt x="7062" y="16812"/>
                  <a:pt x="7250" y="16875"/>
                  <a:pt x="7437" y="16937"/>
                </a:cubicBezTo>
                <a:cubicBezTo>
                  <a:pt x="7562" y="17000"/>
                  <a:pt x="7656" y="17000"/>
                  <a:pt x="7781" y="17062"/>
                </a:cubicBezTo>
                <a:cubicBezTo>
                  <a:pt x="7781" y="17062"/>
                  <a:pt x="7812" y="17062"/>
                  <a:pt x="7812" y="17062"/>
                </a:cubicBezTo>
                <a:cubicBezTo>
                  <a:pt x="7812" y="17031"/>
                  <a:pt x="7812" y="17000"/>
                  <a:pt x="7781" y="17000"/>
                </a:cubicBezTo>
                <a:cubicBezTo>
                  <a:pt x="7625" y="16969"/>
                  <a:pt x="7500" y="16875"/>
                  <a:pt x="7343" y="16844"/>
                </a:cubicBezTo>
                <a:cubicBezTo>
                  <a:pt x="7281" y="16812"/>
                  <a:pt x="7250" y="16812"/>
                  <a:pt x="7218" y="16781"/>
                </a:cubicBezTo>
                <a:cubicBezTo>
                  <a:pt x="7218" y="16750"/>
                  <a:pt x="7218" y="16719"/>
                  <a:pt x="7281" y="16750"/>
                </a:cubicBezTo>
                <a:cubicBezTo>
                  <a:pt x="7281" y="16750"/>
                  <a:pt x="7312" y="16750"/>
                  <a:pt x="7343" y="16781"/>
                </a:cubicBezTo>
                <a:cubicBezTo>
                  <a:pt x="7406" y="16781"/>
                  <a:pt x="7437" y="16812"/>
                  <a:pt x="7531" y="16812"/>
                </a:cubicBezTo>
                <a:cubicBezTo>
                  <a:pt x="7468" y="16781"/>
                  <a:pt x="7406" y="16750"/>
                  <a:pt x="7375" y="16750"/>
                </a:cubicBezTo>
                <a:cubicBezTo>
                  <a:pt x="7187" y="16687"/>
                  <a:pt x="7031" y="16625"/>
                  <a:pt x="6843" y="16531"/>
                </a:cubicBezTo>
                <a:cubicBezTo>
                  <a:pt x="6812" y="16531"/>
                  <a:pt x="6781" y="16500"/>
                  <a:pt x="6718" y="16500"/>
                </a:cubicBezTo>
                <a:close/>
                <a:moveTo>
                  <a:pt x="6281" y="20562"/>
                </a:moveTo>
                <a:cubicBezTo>
                  <a:pt x="6062" y="20500"/>
                  <a:pt x="5843" y="20469"/>
                  <a:pt x="5593" y="20437"/>
                </a:cubicBezTo>
                <a:cubicBezTo>
                  <a:pt x="5343" y="20406"/>
                  <a:pt x="5093" y="20312"/>
                  <a:pt x="4843" y="20156"/>
                </a:cubicBezTo>
                <a:cubicBezTo>
                  <a:pt x="4750" y="20094"/>
                  <a:pt x="4625" y="20031"/>
                  <a:pt x="4531" y="19969"/>
                </a:cubicBezTo>
                <a:cubicBezTo>
                  <a:pt x="4312" y="19875"/>
                  <a:pt x="4093" y="19719"/>
                  <a:pt x="3875" y="19625"/>
                </a:cubicBezTo>
                <a:cubicBezTo>
                  <a:pt x="3718" y="19531"/>
                  <a:pt x="3562" y="19469"/>
                  <a:pt x="3375" y="19469"/>
                </a:cubicBezTo>
                <a:cubicBezTo>
                  <a:pt x="3531" y="19500"/>
                  <a:pt x="3687" y="19594"/>
                  <a:pt x="3843" y="19656"/>
                </a:cubicBezTo>
                <a:cubicBezTo>
                  <a:pt x="3937" y="19687"/>
                  <a:pt x="4000" y="19719"/>
                  <a:pt x="4093" y="19781"/>
                </a:cubicBezTo>
                <a:cubicBezTo>
                  <a:pt x="4375" y="19937"/>
                  <a:pt x="4656" y="20125"/>
                  <a:pt x="4968" y="20281"/>
                </a:cubicBezTo>
                <a:cubicBezTo>
                  <a:pt x="5156" y="20375"/>
                  <a:pt x="5343" y="20469"/>
                  <a:pt x="5562" y="20469"/>
                </a:cubicBezTo>
                <a:cubicBezTo>
                  <a:pt x="5812" y="20500"/>
                  <a:pt x="6031" y="20531"/>
                  <a:pt x="6281" y="20625"/>
                </a:cubicBezTo>
                <a:cubicBezTo>
                  <a:pt x="6281" y="20625"/>
                  <a:pt x="6312" y="20625"/>
                  <a:pt x="6343" y="20625"/>
                </a:cubicBezTo>
                <a:cubicBezTo>
                  <a:pt x="6343" y="20594"/>
                  <a:pt x="6312" y="20594"/>
                  <a:pt x="6281" y="20562"/>
                </a:cubicBezTo>
                <a:close/>
                <a:moveTo>
                  <a:pt x="10437" y="12750"/>
                </a:moveTo>
                <a:cubicBezTo>
                  <a:pt x="10437" y="12750"/>
                  <a:pt x="10437" y="12750"/>
                  <a:pt x="10437" y="12750"/>
                </a:cubicBezTo>
                <a:close/>
                <a:moveTo>
                  <a:pt x="10312" y="12500"/>
                </a:moveTo>
                <a:cubicBezTo>
                  <a:pt x="10312" y="12500"/>
                  <a:pt x="10312" y="12500"/>
                  <a:pt x="10312" y="12500"/>
                </a:cubicBezTo>
                <a:cubicBezTo>
                  <a:pt x="10312" y="12500"/>
                  <a:pt x="10312" y="12500"/>
                  <a:pt x="10312" y="12500"/>
                </a:cubicBezTo>
                <a:lnTo>
                  <a:pt x="10312" y="12500"/>
                </a:lnTo>
                <a:cubicBezTo>
                  <a:pt x="10312" y="12500"/>
                  <a:pt x="10312" y="12500"/>
                  <a:pt x="10312" y="12500"/>
                </a:cubicBezTo>
                <a:close/>
                <a:moveTo>
                  <a:pt x="2250" y="16531"/>
                </a:moveTo>
                <a:cubicBezTo>
                  <a:pt x="2312" y="16531"/>
                  <a:pt x="2343" y="16531"/>
                  <a:pt x="2406" y="16531"/>
                </a:cubicBezTo>
                <a:cubicBezTo>
                  <a:pt x="2593" y="16531"/>
                  <a:pt x="2750" y="16562"/>
                  <a:pt x="2937" y="16594"/>
                </a:cubicBezTo>
                <a:cubicBezTo>
                  <a:pt x="3093" y="16625"/>
                  <a:pt x="3281" y="16625"/>
                  <a:pt x="3437" y="16656"/>
                </a:cubicBezTo>
                <a:cubicBezTo>
                  <a:pt x="3687" y="16719"/>
                  <a:pt x="3906" y="16781"/>
                  <a:pt x="4125" y="16844"/>
                </a:cubicBezTo>
                <a:cubicBezTo>
                  <a:pt x="4250" y="16875"/>
                  <a:pt x="4343" y="16906"/>
                  <a:pt x="4468" y="16937"/>
                </a:cubicBezTo>
                <a:cubicBezTo>
                  <a:pt x="4531" y="16937"/>
                  <a:pt x="4593" y="16969"/>
                  <a:pt x="4687" y="16969"/>
                </a:cubicBezTo>
                <a:cubicBezTo>
                  <a:pt x="4687" y="17000"/>
                  <a:pt x="4687" y="17000"/>
                  <a:pt x="4687" y="17000"/>
                </a:cubicBezTo>
                <a:cubicBezTo>
                  <a:pt x="4718" y="17000"/>
                  <a:pt x="4718" y="17000"/>
                  <a:pt x="4750" y="16969"/>
                </a:cubicBezTo>
                <a:cubicBezTo>
                  <a:pt x="4843" y="17031"/>
                  <a:pt x="4968" y="17062"/>
                  <a:pt x="5062" y="17062"/>
                </a:cubicBezTo>
                <a:cubicBezTo>
                  <a:pt x="4968" y="17000"/>
                  <a:pt x="4875" y="16969"/>
                  <a:pt x="4750" y="16969"/>
                </a:cubicBezTo>
                <a:cubicBezTo>
                  <a:pt x="4687" y="16937"/>
                  <a:pt x="4593" y="16937"/>
                  <a:pt x="4500" y="16906"/>
                </a:cubicBezTo>
                <a:cubicBezTo>
                  <a:pt x="4375" y="16844"/>
                  <a:pt x="4250" y="16812"/>
                  <a:pt x="4125" y="16781"/>
                </a:cubicBezTo>
                <a:cubicBezTo>
                  <a:pt x="3875" y="16719"/>
                  <a:pt x="3593" y="16625"/>
                  <a:pt x="3343" y="16594"/>
                </a:cubicBezTo>
                <a:cubicBezTo>
                  <a:pt x="3062" y="16531"/>
                  <a:pt x="2781" y="16469"/>
                  <a:pt x="2468" y="16469"/>
                </a:cubicBezTo>
                <a:cubicBezTo>
                  <a:pt x="2406" y="16469"/>
                  <a:pt x="2312" y="16469"/>
                  <a:pt x="2250" y="16500"/>
                </a:cubicBezTo>
                <a:cubicBezTo>
                  <a:pt x="2218" y="16500"/>
                  <a:pt x="2218" y="16500"/>
                  <a:pt x="2218" y="16531"/>
                </a:cubicBezTo>
                <a:cubicBezTo>
                  <a:pt x="2218" y="16531"/>
                  <a:pt x="2250" y="16531"/>
                  <a:pt x="2250" y="16531"/>
                </a:cubicBezTo>
                <a:close/>
                <a:moveTo>
                  <a:pt x="2343" y="20594"/>
                </a:moveTo>
                <a:cubicBezTo>
                  <a:pt x="2312" y="20594"/>
                  <a:pt x="2312" y="20594"/>
                  <a:pt x="2312" y="20594"/>
                </a:cubicBezTo>
                <a:cubicBezTo>
                  <a:pt x="2250" y="20562"/>
                  <a:pt x="2187" y="20500"/>
                  <a:pt x="2125" y="20469"/>
                </a:cubicBezTo>
                <a:cubicBezTo>
                  <a:pt x="1937" y="20406"/>
                  <a:pt x="1750" y="20344"/>
                  <a:pt x="1531" y="20281"/>
                </a:cubicBezTo>
                <a:cubicBezTo>
                  <a:pt x="1343" y="20219"/>
                  <a:pt x="1156" y="20187"/>
                  <a:pt x="968" y="20156"/>
                </a:cubicBezTo>
                <a:cubicBezTo>
                  <a:pt x="937" y="20094"/>
                  <a:pt x="968" y="20094"/>
                  <a:pt x="1000" y="20094"/>
                </a:cubicBezTo>
                <a:cubicBezTo>
                  <a:pt x="1125" y="20125"/>
                  <a:pt x="1250" y="20125"/>
                  <a:pt x="1343" y="20187"/>
                </a:cubicBezTo>
                <a:cubicBezTo>
                  <a:pt x="1437" y="20219"/>
                  <a:pt x="1531" y="20187"/>
                  <a:pt x="1593" y="20250"/>
                </a:cubicBezTo>
                <a:cubicBezTo>
                  <a:pt x="1625" y="20250"/>
                  <a:pt x="1625" y="20250"/>
                  <a:pt x="1656" y="20250"/>
                </a:cubicBezTo>
                <a:cubicBezTo>
                  <a:pt x="1500" y="20156"/>
                  <a:pt x="1312" y="20125"/>
                  <a:pt x="1125" y="20094"/>
                </a:cubicBezTo>
                <a:cubicBezTo>
                  <a:pt x="937" y="20062"/>
                  <a:pt x="781" y="20031"/>
                  <a:pt x="593" y="20000"/>
                </a:cubicBezTo>
                <a:cubicBezTo>
                  <a:pt x="500" y="19969"/>
                  <a:pt x="93" y="19906"/>
                  <a:pt x="62" y="19937"/>
                </a:cubicBezTo>
                <a:cubicBezTo>
                  <a:pt x="93" y="20000"/>
                  <a:pt x="156" y="19969"/>
                  <a:pt x="218" y="19969"/>
                </a:cubicBezTo>
                <a:cubicBezTo>
                  <a:pt x="406" y="20000"/>
                  <a:pt x="562" y="20031"/>
                  <a:pt x="750" y="20062"/>
                </a:cubicBezTo>
                <a:cubicBezTo>
                  <a:pt x="812" y="20062"/>
                  <a:pt x="875" y="20062"/>
                  <a:pt x="906" y="20094"/>
                </a:cubicBezTo>
                <a:cubicBezTo>
                  <a:pt x="843" y="20125"/>
                  <a:pt x="781" y="20094"/>
                  <a:pt x="718" y="20094"/>
                </a:cubicBezTo>
                <a:cubicBezTo>
                  <a:pt x="625" y="20094"/>
                  <a:pt x="500" y="20062"/>
                  <a:pt x="406" y="20031"/>
                </a:cubicBezTo>
                <a:cubicBezTo>
                  <a:pt x="281" y="20000"/>
                  <a:pt x="187" y="20000"/>
                  <a:pt x="62" y="20000"/>
                </a:cubicBezTo>
                <a:cubicBezTo>
                  <a:pt x="31" y="20000"/>
                  <a:pt x="31" y="20000"/>
                  <a:pt x="31" y="20031"/>
                </a:cubicBezTo>
                <a:cubicBezTo>
                  <a:pt x="31" y="20031"/>
                  <a:pt x="31" y="20062"/>
                  <a:pt x="62" y="20062"/>
                </a:cubicBezTo>
                <a:cubicBezTo>
                  <a:pt x="62" y="20062"/>
                  <a:pt x="93" y="20062"/>
                  <a:pt x="125" y="20062"/>
                </a:cubicBezTo>
                <a:cubicBezTo>
                  <a:pt x="250" y="20062"/>
                  <a:pt x="375" y="20094"/>
                  <a:pt x="500" y="20125"/>
                </a:cubicBezTo>
                <a:cubicBezTo>
                  <a:pt x="687" y="20156"/>
                  <a:pt x="875" y="20219"/>
                  <a:pt x="1062" y="20219"/>
                </a:cubicBezTo>
                <a:cubicBezTo>
                  <a:pt x="1343" y="20281"/>
                  <a:pt x="1625" y="20375"/>
                  <a:pt x="1937" y="20469"/>
                </a:cubicBezTo>
                <a:cubicBezTo>
                  <a:pt x="2062" y="20500"/>
                  <a:pt x="2156" y="20562"/>
                  <a:pt x="2281" y="20625"/>
                </a:cubicBezTo>
                <a:cubicBezTo>
                  <a:pt x="2312" y="20656"/>
                  <a:pt x="2375" y="20656"/>
                  <a:pt x="2375" y="20625"/>
                </a:cubicBezTo>
                <a:cubicBezTo>
                  <a:pt x="2406" y="20594"/>
                  <a:pt x="2343" y="20625"/>
                  <a:pt x="2343" y="20594"/>
                </a:cubicBezTo>
                <a:close/>
                <a:moveTo>
                  <a:pt x="3656" y="15906"/>
                </a:moveTo>
                <a:cubicBezTo>
                  <a:pt x="3718" y="15906"/>
                  <a:pt x="3750" y="15906"/>
                  <a:pt x="3812" y="15937"/>
                </a:cubicBezTo>
                <a:cubicBezTo>
                  <a:pt x="3843" y="15937"/>
                  <a:pt x="3906" y="15969"/>
                  <a:pt x="3968" y="15969"/>
                </a:cubicBezTo>
                <a:cubicBezTo>
                  <a:pt x="4125" y="16000"/>
                  <a:pt x="4312" y="16000"/>
                  <a:pt x="4468" y="16031"/>
                </a:cubicBezTo>
                <a:cubicBezTo>
                  <a:pt x="4656" y="16094"/>
                  <a:pt x="4812" y="16156"/>
                  <a:pt x="5000" y="16187"/>
                </a:cubicBezTo>
                <a:cubicBezTo>
                  <a:pt x="5250" y="16281"/>
                  <a:pt x="5468" y="16437"/>
                  <a:pt x="5718" y="16500"/>
                </a:cubicBezTo>
                <a:cubicBezTo>
                  <a:pt x="5875" y="16562"/>
                  <a:pt x="6031" y="16625"/>
                  <a:pt x="6156" y="16687"/>
                </a:cubicBezTo>
                <a:cubicBezTo>
                  <a:pt x="6375" y="16781"/>
                  <a:pt x="6562" y="16844"/>
                  <a:pt x="6781" y="16937"/>
                </a:cubicBezTo>
                <a:cubicBezTo>
                  <a:pt x="6812" y="16937"/>
                  <a:pt x="6875" y="16969"/>
                  <a:pt x="6906" y="16969"/>
                </a:cubicBezTo>
                <a:cubicBezTo>
                  <a:pt x="6906" y="16969"/>
                  <a:pt x="6906" y="16969"/>
                  <a:pt x="6906" y="16969"/>
                </a:cubicBezTo>
                <a:cubicBezTo>
                  <a:pt x="6906" y="17000"/>
                  <a:pt x="6937" y="17000"/>
                  <a:pt x="6937" y="17000"/>
                </a:cubicBezTo>
                <a:cubicBezTo>
                  <a:pt x="7062" y="17062"/>
                  <a:pt x="7187" y="17094"/>
                  <a:pt x="7343" y="17156"/>
                </a:cubicBezTo>
                <a:cubicBezTo>
                  <a:pt x="7437" y="17187"/>
                  <a:pt x="7562" y="17219"/>
                  <a:pt x="7687" y="17250"/>
                </a:cubicBezTo>
                <a:cubicBezTo>
                  <a:pt x="7687" y="17219"/>
                  <a:pt x="7656" y="17219"/>
                  <a:pt x="7625" y="17187"/>
                </a:cubicBezTo>
                <a:cubicBezTo>
                  <a:pt x="7468" y="17125"/>
                  <a:pt x="7281" y="17062"/>
                  <a:pt x="7062" y="17000"/>
                </a:cubicBezTo>
                <a:cubicBezTo>
                  <a:pt x="7031" y="17000"/>
                  <a:pt x="6968" y="16937"/>
                  <a:pt x="6906" y="16969"/>
                </a:cubicBezTo>
                <a:cubicBezTo>
                  <a:pt x="6906" y="16937"/>
                  <a:pt x="6906" y="16937"/>
                  <a:pt x="6875" y="16937"/>
                </a:cubicBezTo>
                <a:cubicBezTo>
                  <a:pt x="6750" y="16875"/>
                  <a:pt x="6656" y="16812"/>
                  <a:pt x="6500" y="16781"/>
                </a:cubicBezTo>
                <a:cubicBezTo>
                  <a:pt x="6281" y="16687"/>
                  <a:pt x="6062" y="16594"/>
                  <a:pt x="5843" y="16500"/>
                </a:cubicBezTo>
                <a:cubicBezTo>
                  <a:pt x="5687" y="16437"/>
                  <a:pt x="5531" y="16344"/>
                  <a:pt x="5375" y="16281"/>
                </a:cubicBezTo>
                <a:cubicBezTo>
                  <a:pt x="5218" y="16250"/>
                  <a:pt x="5062" y="16156"/>
                  <a:pt x="4906" y="16125"/>
                </a:cubicBezTo>
                <a:cubicBezTo>
                  <a:pt x="4750" y="16062"/>
                  <a:pt x="4593" y="16000"/>
                  <a:pt x="4406" y="15969"/>
                </a:cubicBezTo>
                <a:cubicBezTo>
                  <a:pt x="4187" y="15937"/>
                  <a:pt x="3968" y="15875"/>
                  <a:pt x="3718" y="15875"/>
                </a:cubicBezTo>
                <a:cubicBezTo>
                  <a:pt x="3625" y="15875"/>
                  <a:pt x="3531" y="15844"/>
                  <a:pt x="3437" y="15906"/>
                </a:cubicBezTo>
                <a:cubicBezTo>
                  <a:pt x="3531" y="15937"/>
                  <a:pt x="3593" y="15937"/>
                  <a:pt x="3656" y="15906"/>
                </a:cubicBezTo>
                <a:close/>
                <a:moveTo>
                  <a:pt x="3562" y="20250"/>
                </a:moveTo>
                <a:cubicBezTo>
                  <a:pt x="3375" y="20156"/>
                  <a:pt x="3218" y="20031"/>
                  <a:pt x="3031" y="19937"/>
                </a:cubicBezTo>
                <a:cubicBezTo>
                  <a:pt x="2781" y="19844"/>
                  <a:pt x="2531" y="19750"/>
                  <a:pt x="2312" y="19687"/>
                </a:cubicBezTo>
                <a:cubicBezTo>
                  <a:pt x="2031" y="19594"/>
                  <a:pt x="1750" y="19500"/>
                  <a:pt x="1468" y="19437"/>
                </a:cubicBezTo>
                <a:cubicBezTo>
                  <a:pt x="1218" y="19406"/>
                  <a:pt x="1000" y="19344"/>
                  <a:pt x="750" y="19312"/>
                </a:cubicBezTo>
                <a:cubicBezTo>
                  <a:pt x="687" y="19312"/>
                  <a:pt x="625" y="19344"/>
                  <a:pt x="593" y="19281"/>
                </a:cubicBezTo>
                <a:cubicBezTo>
                  <a:pt x="593" y="19250"/>
                  <a:pt x="625" y="19281"/>
                  <a:pt x="625" y="19250"/>
                </a:cubicBezTo>
                <a:cubicBezTo>
                  <a:pt x="687" y="19250"/>
                  <a:pt x="750" y="19281"/>
                  <a:pt x="812" y="19281"/>
                </a:cubicBezTo>
                <a:cubicBezTo>
                  <a:pt x="1062" y="19312"/>
                  <a:pt x="1281" y="19344"/>
                  <a:pt x="1531" y="19406"/>
                </a:cubicBezTo>
                <a:cubicBezTo>
                  <a:pt x="1562" y="19406"/>
                  <a:pt x="1593" y="19406"/>
                  <a:pt x="1593" y="19375"/>
                </a:cubicBezTo>
                <a:cubicBezTo>
                  <a:pt x="1218" y="19312"/>
                  <a:pt x="843" y="19250"/>
                  <a:pt x="468" y="19219"/>
                </a:cubicBezTo>
                <a:cubicBezTo>
                  <a:pt x="468" y="19250"/>
                  <a:pt x="562" y="19219"/>
                  <a:pt x="531" y="19281"/>
                </a:cubicBezTo>
                <a:cubicBezTo>
                  <a:pt x="375" y="19281"/>
                  <a:pt x="250" y="19250"/>
                  <a:pt x="93" y="19250"/>
                </a:cubicBezTo>
                <a:cubicBezTo>
                  <a:pt x="62" y="19250"/>
                  <a:pt x="31" y="19219"/>
                  <a:pt x="31" y="19250"/>
                </a:cubicBezTo>
                <a:cubicBezTo>
                  <a:pt x="31" y="19281"/>
                  <a:pt x="62" y="19281"/>
                  <a:pt x="93" y="19281"/>
                </a:cubicBezTo>
                <a:cubicBezTo>
                  <a:pt x="250" y="19312"/>
                  <a:pt x="375" y="19344"/>
                  <a:pt x="531" y="19344"/>
                </a:cubicBezTo>
                <a:cubicBezTo>
                  <a:pt x="656" y="19375"/>
                  <a:pt x="750" y="19406"/>
                  <a:pt x="875" y="19406"/>
                </a:cubicBezTo>
                <a:cubicBezTo>
                  <a:pt x="906" y="19437"/>
                  <a:pt x="906" y="19406"/>
                  <a:pt x="937" y="19406"/>
                </a:cubicBezTo>
                <a:cubicBezTo>
                  <a:pt x="968" y="19406"/>
                  <a:pt x="1000" y="19437"/>
                  <a:pt x="1031" y="19437"/>
                </a:cubicBezTo>
                <a:cubicBezTo>
                  <a:pt x="1031" y="19437"/>
                  <a:pt x="1031" y="19437"/>
                  <a:pt x="1062" y="19437"/>
                </a:cubicBezTo>
                <a:cubicBezTo>
                  <a:pt x="1062" y="19437"/>
                  <a:pt x="1062" y="19437"/>
                  <a:pt x="1093" y="19437"/>
                </a:cubicBezTo>
                <a:cubicBezTo>
                  <a:pt x="1093" y="19437"/>
                  <a:pt x="1125" y="19437"/>
                  <a:pt x="1125" y="19437"/>
                </a:cubicBezTo>
                <a:cubicBezTo>
                  <a:pt x="1218" y="19437"/>
                  <a:pt x="1343" y="19469"/>
                  <a:pt x="1437" y="19500"/>
                </a:cubicBezTo>
                <a:cubicBezTo>
                  <a:pt x="1625" y="19531"/>
                  <a:pt x="1812" y="19562"/>
                  <a:pt x="2000" y="19625"/>
                </a:cubicBezTo>
                <a:cubicBezTo>
                  <a:pt x="2187" y="19687"/>
                  <a:pt x="2343" y="19750"/>
                  <a:pt x="2531" y="19812"/>
                </a:cubicBezTo>
                <a:cubicBezTo>
                  <a:pt x="2750" y="19875"/>
                  <a:pt x="2968" y="20000"/>
                  <a:pt x="3156" y="20094"/>
                </a:cubicBezTo>
                <a:cubicBezTo>
                  <a:pt x="3250" y="20125"/>
                  <a:pt x="3312" y="20187"/>
                  <a:pt x="3406" y="20250"/>
                </a:cubicBezTo>
                <a:cubicBezTo>
                  <a:pt x="3562" y="20344"/>
                  <a:pt x="3718" y="20437"/>
                  <a:pt x="3875" y="20562"/>
                </a:cubicBezTo>
                <a:cubicBezTo>
                  <a:pt x="3937" y="20625"/>
                  <a:pt x="4000" y="20656"/>
                  <a:pt x="4093" y="20625"/>
                </a:cubicBezTo>
                <a:cubicBezTo>
                  <a:pt x="4031" y="20594"/>
                  <a:pt x="4000" y="20562"/>
                  <a:pt x="3937" y="20531"/>
                </a:cubicBezTo>
                <a:cubicBezTo>
                  <a:pt x="3781" y="20437"/>
                  <a:pt x="3687" y="20344"/>
                  <a:pt x="3562" y="20250"/>
                </a:cubicBezTo>
                <a:close/>
                <a:moveTo>
                  <a:pt x="8031" y="16687"/>
                </a:moveTo>
                <a:cubicBezTo>
                  <a:pt x="8031" y="16687"/>
                  <a:pt x="8031" y="16687"/>
                  <a:pt x="8031" y="16687"/>
                </a:cubicBezTo>
                <a:cubicBezTo>
                  <a:pt x="8093" y="16656"/>
                  <a:pt x="8093" y="16719"/>
                  <a:pt x="8125" y="16750"/>
                </a:cubicBezTo>
                <a:cubicBezTo>
                  <a:pt x="8093" y="16750"/>
                  <a:pt x="8031" y="16750"/>
                  <a:pt x="8031" y="16687"/>
                </a:cubicBezTo>
                <a:close/>
                <a:moveTo>
                  <a:pt x="4312" y="18375"/>
                </a:moveTo>
                <a:cubicBezTo>
                  <a:pt x="4312" y="18375"/>
                  <a:pt x="4343" y="18375"/>
                  <a:pt x="4343" y="18375"/>
                </a:cubicBezTo>
                <a:cubicBezTo>
                  <a:pt x="4375" y="18406"/>
                  <a:pt x="4437" y="18406"/>
                  <a:pt x="4468" y="18437"/>
                </a:cubicBezTo>
                <a:cubicBezTo>
                  <a:pt x="4468" y="18437"/>
                  <a:pt x="4468" y="18437"/>
                  <a:pt x="4500" y="18469"/>
                </a:cubicBezTo>
                <a:cubicBezTo>
                  <a:pt x="4500" y="18437"/>
                  <a:pt x="4500" y="18437"/>
                  <a:pt x="4531" y="18437"/>
                </a:cubicBezTo>
                <a:cubicBezTo>
                  <a:pt x="4531" y="18437"/>
                  <a:pt x="4562" y="18437"/>
                  <a:pt x="4593" y="18437"/>
                </a:cubicBezTo>
                <a:cubicBezTo>
                  <a:pt x="4656" y="18469"/>
                  <a:pt x="4750" y="18500"/>
                  <a:pt x="4812" y="18531"/>
                </a:cubicBezTo>
                <a:cubicBezTo>
                  <a:pt x="4843" y="18531"/>
                  <a:pt x="4875" y="18531"/>
                  <a:pt x="4875" y="18562"/>
                </a:cubicBezTo>
                <a:cubicBezTo>
                  <a:pt x="4750" y="18562"/>
                  <a:pt x="4656" y="18500"/>
                  <a:pt x="4562" y="18469"/>
                </a:cubicBezTo>
                <a:cubicBezTo>
                  <a:pt x="4531" y="18469"/>
                  <a:pt x="4500" y="18469"/>
                  <a:pt x="4500" y="18469"/>
                </a:cubicBezTo>
                <a:cubicBezTo>
                  <a:pt x="4468" y="18437"/>
                  <a:pt x="4468" y="18437"/>
                  <a:pt x="4468" y="18437"/>
                </a:cubicBezTo>
                <a:cubicBezTo>
                  <a:pt x="4406" y="18437"/>
                  <a:pt x="4375" y="18437"/>
                  <a:pt x="4343" y="18375"/>
                </a:cubicBezTo>
                <a:cubicBezTo>
                  <a:pt x="4343" y="18375"/>
                  <a:pt x="4312" y="18375"/>
                  <a:pt x="4312" y="18375"/>
                </a:cubicBezTo>
                <a:cubicBezTo>
                  <a:pt x="4312" y="18375"/>
                  <a:pt x="4281" y="18406"/>
                  <a:pt x="4281" y="18406"/>
                </a:cubicBezTo>
                <a:cubicBezTo>
                  <a:pt x="4218" y="18375"/>
                  <a:pt x="4156" y="18375"/>
                  <a:pt x="4093" y="18344"/>
                </a:cubicBezTo>
                <a:cubicBezTo>
                  <a:pt x="4187" y="18312"/>
                  <a:pt x="4250" y="18344"/>
                  <a:pt x="4312" y="18375"/>
                </a:cubicBezTo>
                <a:close/>
                <a:moveTo>
                  <a:pt x="1531" y="17031"/>
                </a:moveTo>
                <a:cubicBezTo>
                  <a:pt x="1593" y="17000"/>
                  <a:pt x="1687" y="17031"/>
                  <a:pt x="1750" y="17031"/>
                </a:cubicBezTo>
                <a:cubicBezTo>
                  <a:pt x="1843" y="17000"/>
                  <a:pt x="1937" y="17031"/>
                  <a:pt x="2031" y="17031"/>
                </a:cubicBezTo>
                <a:cubicBezTo>
                  <a:pt x="2125" y="17062"/>
                  <a:pt x="2218" y="17094"/>
                  <a:pt x="2343" y="17094"/>
                </a:cubicBezTo>
                <a:cubicBezTo>
                  <a:pt x="2625" y="17125"/>
                  <a:pt x="2906" y="17219"/>
                  <a:pt x="3187" y="17281"/>
                </a:cubicBezTo>
                <a:cubicBezTo>
                  <a:pt x="3281" y="17281"/>
                  <a:pt x="3375" y="17312"/>
                  <a:pt x="3468" y="17344"/>
                </a:cubicBezTo>
                <a:cubicBezTo>
                  <a:pt x="3562" y="17344"/>
                  <a:pt x="3656" y="17375"/>
                  <a:pt x="3781" y="17406"/>
                </a:cubicBezTo>
                <a:cubicBezTo>
                  <a:pt x="3781" y="17406"/>
                  <a:pt x="3781" y="17406"/>
                  <a:pt x="3781" y="17406"/>
                </a:cubicBezTo>
                <a:cubicBezTo>
                  <a:pt x="3812" y="17406"/>
                  <a:pt x="3812" y="17406"/>
                  <a:pt x="3843" y="17406"/>
                </a:cubicBezTo>
                <a:cubicBezTo>
                  <a:pt x="4062" y="17469"/>
                  <a:pt x="4250" y="17500"/>
                  <a:pt x="4468" y="17562"/>
                </a:cubicBezTo>
                <a:cubicBezTo>
                  <a:pt x="4656" y="17625"/>
                  <a:pt x="4875" y="17719"/>
                  <a:pt x="5062" y="17781"/>
                </a:cubicBezTo>
                <a:cubicBezTo>
                  <a:pt x="5250" y="17844"/>
                  <a:pt x="5406" y="17875"/>
                  <a:pt x="5562" y="17906"/>
                </a:cubicBezTo>
                <a:cubicBezTo>
                  <a:pt x="5593" y="17906"/>
                  <a:pt x="5656" y="17906"/>
                  <a:pt x="5625" y="17937"/>
                </a:cubicBezTo>
                <a:cubicBezTo>
                  <a:pt x="5625" y="17969"/>
                  <a:pt x="5593" y="17969"/>
                  <a:pt x="5562" y="17969"/>
                </a:cubicBezTo>
                <a:cubicBezTo>
                  <a:pt x="5500" y="17969"/>
                  <a:pt x="5437" y="17937"/>
                  <a:pt x="5375" y="17906"/>
                </a:cubicBezTo>
                <a:cubicBezTo>
                  <a:pt x="5343" y="17906"/>
                  <a:pt x="5281" y="17906"/>
                  <a:pt x="5250" y="17875"/>
                </a:cubicBezTo>
                <a:cubicBezTo>
                  <a:pt x="5218" y="17875"/>
                  <a:pt x="5156" y="17844"/>
                  <a:pt x="5093" y="17875"/>
                </a:cubicBezTo>
                <a:cubicBezTo>
                  <a:pt x="5375" y="17969"/>
                  <a:pt x="5625" y="18031"/>
                  <a:pt x="5875" y="18062"/>
                </a:cubicBezTo>
                <a:cubicBezTo>
                  <a:pt x="5843" y="18031"/>
                  <a:pt x="5781" y="18031"/>
                  <a:pt x="5781" y="18000"/>
                </a:cubicBezTo>
                <a:cubicBezTo>
                  <a:pt x="5781" y="17969"/>
                  <a:pt x="5781" y="17969"/>
                  <a:pt x="5781" y="17969"/>
                </a:cubicBezTo>
                <a:cubicBezTo>
                  <a:pt x="5843" y="17937"/>
                  <a:pt x="5875" y="17969"/>
                  <a:pt x="5906" y="17969"/>
                </a:cubicBezTo>
                <a:cubicBezTo>
                  <a:pt x="5906" y="17969"/>
                  <a:pt x="5906" y="17969"/>
                  <a:pt x="5906" y="17969"/>
                </a:cubicBezTo>
                <a:cubicBezTo>
                  <a:pt x="5968" y="18000"/>
                  <a:pt x="6031" y="18031"/>
                  <a:pt x="6093" y="18062"/>
                </a:cubicBezTo>
                <a:cubicBezTo>
                  <a:pt x="6093" y="18000"/>
                  <a:pt x="6062" y="18000"/>
                  <a:pt x="6031" y="18000"/>
                </a:cubicBezTo>
                <a:cubicBezTo>
                  <a:pt x="5937" y="17937"/>
                  <a:pt x="5812" y="17906"/>
                  <a:pt x="5687" y="17875"/>
                </a:cubicBezTo>
                <a:cubicBezTo>
                  <a:pt x="5406" y="17812"/>
                  <a:pt x="5125" y="17750"/>
                  <a:pt x="4843" y="17625"/>
                </a:cubicBezTo>
                <a:cubicBezTo>
                  <a:pt x="4750" y="17594"/>
                  <a:pt x="4656" y="17562"/>
                  <a:pt x="4562" y="17531"/>
                </a:cubicBezTo>
                <a:cubicBezTo>
                  <a:pt x="4437" y="17500"/>
                  <a:pt x="4312" y="17469"/>
                  <a:pt x="4187" y="17437"/>
                </a:cubicBezTo>
                <a:cubicBezTo>
                  <a:pt x="4062" y="17344"/>
                  <a:pt x="3875" y="17344"/>
                  <a:pt x="3750" y="17312"/>
                </a:cubicBezTo>
                <a:cubicBezTo>
                  <a:pt x="3593" y="17250"/>
                  <a:pt x="3437" y="17219"/>
                  <a:pt x="3281" y="17219"/>
                </a:cubicBezTo>
                <a:cubicBezTo>
                  <a:pt x="3093" y="17187"/>
                  <a:pt x="2906" y="17125"/>
                  <a:pt x="2718" y="17094"/>
                </a:cubicBezTo>
                <a:cubicBezTo>
                  <a:pt x="2531" y="17094"/>
                  <a:pt x="2343" y="17031"/>
                  <a:pt x="2125" y="17000"/>
                </a:cubicBezTo>
                <a:cubicBezTo>
                  <a:pt x="2000" y="16969"/>
                  <a:pt x="1875" y="16969"/>
                  <a:pt x="1750" y="16937"/>
                </a:cubicBezTo>
                <a:cubicBezTo>
                  <a:pt x="1656" y="16937"/>
                  <a:pt x="1593" y="16969"/>
                  <a:pt x="1531" y="17000"/>
                </a:cubicBezTo>
                <a:cubicBezTo>
                  <a:pt x="1531" y="17000"/>
                  <a:pt x="1500" y="17000"/>
                  <a:pt x="1500" y="17031"/>
                </a:cubicBezTo>
                <a:cubicBezTo>
                  <a:pt x="1500" y="17031"/>
                  <a:pt x="1531" y="17031"/>
                  <a:pt x="1531" y="17031"/>
                </a:cubicBezTo>
                <a:close/>
                <a:moveTo>
                  <a:pt x="11625" y="17344"/>
                </a:moveTo>
                <a:cubicBezTo>
                  <a:pt x="11625" y="17344"/>
                  <a:pt x="11593" y="17344"/>
                  <a:pt x="11593" y="17344"/>
                </a:cubicBezTo>
                <a:cubicBezTo>
                  <a:pt x="11562" y="17312"/>
                  <a:pt x="11531" y="17312"/>
                  <a:pt x="11468" y="17344"/>
                </a:cubicBezTo>
                <a:cubicBezTo>
                  <a:pt x="11531" y="17344"/>
                  <a:pt x="11562" y="17344"/>
                  <a:pt x="11531" y="17375"/>
                </a:cubicBezTo>
                <a:cubicBezTo>
                  <a:pt x="11468" y="17406"/>
                  <a:pt x="11375" y="17375"/>
                  <a:pt x="11312" y="17406"/>
                </a:cubicBezTo>
                <a:cubicBezTo>
                  <a:pt x="11125" y="17469"/>
                  <a:pt x="10937" y="17500"/>
                  <a:pt x="10750" y="17531"/>
                </a:cubicBezTo>
                <a:cubicBezTo>
                  <a:pt x="10593" y="17562"/>
                  <a:pt x="10437" y="17562"/>
                  <a:pt x="10250" y="17562"/>
                </a:cubicBezTo>
                <a:cubicBezTo>
                  <a:pt x="10218" y="17531"/>
                  <a:pt x="10156" y="17531"/>
                  <a:pt x="10125" y="17500"/>
                </a:cubicBezTo>
                <a:cubicBezTo>
                  <a:pt x="10062" y="17469"/>
                  <a:pt x="10000" y="17437"/>
                  <a:pt x="9937" y="17437"/>
                </a:cubicBezTo>
                <a:cubicBezTo>
                  <a:pt x="9906" y="17437"/>
                  <a:pt x="9843" y="17375"/>
                  <a:pt x="9843" y="17406"/>
                </a:cubicBezTo>
                <a:cubicBezTo>
                  <a:pt x="9812" y="17469"/>
                  <a:pt x="9875" y="17437"/>
                  <a:pt x="9906" y="17469"/>
                </a:cubicBezTo>
                <a:cubicBezTo>
                  <a:pt x="9937" y="17500"/>
                  <a:pt x="9968" y="17500"/>
                  <a:pt x="9937" y="17531"/>
                </a:cubicBezTo>
                <a:cubicBezTo>
                  <a:pt x="9906" y="17562"/>
                  <a:pt x="9906" y="17562"/>
                  <a:pt x="9937" y="17594"/>
                </a:cubicBezTo>
                <a:cubicBezTo>
                  <a:pt x="10000" y="17594"/>
                  <a:pt x="10062" y="17594"/>
                  <a:pt x="10125" y="17656"/>
                </a:cubicBezTo>
                <a:cubicBezTo>
                  <a:pt x="10031" y="17687"/>
                  <a:pt x="9968" y="17594"/>
                  <a:pt x="9875" y="17625"/>
                </a:cubicBezTo>
                <a:cubicBezTo>
                  <a:pt x="9937" y="17687"/>
                  <a:pt x="10000" y="17656"/>
                  <a:pt x="10031" y="17719"/>
                </a:cubicBezTo>
                <a:cubicBezTo>
                  <a:pt x="10031" y="17781"/>
                  <a:pt x="10000" y="17750"/>
                  <a:pt x="9968" y="17750"/>
                </a:cubicBezTo>
                <a:cubicBezTo>
                  <a:pt x="10031" y="17812"/>
                  <a:pt x="10156" y="17812"/>
                  <a:pt x="10250" y="17875"/>
                </a:cubicBezTo>
                <a:cubicBezTo>
                  <a:pt x="10281" y="17875"/>
                  <a:pt x="10312" y="17875"/>
                  <a:pt x="10312" y="17937"/>
                </a:cubicBezTo>
                <a:cubicBezTo>
                  <a:pt x="10218" y="17906"/>
                  <a:pt x="10093" y="17875"/>
                  <a:pt x="10000" y="17875"/>
                </a:cubicBezTo>
                <a:cubicBezTo>
                  <a:pt x="10031" y="17875"/>
                  <a:pt x="10062" y="17875"/>
                  <a:pt x="10093" y="17906"/>
                </a:cubicBezTo>
                <a:cubicBezTo>
                  <a:pt x="10156" y="17937"/>
                  <a:pt x="10218" y="17906"/>
                  <a:pt x="10250" y="17969"/>
                </a:cubicBezTo>
                <a:cubicBezTo>
                  <a:pt x="10250" y="18000"/>
                  <a:pt x="10218" y="18000"/>
                  <a:pt x="10187" y="18000"/>
                </a:cubicBezTo>
                <a:cubicBezTo>
                  <a:pt x="10187" y="18000"/>
                  <a:pt x="10156" y="17969"/>
                  <a:pt x="10156" y="18000"/>
                </a:cubicBezTo>
                <a:cubicBezTo>
                  <a:pt x="10125" y="18031"/>
                  <a:pt x="10156" y="18031"/>
                  <a:pt x="10187" y="18031"/>
                </a:cubicBezTo>
                <a:cubicBezTo>
                  <a:pt x="10250" y="18062"/>
                  <a:pt x="10343" y="18094"/>
                  <a:pt x="10406" y="18125"/>
                </a:cubicBezTo>
                <a:cubicBezTo>
                  <a:pt x="10531" y="18187"/>
                  <a:pt x="10687" y="18219"/>
                  <a:pt x="10843" y="18219"/>
                </a:cubicBezTo>
                <a:cubicBezTo>
                  <a:pt x="10968" y="18219"/>
                  <a:pt x="11093" y="18187"/>
                  <a:pt x="11187" y="18156"/>
                </a:cubicBezTo>
                <a:cubicBezTo>
                  <a:pt x="11406" y="18125"/>
                  <a:pt x="11625" y="18094"/>
                  <a:pt x="11843" y="18094"/>
                </a:cubicBezTo>
                <a:cubicBezTo>
                  <a:pt x="11875" y="18094"/>
                  <a:pt x="11937" y="18094"/>
                  <a:pt x="11968" y="18062"/>
                </a:cubicBezTo>
                <a:cubicBezTo>
                  <a:pt x="11937" y="18000"/>
                  <a:pt x="11875" y="18031"/>
                  <a:pt x="11812" y="18031"/>
                </a:cubicBezTo>
                <a:cubicBezTo>
                  <a:pt x="11625" y="18031"/>
                  <a:pt x="11437" y="18062"/>
                  <a:pt x="11250" y="18125"/>
                </a:cubicBezTo>
                <a:cubicBezTo>
                  <a:pt x="11156" y="18125"/>
                  <a:pt x="11062" y="18156"/>
                  <a:pt x="10968" y="18156"/>
                </a:cubicBezTo>
                <a:cubicBezTo>
                  <a:pt x="10906" y="18187"/>
                  <a:pt x="10843" y="18156"/>
                  <a:pt x="10750" y="18156"/>
                </a:cubicBezTo>
                <a:cubicBezTo>
                  <a:pt x="10656" y="18156"/>
                  <a:pt x="10562" y="18156"/>
                  <a:pt x="10468" y="18094"/>
                </a:cubicBezTo>
                <a:cubicBezTo>
                  <a:pt x="10500" y="18062"/>
                  <a:pt x="10531" y="18094"/>
                  <a:pt x="10562" y="18062"/>
                </a:cubicBezTo>
                <a:cubicBezTo>
                  <a:pt x="10531" y="18031"/>
                  <a:pt x="10468" y="18031"/>
                  <a:pt x="10437" y="17969"/>
                </a:cubicBezTo>
                <a:cubicBezTo>
                  <a:pt x="10656" y="18000"/>
                  <a:pt x="10812" y="17969"/>
                  <a:pt x="11000" y="17937"/>
                </a:cubicBezTo>
                <a:cubicBezTo>
                  <a:pt x="11156" y="17906"/>
                  <a:pt x="11343" y="17875"/>
                  <a:pt x="11531" y="17844"/>
                </a:cubicBezTo>
                <a:cubicBezTo>
                  <a:pt x="11406" y="17875"/>
                  <a:pt x="11250" y="17844"/>
                  <a:pt x="11156" y="17875"/>
                </a:cubicBezTo>
                <a:cubicBezTo>
                  <a:pt x="11000" y="17937"/>
                  <a:pt x="10843" y="17906"/>
                  <a:pt x="10687" y="17937"/>
                </a:cubicBezTo>
                <a:cubicBezTo>
                  <a:pt x="10531" y="17969"/>
                  <a:pt x="10406" y="17906"/>
                  <a:pt x="10281" y="17812"/>
                </a:cubicBezTo>
                <a:cubicBezTo>
                  <a:pt x="10312" y="17812"/>
                  <a:pt x="10343" y="17781"/>
                  <a:pt x="10375" y="17781"/>
                </a:cubicBezTo>
                <a:cubicBezTo>
                  <a:pt x="10468" y="17844"/>
                  <a:pt x="10531" y="17781"/>
                  <a:pt x="10625" y="17781"/>
                </a:cubicBezTo>
                <a:cubicBezTo>
                  <a:pt x="10718" y="17812"/>
                  <a:pt x="10812" y="17781"/>
                  <a:pt x="10906" y="17750"/>
                </a:cubicBezTo>
                <a:cubicBezTo>
                  <a:pt x="11093" y="17719"/>
                  <a:pt x="11281" y="17719"/>
                  <a:pt x="11437" y="17656"/>
                </a:cubicBezTo>
                <a:cubicBezTo>
                  <a:pt x="11500" y="17656"/>
                  <a:pt x="11593" y="17656"/>
                  <a:pt x="11656" y="17625"/>
                </a:cubicBezTo>
                <a:cubicBezTo>
                  <a:pt x="11593" y="17625"/>
                  <a:pt x="11562" y="17625"/>
                  <a:pt x="11531" y="17625"/>
                </a:cubicBezTo>
                <a:cubicBezTo>
                  <a:pt x="11375" y="17625"/>
                  <a:pt x="11250" y="17656"/>
                  <a:pt x="11125" y="17687"/>
                </a:cubicBezTo>
                <a:cubicBezTo>
                  <a:pt x="10968" y="17719"/>
                  <a:pt x="10812" y="17750"/>
                  <a:pt x="10656" y="17750"/>
                </a:cubicBezTo>
                <a:cubicBezTo>
                  <a:pt x="10531" y="17781"/>
                  <a:pt x="10406" y="17781"/>
                  <a:pt x="10281" y="17750"/>
                </a:cubicBezTo>
                <a:cubicBezTo>
                  <a:pt x="10250" y="17719"/>
                  <a:pt x="10218" y="17719"/>
                  <a:pt x="10250" y="17719"/>
                </a:cubicBezTo>
                <a:cubicBezTo>
                  <a:pt x="10250" y="17687"/>
                  <a:pt x="10250" y="17687"/>
                  <a:pt x="10281" y="17687"/>
                </a:cubicBezTo>
                <a:cubicBezTo>
                  <a:pt x="10281" y="17687"/>
                  <a:pt x="10312" y="17719"/>
                  <a:pt x="10312" y="17687"/>
                </a:cubicBezTo>
                <a:cubicBezTo>
                  <a:pt x="10343" y="17656"/>
                  <a:pt x="10281" y="17656"/>
                  <a:pt x="10281" y="17656"/>
                </a:cubicBezTo>
                <a:cubicBezTo>
                  <a:pt x="10250" y="17656"/>
                  <a:pt x="10218" y="17656"/>
                  <a:pt x="10218" y="17625"/>
                </a:cubicBezTo>
                <a:cubicBezTo>
                  <a:pt x="10218" y="17594"/>
                  <a:pt x="10250" y="17594"/>
                  <a:pt x="10281" y="17594"/>
                </a:cubicBezTo>
                <a:cubicBezTo>
                  <a:pt x="10375" y="17594"/>
                  <a:pt x="10437" y="17625"/>
                  <a:pt x="10531" y="17594"/>
                </a:cubicBezTo>
                <a:cubicBezTo>
                  <a:pt x="10687" y="17594"/>
                  <a:pt x="10843" y="17562"/>
                  <a:pt x="11000" y="17531"/>
                </a:cubicBezTo>
                <a:cubicBezTo>
                  <a:pt x="11093" y="17500"/>
                  <a:pt x="11187" y="17500"/>
                  <a:pt x="11281" y="17469"/>
                </a:cubicBezTo>
                <a:cubicBezTo>
                  <a:pt x="11375" y="17437"/>
                  <a:pt x="11500" y="17437"/>
                  <a:pt x="11593" y="17437"/>
                </a:cubicBezTo>
                <a:cubicBezTo>
                  <a:pt x="11625" y="17437"/>
                  <a:pt x="11656" y="17437"/>
                  <a:pt x="11687" y="17406"/>
                </a:cubicBezTo>
                <a:cubicBezTo>
                  <a:pt x="11687" y="17375"/>
                  <a:pt x="11656" y="17375"/>
                  <a:pt x="11625" y="17344"/>
                </a:cubicBezTo>
                <a:close/>
                <a:moveTo>
                  <a:pt x="5562" y="20219"/>
                </a:moveTo>
                <a:cubicBezTo>
                  <a:pt x="5437" y="20219"/>
                  <a:pt x="5281" y="20187"/>
                  <a:pt x="5156" y="20125"/>
                </a:cubicBezTo>
                <a:cubicBezTo>
                  <a:pt x="4968" y="20031"/>
                  <a:pt x="4812" y="19937"/>
                  <a:pt x="4625" y="19844"/>
                </a:cubicBezTo>
                <a:cubicBezTo>
                  <a:pt x="4312" y="19656"/>
                  <a:pt x="4000" y="19469"/>
                  <a:pt x="3656" y="19375"/>
                </a:cubicBezTo>
                <a:cubicBezTo>
                  <a:pt x="3468" y="19344"/>
                  <a:pt x="3281" y="19312"/>
                  <a:pt x="3125" y="19281"/>
                </a:cubicBezTo>
                <a:cubicBezTo>
                  <a:pt x="2937" y="19219"/>
                  <a:pt x="2750" y="19187"/>
                  <a:pt x="2593" y="19156"/>
                </a:cubicBezTo>
                <a:cubicBezTo>
                  <a:pt x="2375" y="19094"/>
                  <a:pt x="2156" y="19031"/>
                  <a:pt x="1937" y="18969"/>
                </a:cubicBezTo>
                <a:cubicBezTo>
                  <a:pt x="1625" y="18875"/>
                  <a:pt x="1281" y="18844"/>
                  <a:pt x="968" y="18781"/>
                </a:cubicBezTo>
                <a:cubicBezTo>
                  <a:pt x="687" y="18750"/>
                  <a:pt x="406" y="18719"/>
                  <a:pt x="125" y="18687"/>
                </a:cubicBezTo>
                <a:cubicBezTo>
                  <a:pt x="93" y="18687"/>
                  <a:pt x="31" y="18656"/>
                  <a:pt x="31" y="18719"/>
                </a:cubicBezTo>
                <a:cubicBezTo>
                  <a:pt x="31" y="18750"/>
                  <a:pt x="93" y="18750"/>
                  <a:pt x="125" y="18750"/>
                </a:cubicBezTo>
                <a:cubicBezTo>
                  <a:pt x="187" y="18750"/>
                  <a:pt x="250" y="18750"/>
                  <a:pt x="281" y="18750"/>
                </a:cubicBezTo>
                <a:cubicBezTo>
                  <a:pt x="656" y="18812"/>
                  <a:pt x="1000" y="18844"/>
                  <a:pt x="1343" y="18906"/>
                </a:cubicBezTo>
                <a:cubicBezTo>
                  <a:pt x="1625" y="18969"/>
                  <a:pt x="1875" y="19031"/>
                  <a:pt x="2156" y="19094"/>
                </a:cubicBezTo>
                <a:cubicBezTo>
                  <a:pt x="2281" y="19125"/>
                  <a:pt x="2406" y="19187"/>
                  <a:pt x="2562" y="19219"/>
                </a:cubicBezTo>
                <a:cubicBezTo>
                  <a:pt x="2718" y="19250"/>
                  <a:pt x="2906" y="19281"/>
                  <a:pt x="3062" y="19312"/>
                </a:cubicBezTo>
                <a:cubicBezTo>
                  <a:pt x="3062" y="19312"/>
                  <a:pt x="3093" y="19312"/>
                  <a:pt x="3093" y="19312"/>
                </a:cubicBezTo>
                <a:cubicBezTo>
                  <a:pt x="3093" y="19312"/>
                  <a:pt x="3062" y="19312"/>
                  <a:pt x="3062" y="19312"/>
                </a:cubicBezTo>
                <a:cubicBezTo>
                  <a:pt x="3093" y="19375"/>
                  <a:pt x="3062" y="19375"/>
                  <a:pt x="3031" y="19375"/>
                </a:cubicBezTo>
                <a:cubicBezTo>
                  <a:pt x="2906" y="19344"/>
                  <a:pt x="2812" y="19312"/>
                  <a:pt x="2718" y="19312"/>
                </a:cubicBezTo>
                <a:cubicBezTo>
                  <a:pt x="2531" y="19250"/>
                  <a:pt x="2343" y="19187"/>
                  <a:pt x="2187" y="19156"/>
                </a:cubicBezTo>
                <a:cubicBezTo>
                  <a:pt x="2093" y="19125"/>
                  <a:pt x="2000" y="19094"/>
                  <a:pt x="1875" y="19062"/>
                </a:cubicBezTo>
                <a:cubicBezTo>
                  <a:pt x="1781" y="19062"/>
                  <a:pt x="1718" y="19031"/>
                  <a:pt x="1625" y="19031"/>
                </a:cubicBezTo>
                <a:cubicBezTo>
                  <a:pt x="1500" y="18969"/>
                  <a:pt x="1343" y="18937"/>
                  <a:pt x="1187" y="18937"/>
                </a:cubicBezTo>
                <a:cubicBezTo>
                  <a:pt x="1125" y="18937"/>
                  <a:pt x="1062" y="18937"/>
                  <a:pt x="1000" y="18906"/>
                </a:cubicBezTo>
                <a:cubicBezTo>
                  <a:pt x="875" y="18875"/>
                  <a:pt x="781" y="18875"/>
                  <a:pt x="687" y="18875"/>
                </a:cubicBezTo>
                <a:cubicBezTo>
                  <a:pt x="718" y="18875"/>
                  <a:pt x="781" y="18906"/>
                  <a:pt x="843" y="18906"/>
                </a:cubicBezTo>
                <a:cubicBezTo>
                  <a:pt x="1062" y="18937"/>
                  <a:pt x="1281" y="18969"/>
                  <a:pt x="1500" y="19000"/>
                </a:cubicBezTo>
                <a:cubicBezTo>
                  <a:pt x="1750" y="19062"/>
                  <a:pt x="2000" y="19156"/>
                  <a:pt x="2281" y="19219"/>
                </a:cubicBezTo>
                <a:cubicBezTo>
                  <a:pt x="2406" y="19250"/>
                  <a:pt x="2562" y="19312"/>
                  <a:pt x="2718" y="19312"/>
                </a:cubicBezTo>
                <a:cubicBezTo>
                  <a:pt x="2718" y="19344"/>
                  <a:pt x="2750" y="19344"/>
                  <a:pt x="2781" y="19344"/>
                </a:cubicBezTo>
                <a:cubicBezTo>
                  <a:pt x="2906" y="19344"/>
                  <a:pt x="3031" y="19406"/>
                  <a:pt x="3156" y="19437"/>
                </a:cubicBezTo>
                <a:cubicBezTo>
                  <a:pt x="3187" y="19469"/>
                  <a:pt x="3250" y="19469"/>
                  <a:pt x="3312" y="19437"/>
                </a:cubicBezTo>
                <a:cubicBezTo>
                  <a:pt x="3250" y="19437"/>
                  <a:pt x="3218" y="19406"/>
                  <a:pt x="3156" y="19406"/>
                </a:cubicBezTo>
                <a:cubicBezTo>
                  <a:pt x="3125" y="19406"/>
                  <a:pt x="3125" y="19406"/>
                  <a:pt x="3125" y="19375"/>
                </a:cubicBezTo>
                <a:cubicBezTo>
                  <a:pt x="3125" y="19344"/>
                  <a:pt x="3156" y="19344"/>
                  <a:pt x="3156" y="19344"/>
                </a:cubicBezTo>
                <a:cubicBezTo>
                  <a:pt x="3187" y="19344"/>
                  <a:pt x="3250" y="19344"/>
                  <a:pt x="3281" y="19375"/>
                </a:cubicBezTo>
                <a:cubicBezTo>
                  <a:pt x="3437" y="19406"/>
                  <a:pt x="3593" y="19437"/>
                  <a:pt x="3750" y="19500"/>
                </a:cubicBezTo>
                <a:cubicBezTo>
                  <a:pt x="3906" y="19531"/>
                  <a:pt x="4062" y="19594"/>
                  <a:pt x="4187" y="19687"/>
                </a:cubicBezTo>
                <a:cubicBezTo>
                  <a:pt x="4468" y="19844"/>
                  <a:pt x="4750" y="20000"/>
                  <a:pt x="5031" y="20156"/>
                </a:cubicBezTo>
                <a:cubicBezTo>
                  <a:pt x="5312" y="20312"/>
                  <a:pt x="5625" y="20281"/>
                  <a:pt x="5937" y="20344"/>
                </a:cubicBezTo>
                <a:cubicBezTo>
                  <a:pt x="6062" y="20344"/>
                  <a:pt x="6156" y="20375"/>
                  <a:pt x="6281" y="20406"/>
                </a:cubicBezTo>
                <a:cubicBezTo>
                  <a:pt x="6500" y="20500"/>
                  <a:pt x="6750" y="20562"/>
                  <a:pt x="6968" y="20594"/>
                </a:cubicBezTo>
                <a:cubicBezTo>
                  <a:pt x="7000" y="20594"/>
                  <a:pt x="7031" y="20594"/>
                  <a:pt x="7031" y="20594"/>
                </a:cubicBezTo>
                <a:cubicBezTo>
                  <a:pt x="6812" y="20531"/>
                  <a:pt x="6562" y="20469"/>
                  <a:pt x="6343" y="20406"/>
                </a:cubicBezTo>
                <a:cubicBezTo>
                  <a:pt x="6093" y="20312"/>
                  <a:pt x="5843" y="20250"/>
                  <a:pt x="5562" y="20219"/>
                </a:cubicBezTo>
                <a:close/>
                <a:moveTo>
                  <a:pt x="12968" y="62"/>
                </a:moveTo>
                <a:cubicBezTo>
                  <a:pt x="12968" y="62"/>
                  <a:pt x="12968" y="62"/>
                  <a:pt x="12968" y="62"/>
                </a:cubicBezTo>
                <a:lnTo>
                  <a:pt x="12968" y="62"/>
                </a:lnTo>
                <a:cubicBezTo>
                  <a:pt x="12968" y="62"/>
                  <a:pt x="12968" y="62"/>
                  <a:pt x="12968" y="62"/>
                </a:cubicBezTo>
                <a:close/>
                <a:moveTo>
                  <a:pt x="12031" y="12969"/>
                </a:moveTo>
                <a:cubicBezTo>
                  <a:pt x="12031" y="12969"/>
                  <a:pt x="12031" y="12969"/>
                  <a:pt x="12031" y="12969"/>
                </a:cubicBezTo>
                <a:close/>
                <a:moveTo>
                  <a:pt x="12250" y="13375"/>
                </a:moveTo>
                <a:cubicBezTo>
                  <a:pt x="12250" y="13375"/>
                  <a:pt x="12250" y="13375"/>
                  <a:pt x="12250" y="13375"/>
                </a:cubicBezTo>
                <a:cubicBezTo>
                  <a:pt x="12250" y="13375"/>
                  <a:pt x="12250" y="13375"/>
                  <a:pt x="12250" y="13375"/>
                </a:cubicBezTo>
                <a:close/>
                <a:moveTo>
                  <a:pt x="7312" y="8500"/>
                </a:moveTo>
                <a:cubicBezTo>
                  <a:pt x="7312" y="8500"/>
                  <a:pt x="7312" y="8500"/>
                  <a:pt x="7312" y="8500"/>
                </a:cubicBezTo>
                <a:lnTo>
                  <a:pt x="7312" y="8500"/>
                </a:lnTo>
                <a:lnTo>
                  <a:pt x="7312" y="8500"/>
                </a:ln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cubicBezTo>
                  <a:pt x="7312" y="8500"/>
                  <a:pt x="7312" y="8500"/>
                  <a:pt x="7312" y="8500"/>
                </a:cubicBezTo>
                <a:lnTo>
                  <a:pt x="7312" y="8500"/>
                </a:lnTo>
                <a:close/>
                <a:moveTo>
                  <a:pt x="5937" y="8156"/>
                </a:move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lnTo>
                  <a:pt x="5937" y="8156"/>
                </a:ln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cubicBezTo>
                  <a:pt x="5937" y="8156"/>
                  <a:pt x="5937" y="8156"/>
                  <a:pt x="5937" y="8156"/>
                </a:cubicBezTo>
                <a:close/>
                <a:moveTo>
                  <a:pt x="6062" y="5906"/>
                </a:moveTo>
                <a:cubicBezTo>
                  <a:pt x="6062" y="5906"/>
                  <a:pt x="6062" y="5906"/>
                  <a:pt x="6062" y="5906"/>
                </a:cubicBezTo>
                <a:lnTo>
                  <a:pt x="6062" y="5906"/>
                </a:lnTo>
                <a:cubicBezTo>
                  <a:pt x="6062" y="5906"/>
                  <a:pt x="6062" y="5906"/>
                  <a:pt x="6062" y="5906"/>
                </a:cubicBezTo>
                <a:cubicBezTo>
                  <a:pt x="6062" y="5906"/>
                  <a:pt x="6062" y="5906"/>
                  <a:pt x="6062" y="5906"/>
                </a:cubicBezTo>
                <a:close/>
                <a:moveTo>
                  <a:pt x="5750" y="13969"/>
                </a:moveTo>
                <a:cubicBezTo>
                  <a:pt x="5750" y="13969"/>
                  <a:pt x="5750" y="13969"/>
                  <a:pt x="5750" y="13969"/>
                </a:cubicBezTo>
                <a:cubicBezTo>
                  <a:pt x="5750" y="13969"/>
                  <a:pt x="5750" y="13969"/>
                  <a:pt x="5750" y="13969"/>
                </a:cubicBezTo>
                <a:close/>
                <a:moveTo>
                  <a:pt x="6281" y="5625"/>
                </a:move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ubicBezTo>
                  <a:pt x="6281" y="5625"/>
                  <a:pt x="6281" y="5625"/>
                  <a:pt x="6281" y="5625"/>
                </a:cubicBezTo>
                <a:close/>
                <a:moveTo>
                  <a:pt x="9406" y="2969"/>
                </a:move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ubicBezTo>
                  <a:pt x="9406" y="2969"/>
                  <a:pt x="9406" y="2969"/>
                  <a:pt x="9406" y="2969"/>
                </a:cubicBezTo>
                <a:close/>
                <a:moveTo>
                  <a:pt x="17937" y="19625"/>
                </a:moveTo>
                <a:cubicBezTo>
                  <a:pt x="17937" y="19625"/>
                  <a:pt x="17937" y="19625"/>
                  <a:pt x="17937" y="19625"/>
                </a:cubicBezTo>
                <a:cubicBezTo>
                  <a:pt x="17937" y="19625"/>
                  <a:pt x="17937" y="19625"/>
                  <a:pt x="17937" y="19625"/>
                </a:cubicBezTo>
                <a:close/>
                <a:moveTo>
                  <a:pt x="7437" y="19781"/>
                </a:move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lnTo>
                  <a:pt x="7437" y="19781"/>
                </a:ln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cubicBezTo>
                  <a:pt x="7437" y="19781"/>
                  <a:pt x="7437" y="19781"/>
                  <a:pt x="7437" y="19781"/>
                </a:cubicBezTo>
                <a:close/>
                <a:moveTo>
                  <a:pt x="15750" y="7844"/>
                </a:moveTo>
                <a:cubicBezTo>
                  <a:pt x="15750" y="7844"/>
                  <a:pt x="15750" y="7844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ubicBezTo>
                  <a:pt x="15750" y="7844"/>
                  <a:pt x="15750" y="7844"/>
                  <a:pt x="15750" y="7844"/>
                </a:cubicBezTo>
                <a:close/>
                <a:moveTo>
                  <a:pt x="15343" y="10406"/>
                </a:moveTo>
                <a:cubicBezTo>
                  <a:pt x="15343" y="10406"/>
                  <a:pt x="15343" y="10406"/>
                  <a:pt x="15343" y="10406"/>
                </a:cubicBezTo>
                <a:close/>
                <a:moveTo>
                  <a:pt x="15437" y="15937"/>
                </a:moveTo>
                <a:cubicBezTo>
                  <a:pt x="15437" y="15937"/>
                  <a:pt x="15437" y="15937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ubicBezTo>
                  <a:pt x="15437" y="15937"/>
                  <a:pt x="15437" y="15937"/>
                  <a:pt x="15437" y="15937"/>
                </a:cubicBezTo>
                <a:close/>
                <a:moveTo>
                  <a:pt x="8812" y="20562"/>
                </a:moveTo>
                <a:cubicBezTo>
                  <a:pt x="8812" y="20562"/>
                  <a:pt x="8812" y="20562"/>
                  <a:pt x="8812" y="20562"/>
                </a:cubicBezTo>
                <a:close/>
                <a:moveTo>
                  <a:pt x="7562" y="20594"/>
                </a:moveTo>
                <a:cubicBezTo>
                  <a:pt x="7562" y="20594"/>
                  <a:pt x="7562" y="20594"/>
                  <a:pt x="7562" y="20594"/>
                </a:cubicBezTo>
                <a:lnTo>
                  <a:pt x="7562" y="20594"/>
                </a:lnTo>
                <a:cubicBezTo>
                  <a:pt x="7562" y="20594"/>
                  <a:pt x="7562" y="20594"/>
                  <a:pt x="7562" y="20594"/>
                </a:cubicBezTo>
                <a:close/>
                <a:moveTo>
                  <a:pt x="15937" y="18937"/>
                </a:moveTo>
                <a:cubicBezTo>
                  <a:pt x="15937" y="18937"/>
                  <a:pt x="15937" y="18937"/>
                  <a:pt x="15937" y="18937"/>
                </a:cubicBezTo>
                <a:close/>
                <a:moveTo>
                  <a:pt x="13875" y="437"/>
                </a:moveTo>
                <a:cubicBezTo>
                  <a:pt x="13875" y="437"/>
                  <a:pt x="13875" y="437"/>
                  <a:pt x="13875" y="437"/>
                </a:cubicBezTo>
                <a:cubicBezTo>
                  <a:pt x="13875" y="437"/>
                  <a:pt x="13875" y="437"/>
                  <a:pt x="13875" y="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015A47C-E45B-4D4F-A554-72BFA2B37EF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3DE6135-C79E-6E4B-98DF-7542498E2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865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61">
            <a:extLst>
              <a:ext uri="{FF2B5EF4-FFF2-40B4-BE49-F238E27FC236}">
                <a16:creationId xmlns:a16="http://schemas.microsoft.com/office/drawing/2014/main" id="{935DCED0-4F75-4C48-AD47-23CAE9F74B6D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7939820" y="1462081"/>
            <a:ext cx="16417031" cy="12264008"/>
          </a:xfrm>
          <a:custGeom>
            <a:avLst/>
            <a:gdLst>
              <a:gd name="T0" fmla="*/ 888 w 1106"/>
              <a:gd name="T1" fmla="*/ 415 h 784"/>
              <a:gd name="T2" fmla="*/ 841 w 1106"/>
              <a:gd name="T3" fmla="*/ 351 h 784"/>
              <a:gd name="T4" fmla="*/ 732 w 1106"/>
              <a:gd name="T5" fmla="*/ 253 h 784"/>
              <a:gd name="T6" fmla="*/ 742 w 1106"/>
              <a:gd name="T7" fmla="*/ 153 h 784"/>
              <a:gd name="T8" fmla="*/ 624 w 1106"/>
              <a:gd name="T9" fmla="*/ 140 h 784"/>
              <a:gd name="T10" fmla="*/ 551 w 1106"/>
              <a:gd name="T11" fmla="*/ 313 h 784"/>
              <a:gd name="T12" fmla="*/ 519 w 1106"/>
              <a:gd name="T13" fmla="*/ 340 h 784"/>
              <a:gd name="T14" fmla="*/ 527 w 1106"/>
              <a:gd name="T15" fmla="*/ 59 h 784"/>
              <a:gd name="T16" fmla="*/ 446 w 1106"/>
              <a:gd name="T17" fmla="*/ 15 h 784"/>
              <a:gd name="T18" fmla="*/ 380 w 1106"/>
              <a:gd name="T19" fmla="*/ 41 h 784"/>
              <a:gd name="T20" fmla="*/ 368 w 1106"/>
              <a:gd name="T21" fmla="*/ 126 h 784"/>
              <a:gd name="T22" fmla="*/ 438 w 1106"/>
              <a:gd name="T23" fmla="*/ 223 h 784"/>
              <a:gd name="T24" fmla="*/ 390 w 1106"/>
              <a:gd name="T25" fmla="*/ 261 h 784"/>
              <a:gd name="T26" fmla="*/ 19 w 1106"/>
              <a:gd name="T27" fmla="*/ 249 h 784"/>
              <a:gd name="T28" fmla="*/ 274 w 1106"/>
              <a:gd name="T29" fmla="*/ 330 h 784"/>
              <a:gd name="T30" fmla="*/ 300 w 1106"/>
              <a:gd name="T31" fmla="*/ 527 h 784"/>
              <a:gd name="T32" fmla="*/ 323 w 1106"/>
              <a:gd name="T33" fmla="*/ 597 h 784"/>
              <a:gd name="T34" fmla="*/ 113 w 1106"/>
              <a:gd name="T35" fmla="*/ 702 h 784"/>
              <a:gd name="T36" fmla="*/ 463 w 1106"/>
              <a:gd name="T37" fmla="*/ 781 h 784"/>
              <a:gd name="T38" fmla="*/ 500 w 1106"/>
              <a:gd name="T39" fmla="*/ 546 h 784"/>
              <a:gd name="T40" fmla="*/ 506 w 1106"/>
              <a:gd name="T41" fmla="*/ 466 h 784"/>
              <a:gd name="T42" fmla="*/ 505 w 1106"/>
              <a:gd name="T43" fmla="*/ 545 h 784"/>
              <a:gd name="T44" fmla="*/ 517 w 1106"/>
              <a:gd name="T45" fmla="*/ 702 h 784"/>
              <a:gd name="T46" fmla="*/ 757 w 1106"/>
              <a:gd name="T47" fmla="*/ 704 h 784"/>
              <a:gd name="T48" fmla="*/ 740 w 1106"/>
              <a:gd name="T49" fmla="*/ 526 h 784"/>
              <a:gd name="T50" fmla="*/ 762 w 1106"/>
              <a:gd name="T51" fmla="*/ 439 h 784"/>
              <a:gd name="T52" fmla="*/ 814 w 1106"/>
              <a:gd name="T53" fmla="*/ 424 h 784"/>
              <a:gd name="T54" fmla="*/ 1021 w 1106"/>
              <a:gd name="T55" fmla="*/ 568 h 784"/>
              <a:gd name="T56" fmla="*/ 1103 w 1106"/>
              <a:gd name="T57" fmla="*/ 634 h 784"/>
              <a:gd name="T58" fmla="*/ 513 w 1106"/>
              <a:gd name="T59" fmla="*/ 47 h 784"/>
              <a:gd name="T60" fmla="*/ 419 w 1106"/>
              <a:gd name="T61" fmla="*/ 90 h 784"/>
              <a:gd name="T62" fmla="*/ 275 w 1106"/>
              <a:gd name="T63" fmla="*/ 310 h 784"/>
              <a:gd name="T64" fmla="*/ 301 w 1106"/>
              <a:gd name="T65" fmla="*/ 311 h 784"/>
              <a:gd name="T66" fmla="*/ 315 w 1106"/>
              <a:gd name="T67" fmla="*/ 317 h 784"/>
              <a:gd name="T68" fmla="*/ 341 w 1106"/>
              <a:gd name="T69" fmla="*/ 275 h 784"/>
              <a:gd name="T70" fmla="*/ 300 w 1106"/>
              <a:gd name="T71" fmla="*/ 517 h 784"/>
              <a:gd name="T72" fmla="*/ 316 w 1106"/>
              <a:gd name="T73" fmla="*/ 538 h 784"/>
              <a:gd name="T74" fmla="*/ 311 w 1106"/>
              <a:gd name="T75" fmla="*/ 587 h 784"/>
              <a:gd name="T76" fmla="*/ 336 w 1106"/>
              <a:gd name="T77" fmla="*/ 471 h 784"/>
              <a:gd name="T78" fmla="*/ 365 w 1106"/>
              <a:gd name="T79" fmla="*/ 321 h 784"/>
              <a:gd name="T80" fmla="*/ 406 w 1106"/>
              <a:gd name="T81" fmla="*/ 289 h 784"/>
              <a:gd name="T82" fmla="*/ 424 w 1106"/>
              <a:gd name="T83" fmla="*/ 353 h 784"/>
              <a:gd name="T84" fmla="*/ 458 w 1106"/>
              <a:gd name="T85" fmla="*/ 198 h 784"/>
              <a:gd name="T86" fmla="*/ 532 w 1106"/>
              <a:gd name="T87" fmla="*/ 526 h 784"/>
              <a:gd name="T88" fmla="*/ 540 w 1106"/>
              <a:gd name="T89" fmla="*/ 551 h 784"/>
              <a:gd name="T90" fmla="*/ 541 w 1106"/>
              <a:gd name="T91" fmla="*/ 608 h 784"/>
              <a:gd name="T92" fmla="*/ 550 w 1106"/>
              <a:gd name="T93" fmla="*/ 687 h 784"/>
              <a:gd name="T94" fmla="*/ 558 w 1106"/>
              <a:gd name="T95" fmla="*/ 606 h 784"/>
              <a:gd name="T96" fmla="*/ 665 w 1106"/>
              <a:gd name="T97" fmla="*/ 162 h 784"/>
              <a:gd name="T98" fmla="*/ 632 w 1106"/>
              <a:gd name="T99" fmla="*/ 154 h 784"/>
              <a:gd name="T100" fmla="*/ 628 w 1106"/>
              <a:gd name="T101" fmla="*/ 202 h 784"/>
              <a:gd name="T102" fmla="*/ 639 w 1106"/>
              <a:gd name="T103" fmla="*/ 176 h 784"/>
              <a:gd name="T104" fmla="*/ 590 w 1106"/>
              <a:gd name="T105" fmla="*/ 689 h 784"/>
              <a:gd name="T106" fmla="*/ 590 w 1106"/>
              <a:gd name="T107" fmla="*/ 715 h 784"/>
              <a:gd name="T108" fmla="*/ 612 w 1106"/>
              <a:gd name="T109" fmla="*/ 401 h 784"/>
              <a:gd name="T110" fmla="*/ 708 w 1106"/>
              <a:gd name="T111" fmla="*/ 700 h 784"/>
              <a:gd name="T112" fmla="*/ 749 w 1106"/>
              <a:gd name="T113" fmla="*/ 698 h 784"/>
              <a:gd name="T114" fmla="*/ 730 w 1106"/>
              <a:gd name="T115" fmla="*/ 625 h 784"/>
              <a:gd name="T116" fmla="*/ 710 w 1106"/>
              <a:gd name="T117" fmla="*/ 241 h 784"/>
              <a:gd name="T118" fmla="*/ 718 w 1106"/>
              <a:gd name="T119" fmla="*/ 167 h 784"/>
              <a:gd name="T120" fmla="*/ 712 w 1106"/>
              <a:gd name="T121" fmla="*/ 256 h 784"/>
              <a:gd name="T122" fmla="*/ 806 w 1106"/>
              <a:gd name="T123" fmla="*/ 384 h 784"/>
              <a:gd name="T124" fmla="*/ 1080 w 1106"/>
              <a:gd name="T125" fmla="*/ 62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06" h="784">
                <a:moveTo>
                  <a:pt x="1103" y="634"/>
                </a:moveTo>
                <a:cubicBezTo>
                  <a:pt x="1101" y="626"/>
                  <a:pt x="1103" y="610"/>
                  <a:pt x="1098" y="604"/>
                </a:cubicBezTo>
                <a:cubicBezTo>
                  <a:pt x="1096" y="607"/>
                  <a:pt x="1098" y="612"/>
                  <a:pt x="1097" y="614"/>
                </a:cubicBezTo>
                <a:cubicBezTo>
                  <a:pt x="1095" y="610"/>
                  <a:pt x="1095" y="608"/>
                  <a:pt x="1095" y="605"/>
                </a:cubicBezTo>
                <a:cubicBezTo>
                  <a:pt x="1095" y="602"/>
                  <a:pt x="1097" y="600"/>
                  <a:pt x="1096" y="597"/>
                </a:cubicBezTo>
                <a:cubicBezTo>
                  <a:pt x="1094" y="587"/>
                  <a:pt x="1079" y="579"/>
                  <a:pt x="1073" y="573"/>
                </a:cubicBezTo>
                <a:cubicBezTo>
                  <a:pt x="1079" y="573"/>
                  <a:pt x="1083" y="579"/>
                  <a:pt x="1087" y="583"/>
                </a:cubicBezTo>
                <a:cubicBezTo>
                  <a:pt x="1077" y="547"/>
                  <a:pt x="1037" y="532"/>
                  <a:pt x="1012" y="508"/>
                </a:cubicBezTo>
                <a:cubicBezTo>
                  <a:pt x="1001" y="499"/>
                  <a:pt x="990" y="486"/>
                  <a:pt x="979" y="476"/>
                </a:cubicBezTo>
                <a:cubicBezTo>
                  <a:pt x="965" y="463"/>
                  <a:pt x="946" y="458"/>
                  <a:pt x="931" y="447"/>
                </a:cubicBezTo>
                <a:cubicBezTo>
                  <a:pt x="922" y="441"/>
                  <a:pt x="914" y="433"/>
                  <a:pt x="905" y="428"/>
                </a:cubicBezTo>
                <a:cubicBezTo>
                  <a:pt x="899" y="424"/>
                  <a:pt x="888" y="423"/>
                  <a:pt x="888" y="415"/>
                </a:cubicBezTo>
                <a:cubicBezTo>
                  <a:pt x="891" y="417"/>
                  <a:pt x="896" y="421"/>
                  <a:pt x="901" y="423"/>
                </a:cubicBezTo>
                <a:cubicBezTo>
                  <a:pt x="898" y="412"/>
                  <a:pt x="890" y="412"/>
                  <a:pt x="884" y="404"/>
                </a:cubicBezTo>
                <a:cubicBezTo>
                  <a:pt x="880" y="398"/>
                  <a:pt x="879" y="391"/>
                  <a:pt x="874" y="386"/>
                </a:cubicBezTo>
                <a:cubicBezTo>
                  <a:pt x="870" y="381"/>
                  <a:pt x="869" y="383"/>
                  <a:pt x="862" y="381"/>
                </a:cubicBezTo>
                <a:cubicBezTo>
                  <a:pt x="865" y="377"/>
                  <a:pt x="862" y="377"/>
                  <a:pt x="862" y="376"/>
                </a:cubicBezTo>
                <a:cubicBezTo>
                  <a:pt x="862" y="377"/>
                  <a:pt x="859" y="375"/>
                  <a:pt x="859" y="375"/>
                </a:cubicBezTo>
                <a:cubicBezTo>
                  <a:pt x="857" y="373"/>
                  <a:pt x="857" y="370"/>
                  <a:pt x="856" y="368"/>
                </a:cubicBezTo>
                <a:cubicBezTo>
                  <a:pt x="855" y="369"/>
                  <a:pt x="854" y="370"/>
                  <a:pt x="854" y="371"/>
                </a:cubicBezTo>
                <a:cubicBezTo>
                  <a:pt x="852" y="367"/>
                  <a:pt x="855" y="361"/>
                  <a:pt x="853" y="356"/>
                </a:cubicBezTo>
                <a:cubicBezTo>
                  <a:pt x="851" y="352"/>
                  <a:pt x="847" y="350"/>
                  <a:pt x="842" y="347"/>
                </a:cubicBezTo>
                <a:cubicBezTo>
                  <a:pt x="844" y="350"/>
                  <a:pt x="847" y="354"/>
                  <a:pt x="845" y="357"/>
                </a:cubicBezTo>
                <a:cubicBezTo>
                  <a:pt x="843" y="354"/>
                  <a:pt x="842" y="351"/>
                  <a:pt x="841" y="351"/>
                </a:cubicBezTo>
                <a:cubicBezTo>
                  <a:pt x="835" y="330"/>
                  <a:pt x="814" y="320"/>
                  <a:pt x="798" y="312"/>
                </a:cubicBezTo>
                <a:cubicBezTo>
                  <a:pt x="800" y="317"/>
                  <a:pt x="801" y="322"/>
                  <a:pt x="804" y="326"/>
                </a:cubicBezTo>
                <a:cubicBezTo>
                  <a:pt x="802" y="326"/>
                  <a:pt x="793" y="317"/>
                  <a:pt x="790" y="314"/>
                </a:cubicBezTo>
                <a:cubicBezTo>
                  <a:pt x="793" y="315"/>
                  <a:pt x="795" y="315"/>
                  <a:pt x="797" y="317"/>
                </a:cubicBezTo>
                <a:cubicBezTo>
                  <a:pt x="796" y="307"/>
                  <a:pt x="784" y="306"/>
                  <a:pt x="777" y="302"/>
                </a:cubicBezTo>
                <a:cubicBezTo>
                  <a:pt x="766" y="295"/>
                  <a:pt x="756" y="288"/>
                  <a:pt x="745" y="283"/>
                </a:cubicBezTo>
                <a:cubicBezTo>
                  <a:pt x="728" y="275"/>
                  <a:pt x="733" y="287"/>
                  <a:pt x="731" y="300"/>
                </a:cubicBezTo>
                <a:cubicBezTo>
                  <a:pt x="731" y="299"/>
                  <a:pt x="730" y="299"/>
                  <a:pt x="730" y="299"/>
                </a:cubicBezTo>
                <a:cubicBezTo>
                  <a:pt x="730" y="296"/>
                  <a:pt x="728" y="296"/>
                  <a:pt x="728" y="293"/>
                </a:cubicBezTo>
                <a:cubicBezTo>
                  <a:pt x="727" y="290"/>
                  <a:pt x="729" y="283"/>
                  <a:pt x="727" y="280"/>
                </a:cubicBezTo>
                <a:cubicBezTo>
                  <a:pt x="724" y="277"/>
                  <a:pt x="717" y="283"/>
                  <a:pt x="718" y="272"/>
                </a:cubicBezTo>
                <a:cubicBezTo>
                  <a:pt x="718" y="265"/>
                  <a:pt x="733" y="258"/>
                  <a:pt x="732" y="253"/>
                </a:cubicBezTo>
                <a:cubicBezTo>
                  <a:pt x="731" y="251"/>
                  <a:pt x="721" y="244"/>
                  <a:pt x="719" y="245"/>
                </a:cubicBezTo>
                <a:cubicBezTo>
                  <a:pt x="716" y="246"/>
                  <a:pt x="715" y="253"/>
                  <a:pt x="715" y="256"/>
                </a:cubicBezTo>
                <a:cubicBezTo>
                  <a:pt x="711" y="248"/>
                  <a:pt x="717" y="241"/>
                  <a:pt x="715" y="233"/>
                </a:cubicBezTo>
                <a:cubicBezTo>
                  <a:pt x="713" y="235"/>
                  <a:pt x="711" y="236"/>
                  <a:pt x="710" y="238"/>
                </a:cubicBezTo>
                <a:cubicBezTo>
                  <a:pt x="710" y="234"/>
                  <a:pt x="712" y="222"/>
                  <a:pt x="717" y="222"/>
                </a:cubicBezTo>
                <a:cubicBezTo>
                  <a:pt x="721" y="222"/>
                  <a:pt x="722" y="229"/>
                  <a:pt x="723" y="231"/>
                </a:cubicBezTo>
                <a:cubicBezTo>
                  <a:pt x="723" y="226"/>
                  <a:pt x="726" y="229"/>
                  <a:pt x="727" y="226"/>
                </a:cubicBezTo>
                <a:cubicBezTo>
                  <a:pt x="729" y="223"/>
                  <a:pt x="727" y="220"/>
                  <a:pt x="727" y="215"/>
                </a:cubicBezTo>
                <a:cubicBezTo>
                  <a:pt x="732" y="217"/>
                  <a:pt x="728" y="228"/>
                  <a:pt x="736" y="219"/>
                </a:cubicBezTo>
                <a:cubicBezTo>
                  <a:pt x="740" y="214"/>
                  <a:pt x="747" y="197"/>
                  <a:pt x="738" y="193"/>
                </a:cubicBezTo>
                <a:cubicBezTo>
                  <a:pt x="746" y="188"/>
                  <a:pt x="742" y="165"/>
                  <a:pt x="742" y="158"/>
                </a:cubicBezTo>
                <a:cubicBezTo>
                  <a:pt x="742" y="156"/>
                  <a:pt x="743" y="154"/>
                  <a:pt x="742" y="153"/>
                </a:cubicBezTo>
                <a:cubicBezTo>
                  <a:pt x="742" y="150"/>
                  <a:pt x="742" y="146"/>
                  <a:pt x="741" y="144"/>
                </a:cubicBezTo>
                <a:cubicBezTo>
                  <a:pt x="739" y="139"/>
                  <a:pt x="734" y="137"/>
                  <a:pt x="733" y="131"/>
                </a:cubicBezTo>
                <a:cubicBezTo>
                  <a:pt x="732" y="125"/>
                  <a:pt x="734" y="123"/>
                  <a:pt x="728" y="116"/>
                </a:cubicBezTo>
                <a:cubicBezTo>
                  <a:pt x="722" y="108"/>
                  <a:pt x="715" y="103"/>
                  <a:pt x="707" y="98"/>
                </a:cubicBezTo>
                <a:cubicBezTo>
                  <a:pt x="693" y="90"/>
                  <a:pt x="680" y="87"/>
                  <a:pt x="664" y="89"/>
                </a:cubicBezTo>
                <a:cubicBezTo>
                  <a:pt x="655" y="90"/>
                  <a:pt x="645" y="88"/>
                  <a:pt x="637" y="95"/>
                </a:cubicBezTo>
                <a:cubicBezTo>
                  <a:pt x="633" y="99"/>
                  <a:pt x="633" y="103"/>
                  <a:pt x="628" y="105"/>
                </a:cubicBezTo>
                <a:cubicBezTo>
                  <a:pt x="631" y="109"/>
                  <a:pt x="626" y="114"/>
                  <a:pt x="623" y="117"/>
                </a:cubicBezTo>
                <a:cubicBezTo>
                  <a:pt x="624" y="117"/>
                  <a:pt x="624" y="116"/>
                  <a:pt x="625" y="116"/>
                </a:cubicBezTo>
                <a:cubicBezTo>
                  <a:pt x="626" y="121"/>
                  <a:pt x="617" y="135"/>
                  <a:pt x="616" y="141"/>
                </a:cubicBezTo>
                <a:cubicBezTo>
                  <a:pt x="617" y="140"/>
                  <a:pt x="624" y="129"/>
                  <a:pt x="626" y="130"/>
                </a:cubicBezTo>
                <a:cubicBezTo>
                  <a:pt x="631" y="131"/>
                  <a:pt x="625" y="138"/>
                  <a:pt x="624" y="140"/>
                </a:cubicBezTo>
                <a:cubicBezTo>
                  <a:pt x="623" y="144"/>
                  <a:pt x="623" y="156"/>
                  <a:pt x="623" y="162"/>
                </a:cubicBezTo>
                <a:cubicBezTo>
                  <a:pt x="624" y="166"/>
                  <a:pt x="625" y="172"/>
                  <a:pt x="624" y="175"/>
                </a:cubicBezTo>
                <a:cubicBezTo>
                  <a:pt x="623" y="178"/>
                  <a:pt x="619" y="178"/>
                  <a:pt x="618" y="180"/>
                </a:cubicBezTo>
                <a:cubicBezTo>
                  <a:pt x="615" y="186"/>
                  <a:pt x="615" y="195"/>
                  <a:pt x="616" y="201"/>
                </a:cubicBezTo>
                <a:cubicBezTo>
                  <a:pt x="617" y="209"/>
                  <a:pt x="620" y="210"/>
                  <a:pt x="622" y="217"/>
                </a:cubicBezTo>
                <a:cubicBezTo>
                  <a:pt x="623" y="220"/>
                  <a:pt x="627" y="240"/>
                  <a:pt x="626" y="242"/>
                </a:cubicBezTo>
                <a:cubicBezTo>
                  <a:pt x="621" y="249"/>
                  <a:pt x="606" y="241"/>
                  <a:pt x="602" y="248"/>
                </a:cubicBezTo>
                <a:cubicBezTo>
                  <a:pt x="596" y="256"/>
                  <a:pt x="597" y="273"/>
                  <a:pt x="597" y="282"/>
                </a:cubicBezTo>
                <a:cubicBezTo>
                  <a:pt x="596" y="295"/>
                  <a:pt x="587" y="293"/>
                  <a:pt x="576" y="298"/>
                </a:cubicBezTo>
                <a:cubicBezTo>
                  <a:pt x="569" y="301"/>
                  <a:pt x="554" y="307"/>
                  <a:pt x="551" y="313"/>
                </a:cubicBezTo>
                <a:cubicBezTo>
                  <a:pt x="557" y="311"/>
                  <a:pt x="565" y="311"/>
                  <a:pt x="571" y="310"/>
                </a:cubicBezTo>
                <a:cubicBezTo>
                  <a:pt x="564" y="311"/>
                  <a:pt x="557" y="313"/>
                  <a:pt x="551" y="313"/>
                </a:cubicBezTo>
                <a:cubicBezTo>
                  <a:pt x="551" y="313"/>
                  <a:pt x="551" y="313"/>
                  <a:pt x="551" y="313"/>
                </a:cubicBezTo>
                <a:cubicBezTo>
                  <a:pt x="550" y="313"/>
                  <a:pt x="549" y="314"/>
                  <a:pt x="548" y="314"/>
                </a:cubicBezTo>
                <a:cubicBezTo>
                  <a:pt x="546" y="315"/>
                  <a:pt x="546" y="319"/>
                  <a:pt x="545" y="319"/>
                </a:cubicBezTo>
                <a:cubicBezTo>
                  <a:pt x="543" y="319"/>
                  <a:pt x="541" y="318"/>
                  <a:pt x="539" y="318"/>
                </a:cubicBezTo>
                <a:cubicBezTo>
                  <a:pt x="530" y="322"/>
                  <a:pt x="525" y="331"/>
                  <a:pt x="521" y="341"/>
                </a:cubicBezTo>
                <a:cubicBezTo>
                  <a:pt x="521" y="341"/>
                  <a:pt x="521" y="341"/>
                  <a:pt x="522" y="341"/>
                </a:cubicBezTo>
                <a:cubicBezTo>
                  <a:pt x="520" y="346"/>
                  <a:pt x="518" y="351"/>
                  <a:pt x="516" y="356"/>
                </a:cubicBezTo>
                <a:cubicBezTo>
                  <a:pt x="518" y="351"/>
                  <a:pt x="519" y="346"/>
                  <a:pt x="521" y="341"/>
                </a:cubicBezTo>
                <a:cubicBezTo>
                  <a:pt x="520" y="341"/>
                  <a:pt x="520" y="340"/>
                  <a:pt x="519" y="340"/>
                </a:cubicBezTo>
                <a:cubicBezTo>
                  <a:pt x="519" y="341"/>
                  <a:pt x="519" y="341"/>
                  <a:pt x="518" y="342"/>
                </a:cubicBezTo>
                <a:cubicBezTo>
                  <a:pt x="519" y="341"/>
                  <a:pt x="519" y="341"/>
                  <a:pt x="519" y="340"/>
                </a:cubicBezTo>
                <a:cubicBezTo>
                  <a:pt x="519" y="340"/>
                  <a:pt x="519" y="340"/>
                  <a:pt x="519" y="340"/>
                </a:cubicBezTo>
                <a:cubicBezTo>
                  <a:pt x="522" y="332"/>
                  <a:pt x="517" y="326"/>
                  <a:pt x="516" y="318"/>
                </a:cubicBezTo>
                <a:cubicBezTo>
                  <a:pt x="516" y="309"/>
                  <a:pt x="519" y="310"/>
                  <a:pt x="526" y="306"/>
                </a:cubicBezTo>
                <a:cubicBezTo>
                  <a:pt x="533" y="303"/>
                  <a:pt x="556" y="285"/>
                  <a:pt x="539" y="280"/>
                </a:cubicBezTo>
                <a:cubicBezTo>
                  <a:pt x="572" y="249"/>
                  <a:pt x="574" y="200"/>
                  <a:pt x="534" y="174"/>
                </a:cubicBezTo>
                <a:cubicBezTo>
                  <a:pt x="521" y="166"/>
                  <a:pt x="504" y="165"/>
                  <a:pt x="489" y="170"/>
                </a:cubicBezTo>
                <a:cubicBezTo>
                  <a:pt x="490" y="169"/>
                  <a:pt x="492" y="168"/>
                  <a:pt x="493" y="168"/>
                </a:cubicBezTo>
                <a:cubicBezTo>
                  <a:pt x="499" y="165"/>
                  <a:pt x="499" y="162"/>
                  <a:pt x="504" y="158"/>
                </a:cubicBezTo>
                <a:cubicBezTo>
                  <a:pt x="510" y="152"/>
                  <a:pt x="513" y="152"/>
                  <a:pt x="518" y="144"/>
                </a:cubicBezTo>
                <a:cubicBezTo>
                  <a:pt x="530" y="126"/>
                  <a:pt x="540" y="106"/>
                  <a:pt x="534" y="84"/>
                </a:cubicBezTo>
                <a:cubicBezTo>
                  <a:pt x="534" y="91"/>
                  <a:pt x="534" y="97"/>
                  <a:pt x="534" y="103"/>
                </a:cubicBezTo>
                <a:cubicBezTo>
                  <a:pt x="527" y="92"/>
                  <a:pt x="535" y="66"/>
                  <a:pt x="525" y="59"/>
                </a:cubicBezTo>
                <a:cubicBezTo>
                  <a:pt x="526" y="59"/>
                  <a:pt x="525" y="59"/>
                  <a:pt x="527" y="59"/>
                </a:cubicBezTo>
                <a:cubicBezTo>
                  <a:pt x="525" y="51"/>
                  <a:pt x="517" y="44"/>
                  <a:pt x="513" y="38"/>
                </a:cubicBezTo>
                <a:cubicBezTo>
                  <a:pt x="507" y="28"/>
                  <a:pt x="502" y="22"/>
                  <a:pt x="493" y="18"/>
                </a:cubicBezTo>
                <a:cubicBezTo>
                  <a:pt x="496" y="22"/>
                  <a:pt x="503" y="26"/>
                  <a:pt x="504" y="31"/>
                </a:cubicBezTo>
                <a:cubicBezTo>
                  <a:pt x="505" y="37"/>
                  <a:pt x="501" y="38"/>
                  <a:pt x="500" y="43"/>
                </a:cubicBezTo>
                <a:cubicBezTo>
                  <a:pt x="503" y="40"/>
                  <a:pt x="506" y="41"/>
                  <a:pt x="506" y="47"/>
                </a:cubicBezTo>
                <a:cubicBezTo>
                  <a:pt x="506" y="51"/>
                  <a:pt x="495" y="60"/>
                  <a:pt x="491" y="60"/>
                </a:cubicBezTo>
                <a:cubicBezTo>
                  <a:pt x="489" y="60"/>
                  <a:pt x="483" y="59"/>
                  <a:pt x="484" y="55"/>
                </a:cubicBezTo>
                <a:cubicBezTo>
                  <a:pt x="485" y="53"/>
                  <a:pt x="497" y="46"/>
                  <a:pt x="499" y="43"/>
                </a:cubicBezTo>
                <a:cubicBezTo>
                  <a:pt x="492" y="43"/>
                  <a:pt x="488" y="54"/>
                  <a:pt x="481" y="54"/>
                </a:cubicBezTo>
                <a:cubicBezTo>
                  <a:pt x="475" y="55"/>
                  <a:pt x="466" y="47"/>
                  <a:pt x="460" y="44"/>
                </a:cubicBezTo>
                <a:cubicBezTo>
                  <a:pt x="454" y="41"/>
                  <a:pt x="449" y="42"/>
                  <a:pt x="447" y="35"/>
                </a:cubicBezTo>
                <a:cubicBezTo>
                  <a:pt x="445" y="29"/>
                  <a:pt x="449" y="21"/>
                  <a:pt x="446" y="15"/>
                </a:cubicBezTo>
                <a:cubicBezTo>
                  <a:pt x="446" y="18"/>
                  <a:pt x="448" y="42"/>
                  <a:pt x="440" y="35"/>
                </a:cubicBezTo>
                <a:cubicBezTo>
                  <a:pt x="435" y="29"/>
                  <a:pt x="444" y="18"/>
                  <a:pt x="440" y="12"/>
                </a:cubicBezTo>
                <a:cubicBezTo>
                  <a:pt x="442" y="13"/>
                  <a:pt x="444" y="12"/>
                  <a:pt x="446" y="12"/>
                </a:cubicBezTo>
                <a:cubicBezTo>
                  <a:pt x="438" y="0"/>
                  <a:pt x="437" y="5"/>
                  <a:pt x="425" y="6"/>
                </a:cubicBezTo>
                <a:cubicBezTo>
                  <a:pt x="422" y="6"/>
                  <a:pt x="418" y="4"/>
                  <a:pt x="415" y="5"/>
                </a:cubicBezTo>
                <a:cubicBezTo>
                  <a:pt x="411" y="5"/>
                  <a:pt x="405" y="10"/>
                  <a:pt x="401" y="12"/>
                </a:cubicBezTo>
                <a:cubicBezTo>
                  <a:pt x="398" y="14"/>
                  <a:pt x="390" y="18"/>
                  <a:pt x="389" y="22"/>
                </a:cubicBezTo>
                <a:cubicBezTo>
                  <a:pt x="387" y="26"/>
                  <a:pt x="391" y="25"/>
                  <a:pt x="390" y="28"/>
                </a:cubicBezTo>
                <a:cubicBezTo>
                  <a:pt x="390" y="30"/>
                  <a:pt x="387" y="33"/>
                  <a:pt x="387" y="35"/>
                </a:cubicBezTo>
                <a:cubicBezTo>
                  <a:pt x="386" y="41"/>
                  <a:pt x="387" y="47"/>
                  <a:pt x="386" y="53"/>
                </a:cubicBezTo>
                <a:cubicBezTo>
                  <a:pt x="382" y="47"/>
                  <a:pt x="385" y="39"/>
                  <a:pt x="383" y="33"/>
                </a:cubicBezTo>
                <a:cubicBezTo>
                  <a:pt x="382" y="35"/>
                  <a:pt x="381" y="38"/>
                  <a:pt x="380" y="41"/>
                </a:cubicBezTo>
                <a:cubicBezTo>
                  <a:pt x="380" y="41"/>
                  <a:pt x="381" y="47"/>
                  <a:pt x="381" y="46"/>
                </a:cubicBezTo>
                <a:cubicBezTo>
                  <a:pt x="378" y="52"/>
                  <a:pt x="379" y="44"/>
                  <a:pt x="377" y="45"/>
                </a:cubicBezTo>
                <a:cubicBezTo>
                  <a:pt x="366" y="49"/>
                  <a:pt x="385" y="55"/>
                  <a:pt x="375" y="65"/>
                </a:cubicBezTo>
                <a:cubicBezTo>
                  <a:pt x="373" y="67"/>
                  <a:pt x="370" y="66"/>
                  <a:pt x="368" y="69"/>
                </a:cubicBezTo>
                <a:cubicBezTo>
                  <a:pt x="363" y="74"/>
                  <a:pt x="366" y="83"/>
                  <a:pt x="361" y="89"/>
                </a:cubicBezTo>
                <a:cubicBezTo>
                  <a:pt x="361" y="90"/>
                  <a:pt x="349" y="97"/>
                  <a:pt x="354" y="98"/>
                </a:cubicBezTo>
                <a:cubicBezTo>
                  <a:pt x="356" y="99"/>
                  <a:pt x="366" y="88"/>
                  <a:pt x="369" y="92"/>
                </a:cubicBezTo>
                <a:cubicBezTo>
                  <a:pt x="370" y="93"/>
                  <a:pt x="362" y="100"/>
                  <a:pt x="362" y="103"/>
                </a:cubicBezTo>
                <a:cubicBezTo>
                  <a:pt x="361" y="109"/>
                  <a:pt x="366" y="114"/>
                  <a:pt x="364" y="120"/>
                </a:cubicBezTo>
                <a:cubicBezTo>
                  <a:pt x="361" y="114"/>
                  <a:pt x="359" y="108"/>
                  <a:pt x="357" y="102"/>
                </a:cubicBezTo>
                <a:cubicBezTo>
                  <a:pt x="358" y="109"/>
                  <a:pt x="359" y="117"/>
                  <a:pt x="362" y="123"/>
                </a:cubicBezTo>
                <a:cubicBezTo>
                  <a:pt x="366" y="130"/>
                  <a:pt x="367" y="125"/>
                  <a:pt x="368" y="126"/>
                </a:cubicBezTo>
                <a:cubicBezTo>
                  <a:pt x="376" y="130"/>
                  <a:pt x="380" y="147"/>
                  <a:pt x="389" y="154"/>
                </a:cubicBezTo>
                <a:cubicBezTo>
                  <a:pt x="386" y="156"/>
                  <a:pt x="383" y="155"/>
                  <a:pt x="379" y="155"/>
                </a:cubicBezTo>
                <a:cubicBezTo>
                  <a:pt x="383" y="159"/>
                  <a:pt x="388" y="160"/>
                  <a:pt x="393" y="160"/>
                </a:cubicBezTo>
                <a:cubicBezTo>
                  <a:pt x="388" y="154"/>
                  <a:pt x="397" y="153"/>
                  <a:pt x="401" y="153"/>
                </a:cubicBezTo>
                <a:cubicBezTo>
                  <a:pt x="408" y="155"/>
                  <a:pt x="416" y="161"/>
                  <a:pt x="423" y="163"/>
                </a:cubicBezTo>
                <a:cubicBezTo>
                  <a:pt x="428" y="165"/>
                  <a:pt x="431" y="167"/>
                  <a:pt x="434" y="170"/>
                </a:cubicBezTo>
                <a:cubicBezTo>
                  <a:pt x="436" y="173"/>
                  <a:pt x="437" y="175"/>
                  <a:pt x="438" y="176"/>
                </a:cubicBezTo>
                <a:cubicBezTo>
                  <a:pt x="429" y="173"/>
                  <a:pt x="415" y="172"/>
                  <a:pt x="410" y="172"/>
                </a:cubicBezTo>
                <a:cubicBezTo>
                  <a:pt x="414" y="179"/>
                  <a:pt x="438" y="182"/>
                  <a:pt x="445" y="180"/>
                </a:cubicBezTo>
                <a:cubicBezTo>
                  <a:pt x="455" y="181"/>
                  <a:pt x="468" y="177"/>
                  <a:pt x="479" y="173"/>
                </a:cubicBezTo>
                <a:cubicBezTo>
                  <a:pt x="478" y="174"/>
                  <a:pt x="476" y="175"/>
                  <a:pt x="475" y="176"/>
                </a:cubicBezTo>
                <a:cubicBezTo>
                  <a:pt x="455" y="187"/>
                  <a:pt x="448" y="203"/>
                  <a:pt x="438" y="223"/>
                </a:cubicBezTo>
                <a:cubicBezTo>
                  <a:pt x="436" y="227"/>
                  <a:pt x="431" y="230"/>
                  <a:pt x="430" y="234"/>
                </a:cubicBezTo>
                <a:cubicBezTo>
                  <a:pt x="429" y="237"/>
                  <a:pt x="432" y="236"/>
                  <a:pt x="432" y="238"/>
                </a:cubicBezTo>
                <a:cubicBezTo>
                  <a:pt x="431" y="249"/>
                  <a:pt x="428" y="251"/>
                  <a:pt x="433" y="262"/>
                </a:cubicBezTo>
                <a:cubicBezTo>
                  <a:pt x="427" y="263"/>
                  <a:pt x="426" y="256"/>
                  <a:pt x="424" y="251"/>
                </a:cubicBezTo>
                <a:cubicBezTo>
                  <a:pt x="422" y="255"/>
                  <a:pt x="421" y="261"/>
                  <a:pt x="422" y="266"/>
                </a:cubicBezTo>
                <a:cubicBezTo>
                  <a:pt x="422" y="273"/>
                  <a:pt x="425" y="272"/>
                  <a:pt x="426" y="276"/>
                </a:cubicBezTo>
                <a:cubicBezTo>
                  <a:pt x="429" y="288"/>
                  <a:pt x="417" y="301"/>
                  <a:pt x="423" y="313"/>
                </a:cubicBezTo>
                <a:cubicBezTo>
                  <a:pt x="420" y="311"/>
                  <a:pt x="413" y="303"/>
                  <a:pt x="418" y="304"/>
                </a:cubicBezTo>
                <a:cubicBezTo>
                  <a:pt x="417" y="301"/>
                  <a:pt x="418" y="301"/>
                  <a:pt x="415" y="299"/>
                </a:cubicBezTo>
                <a:cubicBezTo>
                  <a:pt x="417" y="297"/>
                  <a:pt x="413" y="291"/>
                  <a:pt x="413" y="286"/>
                </a:cubicBezTo>
                <a:cubicBezTo>
                  <a:pt x="414" y="282"/>
                  <a:pt x="420" y="269"/>
                  <a:pt x="416" y="265"/>
                </a:cubicBezTo>
                <a:cubicBezTo>
                  <a:pt x="413" y="261"/>
                  <a:pt x="395" y="262"/>
                  <a:pt x="390" y="261"/>
                </a:cubicBezTo>
                <a:cubicBezTo>
                  <a:pt x="380" y="260"/>
                  <a:pt x="371" y="258"/>
                  <a:pt x="361" y="258"/>
                </a:cubicBezTo>
                <a:cubicBezTo>
                  <a:pt x="343" y="257"/>
                  <a:pt x="326" y="258"/>
                  <a:pt x="309" y="263"/>
                </a:cubicBezTo>
                <a:cubicBezTo>
                  <a:pt x="302" y="265"/>
                  <a:pt x="293" y="267"/>
                  <a:pt x="287" y="271"/>
                </a:cubicBezTo>
                <a:cubicBezTo>
                  <a:pt x="280" y="274"/>
                  <a:pt x="279" y="277"/>
                  <a:pt x="271" y="274"/>
                </a:cubicBezTo>
                <a:cubicBezTo>
                  <a:pt x="260" y="270"/>
                  <a:pt x="251" y="266"/>
                  <a:pt x="239" y="264"/>
                </a:cubicBezTo>
                <a:cubicBezTo>
                  <a:pt x="230" y="262"/>
                  <a:pt x="220" y="262"/>
                  <a:pt x="210" y="262"/>
                </a:cubicBezTo>
                <a:cubicBezTo>
                  <a:pt x="190" y="262"/>
                  <a:pt x="169" y="259"/>
                  <a:pt x="149" y="257"/>
                </a:cubicBezTo>
                <a:cubicBezTo>
                  <a:pt x="132" y="257"/>
                  <a:pt x="110" y="255"/>
                  <a:pt x="94" y="250"/>
                </a:cubicBezTo>
                <a:cubicBezTo>
                  <a:pt x="79" y="245"/>
                  <a:pt x="60" y="236"/>
                  <a:pt x="47" y="234"/>
                </a:cubicBezTo>
                <a:cubicBezTo>
                  <a:pt x="37" y="233"/>
                  <a:pt x="31" y="234"/>
                  <a:pt x="22" y="239"/>
                </a:cubicBezTo>
                <a:cubicBezTo>
                  <a:pt x="19" y="240"/>
                  <a:pt x="0" y="247"/>
                  <a:pt x="6" y="252"/>
                </a:cubicBezTo>
                <a:cubicBezTo>
                  <a:pt x="8" y="253"/>
                  <a:pt x="17" y="249"/>
                  <a:pt x="19" y="249"/>
                </a:cubicBezTo>
                <a:cubicBezTo>
                  <a:pt x="22" y="250"/>
                  <a:pt x="30" y="255"/>
                  <a:pt x="31" y="252"/>
                </a:cubicBezTo>
                <a:cubicBezTo>
                  <a:pt x="35" y="247"/>
                  <a:pt x="23" y="245"/>
                  <a:pt x="33" y="241"/>
                </a:cubicBezTo>
                <a:cubicBezTo>
                  <a:pt x="34" y="244"/>
                  <a:pt x="39" y="245"/>
                  <a:pt x="39" y="246"/>
                </a:cubicBezTo>
                <a:cubicBezTo>
                  <a:pt x="41" y="253"/>
                  <a:pt x="32" y="253"/>
                  <a:pt x="31" y="256"/>
                </a:cubicBezTo>
                <a:cubicBezTo>
                  <a:pt x="30" y="261"/>
                  <a:pt x="47" y="260"/>
                  <a:pt x="53" y="263"/>
                </a:cubicBezTo>
                <a:cubicBezTo>
                  <a:pt x="53" y="272"/>
                  <a:pt x="70" y="278"/>
                  <a:pt x="78" y="279"/>
                </a:cubicBezTo>
                <a:cubicBezTo>
                  <a:pt x="82" y="280"/>
                  <a:pt x="86" y="279"/>
                  <a:pt x="89" y="280"/>
                </a:cubicBezTo>
                <a:cubicBezTo>
                  <a:pt x="93" y="280"/>
                  <a:pt x="96" y="283"/>
                  <a:pt x="101" y="283"/>
                </a:cubicBezTo>
                <a:cubicBezTo>
                  <a:pt x="111" y="284"/>
                  <a:pt x="115" y="279"/>
                  <a:pt x="125" y="284"/>
                </a:cubicBezTo>
                <a:cubicBezTo>
                  <a:pt x="135" y="288"/>
                  <a:pt x="145" y="292"/>
                  <a:pt x="155" y="296"/>
                </a:cubicBezTo>
                <a:cubicBezTo>
                  <a:pt x="179" y="306"/>
                  <a:pt x="201" y="320"/>
                  <a:pt x="225" y="328"/>
                </a:cubicBezTo>
                <a:cubicBezTo>
                  <a:pt x="242" y="334"/>
                  <a:pt x="257" y="332"/>
                  <a:pt x="274" y="330"/>
                </a:cubicBezTo>
                <a:cubicBezTo>
                  <a:pt x="285" y="329"/>
                  <a:pt x="297" y="333"/>
                  <a:pt x="307" y="336"/>
                </a:cubicBezTo>
                <a:cubicBezTo>
                  <a:pt x="315" y="339"/>
                  <a:pt x="324" y="337"/>
                  <a:pt x="331" y="342"/>
                </a:cubicBezTo>
                <a:cubicBezTo>
                  <a:pt x="330" y="345"/>
                  <a:pt x="331" y="347"/>
                  <a:pt x="330" y="350"/>
                </a:cubicBezTo>
                <a:cubicBezTo>
                  <a:pt x="328" y="355"/>
                  <a:pt x="325" y="355"/>
                  <a:pt x="326" y="360"/>
                </a:cubicBezTo>
                <a:cubicBezTo>
                  <a:pt x="328" y="365"/>
                  <a:pt x="338" y="374"/>
                  <a:pt x="342" y="378"/>
                </a:cubicBezTo>
                <a:cubicBezTo>
                  <a:pt x="348" y="385"/>
                  <a:pt x="354" y="392"/>
                  <a:pt x="357" y="401"/>
                </a:cubicBezTo>
                <a:cubicBezTo>
                  <a:pt x="350" y="391"/>
                  <a:pt x="342" y="380"/>
                  <a:pt x="334" y="371"/>
                </a:cubicBezTo>
                <a:cubicBezTo>
                  <a:pt x="323" y="360"/>
                  <a:pt x="322" y="365"/>
                  <a:pt x="318" y="379"/>
                </a:cubicBezTo>
                <a:cubicBezTo>
                  <a:pt x="310" y="401"/>
                  <a:pt x="307" y="426"/>
                  <a:pt x="302" y="449"/>
                </a:cubicBezTo>
                <a:cubicBezTo>
                  <a:pt x="299" y="461"/>
                  <a:pt x="299" y="473"/>
                  <a:pt x="297" y="485"/>
                </a:cubicBezTo>
                <a:cubicBezTo>
                  <a:pt x="295" y="496"/>
                  <a:pt x="291" y="508"/>
                  <a:pt x="294" y="519"/>
                </a:cubicBezTo>
                <a:cubicBezTo>
                  <a:pt x="295" y="522"/>
                  <a:pt x="299" y="525"/>
                  <a:pt x="300" y="527"/>
                </a:cubicBezTo>
                <a:cubicBezTo>
                  <a:pt x="300" y="530"/>
                  <a:pt x="298" y="532"/>
                  <a:pt x="299" y="535"/>
                </a:cubicBezTo>
                <a:cubicBezTo>
                  <a:pt x="300" y="539"/>
                  <a:pt x="304" y="537"/>
                  <a:pt x="304" y="541"/>
                </a:cubicBezTo>
                <a:cubicBezTo>
                  <a:pt x="305" y="546"/>
                  <a:pt x="303" y="545"/>
                  <a:pt x="302" y="547"/>
                </a:cubicBezTo>
                <a:cubicBezTo>
                  <a:pt x="301" y="550"/>
                  <a:pt x="301" y="554"/>
                  <a:pt x="300" y="555"/>
                </a:cubicBezTo>
                <a:cubicBezTo>
                  <a:pt x="297" y="558"/>
                  <a:pt x="293" y="556"/>
                  <a:pt x="291" y="558"/>
                </a:cubicBezTo>
                <a:cubicBezTo>
                  <a:pt x="287" y="560"/>
                  <a:pt x="286" y="566"/>
                  <a:pt x="286" y="570"/>
                </a:cubicBezTo>
                <a:cubicBezTo>
                  <a:pt x="283" y="565"/>
                  <a:pt x="281" y="580"/>
                  <a:pt x="279" y="583"/>
                </a:cubicBezTo>
                <a:cubicBezTo>
                  <a:pt x="275" y="593"/>
                  <a:pt x="268" y="601"/>
                  <a:pt x="264" y="611"/>
                </a:cubicBezTo>
                <a:cubicBezTo>
                  <a:pt x="267" y="608"/>
                  <a:pt x="267" y="611"/>
                  <a:pt x="270" y="610"/>
                </a:cubicBezTo>
                <a:cubicBezTo>
                  <a:pt x="273" y="609"/>
                  <a:pt x="275" y="606"/>
                  <a:pt x="278" y="605"/>
                </a:cubicBezTo>
                <a:cubicBezTo>
                  <a:pt x="287" y="601"/>
                  <a:pt x="297" y="603"/>
                  <a:pt x="307" y="600"/>
                </a:cubicBezTo>
                <a:cubicBezTo>
                  <a:pt x="308" y="599"/>
                  <a:pt x="322" y="592"/>
                  <a:pt x="323" y="597"/>
                </a:cubicBezTo>
                <a:cubicBezTo>
                  <a:pt x="323" y="599"/>
                  <a:pt x="307" y="604"/>
                  <a:pt x="304" y="606"/>
                </a:cubicBezTo>
                <a:cubicBezTo>
                  <a:pt x="295" y="610"/>
                  <a:pt x="288" y="610"/>
                  <a:pt x="278" y="611"/>
                </a:cubicBezTo>
                <a:cubicBezTo>
                  <a:pt x="274" y="611"/>
                  <a:pt x="267" y="611"/>
                  <a:pt x="265" y="614"/>
                </a:cubicBezTo>
                <a:cubicBezTo>
                  <a:pt x="263" y="617"/>
                  <a:pt x="267" y="618"/>
                  <a:pt x="266" y="620"/>
                </a:cubicBezTo>
                <a:cubicBezTo>
                  <a:pt x="265" y="621"/>
                  <a:pt x="263" y="623"/>
                  <a:pt x="263" y="623"/>
                </a:cubicBezTo>
                <a:cubicBezTo>
                  <a:pt x="262" y="625"/>
                  <a:pt x="262" y="629"/>
                  <a:pt x="261" y="630"/>
                </a:cubicBezTo>
                <a:cubicBezTo>
                  <a:pt x="258" y="633"/>
                  <a:pt x="258" y="630"/>
                  <a:pt x="254" y="631"/>
                </a:cubicBezTo>
                <a:cubicBezTo>
                  <a:pt x="251" y="632"/>
                  <a:pt x="246" y="636"/>
                  <a:pt x="243" y="635"/>
                </a:cubicBezTo>
                <a:cubicBezTo>
                  <a:pt x="239" y="634"/>
                  <a:pt x="238" y="628"/>
                  <a:pt x="233" y="627"/>
                </a:cubicBezTo>
                <a:cubicBezTo>
                  <a:pt x="226" y="627"/>
                  <a:pt x="214" y="637"/>
                  <a:pt x="209" y="641"/>
                </a:cubicBezTo>
                <a:cubicBezTo>
                  <a:pt x="196" y="651"/>
                  <a:pt x="181" y="660"/>
                  <a:pt x="166" y="669"/>
                </a:cubicBezTo>
                <a:cubicBezTo>
                  <a:pt x="148" y="680"/>
                  <a:pt x="129" y="689"/>
                  <a:pt x="113" y="702"/>
                </a:cubicBezTo>
                <a:cubicBezTo>
                  <a:pt x="107" y="707"/>
                  <a:pt x="104" y="710"/>
                  <a:pt x="108" y="715"/>
                </a:cubicBezTo>
                <a:cubicBezTo>
                  <a:pt x="109" y="716"/>
                  <a:pt x="112" y="714"/>
                  <a:pt x="113" y="716"/>
                </a:cubicBezTo>
                <a:cubicBezTo>
                  <a:pt x="116" y="719"/>
                  <a:pt x="115" y="721"/>
                  <a:pt x="112" y="724"/>
                </a:cubicBezTo>
                <a:cubicBezTo>
                  <a:pt x="107" y="731"/>
                  <a:pt x="97" y="735"/>
                  <a:pt x="90" y="742"/>
                </a:cubicBezTo>
                <a:cubicBezTo>
                  <a:pt x="85" y="747"/>
                  <a:pt x="82" y="752"/>
                  <a:pt x="77" y="756"/>
                </a:cubicBezTo>
                <a:cubicBezTo>
                  <a:pt x="76" y="757"/>
                  <a:pt x="71" y="759"/>
                  <a:pt x="71" y="760"/>
                </a:cubicBezTo>
                <a:cubicBezTo>
                  <a:pt x="69" y="763"/>
                  <a:pt x="72" y="765"/>
                  <a:pt x="69" y="767"/>
                </a:cubicBezTo>
                <a:cubicBezTo>
                  <a:pt x="67" y="768"/>
                  <a:pt x="61" y="768"/>
                  <a:pt x="59" y="770"/>
                </a:cubicBezTo>
                <a:cubicBezTo>
                  <a:pt x="54" y="772"/>
                  <a:pt x="50" y="778"/>
                  <a:pt x="47" y="781"/>
                </a:cubicBezTo>
                <a:cubicBezTo>
                  <a:pt x="125" y="781"/>
                  <a:pt x="202" y="781"/>
                  <a:pt x="280" y="781"/>
                </a:cubicBezTo>
                <a:cubicBezTo>
                  <a:pt x="328" y="781"/>
                  <a:pt x="377" y="781"/>
                  <a:pt x="425" y="781"/>
                </a:cubicBezTo>
                <a:cubicBezTo>
                  <a:pt x="436" y="781"/>
                  <a:pt x="452" y="784"/>
                  <a:pt x="463" y="781"/>
                </a:cubicBezTo>
                <a:cubicBezTo>
                  <a:pt x="471" y="779"/>
                  <a:pt x="470" y="768"/>
                  <a:pt x="473" y="759"/>
                </a:cubicBezTo>
                <a:cubicBezTo>
                  <a:pt x="478" y="741"/>
                  <a:pt x="480" y="723"/>
                  <a:pt x="485" y="705"/>
                </a:cubicBezTo>
                <a:cubicBezTo>
                  <a:pt x="490" y="688"/>
                  <a:pt x="493" y="674"/>
                  <a:pt x="479" y="661"/>
                </a:cubicBezTo>
                <a:cubicBezTo>
                  <a:pt x="485" y="660"/>
                  <a:pt x="502" y="669"/>
                  <a:pt x="508" y="665"/>
                </a:cubicBezTo>
                <a:cubicBezTo>
                  <a:pt x="513" y="660"/>
                  <a:pt x="511" y="643"/>
                  <a:pt x="509" y="638"/>
                </a:cubicBezTo>
                <a:cubicBezTo>
                  <a:pt x="507" y="630"/>
                  <a:pt x="506" y="621"/>
                  <a:pt x="502" y="613"/>
                </a:cubicBezTo>
                <a:cubicBezTo>
                  <a:pt x="500" y="606"/>
                  <a:pt x="488" y="598"/>
                  <a:pt x="488" y="591"/>
                </a:cubicBezTo>
                <a:cubicBezTo>
                  <a:pt x="493" y="594"/>
                  <a:pt x="499" y="597"/>
                  <a:pt x="501" y="602"/>
                </a:cubicBezTo>
                <a:cubicBezTo>
                  <a:pt x="504" y="596"/>
                  <a:pt x="507" y="588"/>
                  <a:pt x="505" y="581"/>
                </a:cubicBezTo>
                <a:cubicBezTo>
                  <a:pt x="504" y="576"/>
                  <a:pt x="495" y="570"/>
                  <a:pt x="495" y="566"/>
                </a:cubicBezTo>
                <a:cubicBezTo>
                  <a:pt x="495" y="559"/>
                  <a:pt x="500" y="564"/>
                  <a:pt x="502" y="561"/>
                </a:cubicBezTo>
                <a:cubicBezTo>
                  <a:pt x="504" y="558"/>
                  <a:pt x="501" y="550"/>
                  <a:pt x="500" y="546"/>
                </a:cubicBezTo>
                <a:cubicBezTo>
                  <a:pt x="498" y="539"/>
                  <a:pt x="493" y="535"/>
                  <a:pt x="490" y="529"/>
                </a:cubicBezTo>
                <a:cubicBezTo>
                  <a:pt x="486" y="522"/>
                  <a:pt x="488" y="519"/>
                  <a:pt x="489" y="513"/>
                </a:cubicBezTo>
                <a:cubicBezTo>
                  <a:pt x="490" y="506"/>
                  <a:pt x="490" y="499"/>
                  <a:pt x="491" y="492"/>
                </a:cubicBezTo>
                <a:cubicBezTo>
                  <a:pt x="491" y="487"/>
                  <a:pt x="491" y="485"/>
                  <a:pt x="490" y="483"/>
                </a:cubicBezTo>
                <a:cubicBezTo>
                  <a:pt x="489" y="482"/>
                  <a:pt x="488" y="480"/>
                  <a:pt x="486" y="478"/>
                </a:cubicBezTo>
                <a:cubicBezTo>
                  <a:pt x="488" y="480"/>
                  <a:pt x="489" y="482"/>
                  <a:pt x="490" y="483"/>
                </a:cubicBezTo>
                <a:cubicBezTo>
                  <a:pt x="491" y="484"/>
                  <a:pt x="492" y="483"/>
                  <a:pt x="494" y="482"/>
                </a:cubicBezTo>
                <a:cubicBezTo>
                  <a:pt x="496" y="480"/>
                  <a:pt x="497" y="473"/>
                  <a:pt x="496" y="470"/>
                </a:cubicBezTo>
                <a:cubicBezTo>
                  <a:pt x="492" y="463"/>
                  <a:pt x="483" y="467"/>
                  <a:pt x="486" y="475"/>
                </a:cubicBezTo>
                <a:cubicBezTo>
                  <a:pt x="482" y="473"/>
                  <a:pt x="481" y="469"/>
                  <a:pt x="484" y="466"/>
                </a:cubicBezTo>
                <a:cubicBezTo>
                  <a:pt x="489" y="460"/>
                  <a:pt x="492" y="466"/>
                  <a:pt x="496" y="467"/>
                </a:cubicBezTo>
                <a:cubicBezTo>
                  <a:pt x="500" y="467"/>
                  <a:pt x="502" y="464"/>
                  <a:pt x="506" y="466"/>
                </a:cubicBezTo>
                <a:cubicBezTo>
                  <a:pt x="513" y="471"/>
                  <a:pt x="507" y="477"/>
                  <a:pt x="509" y="482"/>
                </a:cubicBezTo>
                <a:cubicBezTo>
                  <a:pt x="511" y="487"/>
                  <a:pt x="523" y="477"/>
                  <a:pt x="523" y="492"/>
                </a:cubicBezTo>
                <a:cubicBezTo>
                  <a:pt x="523" y="496"/>
                  <a:pt x="520" y="499"/>
                  <a:pt x="522" y="503"/>
                </a:cubicBezTo>
                <a:cubicBezTo>
                  <a:pt x="524" y="507"/>
                  <a:pt x="525" y="509"/>
                  <a:pt x="528" y="506"/>
                </a:cubicBezTo>
                <a:cubicBezTo>
                  <a:pt x="527" y="510"/>
                  <a:pt x="524" y="523"/>
                  <a:pt x="519" y="525"/>
                </a:cubicBezTo>
                <a:cubicBezTo>
                  <a:pt x="513" y="526"/>
                  <a:pt x="517" y="509"/>
                  <a:pt x="519" y="505"/>
                </a:cubicBezTo>
                <a:cubicBezTo>
                  <a:pt x="520" y="500"/>
                  <a:pt x="526" y="486"/>
                  <a:pt x="518" y="484"/>
                </a:cubicBezTo>
                <a:cubicBezTo>
                  <a:pt x="513" y="483"/>
                  <a:pt x="514" y="487"/>
                  <a:pt x="513" y="489"/>
                </a:cubicBezTo>
                <a:cubicBezTo>
                  <a:pt x="513" y="489"/>
                  <a:pt x="511" y="495"/>
                  <a:pt x="510" y="497"/>
                </a:cubicBezTo>
                <a:cubicBezTo>
                  <a:pt x="507" y="505"/>
                  <a:pt x="504" y="509"/>
                  <a:pt x="504" y="517"/>
                </a:cubicBezTo>
                <a:cubicBezTo>
                  <a:pt x="504" y="522"/>
                  <a:pt x="504" y="528"/>
                  <a:pt x="503" y="534"/>
                </a:cubicBezTo>
                <a:cubicBezTo>
                  <a:pt x="502" y="541"/>
                  <a:pt x="501" y="540"/>
                  <a:pt x="505" y="545"/>
                </a:cubicBezTo>
                <a:cubicBezTo>
                  <a:pt x="509" y="548"/>
                  <a:pt x="514" y="547"/>
                  <a:pt x="511" y="554"/>
                </a:cubicBezTo>
                <a:cubicBezTo>
                  <a:pt x="500" y="536"/>
                  <a:pt x="506" y="566"/>
                  <a:pt x="511" y="567"/>
                </a:cubicBezTo>
                <a:cubicBezTo>
                  <a:pt x="513" y="565"/>
                  <a:pt x="515" y="563"/>
                  <a:pt x="516" y="562"/>
                </a:cubicBezTo>
                <a:cubicBezTo>
                  <a:pt x="522" y="566"/>
                  <a:pt x="512" y="565"/>
                  <a:pt x="517" y="572"/>
                </a:cubicBezTo>
                <a:cubicBezTo>
                  <a:pt x="523" y="580"/>
                  <a:pt x="539" y="587"/>
                  <a:pt x="548" y="587"/>
                </a:cubicBezTo>
                <a:cubicBezTo>
                  <a:pt x="552" y="587"/>
                  <a:pt x="554" y="584"/>
                  <a:pt x="556" y="587"/>
                </a:cubicBezTo>
                <a:cubicBezTo>
                  <a:pt x="560" y="593"/>
                  <a:pt x="550" y="597"/>
                  <a:pt x="547" y="599"/>
                </a:cubicBezTo>
                <a:cubicBezTo>
                  <a:pt x="536" y="606"/>
                  <a:pt x="534" y="615"/>
                  <a:pt x="530" y="627"/>
                </a:cubicBezTo>
                <a:cubicBezTo>
                  <a:pt x="527" y="635"/>
                  <a:pt x="526" y="642"/>
                  <a:pt x="522" y="650"/>
                </a:cubicBezTo>
                <a:cubicBezTo>
                  <a:pt x="519" y="659"/>
                  <a:pt x="515" y="669"/>
                  <a:pt x="513" y="678"/>
                </a:cubicBezTo>
                <a:cubicBezTo>
                  <a:pt x="512" y="682"/>
                  <a:pt x="507" y="694"/>
                  <a:pt x="508" y="697"/>
                </a:cubicBezTo>
                <a:cubicBezTo>
                  <a:pt x="509" y="702"/>
                  <a:pt x="511" y="701"/>
                  <a:pt x="517" y="702"/>
                </a:cubicBezTo>
                <a:cubicBezTo>
                  <a:pt x="523" y="702"/>
                  <a:pt x="525" y="700"/>
                  <a:pt x="527" y="705"/>
                </a:cubicBezTo>
                <a:cubicBezTo>
                  <a:pt x="529" y="709"/>
                  <a:pt x="526" y="720"/>
                  <a:pt x="526" y="724"/>
                </a:cubicBezTo>
                <a:cubicBezTo>
                  <a:pt x="526" y="736"/>
                  <a:pt x="526" y="748"/>
                  <a:pt x="525" y="760"/>
                </a:cubicBezTo>
                <a:cubicBezTo>
                  <a:pt x="525" y="764"/>
                  <a:pt x="525" y="777"/>
                  <a:pt x="527" y="779"/>
                </a:cubicBezTo>
                <a:cubicBezTo>
                  <a:pt x="529" y="782"/>
                  <a:pt x="527" y="780"/>
                  <a:pt x="531" y="781"/>
                </a:cubicBezTo>
                <a:cubicBezTo>
                  <a:pt x="540" y="784"/>
                  <a:pt x="556" y="781"/>
                  <a:pt x="566" y="781"/>
                </a:cubicBezTo>
                <a:cubicBezTo>
                  <a:pt x="585" y="781"/>
                  <a:pt x="604" y="781"/>
                  <a:pt x="624" y="781"/>
                </a:cubicBezTo>
                <a:cubicBezTo>
                  <a:pt x="662" y="781"/>
                  <a:pt x="700" y="781"/>
                  <a:pt x="738" y="781"/>
                </a:cubicBezTo>
                <a:cubicBezTo>
                  <a:pt x="742" y="781"/>
                  <a:pt x="760" y="784"/>
                  <a:pt x="763" y="781"/>
                </a:cubicBezTo>
                <a:cubicBezTo>
                  <a:pt x="767" y="777"/>
                  <a:pt x="761" y="756"/>
                  <a:pt x="760" y="751"/>
                </a:cubicBezTo>
                <a:cubicBezTo>
                  <a:pt x="759" y="743"/>
                  <a:pt x="759" y="734"/>
                  <a:pt x="759" y="726"/>
                </a:cubicBezTo>
                <a:cubicBezTo>
                  <a:pt x="758" y="721"/>
                  <a:pt x="755" y="710"/>
                  <a:pt x="757" y="704"/>
                </a:cubicBezTo>
                <a:cubicBezTo>
                  <a:pt x="759" y="699"/>
                  <a:pt x="762" y="701"/>
                  <a:pt x="763" y="698"/>
                </a:cubicBezTo>
                <a:cubicBezTo>
                  <a:pt x="765" y="695"/>
                  <a:pt x="760" y="684"/>
                  <a:pt x="759" y="681"/>
                </a:cubicBezTo>
                <a:cubicBezTo>
                  <a:pt x="754" y="660"/>
                  <a:pt x="746" y="643"/>
                  <a:pt x="742" y="623"/>
                </a:cubicBezTo>
                <a:cubicBezTo>
                  <a:pt x="744" y="628"/>
                  <a:pt x="746" y="633"/>
                  <a:pt x="748" y="637"/>
                </a:cubicBezTo>
                <a:cubicBezTo>
                  <a:pt x="749" y="635"/>
                  <a:pt x="749" y="631"/>
                  <a:pt x="748" y="629"/>
                </a:cubicBezTo>
                <a:cubicBezTo>
                  <a:pt x="747" y="626"/>
                  <a:pt x="742" y="623"/>
                  <a:pt x="742" y="621"/>
                </a:cubicBezTo>
                <a:cubicBezTo>
                  <a:pt x="740" y="615"/>
                  <a:pt x="745" y="616"/>
                  <a:pt x="748" y="618"/>
                </a:cubicBezTo>
                <a:cubicBezTo>
                  <a:pt x="742" y="593"/>
                  <a:pt x="731" y="568"/>
                  <a:pt x="720" y="545"/>
                </a:cubicBezTo>
                <a:cubicBezTo>
                  <a:pt x="712" y="526"/>
                  <a:pt x="697" y="511"/>
                  <a:pt x="698" y="492"/>
                </a:cubicBezTo>
                <a:cubicBezTo>
                  <a:pt x="709" y="511"/>
                  <a:pt x="716" y="531"/>
                  <a:pt x="726" y="551"/>
                </a:cubicBezTo>
                <a:cubicBezTo>
                  <a:pt x="728" y="556"/>
                  <a:pt x="729" y="562"/>
                  <a:pt x="733" y="559"/>
                </a:cubicBezTo>
                <a:cubicBezTo>
                  <a:pt x="743" y="552"/>
                  <a:pt x="733" y="534"/>
                  <a:pt x="740" y="526"/>
                </a:cubicBezTo>
                <a:cubicBezTo>
                  <a:pt x="740" y="529"/>
                  <a:pt x="740" y="533"/>
                  <a:pt x="741" y="536"/>
                </a:cubicBezTo>
                <a:cubicBezTo>
                  <a:pt x="741" y="535"/>
                  <a:pt x="741" y="534"/>
                  <a:pt x="742" y="533"/>
                </a:cubicBezTo>
                <a:cubicBezTo>
                  <a:pt x="752" y="550"/>
                  <a:pt x="725" y="572"/>
                  <a:pt x="741" y="587"/>
                </a:cubicBezTo>
                <a:cubicBezTo>
                  <a:pt x="746" y="567"/>
                  <a:pt x="750" y="547"/>
                  <a:pt x="752" y="526"/>
                </a:cubicBezTo>
                <a:cubicBezTo>
                  <a:pt x="753" y="515"/>
                  <a:pt x="754" y="504"/>
                  <a:pt x="753" y="493"/>
                </a:cubicBezTo>
                <a:cubicBezTo>
                  <a:pt x="752" y="484"/>
                  <a:pt x="756" y="478"/>
                  <a:pt x="753" y="470"/>
                </a:cubicBezTo>
                <a:cubicBezTo>
                  <a:pt x="755" y="471"/>
                  <a:pt x="758" y="474"/>
                  <a:pt x="759" y="477"/>
                </a:cubicBezTo>
                <a:cubicBezTo>
                  <a:pt x="759" y="479"/>
                  <a:pt x="756" y="480"/>
                  <a:pt x="756" y="482"/>
                </a:cubicBezTo>
                <a:cubicBezTo>
                  <a:pt x="758" y="487"/>
                  <a:pt x="759" y="487"/>
                  <a:pt x="760" y="482"/>
                </a:cubicBezTo>
                <a:cubicBezTo>
                  <a:pt x="761" y="481"/>
                  <a:pt x="759" y="477"/>
                  <a:pt x="759" y="475"/>
                </a:cubicBezTo>
                <a:cubicBezTo>
                  <a:pt x="760" y="472"/>
                  <a:pt x="762" y="470"/>
                  <a:pt x="762" y="467"/>
                </a:cubicBezTo>
                <a:cubicBezTo>
                  <a:pt x="764" y="458"/>
                  <a:pt x="761" y="448"/>
                  <a:pt x="762" y="439"/>
                </a:cubicBezTo>
                <a:cubicBezTo>
                  <a:pt x="769" y="442"/>
                  <a:pt x="765" y="458"/>
                  <a:pt x="765" y="464"/>
                </a:cubicBezTo>
                <a:cubicBezTo>
                  <a:pt x="764" y="470"/>
                  <a:pt x="763" y="475"/>
                  <a:pt x="763" y="480"/>
                </a:cubicBezTo>
                <a:cubicBezTo>
                  <a:pt x="763" y="486"/>
                  <a:pt x="760" y="491"/>
                  <a:pt x="760" y="496"/>
                </a:cubicBezTo>
                <a:cubicBezTo>
                  <a:pt x="774" y="487"/>
                  <a:pt x="778" y="456"/>
                  <a:pt x="778" y="440"/>
                </a:cubicBezTo>
                <a:cubicBezTo>
                  <a:pt x="777" y="441"/>
                  <a:pt x="776" y="442"/>
                  <a:pt x="775" y="444"/>
                </a:cubicBezTo>
                <a:cubicBezTo>
                  <a:pt x="776" y="438"/>
                  <a:pt x="777" y="431"/>
                  <a:pt x="780" y="426"/>
                </a:cubicBezTo>
                <a:cubicBezTo>
                  <a:pt x="780" y="431"/>
                  <a:pt x="776" y="442"/>
                  <a:pt x="778" y="446"/>
                </a:cubicBezTo>
                <a:cubicBezTo>
                  <a:pt x="780" y="452"/>
                  <a:pt x="782" y="445"/>
                  <a:pt x="783" y="443"/>
                </a:cubicBezTo>
                <a:cubicBezTo>
                  <a:pt x="788" y="435"/>
                  <a:pt x="795" y="413"/>
                  <a:pt x="806" y="416"/>
                </a:cubicBezTo>
                <a:cubicBezTo>
                  <a:pt x="807" y="416"/>
                  <a:pt x="808" y="416"/>
                  <a:pt x="808" y="416"/>
                </a:cubicBezTo>
                <a:cubicBezTo>
                  <a:pt x="808" y="416"/>
                  <a:pt x="809" y="417"/>
                  <a:pt x="810" y="418"/>
                </a:cubicBezTo>
                <a:cubicBezTo>
                  <a:pt x="811" y="419"/>
                  <a:pt x="812" y="423"/>
                  <a:pt x="814" y="424"/>
                </a:cubicBezTo>
                <a:cubicBezTo>
                  <a:pt x="818" y="429"/>
                  <a:pt x="823" y="429"/>
                  <a:pt x="828" y="433"/>
                </a:cubicBezTo>
                <a:cubicBezTo>
                  <a:pt x="834" y="438"/>
                  <a:pt x="837" y="445"/>
                  <a:pt x="842" y="451"/>
                </a:cubicBezTo>
                <a:cubicBezTo>
                  <a:pt x="847" y="456"/>
                  <a:pt x="854" y="459"/>
                  <a:pt x="860" y="463"/>
                </a:cubicBezTo>
                <a:cubicBezTo>
                  <a:pt x="857" y="457"/>
                  <a:pt x="854" y="448"/>
                  <a:pt x="862" y="454"/>
                </a:cubicBezTo>
                <a:cubicBezTo>
                  <a:pt x="867" y="458"/>
                  <a:pt x="867" y="465"/>
                  <a:pt x="871" y="470"/>
                </a:cubicBezTo>
                <a:cubicBezTo>
                  <a:pt x="876" y="475"/>
                  <a:pt x="883" y="480"/>
                  <a:pt x="889" y="485"/>
                </a:cubicBezTo>
                <a:cubicBezTo>
                  <a:pt x="896" y="490"/>
                  <a:pt x="900" y="497"/>
                  <a:pt x="907" y="503"/>
                </a:cubicBezTo>
                <a:cubicBezTo>
                  <a:pt x="906" y="499"/>
                  <a:pt x="906" y="495"/>
                  <a:pt x="910" y="494"/>
                </a:cubicBezTo>
                <a:cubicBezTo>
                  <a:pt x="912" y="508"/>
                  <a:pt x="914" y="507"/>
                  <a:pt x="927" y="511"/>
                </a:cubicBezTo>
                <a:cubicBezTo>
                  <a:pt x="925" y="516"/>
                  <a:pt x="921" y="514"/>
                  <a:pt x="916" y="514"/>
                </a:cubicBezTo>
                <a:cubicBezTo>
                  <a:pt x="943" y="535"/>
                  <a:pt x="972" y="550"/>
                  <a:pt x="1003" y="560"/>
                </a:cubicBezTo>
                <a:cubicBezTo>
                  <a:pt x="1010" y="563"/>
                  <a:pt x="1015" y="565"/>
                  <a:pt x="1021" y="568"/>
                </a:cubicBezTo>
                <a:cubicBezTo>
                  <a:pt x="1027" y="571"/>
                  <a:pt x="1039" y="572"/>
                  <a:pt x="1042" y="577"/>
                </a:cubicBezTo>
                <a:cubicBezTo>
                  <a:pt x="1044" y="580"/>
                  <a:pt x="1044" y="584"/>
                  <a:pt x="1044" y="588"/>
                </a:cubicBezTo>
                <a:cubicBezTo>
                  <a:pt x="1043" y="591"/>
                  <a:pt x="1040" y="600"/>
                  <a:pt x="1042" y="603"/>
                </a:cubicBezTo>
                <a:cubicBezTo>
                  <a:pt x="1045" y="609"/>
                  <a:pt x="1051" y="605"/>
                  <a:pt x="1055" y="605"/>
                </a:cubicBezTo>
                <a:cubicBezTo>
                  <a:pt x="1057" y="605"/>
                  <a:pt x="1057" y="603"/>
                  <a:pt x="1059" y="604"/>
                </a:cubicBezTo>
                <a:cubicBezTo>
                  <a:pt x="1060" y="604"/>
                  <a:pt x="1064" y="611"/>
                  <a:pt x="1065" y="611"/>
                </a:cubicBezTo>
                <a:cubicBezTo>
                  <a:pt x="1069" y="617"/>
                  <a:pt x="1074" y="621"/>
                  <a:pt x="1078" y="627"/>
                </a:cubicBezTo>
                <a:cubicBezTo>
                  <a:pt x="1081" y="632"/>
                  <a:pt x="1081" y="633"/>
                  <a:pt x="1078" y="639"/>
                </a:cubicBezTo>
                <a:cubicBezTo>
                  <a:pt x="1077" y="643"/>
                  <a:pt x="1064" y="667"/>
                  <a:pt x="1076" y="667"/>
                </a:cubicBezTo>
                <a:cubicBezTo>
                  <a:pt x="1084" y="667"/>
                  <a:pt x="1083" y="643"/>
                  <a:pt x="1090" y="645"/>
                </a:cubicBezTo>
                <a:cubicBezTo>
                  <a:pt x="1096" y="647"/>
                  <a:pt x="1083" y="682"/>
                  <a:pt x="1100" y="676"/>
                </a:cubicBezTo>
                <a:cubicBezTo>
                  <a:pt x="1106" y="674"/>
                  <a:pt x="1104" y="640"/>
                  <a:pt x="1103" y="634"/>
                </a:cubicBezTo>
                <a:close/>
                <a:moveTo>
                  <a:pt x="522" y="55"/>
                </a:moveTo>
                <a:cubicBezTo>
                  <a:pt x="524" y="55"/>
                  <a:pt x="524" y="56"/>
                  <a:pt x="525" y="58"/>
                </a:cubicBezTo>
                <a:cubicBezTo>
                  <a:pt x="523" y="57"/>
                  <a:pt x="522" y="57"/>
                  <a:pt x="522" y="55"/>
                </a:cubicBezTo>
                <a:cubicBezTo>
                  <a:pt x="521" y="54"/>
                  <a:pt x="520" y="54"/>
                  <a:pt x="520" y="53"/>
                </a:cubicBezTo>
                <a:cubicBezTo>
                  <a:pt x="522" y="52"/>
                  <a:pt x="521" y="54"/>
                  <a:pt x="522" y="55"/>
                </a:cubicBezTo>
                <a:close/>
                <a:moveTo>
                  <a:pt x="519" y="52"/>
                </a:moveTo>
                <a:cubicBezTo>
                  <a:pt x="517" y="51"/>
                  <a:pt x="516" y="51"/>
                  <a:pt x="515" y="48"/>
                </a:cubicBezTo>
                <a:cubicBezTo>
                  <a:pt x="518" y="49"/>
                  <a:pt x="518" y="50"/>
                  <a:pt x="519" y="52"/>
                </a:cubicBezTo>
                <a:close/>
                <a:moveTo>
                  <a:pt x="523" y="79"/>
                </a:moveTo>
                <a:cubicBezTo>
                  <a:pt x="518" y="79"/>
                  <a:pt x="514" y="60"/>
                  <a:pt x="514" y="56"/>
                </a:cubicBezTo>
                <a:cubicBezTo>
                  <a:pt x="518" y="58"/>
                  <a:pt x="528" y="78"/>
                  <a:pt x="523" y="79"/>
                </a:cubicBezTo>
                <a:close/>
                <a:moveTo>
                  <a:pt x="513" y="47"/>
                </a:moveTo>
                <a:cubicBezTo>
                  <a:pt x="514" y="47"/>
                  <a:pt x="514" y="48"/>
                  <a:pt x="513" y="47"/>
                </a:cubicBezTo>
                <a:close/>
                <a:moveTo>
                  <a:pt x="395" y="21"/>
                </a:moveTo>
                <a:cubicBezTo>
                  <a:pt x="400" y="18"/>
                  <a:pt x="421" y="5"/>
                  <a:pt x="409" y="16"/>
                </a:cubicBezTo>
                <a:cubicBezTo>
                  <a:pt x="406" y="18"/>
                  <a:pt x="399" y="24"/>
                  <a:pt x="396" y="25"/>
                </a:cubicBezTo>
                <a:cubicBezTo>
                  <a:pt x="392" y="25"/>
                  <a:pt x="393" y="23"/>
                  <a:pt x="395" y="21"/>
                </a:cubicBezTo>
                <a:close/>
                <a:moveTo>
                  <a:pt x="410" y="105"/>
                </a:moveTo>
                <a:cubicBezTo>
                  <a:pt x="407" y="107"/>
                  <a:pt x="397" y="116"/>
                  <a:pt x="394" y="117"/>
                </a:cubicBezTo>
                <a:cubicBezTo>
                  <a:pt x="386" y="118"/>
                  <a:pt x="371" y="97"/>
                  <a:pt x="371" y="89"/>
                </a:cubicBezTo>
                <a:cubicBezTo>
                  <a:pt x="373" y="80"/>
                  <a:pt x="378" y="70"/>
                  <a:pt x="383" y="62"/>
                </a:cubicBezTo>
                <a:cubicBezTo>
                  <a:pt x="387" y="54"/>
                  <a:pt x="388" y="56"/>
                  <a:pt x="397" y="58"/>
                </a:cubicBezTo>
                <a:cubicBezTo>
                  <a:pt x="403" y="59"/>
                  <a:pt x="414" y="59"/>
                  <a:pt x="417" y="64"/>
                </a:cubicBezTo>
                <a:cubicBezTo>
                  <a:pt x="420" y="69"/>
                  <a:pt x="419" y="84"/>
                  <a:pt x="419" y="90"/>
                </a:cubicBezTo>
                <a:cubicBezTo>
                  <a:pt x="420" y="100"/>
                  <a:pt x="418" y="100"/>
                  <a:pt x="410" y="105"/>
                </a:cubicBezTo>
                <a:close/>
                <a:moveTo>
                  <a:pt x="462" y="150"/>
                </a:moveTo>
                <a:cubicBezTo>
                  <a:pt x="458" y="147"/>
                  <a:pt x="460" y="136"/>
                  <a:pt x="458" y="131"/>
                </a:cubicBezTo>
                <a:cubicBezTo>
                  <a:pt x="457" y="126"/>
                  <a:pt x="451" y="119"/>
                  <a:pt x="457" y="115"/>
                </a:cubicBezTo>
                <a:cubicBezTo>
                  <a:pt x="465" y="111"/>
                  <a:pt x="471" y="105"/>
                  <a:pt x="479" y="100"/>
                </a:cubicBezTo>
                <a:cubicBezTo>
                  <a:pt x="488" y="94"/>
                  <a:pt x="490" y="98"/>
                  <a:pt x="498" y="105"/>
                </a:cubicBezTo>
                <a:cubicBezTo>
                  <a:pt x="504" y="109"/>
                  <a:pt x="509" y="113"/>
                  <a:pt x="509" y="120"/>
                </a:cubicBezTo>
                <a:cubicBezTo>
                  <a:pt x="508" y="126"/>
                  <a:pt x="502" y="135"/>
                  <a:pt x="498" y="141"/>
                </a:cubicBezTo>
                <a:cubicBezTo>
                  <a:pt x="494" y="149"/>
                  <a:pt x="492" y="150"/>
                  <a:pt x="483" y="151"/>
                </a:cubicBezTo>
                <a:cubicBezTo>
                  <a:pt x="478" y="151"/>
                  <a:pt x="466" y="154"/>
                  <a:pt x="462" y="150"/>
                </a:cubicBezTo>
                <a:close/>
                <a:moveTo>
                  <a:pt x="272" y="309"/>
                </a:moveTo>
                <a:cubicBezTo>
                  <a:pt x="274" y="310"/>
                  <a:pt x="273" y="309"/>
                  <a:pt x="275" y="310"/>
                </a:cubicBezTo>
                <a:cubicBezTo>
                  <a:pt x="272" y="311"/>
                  <a:pt x="273" y="310"/>
                  <a:pt x="272" y="309"/>
                </a:cubicBezTo>
                <a:close/>
                <a:moveTo>
                  <a:pt x="276" y="309"/>
                </a:moveTo>
                <a:cubicBezTo>
                  <a:pt x="276" y="309"/>
                  <a:pt x="279" y="309"/>
                  <a:pt x="276" y="309"/>
                </a:cubicBezTo>
                <a:close/>
                <a:moveTo>
                  <a:pt x="292" y="317"/>
                </a:moveTo>
                <a:cubicBezTo>
                  <a:pt x="291" y="316"/>
                  <a:pt x="290" y="314"/>
                  <a:pt x="290" y="312"/>
                </a:cubicBezTo>
                <a:cubicBezTo>
                  <a:pt x="289" y="311"/>
                  <a:pt x="289" y="311"/>
                  <a:pt x="289" y="309"/>
                </a:cubicBezTo>
                <a:cubicBezTo>
                  <a:pt x="289" y="310"/>
                  <a:pt x="290" y="310"/>
                  <a:pt x="290" y="312"/>
                </a:cubicBezTo>
                <a:cubicBezTo>
                  <a:pt x="293" y="313"/>
                  <a:pt x="295" y="315"/>
                  <a:pt x="292" y="317"/>
                </a:cubicBezTo>
                <a:close/>
                <a:moveTo>
                  <a:pt x="298" y="298"/>
                </a:moveTo>
                <a:cubicBezTo>
                  <a:pt x="297" y="295"/>
                  <a:pt x="294" y="290"/>
                  <a:pt x="293" y="288"/>
                </a:cubicBezTo>
                <a:cubicBezTo>
                  <a:pt x="301" y="293"/>
                  <a:pt x="301" y="298"/>
                  <a:pt x="300" y="308"/>
                </a:cubicBezTo>
                <a:cubicBezTo>
                  <a:pt x="300" y="309"/>
                  <a:pt x="301" y="310"/>
                  <a:pt x="301" y="311"/>
                </a:cubicBezTo>
                <a:cubicBezTo>
                  <a:pt x="298" y="307"/>
                  <a:pt x="299" y="303"/>
                  <a:pt x="298" y="298"/>
                </a:cubicBezTo>
                <a:close/>
                <a:moveTo>
                  <a:pt x="310" y="301"/>
                </a:moveTo>
                <a:cubicBezTo>
                  <a:pt x="311" y="304"/>
                  <a:pt x="311" y="308"/>
                  <a:pt x="311" y="311"/>
                </a:cubicBezTo>
                <a:cubicBezTo>
                  <a:pt x="308" y="309"/>
                  <a:pt x="309" y="305"/>
                  <a:pt x="310" y="301"/>
                </a:cubicBezTo>
                <a:close/>
                <a:moveTo>
                  <a:pt x="320" y="337"/>
                </a:moveTo>
                <a:cubicBezTo>
                  <a:pt x="323" y="335"/>
                  <a:pt x="322" y="337"/>
                  <a:pt x="322" y="338"/>
                </a:cubicBezTo>
                <a:cubicBezTo>
                  <a:pt x="322" y="337"/>
                  <a:pt x="321" y="337"/>
                  <a:pt x="320" y="337"/>
                </a:cubicBezTo>
                <a:close/>
                <a:moveTo>
                  <a:pt x="315" y="317"/>
                </a:moveTo>
                <a:cubicBezTo>
                  <a:pt x="316" y="314"/>
                  <a:pt x="317" y="312"/>
                  <a:pt x="316" y="309"/>
                </a:cubicBezTo>
                <a:cubicBezTo>
                  <a:pt x="319" y="313"/>
                  <a:pt x="323" y="315"/>
                  <a:pt x="325" y="317"/>
                </a:cubicBezTo>
                <a:cubicBezTo>
                  <a:pt x="325" y="317"/>
                  <a:pt x="326" y="316"/>
                  <a:pt x="326" y="315"/>
                </a:cubicBezTo>
                <a:cubicBezTo>
                  <a:pt x="324" y="323"/>
                  <a:pt x="321" y="320"/>
                  <a:pt x="315" y="317"/>
                </a:cubicBezTo>
                <a:close/>
                <a:moveTo>
                  <a:pt x="325" y="315"/>
                </a:moveTo>
                <a:cubicBezTo>
                  <a:pt x="328" y="307"/>
                  <a:pt x="319" y="293"/>
                  <a:pt x="328" y="288"/>
                </a:cubicBezTo>
                <a:cubicBezTo>
                  <a:pt x="329" y="287"/>
                  <a:pt x="330" y="287"/>
                  <a:pt x="331" y="286"/>
                </a:cubicBezTo>
                <a:cubicBezTo>
                  <a:pt x="328" y="290"/>
                  <a:pt x="324" y="295"/>
                  <a:pt x="327" y="299"/>
                </a:cubicBezTo>
                <a:cubicBezTo>
                  <a:pt x="329" y="296"/>
                  <a:pt x="330" y="294"/>
                  <a:pt x="331" y="291"/>
                </a:cubicBezTo>
                <a:cubicBezTo>
                  <a:pt x="331" y="292"/>
                  <a:pt x="331" y="294"/>
                  <a:pt x="331" y="296"/>
                </a:cubicBezTo>
                <a:cubicBezTo>
                  <a:pt x="331" y="295"/>
                  <a:pt x="333" y="295"/>
                  <a:pt x="333" y="294"/>
                </a:cubicBezTo>
                <a:cubicBezTo>
                  <a:pt x="326" y="300"/>
                  <a:pt x="333" y="311"/>
                  <a:pt x="325" y="315"/>
                </a:cubicBezTo>
                <a:close/>
                <a:moveTo>
                  <a:pt x="334" y="343"/>
                </a:moveTo>
                <a:cubicBezTo>
                  <a:pt x="337" y="345"/>
                  <a:pt x="340" y="348"/>
                  <a:pt x="340" y="350"/>
                </a:cubicBezTo>
                <a:cubicBezTo>
                  <a:pt x="338" y="348"/>
                  <a:pt x="336" y="345"/>
                  <a:pt x="334" y="343"/>
                </a:cubicBezTo>
                <a:close/>
                <a:moveTo>
                  <a:pt x="341" y="275"/>
                </a:moveTo>
                <a:cubicBezTo>
                  <a:pt x="340" y="274"/>
                  <a:pt x="340" y="273"/>
                  <a:pt x="340" y="273"/>
                </a:cubicBezTo>
                <a:cubicBezTo>
                  <a:pt x="341" y="274"/>
                  <a:pt x="342" y="273"/>
                  <a:pt x="341" y="275"/>
                </a:cubicBezTo>
                <a:close/>
                <a:moveTo>
                  <a:pt x="341" y="273"/>
                </a:moveTo>
                <a:cubicBezTo>
                  <a:pt x="342" y="270"/>
                  <a:pt x="343" y="268"/>
                  <a:pt x="345" y="265"/>
                </a:cubicBezTo>
                <a:cubicBezTo>
                  <a:pt x="346" y="269"/>
                  <a:pt x="344" y="271"/>
                  <a:pt x="341" y="273"/>
                </a:cubicBezTo>
                <a:close/>
                <a:moveTo>
                  <a:pt x="312" y="412"/>
                </a:moveTo>
                <a:cubicBezTo>
                  <a:pt x="312" y="414"/>
                  <a:pt x="313" y="416"/>
                  <a:pt x="312" y="418"/>
                </a:cubicBezTo>
                <a:cubicBezTo>
                  <a:pt x="310" y="416"/>
                  <a:pt x="310" y="414"/>
                  <a:pt x="312" y="412"/>
                </a:cubicBezTo>
                <a:close/>
                <a:moveTo>
                  <a:pt x="300" y="477"/>
                </a:moveTo>
                <a:cubicBezTo>
                  <a:pt x="302" y="482"/>
                  <a:pt x="302" y="488"/>
                  <a:pt x="303" y="494"/>
                </a:cubicBezTo>
                <a:cubicBezTo>
                  <a:pt x="299" y="490"/>
                  <a:pt x="299" y="482"/>
                  <a:pt x="300" y="477"/>
                </a:cubicBezTo>
                <a:close/>
                <a:moveTo>
                  <a:pt x="300" y="517"/>
                </a:moveTo>
                <a:cubicBezTo>
                  <a:pt x="301" y="513"/>
                  <a:pt x="300" y="510"/>
                  <a:pt x="296" y="509"/>
                </a:cubicBezTo>
                <a:cubicBezTo>
                  <a:pt x="299" y="506"/>
                  <a:pt x="298" y="502"/>
                  <a:pt x="297" y="499"/>
                </a:cubicBezTo>
                <a:cubicBezTo>
                  <a:pt x="299" y="504"/>
                  <a:pt x="303" y="512"/>
                  <a:pt x="300" y="517"/>
                </a:cubicBezTo>
                <a:close/>
                <a:moveTo>
                  <a:pt x="302" y="503"/>
                </a:moveTo>
                <a:cubicBezTo>
                  <a:pt x="302" y="503"/>
                  <a:pt x="302" y="502"/>
                  <a:pt x="302" y="501"/>
                </a:cubicBezTo>
                <a:cubicBezTo>
                  <a:pt x="304" y="505"/>
                  <a:pt x="306" y="509"/>
                  <a:pt x="308" y="513"/>
                </a:cubicBezTo>
                <a:cubicBezTo>
                  <a:pt x="310" y="511"/>
                  <a:pt x="312" y="510"/>
                  <a:pt x="314" y="508"/>
                </a:cubicBezTo>
                <a:cubicBezTo>
                  <a:pt x="313" y="511"/>
                  <a:pt x="311" y="521"/>
                  <a:pt x="309" y="520"/>
                </a:cubicBezTo>
                <a:cubicBezTo>
                  <a:pt x="307" y="520"/>
                  <a:pt x="302" y="505"/>
                  <a:pt x="302" y="503"/>
                </a:cubicBezTo>
                <a:close/>
                <a:moveTo>
                  <a:pt x="316" y="538"/>
                </a:moveTo>
                <a:cubicBezTo>
                  <a:pt x="316" y="540"/>
                  <a:pt x="316" y="542"/>
                  <a:pt x="314" y="543"/>
                </a:cubicBezTo>
                <a:cubicBezTo>
                  <a:pt x="314" y="541"/>
                  <a:pt x="315" y="539"/>
                  <a:pt x="316" y="538"/>
                </a:cubicBezTo>
                <a:close/>
                <a:moveTo>
                  <a:pt x="296" y="577"/>
                </a:moveTo>
                <a:cubicBezTo>
                  <a:pt x="295" y="578"/>
                  <a:pt x="294" y="578"/>
                  <a:pt x="293" y="579"/>
                </a:cubicBezTo>
                <a:cubicBezTo>
                  <a:pt x="293" y="580"/>
                  <a:pt x="293" y="581"/>
                  <a:pt x="293" y="582"/>
                </a:cubicBezTo>
                <a:cubicBezTo>
                  <a:pt x="293" y="581"/>
                  <a:pt x="293" y="580"/>
                  <a:pt x="293" y="579"/>
                </a:cubicBezTo>
                <a:cubicBezTo>
                  <a:pt x="294" y="579"/>
                  <a:pt x="294" y="579"/>
                  <a:pt x="294" y="579"/>
                </a:cubicBezTo>
                <a:cubicBezTo>
                  <a:pt x="289" y="584"/>
                  <a:pt x="285" y="592"/>
                  <a:pt x="280" y="596"/>
                </a:cubicBezTo>
                <a:cubicBezTo>
                  <a:pt x="274" y="602"/>
                  <a:pt x="276" y="598"/>
                  <a:pt x="279" y="593"/>
                </a:cubicBezTo>
                <a:cubicBezTo>
                  <a:pt x="283" y="585"/>
                  <a:pt x="288" y="566"/>
                  <a:pt x="296" y="564"/>
                </a:cubicBezTo>
                <a:cubicBezTo>
                  <a:pt x="296" y="575"/>
                  <a:pt x="315" y="569"/>
                  <a:pt x="318" y="561"/>
                </a:cubicBezTo>
                <a:cubicBezTo>
                  <a:pt x="319" y="574"/>
                  <a:pt x="303" y="572"/>
                  <a:pt x="296" y="577"/>
                </a:cubicBezTo>
                <a:close/>
                <a:moveTo>
                  <a:pt x="316" y="587"/>
                </a:moveTo>
                <a:cubicBezTo>
                  <a:pt x="314" y="587"/>
                  <a:pt x="313" y="587"/>
                  <a:pt x="311" y="587"/>
                </a:cubicBezTo>
                <a:cubicBezTo>
                  <a:pt x="313" y="585"/>
                  <a:pt x="316" y="584"/>
                  <a:pt x="319" y="585"/>
                </a:cubicBezTo>
                <a:cubicBezTo>
                  <a:pt x="318" y="587"/>
                  <a:pt x="317" y="586"/>
                  <a:pt x="316" y="587"/>
                </a:cubicBezTo>
                <a:close/>
                <a:moveTo>
                  <a:pt x="318" y="499"/>
                </a:moveTo>
                <a:cubicBezTo>
                  <a:pt x="315" y="497"/>
                  <a:pt x="315" y="496"/>
                  <a:pt x="316" y="494"/>
                </a:cubicBezTo>
                <a:cubicBezTo>
                  <a:pt x="320" y="493"/>
                  <a:pt x="321" y="496"/>
                  <a:pt x="318" y="499"/>
                </a:cubicBezTo>
                <a:close/>
                <a:moveTo>
                  <a:pt x="112" y="707"/>
                </a:moveTo>
                <a:cubicBezTo>
                  <a:pt x="111" y="711"/>
                  <a:pt x="121" y="701"/>
                  <a:pt x="117" y="703"/>
                </a:cubicBezTo>
                <a:cubicBezTo>
                  <a:pt x="119" y="702"/>
                  <a:pt x="119" y="700"/>
                  <a:pt x="121" y="703"/>
                </a:cubicBezTo>
                <a:cubicBezTo>
                  <a:pt x="121" y="710"/>
                  <a:pt x="110" y="715"/>
                  <a:pt x="112" y="707"/>
                </a:cubicBezTo>
                <a:close/>
                <a:moveTo>
                  <a:pt x="339" y="459"/>
                </a:moveTo>
                <a:cubicBezTo>
                  <a:pt x="339" y="458"/>
                  <a:pt x="337" y="461"/>
                  <a:pt x="336" y="462"/>
                </a:cubicBezTo>
                <a:cubicBezTo>
                  <a:pt x="336" y="466"/>
                  <a:pt x="342" y="468"/>
                  <a:pt x="336" y="471"/>
                </a:cubicBezTo>
                <a:cubicBezTo>
                  <a:pt x="333" y="465"/>
                  <a:pt x="326" y="459"/>
                  <a:pt x="330" y="452"/>
                </a:cubicBezTo>
                <a:cubicBezTo>
                  <a:pt x="332" y="448"/>
                  <a:pt x="334" y="449"/>
                  <a:pt x="337" y="451"/>
                </a:cubicBezTo>
                <a:cubicBezTo>
                  <a:pt x="342" y="454"/>
                  <a:pt x="339" y="456"/>
                  <a:pt x="339" y="459"/>
                </a:cubicBezTo>
                <a:close/>
                <a:moveTo>
                  <a:pt x="351" y="443"/>
                </a:moveTo>
                <a:cubicBezTo>
                  <a:pt x="346" y="443"/>
                  <a:pt x="344" y="432"/>
                  <a:pt x="349" y="430"/>
                </a:cubicBezTo>
                <a:cubicBezTo>
                  <a:pt x="351" y="432"/>
                  <a:pt x="357" y="444"/>
                  <a:pt x="351" y="443"/>
                </a:cubicBezTo>
                <a:close/>
                <a:moveTo>
                  <a:pt x="347" y="414"/>
                </a:moveTo>
                <a:cubicBezTo>
                  <a:pt x="355" y="413"/>
                  <a:pt x="359" y="433"/>
                  <a:pt x="361" y="438"/>
                </a:cubicBezTo>
                <a:cubicBezTo>
                  <a:pt x="357" y="433"/>
                  <a:pt x="345" y="421"/>
                  <a:pt x="347" y="414"/>
                </a:cubicBezTo>
                <a:close/>
                <a:moveTo>
                  <a:pt x="369" y="291"/>
                </a:moveTo>
                <a:cubicBezTo>
                  <a:pt x="367" y="296"/>
                  <a:pt x="366" y="300"/>
                  <a:pt x="365" y="305"/>
                </a:cubicBezTo>
                <a:cubicBezTo>
                  <a:pt x="365" y="308"/>
                  <a:pt x="367" y="319"/>
                  <a:pt x="365" y="321"/>
                </a:cubicBezTo>
                <a:cubicBezTo>
                  <a:pt x="363" y="326"/>
                  <a:pt x="357" y="323"/>
                  <a:pt x="358" y="317"/>
                </a:cubicBezTo>
                <a:cubicBezTo>
                  <a:pt x="357" y="318"/>
                  <a:pt x="356" y="318"/>
                  <a:pt x="355" y="318"/>
                </a:cubicBezTo>
                <a:cubicBezTo>
                  <a:pt x="360" y="302"/>
                  <a:pt x="368" y="287"/>
                  <a:pt x="375" y="272"/>
                </a:cubicBezTo>
                <a:cubicBezTo>
                  <a:pt x="375" y="277"/>
                  <a:pt x="372" y="286"/>
                  <a:pt x="369" y="291"/>
                </a:cubicBezTo>
                <a:close/>
                <a:moveTo>
                  <a:pt x="400" y="436"/>
                </a:moveTo>
                <a:cubicBezTo>
                  <a:pt x="395" y="435"/>
                  <a:pt x="394" y="421"/>
                  <a:pt x="399" y="422"/>
                </a:cubicBezTo>
                <a:cubicBezTo>
                  <a:pt x="403" y="423"/>
                  <a:pt x="403" y="434"/>
                  <a:pt x="400" y="436"/>
                </a:cubicBezTo>
                <a:close/>
                <a:moveTo>
                  <a:pt x="392" y="312"/>
                </a:moveTo>
                <a:cubicBezTo>
                  <a:pt x="393" y="311"/>
                  <a:pt x="398" y="306"/>
                  <a:pt x="401" y="304"/>
                </a:cubicBezTo>
                <a:cubicBezTo>
                  <a:pt x="400" y="309"/>
                  <a:pt x="396" y="310"/>
                  <a:pt x="392" y="312"/>
                </a:cubicBezTo>
                <a:close/>
                <a:moveTo>
                  <a:pt x="386" y="311"/>
                </a:moveTo>
                <a:cubicBezTo>
                  <a:pt x="393" y="303"/>
                  <a:pt x="398" y="295"/>
                  <a:pt x="406" y="289"/>
                </a:cubicBezTo>
                <a:cubicBezTo>
                  <a:pt x="400" y="297"/>
                  <a:pt x="392" y="303"/>
                  <a:pt x="386" y="311"/>
                </a:cubicBezTo>
                <a:close/>
                <a:moveTo>
                  <a:pt x="407" y="365"/>
                </a:moveTo>
                <a:cubicBezTo>
                  <a:pt x="412" y="375"/>
                  <a:pt x="414" y="384"/>
                  <a:pt x="417" y="395"/>
                </a:cubicBezTo>
                <a:cubicBezTo>
                  <a:pt x="414" y="385"/>
                  <a:pt x="410" y="375"/>
                  <a:pt x="407" y="365"/>
                </a:cubicBezTo>
                <a:close/>
                <a:moveTo>
                  <a:pt x="414" y="321"/>
                </a:moveTo>
                <a:cubicBezTo>
                  <a:pt x="413" y="321"/>
                  <a:pt x="412" y="319"/>
                  <a:pt x="412" y="319"/>
                </a:cubicBezTo>
                <a:cubicBezTo>
                  <a:pt x="412" y="320"/>
                  <a:pt x="411" y="320"/>
                  <a:pt x="411" y="320"/>
                </a:cubicBezTo>
                <a:cubicBezTo>
                  <a:pt x="412" y="319"/>
                  <a:pt x="408" y="300"/>
                  <a:pt x="414" y="307"/>
                </a:cubicBezTo>
                <a:cubicBezTo>
                  <a:pt x="417" y="310"/>
                  <a:pt x="418" y="320"/>
                  <a:pt x="414" y="321"/>
                </a:cubicBezTo>
                <a:close/>
                <a:moveTo>
                  <a:pt x="424" y="353"/>
                </a:moveTo>
                <a:cubicBezTo>
                  <a:pt x="424" y="355"/>
                  <a:pt x="425" y="356"/>
                  <a:pt x="426" y="359"/>
                </a:cubicBezTo>
                <a:cubicBezTo>
                  <a:pt x="419" y="359"/>
                  <a:pt x="420" y="355"/>
                  <a:pt x="424" y="353"/>
                </a:cubicBezTo>
                <a:close/>
                <a:moveTo>
                  <a:pt x="434" y="283"/>
                </a:moveTo>
                <a:cubicBezTo>
                  <a:pt x="432" y="282"/>
                  <a:pt x="431" y="274"/>
                  <a:pt x="436" y="272"/>
                </a:cubicBezTo>
                <a:cubicBezTo>
                  <a:pt x="446" y="268"/>
                  <a:pt x="437" y="281"/>
                  <a:pt x="434" y="283"/>
                </a:cubicBezTo>
                <a:close/>
                <a:moveTo>
                  <a:pt x="439" y="404"/>
                </a:moveTo>
                <a:cubicBezTo>
                  <a:pt x="441" y="398"/>
                  <a:pt x="442" y="390"/>
                  <a:pt x="447" y="384"/>
                </a:cubicBezTo>
                <a:cubicBezTo>
                  <a:pt x="446" y="392"/>
                  <a:pt x="442" y="397"/>
                  <a:pt x="439" y="404"/>
                </a:cubicBezTo>
                <a:close/>
                <a:moveTo>
                  <a:pt x="447" y="260"/>
                </a:moveTo>
                <a:cubicBezTo>
                  <a:pt x="445" y="258"/>
                  <a:pt x="433" y="242"/>
                  <a:pt x="435" y="239"/>
                </a:cubicBezTo>
                <a:cubicBezTo>
                  <a:pt x="438" y="236"/>
                  <a:pt x="447" y="259"/>
                  <a:pt x="450" y="260"/>
                </a:cubicBezTo>
                <a:cubicBezTo>
                  <a:pt x="449" y="260"/>
                  <a:pt x="448" y="261"/>
                  <a:pt x="447" y="260"/>
                </a:cubicBezTo>
                <a:close/>
                <a:moveTo>
                  <a:pt x="447" y="213"/>
                </a:moveTo>
                <a:cubicBezTo>
                  <a:pt x="438" y="217"/>
                  <a:pt x="455" y="201"/>
                  <a:pt x="458" y="198"/>
                </a:cubicBezTo>
                <a:cubicBezTo>
                  <a:pt x="461" y="203"/>
                  <a:pt x="451" y="210"/>
                  <a:pt x="447" y="213"/>
                </a:cubicBezTo>
                <a:close/>
                <a:moveTo>
                  <a:pt x="456" y="592"/>
                </a:moveTo>
                <a:cubicBezTo>
                  <a:pt x="458" y="585"/>
                  <a:pt x="463" y="575"/>
                  <a:pt x="458" y="570"/>
                </a:cubicBezTo>
                <a:cubicBezTo>
                  <a:pt x="463" y="575"/>
                  <a:pt x="458" y="586"/>
                  <a:pt x="456" y="592"/>
                </a:cubicBezTo>
                <a:close/>
                <a:moveTo>
                  <a:pt x="494" y="583"/>
                </a:moveTo>
                <a:cubicBezTo>
                  <a:pt x="500" y="576"/>
                  <a:pt x="494" y="587"/>
                  <a:pt x="493" y="589"/>
                </a:cubicBezTo>
                <a:cubicBezTo>
                  <a:pt x="492" y="587"/>
                  <a:pt x="493" y="585"/>
                  <a:pt x="494" y="583"/>
                </a:cubicBezTo>
                <a:close/>
                <a:moveTo>
                  <a:pt x="534" y="541"/>
                </a:moveTo>
                <a:cubicBezTo>
                  <a:pt x="533" y="544"/>
                  <a:pt x="531" y="547"/>
                  <a:pt x="528" y="549"/>
                </a:cubicBezTo>
                <a:cubicBezTo>
                  <a:pt x="529" y="543"/>
                  <a:pt x="530" y="537"/>
                  <a:pt x="531" y="531"/>
                </a:cubicBezTo>
                <a:cubicBezTo>
                  <a:pt x="531" y="531"/>
                  <a:pt x="531" y="530"/>
                  <a:pt x="530" y="530"/>
                </a:cubicBezTo>
                <a:cubicBezTo>
                  <a:pt x="531" y="529"/>
                  <a:pt x="532" y="528"/>
                  <a:pt x="532" y="526"/>
                </a:cubicBezTo>
                <a:cubicBezTo>
                  <a:pt x="533" y="524"/>
                  <a:pt x="534" y="521"/>
                  <a:pt x="535" y="519"/>
                </a:cubicBezTo>
                <a:cubicBezTo>
                  <a:pt x="538" y="512"/>
                  <a:pt x="543" y="502"/>
                  <a:pt x="531" y="501"/>
                </a:cubicBezTo>
                <a:cubicBezTo>
                  <a:pt x="546" y="494"/>
                  <a:pt x="537" y="516"/>
                  <a:pt x="532" y="526"/>
                </a:cubicBezTo>
                <a:cubicBezTo>
                  <a:pt x="532" y="528"/>
                  <a:pt x="532" y="530"/>
                  <a:pt x="531" y="531"/>
                </a:cubicBezTo>
                <a:cubicBezTo>
                  <a:pt x="533" y="535"/>
                  <a:pt x="531" y="539"/>
                  <a:pt x="535" y="541"/>
                </a:cubicBezTo>
                <a:cubicBezTo>
                  <a:pt x="537" y="542"/>
                  <a:pt x="533" y="541"/>
                  <a:pt x="534" y="541"/>
                </a:cubicBezTo>
                <a:close/>
                <a:moveTo>
                  <a:pt x="549" y="562"/>
                </a:moveTo>
                <a:cubicBezTo>
                  <a:pt x="547" y="561"/>
                  <a:pt x="545" y="562"/>
                  <a:pt x="545" y="559"/>
                </a:cubicBezTo>
                <a:cubicBezTo>
                  <a:pt x="544" y="560"/>
                  <a:pt x="544" y="560"/>
                  <a:pt x="543" y="561"/>
                </a:cubicBezTo>
                <a:cubicBezTo>
                  <a:pt x="543" y="563"/>
                  <a:pt x="541" y="564"/>
                  <a:pt x="536" y="564"/>
                </a:cubicBezTo>
                <a:cubicBezTo>
                  <a:pt x="539" y="564"/>
                  <a:pt x="541" y="563"/>
                  <a:pt x="543" y="561"/>
                </a:cubicBezTo>
                <a:cubicBezTo>
                  <a:pt x="544" y="558"/>
                  <a:pt x="541" y="554"/>
                  <a:pt x="540" y="551"/>
                </a:cubicBezTo>
                <a:cubicBezTo>
                  <a:pt x="539" y="547"/>
                  <a:pt x="537" y="532"/>
                  <a:pt x="538" y="528"/>
                </a:cubicBezTo>
                <a:cubicBezTo>
                  <a:pt x="543" y="535"/>
                  <a:pt x="557" y="555"/>
                  <a:pt x="549" y="562"/>
                </a:cubicBezTo>
                <a:close/>
                <a:moveTo>
                  <a:pt x="549" y="330"/>
                </a:moveTo>
                <a:cubicBezTo>
                  <a:pt x="547" y="327"/>
                  <a:pt x="549" y="328"/>
                  <a:pt x="550" y="326"/>
                </a:cubicBezTo>
                <a:cubicBezTo>
                  <a:pt x="549" y="329"/>
                  <a:pt x="558" y="319"/>
                  <a:pt x="554" y="321"/>
                </a:cubicBezTo>
                <a:cubicBezTo>
                  <a:pt x="562" y="317"/>
                  <a:pt x="557" y="332"/>
                  <a:pt x="549" y="330"/>
                </a:cubicBezTo>
                <a:close/>
                <a:moveTo>
                  <a:pt x="557" y="597"/>
                </a:moveTo>
                <a:cubicBezTo>
                  <a:pt x="557" y="600"/>
                  <a:pt x="557" y="602"/>
                  <a:pt x="555" y="605"/>
                </a:cubicBezTo>
                <a:cubicBezTo>
                  <a:pt x="554" y="602"/>
                  <a:pt x="554" y="599"/>
                  <a:pt x="557" y="597"/>
                </a:cubicBezTo>
                <a:close/>
                <a:moveTo>
                  <a:pt x="540" y="618"/>
                </a:moveTo>
                <a:cubicBezTo>
                  <a:pt x="538" y="616"/>
                  <a:pt x="537" y="613"/>
                  <a:pt x="537" y="610"/>
                </a:cubicBezTo>
                <a:cubicBezTo>
                  <a:pt x="540" y="609"/>
                  <a:pt x="540" y="609"/>
                  <a:pt x="541" y="608"/>
                </a:cubicBezTo>
                <a:cubicBezTo>
                  <a:pt x="541" y="608"/>
                  <a:pt x="542" y="608"/>
                  <a:pt x="543" y="607"/>
                </a:cubicBezTo>
                <a:cubicBezTo>
                  <a:pt x="542" y="608"/>
                  <a:pt x="542" y="608"/>
                  <a:pt x="541" y="608"/>
                </a:cubicBezTo>
                <a:cubicBezTo>
                  <a:pt x="541" y="609"/>
                  <a:pt x="541" y="609"/>
                  <a:pt x="540" y="610"/>
                </a:cubicBezTo>
                <a:cubicBezTo>
                  <a:pt x="540" y="613"/>
                  <a:pt x="540" y="616"/>
                  <a:pt x="540" y="618"/>
                </a:cubicBezTo>
                <a:close/>
                <a:moveTo>
                  <a:pt x="549" y="729"/>
                </a:moveTo>
                <a:cubicBezTo>
                  <a:pt x="549" y="725"/>
                  <a:pt x="553" y="723"/>
                  <a:pt x="557" y="726"/>
                </a:cubicBezTo>
                <a:cubicBezTo>
                  <a:pt x="559" y="728"/>
                  <a:pt x="554" y="734"/>
                  <a:pt x="560" y="737"/>
                </a:cubicBezTo>
                <a:cubicBezTo>
                  <a:pt x="554" y="739"/>
                  <a:pt x="550" y="734"/>
                  <a:pt x="549" y="729"/>
                </a:cubicBezTo>
                <a:close/>
                <a:moveTo>
                  <a:pt x="561" y="675"/>
                </a:moveTo>
                <a:cubicBezTo>
                  <a:pt x="556" y="680"/>
                  <a:pt x="552" y="672"/>
                  <a:pt x="547" y="676"/>
                </a:cubicBezTo>
                <a:cubicBezTo>
                  <a:pt x="546" y="677"/>
                  <a:pt x="544" y="685"/>
                  <a:pt x="545" y="688"/>
                </a:cubicBezTo>
                <a:cubicBezTo>
                  <a:pt x="548" y="693"/>
                  <a:pt x="546" y="687"/>
                  <a:pt x="550" y="687"/>
                </a:cubicBezTo>
                <a:cubicBezTo>
                  <a:pt x="556" y="688"/>
                  <a:pt x="554" y="686"/>
                  <a:pt x="550" y="692"/>
                </a:cubicBezTo>
                <a:cubicBezTo>
                  <a:pt x="547" y="696"/>
                  <a:pt x="544" y="702"/>
                  <a:pt x="552" y="703"/>
                </a:cubicBezTo>
                <a:cubicBezTo>
                  <a:pt x="550" y="711"/>
                  <a:pt x="545" y="716"/>
                  <a:pt x="552" y="722"/>
                </a:cubicBezTo>
                <a:cubicBezTo>
                  <a:pt x="546" y="721"/>
                  <a:pt x="545" y="718"/>
                  <a:pt x="545" y="712"/>
                </a:cubicBezTo>
                <a:cubicBezTo>
                  <a:pt x="545" y="711"/>
                  <a:pt x="547" y="709"/>
                  <a:pt x="547" y="708"/>
                </a:cubicBezTo>
                <a:cubicBezTo>
                  <a:pt x="547" y="705"/>
                  <a:pt x="543" y="701"/>
                  <a:pt x="542" y="697"/>
                </a:cubicBezTo>
                <a:cubicBezTo>
                  <a:pt x="541" y="691"/>
                  <a:pt x="540" y="678"/>
                  <a:pt x="542" y="672"/>
                </a:cubicBezTo>
                <a:cubicBezTo>
                  <a:pt x="544" y="667"/>
                  <a:pt x="548" y="666"/>
                  <a:pt x="546" y="672"/>
                </a:cubicBezTo>
                <a:cubicBezTo>
                  <a:pt x="552" y="672"/>
                  <a:pt x="563" y="665"/>
                  <a:pt x="561" y="675"/>
                </a:cubicBezTo>
                <a:close/>
                <a:moveTo>
                  <a:pt x="558" y="606"/>
                </a:moveTo>
                <a:cubicBezTo>
                  <a:pt x="559" y="606"/>
                  <a:pt x="560" y="605"/>
                  <a:pt x="560" y="604"/>
                </a:cubicBezTo>
                <a:cubicBezTo>
                  <a:pt x="561" y="606"/>
                  <a:pt x="559" y="605"/>
                  <a:pt x="558" y="606"/>
                </a:cubicBezTo>
                <a:close/>
                <a:moveTo>
                  <a:pt x="560" y="600"/>
                </a:moveTo>
                <a:cubicBezTo>
                  <a:pt x="559" y="596"/>
                  <a:pt x="560" y="593"/>
                  <a:pt x="559" y="589"/>
                </a:cubicBezTo>
                <a:cubicBezTo>
                  <a:pt x="559" y="587"/>
                  <a:pt x="557" y="585"/>
                  <a:pt x="557" y="583"/>
                </a:cubicBezTo>
                <a:cubicBezTo>
                  <a:pt x="557" y="583"/>
                  <a:pt x="557" y="583"/>
                  <a:pt x="557" y="583"/>
                </a:cubicBezTo>
                <a:cubicBezTo>
                  <a:pt x="556" y="583"/>
                  <a:pt x="556" y="583"/>
                  <a:pt x="556" y="582"/>
                </a:cubicBezTo>
                <a:cubicBezTo>
                  <a:pt x="556" y="582"/>
                  <a:pt x="556" y="583"/>
                  <a:pt x="557" y="583"/>
                </a:cubicBezTo>
                <a:cubicBezTo>
                  <a:pt x="560" y="579"/>
                  <a:pt x="562" y="582"/>
                  <a:pt x="562" y="587"/>
                </a:cubicBezTo>
                <a:cubicBezTo>
                  <a:pt x="561" y="591"/>
                  <a:pt x="561" y="595"/>
                  <a:pt x="560" y="600"/>
                </a:cubicBezTo>
                <a:close/>
                <a:moveTo>
                  <a:pt x="572" y="695"/>
                </a:moveTo>
                <a:cubicBezTo>
                  <a:pt x="568" y="699"/>
                  <a:pt x="567" y="694"/>
                  <a:pt x="572" y="695"/>
                </a:cubicBezTo>
                <a:close/>
                <a:moveTo>
                  <a:pt x="664" y="159"/>
                </a:moveTo>
                <a:cubicBezTo>
                  <a:pt x="664" y="161"/>
                  <a:pt x="665" y="161"/>
                  <a:pt x="665" y="162"/>
                </a:cubicBezTo>
                <a:cubicBezTo>
                  <a:pt x="664" y="168"/>
                  <a:pt x="660" y="177"/>
                  <a:pt x="657" y="183"/>
                </a:cubicBezTo>
                <a:cubicBezTo>
                  <a:pt x="657" y="184"/>
                  <a:pt x="656" y="189"/>
                  <a:pt x="655" y="189"/>
                </a:cubicBezTo>
                <a:cubicBezTo>
                  <a:pt x="654" y="191"/>
                  <a:pt x="652" y="189"/>
                  <a:pt x="651" y="193"/>
                </a:cubicBezTo>
                <a:cubicBezTo>
                  <a:pt x="647" y="186"/>
                  <a:pt x="653" y="179"/>
                  <a:pt x="657" y="173"/>
                </a:cubicBezTo>
                <a:cubicBezTo>
                  <a:pt x="659" y="169"/>
                  <a:pt x="662" y="161"/>
                  <a:pt x="664" y="159"/>
                </a:cubicBezTo>
                <a:close/>
                <a:moveTo>
                  <a:pt x="628" y="129"/>
                </a:moveTo>
                <a:cubicBezTo>
                  <a:pt x="629" y="131"/>
                  <a:pt x="627" y="128"/>
                  <a:pt x="628" y="129"/>
                </a:cubicBezTo>
                <a:close/>
                <a:moveTo>
                  <a:pt x="623" y="209"/>
                </a:moveTo>
                <a:cubicBezTo>
                  <a:pt x="622" y="204"/>
                  <a:pt x="623" y="198"/>
                  <a:pt x="623" y="193"/>
                </a:cubicBezTo>
                <a:cubicBezTo>
                  <a:pt x="622" y="195"/>
                  <a:pt x="621" y="196"/>
                  <a:pt x="621" y="198"/>
                </a:cubicBezTo>
                <a:cubicBezTo>
                  <a:pt x="619" y="192"/>
                  <a:pt x="624" y="189"/>
                  <a:pt x="621" y="182"/>
                </a:cubicBezTo>
                <a:cubicBezTo>
                  <a:pt x="626" y="182"/>
                  <a:pt x="629" y="160"/>
                  <a:pt x="632" y="154"/>
                </a:cubicBezTo>
                <a:cubicBezTo>
                  <a:pt x="636" y="144"/>
                  <a:pt x="639" y="130"/>
                  <a:pt x="648" y="124"/>
                </a:cubicBezTo>
                <a:cubicBezTo>
                  <a:pt x="652" y="121"/>
                  <a:pt x="667" y="115"/>
                  <a:pt x="661" y="125"/>
                </a:cubicBezTo>
                <a:cubicBezTo>
                  <a:pt x="660" y="125"/>
                  <a:pt x="653" y="131"/>
                  <a:pt x="654" y="130"/>
                </a:cubicBezTo>
                <a:cubicBezTo>
                  <a:pt x="653" y="131"/>
                  <a:pt x="650" y="134"/>
                  <a:pt x="647" y="135"/>
                </a:cubicBezTo>
                <a:cubicBezTo>
                  <a:pt x="653" y="136"/>
                  <a:pt x="659" y="136"/>
                  <a:pt x="663" y="134"/>
                </a:cubicBezTo>
                <a:cubicBezTo>
                  <a:pt x="658" y="135"/>
                  <a:pt x="654" y="139"/>
                  <a:pt x="650" y="141"/>
                </a:cubicBezTo>
                <a:cubicBezTo>
                  <a:pt x="645" y="143"/>
                  <a:pt x="638" y="144"/>
                  <a:pt x="636" y="149"/>
                </a:cubicBezTo>
                <a:cubicBezTo>
                  <a:pt x="633" y="157"/>
                  <a:pt x="640" y="150"/>
                  <a:pt x="644" y="152"/>
                </a:cubicBezTo>
                <a:cubicBezTo>
                  <a:pt x="643" y="151"/>
                  <a:pt x="643" y="152"/>
                  <a:pt x="643" y="153"/>
                </a:cubicBezTo>
                <a:cubicBezTo>
                  <a:pt x="643" y="152"/>
                  <a:pt x="643" y="152"/>
                  <a:pt x="643" y="152"/>
                </a:cubicBezTo>
                <a:cubicBezTo>
                  <a:pt x="636" y="161"/>
                  <a:pt x="631" y="169"/>
                  <a:pt x="629" y="181"/>
                </a:cubicBezTo>
                <a:cubicBezTo>
                  <a:pt x="629" y="188"/>
                  <a:pt x="629" y="195"/>
                  <a:pt x="628" y="202"/>
                </a:cubicBezTo>
                <a:cubicBezTo>
                  <a:pt x="628" y="206"/>
                  <a:pt x="629" y="214"/>
                  <a:pt x="623" y="209"/>
                </a:cubicBezTo>
                <a:close/>
                <a:moveTo>
                  <a:pt x="644" y="204"/>
                </a:moveTo>
                <a:cubicBezTo>
                  <a:pt x="643" y="205"/>
                  <a:pt x="642" y="206"/>
                  <a:pt x="640" y="206"/>
                </a:cubicBezTo>
                <a:cubicBezTo>
                  <a:pt x="642" y="203"/>
                  <a:pt x="644" y="200"/>
                  <a:pt x="647" y="197"/>
                </a:cubicBezTo>
                <a:cubicBezTo>
                  <a:pt x="648" y="198"/>
                  <a:pt x="648" y="198"/>
                  <a:pt x="649" y="199"/>
                </a:cubicBezTo>
                <a:cubicBezTo>
                  <a:pt x="648" y="201"/>
                  <a:pt x="646" y="203"/>
                  <a:pt x="644" y="204"/>
                </a:cubicBezTo>
                <a:close/>
                <a:moveTo>
                  <a:pt x="645" y="228"/>
                </a:moveTo>
                <a:cubicBezTo>
                  <a:pt x="641" y="229"/>
                  <a:pt x="639" y="224"/>
                  <a:pt x="643" y="222"/>
                </a:cubicBezTo>
                <a:cubicBezTo>
                  <a:pt x="647" y="218"/>
                  <a:pt x="647" y="225"/>
                  <a:pt x="645" y="228"/>
                </a:cubicBezTo>
                <a:close/>
                <a:moveTo>
                  <a:pt x="644" y="149"/>
                </a:moveTo>
                <a:cubicBezTo>
                  <a:pt x="643" y="149"/>
                  <a:pt x="642" y="149"/>
                  <a:pt x="644" y="149"/>
                </a:cubicBezTo>
                <a:close/>
                <a:moveTo>
                  <a:pt x="639" y="176"/>
                </a:moveTo>
                <a:cubicBezTo>
                  <a:pt x="637" y="174"/>
                  <a:pt x="636" y="172"/>
                  <a:pt x="636" y="169"/>
                </a:cubicBezTo>
                <a:cubicBezTo>
                  <a:pt x="640" y="170"/>
                  <a:pt x="641" y="172"/>
                  <a:pt x="639" y="176"/>
                </a:cubicBezTo>
                <a:close/>
                <a:moveTo>
                  <a:pt x="632" y="223"/>
                </a:moveTo>
                <a:cubicBezTo>
                  <a:pt x="637" y="216"/>
                  <a:pt x="636" y="233"/>
                  <a:pt x="635" y="233"/>
                </a:cubicBezTo>
                <a:cubicBezTo>
                  <a:pt x="631" y="236"/>
                  <a:pt x="632" y="224"/>
                  <a:pt x="632" y="223"/>
                </a:cubicBezTo>
                <a:close/>
                <a:moveTo>
                  <a:pt x="632" y="207"/>
                </a:moveTo>
                <a:cubicBezTo>
                  <a:pt x="635" y="200"/>
                  <a:pt x="636" y="210"/>
                  <a:pt x="635" y="214"/>
                </a:cubicBezTo>
                <a:cubicBezTo>
                  <a:pt x="631" y="218"/>
                  <a:pt x="630" y="210"/>
                  <a:pt x="632" y="207"/>
                </a:cubicBezTo>
                <a:close/>
                <a:moveTo>
                  <a:pt x="590" y="689"/>
                </a:moveTo>
                <a:cubicBezTo>
                  <a:pt x="590" y="689"/>
                  <a:pt x="583" y="687"/>
                  <a:pt x="583" y="688"/>
                </a:cubicBezTo>
                <a:cubicBezTo>
                  <a:pt x="581" y="685"/>
                  <a:pt x="582" y="680"/>
                  <a:pt x="582" y="677"/>
                </a:cubicBezTo>
                <a:cubicBezTo>
                  <a:pt x="587" y="677"/>
                  <a:pt x="594" y="687"/>
                  <a:pt x="590" y="689"/>
                </a:cubicBezTo>
                <a:close/>
                <a:moveTo>
                  <a:pt x="582" y="707"/>
                </a:moveTo>
                <a:cubicBezTo>
                  <a:pt x="578" y="701"/>
                  <a:pt x="588" y="695"/>
                  <a:pt x="591" y="698"/>
                </a:cubicBezTo>
                <a:cubicBezTo>
                  <a:pt x="599" y="705"/>
                  <a:pt x="581" y="714"/>
                  <a:pt x="582" y="707"/>
                </a:cubicBezTo>
                <a:close/>
                <a:moveTo>
                  <a:pt x="632" y="611"/>
                </a:moveTo>
                <a:cubicBezTo>
                  <a:pt x="630" y="636"/>
                  <a:pt x="623" y="656"/>
                  <a:pt x="615" y="679"/>
                </a:cubicBezTo>
                <a:cubicBezTo>
                  <a:pt x="611" y="690"/>
                  <a:pt x="605" y="701"/>
                  <a:pt x="603" y="712"/>
                </a:cubicBezTo>
                <a:cubicBezTo>
                  <a:pt x="601" y="720"/>
                  <a:pt x="609" y="728"/>
                  <a:pt x="606" y="735"/>
                </a:cubicBezTo>
                <a:cubicBezTo>
                  <a:pt x="605" y="734"/>
                  <a:pt x="600" y="726"/>
                  <a:pt x="600" y="725"/>
                </a:cubicBezTo>
                <a:cubicBezTo>
                  <a:pt x="600" y="725"/>
                  <a:pt x="601" y="723"/>
                  <a:pt x="598" y="722"/>
                </a:cubicBezTo>
                <a:cubicBezTo>
                  <a:pt x="596" y="722"/>
                  <a:pt x="596" y="725"/>
                  <a:pt x="594" y="724"/>
                </a:cubicBezTo>
                <a:cubicBezTo>
                  <a:pt x="589" y="724"/>
                  <a:pt x="591" y="728"/>
                  <a:pt x="589" y="721"/>
                </a:cubicBezTo>
                <a:cubicBezTo>
                  <a:pt x="589" y="722"/>
                  <a:pt x="591" y="714"/>
                  <a:pt x="590" y="715"/>
                </a:cubicBezTo>
                <a:cubicBezTo>
                  <a:pt x="594" y="709"/>
                  <a:pt x="597" y="716"/>
                  <a:pt x="599" y="710"/>
                </a:cubicBezTo>
                <a:cubicBezTo>
                  <a:pt x="600" y="708"/>
                  <a:pt x="592" y="687"/>
                  <a:pt x="602" y="696"/>
                </a:cubicBezTo>
                <a:cubicBezTo>
                  <a:pt x="607" y="685"/>
                  <a:pt x="607" y="673"/>
                  <a:pt x="610" y="662"/>
                </a:cubicBezTo>
                <a:cubicBezTo>
                  <a:pt x="613" y="654"/>
                  <a:pt x="618" y="647"/>
                  <a:pt x="621" y="640"/>
                </a:cubicBezTo>
                <a:cubicBezTo>
                  <a:pt x="624" y="632"/>
                  <a:pt x="621" y="622"/>
                  <a:pt x="620" y="614"/>
                </a:cubicBezTo>
                <a:cubicBezTo>
                  <a:pt x="620" y="607"/>
                  <a:pt x="620" y="602"/>
                  <a:pt x="620" y="596"/>
                </a:cubicBezTo>
                <a:cubicBezTo>
                  <a:pt x="620" y="588"/>
                  <a:pt x="613" y="570"/>
                  <a:pt x="619" y="566"/>
                </a:cubicBezTo>
                <a:cubicBezTo>
                  <a:pt x="624" y="579"/>
                  <a:pt x="635" y="597"/>
                  <a:pt x="632" y="611"/>
                </a:cubicBezTo>
                <a:close/>
                <a:moveTo>
                  <a:pt x="673" y="384"/>
                </a:moveTo>
                <a:cubicBezTo>
                  <a:pt x="657" y="384"/>
                  <a:pt x="639" y="391"/>
                  <a:pt x="625" y="398"/>
                </a:cubicBezTo>
                <a:cubicBezTo>
                  <a:pt x="621" y="399"/>
                  <a:pt x="615" y="401"/>
                  <a:pt x="613" y="398"/>
                </a:cubicBezTo>
                <a:cubicBezTo>
                  <a:pt x="614" y="399"/>
                  <a:pt x="613" y="400"/>
                  <a:pt x="612" y="401"/>
                </a:cubicBezTo>
                <a:cubicBezTo>
                  <a:pt x="606" y="407"/>
                  <a:pt x="592" y="400"/>
                  <a:pt x="595" y="391"/>
                </a:cubicBezTo>
                <a:cubicBezTo>
                  <a:pt x="600" y="387"/>
                  <a:pt x="610" y="391"/>
                  <a:pt x="613" y="396"/>
                </a:cubicBezTo>
                <a:cubicBezTo>
                  <a:pt x="613" y="395"/>
                  <a:pt x="613" y="394"/>
                  <a:pt x="613" y="393"/>
                </a:cubicBezTo>
                <a:cubicBezTo>
                  <a:pt x="613" y="388"/>
                  <a:pt x="623" y="385"/>
                  <a:pt x="627" y="384"/>
                </a:cubicBezTo>
                <a:cubicBezTo>
                  <a:pt x="642" y="377"/>
                  <a:pt x="656" y="371"/>
                  <a:pt x="674" y="373"/>
                </a:cubicBezTo>
                <a:cubicBezTo>
                  <a:pt x="680" y="373"/>
                  <a:pt x="683" y="372"/>
                  <a:pt x="683" y="379"/>
                </a:cubicBezTo>
                <a:cubicBezTo>
                  <a:pt x="684" y="386"/>
                  <a:pt x="680" y="383"/>
                  <a:pt x="673" y="384"/>
                </a:cubicBezTo>
                <a:close/>
                <a:moveTo>
                  <a:pt x="697" y="698"/>
                </a:moveTo>
                <a:cubicBezTo>
                  <a:pt x="692" y="701"/>
                  <a:pt x="694" y="695"/>
                  <a:pt x="692" y="695"/>
                </a:cubicBezTo>
                <a:cubicBezTo>
                  <a:pt x="687" y="694"/>
                  <a:pt x="687" y="700"/>
                  <a:pt x="683" y="697"/>
                </a:cubicBezTo>
                <a:cubicBezTo>
                  <a:pt x="676" y="693"/>
                  <a:pt x="700" y="685"/>
                  <a:pt x="697" y="698"/>
                </a:cubicBezTo>
                <a:close/>
                <a:moveTo>
                  <a:pt x="708" y="700"/>
                </a:moveTo>
                <a:cubicBezTo>
                  <a:pt x="705" y="699"/>
                  <a:pt x="701" y="701"/>
                  <a:pt x="700" y="697"/>
                </a:cubicBezTo>
                <a:cubicBezTo>
                  <a:pt x="699" y="692"/>
                  <a:pt x="702" y="694"/>
                  <a:pt x="704" y="692"/>
                </a:cubicBezTo>
                <a:cubicBezTo>
                  <a:pt x="703" y="694"/>
                  <a:pt x="712" y="687"/>
                  <a:pt x="707" y="687"/>
                </a:cubicBezTo>
                <a:cubicBezTo>
                  <a:pt x="710" y="687"/>
                  <a:pt x="708" y="689"/>
                  <a:pt x="710" y="690"/>
                </a:cubicBezTo>
                <a:cubicBezTo>
                  <a:pt x="711" y="690"/>
                  <a:pt x="713" y="692"/>
                  <a:pt x="715" y="692"/>
                </a:cubicBezTo>
                <a:cubicBezTo>
                  <a:pt x="719" y="694"/>
                  <a:pt x="723" y="691"/>
                  <a:pt x="724" y="694"/>
                </a:cubicBezTo>
                <a:cubicBezTo>
                  <a:pt x="724" y="702"/>
                  <a:pt x="715" y="700"/>
                  <a:pt x="708" y="700"/>
                </a:cubicBezTo>
                <a:close/>
                <a:moveTo>
                  <a:pt x="734" y="699"/>
                </a:moveTo>
                <a:cubicBezTo>
                  <a:pt x="724" y="693"/>
                  <a:pt x="745" y="692"/>
                  <a:pt x="734" y="699"/>
                </a:cubicBezTo>
                <a:close/>
                <a:moveTo>
                  <a:pt x="749" y="698"/>
                </a:moveTo>
                <a:cubicBezTo>
                  <a:pt x="746" y="697"/>
                  <a:pt x="745" y="694"/>
                  <a:pt x="747" y="691"/>
                </a:cubicBezTo>
                <a:cubicBezTo>
                  <a:pt x="750" y="693"/>
                  <a:pt x="749" y="695"/>
                  <a:pt x="749" y="698"/>
                </a:cubicBezTo>
                <a:close/>
                <a:moveTo>
                  <a:pt x="739" y="644"/>
                </a:moveTo>
                <a:cubicBezTo>
                  <a:pt x="741" y="646"/>
                  <a:pt x="738" y="645"/>
                  <a:pt x="738" y="646"/>
                </a:cubicBezTo>
                <a:cubicBezTo>
                  <a:pt x="739" y="645"/>
                  <a:pt x="738" y="643"/>
                  <a:pt x="739" y="644"/>
                </a:cubicBezTo>
                <a:close/>
                <a:moveTo>
                  <a:pt x="700" y="631"/>
                </a:moveTo>
                <a:cubicBezTo>
                  <a:pt x="700" y="630"/>
                  <a:pt x="699" y="629"/>
                  <a:pt x="699" y="628"/>
                </a:cubicBezTo>
                <a:cubicBezTo>
                  <a:pt x="705" y="629"/>
                  <a:pt x="716" y="645"/>
                  <a:pt x="719" y="635"/>
                </a:cubicBezTo>
                <a:cubicBezTo>
                  <a:pt x="720" y="629"/>
                  <a:pt x="716" y="622"/>
                  <a:pt x="716" y="616"/>
                </a:cubicBezTo>
                <a:cubicBezTo>
                  <a:pt x="716" y="608"/>
                  <a:pt x="719" y="600"/>
                  <a:pt x="720" y="592"/>
                </a:cubicBezTo>
                <a:cubicBezTo>
                  <a:pt x="720" y="595"/>
                  <a:pt x="722" y="596"/>
                  <a:pt x="723" y="598"/>
                </a:cubicBezTo>
                <a:cubicBezTo>
                  <a:pt x="724" y="599"/>
                  <a:pt x="725" y="598"/>
                  <a:pt x="726" y="600"/>
                </a:cubicBezTo>
                <a:cubicBezTo>
                  <a:pt x="727" y="601"/>
                  <a:pt x="726" y="605"/>
                  <a:pt x="727" y="607"/>
                </a:cubicBezTo>
                <a:cubicBezTo>
                  <a:pt x="728" y="614"/>
                  <a:pt x="730" y="618"/>
                  <a:pt x="730" y="625"/>
                </a:cubicBezTo>
                <a:cubicBezTo>
                  <a:pt x="728" y="617"/>
                  <a:pt x="724" y="610"/>
                  <a:pt x="723" y="602"/>
                </a:cubicBezTo>
                <a:cubicBezTo>
                  <a:pt x="723" y="618"/>
                  <a:pt x="724" y="631"/>
                  <a:pt x="729" y="647"/>
                </a:cubicBezTo>
                <a:cubicBezTo>
                  <a:pt x="731" y="653"/>
                  <a:pt x="733" y="656"/>
                  <a:pt x="737" y="661"/>
                </a:cubicBezTo>
                <a:cubicBezTo>
                  <a:pt x="738" y="663"/>
                  <a:pt x="749" y="676"/>
                  <a:pt x="749" y="678"/>
                </a:cubicBezTo>
                <a:cubicBezTo>
                  <a:pt x="747" y="684"/>
                  <a:pt x="730" y="666"/>
                  <a:pt x="728" y="664"/>
                </a:cubicBezTo>
                <a:cubicBezTo>
                  <a:pt x="721" y="654"/>
                  <a:pt x="711" y="640"/>
                  <a:pt x="701" y="632"/>
                </a:cubicBezTo>
                <a:cubicBezTo>
                  <a:pt x="701" y="633"/>
                  <a:pt x="701" y="633"/>
                  <a:pt x="702" y="634"/>
                </a:cubicBezTo>
                <a:cubicBezTo>
                  <a:pt x="700" y="632"/>
                  <a:pt x="698" y="631"/>
                  <a:pt x="696" y="629"/>
                </a:cubicBezTo>
                <a:cubicBezTo>
                  <a:pt x="698" y="630"/>
                  <a:pt x="699" y="631"/>
                  <a:pt x="701" y="632"/>
                </a:cubicBezTo>
                <a:cubicBezTo>
                  <a:pt x="701" y="632"/>
                  <a:pt x="701" y="631"/>
                  <a:pt x="700" y="631"/>
                </a:cubicBezTo>
                <a:close/>
                <a:moveTo>
                  <a:pt x="710" y="241"/>
                </a:moveTo>
                <a:cubicBezTo>
                  <a:pt x="710" y="241"/>
                  <a:pt x="709" y="241"/>
                  <a:pt x="710" y="241"/>
                </a:cubicBezTo>
                <a:cubicBezTo>
                  <a:pt x="707" y="241"/>
                  <a:pt x="708" y="240"/>
                  <a:pt x="708" y="239"/>
                </a:cubicBezTo>
                <a:cubicBezTo>
                  <a:pt x="708" y="240"/>
                  <a:pt x="709" y="241"/>
                  <a:pt x="710" y="241"/>
                </a:cubicBezTo>
                <a:close/>
                <a:moveTo>
                  <a:pt x="726" y="211"/>
                </a:moveTo>
                <a:cubicBezTo>
                  <a:pt x="726" y="208"/>
                  <a:pt x="726" y="205"/>
                  <a:pt x="725" y="203"/>
                </a:cubicBezTo>
                <a:cubicBezTo>
                  <a:pt x="728" y="205"/>
                  <a:pt x="729" y="208"/>
                  <a:pt x="726" y="211"/>
                </a:cubicBezTo>
                <a:close/>
                <a:moveTo>
                  <a:pt x="718" y="143"/>
                </a:moveTo>
                <a:cubicBezTo>
                  <a:pt x="717" y="147"/>
                  <a:pt x="715" y="150"/>
                  <a:pt x="714" y="154"/>
                </a:cubicBezTo>
                <a:cubicBezTo>
                  <a:pt x="710" y="152"/>
                  <a:pt x="711" y="146"/>
                  <a:pt x="708" y="142"/>
                </a:cubicBezTo>
                <a:cubicBezTo>
                  <a:pt x="711" y="143"/>
                  <a:pt x="715" y="143"/>
                  <a:pt x="718" y="143"/>
                </a:cubicBezTo>
                <a:close/>
                <a:moveTo>
                  <a:pt x="712" y="188"/>
                </a:moveTo>
                <a:cubicBezTo>
                  <a:pt x="714" y="185"/>
                  <a:pt x="714" y="175"/>
                  <a:pt x="711" y="177"/>
                </a:cubicBezTo>
                <a:cubicBezTo>
                  <a:pt x="709" y="172"/>
                  <a:pt x="710" y="160"/>
                  <a:pt x="718" y="167"/>
                </a:cubicBezTo>
                <a:cubicBezTo>
                  <a:pt x="721" y="170"/>
                  <a:pt x="721" y="181"/>
                  <a:pt x="721" y="185"/>
                </a:cubicBezTo>
                <a:cubicBezTo>
                  <a:pt x="721" y="189"/>
                  <a:pt x="725" y="195"/>
                  <a:pt x="725" y="198"/>
                </a:cubicBezTo>
                <a:cubicBezTo>
                  <a:pt x="725" y="203"/>
                  <a:pt x="721" y="213"/>
                  <a:pt x="718" y="219"/>
                </a:cubicBezTo>
                <a:cubicBezTo>
                  <a:pt x="719" y="215"/>
                  <a:pt x="723" y="206"/>
                  <a:pt x="720" y="204"/>
                </a:cubicBezTo>
                <a:cubicBezTo>
                  <a:pt x="716" y="201"/>
                  <a:pt x="716" y="209"/>
                  <a:pt x="714" y="210"/>
                </a:cubicBezTo>
                <a:cubicBezTo>
                  <a:pt x="711" y="215"/>
                  <a:pt x="710" y="218"/>
                  <a:pt x="708" y="211"/>
                </a:cubicBezTo>
                <a:cubicBezTo>
                  <a:pt x="706" y="205"/>
                  <a:pt x="710" y="193"/>
                  <a:pt x="712" y="188"/>
                </a:cubicBezTo>
                <a:close/>
                <a:moveTo>
                  <a:pt x="706" y="424"/>
                </a:moveTo>
                <a:cubicBezTo>
                  <a:pt x="707" y="424"/>
                  <a:pt x="707" y="425"/>
                  <a:pt x="707" y="425"/>
                </a:cubicBezTo>
                <a:cubicBezTo>
                  <a:pt x="707" y="425"/>
                  <a:pt x="706" y="425"/>
                  <a:pt x="706" y="424"/>
                </a:cubicBezTo>
                <a:close/>
                <a:moveTo>
                  <a:pt x="706" y="282"/>
                </a:moveTo>
                <a:cubicBezTo>
                  <a:pt x="708" y="273"/>
                  <a:pt x="708" y="263"/>
                  <a:pt x="712" y="256"/>
                </a:cubicBezTo>
                <a:cubicBezTo>
                  <a:pt x="717" y="263"/>
                  <a:pt x="711" y="278"/>
                  <a:pt x="711" y="287"/>
                </a:cubicBezTo>
                <a:cubicBezTo>
                  <a:pt x="712" y="287"/>
                  <a:pt x="714" y="287"/>
                  <a:pt x="714" y="286"/>
                </a:cubicBezTo>
                <a:cubicBezTo>
                  <a:pt x="713" y="290"/>
                  <a:pt x="700" y="290"/>
                  <a:pt x="706" y="282"/>
                </a:cubicBezTo>
                <a:close/>
                <a:moveTo>
                  <a:pt x="724" y="334"/>
                </a:moveTo>
                <a:cubicBezTo>
                  <a:pt x="725" y="330"/>
                  <a:pt x="726" y="326"/>
                  <a:pt x="726" y="322"/>
                </a:cubicBezTo>
                <a:cubicBezTo>
                  <a:pt x="728" y="324"/>
                  <a:pt x="726" y="331"/>
                  <a:pt x="726" y="336"/>
                </a:cubicBezTo>
                <a:cubicBezTo>
                  <a:pt x="727" y="333"/>
                  <a:pt x="728" y="331"/>
                  <a:pt x="729" y="329"/>
                </a:cubicBezTo>
                <a:cubicBezTo>
                  <a:pt x="727" y="331"/>
                  <a:pt x="726" y="334"/>
                  <a:pt x="726" y="337"/>
                </a:cubicBezTo>
                <a:cubicBezTo>
                  <a:pt x="726" y="336"/>
                  <a:pt x="726" y="336"/>
                  <a:pt x="726" y="336"/>
                </a:cubicBezTo>
                <a:cubicBezTo>
                  <a:pt x="726" y="336"/>
                  <a:pt x="726" y="337"/>
                  <a:pt x="725" y="338"/>
                </a:cubicBezTo>
                <a:cubicBezTo>
                  <a:pt x="723" y="336"/>
                  <a:pt x="724" y="336"/>
                  <a:pt x="724" y="334"/>
                </a:cubicBezTo>
                <a:close/>
                <a:moveTo>
                  <a:pt x="806" y="384"/>
                </a:moveTo>
                <a:cubicBezTo>
                  <a:pt x="804" y="387"/>
                  <a:pt x="794" y="387"/>
                  <a:pt x="790" y="388"/>
                </a:cubicBezTo>
                <a:cubicBezTo>
                  <a:pt x="779" y="390"/>
                  <a:pt x="772" y="387"/>
                  <a:pt x="762" y="385"/>
                </a:cubicBezTo>
                <a:cubicBezTo>
                  <a:pt x="754" y="384"/>
                  <a:pt x="713" y="388"/>
                  <a:pt x="718" y="375"/>
                </a:cubicBezTo>
                <a:cubicBezTo>
                  <a:pt x="722" y="364"/>
                  <a:pt x="762" y="373"/>
                  <a:pt x="771" y="375"/>
                </a:cubicBezTo>
                <a:cubicBezTo>
                  <a:pt x="779" y="377"/>
                  <a:pt x="788" y="379"/>
                  <a:pt x="797" y="378"/>
                </a:cubicBezTo>
                <a:cubicBezTo>
                  <a:pt x="801" y="377"/>
                  <a:pt x="808" y="373"/>
                  <a:pt x="806" y="384"/>
                </a:cubicBezTo>
                <a:close/>
                <a:moveTo>
                  <a:pt x="1033" y="565"/>
                </a:moveTo>
                <a:cubicBezTo>
                  <a:pt x="1037" y="566"/>
                  <a:pt x="1041" y="569"/>
                  <a:pt x="1044" y="572"/>
                </a:cubicBezTo>
                <a:cubicBezTo>
                  <a:pt x="1039" y="572"/>
                  <a:pt x="1036" y="569"/>
                  <a:pt x="1033" y="565"/>
                </a:cubicBezTo>
                <a:close/>
                <a:moveTo>
                  <a:pt x="1080" y="623"/>
                </a:moveTo>
                <a:cubicBezTo>
                  <a:pt x="1077" y="614"/>
                  <a:pt x="1076" y="606"/>
                  <a:pt x="1069" y="599"/>
                </a:cubicBezTo>
                <a:cubicBezTo>
                  <a:pt x="1078" y="600"/>
                  <a:pt x="1082" y="618"/>
                  <a:pt x="1080" y="623"/>
                </a:cubicBezTo>
                <a:close/>
                <a:moveTo>
                  <a:pt x="1096" y="634"/>
                </a:moveTo>
                <a:cubicBezTo>
                  <a:pt x="1093" y="633"/>
                  <a:pt x="1095" y="633"/>
                  <a:pt x="1093" y="630"/>
                </a:cubicBezTo>
                <a:cubicBezTo>
                  <a:pt x="1093" y="628"/>
                  <a:pt x="1090" y="625"/>
                  <a:pt x="1091" y="623"/>
                </a:cubicBezTo>
                <a:cubicBezTo>
                  <a:pt x="1094" y="620"/>
                  <a:pt x="1097" y="630"/>
                  <a:pt x="1096" y="634"/>
                </a:cubicBezTo>
                <a:close/>
                <a:moveTo>
                  <a:pt x="1100" y="669"/>
                </a:moveTo>
                <a:cubicBezTo>
                  <a:pt x="1100" y="666"/>
                  <a:pt x="1100" y="662"/>
                  <a:pt x="1100" y="658"/>
                </a:cubicBezTo>
                <a:cubicBezTo>
                  <a:pt x="1102" y="662"/>
                  <a:pt x="1102" y="666"/>
                  <a:pt x="1100" y="66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b="1" dirty="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AC391BC-F459-2348-B680-8B7B7565CBE3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77B0EE05-B0A5-EC40-A578-412BE43CF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694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110DE0FD-A3D3-1944-913D-260DAFF6FB81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725144" y="738114"/>
            <a:ext cx="10468443" cy="12979474"/>
          </a:xfrm>
          <a:custGeom>
            <a:avLst/>
            <a:gdLst>
              <a:gd name="T0" fmla="*/ 955 w 1123"/>
              <a:gd name="T1" fmla="*/ 1447 h 1594"/>
              <a:gd name="T2" fmla="*/ 857 w 1123"/>
              <a:gd name="T3" fmla="*/ 1356 h 1594"/>
              <a:gd name="T4" fmla="*/ 725 w 1123"/>
              <a:gd name="T5" fmla="*/ 1438 h 1594"/>
              <a:gd name="T6" fmla="*/ 698 w 1123"/>
              <a:gd name="T7" fmla="*/ 1336 h 1594"/>
              <a:gd name="T8" fmla="*/ 576 w 1123"/>
              <a:gd name="T9" fmla="*/ 1452 h 1594"/>
              <a:gd name="T10" fmla="*/ 867 w 1123"/>
              <a:gd name="T11" fmla="*/ 1323 h 1594"/>
              <a:gd name="T12" fmla="*/ 513 w 1123"/>
              <a:gd name="T13" fmla="*/ 1409 h 1594"/>
              <a:gd name="T14" fmla="*/ 493 w 1123"/>
              <a:gd name="T15" fmla="*/ 1451 h 1594"/>
              <a:gd name="T16" fmla="*/ 547 w 1123"/>
              <a:gd name="T17" fmla="*/ 1432 h 1594"/>
              <a:gd name="T18" fmla="*/ 939 w 1123"/>
              <a:gd name="T19" fmla="*/ 1551 h 1594"/>
              <a:gd name="T20" fmla="*/ 723 w 1123"/>
              <a:gd name="T21" fmla="*/ 781 h 1594"/>
              <a:gd name="T22" fmla="*/ 1024 w 1123"/>
              <a:gd name="T23" fmla="*/ 780 h 1594"/>
              <a:gd name="T24" fmla="*/ 922 w 1123"/>
              <a:gd name="T25" fmla="*/ 669 h 1594"/>
              <a:gd name="T26" fmla="*/ 802 w 1123"/>
              <a:gd name="T27" fmla="*/ 642 h 1594"/>
              <a:gd name="T28" fmla="*/ 775 w 1123"/>
              <a:gd name="T29" fmla="*/ 611 h 1594"/>
              <a:gd name="T30" fmla="*/ 880 w 1123"/>
              <a:gd name="T31" fmla="*/ 565 h 1594"/>
              <a:gd name="T32" fmla="*/ 595 w 1123"/>
              <a:gd name="T33" fmla="*/ 587 h 1594"/>
              <a:gd name="T34" fmla="*/ 518 w 1123"/>
              <a:gd name="T35" fmla="*/ 601 h 1594"/>
              <a:gd name="T36" fmla="*/ 467 w 1123"/>
              <a:gd name="T37" fmla="*/ 638 h 1594"/>
              <a:gd name="T38" fmla="*/ 458 w 1123"/>
              <a:gd name="T39" fmla="*/ 469 h 1594"/>
              <a:gd name="T40" fmla="*/ 322 w 1123"/>
              <a:gd name="T41" fmla="*/ 482 h 1594"/>
              <a:gd name="T42" fmla="*/ 445 w 1123"/>
              <a:gd name="T43" fmla="*/ 550 h 1594"/>
              <a:gd name="T44" fmla="*/ 465 w 1123"/>
              <a:gd name="T45" fmla="*/ 739 h 1594"/>
              <a:gd name="T46" fmla="*/ 518 w 1123"/>
              <a:gd name="T47" fmla="*/ 874 h 1594"/>
              <a:gd name="T48" fmla="*/ 488 w 1123"/>
              <a:gd name="T49" fmla="*/ 969 h 1594"/>
              <a:gd name="T50" fmla="*/ 507 w 1123"/>
              <a:gd name="T51" fmla="*/ 1053 h 1594"/>
              <a:gd name="T52" fmla="*/ 540 w 1123"/>
              <a:gd name="T53" fmla="*/ 1198 h 1594"/>
              <a:gd name="T54" fmla="*/ 599 w 1123"/>
              <a:gd name="T55" fmla="*/ 1279 h 1594"/>
              <a:gd name="T56" fmla="*/ 927 w 1123"/>
              <a:gd name="T57" fmla="*/ 1212 h 1594"/>
              <a:gd name="T58" fmla="*/ 914 w 1123"/>
              <a:gd name="T59" fmla="*/ 953 h 1594"/>
              <a:gd name="T60" fmla="*/ 1037 w 1123"/>
              <a:gd name="T61" fmla="*/ 1418 h 1594"/>
              <a:gd name="T62" fmla="*/ 1119 w 1123"/>
              <a:gd name="T63" fmla="*/ 1518 h 1594"/>
              <a:gd name="T64" fmla="*/ 472 w 1123"/>
              <a:gd name="T65" fmla="*/ 1324 h 1594"/>
              <a:gd name="T66" fmla="*/ 463 w 1123"/>
              <a:gd name="T67" fmla="*/ 1361 h 1594"/>
              <a:gd name="T68" fmla="*/ 457 w 1123"/>
              <a:gd name="T69" fmla="*/ 504 h 1594"/>
              <a:gd name="T70" fmla="*/ 356 w 1123"/>
              <a:gd name="T71" fmla="*/ 643 h 1594"/>
              <a:gd name="T72" fmla="*/ 456 w 1123"/>
              <a:gd name="T73" fmla="*/ 922 h 1594"/>
              <a:gd name="T74" fmla="*/ 479 w 1123"/>
              <a:gd name="T75" fmla="*/ 941 h 1594"/>
              <a:gd name="T76" fmla="*/ 1023 w 1123"/>
              <a:gd name="T77" fmla="*/ 1549 h 1594"/>
              <a:gd name="T78" fmla="*/ 964 w 1123"/>
              <a:gd name="T79" fmla="*/ 927 h 1594"/>
              <a:gd name="T80" fmla="*/ 824 w 1123"/>
              <a:gd name="T81" fmla="*/ 763 h 1594"/>
              <a:gd name="T82" fmla="*/ 900 w 1123"/>
              <a:gd name="T83" fmla="*/ 795 h 1594"/>
              <a:gd name="T84" fmla="*/ 846 w 1123"/>
              <a:gd name="T85" fmla="*/ 797 h 1594"/>
              <a:gd name="T86" fmla="*/ 801 w 1123"/>
              <a:gd name="T87" fmla="*/ 1169 h 1594"/>
              <a:gd name="T88" fmla="*/ 702 w 1123"/>
              <a:gd name="T89" fmla="*/ 1174 h 1594"/>
              <a:gd name="T90" fmla="*/ 574 w 1123"/>
              <a:gd name="T91" fmla="*/ 629 h 1594"/>
              <a:gd name="T92" fmla="*/ 605 w 1123"/>
              <a:gd name="T93" fmla="*/ 610 h 1594"/>
              <a:gd name="T94" fmla="*/ 620 w 1123"/>
              <a:gd name="T95" fmla="*/ 935 h 1594"/>
              <a:gd name="T96" fmla="*/ 615 w 1123"/>
              <a:gd name="T97" fmla="*/ 575 h 1594"/>
              <a:gd name="T98" fmla="*/ 754 w 1123"/>
              <a:gd name="T99" fmla="*/ 990 h 1594"/>
              <a:gd name="T100" fmla="*/ 818 w 1123"/>
              <a:gd name="T101" fmla="*/ 1043 h 1594"/>
              <a:gd name="T102" fmla="*/ 965 w 1123"/>
              <a:gd name="T103" fmla="*/ 657 h 1594"/>
              <a:gd name="T104" fmla="*/ 497 w 1123"/>
              <a:gd name="T105" fmla="*/ 795 h 1594"/>
              <a:gd name="T106" fmla="*/ 922 w 1123"/>
              <a:gd name="T107" fmla="*/ 309 h 1594"/>
              <a:gd name="T108" fmla="*/ 714 w 1123"/>
              <a:gd name="T109" fmla="*/ 204 h 1594"/>
              <a:gd name="T110" fmla="*/ 675 w 1123"/>
              <a:gd name="T111" fmla="*/ 369 h 1594"/>
              <a:gd name="T112" fmla="*/ 460 w 1123"/>
              <a:gd name="T113" fmla="*/ 1222 h 1594"/>
              <a:gd name="T114" fmla="*/ 675 w 1123"/>
              <a:gd name="T115" fmla="*/ 342 h 1594"/>
              <a:gd name="T116" fmla="*/ 266 w 1123"/>
              <a:gd name="T117" fmla="*/ 439 h 1594"/>
              <a:gd name="T118" fmla="*/ 307 w 1123"/>
              <a:gd name="T119" fmla="*/ 470 h 1594"/>
              <a:gd name="T120" fmla="*/ 249 w 1123"/>
              <a:gd name="T121" fmla="*/ 579 h 1594"/>
              <a:gd name="T122" fmla="*/ 346 w 1123"/>
              <a:gd name="T123" fmla="*/ 60 h 1594"/>
              <a:gd name="T124" fmla="*/ 139 w 1123"/>
              <a:gd name="T125" fmla="*/ 559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23" h="1594">
                <a:moveTo>
                  <a:pt x="232" y="601"/>
                </a:moveTo>
                <a:lnTo>
                  <a:pt x="232" y="606"/>
                </a:lnTo>
                <a:lnTo>
                  <a:pt x="231" y="611"/>
                </a:lnTo>
                <a:lnTo>
                  <a:pt x="229" y="608"/>
                </a:lnTo>
                <a:lnTo>
                  <a:pt x="228" y="604"/>
                </a:lnTo>
                <a:lnTo>
                  <a:pt x="228" y="600"/>
                </a:lnTo>
                <a:lnTo>
                  <a:pt x="228" y="596"/>
                </a:lnTo>
                <a:lnTo>
                  <a:pt x="228" y="586"/>
                </a:lnTo>
                <a:lnTo>
                  <a:pt x="228" y="574"/>
                </a:lnTo>
                <a:lnTo>
                  <a:pt x="229" y="564"/>
                </a:lnTo>
                <a:lnTo>
                  <a:pt x="229" y="552"/>
                </a:lnTo>
                <a:lnTo>
                  <a:pt x="229" y="550"/>
                </a:lnTo>
                <a:lnTo>
                  <a:pt x="229" y="546"/>
                </a:lnTo>
                <a:lnTo>
                  <a:pt x="229" y="544"/>
                </a:lnTo>
                <a:lnTo>
                  <a:pt x="228" y="543"/>
                </a:lnTo>
                <a:lnTo>
                  <a:pt x="224" y="545"/>
                </a:lnTo>
                <a:lnTo>
                  <a:pt x="219" y="545"/>
                </a:lnTo>
                <a:lnTo>
                  <a:pt x="218" y="543"/>
                </a:lnTo>
                <a:lnTo>
                  <a:pt x="217" y="543"/>
                </a:lnTo>
                <a:lnTo>
                  <a:pt x="217" y="543"/>
                </a:lnTo>
                <a:lnTo>
                  <a:pt x="216" y="544"/>
                </a:lnTo>
                <a:lnTo>
                  <a:pt x="215" y="546"/>
                </a:lnTo>
                <a:lnTo>
                  <a:pt x="214" y="547"/>
                </a:lnTo>
                <a:lnTo>
                  <a:pt x="212" y="545"/>
                </a:lnTo>
                <a:lnTo>
                  <a:pt x="211" y="543"/>
                </a:lnTo>
                <a:lnTo>
                  <a:pt x="211" y="541"/>
                </a:lnTo>
                <a:lnTo>
                  <a:pt x="212" y="539"/>
                </a:lnTo>
                <a:lnTo>
                  <a:pt x="214" y="538"/>
                </a:lnTo>
                <a:lnTo>
                  <a:pt x="215" y="538"/>
                </a:lnTo>
                <a:lnTo>
                  <a:pt x="216" y="539"/>
                </a:lnTo>
                <a:lnTo>
                  <a:pt x="218" y="540"/>
                </a:lnTo>
                <a:lnTo>
                  <a:pt x="221" y="540"/>
                </a:lnTo>
                <a:lnTo>
                  <a:pt x="224" y="538"/>
                </a:lnTo>
                <a:lnTo>
                  <a:pt x="226" y="534"/>
                </a:lnTo>
                <a:lnTo>
                  <a:pt x="226" y="532"/>
                </a:lnTo>
                <a:lnTo>
                  <a:pt x="226" y="530"/>
                </a:lnTo>
                <a:lnTo>
                  <a:pt x="224" y="527"/>
                </a:lnTo>
                <a:lnTo>
                  <a:pt x="222" y="526"/>
                </a:lnTo>
                <a:lnTo>
                  <a:pt x="219" y="526"/>
                </a:lnTo>
                <a:lnTo>
                  <a:pt x="218" y="526"/>
                </a:lnTo>
                <a:lnTo>
                  <a:pt x="217" y="526"/>
                </a:lnTo>
                <a:lnTo>
                  <a:pt x="215" y="526"/>
                </a:lnTo>
                <a:lnTo>
                  <a:pt x="215" y="525"/>
                </a:lnTo>
                <a:lnTo>
                  <a:pt x="215" y="523"/>
                </a:lnTo>
                <a:lnTo>
                  <a:pt x="216" y="520"/>
                </a:lnTo>
                <a:lnTo>
                  <a:pt x="217" y="518"/>
                </a:lnTo>
                <a:lnTo>
                  <a:pt x="219" y="517"/>
                </a:lnTo>
                <a:lnTo>
                  <a:pt x="222" y="516"/>
                </a:lnTo>
                <a:lnTo>
                  <a:pt x="224" y="516"/>
                </a:lnTo>
                <a:lnTo>
                  <a:pt x="224" y="516"/>
                </a:lnTo>
                <a:lnTo>
                  <a:pt x="224" y="517"/>
                </a:lnTo>
                <a:lnTo>
                  <a:pt x="224" y="518"/>
                </a:lnTo>
                <a:lnTo>
                  <a:pt x="223" y="520"/>
                </a:lnTo>
                <a:lnTo>
                  <a:pt x="223" y="523"/>
                </a:lnTo>
                <a:lnTo>
                  <a:pt x="224" y="524"/>
                </a:lnTo>
                <a:lnTo>
                  <a:pt x="226" y="524"/>
                </a:lnTo>
                <a:lnTo>
                  <a:pt x="228" y="522"/>
                </a:lnTo>
                <a:lnTo>
                  <a:pt x="228" y="520"/>
                </a:lnTo>
                <a:lnTo>
                  <a:pt x="229" y="518"/>
                </a:lnTo>
                <a:lnTo>
                  <a:pt x="230" y="516"/>
                </a:lnTo>
                <a:lnTo>
                  <a:pt x="230" y="513"/>
                </a:lnTo>
                <a:lnTo>
                  <a:pt x="231" y="508"/>
                </a:lnTo>
                <a:lnTo>
                  <a:pt x="235" y="502"/>
                </a:lnTo>
                <a:lnTo>
                  <a:pt x="240" y="494"/>
                </a:lnTo>
                <a:lnTo>
                  <a:pt x="245" y="484"/>
                </a:lnTo>
                <a:lnTo>
                  <a:pt x="250" y="469"/>
                </a:lnTo>
                <a:lnTo>
                  <a:pt x="256" y="453"/>
                </a:lnTo>
                <a:lnTo>
                  <a:pt x="257" y="450"/>
                </a:lnTo>
                <a:lnTo>
                  <a:pt x="259" y="448"/>
                </a:lnTo>
                <a:lnTo>
                  <a:pt x="259" y="447"/>
                </a:lnTo>
                <a:lnTo>
                  <a:pt x="260" y="446"/>
                </a:lnTo>
                <a:lnTo>
                  <a:pt x="259" y="447"/>
                </a:lnTo>
                <a:lnTo>
                  <a:pt x="259" y="448"/>
                </a:lnTo>
                <a:lnTo>
                  <a:pt x="260" y="449"/>
                </a:lnTo>
                <a:lnTo>
                  <a:pt x="261" y="452"/>
                </a:lnTo>
                <a:lnTo>
                  <a:pt x="259" y="456"/>
                </a:lnTo>
                <a:lnTo>
                  <a:pt x="258" y="461"/>
                </a:lnTo>
                <a:lnTo>
                  <a:pt x="257" y="462"/>
                </a:lnTo>
                <a:lnTo>
                  <a:pt x="256" y="464"/>
                </a:lnTo>
                <a:lnTo>
                  <a:pt x="254" y="467"/>
                </a:lnTo>
                <a:lnTo>
                  <a:pt x="254" y="469"/>
                </a:lnTo>
                <a:lnTo>
                  <a:pt x="251" y="482"/>
                </a:lnTo>
                <a:lnTo>
                  <a:pt x="246" y="496"/>
                </a:lnTo>
                <a:lnTo>
                  <a:pt x="243" y="509"/>
                </a:lnTo>
                <a:lnTo>
                  <a:pt x="239" y="523"/>
                </a:lnTo>
                <a:lnTo>
                  <a:pt x="236" y="541"/>
                </a:lnTo>
                <a:lnTo>
                  <a:pt x="233" y="561"/>
                </a:lnTo>
                <a:lnTo>
                  <a:pt x="232" y="581"/>
                </a:lnTo>
                <a:lnTo>
                  <a:pt x="232" y="601"/>
                </a:lnTo>
                <a:close/>
                <a:moveTo>
                  <a:pt x="955" y="1445"/>
                </a:moveTo>
                <a:lnTo>
                  <a:pt x="955" y="1447"/>
                </a:lnTo>
                <a:lnTo>
                  <a:pt x="956" y="1448"/>
                </a:lnTo>
                <a:lnTo>
                  <a:pt x="955" y="1447"/>
                </a:lnTo>
                <a:lnTo>
                  <a:pt x="955" y="1445"/>
                </a:lnTo>
                <a:close/>
                <a:moveTo>
                  <a:pt x="946" y="1451"/>
                </a:moveTo>
                <a:lnTo>
                  <a:pt x="947" y="1454"/>
                </a:lnTo>
                <a:lnTo>
                  <a:pt x="947" y="1456"/>
                </a:lnTo>
                <a:lnTo>
                  <a:pt x="947" y="1454"/>
                </a:lnTo>
                <a:lnTo>
                  <a:pt x="946" y="1451"/>
                </a:lnTo>
                <a:lnTo>
                  <a:pt x="944" y="1445"/>
                </a:lnTo>
                <a:lnTo>
                  <a:pt x="944" y="1439"/>
                </a:lnTo>
                <a:lnTo>
                  <a:pt x="944" y="1423"/>
                </a:lnTo>
                <a:lnTo>
                  <a:pt x="944" y="1406"/>
                </a:lnTo>
                <a:lnTo>
                  <a:pt x="947" y="1410"/>
                </a:lnTo>
                <a:lnTo>
                  <a:pt x="947" y="1413"/>
                </a:lnTo>
                <a:lnTo>
                  <a:pt x="947" y="1423"/>
                </a:lnTo>
                <a:lnTo>
                  <a:pt x="947" y="1432"/>
                </a:lnTo>
                <a:lnTo>
                  <a:pt x="947" y="1441"/>
                </a:lnTo>
                <a:lnTo>
                  <a:pt x="946" y="1451"/>
                </a:lnTo>
                <a:close/>
                <a:moveTo>
                  <a:pt x="927" y="1447"/>
                </a:moveTo>
                <a:lnTo>
                  <a:pt x="926" y="1449"/>
                </a:lnTo>
                <a:lnTo>
                  <a:pt x="925" y="1452"/>
                </a:lnTo>
                <a:lnTo>
                  <a:pt x="926" y="1455"/>
                </a:lnTo>
                <a:lnTo>
                  <a:pt x="926" y="1458"/>
                </a:lnTo>
                <a:lnTo>
                  <a:pt x="926" y="1455"/>
                </a:lnTo>
                <a:lnTo>
                  <a:pt x="925" y="1452"/>
                </a:lnTo>
                <a:lnTo>
                  <a:pt x="926" y="1449"/>
                </a:lnTo>
                <a:lnTo>
                  <a:pt x="927" y="1447"/>
                </a:lnTo>
                <a:lnTo>
                  <a:pt x="927" y="1444"/>
                </a:lnTo>
                <a:lnTo>
                  <a:pt x="926" y="1440"/>
                </a:lnTo>
                <a:lnTo>
                  <a:pt x="922" y="1430"/>
                </a:lnTo>
                <a:lnTo>
                  <a:pt x="920" y="1420"/>
                </a:lnTo>
                <a:lnTo>
                  <a:pt x="922" y="1430"/>
                </a:lnTo>
                <a:lnTo>
                  <a:pt x="926" y="1440"/>
                </a:lnTo>
                <a:lnTo>
                  <a:pt x="925" y="1425"/>
                </a:lnTo>
                <a:lnTo>
                  <a:pt x="922" y="1411"/>
                </a:lnTo>
                <a:lnTo>
                  <a:pt x="921" y="1410"/>
                </a:lnTo>
                <a:lnTo>
                  <a:pt x="920" y="1409"/>
                </a:lnTo>
                <a:lnTo>
                  <a:pt x="919" y="1406"/>
                </a:lnTo>
                <a:lnTo>
                  <a:pt x="919" y="1403"/>
                </a:lnTo>
                <a:lnTo>
                  <a:pt x="919" y="1403"/>
                </a:lnTo>
                <a:lnTo>
                  <a:pt x="919" y="1400"/>
                </a:lnTo>
                <a:lnTo>
                  <a:pt x="919" y="1397"/>
                </a:lnTo>
                <a:lnTo>
                  <a:pt x="919" y="1393"/>
                </a:lnTo>
                <a:lnTo>
                  <a:pt x="920" y="1388"/>
                </a:lnTo>
                <a:lnTo>
                  <a:pt x="920" y="1392"/>
                </a:lnTo>
                <a:lnTo>
                  <a:pt x="920" y="1397"/>
                </a:lnTo>
                <a:lnTo>
                  <a:pt x="921" y="1398"/>
                </a:lnTo>
                <a:lnTo>
                  <a:pt x="922" y="1398"/>
                </a:lnTo>
                <a:lnTo>
                  <a:pt x="926" y="1413"/>
                </a:lnTo>
                <a:lnTo>
                  <a:pt x="928" y="1430"/>
                </a:lnTo>
                <a:lnTo>
                  <a:pt x="929" y="1441"/>
                </a:lnTo>
                <a:lnTo>
                  <a:pt x="930" y="1453"/>
                </a:lnTo>
                <a:lnTo>
                  <a:pt x="928" y="1449"/>
                </a:lnTo>
                <a:lnTo>
                  <a:pt x="927" y="1447"/>
                </a:lnTo>
                <a:close/>
                <a:moveTo>
                  <a:pt x="910" y="1454"/>
                </a:moveTo>
                <a:lnTo>
                  <a:pt x="908" y="1453"/>
                </a:lnTo>
                <a:lnTo>
                  <a:pt x="907" y="1451"/>
                </a:lnTo>
                <a:lnTo>
                  <a:pt x="907" y="1448"/>
                </a:lnTo>
                <a:lnTo>
                  <a:pt x="907" y="1446"/>
                </a:lnTo>
                <a:lnTo>
                  <a:pt x="907" y="1448"/>
                </a:lnTo>
                <a:lnTo>
                  <a:pt x="907" y="1451"/>
                </a:lnTo>
                <a:lnTo>
                  <a:pt x="908" y="1453"/>
                </a:lnTo>
                <a:lnTo>
                  <a:pt x="910" y="1454"/>
                </a:lnTo>
                <a:lnTo>
                  <a:pt x="910" y="1458"/>
                </a:lnTo>
                <a:lnTo>
                  <a:pt x="910" y="1460"/>
                </a:lnTo>
                <a:lnTo>
                  <a:pt x="910" y="1458"/>
                </a:lnTo>
                <a:lnTo>
                  <a:pt x="910" y="1454"/>
                </a:lnTo>
                <a:close/>
                <a:moveTo>
                  <a:pt x="901" y="1430"/>
                </a:moveTo>
                <a:lnTo>
                  <a:pt x="901" y="1427"/>
                </a:lnTo>
                <a:lnTo>
                  <a:pt x="902" y="1426"/>
                </a:lnTo>
                <a:lnTo>
                  <a:pt x="901" y="1427"/>
                </a:lnTo>
                <a:lnTo>
                  <a:pt x="901" y="1430"/>
                </a:lnTo>
                <a:close/>
                <a:moveTo>
                  <a:pt x="879" y="1511"/>
                </a:moveTo>
                <a:lnTo>
                  <a:pt x="879" y="1519"/>
                </a:lnTo>
                <a:lnTo>
                  <a:pt x="879" y="1528"/>
                </a:lnTo>
                <a:lnTo>
                  <a:pt x="879" y="1519"/>
                </a:lnTo>
                <a:lnTo>
                  <a:pt x="879" y="1511"/>
                </a:lnTo>
                <a:close/>
                <a:moveTo>
                  <a:pt x="867" y="1395"/>
                </a:moveTo>
                <a:lnTo>
                  <a:pt x="867" y="1396"/>
                </a:lnTo>
                <a:lnTo>
                  <a:pt x="868" y="1396"/>
                </a:lnTo>
                <a:lnTo>
                  <a:pt x="867" y="1396"/>
                </a:lnTo>
                <a:lnTo>
                  <a:pt x="867" y="1395"/>
                </a:lnTo>
                <a:close/>
                <a:moveTo>
                  <a:pt x="861" y="1327"/>
                </a:moveTo>
                <a:lnTo>
                  <a:pt x="863" y="1329"/>
                </a:lnTo>
                <a:lnTo>
                  <a:pt x="863" y="1331"/>
                </a:lnTo>
                <a:lnTo>
                  <a:pt x="863" y="1329"/>
                </a:lnTo>
                <a:lnTo>
                  <a:pt x="861" y="1327"/>
                </a:lnTo>
                <a:close/>
                <a:moveTo>
                  <a:pt x="860" y="1361"/>
                </a:moveTo>
                <a:lnTo>
                  <a:pt x="858" y="1359"/>
                </a:lnTo>
                <a:lnTo>
                  <a:pt x="857" y="1357"/>
                </a:lnTo>
                <a:lnTo>
                  <a:pt x="857" y="1356"/>
                </a:lnTo>
                <a:lnTo>
                  <a:pt x="856" y="1356"/>
                </a:lnTo>
                <a:lnTo>
                  <a:pt x="857" y="1356"/>
                </a:lnTo>
                <a:lnTo>
                  <a:pt x="857" y="1357"/>
                </a:lnTo>
                <a:lnTo>
                  <a:pt x="858" y="1359"/>
                </a:lnTo>
                <a:lnTo>
                  <a:pt x="860" y="1361"/>
                </a:lnTo>
                <a:lnTo>
                  <a:pt x="860" y="1368"/>
                </a:lnTo>
                <a:lnTo>
                  <a:pt x="863" y="1374"/>
                </a:lnTo>
                <a:lnTo>
                  <a:pt x="860" y="1368"/>
                </a:lnTo>
                <a:lnTo>
                  <a:pt x="860" y="1361"/>
                </a:lnTo>
                <a:close/>
                <a:moveTo>
                  <a:pt x="852" y="1338"/>
                </a:moveTo>
                <a:lnTo>
                  <a:pt x="853" y="1341"/>
                </a:lnTo>
                <a:lnTo>
                  <a:pt x="856" y="1343"/>
                </a:lnTo>
                <a:lnTo>
                  <a:pt x="856" y="1348"/>
                </a:lnTo>
                <a:lnTo>
                  <a:pt x="856" y="1351"/>
                </a:lnTo>
                <a:lnTo>
                  <a:pt x="856" y="1348"/>
                </a:lnTo>
                <a:lnTo>
                  <a:pt x="856" y="1343"/>
                </a:lnTo>
                <a:lnTo>
                  <a:pt x="853" y="1341"/>
                </a:lnTo>
                <a:lnTo>
                  <a:pt x="852" y="1338"/>
                </a:lnTo>
                <a:close/>
                <a:moveTo>
                  <a:pt x="849" y="1328"/>
                </a:moveTo>
                <a:lnTo>
                  <a:pt x="850" y="1329"/>
                </a:lnTo>
                <a:lnTo>
                  <a:pt x="851" y="1329"/>
                </a:lnTo>
                <a:lnTo>
                  <a:pt x="850" y="1329"/>
                </a:lnTo>
                <a:lnTo>
                  <a:pt x="849" y="1328"/>
                </a:lnTo>
                <a:close/>
                <a:moveTo>
                  <a:pt x="853" y="1327"/>
                </a:moveTo>
                <a:lnTo>
                  <a:pt x="853" y="1326"/>
                </a:lnTo>
                <a:lnTo>
                  <a:pt x="852" y="1326"/>
                </a:lnTo>
                <a:lnTo>
                  <a:pt x="853" y="1326"/>
                </a:lnTo>
                <a:lnTo>
                  <a:pt x="853" y="1327"/>
                </a:lnTo>
                <a:close/>
                <a:moveTo>
                  <a:pt x="816" y="1453"/>
                </a:moveTo>
                <a:lnTo>
                  <a:pt x="816" y="1451"/>
                </a:lnTo>
                <a:lnTo>
                  <a:pt x="816" y="1449"/>
                </a:lnTo>
                <a:lnTo>
                  <a:pt x="816" y="1451"/>
                </a:lnTo>
                <a:lnTo>
                  <a:pt x="816" y="1453"/>
                </a:lnTo>
                <a:lnTo>
                  <a:pt x="817" y="1453"/>
                </a:lnTo>
                <a:lnTo>
                  <a:pt x="818" y="1454"/>
                </a:lnTo>
                <a:lnTo>
                  <a:pt x="817" y="1453"/>
                </a:lnTo>
                <a:lnTo>
                  <a:pt x="816" y="1453"/>
                </a:lnTo>
                <a:close/>
                <a:moveTo>
                  <a:pt x="815" y="1439"/>
                </a:moveTo>
                <a:lnTo>
                  <a:pt x="815" y="1439"/>
                </a:lnTo>
                <a:lnTo>
                  <a:pt x="815" y="1440"/>
                </a:lnTo>
                <a:lnTo>
                  <a:pt x="815" y="1439"/>
                </a:lnTo>
                <a:lnTo>
                  <a:pt x="815" y="1439"/>
                </a:lnTo>
                <a:close/>
                <a:moveTo>
                  <a:pt x="805" y="1330"/>
                </a:moveTo>
                <a:lnTo>
                  <a:pt x="809" y="1329"/>
                </a:lnTo>
                <a:lnTo>
                  <a:pt x="811" y="1329"/>
                </a:lnTo>
                <a:lnTo>
                  <a:pt x="809" y="1329"/>
                </a:lnTo>
                <a:lnTo>
                  <a:pt x="805" y="1330"/>
                </a:lnTo>
                <a:close/>
                <a:moveTo>
                  <a:pt x="808" y="1427"/>
                </a:moveTo>
                <a:lnTo>
                  <a:pt x="809" y="1427"/>
                </a:lnTo>
                <a:lnTo>
                  <a:pt x="809" y="1426"/>
                </a:lnTo>
                <a:lnTo>
                  <a:pt x="809" y="1427"/>
                </a:lnTo>
                <a:lnTo>
                  <a:pt x="808" y="1427"/>
                </a:lnTo>
                <a:close/>
                <a:moveTo>
                  <a:pt x="739" y="1382"/>
                </a:moveTo>
                <a:lnTo>
                  <a:pt x="739" y="1384"/>
                </a:lnTo>
                <a:lnTo>
                  <a:pt x="739" y="1386"/>
                </a:lnTo>
                <a:lnTo>
                  <a:pt x="737" y="1388"/>
                </a:lnTo>
                <a:lnTo>
                  <a:pt x="736" y="1389"/>
                </a:lnTo>
                <a:lnTo>
                  <a:pt x="737" y="1390"/>
                </a:lnTo>
                <a:lnTo>
                  <a:pt x="737" y="1391"/>
                </a:lnTo>
                <a:lnTo>
                  <a:pt x="737" y="1391"/>
                </a:lnTo>
                <a:lnTo>
                  <a:pt x="737" y="1392"/>
                </a:lnTo>
                <a:lnTo>
                  <a:pt x="736" y="1395"/>
                </a:lnTo>
                <a:lnTo>
                  <a:pt x="735" y="1397"/>
                </a:lnTo>
                <a:lnTo>
                  <a:pt x="734" y="1414"/>
                </a:lnTo>
                <a:lnTo>
                  <a:pt x="734" y="1432"/>
                </a:lnTo>
                <a:lnTo>
                  <a:pt x="734" y="1433"/>
                </a:lnTo>
                <a:lnTo>
                  <a:pt x="733" y="1435"/>
                </a:lnTo>
                <a:lnTo>
                  <a:pt x="732" y="1437"/>
                </a:lnTo>
                <a:lnTo>
                  <a:pt x="730" y="1437"/>
                </a:lnTo>
                <a:lnTo>
                  <a:pt x="729" y="1439"/>
                </a:lnTo>
                <a:lnTo>
                  <a:pt x="729" y="1441"/>
                </a:lnTo>
                <a:lnTo>
                  <a:pt x="729" y="1442"/>
                </a:lnTo>
                <a:lnTo>
                  <a:pt x="729" y="1445"/>
                </a:lnTo>
                <a:lnTo>
                  <a:pt x="726" y="1453"/>
                </a:lnTo>
                <a:lnTo>
                  <a:pt x="725" y="1460"/>
                </a:lnTo>
                <a:lnTo>
                  <a:pt x="725" y="1461"/>
                </a:lnTo>
                <a:lnTo>
                  <a:pt x="725" y="1463"/>
                </a:lnTo>
                <a:lnTo>
                  <a:pt x="725" y="1465"/>
                </a:lnTo>
                <a:lnTo>
                  <a:pt x="725" y="1466"/>
                </a:lnTo>
                <a:lnTo>
                  <a:pt x="725" y="1465"/>
                </a:lnTo>
                <a:lnTo>
                  <a:pt x="725" y="1463"/>
                </a:lnTo>
                <a:lnTo>
                  <a:pt x="721" y="1463"/>
                </a:lnTo>
                <a:lnTo>
                  <a:pt x="720" y="1463"/>
                </a:lnTo>
                <a:lnTo>
                  <a:pt x="719" y="1461"/>
                </a:lnTo>
                <a:lnTo>
                  <a:pt x="719" y="1459"/>
                </a:lnTo>
                <a:lnTo>
                  <a:pt x="720" y="1452"/>
                </a:lnTo>
                <a:lnTo>
                  <a:pt x="720" y="1445"/>
                </a:lnTo>
                <a:lnTo>
                  <a:pt x="720" y="1445"/>
                </a:lnTo>
                <a:lnTo>
                  <a:pt x="721" y="1444"/>
                </a:lnTo>
                <a:lnTo>
                  <a:pt x="723" y="1441"/>
                </a:lnTo>
                <a:lnTo>
                  <a:pt x="725" y="1438"/>
                </a:lnTo>
                <a:lnTo>
                  <a:pt x="725" y="1435"/>
                </a:lnTo>
                <a:lnTo>
                  <a:pt x="725" y="1431"/>
                </a:lnTo>
                <a:lnTo>
                  <a:pt x="725" y="1427"/>
                </a:lnTo>
                <a:lnTo>
                  <a:pt x="726" y="1424"/>
                </a:lnTo>
                <a:lnTo>
                  <a:pt x="727" y="1424"/>
                </a:lnTo>
                <a:lnTo>
                  <a:pt x="727" y="1424"/>
                </a:lnTo>
                <a:lnTo>
                  <a:pt x="727" y="1423"/>
                </a:lnTo>
                <a:lnTo>
                  <a:pt x="727" y="1421"/>
                </a:lnTo>
                <a:lnTo>
                  <a:pt x="729" y="1411"/>
                </a:lnTo>
                <a:lnTo>
                  <a:pt x="729" y="1402"/>
                </a:lnTo>
                <a:lnTo>
                  <a:pt x="729" y="1391"/>
                </a:lnTo>
                <a:lnTo>
                  <a:pt x="729" y="1381"/>
                </a:lnTo>
                <a:lnTo>
                  <a:pt x="729" y="1364"/>
                </a:lnTo>
                <a:lnTo>
                  <a:pt x="729" y="1348"/>
                </a:lnTo>
                <a:lnTo>
                  <a:pt x="729" y="1341"/>
                </a:lnTo>
                <a:lnTo>
                  <a:pt x="732" y="1337"/>
                </a:lnTo>
                <a:lnTo>
                  <a:pt x="735" y="1335"/>
                </a:lnTo>
                <a:lnTo>
                  <a:pt x="743" y="1335"/>
                </a:lnTo>
                <a:lnTo>
                  <a:pt x="741" y="1347"/>
                </a:lnTo>
                <a:lnTo>
                  <a:pt x="739" y="1358"/>
                </a:lnTo>
                <a:lnTo>
                  <a:pt x="739" y="1370"/>
                </a:lnTo>
                <a:lnTo>
                  <a:pt x="739" y="1382"/>
                </a:lnTo>
                <a:close/>
                <a:moveTo>
                  <a:pt x="732" y="1449"/>
                </a:moveTo>
                <a:lnTo>
                  <a:pt x="730" y="1460"/>
                </a:lnTo>
                <a:lnTo>
                  <a:pt x="728" y="1470"/>
                </a:lnTo>
                <a:lnTo>
                  <a:pt x="730" y="1460"/>
                </a:lnTo>
                <a:lnTo>
                  <a:pt x="732" y="1449"/>
                </a:lnTo>
                <a:lnTo>
                  <a:pt x="732" y="1448"/>
                </a:lnTo>
                <a:lnTo>
                  <a:pt x="732" y="1447"/>
                </a:lnTo>
                <a:lnTo>
                  <a:pt x="732" y="1448"/>
                </a:lnTo>
                <a:lnTo>
                  <a:pt x="732" y="1449"/>
                </a:lnTo>
                <a:close/>
                <a:moveTo>
                  <a:pt x="709" y="1426"/>
                </a:moveTo>
                <a:lnTo>
                  <a:pt x="707" y="1427"/>
                </a:lnTo>
                <a:lnTo>
                  <a:pt x="707" y="1428"/>
                </a:lnTo>
                <a:lnTo>
                  <a:pt x="707" y="1430"/>
                </a:lnTo>
                <a:lnTo>
                  <a:pt x="707" y="1432"/>
                </a:lnTo>
                <a:lnTo>
                  <a:pt x="707" y="1437"/>
                </a:lnTo>
                <a:lnTo>
                  <a:pt x="707" y="1440"/>
                </a:lnTo>
                <a:lnTo>
                  <a:pt x="706" y="1439"/>
                </a:lnTo>
                <a:lnTo>
                  <a:pt x="705" y="1435"/>
                </a:lnTo>
                <a:lnTo>
                  <a:pt x="702" y="1437"/>
                </a:lnTo>
                <a:lnTo>
                  <a:pt x="702" y="1439"/>
                </a:lnTo>
                <a:lnTo>
                  <a:pt x="702" y="1437"/>
                </a:lnTo>
                <a:lnTo>
                  <a:pt x="705" y="1435"/>
                </a:lnTo>
                <a:lnTo>
                  <a:pt x="705" y="1428"/>
                </a:lnTo>
                <a:lnTo>
                  <a:pt x="705" y="1421"/>
                </a:lnTo>
                <a:lnTo>
                  <a:pt x="702" y="1419"/>
                </a:lnTo>
                <a:lnTo>
                  <a:pt x="702" y="1417"/>
                </a:lnTo>
                <a:lnTo>
                  <a:pt x="702" y="1414"/>
                </a:lnTo>
                <a:lnTo>
                  <a:pt x="702" y="1411"/>
                </a:lnTo>
                <a:lnTo>
                  <a:pt x="702" y="1414"/>
                </a:lnTo>
                <a:lnTo>
                  <a:pt x="702" y="1417"/>
                </a:lnTo>
                <a:lnTo>
                  <a:pt x="702" y="1419"/>
                </a:lnTo>
                <a:lnTo>
                  <a:pt x="705" y="1421"/>
                </a:lnTo>
                <a:lnTo>
                  <a:pt x="705" y="1418"/>
                </a:lnTo>
                <a:lnTo>
                  <a:pt x="706" y="1414"/>
                </a:lnTo>
                <a:lnTo>
                  <a:pt x="705" y="1411"/>
                </a:lnTo>
                <a:lnTo>
                  <a:pt x="702" y="1407"/>
                </a:lnTo>
                <a:lnTo>
                  <a:pt x="702" y="1400"/>
                </a:lnTo>
                <a:lnTo>
                  <a:pt x="702" y="1392"/>
                </a:lnTo>
                <a:lnTo>
                  <a:pt x="700" y="1391"/>
                </a:lnTo>
                <a:lnTo>
                  <a:pt x="699" y="1389"/>
                </a:lnTo>
                <a:lnTo>
                  <a:pt x="700" y="1391"/>
                </a:lnTo>
                <a:lnTo>
                  <a:pt x="702" y="1392"/>
                </a:lnTo>
                <a:lnTo>
                  <a:pt x="701" y="1382"/>
                </a:lnTo>
                <a:lnTo>
                  <a:pt x="699" y="1370"/>
                </a:lnTo>
                <a:lnTo>
                  <a:pt x="698" y="1367"/>
                </a:lnTo>
                <a:lnTo>
                  <a:pt x="696" y="1364"/>
                </a:lnTo>
                <a:lnTo>
                  <a:pt x="693" y="1362"/>
                </a:lnTo>
                <a:lnTo>
                  <a:pt x="688" y="1362"/>
                </a:lnTo>
                <a:lnTo>
                  <a:pt x="688" y="1359"/>
                </a:lnTo>
                <a:lnTo>
                  <a:pt x="688" y="1357"/>
                </a:lnTo>
                <a:lnTo>
                  <a:pt x="689" y="1351"/>
                </a:lnTo>
                <a:lnTo>
                  <a:pt x="688" y="1344"/>
                </a:lnTo>
                <a:lnTo>
                  <a:pt x="688" y="1341"/>
                </a:lnTo>
                <a:lnTo>
                  <a:pt x="688" y="1338"/>
                </a:lnTo>
                <a:lnTo>
                  <a:pt x="687" y="1338"/>
                </a:lnTo>
                <a:lnTo>
                  <a:pt x="686" y="1337"/>
                </a:lnTo>
                <a:lnTo>
                  <a:pt x="687" y="1338"/>
                </a:lnTo>
                <a:lnTo>
                  <a:pt x="688" y="1338"/>
                </a:lnTo>
                <a:lnTo>
                  <a:pt x="688" y="1336"/>
                </a:lnTo>
                <a:lnTo>
                  <a:pt x="688" y="1335"/>
                </a:lnTo>
                <a:lnTo>
                  <a:pt x="691" y="1331"/>
                </a:lnTo>
                <a:lnTo>
                  <a:pt x="693" y="1330"/>
                </a:lnTo>
                <a:lnTo>
                  <a:pt x="695" y="1330"/>
                </a:lnTo>
                <a:lnTo>
                  <a:pt x="698" y="1334"/>
                </a:lnTo>
                <a:lnTo>
                  <a:pt x="701" y="1335"/>
                </a:lnTo>
                <a:lnTo>
                  <a:pt x="702" y="1338"/>
                </a:lnTo>
                <a:lnTo>
                  <a:pt x="701" y="1335"/>
                </a:lnTo>
                <a:lnTo>
                  <a:pt x="698" y="1334"/>
                </a:lnTo>
                <a:lnTo>
                  <a:pt x="698" y="1336"/>
                </a:lnTo>
                <a:lnTo>
                  <a:pt x="699" y="1338"/>
                </a:lnTo>
                <a:lnTo>
                  <a:pt x="700" y="1340"/>
                </a:lnTo>
                <a:lnTo>
                  <a:pt x="702" y="1342"/>
                </a:lnTo>
                <a:lnTo>
                  <a:pt x="702" y="1343"/>
                </a:lnTo>
                <a:lnTo>
                  <a:pt x="702" y="1344"/>
                </a:lnTo>
                <a:lnTo>
                  <a:pt x="701" y="1345"/>
                </a:lnTo>
                <a:lnTo>
                  <a:pt x="701" y="1347"/>
                </a:lnTo>
                <a:lnTo>
                  <a:pt x="702" y="1358"/>
                </a:lnTo>
                <a:lnTo>
                  <a:pt x="705" y="1369"/>
                </a:lnTo>
                <a:lnTo>
                  <a:pt x="706" y="1381"/>
                </a:lnTo>
                <a:lnTo>
                  <a:pt x="707" y="1392"/>
                </a:lnTo>
                <a:lnTo>
                  <a:pt x="707" y="1405"/>
                </a:lnTo>
                <a:lnTo>
                  <a:pt x="709" y="1418"/>
                </a:lnTo>
                <a:lnTo>
                  <a:pt x="709" y="1423"/>
                </a:lnTo>
                <a:lnTo>
                  <a:pt x="709" y="1426"/>
                </a:lnTo>
                <a:close/>
                <a:moveTo>
                  <a:pt x="695" y="1584"/>
                </a:move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lnTo>
                  <a:pt x="698" y="1582"/>
                </a:lnTo>
                <a:lnTo>
                  <a:pt x="695" y="1584"/>
                </a:lnTo>
                <a:lnTo>
                  <a:pt x="694" y="1584"/>
                </a:lnTo>
                <a:lnTo>
                  <a:pt x="694" y="1584"/>
                </a:lnTo>
                <a:lnTo>
                  <a:pt x="695" y="1584"/>
                </a:lnTo>
                <a:close/>
                <a:moveTo>
                  <a:pt x="645" y="1341"/>
                </a:moveTo>
                <a:lnTo>
                  <a:pt x="642" y="1344"/>
                </a:lnTo>
                <a:lnTo>
                  <a:pt x="638" y="1349"/>
                </a:lnTo>
                <a:lnTo>
                  <a:pt x="637" y="1351"/>
                </a:lnTo>
                <a:lnTo>
                  <a:pt x="636" y="1351"/>
                </a:lnTo>
                <a:lnTo>
                  <a:pt x="635" y="1350"/>
                </a:lnTo>
                <a:lnTo>
                  <a:pt x="635" y="1349"/>
                </a:lnTo>
                <a:lnTo>
                  <a:pt x="632" y="1349"/>
                </a:lnTo>
                <a:lnTo>
                  <a:pt x="632" y="1350"/>
                </a:lnTo>
                <a:lnTo>
                  <a:pt x="632" y="1349"/>
                </a:lnTo>
                <a:lnTo>
                  <a:pt x="635" y="1349"/>
                </a:lnTo>
                <a:lnTo>
                  <a:pt x="635" y="1348"/>
                </a:lnTo>
                <a:lnTo>
                  <a:pt x="635" y="1345"/>
                </a:lnTo>
                <a:lnTo>
                  <a:pt x="637" y="1344"/>
                </a:lnTo>
                <a:lnTo>
                  <a:pt x="638" y="1342"/>
                </a:lnTo>
                <a:lnTo>
                  <a:pt x="639" y="1340"/>
                </a:lnTo>
                <a:lnTo>
                  <a:pt x="639" y="1337"/>
                </a:lnTo>
                <a:lnTo>
                  <a:pt x="639" y="1333"/>
                </a:lnTo>
                <a:lnTo>
                  <a:pt x="642" y="1329"/>
                </a:lnTo>
                <a:lnTo>
                  <a:pt x="645" y="1327"/>
                </a:lnTo>
                <a:lnTo>
                  <a:pt x="650" y="1326"/>
                </a:lnTo>
                <a:lnTo>
                  <a:pt x="650" y="1326"/>
                </a:lnTo>
                <a:lnTo>
                  <a:pt x="650" y="1324"/>
                </a:lnTo>
                <a:lnTo>
                  <a:pt x="650" y="1326"/>
                </a:lnTo>
                <a:lnTo>
                  <a:pt x="650" y="1326"/>
                </a:lnTo>
                <a:lnTo>
                  <a:pt x="651" y="1326"/>
                </a:lnTo>
                <a:lnTo>
                  <a:pt x="652" y="1326"/>
                </a:lnTo>
                <a:lnTo>
                  <a:pt x="653" y="1330"/>
                </a:lnTo>
                <a:lnTo>
                  <a:pt x="652" y="1335"/>
                </a:lnTo>
                <a:lnTo>
                  <a:pt x="650" y="1338"/>
                </a:lnTo>
                <a:lnTo>
                  <a:pt x="645" y="1341"/>
                </a:lnTo>
                <a:close/>
                <a:moveTo>
                  <a:pt x="629" y="1331"/>
                </a:moveTo>
                <a:lnTo>
                  <a:pt x="622" y="1348"/>
                </a:lnTo>
                <a:lnTo>
                  <a:pt x="617" y="1365"/>
                </a:lnTo>
                <a:lnTo>
                  <a:pt x="616" y="1368"/>
                </a:lnTo>
                <a:lnTo>
                  <a:pt x="617" y="1370"/>
                </a:lnTo>
                <a:lnTo>
                  <a:pt x="616" y="1372"/>
                </a:lnTo>
                <a:lnTo>
                  <a:pt x="616" y="1375"/>
                </a:lnTo>
                <a:lnTo>
                  <a:pt x="612" y="1379"/>
                </a:lnTo>
                <a:lnTo>
                  <a:pt x="608" y="1385"/>
                </a:lnTo>
                <a:lnTo>
                  <a:pt x="604" y="1392"/>
                </a:lnTo>
                <a:lnTo>
                  <a:pt x="603" y="1399"/>
                </a:lnTo>
                <a:lnTo>
                  <a:pt x="601" y="1406"/>
                </a:lnTo>
                <a:lnTo>
                  <a:pt x="597" y="1413"/>
                </a:lnTo>
                <a:lnTo>
                  <a:pt x="595" y="1423"/>
                </a:lnTo>
                <a:lnTo>
                  <a:pt x="594" y="1431"/>
                </a:lnTo>
                <a:lnTo>
                  <a:pt x="594" y="1440"/>
                </a:lnTo>
                <a:lnTo>
                  <a:pt x="594" y="1448"/>
                </a:lnTo>
                <a:lnTo>
                  <a:pt x="594" y="1463"/>
                </a:lnTo>
                <a:lnTo>
                  <a:pt x="594" y="1477"/>
                </a:lnTo>
                <a:lnTo>
                  <a:pt x="594" y="1481"/>
                </a:lnTo>
                <a:lnTo>
                  <a:pt x="594" y="1483"/>
                </a:lnTo>
                <a:lnTo>
                  <a:pt x="594" y="1484"/>
                </a:lnTo>
                <a:lnTo>
                  <a:pt x="594" y="1486"/>
                </a:lnTo>
                <a:lnTo>
                  <a:pt x="592" y="1487"/>
                </a:lnTo>
                <a:lnTo>
                  <a:pt x="590" y="1487"/>
                </a:lnTo>
                <a:lnTo>
                  <a:pt x="588" y="1486"/>
                </a:lnTo>
                <a:lnTo>
                  <a:pt x="587" y="1483"/>
                </a:lnTo>
                <a:lnTo>
                  <a:pt x="585" y="1481"/>
                </a:lnTo>
                <a:lnTo>
                  <a:pt x="585" y="1479"/>
                </a:lnTo>
                <a:lnTo>
                  <a:pt x="584" y="1463"/>
                </a:lnTo>
                <a:lnTo>
                  <a:pt x="583" y="1448"/>
                </a:lnTo>
                <a:lnTo>
                  <a:pt x="583" y="1445"/>
                </a:lnTo>
                <a:lnTo>
                  <a:pt x="582" y="1441"/>
                </a:lnTo>
                <a:lnTo>
                  <a:pt x="580" y="1439"/>
                </a:lnTo>
                <a:lnTo>
                  <a:pt x="576" y="1438"/>
                </a:lnTo>
                <a:lnTo>
                  <a:pt x="576" y="1452"/>
                </a:lnTo>
                <a:lnTo>
                  <a:pt x="576" y="1466"/>
                </a:lnTo>
                <a:lnTo>
                  <a:pt x="576" y="1452"/>
                </a:lnTo>
                <a:lnTo>
                  <a:pt x="576" y="1438"/>
                </a:lnTo>
                <a:lnTo>
                  <a:pt x="575" y="1424"/>
                </a:lnTo>
                <a:lnTo>
                  <a:pt x="575" y="1411"/>
                </a:lnTo>
                <a:lnTo>
                  <a:pt x="571" y="1403"/>
                </a:lnTo>
                <a:lnTo>
                  <a:pt x="571" y="1393"/>
                </a:lnTo>
                <a:lnTo>
                  <a:pt x="574" y="1381"/>
                </a:lnTo>
                <a:lnTo>
                  <a:pt x="575" y="1368"/>
                </a:lnTo>
                <a:lnTo>
                  <a:pt x="577" y="1354"/>
                </a:lnTo>
                <a:lnTo>
                  <a:pt x="580" y="1341"/>
                </a:lnTo>
                <a:lnTo>
                  <a:pt x="584" y="1338"/>
                </a:lnTo>
                <a:lnTo>
                  <a:pt x="588" y="1334"/>
                </a:lnTo>
                <a:lnTo>
                  <a:pt x="590" y="1329"/>
                </a:lnTo>
                <a:lnTo>
                  <a:pt x="591" y="1324"/>
                </a:lnTo>
                <a:lnTo>
                  <a:pt x="595" y="1321"/>
                </a:lnTo>
                <a:lnTo>
                  <a:pt x="601" y="1319"/>
                </a:lnTo>
                <a:lnTo>
                  <a:pt x="603" y="1317"/>
                </a:lnTo>
                <a:lnTo>
                  <a:pt x="605" y="1319"/>
                </a:lnTo>
                <a:lnTo>
                  <a:pt x="608" y="1319"/>
                </a:lnTo>
                <a:lnTo>
                  <a:pt x="610" y="1320"/>
                </a:lnTo>
                <a:lnTo>
                  <a:pt x="611" y="1322"/>
                </a:lnTo>
                <a:lnTo>
                  <a:pt x="613" y="1323"/>
                </a:lnTo>
                <a:lnTo>
                  <a:pt x="616" y="1323"/>
                </a:lnTo>
                <a:lnTo>
                  <a:pt x="618" y="1323"/>
                </a:lnTo>
                <a:lnTo>
                  <a:pt x="620" y="1322"/>
                </a:lnTo>
                <a:lnTo>
                  <a:pt x="623" y="1322"/>
                </a:lnTo>
                <a:lnTo>
                  <a:pt x="627" y="1322"/>
                </a:lnTo>
                <a:lnTo>
                  <a:pt x="630" y="1324"/>
                </a:lnTo>
                <a:lnTo>
                  <a:pt x="631" y="1327"/>
                </a:lnTo>
                <a:lnTo>
                  <a:pt x="629" y="1331"/>
                </a:lnTo>
                <a:close/>
                <a:moveTo>
                  <a:pt x="580" y="1335"/>
                </a:moveTo>
                <a:lnTo>
                  <a:pt x="581" y="1336"/>
                </a:lnTo>
                <a:lnTo>
                  <a:pt x="580" y="1338"/>
                </a:lnTo>
                <a:lnTo>
                  <a:pt x="581" y="1336"/>
                </a:lnTo>
                <a:lnTo>
                  <a:pt x="580" y="1335"/>
                </a:lnTo>
                <a:close/>
                <a:moveTo>
                  <a:pt x="962" y="1454"/>
                </a:moveTo>
                <a:lnTo>
                  <a:pt x="962" y="1453"/>
                </a:lnTo>
                <a:lnTo>
                  <a:pt x="962" y="1452"/>
                </a:lnTo>
                <a:lnTo>
                  <a:pt x="962" y="1451"/>
                </a:lnTo>
                <a:lnTo>
                  <a:pt x="962" y="1449"/>
                </a:lnTo>
                <a:lnTo>
                  <a:pt x="958" y="1435"/>
                </a:lnTo>
                <a:lnTo>
                  <a:pt x="955" y="1420"/>
                </a:lnTo>
                <a:lnTo>
                  <a:pt x="953" y="1407"/>
                </a:lnTo>
                <a:lnTo>
                  <a:pt x="950" y="1395"/>
                </a:lnTo>
                <a:lnTo>
                  <a:pt x="947" y="1383"/>
                </a:lnTo>
                <a:lnTo>
                  <a:pt x="943" y="1370"/>
                </a:lnTo>
                <a:lnTo>
                  <a:pt x="942" y="1372"/>
                </a:lnTo>
                <a:lnTo>
                  <a:pt x="942" y="1376"/>
                </a:lnTo>
                <a:lnTo>
                  <a:pt x="942" y="1377"/>
                </a:lnTo>
                <a:lnTo>
                  <a:pt x="941" y="1378"/>
                </a:lnTo>
                <a:lnTo>
                  <a:pt x="940" y="1378"/>
                </a:lnTo>
                <a:lnTo>
                  <a:pt x="937" y="1378"/>
                </a:lnTo>
                <a:lnTo>
                  <a:pt x="937" y="1377"/>
                </a:lnTo>
                <a:lnTo>
                  <a:pt x="937" y="1375"/>
                </a:lnTo>
                <a:lnTo>
                  <a:pt x="937" y="1371"/>
                </a:lnTo>
                <a:lnTo>
                  <a:pt x="939" y="1368"/>
                </a:lnTo>
                <a:lnTo>
                  <a:pt x="940" y="1365"/>
                </a:lnTo>
                <a:lnTo>
                  <a:pt x="942" y="1362"/>
                </a:lnTo>
                <a:lnTo>
                  <a:pt x="942" y="1357"/>
                </a:lnTo>
                <a:lnTo>
                  <a:pt x="941" y="1352"/>
                </a:lnTo>
                <a:lnTo>
                  <a:pt x="939" y="1343"/>
                </a:lnTo>
                <a:lnTo>
                  <a:pt x="937" y="1333"/>
                </a:lnTo>
                <a:lnTo>
                  <a:pt x="936" y="1322"/>
                </a:lnTo>
                <a:lnTo>
                  <a:pt x="933" y="1312"/>
                </a:lnTo>
                <a:lnTo>
                  <a:pt x="930" y="1305"/>
                </a:lnTo>
                <a:lnTo>
                  <a:pt x="927" y="1300"/>
                </a:lnTo>
                <a:lnTo>
                  <a:pt x="926" y="1299"/>
                </a:lnTo>
                <a:lnTo>
                  <a:pt x="925" y="1299"/>
                </a:lnTo>
                <a:lnTo>
                  <a:pt x="923" y="1300"/>
                </a:lnTo>
                <a:lnTo>
                  <a:pt x="922" y="1301"/>
                </a:lnTo>
                <a:lnTo>
                  <a:pt x="919" y="1303"/>
                </a:lnTo>
                <a:lnTo>
                  <a:pt x="916" y="1305"/>
                </a:lnTo>
                <a:lnTo>
                  <a:pt x="914" y="1306"/>
                </a:lnTo>
                <a:lnTo>
                  <a:pt x="910" y="1308"/>
                </a:lnTo>
                <a:lnTo>
                  <a:pt x="909" y="1309"/>
                </a:lnTo>
                <a:lnTo>
                  <a:pt x="908" y="1309"/>
                </a:lnTo>
                <a:lnTo>
                  <a:pt x="905" y="1310"/>
                </a:lnTo>
                <a:lnTo>
                  <a:pt x="902" y="1312"/>
                </a:lnTo>
                <a:lnTo>
                  <a:pt x="899" y="1313"/>
                </a:lnTo>
                <a:lnTo>
                  <a:pt x="896" y="1314"/>
                </a:lnTo>
                <a:lnTo>
                  <a:pt x="892" y="1315"/>
                </a:lnTo>
                <a:lnTo>
                  <a:pt x="887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8" y="1317"/>
                </a:lnTo>
                <a:lnTo>
                  <a:pt x="887" y="1317"/>
                </a:lnTo>
                <a:lnTo>
                  <a:pt x="886" y="1317"/>
                </a:lnTo>
                <a:lnTo>
                  <a:pt x="885" y="1319"/>
                </a:lnTo>
                <a:lnTo>
                  <a:pt x="875" y="1320"/>
                </a:lnTo>
                <a:lnTo>
                  <a:pt x="867" y="1323"/>
                </a:lnTo>
                <a:lnTo>
                  <a:pt x="866" y="1323"/>
                </a:lnTo>
                <a:lnTo>
                  <a:pt x="865" y="1323"/>
                </a:lnTo>
                <a:lnTo>
                  <a:pt x="859" y="1323"/>
                </a:lnTo>
                <a:lnTo>
                  <a:pt x="853" y="1324"/>
                </a:lnTo>
                <a:lnTo>
                  <a:pt x="850" y="1324"/>
                </a:lnTo>
                <a:lnTo>
                  <a:pt x="846" y="1326"/>
                </a:lnTo>
                <a:lnTo>
                  <a:pt x="845" y="1326"/>
                </a:lnTo>
                <a:lnTo>
                  <a:pt x="843" y="1326"/>
                </a:lnTo>
                <a:lnTo>
                  <a:pt x="839" y="1324"/>
                </a:lnTo>
                <a:lnTo>
                  <a:pt x="836" y="1324"/>
                </a:lnTo>
                <a:lnTo>
                  <a:pt x="833" y="1324"/>
                </a:lnTo>
                <a:lnTo>
                  <a:pt x="830" y="1328"/>
                </a:lnTo>
                <a:lnTo>
                  <a:pt x="830" y="1328"/>
                </a:lnTo>
                <a:lnTo>
                  <a:pt x="829" y="1328"/>
                </a:lnTo>
                <a:lnTo>
                  <a:pt x="824" y="1328"/>
                </a:lnTo>
                <a:lnTo>
                  <a:pt x="819" y="1328"/>
                </a:lnTo>
                <a:lnTo>
                  <a:pt x="808" y="1328"/>
                </a:lnTo>
                <a:lnTo>
                  <a:pt x="797" y="1329"/>
                </a:lnTo>
                <a:lnTo>
                  <a:pt x="795" y="1329"/>
                </a:lnTo>
                <a:lnTo>
                  <a:pt x="792" y="1330"/>
                </a:lnTo>
                <a:lnTo>
                  <a:pt x="787" y="1329"/>
                </a:lnTo>
                <a:lnTo>
                  <a:pt x="780" y="1329"/>
                </a:lnTo>
                <a:lnTo>
                  <a:pt x="769" y="1329"/>
                </a:lnTo>
                <a:lnTo>
                  <a:pt x="758" y="1329"/>
                </a:lnTo>
                <a:lnTo>
                  <a:pt x="748" y="1329"/>
                </a:lnTo>
                <a:lnTo>
                  <a:pt x="736" y="1330"/>
                </a:lnTo>
                <a:lnTo>
                  <a:pt x="735" y="1330"/>
                </a:lnTo>
                <a:lnTo>
                  <a:pt x="734" y="1330"/>
                </a:lnTo>
                <a:lnTo>
                  <a:pt x="733" y="1329"/>
                </a:lnTo>
                <a:lnTo>
                  <a:pt x="732" y="1330"/>
                </a:lnTo>
                <a:lnTo>
                  <a:pt x="730" y="1329"/>
                </a:lnTo>
                <a:lnTo>
                  <a:pt x="728" y="1329"/>
                </a:lnTo>
                <a:lnTo>
                  <a:pt x="726" y="1329"/>
                </a:lnTo>
                <a:lnTo>
                  <a:pt x="723" y="1329"/>
                </a:lnTo>
                <a:lnTo>
                  <a:pt x="713" y="1328"/>
                </a:lnTo>
                <a:lnTo>
                  <a:pt x="702" y="1327"/>
                </a:lnTo>
                <a:lnTo>
                  <a:pt x="692" y="1327"/>
                </a:lnTo>
                <a:lnTo>
                  <a:pt x="682" y="1326"/>
                </a:lnTo>
                <a:lnTo>
                  <a:pt x="667" y="1323"/>
                </a:lnTo>
                <a:lnTo>
                  <a:pt x="653" y="1323"/>
                </a:lnTo>
                <a:lnTo>
                  <a:pt x="652" y="1323"/>
                </a:lnTo>
                <a:lnTo>
                  <a:pt x="651" y="1323"/>
                </a:lnTo>
                <a:lnTo>
                  <a:pt x="652" y="1323"/>
                </a:lnTo>
                <a:lnTo>
                  <a:pt x="653" y="1323"/>
                </a:lnTo>
                <a:lnTo>
                  <a:pt x="650" y="1321"/>
                </a:lnTo>
                <a:lnTo>
                  <a:pt x="646" y="1321"/>
                </a:lnTo>
                <a:lnTo>
                  <a:pt x="632" y="1320"/>
                </a:lnTo>
                <a:lnTo>
                  <a:pt x="619" y="1317"/>
                </a:lnTo>
                <a:lnTo>
                  <a:pt x="606" y="1315"/>
                </a:lnTo>
                <a:lnTo>
                  <a:pt x="592" y="1313"/>
                </a:lnTo>
                <a:lnTo>
                  <a:pt x="578" y="1310"/>
                </a:lnTo>
                <a:lnTo>
                  <a:pt x="564" y="1308"/>
                </a:lnTo>
                <a:lnTo>
                  <a:pt x="560" y="1320"/>
                </a:lnTo>
                <a:lnTo>
                  <a:pt x="555" y="1333"/>
                </a:lnTo>
                <a:lnTo>
                  <a:pt x="550" y="1344"/>
                </a:lnTo>
                <a:lnTo>
                  <a:pt x="549" y="1357"/>
                </a:lnTo>
                <a:lnTo>
                  <a:pt x="547" y="1371"/>
                </a:lnTo>
                <a:lnTo>
                  <a:pt x="546" y="1385"/>
                </a:lnTo>
                <a:lnTo>
                  <a:pt x="544" y="1399"/>
                </a:lnTo>
                <a:lnTo>
                  <a:pt x="543" y="1413"/>
                </a:lnTo>
                <a:lnTo>
                  <a:pt x="543" y="1416"/>
                </a:lnTo>
                <a:lnTo>
                  <a:pt x="542" y="1417"/>
                </a:lnTo>
                <a:lnTo>
                  <a:pt x="541" y="1417"/>
                </a:lnTo>
                <a:lnTo>
                  <a:pt x="540" y="1416"/>
                </a:lnTo>
                <a:lnTo>
                  <a:pt x="540" y="1414"/>
                </a:lnTo>
                <a:lnTo>
                  <a:pt x="540" y="1413"/>
                </a:lnTo>
                <a:lnTo>
                  <a:pt x="537" y="1400"/>
                </a:lnTo>
                <a:lnTo>
                  <a:pt x="534" y="1388"/>
                </a:lnTo>
                <a:lnTo>
                  <a:pt x="534" y="1385"/>
                </a:lnTo>
                <a:lnTo>
                  <a:pt x="532" y="1384"/>
                </a:lnTo>
                <a:lnTo>
                  <a:pt x="530" y="1392"/>
                </a:lnTo>
                <a:lnTo>
                  <a:pt x="530" y="1402"/>
                </a:lnTo>
                <a:lnTo>
                  <a:pt x="529" y="1410"/>
                </a:lnTo>
                <a:lnTo>
                  <a:pt x="527" y="1419"/>
                </a:lnTo>
                <a:lnTo>
                  <a:pt x="525" y="1409"/>
                </a:lnTo>
                <a:lnTo>
                  <a:pt x="522" y="1399"/>
                </a:lnTo>
                <a:lnTo>
                  <a:pt x="522" y="1398"/>
                </a:lnTo>
                <a:lnTo>
                  <a:pt x="522" y="1396"/>
                </a:lnTo>
                <a:lnTo>
                  <a:pt x="521" y="1395"/>
                </a:lnTo>
                <a:lnTo>
                  <a:pt x="519" y="1395"/>
                </a:lnTo>
                <a:lnTo>
                  <a:pt x="518" y="1396"/>
                </a:lnTo>
                <a:lnTo>
                  <a:pt x="516" y="1397"/>
                </a:lnTo>
                <a:lnTo>
                  <a:pt x="516" y="1399"/>
                </a:lnTo>
                <a:lnTo>
                  <a:pt x="516" y="1400"/>
                </a:lnTo>
                <a:lnTo>
                  <a:pt x="516" y="1402"/>
                </a:lnTo>
                <a:lnTo>
                  <a:pt x="516" y="1402"/>
                </a:lnTo>
                <a:lnTo>
                  <a:pt x="518" y="1405"/>
                </a:lnTo>
                <a:lnTo>
                  <a:pt x="518" y="1406"/>
                </a:lnTo>
                <a:lnTo>
                  <a:pt x="518" y="1407"/>
                </a:lnTo>
                <a:lnTo>
                  <a:pt x="516" y="1409"/>
                </a:lnTo>
                <a:lnTo>
                  <a:pt x="513" y="1409"/>
                </a:lnTo>
                <a:lnTo>
                  <a:pt x="509" y="1407"/>
                </a:lnTo>
                <a:lnTo>
                  <a:pt x="509" y="1407"/>
                </a:lnTo>
                <a:lnTo>
                  <a:pt x="512" y="1396"/>
                </a:lnTo>
                <a:lnTo>
                  <a:pt x="513" y="1384"/>
                </a:lnTo>
                <a:lnTo>
                  <a:pt x="514" y="1372"/>
                </a:lnTo>
                <a:lnTo>
                  <a:pt x="516" y="1361"/>
                </a:lnTo>
                <a:lnTo>
                  <a:pt x="521" y="1348"/>
                </a:lnTo>
                <a:lnTo>
                  <a:pt x="526" y="1335"/>
                </a:lnTo>
                <a:lnTo>
                  <a:pt x="526" y="1335"/>
                </a:lnTo>
                <a:lnTo>
                  <a:pt x="528" y="1334"/>
                </a:lnTo>
                <a:lnTo>
                  <a:pt x="529" y="1333"/>
                </a:lnTo>
                <a:lnTo>
                  <a:pt x="530" y="1330"/>
                </a:lnTo>
                <a:lnTo>
                  <a:pt x="530" y="1328"/>
                </a:lnTo>
                <a:lnTo>
                  <a:pt x="530" y="1326"/>
                </a:lnTo>
                <a:lnTo>
                  <a:pt x="530" y="1324"/>
                </a:lnTo>
                <a:lnTo>
                  <a:pt x="534" y="1321"/>
                </a:lnTo>
                <a:lnTo>
                  <a:pt x="536" y="1315"/>
                </a:lnTo>
                <a:lnTo>
                  <a:pt x="539" y="1314"/>
                </a:lnTo>
                <a:lnTo>
                  <a:pt x="540" y="1313"/>
                </a:lnTo>
                <a:lnTo>
                  <a:pt x="541" y="1310"/>
                </a:lnTo>
                <a:lnTo>
                  <a:pt x="542" y="1307"/>
                </a:lnTo>
                <a:lnTo>
                  <a:pt x="543" y="1306"/>
                </a:lnTo>
                <a:lnTo>
                  <a:pt x="546" y="1306"/>
                </a:lnTo>
                <a:lnTo>
                  <a:pt x="547" y="1306"/>
                </a:lnTo>
                <a:lnTo>
                  <a:pt x="548" y="1307"/>
                </a:lnTo>
                <a:lnTo>
                  <a:pt x="547" y="1308"/>
                </a:lnTo>
                <a:lnTo>
                  <a:pt x="546" y="1309"/>
                </a:lnTo>
                <a:lnTo>
                  <a:pt x="543" y="1315"/>
                </a:lnTo>
                <a:lnTo>
                  <a:pt x="541" y="1321"/>
                </a:lnTo>
                <a:lnTo>
                  <a:pt x="540" y="1327"/>
                </a:lnTo>
                <a:lnTo>
                  <a:pt x="539" y="1333"/>
                </a:lnTo>
                <a:lnTo>
                  <a:pt x="537" y="1344"/>
                </a:lnTo>
                <a:lnTo>
                  <a:pt x="535" y="1356"/>
                </a:lnTo>
                <a:lnTo>
                  <a:pt x="535" y="1358"/>
                </a:lnTo>
                <a:lnTo>
                  <a:pt x="536" y="1358"/>
                </a:lnTo>
                <a:lnTo>
                  <a:pt x="539" y="1358"/>
                </a:lnTo>
                <a:lnTo>
                  <a:pt x="539" y="1357"/>
                </a:lnTo>
                <a:lnTo>
                  <a:pt x="542" y="1349"/>
                </a:lnTo>
                <a:lnTo>
                  <a:pt x="544" y="1340"/>
                </a:lnTo>
                <a:lnTo>
                  <a:pt x="546" y="1333"/>
                </a:lnTo>
                <a:lnTo>
                  <a:pt x="547" y="1324"/>
                </a:lnTo>
                <a:lnTo>
                  <a:pt x="549" y="1316"/>
                </a:lnTo>
                <a:lnTo>
                  <a:pt x="553" y="1309"/>
                </a:lnTo>
                <a:lnTo>
                  <a:pt x="555" y="1312"/>
                </a:lnTo>
                <a:lnTo>
                  <a:pt x="556" y="1313"/>
                </a:lnTo>
                <a:lnTo>
                  <a:pt x="559" y="1310"/>
                </a:lnTo>
                <a:lnTo>
                  <a:pt x="561" y="1307"/>
                </a:lnTo>
                <a:lnTo>
                  <a:pt x="560" y="1306"/>
                </a:lnTo>
                <a:lnTo>
                  <a:pt x="559" y="1306"/>
                </a:lnTo>
                <a:lnTo>
                  <a:pt x="542" y="1301"/>
                </a:lnTo>
                <a:lnTo>
                  <a:pt x="526" y="1298"/>
                </a:lnTo>
                <a:lnTo>
                  <a:pt x="509" y="1292"/>
                </a:lnTo>
                <a:lnTo>
                  <a:pt x="493" y="1286"/>
                </a:lnTo>
                <a:lnTo>
                  <a:pt x="490" y="1289"/>
                </a:lnTo>
                <a:lnTo>
                  <a:pt x="485" y="1293"/>
                </a:lnTo>
                <a:lnTo>
                  <a:pt x="482" y="1295"/>
                </a:lnTo>
                <a:lnTo>
                  <a:pt x="481" y="1298"/>
                </a:lnTo>
                <a:lnTo>
                  <a:pt x="480" y="1300"/>
                </a:lnTo>
                <a:lnTo>
                  <a:pt x="479" y="1302"/>
                </a:lnTo>
                <a:lnTo>
                  <a:pt x="487" y="1300"/>
                </a:lnTo>
                <a:lnTo>
                  <a:pt x="495" y="1296"/>
                </a:lnTo>
                <a:lnTo>
                  <a:pt x="499" y="1295"/>
                </a:lnTo>
                <a:lnTo>
                  <a:pt x="504" y="1295"/>
                </a:lnTo>
                <a:lnTo>
                  <a:pt x="507" y="1295"/>
                </a:lnTo>
                <a:lnTo>
                  <a:pt x="512" y="1296"/>
                </a:lnTo>
                <a:lnTo>
                  <a:pt x="512" y="1296"/>
                </a:lnTo>
                <a:lnTo>
                  <a:pt x="512" y="1296"/>
                </a:lnTo>
                <a:lnTo>
                  <a:pt x="509" y="1298"/>
                </a:lnTo>
                <a:lnTo>
                  <a:pt x="508" y="1300"/>
                </a:lnTo>
                <a:lnTo>
                  <a:pt x="515" y="1300"/>
                </a:lnTo>
                <a:lnTo>
                  <a:pt x="522" y="1300"/>
                </a:lnTo>
                <a:lnTo>
                  <a:pt x="529" y="1301"/>
                </a:lnTo>
                <a:lnTo>
                  <a:pt x="536" y="1305"/>
                </a:lnTo>
                <a:lnTo>
                  <a:pt x="533" y="1306"/>
                </a:lnTo>
                <a:lnTo>
                  <a:pt x="529" y="1308"/>
                </a:lnTo>
                <a:lnTo>
                  <a:pt x="527" y="1310"/>
                </a:lnTo>
                <a:lnTo>
                  <a:pt x="526" y="1314"/>
                </a:lnTo>
                <a:lnTo>
                  <a:pt x="520" y="1324"/>
                </a:lnTo>
                <a:lnTo>
                  <a:pt x="516" y="1337"/>
                </a:lnTo>
                <a:lnTo>
                  <a:pt x="511" y="1352"/>
                </a:lnTo>
                <a:lnTo>
                  <a:pt x="505" y="1369"/>
                </a:lnTo>
                <a:lnTo>
                  <a:pt x="500" y="1385"/>
                </a:lnTo>
                <a:lnTo>
                  <a:pt x="498" y="1403"/>
                </a:lnTo>
                <a:lnTo>
                  <a:pt x="497" y="1404"/>
                </a:lnTo>
                <a:lnTo>
                  <a:pt x="495" y="1405"/>
                </a:lnTo>
                <a:lnTo>
                  <a:pt x="494" y="1416"/>
                </a:lnTo>
                <a:lnTo>
                  <a:pt x="494" y="1427"/>
                </a:lnTo>
                <a:lnTo>
                  <a:pt x="493" y="1438"/>
                </a:lnTo>
                <a:lnTo>
                  <a:pt x="493" y="1448"/>
                </a:lnTo>
                <a:lnTo>
                  <a:pt x="493" y="1449"/>
                </a:lnTo>
                <a:lnTo>
                  <a:pt x="493" y="1451"/>
                </a:lnTo>
                <a:lnTo>
                  <a:pt x="494" y="1462"/>
                </a:lnTo>
                <a:lnTo>
                  <a:pt x="494" y="1473"/>
                </a:lnTo>
                <a:lnTo>
                  <a:pt x="495" y="1484"/>
                </a:lnTo>
                <a:lnTo>
                  <a:pt x="495" y="1495"/>
                </a:lnTo>
                <a:lnTo>
                  <a:pt x="495" y="1484"/>
                </a:lnTo>
                <a:lnTo>
                  <a:pt x="494" y="1473"/>
                </a:lnTo>
                <a:lnTo>
                  <a:pt x="494" y="1462"/>
                </a:lnTo>
                <a:lnTo>
                  <a:pt x="493" y="1451"/>
                </a:lnTo>
                <a:lnTo>
                  <a:pt x="491" y="1460"/>
                </a:lnTo>
                <a:lnTo>
                  <a:pt x="488" y="1468"/>
                </a:lnTo>
                <a:lnTo>
                  <a:pt x="488" y="1476"/>
                </a:lnTo>
                <a:lnTo>
                  <a:pt x="488" y="1486"/>
                </a:lnTo>
                <a:lnTo>
                  <a:pt x="490" y="1501"/>
                </a:lnTo>
                <a:lnTo>
                  <a:pt x="490" y="1517"/>
                </a:lnTo>
                <a:lnTo>
                  <a:pt x="490" y="1533"/>
                </a:lnTo>
                <a:lnTo>
                  <a:pt x="490" y="1550"/>
                </a:lnTo>
                <a:lnTo>
                  <a:pt x="490" y="1554"/>
                </a:lnTo>
                <a:lnTo>
                  <a:pt x="488" y="1560"/>
                </a:lnTo>
                <a:lnTo>
                  <a:pt x="485" y="1577"/>
                </a:lnTo>
                <a:lnTo>
                  <a:pt x="484" y="1594"/>
                </a:lnTo>
                <a:lnTo>
                  <a:pt x="470" y="1594"/>
                </a:lnTo>
                <a:lnTo>
                  <a:pt x="457" y="1594"/>
                </a:lnTo>
                <a:lnTo>
                  <a:pt x="458" y="1582"/>
                </a:lnTo>
                <a:lnTo>
                  <a:pt x="460" y="1572"/>
                </a:lnTo>
                <a:lnTo>
                  <a:pt x="464" y="1559"/>
                </a:lnTo>
                <a:lnTo>
                  <a:pt x="467" y="1546"/>
                </a:lnTo>
                <a:lnTo>
                  <a:pt x="471" y="1533"/>
                </a:lnTo>
                <a:lnTo>
                  <a:pt x="474" y="1521"/>
                </a:lnTo>
                <a:lnTo>
                  <a:pt x="475" y="1505"/>
                </a:lnTo>
                <a:lnTo>
                  <a:pt x="478" y="1490"/>
                </a:lnTo>
                <a:lnTo>
                  <a:pt x="479" y="1475"/>
                </a:lnTo>
                <a:lnTo>
                  <a:pt x="481" y="1460"/>
                </a:lnTo>
                <a:lnTo>
                  <a:pt x="482" y="1459"/>
                </a:lnTo>
                <a:lnTo>
                  <a:pt x="482" y="1456"/>
                </a:lnTo>
                <a:lnTo>
                  <a:pt x="482" y="1454"/>
                </a:lnTo>
                <a:lnTo>
                  <a:pt x="480" y="1454"/>
                </a:lnTo>
                <a:lnTo>
                  <a:pt x="478" y="1454"/>
                </a:lnTo>
                <a:lnTo>
                  <a:pt x="477" y="1454"/>
                </a:lnTo>
                <a:lnTo>
                  <a:pt x="474" y="1456"/>
                </a:lnTo>
                <a:lnTo>
                  <a:pt x="473" y="1458"/>
                </a:lnTo>
                <a:lnTo>
                  <a:pt x="470" y="1470"/>
                </a:lnTo>
                <a:lnTo>
                  <a:pt x="467" y="1482"/>
                </a:lnTo>
                <a:lnTo>
                  <a:pt x="464" y="1496"/>
                </a:lnTo>
                <a:lnTo>
                  <a:pt x="461" y="1511"/>
                </a:lnTo>
                <a:lnTo>
                  <a:pt x="458" y="1526"/>
                </a:lnTo>
                <a:lnTo>
                  <a:pt x="456" y="1542"/>
                </a:lnTo>
                <a:lnTo>
                  <a:pt x="453" y="1554"/>
                </a:lnTo>
                <a:lnTo>
                  <a:pt x="450" y="1567"/>
                </a:lnTo>
                <a:lnTo>
                  <a:pt x="447" y="1580"/>
                </a:lnTo>
                <a:lnTo>
                  <a:pt x="447" y="1594"/>
                </a:lnTo>
                <a:lnTo>
                  <a:pt x="443" y="1594"/>
                </a:lnTo>
                <a:lnTo>
                  <a:pt x="438" y="1594"/>
                </a:lnTo>
                <a:lnTo>
                  <a:pt x="438" y="1588"/>
                </a:lnTo>
                <a:lnTo>
                  <a:pt x="438" y="1584"/>
                </a:lnTo>
                <a:lnTo>
                  <a:pt x="436" y="1588"/>
                </a:lnTo>
                <a:lnTo>
                  <a:pt x="436" y="1594"/>
                </a:lnTo>
                <a:lnTo>
                  <a:pt x="437" y="1594"/>
                </a:lnTo>
                <a:lnTo>
                  <a:pt x="437" y="1594"/>
                </a:lnTo>
                <a:lnTo>
                  <a:pt x="487" y="1594"/>
                </a:lnTo>
                <a:lnTo>
                  <a:pt x="487" y="1594"/>
                </a:lnTo>
                <a:lnTo>
                  <a:pt x="575" y="1594"/>
                </a:lnTo>
                <a:lnTo>
                  <a:pt x="569" y="1594"/>
                </a:lnTo>
                <a:lnTo>
                  <a:pt x="562" y="1594"/>
                </a:lnTo>
                <a:lnTo>
                  <a:pt x="560" y="1594"/>
                </a:lnTo>
                <a:lnTo>
                  <a:pt x="557" y="1594"/>
                </a:lnTo>
                <a:lnTo>
                  <a:pt x="560" y="1594"/>
                </a:lnTo>
                <a:lnTo>
                  <a:pt x="562" y="1594"/>
                </a:lnTo>
                <a:lnTo>
                  <a:pt x="562" y="1589"/>
                </a:lnTo>
                <a:lnTo>
                  <a:pt x="561" y="1586"/>
                </a:lnTo>
                <a:lnTo>
                  <a:pt x="559" y="1582"/>
                </a:lnTo>
                <a:lnTo>
                  <a:pt x="557" y="1579"/>
                </a:lnTo>
                <a:lnTo>
                  <a:pt x="555" y="1567"/>
                </a:lnTo>
                <a:lnTo>
                  <a:pt x="555" y="1557"/>
                </a:lnTo>
                <a:lnTo>
                  <a:pt x="554" y="1546"/>
                </a:lnTo>
                <a:lnTo>
                  <a:pt x="551" y="1537"/>
                </a:lnTo>
                <a:lnTo>
                  <a:pt x="549" y="1529"/>
                </a:lnTo>
                <a:lnTo>
                  <a:pt x="547" y="1519"/>
                </a:lnTo>
                <a:lnTo>
                  <a:pt x="544" y="1512"/>
                </a:lnTo>
                <a:lnTo>
                  <a:pt x="544" y="1504"/>
                </a:lnTo>
                <a:lnTo>
                  <a:pt x="544" y="1497"/>
                </a:lnTo>
                <a:lnTo>
                  <a:pt x="544" y="1489"/>
                </a:lnTo>
                <a:lnTo>
                  <a:pt x="547" y="1474"/>
                </a:lnTo>
                <a:lnTo>
                  <a:pt x="546" y="1458"/>
                </a:lnTo>
                <a:lnTo>
                  <a:pt x="546" y="1456"/>
                </a:lnTo>
                <a:lnTo>
                  <a:pt x="546" y="1456"/>
                </a:lnTo>
                <a:lnTo>
                  <a:pt x="548" y="1453"/>
                </a:lnTo>
                <a:lnTo>
                  <a:pt x="549" y="1451"/>
                </a:lnTo>
                <a:lnTo>
                  <a:pt x="549" y="1447"/>
                </a:lnTo>
                <a:lnTo>
                  <a:pt x="549" y="1445"/>
                </a:lnTo>
                <a:lnTo>
                  <a:pt x="548" y="1438"/>
                </a:lnTo>
                <a:lnTo>
                  <a:pt x="547" y="1432"/>
                </a:lnTo>
                <a:lnTo>
                  <a:pt x="549" y="1425"/>
                </a:lnTo>
                <a:lnTo>
                  <a:pt x="550" y="1418"/>
                </a:lnTo>
                <a:lnTo>
                  <a:pt x="553" y="1410"/>
                </a:lnTo>
                <a:lnTo>
                  <a:pt x="553" y="1402"/>
                </a:lnTo>
                <a:lnTo>
                  <a:pt x="553" y="1388"/>
                </a:lnTo>
                <a:lnTo>
                  <a:pt x="553" y="1374"/>
                </a:lnTo>
                <a:lnTo>
                  <a:pt x="555" y="1359"/>
                </a:lnTo>
                <a:lnTo>
                  <a:pt x="557" y="1347"/>
                </a:lnTo>
                <a:lnTo>
                  <a:pt x="563" y="1330"/>
                </a:lnTo>
                <a:lnTo>
                  <a:pt x="570" y="1315"/>
                </a:lnTo>
                <a:lnTo>
                  <a:pt x="571" y="1313"/>
                </a:lnTo>
                <a:lnTo>
                  <a:pt x="574" y="1312"/>
                </a:lnTo>
                <a:lnTo>
                  <a:pt x="575" y="1312"/>
                </a:lnTo>
                <a:lnTo>
                  <a:pt x="576" y="1312"/>
                </a:lnTo>
                <a:lnTo>
                  <a:pt x="580" y="1314"/>
                </a:lnTo>
                <a:lnTo>
                  <a:pt x="583" y="1315"/>
                </a:lnTo>
                <a:lnTo>
                  <a:pt x="584" y="1316"/>
                </a:lnTo>
                <a:lnTo>
                  <a:pt x="584" y="1317"/>
                </a:lnTo>
                <a:lnTo>
                  <a:pt x="583" y="1320"/>
                </a:lnTo>
                <a:lnTo>
                  <a:pt x="582" y="1322"/>
                </a:lnTo>
                <a:lnTo>
                  <a:pt x="577" y="1328"/>
                </a:lnTo>
                <a:lnTo>
                  <a:pt x="576" y="1335"/>
                </a:lnTo>
                <a:lnTo>
                  <a:pt x="570" y="1355"/>
                </a:lnTo>
                <a:lnTo>
                  <a:pt x="566" y="1374"/>
                </a:lnTo>
                <a:lnTo>
                  <a:pt x="563" y="1393"/>
                </a:lnTo>
                <a:lnTo>
                  <a:pt x="562" y="1413"/>
                </a:lnTo>
                <a:lnTo>
                  <a:pt x="560" y="1416"/>
                </a:lnTo>
                <a:lnTo>
                  <a:pt x="559" y="1418"/>
                </a:lnTo>
                <a:lnTo>
                  <a:pt x="559" y="1432"/>
                </a:lnTo>
                <a:lnTo>
                  <a:pt x="559" y="1446"/>
                </a:lnTo>
                <a:lnTo>
                  <a:pt x="560" y="1460"/>
                </a:lnTo>
                <a:lnTo>
                  <a:pt x="562" y="1474"/>
                </a:lnTo>
                <a:lnTo>
                  <a:pt x="563" y="1475"/>
                </a:lnTo>
                <a:lnTo>
                  <a:pt x="563" y="1477"/>
                </a:lnTo>
                <a:lnTo>
                  <a:pt x="564" y="1480"/>
                </a:lnTo>
                <a:lnTo>
                  <a:pt x="567" y="1481"/>
                </a:lnTo>
                <a:lnTo>
                  <a:pt x="568" y="1490"/>
                </a:lnTo>
                <a:lnTo>
                  <a:pt x="568" y="1500"/>
                </a:lnTo>
                <a:lnTo>
                  <a:pt x="567" y="1502"/>
                </a:lnTo>
                <a:lnTo>
                  <a:pt x="564" y="1504"/>
                </a:lnTo>
                <a:lnTo>
                  <a:pt x="563" y="1505"/>
                </a:lnTo>
                <a:lnTo>
                  <a:pt x="562" y="1507"/>
                </a:lnTo>
                <a:lnTo>
                  <a:pt x="562" y="1508"/>
                </a:lnTo>
                <a:lnTo>
                  <a:pt x="563" y="1510"/>
                </a:lnTo>
                <a:lnTo>
                  <a:pt x="566" y="1519"/>
                </a:lnTo>
                <a:lnTo>
                  <a:pt x="567" y="1529"/>
                </a:lnTo>
                <a:lnTo>
                  <a:pt x="568" y="1538"/>
                </a:lnTo>
                <a:lnTo>
                  <a:pt x="569" y="1547"/>
                </a:lnTo>
                <a:lnTo>
                  <a:pt x="571" y="1565"/>
                </a:lnTo>
                <a:lnTo>
                  <a:pt x="574" y="1581"/>
                </a:lnTo>
                <a:lnTo>
                  <a:pt x="575" y="1587"/>
                </a:lnTo>
                <a:lnTo>
                  <a:pt x="575" y="1594"/>
                </a:lnTo>
                <a:lnTo>
                  <a:pt x="937" y="1594"/>
                </a:lnTo>
                <a:lnTo>
                  <a:pt x="936" y="1584"/>
                </a:lnTo>
                <a:lnTo>
                  <a:pt x="936" y="1573"/>
                </a:lnTo>
                <a:lnTo>
                  <a:pt x="936" y="1563"/>
                </a:lnTo>
                <a:lnTo>
                  <a:pt x="935" y="1552"/>
                </a:lnTo>
                <a:lnTo>
                  <a:pt x="936" y="1549"/>
                </a:lnTo>
                <a:lnTo>
                  <a:pt x="937" y="1545"/>
                </a:lnTo>
                <a:lnTo>
                  <a:pt x="937" y="1545"/>
                </a:lnTo>
                <a:lnTo>
                  <a:pt x="939" y="1545"/>
                </a:lnTo>
                <a:lnTo>
                  <a:pt x="941" y="1544"/>
                </a:lnTo>
                <a:lnTo>
                  <a:pt x="942" y="1542"/>
                </a:lnTo>
                <a:lnTo>
                  <a:pt x="943" y="1539"/>
                </a:lnTo>
                <a:lnTo>
                  <a:pt x="944" y="1537"/>
                </a:lnTo>
                <a:lnTo>
                  <a:pt x="948" y="1529"/>
                </a:lnTo>
                <a:lnTo>
                  <a:pt x="951" y="1522"/>
                </a:lnTo>
                <a:lnTo>
                  <a:pt x="953" y="1519"/>
                </a:lnTo>
                <a:lnTo>
                  <a:pt x="953" y="1517"/>
                </a:lnTo>
                <a:lnTo>
                  <a:pt x="951" y="1515"/>
                </a:lnTo>
                <a:lnTo>
                  <a:pt x="949" y="1514"/>
                </a:lnTo>
                <a:lnTo>
                  <a:pt x="948" y="1515"/>
                </a:lnTo>
                <a:lnTo>
                  <a:pt x="947" y="1517"/>
                </a:lnTo>
                <a:lnTo>
                  <a:pt x="948" y="1515"/>
                </a:lnTo>
                <a:lnTo>
                  <a:pt x="949" y="1514"/>
                </a:lnTo>
                <a:lnTo>
                  <a:pt x="950" y="1511"/>
                </a:lnTo>
                <a:lnTo>
                  <a:pt x="951" y="1510"/>
                </a:lnTo>
                <a:lnTo>
                  <a:pt x="953" y="1512"/>
                </a:lnTo>
                <a:lnTo>
                  <a:pt x="955" y="1515"/>
                </a:lnTo>
                <a:lnTo>
                  <a:pt x="958" y="1504"/>
                </a:lnTo>
                <a:lnTo>
                  <a:pt x="962" y="1495"/>
                </a:lnTo>
                <a:lnTo>
                  <a:pt x="963" y="1486"/>
                </a:lnTo>
                <a:lnTo>
                  <a:pt x="964" y="1476"/>
                </a:lnTo>
                <a:lnTo>
                  <a:pt x="964" y="1467"/>
                </a:lnTo>
                <a:lnTo>
                  <a:pt x="962" y="1458"/>
                </a:lnTo>
                <a:lnTo>
                  <a:pt x="962" y="1455"/>
                </a:lnTo>
                <a:lnTo>
                  <a:pt x="962" y="1454"/>
                </a:lnTo>
                <a:close/>
                <a:moveTo>
                  <a:pt x="942" y="1561"/>
                </a:moveTo>
                <a:lnTo>
                  <a:pt x="942" y="1556"/>
                </a:lnTo>
                <a:lnTo>
                  <a:pt x="942" y="1547"/>
                </a:lnTo>
                <a:lnTo>
                  <a:pt x="939" y="1551"/>
                </a:lnTo>
                <a:lnTo>
                  <a:pt x="937" y="1554"/>
                </a:lnTo>
                <a:lnTo>
                  <a:pt x="937" y="1558"/>
                </a:lnTo>
                <a:lnTo>
                  <a:pt x="937" y="1560"/>
                </a:lnTo>
                <a:lnTo>
                  <a:pt x="940" y="1568"/>
                </a:lnTo>
                <a:lnTo>
                  <a:pt x="941" y="1577"/>
                </a:lnTo>
                <a:lnTo>
                  <a:pt x="940" y="1586"/>
                </a:lnTo>
                <a:lnTo>
                  <a:pt x="940" y="1594"/>
                </a:lnTo>
                <a:lnTo>
                  <a:pt x="940" y="1594"/>
                </a:lnTo>
                <a:lnTo>
                  <a:pt x="939" y="1594"/>
                </a:lnTo>
                <a:lnTo>
                  <a:pt x="947" y="1594"/>
                </a:lnTo>
                <a:lnTo>
                  <a:pt x="947" y="1582"/>
                </a:lnTo>
                <a:lnTo>
                  <a:pt x="947" y="1572"/>
                </a:lnTo>
                <a:lnTo>
                  <a:pt x="943" y="1570"/>
                </a:lnTo>
                <a:lnTo>
                  <a:pt x="942" y="1567"/>
                </a:lnTo>
                <a:lnTo>
                  <a:pt x="942" y="1565"/>
                </a:lnTo>
                <a:lnTo>
                  <a:pt x="942" y="1561"/>
                </a:lnTo>
                <a:close/>
                <a:moveTo>
                  <a:pt x="810" y="714"/>
                </a:moveTo>
                <a:lnTo>
                  <a:pt x="808" y="714"/>
                </a:lnTo>
                <a:lnTo>
                  <a:pt x="808" y="714"/>
                </a:lnTo>
                <a:lnTo>
                  <a:pt x="806" y="715"/>
                </a:lnTo>
                <a:lnTo>
                  <a:pt x="806" y="717"/>
                </a:lnTo>
                <a:lnTo>
                  <a:pt x="804" y="719"/>
                </a:lnTo>
                <a:lnTo>
                  <a:pt x="802" y="720"/>
                </a:lnTo>
                <a:lnTo>
                  <a:pt x="802" y="722"/>
                </a:lnTo>
                <a:lnTo>
                  <a:pt x="799" y="722"/>
                </a:lnTo>
                <a:lnTo>
                  <a:pt x="802" y="722"/>
                </a:lnTo>
                <a:lnTo>
                  <a:pt x="802" y="720"/>
                </a:lnTo>
                <a:lnTo>
                  <a:pt x="801" y="720"/>
                </a:lnTo>
                <a:lnTo>
                  <a:pt x="798" y="720"/>
                </a:lnTo>
                <a:lnTo>
                  <a:pt x="798" y="721"/>
                </a:lnTo>
                <a:lnTo>
                  <a:pt x="798" y="724"/>
                </a:lnTo>
                <a:lnTo>
                  <a:pt x="797" y="724"/>
                </a:lnTo>
                <a:lnTo>
                  <a:pt x="797" y="725"/>
                </a:lnTo>
                <a:lnTo>
                  <a:pt x="797" y="726"/>
                </a:lnTo>
                <a:lnTo>
                  <a:pt x="796" y="727"/>
                </a:lnTo>
                <a:lnTo>
                  <a:pt x="797" y="726"/>
                </a:lnTo>
                <a:lnTo>
                  <a:pt x="797" y="725"/>
                </a:lnTo>
                <a:lnTo>
                  <a:pt x="796" y="725"/>
                </a:lnTo>
                <a:lnTo>
                  <a:pt x="794" y="725"/>
                </a:lnTo>
                <a:lnTo>
                  <a:pt x="794" y="726"/>
                </a:lnTo>
                <a:lnTo>
                  <a:pt x="794" y="728"/>
                </a:lnTo>
                <a:lnTo>
                  <a:pt x="792" y="728"/>
                </a:lnTo>
                <a:lnTo>
                  <a:pt x="792" y="728"/>
                </a:lnTo>
                <a:lnTo>
                  <a:pt x="791" y="729"/>
                </a:lnTo>
                <a:lnTo>
                  <a:pt x="790" y="729"/>
                </a:lnTo>
                <a:lnTo>
                  <a:pt x="789" y="731"/>
                </a:lnTo>
                <a:lnTo>
                  <a:pt x="788" y="732"/>
                </a:lnTo>
                <a:lnTo>
                  <a:pt x="788" y="732"/>
                </a:lnTo>
                <a:lnTo>
                  <a:pt x="788" y="734"/>
                </a:lnTo>
                <a:lnTo>
                  <a:pt x="787" y="735"/>
                </a:lnTo>
                <a:lnTo>
                  <a:pt x="788" y="734"/>
                </a:lnTo>
                <a:lnTo>
                  <a:pt x="788" y="732"/>
                </a:lnTo>
                <a:lnTo>
                  <a:pt x="787" y="732"/>
                </a:lnTo>
                <a:lnTo>
                  <a:pt x="785" y="733"/>
                </a:lnTo>
                <a:lnTo>
                  <a:pt x="784" y="734"/>
                </a:lnTo>
                <a:lnTo>
                  <a:pt x="784" y="736"/>
                </a:lnTo>
                <a:lnTo>
                  <a:pt x="783" y="739"/>
                </a:lnTo>
                <a:lnTo>
                  <a:pt x="782" y="740"/>
                </a:lnTo>
                <a:lnTo>
                  <a:pt x="783" y="739"/>
                </a:lnTo>
                <a:lnTo>
                  <a:pt x="784" y="736"/>
                </a:lnTo>
                <a:lnTo>
                  <a:pt x="782" y="736"/>
                </a:lnTo>
                <a:lnTo>
                  <a:pt x="781" y="738"/>
                </a:lnTo>
                <a:lnTo>
                  <a:pt x="780" y="739"/>
                </a:lnTo>
                <a:lnTo>
                  <a:pt x="780" y="741"/>
                </a:lnTo>
                <a:lnTo>
                  <a:pt x="780" y="741"/>
                </a:lnTo>
                <a:lnTo>
                  <a:pt x="777" y="741"/>
                </a:lnTo>
                <a:lnTo>
                  <a:pt x="775" y="742"/>
                </a:lnTo>
                <a:lnTo>
                  <a:pt x="775" y="743"/>
                </a:lnTo>
                <a:lnTo>
                  <a:pt x="775" y="746"/>
                </a:lnTo>
                <a:lnTo>
                  <a:pt x="775" y="746"/>
                </a:lnTo>
                <a:lnTo>
                  <a:pt x="772" y="746"/>
                </a:lnTo>
                <a:lnTo>
                  <a:pt x="771" y="747"/>
                </a:lnTo>
                <a:lnTo>
                  <a:pt x="770" y="748"/>
                </a:lnTo>
                <a:lnTo>
                  <a:pt x="770" y="749"/>
                </a:lnTo>
                <a:lnTo>
                  <a:pt x="767" y="752"/>
                </a:lnTo>
                <a:lnTo>
                  <a:pt x="765" y="754"/>
                </a:lnTo>
                <a:lnTo>
                  <a:pt x="761" y="756"/>
                </a:lnTo>
                <a:lnTo>
                  <a:pt x="756" y="760"/>
                </a:lnTo>
                <a:lnTo>
                  <a:pt x="753" y="764"/>
                </a:lnTo>
                <a:lnTo>
                  <a:pt x="750" y="769"/>
                </a:lnTo>
                <a:lnTo>
                  <a:pt x="740" y="782"/>
                </a:lnTo>
                <a:lnTo>
                  <a:pt x="730" y="795"/>
                </a:lnTo>
                <a:lnTo>
                  <a:pt x="727" y="798"/>
                </a:lnTo>
                <a:lnTo>
                  <a:pt x="723" y="802"/>
                </a:lnTo>
                <a:lnTo>
                  <a:pt x="722" y="803"/>
                </a:lnTo>
                <a:lnTo>
                  <a:pt x="721" y="804"/>
                </a:lnTo>
                <a:lnTo>
                  <a:pt x="719" y="803"/>
                </a:lnTo>
                <a:lnTo>
                  <a:pt x="719" y="802"/>
                </a:lnTo>
                <a:lnTo>
                  <a:pt x="720" y="795"/>
                </a:lnTo>
                <a:lnTo>
                  <a:pt x="721" y="788"/>
                </a:lnTo>
                <a:lnTo>
                  <a:pt x="723" y="781"/>
                </a:lnTo>
                <a:lnTo>
                  <a:pt x="728" y="775"/>
                </a:lnTo>
                <a:lnTo>
                  <a:pt x="732" y="768"/>
                </a:lnTo>
                <a:lnTo>
                  <a:pt x="737" y="762"/>
                </a:lnTo>
                <a:lnTo>
                  <a:pt x="748" y="752"/>
                </a:lnTo>
                <a:lnTo>
                  <a:pt x="760" y="741"/>
                </a:lnTo>
                <a:lnTo>
                  <a:pt x="774" y="731"/>
                </a:lnTo>
                <a:lnTo>
                  <a:pt x="789" y="720"/>
                </a:lnTo>
                <a:lnTo>
                  <a:pt x="795" y="717"/>
                </a:lnTo>
                <a:lnTo>
                  <a:pt x="799" y="713"/>
                </a:lnTo>
                <a:lnTo>
                  <a:pt x="802" y="711"/>
                </a:lnTo>
                <a:lnTo>
                  <a:pt x="805" y="710"/>
                </a:lnTo>
                <a:lnTo>
                  <a:pt x="809" y="710"/>
                </a:lnTo>
                <a:lnTo>
                  <a:pt x="812" y="710"/>
                </a:lnTo>
                <a:lnTo>
                  <a:pt x="812" y="707"/>
                </a:lnTo>
                <a:lnTo>
                  <a:pt x="813" y="707"/>
                </a:lnTo>
                <a:lnTo>
                  <a:pt x="815" y="707"/>
                </a:lnTo>
                <a:lnTo>
                  <a:pt x="816" y="710"/>
                </a:lnTo>
                <a:lnTo>
                  <a:pt x="817" y="710"/>
                </a:lnTo>
                <a:lnTo>
                  <a:pt x="818" y="708"/>
                </a:lnTo>
                <a:lnTo>
                  <a:pt x="817" y="710"/>
                </a:lnTo>
                <a:lnTo>
                  <a:pt x="816" y="710"/>
                </a:lnTo>
                <a:lnTo>
                  <a:pt x="816" y="710"/>
                </a:lnTo>
                <a:lnTo>
                  <a:pt x="815" y="712"/>
                </a:lnTo>
                <a:lnTo>
                  <a:pt x="812" y="713"/>
                </a:lnTo>
                <a:lnTo>
                  <a:pt x="815" y="712"/>
                </a:lnTo>
                <a:lnTo>
                  <a:pt x="816" y="710"/>
                </a:lnTo>
                <a:lnTo>
                  <a:pt x="813" y="710"/>
                </a:lnTo>
                <a:lnTo>
                  <a:pt x="812" y="710"/>
                </a:lnTo>
                <a:lnTo>
                  <a:pt x="811" y="712"/>
                </a:lnTo>
                <a:lnTo>
                  <a:pt x="811" y="714"/>
                </a:lnTo>
                <a:lnTo>
                  <a:pt x="810" y="714"/>
                </a:lnTo>
                <a:lnTo>
                  <a:pt x="810" y="714"/>
                </a:lnTo>
                <a:lnTo>
                  <a:pt x="810" y="714"/>
                </a:lnTo>
                <a:close/>
                <a:moveTo>
                  <a:pt x="521" y="1379"/>
                </a:moveTo>
                <a:lnTo>
                  <a:pt x="522" y="1381"/>
                </a:lnTo>
                <a:lnTo>
                  <a:pt x="522" y="1381"/>
                </a:lnTo>
                <a:lnTo>
                  <a:pt x="523" y="1381"/>
                </a:lnTo>
                <a:lnTo>
                  <a:pt x="523" y="1379"/>
                </a:lnTo>
                <a:lnTo>
                  <a:pt x="523" y="1379"/>
                </a:lnTo>
                <a:lnTo>
                  <a:pt x="523" y="1378"/>
                </a:lnTo>
                <a:lnTo>
                  <a:pt x="522" y="1378"/>
                </a:lnTo>
                <a:lnTo>
                  <a:pt x="521" y="1379"/>
                </a:lnTo>
                <a:close/>
                <a:moveTo>
                  <a:pt x="1041" y="782"/>
                </a:moveTo>
                <a:lnTo>
                  <a:pt x="1041" y="782"/>
                </a:lnTo>
                <a:lnTo>
                  <a:pt x="1041" y="782"/>
                </a:lnTo>
                <a:lnTo>
                  <a:pt x="1027" y="788"/>
                </a:lnTo>
                <a:lnTo>
                  <a:pt x="1013" y="794"/>
                </a:lnTo>
                <a:lnTo>
                  <a:pt x="1008" y="795"/>
                </a:lnTo>
                <a:lnTo>
                  <a:pt x="1002" y="798"/>
                </a:lnTo>
                <a:lnTo>
                  <a:pt x="1002" y="798"/>
                </a:lnTo>
                <a:lnTo>
                  <a:pt x="997" y="799"/>
                </a:lnTo>
                <a:lnTo>
                  <a:pt x="991" y="802"/>
                </a:lnTo>
                <a:lnTo>
                  <a:pt x="983" y="804"/>
                </a:lnTo>
                <a:lnTo>
                  <a:pt x="976" y="805"/>
                </a:lnTo>
                <a:lnTo>
                  <a:pt x="968" y="806"/>
                </a:lnTo>
                <a:lnTo>
                  <a:pt x="960" y="804"/>
                </a:lnTo>
                <a:lnTo>
                  <a:pt x="970" y="802"/>
                </a:lnTo>
                <a:lnTo>
                  <a:pt x="981" y="799"/>
                </a:lnTo>
                <a:lnTo>
                  <a:pt x="983" y="798"/>
                </a:lnTo>
                <a:lnTo>
                  <a:pt x="984" y="796"/>
                </a:lnTo>
                <a:lnTo>
                  <a:pt x="985" y="795"/>
                </a:lnTo>
                <a:lnTo>
                  <a:pt x="986" y="795"/>
                </a:lnTo>
                <a:lnTo>
                  <a:pt x="989" y="792"/>
                </a:lnTo>
                <a:lnTo>
                  <a:pt x="990" y="791"/>
                </a:lnTo>
                <a:lnTo>
                  <a:pt x="989" y="792"/>
                </a:lnTo>
                <a:lnTo>
                  <a:pt x="986" y="795"/>
                </a:lnTo>
                <a:lnTo>
                  <a:pt x="990" y="795"/>
                </a:lnTo>
                <a:lnTo>
                  <a:pt x="992" y="795"/>
                </a:lnTo>
                <a:lnTo>
                  <a:pt x="995" y="794"/>
                </a:lnTo>
                <a:lnTo>
                  <a:pt x="996" y="791"/>
                </a:lnTo>
                <a:lnTo>
                  <a:pt x="997" y="790"/>
                </a:lnTo>
                <a:lnTo>
                  <a:pt x="999" y="790"/>
                </a:lnTo>
                <a:lnTo>
                  <a:pt x="999" y="789"/>
                </a:lnTo>
                <a:lnTo>
                  <a:pt x="1001" y="788"/>
                </a:lnTo>
                <a:lnTo>
                  <a:pt x="999" y="789"/>
                </a:lnTo>
                <a:lnTo>
                  <a:pt x="999" y="790"/>
                </a:lnTo>
                <a:lnTo>
                  <a:pt x="1001" y="790"/>
                </a:lnTo>
                <a:lnTo>
                  <a:pt x="1002" y="789"/>
                </a:lnTo>
                <a:lnTo>
                  <a:pt x="1005" y="787"/>
                </a:lnTo>
                <a:lnTo>
                  <a:pt x="1010" y="785"/>
                </a:lnTo>
                <a:lnTo>
                  <a:pt x="1009" y="781"/>
                </a:lnTo>
                <a:lnTo>
                  <a:pt x="1008" y="777"/>
                </a:lnTo>
                <a:lnTo>
                  <a:pt x="1005" y="774"/>
                </a:lnTo>
                <a:lnTo>
                  <a:pt x="1002" y="770"/>
                </a:lnTo>
                <a:lnTo>
                  <a:pt x="1005" y="774"/>
                </a:lnTo>
                <a:lnTo>
                  <a:pt x="1008" y="777"/>
                </a:lnTo>
                <a:lnTo>
                  <a:pt x="1009" y="781"/>
                </a:lnTo>
                <a:lnTo>
                  <a:pt x="1010" y="785"/>
                </a:lnTo>
                <a:lnTo>
                  <a:pt x="1016" y="784"/>
                </a:lnTo>
                <a:lnTo>
                  <a:pt x="1020" y="782"/>
                </a:lnTo>
                <a:lnTo>
                  <a:pt x="1024" y="780"/>
                </a:lnTo>
                <a:lnTo>
                  <a:pt x="1027" y="776"/>
                </a:lnTo>
                <a:lnTo>
                  <a:pt x="1033" y="767"/>
                </a:lnTo>
                <a:lnTo>
                  <a:pt x="1039" y="759"/>
                </a:lnTo>
                <a:lnTo>
                  <a:pt x="1040" y="757"/>
                </a:lnTo>
                <a:lnTo>
                  <a:pt x="1039" y="756"/>
                </a:lnTo>
                <a:lnTo>
                  <a:pt x="1039" y="752"/>
                </a:lnTo>
                <a:lnTo>
                  <a:pt x="1038" y="747"/>
                </a:lnTo>
                <a:lnTo>
                  <a:pt x="1038" y="745"/>
                </a:lnTo>
                <a:lnTo>
                  <a:pt x="1037" y="742"/>
                </a:lnTo>
                <a:lnTo>
                  <a:pt x="1034" y="741"/>
                </a:lnTo>
                <a:lnTo>
                  <a:pt x="1032" y="740"/>
                </a:lnTo>
                <a:lnTo>
                  <a:pt x="1031" y="738"/>
                </a:lnTo>
                <a:lnTo>
                  <a:pt x="1030" y="735"/>
                </a:lnTo>
                <a:lnTo>
                  <a:pt x="1027" y="731"/>
                </a:lnTo>
                <a:lnTo>
                  <a:pt x="1025" y="726"/>
                </a:lnTo>
                <a:lnTo>
                  <a:pt x="1020" y="722"/>
                </a:lnTo>
                <a:lnTo>
                  <a:pt x="1017" y="718"/>
                </a:lnTo>
                <a:lnTo>
                  <a:pt x="1012" y="715"/>
                </a:lnTo>
                <a:lnTo>
                  <a:pt x="1010" y="711"/>
                </a:lnTo>
                <a:lnTo>
                  <a:pt x="1013" y="711"/>
                </a:lnTo>
                <a:lnTo>
                  <a:pt x="1017" y="711"/>
                </a:lnTo>
                <a:lnTo>
                  <a:pt x="1017" y="708"/>
                </a:lnTo>
                <a:lnTo>
                  <a:pt x="1016" y="707"/>
                </a:lnTo>
                <a:lnTo>
                  <a:pt x="1015" y="706"/>
                </a:lnTo>
                <a:lnTo>
                  <a:pt x="1013" y="705"/>
                </a:lnTo>
                <a:lnTo>
                  <a:pt x="1010" y="703"/>
                </a:lnTo>
                <a:lnTo>
                  <a:pt x="1008" y="701"/>
                </a:lnTo>
                <a:lnTo>
                  <a:pt x="1004" y="700"/>
                </a:lnTo>
                <a:lnTo>
                  <a:pt x="1003" y="698"/>
                </a:lnTo>
                <a:lnTo>
                  <a:pt x="1004" y="696"/>
                </a:lnTo>
                <a:lnTo>
                  <a:pt x="1005" y="693"/>
                </a:lnTo>
                <a:lnTo>
                  <a:pt x="1006" y="693"/>
                </a:lnTo>
                <a:lnTo>
                  <a:pt x="1009" y="692"/>
                </a:lnTo>
                <a:lnTo>
                  <a:pt x="1009" y="691"/>
                </a:lnTo>
                <a:lnTo>
                  <a:pt x="1009" y="689"/>
                </a:lnTo>
                <a:lnTo>
                  <a:pt x="1006" y="686"/>
                </a:lnTo>
                <a:lnTo>
                  <a:pt x="1004" y="684"/>
                </a:lnTo>
                <a:lnTo>
                  <a:pt x="1002" y="683"/>
                </a:lnTo>
                <a:lnTo>
                  <a:pt x="999" y="683"/>
                </a:lnTo>
                <a:lnTo>
                  <a:pt x="998" y="685"/>
                </a:lnTo>
                <a:lnTo>
                  <a:pt x="996" y="685"/>
                </a:lnTo>
                <a:lnTo>
                  <a:pt x="995" y="685"/>
                </a:lnTo>
                <a:lnTo>
                  <a:pt x="994" y="685"/>
                </a:lnTo>
                <a:lnTo>
                  <a:pt x="990" y="683"/>
                </a:lnTo>
                <a:lnTo>
                  <a:pt x="988" y="682"/>
                </a:lnTo>
                <a:lnTo>
                  <a:pt x="985" y="682"/>
                </a:lnTo>
                <a:lnTo>
                  <a:pt x="984" y="680"/>
                </a:lnTo>
                <a:lnTo>
                  <a:pt x="983" y="679"/>
                </a:lnTo>
                <a:lnTo>
                  <a:pt x="983" y="678"/>
                </a:lnTo>
                <a:lnTo>
                  <a:pt x="984" y="676"/>
                </a:lnTo>
                <a:lnTo>
                  <a:pt x="986" y="676"/>
                </a:lnTo>
                <a:lnTo>
                  <a:pt x="988" y="676"/>
                </a:lnTo>
                <a:lnTo>
                  <a:pt x="989" y="677"/>
                </a:lnTo>
                <a:lnTo>
                  <a:pt x="992" y="678"/>
                </a:lnTo>
                <a:lnTo>
                  <a:pt x="996" y="678"/>
                </a:lnTo>
                <a:lnTo>
                  <a:pt x="998" y="676"/>
                </a:lnTo>
                <a:lnTo>
                  <a:pt x="1002" y="675"/>
                </a:lnTo>
                <a:lnTo>
                  <a:pt x="1005" y="675"/>
                </a:lnTo>
                <a:lnTo>
                  <a:pt x="1008" y="676"/>
                </a:lnTo>
                <a:lnTo>
                  <a:pt x="1013" y="678"/>
                </a:lnTo>
                <a:lnTo>
                  <a:pt x="1019" y="682"/>
                </a:lnTo>
                <a:lnTo>
                  <a:pt x="1019" y="677"/>
                </a:lnTo>
                <a:lnTo>
                  <a:pt x="1018" y="673"/>
                </a:lnTo>
                <a:lnTo>
                  <a:pt x="1017" y="672"/>
                </a:lnTo>
                <a:lnTo>
                  <a:pt x="1016" y="671"/>
                </a:lnTo>
                <a:lnTo>
                  <a:pt x="1010" y="664"/>
                </a:lnTo>
                <a:lnTo>
                  <a:pt x="1004" y="658"/>
                </a:lnTo>
                <a:lnTo>
                  <a:pt x="1001" y="656"/>
                </a:lnTo>
                <a:lnTo>
                  <a:pt x="997" y="655"/>
                </a:lnTo>
                <a:lnTo>
                  <a:pt x="992" y="652"/>
                </a:lnTo>
                <a:lnTo>
                  <a:pt x="988" y="652"/>
                </a:lnTo>
                <a:lnTo>
                  <a:pt x="979" y="651"/>
                </a:lnTo>
                <a:lnTo>
                  <a:pt x="972" y="652"/>
                </a:lnTo>
                <a:lnTo>
                  <a:pt x="964" y="654"/>
                </a:lnTo>
                <a:lnTo>
                  <a:pt x="956" y="657"/>
                </a:lnTo>
                <a:lnTo>
                  <a:pt x="953" y="658"/>
                </a:lnTo>
                <a:lnTo>
                  <a:pt x="948" y="658"/>
                </a:lnTo>
                <a:lnTo>
                  <a:pt x="944" y="661"/>
                </a:lnTo>
                <a:lnTo>
                  <a:pt x="942" y="664"/>
                </a:lnTo>
                <a:lnTo>
                  <a:pt x="947" y="664"/>
                </a:lnTo>
                <a:lnTo>
                  <a:pt x="951" y="663"/>
                </a:lnTo>
                <a:lnTo>
                  <a:pt x="947" y="664"/>
                </a:lnTo>
                <a:lnTo>
                  <a:pt x="942" y="664"/>
                </a:lnTo>
                <a:lnTo>
                  <a:pt x="940" y="664"/>
                </a:lnTo>
                <a:lnTo>
                  <a:pt x="937" y="664"/>
                </a:lnTo>
                <a:lnTo>
                  <a:pt x="937" y="664"/>
                </a:lnTo>
                <a:lnTo>
                  <a:pt x="934" y="664"/>
                </a:lnTo>
                <a:lnTo>
                  <a:pt x="930" y="664"/>
                </a:lnTo>
                <a:lnTo>
                  <a:pt x="927" y="665"/>
                </a:lnTo>
                <a:lnTo>
                  <a:pt x="923" y="669"/>
                </a:lnTo>
                <a:lnTo>
                  <a:pt x="922" y="669"/>
                </a:lnTo>
                <a:lnTo>
                  <a:pt x="920" y="669"/>
                </a:lnTo>
                <a:lnTo>
                  <a:pt x="918" y="669"/>
                </a:lnTo>
                <a:lnTo>
                  <a:pt x="916" y="669"/>
                </a:lnTo>
                <a:lnTo>
                  <a:pt x="915" y="668"/>
                </a:lnTo>
                <a:lnTo>
                  <a:pt x="915" y="665"/>
                </a:lnTo>
                <a:lnTo>
                  <a:pt x="934" y="661"/>
                </a:lnTo>
                <a:lnTo>
                  <a:pt x="953" y="654"/>
                </a:lnTo>
                <a:lnTo>
                  <a:pt x="970" y="647"/>
                </a:lnTo>
                <a:lnTo>
                  <a:pt x="989" y="638"/>
                </a:lnTo>
                <a:lnTo>
                  <a:pt x="981" y="636"/>
                </a:lnTo>
                <a:lnTo>
                  <a:pt x="972" y="636"/>
                </a:lnTo>
                <a:lnTo>
                  <a:pt x="957" y="638"/>
                </a:lnTo>
                <a:lnTo>
                  <a:pt x="942" y="638"/>
                </a:lnTo>
                <a:lnTo>
                  <a:pt x="928" y="638"/>
                </a:lnTo>
                <a:lnTo>
                  <a:pt x="914" y="638"/>
                </a:lnTo>
                <a:lnTo>
                  <a:pt x="900" y="638"/>
                </a:lnTo>
                <a:lnTo>
                  <a:pt x="886" y="639"/>
                </a:lnTo>
                <a:lnTo>
                  <a:pt x="877" y="641"/>
                </a:lnTo>
                <a:lnTo>
                  <a:pt x="867" y="643"/>
                </a:lnTo>
                <a:lnTo>
                  <a:pt x="858" y="645"/>
                </a:lnTo>
                <a:lnTo>
                  <a:pt x="849" y="647"/>
                </a:lnTo>
                <a:lnTo>
                  <a:pt x="845" y="648"/>
                </a:lnTo>
                <a:lnTo>
                  <a:pt x="844" y="650"/>
                </a:lnTo>
                <a:lnTo>
                  <a:pt x="843" y="650"/>
                </a:lnTo>
                <a:lnTo>
                  <a:pt x="840" y="650"/>
                </a:lnTo>
                <a:lnTo>
                  <a:pt x="839" y="650"/>
                </a:lnTo>
                <a:lnTo>
                  <a:pt x="837" y="650"/>
                </a:lnTo>
                <a:lnTo>
                  <a:pt x="823" y="655"/>
                </a:lnTo>
                <a:lnTo>
                  <a:pt x="809" y="659"/>
                </a:lnTo>
                <a:lnTo>
                  <a:pt x="795" y="664"/>
                </a:lnTo>
                <a:lnTo>
                  <a:pt x="781" y="670"/>
                </a:lnTo>
                <a:lnTo>
                  <a:pt x="777" y="671"/>
                </a:lnTo>
                <a:lnTo>
                  <a:pt x="772" y="672"/>
                </a:lnTo>
                <a:lnTo>
                  <a:pt x="769" y="675"/>
                </a:lnTo>
                <a:lnTo>
                  <a:pt x="767" y="677"/>
                </a:lnTo>
                <a:lnTo>
                  <a:pt x="765" y="678"/>
                </a:lnTo>
                <a:lnTo>
                  <a:pt x="764" y="678"/>
                </a:lnTo>
                <a:lnTo>
                  <a:pt x="762" y="678"/>
                </a:lnTo>
                <a:lnTo>
                  <a:pt x="760" y="678"/>
                </a:lnTo>
                <a:lnTo>
                  <a:pt x="757" y="679"/>
                </a:lnTo>
                <a:lnTo>
                  <a:pt x="756" y="682"/>
                </a:lnTo>
                <a:lnTo>
                  <a:pt x="754" y="683"/>
                </a:lnTo>
                <a:lnTo>
                  <a:pt x="753" y="683"/>
                </a:lnTo>
                <a:lnTo>
                  <a:pt x="739" y="686"/>
                </a:lnTo>
                <a:lnTo>
                  <a:pt x="727" y="691"/>
                </a:lnTo>
                <a:lnTo>
                  <a:pt x="726" y="687"/>
                </a:lnTo>
                <a:lnTo>
                  <a:pt x="726" y="684"/>
                </a:lnTo>
                <a:lnTo>
                  <a:pt x="726" y="682"/>
                </a:lnTo>
                <a:lnTo>
                  <a:pt x="728" y="679"/>
                </a:lnTo>
                <a:lnTo>
                  <a:pt x="735" y="675"/>
                </a:lnTo>
                <a:lnTo>
                  <a:pt x="742" y="670"/>
                </a:lnTo>
                <a:lnTo>
                  <a:pt x="753" y="662"/>
                </a:lnTo>
                <a:lnTo>
                  <a:pt x="763" y="655"/>
                </a:lnTo>
                <a:lnTo>
                  <a:pt x="772" y="648"/>
                </a:lnTo>
                <a:lnTo>
                  <a:pt x="782" y="639"/>
                </a:lnTo>
                <a:lnTo>
                  <a:pt x="790" y="631"/>
                </a:lnTo>
                <a:lnTo>
                  <a:pt x="797" y="622"/>
                </a:lnTo>
                <a:lnTo>
                  <a:pt x="794" y="622"/>
                </a:lnTo>
                <a:lnTo>
                  <a:pt x="791" y="623"/>
                </a:lnTo>
                <a:lnTo>
                  <a:pt x="794" y="622"/>
                </a:lnTo>
                <a:lnTo>
                  <a:pt x="797" y="622"/>
                </a:lnTo>
                <a:lnTo>
                  <a:pt x="799" y="620"/>
                </a:lnTo>
                <a:lnTo>
                  <a:pt x="802" y="617"/>
                </a:lnTo>
                <a:lnTo>
                  <a:pt x="804" y="617"/>
                </a:lnTo>
                <a:lnTo>
                  <a:pt x="805" y="615"/>
                </a:lnTo>
                <a:lnTo>
                  <a:pt x="805" y="615"/>
                </a:lnTo>
                <a:lnTo>
                  <a:pt x="809" y="614"/>
                </a:lnTo>
                <a:lnTo>
                  <a:pt x="812" y="611"/>
                </a:lnTo>
                <a:lnTo>
                  <a:pt x="815" y="609"/>
                </a:lnTo>
                <a:lnTo>
                  <a:pt x="817" y="606"/>
                </a:lnTo>
                <a:lnTo>
                  <a:pt x="818" y="606"/>
                </a:lnTo>
                <a:lnTo>
                  <a:pt x="818" y="606"/>
                </a:lnTo>
                <a:lnTo>
                  <a:pt x="823" y="604"/>
                </a:lnTo>
                <a:lnTo>
                  <a:pt x="827" y="602"/>
                </a:lnTo>
                <a:lnTo>
                  <a:pt x="831" y="601"/>
                </a:lnTo>
                <a:lnTo>
                  <a:pt x="833" y="601"/>
                </a:lnTo>
                <a:lnTo>
                  <a:pt x="834" y="601"/>
                </a:lnTo>
                <a:lnTo>
                  <a:pt x="836" y="601"/>
                </a:lnTo>
                <a:lnTo>
                  <a:pt x="837" y="603"/>
                </a:lnTo>
                <a:lnTo>
                  <a:pt x="838" y="606"/>
                </a:lnTo>
                <a:lnTo>
                  <a:pt x="833" y="609"/>
                </a:lnTo>
                <a:lnTo>
                  <a:pt x="829" y="613"/>
                </a:lnTo>
                <a:lnTo>
                  <a:pt x="826" y="613"/>
                </a:lnTo>
                <a:lnTo>
                  <a:pt x="825" y="614"/>
                </a:lnTo>
                <a:lnTo>
                  <a:pt x="825" y="615"/>
                </a:lnTo>
                <a:lnTo>
                  <a:pt x="824" y="617"/>
                </a:lnTo>
                <a:lnTo>
                  <a:pt x="824" y="618"/>
                </a:lnTo>
                <a:lnTo>
                  <a:pt x="823" y="618"/>
                </a:lnTo>
                <a:lnTo>
                  <a:pt x="812" y="630"/>
                </a:lnTo>
                <a:lnTo>
                  <a:pt x="802" y="642"/>
                </a:lnTo>
                <a:lnTo>
                  <a:pt x="802" y="642"/>
                </a:lnTo>
                <a:lnTo>
                  <a:pt x="802" y="644"/>
                </a:lnTo>
                <a:lnTo>
                  <a:pt x="802" y="645"/>
                </a:lnTo>
                <a:lnTo>
                  <a:pt x="804" y="645"/>
                </a:lnTo>
                <a:lnTo>
                  <a:pt x="808" y="644"/>
                </a:lnTo>
                <a:lnTo>
                  <a:pt x="812" y="643"/>
                </a:lnTo>
                <a:lnTo>
                  <a:pt x="816" y="642"/>
                </a:lnTo>
                <a:lnTo>
                  <a:pt x="818" y="638"/>
                </a:lnTo>
                <a:lnTo>
                  <a:pt x="817" y="638"/>
                </a:lnTo>
                <a:lnTo>
                  <a:pt x="816" y="637"/>
                </a:lnTo>
                <a:lnTo>
                  <a:pt x="817" y="638"/>
                </a:lnTo>
                <a:lnTo>
                  <a:pt x="818" y="638"/>
                </a:lnTo>
                <a:lnTo>
                  <a:pt x="819" y="638"/>
                </a:lnTo>
                <a:lnTo>
                  <a:pt x="822" y="637"/>
                </a:lnTo>
                <a:lnTo>
                  <a:pt x="833" y="637"/>
                </a:lnTo>
                <a:lnTo>
                  <a:pt x="845" y="636"/>
                </a:lnTo>
                <a:lnTo>
                  <a:pt x="859" y="634"/>
                </a:lnTo>
                <a:lnTo>
                  <a:pt x="873" y="634"/>
                </a:lnTo>
                <a:lnTo>
                  <a:pt x="888" y="631"/>
                </a:lnTo>
                <a:lnTo>
                  <a:pt x="902" y="629"/>
                </a:lnTo>
                <a:lnTo>
                  <a:pt x="915" y="629"/>
                </a:lnTo>
                <a:lnTo>
                  <a:pt x="929" y="629"/>
                </a:lnTo>
                <a:lnTo>
                  <a:pt x="930" y="630"/>
                </a:lnTo>
                <a:lnTo>
                  <a:pt x="932" y="630"/>
                </a:lnTo>
                <a:lnTo>
                  <a:pt x="933" y="629"/>
                </a:lnTo>
                <a:lnTo>
                  <a:pt x="934" y="627"/>
                </a:lnTo>
                <a:lnTo>
                  <a:pt x="921" y="622"/>
                </a:lnTo>
                <a:lnTo>
                  <a:pt x="907" y="617"/>
                </a:lnTo>
                <a:lnTo>
                  <a:pt x="903" y="616"/>
                </a:lnTo>
                <a:lnTo>
                  <a:pt x="899" y="617"/>
                </a:lnTo>
                <a:lnTo>
                  <a:pt x="893" y="618"/>
                </a:lnTo>
                <a:lnTo>
                  <a:pt x="888" y="618"/>
                </a:lnTo>
                <a:lnTo>
                  <a:pt x="886" y="618"/>
                </a:lnTo>
                <a:lnTo>
                  <a:pt x="885" y="617"/>
                </a:lnTo>
                <a:lnTo>
                  <a:pt x="885" y="615"/>
                </a:lnTo>
                <a:lnTo>
                  <a:pt x="887" y="615"/>
                </a:lnTo>
                <a:lnTo>
                  <a:pt x="889" y="614"/>
                </a:lnTo>
                <a:lnTo>
                  <a:pt x="891" y="613"/>
                </a:lnTo>
                <a:lnTo>
                  <a:pt x="892" y="611"/>
                </a:lnTo>
                <a:lnTo>
                  <a:pt x="892" y="610"/>
                </a:lnTo>
                <a:lnTo>
                  <a:pt x="889" y="609"/>
                </a:lnTo>
                <a:lnTo>
                  <a:pt x="887" y="607"/>
                </a:lnTo>
                <a:lnTo>
                  <a:pt x="882" y="604"/>
                </a:lnTo>
                <a:lnTo>
                  <a:pt x="879" y="602"/>
                </a:lnTo>
                <a:lnTo>
                  <a:pt x="880" y="602"/>
                </a:lnTo>
                <a:lnTo>
                  <a:pt x="880" y="601"/>
                </a:lnTo>
                <a:lnTo>
                  <a:pt x="889" y="602"/>
                </a:lnTo>
                <a:lnTo>
                  <a:pt x="900" y="602"/>
                </a:lnTo>
                <a:lnTo>
                  <a:pt x="909" y="601"/>
                </a:lnTo>
                <a:lnTo>
                  <a:pt x="919" y="601"/>
                </a:lnTo>
                <a:lnTo>
                  <a:pt x="920" y="600"/>
                </a:lnTo>
                <a:lnTo>
                  <a:pt x="922" y="599"/>
                </a:lnTo>
                <a:lnTo>
                  <a:pt x="923" y="597"/>
                </a:lnTo>
                <a:lnTo>
                  <a:pt x="923" y="596"/>
                </a:lnTo>
                <a:lnTo>
                  <a:pt x="923" y="594"/>
                </a:lnTo>
                <a:lnTo>
                  <a:pt x="922" y="592"/>
                </a:lnTo>
                <a:lnTo>
                  <a:pt x="910" y="588"/>
                </a:lnTo>
                <a:lnTo>
                  <a:pt x="899" y="586"/>
                </a:lnTo>
                <a:lnTo>
                  <a:pt x="887" y="582"/>
                </a:lnTo>
                <a:lnTo>
                  <a:pt x="875" y="581"/>
                </a:lnTo>
                <a:lnTo>
                  <a:pt x="875" y="581"/>
                </a:lnTo>
                <a:lnTo>
                  <a:pt x="875" y="581"/>
                </a:lnTo>
                <a:lnTo>
                  <a:pt x="873" y="581"/>
                </a:lnTo>
                <a:lnTo>
                  <a:pt x="871" y="581"/>
                </a:lnTo>
                <a:lnTo>
                  <a:pt x="870" y="581"/>
                </a:lnTo>
                <a:lnTo>
                  <a:pt x="870" y="580"/>
                </a:lnTo>
                <a:lnTo>
                  <a:pt x="858" y="580"/>
                </a:lnTo>
                <a:lnTo>
                  <a:pt x="847" y="580"/>
                </a:lnTo>
                <a:lnTo>
                  <a:pt x="837" y="581"/>
                </a:lnTo>
                <a:lnTo>
                  <a:pt x="826" y="583"/>
                </a:lnTo>
                <a:lnTo>
                  <a:pt x="824" y="585"/>
                </a:lnTo>
                <a:lnTo>
                  <a:pt x="823" y="587"/>
                </a:lnTo>
                <a:lnTo>
                  <a:pt x="820" y="587"/>
                </a:lnTo>
                <a:lnTo>
                  <a:pt x="817" y="588"/>
                </a:lnTo>
                <a:lnTo>
                  <a:pt x="815" y="589"/>
                </a:lnTo>
                <a:lnTo>
                  <a:pt x="813" y="592"/>
                </a:lnTo>
                <a:lnTo>
                  <a:pt x="812" y="592"/>
                </a:lnTo>
                <a:lnTo>
                  <a:pt x="811" y="592"/>
                </a:lnTo>
                <a:lnTo>
                  <a:pt x="808" y="592"/>
                </a:lnTo>
                <a:lnTo>
                  <a:pt x="805" y="593"/>
                </a:lnTo>
                <a:lnTo>
                  <a:pt x="803" y="594"/>
                </a:lnTo>
                <a:lnTo>
                  <a:pt x="802" y="596"/>
                </a:lnTo>
                <a:lnTo>
                  <a:pt x="801" y="596"/>
                </a:lnTo>
                <a:lnTo>
                  <a:pt x="801" y="596"/>
                </a:lnTo>
                <a:lnTo>
                  <a:pt x="795" y="596"/>
                </a:lnTo>
                <a:lnTo>
                  <a:pt x="790" y="599"/>
                </a:lnTo>
                <a:lnTo>
                  <a:pt x="787" y="601"/>
                </a:lnTo>
                <a:lnTo>
                  <a:pt x="783" y="606"/>
                </a:lnTo>
                <a:lnTo>
                  <a:pt x="783" y="606"/>
                </a:lnTo>
                <a:lnTo>
                  <a:pt x="783" y="606"/>
                </a:lnTo>
                <a:lnTo>
                  <a:pt x="778" y="608"/>
                </a:lnTo>
                <a:lnTo>
                  <a:pt x="775" y="611"/>
                </a:lnTo>
                <a:lnTo>
                  <a:pt x="772" y="616"/>
                </a:lnTo>
                <a:lnTo>
                  <a:pt x="770" y="621"/>
                </a:lnTo>
                <a:lnTo>
                  <a:pt x="765" y="624"/>
                </a:lnTo>
                <a:lnTo>
                  <a:pt x="761" y="628"/>
                </a:lnTo>
                <a:lnTo>
                  <a:pt x="758" y="628"/>
                </a:lnTo>
                <a:lnTo>
                  <a:pt x="757" y="629"/>
                </a:lnTo>
                <a:lnTo>
                  <a:pt x="756" y="630"/>
                </a:lnTo>
                <a:lnTo>
                  <a:pt x="756" y="632"/>
                </a:lnTo>
                <a:lnTo>
                  <a:pt x="756" y="632"/>
                </a:lnTo>
                <a:lnTo>
                  <a:pt x="756" y="632"/>
                </a:lnTo>
                <a:lnTo>
                  <a:pt x="755" y="632"/>
                </a:lnTo>
                <a:lnTo>
                  <a:pt x="754" y="632"/>
                </a:lnTo>
                <a:lnTo>
                  <a:pt x="751" y="634"/>
                </a:lnTo>
                <a:lnTo>
                  <a:pt x="750" y="636"/>
                </a:lnTo>
                <a:lnTo>
                  <a:pt x="749" y="637"/>
                </a:lnTo>
                <a:lnTo>
                  <a:pt x="747" y="638"/>
                </a:lnTo>
                <a:lnTo>
                  <a:pt x="744" y="638"/>
                </a:lnTo>
                <a:lnTo>
                  <a:pt x="742" y="638"/>
                </a:lnTo>
                <a:lnTo>
                  <a:pt x="741" y="638"/>
                </a:lnTo>
                <a:lnTo>
                  <a:pt x="740" y="637"/>
                </a:lnTo>
                <a:lnTo>
                  <a:pt x="740" y="636"/>
                </a:lnTo>
                <a:lnTo>
                  <a:pt x="741" y="634"/>
                </a:lnTo>
                <a:lnTo>
                  <a:pt x="742" y="630"/>
                </a:lnTo>
                <a:lnTo>
                  <a:pt x="743" y="627"/>
                </a:lnTo>
                <a:lnTo>
                  <a:pt x="747" y="624"/>
                </a:lnTo>
                <a:lnTo>
                  <a:pt x="750" y="622"/>
                </a:lnTo>
                <a:lnTo>
                  <a:pt x="751" y="621"/>
                </a:lnTo>
                <a:lnTo>
                  <a:pt x="753" y="620"/>
                </a:lnTo>
                <a:lnTo>
                  <a:pt x="753" y="617"/>
                </a:lnTo>
                <a:lnTo>
                  <a:pt x="754" y="616"/>
                </a:lnTo>
                <a:lnTo>
                  <a:pt x="754" y="616"/>
                </a:lnTo>
                <a:lnTo>
                  <a:pt x="755" y="616"/>
                </a:lnTo>
                <a:lnTo>
                  <a:pt x="756" y="615"/>
                </a:lnTo>
                <a:lnTo>
                  <a:pt x="756" y="614"/>
                </a:lnTo>
                <a:lnTo>
                  <a:pt x="756" y="613"/>
                </a:lnTo>
                <a:lnTo>
                  <a:pt x="757" y="611"/>
                </a:lnTo>
                <a:lnTo>
                  <a:pt x="757" y="610"/>
                </a:lnTo>
                <a:lnTo>
                  <a:pt x="760" y="602"/>
                </a:lnTo>
                <a:lnTo>
                  <a:pt x="761" y="594"/>
                </a:lnTo>
                <a:lnTo>
                  <a:pt x="761" y="587"/>
                </a:lnTo>
                <a:lnTo>
                  <a:pt x="761" y="579"/>
                </a:lnTo>
                <a:lnTo>
                  <a:pt x="757" y="574"/>
                </a:lnTo>
                <a:lnTo>
                  <a:pt x="755" y="569"/>
                </a:lnTo>
                <a:lnTo>
                  <a:pt x="753" y="564"/>
                </a:lnTo>
                <a:lnTo>
                  <a:pt x="751" y="558"/>
                </a:lnTo>
                <a:lnTo>
                  <a:pt x="753" y="564"/>
                </a:lnTo>
                <a:lnTo>
                  <a:pt x="755" y="569"/>
                </a:lnTo>
                <a:lnTo>
                  <a:pt x="757" y="574"/>
                </a:lnTo>
                <a:lnTo>
                  <a:pt x="761" y="579"/>
                </a:lnTo>
                <a:lnTo>
                  <a:pt x="761" y="587"/>
                </a:lnTo>
                <a:lnTo>
                  <a:pt x="761" y="594"/>
                </a:lnTo>
                <a:lnTo>
                  <a:pt x="760" y="602"/>
                </a:lnTo>
                <a:lnTo>
                  <a:pt x="757" y="610"/>
                </a:lnTo>
                <a:lnTo>
                  <a:pt x="761" y="607"/>
                </a:lnTo>
                <a:lnTo>
                  <a:pt x="762" y="603"/>
                </a:lnTo>
                <a:lnTo>
                  <a:pt x="763" y="600"/>
                </a:lnTo>
                <a:lnTo>
                  <a:pt x="764" y="596"/>
                </a:lnTo>
                <a:lnTo>
                  <a:pt x="764" y="588"/>
                </a:lnTo>
                <a:lnTo>
                  <a:pt x="765" y="579"/>
                </a:lnTo>
                <a:lnTo>
                  <a:pt x="765" y="569"/>
                </a:lnTo>
                <a:lnTo>
                  <a:pt x="765" y="561"/>
                </a:lnTo>
                <a:lnTo>
                  <a:pt x="769" y="567"/>
                </a:lnTo>
                <a:lnTo>
                  <a:pt x="775" y="573"/>
                </a:lnTo>
                <a:lnTo>
                  <a:pt x="775" y="580"/>
                </a:lnTo>
                <a:lnTo>
                  <a:pt x="775" y="587"/>
                </a:lnTo>
                <a:lnTo>
                  <a:pt x="775" y="589"/>
                </a:lnTo>
                <a:lnTo>
                  <a:pt x="776" y="590"/>
                </a:lnTo>
                <a:lnTo>
                  <a:pt x="777" y="592"/>
                </a:lnTo>
                <a:lnTo>
                  <a:pt x="780" y="592"/>
                </a:lnTo>
                <a:lnTo>
                  <a:pt x="780" y="595"/>
                </a:lnTo>
                <a:lnTo>
                  <a:pt x="781" y="596"/>
                </a:lnTo>
                <a:lnTo>
                  <a:pt x="783" y="596"/>
                </a:lnTo>
                <a:lnTo>
                  <a:pt x="785" y="594"/>
                </a:lnTo>
                <a:lnTo>
                  <a:pt x="789" y="589"/>
                </a:lnTo>
                <a:lnTo>
                  <a:pt x="795" y="586"/>
                </a:lnTo>
                <a:lnTo>
                  <a:pt x="799" y="583"/>
                </a:lnTo>
                <a:lnTo>
                  <a:pt x="805" y="581"/>
                </a:lnTo>
                <a:lnTo>
                  <a:pt x="816" y="578"/>
                </a:lnTo>
                <a:lnTo>
                  <a:pt x="827" y="575"/>
                </a:lnTo>
                <a:lnTo>
                  <a:pt x="841" y="573"/>
                </a:lnTo>
                <a:lnTo>
                  <a:pt x="856" y="572"/>
                </a:lnTo>
                <a:lnTo>
                  <a:pt x="863" y="573"/>
                </a:lnTo>
                <a:lnTo>
                  <a:pt x="870" y="573"/>
                </a:lnTo>
                <a:lnTo>
                  <a:pt x="878" y="575"/>
                </a:lnTo>
                <a:lnTo>
                  <a:pt x="885" y="578"/>
                </a:lnTo>
                <a:lnTo>
                  <a:pt x="891" y="579"/>
                </a:lnTo>
                <a:lnTo>
                  <a:pt x="899" y="580"/>
                </a:lnTo>
                <a:lnTo>
                  <a:pt x="896" y="576"/>
                </a:lnTo>
                <a:lnTo>
                  <a:pt x="894" y="574"/>
                </a:lnTo>
                <a:lnTo>
                  <a:pt x="887" y="568"/>
                </a:lnTo>
                <a:lnTo>
                  <a:pt x="880" y="565"/>
                </a:lnTo>
                <a:lnTo>
                  <a:pt x="880" y="565"/>
                </a:lnTo>
                <a:lnTo>
                  <a:pt x="879" y="565"/>
                </a:lnTo>
                <a:lnTo>
                  <a:pt x="877" y="561"/>
                </a:lnTo>
                <a:lnTo>
                  <a:pt x="872" y="560"/>
                </a:lnTo>
                <a:lnTo>
                  <a:pt x="872" y="560"/>
                </a:lnTo>
                <a:lnTo>
                  <a:pt x="871" y="560"/>
                </a:lnTo>
                <a:lnTo>
                  <a:pt x="873" y="562"/>
                </a:lnTo>
                <a:lnTo>
                  <a:pt x="875" y="564"/>
                </a:lnTo>
                <a:lnTo>
                  <a:pt x="873" y="562"/>
                </a:lnTo>
                <a:lnTo>
                  <a:pt x="871" y="560"/>
                </a:lnTo>
                <a:lnTo>
                  <a:pt x="870" y="560"/>
                </a:lnTo>
                <a:lnTo>
                  <a:pt x="870" y="559"/>
                </a:lnTo>
                <a:lnTo>
                  <a:pt x="870" y="559"/>
                </a:lnTo>
                <a:lnTo>
                  <a:pt x="868" y="559"/>
                </a:lnTo>
                <a:lnTo>
                  <a:pt x="861" y="557"/>
                </a:lnTo>
                <a:lnTo>
                  <a:pt x="854" y="554"/>
                </a:lnTo>
                <a:lnTo>
                  <a:pt x="851" y="552"/>
                </a:lnTo>
                <a:lnTo>
                  <a:pt x="846" y="551"/>
                </a:lnTo>
                <a:lnTo>
                  <a:pt x="844" y="551"/>
                </a:lnTo>
                <a:lnTo>
                  <a:pt x="841" y="551"/>
                </a:lnTo>
                <a:lnTo>
                  <a:pt x="839" y="548"/>
                </a:lnTo>
                <a:lnTo>
                  <a:pt x="840" y="546"/>
                </a:lnTo>
                <a:lnTo>
                  <a:pt x="838" y="544"/>
                </a:lnTo>
                <a:lnTo>
                  <a:pt x="834" y="543"/>
                </a:lnTo>
                <a:lnTo>
                  <a:pt x="825" y="540"/>
                </a:lnTo>
                <a:lnTo>
                  <a:pt x="817" y="538"/>
                </a:lnTo>
                <a:lnTo>
                  <a:pt x="812" y="537"/>
                </a:lnTo>
                <a:lnTo>
                  <a:pt x="806" y="536"/>
                </a:lnTo>
                <a:lnTo>
                  <a:pt x="797" y="534"/>
                </a:lnTo>
                <a:lnTo>
                  <a:pt x="788" y="532"/>
                </a:lnTo>
                <a:lnTo>
                  <a:pt x="777" y="531"/>
                </a:lnTo>
                <a:lnTo>
                  <a:pt x="768" y="529"/>
                </a:lnTo>
                <a:lnTo>
                  <a:pt x="764" y="526"/>
                </a:lnTo>
                <a:lnTo>
                  <a:pt x="760" y="525"/>
                </a:lnTo>
                <a:lnTo>
                  <a:pt x="756" y="524"/>
                </a:lnTo>
                <a:lnTo>
                  <a:pt x="751" y="524"/>
                </a:lnTo>
                <a:lnTo>
                  <a:pt x="736" y="518"/>
                </a:lnTo>
                <a:lnTo>
                  <a:pt x="721" y="513"/>
                </a:lnTo>
                <a:lnTo>
                  <a:pt x="712" y="510"/>
                </a:lnTo>
                <a:lnTo>
                  <a:pt x="704" y="505"/>
                </a:lnTo>
                <a:lnTo>
                  <a:pt x="694" y="501"/>
                </a:lnTo>
                <a:lnTo>
                  <a:pt x="685" y="497"/>
                </a:lnTo>
                <a:lnTo>
                  <a:pt x="681" y="495"/>
                </a:lnTo>
                <a:lnTo>
                  <a:pt x="678" y="492"/>
                </a:lnTo>
                <a:lnTo>
                  <a:pt x="673" y="491"/>
                </a:lnTo>
                <a:lnTo>
                  <a:pt x="670" y="491"/>
                </a:lnTo>
                <a:lnTo>
                  <a:pt x="667" y="495"/>
                </a:lnTo>
                <a:lnTo>
                  <a:pt x="666" y="496"/>
                </a:lnTo>
                <a:lnTo>
                  <a:pt x="664" y="496"/>
                </a:lnTo>
                <a:lnTo>
                  <a:pt x="660" y="494"/>
                </a:lnTo>
                <a:lnTo>
                  <a:pt x="659" y="492"/>
                </a:lnTo>
                <a:lnTo>
                  <a:pt x="657" y="492"/>
                </a:lnTo>
                <a:lnTo>
                  <a:pt x="656" y="492"/>
                </a:lnTo>
                <a:lnTo>
                  <a:pt x="654" y="492"/>
                </a:lnTo>
                <a:lnTo>
                  <a:pt x="653" y="494"/>
                </a:lnTo>
                <a:lnTo>
                  <a:pt x="652" y="495"/>
                </a:lnTo>
                <a:lnTo>
                  <a:pt x="644" y="496"/>
                </a:lnTo>
                <a:lnTo>
                  <a:pt x="636" y="497"/>
                </a:lnTo>
                <a:lnTo>
                  <a:pt x="633" y="498"/>
                </a:lnTo>
                <a:lnTo>
                  <a:pt x="633" y="499"/>
                </a:lnTo>
                <a:lnTo>
                  <a:pt x="635" y="501"/>
                </a:lnTo>
                <a:lnTo>
                  <a:pt x="635" y="502"/>
                </a:lnTo>
                <a:lnTo>
                  <a:pt x="635" y="516"/>
                </a:lnTo>
                <a:lnTo>
                  <a:pt x="635" y="530"/>
                </a:lnTo>
                <a:lnTo>
                  <a:pt x="635" y="531"/>
                </a:lnTo>
                <a:lnTo>
                  <a:pt x="633" y="533"/>
                </a:lnTo>
                <a:lnTo>
                  <a:pt x="630" y="537"/>
                </a:lnTo>
                <a:lnTo>
                  <a:pt x="627" y="541"/>
                </a:lnTo>
                <a:lnTo>
                  <a:pt x="626" y="547"/>
                </a:lnTo>
                <a:lnTo>
                  <a:pt x="625" y="553"/>
                </a:lnTo>
                <a:lnTo>
                  <a:pt x="625" y="553"/>
                </a:lnTo>
                <a:lnTo>
                  <a:pt x="625" y="554"/>
                </a:lnTo>
                <a:lnTo>
                  <a:pt x="623" y="554"/>
                </a:lnTo>
                <a:lnTo>
                  <a:pt x="622" y="557"/>
                </a:lnTo>
                <a:lnTo>
                  <a:pt x="617" y="566"/>
                </a:lnTo>
                <a:lnTo>
                  <a:pt x="611" y="574"/>
                </a:lnTo>
                <a:lnTo>
                  <a:pt x="609" y="574"/>
                </a:lnTo>
                <a:lnTo>
                  <a:pt x="605" y="575"/>
                </a:lnTo>
                <a:lnTo>
                  <a:pt x="604" y="578"/>
                </a:lnTo>
                <a:lnTo>
                  <a:pt x="603" y="581"/>
                </a:lnTo>
                <a:lnTo>
                  <a:pt x="604" y="581"/>
                </a:lnTo>
                <a:lnTo>
                  <a:pt x="605" y="581"/>
                </a:lnTo>
                <a:lnTo>
                  <a:pt x="604" y="581"/>
                </a:lnTo>
                <a:lnTo>
                  <a:pt x="603" y="581"/>
                </a:lnTo>
                <a:lnTo>
                  <a:pt x="601" y="582"/>
                </a:lnTo>
                <a:lnTo>
                  <a:pt x="599" y="582"/>
                </a:lnTo>
                <a:lnTo>
                  <a:pt x="598" y="583"/>
                </a:lnTo>
                <a:lnTo>
                  <a:pt x="596" y="583"/>
                </a:lnTo>
                <a:lnTo>
                  <a:pt x="596" y="586"/>
                </a:lnTo>
                <a:lnTo>
                  <a:pt x="595" y="587"/>
                </a:lnTo>
                <a:lnTo>
                  <a:pt x="595" y="587"/>
                </a:lnTo>
                <a:lnTo>
                  <a:pt x="594" y="587"/>
                </a:lnTo>
                <a:lnTo>
                  <a:pt x="590" y="588"/>
                </a:lnTo>
                <a:lnTo>
                  <a:pt x="585" y="589"/>
                </a:lnTo>
                <a:lnTo>
                  <a:pt x="583" y="588"/>
                </a:lnTo>
                <a:lnTo>
                  <a:pt x="582" y="587"/>
                </a:lnTo>
                <a:lnTo>
                  <a:pt x="582" y="586"/>
                </a:lnTo>
                <a:lnTo>
                  <a:pt x="582" y="583"/>
                </a:lnTo>
                <a:lnTo>
                  <a:pt x="585" y="578"/>
                </a:lnTo>
                <a:lnTo>
                  <a:pt x="590" y="574"/>
                </a:lnTo>
                <a:lnTo>
                  <a:pt x="595" y="573"/>
                </a:lnTo>
                <a:lnTo>
                  <a:pt x="598" y="571"/>
                </a:lnTo>
                <a:lnTo>
                  <a:pt x="601" y="567"/>
                </a:lnTo>
                <a:lnTo>
                  <a:pt x="603" y="565"/>
                </a:lnTo>
                <a:lnTo>
                  <a:pt x="605" y="558"/>
                </a:lnTo>
                <a:lnTo>
                  <a:pt x="609" y="550"/>
                </a:lnTo>
                <a:lnTo>
                  <a:pt x="611" y="539"/>
                </a:lnTo>
                <a:lnTo>
                  <a:pt x="617" y="529"/>
                </a:lnTo>
                <a:lnTo>
                  <a:pt x="619" y="524"/>
                </a:lnTo>
                <a:lnTo>
                  <a:pt x="622" y="518"/>
                </a:lnTo>
                <a:lnTo>
                  <a:pt x="623" y="512"/>
                </a:lnTo>
                <a:lnTo>
                  <a:pt x="623" y="506"/>
                </a:lnTo>
                <a:lnTo>
                  <a:pt x="624" y="505"/>
                </a:lnTo>
                <a:lnTo>
                  <a:pt x="625" y="503"/>
                </a:lnTo>
                <a:lnTo>
                  <a:pt x="623" y="502"/>
                </a:lnTo>
                <a:lnTo>
                  <a:pt x="622" y="502"/>
                </a:lnTo>
                <a:lnTo>
                  <a:pt x="608" y="502"/>
                </a:lnTo>
                <a:lnTo>
                  <a:pt x="595" y="502"/>
                </a:lnTo>
                <a:lnTo>
                  <a:pt x="594" y="502"/>
                </a:lnTo>
                <a:lnTo>
                  <a:pt x="591" y="503"/>
                </a:lnTo>
                <a:lnTo>
                  <a:pt x="590" y="504"/>
                </a:lnTo>
                <a:lnTo>
                  <a:pt x="590" y="505"/>
                </a:lnTo>
                <a:lnTo>
                  <a:pt x="589" y="519"/>
                </a:lnTo>
                <a:lnTo>
                  <a:pt x="589" y="533"/>
                </a:lnTo>
                <a:lnTo>
                  <a:pt x="589" y="538"/>
                </a:lnTo>
                <a:lnTo>
                  <a:pt x="588" y="541"/>
                </a:lnTo>
                <a:lnTo>
                  <a:pt x="583" y="532"/>
                </a:lnTo>
                <a:lnTo>
                  <a:pt x="580" y="522"/>
                </a:lnTo>
                <a:lnTo>
                  <a:pt x="580" y="520"/>
                </a:lnTo>
                <a:lnTo>
                  <a:pt x="578" y="519"/>
                </a:lnTo>
                <a:lnTo>
                  <a:pt x="577" y="518"/>
                </a:lnTo>
                <a:lnTo>
                  <a:pt x="576" y="518"/>
                </a:lnTo>
                <a:lnTo>
                  <a:pt x="574" y="513"/>
                </a:lnTo>
                <a:lnTo>
                  <a:pt x="574" y="510"/>
                </a:lnTo>
                <a:lnTo>
                  <a:pt x="575" y="505"/>
                </a:lnTo>
                <a:lnTo>
                  <a:pt x="577" y="502"/>
                </a:lnTo>
                <a:lnTo>
                  <a:pt x="580" y="499"/>
                </a:lnTo>
                <a:lnTo>
                  <a:pt x="578" y="497"/>
                </a:lnTo>
                <a:lnTo>
                  <a:pt x="576" y="496"/>
                </a:lnTo>
                <a:lnTo>
                  <a:pt x="574" y="497"/>
                </a:lnTo>
                <a:lnTo>
                  <a:pt x="571" y="498"/>
                </a:lnTo>
                <a:lnTo>
                  <a:pt x="569" y="499"/>
                </a:lnTo>
                <a:lnTo>
                  <a:pt x="568" y="501"/>
                </a:lnTo>
                <a:lnTo>
                  <a:pt x="567" y="502"/>
                </a:lnTo>
                <a:lnTo>
                  <a:pt x="563" y="503"/>
                </a:lnTo>
                <a:lnTo>
                  <a:pt x="562" y="506"/>
                </a:lnTo>
                <a:lnTo>
                  <a:pt x="560" y="513"/>
                </a:lnTo>
                <a:lnTo>
                  <a:pt x="559" y="520"/>
                </a:lnTo>
                <a:lnTo>
                  <a:pt x="557" y="527"/>
                </a:lnTo>
                <a:lnTo>
                  <a:pt x="557" y="534"/>
                </a:lnTo>
                <a:lnTo>
                  <a:pt x="555" y="537"/>
                </a:lnTo>
                <a:lnTo>
                  <a:pt x="554" y="539"/>
                </a:lnTo>
                <a:lnTo>
                  <a:pt x="555" y="541"/>
                </a:lnTo>
                <a:lnTo>
                  <a:pt x="557" y="544"/>
                </a:lnTo>
                <a:lnTo>
                  <a:pt x="557" y="546"/>
                </a:lnTo>
                <a:lnTo>
                  <a:pt x="557" y="547"/>
                </a:lnTo>
                <a:lnTo>
                  <a:pt x="557" y="547"/>
                </a:lnTo>
                <a:lnTo>
                  <a:pt x="555" y="551"/>
                </a:lnTo>
                <a:lnTo>
                  <a:pt x="554" y="554"/>
                </a:lnTo>
                <a:lnTo>
                  <a:pt x="554" y="558"/>
                </a:lnTo>
                <a:lnTo>
                  <a:pt x="555" y="562"/>
                </a:lnTo>
                <a:lnTo>
                  <a:pt x="556" y="565"/>
                </a:lnTo>
                <a:lnTo>
                  <a:pt x="556" y="567"/>
                </a:lnTo>
                <a:lnTo>
                  <a:pt x="555" y="569"/>
                </a:lnTo>
                <a:lnTo>
                  <a:pt x="551" y="569"/>
                </a:lnTo>
                <a:lnTo>
                  <a:pt x="550" y="569"/>
                </a:lnTo>
                <a:lnTo>
                  <a:pt x="549" y="571"/>
                </a:lnTo>
                <a:lnTo>
                  <a:pt x="548" y="572"/>
                </a:lnTo>
                <a:lnTo>
                  <a:pt x="548" y="574"/>
                </a:lnTo>
                <a:lnTo>
                  <a:pt x="546" y="574"/>
                </a:lnTo>
                <a:lnTo>
                  <a:pt x="544" y="574"/>
                </a:lnTo>
                <a:lnTo>
                  <a:pt x="543" y="576"/>
                </a:lnTo>
                <a:lnTo>
                  <a:pt x="543" y="579"/>
                </a:lnTo>
                <a:lnTo>
                  <a:pt x="539" y="587"/>
                </a:lnTo>
                <a:lnTo>
                  <a:pt x="534" y="596"/>
                </a:lnTo>
                <a:lnTo>
                  <a:pt x="530" y="599"/>
                </a:lnTo>
                <a:lnTo>
                  <a:pt x="527" y="601"/>
                </a:lnTo>
                <a:lnTo>
                  <a:pt x="526" y="602"/>
                </a:lnTo>
                <a:lnTo>
                  <a:pt x="523" y="603"/>
                </a:lnTo>
                <a:lnTo>
                  <a:pt x="521" y="603"/>
                </a:lnTo>
                <a:lnTo>
                  <a:pt x="520" y="601"/>
                </a:lnTo>
                <a:lnTo>
                  <a:pt x="518" y="601"/>
                </a:lnTo>
                <a:lnTo>
                  <a:pt x="516" y="601"/>
                </a:lnTo>
                <a:lnTo>
                  <a:pt x="516" y="602"/>
                </a:lnTo>
                <a:lnTo>
                  <a:pt x="516" y="603"/>
                </a:lnTo>
                <a:lnTo>
                  <a:pt x="516" y="602"/>
                </a:lnTo>
                <a:lnTo>
                  <a:pt x="516" y="601"/>
                </a:lnTo>
                <a:lnTo>
                  <a:pt x="518" y="601"/>
                </a:lnTo>
                <a:lnTo>
                  <a:pt x="520" y="601"/>
                </a:lnTo>
                <a:lnTo>
                  <a:pt x="520" y="601"/>
                </a:lnTo>
                <a:lnTo>
                  <a:pt x="521" y="601"/>
                </a:lnTo>
                <a:lnTo>
                  <a:pt x="523" y="600"/>
                </a:lnTo>
                <a:lnTo>
                  <a:pt x="523" y="599"/>
                </a:lnTo>
                <a:lnTo>
                  <a:pt x="525" y="596"/>
                </a:lnTo>
                <a:lnTo>
                  <a:pt x="525" y="596"/>
                </a:lnTo>
                <a:lnTo>
                  <a:pt x="525" y="595"/>
                </a:lnTo>
                <a:lnTo>
                  <a:pt x="526" y="595"/>
                </a:lnTo>
                <a:lnTo>
                  <a:pt x="526" y="595"/>
                </a:lnTo>
                <a:lnTo>
                  <a:pt x="528" y="594"/>
                </a:lnTo>
                <a:lnTo>
                  <a:pt x="528" y="592"/>
                </a:lnTo>
                <a:lnTo>
                  <a:pt x="534" y="582"/>
                </a:lnTo>
                <a:lnTo>
                  <a:pt x="539" y="573"/>
                </a:lnTo>
                <a:lnTo>
                  <a:pt x="542" y="564"/>
                </a:lnTo>
                <a:lnTo>
                  <a:pt x="546" y="553"/>
                </a:lnTo>
                <a:lnTo>
                  <a:pt x="548" y="541"/>
                </a:lnTo>
                <a:lnTo>
                  <a:pt x="550" y="530"/>
                </a:lnTo>
                <a:lnTo>
                  <a:pt x="554" y="518"/>
                </a:lnTo>
                <a:lnTo>
                  <a:pt x="557" y="506"/>
                </a:lnTo>
                <a:lnTo>
                  <a:pt x="559" y="503"/>
                </a:lnTo>
                <a:lnTo>
                  <a:pt x="560" y="499"/>
                </a:lnTo>
                <a:lnTo>
                  <a:pt x="562" y="498"/>
                </a:lnTo>
                <a:lnTo>
                  <a:pt x="566" y="497"/>
                </a:lnTo>
                <a:lnTo>
                  <a:pt x="569" y="496"/>
                </a:lnTo>
                <a:lnTo>
                  <a:pt x="571" y="495"/>
                </a:lnTo>
                <a:lnTo>
                  <a:pt x="573" y="491"/>
                </a:lnTo>
                <a:lnTo>
                  <a:pt x="573" y="488"/>
                </a:lnTo>
                <a:lnTo>
                  <a:pt x="571" y="488"/>
                </a:lnTo>
                <a:lnTo>
                  <a:pt x="571" y="488"/>
                </a:lnTo>
                <a:lnTo>
                  <a:pt x="567" y="485"/>
                </a:lnTo>
                <a:lnTo>
                  <a:pt x="563" y="485"/>
                </a:lnTo>
                <a:lnTo>
                  <a:pt x="559" y="485"/>
                </a:lnTo>
                <a:lnTo>
                  <a:pt x="555" y="487"/>
                </a:lnTo>
                <a:lnTo>
                  <a:pt x="551" y="489"/>
                </a:lnTo>
                <a:lnTo>
                  <a:pt x="549" y="491"/>
                </a:lnTo>
                <a:lnTo>
                  <a:pt x="547" y="494"/>
                </a:lnTo>
                <a:lnTo>
                  <a:pt x="546" y="497"/>
                </a:lnTo>
                <a:lnTo>
                  <a:pt x="544" y="504"/>
                </a:lnTo>
                <a:lnTo>
                  <a:pt x="544" y="511"/>
                </a:lnTo>
                <a:lnTo>
                  <a:pt x="543" y="513"/>
                </a:lnTo>
                <a:lnTo>
                  <a:pt x="542" y="515"/>
                </a:lnTo>
                <a:lnTo>
                  <a:pt x="541" y="516"/>
                </a:lnTo>
                <a:lnTo>
                  <a:pt x="540" y="518"/>
                </a:lnTo>
                <a:lnTo>
                  <a:pt x="540" y="519"/>
                </a:lnTo>
                <a:lnTo>
                  <a:pt x="540" y="522"/>
                </a:lnTo>
                <a:lnTo>
                  <a:pt x="539" y="525"/>
                </a:lnTo>
                <a:lnTo>
                  <a:pt x="539" y="530"/>
                </a:lnTo>
                <a:lnTo>
                  <a:pt x="536" y="531"/>
                </a:lnTo>
                <a:lnTo>
                  <a:pt x="535" y="533"/>
                </a:lnTo>
                <a:lnTo>
                  <a:pt x="535" y="537"/>
                </a:lnTo>
                <a:lnTo>
                  <a:pt x="535" y="539"/>
                </a:lnTo>
                <a:lnTo>
                  <a:pt x="528" y="552"/>
                </a:lnTo>
                <a:lnTo>
                  <a:pt x="521" y="565"/>
                </a:lnTo>
                <a:lnTo>
                  <a:pt x="518" y="571"/>
                </a:lnTo>
                <a:lnTo>
                  <a:pt x="514" y="576"/>
                </a:lnTo>
                <a:lnTo>
                  <a:pt x="509" y="582"/>
                </a:lnTo>
                <a:lnTo>
                  <a:pt x="504" y="588"/>
                </a:lnTo>
                <a:lnTo>
                  <a:pt x="509" y="586"/>
                </a:lnTo>
                <a:lnTo>
                  <a:pt x="515" y="583"/>
                </a:lnTo>
                <a:lnTo>
                  <a:pt x="512" y="588"/>
                </a:lnTo>
                <a:lnTo>
                  <a:pt x="508" y="592"/>
                </a:lnTo>
                <a:lnTo>
                  <a:pt x="504" y="594"/>
                </a:lnTo>
                <a:lnTo>
                  <a:pt x="502" y="597"/>
                </a:lnTo>
                <a:lnTo>
                  <a:pt x="500" y="602"/>
                </a:lnTo>
                <a:lnTo>
                  <a:pt x="499" y="606"/>
                </a:lnTo>
                <a:lnTo>
                  <a:pt x="499" y="606"/>
                </a:lnTo>
                <a:lnTo>
                  <a:pt x="499" y="606"/>
                </a:lnTo>
                <a:lnTo>
                  <a:pt x="498" y="607"/>
                </a:lnTo>
                <a:lnTo>
                  <a:pt x="497" y="608"/>
                </a:lnTo>
                <a:lnTo>
                  <a:pt x="492" y="615"/>
                </a:lnTo>
                <a:lnTo>
                  <a:pt x="487" y="622"/>
                </a:lnTo>
                <a:lnTo>
                  <a:pt x="484" y="624"/>
                </a:lnTo>
                <a:lnTo>
                  <a:pt x="481" y="627"/>
                </a:lnTo>
                <a:lnTo>
                  <a:pt x="477" y="629"/>
                </a:lnTo>
                <a:lnTo>
                  <a:pt x="473" y="630"/>
                </a:lnTo>
                <a:lnTo>
                  <a:pt x="472" y="631"/>
                </a:lnTo>
                <a:lnTo>
                  <a:pt x="472" y="632"/>
                </a:lnTo>
                <a:lnTo>
                  <a:pt x="471" y="634"/>
                </a:lnTo>
                <a:lnTo>
                  <a:pt x="471" y="634"/>
                </a:lnTo>
                <a:lnTo>
                  <a:pt x="471" y="635"/>
                </a:lnTo>
                <a:lnTo>
                  <a:pt x="470" y="636"/>
                </a:lnTo>
                <a:lnTo>
                  <a:pt x="470" y="636"/>
                </a:lnTo>
                <a:lnTo>
                  <a:pt x="470" y="637"/>
                </a:lnTo>
                <a:lnTo>
                  <a:pt x="467" y="638"/>
                </a:lnTo>
                <a:lnTo>
                  <a:pt x="467" y="641"/>
                </a:lnTo>
                <a:lnTo>
                  <a:pt x="467" y="644"/>
                </a:lnTo>
                <a:lnTo>
                  <a:pt x="467" y="649"/>
                </a:lnTo>
                <a:lnTo>
                  <a:pt x="467" y="651"/>
                </a:lnTo>
                <a:lnTo>
                  <a:pt x="468" y="652"/>
                </a:lnTo>
                <a:lnTo>
                  <a:pt x="471" y="656"/>
                </a:lnTo>
                <a:lnTo>
                  <a:pt x="471" y="657"/>
                </a:lnTo>
                <a:lnTo>
                  <a:pt x="470" y="659"/>
                </a:lnTo>
                <a:lnTo>
                  <a:pt x="467" y="661"/>
                </a:lnTo>
                <a:lnTo>
                  <a:pt x="458" y="664"/>
                </a:lnTo>
                <a:lnTo>
                  <a:pt x="449" y="666"/>
                </a:lnTo>
                <a:lnTo>
                  <a:pt x="446" y="668"/>
                </a:lnTo>
                <a:lnTo>
                  <a:pt x="444" y="668"/>
                </a:lnTo>
                <a:lnTo>
                  <a:pt x="435" y="666"/>
                </a:lnTo>
                <a:lnTo>
                  <a:pt x="426" y="669"/>
                </a:lnTo>
                <a:lnTo>
                  <a:pt x="422" y="669"/>
                </a:lnTo>
                <a:lnTo>
                  <a:pt x="417" y="669"/>
                </a:lnTo>
                <a:lnTo>
                  <a:pt x="412" y="669"/>
                </a:lnTo>
                <a:lnTo>
                  <a:pt x="408" y="669"/>
                </a:lnTo>
                <a:lnTo>
                  <a:pt x="412" y="664"/>
                </a:lnTo>
                <a:lnTo>
                  <a:pt x="416" y="659"/>
                </a:lnTo>
                <a:lnTo>
                  <a:pt x="416" y="659"/>
                </a:lnTo>
                <a:lnTo>
                  <a:pt x="417" y="659"/>
                </a:lnTo>
                <a:lnTo>
                  <a:pt x="424" y="656"/>
                </a:lnTo>
                <a:lnTo>
                  <a:pt x="431" y="651"/>
                </a:lnTo>
                <a:lnTo>
                  <a:pt x="438" y="647"/>
                </a:lnTo>
                <a:lnTo>
                  <a:pt x="444" y="641"/>
                </a:lnTo>
                <a:lnTo>
                  <a:pt x="447" y="637"/>
                </a:lnTo>
                <a:lnTo>
                  <a:pt x="449" y="632"/>
                </a:lnTo>
                <a:lnTo>
                  <a:pt x="449" y="632"/>
                </a:lnTo>
                <a:lnTo>
                  <a:pt x="451" y="632"/>
                </a:lnTo>
                <a:lnTo>
                  <a:pt x="452" y="631"/>
                </a:lnTo>
                <a:lnTo>
                  <a:pt x="453" y="630"/>
                </a:lnTo>
                <a:lnTo>
                  <a:pt x="453" y="628"/>
                </a:lnTo>
                <a:lnTo>
                  <a:pt x="453" y="628"/>
                </a:lnTo>
                <a:lnTo>
                  <a:pt x="456" y="627"/>
                </a:lnTo>
                <a:lnTo>
                  <a:pt x="457" y="624"/>
                </a:lnTo>
                <a:lnTo>
                  <a:pt x="457" y="624"/>
                </a:lnTo>
                <a:lnTo>
                  <a:pt x="458" y="623"/>
                </a:lnTo>
                <a:lnTo>
                  <a:pt x="458" y="621"/>
                </a:lnTo>
                <a:lnTo>
                  <a:pt x="459" y="617"/>
                </a:lnTo>
                <a:lnTo>
                  <a:pt x="458" y="621"/>
                </a:lnTo>
                <a:lnTo>
                  <a:pt x="458" y="623"/>
                </a:lnTo>
                <a:lnTo>
                  <a:pt x="460" y="622"/>
                </a:lnTo>
                <a:lnTo>
                  <a:pt x="463" y="621"/>
                </a:lnTo>
                <a:lnTo>
                  <a:pt x="472" y="606"/>
                </a:lnTo>
                <a:lnTo>
                  <a:pt x="480" y="592"/>
                </a:lnTo>
                <a:lnTo>
                  <a:pt x="486" y="585"/>
                </a:lnTo>
                <a:lnTo>
                  <a:pt x="490" y="579"/>
                </a:lnTo>
                <a:lnTo>
                  <a:pt x="491" y="576"/>
                </a:lnTo>
                <a:lnTo>
                  <a:pt x="491" y="574"/>
                </a:lnTo>
                <a:lnTo>
                  <a:pt x="488" y="574"/>
                </a:lnTo>
                <a:lnTo>
                  <a:pt x="485" y="574"/>
                </a:lnTo>
                <a:lnTo>
                  <a:pt x="485" y="571"/>
                </a:lnTo>
                <a:lnTo>
                  <a:pt x="485" y="567"/>
                </a:lnTo>
                <a:lnTo>
                  <a:pt x="485" y="571"/>
                </a:lnTo>
                <a:lnTo>
                  <a:pt x="485" y="574"/>
                </a:lnTo>
                <a:lnTo>
                  <a:pt x="488" y="574"/>
                </a:lnTo>
                <a:lnTo>
                  <a:pt x="491" y="574"/>
                </a:lnTo>
                <a:lnTo>
                  <a:pt x="492" y="572"/>
                </a:lnTo>
                <a:lnTo>
                  <a:pt x="492" y="569"/>
                </a:lnTo>
                <a:lnTo>
                  <a:pt x="494" y="568"/>
                </a:lnTo>
                <a:lnTo>
                  <a:pt x="494" y="566"/>
                </a:lnTo>
                <a:lnTo>
                  <a:pt x="494" y="564"/>
                </a:lnTo>
                <a:lnTo>
                  <a:pt x="494" y="560"/>
                </a:lnTo>
                <a:lnTo>
                  <a:pt x="494" y="553"/>
                </a:lnTo>
                <a:lnTo>
                  <a:pt x="493" y="546"/>
                </a:lnTo>
                <a:lnTo>
                  <a:pt x="487" y="529"/>
                </a:lnTo>
                <a:lnTo>
                  <a:pt x="484" y="512"/>
                </a:lnTo>
                <a:lnTo>
                  <a:pt x="484" y="509"/>
                </a:lnTo>
                <a:lnTo>
                  <a:pt x="481" y="508"/>
                </a:lnTo>
                <a:lnTo>
                  <a:pt x="481" y="505"/>
                </a:lnTo>
                <a:lnTo>
                  <a:pt x="481" y="503"/>
                </a:lnTo>
                <a:lnTo>
                  <a:pt x="481" y="498"/>
                </a:lnTo>
                <a:lnTo>
                  <a:pt x="480" y="495"/>
                </a:lnTo>
                <a:lnTo>
                  <a:pt x="480" y="494"/>
                </a:lnTo>
                <a:lnTo>
                  <a:pt x="478" y="492"/>
                </a:lnTo>
                <a:lnTo>
                  <a:pt x="477" y="492"/>
                </a:lnTo>
                <a:lnTo>
                  <a:pt x="473" y="492"/>
                </a:lnTo>
                <a:lnTo>
                  <a:pt x="470" y="491"/>
                </a:lnTo>
                <a:lnTo>
                  <a:pt x="467" y="490"/>
                </a:lnTo>
                <a:lnTo>
                  <a:pt x="467" y="488"/>
                </a:lnTo>
                <a:lnTo>
                  <a:pt x="470" y="484"/>
                </a:lnTo>
                <a:lnTo>
                  <a:pt x="472" y="481"/>
                </a:lnTo>
                <a:lnTo>
                  <a:pt x="474" y="478"/>
                </a:lnTo>
                <a:lnTo>
                  <a:pt x="475" y="477"/>
                </a:lnTo>
                <a:lnTo>
                  <a:pt x="474" y="475"/>
                </a:lnTo>
                <a:lnTo>
                  <a:pt x="471" y="474"/>
                </a:lnTo>
                <a:lnTo>
                  <a:pt x="466" y="471"/>
                </a:lnTo>
                <a:lnTo>
                  <a:pt x="463" y="469"/>
                </a:lnTo>
                <a:lnTo>
                  <a:pt x="458" y="469"/>
                </a:lnTo>
                <a:lnTo>
                  <a:pt x="452" y="468"/>
                </a:lnTo>
                <a:lnTo>
                  <a:pt x="446" y="468"/>
                </a:lnTo>
                <a:lnTo>
                  <a:pt x="443" y="468"/>
                </a:lnTo>
                <a:lnTo>
                  <a:pt x="439" y="468"/>
                </a:lnTo>
                <a:lnTo>
                  <a:pt x="436" y="468"/>
                </a:lnTo>
                <a:lnTo>
                  <a:pt x="432" y="471"/>
                </a:lnTo>
                <a:lnTo>
                  <a:pt x="426" y="475"/>
                </a:lnTo>
                <a:lnTo>
                  <a:pt x="421" y="478"/>
                </a:lnTo>
                <a:lnTo>
                  <a:pt x="421" y="476"/>
                </a:lnTo>
                <a:lnTo>
                  <a:pt x="422" y="475"/>
                </a:lnTo>
                <a:lnTo>
                  <a:pt x="421" y="473"/>
                </a:lnTo>
                <a:lnTo>
                  <a:pt x="419" y="473"/>
                </a:lnTo>
                <a:lnTo>
                  <a:pt x="416" y="474"/>
                </a:lnTo>
                <a:lnTo>
                  <a:pt x="414" y="476"/>
                </a:lnTo>
                <a:lnTo>
                  <a:pt x="412" y="477"/>
                </a:lnTo>
                <a:lnTo>
                  <a:pt x="411" y="480"/>
                </a:lnTo>
                <a:lnTo>
                  <a:pt x="410" y="482"/>
                </a:lnTo>
                <a:lnTo>
                  <a:pt x="409" y="483"/>
                </a:lnTo>
                <a:lnTo>
                  <a:pt x="408" y="483"/>
                </a:lnTo>
                <a:lnTo>
                  <a:pt x="405" y="482"/>
                </a:lnTo>
                <a:lnTo>
                  <a:pt x="402" y="481"/>
                </a:lnTo>
                <a:lnTo>
                  <a:pt x="401" y="481"/>
                </a:lnTo>
                <a:lnTo>
                  <a:pt x="399" y="482"/>
                </a:lnTo>
                <a:lnTo>
                  <a:pt x="399" y="485"/>
                </a:lnTo>
                <a:lnTo>
                  <a:pt x="401" y="488"/>
                </a:lnTo>
                <a:lnTo>
                  <a:pt x="399" y="490"/>
                </a:lnTo>
                <a:lnTo>
                  <a:pt x="398" y="491"/>
                </a:lnTo>
                <a:lnTo>
                  <a:pt x="395" y="491"/>
                </a:lnTo>
                <a:lnTo>
                  <a:pt x="392" y="491"/>
                </a:lnTo>
                <a:lnTo>
                  <a:pt x="391" y="492"/>
                </a:lnTo>
                <a:lnTo>
                  <a:pt x="385" y="496"/>
                </a:lnTo>
                <a:lnTo>
                  <a:pt x="380" y="501"/>
                </a:lnTo>
                <a:lnTo>
                  <a:pt x="376" y="505"/>
                </a:lnTo>
                <a:lnTo>
                  <a:pt x="371" y="511"/>
                </a:lnTo>
                <a:lnTo>
                  <a:pt x="366" y="523"/>
                </a:lnTo>
                <a:lnTo>
                  <a:pt x="361" y="536"/>
                </a:lnTo>
                <a:lnTo>
                  <a:pt x="361" y="537"/>
                </a:lnTo>
                <a:lnTo>
                  <a:pt x="362" y="539"/>
                </a:lnTo>
                <a:lnTo>
                  <a:pt x="363" y="546"/>
                </a:lnTo>
                <a:lnTo>
                  <a:pt x="362" y="552"/>
                </a:lnTo>
                <a:lnTo>
                  <a:pt x="361" y="559"/>
                </a:lnTo>
                <a:lnTo>
                  <a:pt x="360" y="566"/>
                </a:lnTo>
                <a:lnTo>
                  <a:pt x="360" y="566"/>
                </a:lnTo>
                <a:lnTo>
                  <a:pt x="359" y="567"/>
                </a:lnTo>
                <a:lnTo>
                  <a:pt x="356" y="571"/>
                </a:lnTo>
                <a:lnTo>
                  <a:pt x="354" y="575"/>
                </a:lnTo>
                <a:lnTo>
                  <a:pt x="353" y="579"/>
                </a:lnTo>
                <a:lnTo>
                  <a:pt x="353" y="583"/>
                </a:lnTo>
                <a:lnTo>
                  <a:pt x="350" y="592"/>
                </a:lnTo>
                <a:lnTo>
                  <a:pt x="349" y="600"/>
                </a:lnTo>
                <a:lnTo>
                  <a:pt x="349" y="601"/>
                </a:lnTo>
                <a:lnTo>
                  <a:pt x="347" y="602"/>
                </a:lnTo>
                <a:lnTo>
                  <a:pt x="346" y="601"/>
                </a:lnTo>
                <a:lnTo>
                  <a:pt x="345" y="600"/>
                </a:lnTo>
                <a:lnTo>
                  <a:pt x="342" y="595"/>
                </a:lnTo>
                <a:lnTo>
                  <a:pt x="342" y="590"/>
                </a:lnTo>
                <a:lnTo>
                  <a:pt x="341" y="586"/>
                </a:lnTo>
                <a:lnTo>
                  <a:pt x="341" y="581"/>
                </a:lnTo>
                <a:lnTo>
                  <a:pt x="341" y="576"/>
                </a:lnTo>
                <a:lnTo>
                  <a:pt x="340" y="571"/>
                </a:lnTo>
                <a:lnTo>
                  <a:pt x="340" y="568"/>
                </a:lnTo>
                <a:lnTo>
                  <a:pt x="339" y="566"/>
                </a:lnTo>
                <a:lnTo>
                  <a:pt x="336" y="564"/>
                </a:lnTo>
                <a:lnTo>
                  <a:pt x="334" y="562"/>
                </a:lnTo>
                <a:lnTo>
                  <a:pt x="332" y="561"/>
                </a:lnTo>
                <a:lnTo>
                  <a:pt x="329" y="559"/>
                </a:lnTo>
                <a:lnTo>
                  <a:pt x="328" y="558"/>
                </a:lnTo>
                <a:lnTo>
                  <a:pt x="328" y="555"/>
                </a:lnTo>
                <a:lnTo>
                  <a:pt x="328" y="553"/>
                </a:lnTo>
                <a:lnTo>
                  <a:pt x="327" y="552"/>
                </a:lnTo>
                <a:lnTo>
                  <a:pt x="325" y="551"/>
                </a:lnTo>
                <a:lnTo>
                  <a:pt x="322" y="550"/>
                </a:lnTo>
                <a:lnTo>
                  <a:pt x="321" y="547"/>
                </a:lnTo>
                <a:lnTo>
                  <a:pt x="321" y="546"/>
                </a:lnTo>
                <a:lnTo>
                  <a:pt x="320" y="541"/>
                </a:lnTo>
                <a:lnTo>
                  <a:pt x="320" y="538"/>
                </a:lnTo>
                <a:lnTo>
                  <a:pt x="319" y="532"/>
                </a:lnTo>
                <a:lnTo>
                  <a:pt x="316" y="529"/>
                </a:lnTo>
                <a:lnTo>
                  <a:pt x="313" y="526"/>
                </a:lnTo>
                <a:lnTo>
                  <a:pt x="311" y="522"/>
                </a:lnTo>
                <a:lnTo>
                  <a:pt x="311" y="522"/>
                </a:lnTo>
                <a:lnTo>
                  <a:pt x="312" y="517"/>
                </a:lnTo>
                <a:lnTo>
                  <a:pt x="313" y="512"/>
                </a:lnTo>
                <a:lnTo>
                  <a:pt x="314" y="512"/>
                </a:lnTo>
                <a:lnTo>
                  <a:pt x="314" y="512"/>
                </a:lnTo>
                <a:lnTo>
                  <a:pt x="321" y="497"/>
                </a:lnTo>
                <a:lnTo>
                  <a:pt x="326" y="483"/>
                </a:lnTo>
                <a:lnTo>
                  <a:pt x="326" y="482"/>
                </a:lnTo>
                <a:lnTo>
                  <a:pt x="326" y="481"/>
                </a:lnTo>
                <a:lnTo>
                  <a:pt x="323" y="481"/>
                </a:lnTo>
                <a:lnTo>
                  <a:pt x="322" y="482"/>
                </a:lnTo>
                <a:lnTo>
                  <a:pt x="319" y="487"/>
                </a:lnTo>
                <a:lnTo>
                  <a:pt x="316" y="491"/>
                </a:lnTo>
                <a:lnTo>
                  <a:pt x="313" y="496"/>
                </a:lnTo>
                <a:lnTo>
                  <a:pt x="312" y="502"/>
                </a:lnTo>
                <a:lnTo>
                  <a:pt x="312" y="502"/>
                </a:lnTo>
                <a:lnTo>
                  <a:pt x="312" y="502"/>
                </a:lnTo>
                <a:lnTo>
                  <a:pt x="311" y="503"/>
                </a:lnTo>
                <a:lnTo>
                  <a:pt x="309" y="503"/>
                </a:lnTo>
                <a:lnTo>
                  <a:pt x="309" y="505"/>
                </a:lnTo>
                <a:lnTo>
                  <a:pt x="309" y="506"/>
                </a:lnTo>
                <a:lnTo>
                  <a:pt x="308" y="509"/>
                </a:lnTo>
                <a:lnTo>
                  <a:pt x="307" y="511"/>
                </a:lnTo>
                <a:lnTo>
                  <a:pt x="306" y="511"/>
                </a:lnTo>
                <a:lnTo>
                  <a:pt x="305" y="511"/>
                </a:lnTo>
                <a:lnTo>
                  <a:pt x="305" y="512"/>
                </a:lnTo>
                <a:lnTo>
                  <a:pt x="305" y="513"/>
                </a:lnTo>
                <a:lnTo>
                  <a:pt x="299" y="523"/>
                </a:lnTo>
                <a:lnTo>
                  <a:pt x="294" y="533"/>
                </a:lnTo>
                <a:lnTo>
                  <a:pt x="292" y="536"/>
                </a:lnTo>
                <a:lnTo>
                  <a:pt x="290" y="540"/>
                </a:lnTo>
                <a:lnTo>
                  <a:pt x="287" y="544"/>
                </a:lnTo>
                <a:lnTo>
                  <a:pt x="286" y="548"/>
                </a:lnTo>
                <a:lnTo>
                  <a:pt x="286" y="548"/>
                </a:lnTo>
                <a:lnTo>
                  <a:pt x="286" y="550"/>
                </a:lnTo>
                <a:lnTo>
                  <a:pt x="283" y="552"/>
                </a:lnTo>
                <a:lnTo>
                  <a:pt x="281" y="557"/>
                </a:lnTo>
                <a:lnTo>
                  <a:pt x="279" y="565"/>
                </a:lnTo>
                <a:lnTo>
                  <a:pt x="277" y="574"/>
                </a:lnTo>
                <a:lnTo>
                  <a:pt x="277" y="583"/>
                </a:lnTo>
                <a:lnTo>
                  <a:pt x="276" y="593"/>
                </a:lnTo>
                <a:lnTo>
                  <a:pt x="276" y="600"/>
                </a:lnTo>
                <a:lnTo>
                  <a:pt x="276" y="608"/>
                </a:lnTo>
                <a:lnTo>
                  <a:pt x="278" y="615"/>
                </a:lnTo>
                <a:lnTo>
                  <a:pt x="283" y="621"/>
                </a:lnTo>
                <a:lnTo>
                  <a:pt x="288" y="627"/>
                </a:lnTo>
                <a:lnTo>
                  <a:pt x="294" y="632"/>
                </a:lnTo>
                <a:lnTo>
                  <a:pt x="301" y="636"/>
                </a:lnTo>
                <a:lnTo>
                  <a:pt x="308" y="641"/>
                </a:lnTo>
                <a:lnTo>
                  <a:pt x="308" y="641"/>
                </a:lnTo>
                <a:lnTo>
                  <a:pt x="308" y="641"/>
                </a:lnTo>
                <a:lnTo>
                  <a:pt x="311" y="642"/>
                </a:lnTo>
                <a:lnTo>
                  <a:pt x="312" y="642"/>
                </a:lnTo>
                <a:lnTo>
                  <a:pt x="312" y="642"/>
                </a:lnTo>
                <a:lnTo>
                  <a:pt x="311" y="641"/>
                </a:lnTo>
                <a:lnTo>
                  <a:pt x="311" y="641"/>
                </a:lnTo>
                <a:lnTo>
                  <a:pt x="311" y="641"/>
                </a:lnTo>
                <a:lnTo>
                  <a:pt x="312" y="642"/>
                </a:lnTo>
                <a:lnTo>
                  <a:pt x="312" y="642"/>
                </a:lnTo>
                <a:lnTo>
                  <a:pt x="312" y="642"/>
                </a:lnTo>
                <a:lnTo>
                  <a:pt x="327" y="647"/>
                </a:lnTo>
                <a:lnTo>
                  <a:pt x="341" y="650"/>
                </a:lnTo>
                <a:lnTo>
                  <a:pt x="356" y="652"/>
                </a:lnTo>
                <a:lnTo>
                  <a:pt x="371" y="655"/>
                </a:lnTo>
                <a:lnTo>
                  <a:pt x="375" y="657"/>
                </a:lnTo>
                <a:lnTo>
                  <a:pt x="378" y="658"/>
                </a:lnTo>
                <a:lnTo>
                  <a:pt x="380" y="658"/>
                </a:lnTo>
                <a:lnTo>
                  <a:pt x="380" y="658"/>
                </a:lnTo>
                <a:lnTo>
                  <a:pt x="380" y="658"/>
                </a:lnTo>
                <a:lnTo>
                  <a:pt x="378" y="658"/>
                </a:lnTo>
                <a:lnTo>
                  <a:pt x="380" y="659"/>
                </a:lnTo>
                <a:lnTo>
                  <a:pt x="381" y="659"/>
                </a:lnTo>
                <a:lnTo>
                  <a:pt x="381" y="659"/>
                </a:lnTo>
                <a:lnTo>
                  <a:pt x="381" y="659"/>
                </a:lnTo>
                <a:lnTo>
                  <a:pt x="384" y="662"/>
                </a:lnTo>
                <a:lnTo>
                  <a:pt x="387" y="663"/>
                </a:lnTo>
                <a:lnTo>
                  <a:pt x="388" y="658"/>
                </a:lnTo>
                <a:lnTo>
                  <a:pt x="389" y="654"/>
                </a:lnTo>
                <a:lnTo>
                  <a:pt x="390" y="649"/>
                </a:lnTo>
                <a:lnTo>
                  <a:pt x="392" y="645"/>
                </a:lnTo>
                <a:lnTo>
                  <a:pt x="397" y="644"/>
                </a:lnTo>
                <a:lnTo>
                  <a:pt x="403" y="645"/>
                </a:lnTo>
                <a:lnTo>
                  <a:pt x="404" y="645"/>
                </a:lnTo>
                <a:lnTo>
                  <a:pt x="405" y="644"/>
                </a:lnTo>
                <a:lnTo>
                  <a:pt x="408" y="642"/>
                </a:lnTo>
                <a:lnTo>
                  <a:pt x="410" y="639"/>
                </a:lnTo>
                <a:lnTo>
                  <a:pt x="412" y="636"/>
                </a:lnTo>
                <a:lnTo>
                  <a:pt x="412" y="632"/>
                </a:lnTo>
                <a:lnTo>
                  <a:pt x="415" y="629"/>
                </a:lnTo>
                <a:lnTo>
                  <a:pt x="416" y="627"/>
                </a:lnTo>
                <a:lnTo>
                  <a:pt x="422" y="618"/>
                </a:lnTo>
                <a:lnTo>
                  <a:pt x="425" y="609"/>
                </a:lnTo>
                <a:lnTo>
                  <a:pt x="429" y="600"/>
                </a:lnTo>
                <a:lnTo>
                  <a:pt x="431" y="590"/>
                </a:lnTo>
                <a:lnTo>
                  <a:pt x="436" y="572"/>
                </a:lnTo>
                <a:lnTo>
                  <a:pt x="440" y="553"/>
                </a:lnTo>
                <a:lnTo>
                  <a:pt x="440" y="552"/>
                </a:lnTo>
                <a:lnTo>
                  <a:pt x="440" y="550"/>
                </a:lnTo>
                <a:lnTo>
                  <a:pt x="442" y="548"/>
                </a:lnTo>
                <a:lnTo>
                  <a:pt x="443" y="548"/>
                </a:lnTo>
                <a:lnTo>
                  <a:pt x="445" y="548"/>
                </a:lnTo>
                <a:lnTo>
                  <a:pt x="445" y="550"/>
                </a:lnTo>
                <a:lnTo>
                  <a:pt x="445" y="552"/>
                </a:lnTo>
                <a:lnTo>
                  <a:pt x="446" y="553"/>
                </a:lnTo>
                <a:lnTo>
                  <a:pt x="446" y="562"/>
                </a:lnTo>
                <a:lnTo>
                  <a:pt x="446" y="572"/>
                </a:lnTo>
                <a:lnTo>
                  <a:pt x="445" y="581"/>
                </a:lnTo>
                <a:lnTo>
                  <a:pt x="443" y="590"/>
                </a:lnTo>
                <a:lnTo>
                  <a:pt x="440" y="600"/>
                </a:lnTo>
                <a:lnTo>
                  <a:pt x="437" y="608"/>
                </a:lnTo>
                <a:lnTo>
                  <a:pt x="433" y="617"/>
                </a:lnTo>
                <a:lnTo>
                  <a:pt x="429" y="625"/>
                </a:lnTo>
                <a:lnTo>
                  <a:pt x="419" y="639"/>
                </a:lnTo>
                <a:lnTo>
                  <a:pt x="412" y="655"/>
                </a:lnTo>
                <a:lnTo>
                  <a:pt x="405" y="663"/>
                </a:lnTo>
                <a:lnTo>
                  <a:pt x="398" y="671"/>
                </a:lnTo>
                <a:lnTo>
                  <a:pt x="398" y="672"/>
                </a:lnTo>
                <a:lnTo>
                  <a:pt x="399" y="675"/>
                </a:lnTo>
                <a:lnTo>
                  <a:pt x="401" y="676"/>
                </a:lnTo>
                <a:lnTo>
                  <a:pt x="403" y="676"/>
                </a:lnTo>
                <a:lnTo>
                  <a:pt x="408" y="673"/>
                </a:lnTo>
                <a:lnTo>
                  <a:pt x="414" y="673"/>
                </a:lnTo>
                <a:lnTo>
                  <a:pt x="414" y="673"/>
                </a:lnTo>
                <a:lnTo>
                  <a:pt x="414" y="673"/>
                </a:lnTo>
                <a:lnTo>
                  <a:pt x="416" y="673"/>
                </a:lnTo>
                <a:lnTo>
                  <a:pt x="417" y="673"/>
                </a:lnTo>
                <a:lnTo>
                  <a:pt x="419" y="673"/>
                </a:lnTo>
                <a:lnTo>
                  <a:pt x="422" y="673"/>
                </a:lnTo>
                <a:lnTo>
                  <a:pt x="422" y="676"/>
                </a:lnTo>
                <a:lnTo>
                  <a:pt x="421" y="678"/>
                </a:lnTo>
                <a:lnTo>
                  <a:pt x="418" y="679"/>
                </a:lnTo>
                <a:lnTo>
                  <a:pt x="416" y="679"/>
                </a:lnTo>
                <a:lnTo>
                  <a:pt x="415" y="679"/>
                </a:lnTo>
                <a:lnTo>
                  <a:pt x="412" y="680"/>
                </a:lnTo>
                <a:lnTo>
                  <a:pt x="412" y="682"/>
                </a:lnTo>
                <a:lnTo>
                  <a:pt x="412" y="683"/>
                </a:lnTo>
                <a:lnTo>
                  <a:pt x="412" y="685"/>
                </a:lnTo>
                <a:lnTo>
                  <a:pt x="416" y="686"/>
                </a:lnTo>
                <a:lnTo>
                  <a:pt x="422" y="687"/>
                </a:lnTo>
                <a:lnTo>
                  <a:pt x="428" y="687"/>
                </a:lnTo>
                <a:lnTo>
                  <a:pt x="433" y="687"/>
                </a:lnTo>
                <a:lnTo>
                  <a:pt x="439" y="685"/>
                </a:lnTo>
                <a:lnTo>
                  <a:pt x="453" y="684"/>
                </a:lnTo>
                <a:lnTo>
                  <a:pt x="467" y="683"/>
                </a:lnTo>
                <a:lnTo>
                  <a:pt x="467" y="683"/>
                </a:lnTo>
                <a:lnTo>
                  <a:pt x="468" y="683"/>
                </a:lnTo>
                <a:lnTo>
                  <a:pt x="470" y="685"/>
                </a:lnTo>
                <a:lnTo>
                  <a:pt x="472" y="685"/>
                </a:lnTo>
                <a:lnTo>
                  <a:pt x="474" y="686"/>
                </a:lnTo>
                <a:lnTo>
                  <a:pt x="477" y="686"/>
                </a:lnTo>
                <a:lnTo>
                  <a:pt x="480" y="684"/>
                </a:lnTo>
                <a:lnTo>
                  <a:pt x="485" y="683"/>
                </a:lnTo>
                <a:lnTo>
                  <a:pt x="486" y="683"/>
                </a:lnTo>
                <a:lnTo>
                  <a:pt x="488" y="683"/>
                </a:lnTo>
                <a:lnTo>
                  <a:pt x="490" y="684"/>
                </a:lnTo>
                <a:lnTo>
                  <a:pt x="490" y="686"/>
                </a:lnTo>
                <a:lnTo>
                  <a:pt x="491" y="689"/>
                </a:lnTo>
                <a:lnTo>
                  <a:pt x="492" y="690"/>
                </a:lnTo>
                <a:lnTo>
                  <a:pt x="493" y="691"/>
                </a:lnTo>
                <a:lnTo>
                  <a:pt x="495" y="691"/>
                </a:lnTo>
                <a:lnTo>
                  <a:pt x="498" y="691"/>
                </a:lnTo>
                <a:lnTo>
                  <a:pt x="500" y="691"/>
                </a:lnTo>
                <a:lnTo>
                  <a:pt x="501" y="691"/>
                </a:lnTo>
                <a:lnTo>
                  <a:pt x="501" y="693"/>
                </a:lnTo>
                <a:lnTo>
                  <a:pt x="501" y="696"/>
                </a:lnTo>
                <a:lnTo>
                  <a:pt x="499" y="697"/>
                </a:lnTo>
                <a:lnTo>
                  <a:pt x="498" y="697"/>
                </a:lnTo>
                <a:lnTo>
                  <a:pt x="495" y="697"/>
                </a:lnTo>
                <a:lnTo>
                  <a:pt x="492" y="697"/>
                </a:lnTo>
                <a:lnTo>
                  <a:pt x="490" y="698"/>
                </a:lnTo>
                <a:lnTo>
                  <a:pt x="490" y="700"/>
                </a:lnTo>
                <a:lnTo>
                  <a:pt x="492" y="703"/>
                </a:lnTo>
                <a:lnTo>
                  <a:pt x="492" y="705"/>
                </a:lnTo>
                <a:lnTo>
                  <a:pt x="492" y="706"/>
                </a:lnTo>
                <a:lnTo>
                  <a:pt x="492" y="708"/>
                </a:lnTo>
                <a:lnTo>
                  <a:pt x="491" y="710"/>
                </a:lnTo>
                <a:lnTo>
                  <a:pt x="486" y="713"/>
                </a:lnTo>
                <a:lnTo>
                  <a:pt x="482" y="718"/>
                </a:lnTo>
                <a:lnTo>
                  <a:pt x="478" y="721"/>
                </a:lnTo>
                <a:lnTo>
                  <a:pt x="473" y="726"/>
                </a:lnTo>
                <a:lnTo>
                  <a:pt x="471" y="727"/>
                </a:lnTo>
                <a:lnTo>
                  <a:pt x="468" y="728"/>
                </a:lnTo>
                <a:lnTo>
                  <a:pt x="465" y="728"/>
                </a:lnTo>
                <a:lnTo>
                  <a:pt x="461" y="728"/>
                </a:lnTo>
                <a:lnTo>
                  <a:pt x="460" y="728"/>
                </a:lnTo>
                <a:lnTo>
                  <a:pt x="458" y="731"/>
                </a:lnTo>
                <a:lnTo>
                  <a:pt x="458" y="732"/>
                </a:lnTo>
                <a:lnTo>
                  <a:pt x="460" y="733"/>
                </a:lnTo>
                <a:lnTo>
                  <a:pt x="460" y="734"/>
                </a:lnTo>
                <a:lnTo>
                  <a:pt x="461" y="735"/>
                </a:lnTo>
                <a:lnTo>
                  <a:pt x="463" y="736"/>
                </a:lnTo>
                <a:lnTo>
                  <a:pt x="464" y="738"/>
                </a:lnTo>
                <a:lnTo>
                  <a:pt x="465" y="739"/>
                </a:lnTo>
                <a:lnTo>
                  <a:pt x="464" y="740"/>
                </a:lnTo>
                <a:lnTo>
                  <a:pt x="461" y="740"/>
                </a:lnTo>
                <a:lnTo>
                  <a:pt x="459" y="739"/>
                </a:lnTo>
                <a:lnTo>
                  <a:pt x="454" y="736"/>
                </a:lnTo>
                <a:lnTo>
                  <a:pt x="450" y="734"/>
                </a:lnTo>
                <a:lnTo>
                  <a:pt x="451" y="739"/>
                </a:lnTo>
                <a:lnTo>
                  <a:pt x="453" y="743"/>
                </a:lnTo>
                <a:lnTo>
                  <a:pt x="456" y="748"/>
                </a:lnTo>
                <a:lnTo>
                  <a:pt x="458" y="752"/>
                </a:lnTo>
                <a:lnTo>
                  <a:pt x="465" y="757"/>
                </a:lnTo>
                <a:lnTo>
                  <a:pt x="473" y="762"/>
                </a:lnTo>
                <a:lnTo>
                  <a:pt x="486" y="769"/>
                </a:lnTo>
                <a:lnTo>
                  <a:pt x="498" y="776"/>
                </a:lnTo>
                <a:lnTo>
                  <a:pt x="509" y="783"/>
                </a:lnTo>
                <a:lnTo>
                  <a:pt x="521" y="790"/>
                </a:lnTo>
                <a:lnTo>
                  <a:pt x="532" y="796"/>
                </a:lnTo>
                <a:lnTo>
                  <a:pt x="541" y="803"/>
                </a:lnTo>
                <a:lnTo>
                  <a:pt x="550" y="809"/>
                </a:lnTo>
                <a:lnTo>
                  <a:pt x="561" y="813"/>
                </a:lnTo>
                <a:lnTo>
                  <a:pt x="564" y="815"/>
                </a:lnTo>
                <a:lnTo>
                  <a:pt x="568" y="816"/>
                </a:lnTo>
                <a:lnTo>
                  <a:pt x="571" y="818"/>
                </a:lnTo>
                <a:lnTo>
                  <a:pt x="575" y="822"/>
                </a:lnTo>
                <a:lnTo>
                  <a:pt x="571" y="822"/>
                </a:lnTo>
                <a:lnTo>
                  <a:pt x="569" y="822"/>
                </a:lnTo>
                <a:lnTo>
                  <a:pt x="563" y="820"/>
                </a:lnTo>
                <a:lnTo>
                  <a:pt x="559" y="819"/>
                </a:lnTo>
                <a:lnTo>
                  <a:pt x="554" y="817"/>
                </a:lnTo>
                <a:lnTo>
                  <a:pt x="549" y="813"/>
                </a:lnTo>
                <a:lnTo>
                  <a:pt x="540" y="809"/>
                </a:lnTo>
                <a:lnTo>
                  <a:pt x="530" y="804"/>
                </a:lnTo>
                <a:lnTo>
                  <a:pt x="521" y="799"/>
                </a:lnTo>
                <a:lnTo>
                  <a:pt x="513" y="794"/>
                </a:lnTo>
                <a:lnTo>
                  <a:pt x="502" y="787"/>
                </a:lnTo>
                <a:lnTo>
                  <a:pt x="493" y="780"/>
                </a:lnTo>
                <a:lnTo>
                  <a:pt x="482" y="773"/>
                </a:lnTo>
                <a:lnTo>
                  <a:pt x="472" y="767"/>
                </a:lnTo>
                <a:lnTo>
                  <a:pt x="459" y="760"/>
                </a:lnTo>
                <a:lnTo>
                  <a:pt x="446" y="752"/>
                </a:lnTo>
                <a:lnTo>
                  <a:pt x="445" y="750"/>
                </a:lnTo>
                <a:lnTo>
                  <a:pt x="443" y="750"/>
                </a:lnTo>
                <a:lnTo>
                  <a:pt x="442" y="752"/>
                </a:lnTo>
                <a:lnTo>
                  <a:pt x="442" y="754"/>
                </a:lnTo>
                <a:lnTo>
                  <a:pt x="442" y="768"/>
                </a:lnTo>
                <a:lnTo>
                  <a:pt x="444" y="782"/>
                </a:lnTo>
                <a:lnTo>
                  <a:pt x="445" y="787"/>
                </a:lnTo>
                <a:lnTo>
                  <a:pt x="446" y="790"/>
                </a:lnTo>
                <a:lnTo>
                  <a:pt x="449" y="795"/>
                </a:lnTo>
                <a:lnTo>
                  <a:pt x="452" y="797"/>
                </a:lnTo>
                <a:lnTo>
                  <a:pt x="456" y="799"/>
                </a:lnTo>
                <a:lnTo>
                  <a:pt x="459" y="801"/>
                </a:lnTo>
                <a:lnTo>
                  <a:pt x="461" y="804"/>
                </a:lnTo>
                <a:lnTo>
                  <a:pt x="463" y="803"/>
                </a:lnTo>
                <a:lnTo>
                  <a:pt x="464" y="802"/>
                </a:lnTo>
                <a:lnTo>
                  <a:pt x="464" y="798"/>
                </a:lnTo>
                <a:lnTo>
                  <a:pt x="464" y="797"/>
                </a:lnTo>
                <a:lnTo>
                  <a:pt x="465" y="795"/>
                </a:lnTo>
                <a:lnTo>
                  <a:pt x="466" y="794"/>
                </a:lnTo>
                <a:lnTo>
                  <a:pt x="468" y="794"/>
                </a:lnTo>
                <a:lnTo>
                  <a:pt x="478" y="796"/>
                </a:lnTo>
                <a:lnTo>
                  <a:pt x="486" y="798"/>
                </a:lnTo>
                <a:lnTo>
                  <a:pt x="500" y="804"/>
                </a:lnTo>
                <a:lnTo>
                  <a:pt x="515" y="809"/>
                </a:lnTo>
                <a:lnTo>
                  <a:pt x="530" y="816"/>
                </a:lnTo>
                <a:lnTo>
                  <a:pt x="544" y="823"/>
                </a:lnTo>
                <a:lnTo>
                  <a:pt x="549" y="827"/>
                </a:lnTo>
                <a:lnTo>
                  <a:pt x="553" y="832"/>
                </a:lnTo>
                <a:lnTo>
                  <a:pt x="553" y="833"/>
                </a:lnTo>
                <a:lnTo>
                  <a:pt x="553" y="834"/>
                </a:lnTo>
                <a:lnTo>
                  <a:pt x="551" y="834"/>
                </a:lnTo>
                <a:lnTo>
                  <a:pt x="550" y="834"/>
                </a:lnTo>
                <a:lnTo>
                  <a:pt x="549" y="834"/>
                </a:lnTo>
                <a:lnTo>
                  <a:pt x="547" y="836"/>
                </a:lnTo>
                <a:lnTo>
                  <a:pt x="547" y="837"/>
                </a:lnTo>
                <a:lnTo>
                  <a:pt x="547" y="837"/>
                </a:lnTo>
                <a:lnTo>
                  <a:pt x="547" y="841"/>
                </a:lnTo>
                <a:lnTo>
                  <a:pt x="544" y="845"/>
                </a:lnTo>
                <a:lnTo>
                  <a:pt x="543" y="847"/>
                </a:lnTo>
                <a:lnTo>
                  <a:pt x="541" y="850"/>
                </a:lnTo>
                <a:lnTo>
                  <a:pt x="535" y="855"/>
                </a:lnTo>
                <a:lnTo>
                  <a:pt x="530" y="861"/>
                </a:lnTo>
                <a:lnTo>
                  <a:pt x="529" y="865"/>
                </a:lnTo>
                <a:lnTo>
                  <a:pt x="529" y="868"/>
                </a:lnTo>
                <a:lnTo>
                  <a:pt x="530" y="871"/>
                </a:lnTo>
                <a:lnTo>
                  <a:pt x="530" y="873"/>
                </a:lnTo>
                <a:lnTo>
                  <a:pt x="528" y="873"/>
                </a:lnTo>
                <a:lnTo>
                  <a:pt x="526" y="872"/>
                </a:lnTo>
                <a:lnTo>
                  <a:pt x="522" y="869"/>
                </a:lnTo>
                <a:lnTo>
                  <a:pt x="520" y="869"/>
                </a:lnTo>
                <a:lnTo>
                  <a:pt x="519" y="872"/>
                </a:lnTo>
                <a:lnTo>
                  <a:pt x="518" y="874"/>
                </a:lnTo>
                <a:lnTo>
                  <a:pt x="516" y="878"/>
                </a:lnTo>
                <a:lnTo>
                  <a:pt x="514" y="880"/>
                </a:lnTo>
                <a:lnTo>
                  <a:pt x="513" y="881"/>
                </a:lnTo>
                <a:lnTo>
                  <a:pt x="512" y="882"/>
                </a:lnTo>
                <a:lnTo>
                  <a:pt x="509" y="882"/>
                </a:lnTo>
                <a:lnTo>
                  <a:pt x="507" y="881"/>
                </a:lnTo>
                <a:lnTo>
                  <a:pt x="506" y="881"/>
                </a:lnTo>
                <a:lnTo>
                  <a:pt x="504" y="882"/>
                </a:lnTo>
                <a:lnTo>
                  <a:pt x="505" y="883"/>
                </a:lnTo>
                <a:lnTo>
                  <a:pt x="506" y="885"/>
                </a:lnTo>
                <a:lnTo>
                  <a:pt x="514" y="890"/>
                </a:lnTo>
                <a:lnTo>
                  <a:pt x="523" y="894"/>
                </a:lnTo>
                <a:lnTo>
                  <a:pt x="533" y="897"/>
                </a:lnTo>
                <a:lnTo>
                  <a:pt x="542" y="899"/>
                </a:lnTo>
                <a:lnTo>
                  <a:pt x="542" y="899"/>
                </a:lnTo>
                <a:lnTo>
                  <a:pt x="548" y="899"/>
                </a:lnTo>
                <a:lnTo>
                  <a:pt x="553" y="901"/>
                </a:lnTo>
                <a:lnTo>
                  <a:pt x="554" y="902"/>
                </a:lnTo>
                <a:lnTo>
                  <a:pt x="555" y="903"/>
                </a:lnTo>
                <a:lnTo>
                  <a:pt x="557" y="903"/>
                </a:lnTo>
                <a:lnTo>
                  <a:pt x="559" y="903"/>
                </a:lnTo>
                <a:lnTo>
                  <a:pt x="570" y="906"/>
                </a:lnTo>
                <a:lnTo>
                  <a:pt x="583" y="908"/>
                </a:lnTo>
                <a:lnTo>
                  <a:pt x="584" y="910"/>
                </a:lnTo>
                <a:lnTo>
                  <a:pt x="587" y="911"/>
                </a:lnTo>
                <a:lnTo>
                  <a:pt x="588" y="911"/>
                </a:lnTo>
                <a:lnTo>
                  <a:pt x="589" y="913"/>
                </a:lnTo>
                <a:lnTo>
                  <a:pt x="589" y="914"/>
                </a:lnTo>
                <a:lnTo>
                  <a:pt x="588" y="915"/>
                </a:lnTo>
                <a:lnTo>
                  <a:pt x="585" y="918"/>
                </a:lnTo>
                <a:lnTo>
                  <a:pt x="585" y="920"/>
                </a:lnTo>
                <a:lnTo>
                  <a:pt x="588" y="921"/>
                </a:lnTo>
                <a:lnTo>
                  <a:pt x="590" y="922"/>
                </a:lnTo>
                <a:lnTo>
                  <a:pt x="594" y="923"/>
                </a:lnTo>
                <a:lnTo>
                  <a:pt x="596" y="924"/>
                </a:lnTo>
                <a:lnTo>
                  <a:pt x="596" y="927"/>
                </a:lnTo>
                <a:lnTo>
                  <a:pt x="594" y="927"/>
                </a:lnTo>
                <a:lnTo>
                  <a:pt x="589" y="927"/>
                </a:lnTo>
                <a:lnTo>
                  <a:pt x="584" y="925"/>
                </a:lnTo>
                <a:lnTo>
                  <a:pt x="581" y="923"/>
                </a:lnTo>
                <a:lnTo>
                  <a:pt x="576" y="922"/>
                </a:lnTo>
                <a:lnTo>
                  <a:pt x="573" y="922"/>
                </a:lnTo>
                <a:lnTo>
                  <a:pt x="568" y="922"/>
                </a:lnTo>
                <a:lnTo>
                  <a:pt x="555" y="920"/>
                </a:lnTo>
                <a:lnTo>
                  <a:pt x="543" y="916"/>
                </a:lnTo>
                <a:lnTo>
                  <a:pt x="530" y="913"/>
                </a:lnTo>
                <a:lnTo>
                  <a:pt x="519" y="908"/>
                </a:lnTo>
                <a:lnTo>
                  <a:pt x="507" y="903"/>
                </a:lnTo>
                <a:lnTo>
                  <a:pt x="495" y="899"/>
                </a:lnTo>
                <a:lnTo>
                  <a:pt x="495" y="899"/>
                </a:lnTo>
                <a:lnTo>
                  <a:pt x="494" y="895"/>
                </a:lnTo>
                <a:lnTo>
                  <a:pt x="491" y="893"/>
                </a:lnTo>
                <a:lnTo>
                  <a:pt x="486" y="888"/>
                </a:lnTo>
                <a:lnTo>
                  <a:pt x="481" y="883"/>
                </a:lnTo>
                <a:lnTo>
                  <a:pt x="466" y="868"/>
                </a:lnTo>
                <a:lnTo>
                  <a:pt x="453" y="852"/>
                </a:lnTo>
                <a:lnTo>
                  <a:pt x="451" y="850"/>
                </a:lnTo>
                <a:lnTo>
                  <a:pt x="450" y="850"/>
                </a:lnTo>
                <a:lnTo>
                  <a:pt x="447" y="852"/>
                </a:lnTo>
                <a:lnTo>
                  <a:pt x="447" y="854"/>
                </a:lnTo>
                <a:lnTo>
                  <a:pt x="449" y="858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lnTo>
                  <a:pt x="445" y="857"/>
                </a:lnTo>
                <a:lnTo>
                  <a:pt x="439" y="851"/>
                </a:lnTo>
                <a:lnTo>
                  <a:pt x="447" y="873"/>
                </a:lnTo>
                <a:lnTo>
                  <a:pt x="457" y="894"/>
                </a:lnTo>
                <a:lnTo>
                  <a:pt x="465" y="915"/>
                </a:lnTo>
                <a:lnTo>
                  <a:pt x="474" y="936"/>
                </a:lnTo>
                <a:lnTo>
                  <a:pt x="475" y="938"/>
                </a:lnTo>
                <a:lnTo>
                  <a:pt x="477" y="942"/>
                </a:lnTo>
                <a:lnTo>
                  <a:pt x="478" y="944"/>
                </a:lnTo>
                <a:lnTo>
                  <a:pt x="480" y="945"/>
                </a:lnTo>
                <a:lnTo>
                  <a:pt x="480" y="946"/>
                </a:lnTo>
                <a:lnTo>
                  <a:pt x="480" y="949"/>
                </a:lnTo>
                <a:lnTo>
                  <a:pt x="481" y="949"/>
                </a:lnTo>
                <a:lnTo>
                  <a:pt x="481" y="949"/>
                </a:lnTo>
                <a:lnTo>
                  <a:pt x="481" y="949"/>
                </a:lnTo>
                <a:lnTo>
                  <a:pt x="480" y="949"/>
                </a:lnTo>
                <a:lnTo>
                  <a:pt x="481" y="951"/>
                </a:lnTo>
                <a:lnTo>
                  <a:pt x="481" y="953"/>
                </a:lnTo>
                <a:lnTo>
                  <a:pt x="482" y="956"/>
                </a:lnTo>
                <a:lnTo>
                  <a:pt x="485" y="957"/>
                </a:lnTo>
                <a:lnTo>
                  <a:pt x="485" y="959"/>
                </a:lnTo>
                <a:lnTo>
                  <a:pt x="486" y="960"/>
                </a:lnTo>
                <a:lnTo>
                  <a:pt x="487" y="965"/>
                </a:lnTo>
                <a:lnTo>
                  <a:pt x="488" y="969"/>
                </a:lnTo>
                <a:lnTo>
                  <a:pt x="491" y="972"/>
                </a:lnTo>
                <a:lnTo>
                  <a:pt x="494" y="976"/>
                </a:lnTo>
                <a:lnTo>
                  <a:pt x="494" y="977"/>
                </a:lnTo>
                <a:lnTo>
                  <a:pt x="494" y="978"/>
                </a:lnTo>
                <a:lnTo>
                  <a:pt x="495" y="984"/>
                </a:lnTo>
                <a:lnTo>
                  <a:pt x="498" y="990"/>
                </a:lnTo>
                <a:lnTo>
                  <a:pt x="504" y="1002"/>
                </a:lnTo>
                <a:lnTo>
                  <a:pt x="511" y="1015"/>
                </a:lnTo>
                <a:lnTo>
                  <a:pt x="516" y="1028"/>
                </a:lnTo>
                <a:lnTo>
                  <a:pt x="522" y="1041"/>
                </a:lnTo>
                <a:lnTo>
                  <a:pt x="528" y="1054"/>
                </a:lnTo>
                <a:lnTo>
                  <a:pt x="533" y="1065"/>
                </a:lnTo>
                <a:lnTo>
                  <a:pt x="540" y="1077"/>
                </a:lnTo>
                <a:lnTo>
                  <a:pt x="546" y="1089"/>
                </a:lnTo>
                <a:lnTo>
                  <a:pt x="553" y="1105"/>
                </a:lnTo>
                <a:lnTo>
                  <a:pt x="561" y="1121"/>
                </a:lnTo>
                <a:lnTo>
                  <a:pt x="570" y="1139"/>
                </a:lnTo>
                <a:lnTo>
                  <a:pt x="580" y="1156"/>
                </a:lnTo>
                <a:lnTo>
                  <a:pt x="575" y="1154"/>
                </a:lnTo>
                <a:lnTo>
                  <a:pt x="571" y="1149"/>
                </a:lnTo>
                <a:lnTo>
                  <a:pt x="569" y="1146"/>
                </a:lnTo>
                <a:lnTo>
                  <a:pt x="566" y="1142"/>
                </a:lnTo>
                <a:lnTo>
                  <a:pt x="562" y="1138"/>
                </a:lnTo>
                <a:lnTo>
                  <a:pt x="560" y="1133"/>
                </a:lnTo>
                <a:lnTo>
                  <a:pt x="557" y="1130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53" y="1126"/>
                </a:lnTo>
                <a:lnTo>
                  <a:pt x="561" y="1142"/>
                </a:lnTo>
                <a:lnTo>
                  <a:pt x="570" y="1159"/>
                </a:lnTo>
                <a:lnTo>
                  <a:pt x="571" y="1162"/>
                </a:lnTo>
                <a:lnTo>
                  <a:pt x="571" y="1163"/>
                </a:lnTo>
                <a:lnTo>
                  <a:pt x="571" y="1166"/>
                </a:lnTo>
                <a:lnTo>
                  <a:pt x="569" y="1167"/>
                </a:lnTo>
                <a:lnTo>
                  <a:pt x="568" y="1168"/>
                </a:lnTo>
                <a:lnTo>
                  <a:pt x="567" y="1169"/>
                </a:lnTo>
                <a:lnTo>
                  <a:pt x="566" y="1172"/>
                </a:lnTo>
                <a:lnTo>
                  <a:pt x="567" y="1175"/>
                </a:lnTo>
                <a:lnTo>
                  <a:pt x="567" y="1176"/>
                </a:lnTo>
                <a:lnTo>
                  <a:pt x="567" y="1177"/>
                </a:lnTo>
                <a:lnTo>
                  <a:pt x="566" y="1179"/>
                </a:lnTo>
                <a:lnTo>
                  <a:pt x="564" y="1180"/>
                </a:lnTo>
                <a:lnTo>
                  <a:pt x="561" y="1181"/>
                </a:lnTo>
                <a:lnTo>
                  <a:pt x="559" y="1182"/>
                </a:lnTo>
                <a:lnTo>
                  <a:pt x="556" y="1183"/>
                </a:lnTo>
                <a:lnTo>
                  <a:pt x="555" y="1183"/>
                </a:lnTo>
                <a:lnTo>
                  <a:pt x="553" y="1183"/>
                </a:lnTo>
                <a:lnTo>
                  <a:pt x="551" y="1181"/>
                </a:lnTo>
                <a:lnTo>
                  <a:pt x="549" y="1176"/>
                </a:lnTo>
                <a:lnTo>
                  <a:pt x="547" y="1172"/>
                </a:lnTo>
                <a:lnTo>
                  <a:pt x="544" y="1167"/>
                </a:lnTo>
                <a:lnTo>
                  <a:pt x="543" y="1161"/>
                </a:lnTo>
                <a:lnTo>
                  <a:pt x="543" y="1156"/>
                </a:lnTo>
                <a:lnTo>
                  <a:pt x="541" y="1153"/>
                </a:lnTo>
                <a:lnTo>
                  <a:pt x="536" y="1148"/>
                </a:lnTo>
                <a:lnTo>
                  <a:pt x="534" y="1144"/>
                </a:lnTo>
                <a:lnTo>
                  <a:pt x="532" y="1137"/>
                </a:lnTo>
                <a:lnTo>
                  <a:pt x="529" y="1131"/>
                </a:lnTo>
                <a:lnTo>
                  <a:pt x="529" y="1130"/>
                </a:lnTo>
                <a:lnTo>
                  <a:pt x="528" y="1127"/>
                </a:lnTo>
                <a:lnTo>
                  <a:pt x="527" y="1126"/>
                </a:lnTo>
                <a:lnTo>
                  <a:pt x="526" y="1126"/>
                </a:lnTo>
                <a:lnTo>
                  <a:pt x="526" y="1126"/>
                </a:lnTo>
                <a:lnTo>
                  <a:pt x="525" y="1124"/>
                </a:lnTo>
                <a:lnTo>
                  <a:pt x="525" y="1121"/>
                </a:lnTo>
                <a:lnTo>
                  <a:pt x="526" y="1117"/>
                </a:lnTo>
                <a:lnTo>
                  <a:pt x="526" y="1113"/>
                </a:lnTo>
                <a:lnTo>
                  <a:pt x="525" y="1110"/>
                </a:lnTo>
                <a:lnTo>
                  <a:pt x="521" y="1106"/>
                </a:lnTo>
                <a:lnTo>
                  <a:pt x="521" y="1109"/>
                </a:lnTo>
                <a:lnTo>
                  <a:pt x="521" y="1111"/>
                </a:lnTo>
                <a:lnTo>
                  <a:pt x="521" y="1111"/>
                </a:lnTo>
                <a:lnTo>
                  <a:pt x="521" y="1109"/>
                </a:lnTo>
                <a:lnTo>
                  <a:pt x="521" y="1106"/>
                </a:lnTo>
                <a:lnTo>
                  <a:pt x="521" y="1105"/>
                </a:lnTo>
                <a:lnTo>
                  <a:pt x="521" y="1104"/>
                </a:lnTo>
                <a:lnTo>
                  <a:pt x="522" y="1102"/>
                </a:lnTo>
                <a:lnTo>
                  <a:pt x="522" y="1100"/>
                </a:lnTo>
                <a:lnTo>
                  <a:pt x="520" y="1090"/>
                </a:lnTo>
                <a:lnTo>
                  <a:pt x="518" y="1079"/>
                </a:lnTo>
                <a:lnTo>
                  <a:pt x="515" y="1070"/>
                </a:lnTo>
                <a:lnTo>
                  <a:pt x="511" y="1060"/>
                </a:lnTo>
                <a:lnTo>
                  <a:pt x="509" y="1057"/>
                </a:lnTo>
                <a:lnTo>
                  <a:pt x="507" y="1054"/>
                </a:lnTo>
                <a:lnTo>
                  <a:pt x="507" y="1053"/>
                </a:lnTo>
                <a:lnTo>
                  <a:pt x="507" y="1051"/>
                </a:lnTo>
                <a:lnTo>
                  <a:pt x="509" y="1050"/>
                </a:lnTo>
                <a:lnTo>
                  <a:pt x="513" y="1050"/>
                </a:lnTo>
                <a:lnTo>
                  <a:pt x="513" y="1049"/>
                </a:lnTo>
                <a:lnTo>
                  <a:pt x="513" y="1048"/>
                </a:lnTo>
                <a:lnTo>
                  <a:pt x="512" y="1043"/>
                </a:lnTo>
                <a:lnTo>
                  <a:pt x="511" y="1040"/>
                </a:lnTo>
                <a:lnTo>
                  <a:pt x="506" y="1027"/>
                </a:lnTo>
                <a:lnTo>
                  <a:pt x="499" y="1013"/>
                </a:lnTo>
                <a:lnTo>
                  <a:pt x="495" y="1007"/>
                </a:lnTo>
                <a:lnTo>
                  <a:pt x="492" y="1001"/>
                </a:lnTo>
                <a:lnTo>
                  <a:pt x="491" y="998"/>
                </a:lnTo>
                <a:lnTo>
                  <a:pt x="487" y="995"/>
                </a:lnTo>
                <a:lnTo>
                  <a:pt x="485" y="993"/>
                </a:lnTo>
                <a:lnTo>
                  <a:pt x="480" y="992"/>
                </a:lnTo>
                <a:lnTo>
                  <a:pt x="479" y="990"/>
                </a:lnTo>
                <a:lnTo>
                  <a:pt x="479" y="986"/>
                </a:lnTo>
                <a:lnTo>
                  <a:pt x="479" y="985"/>
                </a:lnTo>
                <a:lnTo>
                  <a:pt x="479" y="983"/>
                </a:lnTo>
                <a:lnTo>
                  <a:pt x="478" y="983"/>
                </a:lnTo>
                <a:lnTo>
                  <a:pt x="475" y="981"/>
                </a:lnTo>
                <a:lnTo>
                  <a:pt x="473" y="976"/>
                </a:lnTo>
                <a:lnTo>
                  <a:pt x="471" y="970"/>
                </a:lnTo>
                <a:lnTo>
                  <a:pt x="471" y="967"/>
                </a:lnTo>
                <a:lnTo>
                  <a:pt x="468" y="966"/>
                </a:lnTo>
                <a:lnTo>
                  <a:pt x="468" y="965"/>
                </a:lnTo>
                <a:lnTo>
                  <a:pt x="468" y="964"/>
                </a:lnTo>
                <a:lnTo>
                  <a:pt x="466" y="957"/>
                </a:lnTo>
                <a:lnTo>
                  <a:pt x="465" y="949"/>
                </a:lnTo>
                <a:lnTo>
                  <a:pt x="463" y="946"/>
                </a:lnTo>
                <a:lnTo>
                  <a:pt x="461" y="946"/>
                </a:lnTo>
                <a:lnTo>
                  <a:pt x="460" y="946"/>
                </a:lnTo>
                <a:lnTo>
                  <a:pt x="458" y="949"/>
                </a:lnTo>
                <a:lnTo>
                  <a:pt x="457" y="952"/>
                </a:lnTo>
                <a:lnTo>
                  <a:pt x="457" y="957"/>
                </a:lnTo>
                <a:lnTo>
                  <a:pt x="459" y="963"/>
                </a:lnTo>
                <a:lnTo>
                  <a:pt x="463" y="966"/>
                </a:lnTo>
                <a:lnTo>
                  <a:pt x="463" y="970"/>
                </a:lnTo>
                <a:lnTo>
                  <a:pt x="463" y="972"/>
                </a:lnTo>
                <a:lnTo>
                  <a:pt x="463" y="974"/>
                </a:lnTo>
                <a:lnTo>
                  <a:pt x="464" y="977"/>
                </a:lnTo>
                <a:lnTo>
                  <a:pt x="465" y="979"/>
                </a:lnTo>
                <a:lnTo>
                  <a:pt x="467" y="980"/>
                </a:lnTo>
                <a:lnTo>
                  <a:pt x="467" y="984"/>
                </a:lnTo>
                <a:lnTo>
                  <a:pt x="467" y="986"/>
                </a:lnTo>
                <a:lnTo>
                  <a:pt x="467" y="988"/>
                </a:lnTo>
                <a:lnTo>
                  <a:pt x="467" y="991"/>
                </a:lnTo>
                <a:lnTo>
                  <a:pt x="468" y="993"/>
                </a:lnTo>
                <a:lnTo>
                  <a:pt x="471" y="994"/>
                </a:lnTo>
                <a:lnTo>
                  <a:pt x="475" y="1009"/>
                </a:lnTo>
                <a:lnTo>
                  <a:pt x="480" y="1025"/>
                </a:lnTo>
                <a:lnTo>
                  <a:pt x="486" y="1040"/>
                </a:lnTo>
                <a:lnTo>
                  <a:pt x="492" y="1056"/>
                </a:lnTo>
                <a:lnTo>
                  <a:pt x="494" y="1067"/>
                </a:lnTo>
                <a:lnTo>
                  <a:pt x="498" y="1076"/>
                </a:lnTo>
                <a:lnTo>
                  <a:pt x="500" y="1086"/>
                </a:lnTo>
                <a:lnTo>
                  <a:pt x="504" y="1097"/>
                </a:lnTo>
                <a:lnTo>
                  <a:pt x="507" y="1109"/>
                </a:lnTo>
                <a:lnTo>
                  <a:pt x="512" y="1120"/>
                </a:lnTo>
                <a:lnTo>
                  <a:pt x="512" y="1117"/>
                </a:lnTo>
                <a:lnTo>
                  <a:pt x="513" y="1112"/>
                </a:lnTo>
                <a:lnTo>
                  <a:pt x="512" y="1117"/>
                </a:lnTo>
                <a:lnTo>
                  <a:pt x="512" y="1120"/>
                </a:lnTo>
                <a:lnTo>
                  <a:pt x="512" y="1121"/>
                </a:lnTo>
                <a:lnTo>
                  <a:pt x="513" y="1123"/>
                </a:lnTo>
                <a:lnTo>
                  <a:pt x="513" y="1126"/>
                </a:lnTo>
                <a:lnTo>
                  <a:pt x="513" y="1128"/>
                </a:lnTo>
                <a:lnTo>
                  <a:pt x="514" y="1132"/>
                </a:lnTo>
                <a:lnTo>
                  <a:pt x="516" y="1134"/>
                </a:lnTo>
                <a:lnTo>
                  <a:pt x="516" y="1138"/>
                </a:lnTo>
                <a:lnTo>
                  <a:pt x="518" y="1141"/>
                </a:lnTo>
                <a:lnTo>
                  <a:pt x="518" y="1142"/>
                </a:lnTo>
                <a:lnTo>
                  <a:pt x="518" y="1145"/>
                </a:lnTo>
                <a:lnTo>
                  <a:pt x="519" y="1146"/>
                </a:lnTo>
                <a:lnTo>
                  <a:pt x="521" y="1147"/>
                </a:lnTo>
                <a:lnTo>
                  <a:pt x="522" y="1153"/>
                </a:lnTo>
                <a:lnTo>
                  <a:pt x="523" y="1158"/>
                </a:lnTo>
                <a:lnTo>
                  <a:pt x="528" y="1168"/>
                </a:lnTo>
                <a:lnTo>
                  <a:pt x="530" y="1179"/>
                </a:lnTo>
                <a:lnTo>
                  <a:pt x="530" y="1181"/>
                </a:lnTo>
                <a:lnTo>
                  <a:pt x="532" y="1183"/>
                </a:lnTo>
                <a:lnTo>
                  <a:pt x="533" y="1186"/>
                </a:lnTo>
                <a:lnTo>
                  <a:pt x="535" y="1188"/>
                </a:lnTo>
                <a:lnTo>
                  <a:pt x="535" y="1188"/>
                </a:lnTo>
                <a:lnTo>
                  <a:pt x="535" y="1189"/>
                </a:lnTo>
                <a:lnTo>
                  <a:pt x="535" y="1191"/>
                </a:lnTo>
                <a:lnTo>
                  <a:pt x="536" y="1194"/>
                </a:lnTo>
                <a:lnTo>
                  <a:pt x="537" y="1195"/>
                </a:lnTo>
                <a:lnTo>
                  <a:pt x="540" y="1197"/>
                </a:lnTo>
                <a:lnTo>
                  <a:pt x="540" y="1197"/>
                </a:lnTo>
                <a:lnTo>
                  <a:pt x="540" y="1198"/>
                </a:lnTo>
                <a:lnTo>
                  <a:pt x="541" y="1203"/>
                </a:lnTo>
                <a:lnTo>
                  <a:pt x="541" y="1210"/>
                </a:lnTo>
                <a:lnTo>
                  <a:pt x="539" y="1207"/>
                </a:lnTo>
                <a:lnTo>
                  <a:pt x="536" y="1205"/>
                </a:lnTo>
                <a:lnTo>
                  <a:pt x="535" y="1207"/>
                </a:lnTo>
                <a:lnTo>
                  <a:pt x="535" y="1208"/>
                </a:lnTo>
                <a:lnTo>
                  <a:pt x="536" y="1210"/>
                </a:lnTo>
                <a:lnTo>
                  <a:pt x="536" y="1211"/>
                </a:lnTo>
                <a:lnTo>
                  <a:pt x="539" y="1217"/>
                </a:lnTo>
                <a:lnTo>
                  <a:pt x="540" y="1224"/>
                </a:lnTo>
                <a:lnTo>
                  <a:pt x="541" y="1235"/>
                </a:lnTo>
                <a:lnTo>
                  <a:pt x="544" y="1244"/>
                </a:lnTo>
                <a:lnTo>
                  <a:pt x="547" y="1247"/>
                </a:lnTo>
                <a:lnTo>
                  <a:pt x="550" y="1252"/>
                </a:lnTo>
                <a:lnTo>
                  <a:pt x="554" y="1254"/>
                </a:lnTo>
                <a:lnTo>
                  <a:pt x="559" y="1258"/>
                </a:lnTo>
                <a:lnTo>
                  <a:pt x="560" y="1259"/>
                </a:lnTo>
                <a:lnTo>
                  <a:pt x="561" y="1260"/>
                </a:lnTo>
                <a:lnTo>
                  <a:pt x="563" y="1263"/>
                </a:lnTo>
                <a:lnTo>
                  <a:pt x="567" y="1265"/>
                </a:lnTo>
                <a:lnTo>
                  <a:pt x="570" y="1267"/>
                </a:lnTo>
                <a:lnTo>
                  <a:pt x="574" y="1268"/>
                </a:lnTo>
                <a:lnTo>
                  <a:pt x="581" y="1270"/>
                </a:lnTo>
                <a:lnTo>
                  <a:pt x="589" y="1271"/>
                </a:lnTo>
                <a:lnTo>
                  <a:pt x="591" y="1271"/>
                </a:lnTo>
                <a:lnTo>
                  <a:pt x="594" y="1271"/>
                </a:lnTo>
                <a:lnTo>
                  <a:pt x="596" y="1271"/>
                </a:lnTo>
                <a:lnTo>
                  <a:pt x="597" y="1268"/>
                </a:lnTo>
                <a:lnTo>
                  <a:pt x="597" y="1266"/>
                </a:lnTo>
                <a:lnTo>
                  <a:pt x="596" y="1264"/>
                </a:lnTo>
                <a:lnTo>
                  <a:pt x="595" y="1261"/>
                </a:lnTo>
                <a:lnTo>
                  <a:pt x="591" y="1260"/>
                </a:lnTo>
                <a:lnTo>
                  <a:pt x="590" y="1257"/>
                </a:lnTo>
                <a:lnTo>
                  <a:pt x="589" y="1254"/>
                </a:lnTo>
                <a:lnTo>
                  <a:pt x="588" y="1251"/>
                </a:lnTo>
                <a:lnTo>
                  <a:pt x="589" y="1249"/>
                </a:lnTo>
                <a:lnTo>
                  <a:pt x="592" y="1247"/>
                </a:lnTo>
                <a:lnTo>
                  <a:pt x="595" y="1246"/>
                </a:lnTo>
                <a:lnTo>
                  <a:pt x="592" y="1244"/>
                </a:lnTo>
                <a:lnTo>
                  <a:pt x="589" y="1243"/>
                </a:lnTo>
                <a:lnTo>
                  <a:pt x="585" y="1240"/>
                </a:lnTo>
                <a:lnTo>
                  <a:pt x="583" y="1235"/>
                </a:lnTo>
                <a:lnTo>
                  <a:pt x="581" y="1229"/>
                </a:lnTo>
                <a:lnTo>
                  <a:pt x="580" y="1225"/>
                </a:lnTo>
                <a:lnTo>
                  <a:pt x="582" y="1223"/>
                </a:lnTo>
                <a:lnTo>
                  <a:pt x="584" y="1223"/>
                </a:lnTo>
                <a:lnTo>
                  <a:pt x="590" y="1223"/>
                </a:lnTo>
                <a:lnTo>
                  <a:pt x="595" y="1221"/>
                </a:lnTo>
                <a:lnTo>
                  <a:pt x="598" y="1218"/>
                </a:lnTo>
                <a:lnTo>
                  <a:pt x="601" y="1218"/>
                </a:lnTo>
                <a:lnTo>
                  <a:pt x="604" y="1219"/>
                </a:lnTo>
                <a:lnTo>
                  <a:pt x="606" y="1222"/>
                </a:lnTo>
                <a:lnTo>
                  <a:pt x="609" y="1225"/>
                </a:lnTo>
                <a:lnTo>
                  <a:pt x="612" y="1226"/>
                </a:lnTo>
                <a:lnTo>
                  <a:pt x="616" y="1228"/>
                </a:lnTo>
                <a:lnTo>
                  <a:pt x="619" y="1228"/>
                </a:lnTo>
                <a:lnTo>
                  <a:pt x="626" y="1226"/>
                </a:lnTo>
                <a:lnTo>
                  <a:pt x="632" y="1228"/>
                </a:lnTo>
                <a:lnTo>
                  <a:pt x="635" y="1228"/>
                </a:lnTo>
                <a:lnTo>
                  <a:pt x="636" y="1230"/>
                </a:lnTo>
                <a:lnTo>
                  <a:pt x="636" y="1231"/>
                </a:lnTo>
                <a:lnTo>
                  <a:pt x="633" y="1233"/>
                </a:lnTo>
                <a:lnTo>
                  <a:pt x="629" y="1235"/>
                </a:lnTo>
                <a:lnTo>
                  <a:pt x="625" y="1236"/>
                </a:lnTo>
                <a:lnTo>
                  <a:pt x="620" y="1235"/>
                </a:lnTo>
                <a:lnTo>
                  <a:pt x="616" y="1232"/>
                </a:lnTo>
                <a:lnTo>
                  <a:pt x="612" y="1231"/>
                </a:lnTo>
                <a:lnTo>
                  <a:pt x="608" y="1232"/>
                </a:lnTo>
                <a:lnTo>
                  <a:pt x="604" y="1233"/>
                </a:lnTo>
                <a:lnTo>
                  <a:pt x="601" y="1236"/>
                </a:lnTo>
                <a:lnTo>
                  <a:pt x="599" y="1237"/>
                </a:lnTo>
                <a:lnTo>
                  <a:pt x="598" y="1238"/>
                </a:lnTo>
                <a:lnTo>
                  <a:pt x="599" y="1239"/>
                </a:lnTo>
                <a:lnTo>
                  <a:pt x="601" y="1242"/>
                </a:lnTo>
                <a:lnTo>
                  <a:pt x="605" y="1249"/>
                </a:lnTo>
                <a:lnTo>
                  <a:pt x="610" y="1257"/>
                </a:lnTo>
                <a:lnTo>
                  <a:pt x="610" y="1259"/>
                </a:lnTo>
                <a:lnTo>
                  <a:pt x="609" y="1260"/>
                </a:lnTo>
                <a:lnTo>
                  <a:pt x="606" y="1261"/>
                </a:lnTo>
                <a:lnTo>
                  <a:pt x="605" y="1263"/>
                </a:lnTo>
                <a:lnTo>
                  <a:pt x="604" y="1264"/>
                </a:lnTo>
                <a:lnTo>
                  <a:pt x="605" y="1265"/>
                </a:lnTo>
                <a:lnTo>
                  <a:pt x="608" y="1266"/>
                </a:lnTo>
                <a:lnTo>
                  <a:pt x="611" y="1267"/>
                </a:lnTo>
                <a:lnTo>
                  <a:pt x="613" y="1270"/>
                </a:lnTo>
                <a:lnTo>
                  <a:pt x="616" y="1272"/>
                </a:lnTo>
                <a:lnTo>
                  <a:pt x="617" y="1274"/>
                </a:lnTo>
                <a:lnTo>
                  <a:pt x="617" y="1278"/>
                </a:lnTo>
                <a:lnTo>
                  <a:pt x="615" y="1280"/>
                </a:lnTo>
                <a:lnTo>
                  <a:pt x="612" y="1279"/>
                </a:lnTo>
                <a:lnTo>
                  <a:pt x="599" y="1279"/>
                </a:lnTo>
                <a:lnTo>
                  <a:pt x="585" y="1278"/>
                </a:lnTo>
                <a:lnTo>
                  <a:pt x="571" y="1274"/>
                </a:lnTo>
                <a:lnTo>
                  <a:pt x="556" y="1271"/>
                </a:lnTo>
                <a:lnTo>
                  <a:pt x="541" y="1268"/>
                </a:lnTo>
                <a:lnTo>
                  <a:pt x="526" y="1265"/>
                </a:lnTo>
                <a:lnTo>
                  <a:pt x="513" y="1260"/>
                </a:lnTo>
                <a:lnTo>
                  <a:pt x="500" y="1256"/>
                </a:lnTo>
                <a:lnTo>
                  <a:pt x="488" y="1250"/>
                </a:lnTo>
                <a:lnTo>
                  <a:pt x="475" y="1245"/>
                </a:lnTo>
                <a:lnTo>
                  <a:pt x="472" y="1243"/>
                </a:lnTo>
                <a:lnTo>
                  <a:pt x="468" y="1239"/>
                </a:lnTo>
                <a:lnTo>
                  <a:pt x="465" y="1237"/>
                </a:lnTo>
                <a:lnTo>
                  <a:pt x="460" y="1236"/>
                </a:lnTo>
                <a:lnTo>
                  <a:pt x="464" y="1242"/>
                </a:lnTo>
                <a:lnTo>
                  <a:pt x="467" y="1247"/>
                </a:lnTo>
                <a:lnTo>
                  <a:pt x="472" y="1251"/>
                </a:lnTo>
                <a:lnTo>
                  <a:pt x="478" y="1254"/>
                </a:lnTo>
                <a:lnTo>
                  <a:pt x="499" y="1263"/>
                </a:lnTo>
                <a:lnTo>
                  <a:pt x="521" y="1270"/>
                </a:lnTo>
                <a:lnTo>
                  <a:pt x="543" y="1277"/>
                </a:lnTo>
                <a:lnTo>
                  <a:pt x="566" y="1282"/>
                </a:lnTo>
                <a:lnTo>
                  <a:pt x="581" y="1285"/>
                </a:lnTo>
                <a:lnTo>
                  <a:pt x="595" y="1287"/>
                </a:lnTo>
                <a:lnTo>
                  <a:pt x="611" y="1291"/>
                </a:lnTo>
                <a:lnTo>
                  <a:pt x="629" y="1293"/>
                </a:lnTo>
                <a:lnTo>
                  <a:pt x="644" y="1295"/>
                </a:lnTo>
                <a:lnTo>
                  <a:pt x="660" y="1298"/>
                </a:lnTo>
                <a:lnTo>
                  <a:pt x="675" y="1300"/>
                </a:lnTo>
                <a:lnTo>
                  <a:pt x="692" y="1301"/>
                </a:lnTo>
                <a:lnTo>
                  <a:pt x="702" y="1303"/>
                </a:lnTo>
                <a:lnTo>
                  <a:pt x="714" y="1305"/>
                </a:lnTo>
                <a:lnTo>
                  <a:pt x="716" y="1307"/>
                </a:lnTo>
                <a:lnTo>
                  <a:pt x="719" y="1309"/>
                </a:lnTo>
                <a:lnTo>
                  <a:pt x="722" y="1309"/>
                </a:lnTo>
                <a:lnTo>
                  <a:pt x="726" y="1310"/>
                </a:lnTo>
                <a:lnTo>
                  <a:pt x="732" y="1309"/>
                </a:lnTo>
                <a:lnTo>
                  <a:pt x="737" y="1309"/>
                </a:lnTo>
                <a:lnTo>
                  <a:pt x="741" y="1309"/>
                </a:lnTo>
                <a:lnTo>
                  <a:pt x="743" y="1309"/>
                </a:lnTo>
                <a:lnTo>
                  <a:pt x="746" y="1308"/>
                </a:lnTo>
                <a:lnTo>
                  <a:pt x="747" y="1306"/>
                </a:lnTo>
                <a:lnTo>
                  <a:pt x="755" y="1306"/>
                </a:lnTo>
                <a:lnTo>
                  <a:pt x="762" y="1306"/>
                </a:lnTo>
                <a:lnTo>
                  <a:pt x="763" y="1307"/>
                </a:lnTo>
                <a:lnTo>
                  <a:pt x="764" y="1307"/>
                </a:lnTo>
                <a:lnTo>
                  <a:pt x="765" y="1307"/>
                </a:lnTo>
                <a:lnTo>
                  <a:pt x="765" y="1306"/>
                </a:lnTo>
                <a:lnTo>
                  <a:pt x="768" y="1306"/>
                </a:lnTo>
                <a:lnTo>
                  <a:pt x="770" y="1306"/>
                </a:lnTo>
                <a:lnTo>
                  <a:pt x="772" y="1308"/>
                </a:lnTo>
                <a:lnTo>
                  <a:pt x="775" y="1308"/>
                </a:lnTo>
                <a:lnTo>
                  <a:pt x="777" y="1308"/>
                </a:lnTo>
                <a:lnTo>
                  <a:pt x="780" y="1308"/>
                </a:lnTo>
                <a:lnTo>
                  <a:pt x="790" y="1312"/>
                </a:lnTo>
                <a:lnTo>
                  <a:pt x="801" y="1314"/>
                </a:lnTo>
                <a:lnTo>
                  <a:pt x="818" y="1314"/>
                </a:lnTo>
                <a:lnTo>
                  <a:pt x="834" y="1314"/>
                </a:lnTo>
                <a:lnTo>
                  <a:pt x="852" y="1313"/>
                </a:lnTo>
                <a:lnTo>
                  <a:pt x="868" y="1310"/>
                </a:lnTo>
                <a:lnTo>
                  <a:pt x="870" y="1310"/>
                </a:lnTo>
                <a:lnTo>
                  <a:pt x="871" y="1309"/>
                </a:lnTo>
                <a:lnTo>
                  <a:pt x="871" y="1307"/>
                </a:lnTo>
                <a:lnTo>
                  <a:pt x="870" y="1305"/>
                </a:lnTo>
                <a:lnTo>
                  <a:pt x="867" y="1302"/>
                </a:lnTo>
                <a:lnTo>
                  <a:pt x="865" y="1301"/>
                </a:lnTo>
                <a:lnTo>
                  <a:pt x="863" y="1301"/>
                </a:lnTo>
                <a:lnTo>
                  <a:pt x="860" y="1299"/>
                </a:lnTo>
                <a:lnTo>
                  <a:pt x="860" y="1299"/>
                </a:lnTo>
                <a:lnTo>
                  <a:pt x="863" y="1299"/>
                </a:lnTo>
                <a:lnTo>
                  <a:pt x="866" y="1299"/>
                </a:lnTo>
                <a:lnTo>
                  <a:pt x="868" y="1299"/>
                </a:lnTo>
                <a:lnTo>
                  <a:pt x="870" y="1296"/>
                </a:lnTo>
                <a:lnTo>
                  <a:pt x="871" y="1296"/>
                </a:lnTo>
                <a:lnTo>
                  <a:pt x="871" y="1296"/>
                </a:lnTo>
                <a:lnTo>
                  <a:pt x="872" y="1294"/>
                </a:lnTo>
                <a:lnTo>
                  <a:pt x="873" y="1292"/>
                </a:lnTo>
                <a:lnTo>
                  <a:pt x="872" y="1294"/>
                </a:lnTo>
                <a:lnTo>
                  <a:pt x="871" y="1296"/>
                </a:lnTo>
                <a:lnTo>
                  <a:pt x="878" y="1295"/>
                </a:lnTo>
                <a:lnTo>
                  <a:pt x="884" y="1293"/>
                </a:lnTo>
                <a:lnTo>
                  <a:pt x="899" y="1288"/>
                </a:lnTo>
                <a:lnTo>
                  <a:pt x="915" y="1282"/>
                </a:lnTo>
                <a:lnTo>
                  <a:pt x="920" y="1279"/>
                </a:lnTo>
                <a:lnTo>
                  <a:pt x="925" y="1275"/>
                </a:lnTo>
                <a:lnTo>
                  <a:pt x="927" y="1271"/>
                </a:lnTo>
                <a:lnTo>
                  <a:pt x="927" y="1265"/>
                </a:lnTo>
                <a:lnTo>
                  <a:pt x="927" y="1257"/>
                </a:lnTo>
                <a:lnTo>
                  <a:pt x="928" y="1247"/>
                </a:lnTo>
                <a:lnTo>
                  <a:pt x="929" y="1236"/>
                </a:lnTo>
                <a:lnTo>
                  <a:pt x="928" y="1224"/>
                </a:lnTo>
                <a:lnTo>
                  <a:pt x="927" y="1212"/>
                </a:lnTo>
                <a:lnTo>
                  <a:pt x="925" y="1201"/>
                </a:lnTo>
                <a:lnTo>
                  <a:pt x="925" y="1198"/>
                </a:lnTo>
                <a:lnTo>
                  <a:pt x="925" y="1195"/>
                </a:lnTo>
                <a:lnTo>
                  <a:pt x="925" y="1183"/>
                </a:lnTo>
                <a:lnTo>
                  <a:pt x="923" y="1170"/>
                </a:lnTo>
                <a:lnTo>
                  <a:pt x="921" y="1159"/>
                </a:lnTo>
                <a:lnTo>
                  <a:pt x="919" y="1147"/>
                </a:lnTo>
                <a:lnTo>
                  <a:pt x="920" y="1134"/>
                </a:lnTo>
                <a:lnTo>
                  <a:pt x="921" y="1121"/>
                </a:lnTo>
                <a:lnTo>
                  <a:pt x="921" y="1116"/>
                </a:lnTo>
                <a:lnTo>
                  <a:pt x="920" y="1111"/>
                </a:lnTo>
                <a:lnTo>
                  <a:pt x="919" y="1105"/>
                </a:lnTo>
                <a:lnTo>
                  <a:pt x="916" y="1099"/>
                </a:lnTo>
                <a:lnTo>
                  <a:pt x="912" y="1090"/>
                </a:lnTo>
                <a:lnTo>
                  <a:pt x="907" y="1079"/>
                </a:lnTo>
                <a:lnTo>
                  <a:pt x="905" y="1079"/>
                </a:lnTo>
                <a:lnTo>
                  <a:pt x="902" y="1078"/>
                </a:lnTo>
                <a:lnTo>
                  <a:pt x="900" y="1076"/>
                </a:lnTo>
                <a:lnTo>
                  <a:pt x="899" y="1072"/>
                </a:lnTo>
                <a:lnTo>
                  <a:pt x="896" y="1062"/>
                </a:lnTo>
                <a:lnTo>
                  <a:pt x="893" y="1051"/>
                </a:lnTo>
                <a:lnTo>
                  <a:pt x="891" y="1049"/>
                </a:lnTo>
                <a:lnTo>
                  <a:pt x="888" y="1049"/>
                </a:lnTo>
                <a:lnTo>
                  <a:pt x="887" y="1050"/>
                </a:lnTo>
                <a:lnTo>
                  <a:pt x="887" y="1053"/>
                </a:lnTo>
                <a:lnTo>
                  <a:pt x="887" y="1057"/>
                </a:lnTo>
                <a:lnTo>
                  <a:pt x="889" y="1061"/>
                </a:lnTo>
                <a:lnTo>
                  <a:pt x="889" y="1063"/>
                </a:lnTo>
                <a:lnTo>
                  <a:pt x="891" y="1065"/>
                </a:lnTo>
                <a:lnTo>
                  <a:pt x="889" y="1068"/>
                </a:lnTo>
                <a:lnTo>
                  <a:pt x="887" y="1071"/>
                </a:lnTo>
                <a:lnTo>
                  <a:pt x="886" y="1071"/>
                </a:lnTo>
                <a:lnTo>
                  <a:pt x="885" y="1070"/>
                </a:lnTo>
                <a:lnTo>
                  <a:pt x="884" y="1068"/>
                </a:lnTo>
                <a:lnTo>
                  <a:pt x="885" y="1064"/>
                </a:lnTo>
                <a:lnTo>
                  <a:pt x="886" y="1062"/>
                </a:lnTo>
                <a:lnTo>
                  <a:pt x="885" y="1058"/>
                </a:lnTo>
                <a:lnTo>
                  <a:pt x="880" y="1068"/>
                </a:lnTo>
                <a:lnTo>
                  <a:pt x="875" y="1077"/>
                </a:lnTo>
                <a:lnTo>
                  <a:pt x="880" y="1068"/>
                </a:lnTo>
                <a:lnTo>
                  <a:pt x="885" y="1058"/>
                </a:lnTo>
                <a:lnTo>
                  <a:pt x="885" y="1056"/>
                </a:lnTo>
                <a:lnTo>
                  <a:pt x="885" y="1054"/>
                </a:lnTo>
                <a:lnTo>
                  <a:pt x="886" y="1053"/>
                </a:lnTo>
                <a:lnTo>
                  <a:pt x="886" y="1051"/>
                </a:lnTo>
                <a:lnTo>
                  <a:pt x="886" y="1049"/>
                </a:lnTo>
                <a:lnTo>
                  <a:pt x="885" y="1048"/>
                </a:lnTo>
                <a:lnTo>
                  <a:pt x="885" y="1044"/>
                </a:lnTo>
                <a:lnTo>
                  <a:pt x="885" y="1042"/>
                </a:lnTo>
                <a:lnTo>
                  <a:pt x="886" y="1041"/>
                </a:lnTo>
                <a:lnTo>
                  <a:pt x="886" y="1040"/>
                </a:lnTo>
                <a:lnTo>
                  <a:pt x="887" y="1036"/>
                </a:lnTo>
                <a:lnTo>
                  <a:pt x="887" y="1033"/>
                </a:lnTo>
                <a:lnTo>
                  <a:pt x="887" y="1029"/>
                </a:lnTo>
                <a:lnTo>
                  <a:pt x="886" y="1026"/>
                </a:lnTo>
                <a:lnTo>
                  <a:pt x="887" y="1029"/>
                </a:lnTo>
                <a:lnTo>
                  <a:pt x="887" y="1033"/>
                </a:lnTo>
                <a:lnTo>
                  <a:pt x="887" y="1036"/>
                </a:lnTo>
                <a:lnTo>
                  <a:pt x="886" y="1040"/>
                </a:lnTo>
                <a:lnTo>
                  <a:pt x="888" y="1039"/>
                </a:lnTo>
                <a:lnTo>
                  <a:pt x="891" y="1039"/>
                </a:lnTo>
                <a:lnTo>
                  <a:pt x="892" y="1037"/>
                </a:lnTo>
                <a:lnTo>
                  <a:pt x="892" y="1036"/>
                </a:lnTo>
                <a:lnTo>
                  <a:pt x="894" y="1033"/>
                </a:lnTo>
                <a:lnTo>
                  <a:pt x="894" y="1028"/>
                </a:lnTo>
                <a:lnTo>
                  <a:pt x="893" y="1021"/>
                </a:lnTo>
                <a:lnTo>
                  <a:pt x="892" y="1013"/>
                </a:lnTo>
                <a:lnTo>
                  <a:pt x="894" y="1000"/>
                </a:lnTo>
                <a:lnTo>
                  <a:pt x="898" y="988"/>
                </a:lnTo>
                <a:lnTo>
                  <a:pt x="900" y="985"/>
                </a:lnTo>
                <a:lnTo>
                  <a:pt x="901" y="980"/>
                </a:lnTo>
                <a:lnTo>
                  <a:pt x="902" y="980"/>
                </a:lnTo>
                <a:lnTo>
                  <a:pt x="902" y="980"/>
                </a:lnTo>
                <a:lnTo>
                  <a:pt x="906" y="974"/>
                </a:lnTo>
                <a:lnTo>
                  <a:pt x="908" y="970"/>
                </a:lnTo>
                <a:lnTo>
                  <a:pt x="908" y="965"/>
                </a:lnTo>
                <a:lnTo>
                  <a:pt x="906" y="962"/>
                </a:lnTo>
                <a:lnTo>
                  <a:pt x="902" y="958"/>
                </a:lnTo>
                <a:lnTo>
                  <a:pt x="900" y="956"/>
                </a:lnTo>
                <a:lnTo>
                  <a:pt x="902" y="955"/>
                </a:lnTo>
                <a:lnTo>
                  <a:pt x="905" y="956"/>
                </a:lnTo>
                <a:lnTo>
                  <a:pt x="906" y="958"/>
                </a:lnTo>
                <a:lnTo>
                  <a:pt x="907" y="959"/>
                </a:lnTo>
                <a:lnTo>
                  <a:pt x="908" y="962"/>
                </a:lnTo>
                <a:lnTo>
                  <a:pt x="910" y="964"/>
                </a:lnTo>
                <a:lnTo>
                  <a:pt x="912" y="964"/>
                </a:lnTo>
                <a:lnTo>
                  <a:pt x="914" y="963"/>
                </a:lnTo>
                <a:lnTo>
                  <a:pt x="915" y="960"/>
                </a:lnTo>
                <a:lnTo>
                  <a:pt x="915" y="958"/>
                </a:lnTo>
                <a:lnTo>
                  <a:pt x="915" y="956"/>
                </a:lnTo>
                <a:lnTo>
                  <a:pt x="914" y="953"/>
                </a:lnTo>
                <a:lnTo>
                  <a:pt x="913" y="951"/>
                </a:lnTo>
                <a:lnTo>
                  <a:pt x="912" y="951"/>
                </a:lnTo>
                <a:lnTo>
                  <a:pt x="909" y="951"/>
                </a:lnTo>
                <a:lnTo>
                  <a:pt x="907" y="951"/>
                </a:lnTo>
                <a:lnTo>
                  <a:pt x="908" y="949"/>
                </a:lnTo>
                <a:lnTo>
                  <a:pt x="909" y="946"/>
                </a:lnTo>
                <a:lnTo>
                  <a:pt x="910" y="945"/>
                </a:lnTo>
                <a:lnTo>
                  <a:pt x="910" y="944"/>
                </a:lnTo>
                <a:lnTo>
                  <a:pt x="909" y="943"/>
                </a:lnTo>
                <a:lnTo>
                  <a:pt x="907" y="942"/>
                </a:lnTo>
                <a:lnTo>
                  <a:pt x="907" y="939"/>
                </a:lnTo>
                <a:lnTo>
                  <a:pt x="905" y="938"/>
                </a:lnTo>
                <a:lnTo>
                  <a:pt x="905" y="936"/>
                </a:lnTo>
                <a:lnTo>
                  <a:pt x="906" y="934"/>
                </a:lnTo>
                <a:lnTo>
                  <a:pt x="910" y="931"/>
                </a:lnTo>
                <a:lnTo>
                  <a:pt x="915" y="928"/>
                </a:lnTo>
                <a:lnTo>
                  <a:pt x="915" y="930"/>
                </a:lnTo>
                <a:lnTo>
                  <a:pt x="918" y="930"/>
                </a:lnTo>
                <a:lnTo>
                  <a:pt x="919" y="934"/>
                </a:lnTo>
                <a:lnTo>
                  <a:pt x="921" y="935"/>
                </a:lnTo>
                <a:lnTo>
                  <a:pt x="926" y="941"/>
                </a:lnTo>
                <a:lnTo>
                  <a:pt x="928" y="946"/>
                </a:lnTo>
                <a:lnTo>
                  <a:pt x="930" y="952"/>
                </a:lnTo>
                <a:lnTo>
                  <a:pt x="932" y="959"/>
                </a:lnTo>
                <a:lnTo>
                  <a:pt x="932" y="964"/>
                </a:lnTo>
                <a:lnTo>
                  <a:pt x="934" y="969"/>
                </a:lnTo>
                <a:lnTo>
                  <a:pt x="935" y="979"/>
                </a:lnTo>
                <a:lnTo>
                  <a:pt x="937" y="990"/>
                </a:lnTo>
                <a:lnTo>
                  <a:pt x="939" y="1001"/>
                </a:lnTo>
                <a:lnTo>
                  <a:pt x="942" y="1012"/>
                </a:lnTo>
                <a:lnTo>
                  <a:pt x="944" y="1027"/>
                </a:lnTo>
                <a:lnTo>
                  <a:pt x="948" y="1042"/>
                </a:lnTo>
                <a:lnTo>
                  <a:pt x="950" y="1054"/>
                </a:lnTo>
                <a:lnTo>
                  <a:pt x="951" y="1067"/>
                </a:lnTo>
                <a:lnTo>
                  <a:pt x="953" y="1078"/>
                </a:lnTo>
                <a:lnTo>
                  <a:pt x="954" y="1090"/>
                </a:lnTo>
                <a:lnTo>
                  <a:pt x="955" y="1103"/>
                </a:lnTo>
                <a:lnTo>
                  <a:pt x="956" y="1116"/>
                </a:lnTo>
                <a:lnTo>
                  <a:pt x="956" y="1119"/>
                </a:lnTo>
                <a:lnTo>
                  <a:pt x="956" y="1124"/>
                </a:lnTo>
                <a:lnTo>
                  <a:pt x="957" y="1127"/>
                </a:lnTo>
                <a:lnTo>
                  <a:pt x="960" y="1131"/>
                </a:lnTo>
                <a:lnTo>
                  <a:pt x="960" y="1132"/>
                </a:lnTo>
                <a:lnTo>
                  <a:pt x="960" y="1133"/>
                </a:lnTo>
                <a:lnTo>
                  <a:pt x="960" y="1135"/>
                </a:lnTo>
                <a:lnTo>
                  <a:pt x="960" y="1137"/>
                </a:lnTo>
                <a:lnTo>
                  <a:pt x="961" y="1138"/>
                </a:lnTo>
                <a:lnTo>
                  <a:pt x="962" y="1139"/>
                </a:lnTo>
                <a:lnTo>
                  <a:pt x="963" y="1141"/>
                </a:lnTo>
                <a:lnTo>
                  <a:pt x="964" y="1144"/>
                </a:lnTo>
                <a:lnTo>
                  <a:pt x="964" y="1146"/>
                </a:lnTo>
                <a:lnTo>
                  <a:pt x="964" y="1148"/>
                </a:lnTo>
                <a:lnTo>
                  <a:pt x="972" y="1165"/>
                </a:lnTo>
                <a:lnTo>
                  <a:pt x="977" y="1182"/>
                </a:lnTo>
                <a:lnTo>
                  <a:pt x="982" y="1200"/>
                </a:lnTo>
                <a:lnTo>
                  <a:pt x="988" y="1216"/>
                </a:lnTo>
                <a:lnTo>
                  <a:pt x="990" y="1224"/>
                </a:lnTo>
                <a:lnTo>
                  <a:pt x="995" y="1232"/>
                </a:lnTo>
                <a:lnTo>
                  <a:pt x="1001" y="1243"/>
                </a:lnTo>
                <a:lnTo>
                  <a:pt x="1005" y="1254"/>
                </a:lnTo>
                <a:lnTo>
                  <a:pt x="1010" y="1266"/>
                </a:lnTo>
                <a:lnTo>
                  <a:pt x="1015" y="1277"/>
                </a:lnTo>
                <a:lnTo>
                  <a:pt x="1022" y="1293"/>
                </a:lnTo>
                <a:lnTo>
                  <a:pt x="1030" y="1310"/>
                </a:lnTo>
                <a:lnTo>
                  <a:pt x="1037" y="1327"/>
                </a:lnTo>
                <a:lnTo>
                  <a:pt x="1045" y="1343"/>
                </a:lnTo>
                <a:lnTo>
                  <a:pt x="1050" y="1356"/>
                </a:lnTo>
                <a:lnTo>
                  <a:pt x="1054" y="1369"/>
                </a:lnTo>
                <a:lnTo>
                  <a:pt x="1054" y="1375"/>
                </a:lnTo>
                <a:lnTo>
                  <a:pt x="1054" y="1382"/>
                </a:lnTo>
                <a:lnTo>
                  <a:pt x="1053" y="1389"/>
                </a:lnTo>
                <a:lnTo>
                  <a:pt x="1051" y="1396"/>
                </a:lnTo>
                <a:lnTo>
                  <a:pt x="1050" y="1398"/>
                </a:lnTo>
                <a:lnTo>
                  <a:pt x="1050" y="1399"/>
                </a:lnTo>
                <a:lnTo>
                  <a:pt x="1051" y="1403"/>
                </a:lnTo>
                <a:lnTo>
                  <a:pt x="1052" y="1406"/>
                </a:lnTo>
                <a:lnTo>
                  <a:pt x="1051" y="1403"/>
                </a:lnTo>
                <a:lnTo>
                  <a:pt x="1050" y="1399"/>
                </a:lnTo>
                <a:lnTo>
                  <a:pt x="1046" y="1404"/>
                </a:lnTo>
                <a:lnTo>
                  <a:pt x="1043" y="1410"/>
                </a:lnTo>
                <a:lnTo>
                  <a:pt x="1043" y="1410"/>
                </a:lnTo>
                <a:lnTo>
                  <a:pt x="1041" y="1410"/>
                </a:lnTo>
                <a:lnTo>
                  <a:pt x="1041" y="1411"/>
                </a:lnTo>
                <a:lnTo>
                  <a:pt x="1041" y="1411"/>
                </a:lnTo>
                <a:lnTo>
                  <a:pt x="1040" y="1412"/>
                </a:lnTo>
                <a:lnTo>
                  <a:pt x="1040" y="1413"/>
                </a:lnTo>
                <a:lnTo>
                  <a:pt x="1039" y="1414"/>
                </a:lnTo>
                <a:lnTo>
                  <a:pt x="1038" y="1414"/>
                </a:lnTo>
                <a:lnTo>
                  <a:pt x="1037" y="1416"/>
                </a:lnTo>
                <a:lnTo>
                  <a:pt x="1037" y="1417"/>
                </a:lnTo>
                <a:lnTo>
                  <a:pt x="1037" y="1418"/>
                </a:lnTo>
                <a:lnTo>
                  <a:pt x="1037" y="1418"/>
                </a:lnTo>
                <a:lnTo>
                  <a:pt x="1024" y="1428"/>
                </a:lnTo>
                <a:lnTo>
                  <a:pt x="1013" y="1439"/>
                </a:lnTo>
                <a:lnTo>
                  <a:pt x="1009" y="1445"/>
                </a:lnTo>
                <a:lnTo>
                  <a:pt x="1005" y="1452"/>
                </a:lnTo>
                <a:lnTo>
                  <a:pt x="1002" y="1459"/>
                </a:lnTo>
                <a:lnTo>
                  <a:pt x="999" y="1467"/>
                </a:lnTo>
                <a:lnTo>
                  <a:pt x="999" y="1469"/>
                </a:lnTo>
                <a:lnTo>
                  <a:pt x="998" y="1472"/>
                </a:lnTo>
                <a:lnTo>
                  <a:pt x="994" y="1482"/>
                </a:lnTo>
                <a:lnTo>
                  <a:pt x="989" y="1494"/>
                </a:lnTo>
                <a:lnTo>
                  <a:pt x="984" y="1504"/>
                </a:lnTo>
                <a:lnTo>
                  <a:pt x="981" y="1515"/>
                </a:lnTo>
                <a:lnTo>
                  <a:pt x="979" y="1521"/>
                </a:lnTo>
                <a:lnTo>
                  <a:pt x="981" y="1524"/>
                </a:lnTo>
                <a:lnTo>
                  <a:pt x="984" y="1526"/>
                </a:lnTo>
                <a:lnTo>
                  <a:pt x="989" y="1526"/>
                </a:lnTo>
                <a:lnTo>
                  <a:pt x="995" y="1526"/>
                </a:lnTo>
                <a:lnTo>
                  <a:pt x="998" y="1524"/>
                </a:lnTo>
                <a:lnTo>
                  <a:pt x="1002" y="1521"/>
                </a:lnTo>
                <a:lnTo>
                  <a:pt x="1005" y="1517"/>
                </a:lnTo>
                <a:lnTo>
                  <a:pt x="1008" y="1515"/>
                </a:lnTo>
                <a:lnTo>
                  <a:pt x="1010" y="1511"/>
                </a:lnTo>
                <a:lnTo>
                  <a:pt x="1016" y="1497"/>
                </a:lnTo>
                <a:lnTo>
                  <a:pt x="1020" y="1482"/>
                </a:lnTo>
                <a:lnTo>
                  <a:pt x="1023" y="1477"/>
                </a:lnTo>
                <a:lnTo>
                  <a:pt x="1024" y="1476"/>
                </a:lnTo>
                <a:lnTo>
                  <a:pt x="1026" y="1476"/>
                </a:lnTo>
                <a:lnTo>
                  <a:pt x="1030" y="1479"/>
                </a:lnTo>
                <a:lnTo>
                  <a:pt x="1032" y="1481"/>
                </a:lnTo>
                <a:lnTo>
                  <a:pt x="1036" y="1481"/>
                </a:lnTo>
                <a:lnTo>
                  <a:pt x="1040" y="1483"/>
                </a:lnTo>
                <a:lnTo>
                  <a:pt x="1045" y="1487"/>
                </a:lnTo>
                <a:lnTo>
                  <a:pt x="1047" y="1489"/>
                </a:lnTo>
                <a:lnTo>
                  <a:pt x="1047" y="1493"/>
                </a:lnTo>
                <a:lnTo>
                  <a:pt x="1043" y="1503"/>
                </a:lnTo>
                <a:lnTo>
                  <a:pt x="1039" y="1515"/>
                </a:lnTo>
                <a:lnTo>
                  <a:pt x="1036" y="1519"/>
                </a:lnTo>
                <a:lnTo>
                  <a:pt x="1034" y="1525"/>
                </a:lnTo>
                <a:lnTo>
                  <a:pt x="1034" y="1529"/>
                </a:lnTo>
                <a:lnTo>
                  <a:pt x="1033" y="1530"/>
                </a:lnTo>
                <a:lnTo>
                  <a:pt x="1031" y="1531"/>
                </a:lnTo>
                <a:lnTo>
                  <a:pt x="1029" y="1531"/>
                </a:lnTo>
                <a:lnTo>
                  <a:pt x="1022" y="1533"/>
                </a:lnTo>
                <a:lnTo>
                  <a:pt x="1015" y="1535"/>
                </a:lnTo>
                <a:lnTo>
                  <a:pt x="1008" y="1535"/>
                </a:lnTo>
                <a:lnTo>
                  <a:pt x="1001" y="1533"/>
                </a:lnTo>
                <a:lnTo>
                  <a:pt x="997" y="1535"/>
                </a:lnTo>
                <a:lnTo>
                  <a:pt x="994" y="1536"/>
                </a:lnTo>
                <a:lnTo>
                  <a:pt x="991" y="1538"/>
                </a:lnTo>
                <a:lnTo>
                  <a:pt x="990" y="1539"/>
                </a:lnTo>
                <a:lnTo>
                  <a:pt x="989" y="1543"/>
                </a:lnTo>
                <a:lnTo>
                  <a:pt x="989" y="1545"/>
                </a:lnTo>
                <a:lnTo>
                  <a:pt x="990" y="1547"/>
                </a:lnTo>
                <a:lnTo>
                  <a:pt x="991" y="1549"/>
                </a:lnTo>
                <a:lnTo>
                  <a:pt x="994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49"/>
                </a:lnTo>
                <a:lnTo>
                  <a:pt x="997" y="1553"/>
                </a:lnTo>
                <a:lnTo>
                  <a:pt x="996" y="1557"/>
                </a:lnTo>
                <a:lnTo>
                  <a:pt x="995" y="1558"/>
                </a:lnTo>
                <a:lnTo>
                  <a:pt x="995" y="1560"/>
                </a:lnTo>
                <a:lnTo>
                  <a:pt x="996" y="1561"/>
                </a:lnTo>
                <a:lnTo>
                  <a:pt x="997" y="1563"/>
                </a:lnTo>
                <a:lnTo>
                  <a:pt x="1003" y="1566"/>
                </a:lnTo>
                <a:lnTo>
                  <a:pt x="1010" y="1567"/>
                </a:lnTo>
                <a:lnTo>
                  <a:pt x="1012" y="1568"/>
                </a:lnTo>
                <a:lnTo>
                  <a:pt x="1013" y="1571"/>
                </a:lnTo>
                <a:lnTo>
                  <a:pt x="1013" y="1573"/>
                </a:lnTo>
                <a:lnTo>
                  <a:pt x="1012" y="1575"/>
                </a:lnTo>
                <a:lnTo>
                  <a:pt x="1011" y="1581"/>
                </a:lnTo>
                <a:lnTo>
                  <a:pt x="1012" y="1585"/>
                </a:lnTo>
                <a:lnTo>
                  <a:pt x="1013" y="1586"/>
                </a:lnTo>
                <a:lnTo>
                  <a:pt x="1016" y="1586"/>
                </a:lnTo>
                <a:lnTo>
                  <a:pt x="1018" y="1587"/>
                </a:lnTo>
                <a:lnTo>
                  <a:pt x="1022" y="1586"/>
                </a:lnTo>
                <a:lnTo>
                  <a:pt x="1038" y="1585"/>
                </a:lnTo>
                <a:lnTo>
                  <a:pt x="1054" y="1582"/>
                </a:lnTo>
                <a:lnTo>
                  <a:pt x="1070" y="1580"/>
                </a:lnTo>
                <a:lnTo>
                  <a:pt x="1085" y="1577"/>
                </a:lnTo>
                <a:lnTo>
                  <a:pt x="1089" y="1574"/>
                </a:lnTo>
                <a:lnTo>
                  <a:pt x="1094" y="1572"/>
                </a:lnTo>
                <a:lnTo>
                  <a:pt x="1099" y="1568"/>
                </a:lnTo>
                <a:lnTo>
                  <a:pt x="1101" y="1565"/>
                </a:lnTo>
                <a:lnTo>
                  <a:pt x="1107" y="1551"/>
                </a:lnTo>
                <a:lnTo>
                  <a:pt x="1112" y="1536"/>
                </a:lnTo>
                <a:lnTo>
                  <a:pt x="1115" y="1532"/>
                </a:lnTo>
                <a:lnTo>
                  <a:pt x="1116" y="1528"/>
                </a:lnTo>
                <a:lnTo>
                  <a:pt x="1117" y="1523"/>
                </a:lnTo>
                <a:lnTo>
                  <a:pt x="1119" y="1518"/>
                </a:lnTo>
                <a:lnTo>
                  <a:pt x="1119" y="1507"/>
                </a:lnTo>
                <a:lnTo>
                  <a:pt x="1120" y="1495"/>
                </a:lnTo>
                <a:lnTo>
                  <a:pt x="1121" y="1493"/>
                </a:lnTo>
                <a:lnTo>
                  <a:pt x="1120" y="1490"/>
                </a:lnTo>
                <a:lnTo>
                  <a:pt x="1121" y="1481"/>
                </a:lnTo>
                <a:lnTo>
                  <a:pt x="1122" y="1472"/>
                </a:lnTo>
                <a:lnTo>
                  <a:pt x="1122" y="1454"/>
                </a:lnTo>
                <a:lnTo>
                  <a:pt x="1122" y="1435"/>
                </a:lnTo>
                <a:lnTo>
                  <a:pt x="1123" y="1418"/>
                </a:lnTo>
                <a:lnTo>
                  <a:pt x="1123" y="1400"/>
                </a:lnTo>
                <a:lnTo>
                  <a:pt x="1123" y="1389"/>
                </a:lnTo>
                <a:lnTo>
                  <a:pt x="1123" y="1377"/>
                </a:lnTo>
                <a:lnTo>
                  <a:pt x="1120" y="1358"/>
                </a:lnTo>
                <a:lnTo>
                  <a:pt x="1116" y="1340"/>
                </a:lnTo>
                <a:lnTo>
                  <a:pt x="1114" y="1321"/>
                </a:lnTo>
                <a:lnTo>
                  <a:pt x="1114" y="1301"/>
                </a:lnTo>
                <a:lnTo>
                  <a:pt x="1114" y="1287"/>
                </a:lnTo>
                <a:lnTo>
                  <a:pt x="1113" y="1272"/>
                </a:lnTo>
                <a:lnTo>
                  <a:pt x="1113" y="1271"/>
                </a:lnTo>
                <a:lnTo>
                  <a:pt x="1113" y="1270"/>
                </a:lnTo>
                <a:lnTo>
                  <a:pt x="1113" y="1268"/>
                </a:lnTo>
                <a:lnTo>
                  <a:pt x="1112" y="1267"/>
                </a:lnTo>
                <a:lnTo>
                  <a:pt x="1112" y="1263"/>
                </a:lnTo>
                <a:lnTo>
                  <a:pt x="1110" y="1258"/>
                </a:lnTo>
                <a:lnTo>
                  <a:pt x="1110" y="1250"/>
                </a:lnTo>
                <a:lnTo>
                  <a:pt x="1109" y="1242"/>
                </a:lnTo>
                <a:lnTo>
                  <a:pt x="1109" y="1236"/>
                </a:lnTo>
                <a:lnTo>
                  <a:pt x="1108" y="1231"/>
                </a:lnTo>
                <a:lnTo>
                  <a:pt x="1105" y="1216"/>
                </a:lnTo>
                <a:lnTo>
                  <a:pt x="1101" y="1201"/>
                </a:lnTo>
                <a:lnTo>
                  <a:pt x="1099" y="1187"/>
                </a:lnTo>
                <a:lnTo>
                  <a:pt x="1096" y="1174"/>
                </a:lnTo>
                <a:lnTo>
                  <a:pt x="1093" y="1161"/>
                </a:lnTo>
                <a:lnTo>
                  <a:pt x="1089" y="1148"/>
                </a:lnTo>
                <a:lnTo>
                  <a:pt x="1086" y="1132"/>
                </a:lnTo>
                <a:lnTo>
                  <a:pt x="1082" y="1116"/>
                </a:lnTo>
                <a:lnTo>
                  <a:pt x="1080" y="1099"/>
                </a:lnTo>
                <a:lnTo>
                  <a:pt x="1078" y="1083"/>
                </a:lnTo>
                <a:lnTo>
                  <a:pt x="1077" y="1071"/>
                </a:lnTo>
                <a:lnTo>
                  <a:pt x="1075" y="1061"/>
                </a:lnTo>
                <a:lnTo>
                  <a:pt x="1073" y="1049"/>
                </a:lnTo>
                <a:lnTo>
                  <a:pt x="1071" y="1039"/>
                </a:lnTo>
                <a:lnTo>
                  <a:pt x="1068" y="1025"/>
                </a:lnTo>
                <a:lnTo>
                  <a:pt x="1065" y="1012"/>
                </a:lnTo>
                <a:lnTo>
                  <a:pt x="1063" y="998"/>
                </a:lnTo>
                <a:lnTo>
                  <a:pt x="1061" y="985"/>
                </a:lnTo>
                <a:lnTo>
                  <a:pt x="1061" y="972"/>
                </a:lnTo>
                <a:lnTo>
                  <a:pt x="1061" y="960"/>
                </a:lnTo>
                <a:lnTo>
                  <a:pt x="1060" y="949"/>
                </a:lnTo>
                <a:lnTo>
                  <a:pt x="1059" y="937"/>
                </a:lnTo>
                <a:lnTo>
                  <a:pt x="1055" y="935"/>
                </a:lnTo>
                <a:lnTo>
                  <a:pt x="1052" y="932"/>
                </a:lnTo>
                <a:lnTo>
                  <a:pt x="1055" y="935"/>
                </a:lnTo>
                <a:lnTo>
                  <a:pt x="1059" y="937"/>
                </a:lnTo>
                <a:lnTo>
                  <a:pt x="1063" y="935"/>
                </a:lnTo>
                <a:lnTo>
                  <a:pt x="1064" y="931"/>
                </a:lnTo>
                <a:lnTo>
                  <a:pt x="1065" y="928"/>
                </a:lnTo>
                <a:lnTo>
                  <a:pt x="1063" y="924"/>
                </a:lnTo>
                <a:lnTo>
                  <a:pt x="1060" y="910"/>
                </a:lnTo>
                <a:lnTo>
                  <a:pt x="1058" y="896"/>
                </a:lnTo>
                <a:lnTo>
                  <a:pt x="1058" y="895"/>
                </a:lnTo>
                <a:lnTo>
                  <a:pt x="1058" y="893"/>
                </a:lnTo>
                <a:lnTo>
                  <a:pt x="1058" y="888"/>
                </a:lnTo>
                <a:lnTo>
                  <a:pt x="1058" y="883"/>
                </a:lnTo>
                <a:lnTo>
                  <a:pt x="1055" y="876"/>
                </a:lnTo>
                <a:lnTo>
                  <a:pt x="1051" y="869"/>
                </a:lnTo>
                <a:lnTo>
                  <a:pt x="1051" y="867"/>
                </a:lnTo>
                <a:lnTo>
                  <a:pt x="1051" y="864"/>
                </a:lnTo>
                <a:lnTo>
                  <a:pt x="1052" y="857"/>
                </a:lnTo>
                <a:lnTo>
                  <a:pt x="1052" y="850"/>
                </a:lnTo>
                <a:lnTo>
                  <a:pt x="1050" y="843"/>
                </a:lnTo>
                <a:lnTo>
                  <a:pt x="1047" y="836"/>
                </a:lnTo>
                <a:lnTo>
                  <a:pt x="1046" y="826"/>
                </a:lnTo>
                <a:lnTo>
                  <a:pt x="1047" y="817"/>
                </a:lnTo>
                <a:lnTo>
                  <a:pt x="1045" y="805"/>
                </a:lnTo>
                <a:lnTo>
                  <a:pt x="1041" y="794"/>
                </a:lnTo>
                <a:lnTo>
                  <a:pt x="1041" y="792"/>
                </a:lnTo>
                <a:lnTo>
                  <a:pt x="1041" y="791"/>
                </a:lnTo>
                <a:lnTo>
                  <a:pt x="1040" y="787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2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1"/>
                </a:lnTo>
                <a:lnTo>
                  <a:pt x="1041" y="782"/>
                </a:lnTo>
                <a:close/>
                <a:moveTo>
                  <a:pt x="472" y="1324"/>
                </a:move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0" y="1324"/>
                </a:lnTo>
                <a:lnTo>
                  <a:pt x="468" y="1324"/>
                </a:lnTo>
                <a:lnTo>
                  <a:pt x="466" y="1329"/>
                </a:lnTo>
                <a:lnTo>
                  <a:pt x="464" y="1334"/>
                </a:lnTo>
                <a:lnTo>
                  <a:pt x="458" y="1345"/>
                </a:lnTo>
                <a:lnTo>
                  <a:pt x="454" y="1357"/>
                </a:lnTo>
                <a:lnTo>
                  <a:pt x="451" y="1369"/>
                </a:lnTo>
                <a:lnTo>
                  <a:pt x="449" y="1382"/>
                </a:lnTo>
                <a:lnTo>
                  <a:pt x="447" y="1383"/>
                </a:lnTo>
                <a:lnTo>
                  <a:pt x="446" y="1384"/>
                </a:lnTo>
                <a:lnTo>
                  <a:pt x="446" y="1385"/>
                </a:lnTo>
                <a:lnTo>
                  <a:pt x="447" y="1386"/>
                </a:lnTo>
                <a:lnTo>
                  <a:pt x="447" y="1388"/>
                </a:lnTo>
                <a:lnTo>
                  <a:pt x="447" y="1390"/>
                </a:lnTo>
                <a:lnTo>
                  <a:pt x="447" y="1393"/>
                </a:lnTo>
                <a:lnTo>
                  <a:pt x="446" y="1398"/>
                </a:lnTo>
                <a:lnTo>
                  <a:pt x="451" y="1398"/>
                </a:lnTo>
                <a:lnTo>
                  <a:pt x="454" y="1399"/>
                </a:lnTo>
                <a:lnTo>
                  <a:pt x="453" y="1405"/>
                </a:lnTo>
                <a:lnTo>
                  <a:pt x="452" y="1412"/>
                </a:lnTo>
                <a:lnTo>
                  <a:pt x="450" y="1414"/>
                </a:lnTo>
                <a:lnTo>
                  <a:pt x="449" y="1418"/>
                </a:lnTo>
                <a:lnTo>
                  <a:pt x="447" y="1430"/>
                </a:lnTo>
                <a:lnTo>
                  <a:pt x="446" y="1440"/>
                </a:lnTo>
                <a:lnTo>
                  <a:pt x="444" y="1451"/>
                </a:lnTo>
                <a:lnTo>
                  <a:pt x="443" y="1461"/>
                </a:lnTo>
                <a:lnTo>
                  <a:pt x="442" y="1472"/>
                </a:lnTo>
                <a:lnTo>
                  <a:pt x="440" y="1482"/>
                </a:lnTo>
                <a:lnTo>
                  <a:pt x="439" y="1500"/>
                </a:lnTo>
                <a:lnTo>
                  <a:pt x="439" y="1518"/>
                </a:lnTo>
                <a:lnTo>
                  <a:pt x="442" y="1537"/>
                </a:lnTo>
                <a:lnTo>
                  <a:pt x="445" y="1556"/>
                </a:lnTo>
                <a:lnTo>
                  <a:pt x="447" y="1551"/>
                </a:lnTo>
                <a:lnTo>
                  <a:pt x="449" y="1545"/>
                </a:lnTo>
                <a:lnTo>
                  <a:pt x="450" y="1525"/>
                </a:lnTo>
                <a:lnTo>
                  <a:pt x="452" y="1505"/>
                </a:lnTo>
                <a:lnTo>
                  <a:pt x="453" y="1486"/>
                </a:lnTo>
                <a:lnTo>
                  <a:pt x="453" y="1466"/>
                </a:lnTo>
                <a:lnTo>
                  <a:pt x="454" y="1458"/>
                </a:lnTo>
                <a:lnTo>
                  <a:pt x="456" y="1448"/>
                </a:lnTo>
                <a:lnTo>
                  <a:pt x="459" y="1431"/>
                </a:lnTo>
                <a:lnTo>
                  <a:pt x="463" y="1413"/>
                </a:lnTo>
                <a:lnTo>
                  <a:pt x="463" y="1411"/>
                </a:lnTo>
                <a:lnTo>
                  <a:pt x="464" y="1409"/>
                </a:lnTo>
                <a:lnTo>
                  <a:pt x="466" y="1407"/>
                </a:lnTo>
                <a:lnTo>
                  <a:pt x="467" y="1404"/>
                </a:lnTo>
                <a:lnTo>
                  <a:pt x="467" y="1403"/>
                </a:lnTo>
                <a:lnTo>
                  <a:pt x="467" y="1400"/>
                </a:lnTo>
                <a:lnTo>
                  <a:pt x="470" y="1398"/>
                </a:lnTo>
                <a:lnTo>
                  <a:pt x="471" y="1396"/>
                </a:lnTo>
                <a:lnTo>
                  <a:pt x="471" y="1393"/>
                </a:lnTo>
                <a:lnTo>
                  <a:pt x="471" y="1391"/>
                </a:lnTo>
                <a:lnTo>
                  <a:pt x="477" y="1374"/>
                </a:lnTo>
                <a:lnTo>
                  <a:pt x="482" y="1356"/>
                </a:lnTo>
                <a:lnTo>
                  <a:pt x="491" y="1340"/>
                </a:lnTo>
                <a:lnTo>
                  <a:pt x="500" y="1323"/>
                </a:lnTo>
                <a:lnTo>
                  <a:pt x="502" y="1321"/>
                </a:lnTo>
                <a:lnTo>
                  <a:pt x="505" y="1317"/>
                </a:lnTo>
                <a:lnTo>
                  <a:pt x="505" y="1314"/>
                </a:lnTo>
                <a:lnTo>
                  <a:pt x="505" y="1310"/>
                </a:lnTo>
                <a:lnTo>
                  <a:pt x="500" y="1314"/>
                </a:lnTo>
                <a:lnTo>
                  <a:pt x="494" y="1317"/>
                </a:lnTo>
                <a:lnTo>
                  <a:pt x="487" y="1327"/>
                </a:lnTo>
                <a:lnTo>
                  <a:pt x="481" y="1336"/>
                </a:lnTo>
                <a:lnTo>
                  <a:pt x="475" y="1345"/>
                </a:lnTo>
                <a:lnTo>
                  <a:pt x="471" y="1356"/>
                </a:lnTo>
                <a:lnTo>
                  <a:pt x="466" y="1367"/>
                </a:lnTo>
                <a:lnTo>
                  <a:pt x="463" y="1377"/>
                </a:lnTo>
                <a:lnTo>
                  <a:pt x="459" y="1377"/>
                </a:lnTo>
                <a:lnTo>
                  <a:pt x="457" y="1377"/>
                </a:lnTo>
                <a:lnTo>
                  <a:pt x="458" y="1368"/>
                </a:lnTo>
                <a:lnTo>
                  <a:pt x="460" y="1358"/>
                </a:lnTo>
                <a:lnTo>
                  <a:pt x="466" y="1342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lnTo>
                  <a:pt x="472" y="1324"/>
                </a:lnTo>
                <a:close/>
                <a:moveTo>
                  <a:pt x="463" y="1362"/>
                </a:moveTo>
                <a:lnTo>
                  <a:pt x="463" y="1363"/>
                </a:lnTo>
                <a:lnTo>
                  <a:pt x="464" y="1363"/>
                </a:lnTo>
                <a:lnTo>
                  <a:pt x="464" y="1361"/>
                </a:lnTo>
                <a:lnTo>
                  <a:pt x="464" y="1359"/>
                </a:lnTo>
                <a:lnTo>
                  <a:pt x="468" y="1352"/>
                </a:lnTo>
                <a:lnTo>
                  <a:pt x="471" y="1345"/>
                </a:lnTo>
                <a:lnTo>
                  <a:pt x="467" y="1348"/>
                </a:lnTo>
                <a:lnTo>
                  <a:pt x="465" y="1351"/>
                </a:lnTo>
                <a:lnTo>
                  <a:pt x="464" y="1355"/>
                </a:lnTo>
                <a:lnTo>
                  <a:pt x="464" y="1359"/>
                </a:lnTo>
                <a:lnTo>
                  <a:pt x="463" y="1361"/>
                </a:lnTo>
                <a:lnTo>
                  <a:pt x="463" y="1362"/>
                </a:lnTo>
                <a:close/>
                <a:moveTo>
                  <a:pt x="472" y="1340"/>
                </a:moveTo>
                <a:lnTo>
                  <a:pt x="475" y="1336"/>
                </a:lnTo>
                <a:lnTo>
                  <a:pt x="478" y="1333"/>
                </a:lnTo>
                <a:lnTo>
                  <a:pt x="480" y="1328"/>
                </a:lnTo>
                <a:lnTo>
                  <a:pt x="482" y="1323"/>
                </a:lnTo>
                <a:lnTo>
                  <a:pt x="478" y="1327"/>
                </a:lnTo>
                <a:lnTo>
                  <a:pt x="475" y="1331"/>
                </a:lnTo>
                <a:lnTo>
                  <a:pt x="473" y="1335"/>
                </a:lnTo>
                <a:lnTo>
                  <a:pt x="472" y="1340"/>
                </a:lnTo>
                <a:close/>
                <a:moveTo>
                  <a:pt x="506" y="1342"/>
                </a:moveTo>
                <a:lnTo>
                  <a:pt x="511" y="1334"/>
                </a:lnTo>
                <a:lnTo>
                  <a:pt x="515" y="1326"/>
                </a:lnTo>
                <a:lnTo>
                  <a:pt x="516" y="1322"/>
                </a:lnTo>
                <a:lnTo>
                  <a:pt x="519" y="1319"/>
                </a:lnTo>
                <a:lnTo>
                  <a:pt x="520" y="1314"/>
                </a:lnTo>
                <a:lnTo>
                  <a:pt x="521" y="1309"/>
                </a:lnTo>
                <a:lnTo>
                  <a:pt x="512" y="1322"/>
                </a:lnTo>
                <a:lnTo>
                  <a:pt x="504" y="1336"/>
                </a:lnTo>
                <a:lnTo>
                  <a:pt x="501" y="1343"/>
                </a:lnTo>
                <a:lnTo>
                  <a:pt x="499" y="1349"/>
                </a:lnTo>
                <a:lnTo>
                  <a:pt x="498" y="1355"/>
                </a:lnTo>
                <a:lnTo>
                  <a:pt x="498" y="1359"/>
                </a:lnTo>
                <a:lnTo>
                  <a:pt x="501" y="1350"/>
                </a:lnTo>
                <a:lnTo>
                  <a:pt x="506" y="1342"/>
                </a:lnTo>
                <a:close/>
                <a:moveTo>
                  <a:pt x="453" y="1389"/>
                </a:moveTo>
                <a:lnTo>
                  <a:pt x="451" y="1390"/>
                </a:lnTo>
                <a:lnTo>
                  <a:pt x="450" y="1390"/>
                </a:lnTo>
                <a:lnTo>
                  <a:pt x="451" y="1390"/>
                </a:lnTo>
                <a:lnTo>
                  <a:pt x="453" y="1389"/>
                </a:lnTo>
                <a:lnTo>
                  <a:pt x="454" y="1384"/>
                </a:lnTo>
                <a:lnTo>
                  <a:pt x="456" y="1379"/>
                </a:lnTo>
                <a:lnTo>
                  <a:pt x="456" y="1382"/>
                </a:lnTo>
                <a:lnTo>
                  <a:pt x="457" y="1384"/>
                </a:lnTo>
                <a:lnTo>
                  <a:pt x="456" y="1386"/>
                </a:lnTo>
                <a:lnTo>
                  <a:pt x="453" y="1389"/>
                </a:lnTo>
                <a:close/>
                <a:moveTo>
                  <a:pt x="513" y="498"/>
                </a:moveTo>
                <a:lnTo>
                  <a:pt x="512" y="497"/>
                </a:lnTo>
                <a:lnTo>
                  <a:pt x="512" y="497"/>
                </a:lnTo>
                <a:lnTo>
                  <a:pt x="511" y="497"/>
                </a:lnTo>
                <a:lnTo>
                  <a:pt x="511" y="498"/>
                </a:lnTo>
                <a:lnTo>
                  <a:pt x="511" y="498"/>
                </a:lnTo>
                <a:lnTo>
                  <a:pt x="512" y="498"/>
                </a:lnTo>
                <a:lnTo>
                  <a:pt x="512" y="498"/>
                </a:lnTo>
                <a:lnTo>
                  <a:pt x="513" y="498"/>
                </a:lnTo>
                <a:close/>
                <a:moveTo>
                  <a:pt x="490" y="496"/>
                </a:moveTo>
                <a:lnTo>
                  <a:pt x="493" y="504"/>
                </a:lnTo>
                <a:lnTo>
                  <a:pt x="495" y="513"/>
                </a:lnTo>
                <a:lnTo>
                  <a:pt x="498" y="523"/>
                </a:lnTo>
                <a:lnTo>
                  <a:pt x="501" y="532"/>
                </a:lnTo>
                <a:lnTo>
                  <a:pt x="507" y="540"/>
                </a:lnTo>
                <a:lnTo>
                  <a:pt x="513" y="550"/>
                </a:lnTo>
                <a:lnTo>
                  <a:pt x="513" y="547"/>
                </a:lnTo>
                <a:lnTo>
                  <a:pt x="514" y="547"/>
                </a:lnTo>
                <a:lnTo>
                  <a:pt x="513" y="545"/>
                </a:lnTo>
                <a:lnTo>
                  <a:pt x="513" y="544"/>
                </a:lnTo>
                <a:lnTo>
                  <a:pt x="511" y="536"/>
                </a:lnTo>
                <a:lnTo>
                  <a:pt x="508" y="529"/>
                </a:lnTo>
                <a:lnTo>
                  <a:pt x="507" y="520"/>
                </a:lnTo>
                <a:lnTo>
                  <a:pt x="507" y="512"/>
                </a:lnTo>
                <a:lnTo>
                  <a:pt x="507" y="510"/>
                </a:lnTo>
                <a:lnTo>
                  <a:pt x="507" y="508"/>
                </a:lnTo>
                <a:lnTo>
                  <a:pt x="506" y="505"/>
                </a:lnTo>
                <a:lnTo>
                  <a:pt x="504" y="503"/>
                </a:lnTo>
                <a:lnTo>
                  <a:pt x="501" y="501"/>
                </a:lnTo>
                <a:lnTo>
                  <a:pt x="501" y="498"/>
                </a:lnTo>
                <a:lnTo>
                  <a:pt x="504" y="497"/>
                </a:lnTo>
                <a:lnTo>
                  <a:pt x="507" y="496"/>
                </a:lnTo>
                <a:lnTo>
                  <a:pt x="502" y="494"/>
                </a:lnTo>
                <a:lnTo>
                  <a:pt x="498" y="491"/>
                </a:lnTo>
                <a:lnTo>
                  <a:pt x="495" y="490"/>
                </a:lnTo>
                <a:lnTo>
                  <a:pt x="493" y="488"/>
                </a:lnTo>
                <a:lnTo>
                  <a:pt x="492" y="487"/>
                </a:lnTo>
                <a:lnTo>
                  <a:pt x="492" y="485"/>
                </a:lnTo>
                <a:lnTo>
                  <a:pt x="492" y="484"/>
                </a:lnTo>
                <a:lnTo>
                  <a:pt x="493" y="482"/>
                </a:lnTo>
                <a:lnTo>
                  <a:pt x="494" y="481"/>
                </a:lnTo>
                <a:lnTo>
                  <a:pt x="493" y="480"/>
                </a:lnTo>
                <a:lnTo>
                  <a:pt x="492" y="480"/>
                </a:lnTo>
                <a:lnTo>
                  <a:pt x="491" y="478"/>
                </a:lnTo>
                <a:lnTo>
                  <a:pt x="488" y="480"/>
                </a:lnTo>
                <a:lnTo>
                  <a:pt x="486" y="482"/>
                </a:lnTo>
                <a:lnTo>
                  <a:pt x="486" y="484"/>
                </a:lnTo>
                <a:lnTo>
                  <a:pt x="486" y="487"/>
                </a:lnTo>
                <a:lnTo>
                  <a:pt x="488" y="491"/>
                </a:lnTo>
                <a:lnTo>
                  <a:pt x="490" y="496"/>
                </a:lnTo>
                <a:close/>
                <a:moveTo>
                  <a:pt x="445" y="508"/>
                </a:moveTo>
                <a:lnTo>
                  <a:pt x="447" y="508"/>
                </a:lnTo>
                <a:lnTo>
                  <a:pt x="449" y="506"/>
                </a:lnTo>
                <a:lnTo>
                  <a:pt x="452" y="505"/>
                </a:lnTo>
                <a:lnTo>
                  <a:pt x="457" y="504"/>
                </a:lnTo>
                <a:lnTo>
                  <a:pt x="457" y="503"/>
                </a:lnTo>
                <a:lnTo>
                  <a:pt x="457" y="501"/>
                </a:lnTo>
                <a:lnTo>
                  <a:pt x="457" y="503"/>
                </a:lnTo>
                <a:lnTo>
                  <a:pt x="457" y="504"/>
                </a:lnTo>
                <a:lnTo>
                  <a:pt x="452" y="505"/>
                </a:lnTo>
                <a:lnTo>
                  <a:pt x="449" y="506"/>
                </a:lnTo>
                <a:lnTo>
                  <a:pt x="447" y="508"/>
                </a:lnTo>
                <a:lnTo>
                  <a:pt x="445" y="508"/>
                </a:lnTo>
                <a:close/>
                <a:moveTo>
                  <a:pt x="444" y="477"/>
                </a:moveTo>
                <a:lnTo>
                  <a:pt x="440" y="478"/>
                </a:lnTo>
                <a:lnTo>
                  <a:pt x="438" y="480"/>
                </a:lnTo>
                <a:lnTo>
                  <a:pt x="436" y="482"/>
                </a:lnTo>
                <a:lnTo>
                  <a:pt x="436" y="485"/>
                </a:lnTo>
                <a:lnTo>
                  <a:pt x="435" y="488"/>
                </a:lnTo>
                <a:lnTo>
                  <a:pt x="433" y="489"/>
                </a:lnTo>
                <a:lnTo>
                  <a:pt x="432" y="489"/>
                </a:lnTo>
                <a:lnTo>
                  <a:pt x="430" y="489"/>
                </a:lnTo>
                <a:lnTo>
                  <a:pt x="429" y="489"/>
                </a:lnTo>
                <a:lnTo>
                  <a:pt x="428" y="488"/>
                </a:lnTo>
                <a:lnTo>
                  <a:pt x="428" y="485"/>
                </a:lnTo>
                <a:lnTo>
                  <a:pt x="428" y="484"/>
                </a:lnTo>
                <a:lnTo>
                  <a:pt x="430" y="477"/>
                </a:lnTo>
                <a:lnTo>
                  <a:pt x="432" y="471"/>
                </a:lnTo>
                <a:lnTo>
                  <a:pt x="437" y="471"/>
                </a:lnTo>
                <a:lnTo>
                  <a:pt x="442" y="470"/>
                </a:lnTo>
                <a:lnTo>
                  <a:pt x="444" y="470"/>
                </a:lnTo>
                <a:lnTo>
                  <a:pt x="445" y="470"/>
                </a:lnTo>
                <a:lnTo>
                  <a:pt x="446" y="470"/>
                </a:lnTo>
                <a:lnTo>
                  <a:pt x="447" y="473"/>
                </a:lnTo>
                <a:lnTo>
                  <a:pt x="447" y="475"/>
                </a:lnTo>
                <a:lnTo>
                  <a:pt x="447" y="476"/>
                </a:lnTo>
                <a:lnTo>
                  <a:pt x="446" y="477"/>
                </a:lnTo>
                <a:lnTo>
                  <a:pt x="444" y="477"/>
                </a:lnTo>
                <a:close/>
                <a:moveTo>
                  <a:pt x="440" y="508"/>
                </a:moveTo>
                <a:lnTo>
                  <a:pt x="438" y="513"/>
                </a:lnTo>
                <a:lnTo>
                  <a:pt x="436" y="518"/>
                </a:lnTo>
                <a:lnTo>
                  <a:pt x="432" y="522"/>
                </a:lnTo>
                <a:lnTo>
                  <a:pt x="428" y="525"/>
                </a:lnTo>
                <a:lnTo>
                  <a:pt x="432" y="522"/>
                </a:lnTo>
                <a:lnTo>
                  <a:pt x="436" y="518"/>
                </a:lnTo>
                <a:lnTo>
                  <a:pt x="438" y="513"/>
                </a:lnTo>
                <a:lnTo>
                  <a:pt x="440" y="508"/>
                </a:lnTo>
                <a:lnTo>
                  <a:pt x="442" y="508"/>
                </a:lnTo>
                <a:lnTo>
                  <a:pt x="444" y="508"/>
                </a:lnTo>
                <a:lnTo>
                  <a:pt x="442" y="508"/>
                </a:lnTo>
                <a:lnTo>
                  <a:pt x="440" y="508"/>
                </a:lnTo>
                <a:close/>
                <a:moveTo>
                  <a:pt x="399" y="592"/>
                </a:moveTo>
                <a:lnTo>
                  <a:pt x="399" y="594"/>
                </a:lnTo>
                <a:lnTo>
                  <a:pt x="399" y="595"/>
                </a:lnTo>
                <a:lnTo>
                  <a:pt x="394" y="611"/>
                </a:lnTo>
                <a:lnTo>
                  <a:pt x="387" y="628"/>
                </a:lnTo>
                <a:lnTo>
                  <a:pt x="383" y="638"/>
                </a:lnTo>
                <a:lnTo>
                  <a:pt x="381" y="651"/>
                </a:lnTo>
                <a:lnTo>
                  <a:pt x="380" y="654"/>
                </a:lnTo>
                <a:lnTo>
                  <a:pt x="380" y="656"/>
                </a:lnTo>
                <a:lnTo>
                  <a:pt x="378" y="654"/>
                </a:lnTo>
                <a:lnTo>
                  <a:pt x="377" y="652"/>
                </a:lnTo>
                <a:lnTo>
                  <a:pt x="376" y="650"/>
                </a:lnTo>
                <a:lnTo>
                  <a:pt x="376" y="649"/>
                </a:lnTo>
                <a:lnTo>
                  <a:pt x="375" y="649"/>
                </a:lnTo>
                <a:lnTo>
                  <a:pt x="373" y="650"/>
                </a:lnTo>
                <a:lnTo>
                  <a:pt x="374" y="643"/>
                </a:lnTo>
                <a:lnTo>
                  <a:pt x="376" y="635"/>
                </a:lnTo>
                <a:lnTo>
                  <a:pt x="376" y="635"/>
                </a:lnTo>
                <a:lnTo>
                  <a:pt x="376" y="631"/>
                </a:lnTo>
                <a:lnTo>
                  <a:pt x="377" y="628"/>
                </a:lnTo>
                <a:lnTo>
                  <a:pt x="378" y="627"/>
                </a:lnTo>
                <a:lnTo>
                  <a:pt x="380" y="624"/>
                </a:lnTo>
                <a:lnTo>
                  <a:pt x="381" y="623"/>
                </a:lnTo>
                <a:lnTo>
                  <a:pt x="381" y="621"/>
                </a:lnTo>
                <a:lnTo>
                  <a:pt x="381" y="617"/>
                </a:lnTo>
                <a:lnTo>
                  <a:pt x="382" y="615"/>
                </a:lnTo>
                <a:lnTo>
                  <a:pt x="383" y="614"/>
                </a:lnTo>
                <a:lnTo>
                  <a:pt x="384" y="611"/>
                </a:lnTo>
                <a:lnTo>
                  <a:pt x="385" y="606"/>
                </a:lnTo>
                <a:lnTo>
                  <a:pt x="388" y="600"/>
                </a:lnTo>
                <a:lnTo>
                  <a:pt x="391" y="595"/>
                </a:lnTo>
                <a:lnTo>
                  <a:pt x="395" y="590"/>
                </a:lnTo>
                <a:lnTo>
                  <a:pt x="397" y="588"/>
                </a:lnTo>
                <a:lnTo>
                  <a:pt x="399" y="587"/>
                </a:lnTo>
                <a:lnTo>
                  <a:pt x="401" y="589"/>
                </a:lnTo>
                <a:lnTo>
                  <a:pt x="399" y="592"/>
                </a:lnTo>
                <a:close/>
                <a:moveTo>
                  <a:pt x="367" y="630"/>
                </a:moveTo>
                <a:lnTo>
                  <a:pt x="366" y="635"/>
                </a:lnTo>
                <a:lnTo>
                  <a:pt x="364" y="638"/>
                </a:lnTo>
                <a:lnTo>
                  <a:pt x="366" y="643"/>
                </a:lnTo>
                <a:lnTo>
                  <a:pt x="367" y="648"/>
                </a:lnTo>
                <a:lnTo>
                  <a:pt x="364" y="647"/>
                </a:lnTo>
                <a:lnTo>
                  <a:pt x="363" y="645"/>
                </a:lnTo>
                <a:lnTo>
                  <a:pt x="363" y="645"/>
                </a:lnTo>
                <a:lnTo>
                  <a:pt x="356" y="643"/>
                </a:lnTo>
                <a:lnTo>
                  <a:pt x="350" y="642"/>
                </a:lnTo>
                <a:lnTo>
                  <a:pt x="337" y="639"/>
                </a:lnTo>
                <a:lnTo>
                  <a:pt x="325" y="637"/>
                </a:lnTo>
                <a:lnTo>
                  <a:pt x="323" y="637"/>
                </a:lnTo>
                <a:lnTo>
                  <a:pt x="322" y="637"/>
                </a:lnTo>
                <a:lnTo>
                  <a:pt x="321" y="635"/>
                </a:lnTo>
                <a:lnTo>
                  <a:pt x="319" y="634"/>
                </a:lnTo>
                <a:lnTo>
                  <a:pt x="316" y="634"/>
                </a:lnTo>
                <a:lnTo>
                  <a:pt x="315" y="632"/>
                </a:lnTo>
                <a:lnTo>
                  <a:pt x="312" y="632"/>
                </a:lnTo>
                <a:lnTo>
                  <a:pt x="309" y="631"/>
                </a:lnTo>
                <a:lnTo>
                  <a:pt x="307" y="629"/>
                </a:lnTo>
                <a:lnTo>
                  <a:pt x="305" y="627"/>
                </a:lnTo>
                <a:lnTo>
                  <a:pt x="307" y="629"/>
                </a:lnTo>
                <a:lnTo>
                  <a:pt x="309" y="631"/>
                </a:lnTo>
                <a:lnTo>
                  <a:pt x="312" y="632"/>
                </a:lnTo>
                <a:lnTo>
                  <a:pt x="315" y="632"/>
                </a:lnTo>
                <a:lnTo>
                  <a:pt x="313" y="629"/>
                </a:lnTo>
                <a:lnTo>
                  <a:pt x="312" y="625"/>
                </a:lnTo>
                <a:lnTo>
                  <a:pt x="323" y="628"/>
                </a:lnTo>
                <a:lnTo>
                  <a:pt x="335" y="630"/>
                </a:lnTo>
                <a:lnTo>
                  <a:pt x="347" y="632"/>
                </a:lnTo>
                <a:lnTo>
                  <a:pt x="359" y="635"/>
                </a:lnTo>
                <a:lnTo>
                  <a:pt x="359" y="623"/>
                </a:lnTo>
                <a:lnTo>
                  <a:pt x="360" y="611"/>
                </a:lnTo>
                <a:lnTo>
                  <a:pt x="360" y="600"/>
                </a:lnTo>
                <a:lnTo>
                  <a:pt x="362" y="587"/>
                </a:lnTo>
                <a:lnTo>
                  <a:pt x="366" y="576"/>
                </a:lnTo>
                <a:lnTo>
                  <a:pt x="370" y="565"/>
                </a:lnTo>
                <a:lnTo>
                  <a:pt x="371" y="562"/>
                </a:lnTo>
                <a:lnTo>
                  <a:pt x="373" y="559"/>
                </a:lnTo>
                <a:lnTo>
                  <a:pt x="374" y="557"/>
                </a:lnTo>
                <a:lnTo>
                  <a:pt x="375" y="554"/>
                </a:lnTo>
                <a:lnTo>
                  <a:pt x="377" y="553"/>
                </a:lnTo>
                <a:lnTo>
                  <a:pt x="381" y="554"/>
                </a:lnTo>
                <a:lnTo>
                  <a:pt x="385" y="548"/>
                </a:lnTo>
                <a:lnTo>
                  <a:pt x="391" y="543"/>
                </a:lnTo>
                <a:lnTo>
                  <a:pt x="385" y="548"/>
                </a:lnTo>
                <a:lnTo>
                  <a:pt x="381" y="554"/>
                </a:lnTo>
                <a:lnTo>
                  <a:pt x="381" y="557"/>
                </a:lnTo>
                <a:lnTo>
                  <a:pt x="381" y="560"/>
                </a:lnTo>
                <a:lnTo>
                  <a:pt x="381" y="561"/>
                </a:lnTo>
                <a:lnTo>
                  <a:pt x="381" y="562"/>
                </a:lnTo>
                <a:lnTo>
                  <a:pt x="378" y="566"/>
                </a:lnTo>
                <a:lnTo>
                  <a:pt x="377" y="568"/>
                </a:lnTo>
                <a:lnTo>
                  <a:pt x="377" y="572"/>
                </a:lnTo>
                <a:lnTo>
                  <a:pt x="377" y="575"/>
                </a:lnTo>
                <a:lnTo>
                  <a:pt x="376" y="580"/>
                </a:lnTo>
                <a:lnTo>
                  <a:pt x="376" y="585"/>
                </a:lnTo>
                <a:lnTo>
                  <a:pt x="374" y="587"/>
                </a:lnTo>
                <a:lnTo>
                  <a:pt x="373" y="590"/>
                </a:lnTo>
                <a:lnTo>
                  <a:pt x="373" y="593"/>
                </a:lnTo>
                <a:lnTo>
                  <a:pt x="373" y="596"/>
                </a:lnTo>
                <a:lnTo>
                  <a:pt x="369" y="614"/>
                </a:lnTo>
                <a:lnTo>
                  <a:pt x="367" y="630"/>
                </a:lnTo>
                <a:close/>
                <a:moveTo>
                  <a:pt x="368" y="649"/>
                </a:moveTo>
                <a:lnTo>
                  <a:pt x="370" y="650"/>
                </a:lnTo>
                <a:lnTo>
                  <a:pt x="371" y="650"/>
                </a:lnTo>
                <a:lnTo>
                  <a:pt x="370" y="650"/>
                </a:lnTo>
                <a:lnTo>
                  <a:pt x="368" y="649"/>
                </a:lnTo>
                <a:close/>
                <a:moveTo>
                  <a:pt x="471" y="560"/>
                </a:moveTo>
                <a:lnTo>
                  <a:pt x="472" y="567"/>
                </a:lnTo>
                <a:lnTo>
                  <a:pt x="474" y="573"/>
                </a:lnTo>
                <a:lnTo>
                  <a:pt x="472" y="567"/>
                </a:lnTo>
                <a:lnTo>
                  <a:pt x="471" y="560"/>
                </a:lnTo>
                <a:lnTo>
                  <a:pt x="467" y="554"/>
                </a:lnTo>
                <a:lnTo>
                  <a:pt x="465" y="547"/>
                </a:lnTo>
                <a:lnTo>
                  <a:pt x="467" y="554"/>
                </a:lnTo>
                <a:lnTo>
                  <a:pt x="471" y="560"/>
                </a:lnTo>
                <a:close/>
                <a:moveTo>
                  <a:pt x="475" y="548"/>
                </a:moveTo>
                <a:lnTo>
                  <a:pt x="477" y="551"/>
                </a:lnTo>
                <a:lnTo>
                  <a:pt x="477" y="552"/>
                </a:lnTo>
                <a:lnTo>
                  <a:pt x="478" y="553"/>
                </a:lnTo>
                <a:lnTo>
                  <a:pt x="480" y="554"/>
                </a:lnTo>
                <a:lnTo>
                  <a:pt x="480" y="554"/>
                </a:lnTo>
                <a:lnTo>
                  <a:pt x="480" y="558"/>
                </a:lnTo>
                <a:lnTo>
                  <a:pt x="480" y="560"/>
                </a:lnTo>
                <a:lnTo>
                  <a:pt x="480" y="565"/>
                </a:lnTo>
                <a:lnTo>
                  <a:pt x="480" y="571"/>
                </a:lnTo>
                <a:lnTo>
                  <a:pt x="475" y="566"/>
                </a:lnTo>
                <a:lnTo>
                  <a:pt x="472" y="560"/>
                </a:lnTo>
                <a:lnTo>
                  <a:pt x="468" y="545"/>
                </a:lnTo>
                <a:lnTo>
                  <a:pt x="466" y="529"/>
                </a:lnTo>
                <a:lnTo>
                  <a:pt x="472" y="539"/>
                </a:lnTo>
                <a:lnTo>
                  <a:pt x="475" y="548"/>
                </a:lnTo>
                <a:close/>
                <a:moveTo>
                  <a:pt x="550" y="1120"/>
                </a:moveTo>
                <a:lnTo>
                  <a:pt x="550" y="1124"/>
                </a:lnTo>
                <a:lnTo>
                  <a:pt x="553" y="1126"/>
                </a:lnTo>
                <a:lnTo>
                  <a:pt x="553" y="1123"/>
                </a:lnTo>
                <a:lnTo>
                  <a:pt x="550" y="1120"/>
                </a:lnTo>
                <a:close/>
                <a:moveTo>
                  <a:pt x="456" y="922"/>
                </a:moveTo>
                <a:lnTo>
                  <a:pt x="454" y="920"/>
                </a:lnTo>
                <a:lnTo>
                  <a:pt x="453" y="917"/>
                </a:lnTo>
                <a:lnTo>
                  <a:pt x="450" y="903"/>
                </a:lnTo>
                <a:lnTo>
                  <a:pt x="445" y="889"/>
                </a:lnTo>
                <a:lnTo>
                  <a:pt x="439" y="875"/>
                </a:lnTo>
                <a:lnTo>
                  <a:pt x="435" y="861"/>
                </a:lnTo>
                <a:lnTo>
                  <a:pt x="437" y="882"/>
                </a:lnTo>
                <a:lnTo>
                  <a:pt x="442" y="903"/>
                </a:lnTo>
                <a:lnTo>
                  <a:pt x="447" y="923"/>
                </a:lnTo>
                <a:lnTo>
                  <a:pt x="453" y="943"/>
                </a:lnTo>
                <a:lnTo>
                  <a:pt x="454" y="938"/>
                </a:lnTo>
                <a:lnTo>
                  <a:pt x="456" y="935"/>
                </a:lnTo>
                <a:lnTo>
                  <a:pt x="458" y="934"/>
                </a:lnTo>
                <a:lnTo>
                  <a:pt x="458" y="931"/>
                </a:lnTo>
                <a:lnTo>
                  <a:pt x="459" y="930"/>
                </a:lnTo>
                <a:lnTo>
                  <a:pt x="459" y="929"/>
                </a:lnTo>
                <a:lnTo>
                  <a:pt x="457" y="925"/>
                </a:lnTo>
                <a:lnTo>
                  <a:pt x="456" y="922"/>
                </a:lnTo>
                <a:close/>
                <a:moveTo>
                  <a:pt x="486" y="879"/>
                </a:moveTo>
                <a:lnTo>
                  <a:pt x="472" y="854"/>
                </a:lnTo>
                <a:lnTo>
                  <a:pt x="457" y="831"/>
                </a:lnTo>
                <a:lnTo>
                  <a:pt x="442" y="808"/>
                </a:lnTo>
                <a:lnTo>
                  <a:pt x="426" y="783"/>
                </a:lnTo>
                <a:lnTo>
                  <a:pt x="430" y="798"/>
                </a:lnTo>
                <a:lnTo>
                  <a:pt x="435" y="811"/>
                </a:lnTo>
                <a:lnTo>
                  <a:pt x="440" y="824"/>
                </a:lnTo>
                <a:lnTo>
                  <a:pt x="449" y="837"/>
                </a:lnTo>
                <a:lnTo>
                  <a:pt x="457" y="847"/>
                </a:lnTo>
                <a:lnTo>
                  <a:pt x="466" y="859"/>
                </a:lnTo>
                <a:lnTo>
                  <a:pt x="475" y="869"/>
                </a:lnTo>
                <a:lnTo>
                  <a:pt x="486" y="879"/>
                </a:lnTo>
                <a:close/>
                <a:moveTo>
                  <a:pt x="449" y="862"/>
                </a:moveTo>
                <a:lnTo>
                  <a:pt x="449" y="862"/>
                </a:lnTo>
                <a:lnTo>
                  <a:pt x="449" y="862"/>
                </a:lnTo>
                <a:lnTo>
                  <a:pt x="451" y="862"/>
                </a:lnTo>
                <a:lnTo>
                  <a:pt x="453" y="864"/>
                </a:lnTo>
                <a:lnTo>
                  <a:pt x="454" y="865"/>
                </a:lnTo>
                <a:lnTo>
                  <a:pt x="456" y="867"/>
                </a:lnTo>
                <a:lnTo>
                  <a:pt x="458" y="875"/>
                </a:lnTo>
                <a:lnTo>
                  <a:pt x="461" y="881"/>
                </a:lnTo>
                <a:lnTo>
                  <a:pt x="466" y="887"/>
                </a:lnTo>
                <a:lnTo>
                  <a:pt x="471" y="893"/>
                </a:lnTo>
                <a:lnTo>
                  <a:pt x="473" y="893"/>
                </a:lnTo>
                <a:lnTo>
                  <a:pt x="475" y="894"/>
                </a:lnTo>
                <a:lnTo>
                  <a:pt x="473" y="893"/>
                </a:lnTo>
                <a:lnTo>
                  <a:pt x="471" y="893"/>
                </a:lnTo>
                <a:lnTo>
                  <a:pt x="471" y="894"/>
                </a:lnTo>
                <a:lnTo>
                  <a:pt x="472" y="894"/>
                </a:lnTo>
                <a:lnTo>
                  <a:pt x="472" y="895"/>
                </a:lnTo>
                <a:lnTo>
                  <a:pt x="473" y="895"/>
                </a:lnTo>
                <a:lnTo>
                  <a:pt x="472" y="895"/>
                </a:lnTo>
                <a:lnTo>
                  <a:pt x="472" y="894"/>
                </a:lnTo>
                <a:lnTo>
                  <a:pt x="472" y="896"/>
                </a:lnTo>
                <a:lnTo>
                  <a:pt x="472" y="897"/>
                </a:lnTo>
                <a:lnTo>
                  <a:pt x="473" y="899"/>
                </a:lnTo>
                <a:lnTo>
                  <a:pt x="474" y="899"/>
                </a:lnTo>
                <a:lnTo>
                  <a:pt x="479" y="908"/>
                </a:lnTo>
                <a:lnTo>
                  <a:pt x="484" y="917"/>
                </a:lnTo>
                <a:lnTo>
                  <a:pt x="490" y="925"/>
                </a:lnTo>
                <a:lnTo>
                  <a:pt x="495" y="934"/>
                </a:lnTo>
                <a:lnTo>
                  <a:pt x="502" y="943"/>
                </a:lnTo>
                <a:lnTo>
                  <a:pt x="511" y="952"/>
                </a:lnTo>
                <a:lnTo>
                  <a:pt x="519" y="962"/>
                </a:lnTo>
                <a:lnTo>
                  <a:pt x="527" y="971"/>
                </a:lnTo>
                <a:lnTo>
                  <a:pt x="529" y="973"/>
                </a:lnTo>
                <a:lnTo>
                  <a:pt x="532" y="976"/>
                </a:lnTo>
                <a:lnTo>
                  <a:pt x="532" y="979"/>
                </a:lnTo>
                <a:lnTo>
                  <a:pt x="532" y="981"/>
                </a:lnTo>
                <a:lnTo>
                  <a:pt x="525" y="977"/>
                </a:lnTo>
                <a:lnTo>
                  <a:pt x="518" y="971"/>
                </a:lnTo>
                <a:lnTo>
                  <a:pt x="512" y="964"/>
                </a:lnTo>
                <a:lnTo>
                  <a:pt x="506" y="958"/>
                </a:lnTo>
                <a:lnTo>
                  <a:pt x="504" y="956"/>
                </a:lnTo>
                <a:lnTo>
                  <a:pt x="502" y="956"/>
                </a:lnTo>
                <a:lnTo>
                  <a:pt x="500" y="957"/>
                </a:lnTo>
                <a:lnTo>
                  <a:pt x="499" y="958"/>
                </a:lnTo>
                <a:lnTo>
                  <a:pt x="498" y="957"/>
                </a:lnTo>
                <a:lnTo>
                  <a:pt x="498" y="957"/>
                </a:lnTo>
                <a:lnTo>
                  <a:pt x="498" y="955"/>
                </a:lnTo>
                <a:lnTo>
                  <a:pt x="498" y="952"/>
                </a:lnTo>
                <a:lnTo>
                  <a:pt x="495" y="946"/>
                </a:lnTo>
                <a:lnTo>
                  <a:pt x="494" y="939"/>
                </a:lnTo>
                <a:lnTo>
                  <a:pt x="488" y="943"/>
                </a:lnTo>
                <a:lnTo>
                  <a:pt x="484" y="944"/>
                </a:lnTo>
                <a:lnTo>
                  <a:pt x="484" y="944"/>
                </a:lnTo>
                <a:lnTo>
                  <a:pt x="482" y="943"/>
                </a:lnTo>
                <a:lnTo>
                  <a:pt x="482" y="943"/>
                </a:lnTo>
                <a:lnTo>
                  <a:pt x="481" y="941"/>
                </a:lnTo>
                <a:lnTo>
                  <a:pt x="480" y="938"/>
                </a:lnTo>
                <a:lnTo>
                  <a:pt x="479" y="939"/>
                </a:lnTo>
                <a:lnTo>
                  <a:pt x="479" y="941"/>
                </a:lnTo>
                <a:lnTo>
                  <a:pt x="479" y="939"/>
                </a:lnTo>
                <a:lnTo>
                  <a:pt x="480" y="938"/>
                </a:lnTo>
                <a:lnTo>
                  <a:pt x="477" y="928"/>
                </a:lnTo>
                <a:lnTo>
                  <a:pt x="472" y="918"/>
                </a:lnTo>
                <a:lnTo>
                  <a:pt x="468" y="909"/>
                </a:lnTo>
                <a:lnTo>
                  <a:pt x="464" y="900"/>
                </a:lnTo>
                <a:lnTo>
                  <a:pt x="460" y="890"/>
                </a:lnTo>
                <a:lnTo>
                  <a:pt x="457" y="881"/>
                </a:lnTo>
                <a:lnTo>
                  <a:pt x="452" y="872"/>
                </a:lnTo>
                <a:lnTo>
                  <a:pt x="449" y="862"/>
                </a:lnTo>
                <a:lnTo>
                  <a:pt x="449" y="862"/>
                </a:lnTo>
                <a:lnTo>
                  <a:pt x="449" y="862"/>
                </a:lnTo>
                <a:close/>
                <a:moveTo>
                  <a:pt x="1091" y="1522"/>
                </a:moveTo>
                <a:lnTo>
                  <a:pt x="1091" y="1522"/>
                </a:lnTo>
                <a:lnTo>
                  <a:pt x="1091" y="1523"/>
                </a:lnTo>
                <a:lnTo>
                  <a:pt x="1092" y="1524"/>
                </a:lnTo>
                <a:lnTo>
                  <a:pt x="1091" y="1523"/>
                </a:lnTo>
                <a:lnTo>
                  <a:pt x="1091" y="1522"/>
                </a:lnTo>
                <a:close/>
                <a:moveTo>
                  <a:pt x="1082" y="1514"/>
                </a:moveTo>
                <a:lnTo>
                  <a:pt x="1082" y="1515"/>
                </a:lnTo>
                <a:lnTo>
                  <a:pt x="1082" y="1516"/>
                </a:lnTo>
                <a:lnTo>
                  <a:pt x="1084" y="1517"/>
                </a:lnTo>
                <a:lnTo>
                  <a:pt x="1082" y="1518"/>
                </a:lnTo>
                <a:lnTo>
                  <a:pt x="1082" y="1517"/>
                </a:lnTo>
                <a:lnTo>
                  <a:pt x="1082" y="1516"/>
                </a:lnTo>
                <a:lnTo>
                  <a:pt x="1082" y="1515"/>
                </a:lnTo>
                <a:lnTo>
                  <a:pt x="1082" y="1514"/>
                </a:lnTo>
                <a:lnTo>
                  <a:pt x="1082" y="1511"/>
                </a:lnTo>
                <a:lnTo>
                  <a:pt x="1084" y="1509"/>
                </a:lnTo>
                <a:lnTo>
                  <a:pt x="1084" y="1508"/>
                </a:lnTo>
                <a:lnTo>
                  <a:pt x="1084" y="1501"/>
                </a:lnTo>
                <a:lnTo>
                  <a:pt x="1084" y="1494"/>
                </a:lnTo>
                <a:lnTo>
                  <a:pt x="1081" y="1487"/>
                </a:lnTo>
                <a:lnTo>
                  <a:pt x="1080" y="1481"/>
                </a:lnTo>
                <a:lnTo>
                  <a:pt x="1078" y="1473"/>
                </a:lnTo>
                <a:lnTo>
                  <a:pt x="1078" y="1466"/>
                </a:lnTo>
                <a:lnTo>
                  <a:pt x="1079" y="1466"/>
                </a:lnTo>
                <a:lnTo>
                  <a:pt x="1080" y="1466"/>
                </a:lnTo>
                <a:lnTo>
                  <a:pt x="1082" y="1476"/>
                </a:lnTo>
                <a:lnTo>
                  <a:pt x="1085" y="1488"/>
                </a:lnTo>
                <a:lnTo>
                  <a:pt x="1088" y="1498"/>
                </a:lnTo>
                <a:lnTo>
                  <a:pt x="1091" y="1510"/>
                </a:lnTo>
                <a:lnTo>
                  <a:pt x="1091" y="1512"/>
                </a:lnTo>
                <a:lnTo>
                  <a:pt x="1091" y="1516"/>
                </a:lnTo>
                <a:lnTo>
                  <a:pt x="1087" y="1514"/>
                </a:lnTo>
                <a:lnTo>
                  <a:pt x="1082" y="1514"/>
                </a:lnTo>
                <a:close/>
                <a:moveTo>
                  <a:pt x="1080" y="1537"/>
                </a:move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0" y="1537"/>
                </a:lnTo>
                <a:lnTo>
                  <a:pt x="1082" y="1539"/>
                </a:lnTo>
                <a:lnTo>
                  <a:pt x="1082" y="1542"/>
                </a:lnTo>
                <a:lnTo>
                  <a:pt x="1082" y="1539"/>
                </a:lnTo>
                <a:lnTo>
                  <a:pt x="1080" y="1537"/>
                </a:lnTo>
                <a:close/>
                <a:moveTo>
                  <a:pt x="1068" y="1428"/>
                </a:moveTo>
                <a:lnTo>
                  <a:pt x="1072" y="1435"/>
                </a:lnTo>
                <a:lnTo>
                  <a:pt x="1074" y="1441"/>
                </a:lnTo>
                <a:lnTo>
                  <a:pt x="1072" y="1435"/>
                </a:lnTo>
                <a:lnTo>
                  <a:pt x="1068" y="1428"/>
                </a:lnTo>
                <a:close/>
                <a:moveTo>
                  <a:pt x="1066" y="1228"/>
                </a:moveTo>
                <a:lnTo>
                  <a:pt x="1066" y="1225"/>
                </a:lnTo>
                <a:lnTo>
                  <a:pt x="1066" y="1223"/>
                </a:lnTo>
                <a:lnTo>
                  <a:pt x="1066" y="1225"/>
                </a:lnTo>
                <a:lnTo>
                  <a:pt x="1066" y="1228"/>
                </a:lnTo>
                <a:lnTo>
                  <a:pt x="1066" y="1228"/>
                </a:lnTo>
                <a:close/>
                <a:moveTo>
                  <a:pt x="1063" y="1423"/>
                </a:moveTo>
                <a:lnTo>
                  <a:pt x="1061" y="1425"/>
                </a:lnTo>
                <a:lnTo>
                  <a:pt x="1061" y="1426"/>
                </a:lnTo>
                <a:lnTo>
                  <a:pt x="1061" y="1425"/>
                </a:lnTo>
                <a:lnTo>
                  <a:pt x="1063" y="1423"/>
                </a:lnTo>
                <a:lnTo>
                  <a:pt x="1063" y="1419"/>
                </a:lnTo>
                <a:lnTo>
                  <a:pt x="1064" y="1418"/>
                </a:lnTo>
                <a:lnTo>
                  <a:pt x="1063" y="1419"/>
                </a:lnTo>
                <a:lnTo>
                  <a:pt x="1063" y="1423"/>
                </a:lnTo>
                <a:close/>
                <a:moveTo>
                  <a:pt x="1047" y="1565"/>
                </a:moveTo>
                <a:lnTo>
                  <a:pt x="1051" y="1564"/>
                </a:lnTo>
                <a:lnTo>
                  <a:pt x="1054" y="1564"/>
                </a:lnTo>
                <a:lnTo>
                  <a:pt x="1051" y="1564"/>
                </a:lnTo>
                <a:lnTo>
                  <a:pt x="1047" y="1565"/>
                </a:lnTo>
                <a:close/>
                <a:moveTo>
                  <a:pt x="1044" y="1567"/>
                </a:moveTo>
                <a:lnTo>
                  <a:pt x="1027" y="1567"/>
                </a:lnTo>
                <a:lnTo>
                  <a:pt x="1010" y="1567"/>
                </a:lnTo>
                <a:lnTo>
                  <a:pt x="1027" y="1567"/>
                </a:lnTo>
                <a:lnTo>
                  <a:pt x="1044" y="1567"/>
                </a:lnTo>
                <a:lnTo>
                  <a:pt x="1044" y="1567"/>
                </a:lnTo>
                <a:lnTo>
                  <a:pt x="1044" y="1567"/>
                </a:lnTo>
                <a:close/>
                <a:moveTo>
                  <a:pt x="1020" y="1550"/>
                </a:moveTo>
                <a:lnTo>
                  <a:pt x="1023" y="1549"/>
                </a:lnTo>
                <a:lnTo>
                  <a:pt x="1026" y="1549"/>
                </a:lnTo>
                <a:lnTo>
                  <a:pt x="1023" y="1549"/>
                </a:lnTo>
                <a:lnTo>
                  <a:pt x="1020" y="1550"/>
                </a:lnTo>
                <a:lnTo>
                  <a:pt x="1018" y="1550"/>
                </a:lnTo>
                <a:lnTo>
                  <a:pt x="1016" y="1551"/>
                </a:lnTo>
                <a:lnTo>
                  <a:pt x="1018" y="1550"/>
                </a:lnTo>
                <a:lnTo>
                  <a:pt x="1020" y="1550"/>
                </a:lnTo>
                <a:close/>
                <a:moveTo>
                  <a:pt x="1032" y="1553"/>
                </a:moveTo>
                <a:lnTo>
                  <a:pt x="1038" y="1553"/>
                </a:lnTo>
                <a:lnTo>
                  <a:pt x="1044" y="1553"/>
                </a:lnTo>
                <a:lnTo>
                  <a:pt x="1038" y="1553"/>
                </a:lnTo>
                <a:lnTo>
                  <a:pt x="1032" y="1553"/>
                </a:lnTo>
                <a:lnTo>
                  <a:pt x="1031" y="1553"/>
                </a:lnTo>
                <a:lnTo>
                  <a:pt x="1030" y="1554"/>
                </a:lnTo>
                <a:lnTo>
                  <a:pt x="1031" y="1553"/>
                </a:lnTo>
                <a:lnTo>
                  <a:pt x="1032" y="1553"/>
                </a:lnTo>
                <a:close/>
                <a:moveTo>
                  <a:pt x="1046" y="1517"/>
                </a:moveTo>
                <a:lnTo>
                  <a:pt x="1046" y="1517"/>
                </a:lnTo>
                <a:lnTo>
                  <a:pt x="1046" y="1517"/>
                </a:lnTo>
                <a:lnTo>
                  <a:pt x="1046" y="1517"/>
                </a:lnTo>
                <a:close/>
                <a:moveTo>
                  <a:pt x="1051" y="1416"/>
                </a:moveTo>
                <a:lnTo>
                  <a:pt x="1054" y="1411"/>
                </a:lnTo>
                <a:lnTo>
                  <a:pt x="1054" y="1406"/>
                </a:lnTo>
                <a:lnTo>
                  <a:pt x="1054" y="1411"/>
                </a:lnTo>
                <a:lnTo>
                  <a:pt x="1051" y="1416"/>
                </a:lnTo>
                <a:lnTo>
                  <a:pt x="1051" y="1417"/>
                </a:lnTo>
                <a:lnTo>
                  <a:pt x="1051" y="1418"/>
                </a:lnTo>
                <a:lnTo>
                  <a:pt x="1051" y="1417"/>
                </a:lnTo>
                <a:lnTo>
                  <a:pt x="1051" y="1416"/>
                </a:lnTo>
                <a:close/>
                <a:moveTo>
                  <a:pt x="1037" y="1472"/>
                </a:move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lnTo>
                  <a:pt x="1037" y="1472"/>
                </a:lnTo>
                <a:close/>
                <a:moveTo>
                  <a:pt x="1034" y="1428"/>
                </a:moveTo>
                <a:lnTo>
                  <a:pt x="1034" y="1428"/>
                </a:lnTo>
                <a:lnTo>
                  <a:pt x="1034" y="1428"/>
                </a:lnTo>
                <a:lnTo>
                  <a:pt x="1034" y="1430"/>
                </a:lnTo>
                <a:lnTo>
                  <a:pt x="1034" y="1428"/>
                </a:lnTo>
                <a:lnTo>
                  <a:pt x="1034" y="1428"/>
                </a:lnTo>
                <a:close/>
                <a:moveTo>
                  <a:pt x="1024" y="883"/>
                </a:moveTo>
                <a:lnTo>
                  <a:pt x="1025" y="880"/>
                </a:lnTo>
                <a:lnTo>
                  <a:pt x="1025" y="878"/>
                </a:lnTo>
                <a:lnTo>
                  <a:pt x="1025" y="874"/>
                </a:lnTo>
                <a:lnTo>
                  <a:pt x="1024" y="872"/>
                </a:lnTo>
                <a:lnTo>
                  <a:pt x="1024" y="872"/>
                </a:lnTo>
                <a:lnTo>
                  <a:pt x="1025" y="874"/>
                </a:lnTo>
                <a:lnTo>
                  <a:pt x="1025" y="878"/>
                </a:lnTo>
                <a:lnTo>
                  <a:pt x="1025" y="880"/>
                </a:lnTo>
                <a:lnTo>
                  <a:pt x="1024" y="883"/>
                </a:lnTo>
                <a:close/>
                <a:moveTo>
                  <a:pt x="1017" y="871"/>
                </a:moveTo>
                <a:lnTo>
                  <a:pt x="1018" y="872"/>
                </a:lnTo>
                <a:lnTo>
                  <a:pt x="1019" y="873"/>
                </a:lnTo>
                <a:lnTo>
                  <a:pt x="1018" y="872"/>
                </a:lnTo>
                <a:lnTo>
                  <a:pt x="1017" y="871"/>
                </a:lnTo>
                <a:close/>
                <a:moveTo>
                  <a:pt x="1009" y="869"/>
                </a:moveTo>
                <a:lnTo>
                  <a:pt x="1009" y="869"/>
                </a:lnTo>
                <a:lnTo>
                  <a:pt x="1010" y="869"/>
                </a:lnTo>
                <a:lnTo>
                  <a:pt x="1011" y="869"/>
                </a:lnTo>
                <a:lnTo>
                  <a:pt x="1010" y="869"/>
                </a:lnTo>
                <a:lnTo>
                  <a:pt x="1009" y="869"/>
                </a:lnTo>
                <a:close/>
                <a:moveTo>
                  <a:pt x="1010" y="1012"/>
                </a:moveTo>
                <a:lnTo>
                  <a:pt x="1010" y="1011"/>
                </a:lnTo>
                <a:lnTo>
                  <a:pt x="1010" y="1009"/>
                </a:lnTo>
                <a:lnTo>
                  <a:pt x="1010" y="1011"/>
                </a:lnTo>
                <a:lnTo>
                  <a:pt x="1010" y="1012"/>
                </a:lnTo>
                <a:close/>
                <a:moveTo>
                  <a:pt x="1002" y="803"/>
                </a:moveTo>
                <a:lnTo>
                  <a:pt x="997" y="805"/>
                </a:lnTo>
                <a:lnTo>
                  <a:pt x="992" y="808"/>
                </a:lnTo>
                <a:lnTo>
                  <a:pt x="997" y="805"/>
                </a:lnTo>
                <a:lnTo>
                  <a:pt x="1002" y="803"/>
                </a:lnTo>
                <a:lnTo>
                  <a:pt x="1004" y="803"/>
                </a:lnTo>
                <a:lnTo>
                  <a:pt x="1005" y="802"/>
                </a:lnTo>
                <a:lnTo>
                  <a:pt x="1004" y="803"/>
                </a:lnTo>
                <a:lnTo>
                  <a:pt x="1002" y="803"/>
                </a:lnTo>
                <a:close/>
                <a:moveTo>
                  <a:pt x="979" y="913"/>
                </a:moveTo>
                <a:lnTo>
                  <a:pt x="981" y="914"/>
                </a:lnTo>
                <a:lnTo>
                  <a:pt x="983" y="915"/>
                </a:lnTo>
                <a:lnTo>
                  <a:pt x="981" y="914"/>
                </a:lnTo>
                <a:lnTo>
                  <a:pt x="979" y="913"/>
                </a:lnTo>
                <a:close/>
                <a:moveTo>
                  <a:pt x="972" y="913"/>
                </a:moveTo>
                <a:lnTo>
                  <a:pt x="975" y="914"/>
                </a:lnTo>
                <a:lnTo>
                  <a:pt x="978" y="913"/>
                </a:lnTo>
                <a:lnTo>
                  <a:pt x="975" y="914"/>
                </a:lnTo>
                <a:lnTo>
                  <a:pt x="972" y="913"/>
                </a:lnTo>
                <a:close/>
                <a:moveTo>
                  <a:pt x="974" y="902"/>
                </a:moveTo>
                <a:lnTo>
                  <a:pt x="974" y="902"/>
                </a:lnTo>
                <a:lnTo>
                  <a:pt x="974" y="902"/>
                </a:lnTo>
                <a:lnTo>
                  <a:pt x="972" y="902"/>
                </a:lnTo>
                <a:lnTo>
                  <a:pt x="972" y="902"/>
                </a:lnTo>
                <a:lnTo>
                  <a:pt x="972" y="902"/>
                </a:lnTo>
                <a:lnTo>
                  <a:pt x="974" y="902"/>
                </a:lnTo>
                <a:close/>
                <a:moveTo>
                  <a:pt x="964" y="927"/>
                </a:moveTo>
                <a:lnTo>
                  <a:pt x="967" y="925"/>
                </a:lnTo>
                <a:lnTo>
                  <a:pt x="968" y="924"/>
                </a:lnTo>
                <a:lnTo>
                  <a:pt x="967" y="925"/>
                </a:lnTo>
                <a:lnTo>
                  <a:pt x="964" y="927"/>
                </a:lnTo>
                <a:close/>
                <a:moveTo>
                  <a:pt x="960" y="679"/>
                </a:moveTo>
                <a:lnTo>
                  <a:pt x="953" y="684"/>
                </a:lnTo>
                <a:lnTo>
                  <a:pt x="946" y="690"/>
                </a:lnTo>
                <a:lnTo>
                  <a:pt x="940" y="691"/>
                </a:lnTo>
                <a:lnTo>
                  <a:pt x="934" y="696"/>
                </a:lnTo>
                <a:lnTo>
                  <a:pt x="919" y="705"/>
                </a:lnTo>
                <a:lnTo>
                  <a:pt x="903" y="714"/>
                </a:lnTo>
                <a:lnTo>
                  <a:pt x="888" y="722"/>
                </a:lnTo>
                <a:lnTo>
                  <a:pt x="875" y="731"/>
                </a:lnTo>
                <a:lnTo>
                  <a:pt x="858" y="743"/>
                </a:lnTo>
                <a:lnTo>
                  <a:pt x="843" y="759"/>
                </a:lnTo>
                <a:lnTo>
                  <a:pt x="841" y="761"/>
                </a:lnTo>
                <a:lnTo>
                  <a:pt x="841" y="762"/>
                </a:lnTo>
                <a:lnTo>
                  <a:pt x="841" y="761"/>
                </a:lnTo>
                <a:lnTo>
                  <a:pt x="843" y="759"/>
                </a:lnTo>
                <a:lnTo>
                  <a:pt x="840" y="760"/>
                </a:lnTo>
                <a:lnTo>
                  <a:pt x="839" y="760"/>
                </a:lnTo>
                <a:lnTo>
                  <a:pt x="838" y="762"/>
                </a:lnTo>
                <a:lnTo>
                  <a:pt x="838" y="764"/>
                </a:lnTo>
                <a:lnTo>
                  <a:pt x="838" y="764"/>
                </a:lnTo>
                <a:lnTo>
                  <a:pt x="838" y="764"/>
                </a:lnTo>
                <a:lnTo>
                  <a:pt x="838" y="767"/>
                </a:lnTo>
                <a:lnTo>
                  <a:pt x="837" y="767"/>
                </a:lnTo>
                <a:lnTo>
                  <a:pt x="838" y="767"/>
                </a:lnTo>
                <a:lnTo>
                  <a:pt x="838" y="764"/>
                </a:lnTo>
                <a:lnTo>
                  <a:pt x="837" y="766"/>
                </a:lnTo>
                <a:lnTo>
                  <a:pt x="836" y="766"/>
                </a:lnTo>
                <a:lnTo>
                  <a:pt x="836" y="767"/>
                </a:lnTo>
                <a:lnTo>
                  <a:pt x="836" y="768"/>
                </a:lnTo>
                <a:lnTo>
                  <a:pt x="834" y="770"/>
                </a:lnTo>
                <a:lnTo>
                  <a:pt x="833" y="771"/>
                </a:lnTo>
                <a:lnTo>
                  <a:pt x="831" y="775"/>
                </a:lnTo>
                <a:lnTo>
                  <a:pt x="826" y="776"/>
                </a:lnTo>
                <a:lnTo>
                  <a:pt x="831" y="775"/>
                </a:lnTo>
                <a:lnTo>
                  <a:pt x="833" y="771"/>
                </a:lnTo>
                <a:lnTo>
                  <a:pt x="830" y="771"/>
                </a:lnTo>
                <a:lnTo>
                  <a:pt x="826" y="771"/>
                </a:lnTo>
                <a:lnTo>
                  <a:pt x="823" y="774"/>
                </a:lnTo>
                <a:lnTo>
                  <a:pt x="822" y="777"/>
                </a:lnTo>
                <a:lnTo>
                  <a:pt x="820" y="777"/>
                </a:lnTo>
                <a:lnTo>
                  <a:pt x="818" y="777"/>
                </a:lnTo>
                <a:lnTo>
                  <a:pt x="818" y="780"/>
                </a:lnTo>
                <a:lnTo>
                  <a:pt x="817" y="781"/>
                </a:lnTo>
                <a:lnTo>
                  <a:pt x="816" y="782"/>
                </a:lnTo>
                <a:lnTo>
                  <a:pt x="813" y="782"/>
                </a:lnTo>
                <a:lnTo>
                  <a:pt x="816" y="782"/>
                </a:lnTo>
                <a:lnTo>
                  <a:pt x="817" y="781"/>
                </a:lnTo>
                <a:lnTo>
                  <a:pt x="818" y="780"/>
                </a:lnTo>
                <a:lnTo>
                  <a:pt x="818" y="777"/>
                </a:lnTo>
                <a:lnTo>
                  <a:pt x="816" y="777"/>
                </a:lnTo>
                <a:lnTo>
                  <a:pt x="815" y="778"/>
                </a:lnTo>
                <a:lnTo>
                  <a:pt x="813" y="780"/>
                </a:lnTo>
                <a:lnTo>
                  <a:pt x="812" y="782"/>
                </a:lnTo>
                <a:lnTo>
                  <a:pt x="811" y="782"/>
                </a:lnTo>
                <a:lnTo>
                  <a:pt x="811" y="783"/>
                </a:lnTo>
                <a:lnTo>
                  <a:pt x="810" y="784"/>
                </a:lnTo>
                <a:lnTo>
                  <a:pt x="810" y="785"/>
                </a:lnTo>
                <a:lnTo>
                  <a:pt x="810" y="784"/>
                </a:lnTo>
                <a:lnTo>
                  <a:pt x="811" y="783"/>
                </a:lnTo>
                <a:lnTo>
                  <a:pt x="809" y="784"/>
                </a:lnTo>
                <a:lnTo>
                  <a:pt x="808" y="787"/>
                </a:lnTo>
                <a:lnTo>
                  <a:pt x="808" y="787"/>
                </a:lnTo>
                <a:lnTo>
                  <a:pt x="806" y="787"/>
                </a:lnTo>
                <a:lnTo>
                  <a:pt x="806" y="787"/>
                </a:lnTo>
                <a:lnTo>
                  <a:pt x="804" y="787"/>
                </a:lnTo>
                <a:lnTo>
                  <a:pt x="802" y="788"/>
                </a:lnTo>
                <a:lnTo>
                  <a:pt x="801" y="788"/>
                </a:lnTo>
                <a:lnTo>
                  <a:pt x="799" y="787"/>
                </a:lnTo>
                <a:lnTo>
                  <a:pt x="798" y="785"/>
                </a:lnTo>
                <a:lnTo>
                  <a:pt x="798" y="783"/>
                </a:lnTo>
                <a:lnTo>
                  <a:pt x="801" y="782"/>
                </a:lnTo>
                <a:lnTo>
                  <a:pt x="802" y="782"/>
                </a:lnTo>
                <a:lnTo>
                  <a:pt x="804" y="780"/>
                </a:lnTo>
                <a:lnTo>
                  <a:pt x="805" y="777"/>
                </a:lnTo>
                <a:lnTo>
                  <a:pt x="805" y="776"/>
                </a:lnTo>
                <a:lnTo>
                  <a:pt x="806" y="775"/>
                </a:lnTo>
                <a:lnTo>
                  <a:pt x="809" y="775"/>
                </a:lnTo>
                <a:lnTo>
                  <a:pt x="809" y="773"/>
                </a:lnTo>
                <a:lnTo>
                  <a:pt x="809" y="773"/>
                </a:lnTo>
                <a:lnTo>
                  <a:pt x="811" y="773"/>
                </a:lnTo>
                <a:lnTo>
                  <a:pt x="812" y="771"/>
                </a:lnTo>
                <a:lnTo>
                  <a:pt x="813" y="770"/>
                </a:lnTo>
                <a:lnTo>
                  <a:pt x="813" y="768"/>
                </a:lnTo>
                <a:lnTo>
                  <a:pt x="815" y="768"/>
                </a:lnTo>
                <a:lnTo>
                  <a:pt x="816" y="768"/>
                </a:lnTo>
                <a:lnTo>
                  <a:pt x="819" y="767"/>
                </a:lnTo>
                <a:lnTo>
                  <a:pt x="824" y="763"/>
                </a:lnTo>
                <a:lnTo>
                  <a:pt x="826" y="760"/>
                </a:lnTo>
                <a:lnTo>
                  <a:pt x="830" y="756"/>
                </a:lnTo>
                <a:lnTo>
                  <a:pt x="844" y="741"/>
                </a:lnTo>
                <a:lnTo>
                  <a:pt x="859" y="725"/>
                </a:lnTo>
                <a:lnTo>
                  <a:pt x="861" y="722"/>
                </a:lnTo>
                <a:lnTo>
                  <a:pt x="863" y="719"/>
                </a:lnTo>
                <a:lnTo>
                  <a:pt x="860" y="718"/>
                </a:lnTo>
                <a:lnTo>
                  <a:pt x="859" y="718"/>
                </a:lnTo>
                <a:lnTo>
                  <a:pt x="860" y="718"/>
                </a:lnTo>
                <a:lnTo>
                  <a:pt x="863" y="719"/>
                </a:lnTo>
                <a:lnTo>
                  <a:pt x="863" y="718"/>
                </a:lnTo>
                <a:lnTo>
                  <a:pt x="864" y="717"/>
                </a:lnTo>
                <a:lnTo>
                  <a:pt x="865" y="717"/>
                </a:lnTo>
                <a:lnTo>
                  <a:pt x="866" y="715"/>
                </a:lnTo>
                <a:lnTo>
                  <a:pt x="867" y="714"/>
                </a:lnTo>
                <a:lnTo>
                  <a:pt x="867" y="713"/>
                </a:lnTo>
                <a:lnTo>
                  <a:pt x="868" y="711"/>
                </a:lnTo>
                <a:lnTo>
                  <a:pt x="871" y="710"/>
                </a:lnTo>
                <a:lnTo>
                  <a:pt x="874" y="711"/>
                </a:lnTo>
                <a:lnTo>
                  <a:pt x="878" y="711"/>
                </a:lnTo>
                <a:lnTo>
                  <a:pt x="879" y="713"/>
                </a:lnTo>
                <a:lnTo>
                  <a:pt x="879" y="714"/>
                </a:lnTo>
                <a:lnTo>
                  <a:pt x="879" y="715"/>
                </a:lnTo>
                <a:lnTo>
                  <a:pt x="881" y="717"/>
                </a:lnTo>
                <a:lnTo>
                  <a:pt x="882" y="715"/>
                </a:lnTo>
                <a:lnTo>
                  <a:pt x="884" y="714"/>
                </a:lnTo>
                <a:lnTo>
                  <a:pt x="884" y="714"/>
                </a:lnTo>
                <a:lnTo>
                  <a:pt x="885" y="714"/>
                </a:lnTo>
                <a:lnTo>
                  <a:pt x="898" y="710"/>
                </a:lnTo>
                <a:lnTo>
                  <a:pt x="910" y="704"/>
                </a:lnTo>
                <a:lnTo>
                  <a:pt x="913" y="703"/>
                </a:lnTo>
                <a:lnTo>
                  <a:pt x="916" y="701"/>
                </a:lnTo>
                <a:lnTo>
                  <a:pt x="920" y="699"/>
                </a:lnTo>
                <a:lnTo>
                  <a:pt x="921" y="696"/>
                </a:lnTo>
                <a:lnTo>
                  <a:pt x="922" y="696"/>
                </a:lnTo>
                <a:lnTo>
                  <a:pt x="925" y="694"/>
                </a:lnTo>
                <a:lnTo>
                  <a:pt x="940" y="683"/>
                </a:lnTo>
                <a:lnTo>
                  <a:pt x="955" y="671"/>
                </a:lnTo>
                <a:lnTo>
                  <a:pt x="956" y="669"/>
                </a:lnTo>
                <a:lnTo>
                  <a:pt x="957" y="666"/>
                </a:lnTo>
                <a:lnTo>
                  <a:pt x="956" y="669"/>
                </a:lnTo>
                <a:lnTo>
                  <a:pt x="955" y="671"/>
                </a:lnTo>
                <a:lnTo>
                  <a:pt x="960" y="670"/>
                </a:lnTo>
                <a:lnTo>
                  <a:pt x="963" y="669"/>
                </a:lnTo>
                <a:lnTo>
                  <a:pt x="963" y="670"/>
                </a:lnTo>
                <a:lnTo>
                  <a:pt x="963" y="671"/>
                </a:lnTo>
                <a:lnTo>
                  <a:pt x="961" y="675"/>
                </a:lnTo>
                <a:lnTo>
                  <a:pt x="960" y="678"/>
                </a:lnTo>
                <a:lnTo>
                  <a:pt x="960" y="678"/>
                </a:lnTo>
                <a:lnTo>
                  <a:pt x="960" y="679"/>
                </a:lnTo>
                <a:close/>
                <a:moveTo>
                  <a:pt x="955" y="696"/>
                </a:moveTo>
                <a:lnTo>
                  <a:pt x="955" y="696"/>
                </a:lnTo>
                <a:lnTo>
                  <a:pt x="955" y="696"/>
                </a:lnTo>
                <a:lnTo>
                  <a:pt x="955" y="696"/>
                </a:lnTo>
                <a:close/>
                <a:moveTo>
                  <a:pt x="940" y="908"/>
                </a:moveTo>
                <a:lnTo>
                  <a:pt x="942" y="908"/>
                </a:lnTo>
                <a:lnTo>
                  <a:pt x="943" y="908"/>
                </a:lnTo>
                <a:lnTo>
                  <a:pt x="942" y="908"/>
                </a:lnTo>
                <a:lnTo>
                  <a:pt x="940" y="908"/>
                </a:lnTo>
                <a:close/>
                <a:moveTo>
                  <a:pt x="936" y="939"/>
                </a:moveTo>
                <a:lnTo>
                  <a:pt x="934" y="937"/>
                </a:lnTo>
                <a:lnTo>
                  <a:pt x="933" y="935"/>
                </a:lnTo>
                <a:lnTo>
                  <a:pt x="932" y="934"/>
                </a:lnTo>
                <a:lnTo>
                  <a:pt x="929" y="934"/>
                </a:lnTo>
                <a:lnTo>
                  <a:pt x="932" y="934"/>
                </a:lnTo>
                <a:lnTo>
                  <a:pt x="933" y="935"/>
                </a:lnTo>
                <a:lnTo>
                  <a:pt x="934" y="937"/>
                </a:lnTo>
                <a:lnTo>
                  <a:pt x="936" y="939"/>
                </a:lnTo>
                <a:lnTo>
                  <a:pt x="939" y="939"/>
                </a:lnTo>
                <a:lnTo>
                  <a:pt x="941" y="939"/>
                </a:lnTo>
                <a:lnTo>
                  <a:pt x="939" y="939"/>
                </a:lnTo>
                <a:lnTo>
                  <a:pt x="936" y="939"/>
                </a:lnTo>
                <a:close/>
                <a:moveTo>
                  <a:pt x="926" y="767"/>
                </a:moveTo>
                <a:lnTo>
                  <a:pt x="925" y="771"/>
                </a:lnTo>
                <a:lnTo>
                  <a:pt x="923" y="776"/>
                </a:lnTo>
                <a:lnTo>
                  <a:pt x="921" y="781"/>
                </a:lnTo>
                <a:lnTo>
                  <a:pt x="918" y="784"/>
                </a:lnTo>
                <a:lnTo>
                  <a:pt x="915" y="787"/>
                </a:lnTo>
                <a:lnTo>
                  <a:pt x="914" y="790"/>
                </a:lnTo>
                <a:lnTo>
                  <a:pt x="914" y="790"/>
                </a:lnTo>
                <a:lnTo>
                  <a:pt x="913" y="790"/>
                </a:lnTo>
                <a:lnTo>
                  <a:pt x="913" y="792"/>
                </a:lnTo>
                <a:lnTo>
                  <a:pt x="912" y="794"/>
                </a:lnTo>
                <a:lnTo>
                  <a:pt x="913" y="792"/>
                </a:lnTo>
                <a:lnTo>
                  <a:pt x="913" y="790"/>
                </a:lnTo>
                <a:lnTo>
                  <a:pt x="912" y="791"/>
                </a:lnTo>
                <a:lnTo>
                  <a:pt x="909" y="791"/>
                </a:lnTo>
                <a:lnTo>
                  <a:pt x="908" y="792"/>
                </a:lnTo>
                <a:lnTo>
                  <a:pt x="907" y="795"/>
                </a:lnTo>
                <a:lnTo>
                  <a:pt x="903" y="795"/>
                </a:lnTo>
                <a:lnTo>
                  <a:pt x="900" y="795"/>
                </a:lnTo>
                <a:lnTo>
                  <a:pt x="896" y="798"/>
                </a:lnTo>
                <a:lnTo>
                  <a:pt x="893" y="799"/>
                </a:lnTo>
                <a:lnTo>
                  <a:pt x="896" y="798"/>
                </a:lnTo>
                <a:lnTo>
                  <a:pt x="900" y="795"/>
                </a:lnTo>
                <a:lnTo>
                  <a:pt x="896" y="795"/>
                </a:lnTo>
                <a:lnTo>
                  <a:pt x="893" y="795"/>
                </a:lnTo>
                <a:lnTo>
                  <a:pt x="889" y="796"/>
                </a:lnTo>
                <a:lnTo>
                  <a:pt x="887" y="799"/>
                </a:lnTo>
                <a:lnTo>
                  <a:pt x="885" y="799"/>
                </a:lnTo>
                <a:lnTo>
                  <a:pt x="882" y="799"/>
                </a:lnTo>
                <a:lnTo>
                  <a:pt x="875" y="805"/>
                </a:lnTo>
                <a:lnTo>
                  <a:pt x="868" y="809"/>
                </a:lnTo>
                <a:lnTo>
                  <a:pt x="875" y="805"/>
                </a:lnTo>
                <a:lnTo>
                  <a:pt x="882" y="799"/>
                </a:lnTo>
                <a:lnTo>
                  <a:pt x="880" y="799"/>
                </a:lnTo>
                <a:lnTo>
                  <a:pt x="879" y="799"/>
                </a:lnTo>
                <a:lnTo>
                  <a:pt x="879" y="798"/>
                </a:lnTo>
                <a:lnTo>
                  <a:pt x="880" y="796"/>
                </a:lnTo>
                <a:lnTo>
                  <a:pt x="886" y="792"/>
                </a:lnTo>
                <a:lnTo>
                  <a:pt x="892" y="790"/>
                </a:lnTo>
                <a:lnTo>
                  <a:pt x="900" y="781"/>
                </a:lnTo>
                <a:lnTo>
                  <a:pt x="907" y="771"/>
                </a:lnTo>
                <a:lnTo>
                  <a:pt x="913" y="761"/>
                </a:lnTo>
                <a:lnTo>
                  <a:pt x="919" y="750"/>
                </a:lnTo>
                <a:lnTo>
                  <a:pt x="921" y="747"/>
                </a:lnTo>
                <a:lnTo>
                  <a:pt x="922" y="743"/>
                </a:lnTo>
                <a:lnTo>
                  <a:pt x="923" y="739"/>
                </a:lnTo>
                <a:lnTo>
                  <a:pt x="923" y="734"/>
                </a:lnTo>
                <a:lnTo>
                  <a:pt x="926" y="731"/>
                </a:lnTo>
                <a:lnTo>
                  <a:pt x="928" y="726"/>
                </a:lnTo>
                <a:lnTo>
                  <a:pt x="928" y="726"/>
                </a:lnTo>
                <a:lnTo>
                  <a:pt x="930" y="725"/>
                </a:lnTo>
                <a:lnTo>
                  <a:pt x="932" y="722"/>
                </a:lnTo>
                <a:lnTo>
                  <a:pt x="932" y="721"/>
                </a:lnTo>
                <a:lnTo>
                  <a:pt x="933" y="720"/>
                </a:lnTo>
                <a:lnTo>
                  <a:pt x="935" y="721"/>
                </a:lnTo>
                <a:lnTo>
                  <a:pt x="936" y="722"/>
                </a:lnTo>
                <a:lnTo>
                  <a:pt x="936" y="725"/>
                </a:lnTo>
                <a:lnTo>
                  <a:pt x="935" y="727"/>
                </a:lnTo>
                <a:lnTo>
                  <a:pt x="932" y="739"/>
                </a:lnTo>
                <a:lnTo>
                  <a:pt x="928" y="750"/>
                </a:lnTo>
                <a:lnTo>
                  <a:pt x="926" y="759"/>
                </a:lnTo>
                <a:lnTo>
                  <a:pt x="926" y="767"/>
                </a:lnTo>
                <a:close/>
                <a:moveTo>
                  <a:pt x="900" y="938"/>
                </a:moveTo>
                <a:lnTo>
                  <a:pt x="898" y="939"/>
                </a:lnTo>
                <a:lnTo>
                  <a:pt x="895" y="939"/>
                </a:lnTo>
                <a:lnTo>
                  <a:pt x="893" y="939"/>
                </a:lnTo>
                <a:lnTo>
                  <a:pt x="889" y="939"/>
                </a:lnTo>
                <a:lnTo>
                  <a:pt x="893" y="939"/>
                </a:lnTo>
                <a:lnTo>
                  <a:pt x="895" y="939"/>
                </a:lnTo>
                <a:lnTo>
                  <a:pt x="898" y="939"/>
                </a:lnTo>
                <a:lnTo>
                  <a:pt x="900" y="938"/>
                </a:lnTo>
                <a:close/>
                <a:moveTo>
                  <a:pt x="885" y="848"/>
                </a:moveTo>
                <a:lnTo>
                  <a:pt x="889" y="847"/>
                </a:lnTo>
                <a:lnTo>
                  <a:pt x="892" y="844"/>
                </a:lnTo>
                <a:lnTo>
                  <a:pt x="895" y="843"/>
                </a:lnTo>
                <a:lnTo>
                  <a:pt x="896" y="840"/>
                </a:lnTo>
                <a:lnTo>
                  <a:pt x="895" y="843"/>
                </a:lnTo>
                <a:lnTo>
                  <a:pt x="892" y="844"/>
                </a:lnTo>
                <a:lnTo>
                  <a:pt x="889" y="847"/>
                </a:lnTo>
                <a:lnTo>
                  <a:pt x="885" y="848"/>
                </a:lnTo>
                <a:close/>
                <a:moveTo>
                  <a:pt x="880" y="1027"/>
                </a:moveTo>
                <a:lnTo>
                  <a:pt x="880" y="1025"/>
                </a:lnTo>
                <a:lnTo>
                  <a:pt x="878" y="1022"/>
                </a:lnTo>
                <a:lnTo>
                  <a:pt x="880" y="1025"/>
                </a:lnTo>
                <a:lnTo>
                  <a:pt x="880" y="1027"/>
                </a:lnTo>
                <a:lnTo>
                  <a:pt x="882" y="1029"/>
                </a:lnTo>
                <a:lnTo>
                  <a:pt x="882" y="1033"/>
                </a:lnTo>
                <a:lnTo>
                  <a:pt x="882" y="1029"/>
                </a:lnTo>
                <a:lnTo>
                  <a:pt x="880" y="1027"/>
                </a:lnTo>
                <a:close/>
                <a:moveTo>
                  <a:pt x="874" y="1001"/>
                </a:moveTo>
                <a:lnTo>
                  <a:pt x="875" y="1000"/>
                </a:lnTo>
                <a:lnTo>
                  <a:pt x="878" y="998"/>
                </a:lnTo>
                <a:lnTo>
                  <a:pt x="878" y="998"/>
                </a:lnTo>
                <a:lnTo>
                  <a:pt x="875" y="1000"/>
                </a:lnTo>
                <a:lnTo>
                  <a:pt x="874" y="1001"/>
                </a:lnTo>
                <a:close/>
                <a:moveTo>
                  <a:pt x="838" y="799"/>
                </a:moveTo>
                <a:lnTo>
                  <a:pt x="837" y="802"/>
                </a:lnTo>
                <a:lnTo>
                  <a:pt x="834" y="803"/>
                </a:lnTo>
                <a:lnTo>
                  <a:pt x="832" y="804"/>
                </a:lnTo>
                <a:lnTo>
                  <a:pt x="830" y="804"/>
                </a:lnTo>
                <a:lnTo>
                  <a:pt x="832" y="804"/>
                </a:lnTo>
                <a:lnTo>
                  <a:pt x="834" y="803"/>
                </a:lnTo>
                <a:lnTo>
                  <a:pt x="837" y="802"/>
                </a:lnTo>
                <a:lnTo>
                  <a:pt x="838" y="799"/>
                </a:lnTo>
                <a:lnTo>
                  <a:pt x="843" y="798"/>
                </a:lnTo>
                <a:lnTo>
                  <a:pt x="846" y="797"/>
                </a:lnTo>
                <a:lnTo>
                  <a:pt x="850" y="794"/>
                </a:lnTo>
                <a:lnTo>
                  <a:pt x="853" y="791"/>
                </a:lnTo>
                <a:lnTo>
                  <a:pt x="850" y="794"/>
                </a:lnTo>
                <a:lnTo>
                  <a:pt x="846" y="797"/>
                </a:lnTo>
                <a:lnTo>
                  <a:pt x="843" y="798"/>
                </a:lnTo>
                <a:lnTo>
                  <a:pt x="838" y="799"/>
                </a:lnTo>
                <a:close/>
                <a:moveTo>
                  <a:pt x="847" y="1161"/>
                </a:moveTo>
                <a:lnTo>
                  <a:pt x="846" y="1163"/>
                </a:lnTo>
                <a:lnTo>
                  <a:pt x="845" y="1165"/>
                </a:lnTo>
                <a:lnTo>
                  <a:pt x="846" y="1163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lnTo>
                  <a:pt x="847" y="1161"/>
                </a:lnTo>
                <a:close/>
                <a:moveTo>
                  <a:pt x="843" y="858"/>
                </a:moveTo>
                <a:lnTo>
                  <a:pt x="843" y="858"/>
                </a:lnTo>
                <a:lnTo>
                  <a:pt x="844" y="858"/>
                </a:lnTo>
                <a:lnTo>
                  <a:pt x="843" y="858"/>
                </a:lnTo>
                <a:lnTo>
                  <a:pt x="843" y="858"/>
                </a:lnTo>
                <a:close/>
                <a:moveTo>
                  <a:pt x="833" y="1106"/>
                </a:moveTo>
                <a:lnTo>
                  <a:pt x="833" y="1107"/>
                </a:lnTo>
                <a:lnTo>
                  <a:pt x="833" y="1110"/>
                </a:lnTo>
                <a:lnTo>
                  <a:pt x="823" y="1120"/>
                </a:lnTo>
                <a:lnTo>
                  <a:pt x="813" y="1132"/>
                </a:lnTo>
                <a:lnTo>
                  <a:pt x="803" y="1142"/>
                </a:lnTo>
                <a:lnTo>
                  <a:pt x="791" y="1152"/>
                </a:lnTo>
                <a:lnTo>
                  <a:pt x="789" y="1153"/>
                </a:lnTo>
                <a:lnTo>
                  <a:pt x="788" y="1154"/>
                </a:lnTo>
                <a:lnTo>
                  <a:pt x="788" y="1156"/>
                </a:lnTo>
                <a:lnTo>
                  <a:pt x="788" y="1158"/>
                </a:lnTo>
                <a:lnTo>
                  <a:pt x="789" y="1161"/>
                </a:lnTo>
                <a:lnTo>
                  <a:pt x="789" y="1163"/>
                </a:lnTo>
                <a:lnTo>
                  <a:pt x="788" y="1167"/>
                </a:lnTo>
                <a:lnTo>
                  <a:pt x="787" y="1169"/>
                </a:lnTo>
                <a:lnTo>
                  <a:pt x="770" y="1173"/>
                </a:lnTo>
                <a:lnTo>
                  <a:pt x="755" y="1175"/>
                </a:lnTo>
                <a:lnTo>
                  <a:pt x="740" y="1175"/>
                </a:lnTo>
                <a:lnTo>
                  <a:pt x="723" y="1174"/>
                </a:lnTo>
                <a:lnTo>
                  <a:pt x="722" y="1170"/>
                </a:lnTo>
                <a:lnTo>
                  <a:pt x="720" y="1166"/>
                </a:lnTo>
                <a:lnTo>
                  <a:pt x="718" y="1163"/>
                </a:lnTo>
                <a:lnTo>
                  <a:pt x="718" y="1160"/>
                </a:lnTo>
                <a:lnTo>
                  <a:pt x="721" y="1159"/>
                </a:lnTo>
                <a:lnTo>
                  <a:pt x="725" y="1159"/>
                </a:lnTo>
                <a:lnTo>
                  <a:pt x="726" y="1159"/>
                </a:lnTo>
                <a:lnTo>
                  <a:pt x="728" y="1159"/>
                </a:lnTo>
                <a:lnTo>
                  <a:pt x="729" y="1160"/>
                </a:lnTo>
                <a:lnTo>
                  <a:pt x="730" y="1159"/>
                </a:lnTo>
                <a:lnTo>
                  <a:pt x="736" y="1160"/>
                </a:lnTo>
                <a:lnTo>
                  <a:pt x="743" y="1161"/>
                </a:lnTo>
                <a:lnTo>
                  <a:pt x="756" y="1158"/>
                </a:lnTo>
                <a:lnTo>
                  <a:pt x="769" y="1155"/>
                </a:lnTo>
                <a:lnTo>
                  <a:pt x="774" y="1154"/>
                </a:lnTo>
                <a:lnTo>
                  <a:pt x="776" y="1153"/>
                </a:lnTo>
                <a:lnTo>
                  <a:pt x="778" y="1151"/>
                </a:lnTo>
                <a:lnTo>
                  <a:pt x="781" y="1147"/>
                </a:lnTo>
                <a:lnTo>
                  <a:pt x="783" y="1145"/>
                </a:lnTo>
                <a:lnTo>
                  <a:pt x="785" y="1142"/>
                </a:lnTo>
                <a:lnTo>
                  <a:pt x="789" y="1137"/>
                </a:lnTo>
                <a:lnTo>
                  <a:pt x="794" y="1133"/>
                </a:lnTo>
                <a:lnTo>
                  <a:pt x="789" y="1137"/>
                </a:lnTo>
                <a:lnTo>
                  <a:pt x="785" y="1142"/>
                </a:lnTo>
                <a:lnTo>
                  <a:pt x="790" y="1141"/>
                </a:lnTo>
                <a:lnTo>
                  <a:pt x="796" y="1141"/>
                </a:lnTo>
                <a:lnTo>
                  <a:pt x="806" y="1131"/>
                </a:lnTo>
                <a:lnTo>
                  <a:pt x="817" y="1120"/>
                </a:lnTo>
                <a:lnTo>
                  <a:pt x="819" y="1119"/>
                </a:lnTo>
                <a:lnTo>
                  <a:pt x="819" y="1117"/>
                </a:lnTo>
                <a:lnTo>
                  <a:pt x="826" y="1111"/>
                </a:lnTo>
                <a:lnTo>
                  <a:pt x="833" y="1106"/>
                </a:lnTo>
                <a:lnTo>
                  <a:pt x="834" y="1103"/>
                </a:lnTo>
                <a:lnTo>
                  <a:pt x="837" y="1100"/>
                </a:lnTo>
                <a:lnTo>
                  <a:pt x="839" y="1098"/>
                </a:lnTo>
                <a:lnTo>
                  <a:pt x="843" y="1096"/>
                </a:lnTo>
                <a:lnTo>
                  <a:pt x="839" y="1098"/>
                </a:lnTo>
                <a:lnTo>
                  <a:pt x="837" y="1100"/>
                </a:lnTo>
                <a:lnTo>
                  <a:pt x="834" y="1103"/>
                </a:lnTo>
                <a:lnTo>
                  <a:pt x="833" y="1106"/>
                </a:lnTo>
                <a:close/>
                <a:moveTo>
                  <a:pt x="834" y="1166"/>
                </a:moveTo>
                <a:lnTo>
                  <a:pt x="833" y="1167"/>
                </a:lnTo>
                <a:lnTo>
                  <a:pt x="832" y="1168"/>
                </a:lnTo>
                <a:lnTo>
                  <a:pt x="830" y="1169"/>
                </a:lnTo>
                <a:lnTo>
                  <a:pt x="829" y="1169"/>
                </a:lnTo>
                <a:lnTo>
                  <a:pt x="830" y="1169"/>
                </a:lnTo>
                <a:lnTo>
                  <a:pt x="832" y="1168"/>
                </a:lnTo>
                <a:lnTo>
                  <a:pt x="833" y="1167"/>
                </a:lnTo>
                <a:lnTo>
                  <a:pt x="834" y="1166"/>
                </a:lnTo>
                <a:lnTo>
                  <a:pt x="838" y="1165"/>
                </a:lnTo>
                <a:lnTo>
                  <a:pt x="840" y="1165"/>
                </a:lnTo>
                <a:lnTo>
                  <a:pt x="838" y="1165"/>
                </a:lnTo>
                <a:lnTo>
                  <a:pt x="834" y="1166"/>
                </a:lnTo>
                <a:close/>
                <a:moveTo>
                  <a:pt x="809" y="1169"/>
                </a:moveTo>
                <a:lnTo>
                  <a:pt x="804" y="1169"/>
                </a:lnTo>
                <a:lnTo>
                  <a:pt x="801" y="1169"/>
                </a:lnTo>
                <a:lnTo>
                  <a:pt x="804" y="1169"/>
                </a:lnTo>
                <a:lnTo>
                  <a:pt x="809" y="1169"/>
                </a:lnTo>
                <a:lnTo>
                  <a:pt x="813" y="1169"/>
                </a:lnTo>
                <a:lnTo>
                  <a:pt x="817" y="1169"/>
                </a:lnTo>
                <a:lnTo>
                  <a:pt x="813" y="1169"/>
                </a:lnTo>
                <a:lnTo>
                  <a:pt x="809" y="1169"/>
                </a:lnTo>
                <a:close/>
                <a:moveTo>
                  <a:pt x="740" y="1278"/>
                </a:moveTo>
                <a:lnTo>
                  <a:pt x="739" y="1281"/>
                </a:lnTo>
                <a:lnTo>
                  <a:pt x="737" y="1282"/>
                </a:lnTo>
                <a:lnTo>
                  <a:pt x="739" y="1281"/>
                </a:lnTo>
                <a:lnTo>
                  <a:pt x="740" y="1278"/>
                </a:lnTo>
                <a:lnTo>
                  <a:pt x="746" y="1278"/>
                </a:lnTo>
                <a:lnTo>
                  <a:pt x="751" y="1278"/>
                </a:lnTo>
                <a:lnTo>
                  <a:pt x="746" y="1278"/>
                </a:lnTo>
                <a:lnTo>
                  <a:pt x="740" y="1278"/>
                </a:lnTo>
                <a:close/>
                <a:moveTo>
                  <a:pt x="734" y="1295"/>
                </a:moveTo>
                <a:lnTo>
                  <a:pt x="721" y="1295"/>
                </a:lnTo>
                <a:lnTo>
                  <a:pt x="708" y="1295"/>
                </a:lnTo>
                <a:lnTo>
                  <a:pt x="721" y="1295"/>
                </a:lnTo>
                <a:lnTo>
                  <a:pt x="734" y="1295"/>
                </a:lnTo>
                <a:lnTo>
                  <a:pt x="736" y="1294"/>
                </a:lnTo>
                <a:lnTo>
                  <a:pt x="739" y="1293"/>
                </a:lnTo>
                <a:lnTo>
                  <a:pt x="740" y="1292"/>
                </a:lnTo>
                <a:lnTo>
                  <a:pt x="742" y="1293"/>
                </a:lnTo>
                <a:lnTo>
                  <a:pt x="740" y="1292"/>
                </a:lnTo>
                <a:lnTo>
                  <a:pt x="739" y="1293"/>
                </a:lnTo>
                <a:lnTo>
                  <a:pt x="736" y="1294"/>
                </a:lnTo>
                <a:lnTo>
                  <a:pt x="734" y="1295"/>
                </a:lnTo>
                <a:close/>
                <a:moveTo>
                  <a:pt x="704" y="1256"/>
                </a:moveTo>
                <a:lnTo>
                  <a:pt x="706" y="1253"/>
                </a:lnTo>
                <a:lnTo>
                  <a:pt x="708" y="1252"/>
                </a:lnTo>
                <a:lnTo>
                  <a:pt x="706" y="1253"/>
                </a:lnTo>
                <a:lnTo>
                  <a:pt x="704" y="1256"/>
                </a:lnTo>
                <a:close/>
                <a:moveTo>
                  <a:pt x="702" y="1246"/>
                </a:moveTo>
                <a:lnTo>
                  <a:pt x="693" y="1244"/>
                </a:lnTo>
                <a:lnTo>
                  <a:pt x="686" y="1239"/>
                </a:lnTo>
                <a:lnTo>
                  <a:pt x="693" y="1244"/>
                </a:lnTo>
                <a:lnTo>
                  <a:pt x="702" y="1246"/>
                </a:lnTo>
                <a:lnTo>
                  <a:pt x="702" y="1246"/>
                </a:lnTo>
                <a:lnTo>
                  <a:pt x="704" y="1246"/>
                </a:lnTo>
                <a:lnTo>
                  <a:pt x="702" y="1246"/>
                </a:lnTo>
                <a:lnTo>
                  <a:pt x="702" y="1246"/>
                </a:lnTo>
                <a:close/>
                <a:moveTo>
                  <a:pt x="699" y="1264"/>
                </a:moveTo>
                <a:lnTo>
                  <a:pt x="700" y="1265"/>
                </a:lnTo>
                <a:lnTo>
                  <a:pt x="702" y="1265"/>
                </a:lnTo>
                <a:lnTo>
                  <a:pt x="700" y="1265"/>
                </a:lnTo>
                <a:lnTo>
                  <a:pt x="699" y="1264"/>
                </a:lnTo>
                <a:close/>
                <a:moveTo>
                  <a:pt x="698" y="1265"/>
                </a:moveTo>
                <a:lnTo>
                  <a:pt x="698" y="1264"/>
                </a:lnTo>
                <a:lnTo>
                  <a:pt x="698" y="1265"/>
                </a:lnTo>
                <a:close/>
                <a:moveTo>
                  <a:pt x="715" y="1133"/>
                </a:moveTo>
                <a:lnTo>
                  <a:pt x="716" y="1133"/>
                </a:lnTo>
                <a:lnTo>
                  <a:pt x="718" y="1133"/>
                </a:lnTo>
                <a:lnTo>
                  <a:pt x="716" y="1133"/>
                </a:lnTo>
                <a:lnTo>
                  <a:pt x="715" y="1133"/>
                </a:lnTo>
                <a:close/>
                <a:moveTo>
                  <a:pt x="709" y="1152"/>
                </a:moveTo>
                <a:lnTo>
                  <a:pt x="713" y="1152"/>
                </a:lnTo>
                <a:lnTo>
                  <a:pt x="715" y="1152"/>
                </a:lnTo>
                <a:lnTo>
                  <a:pt x="716" y="1152"/>
                </a:lnTo>
                <a:lnTo>
                  <a:pt x="718" y="1152"/>
                </a:lnTo>
                <a:lnTo>
                  <a:pt x="716" y="1152"/>
                </a:lnTo>
                <a:lnTo>
                  <a:pt x="715" y="1152"/>
                </a:lnTo>
                <a:lnTo>
                  <a:pt x="713" y="1152"/>
                </a:lnTo>
                <a:lnTo>
                  <a:pt x="709" y="1152"/>
                </a:lnTo>
                <a:close/>
                <a:moveTo>
                  <a:pt x="701" y="1140"/>
                </a:moveTo>
                <a:lnTo>
                  <a:pt x="701" y="1141"/>
                </a:lnTo>
                <a:lnTo>
                  <a:pt x="701" y="1142"/>
                </a:lnTo>
                <a:lnTo>
                  <a:pt x="701" y="1141"/>
                </a:lnTo>
                <a:lnTo>
                  <a:pt x="701" y="1140"/>
                </a:lnTo>
                <a:close/>
                <a:moveTo>
                  <a:pt x="698" y="1148"/>
                </a:moveTo>
                <a:lnTo>
                  <a:pt x="699" y="1147"/>
                </a:lnTo>
                <a:lnTo>
                  <a:pt x="699" y="1146"/>
                </a:lnTo>
                <a:lnTo>
                  <a:pt x="700" y="1145"/>
                </a:lnTo>
                <a:lnTo>
                  <a:pt x="700" y="1145"/>
                </a:lnTo>
                <a:lnTo>
                  <a:pt x="700" y="1145"/>
                </a:lnTo>
                <a:lnTo>
                  <a:pt x="699" y="1146"/>
                </a:lnTo>
                <a:lnTo>
                  <a:pt x="699" y="1147"/>
                </a:lnTo>
                <a:lnTo>
                  <a:pt x="698" y="1148"/>
                </a:lnTo>
                <a:close/>
                <a:moveTo>
                  <a:pt x="714" y="1160"/>
                </a:moveTo>
                <a:lnTo>
                  <a:pt x="714" y="1166"/>
                </a:lnTo>
                <a:lnTo>
                  <a:pt x="713" y="1173"/>
                </a:lnTo>
                <a:lnTo>
                  <a:pt x="712" y="1173"/>
                </a:lnTo>
                <a:lnTo>
                  <a:pt x="711" y="1173"/>
                </a:lnTo>
                <a:lnTo>
                  <a:pt x="708" y="1173"/>
                </a:lnTo>
                <a:lnTo>
                  <a:pt x="707" y="1174"/>
                </a:lnTo>
                <a:lnTo>
                  <a:pt x="706" y="1174"/>
                </a:lnTo>
                <a:lnTo>
                  <a:pt x="704" y="1175"/>
                </a:lnTo>
                <a:lnTo>
                  <a:pt x="700" y="1176"/>
                </a:lnTo>
                <a:lnTo>
                  <a:pt x="704" y="1175"/>
                </a:lnTo>
                <a:lnTo>
                  <a:pt x="706" y="1174"/>
                </a:lnTo>
                <a:lnTo>
                  <a:pt x="702" y="1174"/>
                </a:lnTo>
                <a:lnTo>
                  <a:pt x="699" y="1173"/>
                </a:lnTo>
                <a:lnTo>
                  <a:pt x="699" y="1172"/>
                </a:lnTo>
                <a:lnTo>
                  <a:pt x="698" y="1170"/>
                </a:lnTo>
                <a:lnTo>
                  <a:pt x="699" y="1169"/>
                </a:lnTo>
                <a:lnTo>
                  <a:pt x="700" y="1168"/>
                </a:lnTo>
                <a:lnTo>
                  <a:pt x="702" y="1168"/>
                </a:lnTo>
                <a:lnTo>
                  <a:pt x="705" y="1167"/>
                </a:lnTo>
                <a:lnTo>
                  <a:pt x="706" y="1166"/>
                </a:lnTo>
                <a:lnTo>
                  <a:pt x="707" y="1165"/>
                </a:lnTo>
                <a:lnTo>
                  <a:pt x="707" y="1160"/>
                </a:lnTo>
                <a:lnTo>
                  <a:pt x="707" y="1156"/>
                </a:lnTo>
                <a:lnTo>
                  <a:pt x="708" y="1156"/>
                </a:lnTo>
                <a:lnTo>
                  <a:pt x="709" y="1155"/>
                </a:lnTo>
                <a:lnTo>
                  <a:pt x="712" y="1154"/>
                </a:lnTo>
                <a:lnTo>
                  <a:pt x="715" y="1154"/>
                </a:lnTo>
                <a:lnTo>
                  <a:pt x="712" y="1154"/>
                </a:lnTo>
                <a:lnTo>
                  <a:pt x="709" y="1155"/>
                </a:lnTo>
                <a:lnTo>
                  <a:pt x="712" y="1156"/>
                </a:lnTo>
                <a:lnTo>
                  <a:pt x="713" y="1156"/>
                </a:lnTo>
                <a:lnTo>
                  <a:pt x="714" y="1158"/>
                </a:lnTo>
                <a:lnTo>
                  <a:pt x="714" y="1160"/>
                </a:lnTo>
                <a:close/>
                <a:moveTo>
                  <a:pt x="685" y="1130"/>
                </a:moveTo>
                <a:lnTo>
                  <a:pt x="687" y="1124"/>
                </a:lnTo>
                <a:lnTo>
                  <a:pt x="689" y="1117"/>
                </a:lnTo>
                <a:lnTo>
                  <a:pt x="691" y="1116"/>
                </a:lnTo>
                <a:lnTo>
                  <a:pt x="693" y="1117"/>
                </a:lnTo>
                <a:lnTo>
                  <a:pt x="700" y="1120"/>
                </a:lnTo>
                <a:lnTo>
                  <a:pt x="707" y="1121"/>
                </a:lnTo>
                <a:lnTo>
                  <a:pt x="714" y="1123"/>
                </a:lnTo>
                <a:lnTo>
                  <a:pt x="721" y="1124"/>
                </a:lnTo>
                <a:lnTo>
                  <a:pt x="726" y="1124"/>
                </a:lnTo>
                <a:lnTo>
                  <a:pt x="730" y="1123"/>
                </a:lnTo>
                <a:lnTo>
                  <a:pt x="733" y="1121"/>
                </a:lnTo>
                <a:lnTo>
                  <a:pt x="735" y="1123"/>
                </a:lnTo>
                <a:lnTo>
                  <a:pt x="735" y="1125"/>
                </a:lnTo>
                <a:lnTo>
                  <a:pt x="734" y="1126"/>
                </a:lnTo>
                <a:lnTo>
                  <a:pt x="735" y="1127"/>
                </a:lnTo>
                <a:lnTo>
                  <a:pt x="736" y="1127"/>
                </a:lnTo>
                <a:lnTo>
                  <a:pt x="735" y="1127"/>
                </a:lnTo>
                <a:lnTo>
                  <a:pt x="734" y="1126"/>
                </a:lnTo>
                <a:lnTo>
                  <a:pt x="733" y="1126"/>
                </a:lnTo>
                <a:lnTo>
                  <a:pt x="732" y="1126"/>
                </a:lnTo>
                <a:lnTo>
                  <a:pt x="730" y="1128"/>
                </a:lnTo>
                <a:lnTo>
                  <a:pt x="729" y="1128"/>
                </a:lnTo>
                <a:lnTo>
                  <a:pt x="728" y="1130"/>
                </a:lnTo>
                <a:lnTo>
                  <a:pt x="726" y="1130"/>
                </a:lnTo>
                <a:lnTo>
                  <a:pt x="728" y="1130"/>
                </a:lnTo>
                <a:lnTo>
                  <a:pt x="729" y="1128"/>
                </a:lnTo>
                <a:lnTo>
                  <a:pt x="730" y="1128"/>
                </a:lnTo>
                <a:lnTo>
                  <a:pt x="732" y="1126"/>
                </a:lnTo>
                <a:lnTo>
                  <a:pt x="729" y="1126"/>
                </a:lnTo>
                <a:lnTo>
                  <a:pt x="727" y="1126"/>
                </a:lnTo>
                <a:lnTo>
                  <a:pt x="726" y="1127"/>
                </a:lnTo>
                <a:lnTo>
                  <a:pt x="725" y="1128"/>
                </a:lnTo>
                <a:lnTo>
                  <a:pt x="725" y="1130"/>
                </a:lnTo>
                <a:lnTo>
                  <a:pt x="723" y="1130"/>
                </a:lnTo>
                <a:lnTo>
                  <a:pt x="722" y="1128"/>
                </a:lnTo>
                <a:lnTo>
                  <a:pt x="715" y="1128"/>
                </a:lnTo>
                <a:lnTo>
                  <a:pt x="709" y="1130"/>
                </a:lnTo>
                <a:lnTo>
                  <a:pt x="702" y="1131"/>
                </a:lnTo>
                <a:lnTo>
                  <a:pt x="696" y="1133"/>
                </a:lnTo>
                <a:lnTo>
                  <a:pt x="692" y="1133"/>
                </a:lnTo>
                <a:lnTo>
                  <a:pt x="688" y="1133"/>
                </a:lnTo>
                <a:lnTo>
                  <a:pt x="686" y="1133"/>
                </a:lnTo>
                <a:lnTo>
                  <a:pt x="685" y="1133"/>
                </a:lnTo>
                <a:lnTo>
                  <a:pt x="684" y="1132"/>
                </a:lnTo>
                <a:lnTo>
                  <a:pt x="685" y="1130"/>
                </a:lnTo>
                <a:close/>
                <a:moveTo>
                  <a:pt x="679" y="1232"/>
                </a:moveTo>
                <a:lnTo>
                  <a:pt x="672" y="1232"/>
                </a:lnTo>
                <a:lnTo>
                  <a:pt x="665" y="1230"/>
                </a:lnTo>
                <a:lnTo>
                  <a:pt x="659" y="1226"/>
                </a:lnTo>
                <a:lnTo>
                  <a:pt x="653" y="1222"/>
                </a:lnTo>
                <a:lnTo>
                  <a:pt x="659" y="1226"/>
                </a:lnTo>
                <a:lnTo>
                  <a:pt x="665" y="1230"/>
                </a:lnTo>
                <a:lnTo>
                  <a:pt x="672" y="1232"/>
                </a:lnTo>
                <a:lnTo>
                  <a:pt x="679" y="1232"/>
                </a:lnTo>
                <a:lnTo>
                  <a:pt x="680" y="1233"/>
                </a:lnTo>
                <a:lnTo>
                  <a:pt x="681" y="1233"/>
                </a:lnTo>
                <a:lnTo>
                  <a:pt x="680" y="1233"/>
                </a:lnTo>
                <a:lnTo>
                  <a:pt x="679" y="1232"/>
                </a:lnTo>
                <a:close/>
                <a:moveTo>
                  <a:pt x="678" y="1016"/>
                </a:moveTo>
                <a:lnTo>
                  <a:pt x="675" y="1016"/>
                </a:lnTo>
                <a:lnTo>
                  <a:pt x="672" y="1016"/>
                </a:lnTo>
                <a:lnTo>
                  <a:pt x="675" y="1016"/>
                </a:lnTo>
                <a:lnTo>
                  <a:pt x="678" y="1016"/>
                </a:lnTo>
                <a:close/>
                <a:moveTo>
                  <a:pt x="629" y="620"/>
                </a:moveTo>
                <a:lnTo>
                  <a:pt x="619" y="623"/>
                </a:lnTo>
                <a:lnTo>
                  <a:pt x="609" y="624"/>
                </a:lnTo>
                <a:lnTo>
                  <a:pt x="599" y="625"/>
                </a:lnTo>
                <a:lnTo>
                  <a:pt x="589" y="627"/>
                </a:lnTo>
                <a:lnTo>
                  <a:pt x="574" y="629"/>
                </a:lnTo>
                <a:lnTo>
                  <a:pt x="559" y="632"/>
                </a:lnTo>
                <a:lnTo>
                  <a:pt x="543" y="636"/>
                </a:lnTo>
                <a:lnTo>
                  <a:pt x="529" y="642"/>
                </a:lnTo>
                <a:lnTo>
                  <a:pt x="522" y="644"/>
                </a:lnTo>
                <a:lnTo>
                  <a:pt x="515" y="647"/>
                </a:lnTo>
                <a:lnTo>
                  <a:pt x="508" y="650"/>
                </a:lnTo>
                <a:lnTo>
                  <a:pt x="502" y="655"/>
                </a:lnTo>
                <a:lnTo>
                  <a:pt x="497" y="657"/>
                </a:lnTo>
                <a:lnTo>
                  <a:pt x="490" y="659"/>
                </a:lnTo>
                <a:lnTo>
                  <a:pt x="488" y="661"/>
                </a:lnTo>
                <a:lnTo>
                  <a:pt x="488" y="662"/>
                </a:lnTo>
                <a:lnTo>
                  <a:pt x="488" y="661"/>
                </a:lnTo>
                <a:lnTo>
                  <a:pt x="490" y="659"/>
                </a:lnTo>
                <a:lnTo>
                  <a:pt x="485" y="659"/>
                </a:lnTo>
                <a:lnTo>
                  <a:pt x="480" y="659"/>
                </a:lnTo>
                <a:lnTo>
                  <a:pt x="477" y="659"/>
                </a:lnTo>
                <a:lnTo>
                  <a:pt x="475" y="657"/>
                </a:lnTo>
                <a:lnTo>
                  <a:pt x="477" y="656"/>
                </a:lnTo>
                <a:lnTo>
                  <a:pt x="477" y="655"/>
                </a:lnTo>
                <a:lnTo>
                  <a:pt x="478" y="655"/>
                </a:lnTo>
                <a:lnTo>
                  <a:pt x="480" y="655"/>
                </a:lnTo>
                <a:lnTo>
                  <a:pt x="486" y="654"/>
                </a:lnTo>
                <a:lnTo>
                  <a:pt x="491" y="650"/>
                </a:lnTo>
                <a:lnTo>
                  <a:pt x="494" y="647"/>
                </a:lnTo>
                <a:lnTo>
                  <a:pt x="499" y="642"/>
                </a:lnTo>
                <a:lnTo>
                  <a:pt x="501" y="641"/>
                </a:lnTo>
                <a:lnTo>
                  <a:pt x="502" y="638"/>
                </a:lnTo>
                <a:lnTo>
                  <a:pt x="504" y="637"/>
                </a:lnTo>
                <a:lnTo>
                  <a:pt x="504" y="635"/>
                </a:lnTo>
                <a:lnTo>
                  <a:pt x="504" y="635"/>
                </a:lnTo>
                <a:lnTo>
                  <a:pt x="505" y="634"/>
                </a:lnTo>
                <a:lnTo>
                  <a:pt x="505" y="634"/>
                </a:lnTo>
                <a:lnTo>
                  <a:pt x="506" y="632"/>
                </a:lnTo>
                <a:lnTo>
                  <a:pt x="507" y="632"/>
                </a:lnTo>
                <a:lnTo>
                  <a:pt x="507" y="632"/>
                </a:lnTo>
                <a:lnTo>
                  <a:pt x="507" y="632"/>
                </a:lnTo>
                <a:lnTo>
                  <a:pt x="509" y="634"/>
                </a:lnTo>
                <a:lnTo>
                  <a:pt x="512" y="636"/>
                </a:lnTo>
                <a:lnTo>
                  <a:pt x="513" y="637"/>
                </a:lnTo>
                <a:lnTo>
                  <a:pt x="514" y="637"/>
                </a:lnTo>
                <a:lnTo>
                  <a:pt x="515" y="636"/>
                </a:lnTo>
                <a:lnTo>
                  <a:pt x="516" y="634"/>
                </a:lnTo>
                <a:lnTo>
                  <a:pt x="518" y="634"/>
                </a:lnTo>
                <a:lnTo>
                  <a:pt x="518" y="634"/>
                </a:lnTo>
                <a:lnTo>
                  <a:pt x="521" y="634"/>
                </a:lnTo>
                <a:lnTo>
                  <a:pt x="525" y="634"/>
                </a:lnTo>
                <a:lnTo>
                  <a:pt x="526" y="634"/>
                </a:lnTo>
                <a:lnTo>
                  <a:pt x="526" y="632"/>
                </a:lnTo>
                <a:lnTo>
                  <a:pt x="527" y="630"/>
                </a:lnTo>
                <a:lnTo>
                  <a:pt x="526" y="628"/>
                </a:lnTo>
                <a:lnTo>
                  <a:pt x="527" y="627"/>
                </a:lnTo>
                <a:lnTo>
                  <a:pt x="529" y="628"/>
                </a:lnTo>
                <a:lnTo>
                  <a:pt x="532" y="628"/>
                </a:lnTo>
                <a:lnTo>
                  <a:pt x="533" y="627"/>
                </a:lnTo>
                <a:lnTo>
                  <a:pt x="534" y="625"/>
                </a:lnTo>
                <a:lnTo>
                  <a:pt x="535" y="623"/>
                </a:lnTo>
                <a:lnTo>
                  <a:pt x="540" y="620"/>
                </a:lnTo>
                <a:lnTo>
                  <a:pt x="543" y="616"/>
                </a:lnTo>
                <a:lnTo>
                  <a:pt x="553" y="610"/>
                </a:lnTo>
                <a:lnTo>
                  <a:pt x="560" y="604"/>
                </a:lnTo>
                <a:lnTo>
                  <a:pt x="561" y="602"/>
                </a:lnTo>
                <a:lnTo>
                  <a:pt x="562" y="599"/>
                </a:lnTo>
                <a:lnTo>
                  <a:pt x="562" y="596"/>
                </a:lnTo>
                <a:lnTo>
                  <a:pt x="561" y="594"/>
                </a:lnTo>
                <a:lnTo>
                  <a:pt x="557" y="586"/>
                </a:lnTo>
                <a:lnTo>
                  <a:pt x="557" y="578"/>
                </a:lnTo>
                <a:lnTo>
                  <a:pt x="557" y="576"/>
                </a:lnTo>
                <a:lnTo>
                  <a:pt x="559" y="574"/>
                </a:lnTo>
                <a:lnTo>
                  <a:pt x="560" y="574"/>
                </a:lnTo>
                <a:lnTo>
                  <a:pt x="562" y="574"/>
                </a:lnTo>
                <a:lnTo>
                  <a:pt x="566" y="580"/>
                </a:lnTo>
                <a:lnTo>
                  <a:pt x="569" y="586"/>
                </a:lnTo>
                <a:lnTo>
                  <a:pt x="571" y="586"/>
                </a:lnTo>
                <a:lnTo>
                  <a:pt x="573" y="585"/>
                </a:lnTo>
                <a:lnTo>
                  <a:pt x="571" y="586"/>
                </a:lnTo>
                <a:lnTo>
                  <a:pt x="569" y="586"/>
                </a:lnTo>
                <a:lnTo>
                  <a:pt x="571" y="596"/>
                </a:lnTo>
                <a:lnTo>
                  <a:pt x="575" y="606"/>
                </a:lnTo>
                <a:lnTo>
                  <a:pt x="575" y="609"/>
                </a:lnTo>
                <a:lnTo>
                  <a:pt x="576" y="613"/>
                </a:lnTo>
                <a:lnTo>
                  <a:pt x="580" y="614"/>
                </a:lnTo>
                <a:lnTo>
                  <a:pt x="583" y="614"/>
                </a:lnTo>
                <a:lnTo>
                  <a:pt x="584" y="611"/>
                </a:lnTo>
                <a:lnTo>
                  <a:pt x="585" y="610"/>
                </a:lnTo>
                <a:lnTo>
                  <a:pt x="584" y="611"/>
                </a:lnTo>
                <a:lnTo>
                  <a:pt x="583" y="614"/>
                </a:lnTo>
                <a:lnTo>
                  <a:pt x="588" y="614"/>
                </a:lnTo>
                <a:lnTo>
                  <a:pt x="594" y="615"/>
                </a:lnTo>
                <a:lnTo>
                  <a:pt x="598" y="614"/>
                </a:lnTo>
                <a:lnTo>
                  <a:pt x="603" y="610"/>
                </a:lnTo>
                <a:lnTo>
                  <a:pt x="605" y="610"/>
                </a:lnTo>
                <a:lnTo>
                  <a:pt x="608" y="610"/>
                </a:lnTo>
                <a:lnTo>
                  <a:pt x="608" y="608"/>
                </a:lnTo>
                <a:lnTo>
                  <a:pt x="609" y="607"/>
                </a:lnTo>
                <a:lnTo>
                  <a:pt x="608" y="608"/>
                </a:lnTo>
                <a:lnTo>
                  <a:pt x="608" y="610"/>
                </a:lnTo>
                <a:lnTo>
                  <a:pt x="609" y="610"/>
                </a:lnTo>
                <a:lnTo>
                  <a:pt x="611" y="610"/>
                </a:lnTo>
                <a:lnTo>
                  <a:pt x="612" y="609"/>
                </a:lnTo>
                <a:lnTo>
                  <a:pt x="613" y="607"/>
                </a:lnTo>
                <a:lnTo>
                  <a:pt x="617" y="606"/>
                </a:lnTo>
                <a:lnTo>
                  <a:pt x="620" y="606"/>
                </a:lnTo>
                <a:lnTo>
                  <a:pt x="622" y="602"/>
                </a:lnTo>
                <a:lnTo>
                  <a:pt x="624" y="601"/>
                </a:lnTo>
                <a:lnTo>
                  <a:pt x="622" y="602"/>
                </a:lnTo>
                <a:lnTo>
                  <a:pt x="620" y="606"/>
                </a:lnTo>
                <a:lnTo>
                  <a:pt x="623" y="606"/>
                </a:lnTo>
                <a:lnTo>
                  <a:pt x="624" y="604"/>
                </a:lnTo>
                <a:lnTo>
                  <a:pt x="625" y="603"/>
                </a:lnTo>
                <a:lnTo>
                  <a:pt x="625" y="601"/>
                </a:lnTo>
                <a:lnTo>
                  <a:pt x="626" y="601"/>
                </a:lnTo>
                <a:lnTo>
                  <a:pt x="626" y="601"/>
                </a:lnTo>
                <a:lnTo>
                  <a:pt x="636" y="597"/>
                </a:lnTo>
                <a:lnTo>
                  <a:pt x="644" y="593"/>
                </a:lnTo>
                <a:lnTo>
                  <a:pt x="647" y="589"/>
                </a:lnTo>
                <a:lnTo>
                  <a:pt x="650" y="586"/>
                </a:lnTo>
                <a:lnTo>
                  <a:pt x="652" y="581"/>
                </a:lnTo>
                <a:lnTo>
                  <a:pt x="654" y="576"/>
                </a:lnTo>
                <a:lnTo>
                  <a:pt x="658" y="566"/>
                </a:lnTo>
                <a:lnTo>
                  <a:pt x="659" y="554"/>
                </a:lnTo>
                <a:lnTo>
                  <a:pt x="660" y="541"/>
                </a:lnTo>
                <a:lnTo>
                  <a:pt x="661" y="530"/>
                </a:lnTo>
                <a:lnTo>
                  <a:pt x="666" y="519"/>
                </a:lnTo>
                <a:lnTo>
                  <a:pt x="671" y="509"/>
                </a:lnTo>
                <a:lnTo>
                  <a:pt x="670" y="508"/>
                </a:lnTo>
                <a:lnTo>
                  <a:pt x="670" y="505"/>
                </a:lnTo>
                <a:lnTo>
                  <a:pt x="670" y="508"/>
                </a:lnTo>
                <a:lnTo>
                  <a:pt x="671" y="509"/>
                </a:lnTo>
                <a:lnTo>
                  <a:pt x="673" y="508"/>
                </a:lnTo>
                <a:lnTo>
                  <a:pt x="678" y="506"/>
                </a:lnTo>
                <a:lnTo>
                  <a:pt x="675" y="511"/>
                </a:lnTo>
                <a:lnTo>
                  <a:pt x="675" y="515"/>
                </a:lnTo>
                <a:lnTo>
                  <a:pt x="675" y="519"/>
                </a:lnTo>
                <a:lnTo>
                  <a:pt x="677" y="523"/>
                </a:lnTo>
                <a:lnTo>
                  <a:pt x="679" y="531"/>
                </a:lnTo>
                <a:lnTo>
                  <a:pt x="680" y="539"/>
                </a:lnTo>
                <a:lnTo>
                  <a:pt x="679" y="552"/>
                </a:lnTo>
                <a:lnTo>
                  <a:pt x="678" y="564"/>
                </a:lnTo>
                <a:lnTo>
                  <a:pt x="677" y="576"/>
                </a:lnTo>
                <a:lnTo>
                  <a:pt x="677" y="589"/>
                </a:lnTo>
                <a:lnTo>
                  <a:pt x="675" y="596"/>
                </a:lnTo>
                <a:lnTo>
                  <a:pt x="673" y="602"/>
                </a:lnTo>
                <a:lnTo>
                  <a:pt x="666" y="609"/>
                </a:lnTo>
                <a:lnTo>
                  <a:pt x="658" y="615"/>
                </a:lnTo>
                <a:lnTo>
                  <a:pt x="654" y="616"/>
                </a:lnTo>
                <a:lnTo>
                  <a:pt x="650" y="618"/>
                </a:lnTo>
                <a:lnTo>
                  <a:pt x="644" y="618"/>
                </a:lnTo>
                <a:lnTo>
                  <a:pt x="639" y="618"/>
                </a:lnTo>
                <a:lnTo>
                  <a:pt x="633" y="618"/>
                </a:lnTo>
                <a:lnTo>
                  <a:pt x="629" y="620"/>
                </a:lnTo>
                <a:close/>
                <a:moveTo>
                  <a:pt x="637" y="1021"/>
                </a:moveTo>
                <a:lnTo>
                  <a:pt x="635" y="1021"/>
                </a:lnTo>
                <a:lnTo>
                  <a:pt x="633" y="1021"/>
                </a:lnTo>
                <a:lnTo>
                  <a:pt x="635" y="1021"/>
                </a:lnTo>
                <a:lnTo>
                  <a:pt x="637" y="1021"/>
                </a:lnTo>
                <a:lnTo>
                  <a:pt x="637" y="1016"/>
                </a:lnTo>
                <a:lnTo>
                  <a:pt x="637" y="1013"/>
                </a:lnTo>
                <a:lnTo>
                  <a:pt x="637" y="1016"/>
                </a:lnTo>
                <a:lnTo>
                  <a:pt x="637" y="1021"/>
                </a:lnTo>
                <a:close/>
                <a:moveTo>
                  <a:pt x="635" y="1135"/>
                </a:moveTo>
                <a:lnTo>
                  <a:pt x="635" y="1134"/>
                </a:lnTo>
                <a:lnTo>
                  <a:pt x="633" y="1134"/>
                </a:lnTo>
                <a:lnTo>
                  <a:pt x="635" y="1134"/>
                </a:lnTo>
                <a:lnTo>
                  <a:pt x="635" y="1135"/>
                </a:lnTo>
                <a:close/>
                <a:moveTo>
                  <a:pt x="633" y="1125"/>
                </a:moveTo>
                <a:lnTo>
                  <a:pt x="630" y="1120"/>
                </a:lnTo>
                <a:lnTo>
                  <a:pt x="625" y="1117"/>
                </a:lnTo>
                <a:lnTo>
                  <a:pt x="630" y="1120"/>
                </a:lnTo>
                <a:lnTo>
                  <a:pt x="633" y="1125"/>
                </a:lnTo>
                <a:close/>
                <a:moveTo>
                  <a:pt x="633" y="1174"/>
                </a:moveTo>
                <a:lnTo>
                  <a:pt x="631" y="1174"/>
                </a:lnTo>
                <a:lnTo>
                  <a:pt x="630" y="1173"/>
                </a:lnTo>
                <a:lnTo>
                  <a:pt x="631" y="1174"/>
                </a:lnTo>
                <a:lnTo>
                  <a:pt x="633" y="1174"/>
                </a:lnTo>
                <a:lnTo>
                  <a:pt x="633" y="1174"/>
                </a:lnTo>
                <a:close/>
                <a:moveTo>
                  <a:pt x="618" y="935"/>
                </a:moveTo>
                <a:lnTo>
                  <a:pt x="615" y="932"/>
                </a:lnTo>
                <a:lnTo>
                  <a:pt x="612" y="931"/>
                </a:lnTo>
                <a:lnTo>
                  <a:pt x="615" y="932"/>
                </a:lnTo>
                <a:lnTo>
                  <a:pt x="618" y="935"/>
                </a:lnTo>
                <a:lnTo>
                  <a:pt x="619" y="935"/>
                </a:lnTo>
                <a:lnTo>
                  <a:pt x="620" y="935"/>
                </a:lnTo>
                <a:lnTo>
                  <a:pt x="619" y="935"/>
                </a:lnTo>
                <a:lnTo>
                  <a:pt x="618" y="935"/>
                </a:lnTo>
                <a:close/>
                <a:moveTo>
                  <a:pt x="602" y="927"/>
                </a:moveTo>
                <a:lnTo>
                  <a:pt x="605" y="925"/>
                </a:lnTo>
                <a:lnTo>
                  <a:pt x="609" y="927"/>
                </a:lnTo>
                <a:lnTo>
                  <a:pt x="605" y="928"/>
                </a:lnTo>
                <a:lnTo>
                  <a:pt x="602" y="927"/>
                </a:lnTo>
                <a:close/>
                <a:moveTo>
                  <a:pt x="562" y="705"/>
                </a:moveTo>
                <a:lnTo>
                  <a:pt x="563" y="705"/>
                </a:lnTo>
                <a:lnTo>
                  <a:pt x="566" y="705"/>
                </a:lnTo>
                <a:lnTo>
                  <a:pt x="563" y="705"/>
                </a:lnTo>
                <a:lnTo>
                  <a:pt x="562" y="705"/>
                </a:lnTo>
                <a:close/>
                <a:moveTo>
                  <a:pt x="588" y="794"/>
                </a:moveTo>
                <a:lnTo>
                  <a:pt x="585" y="795"/>
                </a:lnTo>
                <a:lnTo>
                  <a:pt x="583" y="794"/>
                </a:lnTo>
                <a:lnTo>
                  <a:pt x="582" y="791"/>
                </a:lnTo>
                <a:lnTo>
                  <a:pt x="580" y="791"/>
                </a:lnTo>
                <a:lnTo>
                  <a:pt x="578" y="791"/>
                </a:lnTo>
                <a:lnTo>
                  <a:pt x="577" y="794"/>
                </a:lnTo>
                <a:lnTo>
                  <a:pt x="577" y="798"/>
                </a:lnTo>
                <a:lnTo>
                  <a:pt x="580" y="803"/>
                </a:lnTo>
                <a:lnTo>
                  <a:pt x="582" y="806"/>
                </a:lnTo>
                <a:lnTo>
                  <a:pt x="585" y="809"/>
                </a:lnTo>
                <a:lnTo>
                  <a:pt x="587" y="810"/>
                </a:lnTo>
                <a:lnTo>
                  <a:pt x="589" y="813"/>
                </a:lnTo>
                <a:lnTo>
                  <a:pt x="578" y="810"/>
                </a:lnTo>
                <a:lnTo>
                  <a:pt x="570" y="806"/>
                </a:lnTo>
                <a:lnTo>
                  <a:pt x="559" y="798"/>
                </a:lnTo>
                <a:lnTo>
                  <a:pt x="547" y="790"/>
                </a:lnTo>
                <a:lnTo>
                  <a:pt x="536" y="783"/>
                </a:lnTo>
                <a:lnTo>
                  <a:pt x="526" y="777"/>
                </a:lnTo>
                <a:lnTo>
                  <a:pt x="523" y="775"/>
                </a:lnTo>
                <a:lnTo>
                  <a:pt x="523" y="773"/>
                </a:lnTo>
                <a:lnTo>
                  <a:pt x="525" y="771"/>
                </a:lnTo>
                <a:lnTo>
                  <a:pt x="528" y="771"/>
                </a:lnTo>
                <a:lnTo>
                  <a:pt x="530" y="771"/>
                </a:lnTo>
                <a:lnTo>
                  <a:pt x="534" y="773"/>
                </a:lnTo>
                <a:lnTo>
                  <a:pt x="536" y="774"/>
                </a:lnTo>
                <a:lnTo>
                  <a:pt x="539" y="776"/>
                </a:lnTo>
                <a:lnTo>
                  <a:pt x="542" y="777"/>
                </a:lnTo>
                <a:lnTo>
                  <a:pt x="544" y="778"/>
                </a:lnTo>
                <a:lnTo>
                  <a:pt x="547" y="778"/>
                </a:lnTo>
                <a:lnTo>
                  <a:pt x="547" y="777"/>
                </a:lnTo>
                <a:lnTo>
                  <a:pt x="548" y="776"/>
                </a:lnTo>
                <a:lnTo>
                  <a:pt x="548" y="773"/>
                </a:lnTo>
                <a:lnTo>
                  <a:pt x="549" y="770"/>
                </a:lnTo>
                <a:lnTo>
                  <a:pt x="551" y="770"/>
                </a:lnTo>
                <a:lnTo>
                  <a:pt x="554" y="771"/>
                </a:lnTo>
                <a:lnTo>
                  <a:pt x="556" y="774"/>
                </a:lnTo>
                <a:lnTo>
                  <a:pt x="556" y="775"/>
                </a:lnTo>
                <a:lnTo>
                  <a:pt x="557" y="776"/>
                </a:lnTo>
                <a:lnTo>
                  <a:pt x="557" y="777"/>
                </a:lnTo>
                <a:lnTo>
                  <a:pt x="560" y="776"/>
                </a:lnTo>
                <a:lnTo>
                  <a:pt x="560" y="775"/>
                </a:lnTo>
                <a:lnTo>
                  <a:pt x="559" y="773"/>
                </a:lnTo>
                <a:lnTo>
                  <a:pt x="557" y="771"/>
                </a:lnTo>
                <a:lnTo>
                  <a:pt x="559" y="769"/>
                </a:lnTo>
                <a:lnTo>
                  <a:pt x="560" y="769"/>
                </a:lnTo>
                <a:lnTo>
                  <a:pt x="562" y="770"/>
                </a:lnTo>
                <a:lnTo>
                  <a:pt x="564" y="771"/>
                </a:lnTo>
                <a:lnTo>
                  <a:pt x="567" y="770"/>
                </a:lnTo>
                <a:lnTo>
                  <a:pt x="569" y="769"/>
                </a:lnTo>
                <a:lnTo>
                  <a:pt x="570" y="768"/>
                </a:lnTo>
                <a:lnTo>
                  <a:pt x="571" y="766"/>
                </a:lnTo>
                <a:lnTo>
                  <a:pt x="573" y="763"/>
                </a:lnTo>
                <a:lnTo>
                  <a:pt x="574" y="762"/>
                </a:lnTo>
                <a:lnTo>
                  <a:pt x="576" y="763"/>
                </a:lnTo>
                <a:lnTo>
                  <a:pt x="580" y="766"/>
                </a:lnTo>
                <a:lnTo>
                  <a:pt x="582" y="768"/>
                </a:lnTo>
                <a:lnTo>
                  <a:pt x="583" y="771"/>
                </a:lnTo>
                <a:lnTo>
                  <a:pt x="582" y="775"/>
                </a:lnTo>
                <a:lnTo>
                  <a:pt x="581" y="780"/>
                </a:lnTo>
                <a:lnTo>
                  <a:pt x="581" y="783"/>
                </a:lnTo>
                <a:lnTo>
                  <a:pt x="583" y="785"/>
                </a:lnTo>
                <a:lnTo>
                  <a:pt x="585" y="788"/>
                </a:lnTo>
                <a:lnTo>
                  <a:pt x="587" y="788"/>
                </a:lnTo>
                <a:lnTo>
                  <a:pt x="588" y="789"/>
                </a:lnTo>
                <a:lnTo>
                  <a:pt x="589" y="791"/>
                </a:lnTo>
                <a:lnTo>
                  <a:pt x="588" y="794"/>
                </a:lnTo>
                <a:close/>
                <a:moveTo>
                  <a:pt x="443" y="673"/>
                </a:moveTo>
                <a:lnTo>
                  <a:pt x="453" y="673"/>
                </a:lnTo>
                <a:lnTo>
                  <a:pt x="465" y="673"/>
                </a:lnTo>
                <a:lnTo>
                  <a:pt x="475" y="673"/>
                </a:lnTo>
                <a:lnTo>
                  <a:pt x="486" y="673"/>
                </a:lnTo>
                <a:lnTo>
                  <a:pt x="475" y="673"/>
                </a:lnTo>
                <a:lnTo>
                  <a:pt x="465" y="673"/>
                </a:lnTo>
                <a:lnTo>
                  <a:pt x="453" y="673"/>
                </a:lnTo>
                <a:lnTo>
                  <a:pt x="443" y="673"/>
                </a:lnTo>
                <a:close/>
                <a:moveTo>
                  <a:pt x="610" y="576"/>
                </a:moveTo>
                <a:lnTo>
                  <a:pt x="613" y="576"/>
                </a:lnTo>
                <a:lnTo>
                  <a:pt x="615" y="575"/>
                </a:lnTo>
                <a:lnTo>
                  <a:pt x="613" y="576"/>
                </a:lnTo>
                <a:lnTo>
                  <a:pt x="610" y="576"/>
                </a:lnTo>
                <a:lnTo>
                  <a:pt x="609" y="579"/>
                </a:lnTo>
                <a:lnTo>
                  <a:pt x="606" y="580"/>
                </a:lnTo>
                <a:lnTo>
                  <a:pt x="609" y="579"/>
                </a:lnTo>
                <a:lnTo>
                  <a:pt x="610" y="576"/>
                </a:lnTo>
                <a:close/>
                <a:moveTo>
                  <a:pt x="698" y="673"/>
                </a:moveTo>
                <a:lnTo>
                  <a:pt x="700" y="672"/>
                </a:lnTo>
                <a:lnTo>
                  <a:pt x="704" y="670"/>
                </a:lnTo>
                <a:lnTo>
                  <a:pt x="700" y="672"/>
                </a:lnTo>
                <a:lnTo>
                  <a:pt x="698" y="673"/>
                </a:lnTo>
                <a:close/>
                <a:moveTo>
                  <a:pt x="698" y="517"/>
                </a:moveTo>
                <a:lnTo>
                  <a:pt x="698" y="517"/>
                </a:lnTo>
                <a:lnTo>
                  <a:pt x="698" y="517"/>
                </a:lnTo>
                <a:close/>
                <a:moveTo>
                  <a:pt x="708" y="956"/>
                </a:moveTo>
                <a:lnTo>
                  <a:pt x="707" y="955"/>
                </a:lnTo>
                <a:lnTo>
                  <a:pt x="707" y="953"/>
                </a:lnTo>
                <a:lnTo>
                  <a:pt x="707" y="955"/>
                </a:lnTo>
                <a:lnTo>
                  <a:pt x="708" y="956"/>
                </a:lnTo>
                <a:close/>
                <a:moveTo>
                  <a:pt x="713" y="696"/>
                </a:moveTo>
                <a:lnTo>
                  <a:pt x="715" y="696"/>
                </a:lnTo>
                <a:lnTo>
                  <a:pt x="716" y="696"/>
                </a:lnTo>
                <a:lnTo>
                  <a:pt x="715" y="696"/>
                </a:lnTo>
                <a:lnTo>
                  <a:pt x="713" y="696"/>
                </a:lnTo>
                <a:lnTo>
                  <a:pt x="711" y="698"/>
                </a:lnTo>
                <a:lnTo>
                  <a:pt x="709" y="699"/>
                </a:lnTo>
                <a:lnTo>
                  <a:pt x="706" y="700"/>
                </a:lnTo>
                <a:lnTo>
                  <a:pt x="704" y="700"/>
                </a:lnTo>
                <a:lnTo>
                  <a:pt x="706" y="700"/>
                </a:lnTo>
                <a:lnTo>
                  <a:pt x="709" y="699"/>
                </a:lnTo>
                <a:lnTo>
                  <a:pt x="711" y="698"/>
                </a:lnTo>
                <a:lnTo>
                  <a:pt x="713" y="696"/>
                </a:lnTo>
                <a:close/>
                <a:moveTo>
                  <a:pt x="712" y="568"/>
                </a:moveTo>
                <a:lnTo>
                  <a:pt x="711" y="567"/>
                </a:lnTo>
                <a:lnTo>
                  <a:pt x="711" y="567"/>
                </a:lnTo>
                <a:lnTo>
                  <a:pt x="711" y="567"/>
                </a:lnTo>
                <a:lnTo>
                  <a:pt x="712" y="568"/>
                </a:lnTo>
                <a:close/>
                <a:moveTo>
                  <a:pt x="714" y="533"/>
                </a:moveTo>
                <a:lnTo>
                  <a:pt x="715" y="529"/>
                </a:lnTo>
                <a:lnTo>
                  <a:pt x="715" y="526"/>
                </a:lnTo>
                <a:lnTo>
                  <a:pt x="715" y="529"/>
                </a:lnTo>
                <a:lnTo>
                  <a:pt x="714" y="533"/>
                </a:lnTo>
                <a:lnTo>
                  <a:pt x="714" y="534"/>
                </a:lnTo>
                <a:lnTo>
                  <a:pt x="715" y="536"/>
                </a:lnTo>
                <a:lnTo>
                  <a:pt x="716" y="540"/>
                </a:lnTo>
                <a:lnTo>
                  <a:pt x="718" y="545"/>
                </a:lnTo>
                <a:lnTo>
                  <a:pt x="715" y="548"/>
                </a:lnTo>
                <a:lnTo>
                  <a:pt x="712" y="552"/>
                </a:lnTo>
                <a:lnTo>
                  <a:pt x="709" y="554"/>
                </a:lnTo>
                <a:lnTo>
                  <a:pt x="707" y="553"/>
                </a:lnTo>
                <a:lnTo>
                  <a:pt x="707" y="552"/>
                </a:lnTo>
                <a:lnTo>
                  <a:pt x="707" y="550"/>
                </a:lnTo>
                <a:lnTo>
                  <a:pt x="707" y="537"/>
                </a:lnTo>
                <a:lnTo>
                  <a:pt x="706" y="525"/>
                </a:lnTo>
                <a:lnTo>
                  <a:pt x="711" y="529"/>
                </a:lnTo>
                <a:lnTo>
                  <a:pt x="714" y="533"/>
                </a:lnTo>
                <a:close/>
                <a:moveTo>
                  <a:pt x="788" y="746"/>
                </a:moveTo>
                <a:lnTo>
                  <a:pt x="789" y="746"/>
                </a:lnTo>
                <a:lnTo>
                  <a:pt x="790" y="745"/>
                </a:lnTo>
                <a:lnTo>
                  <a:pt x="789" y="746"/>
                </a:lnTo>
                <a:lnTo>
                  <a:pt x="788" y="746"/>
                </a:lnTo>
                <a:close/>
                <a:moveTo>
                  <a:pt x="781" y="753"/>
                </a:moveTo>
                <a:lnTo>
                  <a:pt x="782" y="752"/>
                </a:lnTo>
                <a:lnTo>
                  <a:pt x="782" y="750"/>
                </a:lnTo>
                <a:lnTo>
                  <a:pt x="783" y="750"/>
                </a:lnTo>
                <a:lnTo>
                  <a:pt x="783" y="749"/>
                </a:lnTo>
                <a:lnTo>
                  <a:pt x="783" y="750"/>
                </a:lnTo>
                <a:lnTo>
                  <a:pt x="782" y="750"/>
                </a:lnTo>
                <a:lnTo>
                  <a:pt x="782" y="752"/>
                </a:lnTo>
                <a:lnTo>
                  <a:pt x="781" y="753"/>
                </a:lnTo>
                <a:close/>
                <a:moveTo>
                  <a:pt x="769" y="754"/>
                </a:moveTo>
                <a:lnTo>
                  <a:pt x="769" y="754"/>
                </a:lnTo>
                <a:lnTo>
                  <a:pt x="770" y="753"/>
                </a:lnTo>
                <a:lnTo>
                  <a:pt x="770" y="752"/>
                </a:lnTo>
                <a:lnTo>
                  <a:pt x="770" y="750"/>
                </a:lnTo>
                <a:lnTo>
                  <a:pt x="770" y="752"/>
                </a:lnTo>
                <a:lnTo>
                  <a:pt x="770" y="753"/>
                </a:lnTo>
                <a:lnTo>
                  <a:pt x="769" y="754"/>
                </a:lnTo>
                <a:lnTo>
                  <a:pt x="769" y="754"/>
                </a:lnTo>
                <a:close/>
                <a:moveTo>
                  <a:pt x="762" y="964"/>
                </a:moveTo>
                <a:lnTo>
                  <a:pt x="763" y="964"/>
                </a:lnTo>
                <a:lnTo>
                  <a:pt x="763" y="964"/>
                </a:lnTo>
                <a:lnTo>
                  <a:pt x="763" y="964"/>
                </a:lnTo>
                <a:lnTo>
                  <a:pt x="762" y="964"/>
                </a:lnTo>
                <a:close/>
                <a:moveTo>
                  <a:pt x="756" y="986"/>
                </a:moveTo>
                <a:lnTo>
                  <a:pt x="758" y="986"/>
                </a:lnTo>
                <a:lnTo>
                  <a:pt x="761" y="986"/>
                </a:lnTo>
                <a:lnTo>
                  <a:pt x="758" y="986"/>
                </a:lnTo>
                <a:lnTo>
                  <a:pt x="756" y="986"/>
                </a:lnTo>
                <a:lnTo>
                  <a:pt x="755" y="988"/>
                </a:lnTo>
                <a:lnTo>
                  <a:pt x="754" y="990"/>
                </a:lnTo>
                <a:lnTo>
                  <a:pt x="755" y="988"/>
                </a:lnTo>
                <a:lnTo>
                  <a:pt x="756" y="986"/>
                </a:lnTo>
                <a:close/>
                <a:moveTo>
                  <a:pt x="761" y="965"/>
                </a:moveTo>
                <a:lnTo>
                  <a:pt x="758" y="965"/>
                </a:lnTo>
                <a:lnTo>
                  <a:pt x="755" y="965"/>
                </a:lnTo>
                <a:lnTo>
                  <a:pt x="758" y="965"/>
                </a:lnTo>
                <a:lnTo>
                  <a:pt x="761" y="965"/>
                </a:lnTo>
                <a:close/>
                <a:moveTo>
                  <a:pt x="761" y="762"/>
                </a:moveTo>
                <a:lnTo>
                  <a:pt x="763" y="760"/>
                </a:lnTo>
                <a:lnTo>
                  <a:pt x="765" y="757"/>
                </a:lnTo>
                <a:lnTo>
                  <a:pt x="765" y="756"/>
                </a:lnTo>
                <a:lnTo>
                  <a:pt x="765" y="754"/>
                </a:lnTo>
                <a:lnTo>
                  <a:pt x="765" y="756"/>
                </a:lnTo>
                <a:lnTo>
                  <a:pt x="765" y="757"/>
                </a:lnTo>
                <a:lnTo>
                  <a:pt x="763" y="760"/>
                </a:lnTo>
                <a:lnTo>
                  <a:pt x="761" y="762"/>
                </a:lnTo>
                <a:close/>
                <a:moveTo>
                  <a:pt x="764" y="769"/>
                </a:moveTo>
                <a:lnTo>
                  <a:pt x="764" y="769"/>
                </a:lnTo>
                <a:lnTo>
                  <a:pt x="765" y="768"/>
                </a:lnTo>
                <a:lnTo>
                  <a:pt x="764" y="769"/>
                </a:lnTo>
                <a:lnTo>
                  <a:pt x="764" y="769"/>
                </a:lnTo>
                <a:lnTo>
                  <a:pt x="761" y="780"/>
                </a:lnTo>
                <a:lnTo>
                  <a:pt x="757" y="789"/>
                </a:lnTo>
                <a:lnTo>
                  <a:pt x="761" y="780"/>
                </a:lnTo>
                <a:lnTo>
                  <a:pt x="764" y="769"/>
                </a:lnTo>
                <a:close/>
                <a:moveTo>
                  <a:pt x="743" y="1041"/>
                </a:moveTo>
                <a:lnTo>
                  <a:pt x="747" y="1041"/>
                </a:lnTo>
                <a:lnTo>
                  <a:pt x="750" y="1042"/>
                </a:lnTo>
                <a:lnTo>
                  <a:pt x="747" y="1041"/>
                </a:lnTo>
                <a:lnTo>
                  <a:pt x="743" y="1041"/>
                </a:lnTo>
                <a:close/>
                <a:moveTo>
                  <a:pt x="736" y="1037"/>
                </a:moveTo>
                <a:lnTo>
                  <a:pt x="736" y="1037"/>
                </a:lnTo>
                <a:lnTo>
                  <a:pt x="735" y="1036"/>
                </a:lnTo>
                <a:lnTo>
                  <a:pt x="736" y="1037"/>
                </a:lnTo>
                <a:lnTo>
                  <a:pt x="736" y="1037"/>
                </a:lnTo>
                <a:lnTo>
                  <a:pt x="739" y="1039"/>
                </a:lnTo>
                <a:lnTo>
                  <a:pt x="740" y="1039"/>
                </a:lnTo>
                <a:lnTo>
                  <a:pt x="739" y="1039"/>
                </a:lnTo>
                <a:lnTo>
                  <a:pt x="736" y="1037"/>
                </a:lnTo>
                <a:close/>
                <a:moveTo>
                  <a:pt x="741" y="1109"/>
                </a:moveTo>
                <a:lnTo>
                  <a:pt x="740" y="1110"/>
                </a:lnTo>
                <a:lnTo>
                  <a:pt x="740" y="1112"/>
                </a:lnTo>
                <a:lnTo>
                  <a:pt x="751" y="1111"/>
                </a:lnTo>
                <a:lnTo>
                  <a:pt x="762" y="1110"/>
                </a:lnTo>
                <a:lnTo>
                  <a:pt x="763" y="1107"/>
                </a:lnTo>
                <a:lnTo>
                  <a:pt x="765" y="1106"/>
                </a:lnTo>
                <a:lnTo>
                  <a:pt x="763" y="1107"/>
                </a:lnTo>
                <a:lnTo>
                  <a:pt x="762" y="1110"/>
                </a:lnTo>
                <a:lnTo>
                  <a:pt x="751" y="1111"/>
                </a:lnTo>
                <a:lnTo>
                  <a:pt x="740" y="1112"/>
                </a:lnTo>
                <a:lnTo>
                  <a:pt x="740" y="1110"/>
                </a:lnTo>
                <a:lnTo>
                  <a:pt x="741" y="1109"/>
                </a:lnTo>
                <a:close/>
                <a:moveTo>
                  <a:pt x="781" y="1147"/>
                </a:moveTo>
                <a:lnTo>
                  <a:pt x="780" y="1147"/>
                </a:lnTo>
                <a:lnTo>
                  <a:pt x="777" y="1147"/>
                </a:lnTo>
                <a:lnTo>
                  <a:pt x="772" y="1146"/>
                </a:lnTo>
                <a:lnTo>
                  <a:pt x="768" y="1147"/>
                </a:lnTo>
                <a:lnTo>
                  <a:pt x="772" y="1146"/>
                </a:lnTo>
                <a:lnTo>
                  <a:pt x="777" y="1147"/>
                </a:lnTo>
                <a:lnTo>
                  <a:pt x="780" y="1147"/>
                </a:lnTo>
                <a:lnTo>
                  <a:pt x="781" y="1147"/>
                </a:lnTo>
                <a:close/>
                <a:moveTo>
                  <a:pt x="769" y="825"/>
                </a:moveTo>
                <a:lnTo>
                  <a:pt x="765" y="824"/>
                </a:lnTo>
                <a:lnTo>
                  <a:pt x="763" y="823"/>
                </a:lnTo>
                <a:lnTo>
                  <a:pt x="762" y="820"/>
                </a:lnTo>
                <a:lnTo>
                  <a:pt x="763" y="818"/>
                </a:lnTo>
                <a:lnTo>
                  <a:pt x="767" y="811"/>
                </a:lnTo>
                <a:lnTo>
                  <a:pt x="770" y="803"/>
                </a:lnTo>
                <a:lnTo>
                  <a:pt x="771" y="802"/>
                </a:lnTo>
                <a:lnTo>
                  <a:pt x="772" y="802"/>
                </a:lnTo>
                <a:lnTo>
                  <a:pt x="774" y="803"/>
                </a:lnTo>
                <a:lnTo>
                  <a:pt x="775" y="804"/>
                </a:lnTo>
                <a:lnTo>
                  <a:pt x="775" y="806"/>
                </a:lnTo>
                <a:lnTo>
                  <a:pt x="776" y="808"/>
                </a:lnTo>
                <a:lnTo>
                  <a:pt x="778" y="809"/>
                </a:lnTo>
                <a:lnTo>
                  <a:pt x="781" y="808"/>
                </a:lnTo>
                <a:lnTo>
                  <a:pt x="783" y="808"/>
                </a:lnTo>
                <a:lnTo>
                  <a:pt x="783" y="809"/>
                </a:lnTo>
                <a:lnTo>
                  <a:pt x="782" y="813"/>
                </a:lnTo>
                <a:lnTo>
                  <a:pt x="777" y="818"/>
                </a:lnTo>
                <a:lnTo>
                  <a:pt x="772" y="823"/>
                </a:lnTo>
                <a:lnTo>
                  <a:pt x="769" y="825"/>
                </a:lnTo>
                <a:close/>
                <a:moveTo>
                  <a:pt x="818" y="1043"/>
                </a:moveTo>
                <a:lnTo>
                  <a:pt x="816" y="1044"/>
                </a:lnTo>
                <a:lnTo>
                  <a:pt x="816" y="1046"/>
                </a:lnTo>
                <a:lnTo>
                  <a:pt x="812" y="1048"/>
                </a:lnTo>
                <a:lnTo>
                  <a:pt x="809" y="1048"/>
                </a:lnTo>
                <a:lnTo>
                  <a:pt x="812" y="1048"/>
                </a:lnTo>
                <a:lnTo>
                  <a:pt x="816" y="1046"/>
                </a:lnTo>
                <a:lnTo>
                  <a:pt x="816" y="1044"/>
                </a:lnTo>
                <a:lnTo>
                  <a:pt x="818" y="1043"/>
                </a:lnTo>
                <a:close/>
                <a:moveTo>
                  <a:pt x="824" y="963"/>
                </a:moveTo>
                <a:lnTo>
                  <a:pt x="815" y="965"/>
                </a:lnTo>
                <a:lnTo>
                  <a:pt x="804" y="966"/>
                </a:lnTo>
                <a:lnTo>
                  <a:pt x="794" y="966"/>
                </a:lnTo>
                <a:lnTo>
                  <a:pt x="783" y="966"/>
                </a:lnTo>
                <a:lnTo>
                  <a:pt x="783" y="964"/>
                </a:lnTo>
                <a:lnTo>
                  <a:pt x="782" y="963"/>
                </a:lnTo>
                <a:lnTo>
                  <a:pt x="783" y="964"/>
                </a:lnTo>
                <a:lnTo>
                  <a:pt x="783" y="966"/>
                </a:lnTo>
                <a:lnTo>
                  <a:pt x="794" y="966"/>
                </a:lnTo>
                <a:lnTo>
                  <a:pt x="804" y="966"/>
                </a:lnTo>
                <a:lnTo>
                  <a:pt x="815" y="965"/>
                </a:lnTo>
                <a:lnTo>
                  <a:pt x="824" y="963"/>
                </a:lnTo>
                <a:close/>
                <a:moveTo>
                  <a:pt x="827" y="860"/>
                </a:moveTo>
                <a:lnTo>
                  <a:pt x="829" y="860"/>
                </a:lnTo>
                <a:lnTo>
                  <a:pt x="830" y="860"/>
                </a:lnTo>
                <a:lnTo>
                  <a:pt x="829" y="860"/>
                </a:lnTo>
                <a:lnTo>
                  <a:pt x="827" y="860"/>
                </a:lnTo>
                <a:close/>
                <a:moveTo>
                  <a:pt x="822" y="1040"/>
                </a:moveTo>
                <a:lnTo>
                  <a:pt x="822" y="1040"/>
                </a:lnTo>
                <a:lnTo>
                  <a:pt x="823" y="1041"/>
                </a:lnTo>
                <a:lnTo>
                  <a:pt x="822" y="1040"/>
                </a:lnTo>
                <a:lnTo>
                  <a:pt x="822" y="1040"/>
                </a:lnTo>
                <a:close/>
                <a:moveTo>
                  <a:pt x="839" y="1040"/>
                </a:moveTo>
                <a:lnTo>
                  <a:pt x="834" y="1042"/>
                </a:lnTo>
                <a:lnTo>
                  <a:pt x="831" y="1043"/>
                </a:lnTo>
                <a:lnTo>
                  <a:pt x="826" y="1043"/>
                </a:lnTo>
                <a:lnTo>
                  <a:pt x="822" y="1043"/>
                </a:lnTo>
                <a:lnTo>
                  <a:pt x="822" y="1043"/>
                </a:lnTo>
                <a:lnTo>
                  <a:pt x="826" y="1043"/>
                </a:lnTo>
                <a:lnTo>
                  <a:pt x="831" y="1043"/>
                </a:lnTo>
                <a:lnTo>
                  <a:pt x="834" y="1042"/>
                </a:lnTo>
                <a:lnTo>
                  <a:pt x="839" y="1040"/>
                </a:lnTo>
                <a:close/>
                <a:moveTo>
                  <a:pt x="826" y="804"/>
                </a:moveTo>
                <a:lnTo>
                  <a:pt x="826" y="804"/>
                </a:lnTo>
                <a:lnTo>
                  <a:pt x="827" y="804"/>
                </a:lnTo>
                <a:lnTo>
                  <a:pt x="826" y="804"/>
                </a:lnTo>
                <a:lnTo>
                  <a:pt x="826" y="804"/>
                </a:lnTo>
                <a:close/>
                <a:moveTo>
                  <a:pt x="827" y="841"/>
                </a:moveTo>
                <a:lnTo>
                  <a:pt x="826" y="841"/>
                </a:lnTo>
                <a:lnTo>
                  <a:pt x="824" y="841"/>
                </a:lnTo>
                <a:lnTo>
                  <a:pt x="823" y="843"/>
                </a:lnTo>
                <a:lnTo>
                  <a:pt x="822" y="845"/>
                </a:lnTo>
                <a:lnTo>
                  <a:pt x="817" y="845"/>
                </a:lnTo>
                <a:lnTo>
                  <a:pt x="812" y="845"/>
                </a:lnTo>
                <a:lnTo>
                  <a:pt x="817" y="845"/>
                </a:lnTo>
                <a:lnTo>
                  <a:pt x="822" y="845"/>
                </a:lnTo>
                <a:lnTo>
                  <a:pt x="823" y="843"/>
                </a:lnTo>
                <a:lnTo>
                  <a:pt x="824" y="841"/>
                </a:lnTo>
                <a:lnTo>
                  <a:pt x="826" y="841"/>
                </a:lnTo>
                <a:lnTo>
                  <a:pt x="827" y="841"/>
                </a:lnTo>
                <a:close/>
                <a:moveTo>
                  <a:pt x="809" y="804"/>
                </a:moveTo>
                <a:lnTo>
                  <a:pt x="810" y="802"/>
                </a:lnTo>
                <a:lnTo>
                  <a:pt x="812" y="801"/>
                </a:lnTo>
                <a:lnTo>
                  <a:pt x="812" y="801"/>
                </a:lnTo>
                <a:lnTo>
                  <a:pt x="812" y="799"/>
                </a:lnTo>
                <a:lnTo>
                  <a:pt x="812" y="801"/>
                </a:lnTo>
                <a:lnTo>
                  <a:pt x="812" y="801"/>
                </a:lnTo>
                <a:lnTo>
                  <a:pt x="810" y="802"/>
                </a:lnTo>
                <a:lnTo>
                  <a:pt x="809" y="804"/>
                </a:lnTo>
                <a:close/>
                <a:moveTo>
                  <a:pt x="801" y="801"/>
                </a:moveTo>
                <a:lnTo>
                  <a:pt x="802" y="798"/>
                </a:lnTo>
                <a:lnTo>
                  <a:pt x="802" y="795"/>
                </a:lnTo>
                <a:lnTo>
                  <a:pt x="802" y="794"/>
                </a:lnTo>
                <a:lnTo>
                  <a:pt x="803" y="792"/>
                </a:lnTo>
                <a:lnTo>
                  <a:pt x="802" y="794"/>
                </a:lnTo>
                <a:lnTo>
                  <a:pt x="802" y="795"/>
                </a:lnTo>
                <a:lnTo>
                  <a:pt x="802" y="798"/>
                </a:lnTo>
                <a:lnTo>
                  <a:pt x="801" y="801"/>
                </a:lnTo>
                <a:close/>
                <a:moveTo>
                  <a:pt x="803" y="861"/>
                </a:moveTo>
                <a:lnTo>
                  <a:pt x="809" y="861"/>
                </a:lnTo>
                <a:lnTo>
                  <a:pt x="813" y="861"/>
                </a:lnTo>
                <a:lnTo>
                  <a:pt x="809" y="861"/>
                </a:lnTo>
                <a:lnTo>
                  <a:pt x="803" y="861"/>
                </a:lnTo>
                <a:lnTo>
                  <a:pt x="803" y="865"/>
                </a:lnTo>
                <a:lnTo>
                  <a:pt x="801" y="867"/>
                </a:lnTo>
                <a:lnTo>
                  <a:pt x="803" y="865"/>
                </a:lnTo>
                <a:lnTo>
                  <a:pt x="803" y="861"/>
                </a:lnTo>
                <a:close/>
                <a:moveTo>
                  <a:pt x="818" y="704"/>
                </a:moveTo>
                <a:lnTo>
                  <a:pt x="819" y="704"/>
                </a:lnTo>
                <a:lnTo>
                  <a:pt x="820" y="705"/>
                </a:lnTo>
                <a:lnTo>
                  <a:pt x="819" y="706"/>
                </a:lnTo>
                <a:lnTo>
                  <a:pt x="818" y="707"/>
                </a:lnTo>
                <a:lnTo>
                  <a:pt x="818" y="707"/>
                </a:lnTo>
                <a:lnTo>
                  <a:pt x="818" y="708"/>
                </a:lnTo>
                <a:lnTo>
                  <a:pt x="818" y="707"/>
                </a:lnTo>
                <a:lnTo>
                  <a:pt x="818" y="707"/>
                </a:lnTo>
                <a:lnTo>
                  <a:pt x="817" y="706"/>
                </a:lnTo>
                <a:lnTo>
                  <a:pt x="818" y="704"/>
                </a:lnTo>
                <a:close/>
                <a:moveTo>
                  <a:pt x="962" y="659"/>
                </a:moveTo>
                <a:lnTo>
                  <a:pt x="965" y="657"/>
                </a:lnTo>
                <a:lnTo>
                  <a:pt x="970" y="655"/>
                </a:lnTo>
                <a:lnTo>
                  <a:pt x="965" y="657"/>
                </a:lnTo>
                <a:lnTo>
                  <a:pt x="962" y="659"/>
                </a:lnTo>
                <a:lnTo>
                  <a:pt x="958" y="659"/>
                </a:lnTo>
                <a:lnTo>
                  <a:pt x="956" y="661"/>
                </a:lnTo>
                <a:lnTo>
                  <a:pt x="958" y="659"/>
                </a:lnTo>
                <a:lnTo>
                  <a:pt x="962" y="659"/>
                </a:lnTo>
                <a:close/>
                <a:moveTo>
                  <a:pt x="895" y="1159"/>
                </a:moveTo>
                <a:lnTo>
                  <a:pt x="899" y="1160"/>
                </a:lnTo>
                <a:lnTo>
                  <a:pt x="901" y="1161"/>
                </a:lnTo>
                <a:lnTo>
                  <a:pt x="899" y="1160"/>
                </a:lnTo>
                <a:lnTo>
                  <a:pt x="895" y="1159"/>
                </a:lnTo>
                <a:lnTo>
                  <a:pt x="895" y="1159"/>
                </a:lnTo>
                <a:close/>
                <a:moveTo>
                  <a:pt x="915" y="1197"/>
                </a:moveTo>
                <a:lnTo>
                  <a:pt x="915" y="1200"/>
                </a:lnTo>
                <a:lnTo>
                  <a:pt x="915" y="1201"/>
                </a:lnTo>
                <a:lnTo>
                  <a:pt x="915" y="1200"/>
                </a:lnTo>
                <a:lnTo>
                  <a:pt x="915" y="1197"/>
                </a:lnTo>
                <a:close/>
                <a:moveTo>
                  <a:pt x="589" y="1120"/>
                </a:moveTo>
                <a:lnTo>
                  <a:pt x="589" y="1120"/>
                </a:lnTo>
                <a:lnTo>
                  <a:pt x="587" y="1119"/>
                </a:lnTo>
                <a:lnTo>
                  <a:pt x="587" y="1118"/>
                </a:lnTo>
                <a:lnTo>
                  <a:pt x="587" y="1119"/>
                </a:lnTo>
                <a:lnTo>
                  <a:pt x="589" y="1120"/>
                </a:lnTo>
                <a:lnTo>
                  <a:pt x="589" y="1120"/>
                </a:lnTo>
                <a:lnTo>
                  <a:pt x="589" y="1120"/>
                </a:lnTo>
                <a:lnTo>
                  <a:pt x="590" y="1124"/>
                </a:lnTo>
                <a:lnTo>
                  <a:pt x="592" y="1126"/>
                </a:lnTo>
                <a:lnTo>
                  <a:pt x="590" y="1124"/>
                </a:lnTo>
                <a:lnTo>
                  <a:pt x="589" y="1120"/>
                </a:lnTo>
                <a:close/>
                <a:moveTo>
                  <a:pt x="584" y="1116"/>
                </a:moveTo>
                <a:lnTo>
                  <a:pt x="582" y="1114"/>
                </a:lnTo>
                <a:lnTo>
                  <a:pt x="582" y="1112"/>
                </a:lnTo>
                <a:lnTo>
                  <a:pt x="582" y="1114"/>
                </a:lnTo>
                <a:lnTo>
                  <a:pt x="584" y="1116"/>
                </a:lnTo>
                <a:lnTo>
                  <a:pt x="585" y="1117"/>
                </a:lnTo>
                <a:lnTo>
                  <a:pt x="585" y="1117"/>
                </a:lnTo>
                <a:lnTo>
                  <a:pt x="585" y="1117"/>
                </a:lnTo>
                <a:lnTo>
                  <a:pt x="584" y="1116"/>
                </a:lnTo>
                <a:close/>
                <a:moveTo>
                  <a:pt x="581" y="1158"/>
                </a:moveTo>
                <a:lnTo>
                  <a:pt x="581" y="1158"/>
                </a:lnTo>
                <a:lnTo>
                  <a:pt x="580" y="1156"/>
                </a:lnTo>
                <a:lnTo>
                  <a:pt x="581" y="1156"/>
                </a:lnTo>
                <a:lnTo>
                  <a:pt x="581" y="1158"/>
                </a:lnTo>
                <a:lnTo>
                  <a:pt x="581" y="1158"/>
                </a:lnTo>
                <a:lnTo>
                  <a:pt x="581" y="1158"/>
                </a:lnTo>
                <a:close/>
                <a:moveTo>
                  <a:pt x="585" y="1079"/>
                </a:moveTo>
                <a:lnTo>
                  <a:pt x="585" y="1079"/>
                </a:lnTo>
                <a:lnTo>
                  <a:pt x="585" y="1081"/>
                </a:lnTo>
                <a:lnTo>
                  <a:pt x="585" y="1081"/>
                </a:lnTo>
                <a:lnTo>
                  <a:pt x="585" y="1079"/>
                </a:lnTo>
                <a:lnTo>
                  <a:pt x="585" y="1079"/>
                </a:lnTo>
                <a:close/>
                <a:moveTo>
                  <a:pt x="553" y="1051"/>
                </a:moveTo>
                <a:lnTo>
                  <a:pt x="550" y="1049"/>
                </a:lnTo>
                <a:lnTo>
                  <a:pt x="548" y="1048"/>
                </a:lnTo>
                <a:lnTo>
                  <a:pt x="547" y="1044"/>
                </a:lnTo>
                <a:lnTo>
                  <a:pt x="546" y="1042"/>
                </a:lnTo>
                <a:lnTo>
                  <a:pt x="547" y="1044"/>
                </a:lnTo>
                <a:lnTo>
                  <a:pt x="548" y="1048"/>
                </a:lnTo>
                <a:lnTo>
                  <a:pt x="550" y="1049"/>
                </a:lnTo>
                <a:lnTo>
                  <a:pt x="553" y="1051"/>
                </a:lnTo>
                <a:lnTo>
                  <a:pt x="553" y="1053"/>
                </a:lnTo>
                <a:lnTo>
                  <a:pt x="553" y="1054"/>
                </a:lnTo>
                <a:lnTo>
                  <a:pt x="553" y="1053"/>
                </a:lnTo>
                <a:lnTo>
                  <a:pt x="553" y="1051"/>
                </a:lnTo>
                <a:close/>
                <a:moveTo>
                  <a:pt x="540" y="998"/>
                </a:moveTo>
                <a:lnTo>
                  <a:pt x="539" y="998"/>
                </a:lnTo>
                <a:lnTo>
                  <a:pt x="537" y="997"/>
                </a:lnTo>
                <a:lnTo>
                  <a:pt x="539" y="998"/>
                </a:lnTo>
                <a:lnTo>
                  <a:pt x="540" y="998"/>
                </a:lnTo>
                <a:close/>
                <a:moveTo>
                  <a:pt x="497" y="795"/>
                </a:moveTo>
                <a:lnTo>
                  <a:pt x="492" y="794"/>
                </a:lnTo>
                <a:lnTo>
                  <a:pt x="487" y="792"/>
                </a:lnTo>
                <a:lnTo>
                  <a:pt x="480" y="788"/>
                </a:lnTo>
                <a:lnTo>
                  <a:pt x="472" y="785"/>
                </a:lnTo>
                <a:lnTo>
                  <a:pt x="470" y="785"/>
                </a:lnTo>
                <a:lnTo>
                  <a:pt x="467" y="783"/>
                </a:lnTo>
                <a:lnTo>
                  <a:pt x="467" y="781"/>
                </a:lnTo>
                <a:lnTo>
                  <a:pt x="467" y="778"/>
                </a:lnTo>
                <a:lnTo>
                  <a:pt x="468" y="775"/>
                </a:lnTo>
                <a:lnTo>
                  <a:pt x="471" y="775"/>
                </a:lnTo>
                <a:lnTo>
                  <a:pt x="472" y="775"/>
                </a:lnTo>
                <a:lnTo>
                  <a:pt x="474" y="776"/>
                </a:lnTo>
                <a:lnTo>
                  <a:pt x="486" y="781"/>
                </a:lnTo>
                <a:lnTo>
                  <a:pt x="497" y="787"/>
                </a:lnTo>
                <a:lnTo>
                  <a:pt x="499" y="789"/>
                </a:lnTo>
                <a:lnTo>
                  <a:pt x="500" y="791"/>
                </a:lnTo>
                <a:lnTo>
                  <a:pt x="500" y="794"/>
                </a:lnTo>
                <a:lnTo>
                  <a:pt x="499" y="795"/>
                </a:lnTo>
                <a:lnTo>
                  <a:pt x="498" y="795"/>
                </a:lnTo>
                <a:lnTo>
                  <a:pt x="497" y="795"/>
                </a:lnTo>
                <a:close/>
                <a:moveTo>
                  <a:pt x="729" y="539"/>
                </a:moveTo>
                <a:lnTo>
                  <a:pt x="729" y="538"/>
                </a:lnTo>
                <a:lnTo>
                  <a:pt x="729" y="537"/>
                </a:lnTo>
                <a:lnTo>
                  <a:pt x="729" y="538"/>
                </a:lnTo>
                <a:lnTo>
                  <a:pt x="729" y="539"/>
                </a:lnTo>
                <a:close/>
                <a:moveTo>
                  <a:pt x="735" y="561"/>
                </a:moveTo>
                <a:lnTo>
                  <a:pt x="734" y="559"/>
                </a:lnTo>
                <a:lnTo>
                  <a:pt x="734" y="557"/>
                </a:lnTo>
                <a:lnTo>
                  <a:pt x="734" y="559"/>
                </a:lnTo>
                <a:lnTo>
                  <a:pt x="735" y="561"/>
                </a:lnTo>
                <a:close/>
                <a:moveTo>
                  <a:pt x="757" y="541"/>
                </a:moveTo>
                <a:lnTo>
                  <a:pt x="757" y="543"/>
                </a:lnTo>
                <a:lnTo>
                  <a:pt x="756" y="543"/>
                </a:lnTo>
                <a:lnTo>
                  <a:pt x="757" y="543"/>
                </a:lnTo>
                <a:lnTo>
                  <a:pt x="757" y="541"/>
                </a:lnTo>
                <a:close/>
                <a:moveTo>
                  <a:pt x="816" y="601"/>
                </a:moveTo>
                <a:lnTo>
                  <a:pt x="810" y="603"/>
                </a:lnTo>
                <a:lnTo>
                  <a:pt x="806" y="608"/>
                </a:lnTo>
                <a:lnTo>
                  <a:pt x="806" y="608"/>
                </a:lnTo>
                <a:lnTo>
                  <a:pt x="808" y="608"/>
                </a:lnTo>
                <a:lnTo>
                  <a:pt x="806" y="608"/>
                </a:lnTo>
                <a:lnTo>
                  <a:pt x="806" y="608"/>
                </a:lnTo>
                <a:lnTo>
                  <a:pt x="810" y="603"/>
                </a:lnTo>
                <a:lnTo>
                  <a:pt x="816" y="601"/>
                </a:lnTo>
                <a:close/>
                <a:moveTo>
                  <a:pt x="297" y="641"/>
                </a:moveTo>
                <a:lnTo>
                  <a:pt x="297" y="641"/>
                </a:lnTo>
                <a:lnTo>
                  <a:pt x="298" y="641"/>
                </a:lnTo>
                <a:lnTo>
                  <a:pt x="298" y="641"/>
                </a:lnTo>
                <a:lnTo>
                  <a:pt x="297" y="641"/>
                </a:lnTo>
                <a:close/>
                <a:moveTo>
                  <a:pt x="635" y="476"/>
                </a:move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7"/>
                </a:lnTo>
                <a:lnTo>
                  <a:pt x="635" y="477"/>
                </a:lnTo>
                <a:lnTo>
                  <a:pt x="639" y="477"/>
                </a:lnTo>
                <a:lnTo>
                  <a:pt x="644" y="477"/>
                </a:lnTo>
                <a:lnTo>
                  <a:pt x="650" y="473"/>
                </a:lnTo>
                <a:lnTo>
                  <a:pt x="658" y="470"/>
                </a:lnTo>
                <a:lnTo>
                  <a:pt x="664" y="470"/>
                </a:lnTo>
                <a:lnTo>
                  <a:pt x="671" y="473"/>
                </a:lnTo>
                <a:lnTo>
                  <a:pt x="688" y="481"/>
                </a:lnTo>
                <a:lnTo>
                  <a:pt x="706" y="489"/>
                </a:lnTo>
                <a:lnTo>
                  <a:pt x="725" y="497"/>
                </a:lnTo>
                <a:lnTo>
                  <a:pt x="743" y="504"/>
                </a:lnTo>
                <a:lnTo>
                  <a:pt x="757" y="509"/>
                </a:lnTo>
                <a:lnTo>
                  <a:pt x="771" y="513"/>
                </a:lnTo>
                <a:lnTo>
                  <a:pt x="784" y="519"/>
                </a:lnTo>
                <a:lnTo>
                  <a:pt x="798" y="524"/>
                </a:lnTo>
                <a:lnTo>
                  <a:pt x="808" y="530"/>
                </a:lnTo>
                <a:lnTo>
                  <a:pt x="817" y="533"/>
                </a:lnTo>
                <a:lnTo>
                  <a:pt x="813" y="529"/>
                </a:lnTo>
                <a:lnTo>
                  <a:pt x="809" y="526"/>
                </a:lnTo>
                <a:lnTo>
                  <a:pt x="804" y="524"/>
                </a:lnTo>
                <a:lnTo>
                  <a:pt x="798" y="523"/>
                </a:lnTo>
                <a:lnTo>
                  <a:pt x="797" y="522"/>
                </a:lnTo>
                <a:lnTo>
                  <a:pt x="797" y="519"/>
                </a:lnTo>
                <a:lnTo>
                  <a:pt x="796" y="517"/>
                </a:lnTo>
                <a:lnTo>
                  <a:pt x="795" y="515"/>
                </a:lnTo>
                <a:lnTo>
                  <a:pt x="794" y="515"/>
                </a:lnTo>
                <a:lnTo>
                  <a:pt x="794" y="513"/>
                </a:lnTo>
                <a:lnTo>
                  <a:pt x="794" y="512"/>
                </a:lnTo>
                <a:lnTo>
                  <a:pt x="794" y="512"/>
                </a:lnTo>
                <a:lnTo>
                  <a:pt x="795" y="498"/>
                </a:lnTo>
                <a:lnTo>
                  <a:pt x="797" y="484"/>
                </a:lnTo>
                <a:lnTo>
                  <a:pt x="799" y="474"/>
                </a:lnTo>
                <a:lnTo>
                  <a:pt x="803" y="464"/>
                </a:lnTo>
                <a:lnTo>
                  <a:pt x="806" y="460"/>
                </a:lnTo>
                <a:lnTo>
                  <a:pt x="811" y="456"/>
                </a:lnTo>
                <a:lnTo>
                  <a:pt x="816" y="454"/>
                </a:lnTo>
                <a:lnTo>
                  <a:pt x="822" y="452"/>
                </a:lnTo>
                <a:lnTo>
                  <a:pt x="827" y="449"/>
                </a:lnTo>
                <a:lnTo>
                  <a:pt x="833" y="447"/>
                </a:lnTo>
                <a:lnTo>
                  <a:pt x="838" y="443"/>
                </a:lnTo>
                <a:lnTo>
                  <a:pt x="844" y="440"/>
                </a:lnTo>
                <a:lnTo>
                  <a:pt x="849" y="436"/>
                </a:lnTo>
                <a:lnTo>
                  <a:pt x="852" y="431"/>
                </a:lnTo>
                <a:lnTo>
                  <a:pt x="852" y="431"/>
                </a:lnTo>
                <a:lnTo>
                  <a:pt x="853" y="429"/>
                </a:lnTo>
                <a:lnTo>
                  <a:pt x="864" y="420"/>
                </a:lnTo>
                <a:lnTo>
                  <a:pt x="874" y="408"/>
                </a:lnTo>
                <a:lnTo>
                  <a:pt x="879" y="404"/>
                </a:lnTo>
                <a:lnTo>
                  <a:pt x="882" y="398"/>
                </a:lnTo>
                <a:lnTo>
                  <a:pt x="889" y="384"/>
                </a:lnTo>
                <a:lnTo>
                  <a:pt x="896" y="371"/>
                </a:lnTo>
                <a:lnTo>
                  <a:pt x="905" y="358"/>
                </a:lnTo>
                <a:lnTo>
                  <a:pt x="913" y="345"/>
                </a:lnTo>
                <a:lnTo>
                  <a:pt x="918" y="334"/>
                </a:lnTo>
                <a:lnTo>
                  <a:pt x="921" y="322"/>
                </a:lnTo>
                <a:lnTo>
                  <a:pt x="922" y="309"/>
                </a:lnTo>
                <a:lnTo>
                  <a:pt x="923" y="298"/>
                </a:lnTo>
                <a:lnTo>
                  <a:pt x="923" y="288"/>
                </a:lnTo>
                <a:lnTo>
                  <a:pt x="922" y="278"/>
                </a:lnTo>
                <a:lnTo>
                  <a:pt x="920" y="267"/>
                </a:lnTo>
                <a:lnTo>
                  <a:pt x="919" y="258"/>
                </a:lnTo>
                <a:lnTo>
                  <a:pt x="919" y="256"/>
                </a:lnTo>
                <a:lnTo>
                  <a:pt x="916" y="253"/>
                </a:lnTo>
                <a:lnTo>
                  <a:pt x="916" y="253"/>
                </a:lnTo>
                <a:lnTo>
                  <a:pt x="915" y="247"/>
                </a:lnTo>
                <a:lnTo>
                  <a:pt x="915" y="242"/>
                </a:lnTo>
                <a:lnTo>
                  <a:pt x="914" y="232"/>
                </a:lnTo>
                <a:lnTo>
                  <a:pt x="912" y="224"/>
                </a:lnTo>
                <a:lnTo>
                  <a:pt x="908" y="216"/>
                </a:lnTo>
                <a:lnTo>
                  <a:pt x="902" y="209"/>
                </a:lnTo>
                <a:lnTo>
                  <a:pt x="899" y="205"/>
                </a:lnTo>
                <a:lnTo>
                  <a:pt x="895" y="201"/>
                </a:lnTo>
                <a:lnTo>
                  <a:pt x="891" y="194"/>
                </a:lnTo>
                <a:lnTo>
                  <a:pt x="885" y="187"/>
                </a:lnTo>
                <a:lnTo>
                  <a:pt x="879" y="180"/>
                </a:lnTo>
                <a:lnTo>
                  <a:pt x="872" y="174"/>
                </a:lnTo>
                <a:lnTo>
                  <a:pt x="864" y="167"/>
                </a:lnTo>
                <a:lnTo>
                  <a:pt x="854" y="162"/>
                </a:lnTo>
                <a:lnTo>
                  <a:pt x="844" y="159"/>
                </a:lnTo>
                <a:lnTo>
                  <a:pt x="833" y="158"/>
                </a:lnTo>
                <a:lnTo>
                  <a:pt x="831" y="158"/>
                </a:lnTo>
                <a:lnTo>
                  <a:pt x="829" y="156"/>
                </a:lnTo>
                <a:lnTo>
                  <a:pt x="826" y="156"/>
                </a:lnTo>
                <a:lnTo>
                  <a:pt x="825" y="154"/>
                </a:lnTo>
                <a:lnTo>
                  <a:pt x="825" y="154"/>
                </a:lnTo>
                <a:lnTo>
                  <a:pt x="825" y="154"/>
                </a:lnTo>
                <a:lnTo>
                  <a:pt x="825" y="153"/>
                </a:lnTo>
                <a:lnTo>
                  <a:pt x="825" y="153"/>
                </a:lnTo>
                <a:lnTo>
                  <a:pt x="825" y="154"/>
                </a:lnTo>
                <a:lnTo>
                  <a:pt x="825" y="154"/>
                </a:lnTo>
                <a:lnTo>
                  <a:pt x="822" y="154"/>
                </a:lnTo>
                <a:lnTo>
                  <a:pt x="819" y="153"/>
                </a:lnTo>
                <a:lnTo>
                  <a:pt x="817" y="152"/>
                </a:lnTo>
                <a:lnTo>
                  <a:pt x="815" y="149"/>
                </a:lnTo>
                <a:lnTo>
                  <a:pt x="813" y="147"/>
                </a:lnTo>
                <a:lnTo>
                  <a:pt x="811" y="146"/>
                </a:lnTo>
                <a:lnTo>
                  <a:pt x="809" y="146"/>
                </a:lnTo>
                <a:lnTo>
                  <a:pt x="806" y="147"/>
                </a:lnTo>
                <a:lnTo>
                  <a:pt x="806" y="148"/>
                </a:lnTo>
                <a:lnTo>
                  <a:pt x="806" y="148"/>
                </a:lnTo>
                <a:lnTo>
                  <a:pt x="806" y="148"/>
                </a:lnTo>
                <a:lnTo>
                  <a:pt x="806" y="147"/>
                </a:lnTo>
                <a:lnTo>
                  <a:pt x="806" y="147"/>
                </a:lnTo>
                <a:lnTo>
                  <a:pt x="806" y="147"/>
                </a:lnTo>
                <a:lnTo>
                  <a:pt x="805" y="147"/>
                </a:lnTo>
                <a:lnTo>
                  <a:pt x="805" y="145"/>
                </a:lnTo>
                <a:lnTo>
                  <a:pt x="805" y="142"/>
                </a:lnTo>
                <a:lnTo>
                  <a:pt x="806" y="141"/>
                </a:lnTo>
                <a:lnTo>
                  <a:pt x="809" y="140"/>
                </a:lnTo>
                <a:lnTo>
                  <a:pt x="805" y="140"/>
                </a:lnTo>
                <a:lnTo>
                  <a:pt x="803" y="139"/>
                </a:lnTo>
                <a:lnTo>
                  <a:pt x="799" y="139"/>
                </a:lnTo>
                <a:lnTo>
                  <a:pt x="797" y="140"/>
                </a:lnTo>
                <a:lnTo>
                  <a:pt x="795" y="140"/>
                </a:lnTo>
                <a:lnTo>
                  <a:pt x="792" y="141"/>
                </a:lnTo>
                <a:lnTo>
                  <a:pt x="790" y="141"/>
                </a:lnTo>
                <a:lnTo>
                  <a:pt x="787" y="141"/>
                </a:lnTo>
                <a:lnTo>
                  <a:pt x="776" y="146"/>
                </a:lnTo>
                <a:lnTo>
                  <a:pt x="767" y="151"/>
                </a:lnTo>
                <a:lnTo>
                  <a:pt x="756" y="155"/>
                </a:lnTo>
                <a:lnTo>
                  <a:pt x="747" y="161"/>
                </a:lnTo>
                <a:lnTo>
                  <a:pt x="740" y="166"/>
                </a:lnTo>
                <a:lnTo>
                  <a:pt x="733" y="172"/>
                </a:lnTo>
                <a:lnTo>
                  <a:pt x="728" y="179"/>
                </a:lnTo>
                <a:lnTo>
                  <a:pt x="725" y="186"/>
                </a:lnTo>
                <a:lnTo>
                  <a:pt x="722" y="190"/>
                </a:lnTo>
                <a:lnTo>
                  <a:pt x="720" y="195"/>
                </a:lnTo>
                <a:lnTo>
                  <a:pt x="720" y="196"/>
                </a:lnTo>
                <a:lnTo>
                  <a:pt x="720" y="197"/>
                </a:lnTo>
                <a:lnTo>
                  <a:pt x="723" y="197"/>
                </a:lnTo>
                <a:lnTo>
                  <a:pt x="728" y="197"/>
                </a:lnTo>
                <a:lnTo>
                  <a:pt x="730" y="197"/>
                </a:lnTo>
                <a:lnTo>
                  <a:pt x="733" y="198"/>
                </a:lnTo>
                <a:lnTo>
                  <a:pt x="730" y="197"/>
                </a:lnTo>
                <a:lnTo>
                  <a:pt x="728" y="197"/>
                </a:lnTo>
                <a:lnTo>
                  <a:pt x="723" y="197"/>
                </a:lnTo>
                <a:lnTo>
                  <a:pt x="720" y="197"/>
                </a:lnTo>
                <a:lnTo>
                  <a:pt x="720" y="197"/>
                </a:lnTo>
                <a:lnTo>
                  <a:pt x="720" y="196"/>
                </a:lnTo>
                <a:lnTo>
                  <a:pt x="720" y="195"/>
                </a:lnTo>
                <a:lnTo>
                  <a:pt x="718" y="196"/>
                </a:lnTo>
                <a:lnTo>
                  <a:pt x="715" y="198"/>
                </a:lnTo>
                <a:lnTo>
                  <a:pt x="713" y="200"/>
                </a:lnTo>
                <a:lnTo>
                  <a:pt x="711" y="202"/>
                </a:lnTo>
                <a:lnTo>
                  <a:pt x="712" y="204"/>
                </a:lnTo>
                <a:lnTo>
                  <a:pt x="713" y="204"/>
                </a:lnTo>
                <a:lnTo>
                  <a:pt x="714" y="204"/>
                </a:lnTo>
                <a:lnTo>
                  <a:pt x="715" y="204"/>
                </a:lnTo>
                <a:lnTo>
                  <a:pt x="718" y="205"/>
                </a:lnTo>
                <a:lnTo>
                  <a:pt x="719" y="209"/>
                </a:lnTo>
                <a:lnTo>
                  <a:pt x="718" y="210"/>
                </a:lnTo>
                <a:lnTo>
                  <a:pt x="714" y="210"/>
                </a:lnTo>
                <a:lnTo>
                  <a:pt x="711" y="211"/>
                </a:lnTo>
                <a:lnTo>
                  <a:pt x="708" y="212"/>
                </a:lnTo>
                <a:lnTo>
                  <a:pt x="706" y="215"/>
                </a:lnTo>
                <a:lnTo>
                  <a:pt x="704" y="218"/>
                </a:lnTo>
                <a:lnTo>
                  <a:pt x="698" y="230"/>
                </a:lnTo>
                <a:lnTo>
                  <a:pt x="691" y="242"/>
                </a:lnTo>
                <a:lnTo>
                  <a:pt x="684" y="245"/>
                </a:lnTo>
                <a:lnTo>
                  <a:pt x="677" y="250"/>
                </a:lnTo>
                <a:lnTo>
                  <a:pt x="674" y="252"/>
                </a:lnTo>
                <a:lnTo>
                  <a:pt x="672" y="254"/>
                </a:lnTo>
                <a:lnTo>
                  <a:pt x="671" y="259"/>
                </a:lnTo>
                <a:lnTo>
                  <a:pt x="670" y="264"/>
                </a:lnTo>
                <a:lnTo>
                  <a:pt x="668" y="272"/>
                </a:lnTo>
                <a:lnTo>
                  <a:pt x="665" y="280"/>
                </a:lnTo>
                <a:lnTo>
                  <a:pt x="661" y="287"/>
                </a:lnTo>
                <a:lnTo>
                  <a:pt x="656" y="294"/>
                </a:lnTo>
                <a:lnTo>
                  <a:pt x="649" y="303"/>
                </a:lnTo>
                <a:lnTo>
                  <a:pt x="644" y="313"/>
                </a:lnTo>
                <a:lnTo>
                  <a:pt x="640" y="323"/>
                </a:lnTo>
                <a:lnTo>
                  <a:pt x="640" y="335"/>
                </a:lnTo>
                <a:lnTo>
                  <a:pt x="639" y="335"/>
                </a:lnTo>
                <a:lnTo>
                  <a:pt x="639" y="336"/>
                </a:lnTo>
                <a:lnTo>
                  <a:pt x="637" y="337"/>
                </a:lnTo>
                <a:lnTo>
                  <a:pt x="636" y="340"/>
                </a:lnTo>
                <a:lnTo>
                  <a:pt x="636" y="342"/>
                </a:lnTo>
                <a:lnTo>
                  <a:pt x="635" y="344"/>
                </a:lnTo>
                <a:lnTo>
                  <a:pt x="632" y="350"/>
                </a:lnTo>
                <a:lnTo>
                  <a:pt x="630" y="357"/>
                </a:lnTo>
                <a:lnTo>
                  <a:pt x="629" y="369"/>
                </a:lnTo>
                <a:lnTo>
                  <a:pt x="627" y="382"/>
                </a:lnTo>
                <a:lnTo>
                  <a:pt x="626" y="393"/>
                </a:lnTo>
                <a:lnTo>
                  <a:pt x="625" y="405"/>
                </a:lnTo>
                <a:lnTo>
                  <a:pt x="625" y="407"/>
                </a:lnTo>
                <a:lnTo>
                  <a:pt x="625" y="408"/>
                </a:lnTo>
                <a:lnTo>
                  <a:pt x="625" y="408"/>
                </a:lnTo>
                <a:lnTo>
                  <a:pt x="625" y="408"/>
                </a:lnTo>
                <a:lnTo>
                  <a:pt x="625" y="410"/>
                </a:lnTo>
                <a:lnTo>
                  <a:pt x="625" y="410"/>
                </a:lnTo>
                <a:lnTo>
                  <a:pt x="625" y="414"/>
                </a:lnTo>
                <a:lnTo>
                  <a:pt x="626" y="418"/>
                </a:lnTo>
                <a:lnTo>
                  <a:pt x="629" y="421"/>
                </a:lnTo>
                <a:lnTo>
                  <a:pt x="630" y="425"/>
                </a:lnTo>
                <a:lnTo>
                  <a:pt x="631" y="428"/>
                </a:lnTo>
                <a:lnTo>
                  <a:pt x="632" y="431"/>
                </a:lnTo>
                <a:lnTo>
                  <a:pt x="635" y="433"/>
                </a:lnTo>
                <a:lnTo>
                  <a:pt x="638" y="434"/>
                </a:lnTo>
                <a:lnTo>
                  <a:pt x="644" y="439"/>
                </a:lnTo>
                <a:lnTo>
                  <a:pt x="649" y="445"/>
                </a:lnTo>
                <a:lnTo>
                  <a:pt x="651" y="438"/>
                </a:lnTo>
                <a:lnTo>
                  <a:pt x="651" y="429"/>
                </a:lnTo>
                <a:lnTo>
                  <a:pt x="651" y="428"/>
                </a:lnTo>
                <a:lnTo>
                  <a:pt x="651" y="427"/>
                </a:lnTo>
                <a:lnTo>
                  <a:pt x="650" y="424"/>
                </a:lnTo>
                <a:lnTo>
                  <a:pt x="650" y="420"/>
                </a:lnTo>
                <a:lnTo>
                  <a:pt x="651" y="415"/>
                </a:lnTo>
                <a:lnTo>
                  <a:pt x="652" y="411"/>
                </a:lnTo>
                <a:lnTo>
                  <a:pt x="652" y="408"/>
                </a:lnTo>
                <a:lnTo>
                  <a:pt x="654" y="407"/>
                </a:lnTo>
                <a:lnTo>
                  <a:pt x="659" y="405"/>
                </a:lnTo>
                <a:lnTo>
                  <a:pt x="661" y="403"/>
                </a:lnTo>
                <a:lnTo>
                  <a:pt x="661" y="398"/>
                </a:lnTo>
                <a:lnTo>
                  <a:pt x="660" y="393"/>
                </a:lnTo>
                <a:lnTo>
                  <a:pt x="658" y="396"/>
                </a:lnTo>
                <a:lnTo>
                  <a:pt x="657" y="398"/>
                </a:lnTo>
                <a:lnTo>
                  <a:pt x="657" y="399"/>
                </a:lnTo>
                <a:lnTo>
                  <a:pt x="657" y="401"/>
                </a:lnTo>
                <a:lnTo>
                  <a:pt x="657" y="403"/>
                </a:lnTo>
                <a:lnTo>
                  <a:pt x="654" y="403"/>
                </a:lnTo>
                <a:lnTo>
                  <a:pt x="652" y="400"/>
                </a:lnTo>
                <a:lnTo>
                  <a:pt x="652" y="397"/>
                </a:lnTo>
                <a:lnTo>
                  <a:pt x="653" y="391"/>
                </a:lnTo>
                <a:lnTo>
                  <a:pt x="654" y="386"/>
                </a:lnTo>
                <a:lnTo>
                  <a:pt x="652" y="377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2" y="368"/>
                </a:lnTo>
                <a:lnTo>
                  <a:pt x="654" y="368"/>
                </a:lnTo>
                <a:lnTo>
                  <a:pt x="656" y="366"/>
                </a:lnTo>
                <a:lnTo>
                  <a:pt x="659" y="366"/>
                </a:lnTo>
                <a:lnTo>
                  <a:pt x="661" y="368"/>
                </a:lnTo>
                <a:lnTo>
                  <a:pt x="665" y="371"/>
                </a:lnTo>
                <a:lnTo>
                  <a:pt x="668" y="371"/>
                </a:lnTo>
                <a:lnTo>
                  <a:pt x="672" y="370"/>
                </a:lnTo>
                <a:lnTo>
                  <a:pt x="675" y="369"/>
                </a:lnTo>
                <a:lnTo>
                  <a:pt x="678" y="365"/>
                </a:lnTo>
                <a:lnTo>
                  <a:pt x="681" y="362"/>
                </a:lnTo>
                <a:lnTo>
                  <a:pt x="682" y="358"/>
                </a:lnTo>
                <a:lnTo>
                  <a:pt x="684" y="354"/>
                </a:lnTo>
                <a:lnTo>
                  <a:pt x="688" y="340"/>
                </a:lnTo>
                <a:lnTo>
                  <a:pt x="693" y="327"/>
                </a:lnTo>
                <a:lnTo>
                  <a:pt x="694" y="324"/>
                </a:lnTo>
                <a:lnTo>
                  <a:pt x="694" y="324"/>
                </a:lnTo>
                <a:lnTo>
                  <a:pt x="695" y="324"/>
                </a:lnTo>
                <a:lnTo>
                  <a:pt x="698" y="324"/>
                </a:lnTo>
                <a:lnTo>
                  <a:pt x="698" y="328"/>
                </a:lnTo>
                <a:lnTo>
                  <a:pt x="698" y="331"/>
                </a:lnTo>
                <a:lnTo>
                  <a:pt x="695" y="338"/>
                </a:lnTo>
                <a:lnTo>
                  <a:pt x="695" y="345"/>
                </a:lnTo>
                <a:lnTo>
                  <a:pt x="695" y="347"/>
                </a:lnTo>
                <a:lnTo>
                  <a:pt x="694" y="348"/>
                </a:lnTo>
                <a:lnTo>
                  <a:pt x="692" y="354"/>
                </a:lnTo>
                <a:lnTo>
                  <a:pt x="691" y="359"/>
                </a:lnTo>
                <a:lnTo>
                  <a:pt x="691" y="359"/>
                </a:lnTo>
                <a:lnTo>
                  <a:pt x="691" y="361"/>
                </a:lnTo>
                <a:lnTo>
                  <a:pt x="689" y="363"/>
                </a:lnTo>
                <a:lnTo>
                  <a:pt x="689" y="365"/>
                </a:lnTo>
                <a:lnTo>
                  <a:pt x="689" y="376"/>
                </a:lnTo>
                <a:lnTo>
                  <a:pt x="689" y="386"/>
                </a:lnTo>
                <a:lnTo>
                  <a:pt x="689" y="392"/>
                </a:lnTo>
                <a:lnTo>
                  <a:pt x="689" y="397"/>
                </a:lnTo>
                <a:lnTo>
                  <a:pt x="689" y="401"/>
                </a:lnTo>
                <a:lnTo>
                  <a:pt x="691" y="406"/>
                </a:lnTo>
                <a:lnTo>
                  <a:pt x="684" y="418"/>
                </a:lnTo>
                <a:lnTo>
                  <a:pt x="679" y="429"/>
                </a:lnTo>
                <a:lnTo>
                  <a:pt x="678" y="431"/>
                </a:lnTo>
                <a:lnTo>
                  <a:pt x="675" y="432"/>
                </a:lnTo>
                <a:lnTo>
                  <a:pt x="673" y="433"/>
                </a:lnTo>
                <a:lnTo>
                  <a:pt x="671" y="431"/>
                </a:lnTo>
                <a:lnTo>
                  <a:pt x="667" y="428"/>
                </a:lnTo>
                <a:lnTo>
                  <a:pt x="664" y="427"/>
                </a:lnTo>
                <a:lnTo>
                  <a:pt x="661" y="429"/>
                </a:lnTo>
                <a:lnTo>
                  <a:pt x="659" y="433"/>
                </a:lnTo>
                <a:lnTo>
                  <a:pt x="654" y="442"/>
                </a:lnTo>
                <a:lnTo>
                  <a:pt x="650" y="452"/>
                </a:lnTo>
                <a:lnTo>
                  <a:pt x="646" y="461"/>
                </a:lnTo>
                <a:lnTo>
                  <a:pt x="643" y="470"/>
                </a:lnTo>
                <a:lnTo>
                  <a:pt x="642" y="474"/>
                </a:lnTo>
                <a:lnTo>
                  <a:pt x="640" y="476"/>
                </a:lnTo>
                <a:lnTo>
                  <a:pt x="638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lnTo>
                  <a:pt x="635" y="476"/>
                </a:lnTo>
                <a:close/>
                <a:moveTo>
                  <a:pt x="528" y="481"/>
                </a:moveTo>
                <a:lnTo>
                  <a:pt x="528" y="480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lnTo>
                  <a:pt x="528" y="481"/>
                </a:lnTo>
                <a:close/>
                <a:moveTo>
                  <a:pt x="438" y="1580"/>
                </a:moveTo>
                <a:lnTo>
                  <a:pt x="438" y="1580"/>
                </a:lnTo>
                <a:lnTo>
                  <a:pt x="439" y="1580"/>
                </a:lnTo>
                <a:lnTo>
                  <a:pt x="438" y="1580"/>
                </a:lnTo>
                <a:lnTo>
                  <a:pt x="438" y="1579"/>
                </a:lnTo>
                <a:lnTo>
                  <a:pt x="438" y="1580"/>
                </a:lnTo>
                <a:lnTo>
                  <a:pt x="438" y="1580"/>
                </a:lnTo>
                <a:lnTo>
                  <a:pt x="438" y="1580"/>
                </a:lnTo>
                <a:close/>
                <a:moveTo>
                  <a:pt x="445" y="1400"/>
                </a:moveTo>
                <a:lnTo>
                  <a:pt x="444" y="1402"/>
                </a:lnTo>
                <a:lnTo>
                  <a:pt x="445" y="1403"/>
                </a:lnTo>
                <a:lnTo>
                  <a:pt x="445" y="1402"/>
                </a:lnTo>
                <a:lnTo>
                  <a:pt x="445" y="1400"/>
                </a:lnTo>
                <a:close/>
                <a:moveTo>
                  <a:pt x="470" y="1089"/>
                </a:move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lnTo>
                  <a:pt x="470" y="1089"/>
                </a:lnTo>
                <a:close/>
                <a:moveTo>
                  <a:pt x="287" y="638"/>
                </a:moveTo>
                <a:lnTo>
                  <a:pt x="288" y="639"/>
                </a:lnTo>
                <a:lnTo>
                  <a:pt x="291" y="641"/>
                </a:lnTo>
                <a:lnTo>
                  <a:pt x="292" y="641"/>
                </a:lnTo>
                <a:lnTo>
                  <a:pt x="293" y="639"/>
                </a:lnTo>
                <a:lnTo>
                  <a:pt x="291" y="638"/>
                </a:lnTo>
                <a:lnTo>
                  <a:pt x="287" y="638"/>
                </a:lnTo>
                <a:close/>
                <a:moveTo>
                  <a:pt x="664" y="386"/>
                </a:moveTo>
                <a:lnTo>
                  <a:pt x="665" y="386"/>
                </a:lnTo>
                <a:lnTo>
                  <a:pt x="665" y="385"/>
                </a:lnTo>
                <a:lnTo>
                  <a:pt x="665" y="384"/>
                </a:lnTo>
                <a:lnTo>
                  <a:pt x="664" y="383"/>
                </a:lnTo>
                <a:lnTo>
                  <a:pt x="663" y="384"/>
                </a:lnTo>
                <a:lnTo>
                  <a:pt x="661" y="385"/>
                </a:lnTo>
                <a:lnTo>
                  <a:pt x="663" y="386"/>
                </a:lnTo>
                <a:lnTo>
                  <a:pt x="664" y="386"/>
                </a:lnTo>
                <a:close/>
                <a:moveTo>
                  <a:pt x="460" y="1222"/>
                </a:moveTo>
                <a:lnTo>
                  <a:pt x="459" y="1216"/>
                </a:lnTo>
                <a:lnTo>
                  <a:pt x="458" y="1211"/>
                </a:lnTo>
                <a:lnTo>
                  <a:pt x="454" y="1217"/>
                </a:lnTo>
                <a:lnTo>
                  <a:pt x="453" y="1222"/>
                </a:lnTo>
                <a:lnTo>
                  <a:pt x="454" y="1225"/>
                </a:lnTo>
                <a:lnTo>
                  <a:pt x="458" y="1229"/>
                </a:lnTo>
                <a:lnTo>
                  <a:pt x="460" y="1228"/>
                </a:lnTo>
                <a:lnTo>
                  <a:pt x="461" y="1225"/>
                </a:lnTo>
                <a:lnTo>
                  <a:pt x="461" y="1224"/>
                </a:lnTo>
                <a:lnTo>
                  <a:pt x="460" y="1222"/>
                </a:lnTo>
                <a:close/>
                <a:moveTo>
                  <a:pt x="536" y="490"/>
                </a:moveTo>
                <a:lnTo>
                  <a:pt x="543" y="489"/>
                </a:lnTo>
                <a:lnTo>
                  <a:pt x="548" y="487"/>
                </a:lnTo>
                <a:lnTo>
                  <a:pt x="553" y="483"/>
                </a:lnTo>
                <a:lnTo>
                  <a:pt x="557" y="482"/>
                </a:lnTo>
                <a:lnTo>
                  <a:pt x="563" y="482"/>
                </a:lnTo>
                <a:lnTo>
                  <a:pt x="568" y="483"/>
                </a:lnTo>
                <a:lnTo>
                  <a:pt x="564" y="481"/>
                </a:lnTo>
                <a:lnTo>
                  <a:pt x="561" y="480"/>
                </a:lnTo>
                <a:lnTo>
                  <a:pt x="557" y="480"/>
                </a:lnTo>
                <a:lnTo>
                  <a:pt x="553" y="480"/>
                </a:lnTo>
                <a:lnTo>
                  <a:pt x="543" y="482"/>
                </a:lnTo>
                <a:lnTo>
                  <a:pt x="533" y="483"/>
                </a:lnTo>
                <a:lnTo>
                  <a:pt x="532" y="487"/>
                </a:lnTo>
                <a:lnTo>
                  <a:pt x="533" y="489"/>
                </a:lnTo>
                <a:lnTo>
                  <a:pt x="535" y="490"/>
                </a:lnTo>
                <a:lnTo>
                  <a:pt x="536" y="490"/>
                </a:lnTo>
                <a:close/>
                <a:moveTo>
                  <a:pt x="454" y="1230"/>
                </a:moveTo>
                <a:lnTo>
                  <a:pt x="453" y="1235"/>
                </a:lnTo>
                <a:lnTo>
                  <a:pt x="452" y="1238"/>
                </a:lnTo>
                <a:lnTo>
                  <a:pt x="451" y="1240"/>
                </a:lnTo>
                <a:lnTo>
                  <a:pt x="451" y="1243"/>
                </a:lnTo>
                <a:lnTo>
                  <a:pt x="451" y="1244"/>
                </a:lnTo>
                <a:lnTo>
                  <a:pt x="452" y="1246"/>
                </a:lnTo>
                <a:lnTo>
                  <a:pt x="458" y="1254"/>
                </a:lnTo>
                <a:lnTo>
                  <a:pt x="464" y="1263"/>
                </a:lnTo>
                <a:lnTo>
                  <a:pt x="467" y="1266"/>
                </a:lnTo>
                <a:lnTo>
                  <a:pt x="470" y="1270"/>
                </a:lnTo>
                <a:lnTo>
                  <a:pt x="474" y="1272"/>
                </a:lnTo>
                <a:lnTo>
                  <a:pt x="479" y="1274"/>
                </a:lnTo>
                <a:lnTo>
                  <a:pt x="471" y="1264"/>
                </a:lnTo>
                <a:lnTo>
                  <a:pt x="463" y="1253"/>
                </a:lnTo>
                <a:lnTo>
                  <a:pt x="460" y="1247"/>
                </a:lnTo>
                <a:lnTo>
                  <a:pt x="457" y="1243"/>
                </a:lnTo>
                <a:lnTo>
                  <a:pt x="456" y="1236"/>
                </a:lnTo>
                <a:lnTo>
                  <a:pt x="454" y="1230"/>
                </a:lnTo>
                <a:close/>
                <a:moveTo>
                  <a:pt x="647" y="358"/>
                </a:moveTo>
                <a:lnTo>
                  <a:pt x="647" y="362"/>
                </a:lnTo>
                <a:lnTo>
                  <a:pt x="649" y="366"/>
                </a:lnTo>
                <a:lnTo>
                  <a:pt x="647" y="379"/>
                </a:lnTo>
                <a:lnTo>
                  <a:pt x="647" y="392"/>
                </a:lnTo>
                <a:lnTo>
                  <a:pt x="647" y="405"/>
                </a:lnTo>
                <a:lnTo>
                  <a:pt x="647" y="418"/>
                </a:lnTo>
                <a:lnTo>
                  <a:pt x="647" y="405"/>
                </a:lnTo>
                <a:lnTo>
                  <a:pt x="647" y="392"/>
                </a:lnTo>
                <a:lnTo>
                  <a:pt x="647" y="379"/>
                </a:lnTo>
                <a:lnTo>
                  <a:pt x="649" y="366"/>
                </a:lnTo>
                <a:lnTo>
                  <a:pt x="647" y="362"/>
                </a:lnTo>
                <a:lnTo>
                  <a:pt x="647" y="358"/>
                </a:lnTo>
                <a:close/>
                <a:moveTo>
                  <a:pt x="657" y="330"/>
                </a:moveTo>
                <a:lnTo>
                  <a:pt x="656" y="336"/>
                </a:lnTo>
                <a:lnTo>
                  <a:pt x="654" y="341"/>
                </a:lnTo>
                <a:lnTo>
                  <a:pt x="656" y="336"/>
                </a:lnTo>
                <a:lnTo>
                  <a:pt x="657" y="330"/>
                </a:lnTo>
                <a:close/>
                <a:moveTo>
                  <a:pt x="657" y="327"/>
                </a:moveTo>
                <a:lnTo>
                  <a:pt x="657" y="328"/>
                </a:lnTo>
                <a:lnTo>
                  <a:pt x="658" y="329"/>
                </a:lnTo>
                <a:lnTo>
                  <a:pt x="658" y="329"/>
                </a:lnTo>
                <a:lnTo>
                  <a:pt x="657" y="328"/>
                </a:lnTo>
                <a:lnTo>
                  <a:pt x="657" y="327"/>
                </a:lnTo>
                <a:close/>
                <a:moveTo>
                  <a:pt x="671" y="299"/>
                </a:moveTo>
                <a:lnTo>
                  <a:pt x="673" y="298"/>
                </a:lnTo>
                <a:lnTo>
                  <a:pt x="675" y="299"/>
                </a:lnTo>
                <a:lnTo>
                  <a:pt x="677" y="300"/>
                </a:lnTo>
                <a:lnTo>
                  <a:pt x="677" y="301"/>
                </a:lnTo>
                <a:lnTo>
                  <a:pt x="677" y="300"/>
                </a:lnTo>
                <a:lnTo>
                  <a:pt x="675" y="299"/>
                </a:lnTo>
                <a:lnTo>
                  <a:pt x="673" y="298"/>
                </a:lnTo>
                <a:lnTo>
                  <a:pt x="671" y="299"/>
                </a:lnTo>
                <a:lnTo>
                  <a:pt x="671" y="295"/>
                </a:lnTo>
                <a:lnTo>
                  <a:pt x="671" y="292"/>
                </a:lnTo>
                <a:lnTo>
                  <a:pt x="671" y="295"/>
                </a:lnTo>
                <a:lnTo>
                  <a:pt x="671" y="299"/>
                </a:lnTo>
                <a:close/>
                <a:moveTo>
                  <a:pt x="674" y="343"/>
                </a:moveTo>
                <a:lnTo>
                  <a:pt x="675" y="343"/>
                </a:lnTo>
                <a:lnTo>
                  <a:pt x="674" y="344"/>
                </a:lnTo>
                <a:lnTo>
                  <a:pt x="675" y="343"/>
                </a:lnTo>
                <a:lnTo>
                  <a:pt x="674" y="343"/>
                </a:lnTo>
                <a:lnTo>
                  <a:pt x="675" y="342"/>
                </a:lnTo>
                <a:lnTo>
                  <a:pt x="675" y="341"/>
                </a:lnTo>
                <a:lnTo>
                  <a:pt x="675" y="342"/>
                </a:lnTo>
                <a:lnTo>
                  <a:pt x="674" y="343"/>
                </a:lnTo>
                <a:close/>
                <a:moveTo>
                  <a:pt x="672" y="347"/>
                </a:moveTo>
                <a:lnTo>
                  <a:pt x="672" y="347"/>
                </a:lnTo>
                <a:lnTo>
                  <a:pt x="672" y="347"/>
                </a:lnTo>
                <a:close/>
                <a:moveTo>
                  <a:pt x="716" y="200"/>
                </a:moveTo>
                <a:lnTo>
                  <a:pt x="719" y="200"/>
                </a:lnTo>
                <a:lnTo>
                  <a:pt x="720" y="198"/>
                </a:lnTo>
                <a:lnTo>
                  <a:pt x="719" y="200"/>
                </a:lnTo>
                <a:lnTo>
                  <a:pt x="716" y="200"/>
                </a:lnTo>
                <a:close/>
                <a:moveTo>
                  <a:pt x="750" y="172"/>
                </a:moveTo>
                <a:lnTo>
                  <a:pt x="750" y="172"/>
                </a:lnTo>
                <a:lnTo>
                  <a:pt x="750" y="172"/>
                </a:lnTo>
                <a:lnTo>
                  <a:pt x="750" y="172"/>
                </a:lnTo>
                <a:close/>
                <a:moveTo>
                  <a:pt x="769" y="180"/>
                </a:moveTo>
                <a:lnTo>
                  <a:pt x="768" y="181"/>
                </a:lnTo>
                <a:lnTo>
                  <a:pt x="767" y="181"/>
                </a:lnTo>
                <a:lnTo>
                  <a:pt x="768" y="181"/>
                </a:lnTo>
                <a:lnTo>
                  <a:pt x="769" y="180"/>
                </a:lnTo>
                <a:close/>
                <a:moveTo>
                  <a:pt x="797" y="212"/>
                </a:moveTo>
                <a:lnTo>
                  <a:pt x="797" y="212"/>
                </a:lnTo>
                <a:lnTo>
                  <a:pt x="797" y="212"/>
                </a:lnTo>
                <a:lnTo>
                  <a:pt x="797" y="212"/>
                </a:lnTo>
                <a:lnTo>
                  <a:pt x="797" y="210"/>
                </a:lnTo>
                <a:lnTo>
                  <a:pt x="796" y="208"/>
                </a:lnTo>
                <a:lnTo>
                  <a:pt x="797" y="210"/>
                </a:lnTo>
                <a:lnTo>
                  <a:pt x="797" y="212"/>
                </a:lnTo>
                <a:close/>
                <a:moveTo>
                  <a:pt x="806" y="149"/>
                </a:moveTo>
                <a:lnTo>
                  <a:pt x="806" y="151"/>
                </a:lnTo>
                <a:lnTo>
                  <a:pt x="806" y="153"/>
                </a:lnTo>
                <a:lnTo>
                  <a:pt x="806" y="151"/>
                </a:lnTo>
                <a:lnTo>
                  <a:pt x="806" y="149"/>
                </a:lnTo>
                <a:close/>
                <a:moveTo>
                  <a:pt x="693" y="412"/>
                </a:move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2"/>
                </a:lnTo>
                <a:lnTo>
                  <a:pt x="693" y="411"/>
                </a:lnTo>
                <a:lnTo>
                  <a:pt x="693" y="410"/>
                </a:lnTo>
                <a:lnTo>
                  <a:pt x="693" y="411"/>
                </a:lnTo>
                <a:lnTo>
                  <a:pt x="693" y="412"/>
                </a:lnTo>
                <a:close/>
                <a:moveTo>
                  <a:pt x="467" y="1138"/>
                </a:moveTo>
                <a:lnTo>
                  <a:pt x="470" y="1137"/>
                </a:lnTo>
                <a:lnTo>
                  <a:pt x="472" y="1134"/>
                </a:lnTo>
                <a:lnTo>
                  <a:pt x="475" y="1130"/>
                </a:lnTo>
                <a:lnTo>
                  <a:pt x="477" y="1125"/>
                </a:lnTo>
                <a:lnTo>
                  <a:pt x="477" y="1119"/>
                </a:lnTo>
                <a:lnTo>
                  <a:pt x="477" y="1114"/>
                </a:lnTo>
                <a:lnTo>
                  <a:pt x="477" y="1098"/>
                </a:lnTo>
                <a:lnTo>
                  <a:pt x="475" y="1082"/>
                </a:lnTo>
                <a:lnTo>
                  <a:pt x="475" y="1077"/>
                </a:lnTo>
                <a:lnTo>
                  <a:pt x="474" y="1074"/>
                </a:lnTo>
                <a:lnTo>
                  <a:pt x="471" y="1070"/>
                </a:lnTo>
                <a:lnTo>
                  <a:pt x="470" y="1067"/>
                </a:lnTo>
                <a:lnTo>
                  <a:pt x="470" y="1062"/>
                </a:lnTo>
                <a:lnTo>
                  <a:pt x="470" y="1057"/>
                </a:lnTo>
                <a:lnTo>
                  <a:pt x="468" y="1048"/>
                </a:lnTo>
                <a:lnTo>
                  <a:pt x="467" y="1040"/>
                </a:lnTo>
                <a:lnTo>
                  <a:pt x="468" y="1051"/>
                </a:lnTo>
                <a:lnTo>
                  <a:pt x="468" y="1063"/>
                </a:lnTo>
                <a:lnTo>
                  <a:pt x="470" y="1075"/>
                </a:lnTo>
                <a:lnTo>
                  <a:pt x="471" y="1086"/>
                </a:lnTo>
                <a:lnTo>
                  <a:pt x="472" y="1091"/>
                </a:lnTo>
                <a:lnTo>
                  <a:pt x="471" y="1095"/>
                </a:lnTo>
                <a:lnTo>
                  <a:pt x="471" y="1096"/>
                </a:lnTo>
                <a:lnTo>
                  <a:pt x="470" y="1095"/>
                </a:lnTo>
                <a:lnTo>
                  <a:pt x="470" y="1095"/>
                </a:lnTo>
                <a:lnTo>
                  <a:pt x="470" y="1093"/>
                </a:lnTo>
                <a:lnTo>
                  <a:pt x="470" y="1105"/>
                </a:lnTo>
                <a:lnTo>
                  <a:pt x="468" y="1116"/>
                </a:lnTo>
                <a:lnTo>
                  <a:pt x="467" y="1127"/>
                </a:lnTo>
                <a:lnTo>
                  <a:pt x="467" y="1138"/>
                </a:lnTo>
                <a:close/>
                <a:moveTo>
                  <a:pt x="438" y="1577"/>
                </a:moveTo>
                <a:lnTo>
                  <a:pt x="439" y="1568"/>
                </a:lnTo>
                <a:lnTo>
                  <a:pt x="439" y="1559"/>
                </a:lnTo>
                <a:lnTo>
                  <a:pt x="438" y="1551"/>
                </a:lnTo>
                <a:lnTo>
                  <a:pt x="437" y="1542"/>
                </a:lnTo>
                <a:lnTo>
                  <a:pt x="436" y="1526"/>
                </a:lnTo>
                <a:lnTo>
                  <a:pt x="436" y="1512"/>
                </a:lnTo>
                <a:lnTo>
                  <a:pt x="437" y="1500"/>
                </a:lnTo>
                <a:lnTo>
                  <a:pt x="438" y="1486"/>
                </a:lnTo>
                <a:lnTo>
                  <a:pt x="438" y="1473"/>
                </a:lnTo>
                <a:lnTo>
                  <a:pt x="439" y="1460"/>
                </a:lnTo>
                <a:lnTo>
                  <a:pt x="435" y="1477"/>
                </a:lnTo>
                <a:lnTo>
                  <a:pt x="431" y="1494"/>
                </a:lnTo>
                <a:lnTo>
                  <a:pt x="431" y="1514"/>
                </a:lnTo>
                <a:lnTo>
                  <a:pt x="431" y="1532"/>
                </a:lnTo>
                <a:lnTo>
                  <a:pt x="433" y="1551"/>
                </a:lnTo>
                <a:lnTo>
                  <a:pt x="436" y="1570"/>
                </a:lnTo>
                <a:lnTo>
                  <a:pt x="437" y="1574"/>
                </a:lnTo>
                <a:lnTo>
                  <a:pt x="438" y="1577"/>
                </a:lnTo>
                <a:close/>
                <a:moveTo>
                  <a:pt x="266" y="439"/>
                </a:moveTo>
                <a:lnTo>
                  <a:pt x="266" y="439"/>
                </a:lnTo>
                <a:lnTo>
                  <a:pt x="266" y="439"/>
                </a:lnTo>
                <a:lnTo>
                  <a:pt x="266" y="440"/>
                </a:lnTo>
                <a:lnTo>
                  <a:pt x="265" y="441"/>
                </a:lnTo>
                <a:lnTo>
                  <a:pt x="264" y="442"/>
                </a:lnTo>
                <a:lnTo>
                  <a:pt x="261" y="443"/>
                </a:lnTo>
                <a:lnTo>
                  <a:pt x="263" y="441"/>
                </a:lnTo>
                <a:lnTo>
                  <a:pt x="263" y="440"/>
                </a:lnTo>
                <a:lnTo>
                  <a:pt x="264" y="439"/>
                </a:lnTo>
                <a:lnTo>
                  <a:pt x="266" y="439"/>
                </a:lnTo>
                <a:lnTo>
                  <a:pt x="266" y="436"/>
                </a:lnTo>
                <a:lnTo>
                  <a:pt x="267" y="435"/>
                </a:lnTo>
                <a:lnTo>
                  <a:pt x="267" y="438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lnTo>
                  <a:pt x="266" y="439"/>
                </a:lnTo>
                <a:close/>
                <a:moveTo>
                  <a:pt x="240" y="103"/>
                </a:moveTo>
                <a:lnTo>
                  <a:pt x="236" y="106"/>
                </a:lnTo>
                <a:lnTo>
                  <a:pt x="231" y="111"/>
                </a:lnTo>
                <a:lnTo>
                  <a:pt x="229" y="116"/>
                </a:lnTo>
                <a:lnTo>
                  <a:pt x="228" y="120"/>
                </a:lnTo>
                <a:lnTo>
                  <a:pt x="228" y="125"/>
                </a:lnTo>
                <a:lnTo>
                  <a:pt x="229" y="130"/>
                </a:lnTo>
                <a:lnTo>
                  <a:pt x="228" y="125"/>
                </a:lnTo>
                <a:lnTo>
                  <a:pt x="228" y="120"/>
                </a:lnTo>
                <a:lnTo>
                  <a:pt x="229" y="116"/>
                </a:lnTo>
                <a:lnTo>
                  <a:pt x="231" y="111"/>
                </a:lnTo>
                <a:lnTo>
                  <a:pt x="236" y="106"/>
                </a:lnTo>
                <a:lnTo>
                  <a:pt x="240" y="103"/>
                </a:lnTo>
                <a:close/>
                <a:moveTo>
                  <a:pt x="264" y="478"/>
                </a:moveTo>
                <a:lnTo>
                  <a:pt x="263" y="474"/>
                </a:lnTo>
                <a:lnTo>
                  <a:pt x="264" y="468"/>
                </a:lnTo>
                <a:lnTo>
                  <a:pt x="263" y="474"/>
                </a:lnTo>
                <a:lnTo>
                  <a:pt x="264" y="478"/>
                </a:lnTo>
                <a:lnTo>
                  <a:pt x="264" y="478"/>
                </a:lnTo>
                <a:close/>
                <a:moveTo>
                  <a:pt x="288" y="632"/>
                </a:moveTo>
                <a:lnTo>
                  <a:pt x="285" y="630"/>
                </a:lnTo>
                <a:lnTo>
                  <a:pt x="280" y="627"/>
                </a:lnTo>
                <a:lnTo>
                  <a:pt x="277" y="623"/>
                </a:lnTo>
                <a:lnTo>
                  <a:pt x="273" y="620"/>
                </a:lnTo>
                <a:lnTo>
                  <a:pt x="271" y="616"/>
                </a:lnTo>
                <a:lnTo>
                  <a:pt x="268" y="613"/>
                </a:lnTo>
                <a:lnTo>
                  <a:pt x="266" y="603"/>
                </a:lnTo>
                <a:lnTo>
                  <a:pt x="266" y="593"/>
                </a:lnTo>
                <a:lnTo>
                  <a:pt x="267" y="579"/>
                </a:lnTo>
                <a:lnTo>
                  <a:pt x="268" y="565"/>
                </a:lnTo>
                <a:lnTo>
                  <a:pt x="270" y="562"/>
                </a:lnTo>
                <a:lnTo>
                  <a:pt x="270" y="560"/>
                </a:lnTo>
                <a:lnTo>
                  <a:pt x="271" y="554"/>
                </a:lnTo>
                <a:lnTo>
                  <a:pt x="273" y="548"/>
                </a:lnTo>
                <a:lnTo>
                  <a:pt x="274" y="547"/>
                </a:lnTo>
                <a:lnTo>
                  <a:pt x="277" y="546"/>
                </a:lnTo>
                <a:lnTo>
                  <a:pt x="281" y="536"/>
                </a:lnTo>
                <a:lnTo>
                  <a:pt x="288" y="526"/>
                </a:lnTo>
                <a:lnTo>
                  <a:pt x="294" y="517"/>
                </a:lnTo>
                <a:lnTo>
                  <a:pt x="299" y="506"/>
                </a:lnTo>
                <a:lnTo>
                  <a:pt x="304" y="496"/>
                </a:lnTo>
                <a:lnTo>
                  <a:pt x="308" y="484"/>
                </a:lnTo>
                <a:lnTo>
                  <a:pt x="308" y="483"/>
                </a:lnTo>
                <a:lnTo>
                  <a:pt x="308" y="482"/>
                </a:lnTo>
                <a:lnTo>
                  <a:pt x="313" y="480"/>
                </a:lnTo>
                <a:lnTo>
                  <a:pt x="315" y="477"/>
                </a:lnTo>
                <a:lnTo>
                  <a:pt x="316" y="474"/>
                </a:lnTo>
                <a:lnTo>
                  <a:pt x="318" y="470"/>
                </a:lnTo>
                <a:lnTo>
                  <a:pt x="318" y="469"/>
                </a:lnTo>
                <a:lnTo>
                  <a:pt x="318" y="468"/>
                </a:lnTo>
                <a:lnTo>
                  <a:pt x="320" y="468"/>
                </a:lnTo>
                <a:lnTo>
                  <a:pt x="321" y="467"/>
                </a:lnTo>
                <a:lnTo>
                  <a:pt x="322" y="464"/>
                </a:lnTo>
                <a:lnTo>
                  <a:pt x="322" y="462"/>
                </a:lnTo>
                <a:lnTo>
                  <a:pt x="322" y="462"/>
                </a:lnTo>
                <a:lnTo>
                  <a:pt x="322" y="461"/>
                </a:lnTo>
                <a:lnTo>
                  <a:pt x="325" y="461"/>
                </a:lnTo>
                <a:lnTo>
                  <a:pt x="326" y="461"/>
                </a:lnTo>
                <a:lnTo>
                  <a:pt x="332" y="455"/>
                </a:lnTo>
                <a:lnTo>
                  <a:pt x="337" y="450"/>
                </a:lnTo>
                <a:lnTo>
                  <a:pt x="346" y="449"/>
                </a:lnTo>
                <a:lnTo>
                  <a:pt x="354" y="448"/>
                </a:lnTo>
                <a:lnTo>
                  <a:pt x="352" y="447"/>
                </a:lnTo>
                <a:lnTo>
                  <a:pt x="349" y="446"/>
                </a:lnTo>
                <a:lnTo>
                  <a:pt x="340" y="446"/>
                </a:lnTo>
                <a:lnTo>
                  <a:pt x="332" y="447"/>
                </a:lnTo>
                <a:lnTo>
                  <a:pt x="328" y="448"/>
                </a:lnTo>
                <a:lnTo>
                  <a:pt x="325" y="449"/>
                </a:lnTo>
                <a:lnTo>
                  <a:pt x="321" y="453"/>
                </a:lnTo>
                <a:lnTo>
                  <a:pt x="318" y="456"/>
                </a:lnTo>
                <a:lnTo>
                  <a:pt x="314" y="460"/>
                </a:lnTo>
                <a:lnTo>
                  <a:pt x="312" y="462"/>
                </a:lnTo>
                <a:lnTo>
                  <a:pt x="308" y="466"/>
                </a:lnTo>
                <a:lnTo>
                  <a:pt x="307" y="470"/>
                </a:lnTo>
                <a:lnTo>
                  <a:pt x="305" y="470"/>
                </a:lnTo>
                <a:lnTo>
                  <a:pt x="305" y="473"/>
                </a:lnTo>
                <a:lnTo>
                  <a:pt x="298" y="483"/>
                </a:lnTo>
                <a:lnTo>
                  <a:pt x="291" y="494"/>
                </a:lnTo>
                <a:lnTo>
                  <a:pt x="283" y="504"/>
                </a:lnTo>
                <a:lnTo>
                  <a:pt x="276" y="516"/>
                </a:lnTo>
                <a:lnTo>
                  <a:pt x="276" y="509"/>
                </a:lnTo>
                <a:lnTo>
                  <a:pt x="278" y="502"/>
                </a:lnTo>
                <a:lnTo>
                  <a:pt x="280" y="496"/>
                </a:lnTo>
                <a:lnTo>
                  <a:pt x="283" y="490"/>
                </a:lnTo>
                <a:lnTo>
                  <a:pt x="290" y="483"/>
                </a:lnTo>
                <a:lnTo>
                  <a:pt x="295" y="475"/>
                </a:lnTo>
                <a:lnTo>
                  <a:pt x="305" y="463"/>
                </a:lnTo>
                <a:lnTo>
                  <a:pt x="315" y="450"/>
                </a:lnTo>
                <a:lnTo>
                  <a:pt x="321" y="447"/>
                </a:lnTo>
                <a:lnTo>
                  <a:pt x="327" y="443"/>
                </a:lnTo>
                <a:lnTo>
                  <a:pt x="322" y="442"/>
                </a:lnTo>
                <a:lnTo>
                  <a:pt x="318" y="441"/>
                </a:lnTo>
                <a:lnTo>
                  <a:pt x="314" y="442"/>
                </a:lnTo>
                <a:lnTo>
                  <a:pt x="311" y="443"/>
                </a:lnTo>
                <a:lnTo>
                  <a:pt x="305" y="449"/>
                </a:lnTo>
                <a:lnTo>
                  <a:pt x="300" y="457"/>
                </a:lnTo>
                <a:lnTo>
                  <a:pt x="293" y="469"/>
                </a:lnTo>
                <a:lnTo>
                  <a:pt x="286" y="482"/>
                </a:lnTo>
                <a:lnTo>
                  <a:pt x="286" y="477"/>
                </a:lnTo>
                <a:lnTo>
                  <a:pt x="286" y="475"/>
                </a:lnTo>
                <a:lnTo>
                  <a:pt x="286" y="471"/>
                </a:lnTo>
                <a:lnTo>
                  <a:pt x="286" y="469"/>
                </a:lnTo>
                <a:lnTo>
                  <a:pt x="288" y="467"/>
                </a:lnTo>
                <a:lnTo>
                  <a:pt x="290" y="466"/>
                </a:lnTo>
                <a:lnTo>
                  <a:pt x="290" y="463"/>
                </a:lnTo>
                <a:lnTo>
                  <a:pt x="290" y="461"/>
                </a:lnTo>
                <a:lnTo>
                  <a:pt x="291" y="460"/>
                </a:lnTo>
                <a:lnTo>
                  <a:pt x="291" y="460"/>
                </a:lnTo>
                <a:lnTo>
                  <a:pt x="294" y="453"/>
                </a:lnTo>
                <a:lnTo>
                  <a:pt x="299" y="447"/>
                </a:lnTo>
                <a:lnTo>
                  <a:pt x="299" y="446"/>
                </a:lnTo>
                <a:lnTo>
                  <a:pt x="299" y="443"/>
                </a:lnTo>
                <a:lnTo>
                  <a:pt x="297" y="443"/>
                </a:lnTo>
                <a:lnTo>
                  <a:pt x="294" y="445"/>
                </a:lnTo>
                <a:lnTo>
                  <a:pt x="290" y="452"/>
                </a:lnTo>
                <a:lnTo>
                  <a:pt x="286" y="460"/>
                </a:lnTo>
                <a:lnTo>
                  <a:pt x="279" y="476"/>
                </a:lnTo>
                <a:lnTo>
                  <a:pt x="274" y="492"/>
                </a:lnTo>
                <a:lnTo>
                  <a:pt x="271" y="510"/>
                </a:lnTo>
                <a:lnTo>
                  <a:pt x="266" y="526"/>
                </a:lnTo>
                <a:lnTo>
                  <a:pt x="263" y="547"/>
                </a:lnTo>
                <a:lnTo>
                  <a:pt x="260" y="568"/>
                </a:lnTo>
                <a:lnTo>
                  <a:pt x="259" y="589"/>
                </a:lnTo>
                <a:lnTo>
                  <a:pt x="259" y="610"/>
                </a:lnTo>
                <a:lnTo>
                  <a:pt x="260" y="616"/>
                </a:lnTo>
                <a:lnTo>
                  <a:pt x="261" y="622"/>
                </a:lnTo>
                <a:lnTo>
                  <a:pt x="261" y="624"/>
                </a:lnTo>
                <a:lnTo>
                  <a:pt x="264" y="627"/>
                </a:lnTo>
                <a:lnTo>
                  <a:pt x="266" y="628"/>
                </a:lnTo>
                <a:lnTo>
                  <a:pt x="270" y="629"/>
                </a:lnTo>
                <a:lnTo>
                  <a:pt x="268" y="628"/>
                </a:lnTo>
                <a:lnTo>
                  <a:pt x="268" y="625"/>
                </a:lnTo>
                <a:lnTo>
                  <a:pt x="271" y="625"/>
                </a:lnTo>
                <a:lnTo>
                  <a:pt x="273" y="628"/>
                </a:lnTo>
                <a:lnTo>
                  <a:pt x="273" y="628"/>
                </a:lnTo>
                <a:lnTo>
                  <a:pt x="274" y="628"/>
                </a:lnTo>
                <a:lnTo>
                  <a:pt x="273" y="628"/>
                </a:lnTo>
                <a:lnTo>
                  <a:pt x="273" y="628"/>
                </a:lnTo>
                <a:lnTo>
                  <a:pt x="271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70" y="629"/>
                </a:lnTo>
                <a:lnTo>
                  <a:pt x="266" y="630"/>
                </a:lnTo>
                <a:lnTo>
                  <a:pt x="263" y="631"/>
                </a:lnTo>
                <a:lnTo>
                  <a:pt x="258" y="629"/>
                </a:lnTo>
                <a:lnTo>
                  <a:pt x="254" y="627"/>
                </a:lnTo>
                <a:lnTo>
                  <a:pt x="250" y="623"/>
                </a:lnTo>
                <a:lnTo>
                  <a:pt x="246" y="617"/>
                </a:lnTo>
                <a:lnTo>
                  <a:pt x="245" y="611"/>
                </a:lnTo>
                <a:lnTo>
                  <a:pt x="245" y="606"/>
                </a:lnTo>
                <a:lnTo>
                  <a:pt x="246" y="604"/>
                </a:lnTo>
                <a:lnTo>
                  <a:pt x="249" y="604"/>
                </a:lnTo>
                <a:lnTo>
                  <a:pt x="251" y="606"/>
                </a:lnTo>
                <a:lnTo>
                  <a:pt x="251" y="604"/>
                </a:lnTo>
                <a:lnTo>
                  <a:pt x="251" y="603"/>
                </a:lnTo>
                <a:lnTo>
                  <a:pt x="251" y="602"/>
                </a:lnTo>
                <a:lnTo>
                  <a:pt x="251" y="596"/>
                </a:lnTo>
                <a:lnTo>
                  <a:pt x="250" y="592"/>
                </a:lnTo>
                <a:lnTo>
                  <a:pt x="250" y="592"/>
                </a:lnTo>
                <a:lnTo>
                  <a:pt x="249" y="585"/>
                </a:lnTo>
                <a:lnTo>
                  <a:pt x="249" y="579"/>
                </a:lnTo>
                <a:lnTo>
                  <a:pt x="251" y="579"/>
                </a:lnTo>
                <a:lnTo>
                  <a:pt x="252" y="578"/>
                </a:lnTo>
                <a:lnTo>
                  <a:pt x="253" y="576"/>
                </a:lnTo>
                <a:lnTo>
                  <a:pt x="254" y="574"/>
                </a:lnTo>
                <a:lnTo>
                  <a:pt x="256" y="560"/>
                </a:lnTo>
                <a:lnTo>
                  <a:pt x="257" y="545"/>
                </a:lnTo>
                <a:lnTo>
                  <a:pt x="257" y="544"/>
                </a:lnTo>
                <a:lnTo>
                  <a:pt x="257" y="543"/>
                </a:lnTo>
                <a:lnTo>
                  <a:pt x="259" y="533"/>
                </a:lnTo>
                <a:lnTo>
                  <a:pt x="259" y="524"/>
                </a:lnTo>
                <a:lnTo>
                  <a:pt x="259" y="519"/>
                </a:lnTo>
                <a:lnTo>
                  <a:pt x="259" y="513"/>
                </a:lnTo>
                <a:lnTo>
                  <a:pt x="260" y="513"/>
                </a:lnTo>
                <a:lnTo>
                  <a:pt x="261" y="511"/>
                </a:lnTo>
                <a:lnTo>
                  <a:pt x="265" y="503"/>
                </a:lnTo>
                <a:lnTo>
                  <a:pt x="267" y="494"/>
                </a:lnTo>
                <a:lnTo>
                  <a:pt x="270" y="484"/>
                </a:lnTo>
                <a:lnTo>
                  <a:pt x="272" y="475"/>
                </a:lnTo>
                <a:lnTo>
                  <a:pt x="274" y="468"/>
                </a:lnTo>
                <a:lnTo>
                  <a:pt x="276" y="462"/>
                </a:lnTo>
                <a:lnTo>
                  <a:pt x="276" y="456"/>
                </a:lnTo>
                <a:lnTo>
                  <a:pt x="277" y="450"/>
                </a:lnTo>
                <a:lnTo>
                  <a:pt x="278" y="446"/>
                </a:lnTo>
                <a:lnTo>
                  <a:pt x="279" y="440"/>
                </a:lnTo>
                <a:lnTo>
                  <a:pt x="280" y="439"/>
                </a:lnTo>
                <a:lnTo>
                  <a:pt x="280" y="436"/>
                </a:lnTo>
                <a:lnTo>
                  <a:pt x="279" y="434"/>
                </a:lnTo>
                <a:lnTo>
                  <a:pt x="278" y="433"/>
                </a:lnTo>
                <a:lnTo>
                  <a:pt x="276" y="433"/>
                </a:lnTo>
                <a:lnTo>
                  <a:pt x="273" y="433"/>
                </a:lnTo>
                <a:lnTo>
                  <a:pt x="272" y="434"/>
                </a:lnTo>
                <a:lnTo>
                  <a:pt x="271" y="435"/>
                </a:lnTo>
                <a:lnTo>
                  <a:pt x="270" y="435"/>
                </a:lnTo>
                <a:lnTo>
                  <a:pt x="268" y="435"/>
                </a:lnTo>
                <a:lnTo>
                  <a:pt x="270" y="433"/>
                </a:lnTo>
                <a:lnTo>
                  <a:pt x="272" y="429"/>
                </a:lnTo>
                <a:lnTo>
                  <a:pt x="257" y="424"/>
                </a:lnTo>
                <a:lnTo>
                  <a:pt x="240" y="417"/>
                </a:lnTo>
                <a:lnTo>
                  <a:pt x="225" y="411"/>
                </a:lnTo>
                <a:lnTo>
                  <a:pt x="209" y="405"/>
                </a:lnTo>
                <a:lnTo>
                  <a:pt x="198" y="401"/>
                </a:lnTo>
                <a:lnTo>
                  <a:pt x="188" y="398"/>
                </a:lnTo>
                <a:lnTo>
                  <a:pt x="177" y="397"/>
                </a:lnTo>
                <a:lnTo>
                  <a:pt x="167" y="396"/>
                </a:lnTo>
                <a:lnTo>
                  <a:pt x="164" y="394"/>
                </a:lnTo>
                <a:lnTo>
                  <a:pt x="162" y="394"/>
                </a:lnTo>
                <a:lnTo>
                  <a:pt x="160" y="393"/>
                </a:lnTo>
                <a:lnTo>
                  <a:pt x="160" y="390"/>
                </a:lnTo>
                <a:lnTo>
                  <a:pt x="161" y="376"/>
                </a:lnTo>
                <a:lnTo>
                  <a:pt x="162" y="363"/>
                </a:lnTo>
                <a:lnTo>
                  <a:pt x="163" y="349"/>
                </a:lnTo>
                <a:lnTo>
                  <a:pt x="166" y="336"/>
                </a:lnTo>
                <a:lnTo>
                  <a:pt x="170" y="323"/>
                </a:lnTo>
                <a:lnTo>
                  <a:pt x="174" y="309"/>
                </a:lnTo>
                <a:lnTo>
                  <a:pt x="177" y="295"/>
                </a:lnTo>
                <a:lnTo>
                  <a:pt x="181" y="282"/>
                </a:lnTo>
                <a:lnTo>
                  <a:pt x="183" y="274"/>
                </a:lnTo>
                <a:lnTo>
                  <a:pt x="182" y="270"/>
                </a:lnTo>
                <a:lnTo>
                  <a:pt x="180" y="265"/>
                </a:lnTo>
                <a:lnTo>
                  <a:pt x="180" y="260"/>
                </a:lnTo>
                <a:lnTo>
                  <a:pt x="181" y="257"/>
                </a:lnTo>
                <a:lnTo>
                  <a:pt x="183" y="254"/>
                </a:lnTo>
                <a:lnTo>
                  <a:pt x="188" y="247"/>
                </a:lnTo>
                <a:lnTo>
                  <a:pt x="191" y="242"/>
                </a:lnTo>
                <a:lnTo>
                  <a:pt x="192" y="233"/>
                </a:lnTo>
                <a:lnTo>
                  <a:pt x="195" y="226"/>
                </a:lnTo>
                <a:lnTo>
                  <a:pt x="204" y="203"/>
                </a:lnTo>
                <a:lnTo>
                  <a:pt x="215" y="180"/>
                </a:lnTo>
                <a:lnTo>
                  <a:pt x="226" y="158"/>
                </a:lnTo>
                <a:lnTo>
                  <a:pt x="240" y="137"/>
                </a:lnTo>
                <a:lnTo>
                  <a:pt x="244" y="133"/>
                </a:lnTo>
                <a:lnTo>
                  <a:pt x="246" y="130"/>
                </a:lnTo>
                <a:lnTo>
                  <a:pt x="251" y="128"/>
                </a:lnTo>
                <a:lnTo>
                  <a:pt x="256" y="127"/>
                </a:lnTo>
                <a:lnTo>
                  <a:pt x="268" y="127"/>
                </a:lnTo>
                <a:lnTo>
                  <a:pt x="281" y="126"/>
                </a:lnTo>
                <a:lnTo>
                  <a:pt x="295" y="125"/>
                </a:lnTo>
                <a:lnTo>
                  <a:pt x="308" y="124"/>
                </a:lnTo>
                <a:lnTo>
                  <a:pt x="314" y="124"/>
                </a:lnTo>
                <a:lnTo>
                  <a:pt x="318" y="121"/>
                </a:lnTo>
                <a:lnTo>
                  <a:pt x="322" y="119"/>
                </a:lnTo>
                <a:lnTo>
                  <a:pt x="326" y="116"/>
                </a:lnTo>
                <a:lnTo>
                  <a:pt x="336" y="102"/>
                </a:lnTo>
                <a:lnTo>
                  <a:pt x="347" y="89"/>
                </a:lnTo>
                <a:lnTo>
                  <a:pt x="349" y="84"/>
                </a:lnTo>
                <a:lnTo>
                  <a:pt x="350" y="79"/>
                </a:lnTo>
                <a:lnTo>
                  <a:pt x="349" y="75"/>
                </a:lnTo>
                <a:lnTo>
                  <a:pt x="346" y="71"/>
                </a:lnTo>
                <a:lnTo>
                  <a:pt x="345" y="68"/>
                </a:lnTo>
                <a:lnTo>
                  <a:pt x="345" y="64"/>
                </a:lnTo>
                <a:lnTo>
                  <a:pt x="346" y="60"/>
                </a:lnTo>
                <a:lnTo>
                  <a:pt x="345" y="55"/>
                </a:lnTo>
                <a:lnTo>
                  <a:pt x="343" y="50"/>
                </a:lnTo>
                <a:lnTo>
                  <a:pt x="341" y="46"/>
                </a:lnTo>
                <a:lnTo>
                  <a:pt x="332" y="36"/>
                </a:lnTo>
                <a:lnTo>
                  <a:pt x="322" y="28"/>
                </a:lnTo>
                <a:lnTo>
                  <a:pt x="316" y="23"/>
                </a:lnTo>
                <a:lnTo>
                  <a:pt x="311" y="20"/>
                </a:lnTo>
                <a:lnTo>
                  <a:pt x="308" y="16"/>
                </a:lnTo>
                <a:lnTo>
                  <a:pt x="307" y="12"/>
                </a:lnTo>
                <a:lnTo>
                  <a:pt x="304" y="8"/>
                </a:lnTo>
                <a:lnTo>
                  <a:pt x="300" y="5"/>
                </a:lnTo>
                <a:lnTo>
                  <a:pt x="299" y="4"/>
                </a:lnTo>
                <a:lnTo>
                  <a:pt x="298" y="4"/>
                </a:lnTo>
                <a:lnTo>
                  <a:pt x="297" y="4"/>
                </a:lnTo>
                <a:lnTo>
                  <a:pt x="295" y="5"/>
                </a:lnTo>
                <a:lnTo>
                  <a:pt x="288" y="6"/>
                </a:lnTo>
                <a:lnTo>
                  <a:pt x="281" y="7"/>
                </a:lnTo>
                <a:lnTo>
                  <a:pt x="279" y="5"/>
                </a:lnTo>
                <a:lnTo>
                  <a:pt x="277" y="2"/>
                </a:lnTo>
                <a:lnTo>
                  <a:pt x="273" y="0"/>
                </a:lnTo>
                <a:lnTo>
                  <a:pt x="271" y="0"/>
                </a:lnTo>
                <a:lnTo>
                  <a:pt x="267" y="1"/>
                </a:lnTo>
                <a:lnTo>
                  <a:pt x="265" y="2"/>
                </a:lnTo>
                <a:lnTo>
                  <a:pt x="261" y="5"/>
                </a:lnTo>
                <a:lnTo>
                  <a:pt x="257" y="5"/>
                </a:lnTo>
                <a:lnTo>
                  <a:pt x="253" y="4"/>
                </a:lnTo>
                <a:lnTo>
                  <a:pt x="249" y="4"/>
                </a:lnTo>
                <a:lnTo>
                  <a:pt x="245" y="6"/>
                </a:lnTo>
                <a:lnTo>
                  <a:pt x="243" y="7"/>
                </a:lnTo>
                <a:lnTo>
                  <a:pt x="235" y="14"/>
                </a:lnTo>
                <a:lnTo>
                  <a:pt x="226" y="19"/>
                </a:lnTo>
                <a:lnTo>
                  <a:pt x="218" y="25"/>
                </a:lnTo>
                <a:lnTo>
                  <a:pt x="210" y="32"/>
                </a:lnTo>
                <a:lnTo>
                  <a:pt x="203" y="37"/>
                </a:lnTo>
                <a:lnTo>
                  <a:pt x="196" y="44"/>
                </a:lnTo>
                <a:lnTo>
                  <a:pt x="190" y="53"/>
                </a:lnTo>
                <a:lnTo>
                  <a:pt x="184" y="61"/>
                </a:lnTo>
                <a:lnTo>
                  <a:pt x="180" y="70"/>
                </a:lnTo>
                <a:lnTo>
                  <a:pt x="176" y="81"/>
                </a:lnTo>
                <a:lnTo>
                  <a:pt x="170" y="96"/>
                </a:lnTo>
                <a:lnTo>
                  <a:pt x="163" y="110"/>
                </a:lnTo>
                <a:lnTo>
                  <a:pt x="155" y="125"/>
                </a:lnTo>
                <a:lnTo>
                  <a:pt x="146" y="138"/>
                </a:lnTo>
                <a:lnTo>
                  <a:pt x="135" y="153"/>
                </a:lnTo>
                <a:lnTo>
                  <a:pt x="123" y="168"/>
                </a:lnTo>
                <a:lnTo>
                  <a:pt x="113" y="183"/>
                </a:lnTo>
                <a:lnTo>
                  <a:pt x="102" y="198"/>
                </a:lnTo>
                <a:lnTo>
                  <a:pt x="102" y="198"/>
                </a:lnTo>
                <a:lnTo>
                  <a:pt x="102" y="200"/>
                </a:lnTo>
                <a:lnTo>
                  <a:pt x="99" y="203"/>
                </a:lnTo>
                <a:lnTo>
                  <a:pt x="99" y="204"/>
                </a:lnTo>
                <a:lnTo>
                  <a:pt x="98" y="204"/>
                </a:lnTo>
                <a:lnTo>
                  <a:pt x="98" y="205"/>
                </a:lnTo>
                <a:lnTo>
                  <a:pt x="98" y="205"/>
                </a:lnTo>
                <a:lnTo>
                  <a:pt x="88" y="219"/>
                </a:lnTo>
                <a:lnTo>
                  <a:pt x="77" y="239"/>
                </a:lnTo>
                <a:lnTo>
                  <a:pt x="63" y="263"/>
                </a:lnTo>
                <a:lnTo>
                  <a:pt x="47" y="289"/>
                </a:lnTo>
                <a:lnTo>
                  <a:pt x="33" y="317"/>
                </a:lnTo>
                <a:lnTo>
                  <a:pt x="19" y="347"/>
                </a:lnTo>
                <a:lnTo>
                  <a:pt x="14" y="361"/>
                </a:lnTo>
                <a:lnTo>
                  <a:pt x="9" y="375"/>
                </a:lnTo>
                <a:lnTo>
                  <a:pt x="4" y="389"/>
                </a:lnTo>
                <a:lnTo>
                  <a:pt x="2" y="401"/>
                </a:lnTo>
                <a:lnTo>
                  <a:pt x="0" y="414"/>
                </a:lnTo>
                <a:lnTo>
                  <a:pt x="0" y="425"/>
                </a:lnTo>
                <a:lnTo>
                  <a:pt x="1" y="434"/>
                </a:lnTo>
                <a:lnTo>
                  <a:pt x="2" y="441"/>
                </a:lnTo>
                <a:lnTo>
                  <a:pt x="2" y="442"/>
                </a:lnTo>
                <a:lnTo>
                  <a:pt x="2" y="442"/>
                </a:lnTo>
                <a:lnTo>
                  <a:pt x="3" y="445"/>
                </a:lnTo>
                <a:lnTo>
                  <a:pt x="4" y="446"/>
                </a:lnTo>
                <a:lnTo>
                  <a:pt x="7" y="450"/>
                </a:lnTo>
                <a:lnTo>
                  <a:pt x="10" y="455"/>
                </a:lnTo>
                <a:lnTo>
                  <a:pt x="14" y="459"/>
                </a:lnTo>
                <a:lnTo>
                  <a:pt x="19" y="461"/>
                </a:lnTo>
                <a:lnTo>
                  <a:pt x="23" y="463"/>
                </a:lnTo>
                <a:lnTo>
                  <a:pt x="28" y="466"/>
                </a:lnTo>
                <a:lnTo>
                  <a:pt x="30" y="469"/>
                </a:lnTo>
                <a:lnTo>
                  <a:pt x="33" y="471"/>
                </a:lnTo>
                <a:lnTo>
                  <a:pt x="43" y="481"/>
                </a:lnTo>
                <a:lnTo>
                  <a:pt x="52" y="490"/>
                </a:lnTo>
                <a:lnTo>
                  <a:pt x="63" y="498"/>
                </a:lnTo>
                <a:lnTo>
                  <a:pt x="73" y="506"/>
                </a:lnTo>
                <a:lnTo>
                  <a:pt x="83" y="513"/>
                </a:lnTo>
                <a:lnTo>
                  <a:pt x="93" y="522"/>
                </a:lnTo>
                <a:lnTo>
                  <a:pt x="102" y="530"/>
                </a:lnTo>
                <a:lnTo>
                  <a:pt x="112" y="538"/>
                </a:lnTo>
                <a:lnTo>
                  <a:pt x="121" y="545"/>
                </a:lnTo>
                <a:lnTo>
                  <a:pt x="131" y="552"/>
                </a:lnTo>
                <a:lnTo>
                  <a:pt x="139" y="559"/>
                </a:lnTo>
                <a:lnTo>
                  <a:pt x="148" y="566"/>
                </a:lnTo>
                <a:lnTo>
                  <a:pt x="152" y="571"/>
                </a:lnTo>
                <a:lnTo>
                  <a:pt x="156" y="574"/>
                </a:lnTo>
                <a:lnTo>
                  <a:pt x="168" y="582"/>
                </a:lnTo>
                <a:lnTo>
                  <a:pt x="180" y="589"/>
                </a:lnTo>
                <a:lnTo>
                  <a:pt x="191" y="596"/>
                </a:lnTo>
                <a:lnTo>
                  <a:pt x="203" y="603"/>
                </a:lnTo>
                <a:lnTo>
                  <a:pt x="210" y="607"/>
                </a:lnTo>
                <a:lnTo>
                  <a:pt x="217" y="610"/>
                </a:lnTo>
                <a:lnTo>
                  <a:pt x="224" y="613"/>
                </a:lnTo>
                <a:lnTo>
                  <a:pt x="231" y="615"/>
                </a:lnTo>
                <a:lnTo>
                  <a:pt x="235" y="618"/>
                </a:lnTo>
                <a:lnTo>
                  <a:pt x="237" y="623"/>
                </a:lnTo>
                <a:lnTo>
                  <a:pt x="240" y="625"/>
                </a:lnTo>
                <a:lnTo>
                  <a:pt x="245" y="628"/>
                </a:lnTo>
                <a:lnTo>
                  <a:pt x="253" y="631"/>
                </a:lnTo>
                <a:lnTo>
                  <a:pt x="264" y="632"/>
                </a:lnTo>
                <a:lnTo>
                  <a:pt x="274" y="634"/>
                </a:lnTo>
                <a:lnTo>
                  <a:pt x="286" y="637"/>
                </a:lnTo>
                <a:lnTo>
                  <a:pt x="286" y="637"/>
                </a:lnTo>
                <a:lnTo>
                  <a:pt x="286" y="637"/>
                </a:lnTo>
                <a:lnTo>
                  <a:pt x="287" y="637"/>
                </a:lnTo>
                <a:lnTo>
                  <a:pt x="287" y="637"/>
                </a:lnTo>
                <a:lnTo>
                  <a:pt x="288" y="637"/>
                </a:lnTo>
                <a:lnTo>
                  <a:pt x="290" y="636"/>
                </a:lnTo>
                <a:lnTo>
                  <a:pt x="290" y="635"/>
                </a:lnTo>
                <a:lnTo>
                  <a:pt x="288" y="63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r>
              <a:rPr lang="en-US" sz="9600" err="1"/>
              <a:t>jgh</a:t>
            </a:r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5D65A8D-945A-1F47-A0D6-1A19BA0F6DF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CC81AA65-827E-C847-AFFA-58B4BD57F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77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C02986CC-D516-6547-954E-BA4F692D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id="{0AB005FD-6530-3E4A-9093-8B2C9615A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70C09E84-53C8-3442-87D8-905DF3CD21CD}"/>
              </a:ext>
            </a:extLst>
          </p:cNvPr>
          <p:cNvSpPr>
            <a:spLocks/>
          </p:cNvSpPr>
          <p:nvPr userDrawn="1"/>
        </p:nvSpPr>
        <p:spPr bwMode="auto">
          <a:xfrm rot="20168621" flipH="1">
            <a:off x="12239104" y="-138368"/>
            <a:ext cx="13193289" cy="10489874"/>
          </a:xfrm>
          <a:custGeom>
            <a:avLst/>
            <a:gdLst>
              <a:gd name="T0" fmla="*/ 2419 w 2641"/>
              <a:gd name="T1" fmla="*/ 1697 h 2100"/>
              <a:gd name="T2" fmla="*/ 1449 w 2641"/>
              <a:gd name="T3" fmla="*/ 2009 h 2100"/>
              <a:gd name="T4" fmla="*/ 755 w 2641"/>
              <a:gd name="T5" fmla="*/ 1600 h 2100"/>
              <a:gd name="T6" fmla="*/ 538 w 2641"/>
              <a:gd name="T7" fmla="*/ 441 h 2100"/>
              <a:gd name="T8" fmla="*/ 1674 w 2641"/>
              <a:gd name="T9" fmla="*/ 397 h 2100"/>
              <a:gd name="T10" fmla="*/ 2620 w 2641"/>
              <a:gd name="T11" fmla="*/ 922 h 2100"/>
              <a:gd name="T12" fmla="*/ 2419 w 2641"/>
              <a:gd name="T13" fmla="*/ 1697 h 2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41" h="2100">
                <a:moveTo>
                  <a:pt x="2419" y="1697"/>
                </a:moveTo>
                <a:cubicBezTo>
                  <a:pt x="2184" y="1979"/>
                  <a:pt x="1805" y="2100"/>
                  <a:pt x="1449" y="2009"/>
                </a:cubicBezTo>
                <a:cubicBezTo>
                  <a:pt x="1247" y="1958"/>
                  <a:pt x="1009" y="1839"/>
                  <a:pt x="755" y="1600"/>
                </a:cubicBezTo>
                <a:cubicBezTo>
                  <a:pt x="0" y="890"/>
                  <a:pt x="276" y="598"/>
                  <a:pt x="538" y="441"/>
                </a:cubicBezTo>
                <a:cubicBezTo>
                  <a:pt x="897" y="226"/>
                  <a:pt x="1323" y="793"/>
                  <a:pt x="1674" y="397"/>
                </a:cubicBezTo>
                <a:cubicBezTo>
                  <a:pt x="2025" y="0"/>
                  <a:pt x="2587" y="318"/>
                  <a:pt x="2620" y="922"/>
                </a:cubicBezTo>
                <a:cubicBezTo>
                  <a:pt x="2641" y="1299"/>
                  <a:pt x="2560" y="1528"/>
                  <a:pt x="2419" y="1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AF802D31-5D56-4841-B0D3-287F4D0DCC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13667" y="3221487"/>
            <a:ext cx="10867577" cy="9769211"/>
          </a:xfrm>
          <a:custGeom>
            <a:avLst/>
            <a:gdLst>
              <a:gd name="connsiteX0" fmla="*/ 4372333 w 10867577"/>
              <a:gd name="connsiteY0" fmla="*/ 178 h 9769211"/>
              <a:gd name="connsiteX1" fmla="*/ 4826943 w 10867577"/>
              <a:gd name="connsiteY1" fmla="*/ 8179 h 9769211"/>
              <a:gd name="connsiteX2" fmla="*/ 8601677 w 10867577"/>
              <a:gd name="connsiteY2" fmla="*/ 983654 h 9769211"/>
              <a:gd name="connsiteX3" fmla="*/ 10849117 w 10867577"/>
              <a:gd name="connsiteY3" fmla="*/ 5358803 h 9769211"/>
              <a:gd name="connsiteX4" fmla="*/ 8886835 w 10867577"/>
              <a:gd name="connsiteY4" fmla="*/ 8695698 h 9769211"/>
              <a:gd name="connsiteX5" fmla="*/ 3860302 w 10867577"/>
              <a:gd name="connsiteY5" fmla="*/ 7256632 h 9769211"/>
              <a:gd name="connsiteX6" fmla="*/ 129067 w 10867577"/>
              <a:gd name="connsiteY6" fmla="*/ 3224348 h 9769211"/>
              <a:gd name="connsiteX7" fmla="*/ 4372333 w 10867577"/>
              <a:gd name="connsiteY7" fmla="*/ 178 h 9769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67577" h="9769211">
                <a:moveTo>
                  <a:pt x="4372333" y="178"/>
                </a:moveTo>
                <a:cubicBezTo>
                  <a:pt x="4519129" y="860"/>
                  <a:pt x="4670619" y="3501"/>
                  <a:pt x="4826943" y="8179"/>
                </a:cubicBezTo>
                <a:cubicBezTo>
                  <a:pt x="6518565" y="61299"/>
                  <a:pt x="7731699" y="466942"/>
                  <a:pt x="8601677" y="983654"/>
                </a:cubicBezTo>
                <a:cubicBezTo>
                  <a:pt x="10124137" y="1886692"/>
                  <a:pt x="11008613" y="3596188"/>
                  <a:pt x="10849117" y="5358803"/>
                </a:cubicBezTo>
                <a:cubicBezTo>
                  <a:pt x="10757287" y="6421200"/>
                  <a:pt x="10249799" y="7473940"/>
                  <a:pt x="8886835" y="8695698"/>
                </a:cubicBezTo>
                <a:cubicBezTo>
                  <a:pt x="6711893" y="10641818"/>
                  <a:pt x="3705639" y="9811216"/>
                  <a:pt x="3860302" y="7256632"/>
                </a:cubicBezTo>
                <a:cubicBezTo>
                  <a:pt x="4010131" y="4706877"/>
                  <a:pt x="622054" y="5184956"/>
                  <a:pt x="129067" y="3224348"/>
                </a:cubicBezTo>
                <a:cubicBezTo>
                  <a:pt x="-217413" y="1839609"/>
                  <a:pt x="-178346" y="-20988"/>
                  <a:pt x="4372333" y="178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352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/>
          <p:bldP spid="18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1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1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6" grpId="0" animBg="1"/>
          <p:bldP spid="10" grpId="0" animBg="1"/>
        </p:bldLst>
      </p:timing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Рисунок 1">
            <a:extLst>
              <a:ext uri="{FF2B5EF4-FFF2-40B4-BE49-F238E27FC236}">
                <a16:creationId xmlns:a16="http://schemas.microsoft.com/office/drawing/2014/main" id="{DD42FCB5-3FC1-9341-A397-21DB20432EED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 flipH="1">
            <a:off x="9673306" y="1386186"/>
            <a:ext cx="14712281" cy="12331402"/>
          </a:xfrm>
          <a:custGeom>
            <a:avLst/>
            <a:gdLst>
              <a:gd name="T0" fmla="*/ 1926 w 2067"/>
              <a:gd name="T1" fmla="*/ 761 h 1564"/>
              <a:gd name="T2" fmla="*/ 1856 w 2067"/>
              <a:gd name="T3" fmla="*/ 787 h 1564"/>
              <a:gd name="T4" fmla="*/ 1762 w 2067"/>
              <a:gd name="T5" fmla="*/ 782 h 1564"/>
              <a:gd name="T6" fmla="*/ 1735 w 2067"/>
              <a:gd name="T7" fmla="*/ 464 h 1564"/>
              <a:gd name="T8" fmla="*/ 1708 w 2067"/>
              <a:gd name="T9" fmla="*/ 781 h 1564"/>
              <a:gd name="T10" fmla="*/ 1658 w 2067"/>
              <a:gd name="T11" fmla="*/ 576 h 1564"/>
              <a:gd name="T12" fmla="*/ 1596 w 2067"/>
              <a:gd name="T13" fmla="*/ 554 h 1564"/>
              <a:gd name="T14" fmla="*/ 1239 w 2067"/>
              <a:gd name="T15" fmla="*/ 664 h 1564"/>
              <a:gd name="T16" fmla="*/ 887 w 2067"/>
              <a:gd name="T17" fmla="*/ 930 h 1564"/>
              <a:gd name="T18" fmla="*/ 809 w 2067"/>
              <a:gd name="T19" fmla="*/ 815 h 1564"/>
              <a:gd name="T20" fmla="*/ 763 w 2067"/>
              <a:gd name="T21" fmla="*/ 1083 h 1564"/>
              <a:gd name="T22" fmla="*/ 395 w 2067"/>
              <a:gd name="T23" fmla="*/ 1212 h 1564"/>
              <a:gd name="T24" fmla="*/ 946 w 2067"/>
              <a:gd name="T25" fmla="*/ 589 h 1564"/>
              <a:gd name="T26" fmla="*/ 635 w 2067"/>
              <a:gd name="T27" fmla="*/ 443 h 1564"/>
              <a:gd name="T28" fmla="*/ 510 w 2067"/>
              <a:gd name="T29" fmla="*/ 90 h 1564"/>
              <a:gd name="T30" fmla="*/ 446 w 2067"/>
              <a:gd name="T31" fmla="*/ 67 h 1564"/>
              <a:gd name="T32" fmla="*/ 592 w 2067"/>
              <a:gd name="T33" fmla="*/ 144 h 1564"/>
              <a:gd name="T34" fmla="*/ 628 w 2067"/>
              <a:gd name="T35" fmla="*/ 121 h 1564"/>
              <a:gd name="T36" fmla="*/ 412 w 2067"/>
              <a:gd name="T37" fmla="*/ 81 h 1564"/>
              <a:gd name="T38" fmla="*/ 479 w 2067"/>
              <a:gd name="T39" fmla="*/ 77 h 1564"/>
              <a:gd name="T40" fmla="*/ 549 w 2067"/>
              <a:gd name="T41" fmla="*/ 23 h 1564"/>
              <a:gd name="T42" fmla="*/ 668 w 2067"/>
              <a:gd name="T43" fmla="*/ 83 h 1564"/>
              <a:gd name="T44" fmla="*/ 664 w 2067"/>
              <a:gd name="T45" fmla="*/ 210 h 1564"/>
              <a:gd name="T46" fmla="*/ 407 w 2067"/>
              <a:gd name="T47" fmla="*/ 545 h 1564"/>
              <a:gd name="T48" fmla="*/ 389 w 2067"/>
              <a:gd name="T49" fmla="*/ 511 h 1564"/>
              <a:gd name="T50" fmla="*/ 243 w 2067"/>
              <a:gd name="T51" fmla="*/ 843 h 1564"/>
              <a:gd name="T52" fmla="*/ 251 w 2067"/>
              <a:gd name="T53" fmla="*/ 875 h 1564"/>
              <a:gd name="T54" fmla="*/ 317 w 2067"/>
              <a:gd name="T55" fmla="*/ 473 h 1564"/>
              <a:gd name="T56" fmla="*/ 168 w 2067"/>
              <a:gd name="T57" fmla="*/ 895 h 1564"/>
              <a:gd name="T58" fmla="*/ 140 w 2067"/>
              <a:gd name="T59" fmla="*/ 841 h 1564"/>
              <a:gd name="T60" fmla="*/ 45 w 2067"/>
              <a:gd name="T61" fmla="*/ 1046 h 1564"/>
              <a:gd name="T62" fmla="*/ 401 w 2067"/>
              <a:gd name="T63" fmla="*/ 183 h 1564"/>
              <a:gd name="T64" fmla="*/ 1720 w 2067"/>
              <a:gd name="T65" fmla="*/ 389 h 1564"/>
              <a:gd name="T66" fmla="*/ 1279 w 2067"/>
              <a:gd name="T67" fmla="*/ 400 h 1564"/>
              <a:gd name="T68" fmla="*/ 746 w 2067"/>
              <a:gd name="T69" fmla="*/ 457 h 1564"/>
              <a:gd name="T70" fmla="*/ 463 w 2067"/>
              <a:gd name="T71" fmla="*/ 12 h 1564"/>
              <a:gd name="T72" fmla="*/ 391 w 2067"/>
              <a:gd name="T73" fmla="*/ 393 h 1564"/>
              <a:gd name="T74" fmla="*/ 383 w 2067"/>
              <a:gd name="T75" fmla="*/ 426 h 1564"/>
              <a:gd name="T76" fmla="*/ 33 w 2067"/>
              <a:gd name="T77" fmla="*/ 879 h 1564"/>
              <a:gd name="T78" fmla="*/ 279 w 2067"/>
              <a:gd name="T79" fmla="*/ 908 h 1564"/>
              <a:gd name="T80" fmla="*/ 409 w 2067"/>
              <a:gd name="T81" fmla="*/ 509 h 1564"/>
              <a:gd name="T82" fmla="*/ 491 w 2067"/>
              <a:gd name="T83" fmla="*/ 451 h 1564"/>
              <a:gd name="T84" fmla="*/ 601 w 2067"/>
              <a:gd name="T85" fmla="*/ 509 h 1564"/>
              <a:gd name="T86" fmla="*/ 721 w 2067"/>
              <a:gd name="T87" fmla="*/ 492 h 1564"/>
              <a:gd name="T88" fmla="*/ 952 w 2067"/>
              <a:gd name="T89" fmla="*/ 570 h 1564"/>
              <a:gd name="T90" fmla="*/ 1314 w 2067"/>
              <a:gd name="T91" fmla="*/ 501 h 1564"/>
              <a:gd name="T92" fmla="*/ 1394 w 2067"/>
              <a:gd name="T93" fmla="*/ 606 h 1564"/>
              <a:gd name="T94" fmla="*/ 995 w 2067"/>
              <a:gd name="T95" fmla="*/ 678 h 1564"/>
              <a:gd name="T96" fmla="*/ 671 w 2067"/>
              <a:gd name="T97" fmla="*/ 973 h 1564"/>
              <a:gd name="T98" fmla="*/ 492 w 2067"/>
              <a:gd name="T99" fmla="*/ 1136 h 1564"/>
              <a:gd name="T100" fmla="*/ 369 w 2067"/>
              <a:gd name="T101" fmla="*/ 1001 h 1564"/>
              <a:gd name="T102" fmla="*/ 284 w 2067"/>
              <a:gd name="T103" fmla="*/ 1445 h 1564"/>
              <a:gd name="T104" fmla="*/ 518 w 2067"/>
              <a:gd name="T105" fmla="*/ 1522 h 1564"/>
              <a:gd name="T106" fmla="*/ 376 w 2067"/>
              <a:gd name="T107" fmla="*/ 1365 h 1564"/>
              <a:gd name="T108" fmla="*/ 591 w 2067"/>
              <a:gd name="T109" fmla="*/ 1383 h 1564"/>
              <a:gd name="T110" fmla="*/ 870 w 2067"/>
              <a:gd name="T111" fmla="*/ 1368 h 1564"/>
              <a:gd name="T112" fmla="*/ 1318 w 2067"/>
              <a:gd name="T113" fmla="*/ 675 h 1564"/>
              <a:gd name="T114" fmla="*/ 1922 w 2067"/>
              <a:gd name="T115" fmla="*/ 786 h 1564"/>
              <a:gd name="T116" fmla="*/ 577 w 2067"/>
              <a:gd name="T117" fmla="*/ 170 h 1564"/>
              <a:gd name="T118" fmla="*/ 662 w 2067"/>
              <a:gd name="T119" fmla="*/ 833 h 1564"/>
              <a:gd name="T120" fmla="*/ 261 w 2067"/>
              <a:gd name="T121" fmla="*/ 1563 h 1564"/>
              <a:gd name="T122" fmla="*/ 862 w 2067"/>
              <a:gd name="T123" fmla="*/ 1438 h 1564"/>
              <a:gd name="T124" fmla="*/ 857 w 2067"/>
              <a:gd name="T125" fmla="*/ 1531 h 1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67" h="1564">
                <a:moveTo>
                  <a:pt x="408" y="378"/>
                </a:moveTo>
                <a:lnTo>
                  <a:pt x="407" y="379"/>
                </a:lnTo>
                <a:lnTo>
                  <a:pt x="407" y="379"/>
                </a:lnTo>
                <a:lnTo>
                  <a:pt x="407" y="379"/>
                </a:lnTo>
                <a:lnTo>
                  <a:pt x="407" y="380"/>
                </a:lnTo>
                <a:lnTo>
                  <a:pt x="408" y="380"/>
                </a:lnTo>
                <a:lnTo>
                  <a:pt x="409" y="380"/>
                </a:lnTo>
                <a:lnTo>
                  <a:pt x="409" y="380"/>
                </a:lnTo>
                <a:lnTo>
                  <a:pt x="408" y="379"/>
                </a:lnTo>
                <a:lnTo>
                  <a:pt x="408" y="378"/>
                </a:lnTo>
                <a:close/>
                <a:moveTo>
                  <a:pt x="2049" y="700"/>
                </a:moveTo>
                <a:lnTo>
                  <a:pt x="2049" y="703"/>
                </a:lnTo>
                <a:lnTo>
                  <a:pt x="2049" y="705"/>
                </a:lnTo>
                <a:lnTo>
                  <a:pt x="2043" y="711"/>
                </a:lnTo>
                <a:lnTo>
                  <a:pt x="2037" y="718"/>
                </a:lnTo>
                <a:lnTo>
                  <a:pt x="2029" y="722"/>
                </a:lnTo>
                <a:lnTo>
                  <a:pt x="2021" y="724"/>
                </a:lnTo>
                <a:lnTo>
                  <a:pt x="2021" y="721"/>
                </a:lnTo>
                <a:lnTo>
                  <a:pt x="2021" y="718"/>
                </a:lnTo>
                <a:lnTo>
                  <a:pt x="2023" y="710"/>
                </a:lnTo>
                <a:lnTo>
                  <a:pt x="2023" y="702"/>
                </a:lnTo>
                <a:lnTo>
                  <a:pt x="2023" y="694"/>
                </a:lnTo>
                <a:lnTo>
                  <a:pt x="2023" y="686"/>
                </a:lnTo>
                <a:lnTo>
                  <a:pt x="2022" y="684"/>
                </a:lnTo>
                <a:lnTo>
                  <a:pt x="2022" y="681"/>
                </a:lnTo>
                <a:lnTo>
                  <a:pt x="2023" y="678"/>
                </a:lnTo>
                <a:lnTo>
                  <a:pt x="2024" y="676"/>
                </a:lnTo>
                <a:lnTo>
                  <a:pt x="2026" y="675"/>
                </a:lnTo>
                <a:lnTo>
                  <a:pt x="2029" y="674"/>
                </a:lnTo>
                <a:lnTo>
                  <a:pt x="2032" y="674"/>
                </a:lnTo>
                <a:lnTo>
                  <a:pt x="2036" y="672"/>
                </a:lnTo>
                <a:lnTo>
                  <a:pt x="2038" y="670"/>
                </a:lnTo>
                <a:lnTo>
                  <a:pt x="2040" y="669"/>
                </a:lnTo>
                <a:lnTo>
                  <a:pt x="2041" y="669"/>
                </a:lnTo>
                <a:lnTo>
                  <a:pt x="2042" y="670"/>
                </a:lnTo>
                <a:lnTo>
                  <a:pt x="2044" y="672"/>
                </a:lnTo>
                <a:lnTo>
                  <a:pt x="2044" y="676"/>
                </a:lnTo>
                <a:lnTo>
                  <a:pt x="2046" y="686"/>
                </a:lnTo>
                <a:lnTo>
                  <a:pt x="2050" y="695"/>
                </a:lnTo>
                <a:lnTo>
                  <a:pt x="2051" y="694"/>
                </a:lnTo>
                <a:lnTo>
                  <a:pt x="2052" y="692"/>
                </a:lnTo>
                <a:lnTo>
                  <a:pt x="2051" y="694"/>
                </a:lnTo>
                <a:lnTo>
                  <a:pt x="2050" y="695"/>
                </a:lnTo>
                <a:lnTo>
                  <a:pt x="2049" y="698"/>
                </a:lnTo>
                <a:lnTo>
                  <a:pt x="2049" y="700"/>
                </a:lnTo>
                <a:lnTo>
                  <a:pt x="2051" y="701"/>
                </a:lnTo>
                <a:lnTo>
                  <a:pt x="2052" y="702"/>
                </a:lnTo>
                <a:lnTo>
                  <a:pt x="2051" y="701"/>
                </a:lnTo>
                <a:lnTo>
                  <a:pt x="2049" y="700"/>
                </a:lnTo>
                <a:close/>
                <a:moveTo>
                  <a:pt x="2020" y="676"/>
                </a:moveTo>
                <a:lnTo>
                  <a:pt x="2017" y="674"/>
                </a:lnTo>
                <a:lnTo>
                  <a:pt x="2017" y="672"/>
                </a:lnTo>
                <a:lnTo>
                  <a:pt x="2017" y="674"/>
                </a:lnTo>
                <a:lnTo>
                  <a:pt x="2020" y="676"/>
                </a:lnTo>
                <a:lnTo>
                  <a:pt x="2020" y="678"/>
                </a:lnTo>
                <a:lnTo>
                  <a:pt x="2021" y="680"/>
                </a:lnTo>
                <a:lnTo>
                  <a:pt x="2020" y="678"/>
                </a:lnTo>
                <a:lnTo>
                  <a:pt x="2020" y="676"/>
                </a:lnTo>
                <a:close/>
                <a:moveTo>
                  <a:pt x="2001" y="615"/>
                </a:moveTo>
                <a:lnTo>
                  <a:pt x="2001" y="619"/>
                </a:lnTo>
                <a:lnTo>
                  <a:pt x="2002" y="623"/>
                </a:lnTo>
                <a:lnTo>
                  <a:pt x="2001" y="619"/>
                </a:lnTo>
                <a:lnTo>
                  <a:pt x="2001" y="615"/>
                </a:lnTo>
                <a:lnTo>
                  <a:pt x="2013" y="616"/>
                </a:lnTo>
                <a:lnTo>
                  <a:pt x="2026" y="617"/>
                </a:lnTo>
                <a:lnTo>
                  <a:pt x="2013" y="616"/>
                </a:lnTo>
                <a:lnTo>
                  <a:pt x="2001" y="615"/>
                </a:lnTo>
                <a:close/>
                <a:moveTo>
                  <a:pt x="2011" y="647"/>
                </a:moveTo>
                <a:lnTo>
                  <a:pt x="2010" y="646"/>
                </a:lnTo>
                <a:lnTo>
                  <a:pt x="2009" y="646"/>
                </a:lnTo>
                <a:lnTo>
                  <a:pt x="2010" y="646"/>
                </a:lnTo>
                <a:lnTo>
                  <a:pt x="2011" y="647"/>
                </a:lnTo>
                <a:lnTo>
                  <a:pt x="2011" y="643"/>
                </a:lnTo>
                <a:lnTo>
                  <a:pt x="2011" y="639"/>
                </a:lnTo>
                <a:lnTo>
                  <a:pt x="2011" y="643"/>
                </a:lnTo>
                <a:lnTo>
                  <a:pt x="2011" y="647"/>
                </a:lnTo>
                <a:close/>
                <a:moveTo>
                  <a:pt x="1996" y="705"/>
                </a:moveTo>
                <a:lnTo>
                  <a:pt x="1996" y="704"/>
                </a:lnTo>
                <a:lnTo>
                  <a:pt x="1996" y="702"/>
                </a:lnTo>
                <a:lnTo>
                  <a:pt x="1998" y="701"/>
                </a:lnTo>
                <a:lnTo>
                  <a:pt x="1999" y="700"/>
                </a:lnTo>
                <a:lnTo>
                  <a:pt x="1998" y="701"/>
                </a:lnTo>
                <a:lnTo>
                  <a:pt x="1996" y="702"/>
                </a:lnTo>
                <a:lnTo>
                  <a:pt x="1996" y="704"/>
                </a:lnTo>
                <a:lnTo>
                  <a:pt x="1996" y="705"/>
                </a:lnTo>
                <a:lnTo>
                  <a:pt x="1999" y="711"/>
                </a:lnTo>
                <a:lnTo>
                  <a:pt x="2000" y="717"/>
                </a:lnTo>
                <a:lnTo>
                  <a:pt x="2001" y="723"/>
                </a:lnTo>
                <a:lnTo>
                  <a:pt x="2001" y="729"/>
                </a:lnTo>
                <a:lnTo>
                  <a:pt x="2001" y="723"/>
                </a:lnTo>
                <a:lnTo>
                  <a:pt x="2000" y="717"/>
                </a:lnTo>
                <a:lnTo>
                  <a:pt x="1999" y="711"/>
                </a:lnTo>
                <a:lnTo>
                  <a:pt x="1996" y="705"/>
                </a:lnTo>
                <a:close/>
                <a:moveTo>
                  <a:pt x="1996" y="754"/>
                </a:moveTo>
                <a:lnTo>
                  <a:pt x="1992" y="760"/>
                </a:lnTo>
                <a:lnTo>
                  <a:pt x="1989" y="763"/>
                </a:lnTo>
                <a:lnTo>
                  <a:pt x="1985" y="765"/>
                </a:lnTo>
                <a:lnTo>
                  <a:pt x="1981" y="766"/>
                </a:lnTo>
                <a:lnTo>
                  <a:pt x="1977" y="766"/>
                </a:lnTo>
                <a:lnTo>
                  <a:pt x="1974" y="765"/>
                </a:lnTo>
                <a:lnTo>
                  <a:pt x="1968" y="763"/>
                </a:lnTo>
                <a:lnTo>
                  <a:pt x="1963" y="761"/>
                </a:lnTo>
                <a:lnTo>
                  <a:pt x="1959" y="759"/>
                </a:lnTo>
                <a:lnTo>
                  <a:pt x="1955" y="759"/>
                </a:lnTo>
                <a:lnTo>
                  <a:pt x="1951" y="759"/>
                </a:lnTo>
                <a:lnTo>
                  <a:pt x="1947" y="761"/>
                </a:lnTo>
                <a:lnTo>
                  <a:pt x="1943" y="763"/>
                </a:lnTo>
                <a:lnTo>
                  <a:pt x="1937" y="765"/>
                </a:lnTo>
                <a:lnTo>
                  <a:pt x="1932" y="765"/>
                </a:lnTo>
                <a:lnTo>
                  <a:pt x="1926" y="764"/>
                </a:lnTo>
                <a:lnTo>
                  <a:pt x="1926" y="768"/>
                </a:lnTo>
                <a:lnTo>
                  <a:pt x="1926" y="772"/>
                </a:lnTo>
                <a:lnTo>
                  <a:pt x="1925" y="778"/>
                </a:lnTo>
                <a:lnTo>
                  <a:pt x="1926" y="781"/>
                </a:lnTo>
                <a:lnTo>
                  <a:pt x="1925" y="778"/>
                </a:lnTo>
                <a:lnTo>
                  <a:pt x="1926" y="772"/>
                </a:lnTo>
                <a:lnTo>
                  <a:pt x="1926" y="768"/>
                </a:lnTo>
                <a:lnTo>
                  <a:pt x="1926" y="764"/>
                </a:lnTo>
                <a:lnTo>
                  <a:pt x="1926" y="763"/>
                </a:lnTo>
                <a:lnTo>
                  <a:pt x="1926" y="763"/>
                </a:lnTo>
                <a:lnTo>
                  <a:pt x="1925" y="762"/>
                </a:lnTo>
                <a:lnTo>
                  <a:pt x="1925" y="761"/>
                </a:lnTo>
                <a:lnTo>
                  <a:pt x="1925" y="762"/>
                </a:lnTo>
                <a:lnTo>
                  <a:pt x="1926" y="763"/>
                </a:lnTo>
                <a:lnTo>
                  <a:pt x="1926" y="761"/>
                </a:lnTo>
                <a:lnTo>
                  <a:pt x="1925" y="761"/>
                </a:lnTo>
                <a:lnTo>
                  <a:pt x="1923" y="756"/>
                </a:lnTo>
                <a:lnTo>
                  <a:pt x="1922" y="752"/>
                </a:lnTo>
                <a:lnTo>
                  <a:pt x="1919" y="749"/>
                </a:lnTo>
                <a:lnTo>
                  <a:pt x="1916" y="746"/>
                </a:lnTo>
                <a:lnTo>
                  <a:pt x="1919" y="749"/>
                </a:lnTo>
                <a:lnTo>
                  <a:pt x="1922" y="752"/>
                </a:lnTo>
                <a:lnTo>
                  <a:pt x="1922" y="744"/>
                </a:lnTo>
                <a:lnTo>
                  <a:pt x="1921" y="734"/>
                </a:lnTo>
                <a:lnTo>
                  <a:pt x="1922" y="718"/>
                </a:lnTo>
                <a:lnTo>
                  <a:pt x="1920" y="703"/>
                </a:lnTo>
                <a:lnTo>
                  <a:pt x="1920" y="701"/>
                </a:lnTo>
                <a:lnTo>
                  <a:pt x="1920" y="699"/>
                </a:lnTo>
                <a:lnTo>
                  <a:pt x="1924" y="696"/>
                </a:lnTo>
                <a:lnTo>
                  <a:pt x="1926" y="694"/>
                </a:lnTo>
                <a:lnTo>
                  <a:pt x="1928" y="691"/>
                </a:lnTo>
                <a:lnTo>
                  <a:pt x="1928" y="688"/>
                </a:lnTo>
                <a:lnTo>
                  <a:pt x="1926" y="680"/>
                </a:lnTo>
                <a:lnTo>
                  <a:pt x="1926" y="674"/>
                </a:lnTo>
                <a:lnTo>
                  <a:pt x="1931" y="661"/>
                </a:lnTo>
                <a:lnTo>
                  <a:pt x="1936" y="649"/>
                </a:lnTo>
                <a:lnTo>
                  <a:pt x="1945" y="639"/>
                </a:lnTo>
                <a:lnTo>
                  <a:pt x="1955" y="630"/>
                </a:lnTo>
                <a:lnTo>
                  <a:pt x="1956" y="628"/>
                </a:lnTo>
                <a:lnTo>
                  <a:pt x="1959" y="629"/>
                </a:lnTo>
                <a:lnTo>
                  <a:pt x="1960" y="630"/>
                </a:lnTo>
                <a:lnTo>
                  <a:pt x="1960" y="632"/>
                </a:lnTo>
                <a:lnTo>
                  <a:pt x="1959" y="638"/>
                </a:lnTo>
                <a:lnTo>
                  <a:pt x="1955" y="642"/>
                </a:lnTo>
                <a:lnTo>
                  <a:pt x="1950" y="652"/>
                </a:lnTo>
                <a:lnTo>
                  <a:pt x="1945" y="661"/>
                </a:lnTo>
                <a:lnTo>
                  <a:pt x="1944" y="667"/>
                </a:lnTo>
                <a:lnTo>
                  <a:pt x="1943" y="672"/>
                </a:lnTo>
                <a:lnTo>
                  <a:pt x="1943" y="677"/>
                </a:lnTo>
                <a:lnTo>
                  <a:pt x="1944" y="684"/>
                </a:lnTo>
                <a:lnTo>
                  <a:pt x="1944" y="687"/>
                </a:lnTo>
                <a:lnTo>
                  <a:pt x="1943" y="690"/>
                </a:lnTo>
                <a:lnTo>
                  <a:pt x="1941" y="692"/>
                </a:lnTo>
                <a:lnTo>
                  <a:pt x="1940" y="694"/>
                </a:lnTo>
                <a:lnTo>
                  <a:pt x="1941" y="696"/>
                </a:lnTo>
                <a:lnTo>
                  <a:pt x="1943" y="699"/>
                </a:lnTo>
                <a:lnTo>
                  <a:pt x="1945" y="700"/>
                </a:lnTo>
                <a:lnTo>
                  <a:pt x="1947" y="701"/>
                </a:lnTo>
                <a:lnTo>
                  <a:pt x="1949" y="700"/>
                </a:lnTo>
                <a:lnTo>
                  <a:pt x="1951" y="699"/>
                </a:lnTo>
                <a:lnTo>
                  <a:pt x="1956" y="695"/>
                </a:lnTo>
                <a:lnTo>
                  <a:pt x="1961" y="691"/>
                </a:lnTo>
                <a:lnTo>
                  <a:pt x="1965" y="687"/>
                </a:lnTo>
                <a:lnTo>
                  <a:pt x="1968" y="681"/>
                </a:lnTo>
                <a:lnTo>
                  <a:pt x="1979" y="669"/>
                </a:lnTo>
                <a:lnTo>
                  <a:pt x="1990" y="655"/>
                </a:lnTo>
                <a:lnTo>
                  <a:pt x="1990" y="654"/>
                </a:lnTo>
                <a:lnTo>
                  <a:pt x="1990" y="654"/>
                </a:lnTo>
                <a:lnTo>
                  <a:pt x="1992" y="653"/>
                </a:lnTo>
                <a:lnTo>
                  <a:pt x="1994" y="653"/>
                </a:lnTo>
                <a:lnTo>
                  <a:pt x="1992" y="653"/>
                </a:lnTo>
                <a:lnTo>
                  <a:pt x="1990" y="654"/>
                </a:lnTo>
                <a:lnTo>
                  <a:pt x="1992" y="659"/>
                </a:lnTo>
                <a:lnTo>
                  <a:pt x="1993" y="663"/>
                </a:lnTo>
                <a:lnTo>
                  <a:pt x="1992" y="669"/>
                </a:lnTo>
                <a:lnTo>
                  <a:pt x="1992" y="674"/>
                </a:lnTo>
                <a:lnTo>
                  <a:pt x="1990" y="689"/>
                </a:lnTo>
                <a:lnTo>
                  <a:pt x="1987" y="703"/>
                </a:lnTo>
                <a:lnTo>
                  <a:pt x="1989" y="716"/>
                </a:lnTo>
                <a:lnTo>
                  <a:pt x="1991" y="729"/>
                </a:lnTo>
                <a:lnTo>
                  <a:pt x="1993" y="741"/>
                </a:lnTo>
                <a:lnTo>
                  <a:pt x="1996" y="753"/>
                </a:lnTo>
                <a:lnTo>
                  <a:pt x="1996" y="754"/>
                </a:lnTo>
                <a:lnTo>
                  <a:pt x="1996" y="754"/>
                </a:lnTo>
                <a:close/>
                <a:moveTo>
                  <a:pt x="1989" y="769"/>
                </a:moveTo>
                <a:lnTo>
                  <a:pt x="1984" y="770"/>
                </a:lnTo>
                <a:lnTo>
                  <a:pt x="1980" y="772"/>
                </a:lnTo>
                <a:lnTo>
                  <a:pt x="1984" y="770"/>
                </a:lnTo>
                <a:lnTo>
                  <a:pt x="1989" y="769"/>
                </a:lnTo>
                <a:lnTo>
                  <a:pt x="1989" y="769"/>
                </a:lnTo>
                <a:close/>
                <a:moveTo>
                  <a:pt x="1978" y="776"/>
                </a:moveTo>
                <a:lnTo>
                  <a:pt x="1978" y="775"/>
                </a:lnTo>
                <a:lnTo>
                  <a:pt x="1979" y="775"/>
                </a:lnTo>
                <a:lnTo>
                  <a:pt x="1978" y="775"/>
                </a:lnTo>
                <a:lnTo>
                  <a:pt x="1978" y="776"/>
                </a:lnTo>
                <a:close/>
                <a:moveTo>
                  <a:pt x="1901" y="466"/>
                </a:moveTo>
                <a:lnTo>
                  <a:pt x="1900" y="465"/>
                </a:lnTo>
                <a:lnTo>
                  <a:pt x="1900" y="464"/>
                </a:lnTo>
                <a:lnTo>
                  <a:pt x="1900" y="465"/>
                </a:lnTo>
                <a:lnTo>
                  <a:pt x="1901" y="466"/>
                </a:lnTo>
                <a:lnTo>
                  <a:pt x="1914" y="468"/>
                </a:lnTo>
                <a:lnTo>
                  <a:pt x="1925" y="471"/>
                </a:lnTo>
                <a:lnTo>
                  <a:pt x="1914" y="468"/>
                </a:lnTo>
                <a:lnTo>
                  <a:pt x="1901" y="466"/>
                </a:lnTo>
                <a:close/>
                <a:moveTo>
                  <a:pt x="1910" y="674"/>
                </a:moveTo>
                <a:lnTo>
                  <a:pt x="1908" y="676"/>
                </a:lnTo>
                <a:lnTo>
                  <a:pt x="1907" y="678"/>
                </a:lnTo>
                <a:lnTo>
                  <a:pt x="1908" y="676"/>
                </a:lnTo>
                <a:lnTo>
                  <a:pt x="1910" y="674"/>
                </a:lnTo>
                <a:lnTo>
                  <a:pt x="1913" y="676"/>
                </a:lnTo>
                <a:lnTo>
                  <a:pt x="1915" y="679"/>
                </a:lnTo>
                <a:lnTo>
                  <a:pt x="1913" y="676"/>
                </a:lnTo>
                <a:lnTo>
                  <a:pt x="1910" y="674"/>
                </a:lnTo>
                <a:close/>
                <a:moveTo>
                  <a:pt x="1898" y="591"/>
                </a:moveTo>
                <a:lnTo>
                  <a:pt x="1900" y="589"/>
                </a:lnTo>
                <a:lnTo>
                  <a:pt x="1903" y="588"/>
                </a:lnTo>
                <a:lnTo>
                  <a:pt x="1905" y="588"/>
                </a:lnTo>
                <a:lnTo>
                  <a:pt x="1908" y="588"/>
                </a:lnTo>
                <a:lnTo>
                  <a:pt x="1905" y="588"/>
                </a:lnTo>
                <a:lnTo>
                  <a:pt x="1903" y="588"/>
                </a:lnTo>
                <a:lnTo>
                  <a:pt x="1900" y="589"/>
                </a:lnTo>
                <a:lnTo>
                  <a:pt x="1898" y="591"/>
                </a:lnTo>
                <a:close/>
                <a:moveTo>
                  <a:pt x="1895" y="715"/>
                </a:moveTo>
                <a:lnTo>
                  <a:pt x="1894" y="723"/>
                </a:lnTo>
                <a:lnTo>
                  <a:pt x="1893" y="732"/>
                </a:lnTo>
                <a:lnTo>
                  <a:pt x="1891" y="746"/>
                </a:lnTo>
                <a:lnTo>
                  <a:pt x="1890" y="760"/>
                </a:lnTo>
                <a:lnTo>
                  <a:pt x="1891" y="774"/>
                </a:lnTo>
                <a:lnTo>
                  <a:pt x="1894" y="787"/>
                </a:lnTo>
                <a:lnTo>
                  <a:pt x="1894" y="793"/>
                </a:lnTo>
                <a:lnTo>
                  <a:pt x="1893" y="797"/>
                </a:lnTo>
                <a:lnTo>
                  <a:pt x="1890" y="802"/>
                </a:lnTo>
                <a:lnTo>
                  <a:pt x="1886" y="806"/>
                </a:lnTo>
                <a:lnTo>
                  <a:pt x="1881" y="808"/>
                </a:lnTo>
                <a:lnTo>
                  <a:pt x="1878" y="808"/>
                </a:lnTo>
                <a:lnTo>
                  <a:pt x="1874" y="806"/>
                </a:lnTo>
                <a:lnTo>
                  <a:pt x="1872" y="802"/>
                </a:lnTo>
                <a:lnTo>
                  <a:pt x="1864" y="796"/>
                </a:lnTo>
                <a:lnTo>
                  <a:pt x="1858" y="788"/>
                </a:lnTo>
                <a:lnTo>
                  <a:pt x="1856" y="787"/>
                </a:lnTo>
                <a:lnTo>
                  <a:pt x="1853" y="786"/>
                </a:lnTo>
                <a:lnTo>
                  <a:pt x="1850" y="786"/>
                </a:lnTo>
                <a:lnTo>
                  <a:pt x="1847" y="787"/>
                </a:lnTo>
                <a:lnTo>
                  <a:pt x="1843" y="790"/>
                </a:lnTo>
                <a:lnTo>
                  <a:pt x="1840" y="790"/>
                </a:lnTo>
                <a:lnTo>
                  <a:pt x="1838" y="791"/>
                </a:lnTo>
                <a:lnTo>
                  <a:pt x="1837" y="790"/>
                </a:lnTo>
                <a:lnTo>
                  <a:pt x="1835" y="785"/>
                </a:lnTo>
                <a:lnTo>
                  <a:pt x="1835" y="776"/>
                </a:lnTo>
                <a:lnTo>
                  <a:pt x="1837" y="766"/>
                </a:lnTo>
                <a:lnTo>
                  <a:pt x="1837" y="755"/>
                </a:lnTo>
                <a:lnTo>
                  <a:pt x="1835" y="744"/>
                </a:lnTo>
                <a:lnTo>
                  <a:pt x="1832" y="733"/>
                </a:lnTo>
                <a:lnTo>
                  <a:pt x="1832" y="731"/>
                </a:lnTo>
                <a:lnTo>
                  <a:pt x="1832" y="730"/>
                </a:lnTo>
                <a:lnTo>
                  <a:pt x="1833" y="729"/>
                </a:lnTo>
                <a:lnTo>
                  <a:pt x="1834" y="729"/>
                </a:lnTo>
                <a:lnTo>
                  <a:pt x="1837" y="729"/>
                </a:lnTo>
                <a:lnTo>
                  <a:pt x="1839" y="728"/>
                </a:lnTo>
                <a:lnTo>
                  <a:pt x="1840" y="726"/>
                </a:lnTo>
                <a:lnTo>
                  <a:pt x="1841" y="725"/>
                </a:lnTo>
                <a:lnTo>
                  <a:pt x="1841" y="723"/>
                </a:lnTo>
                <a:lnTo>
                  <a:pt x="1840" y="720"/>
                </a:lnTo>
                <a:lnTo>
                  <a:pt x="1840" y="710"/>
                </a:lnTo>
                <a:lnTo>
                  <a:pt x="1842" y="702"/>
                </a:lnTo>
                <a:lnTo>
                  <a:pt x="1839" y="688"/>
                </a:lnTo>
                <a:lnTo>
                  <a:pt x="1833" y="674"/>
                </a:lnTo>
                <a:lnTo>
                  <a:pt x="1831" y="667"/>
                </a:lnTo>
                <a:lnTo>
                  <a:pt x="1829" y="659"/>
                </a:lnTo>
                <a:lnTo>
                  <a:pt x="1828" y="652"/>
                </a:lnTo>
                <a:lnTo>
                  <a:pt x="1830" y="643"/>
                </a:lnTo>
                <a:lnTo>
                  <a:pt x="1830" y="642"/>
                </a:lnTo>
                <a:lnTo>
                  <a:pt x="1831" y="640"/>
                </a:lnTo>
                <a:lnTo>
                  <a:pt x="1832" y="639"/>
                </a:lnTo>
                <a:lnTo>
                  <a:pt x="1834" y="639"/>
                </a:lnTo>
                <a:lnTo>
                  <a:pt x="1835" y="640"/>
                </a:lnTo>
                <a:lnTo>
                  <a:pt x="1837" y="641"/>
                </a:lnTo>
                <a:lnTo>
                  <a:pt x="1837" y="643"/>
                </a:lnTo>
                <a:lnTo>
                  <a:pt x="1837" y="644"/>
                </a:lnTo>
                <a:lnTo>
                  <a:pt x="1837" y="646"/>
                </a:lnTo>
                <a:lnTo>
                  <a:pt x="1837" y="647"/>
                </a:lnTo>
                <a:lnTo>
                  <a:pt x="1837" y="653"/>
                </a:lnTo>
                <a:lnTo>
                  <a:pt x="1838" y="658"/>
                </a:lnTo>
                <a:lnTo>
                  <a:pt x="1842" y="662"/>
                </a:lnTo>
                <a:lnTo>
                  <a:pt x="1847" y="664"/>
                </a:lnTo>
                <a:lnTo>
                  <a:pt x="1850" y="667"/>
                </a:lnTo>
                <a:lnTo>
                  <a:pt x="1852" y="668"/>
                </a:lnTo>
                <a:lnTo>
                  <a:pt x="1852" y="671"/>
                </a:lnTo>
                <a:lnTo>
                  <a:pt x="1849" y="674"/>
                </a:lnTo>
                <a:lnTo>
                  <a:pt x="1847" y="680"/>
                </a:lnTo>
                <a:lnTo>
                  <a:pt x="1846" y="687"/>
                </a:lnTo>
                <a:lnTo>
                  <a:pt x="1846" y="690"/>
                </a:lnTo>
                <a:lnTo>
                  <a:pt x="1846" y="692"/>
                </a:lnTo>
                <a:lnTo>
                  <a:pt x="1847" y="695"/>
                </a:lnTo>
                <a:lnTo>
                  <a:pt x="1849" y="699"/>
                </a:lnTo>
                <a:lnTo>
                  <a:pt x="1850" y="703"/>
                </a:lnTo>
                <a:lnTo>
                  <a:pt x="1850" y="706"/>
                </a:lnTo>
                <a:lnTo>
                  <a:pt x="1848" y="714"/>
                </a:lnTo>
                <a:lnTo>
                  <a:pt x="1847" y="721"/>
                </a:lnTo>
                <a:lnTo>
                  <a:pt x="1848" y="724"/>
                </a:lnTo>
                <a:lnTo>
                  <a:pt x="1849" y="728"/>
                </a:lnTo>
                <a:lnTo>
                  <a:pt x="1850" y="729"/>
                </a:lnTo>
                <a:lnTo>
                  <a:pt x="1852" y="730"/>
                </a:lnTo>
                <a:lnTo>
                  <a:pt x="1856" y="731"/>
                </a:lnTo>
                <a:lnTo>
                  <a:pt x="1861" y="729"/>
                </a:lnTo>
                <a:lnTo>
                  <a:pt x="1871" y="722"/>
                </a:lnTo>
                <a:lnTo>
                  <a:pt x="1879" y="715"/>
                </a:lnTo>
                <a:lnTo>
                  <a:pt x="1885" y="711"/>
                </a:lnTo>
                <a:lnTo>
                  <a:pt x="1890" y="710"/>
                </a:lnTo>
                <a:lnTo>
                  <a:pt x="1892" y="711"/>
                </a:lnTo>
                <a:lnTo>
                  <a:pt x="1893" y="711"/>
                </a:lnTo>
                <a:lnTo>
                  <a:pt x="1894" y="713"/>
                </a:lnTo>
                <a:lnTo>
                  <a:pt x="1895" y="715"/>
                </a:lnTo>
                <a:close/>
                <a:moveTo>
                  <a:pt x="1886" y="816"/>
                </a:moveTo>
                <a:lnTo>
                  <a:pt x="1886" y="816"/>
                </a:lnTo>
                <a:lnTo>
                  <a:pt x="1886" y="816"/>
                </a:lnTo>
                <a:lnTo>
                  <a:pt x="1887" y="815"/>
                </a:lnTo>
                <a:lnTo>
                  <a:pt x="1888" y="814"/>
                </a:lnTo>
                <a:lnTo>
                  <a:pt x="1887" y="815"/>
                </a:lnTo>
                <a:lnTo>
                  <a:pt x="1886" y="816"/>
                </a:lnTo>
                <a:close/>
                <a:moveTo>
                  <a:pt x="1883" y="816"/>
                </a:moveTo>
                <a:lnTo>
                  <a:pt x="1883" y="816"/>
                </a:lnTo>
                <a:lnTo>
                  <a:pt x="1884" y="816"/>
                </a:lnTo>
                <a:lnTo>
                  <a:pt x="1883" y="816"/>
                </a:lnTo>
                <a:lnTo>
                  <a:pt x="1883" y="816"/>
                </a:lnTo>
                <a:close/>
                <a:moveTo>
                  <a:pt x="1777" y="447"/>
                </a:moveTo>
                <a:lnTo>
                  <a:pt x="1790" y="446"/>
                </a:lnTo>
                <a:lnTo>
                  <a:pt x="1803" y="445"/>
                </a:lnTo>
                <a:lnTo>
                  <a:pt x="1817" y="445"/>
                </a:lnTo>
                <a:lnTo>
                  <a:pt x="1831" y="445"/>
                </a:lnTo>
                <a:lnTo>
                  <a:pt x="1817" y="445"/>
                </a:lnTo>
                <a:lnTo>
                  <a:pt x="1803" y="445"/>
                </a:lnTo>
                <a:lnTo>
                  <a:pt x="1790" y="446"/>
                </a:lnTo>
                <a:lnTo>
                  <a:pt x="1777" y="447"/>
                </a:lnTo>
                <a:close/>
                <a:moveTo>
                  <a:pt x="1792" y="457"/>
                </a:moveTo>
                <a:lnTo>
                  <a:pt x="1803" y="455"/>
                </a:lnTo>
                <a:lnTo>
                  <a:pt x="1816" y="453"/>
                </a:lnTo>
                <a:lnTo>
                  <a:pt x="1816" y="453"/>
                </a:lnTo>
                <a:lnTo>
                  <a:pt x="1803" y="455"/>
                </a:lnTo>
                <a:lnTo>
                  <a:pt x="1792" y="457"/>
                </a:lnTo>
                <a:close/>
                <a:moveTo>
                  <a:pt x="1812" y="714"/>
                </a:moveTo>
                <a:lnTo>
                  <a:pt x="1809" y="716"/>
                </a:lnTo>
                <a:lnTo>
                  <a:pt x="1807" y="718"/>
                </a:lnTo>
                <a:lnTo>
                  <a:pt x="1805" y="720"/>
                </a:lnTo>
                <a:lnTo>
                  <a:pt x="1805" y="722"/>
                </a:lnTo>
                <a:lnTo>
                  <a:pt x="1804" y="728"/>
                </a:lnTo>
                <a:lnTo>
                  <a:pt x="1805" y="732"/>
                </a:lnTo>
                <a:lnTo>
                  <a:pt x="1805" y="745"/>
                </a:lnTo>
                <a:lnTo>
                  <a:pt x="1805" y="757"/>
                </a:lnTo>
                <a:lnTo>
                  <a:pt x="1805" y="771"/>
                </a:lnTo>
                <a:lnTo>
                  <a:pt x="1807" y="784"/>
                </a:lnTo>
                <a:lnTo>
                  <a:pt x="1807" y="788"/>
                </a:lnTo>
                <a:lnTo>
                  <a:pt x="1807" y="793"/>
                </a:lnTo>
                <a:lnTo>
                  <a:pt x="1805" y="796"/>
                </a:lnTo>
                <a:lnTo>
                  <a:pt x="1803" y="799"/>
                </a:lnTo>
                <a:lnTo>
                  <a:pt x="1801" y="802"/>
                </a:lnTo>
                <a:lnTo>
                  <a:pt x="1798" y="805"/>
                </a:lnTo>
                <a:lnTo>
                  <a:pt x="1794" y="807"/>
                </a:lnTo>
                <a:lnTo>
                  <a:pt x="1790" y="809"/>
                </a:lnTo>
                <a:lnTo>
                  <a:pt x="1785" y="808"/>
                </a:lnTo>
                <a:lnTo>
                  <a:pt x="1779" y="805"/>
                </a:lnTo>
                <a:lnTo>
                  <a:pt x="1772" y="800"/>
                </a:lnTo>
                <a:lnTo>
                  <a:pt x="1768" y="795"/>
                </a:lnTo>
                <a:lnTo>
                  <a:pt x="1765" y="788"/>
                </a:lnTo>
                <a:lnTo>
                  <a:pt x="1762" y="782"/>
                </a:lnTo>
                <a:lnTo>
                  <a:pt x="1757" y="778"/>
                </a:lnTo>
                <a:lnTo>
                  <a:pt x="1752" y="772"/>
                </a:lnTo>
                <a:lnTo>
                  <a:pt x="1750" y="771"/>
                </a:lnTo>
                <a:lnTo>
                  <a:pt x="1749" y="769"/>
                </a:lnTo>
                <a:lnTo>
                  <a:pt x="1749" y="767"/>
                </a:lnTo>
                <a:lnTo>
                  <a:pt x="1750" y="765"/>
                </a:lnTo>
                <a:lnTo>
                  <a:pt x="1752" y="762"/>
                </a:lnTo>
                <a:lnTo>
                  <a:pt x="1752" y="757"/>
                </a:lnTo>
                <a:lnTo>
                  <a:pt x="1751" y="752"/>
                </a:lnTo>
                <a:lnTo>
                  <a:pt x="1750" y="747"/>
                </a:lnTo>
                <a:lnTo>
                  <a:pt x="1750" y="740"/>
                </a:lnTo>
                <a:lnTo>
                  <a:pt x="1752" y="735"/>
                </a:lnTo>
                <a:lnTo>
                  <a:pt x="1752" y="734"/>
                </a:lnTo>
                <a:lnTo>
                  <a:pt x="1752" y="733"/>
                </a:lnTo>
                <a:lnTo>
                  <a:pt x="1749" y="730"/>
                </a:lnTo>
                <a:lnTo>
                  <a:pt x="1748" y="726"/>
                </a:lnTo>
                <a:lnTo>
                  <a:pt x="1748" y="723"/>
                </a:lnTo>
                <a:lnTo>
                  <a:pt x="1749" y="721"/>
                </a:lnTo>
                <a:lnTo>
                  <a:pt x="1753" y="716"/>
                </a:lnTo>
                <a:lnTo>
                  <a:pt x="1757" y="711"/>
                </a:lnTo>
                <a:lnTo>
                  <a:pt x="1763" y="705"/>
                </a:lnTo>
                <a:lnTo>
                  <a:pt x="1768" y="699"/>
                </a:lnTo>
                <a:lnTo>
                  <a:pt x="1766" y="699"/>
                </a:lnTo>
                <a:lnTo>
                  <a:pt x="1763" y="699"/>
                </a:lnTo>
                <a:lnTo>
                  <a:pt x="1766" y="699"/>
                </a:lnTo>
                <a:lnTo>
                  <a:pt x="1768" y="699"/>
                </a:lnTo>
                <a:lnTo>
                  <a:pt x="1771" y="696"/>
                </a:lnTo>
                <a:lnTo>
                  <a:pt x="1773" y="693"/>
                </a:lnTo>
                <a:lnTo>
                  <a:pt x="1774" y="690"/>
                </a:lnTo>
                <a:lnTo>
                  <a:pt x="1775" y="686"/>
                </a:lnTo>
                <a:lnTo>
                  <a:pt x="1777" y="684"/>
                </a:lnTo>
                <a:lnTo>
                  <a:pt x="1777" y="680"/>
                </a:lnTo>
                <a:lnTo>
                  <a:pt x="1777" y="680"/>
                </a:lnTo>
                <a:lnTo>
                  <a:pt x="1777" y="680"/>
                </a:lnTo>
                <a:lnTo>
                  <a:pt x="1773" y="677"/>
                </a:lnTo>
                <a:lnTo>
                  <a:pt x="1771" y="676"/>
                </a:lnTo>
                <a:lnTo>
                  <a:pt x="1773" y="677"/>
                </a:lnTo>
                <a:lnTo>
                  <a:pt x="1777" y="680"/>
                </a:lnTo>
                <a:lnTo>
                  <a:pt x="1784" y="686"/>
                </a:lnTo>
                <a:lnTo>
                  <a:pt x="1792" y="693"/>
                </a:lnTo>
                <a:lnTo>
                  <a:pt x="1799" y="701"/>
                </a:lnTo>
                <a:lnTo>
                  <a:pt x="1807" y="708"/>
                </a:lnTo>
                <a:lnTo>
                  <a:pt x="1809" y="710"/>
                </a:lnTo>
                <a:lnTo>
                  <a:pt x="1811" y="710"/>
                </a:lnTo>
                <a:lnTo>
                  <a:pt x="1811" y="710"/>
                </a:lnTo>
                <a:lnTo>
                  <a:pt x="1812" y="710"/>
                </a:lnTo>
                <a:lnTo>
                  <a:pt x="1812" y="713"/>
                </a:lnTo>
                <a:lnTo>
                  <a:pt x="1812" y="714"/>
                </a:lnTo>
                <a:close/>
                <a:moveTo>
                  <a:pt x="1804" y="809"/>
                </a:moveTo>
                <a:lnTo>
                  <a:pt x="1801" y="812"/>
                </a:lnTo>
                <a:lnTo>
                  <a:pt x="1798" y="813"/>
                </a:lnTo>
                <a:lnTo>
                  <a:pt x="1801" y="812"/>
                </a:lnTo>
                <a:lnTo>
                  <a:pt x="1804" y="809"/>
                </a:lnTo>
                <a:lnTo>
                  <a:pt x="1805" y="806"/>
                </a:lnTo>
                <a:lnTo>
                  <a:pt x="1807" y="803"/>
                </a:lnTo>
                <a:lnTo>
                  <a:pt x="1805" y="806"/>
                </a:lnTo>
                <a:lnTo>
                  <a:pt x="1804" y="809"/>
                </a:lnTo>
                <a:close/>
                <a:moveTo>
                  <a:pt x="1781" y="835"/>
                </a:moveTo>
                <a:lnTo>
                  <a:pt x="1780" y="837"/>
                </a:lnTo>
                <a:lnTo>
                  <a:pt x="1779" y="838"/>
                </a:lnTo>
                <a:lnTo>
                  <a:pt x="1777" y="839"/>
                </a:lnTo>
                <a:lnTo>
                  <a:pt x="1775" y="839"/>
                </a:lnTo>
                <a:lnTo>
                  <a:pt x="1777" y="839"/>
                </a:lnTo>
                <a:lnTo>
                  <a:pt x="1779" y="838"/>
                </a:lnTo>
                <a:lnTo>
                  <a:pt x="1780" y="837"/>
                </a:lnTo>
                <a:lnTo>
                  <a:pt x="1781" y="835"/>
                </a:lnTo>
                <a:lnTo>
                  <a:pt x="1781" y="830"/>
                </a:lnTo>
                <a:lnTo>
                  <a:pt x="1781" y="827"/>
                </a:lnTo>
                <a:lnTo>
                  <a:pt x="1781" y="830"/>
                </a:lnTo>
                <a:lnTo>
                  <a:pt x="1781" y="835"/>
                </a:lnTo>
                <a:close/>
                <a:moveTo>
                  <a:pt x="1766" y="817"/>
                </a:moveTo>
                <a:lnTo>
                  <a:pt x="1753" y="814"/>
                </a:lnTo>
                <a:lnTo>
                  <a:pt x="1741" y="811"/>
                </a:lnTo>
                <a:lnTo>
                  <a:pt x="1753" y="814"/>
                </a:lnTo>
                <a:lnTo>
                  <a:pt x="1766" y="817"/>
                </a:lnTo>
                <a:lnTo>
                  <a:pt x="1769" y="820"/>
                </a:lnTo>
                <a:lnTo>
                  <a:pt x="1772" y="822"/>
                </a:lnTo>
                <a:lnTo>
                  <a:pt x="1769" y="820"/>
                </a:lnTo>
                <a:lnTo>
                  <a:pt x="1766" y="817"/>
                </a:lnTo>
                <a:close/>
                <a:moveTo>
                  <a:pt x="1738" y="733"/>
                </a:moveTo>
                <a:lnTo>
                  <a:pt x="1738" y="730"/>
                </a:lnTo>
                <a:lnTo>
                  <a:pt x="1738" y="726"/>
                </a:lnTo>
                <a:lnTo>
                  <a:pt x="1735" y="728"/>
                </a:lnTo>
                <a:lnTo>
                  <a:pt x="1733" y="729"/>
                </a:lnTo>
                <a:lnTo>
                  <a:pt x="1735" y="728"/>
                </a:lnTo>
                <a:lnTo>
                  <a:pt x="1738" y="726"/>
                </a:lnTo>
                <a:lnTo>
                  <a:pt x="1738" y="730"/>
                </a:lnTo>
                <a:lnTo>
                  <a:pt x="1738" y="733"/>
                </a:lnTo>
                <a:close/>
                <a:moveTo>
                  <a:pt x="1729" y="468"/>
                </a:moveTo>
                <a:lnTo>
                  <a:pt x="1731" y="468"/>
                </a:lnTo>
                <a:lnTo>
                  <a:pt x="1733" y="466"/>
                </a:lnTo>
                <a:lnTo>
                  <a:pt x="1731" y="468"/>
                </a:lnTo>
                <a:lnTo>
                  <a:pt x="1729" y="468"/>
                </a:lnTo>
                <a:close/>
                <a:moveTo>
                  <a:pt x="1724" y="468"/>
                </a:moveTo>
                <a:lnTo>
                  <a:pt x="1725" y="468"/>
                </a:lnTo>
                <a:lnTo>
                  <a:pt x="1726" y="468"/>
                </a:lnTo>
                <a:lnTo>
                  <a:pt x="1725" y="468"/>
                </a:lnTo>
                <a:lnTo>
                  <a:pt x="1724" y="468"/>
                </a:lnTo>
                <a:close/>
                <a:moveTo>
                  <a:pt x="1735" y="438"/>
                </a:moveTo>
                <a:lnTo>
                  <a:pt x="1733" y="438"/>
                </a:lnTo>
                <a:lnTo>
                  <a:pt x="1732" y="438"/>
                </a:lnTo>
                <a:lnTo>
                  <a:pt x="1733" y="438"/>
                </a:lnTo>
                <a:lnTo>
                  <a:pt x="1735" y="438"/>
                </a:lnTo>
                <a:close/>
                <a:moveTo>
                  <a:pt x="1740" y="464"/>
                </a:moveTo>
                <a:lnTo>
                  <a:pt x="1741" y="464"/>
                </a:lnTo>
                <a:lnTo>
                  <a:pt x="1743" y="463"/>
                </a:lnTo>
                <a:lnTo>
                  <a:pt x="1741" y="464"/>
                </a:lnTo>
                <a:lnTo>
                  <a:pt x="1740" y="464"/>
                </a:lnTo>
                <a:close/>
                <a:moveTo>
                  <a:pt x="1738" y="718"/>
                </a:moveTo>
                <a:lnTo>
                  <a:pt x="1737" y="717"/>
                </a:lnTo>
                <a:lnTo>
                  <a:pt x="1737" y="716"/>
                </a:lnTo>
                <a:lnTo>
                  <a:pt x="1737" y="714"/>
                </a:lnTo>
                <a:lnTo>
                  <a:pt x="1736" y="713"/>
                </a:lnTo>
                <a:lnTo>
                  <a:pt x="1737" y="714"/>
                </a:lnTo>
                <a:lnTo>
                  <a:pt x="1737" y="716"/>
                </a:lnTo>
                <a:lnTo>
                  <a:pt x="1737" y="717"/>
                </a:lnTo>
                <a:lnTo>
                  <a:pt x="1738" y="718"/>
                </a:lnTo>
                <a:close/>
                <a:moveTo>
                  <a:pt x="1737" y="554"/>
                </a:moveTo>
                <a:lnTo>
                  <a:pt x="1739" y="554"/>
                </a:lnTo>
                <a:lnTo>
                  <a:pt x="1741" y="553"/>
                </a:lnTo>
                <a:lnTo>
                  <a:pt x="1739" y="554"/>
                </a:lnTo>
                <a:lnTo>
                  <a:pt x="1737" y="554"/>
                </a:lnTo>
                <a:close/>
                <a:moveTo>
                  <a:pt x="1736" y="464"/>
                </a:moveTo>
                <a:lnTo>
                  <a:pt x="1735" y="464"/>
                </a:lnTo>
                <a:lnTo>
                  <a:pt x="1735" y="464"/>
                </a:lnTo>
                <a:lnTo>
                  <a:pt x="1735" y="464"/>
                </a:lnTo>
                <a:lnTo>
                  <a:pt x="1736" y="464"/>
                </a:lnTo>
                <a:close/>
                <a:moveTo>
                  <a:pt x="1734" y="453"/>
                </a:moveTo>
                <a:lnTo>
                  <a:pt x="1734" y="453"/>
                </a:lnTo>
                <a:lnTo>
                  <a:pt x="1736" y="453"/>
                </a:lnTo>
                <a:lnTo>
                  <a:pt x="1738" y="453"/>
                </a:lnTo>
                <a:lnTo>
                  <a:pt x="1736" y="453"/>
                </a:lnTo>
                <a:lnTo>
                  <a:pt x="1734" y="453"/>
                </a:lnTo>
                <a:close/>
                <a:moveTo>
                  <a:pt x="1747" y="462"/>
                </a:moveTo>
                <a:lnTo>
                  <a:pt x="1746" y="462"/>
                </a:lnTo>
                <a:lnTo>
                  <a:pt x="1746" y="462"/>
                </a:lnTo>
                <a:lnTo>
                  <a:pt x="1746" y="462"/>
                </a:lnTo>
                <a:lnTo>
                  <a:pt x="1747" y="462"/>
                </a:lnTo>
                <a:close/>
                <a:moveTo>
                  <a:pt x="1756" y="444"/>
                </a:moveTo>
                <a:lnTo>
                  <a:pt x="1744" y="447"/>
                </a:lnTo>
                <a:lnTo>
                  <a:pt x="1732" y="448"/>
                </a:lnTo>
                <a:lnTo>
                  <a:pt x="1732" y="448"/>
                </a:lnTo>
                <a:lnTo>
                  <a:pt x="1732" y="448"/>
                </a:lnTo>
                <a:lnTo>
                  <a:pt x="1744" y="447"/>
                </a:lnTo>
                <a:lnTo>
                  <a:pt x="1756" y="444"/>
                </a:lnTo>
                <a:close/>
                <a:moveTo>
                  <a:pt x="1766" y="459"/>
                </a:moveTo>
                <a:lnTo>
                  <a:pt x="1770" y="459"/>
                </a:lnTo>
                <a:lnTo>
                  <a:pt x="1773" y="458"/>
                </a:lnTo>
                <a:lnTo>
                  <a:pt x="1770" y="459"/>
                </a:lnTo>
                <a:lnTo>
                  <a:pt x="1766" y="459"/>
                </a:lnTo>
                <a:lnTo>
                  <a:pt x="1766" y="459"/>
                </a:lnTo>
                <a:close/>
                <a:moveTo>
                  <a:pt x="1834" y="446"/>
                </a:moveTo>
                <a:lnTo>
                  <a:pt x="1837" y="446"/>
                </a:lnTo>
                <a:lnTo>
                  <a:pt x="1839" y="446"/>
                </a:lnTo>
                <a:lnTo>
                  <a:pt x="1837" y="446"/>
                </a:lnTo>
                <a:lnTo>
                  <a:pt x="1834" y="446"/>
                </a:lnTo>
                <a:lnTo>
                  <a:pt x="1833" y="445"/>
                </a:lnTo>
                <a:lnTo>
                  <a:pt x="1833" y="445"/>
                </a:lnTo>
                <a:lnTo>
                  <a:pt x="1833" y="445"/>
                </a:lnTo>
                <a:lnTo>
                  <a:pt x="1834" y="446"/>
                </a:lnTo>
                <a:close/>
                <a:moveTo>
                  <a:pt x="1936" y="581"/>
                </a:moveTo>
                <a:lnTo>
                  <a:pt x="1936" y="581"/>
                </a:lnTo>
                <a:lnTo>
                  <a:pt x="1934" y="580"/>
                </a:lnTo>
                <a:lnTo>
                  <a:pt x="1932" y="580"/>
                </a:lnTo>
                <a:lnTo>
                  <a:pt x="1934" y="580"/>
                </a:lnTo>
                <a:lnTo>
                  <a:pt x="1936" y="581"/>
                </a:lnTo>
                <a:close/>
                <a:moveTo>
                  <a:pt x="1955" y="596"/>
                </a:moveTo>
                <a:lnTo>
                  <a:pt x="1955" y="597"/>
                </a:lnTo>
                <a:lnTo>
                  <a:pt x="1956" y="597"/>
                </a:lnTo>
                <a:lnTo>
                  <a:pt x="1955" y="597"/>
                </a:lnTo>
                <a:lnTo>
                  <a:pt x="1955" y="596"/>
                </a:lnTo>
                <a:lnTo>
                  <a:pt x="1955" y="596"/>
                </a:lnTo>
                <a:close/>
                <a:moveTo>
                  <a:pt x="1974" y="604"/>
                </a:moveTo>
                <a:lnTo>
                  <a:pt x="1974" y="606"/>
                </a:lnTo>
                <a:lnTo>
                  <a:pt x="1974" y="606"/>
                </a:lnTo>
                <a:lnTo>
                  <a:pt x="1974" y="606"/>
                </a:lnTo>
                <a:lnTo>
                  <a:pt x="1974" y="604"/>
                </a:lnTo>
                <a:lnTo>
                  <a:pt x="1972" y="604"/>
                </a:lnTo>
                <a:lnTo>
                  <a:pt x="1972" y="604"/>
                </a:lnTo>
                <a:lnTo>
                  <a:pt x="1974" y="604"/>
                </a:lnTo>
                <a:close/>
                <a:moveTo>
                  <a:pt x="1984" y="557"/>
                </a:moveTo>
                <a:lnTo>
                  <a:pt x="1984" y="557"/>
                </a:lnTo>
                <a:lnTo>
                  <a:pt x="1984" y="557"/>
                </a:lnTo>
                <a:lnTo>
                  <a:pt x="1983" y="556"/>
                </a:lnTo>
                <a:lnTo>
                  <a:pt x="1984" y="557"/>
                </a:lnTo>
                <a:close/>
                <a:moveTo>
                  <a:pt x="1994" y="612"/>
                </a:moveTo>
                <a:lnTo>
                  <a:pt x="1993" y="612"/>
                </a:lnTo>
                <a:lnTo>
                  <a:pt x="1992" y="611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2"/>
                </a:lnTo>
                <a:lnTo>
                  <a:pt x="1992" y="611"/>
                </a:lnTo>
                <a:lnTo>
                  <a:pt x="1993" y="612"/>
                </a:lnTo>
                <a:lnTo>
                  <a:pt x="1994" y="612"/>
                </a:lnTo>
                <a:close/>
                <a:moveTo>
                  <a:pt x="1995" y="554"/>
                </a:moveTo>
                <a:lnTo>
                  <a:pt x="1992" y="553"/>
                </a:lnTo>
                <a:lnTo>
                  <a:pt x="1989" y="554"/>
                </a:lnTo>
                <a:lnTo>
                  <a:pt x="1992" y="553"/>
                </a:lnTo>
                <a:lnTo>
                  <a:pt x="1995" y="554"/>
                </a:lnTo>
                <a:close/>
                <a:moveTo>
                  <a:pt x="2000" y="614"/>
                </a:moveTo>
                <a:lnTo>
                  <a:pt x="2000" y="613"/>
                </a:lnTo>
                <a:lnTo>
                  <a:pt x="1999" y="612"/>
                </a:lnTo>
                <a:lnTo>
                  <a:pt x="2000" y="613"/>
                </a:lnTo>
                <a:lnTo>
                  <a:pt x="2000" y="614"/>
                </a:lnTo>
                <a:close/>
                <a:moveTo>
                  <a:pt x="1996" y="543"/>
                </a:moveTo>
                <a:lnTo>
                  <a:pt x="1999" y="543"/>
                </a:lnTo>
                <a:lnTo>
                  <a:pt x="2002" y="543"/>
                </a:lnTo>
                <a:lnTo>
                  <a:pt x="1999" y="543"/>
                </a:lnTo>
                <a:lnTo>
                  <a:pt x="1996" y="543"/>
                </a:lnTo>
                <a:close/>
                <a:moveTo>
                  <a:pt x="2005" y="547"/>
                </a:moveTo>
                <a:lnTo>
                  <a:pt x="2004" y="546"/>
                </a:lnTo>
                <a:lnTo>
                  <a:pt x="2004" y="546"/>
                </a:lnTo>
                <a:lnTo>
                  <a:pt x="2004" y="546"/>
                </a:lnTo>
                <a:lnTo>
                  <a:pt x="2005" y="547"/>
                </a:lnTo>
                <a:close/>
                <a:moveTo>
                  <a:pt x="2031" y="577"/>
                </a:moveTo>
                <a:lnTo>
                  <a:pt x="2031" y="577"/>
                </a:lnTo>
                <a:lnTo>
                  <a:pt x="2031" y="578"/>
                </a:lnTo>
                <a:lnTo>
                  <a:pt x="2031" y="577"/>
                </a:lnTo>
                <a:lnTo>
                  <a:pt x="2031" y="577"/>
                </a:lnTo>
                <a:close/>
                <a:moveTo>
                  <a:pt x="2050" y="585"/>
                </a:moveTo>
                <a:lnTo>
                  <a:pt x="2050" y="585"/>
                </a:lnTo>
                <a:lnTo>
                  <a:pt x="2049" y="584"/>
                </a:lnTo>
                <a:lnTo>
                  <a:pt x="2047" y="583"/>
                </a:lnTo>
                <a:lnTo>
                  <a:pt x="2049" y="584"/>
                </a:lnTo>
                <a:lnTo>
                  <a:pt x="2050" y="585"/>
                </a:lnTo>
                <a:close/>
                <a:moveTo>
                  <a:pt x="2055" y="599"/>
                </a:moveTo>
                <a:lnTo>
                  <a:pt x="2055" y="598"/>
                </a:lnTo>
                <a:lnTo>
                  <a:pt x="2054" y="596"/>
                </a:lnTo>
                <a:lnTo>
                  <a:pt x="2054" y="594"/>
                </a:lnTo>
                <a:lnTo>
                  <a:pt x="2054" y="593"/>
                </a:lnTo>
                <a:lnTo>
                  <a:pt x="2054" y="594"/>
                </a:lnTo>
                <a:lnTo>
                  <a:pt x="2054" y="596"/>
                </a:lnTo>
                <a:lnTo>
                  <a:pt x="2055" y="598"/>
                </a:lnTo>
                <a:lnTo>
                  <a:pt x="2055" y="599"/>
                </a:lnTo>
                <a:lnTo>
                  <a:pt x="2054" y="600"/>
                </a:lnTo>
                <a:lnTo>
                  <a:pt x="2052" y="601"/>
                </a:lnTo>
                <a:lnTo>
                  <a:pt x="2054" y="600"/>
                </a:lnTo>
                <a:lnTo>
                  <a:pt x="2055" y="599"/>
                </a:lnTo>
                <a:close/>
                <a:moveTo>
                  <a:pt x="2053" y="591"/>
                </a:moveTo>
                <a:lnTo>
                  <a:pt x="2052" y="589"/>
                </a:lnTo>
                <a:lnTo>
                  <a:pt x="2052" y="589"/>
                </a:lnTo>
                <a:lnTo>
                  <a:pt x="2052" y="589"/>
                </a:lnTo>
                <a:lnTo>
                  <a:pt x="2053" y="591"/>
                </a:lnTo>
                <a:close/>
                <a:moveTo>
                  <a:pt x="1720" y="470"/>
                </a:moveTo>
                <a:lnTo>
                  <a:pt x="1721" y="470"/>
                </a:lnTo>
                <a:lnTo>
                  <a:pt x="1722" y="469"/>
                </a:lnTo>
                <a:lnTo>
                  <a:pt x="1721" y="470"/>
                </a:lnTo>
                <a:lnTo>
                  <a:pt x="1720" y="470"/>
                </a:lnTo>
                <a:close/>
                <a:moveTo>
                  <a:pt x="1709" y="782"/>
                </a:moveTo>
                <a:lnTo>
                  <a:pt x="1708" y="781"/>
                </a:lnTo>
                <a:lnTo>
                  <a:pt x="1707" y="780"/>
                </a:lnTo>
                <a:lnTo>
                  <a:pt x="1708" y="781"/>
                </a:lnTo>
                <a:lnTo>
                  <a:pt x="1709" y="782"/>
                </a:lnTo>
                <a:lnTo>
                  <a:pt x="1710" y="786"/>
                </a:lnTo>
                <a:lnTo>
                  <a:pt x="1712" y="792"/>
                </a:lnTo>
                <a:lnTo>
                  <a:pt x="1710" y="786"/>
                </a:lnTo>
                <a:lnTo>
                  <a:pt x="1709" y="782"/>
                </a:lnTo>
                <a:close/>
                <a:moveTo>
                  <a:pt x="1704" y="419"/>
                </a:moveTo>
                <a:lnTo>
                  <a:pt x="1706" y="419"/>
                </a:lnTo>
                <a:lnTo>
                  <a:pt x="1708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9" y="418"/>
                </a:lnTo>
                <a:lnTo>
                  <a:pt x="1708" y="418"/>
                </a:lnTo>
                <a:lnTo>
                  <a:pt x="1706" y="419"/>
                </a:lnTo>
                <a:lnTo>
                  <a:pt x="1704" y="419"/>
                </a:lnTo>
                <a:close/>
                <a:moveTo>
                  <a:pt x="1703" y="684"/>
                </a:moveTo>
                <a:lnTo>
                  <a:pt x="1704" y="685"/>
                </a:lnTo>
                <a:lnTo>
                  <a:pt x="1704" y="687"/>
                </a:lnTo>
                <a:lnTo>
                  <a:pt x="1704" y="685"/>
                </a:lnTo>
                <a:lnTo>
                  <a:pt x="1703" y="684"/>
                </a:lnTo>
                <a:close/>
                <a:moveTo>
                  <a:pt x="1704" y="690"/>
                </a:moveTo>
                <a:lnTo>
                  <a:pt x="1704" y="691"/>
                </a:lnTo>
                <a:lnTo>
                  <a:pt x="1705" y="691"/>
                </a:lnTo>
                <a:lnTo>
                  <a:pt x="1704" y="691"/>
                </a:lnTo>
                <a:lnTo>
                  <a:pt x="1704" y="690"/>
                </a:lnTo>
                <a:close/>
                <a:moveTo>
                  <a:pt x="1698" y="795"/>
                </a:moveTo>
                <a:lnTo>
                  <a:pt x="1692" y="796"/>
                </a:lnTo>
                <a:lnTo>
                  <a:pt x="1686" y="796"/>
                </a:lnTo>
                <a:lnTo>
                  <a:pt x="1679" y="795"/>
                </a:lnTo>
                <a:lnTo>
                  <a:pt x="1673" y="793"/>
                </a:lnTo>
                <a:lnTo>
                  <a:pt x="1671" y="792"/>
                </a:lnTo>
                <a:lnTo>
                  <a:pt x="1666" y="792"/>
                </a:lnTo>
                <a:lnTo>
                  <a:pt x="1663" y="792"/>
                </a:lnTo>
                <a:lnTo>
                  <a:pt x="1660" y="792"/>
                </a:lnTo>
                <a:lnTo>
                  <a:pt x="1653" y="794"/>
                </a:lnTo>
                <a:lnTo>
                  <a:pt x="1649" y="797"/>
                </a:lnTo>
                <a:lnTo>
                  <a:pt x="1649" y="797"/>
                </a:lnTo>
                <a:lnTo>
                  <a:pt x="1647" y="797"/>
                </a:lnTo>
                <a:lnTo>
                  <a:pt x="1645" y="797"/>
                </a:lnTo>
                <a:lnTo>
                  <a:pt x="1645" y="797"/>
                </a:lnTo>
                <a:lnTo>
                  <a:pt x="1648" y="791"/>
                </a:lnTo>
                <a:lnTo>
                  <a:pt x="1653" y="785"/>
                </a:lnTo>
                <a:lnTo>
                  <a:pt x="1655" y="784"/>
                </a:lnTo>
                <a:lnTo>
                  <a:pt x="1657" y="783"/>
                </a:lnTo>
                <a:lnTo>
                  <a:pt x="1657" y="782"/>
                </a:lnTo>
                <a:lnTo>
                  <a:pt x="1658" y="781"/>
                </a:lnTo>
                <a:lnTo>
                  <a:pt x="1657" y="782"/>
                </a:lnTo>
                <a:lnTo>
                  <a:pt x="1657" y="783"/>
                </a:lnTo>
                <a:lnTo>
                  <a:pt x="1658" y="783"/>
                </a:lnTo>
                <a:lnTo>
                  <a:pt x="1659" y="781"/>
                </a:lnTo>
                <a:lnTo>
                  <a:pt x="1660" y="781"/>
                </a:lnTo>
                <a:lnTo>
                  <a:pt x="1662" y="781"/>
                </a:lnTo>
                <a:lnTo>
                  <a:pt x="1664" y="780"/>
                </a:lnTo>
                <a:lnTo>
                  <a:pt x="1667" y="780"/>
                </a:lnTo>
                <a:lnTo>
                  <a:pt x="1679" y="776"/>
                </a:lnTo>
                <a:lnTo>
                  <a:pt x="1691" y="774"/>
                </a:lnTo>
                <a:lnTo>
                  <a:pt x="1694" y="775"/>
                </a:lnTo>
                <a:lnTo>
                  <a:pt x="1697" y="776"/>
                </a:lnTo>
                <a:lnTo>
                  <a:pt x="1699" y="778"/>
                </a:lnTo>
                <a:lnTo>
                  <a:pt x="1699" y="781"/>
                </a:lnTo>
                <a:lnTo>
                  <a:pt x="1699" y="784"/>
                </a:lnTo>
                <a:lnTo>
                  <a:pt x="1702" y="787"/>
                </a:lnTo>
                <a:lnTo>
                  <a:pt x="1704" y="791"/>
                </a:lnTo>
                <a:lnTo>
                  <a:pt x="1704" y="794"/>
                </a:lnTo>
                <a:lnTo>
                  <a:pt x="1702" y="795"/>
                </a:lnTo>
                <a:lnTo>
                  <a:pt x="1698" y="795"/>
                </a:lnTo>
                <a:close/>
                <a:moveTo>
                  <a:pt x="1635" y="795"/>
                </a:moveTo>
                <a:lnTo>
                  <a:pt x="1640" y="791"/>
                </a:lnTo>
                <a:lnTo>
                  <a:pt x="1644" y="787"/>
                </a:lnTo>
                <a:lnTo>
                  <a:pt x="1640" y="791"/>
                </a:lnTo>
                <a:lnTo>
                  <a:pt x="1635" y="795"/>
                </a:lnTo>
                <a:close/>
                <a:moveTo>
                  <a:pt x="1640" y="798"/>
                </a:moveTo>
                <a:lnTo>
                  <a:pt x="1642" y="797"/>
                </a:lnTo>
                <a:lnTo>
                  <a:pt x="1644" y="797"/>
                </a:lnTo>
                <a:lnTo>
                  <a:pt x="1642" y="797"/>
                </a:lnTo>
                <a:lnTo>
                  <a:pt x="1640" y="798"/>
                </a:lnTo>
                <a:close/>
                <a:moveTo>
                  <a:pt x="1638" y="488"/>
                </a:moveTo>
                <a:lnTo>
                  <a:pt x="1641" y="485"/>
                </a:lnTo>
                <a:lnTo>
                  <a:pt x="1643" y="481"/>
                </a:lnTo>
                <a:lnTo>
                  <a:pt x="1641" y="485"/>
                </a:lnTo>
                <a:lnTo>
                  <a:pt x="1638" y="488"/>
                </a:lnTo>
                <a:lnTo>
                  <a:pt x="1637" y="488"/>
                </a:lnTo>
                <a:lnTo>
                  <a:pt x="1637" y="489"/>
                </a:lnTo>
                <a:lnTo>
                  <a:pt x="1637" y="488"/>
                </a:lnTo>
                <a:lnTo>
                  <a:pt x="1638" y="488"/>
                </a:lnTo>
                <a:close/>
                <a:moveTo>
                  <a:pt x="1648" y="612"/>
                </a:moveTo>
                <a:lnTo>
                  <a:pt x="1648" y="612"/>
                </a:lnTo>
                <a:lnTo>
                  <a:pt x="1648" y="613"/>
                </a:lnTo>
                <a:lnTo>
                  <a:pt x="1648" y="612"/>
                </a:lnTo>
                <a:lnTo>
                  <a:pt x="1648" y="612"/>
                </a:lnTo>
                <a:close/>
                <a:moveTo>
                  <a:pt x="1649" y="611"/>
                </a:moveTo>
                <a:lnTo>
                  <a:pt x="1649" y="610"/>
                </a:lnTo>
                <a:lnTo>
                  <a:pt x="1650" y="609"/>
                </a:lnTo>
                <a:lnTo>
                  <a:pt x="1649" y="610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lnTo>
                  <a:pt x="1649" y="611"/>
                </a:lnTo>
                <a:close/>
                <a:moveTo>
                  <a:pt x="1650" y="599"/>
                </a:moveTo>
                <a:lnTo>
                  <a:pt x="1650" y="600"/>
                </a:lnTo>
                <a:lnTo>
                  <a:pt x="1649" y="601"/>
                </a:lnTo>
                <a:lnTo>
                  <a:pt x="1650" y="600"/>
                </a:lnTo>
                <a:lnTo>
                  <a:pt x="1650" y="599"/>
                </a:lnTo>
                <a:close/>
                <a:moveTo>
                  <a:pt x="1652" y="631"/>
                </a:moveTo>
                <a:lnTo>
                  <a:pt x="1651" y="630"/>
                </a:lnTo>
                <a:lnTo>
                  <a:pt x="1651" y="629"/>
                </a:lnTo>
                <a:lnTo>
                  <a:pt x="1651" y="630"/>
                </a:lnTo>
                <a:lnTo>
                  <a:pt x="1652" y="631"/>
                </a:lnTo>
                <a:close/>
                <a:moveTo>
                  <a:pt x="1653" y="591"/>
                </a:moveTo>
                <a:lnTo>
                  <a:pt x="1653" y="593"/>
                </a:lnTo>
                <a:lnTo>
                  <a:pt x="1653" y="594"/>
                </a:lnTo>
                <a:lnTo>
                  <a:pt x="1653" y="593"/>
                </a:lnTo>
                <a:lnTo>
                  <a:pt x="1653" y="591"/>
                </a:lnTo>
                <a:close/>
                <a:moveTo>
                  <a:pt x="1656" y="598"/>
                </a:moveTo>
                <a:lnTo>
                  <a:pt x="1656" y="599"/>
                </a:lnTo>
                <a:lnTo>
                  <a:pt x="1656" y="600"/>
                </a:lnTo>
                <a:lnTo>
                  <a:pt x="1656" y="599"/>
                </a:lnTo>
                <a:lnTo>
                  <a:pt x="1656" y="598"/>
                </a:lnTo>
                <a:close/>
                <a:moveTo>
                  <a:pt x="1665" y="567"/>
                </a:moveTo>
                <a:lnTo>
                  <a:pt x="1662" y="570"/>
                </a:lnTo>
                <a:lnTo>
                  <a:pt x="1659" y="573"/>
                </a:lnTo>
                <a:lnTo>
                  <a:pt x="1659" y="574"/>
                </a:lnTo>
                <a:lnTo>
                  <a:pt x="1658" y="576"/>
                </a:lnTo>
                <a:lnTo>
                  <a:pt x="1659" y="574"/>
                </a:lnTo>
                <a:lnTo>
                  <a:pt x="1659" y="573"/>
                </a:lnTo>
                <a:lnTo>
                  <a:pt x="1662" y="570"/>
                </a:lnTo>
                <a:lnTo>
                  <a:pt x="1665" y="567"/>
                </a:lnTo>
                <a:close/>
                <a:moveTo>
                  <a:pt x="1655" y="448"/>
                </a:moveTo>
                <a:lnTo>
                  <a:pt x="1670" y="440"/>
                </a:lnTo>
                <a:lnTo>
                  <a:pt x="1683" y="432"/>
                </a:lnTo>
                <a:lnTo>
                  <a:pt x="1670" y="440"/>
                </a:lnTo>
                <a:lnTo>
                  <a:pt x="1655" y="448"/>
                </a:lnTo>
                <a:close/>
                <a:moveTo>
                  <a:pt x="1673" y="409"/>
                </a:moveTo>
                <a:lnTo>
                  <a:pt x="1673" y="409"/>
                </a:lnTo>
                <a:lnTo>
                  <a:pt x="1665" y="412"/>
                </a:lnTo>
                <a:lnTo>
                  <a:pt x="1658" y="415"/>
                </a:lnTo>
                <a:lnTo>
                  <a:pt x="1665" y="412"/>
                </a:lnTo>
                <a:lnTo>
                  <a:pt x="1673" y="409"/>
                </a:lnTo>
                <a:close/>
                <a:moveTo>
                  <a:pt x="1683" y="425"/>
                </a:moveTo>
                <a:lnTo>
                  <a:pt x="1679" y="426"/>
                </a:lnTo>
                <a:lnTo>
                  <a:pt x="1675" y="427"/>
                </a:lnTo>
                <a:lnTo>
                  <a:pt x="1679" y="426"/>
                </a:lnTo>
                <a:lnTo>
                  <a:pt x="1683" y="425"/>
                </a:lnTo>
                <a:close/>
                <a:moveTo>
                  <a:pt x="1688" y="421"/>
                </a:moveTo>
                <a:lnTo>
                  <a:pt x="1687" y="421"/>
                </a:lnTo>
                <a:lnTo>
                  <a:pt x="1684" y="423"/>
                </a:lnTo>
                <a:lnTo>
                  <a:pt x="1687" y="421"/>
                </a:lnTo>
                <a:lnTo>
                  <a:pt x="1688" y="421"/>
                </a:lnTo>
                <a:close/>
                <a:moveTo>
                  <a:pt x="1694" y="453"/>
                </a:moveTo>
                <a:lnTo>
                  <a:pt x="1694" y="453"/>
                </a:lnTo>
                <a:lnTo>
                  <a:pt x="1691" y="453"/>
                </a:lnTo>
                <a:lnTo>
                  <a:pt x="1689" y="454"/>
                </a:lnTo>
                <a:lnTo>
                  <a:pt x="1691" y="453"/>
                </a:lnTo>
                <a:lnTo>
                  <a:pt x="1694" y="453"/>
                </a:lnTo>
                <a:close/>
                <a:moveTo>
                  <a:pt x="1683" y="405"/>
                </a:moveTo>
                <a:lnTo>
                  <a:pt x="1692" y="405"/>
                </a:lnTo>
                <a:lnTo>
                  <a:pt x="1701" y="403"/>
                </a:lnTo>
                <a:lnTo>
                  <a:pt x="1692" y="405"/>
                </a:lnTo>
                <a:lnTo>
                  <a:pt x="1683" y="405"/>
                </a:lnTo>
                <a:lnTo>
                  <a:pt x="1683" y="405"/>
                </a:lnTo>
                <a:close/>
                <a:moveTo>
                  <a:pt x="1702" y="689"/>
                </a:moveTo>
                <a:lnTo>
                  <a:pt x="1701" y="688"/>
                </a:lnTo>
                <a:lnTo>
                  <a:pt x="1701" y="687"/>
                </a:lnTo>
                <a:lnTo>
                  <a:pt x="1701" y="688"/>
                </a:lnTo>
                <a:lnTo>
                  <a:pt x="1702" y="689"/>
                </a:lnTo>
                <a:close/>
                <a:moveTo>
                  <a:pt x="1698" y="420"/>
                </a:moveTo>
                <a:lnTo>
                  <a:pt x="1697" y="420"/>
                </a:lnTo>
                <a:lnTo>
                  <a:pt x="1695" y="421"/>
                </a:lnTo>
                <a:lnTo>
                  <a:pt x="1697" y="421"/>
                </a:lnTo>
                <a:lnTo>
                  <a:pt x="1698" y="420"/>
                </a:lnTo>
                <a:lnTo>
                  <a:pt x="1698" y="420"/>
                </a:lnTo>
                <a:lnTo>
                  <a:pt x="1699" y="423"/>
                </a:lnTo>
                <a:lnTo>
                  <a:pt x="1702" y="425"/>
                </a:lnTo>
                <a:lnTo>
                  <a:pt x="1701" y="425"/>
                </a:lnTo>
                <a:lnTo>
                  <a:pt x="1701" y="425"/>
                </a:lnTo>
                <a:lnTo>
                  <a:pt x="1702" y="425"/>
                </a:lnTo>
                <a:lnTo>
                  <a:pt x="1699" y="423"/>
                </a:lnTo>
                <a:lnTo>
                  <a:pt x="1698" y="420"/>
                </a:lnTo>
                <a:close/>
                <a:moveTo>
                  <a:pt x="1699" y="680"/>
                </a:moveTo>
                <a:lnTo>
                  <a:pt x="1698" y="680"/>
                </a:lnTo>
                <a:lnTo>
                  <a:pt x="1698" y="679"/>
                </a:lnTo>
                <a:lnTo>
                  <a:pt x="1698" y="680"/>
                </a:lnTo>
                <a:lnTo>
                  <a:pt x="1699" y="680"/>
                </a:lnTo>
                <a:close/>
                <a:moveTo>
                  <a:pt x="1696" y="675"/>
                </a:moveTo>
                <a:lnTo>
                  <a:pt x="1698" y="676"/>
                </a:lnTo>
                <a:lnTo>
                  <a:pt x="1698" y="677"/>
                </a:lnTo>
                <a:lnTo>
                  <a:pt x="1698" y="676"/>
                </a:lnTo>
                <a:lnTo>
                  <a:pt x="1696" y="675"/>
                </a:lnTo>
                <a:lnTo>
                  <a:pt x="1696" y="674"/>
                </a:lnTo>
                <a:lnTo>
                  <a:pt x="1695" y="673"/>
                </a:lnTo>
                <a:lnTo>
                  <a:pt x="1696" y="674"/>
                </a:lnTo>
                <a:lnTo>
                  <a:pt x="1696" y="675"/>
                </a:lnTo>
                <a:close/>
                <a:moveTo>
                  <a:pt x="1695" y="427"/>
                </a:moveTo>
                <a:lnTo>
                  <a:pt x="1694" y="427"/>
                </a:lnTo>
                <a:lnTo>
                  <a:pt x="1694" y="427"/>
                </a:lnTo>
                <a:lnTo>
                  <a:pt x="1694" y="427"/>
                </a:lnTo>
                <a:lnTo>
                  <a:pt x="1695" y="427"/>
                </a:lnTo>
                <a:close/>
                <a:moveTo>
                  <a:pt x="1628" y="800"/>
                </a:moveTo>
                <a:lnTo>
                  <a:pt x="1630" y="797"/>
                </a:lnTo>
                <a:lnTo>
                  <a:pt x="1632" y="796"/>
                </a:lnTo>
                <a:lnTo>
                  <a:pt x="1630" y="797"/>
                </a:lnTo>
                <a:lnTo>
                  <a:pt x="1628" y="800"/>
                </a:lnTo>
                <a:close/>
                <a:moveTo>
                  <a:pt x="1631" y="807"/>
                </a:moveTo>
                <a:lnTo>
                  <a:pt x="1630" y="810"/>
                </a:lnTo>
                <a:lnTo>
                  <a:pt x="1629" y="813"/>
                </a:lnTo>
                <a:lnTo>
                  <a:pt x="1630" y="810"/>
                </a:lnTo>
                <a:lnTo>
                  <a:pt x="1631" y="807"/>
                </a:lnTo>
                <a:lnTo>
                  <a:pt x="1628" y="807"/>
                </a:lnTo>
                <a:lnTo>
                  <a:pt x="1626" y="806"/>
                </a:lnTo>
                <a:lnTo>
                  <a:pt x="1626" y="805"/>
                </a:lnTo>
                <a:lnTo>
                  <a:pt x="1626" y="802"/>
                </a:lnTo>
                <a:lnTo>
                  <a:pt x="1626" y="805"/>
                </a:lnTo>
                <a:lnTo>
                  <a:pt x="1626" y="806"/>
                </a:lnTo>
                <a:lnTo>
                  <a:pt x="1628" y="807"/>
                </a:lnTo>
                <a:lnTo>
                  <a:pt x="1631" y="807"/>
                </a:lnTo>
                <a:lnTo>
                  <a:pt x="1631" y="807"/>
                </a:lnTo>
                <a:lnTo>
                  <a:pt x="1632" y="807"/>
                </a:lnTo>
                <a:lnTo>
                  <a:pt x="1631" y="807"/>
                </a:lnTo>
                <a:lnTo>
                  <a:pt x="1631" y="807"/>
                </a:lnTo>
                <a:close/>
                <a:moveTo>
                  <a:pt x="1623" y="653"/>
                </a:moveTo>
                <a:lnTo>
                  <a:pt x="1618" y="653"/>
                </a:lnTo>
                <a:lnTo>
                  <a:pt x="1613" y="653"/>
                </a:lnTo>
                <a:lnTo>
                  <a:pt x="1612" y="653"/>
                </a:lnTo>
                <a:lnTo>
                  <a:pt x="1611" y="653"/>
                </a:lnTo>
                <a:lnTo>
                  <a:pt x="1608" y="652"/>
                </a:lnTo>
                <a:lnTo>
                  <a:pt x="1608" y="650"/>
                </a:lnTo>
                <a:lnTo>
                  <a:pt x="1610" y="648"/>
                </a:lnTo>
                <a:lnTo>
                  <a:pt x="1613" y="647"/>
                </a:lnTo>
                <a:lnTo>
                  <a:pt x="1618" y="645"/>
                </a:lnTo>
                <a:lnTo>
                  <a:pt x="1625" y="644"/>
                </a:lnTo>
                <a:lnTo>
                  <a:pt x="1628" y="644"/>
                </a:lnTo>
                <a:lnTo>
                  <a:pt x="1630" y="646"/>
                </a:lnTo>
                <a:lnTo>
                  <a:pt x="1631" y="648"/>
                </a:lnTo>
                <a:lnTo>
                  <a:pt x="1631" y="652"/>
                </a:lnTo>
                <a:lnTo>
                  <a:pt x="1630" y="654"/>
                </a:lnTo>
                <a:lnTo>
                  <a:pt x="1629" y="654"/>
                </a:lnTo>
                <a:lnTo>
                  <a:pt x="1626" y="654"/>
                </a:lnTo>
                <a:lnTo>
                  <a:pt x="1623" y="653"/>
                </a:lnTo>
                <a:close/>
                <a:moveTo>
                  <a:pt x="1629" y="574"/>
                </a:moveTo>
                <a:lnTo>
                  <a:pt x="1629" y="574"/>
                </a:lnTo>
                <a:lnTo>
                  <a:pt x="1627" y="579"/>
                </a:lnTo>
                <a:lnTo>
                  <a:pt x="1623" y="581"/>
                </a:lnTo>
                <a:lnTo>
                  <a:pt x="1627" y="579"/>
                </a:lnTo>
                <a:lnTo>
                  <a:pt x="1629" y="574"/>
                </a:lnTo>
                <a:close/>
                <a:moveTo>
                  <a:pt x="1599" y="549"/>
                </a:moveTo>
                <a:lnTo>
                  <a:pt x="1599" y="551"/>
                </a:lnTo>
                <a:lnTo>
                  <a:pt x="1597" y="553"/>
                </a:lnTo>
                <a:lnTo>
                  <a:pt x="1596" y="554"/>
                </a:lnTo>
                <a:lnTo>
                  <a:pt x="1593" y="555"/>
                </a:lnTo>
                <a:lnTo>
                  <a:pt x="1596" y="554"/>
                </a:lnTo>
                <a:lnTo>
                  <a:pt x="1597" y="553"/>
                </a:lnTo>
                <a:lnTo>
                  <a:pt x="1599" y="551"/>
                </a:lnTo>
                <a:lnTo>
                  <a:pt x="1599" y="549"/>
                </a:lnTo>
                <a:lnTo>
                  <a:pt x="1601" y="547"/>
                </a:lnTo>
                <a:lnTo>
                  <a:pt x="1603" y="543"/>
                </a:lnTo>
                <a:lnTo>
                  <a:pt x="1601" y="547"/>
                </a:lnTo>
                <a:lnTo>
                  <a:pt x="1599" y="549"/>
                </a:lnTo>
                <a:close/>
                <a:moveTo>
                  <a:pt x="1581" y="488"/>
                </a:moveTo>
                <a:lnTo>
                  <a:pt x="1590" y="476"/>
                </a:lnTo>
                <a:lnTo>
                  <a:pt x="1600" y="463"/>
                </a:lnTo>
                <a:lnTo>
                  <a:pt x="1590" y="476"/>
                </a:lnTo>
                <a:lnTo>
                  <a:pt x="1581" y="488"/>
                </a:lnTo>
                <a:close/>
                <a:moveTo>
                  <a:pt x="1587" y="580"/>
                </a:moveTo>
                <a:lnTo>
                  <a:pt x="1587" y="582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8" y="584"/>
                </a:lnTo>
                <a:lnTo>
                  <a:pt x="1587" y="582"/>
                </a:lnTo>
                <a:lnTo>
                  <a:pt x="1587" y="580"/>
                </a:lnTo>
                <a:lnTo>
                  <a:pt x="1587" y="580"/>
                </a:lnTo>
                <a:lnTo>
                  <a:pt x="1587" y="580"/>
                </a:lnTo>
                <a:lnTo>
                  <a:pt x="1589" y="569"/>
                </a:lnTo>
                <a:lnTo>
                  <a:pt x="1591" y="557"/>
                </a:lnTo>
                <a:lnTo>
                  <a:pt x="1589" y="569"/>
                </a:lnTo>
                <a:lnTo>
                  <a:pt x="1587" y="580"/>
                </a:lnTo>
                <a:close/>
                <a:moveTo>
                  <a:pt x="1588" y="585"/>
                </a:moveTo>
                <a:lnTo>
                  <a:pt x="1588" y="589"/>
                </a:lnTo>
                <a:lnTo>
                  <a:pt x="1589" y="593"/>
                </a:lnTo>
                <a:lnTo>
                  <a:pt x="1588" y="589"/>
                </a:lnTo>
                <a:lnTo>
                  <a:pt x="1588" y="585"/>
                </a:lnTo>
                <a:lnTo>
                  <a:pt x="1589" y="586"/>
                </a:lnTo>
                <a:lnTo>
                  <a:pt x="1590" y="587"/>
                </a:lnTo>
                <a:lnTo>
                  <a:pt x="1589" y="586"/>
                </a:lnTo>
                <a:lnTo>
                  <a:pt x="1588" y="585"/>
                </a:lnTo>
                <a:close/>
                <a:moveTo>
                  <a:pt x="1583" y="570"/>
                </a:moveTo>
                <a:lnTo>
                  <a:pt x="1583" y="574"/>
                </a:lnTo>
                <a:lnTo>
                  <a:pt x="1585" y="578"/>
                </a:lnTo>
                <a:lnTo>
                  <a:pt x="1583" y="574"/>
                </a:lnTo>
                <a:lnTo>
                  <a:pt x="1583" y="570"/>
                </a:lnTo>
                <a:close/>
                <a:moveTo>
                  <a:pt x="1580" y="506"/>
                </a:moveTo>
                <a:lnTo>
                  <a:pt x="1581" y="503"/>
                </a:lnTo>
                <a:lnTo>
                  <a:pt x="1581" y="501"/>
                </a:lnTo>
                <a:lnTo>
                  <a:pt x="1579" y="499"/>
                </a:lnTo>
                <a:lnTo>
                  <a:pt x="1577" y="496"/>
                </a:lnTo>
                <a:lnTo>
                  <a:pt x="1577" y="494"/>
                </a:lnTo>
                <a:lnTo>
                  <a:pt x="1579" y="491"/>
                </a:lnTo>
                <a:lnTo>
                  <a:pt x="1577" y="494"/>
                </a:lnTo>
                <a:lnTo>
                  <a:pt x="1577" y="496"/>
                </a:lnTo>
                <a:lnTo>
                  <a:pt x="1579" y="499"/>
                </a:lnTo>
                <a:lnTo>
                  <a:pt x="1581" y="501"/>
                </a:lnTo>
                <a:lnTo>
                  <a:pt x="1581" y="503"/>
                </a:lnTo>
                <a:lnTo>
                  <a:pt x="1580" y="506"/>
                </a:lnTo>
                <a:close/>
                <a:moveTo>
                  <a:pt x="1557" y="533"/>
                </a:moveTo>
                <a:lnTo>
                  <a:pt x="1555" y="531"/>
                </a:lnTo>
                <a:lnTo>
                  <a:pt x="1553" y="528"/>
                </a:lnTo>
                <a:lnTo>
                  <a:pt x="1555" y="531"/>
                </a:lnTo>
                <a:lnTo>
                  <a:pt x="1557" y="533"/>
                </a:lnTo>
                <a:lnTo>
                  <a:pt x="1557" y="535"/>
                </a:lnTo>
                <a:lnTo>
                  <a:pt x="1558" y="536"/>
                </a:lnTo>
                <a:lnTo>
                  <a:pt x="1557" y="535"/>
                </a:lnTo>
                <a:lnTo>
                  <a:pt x="1557" y="533"/>
                </a:lnTo>
                <a:close/>
                <a:moveTo>
                  <a:pt x="1540" y="592"/>
                </a:moveTo>
                <a:lnTo>
                  <a:pt x="1540" y="593"/>
                </a:lnTo>
                <a:lnTo>
                  <a:pt x="1539" y="594"/>
                </a:lnTo>
                <a:lnTo>
                  <a:pt x="1538" y="594"/>
                </a:lnTo>
                <a:lnTo>
                  <a:pt x="1536" y="595"/>
                </a:lnTo>
                <a:lnTo>
                  <a:pt x="1538" y="594"/>
                </a:lnTo>
                <a:lnTo>
                  <a:pt x="1539" y="594"/>
                </a:lnTo>
                <a:lnTo>
                  <a:pt x="1540" y="593"/>
                </a:lnTo>
                <a:lnTo>
                  <a:pt x="1540" y="592"/>
                </a:lnTo>
                <a:lnTo>
                  <a:pt x="1543" y="591"/>
                </a:lnTo>
                <a:lnTo>
                  <a:pt x="1545" y="589"/>
                </a:lnTo>
                <a:lnTo>
                  <a:pt x="1543" y="591"/>
                </a:lnTo>
                <a:lnTo>
                  <a:pt x="1540" y="592"/>
                </a:lnTo>
                <a:close/>
                <a:moveTo>
                  <a:pt x="1531" y="536"/>
                </a:moveTo>
                <a:lnTo>
                  <a:pt x="1538" y="538"/>
                </a:lnTo>
                <a:lnTo>
                  <a:pt x="1543" y="541"/>
                </a:lnTo>
                <a:lnTo>
                  <a:pt x="1538" y="538"/>
                </a:lnTo>
                <a:lnTo>
                  <a:pt x="1531" y="536"/>
                </a:lnTo>
                <a:lnTo>
                  <a:pt x="1531" y="536"/>
                </a:lnTo>
                <a:close/>
                <a:moveTo>
                  <a:pt x="1527" y="599"/>
                </a:moveTo>
                <a:lnTo>
                  <a:pt x="1528" y="598"/>
                </a:lnTo>
                <a:lnTo>
                  <a:pt x="1529" y="596"/>
                </a:lnTo>
                <a:lnTo>
                  <a:pt x="1528" y="598"/>
                </a:lnTo>
                <a:lnTo>
                  <a:pt x="1527" y="599"/>
                </a:lnTo>
                <a:close/>
                <a:moveTo>
                  <a:pt x="1295" y="667"/>
                </a:moveTo>
                <a:lnTo>
                  <a:pt x="1285" y="667"/>
                </a:lnTo>
                <a:lnTo>
                  <a:pt x="1277" y="664"/>
                </a:lnTo>
                <a:lnTo>
                  <a:pt x="1285" y="667"/>
                </a:lnTo>
                <a:lnTo>
                  <a:pt x="1295" y="667"/>
                </a:lnTo>
                <a:lnTo>
                  <a:pt x="1305" y="668"/>
                </a:lnTo>
                <a:lnTo>
                  <a:pt x="1317" y="670"/>
                </a:lnTo>
                <a:lnTo>
                  <a:pt x="1305" y="668"/>
                </a:lnTo>
                <a:lnTo>
                  <a:pt x="1295" y="667"/>
                </a:lnTo>
                <a:close/>
                <a:moveTo>
                  <a:pt x="1263" y="660"/>
                </a:moveTo>
                <a:lnTo>
                  <a:pt x="1261" y="662"/>
                </a:lnTo>
                <a:lnTo>
                  <a:pt x="1258" y="663"/>
                </a:lnTo>
                <a:lnTo>
                  <a:pt x="1255" y="664"/>
                </a:lnTo>
                <a:lnTo>
                  <a:pt x="1253" y="664"/>
                </a:lnTo>
                <a:lnTo>
                  <a:pt x="1255" y="664"/>
                </a:lnTo>
                <a:lnTo>
                  <a:pt x="1258" y="663"/>
                </a:lnTo>
                <a:lnTo>
                  <a:pt x="1261" y="662"/>
                </a:lnTo>
                <a:lnTo>
                  <a:pt x="1263" y="660"/>
                </a:lnTo>
                <a:lnTo>
                  <a:pt x="1266" y="660"/>
                </a:lnTo>
                <a:lnTo>
                  <a:pt x="1268" y="660"/>
                </a:lnTo>
                <a:lnTo>
                  <a:pt x="1266" y="660"/>
                </a:lnTo>
                <a:lnTo>
                  <a:pt x="1263" y="660"/>
                </a:lnTo>
                <a:close/>
                <a:moveTo>
                  <a:pt x="1239" y="664"/>
                </a:moveTo>
                <a:lnTo>
                  <a:pt x="1234" y="669"/>
                </a:lnTo>
                <a:lnTo>
                  <a:pt x="1228" y="672"/>
                </a:lnTo>
                <a:lnTo>
                  <a:pt x="1223" y="674"/>
                </a:lnTo>
                <a:lnTo>
                  <a:pt x="1217" y="675"/>
                </a:lnTo>
                <a:lnTo>
                  <a:pt x="1223" y="674"/>
                </a:lnTo>
                <a:lnTo>
                  <a:pt x="1228" y="672"/>
                </a:lnTo>
                <a:lnTo>
                  <a:pt x="1234" y="669"/>
                </a:lnTo>
                <a:lnTo>
                  <a:pt x="1239" y="664"/>
                </a:lnTo>
                <a:lnTo>
                  <a:pt x="1243" y="664"/>
                </a:lnTo>
                <a:lnTo>
                  <a:pt x="1249" y="663"/>
                </a:lnTo>
                <a:lnTo>
                  <a:pt x="1243" y="664"/>
                </a:lnTo>
                <a:lnTo>
                  <a:pt x="1239" y="664"/>
                </a:lnTo>
                <a:close/>
                <a:moveTo>
                  <a:pt x="1222" y="665"/>
                </a:moveTo>
                <a:lnTo>
                  <a:pt x="1222" y="665"/>
                </a:lnTo>
                <a:lnTo>
                  <a:pt x="1222" y="665"/>
                </a:lnTo>
                <a:close/>
                <a:moveTo>
                  <a:pt x="1191" y="679"/>
                </a:moveTo>
                <a:lnTo>
                  <a:pt x="1190" y="681"/>
                </a:lnTo>
                <a:lnTo>
                  <a:pt x="1188" y="683"/>
                </a:lnTo>
                <a:lnTo>
                  <a:pt x="1190" y="681"/>
                </a:lnTo>
                <a:lnTo>
                  <a:pt x="1191" y="679"/>
                </a:lnTo>
                <a:lnTo>
                  <a:pt x="1195" y="679"/>
                </a:lnTo>
                <a:lnTo>
                  <a:pt x="1200" y="679"/>
                </a:lnTo>
                <a:lnTo>
                  <a:pt x="1195" y="679"/>
                </a:lnTo>
                <a:lnTo>
                  <a:pt x="1191" y="679"/>
                </a:lnTo>
                <a:close/>
                <a:moveTo>
                  <a:pt x="1187" y="683"/>
                </a:moveTo>
                <a:lnTo>
                  <a:pt x="1187" y="680"/>
                </a:lnTo>
                <a:lnTo>
                  <a:pt x="1187" y="679"/>
                </a:lnTo>
                <a:lnTo>
                  <a:pt x="1187" y="680"/>
                </a:lnTo>
                <a:lnTo>
                  <a:pt x="1187" y="683"/>
                </a:lnTo>
                <a:lnTo>
                  <a:pt x="1186" y="686"/>
                </a:lnTo>
                <a:lnTo>
                  <a:pt x="1186" y="688"/>
                </a:lnTo>
                <a:lnTo>
                  <a:pt x="1186" y="689"/>
                </a:lnTo>
                <a:lnTo>
                  <a:pt x="1187" y="690"/>
                </a:lnTo>
                <a:lnTo>
                  <a:pt x="1186" y="689"/>
                </a:lnTo>
                <a:lnTo>
                  <a:pt x="1186" y="688"/>
                </a:lnTo>
                <a:lnTo>
                  <a:pt x="1186" y="686"/>
                </a:lnTo>
                <a:lnTo>
                  <a:pt x="1187" y="683"/>
                </a:lnTo>
                <a:close/>
                <a:moveTo>
                  <a:pt x="1080" y="696"/>
                </a:moveTo>
                <a:lnTo>
                  <a:pt x="1079" y="699"/>
                </a:lnTo>
                <a:lnTo>
                  <a:pt x="1077" y="700"/>
                </a:lnTo>
                <a:lnTo>
                  <a:pt x="1079" y="699"/>
                </a:lnTo>
                <a:lnTo>
                  <a:pt x="1080" y="696"/>
                </a:lnTo>
                <a:lnTo>
                  <a:pt x="1094" y="695"/>
                </a:lnTo>
                <a:lnTo>
                  <a:pt x="1107" y="694"/>
                </a:lnTo>
                <a:lnTo>
                  <a:pt x="1094" y="695"/>
                </a:lnTo>
                <a:lnTo>
                  <a:pt x="1080" y="696"/>
                </a:lnTo>
                <a:close/>
                <a:moveTo>
                  <a:pt x="1049" y="705"/>
                </a:moveTo>
                <a:lnTo>
                  <a:pt x="1044" y="705"/>
                </a:lnTo>
                <a:lnTo>
                  <a:pt x="1039" y="705"/>
                </a:lnTo>
                <a:lnTo>
                  <a:pt x="1023" y="705"/>
                </a:lnTo>
                <a:lnTo>
                  <a:pt x="1007" y="706"/>
                </a:lnTo>
                <a:lnTo>
                  <a:pt x="1023" y="705"/>
                </a:lnTo>
                <a:lnTo>
                  <a:pt x="1039" y="705"/>
                </a:lnTo>
                <a:lnTo>
                  <a:pt x="1044" y="705"/>
                </a:lnTo>
                <a:lnTo>
                  <a:pt x="1049" y="705"/>
                </a:lnTo>
                <a:lnTo>
                  <a:pt x="1050" y="703"/>
                </a:lnTo>
                <a:lnTo>
                  <a:pt x="1051" y="702"/>
                </a:lnTo>
                <a:lnTo>
                  <a:pt x="1050" y="703"/>
                </a:lnTo>
                <a:lnTo>
                  <a:pt x="1049" y="705"/>
                </a:lnTo>
                <a:lnTo>
                  <a:pt x="1065" y="705"/>
                </a:lnTo>
                <a:lnTo>
                  <a:pt x="1081" y="706"/>
                </a:lnTo>
                <a:lnTo>
                  <a:pt x="1065" y="705"/>
                </a:lnTo>
                <a:lnTo>
                  <a:pt x="1049" y="705"/>
                </a:lnTo>
                <a:close/>
                <a:moveTo>
                  <a:pt x="1000" y="696"/>
                </a:moveTo>
                <a:lnTo>
                  <a:pt x="998" y="699"/>
                </a:lnTo>
                <a:lnTo>
                  <a:pt x="997" y="700"/>
                </a:lnTo>
                <a:lnTo>
                  <a:pt x="995" y="701"/>
                </a:lnTo>
                <a:lnTo>
                  <a:pt x="993" y="701"/>
                </a:lnTo>
                <a:lnTo>
                  <a:pt x="995" y="701"/>
                </a:lnTo>
                <a:lnTo>
                  <a:pt x="997" y="700"/>
                </a:lnTo>
                <a:lnTo>
                  <a:pt x="998" y="699"/>
                </a:lnTo>
                <a:lnTo>
                  <a:pt x="1000" y="696"/>
                </a:lnTo>
                <a:lnTo>
                  <a:pt x="1004" y="696"/>
                </a:lnTo>
                <a:lnTo>
                  <a:pt x="1007" y="696"/>
                </a:lnTo>
                <a:lnTo>
                  <a:pt x="1004" y="696"/>
                </a:lnTo>
                <a:lnTo>
                  <a:pt x="1000" y="696"/>
                </a:lnTo>
                <a:close/>
                <a:moveTo>
                  <a:pt x="980" y="707"/>
                </a:moveTo>
                <a:lnTo>
                  <a:pt x="980" y="709"/>
                </a:lnTo>
                <a:lnTo>
                  <a:pt x="980" y="710"/>
                </a:lnTo>
                <a:lnTo>
                  <a:pt x="980" y="709"/>
                </a:lnTo>
                <a:lnTo>
                  <a:pt x="980" y="707"/>
                </a:lnTo>
                <a:lnTo>
                  <a:pt x="989" y="706"/>
                </a:lnTo>
                <a:lnTo>
                  <a:pt x="996" y="706"/>
                </a:lnTo>
                <a:lnTo>
                  <a:pt x="989" y="706"/>
                </a:lnTo>
                <a:lnTo>
                  <a:pt x="980" y="707"/>
                </a:lnTo>
                <a:close/>
                <a:moveTo>
                  <a:pt x="977" y="700"/>
                </a:moveTo>
                <a:lnTo>
                  <a:pt x="966" y="703"/>
                </a:lnTo>
                <a:lnTo>
                  <a:pt x="956" y="708"/>
                </a:lnTo>
                <a:lnTo>
                  <a:pt x="966" y="703"/>
                </a:lnTo>
                <a:lnTo>
                  <a:pt x="977" y="700"/>
                </a:lnTo>
                <a:lnTo>
                  <a:pt x="978" y="698"/>
                </a:lnTo>
                <a:lnTo>
                  <a:pt x="981" y="696"/>
                </a:lnTo>
                <a:lnTo>
                  <a:pt x="978" y="698"/>
                </a:lnTo>
                <a:lnTo>
                  <a:pt x="977" y="700"/>
                </a:lnTo>
                <a:close/>
                <a:moveTo>
                  <a:pt x="966" y="748"/>
                </a:moveTo>
                <a:lnTo>
                  <a:pt x="967" y="748"/>
                </a:lnTo>
                <a:lnTo>
                  <a:pt x="968" y="748"/>
                </a:lnTo>
                <a:lnTo>
                  <a:pt x="967" y="748"/>
                </a:lnTo>
                <a:lnTo>
                  <a:pt x="966" y="748"/>
                </a:lnTo>
                <a:close/>
                <a:moveTo>
                  <a:pt x="1071" y="696"/>
                </a:moveTo>
                <a:lnTo>
                  <a:pt x="1073" y="696"/>
                </a:lnTo>
                <a:lnTo>
                  <a:pt x="1075" y="696"/>
                </a:lnTo>
                <a:lnTo>
                  <a:pt x="1073" y="696"/>
                </a:lnTo>
                <a:lnTo>
                  <a:pt x="1071" y="696"/>
                </a:lnTo>
                <a:lnTo>
                  <a:pt x="1069" y="700"/>
                </a:lnTo>
                <a:lnTo>
                  <a:pt x="1067" y="700"/>
                </a:lnTo>
                <a:lnTo>
                  <a:pt x="1069" y="700"/>
                </a:lnTo>
                <a:lnTo>
                  <a:pt x="1071" y="696"/>
                </a:lnTo>
                <a:close/>
                <a:moveTo>
                  <a:pt x="934" y="791"/>
                </a:moveTo>
                <a:lnTo>
                  <a:pt x="921" y="801"/>
                </a:lnTo>
                <a:lnTo>
                  <a:pt x="908" y="812"/>
                </a:lnTo>
                <a:lnTo>
                  <a:pt x="905" y="814"/>
                </a:lnTo>
                <a:lnTo>
                  <a:pt x="902" y="816"/>
                </a:lnTo>
                <a:lnTo>
                  <a:pt x="900" y="820"/>
                </a:lnTo>
                <a:lnTo>
                  <a:pt x="900" y="823"/>
                </a:lnTo>
                <a:lnTo>
                  <a:pt x="898" y="828"/>
                </a:lnTo>
                <a:lnTo>
                  <a:pt x="894" y="833"/>
                </a:lnTo>
                <a:lnTo>
                  <a:pt x="893" y="836"/>
                </a:lnTo>
                <a:lnTo>
                  <a:pt x="892" y="839"/>
                </a:lnTo>
                <a:lnTo>
                  <a:pt x="892" y="842"/>
                </a:lnTo>
                <a:lnTo>
                  <a:pt x="893" y="845"/>
                </a:lnTo>
                <a:lnTo>
                  <a:pt x="893" y="845"/>
                </a:lnTo>
                <a:lnTo>
                  <a:pt x="893" y="845"/>
                </a:lnTo>
                <a:lnTo>
                  <a:pt x="891" y="846"/>
                </a:lnTo>
                <a:lnTo>
                  <a:pt x="890" y="847"/>
                </a:lnTo>
                <a:lnTo>
                  <a:pt x="889" y="849"/>
                </a:lnTo>
                <a:lnTo>
                  <a:pt x="889" y="851"/>
                </a:lnTo>
                <a:lnTo>
                  <a:pt x="890" y="854"/>
                </a:lnTo>
                <a:lnTo>
                  <a:pt x="891" y="856"/>
                </a:lnTo>
                <a:lnTo>
                  <a:pt x="892" y="862"/>
                </a:lnTo>
                <a:lnTo>
                  <a:pt x="893" y="869"/>
                </a:lnTo>
                <a:lnTo>
                  <a:pt x="893" y="877"/>
                </a:lnTo>
                <a:lnTo>
                  <a:pt x="893" y="887"/>
                </a:lnTo>
                <a:lnTo>
                  <a:pt x="893" y="897"/>
                </a:lnTo>
                <a:lnTo>
                  <a:pt x="893" y="906"/>
                </a:lnTo>
                <a:lnTo>
                  <a:pt x="889" y="918"/>
                </a:lnTo>
                <a:lnTo>
                  <a:pt x="887" y="930"/>
                </a:lnTo>
                <a:lnTo>
                  <a:pt x="885" y="930"/>
                </a:lnTo>
                <a:lnTo>
                  <a:pt x="883" y="930"/>
                </a:lnTo>
                <a:lnTo>
                  <a:pt x="883" y="927"/>
                </a:lnTo>
                <a:lnTo>
                  <a:pt x="882" y="924"/>
                </a:lnTo>
                <a:lnTo>
                  <a:pt x="880" y="922"/>
                </a:lnTo>
                <a:lnTo>
                  <a:pt x="879" y="921"/>
                </a:lnTo>
                <a:lnTo>
                  <a:pt x="875" y="920"/>
                </a:lnTo>
                <a:lnTo>
                  <a:pt x="869" y="921"/>
                </a:lnTo>
                <a:lnTo>
                  <a:pt x="865" y="923"/>
                </a:lnTo>
                <a:lnTo>
                  <a:pt x="862" y="924"/>
                </a:lnTo>
                <a:lnTo>
                  <a:pt x="860" y="928"/>
                </a:lnTo>
                <a:lnTo>
                  <a:pt x="858" y="930"/>
                </a:lnTo>
                <a:lnTo>
                  <a:pt x="860" y="928"/>
                </a:lnTo>
                <a:lnTo>
                  <a:pt x="862" y="924"/>
                </a:lnTo>
                <a:lnTo>
                  <a:pt x="862" y="919"/>
                </a:lnTo>
                <a:lnTo>
                  <a:pt x="861" y="915"/>
                </a:lnTo>
                <a:lnTo>
                  <a:pt x="858" y="910"/>
                </a:lnTo>
                <a:lnTo>
                  <a:pt x="857" y="906"/>
                </a:lnTo>
                <a:lnTo>
                  <a:pt x="855" y="898"/>
                </a:lnTo>
                <a:lnTo>
                  <a:pt x="852" y="888"/>
                </a:lnTo>
                <a:lnTo>
                  <a:pt x="848" y="879"/>
                </a:lnTo>
                <a:lnTo>
                  <a:pt x="843" y="872"/>
                </a:lnTo>
                <a:lnTo>
                  <a:pt x="839" y="867"/>
                </a:lnTo>
                <a:lnTo>
                  <a:pt x="835" y="861"/>
                </a:lnTo>
                <a:lnTo>
                  <a:pt x="830" y="849"/>
                </a:lnTo>
                <a:lnTo>
                  <a:pt x="825" y="839"/>
                </a:lnTo>
                <a:lnTo>
                  <a:pt x="818" y="828"/>
                </a:lnTo>
                <a:lnTo>
                  <a:pt x="812" y="817"/>
                </a:lnTo>
                <a:lnTo>
                  <a:pt x="811" y="815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0"/>
                </a:lnTo>
                <a:lnTo>
                  <a:pt x="809" y="808"/>
                </a:lnTo>
                <a:lnTo>
                  <a:pt x="811" y="797"/>
                </a:lnTo>
                <a:lnTo>
                  <a:pt x="814" y="786"/>
                </a:lnTo>
                <a:lnTo>
                  <a:pt x="817" y="785"/>
                </a:lnTo>
                <a:lnTo>
                  <a:pt x="817" y="784"/>
                </a:lnTo>
                <a:lnTo>
                  <a:pt x="817" y="782"/>
                </a:lnTo>
                <a:lnTo>
                  <a:pt x="816" y="780"/>
                </a:lnTo>
                <a:lnTo>
                  <a:pt x="816" y="778"/>
                </a:lnTo>
                <a:lnTo>
                  <a:pt x="817" y="776"/>
                </a:lnTo>
                <a:lnTo>
                  <a:pt x="818" y="778"/>
                </a:lnTo>
                <a:lnTo>
                  <a:pt x="821" y="779"/>
                </a:lnTo>
                <a:lnTo>
                  <a:pt x="823" y="779"/>
                </a:lnTo>
                <a:lnTo>
                  <a:pt x="825" y="777"/>
                </a:lnTo>
                <a:lnTo>
                  <a:pt x="827" y="775"/>
                </a:lnTo>
                <a:lnTo>
                  <a:pt x="830" y="770"/>
                </a:lnTo>
                <a:lnTo>
                  <a:pt x="831" y="769"/>
                </a:lnTo>
                <a:lnTo>
                  <a:pt x="833" y="770"/>
                </a:lnTo>
                <a:lnTo>
                  <a:pt x="835" y="772"/>
                </a:lnTo>
                <a:lnTo>
                  <a:pt x="837" y="777"/>
                </a:lnTo>
                <a:lnTo>
                  <a:pt x="838" y="778"/>
                </a:lnTo>
                <a:lnTo>
                  <a:pt x="840" y="777"/>
                </a:lnTo>
                <a:lnTo>
                  <a:pt x="843" y="777"/>
                </a:lnTo>
                <a:lnTo>
                  <a:pt x="845" y="777"/>
                </a:lnTo>
                <a:lnTo>
                  <a:pt x="847" y="777"/>
                </a:lnTo>
                <a:lnTo>
                  <a:pt x="849" y="778"/>
                </a:lnTo>
                <a:lnTo>
                  <a:pt x="852" y="782"/>
                </a:lnTo>
                <a:lnTo>
                  <a:pt x="854" y="786"/>
                </a:lnTo>
                <a:lnTo>
                  <a:pt x="855" y="793"/>
                </a:lnTo>
                <a:lnTo>
                  <a:pt x="857" y="798"/>
                </a:lnTo>
                <a:lnTo>
                  <a:pt x="859" y="801"/>
                </a:lnTo>
                <a:lnTo>
                  <a:pt x="861" y="803"/>
                </a:lnTo>
                <a:lnTo>
                  <a:pt x="864" y="803"/>
                </a:lnTo>
                <a:lnTo>
                  <a:pt x="868" y="802"/>
                </a:lnTo>
                <a:lnTo>
                  <a:pt x="872" y="801"/>
                </a:lnTo>
                <a:lnTo>
                  <a:pt x="874" y="799"/>
                </a:lnTo>
                <a:lnTo>
                  <a:pt x="875" y="797"/>
                </a:lnTo>
                <a:lnTo>
                  <a:pt x="875" y="796"/>
                </a:lnTo>
                <a:lnTo>
                  <a:pt x="875" y="794"/>
                </a:lnTo>
                <a:lnTo>
                  <a:pt x="874" y="792"/>
                </a:lnTo>
                <a:lnTo>
                  <a:pt x="873" y="788"/>
                </a:lnTo>
                <a:lnTo>
                  <a:pt x="872" y="785"/>
                </a:lnTo>
                <a:lnTo>
                  <a:pt x="870" y="780"/>
                </a:lnTo>
                <a:lnTo>
                  <a:pt x="869" y="774"/>
                </a:lnTo>
                <a:lnTo>
                  <a:pt x="867" y="770"/>
                </a:lnTo>
                <a:lnTo>
                  <a:pt x="865" y="768"/>
                </a:lnTo>
                <a:lnTo>
                  <a:pt x="862" y="766"/>
                </a:lnTo>
                <a:lnTo>
                  <a:pt x="859" y="764"/>
                </a:lnTo>
                <a:lnTo>
                  <a:pt x="857" y="763"/>
                </a:lnTo>
                <a:lnTo>
                  <a:pt x="857" y="761"/>
                </a:lnTo>
                <a:lnTo>
                  <a:pt x="857" y="759"/>
                </a:lnTo>
                <a:lnTo>
                  <a:pt x="857" y="756"/>
                </a:lnTo>
                <a:lnTo>
                  <a:pt x="862" y="759"/>
                </a:lnTo>
                <a:lnTo>
                  <a:pt x="868" y="759"/>
                </a:lnTo>
                <a:lnTo>
                  <a:pt x="873" y="759"/>
                </a:lnTo>
                <a:lnTo>
                  <a:pt x="877" y="756"/>
                </a:lnTo>
                <a:lnTo>
                  <a:pt x="880" y="754"/>
                </a:lnTo>
                <a:lnTo>
                  <a:pt x="882" y="753"/>
                </a:lnTo>
                <a:lnTo>
                  <a:pt x="883" y="755"/>
                </a:lnTo>
                <a:lnTo>
                  <a:pt x="883" y="759"/>
                </a:lnTo>
                <a:lnTo>
                  <a:pt x="884" y="762"/>
                </a:lnTo>
                <a:lnTo>
                  <a:pt x="886" y="764"/>
                </a:lnTo>
                <a:lnTo>
                  <a:pt x="888" y="765"/>
                </a:lnTo>
                <a:lnTo>
                  <a:pt x="891" y="765"/>
                </a:lnTo>
                <a:lnTo>
                  <a:pt x="898" y="764"/>
                </a:lnTo>
                <a:lnTo>
                  <a:pt x="903" y="764"/>
                </a:lnTo>
                <a:lnTo>
                  <a:pt x="905" y="764"/>
                </a:lnTo>
                <a:lnTo>
                  <a:pt x="908" y="765"/>
                </a:lnTo>
                <a:lnTo>
                  <a:pt x="910" y="766"/>
                </a:lnTo>
                <a:lnTo>
                  <a:pt x="913" y="769"/>
                </a:lnTo>
                <a:lnTo>
                  <a:pt x="914" y="770"/>
                </a:lnTo>
                <a:lnTo>
                  <a:pt x="916" y="770"/>
                </a:lnTo>
                <a:lnTo>
                  <a:pt x="919" y="770"/>
                </a:lnTo>
                <a:lnTo>
                  <a:pt x="921" y="769"/>
                </a:lnTo>
                <a:lnTo>
                  <a:pt x="928" y="766"/>
                </a:lnTo>
                <a:lnTo>
                  <a:pt x="933" y="761"/>
                </a:lnTo>
                <a:lnTo>
                  <a:pt x="933" y="767"/>
                </a:lnTo>
                <a:lnTo>
                  <a:pt x="931" y="772"/>
                </a:lnTo>
                <a:lnTo>
                  <a:pt x="929" y="775"/>
                </a:lnTo>
                <a:lnTo>
                  <a:pt x="929" y="777"/>
                </a:lnTo>
                <a:lnTo>
                  <a:pt x="930" y="779"/>
                </a:lnTo>
                <a:lnTo>
                  <a:pt x="932" y="781"/>
                </a:lnTo>
                <a:lnTo>
                  <a:pt x="935" y="782"/>
                </a:lnTo>
                <a:lnTo>
                  <a:pt x="936" y="785"/>
                </a:lnTo>
                <a:lnTo>
                  <a:pt x="936" y="787"/>
                </a:lnTo>
                <a:lnTo>
                  <a:pt x="934" y="791"/>
                </a:lnTo>
                <a:close/>
                <a:moveTo>
                  <a:pt x="809" y="813"/>
                </a:moveTo>
                <a:lnTo>
                  <a:pt x="809" y="815"/>
                </a:lnTo>
                <a:lnTo>
                  <a:pt x="809" y="816"/>
                </a:lnTo>
                <a:lnTo>
                  <a:pt x="808" y="817"/>
                </a:lnTo>
                <a:lnTo>
                  <a:pt x="806" y="816"/>
                </a:lnTo>
                <a:lnTo>
                  <a:pt x="806" y="816"/>
                </a:lnTo>
                <a:lnTo>
                  <a:pt x="806" y="815"/>
                </a:lnTo>
                <a:lnTo>
                  <a:pt x="807" y="813"/>
                </a:lnTo>
                <a:lnTo>
                  <a:pt x="807" y="813"/>
                </a:lnTo>
                <a:lnTo>
                  <a:pt x="807" y="812"/>
                </a:lnTo>
                <a:lnTo>
                  <a:pt x="807" y="813"/>
                </a:lnTo>
                <a:lnTo>
                  <a:pt x="807" y="813"/>
                </a:lnTo>
                <a:lnTo>
                  <a:pt x="808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lnTo>
                  <a:pt x="809" y="813"/>
                </a:lnTo>
                <a:close/>
                <a:moveTo>
                  <a:pt x="811" y="717"/>
                </a:moveTo>
                <a:lnTo>
                  <a:pt x="811" y="716"/>
                </a:lnTo>
                <a:lnTo>
                  <a:pt x="812" y="715"/>
                </a:lnTo>
                <a:lnTo>
                  <a:pt x="811" y="716"/>
                </a:lnTo>
                <a:lnTo>
                  <a:pt x="811" y="717"/>
                </a:lnTo>
                <a:lnTo>
                  <a:pt x="809" y="721"/>
                </a:lnTo>
                <a:lnTo>
                  <a:pt x="807" y="724"/>
                </a:lnTo>
                <a:lnTo>
                  <a:pt x="802" y="726"/>
                </a:lnTo>
                <a:lnTo>
                  <a:pt x="799" y="730"/>
                </a:lnTo>
                <a:lnTo>
                  <a:pt x="802" y="726"/>
                </a:lnTo>
                <a:lnTo>
                  <a:pt x="807" y="724"/>
                </a:lnTo>
                <a:lnTo>
                  <a:pt x="809" y="721"/>
                </a:lnTo>
                <a:lnTo>
                  <a:pt x="811" y="717"/>
                </a:lnTo>
                <a:close/>
                <a:moveTo>
                  <a:pt x="793" y="881"/>
                </a:moveTo>
                <a:lnTo>
                  <a:pt x="793" y="881"/>
                </a:lnTo>
                <a:lnTo>
                  <a:pt x="793" y="881"/>
                </a:lnTo>
                <a:lnTo>
                  <a:pt x="793" y="875"/>
                </a:lnTo>
                <a:lnTo>
                  <a:pt x="795" y="870"/>
                </a:lnTo>
                <a:lnTo>
                  <a:pt x="793" y="875"/>
                </a:lnTo>
                <a:lnTo>
                  <a:pt x="793" y="881"/>
                </a:lnTo>
                <a:close/>
                <a:moveTo>
                  <a:pt x="794" y="722"/>
                </a:moveTo>
                <a:lnTo>
                  <a:pt x="794" y="722"/>
                </a:lnTo>
                <a:lnTo>
                  <a:pt x="794" y="722"/>
                </a:lnTo>
                <a:lnTo>
                  <a:pt x="794" y="722"/>
                </a:lnTo>
                <a:close/>
                <a:moveTo>
                  <a:pt x="793" y="721"/>
                </a:moveTo>
                <a:lnTo>
                  <a:pt x="798" y="714"/>
                </a:lnTo>
                <a:lnTo>
                  <a:pt x="802" y="705"/>
                </a:lnTo>
                <a:lnTo>
                  <a:pt x="798" y="714"/>
                </a:lnTo>
                <a:lnTo>
                  <a:pt x="793" y="721"/>
                </a:lnTo>
                <a:close/>
                <a:moveTo>
                  <a:pt x="827" y="734"/>
                </a:moveTo>
                <a:lnTo>
                  <a:pt x="831" y="730"/>
                </a:lnTo>
                <a:lnTo>
                  <a:pt x="834" y="724"/>
                </a:lnTo>
                <a:lnTo>
                  <a:pt x="838" y="720"/>
                </a:lnTo>
                <a:lnTo>
                  <a:pt x="840" y="715"/>
                </a:lnTo>
                <a:lnTo>
                  <a:pt x="838" y="720"/>
                </a:lnTo>
                <a:lnTo>
                  <a:pt x="834" y="724"/>
                </a:lnTo>
                <a:lnTo>
                  <a:pt x="831" y="730"/>
                </a:lnTo>
                <a:lnTo>
                  <a:pt x="827" y="734"/>
                </a:lnTo>
                <a:lnTo>
                  <a:pt x="824" y="740"/>
                </a:lnTo>
                <a:lnTo>
                  <a:pt x="821" y="747"/>
                </a:lnTo>
                <a:lnTo>
                  <a:pt x="824" y="740"/>
                </a:lnTo>
                <a:lnTo>
                  <a:pt x="827" y="734"/>
                </a:lnTo>
                <a:close/>
                <a:moveTo>
                  <a:pt x="850" y="681"/>
                </a:moveTo>
                <a:lnTo>
                  <a:pt x="850" y="680"/>
                </a:lnTo>
                <a:lnTo>
                  <a:pt x="849" y="680"/>
                </a:lnTo>
                <a:lnTo>
                  <a:pt x="850" y="680"/>
                </a:lnTo>
                <a:lnTo>
                  <a:pt x="850" y="681"/>
                </a:lnTo>
                <a:close/>
                <a:moveTo>
                  <a:pt x="852" y="684"/>
                </a:moveTo>
                <a:lnTo>
                  <a:pt x="853" y="687"/>
                </a:lnTo>
                <a:lnTo>
                  <a:pt x="854" y="690"/>
                </a:lnTo>
                <a:lnTo>
                  <a:pt x="857" y="688"/>
                </a:lnTo>
                <a:lnTo>
                  <a:pt x="861" y="686"/>
                </a:lnTo>
                <a:lnTo>
                  <a:pt x="867" y="685"/>
                </a:lnTo>
                <a:lnTo>
                  <a:pt x="872" y="684"/>
                </a:lnTo>
                <a:lnTo>
                  <a:pt x="880" y="687"/>
                </a:lnTo>
                <a:lnTo>
                  <a:pt x="889" y="689"/>
                </a:lnTo>
                <a:lnTo>
                  <a:pt x="889" y="687"/>
                </a:lnTo>
                <a:lnTo>
                  <a:pt x="889" y="685"/>
                </a:lnTo>
                <a:lnTo>
                  <a:pt x="889" y="687"/>
                </a:lnTo>
                <a:lnTo>
                  <a:pt x="889" y="689"/>
                </a:lnTo>
                <a:lnTo>
                  <a:pt x="894" y="691"/>
                </a:lnTo>
                <a:lnTo>
                  <a:pt x="900" y="693"/>
                </a:lnTo>
                <a:lnTo>
                  <a:pt x="905" y="695"/>
                </a:lnTo>
                <a:lnTo>
                  <a:pt x="912" y="695"/>
                </a:lnTo>
                <a:lnTo>
                  <a:pt x="910" y="698"/>
                </a:lnTo>
                <a:lnTo>
                  <a:pt x="908" y="699"/>
                </a:lnTo>
                <a:lnTo>
                  <a:pt x="907" y="700"/>
                </a:lnTo>
                <a:lnTo>
                  <a:pt x="905" y="701"/>
                </a:lnTo>
                <a:lnTo>
                  <a:pt x="901" y="702"/>
                </a:lnTo>
                <a:lnTo>
                  <a:pt x="897" y="702"/>
                </a:lnTo>
                <a:lnTo>
                  <a:pt x="882" y="702"/>
                </a:lnTo>
                <a:lnTo>
                  <a:pt x="867" y="701"/>
                </a:lnTo>
                <a:lnTo>
                  <a:pt x="862" y="702"/>
                </a:lnTo>
                <a:lnTo>
                  <a:pt x="858" y="701"/>
                </a:lnTo>
                <a:lnTo>
                  <a:pt x="854" y="699"/>
                </a:lnTo>
                <a:lnTo>
                  <a:pt x="850" y="694"/>
                </a:lnTo>
                <a:lnTo>
                  <a:pt x="852" y="692"/>
                </a:lnTo>
                <a:lnTo>
                  <a:pt x="854" y="690"/>
                </a:lnTo>
                <a:lnTo>
                  <a:pt x="853" y="687"/>
                </a:lnTo>
                <a:lnTo>
                  <a:pt x="852" y="684"/>
                </a:lnTo>
                <a:close/>
                <a:moveTo>
                  <a:pt x="778" y="922"/>
                </a:moveTo>
                <a:lnTo>
                  <a:pt x="778" y="921"/>
                </a:lnTo>
                <a:lnTo>
                  <a:pt x="778" y="919"/>
                </a:lnTo>
                <a:lnTo>
                  <a:pt x="778" y="921"/>
                </a:lnTo>
                <a:lnTo>
                  <a:pt x="778" y="922"/>
                </a:lnTo>
                <a:lnTo>
                  <a:pt x="780" y="923"/>
                </a:lnTo>
                <a:lnTo>
                  <a:pt x="781" y="925"/>
                </a:lnTo>
                <a:lnTo>
                  <a:pt x="782" y="927"/>
                </a:lnTo>
                <a:lnTo>
                  <a:pt x="782" y="929"/>
                </a:lnTo>
                <a:lnTo>
                  <a:pt x="782" y="927"/>
                </a:lnTo>
                <a:lnTo>
                  <a:pt x="781" y="925"/>
                </a:lnTo>
                <a:lnTo>
                  <a:pt x="780" y="923"/>
                </a:lnTo>
                <a:lnTo>
                  <a:pt x="778" y="922"/>
                </a:lnTo>
                <a:close/>
                <a:moveTo>
                  <a:pt x="766" y="1078"/>
                </a:moveTo>
                <a:lnTo>
                  <a:pt x="766" y="1078"/>
                </a:lnTo>
                <a:lnTo>
                  <a:pt x="768" y="1077"/>
                </a:lnTo>
                <a:lnTo>
                  <a:pt x="770" y="1075"/>
                </a:lnTo>
                <a:lnTo>
                  <a:pt x="768" y="1077"/>
                </a:lnTo>
                <a:lnTo>
                  <a:pt x="766" y="1078"/>
                </a:lnTo>
                <a:close/>
                <a:moveTo>
                  <a:pt x="767" y="1330"/>
                </a:moveTo>
                <a:lnTo>
                  <a:pt x="766" y="1331"/>
                </a:lnTo>
                <a:lnTo>
                  <a:pt x="765" y="1331"/>
                </a:lnTo>
                <a:lnTo>
                  <a:pt x="766" y="1331"/>
                </a:lnTo>
                <a:lnTo>
                  <a:pt x="767" y="1330"/>
                </a:lnTo>
                <a:close/>
                <a:moveTo>
                  <a:pt x="763" y="1083"/>
                </a:moveTo>
                <a:lnTo>
                  <a:pt x="764" y="1082"/>
                </a:lnTo>
                <a:lnTo>
                  <a:pt x="765" y="1081"/>
                </a:lnTo>
                <a:lnTo>
                  <a:pt x="764" y="1082"/>
                </a:lnTo>
                <a:lnTo>
                  <a:pt x="763" y="1083"/>
                </a:lnTo>
                <a:close/>
                <a:moveTo>
                  <a:pt x="741" y="1333"/>
                </a:moveTo>
                <a:lnTo>
                  <a:pt x="736" y="1349"/>
                </a:lnTo>
                <a:lnTo>
                  <a:pt x="727" y="1364"/>
                </a:lnTo>
                <a:lnTo>
                  <a:pt x="727" y="1365"/>
                </a:lnTo>
                <a:lnTo>
                  <a:pt x="726" y="1366"/>
                </a:lnTo>
                <a:lnTo>
                  <a:pt x="725" y="1368"/>
                </a:lnTo>
                <a:lnTo>
                  <a:pt x="725" y="1371"/>
                </a:lnTo>
                <a:lnTo>
                  <a:pt x="723" y="1372"/>
                </a:lnTo>
                <a:lnTo>
                  <a:pt x="720" y="1373"/>
                </a:lnTo>
                <a:lnTo>
                  <a:pt x="717" y="1372"/>
                </a:lnTo>
                <a:lnTo>
                  <a:pt x="716" y="1371"/>
                </a:lnTo>
                <a:lnTo>
                  <a:pt x="715" y="1367"/>
                </a:lnTo>
                <a:lnTo>
                  <a:pt x="713" y="1365"/>
                </a:lnTo>
                <a:lnTo>
                  <a:pt x="712" y="1363"/>
                </a:lnTo>
                <a:lnTo>
                  <a:pt x="712" y="1361"/>
                </a:lnTo>
                <a:lnTo>
                  <a:pt x="716" y="1346"/>
                </a:lnTo>
                <a:lnTo>
                  <a:pt x="719" y="1332"/>
                </a:lnTo>
                <a:lnTo>
                  <a:pt x="721" y="1330"/>
                </a:lnTo>
                <a:lnTo>
                  <a:pt x="724" y="1327"/>
                </a:lnTo>
                <a:lnTo>
                  <a:pt x="727" y="1325"/>
                </a:lnTo>
                <a:lnTo>
                  <a:pt x="731" y="1322"/>
                </a:lnTo>
                <a:lnTo>
                  <a:pt x="733" y="1321"/>
                </a:lnTo>
                <a:lnTo>
                  <a:pt x="735" y="1321"/>
                </a:lnTo>
                <a:lnTo>
                  <a:pt x="737" y="1321"/>
                </a:lnTo>
                <a:lnTo>
                  <a:pt x="739" y="1323"/>
                </a:lnTo>
                <a:lnTo>
                  <a:pt x="740" y="1326"/>
                </a:lnTo>
                <a:lnTo>
                  <a:pt x="741" y="1328"/>
                </a:lnTo>
                <a:lnTo>
                  <a:pt x="742" y="1330"/>
                </a:lnTo>
                <a:lnTo>
                  <a:pt x="741" y="1333"/>
                </a:lnTo>
                <a:close/>
                <a:moveTo>
                  <a:pt x="708" y="986"/>
                </a:moveTo>
                <a:lnTo>
                  <a:pt x="708" y="983"/>
                </a:lnTo>
                <a:lnTo>
                  <a:pt x="707" y="980"/>
                </a:lnTo>
                <a:lnTo>
                  <a:pt x="708" y="983"/>
                </a:lnTo>
                <a:lnTo>
                  <a:pt x="708" y="986"/>
                </a:lnTo>
                <a:lnTo>
                  <a:pt x="708" y="986"/>
                </a:lnTo>
                <a:lnTo>
                  <a:pt x="712" y="989"/>
                </a:lnTo>
                <a:lnTo>
                  <a:pt x="713" y="991"/>
                </a:lnTo>
                <a:lnTo>
                  <a:pt x="712" y="989"/>
                </a:lnTo>
                <a:lnTo>
                  <a:pt x="708" y="986"/>
                </a:lnTo>
                <a:lnTo>
                  <a:pt x="708" y="986"/>
                </a:lnTo>
                <a:lnTo>
                  <a:pt x="708" y="986"/>
                </a:lnTo>
                <a:close/>
                <a:moveTo>
                  <a:pt x="691" y="1063"/>
                </a:moveTo>
                <a:lnTo>
                  <a:pt x="698" y="1061"/>
                </a:lnTo>
                <a:lnTo>
                  <a:pt x="705" y="1059"/>
                </a:lnTo>
                <a:lnTo>
                  <a:pt x="698" y="1061"/>
                </a:lnTo>
                <a:lnTo>
                  <a:pt x="691" y="1063"/>
                </a:lnTo>
                <a:close/>
                <a:moveTo>
                  <a:pt x="689" y="1105"/>
                </a:moveTo>
                <a:lnTo>
                  <a:pt x="689" y="1105"/>
                </a:lnTo>
                <a:lnTo>
                  <a:pt x="689" y="1104"/>
                </a:lnTo>
                <a:lnTo>
                  <a:pt x="688" y="1104"/>
                </a:lnTo>
                <a:lnTo>
                  <a:pt x="688" y="1103"/>
                </a:lnTo>
                <a:lnTo>
                  <a:pt x="688" y="1104"/>
                </a:lnTo>
                <a:lnTo>
                  <a:pt x="689" y="1104"/>
                </a:lnTo>
                <a:lnTo>
                  <a:pt x="689" y="1105"/>
                </a:lnTo>
                <a:lnTo>
                  <a:pt x="689" y="1105"/>
                </a:lnTo>
                <a:close/>
                <a:moveTo>
                  <a:pt x="697" y="1030"/>
                </a:moveTo>
                <a:lnTo>
                  <a:pt x="701" y="1027"/>
                </a:lnTo>
                <a:lnTo>
                  <a:pt x="703" y="1025"/>
                </a:lnTo>
                <a:lnTo>
                  <a:pt x="701" y="1027"/>
                </a:lnTo>
                <a:lnTo>
                  <a:pt x="697" y="1030"/>
                </a:lnTo>
                <a:lnTo>
                  <a:pt x="696" y="1030"/>
                </a:lnTo>
                <a:lnTo>
                  <a:pt x="694" y="1030"/>
                </a:lnTo>
                <a:lnTo>
                  <a:pt x="696" y="1030"/>
                </a:lnTo>
                <a:lnTo>
                  <a:pt x="697" y="1030"/>
                </a:lnTo>
                <a:close/>
                <a:moveTo>
                  <a:pt x="701" y="1014"/>
                </a:moveTo>
                <a:lnTo>
                  <a:pt x="701" y="1013"/>
                </a:lnTo>
                <a:lnTo>
                  <a:pt x="700" y="1013"/>
                </a:lnTo>
                <a:lnTo>
                  <a:pt x="701" y="1013"/>
                </a:lnTo>
                <a:lnTo>
                  <a:pt x="701" y="1014"/>
                </a:lnTo>
                <a:close/>
                <a:moveTo>
                  <a:pt x="484" y="1238"/>
                </a:moveTo>
                <a:lnTo>
                  <a:pt x="482" y="1240"/>
                </a:lnTo>
                <a:lnTo>
                  <a:pt x="480" y="1240"/>
                </a:lnTo>
                <a:lnTo>
                  <a:pt x="478" y="1239"/>
                </a:lnTo>
                <a:lnTo>
                  <a:pt x="476" y="1237"/>
                </a:lnTo>
                <a:lnTo>
                  <a:pt x="471" y="1233"/>
                </a:lnTo>
                <a:lnTo>
                  <a:pt x="469" y="1231"/>
                </a:lnTo>
                <a:lnTo>
                  <a:pt x="467" y="1234"/>
                </a:lnTo>
                <a:lnTo>
                  <a:pt x="464" y="1240"/>
                </a:lnTo>
                <a:lnTo>
                  <a:pt x="466" y="1242"/>
                </a:lnTo>
                <a:lnTo>
                  <a:pt x="467" y="1244"/>
                </a:lnTo>
                <a:lnTo>
                  <a:pt x="466" y="1242"/>
                </a:lnTo>
                <a:lnTo>
                  <a:pt x="464" y="1240"/>
                </a:lnTo>
                <a:lnTo>
                  <a:pt x="452" y="1235"/>
                </a:lnTo>
                <a:lnTo>
                  <a:pt x="442" y="1227"/>
                </a:lnTo>
                <a:lnTo>
                  <a:pt x="437" y="1223"/>
                </a:lnTo>
                <a:lnTo>
                  <a:pt x="433" y="1219"/>
                </a:lnTo>
                <a:lnTo>
                  <a:pt x="430" y="1212"/>
                </a:lnTo>
                <a:lnTo>
                  <a:pt x="428" y="1206"/>
                </a:lnTo>
                <a:lnTo>
                  <a:pt x="428" y="1203"/>
                </a:lnTo>
                <a:lnTo>
                  <a:pt x="427" y="1198"/>
                </a:lnTo>
                <a:lnTo>
                  <a:pt x="425" y="1197"/>
                </a:lnTo>
                <a:lnTo>
                  <a:pt x="424" y="1196"/>
                </a:lnTo>
                <a:lnTo>
                  <a:pt x="422" y="1195"/>
                </a:lnTo>
                <a:lnTo>
                  <a:pt x="419" y="1196"/>
                </a:lnTo>
                <a:lnTo>
                  <a:pt x="418" y="1195"/>
                </a:lnTo>
                <a:lnTo>
                  <a:pt x="417" y="1194"/>
                </a:lnTo>
                <a:lnTo>
                  <a:pt x="417" y="1193"/>
                </a:lnTo>
                <a:lnTo>
                  <a:pt x="417" y="1191"/>
                </a:lnTo>
                <a:lnTo>
                  <a:pt x="417" y="1189"/>
                </a:lnTo>
                <a:lnTo>
                  <a:pt x="418" y="1188"/>
                </a:lnTo>
                <a:lnTo>
                  <a:pt x="419" y="1188"/>
                </a:lnTo>
                <a:lnTo>
                  <a:pt x="421" y="1188"/>
                </a:lnTo>
                <a:lnTo>
                  <a:pt x="425" y="1189"/>
                </a:lnTo>
                <a:lnTo>
                  <a:pt x="429" y="1190"/>
                </a:lnTo>
                <a:lnTo>
                  <a:pt x="433" y="1191"/>
                </a:lnTo>
                <a:lnTo>
                  <a:pt x="435" y="1193"/>
                </a:lnTo>
                <a:lnTo>
                  <a:pt x="438" y="1197"/>
                </a:lnTo>
                <a:lnTo>
                  <a:pt x="443" y="1200"/>
                </a:lnTo>
                <a:lnTo>
                  <a:pt x="447" y="1204"/>
                </a:lnTo>
                <a:lnTo>
                  <a:pt x="451" y="1206"/>
                </a:lnTo>
                <a:lnTo>
                  <a:pt x="461" y="1210"/>
                </a:lnTo>
                <a:lnTo>
                  <a:pt x="469" y="1212"/>
                </a:lnTo>
                <a:lnTo>
                  <a:pt x="474" y="1213"/>
                </a:lnTo>
                <a:lnTo>
                  <a:pt x="476" y="1215"/>
                </a:lnTo>
                <a:lnTo>
                  <a:pt x="478" y="1218"/>
                </a:lnTo>
                <a:lnTo>
                  <a:pt x="480" y="1220"/>
                </a:lnTo>
                <a:lnTo>
                  <a:pt x="483" y="1224"/>
                </a:lnTo>
                <a:lnTo>
                  <a:pt x="488" y="1228"/>
                </a:lnTo>
                <a:lnTo>
                  <a:pt x="490" y="1230"/>
                </a:lnTo>
                <a:lnTo>
                  <a:pt x="492" y="1231"/>
                </a:lnTo>
                <a:lnTo>
                  <a:pt x="489" y="1235"/>
                </a:lnTo>
                <a:lnTo>
                  <a:pt x="484" y="1238"/>
                </a:lnTo>
                <a:close/>
                <a:moveTo>
                  <a:pt x="401" y="1215"/>
                </a:moveTo>
                <a:lnTo>
                  <a:pt x="398" y="1214"/>
                </a:lnTo>
                <a:lnTo>
                  <a:pt x="395" y="1212"/>
                </a:lnTo>
                <a:lnTo>
                  <a:pt x="398" y="1214"/>
                </a:lnTo>
                <a:lnTo>
                  <a:pt x="401" y="1215"/>
                </a:lnTo>
                <a:lnTo>
                  <a:pt x="401" y="1215"/>
                </a:lnTo>
                <a:lnTo>
                  <a:pt x="401" y="1216"/>
                </a:lnTo>
                <a:lnTo>
                  <a:pt x="401" y="1215"/>
                </a:lnTo>
                <a:close/>
                <a:moveTo>
                  <a:pt x="390" y="1120"/>
                </a:moveTo>
                <a:lnTo>
                  <a:pt x="389" y="1115"/>
                </a:lnTo>
                <a:lnTo>
                  <a:pt x="386" y="1111"/>
                </a:lnTo>
                <a:lnTo>
                  <a:pt x="389" y="1115"/>
                </a:lnTo>
                <a:lnTo>
                  <a:pt x="390" y="1120"/>
                </a:lnTo>
                <a:lnTo>
                  <a:pt x="393" y="1122"/>
                </a:lnTo>
                <a:lnTo>
                  <a:pt x="394" y="1124"/>
                </a:lnTo>
                <a:lnTo>
                  <a:pt x="393" y="1122"/>
                </a:lnTo>
                <a:lnTo>
                  <a:pt x="390" y="1120"/>
                </a:lnTo>
                <a:close/>
                <a:moveTo>
                  <a:pt x="359" y="1039"/>
                </a:moveTo>
                <a:lnTo>
                  <a:pt x="358" y="1039"/>
                </a:lnTo>
                <a:lnTo>
                  <a:pt x="358" y="1040"/>
                </a:lnTo>
                <a:lnTo>
                  <a:pt x="358" y="1039"/>
                </a:lnTo>
                <a:lnTo>
                  <a:pt x="359" y="1039"/>
                </a:lnTo>
                <a:close/>
                <a:moveTo>
                  <a:pt x="357" y="1224"/>
                </a:moveTo>
                <a:lnTo>
                  <a:pt x="355" y="1223"/>
                </a:lnTo>
                <a:lnTo>
                  <a:pt x="354" y="1223"/>
                </a:lnTo>
                <a:lnTo>
                  <a:pt x="354" y="1222"/>
                </a:lnTo>
                <a:lnTo>
                  <a:pt x="354" y="1220"/>
                </a:lnTo>
                <a:lnTo>
                  <a:pt x="354" y="1222"/>
                </a:lnTo>
                <a:lnTo>
                  <a:pt x="354" y="1223"/>
                </a:lnTo>
                <a:lnTo>
                  <a:pt x="355" y="1223"/>
                </a:lnTo>
                <a:lnTo>
                  <a:pt x="357" y="1224"/>
                </a:lnTo>
                <a:close/>
                <a:moveTo>
                  <a:pt x="329" y="1393"/>
                </a:moveTo>
                <a:lnTo>
                  <a:pt x="328" y="1394"/>
                </a:lnTo>
                <a:lnTo>
                  <a:pt x="327" y="1396"/>
                </a:lnTo>
                <a:lnTo>
                  <a:pt x="328" y="1394"/>
                </a:lnTo>
                <a:lnTo>
                  <a:pt x="329" y="1393"/>
                </a:lnTo>
                <a:close/>
                <a:moveTo>
                  <a:pt x="353" y="1417"/>
                </a:moveTo>
                <a:lnTo>
                  <a:pt x="353" y="1421"/>
                </a:lnTo>
                <a:lnTo>
                  <a:pt x="353" y="1425"/>
                </a:lnTo>
                <a:lnTo>
                  <a:pt x="353" y="1421"/>
                </a:lnTo>
                <a:lnTo>
                  <a:pt x="353" y="1417"/>
                </a:lnTo>
                <a:close/>
                <a:moveTo>
                  <a:pt x="455" y="1487"/>
                </a:moveTo>
                <a:lnTo>
                  <a:pt x="460" y="1489"/>
                </a:lnTo>
                <a:lnTo>
                  <a:pt x="463" y="1493"/>
                </a:lnTo>
                <a:lnTo>
                  <a:pt x="460" y="1489"/>
                </a:lnTo>
                <a:lnTo>
                  <a:pt x="455" y="1487"/>
                </a:lnTo>
                <a:lnTo>
                  <a:pt x="450" y="1482"/>
                </a:lnTo>
                <a:lnTo>
                  <a:pt x="444" y="1478"/>
                </a:lnTo>
                <a:lnTo>
                  <a:pt x="450" y="1482"/>
                </a:lnTo>
                <a:lnTo>
                  <a:pt x="455" y="1487"/>
                </a:lnTo>
                <a:close/>
                <a:moveTo>
                  <a:pt x="469" y="1495"/>
                </a:moveTo>
                <a:lnTo>
                  <a:pt x="469" y="1493"/>
                </a:lnTo>
                <a:lnTo>
                  <a:pt x="469" y="1491"/>
                </a:lnTo>
                <a:lnTo>
                  <a:pt x="469" y="1493"/>
                </a:lnTo>
                <a:lnTo>
                  <a:pt x="469" y="1495"/>
                </a:lnTo>
                <a:close/>
                <a:moveTo>
                  <a:pt x="469" y="1495"/>
                </a:moveTo>
                <a:lnTo>
                  <a:pt x="469" y="1495"/>
                </a:lnTo>
                <a:lnTo>
                  <a:pt x="469" y="1495"/>
                </a:lnTo>
                <a:lnTo>
                  <a:pt x="469" y="1495"/>
                </a:lnTo>
                <a:close/>
                <a:moveTo>
                  <a:pt x="1512" y="525"/>
                </a:move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lnTo>
                  <a:pt x="1512" y="525"/>
                </a:lnTo>
                <a:close/>
                <a:moveTo>
                  <a:pt x="1213" y="489"/>
                </a:moveTo>
                <a:lnTo>
                  <a:pt x="1213" y="489"/>
                </a:lnTo>
                <a:lnTo>
                  <a:pt x="1214" y="489"/>
                </a:lnTo>
                <a:lnTo>
                  <a:pt x="1213" y="489"/>
                </a:lnTo>
                <a:lnTo>
                  <a:pt x="1213" y="489"/>
                </a:lnTo>
                <a:close/>
                <a:moveTo>
                  <a:pt x="1072" y="487"/>
                </a:moveTo>
                <a:lnTo>
                  <a:pt x="1083" y="484"/>
                </a:lnTo>
                <a:lnTo>
                  <a:pt x="1092" y="479"/>
                </a:lnTo>
                <a:lnTo>
                  <a:pt x="1103" y="475"/>
                </a:lnTo>
                <a:lnTo>
                  <a:pt x="1113" y="470"/>
                </a:lnTo>
                <a:lnTo>
                  <a:pt x="1113" y="470"/>
                </a:lnTo>
                <a:lnTo>
                  <a:pt x="1103" y="475"/>
                </a:lnTo>
                <a:lnTo>
                  <a:pt x="1092" y="479"/>
                </a:lnTo>
                <a:lnTo>
                  <a:pt x="1083" y="484"/>
                </a:lnTo>
                <a:lnTo>
                  <a:pt x="1072" y="487"/>
                </a:lnTo>
                <a:close/>
                <a:moveTo>
                  <a:pt x="1047" y="568"/>
                </a:moveTo>
                <a:lnTo>
                  <a:pt x="1047" y="568"/>
                </a:lnTo>
                <a:lnTo>
                  <a:pt x="1049" y="568"/>
                </a:lnTo>
                <a:lnTo>
                  <a:pt x="1047" y="568"/>
                </a:lnTo>
                <a:lnTo>
                  <a:pt x="1047" y="568"/>
                </a:lnTo>
                <a:lnTo>
                  <a:pt x="1045" y="569"/>
                </a:lnTo>
                <a:lnTo>
                  <a:pt x="1044" y="569"/>
                </a:lnTo>
                <a:lnTo>
                  <a:pt x="1045" y="569"/>
                </a:lnTo>
                <a:lnTo>
                  <a:pt x="1047" y="568"/>
                </a:lnTo>
                <a:lnTo>
                  <a:pt x="1049" y="565"/>
                </a:lnTo>
                <a:lnTo>
                  <a:pt x="1050" y="564"/>
                </a:lnTo>
                <a:lnTo>
                  <a:pt x="1051" y="563"/>
                </a:lnTo>
                <a:lnTo>
                  <a:pt x="1053" y="562"/>
                </a:lnTo>
                <a:lnTo>
                  <a:pt x="1051" y="563"/>
                </a:lnTo>
                <a:lnTo>
                  <a:pt x="1050" y="564"/>
                </a:lnTo>
                <a:lnTo>
                  <a:pt x="1049" y="565"/>
                </a:lnTo>
                <a:lnTo>
                  <a:pt x="1047" y="568"/>
                </a:lnTo>
                <a:close/>
                <a:moveTo>
                  <a:pt x="992" y="542"/>
                </a:moveTo>
                <a:lnTo>
                  <a:pt x="993" y="539"/>
                </a:lnTo>
                <a:lnTo>
                  <a:pt x="994" y="536"/>
                </a:lnTo>
                <a:lnTo>
                  <a:pt x="994" y="536"/>
                </a:lnTo>
                <a:lnTo>
                  <a:pt x="993" y="539"/>
                </a:lnTo>
                <a:lnTo>
                  <a:pt x="992" y="542"/>
                </a:lnTo>
                <a:close/>
                <a:moveTo>
                  <a:pt x="982" y="549"/>
                </a:moveTo>
                <a:lnTo>
                  <a:pt x="981" y="549"/>
                </a:lnTo>
                <a:lnTo>
                  <a:pt x="980" y="549"/>
                </a:lnTo>
                <a:lnTo>
                  <a:pt x="981" y="549"/>
                </a:lnTo>
                <a:lnTo>
                  <a:pt x="982" y="549"/>
                </a:lnTo>
                <a:lnTo>
                  <a:pt x="983" y="549"/>
                </a:lnTo>
                <a:lnTo>
                  <a:pt x="984" y="549"/>
                </a:lnTo>
                <a:lnTo>
                  <a:pt x="983" y="549"/>
                </a:lnTo>
                <a:lnTo>
                  <a:pt x="982" y="549"/>
                </a:lnTo>
                <a:close/>
                <a:moveTo>
                  <a:pt x="977" y="557"/>
                </a:moveTo>
                <a:lnTo>
                  <a:pt x="978" y="555"/>
                </a:lnTo>
                <a:lnTo>
                  <a:pt x="978" y="554"/>
                </a:lnTo>
                <a:lnTo>
                  <a:pt x="978" y="555"/>
                </a:lnTo>
                <a:lnTo>
                  <a:pt x="977" y="557"/>
                </a:lnTo>
                <a:close/>
                <a:moveTo>
                  <a:pt x="973" y="562"/>
                </a:moveTo>
                <a:lnTo>
                  <a:pt x="973" y="563"/>
                </a:lnTo>
                <a:lnTo>
                  <a:pt x="971" y="563"/>
                </a:lnTo>
                <a:lnTo>
                  <a:pt x="973" y="563"/>
                </a:lnTo>
                <a:lnTo>
                  <a:pt x="973" y="562"/>
                </a:lnTo>
                <a:lnTo>
                  <a:pt x="974" y="560"/>
                </a:lnTo>
                <a:lnTo>
                  <a:pt x="976" y="557"/>
                </a:lnTo>
                <a:lnTo>
                  <a:pt x="974" y="560"/>
                </a:lnTo>
                <a:lnTo>
                  <a:pt x="973" y="562"/>
                </a:lnTo>
                <a:close/>
                <a:moveTo>
                  <a:pt x="947" y="585"/>
                </a:moveTo>
                <a:lnTo>
                  <a:pt x="947" y="588"/>
                </a:lnTo>
                <a:lnTo>
                  <a:pt x="946" y="589"/>
                </a:lnTo>
                <a:lnTo>
                  <a:pt x="947" y="588"/>
                </a:lnTo>
                <a:lnTo>
                  <a:pt x="947" y="585"/>
                </a:lnTo>
                <a:lnTo>
                  <a:pt x="948" y="585"/>
                </a:lnTo>
                <a:lnTo>
                  <a:pt x="949" y="584"/>
                </a:lnTo>
                <a:lnTo>
                  <a:pt x="948" y="585"/>
                </a:lnTo>
                <a:lnTo>
                  <a:pt x="947" y="585"/>
                </a:lnTo>
                <a:close/>
                <a:moveTo>
                  <a:pt x="943" y="597"/>
                </a:moveTo>
                <a:lnTo>
                  <a:pt x="943" y="597"/>
                </a:lnTo>
                <a:lnTo>
                  <a:pt x="944" y="597"/>
                </a:lnTo>
                <a:lnTo>
                  <a:pt x="943" y="597"/>
                </a:lnTo>
                <a:lnTo>
                  <a:pt x="943" y="597"/>
                </a:lnTo>
                <a:close/>
                <a:moveTo>
                  <a:pt x="960" y="527"/>
                </a:moveTo>
                <a:lnTo>
                  <a:pt x="960" y="527"/>
                </a:lnTo>
                <a:lnTo>
                  <a:pt x="965" y="530"/>
                </a:lnTo>
                <a:lnTo>
                  <a:pt x="970" y="533"/>
                </a:lnTo>
                <a:lnTo>
                  <a:pt x="965" y="530"/>
                </a:lnTo>
                <a:lnTo>
                  <a:pt x="960" y="527"/>
                </a:lnTo>
                <a:close/>
                <a:moveTo>
                  <a:pt x="917" y="527"/>
                </a:moveTo>
                <a:lnTo>
                  <a:pt x="918" y="526"/>
                </a:lnTo>
                <a:lnTo>
                  <a:pt x="918" y="526"/>
                </a:lnTo>
                <a:lnTo>
                  <a:pt x="918" y="527"/>
                </a:lnTo>
                <a:lnTo>
                  <a:pt x="917" y="527"/>
                </a:lnTo>
                <a:close/>
                <a:moveTo>
                  <a:pt x="868" y="495"/>
                </a:moveTo>
                <a:lnTo>
                  <a:pt x="864" y="494"/>
                </a:lnTo>
                <a:lnTo>
                  <a:pt x="862" y="494"/>
                </a:lnTo>
                <a:lnTo>
                  <a:pt x="864" y="494"/>
                </a:lnTo>
                <a:lnTo>
                  <a:pt x="868" y="495"/>
                </a:lnTo>
                <a:lnTo>
                  <a:pt x="871" y="495"/>
                </a:lnTo>
                <a:lnTo>
                  <a:pt x="873" y="496"/>
                </a:lnTo>
                <a:lnTo>
                  <a:pt x="871" y="495"/>
                </a:lnTo>
                <a:lnTo>
                  <a:pt x="868" y="495"/>
                </a:lnTo>
                <a:close/>
                <a:moveTo>
                  <a:pt x="811" y="512"/>
                </a:moveTo>
                <a:lnTo>
                  <a:pt x="817" y="518"/>
                </a:lnTo>
                <a:lnTo>
                  <a:pt x="825" y="521"/>
                </a:lnTo>
                <a:lnTo>
                  <a:pt x="817" y="518"/>
                </a:lnTo>
                <a:lnTo>
                  <a:pt x="811" y="512"/>
                </a:lnTo>
                <a:close/>
                <a:moveTo>
                  <a:pt x="740" y="503"/>
                </a:moveTo>
                <a:lnTo>
                  <a:pt x="740" y="503"/>
                </a:lnTo>
                <a:lnTo>
                  <a:pt x="741" y="503"/>
                </a:lnTo>
                <a:lnTo>
                  <a:pt x="740" y="503"/>
                </a:lnTo>
                <a:lnTo>
                  <a:pt x="740" y="503"/>
                </a:lnTo>
                <a:close/>
                <a:moveTo>
                  <a:pt x="724" y="481"/>
                </a:moveTo>
                <a:lnTo>
                  <a:pt x="725" y="475"/>
                </a:lnTo>
                <a:lnTo>
                  <a:pt x="726" y="470"/>
                </a:lnTo>
                <a:lnTo>
                  <a:pt x="725" y="475"/>
                </a:lnTo>
                <a:lnTo>
                  <a:pt x="724" y="481"/>
                </a:lnTo>
                <a:close/>
                <a:moveTo>
                  <a:pt x="707" y="379"/>
                </a:moveTo>
                <a:lnTo>
                  <a:pt x="705" y="379"/>
                </a:lnTo>
                <a:lnTo>
                  <a:pt x="703" y="379"/>
                </a:lnTo>
                <a:lnTo>
                  <a:pt x="703" y="379"/>
                </a:lnTo>
                <a:lnTo>
                  <a:pt x="705" y="379"/>
                </a:lnTo>
                <a:lnTo>
                  <a:pt x="707" y="379"/>
                </a:lnTo>
                <a:lnTo>
                  <a:pt x="709" y="378"/>
                </a:lnTo>
                <a:lnTo>
                  <a:pt x="712" y="377"/>
                </a:lnTo>
                <a:lnTo>
                  <a:pt x="709" y="378"/>
                </a:lnTo>
                <a:lnTo>
                  <a:pt x="707" y="379"/>
                </a:lnTo>
                <a:close/>
                <a:moveTo>
                  <a:pt x="692" y="82"/>
                </a:moveTo>
                <a:lnTo>
                  <a:pt x="695" y="82"/>
                </a:lnTo>
                <a:lnTo>
                  <a:pt x="697" y="81"/>
                </a:lnTo>
                <a:lnTo>
                  <a:pt x="695" y="82"/>
                </a:lnTo>
                <a:lnTo>
                  <a:pt x="692" y="82"/>
                </a:lnTo>
                <a:close/>
                <a:moveTo>
                  <a:pt x="685" y="419"/>
                </a:moveTo>
                <a:lnTo>
                  <a:pt x="682" y="420"/>
                </a:lnTo>
                <a:lnTo>
                  <a:pt x="681" y="420"/>
                </a:lnTo>
                <a:lnTo>
                  <a:pt x="680" y="419"/>
                </a:lnTo>
                <a:lnTo>
                  <a:pt x="679" y="417"/>
                </a:lnTo>
                <a:lnTo>
                  <a:pt x="678" y="416"/>
                </a:lnTo>
                <a:lnTo>
                  <a:pt x="677" y="416"/>
                </a:lnTo>
                <a:lnTo>
                  <a:pt x="676" y="417"/>
                </a:lnTo>
                <a:lnTo>
                  <a:pt x="675" y="418"/>
                </a:lnTo>
                <a:lnTo>
                  <a:pt x="673" y="419"/>
                </a:lnTo>
                <a:lnTo>
                  <a:pt x="672" y="419"/>
                </a:lnTo>
                <a:lnTo>
                  <a:pt x="672" y="418"/>
                </a:lnTo>
                <a:lnTo>
                  <a:pt x="671" y="416"/>
                </a:lnTo>
                <a:lnTo>
                  <a:pt x="670" y="416"/>
                </a:lnTo>
                <a:lnTo>
                  <a:pt x="671" y="415"/>
                </a:lnTo>
                <a:lnTo>
                  <a:pt x="671" y="415"/>
                </a:lnTo>
                <a:lnTo>
                  <a:pt x="672" y="415"/>
                </a:lnTo>
                <a:lnTo>
                  <a:pt x="674" y="411"/>
                </a:lnTo>
                <a:lnTo>
                  <a:pt x="677" y="407"/>
                </a:lnTo>
                <a:lnTo>
                  <a:pt x="681" y="405"/>
                </a:lnTo>
                <a:lnTo>
                  <a:pt x="687" y="405"/>
                </a:lnTo>
                <a:lnTo>
                  <a:pt x="687" y="405"/>
                </a:lnTo>
                <a:lnTo>
                  <a:pt x="689" y="409"/>
                </a:lnTo>
                <a:lnTo>
                  <a:pt x="689" y="413"/>
                </a:lnTo>
                <a:lnTo>
                  <a:pt x="687" y="416"/>
                </a:lnTo>
                <a:lnTo>
                  <a:pt x="685" y="419"/>
                </a:lnTo>
                <a:lnTo>
                  <a:pt x="687" y="420"/>
                </a:lnTo>
                <a:lnTo>
                  <a:pt x="688" y="420"/>
                </a:lnTo>
                <a:lnTo>
                  <a:pt x="690" y="420"/>
                </a:lnTo>
                <a:lnTo>
                  <a:pt x="691" y="419"/>
                </a:lnTo>
                <a:lnTo>
                  <a:pt x="690" y="420"/>
                </a:lnTo>
                <a:lnTo>
                  <a:pt x="688" y="420"/>
                </a:lnTo>
                <a:lnTo>
                  <a:pt x="687" y="420"/>
                </a:lnTo>
                <a:lnTo>
                  <a:pt x="685" y="419"/>
                </a:lnTo>
                <a:close/>
                <a:moveTo>
                  <a:pt x="687" y="451"/>
                </a:moveTo>
                <a:lnTo>
                  <a:pt x="683" y="451"/>
                </a:lnTo>
                <a:lnTo>
                  <a:pt x="680" y="450"/>
                </a:lnTo>
                <a:lnTo>
                  <a:pt x="683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lnTo>
                  <a:pt x="687" y="451"/>
                </a:lnTo>
                <a:close/>
                <a:moveTo>
                  <a:pt x="676" y="434"/>
                </a:moveTo>
                <a:lnTo>
                  <a:pt x="672" y="440"/>
                </a:lnTo>
                <a:lnTo>
                  <a:pt x="667" y="443"/>
                </a:lnTo>
                <a:lnTo>
                  <a:pt x="663" y="444"/>
                </a:lnTo>
                <a:lnTo>
                  <a:pt x="659" y="445"/>
                </a:lnTo>
                <a:lnTo>
                  <a:pt x="649" y="446"/>
                </a:lnTo>
                <a:lnTo>
                  <a:pt x="638" y="446"/>
                </a:lnTo>
                <a:lnTo>
                  <a:pt x="638" y="447"/>
                </a:lnTo>
                <a:lnTo>
                  <a:pt x="638" y="448"/>
                </a:lnTo>
                <a:lnTo>
                  <a:pt x="638" y="447"/>
                </a:lnTo>
                <a:lnTo>
                  <a:pt x="638" y="446"/>
                </a:lnTo>
                <a:lnTo>
                  <a:pt x="638" y="446"/>
                </a:lnTo>
                <a:lnTo>
                  <a:pt x="637" y="446"/>
                </a:lnTo>
                <a:lnTo>
                  <a:pt x="636" y="444"/>
                </a:lnTo>
                <a:lnTo>
                  <a:pt x="637" y="446"/>
                </a:lnTo>
                <a:lnTo>
                  <a:pt x="638" y="446"/>
                </a:lnTo>
                <a:lnTo>
                  <a:pt x="638" y="445"/>
                </a:lnTo>
                <a:lnTo>
                  <a:pt x="638" y="444"/>
                </a:lnTo>
                <a:lnTo>
                  <a:pt x="637" y="443"/>
                </a:lnTo>
                <a:lnTo>
                  <a:pt x="636" y="443"/>
                </a:lnTo>
                <a:lnTo>
                  <a:pt x="636" y="443"/>
                </a:lnTo>
                <a:lnTo>
                  <a:pt x="635" y="443"/>
                </a:lnTo>
                <a:lnTo>
                  <a:pt x="635" y="443"/>
                </a:lnTo>
                <a:lnTo>
                  <a:pt x="635" y="443"/>
                </a:lnTo>
                <a:lnTo>
                  <a:pt x="636" y="443"/>
                </a:lnTo>
                <a:lnTo>
                  <a:pt x="635" y="442"/>
                </a:lnTo>
                <a:lnTo>
                  <a:pt x="633" y="441"/>
                </a:lnTo>
                <a:lnTo>
                  <a:pt x="630" y="436"/>
                </a:lnTo>
                <a:lnTo>
                  <a:pt x="629" y="432"/>
                </a:lnTo>
                <a:lnTo>
                  <a:pt x="630" y="428"/>
                </a:lnTo>
                <a:lnTo>
                  <a:pt x="634" y="424"/>
                </a:lnTo>
                <a:lnTo>
                  <a:pt x="634" y="421"/>
                </a:lnTo>
                <a:lnTo>
                  <a:pt x="634" y="419"/>
                </a:lnTo>
                <a:lnTo>
                  <a:pt x="634" y="421"/>
                </a:lnTo>
                <a:lnTo>
                  <a:pt x="634" y="424"/>
                </a:lnTo>
                <a:lnTo>
                  <a:pt x="636" y="421"/>
                </a:lnTo>
                <a:lnTo>
                  <a:pt x="640" y="419"/>
                </a:lnTo>
                <a:lnTo>
                  <a:pt x="649" y="419"/>
                </a:lnTo>
                <a:lnTo>
                  <a:pt x="658" y="421"/>
                </a:lnTo>
                <a:lnTo>
                  <a:pt x="666" y="424"/>
                </a:lnTo>
                <a:lnTo>
                  <a:pt x="676" y="426"/>
                </a:lnTo>
                <a:lnTo>
                  <a:pt x="678" y="426"/>
                </a:lnTo>
                <a:lnTo>
                  <a:pt x="679" y="428"/>
                </a:lnTo>
                <a:lnTo>
                  <a:pt x="678" y="432"/>
                </a:lnTo>
                <a:lnTo>
                  <a:pt x="676" y="434"/>
                </a:lnTo>
                <a:close/>
                <a:moveTo>
                  <a:pt x="649" y="458"/>
                </a:moveTo>
                <a:lnTo>
                  <a:pt x="653" y="459"/>
                </a:lnTo>
                <a:lnTo>
                  <a:pt x="657" y="461"/>
                </a:lnTo>
                <a:lnTo>
                  <a:pt x="659" y="464"/>
                </a:lnTo>
                <a:lnTo>
                  <a:pt x="660" y="466"/>
                </a:lnTo>
                <a:lnTo>
                  <a:pt x="659" y="464"/>
                </a:lnTo>
                <a:lnTo>
                  <a:pt x="657" y="461"/>
                </a:lnTo>
                <a:lnTo>
                  <a:pt x="653" y="459"/>
                </a:lnTo>
                <a:lnTo>
                  <a:pt x="649" y="458"/>
                </a:lnTo>
                <a:close/>
                <a:moveTo>
                  <a:pt x="643" y="453"/>
                </a:moveTo>
                <a:lnTo>
                  <a:pt x="642" y="453"/>
                </a:lnTo>
                <a:lnTo>
                  <a:pt x="641" y="451"/>
                </a:lnTo>
                <a:lnTo>
                  <a:pt x="642" y="453"/>
                </a:lnTo>
                <a:lnTo>
                  <a:pt x="643" y="453"/>
                </a:lnTo>
                <a:lnTo>
                  <a:pt x="644" y="453"/>
                </a:lnTo>
                <a:lnTo>
                  <a:pt x="646" y="454"/>
                </a:lnTo>
                <a:lnTo>
                  <a:pt x="644" y="453"/>
                </a:lnTo>
                <a:lnTo>
                  <a:pt x="643" y="453"/>
                </a:lnTo>
                <a:close/>
                <a:moveTo>
                  <a:pt x="624" y="420"/>
                </a:moveTo>
                <a:lnTo>
                  <a:pt x="624" y="420"/>
                </a:lnTo>
                <a:lnTo>
                  <a:pt x="627" y="420"/>
                </a:lnTo>
                <a:lnTo>
                  <a:pt x="630" y="420"/>
                </a:lnTo>
                <a:lnTo>
                  <a:pt x="627" y="420"/>
                </a:lnTo>
                <a:lnTo>
                  <a:pt x="624" y="420"/>
                </a:lnTo>
                <a:close/>
                <a:moveTo>
                  <a:pt x="625" y="509"/>
                </a:moveTo>
                <a:lnTo>
                  <a:pt x="622" y="506"/>
                </a:lnTo>
                <a:lnTo>
                  <a:pt x="620" y="503"/>
                </a:lnTo>
                <a:lnTo>
                  <a:pt x="619" y="499"/>
                </a:lnTo>
                <a:lnTo>
                  <a:pt x="619" y="494"/>
                </a:lnTo>
                <a:lnTo>
                  <a:pt x="619" y="499"/>
                </a:lnTo>
                <a:lnTo>
                  <a:pt x="620" y="503"/>
                </a:lnTo>
                <a:lnTo>
                  <a:pt x="622" y="506"/>
                </a:lnTo>
                <a:lnTo>
                  <a:pt x="625" y="509"/>
                </a:lnTo>
                <a:lnTo>
                  <a:pt x="626" y="512"/>
                </a:lnTo>
                <a:lnTo>
                  <a:pt x="626" y="515"/>
                </a:lnTo>
                <a:lnTo>
                  <a:pt x="626" y="512"/>
                </a:lnTo>
                <a:lnTo>
                  <a:pt x="625" y="509"/>
                </a:lnTo>
                <a:close/>
                <a:moveTo>
                  <a:pt x="622" y="542"/>
                </a:moveTo>
                <a:lnTo>
                  <a:pt x="620" y="542"/>
                </a:lnTo>
                <a:lnTo>
                  <a:pt x="618" y="542"/>
                </a:lnTo>
                <a:lnTo>
                  <a:pt x="610" y="543"/>
                </a:lnTo>
                <a:lnTo>
                  <a:pt x="602" y="543"/>
                </a:lnTo>
                <a:lnTo>
                  <a:pt x="610" y="543"/>
                </a:lnTo>
                <a:lnTo>
                  <a:pt x="618" y="542"/>
                </a:lnTo>
                <a:lnTo>
                  <a:pt x="621" y="540"/>
                </a:lnTo>
                <a:lnTo>
                  <a:pt x="624" y="537"/>
                </a:lnTo>
                <a:lnTo>
                  <a:pt x="624" y="534"/>
                </a:lnTo>
                <a:lnTo>
                  <a:pt x="625" y="531"/>
                </a:lnTo>
                <a:lnTo>
                  <a:pt x="624" y="534"/>
                </a:lnTo>
                <a:lnTo>
                  <a:pt x="624" y="537"/>
                </a:lnTo>
                <a:lnTo>
                  <a:pt x="621" y="540"/>
                </a:lnTo>
                <a:lnTo>
                  <a:pt x="618" y="542"/>
                </a:lnTo>
                <a:lnTo>
                  <a:pt x="620" y="542"/>
                </a:lnTo>
                <a:lnTo>
                  <a:pt x="622" y="542"/>
                </a:lnTo>
                <a:close/>
                <a:moveTo>
                  <a:pt x="555" y="133"/>
                </a:moveTo>
                <a:lnTo>
                  <a:pt x="555" y="134"/>
                </a:lnTo>
                <a:lnTo>
                  <a:pt x="555" y="136"/>
                </a:lnTo>
                <a:lnTo>
                  <a:pt x="555" y="134"/>
                </a:lnTo>
                <a:lnTo>
                  <a:pt x="555" y="133"/>
                </a:lnTo>
                <a:close/>
                <a:moveTo>
                  <a:pt x="544" y="114"/>
                </a:moveTo>
                <a:lnTo>
                  <a:pt x="542" y="114"/>
                </a:lnTo>
                <a:lnTo>
                  <a:pt x="540" y="115"/>
                </a:lnTo>
                <a:lnTo>
                  <a:pt x="537" y="112"/>
                </a:lnTo>
                <a:lnTo>
                  <a:pt x="534" y="108"/>
                </a:lnTo>
                <a:lnTo>
                  <a:pt x="531" y="109"/>
                </a:lnTo>
                <a:lnTo>
                  <a:pt x="529" y="111"/>
                </a:lnTo>
                <a:lnTo>
                  <a:pt x="531" y="109"/>
                </a:lnTo>
                <a:lnTo>
                  <a:pt x="534" y="108"/>
                </a:lnTo>
                <a:lnTo>
                  <a:pt x="530" y="104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28" y="98"/>
                </a:lnTo>
                <a:lnTo>
                  <a:pt x="534" y="100"/>
                </a:lnTo>
                <a:lnTo>
                  <a:pt x="539" y="103"/>
                </a:lnTo>
                <a:lnTo>
                  <a:pt x="541" y="105"/>
                </a:lnTo>
                <a:lnTo>
                  <a:pt x="542" y="107"/>
                </a:lnTo>
                <a:lnTo>
                  <a:pt x="543" y="110"/>
                </a:lnTo>
                <a:lnTo>
                  <a:pt x="544" y="114"/>
                </a:lnTo>
                <a:lnTo>
                  <a:pt x="544" y="114"/>
                </a:lnTo>
                <a:close/>
                <a:moveTo>
                  <a:pt x="546" y="125"/>
                </a:moveTo>
                <a:lnTo>
                  <a:pt x="544" y="124"/>
                </a:lnTo>
                <a:lnTo>
                  <a:pt x="540" y="123"/>
                </a:lnTo>
                <a:lnTo>
                  <a:pt x="540" y="124"/>
                </a:lnTo>
                <a:lnTo>
                  <a:pt x="539" y="125"/>
                </a:lnTo>
                <a:lnTo>
                  <a:pt x="540" y="124"/>
                </a:lnTo>
                <a:lnTo>
                  <a:pt x="540" y="123"/>
                </a:lnTo>
                <a:lnTo>
                  <a:pt x="544" y="124"/>
                </a:lnTo>
                <a:lnTo>
                  <a:pt x="546" y="125"/>
                </a:lnTo>
                <a:close/>
                <a:moveTo>
                  <a:pt x="546" y="126"/>
                </a:moveTo>
                <a:lnTo>
                  <a:pt x="549" y="128"/>
                </a:lnTo>
                <a:lnTo>
                  <a:pt x="552" y="130"/>
                </a:lnTo>
                <a:lnTo>
                  <a:pt x="549" y="128"/>
                </a:lnTo>
                <a:lnTo>
                  <a:pt x="546" y="126"/>
                </a:lnTo>
                <a:close/>
                <a:moveTo>
                  <a:pt x="510" y="88"/>
                </a:moveTo>
                <a:lnTo>
                  <a:pt x="509" y="88"/>
                </a:lnTo>
                <a:lnTo>
                  <a:pt x="508" y="88"/>
                </a:lnTo>
                <a:lnTo>
                  <a:pt x="509" y="88"/>
                </a:lnTo>
                <a:lnTo>
                  <a:pt x="510" y="88"/>
                </a:lnTo>
                <a:lnTo>
                  <a:pt x="510" y="90"/>
                </a:lnTo>
                <a:lnTo>
                  <a:pt x="510" y="91"/>
                </a:lnTo>
                <a:lnTo>
                  <a:pt x="510" y="90"/>
                </a:lnTo>
                <a:lnTo>
                  <a:pt x="510" y="88"/>
                </a:lnTo>
                <a:close/>
                <a:moveTo>
                  <a:pt x="611" y="249"/>
                </a:moveTo>
                <a:lnTo>
                  <a:pt x="613" y="258"/>
                </a:lnTo>
                <a:lnTo>
                  <a:pt x="613" y="264"/>
                </a:lnTo>
                <a:lnTo>
                  <a:pt x="610" y="271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7" y="277"/>
                </a:lnTo>
                <a:lnTo>
                  <a:pt x="605" y="276"/>
                </a:lnTo>
                <a:lnTo>
                  <a:pt x="603" y="277"/>
                </a:lnTo>
                <a:lnTo>
                  <a:pt x="601" y="277"/>
                </a:lnTo>
                <a:lnTo>
                  <a:pt x="600" y="279"/>
                </a:lnTo>
                <a:lnTo>
                  <a:pt x="598" y="282"/>
                </a:lnTo>
                <a:lnTo>
                  <a:pt x="597" y="286"/>
                </a:lnTo>
                <a:lnTo>
                  <a:pt x="594" y="283"/>
                </a:lnTo>
                <a:lnTo>
                  <a:pt x="590" y="282"/>
                </a:lnTo>
                <a:lnTo>
                  <a:pt x="589" y="282"/>
                </a:lnTo>
                <a:lnTo>
                  <a:pt x="587" y="282"/>
                </a:lnTo>
                <a:lnTo>
                  <a:pt x="586" y="285"/>
                </a:lnTo>
                <a:lnTo>
                  <a:pt x="585" y="286"/>
                </a:lnTo>
                <a:lnTo>
                  <a:pt x="583" y="288"/>
                </a:lnTo>
                <a:lnTo>
                  <a:pt x="581" y="289"/>
                </a:lnTo>
                <a:lnTo>
                  <a:pt x="572" y="288"/>
                </a:lnTo>
                <a:lnTo>
                  <a:pt x="565" y="288"/>
                </a:lnTo>
                <a:lnTo>
                  <a:pt x="557" y="287"/>
                </a:lnTo>
                <a:lnTo>
                  <a:pt x="550" y="285"/>
                </a:lnTo>
                <a:lnTo>
                  <a:pt x="545" y="282"/>
                </a:lnTo>
                <a:lnTo>
                  <a:pt x="540" y="282"/>
                </a:lnTo>
                <a:lnTo>
                  <a:pt x="537" y="283"/>
                </a:lnTo>
                <a:lnTo>
                  <a:pt x="535" y="283"/>
                </a:lnTo>
                <a:lnTo>
                  <a:pt x="534" y="283"/>
                </a:lnTo>
                <a:lnTo>
                  <a:pt x="533" y="282"/>
                </a:lnTo>
                <a:lnTo>
                  <a:pt x="533" y="280"/>
                </a:lnTo>
                <a:lnTo>
                  <a:pt x="533" y="277"/>
                </a:lnTo>
                <a:lnTo>
                  <a:pt x="533" y="276"/>
                </a:lnTo>
                <a:lnTo>
                  <a:pt x="531" y="275"/>
                </a:lnTo>
                <a:lnTo>
                  <a:pt x="531" y="275"/>
                </a:lnTo>
                <a:lnTo>
                  <a:pt x="530" y="276"/>
                </a:lnTo>
                <a:lnTo>
                  <a:pt x="527" y="277"/>
                </a:lnTo>
                <a:lnTo>
                  <a:pt x="525" y="277"/>
                </a:lnTo>
                <a:lnTo>
                  <a:pt x="525" y="274"/>
                </a:lnTo>
                <a:lnTo>
                  <a:pt x="524" y="271"/>
                </a:lnTo>
                <a:lnTo>
                  <a:pt x="523" y="268"/>
                </a:lnTo>
                <a:lnTo>
                  <a:pt x="521" y="267"/>
                </a:lnTo>
                <a:lnTo>
                  <a:pt x="516" y="266"/>
                </a:lnTo>
                <a:lnTo>
                  <a:pt x="511" y="266"/>
                </a:lnTo>
                <a:lnTo>
                  <a:pt x="507" y="265"/>
                </a:lnTo>
                <a:lnTo>
                  <a:pt x="504" y="265"/>
                </a:lnTo>
                <a:lnTo>
                  <a:pt x="500" y="263"/>
                </a:lnTo>
                <a:lnTo>
                  <a:pt x="497" y="261"/>
                </a:lnTo>
                <a:lnTo>
                  <a:pt x="492" y="257"/>
                </a:lnTo>
                <a:lnTo>
                  <a:pt x="486" y="251"/>
                </a:lnTo>
                <a:lnTo>
                  <a:pt x="484" y="249"/>
                </a:lnTo>
                <a:lnTo>
                  <a:pt x="482" y="247"/>
                </a:lnTo>
                <a:lnTo>
                  <a:pt x="476" y="246"/>
                </a:lnTo>
                <a:lnTo>
                  <a:pt x="471" y="243"/>
                </a:lnTo>
                <a:lnTo>
                  <a:pt x="470" y="241"/>
                </a:lnTo>
                <a:lnTo>
                  <a:pt x="469" y="239"/>
                </a:lnTo>
                <a:lnTo>
                  <a:pt x="468" y="235"/>
                </a:lnTo>
                <a:lnTo>
                  <a:pt x="469" y="231"/>
                </a:lnTo>
                <a:lnTo>
                  <a:pt x="469" y="230"/>
                </a:lnTo>
                <a:lnTo>
                  <a:pt x="468" y="229"/>
                </a:lnTo>
                <a:lnTo>
                  <a:pt x="467" y="229"/>
                </a:lnTo>
                <a:lnTo>
                  <a:pt x="466" y="230"/>
                </a:lnTo>
                <a:lnTo>
                  <a:pt x="464" y="231"/>
                </a:lnTo>
                <a:lnTo>
                  <a:pt x="463" y="231"/>
                </a:lnTo>
                <a:lnTo>
                  <a:pt x="458" y="217"/>
                </a:lnTo>
                <a:lnTo>
                  <a:pt x="453" y="203"/>
                </a:lnTo>
                <a:lnTo>
                  <a:pt x="449" y="190"/>
                </a:lnTo>
                <a:lnTo>
                  <a:pt x="445" y="178"/>
                </a:lnTo>
                <a:lnTo>
                  <a:pt x="444" y="182"/>
                </a:lnTo>
                <a:lnTo>
                  <a:pt x="444" y="187"/>
                </a:lnTo>
                <a:lnTo>
                  <a:pt x="444" y="191"/>
                </a:lnTo>
                <a:lnTo>
                  <a:pt x="445" y="196"/>
                </a:lnTo>
                <a:lnTo>
                  <a:pt x="448" y="205"/>
                </a:lnTo>
                <a:lnTo>
                  <a:pt x="451" y="214"/>
                </a:lnTo>
                <a:lnTo>
                  <a:pt x="448" y="213"/>
                </a:lnTo>
                <a:lnTo>
                  <a:pt x="446" y="212"/>
                </a:lnTo>
                <a:lnTo>
                  <a:pt x="443" y="202"/>
                </a:lnTo>
                <a:lnTo>
                  <a:pt x="440" y="193"/>
                </a:lnTo>
                <a:lnTo>
                  <a:pt x="438" y="183"/>
                </a:lnTo>
                <a:lnTo>
                  <a:pt x="437" y="172"/>
                </a:lnTo>
                <a:lnTo>
                  <a:pt x="437" y="172"/>
                </a:lnTo>
                <a:lnTo>
                  <a:pt x="438" y="170"/>
                </a:lnTo>
                <a:lnTo>
                  <a:pt x="437" y="167"/>
                </a:lnTo>
                <a:lnTo>
                  <a:pt x="437" y="166"/>
                </a:lnTo>
                <a:lnTo>
                  <a:pt x="436" y="166"/>
                </a:lnTo>
                <a:lnTo>
                  <a:pt x="434" y="166"/>
                </a:lnTo>
                <a:lnTo>
                  <a:pt x="432" y="166"/>
                </a:lnTo>
                <a:lnTo>
                  <a:pt x="431" y="167"/>
                </a:lnTo>
                <a:lnTo>
                  <a:pt x="430" y="166"/>
                </a:lnTo>
                <a:lnTo>
                  <a:pt x="429" y="165"/>
                </a:lnTo>
                <a:lnTo>
                  <a:pt x="429" y="163"/>
                </a:lnTo>
                <a:lnTo>
                  <a:pt x="429" y="151"/>
                </a:lnTo>
                <a:lnTo>
                  <a:pt x="427" y="143"/>
                </a:lnTo>
                <a:lnTo>
                  <a:pt x="423" y="141"/>
                </a:lnTo>
                <a:lnTo>
                  <a:pt x="422" y="139"/>
                </a:lnTo>
                <a:lnTo>
                  <a:pt x="421" y="137"/>
                </a:lnTo>
                <a:lnTo>
                  <a:pt x="421" y="135"/>
                </a:lnTo>
                <a:lnTo>
                  <a:pt x="422" y="132"/>
                </a:lnTo>
                <a:lnTo>
                  <a:pt x="422" y="127"/>
                </a:lnTo>
                <a:lnTo>
                  <a:pt x="421" y="120"/>
                </a:lnTo>
                <a:lnTo>
                  <a:pt x="421" y="112"/>
                </a:lnTo>
                <a:lnTo>
                  <a:pt x="420" y="108"/>
                </a:lnTo>
                <a:lnTo>
                  <a:pt x="419" y="103"/>
                </a:lnTo>
                <a:lnTo>
                  <a:pt x="420" y="100"/>
                </a:lnTo>
                <a:lnTo>
                  <a:pt x="421" y="99"/>
                </a:lnTo>
                <a:lnTo>
                  <a:pt x="423" y="98"/>
                </a:lnTo>
                <a:lnTo>
                  <a:pt x="427" y="97"/>
                </a:lnTo>
                <a:lnTo>
                  <a:pt x="430" y="95"/>
                </a:lnTo>
                <a:lnTo>
                  <a:pt x="432" y="93"/>
                </a:lnTo>
                <a:lnTo>
                  <a:pt x="434" y="91"/>
                </a:lnTo>
                <a:lnTo>
                  <a:pt x="437" y="87"/>
                </a:lnTo>
                <a:lnTo>
                  <a:pt x="438" y="86"/>
                </a:lnTo>
                <a:lnTo>
                  <a:pt x="440" y="84"/>
                </a:lnTo>
                <a:lnTo>
                  <a:pt x="443" y="84"/>
                </a:lnTo>
                <a:lnTo>
                  <a:pt x="445" y="84"/>
                </a:lnTo>
                <a:lnTo>
                  <a:pt x="446" y="84"/>
                </a:lnTo>
                <a:lnTo>
                  <a:pt x="447" y="83"/>
                </a:lnTo>
                <a:lnTo>
                  <a:pt x="447" y="76"/>
                </a:lnTo>
                <a:lnTo>
                  <a:pt x="447" y="69"/>
                </a:lnTo>
                <a:lnTo>
                  <a:pt x="446" y="67"/>
                </a:lnTo>
                <a:lnTo>
                  <a:pt x="447" y="66"/>
                </a:lnTo>
                <a:lnTo>
                  <a:pt x="448" y="65"/>
                </a:lnTo>
                <a:lnTo>
                  <a:pt x="449" y="65"/>
                </a:lnTo>
                <a:lnTo>
                  <a:pt x="454" y="65"/>
                </a:lnTo>
                <a:lnTo>
                  <a:pt x="459" y="66"/>
                </a:lnTo>
                <a:lnTo>
                  <a:pt x="458" y="68"/>
                </a:lnTo>
                <a:lnTo>
                  <a:pt x="456" y="72"/>
                </a:lnTo>
                <a:lnTo>
                  <a:pt x="455" y="74"/>
                </a:lnTo>
                <a:lnTo>
                  <a:pt x="455" y="77"/>
                </a:lnTo>
                <a:lnTo>
                  <a:pt x="454" y="78"/>
                </a:lnTo>
                <a:lnTo>
                  <a:pt x="454" y="79"/>
                </a:lnTo>
                <a:lnTo>
                  <a:pt x="454" y="79"/>
                </a:lnTo>
                <a:lnTo>
                  <a:pt x="454" y="79"/>
                </a:lnTo>
                <a:lnTo>
                  <a:pt x="455" y="78"/>
                </a:lnTo>
                <a:lnTo>
                  <a:pt x="455" y="77"/>
                </a:lnTo>
                <a:lnTo>
                  <a:pt x="461" y="76"/>
                </a:lnTo>
                <a:lnTo>
                  <a:pt x="465" y="75"/>
                </a:lnTo>
                <a:lnTo>
                  <a:pt x="465" y="75"/>
                </a:lnTo>
                <a:lnTo>
                  <a:pt x="466" y="76"/>
                </a:lnTo>
                <a:lnTo>
                  <a:pt x="467" y="76"/>
                </a:lnTo>
                <a:lnTo>
                  <a:pt x="466" y="78"/>
                </a:lnTo>
                <a:lnTo>
                  <a:pt x="466" y="79"/>
                </a:lnTo>
                <a:lnTo>
                  <a:pt x="465" y="83"/>
                </a:lnTo>
                <a:lnTo>
                  <a:pt x="466" y="89"/>
                </a:lnTo>
                <a:lnTo>
                  <a:pt x="467" y="94"/>
                </a:lnTo>
                <a:lnTo>
                  <a:pt x="469" y="97"/>
                </a:lnTo>
                <a:lnTo>
                  <a:pt x="471" y="96"/>
                </a:lnTo>
                <a:lnTo>
                  <a:pt x="473" y="96"/>
                </a:lnTo>
                <a:lnTo>
                  <a:pt x="473" y="94"/>
                </a:lnTo>
                <a:lnTo>
                  <a:pt x="474" y="93"/>
                </a:lnTo>
                <a:lnTo>
                  <a:pt x="474" y="90"/>
                </a:lnTo>
                <a:lnTo>
                  <a:pt x="475" y="88"/>
                </a:lnTo>
                <a:lnTo>
                  <a:pt x="475" y="87"/>
                </a:lnTo>
                <a:lnTo>
                  <a:pt x="476" y="87"/>
                </a:lnTo>
                <a:lnTo>
                  <a:pt x="477" y="91"/>
                </a:lnTo>
                <a:lnTo>
                  <a:pt x="480" y="93"/>
                </a:lnTo>
                <a:lnTo>
                  <a:pt x="481" y="93"/>
                </a:lnTo>
                <a:lnTo>
                  <a:pt x="481" y="94"/>
                </a:lnTo>
                <a:lnTo>
                  <a:pt x="484" y="93"/>
                </a:lnTo>
                <a:lnTo>
                  <a:pt x="488" y="92"/>
                </a:lnTo>
                <a:lnTo>
                  <a:pt x="490" y="92"/>
                </a:lnTo>
                <a:lnTo>
                  <a:pt x="491" y="93"/>
                </a:lnTo>
                <a:lnTo>
                  <a:pt x="492" y="94"/>
                </a:lnTo>
                <a:lnTo>
                  <a:pt x="494" y="96"/>
                </a:lnTo>
                <a:lnTo>
                  <a:pt x="494" y="97"/>
                </a:lnTo>
                <a:lnTo>
                  <a:pt x="495" y="97"/>
                </a:lnTo>
                <a:lnTo>
                  <a:pt x="499" y="95"/>
                </a:lnTo>
                <a:lnTo>
                  <a:pt x="501" y="95"/>
                </a:lnTo>
                <a:lnTo>
                  <a:pt x="504" y="96"/>
                </a:lnTo>
                <a:lnTo>
                  <a:pt x="507" y="98"/>
                </a:lnTo>
                <a:lnTo>
                  <a:pt x="508" y="100"/>
                </a:lnTo>
                <a:lnTo>
                  <a:pt x="508" y="102"/>
                </a:lnTo>
                <a:lnTo>
                  <a:pt x="508" y="106"/>
                </a:lnTo>
                <a:lnTo>
                  <a:pt x="508" y="109"/>
                </a:lnTo>
                <a:lnTo>
                  <a:pt x="509" y="111"/>
                </a:lnTo>
                <a:lnTo>
                  <a:pt x="512" y="114"/>
                </a:lnTo>
                <a:lnTo>
                  <a:pt x="514" y="114"/>
                </a:lnTo>
                <a:lnTo>
                  <a:pt x="518" y="114"/>
                </a:lnTo>
                <a:lnTo>
                  <a:pt x="514" y="114"/>
                </a:lnTo>
                <a:lnTo>
                  <a:pt x="512" y="114"/>
                </a:lnTo>
                <a:lnTo>
                  <a:pt x="512" y="117"/>
                </a:lnTo>
                <a:lnTo>
                  <a:pt x="512" y="120"/>
                </a:lnTo>
                <a:lnTo>
                  <a:pt x="510" y="124"/>
                </a:lnTo>
                <a:lnTo>
                  <a:pt x="508" y="129"/>
                </a:lnTo>
                <a:lnTo>
                  <a:pt x="506" y="125"/>
                </a:lnTo>
                <a:lnTo>
                  <a:pt x="504" y="123"/>
                </a:lnTo>
                <a:lnTo>
                  <a:pt x="500" y="121"/>
                </a:lnTo>
                <a:lnTo>
                  <a:pt x="497" y="119"/>
                </a:lnTo>
                <a:lnTo>
                  <a:pt x="497" y="125"/>
                </a:lnTo>
                <a:lnTo>
                  <a:pt x="497" y="128"/>
                </a:lnTo>
                <a:lnTo>
                  <a:pt x="500" y="129"/>
                </a:lnTo>
                <a:lnTo>
                  <a:pt x="503" y="130"/>
                </a:lnTo>
                <a:lnTo>
                  <a:pt x="503" y="133"/>
                </a:lnTo>
                <a:lnTo>
                  <a:pt x="503" y="134"/>
                </a:lnTo>
                <a:lnTo>
                  <a:pt x="499" y="136"/>
                </a:lnTo>
                <a:lnTo>
                  <a:pt x="498" y="139"/>
                </a:lnTo>
                <a:lnTo>
                  <a:pt x="498" y="139"/>
                </a:lnTo>
                <a:lnTo>
                  <a:pt x="497" y="139"/>
                </a:lnTo>
                <a:lnTo>
                  <a:pt x="498" y="139"/>
                </a:lnTo>
                <a:lnTo>
                  <a:pt x="498" y="139"/>
                </a:lnTo>
                <a:lnTo>
                  <a:pt x="509" y="135"/>
                </a:lnTo>
                <a:lnTo>
                  <a:pt x="520" y="133"/>
                </a:lnTo>
                <a:lnTo>
                  <a:pt x="521" y="133"/>
                </a:lnTo>
                <a:lnTo>
                  <a:pt x="523" y="133"/>
                </a:lnTo>
                <a:lnTo>
                  <a:pt x="528" y="137"/>
                </a:lnTo>
                <a:lnTo>
                  <a:pt x="534" y="142"/>
                </a:lnTo>
                <a:lnTo>
                  <a:pt x="538" y="144"/>
                </a:lnTo>
                <a:lnTo>
                  <a:pt x="542" y="144"/>
                </a:lnTo>
                <a:lnTo>
                  <a:pt x="544" y="144"/>
                </a:lnTo>
                <a:lnTo>
                  <a:pt x="546" y="144"/>
                </a:lnTo>
                <a:lnTo>
                  <a:pt x="547" y="143"/>
                </a:lnTo>
                <a:lnTo>
                  <a:pt x="549" y="141"/>
                </a:lnTo>
                <a:lnTo>
                  <a:pt x="547" y="139"/>
                </a:lnTo>
                <a:lnTo>
                  <a:pt x="549" y="138"/>
                </a:lnTo>
                <a:lnTo>
                  <a:pt x="550" y="137"/>
                </a:lnTo>
                <a:lnTo>
                  <a:pt x="550" y="137"/>
                </a:lnTo>
                <a:lnTo>
                  <a:pt x="553" y="138"/>
                </a:lnTo>
                <a:lnTo>
                  <a:pt x="554" y="139"/>
                </a:lnTo>
                <a:lnTo>
                  <a:pt x="555" y="141"/>
                </a:lnTo>
                <a:lnTo>
                  <a:pt x="555" y="143"/>
                </a:lnTo>
                <a:lnTo>
                  <a:pt x="556" y="144"/>
                </a:lnTo>
                <a:lnTo>
                  <a:pt x="557" y="144"/>
                </a:lnTo>
                <a:lnTo>
                  <a:pt x="560" y="143"/>
                </a:lnTo>
                <a:lnTo>
                  <a:pt x="562" y="141"/>
                </a:lnTo>
                <a:lnTo>
                  <a:pt x="562" y="147"/>
                </a:lnTo>
                <a:lnTo>
                  <a:pt x="562" y="151"/>
                </a:lnTo>
                <a:lnTo>
                  <a:pt x="564" y="153"/>
                </a:lnTo>
                <a:lnTo>
                  <a:pt x="564" y="155"/>
                </a:lnTo>
                <a:lnTo>
                  <a:pt x="565" y="156"/>
                </a:lnTo>
                <a:lnTo>
                  <a:pt x="567" y="156"/>
                </a:lnTo>
                <a:lnTo>
                  <a:pt x="570" y="156"/>
                </a:lnTo>
                <a:lnTo>
                  <a:pt x="571" y="155"/>
                </a:lnTo>
                <a:lnTo>
                  <a:pt x="572" y="153"/>
                </a:lnTo>
                <a:lnTo>
                  <a:pt x="572" y="151"/>
                </a:lnTo>
                <a:lnTo>
                  <a:pt x="572" y="150"/>
                </a:lnTo>
                <a:lnTo>
                  <a:pt x="572" y="148"/>
                </a:lnTo>
                <a:lnTo>
                  <a:pt x="572" y="147"/>
                </a:lnTo>
                <a:lnTo>
                  <a:pt x="572" y="147"/>
                </a:lnTo>
                <a:lnTo>
                  <a:pt x="575" y="144"/>
                </a:lnTo>
                <a:lnTo>
                  <a:pt x="579" y="143"/>
                </a:lnTo>
                <a:lnTo>
                  <a:pt x="582" y="143"/>
                </a:lnTo>
                <a:lnTo>
                  <a:pt x="585" y="142"/>
                </a:lnTo>
                <a:lnTo>
                  <a:pt x="587" y="144"/>
                </a:lnTo>
                <a:lnTo>
                  <a:pt x="590" y="144"/>
                </a:lnTo>
                <a:lnTo>
                  <a:pt x="592" y="144"/>
                </a:lnTo>
                <a:lnTo>
                  <a:pt x="595" y="143"/>
                </a:lnTo>
                <a:lnTo>
                  <a:pt x="597" y="140"/>
                </a:lnTo>
                <a:lnTo>
                  <a:pt x="598" y="137"/>
                </a:lnTo>
                <a:lnTo>
                  <a:pt x="598" y="133"/>
                </a:lnTo>
                <a:lnTo>
                  <a:pt x="597" y="129"/>
                </a:lnTo>
                <a:lnTo>
                  <a:pt x="595" y="126"/>
                </a:lnTo>
                <a:lnTo>
                  <a:pt x="592" y="124"/>
                </a:lnTo>
                <a:lnTo>
                  <a:pt x="590" y="124"/>
                </a:lnTo>
                <a:lnTo>
                  <a:pt x="586" y="125"/>
                </a:lnTo>
                <a:lnTo>
                  <a:pt x="582" y="123"/>
                </a:lnTo>
                <a:lnTo>
                  <a:pt x="577" y="123"/>
                </a:lnTo>
                <a:lnTo>
                  <a:pt x="575" y="123"/>
                </a:lnTo>
                <a:lnTo>
                  <a:pt x="573" y="122"/>
                </a:lnTo>
                <a:lnTo>
                  <a:pt x="571" y="120"/>
                </a:lnTo>
                <a:lnTo>
                  <a:pt x="570" y="118"/>
                </a:lnTo>
                <a:lnTo>
                  <a:pt x="564" y="111"/>
                </a:lnTo>
                <a:lnTo>
                  <a:pt x="557" y="106"/>
                </a:lnTo>
                <a:lnTo>
                  <a:pt x="550" y="102"/>
                </a:lnTo>
                <a:lnTo>
                  <a:pt x="542" y="96"/>
                </a:lnTo>
                <a:lnTo>
                  <a:pt x="539" y="98"/>
                </a:lnTo>
                <a:lnTo>
                  <a:pt x="537" y="98"/>
                </a:lnTo>
                <a:lnTo>
                  <a:pt x="536" y="97"/>
                </a:lnTo>
                <a:lnTo>
                  <a:pt x="534" y="95"/>
                </a:lnTo>
                <a:lnTo>
                  <a:pt x="536" y="97"/>
                </a:lnTo>
                <a:lnTo>
                  <a:pt x="537" y="98"/>
                </a:lnTo>
                <a:lnTo>
                  <a:pt x="539" y="98"/>
                </a:lnTo>
                <a:lnTo>
                  <a:pt x="542" y="96"/>
                </a:lnTo>
                <a:lnTo>
                  <a:pt x="541" y="94"/>
                </a:lnTo>
                <a:lnTo>
                  <a:pt x="539" y="93"/>
                </a:lnTo>
                <a:lnTo>
                  <a:pt x="538" y="91"/>
                </a:lnTo>
                <a:lnTo>
                  <a:pt x="538" y="88"/>
                </a:lnTo>
                <a:lnTo>
                  <a:pt x="534" y="88"/>
                </a:lnTo>
                <a:lnTo>
                  <a:pt x="529" y="88"/>
                </a:lnTo>
                <a:lnTo>
                  <a:pt x="528" y="88"/>
                </a:lnTo>
                <a:lnTo>
                  <a:pt x="528" y="89"/>
                </a:lnTo>
                <a:lnTo>
                  <a:pt x="528" y="88"/>
                </a:lnTo>
                <a:lnTo>
                  <a:pt x="529" y="88"/>
                </a:lnTo>
                <a:lnTo>
                  <a:pt x="528" y="87"/>
                </a:lnTo>
                <a:lnTo>
                  <a:pt x="528" y="87"/>
                </a:lnTo>
                <a:lnTo>
                  <a:pt x="526" y="86"/>
                </a:lnTo>
                <a:lnTo>
                  <a:pt x="523" y="86"/>
                </a:lnTo>
                <a:lnTo>
                  <a:pt x="521" y="83"/>
                </a:lnTo>
                <a:lnTo>
                  <a:pt x="519" y="82"/>
                </a:lnTo>
                <a:lnTo>
                  <a:pt x="515" y="82"/>
                </a:lnTo>
                <a:lnTo>
                  <a:pt x="513" y="82"/>
                </a:lnTo>
                <a:lnTo>
                  <a:pt x="513" y="82"/>
                </a:lnTo>
                <a:lnTo>
                  <a:pt x="513" y="82"/>
                </a:lnTo>
                <a:lnTo>
                  <a:pt x="512" y="80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2" y="77"/>
                </a:lnTo>
                <a:lnTo>
                  <a:pt x="510" y="77"/>
                </a:lnTo>
                <a:lnTo>
                  <a:pt x="508" y="75"/>
                </a:lnTo>
                <a:lnTo>
                  <a:pt x="510" y="75"/>
                </a:lnTo>
                <a:lnTo>
                  <a:pt x="512" y="77"/>
                </a:lnTo>
                <a:lnTo>
                  <a:pt x="512" y="75"/>
                </a:lnTo>
                <a:lnTo>
                  <a:pt x="512" y="74"/>
                </a:lnTo>
                <a:lnTo>
                  <a:pt x="510" y="74"/>
                </a:lnTo>
                <a:lnTo>
                  <a:pt x="507" y="74"/>
                </a:lnTo>
                <a:lnTo>
                  <a:pt x="507" y="74"/>
                </a:lnTo>
                <a:lnTo>
                  <a:pt x="507" y="74"/>
                </a:lnTo>
                <a:lnTo>
                  <a:pt x="504" y="75"/>
                </a:lnTo>
                <a:lnTo>
                  <a:pt x="500" y="77"/>
                </a:lnTo>
                <a:lnTo>
                  <a:pt x="504" y="75"/>
                </a:lnTo>
                <a:lnTo>
                  <a:pt x="507" y="74"/>
                </a:lnTo>
                <a:lnTo>
                  <a:pt x="508" y="71"/>
                </a:lnTo>
                <a:lnTo>
                  <a:pt x="510" y="68"/>
                </a:lnTo>
                <a:lnTo>
                  <a:pt x="512" y="68"/>
                </a:lnTo>
                <a:lnTo>
                  <a:pt x="515" y="72"/>
                </a:lnTo>
                <a:lnTo>
                  <a:pt x="522" y="78"/>
                </a:lnTo>
                <a:lnTo>
                  <a:pt x="529" y="83"/>
                </a:lnTo>
                <a:lnTo>
                  <a:pt x="529" y="84"/>
                </a:lnTo>
                <a:lnTo>
                  <a:pt x="528" y="87"/>
                </a:lnTo>
                <a:lnTo>
                  <a:pt x="528" y="87"/>
                </a:lnTo>
                <a:lnTo>
                  <a:pt x="529" y="88"/>
                </a:lnTo>
                <a:lnTo>
                  <a:pt x="534" y="88"/>
                </a:lnTo>
                <a:lnTo>
                  <a:pt x="538" y="88"/>
                </a:lnTo>
                <a:lnTo>
                  <a:pt x="540" y="86"/>
                </a:lnTo>
                <a:lnTo>
                  <a:pt x="540" y="84"/>
                </a:lnTo>
                <a:lnTo>
                  <a:pt x="539" y="82"/>
                </a:lnTo>
                <a:lnTo>
                  <a:pt x="537" y="81"/>
                </a:lnTo>
                <a:lnTo>
                  <a:pt x="531" y="79"/>
                </a:lnTo>
                <a:lnTo>
                  <a:pt x="525" y="75"/>
                </a:lnTo>
                <a:lnTo>
                  <a:pt x="531" y="74"/>
                </a:lnTo>
                <a:lnTo>
                  <a:pt x="537" y="75"/>
                </a:lnTo>
                <a:lnTo>
                  <a:pt x="542" y="76"/>
                </a:lnTo>
                <a:lnTo>
                  <a:pt x="547" y="78"/>
                </a:lnTo>
                <a:lnTo>
                  <a:pt x="553" y="80"/>
                </a:lnTo>
                <a:lnTo>
                  <a:pt x="558" y="81"/>
                </a:lnTo>
                <a:lnTo>
                  <a:pt x="564" y="81"/>
                </a:lnTo>
                <a:lnTo>
                  <a:pt x="569" y="80"/>
                </a:lnTo>
                <a:lnTo>
                  <a:pt x="571" y="81"/>
                </a:lnTo>
                <a:lnTo>
                  <a:pt x="574" y="82"/>
                </a:lnTo>
                <a:lnTo>
                  <a:pt x="576" y="82"/>
                </a:lnTo>
                <a:lnTo>
                  <a:pt x="580" y="82"/>
                </a:lnTo>
                <a:lnTo>
                  <a:pt x="580" y="80"/>
                </a:lnTo>
                <a:lnTo>
                  <a:pt x="580" y="77"/>
                </a:lnTo>
                <a:lnTo>
                  <a:pt x="588" y="79"/>
                </a:lnTo>
                <a:lnTo>
                  <a:pt x="597" y="82"/>
                </a:lnTo>
                <a:lnTo>
                  <a:pt x="597" y="86"/>
                </a:lnTo>
                <a:lnTo>
                  <a:pt x="599" y="88"/>
                </a:lnTo>
                <a:lnTo>
                  <a:pt x="601" y="87"/>
                </a:lnTo>
                <a:lnTo>
                  <a:pt x="603" y="86"/>
                </a:lnTo>
                <a:lnTo>
                  <a:pt x="605" y="87"/>
                </a:lnTo>
                <a:lnTo>
                  <a:pt x="607" y="87"/>
                </a:lnTo>
                <a:lnTo>
                  <a:pt x="605" y="87"/>
                </a:lnTo>
                <a:lnTo>
                  <a:pt x="603" y="86"/>
                </a:lnTo>
                <a:lnTo>
                  <a:pt x="601" y="87"/>
                </a:lnTo>
                <a:lnTo>
                  <a:pt x="599" y="88"/>
                </a:lnTo>
                <a:lnTo>
                  <a:pt x="598" y="89"/>
                </a:lnTo>
                <a:lnTo>
                  <a:pt x="598" y="91"/>
                </a:lnTo>
                <a:lnTo>
                  <a:pt x="598" y="92"/>
                </a:lnTo>
                <a:lnTo>
                  <a:pt x="599" y="94"/>
                </a:lnTo>
                <a:lnTo>
                  <a:pt x="601" y="95"/>
                </a:lnTo>
                <a:lnTo>
                  <a:pt x="604" y="97"/>
                </a:lnTo>
                <a:lnTo>
                  <a:pt x="610" y="102"/>
                </a:lnTo>
                <a:lnTo>
                  <a:pt x="615" y="106"/>
                </a:lnTo>
                <a:lnTo>
                  <a:pt x="619" y="110"/>
                </a:lnTo>
                <a:lnTo>
                  <a:pt x="624" y="115"/>
                </a:lnTo>
                <a:lnTo>
                  <a:pt x="628" y="121"/>
                </a:lnTo>
                <a:lnTo>
                  <a:pt x="631" y="126"/>
                </a:lnTo>
                <a:lnTo>
                  <a:pt x="634" y="133"/>
                </a:lnTo>
                <a:lnTo>
                  <a:pt x="636" y="138"/>
                </a:lnTo>
                <a:lnTo>
                  <a:pt x="640" y="139"/>
                </a:lnTo>
                <a:lnTo>
                  <a:pt x="643" y="140"/>
                </a:lnTo>
                <a:lnTo>
                  <a:pt x="640" y="139"/>
                </a:lnTo>
                <a:lnTo>
                  <a:pt x="636" y="138"/>
                </a:lnTo>
                <a:lnTo>
                  <a:pt x="634" y="143"/>
                </a:lnTo>
                <a:lnTo>
                  <a:pt x="634" y="148"/>
                </a:lnTo>
                <a:lnTo>
                  <a:pt x="634" y="152"/>
                </a:lnTo>
                <a:lnTo>
                  <a:pt x="634" y="156"/>
                </a:lnTo>
                <a:lnTo>
                  <a:pt x="630" y="151"/>
                </a:lnTo>
                <a:lnTo>
                  <a:pt x="625" y="147"/>
                </a:lnTo>
                <a:lnTo>
                  <a:pt x="619" y="139"/>
                </a:lnTo>
                <a:lnTo>
                  <a:pt x="614" y="132"/>
                </a:lnTo>
                <a:lnTo>
                  <a:pt x="612" y="127"/>
                </a:lnTo>
                <a:lnTo>
                  <a:pt x="609" y="124"/>
                </a:lnTo>
                <a:lnTo>
                  <a:pt x="604" y="122"/>
                </a:lnTo>
                <a:lnTo>
                  <a:pt x="600" y="120"/>
                </a:lnTo>
                <a:lnTo>
                  <a:pt x="611" y="135"/>
                </a:lnTo>
                <a:lnTo>
                  <a:pt x="620" y="150"/>
                </a:lnTo>
                <a:lnTo>
                  <a:pt x="618" y="153"/>
                </a:lnTo>
                <a:lnTo>
                  <a:pt x="618" y="157"/>
                </a:lnTo>
                <a:lnTo>
                  <a:pt x="618" y="160"/>
                </a:lnTo>
                <a:lnTo>
                  <a:pt x="618" y="164"/>
                </a:lnTo>
                <a:lnTo>
                  <a:pt x="620" y="171"/>
                </a:lnTo>
                <a:lnTo>
                  <a:pt x="624" y="178"/>
                </a:lnTo>
                <a:lnTo>
                  <a:pt x="624" y="184"/>
                </a:lnTo>
                <a:lnTo>
                  <a:pt x="624" y="190"/>
                </a:lnTo>
                <a:lnTo>
                  <a:pt x="626" y="196"/>
                </a:lnTo>
                <a:lnTo>
                  <a:pt x="628" y="202"/>
                </a:lnTo>
                <a:lnTo>
                  <a:pt x="631" y="214"/>
                </a:lnTo>
                <a:lnTo>
                  <a:pt x="634" y="227"/>
                </a:lnTo>
                <a:lnTo>
                  <a:pt x="635" y="231"/>
                </a:lnTo>
                <a:lnTo>
                  <a:pt x="636" y="236"/>
                </a:lnTo>
                <a:lnTo>
                  <a:pt x="637" y="242"/>
                </a:lnTo>
                <a:lnTo>
                  <a:pt x="638" y="247"/>
                </a:lnTo>
                <a:lnTo>
                  <a:pt x="637" y="242"/>
                </a:lnTo>
                <a:lnTo>
                  <a:pt x="636" y="236"/>
                </a:lnTo>
                <a:lnTo>
                  <a:pt x="635" y="242"/>
                </a:lnTo>
                <a:lnTo>
                  <a:pt x="634" y="246"/>
                </a:lnTo>
                <a:lnTo>
                  <a:pt x="633" y="248"/>
                </a:lnTo>
                <a:lnTo>
                  <a:pt x="632" y="250"/>
                </a:lnTo>
                <a:lnTo>
                  <a:pt x="631" y="251"/>
                </a:lnTo>
                <a:lnTo>
                  <a:pt x="629" y="252"/>
                </a:lnTo>
                <a:lnTo>
                  <a:pt x="626" y="251"/>
                </a:lnTo>
                <a:lnTo>
                  <a:pt x="625" y="250"/>
                </a:lnTo>
                <a:lnTo>
                  <a:pt x="624" y="248"/>
                </a:lnTo>
                <a:lnTo>
                  <a:pt x="622" y="246"/>
                </a:lnTo>
                <a:lnTo>
                  <a:pt x="622" y="249"/>
                </a:lnTo>
                <a:lnTo>
                  <a:pt x="621" y="251"/>
                </a:lnTo>
                <a:lnTo>
                  <a:pt x="620" y="252"/>
                </a:lnTo>
                <a:lnTo>
                  <a:pt x="619" y="254"/>
                </a:lnTo>
                <a:lnTo>
                  <a:pt x="615" y="252"/>
                </a:lnTo>
                <a:lnTo>
                  <a:pt x="611" y="249"/>
                </a:lnTo>
                <a:close/>
                <a:moveTo>
                  <a:pt x="433" y="447"/>
                </a:moveTo>
                <a:lnTo>
                  <a:pt x="432" y="435"/>
                </a:lnTo>
                <a:lnTo>
                  <a:pt x="432" y="424"/>
                </a:lnTo>
                <a:lnTo>
                  <a:pt x="432" y="435"/>
                </a:lnTo>
                <a:lnTo>
                  <a:pt x="433" y="447"/>
                </a:lnTo>
                <a:lnTo>
                  <a:pt x="436" y="454"/>
                </a:lnTo>
                <a:lnTo>
                  <a:pt x="439" y="459"/>
                </a:lnTo>
                <a:lnTo>
                  <a:pt x="440" y="464"/>
                </a:lnTo>
                <a:lnTo>
                  <a:pt x="440" y="471"/>
                </a:lnTo>
                <a:lnTo>
                  <a:pt x="440" y="464"/>
                </a:lnTo>
                <a:lnTo>
                  <a:pt x="439" y="459"/>
                </a:lnTo>
                <a:lnTo>
                  <a:pt x="436" y="454"/>
                </a:lnTo>
                <a:lnTo>
                  <a:pt x="433" y="447"/>
                </a:lnTo>
                <a:close/>
                <a:moveTo>
                  <a:pt x="432" y="263"/>
                </a:moveTo>
                <a:lnTo>
                  <a:pt x="433" y="264"/>
                </a:lnTo>
                <a:lnTo>
                  <a:pt x="432" y="265"/>
                </a:lnTo>
                <a:lnTo>
                  <a:pt x="433" y="264"/>
                </a:lnTo>
                <a:lnTo>
                  <a:pt x="432" y="263"/>
                </a:lnTo>
                <a:close/>
                <a:moveTo>
                  <a:pt x="421" y="191"/>
                </a:moveTo>
                <a:lnTo>
                  <a:pt x="420" y="190"/>
                </a:lnTo>
                <a:lnTo>
                  <a:pt x="420" y="188"/>
                </a:lnTo>
                <a:lnTo>
                  <a:pt x="418" y="187"/>
                </a:lnTo>
                <a:lnTo>
                  <a:pt x="417" y="186"/>
                </a:lnTo>
                <a:lnTo>
                  <a:pt x="417" y="185"/>
                </a:lnTo>
                <a:lnTo>
                  <a:pt x="417" y="184"/>
                </a:lnTo>
                <a:lnTo>
                  <a:pt x="417" y="185"/>
                </a:lnTo>
                <a:lnTo>
                  <a:pt x="417" y="186"/>
                </a:lnTo>
                <a:lnTo>
                  <a:pt x="418" y="187"/>
                </a:lnTo>
                <a:lnTo>
                  <a:pt x="420" y="188"/>
                </a:lnTo>
                <a:lnTo>
                  <a:pt x="420" y="190"/>
                </a:lnTo>
                <a:lnTo>
                  <a:pt x="421" y="191"/>
                </a:lnTo>
                <a:lnTo>
                  <a:pt x="422" y="193"/>
                </a:lnTo>
                <a:lnTo>
                  <a:pt x="423" y="194"/>
                </a:lnTo>
                <a:lnTo>
                  <a:pt x="422" y="193"/>
                </a:lnTo>
                <a:lnTo>
                  <a:pt x="421" y="191"/>
                </a:lnTo>
                <a:close/>
                <a:moveTo>
                  <a:pt x="415" y="151"/>
                </a:moveTo>
                <a:lnTo>
                  <a:pt x="412" y="151"/>
                </a:lnTo>
                <a:lnTo>
                  <a:pt x="408" y="151"/>
                </a:lnTo>
                <a:lnTo>
                  <a:pt x="412" y="151"/>
                </a:lnTo>
                <a:lnTo>
                  <a:pt x="415" y="151"/>
                </a:lnTo>
                <a:lnTo>
                  <a:pt x="416" y="151"/>
                </a:lnTo>
                <a:lnTo>
                  <a:pt x="417" y="150"/>
                </a:lnTo>
                <a:lnTo>
                  <a:pt x="416" y="143"/>
                </a:lnTo>
                <a:lnTo>
                  <a:pt x="414" y="138"/>
                </a:lnTo>
                <a:lnTo>
                  <a:pt x="416" y="143"/>
                </a:lnTo>
                <a:lnTo>
                  <a:pt x="417" y="150"/>
                </a:lnTo>
                <a:lnTo>
                  <a:pt x="416" y="151"/>
                </a:lnTo>
                <a:lnTo>
                  <a:pt x="415" y="151"/>
                </a:lnTo>
                <a:lnTo>
                  <a:pt x="416" y="166"/>
                </a:lnTo>
                <a:lnTo>
                  <a:pt x="418" y="181"/>
                </a:lnTo>
                <a:lnTo>
                  <a:pt x="416" y="166"/>
                </a:lnTo>
                <a:lnTo>
                  <a:pt x="415" y="151"/>
                </a:lnTo>
                <a:close/>
                <a:moveTo>
                  <a:pt x="409" y="321"/>
                </a:moveTo>
                <a:lnTo>
                  <a:pt x="407" y="320"/>
                </a:lnTo>
                <a:lnTo>
                  <a:pt x="406" y="319"/>
                </a:lnTo>
                <a:lnTo>
                  <a:pt x="407" y="320"/>
                </a:lnTo>
                <a:lnTo>
                  <a:pt x="409" y="321"/>
                </a:lnTo>
                <a:lnTo>
                  <a:pt x="410" y="322"/>
                </a:lnTo>
                <a:lnTo>
                  <a:pt x="412" y="324"/>
                </a:lnTo>
                <a:lnTo>
                  <a:pt x="410" y="322"/>
                </a:lnTo>
                <a:lnTo>
                  <a:pt x="409" y="321"/>
                </a:lnTo>
                <a:close/>
                <a:moveTo>
                  <a:pt x="409" y="103"/>
                </a:moveTo>
                <a:lnTo>
                  <a:pt x="408" y="103"/>
                </a:lnTo>
                <a:lnTo>
                  <a:pt x="408" y="103"/>
                </a:lnTo>
                <a:lnTo>
                  <a:pt x="408" y="103"/>
                </a:lnTo>
                <a:lnTo>
                  <a:pt x="409" y="103"/>
                </a:lnTo>
                <a:close/>
                <a:moveTo>
                  <a:pt x="412" y="81"/>
                </a:moveTo>
                <a:lnTo>
                  <a:pt x="412" y="81"/>
                </a:lnTo>
                <a:lnTo>
                  <a:pt x="412" y="81"/>
                </a:lnTo>
                <a:lnTo>
                  <a:pt x="412" y="81"/>
                </a:lnTo>
                <a:lnTo>
                  <a:pt x="408" y="87"/>
                </a:lnTo>
                <a:lnTo>
                  <a:pt x="406" y="92"/>
                </a:lnTo>
                <a:lnTo>
                  <a:pt x="408" y="87"/>
                </a:lnTo>
                <a:lnTo>
                  <a:pt x="412" y="81"/>
                </a:lnTo>
                <a:close/>
                <a:moveTo>
                  <a:pt x="412" y="50"/>
                </a:moveTo>
                <a:lnTo>
                  <a:pt x="412" y="50"/>
                </a:lnTo>
                <a:lnTo>
                  <a:pt x="410" y="50"/>
                </a:lnTo>
                <a:lnTo>
                  <a:pt x="409" y="50"/>
                </a:lnTo>
                <a:lnTo>
                  <a:pt x="410" y="50"/>
                </a:lnTo>
                <a:lnTo>
                  <a:pt x="412" y="50"/>
                </a:lnTo>
                <a:close/>
                <a:moveTo>
                  <a:pt x="412" y="50"/>
                </a:moveTo>
                <a:lnTo>
                  <a:pt x="413" y="49"/>
                </a:lnTo>
                <a:lnTo>
                  <a:pt x="413" y="48"/>
                </a:lnTo>
                <a:lnTo>
                  <a:pt x="413" y="49"/>
                </a:lnTo>
                <a:lnTo>
                  <a:pt x="412" y="50"/>
                </a:lnTo>
                <a:close/>
                <a:moveTo>
                  <a:pt x="412" y="80"/>
                </a:moveTo>
                <a:lnTo>
                  <a:pt x="412" y="78"/>
                </a:lnTo>
                <a:lnTo>
                  <a:pt x="413" y="76"/>
                </a:lnTo>
                <a:lnTo>
                  <a:pt x="412" y="78"/>
                </a:lnTo>
                <a:lnTo>
                  <a:pt x="412" y="80"/>
                </a:lnTo>
                <a:close/>
                <a:moveTo>
                  <a:pt x="410" y="99"/>
                </a:moveTo>
                <a:lnTo>
                  <a:pt x="412" y="102"/>
                </a:lnTo>
                <a:lnTo>
                  <a:pt x="414" y="103"/>
                </a:lnTo>
                <a:lnTo>
                  <a:pt x="412" y="102"/>
                </a:lnTo>
                <a:lnTo>
                  <a:pt x="410" y="99"/>
                </a:lnTo>
                <a:close/>
                <a:moveTo>
                  <a:pt x="414" y="110"/>
                </a:moveTo>
                <a:lnTo>
                  <a:pt x="412" y="108"/>
                </a:lnTo>
                <a:lnTo>
                  <a:pt x="409" y="107"/>
                </a:lnTo>
                <a:lnTo>
                  <a:pt x="412" y="108"/>
                </a:lnTo>
                <a:lnTo>
                  <a:pt x="414" y="110"/>
                </a:lnTo>
                <a:close/>
                <a:moveTo>
                  <a:pt x="417" y="104"/>
                </a:moveTo>
                <a:lnTo>
                  <a:pt x="417" y="104"/>
                </a:lnTo>
                <a:lnTo>
                  <a:pt x="417" y="106"/>
                </a:lnTo>
                <a:lnTo>
                  <a:pt x="417" y="109"/>
                </a:lnTo>
                <a:lnTo>
                  <a:pt x="417" y="106"/>
                </a:lnTo>
                <a:lnTo>
                  <a:pt x="417" y="104"/>
                </a:lnTo>
                <a:close/>
                <a:moveTo>
                  <a:pt x="417" y="63"/>
                </a:moveTo>
                <a:lnTo>
                  <a:pt x="417" y="63"/>
                </a:lnTo>
                <a:lnTo>
                  <a:pt x="417" y="63"/>
                </a:lnTo>
                <a:lnTo>
                  <a:pt x="418" y="62"/>
                </a:lnTo>
                <a:lnTo>
                  <a:pt x="419" y="61"/>
                </a:lnTo>
                <a:lnTo>
                  <a:pt x="420" y="60"/>
                </a:lnTo>
                <a:lnTo>
                  <a:pt x="421" y="59"/>
                </a:lnTo>
                <a:lnTo>
                  <a:pt x="421" y="58"/>
                </a:lnTo>
                <a:lnTo>
                  <a:pt x="420" y="56"/>
                </a:lnTo>
                <a:lnTo>
                  <a:pt x="420" y="54"/>
                </a:lnTo>
                <a:lnTo>
                  <a:pt x="420" y="54"/>
                </a:lnTo>
                <a:lnTo>
                  <a:pt x="423" y="56"/>
                </a:lnTo>
                <a:lnTo>
                  <a:pt x="425" y="58"/>
                </a:lnTo>
                <a:lnTo>
                  <a:pt x="425" y="60"/>
                </a:lnTo>
                <a:lnTo>
                  <a:pt x="423" y="63"/>
                </a:lnTo>
                <a:lnTo>
                  <a:pt x="422" y="67"/>
                </a:lnTo>
                <a:lnTo>
                  <a:pt x="421" y="71"/>
                </a:lnTo>
                <a:lnTo>
                  <a:pt x="420" y="73"/>
                </a:lnTo>
                <a:lnTo>
                  <a:pt x="419" y="74"/>
                </a:lnTo>
                <a:lnTo>
                  <a:pt x="417" y="75"/>
                </a:lnTo>
                <a:lnTo>
                  <a:pt x="414" y="75"/>
                </a:lnTo>
                <a:lnTo>
                  <a:pt x="416" y="69"/>
                </a:lnTo>
                <a:lnTo>
                  <a:pt x="417" y="63"/>
                </a:lnTo>
                <a:close/>
                <a:moveTo>
                  <a:pt x="418" y="57"/>
                </a:moveTo>
                <a:lnTo>
                  <a:pt x="417" y="58"/>
                </a:lnTo>
                <a:lnTo>
                  <a:pt x="416" y="60"/>
                </a:lnTo>
                <a:lnTo>
                  <a:pt x="417" y="58"/>
                </a:lnTo>
                <a:lnTo>
                  <a:pt x="418" y="57"/>
                </a:lnTo>
                <a:close/>
                <a:moveTo>
                  <a:pt x="434" y="18"/>
                </a:moveTo>
                <a:lnTo>
                  <a:pt x="436" y="21"/>
                </a:lnTo>
                <a:lnTo>
                  <a:pt x="438" y="25"/>
                </a:lnTo>
                <a:lnTo>
                  <a:pt x="439" y="21"/>
                </a:lnTo>
                <a:lnTo>
                  <a:pt x="442" y="19"/>
                </a:lnTo>
                <a:lnTo>
                  <a:pt x="439" y="22"/>
                </a:lnTo>
                <a:lnTo>
                  <a:pt x="438" y="25"/>
                </a:lnTo>
                <a:lnTo>
                  <a:pt x="439" y="30"/>
                </a:lnTo>
                <a:lnTo>
                  <a:pt x="439" y="35"/>
                </a:lnTo>
                <a:lnTo>
                  <a:pt x="439" y="40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2" y="46"/>
                </a:lnTo>
                <a:lnTo>
                  <a:pt x="428" y="44"/>
                </a:lnTo>
                <a:lnTo>
                  <a:pt x="428" y="44"/>
                </a:lnTo>
                <a:lnTo>
                  <a:pt x="431" y="31"/>
                </a:lnTo>
                <a:lnTo>
                  <a:pt x="434" y="18"/>
                </a:lnTo>
                <a:close/>
                <a:moveTo>
                  <a:pt x="434" y="14"/>
                </a:moveTo>
                <a:lnTo>
                  <a:pt x="433" y="13"/>
                </a:lnTo>
                <a:lnTo>
                  <a:pt x="432" y="11"/>
                </a:lnTo>
                <a:lnTo>
                  <a:pt x="433" y="13"/>
                </a:lnTo>
                <a:lnTo>
                  <a:pt x="434" y="14"/>
                </a:lnTo>
                <a:close/>
                <a:moveTo>
                  <a:pt x="438" y="45"/>
                </a:move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38" y="45"/>
                </a:lnTo>
                <a:lnTo>
                  <a:pt x="442" y="47"/>
                </a:lnTo>
                <a:lnTo>
                  <a:pt x="443" y="49"/>
                </a:lnTo>
                <a:lnTo>
                  <a:pt x="443" y="52"/>
                </a:lnTo>
                <a:lnTo>
                  <a:pt x="442" y="56"/>
                </a:lnTo>
                <a:lnTo>
                  <a:pt x="437" y="54"/>
                </a:lnTo>
                <a:lnTo>
                  <a:pt x="433" y="54"/>
                </a:lnTo>
                <a:lnTo>
                  <a:pt x="432" y="52"/>
                </a:lnTo>
                <a:lnTo>
                  <a:pt x="432" y="50"/>
                </a:lnTo>
                <a:lnTo>
                  <a:pt x="432" y="49"/>
                </a:lnTo>
                <a:lnTo>
                  <a:pt x="433" y="48"/>
                </a:lnTo>
                <a:lnTo>
                  <a:pt x="435" y="47"/>
                </a:lnTo>
                <a:lnTo>
                  <a:pt x="438" y="45"/>
                </a:lnTo>
                <a:close/>
                <a:moveTo>
                  <a:pt x="449" y="61"/>
                </a:moveTo>
                <a:lnTo>
                  <a:pt x="445" y="63"/>
                </a:lnTo>
                <a:lnTo>
                  <a:pt x="444" y="63"/>
                </a:lnTo>
                <a:lnTo>
                  <a:pt x="445" y="63"/>
                </a:lnTo>
                <a:lnTo>
                  <a:pt x="449" y="61"/>
                </a:lnTo>
                <a:close/>
                <a:moveTo>
                  <a:pt x="464" y="69"/>
                </a:moveTo>
                <a:lnTo>
                  <a:pt x="464" y="71"/>
                </a:lnTo>
                <a:lnTo>
                  <a:pt x="464" y="72"/>
                </a:lnTo>
                <a:lnTo>
                  <a:pt x="465" y="72"/>
                </a:lnTo>
                <a:lnTo>
                  <a:pt x="465" y="72"/>
                </a:lnTo>
                <a:lnTo>
                  <a:pt x="465" y="72"/>
                </a:lnTo>
                <a:lnTo>
                  <a:pt x="464" y="72"/>
                </a:lnTo>
                <a:lnTo>
                  <a:pt x="463" y="71"/>
                </a:lnTo>
                <a:lnTo>
                  <a:pt x="464" y="69"/>
                </a:lnTo>
                <a:close/>
                <a:moveTo>
                  <a:pt x="480" y="69"/>
                </a:moveTo>
                <a:lnTo>
                  <a:pt x="480" y="73"/>
                </a:lnTo>
                <a:lnTo>
                  <a:pt x="480" y="77"/>
                </a:lnTo>
                <a:lnTo>
                  <a:pt x="480" y="77"/>
                </a:lnTo>
                <a:lnTo>
                  <a:pt x="479" y="77"/>
                </a:lnTo>
                <a:lnTo>
                  <a:pt x="480" y="77"/>
                </a:lnTo>
                <a:lnTo>
                  <a:pt x="480" y="77"/>
                </a:lnTo>
                <a:lnTo>
                  <a:pt x="480" y="73"/>
                </a:lnTo>
                <a:lnTo>
                  <a:pt x="480" y="69"/>
                </a:lnTo>
                <a:close/>
                <a:moveTo>
                  <a:pt x="469" y="45"/>
                </a:moveTo>
                <a:lnTo>
                  <a:pt x="473" y="48"/>
                </a:lnTo>
                <a:lnTo>
                  <a:pt x="477" y="51"/>
                </a:lnTo>
                <a:lnTo>
                  <a:pt x="477" y="54"/>
                </a:lnTo>
                <a:lnTo>
                  <a:pt x="478" y="58"/>
                </a:lnTo>
                <a:lnTo>
                  <a:pt x="480" y="60"/>
                </a:lnTo>
                <a:lnTo>
                  <a:pt x="484" y="60"/>
                </a:lnTo>
                <a:lnTo>
                  <a:pt x="488" y="60"/>
                </a:lnTo>
                <a:lnTo>
                  <a:pt x="490" y="61"/>
                </a:lnTo>
                <a:lnTo>
                  <a:pt x="492" y="62"/>
                </a:lnTo>
                <a:lnTo>
                  <a:pt x="493" y="63"/>
                </a:lnTo>
                <a:lnTo>
                  <a:pt x="495" y="67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5" y="72"/>
                </a:lnTo>
                <a:lnTo>
                  <a:pt x="494" y="72"/>
                </a:lnTo>
                <a:lnTo>
                  <a:pt x="491" y="68"/>
                </a:lnTo>
                <a:lnTo>
                  <a:pt x="488" y="65"/>
                </a:lnTo>
                <a:lnTo>
                  <a:pt x="485" y="64"/>
                </a:lnTo>
                <a:lnTo>
                  <a:pt x="483" y="64"/>
                </a:lnTo>
                <a:lnTo>
                  <a:pt x="482" y="65"/>
                </a:lnTo>
                <a:lnTo>
                  <a:pt x="481" y="66"/>
                </a:lnTo>
                <a:lnTo>
                  <a:pt x="479" y="63"/>
                </a:lnTo>
                <a:lnTo>
                  <a:pt x="477" y="61"/>
                </a:lnTo>
                <a:lnTo>
                  <a:pt x="473" y="60"/>
                </a:lnTo>
                <a:lnTo>
                  <a:pt x="470" y="58"/>
                </a:lnTo>
                <a:lnTo>
                  <a:pt x="468" y="56"/>
                </a:lnTo>
                <a:lnTo>
                  <a:pt x="467" y="54"/>
                </a:lnTo>
                <a:lnTo>
                  <a:pt x="467" y="54"/>
                </a:lnTo>
                <a:lnTo>
                  <a:pt x="467" y="54"/>
                </a:lnTo>
                <a:lnTo>
                  <a:pt x="468" y="50"/>
                </a:lnTo>
                <a:lnTo>
                  <a:pt x="469" y="45"/>
                </a:lnTo>
                <a:close/>
                <a:moveTo>
                  <a:pt x="496" y="72"/>
                </a:moveTo>
                <a:lnTo>
                  <a:pt x="497" y="73"/>
                </a:lnTo>
                <a:lnTo>
                  <a:pt x="497" y="74"/>
                </a:lnTo>
                <a:lnTo>
                  <a:pt x="496" y="73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lnTo>
                  <a:pt x="496" y="72"/>
                </a:lnTo>
                <a:close/>
                <a:moveTo>
                  <a:pt x="474" y="43"/>
                </a:moveTo>
                <a:lnTo>
                  <a:pt x="474" y="43"/>
                </a:lnTo>
                <a:lnTo>
                  <a:pt x="474" y="44"/>
                </a:lnTo>
                <a:lnTo>
                  <a:pt x="474" y="43"/>
                </a:lnTo>
                <a:close/>
                <a:moveTo>
                  <a:pt x="493" y="49"/>
                </a:moveTo>
                <a:lnTo>
                  <a:pt x="493" y="49"/>
                </a:lnTo>
                <a:lnTo>
                  <a:pt x="493" y="49"/>
                </a:lnTo>
                <a:lnTo>
                  <a:pt x="493" y="49"/>
                </a:lnTo>
                <a:close/>
                <a:moveTo>
                  <a:pt x="512" y="29"/>
                </a:moveTo>
                <a:lnTo>
                  <a:pt x="510" y="28"/>
                </a:lnTo>
                <a:lnTo>
                  <a:pt x="508" y="27"/>
                </a:lnTo>
                <a:lnTo>
                  <a:pt x="510" y="28"/>
                </a:lnTo>
                <a:lnTo>
                  <a:pt x="512" y="29"/>
                </a:lnTo>
                <a:close/>
                <a:moveTo>
                  <a:pt x="519" y="28"/>
                </a:moveTo>
                <a:lnTo>
                  <a:pt x="516" y="28"/>
                </a:lnTo>
                <a:lnTo>
                  <a:pt x="514" y="28"/>
                </a:lnTo>
                <a:lnTo>
                  <a:pt x="516" y="28"/>
                </a:lnTo>
                <a:lnTo>
                  <a:pt x="519" y="28"/>
                </a:lnTo>
                <a:close/>
                <a:moveTo>
                  <a:pt x="521" y="43"/>
                </a:moveTo>
                <a:lnTo>
                  <a:pt x="518" y="43"/>
                </a:lnTo>
                <a:lnTo>
                  <a:pt x="514" y="42"/>
                </a:lnTo>
                <a:lnTo>
                  <a:pt x="518" y="43"/>
                </a:lnTo>
                <a:lnTo>
                  <a:pt x="521" y="43"/>
                </a:lnTo>
                <a:lnTo>
                  <a:pt x="521" y="43"/>
                </a:lnTo>
                <a:lnTo>
                  <a:pt x="521" y="43"/>
                </a:lnTo>
                <a:close/>
                <a:moveTo>
                  <a:pt x="534" y="64"/>
                </a:moveTo>
                <a:lnTo>
                  <a:pt x="534" y="64"/>
                </a:lnTo>
                <a:lnTo>
                  <a:pt x="528" y="65"/>
                </a:lnTo>
                <a:lnTo>
                  <a:pt x="521" y="64"/>
                </a:lnTo>
                <a:lnTo>
                  <a:pt x="528" y="65"/>
                </a:lnTo>
                <a:lnTo>
                  <a:pt x="534" y="64"/>
                </a:lnTo>
                <a:close/>
                <a:moveTo>
                  <a:pt x="523" y="27"/>
                </a:moveTo>
                <a:lnTo>
                  <a:pt x="523" y="27"/>
                </a:lnTo>
                <a:lnTo>
                  <a:pt x="523" y="26"/>
                </a:lnTo>
                <a:lnTo>
                  <a:pt x="523" y="27"/>
                </a:lnTo>
                <a:lnTo>
                  <a:pt x="523" y="27"/>
                </a:lnTo>
                <a:close/>
                <a:moveTo>
                  <a:pt x="527" y="35"/>
                </a:moveTo>
                <a:lnTo>
                  <a:pt x="526" y="35"/>
                </a:lnTo>
                <a:lnTo>
                  <a:pt x="524" y="35"/>
                </a:lnTo>
                <a:lnTo>
                  <a:pt x="526" y="35"/>
                </a:lnTo>
                <a:lnTo>
                  <a:pt x="527" y="35"/>
                </a:lnTo>
                <a:close/>
                <a:moveTo>
                  <a:pt x="537" y="58"/>
                </a:moveTo>
                <a:lnTo>
                  <a:pt x="535" y="58"/>
                </a:lnTo>
                <a:lnTo>
                  <a:pt x="534" y="60"/>
                </a:lnTo>
                <a:lnTo>
                  <a:pt x="535" y="58"/>
                </a:lnTo>
                <a:lnTo>
                  <a:pt x="537" y="58"/>
                </a:lnTo>
                <a:close/>
                <a:moveTo>
                  <a:pt x="535" y="40"/>
                </a:moveTo>
                <a:lnTo>
                  <a:pt x="547" y="43"/>
                </a:lnTo>
                <a:lnTo>
                  <a:pt x="560" y="45"/>
                </a:lnTo>
                <a:lnTo>
                  <a:pt x="562" y="45"/>
                </a:lnTo>
                <a:lnTo>
                  <a:pt x="565" y="45"/>
                </a:lnTo>
                <a:lnTo>
                  <a:pt x="566" y="47"/>
                </a:lnTo>
                <a:lnTo>
                  <a:pt x="565" y="49"/>
                </a:lnTo>
                <a:lnTo>
                  <a:pt x="565" y="50"/>
                </a:lnTo>
                <a:lnTo>
                  <a:pt x="564" y="50"/>
                </a:lnTo>
                <a:lnTo>
                  <a:pt x="560" y="50"/>
                </a:lnTo>
                <a:lnTo>
                  <a:pt x="558" y="50"/>
                </a:lnTo>
                <a:lnTo>
                  <a:pt x="554" y="53"/>
                </a:lnTo>
                <a:lnTo>
                  <a:pt x="551" y="54"/>
                </a:lnTo>
                <a:lnTo>
                  <a:pt x="554" y="53"/>
                </a:lnTo>
                <a:lnTo>
                  <a:pt x="558" y="50"/>
                </a:lnTo>
                <a:lnTo>
                  <a:pt x="553" y="50"/>
                </a:lnTo>
                <a:lnTo>
                  <a:pt x="549" y="50"/>
                </a:lnTo>
                <a:lnTo>
                  <a:pt x="543" y="49"/>
                </a:lnTo>
                <a:lnTo>
                  <a:pt x="539" y="47"/>
                </a:lnTo>
                <a:lnTo>
                  <a:pt x="537" y="44"/>
                </a:lnTo>
                <a:lnTo>
                  <a:pt x="535" y="40"/>
                </a:lnTo>
                <a:lnTo>
                  <a:pt x="535" y="40"/>
                </a:lnTo>
                <a:lnTo>
                  <a:pt x="534" y="38"/>
                </a:lnTo>
                <a:lnTo>
                  <a:pt x="535" y="40"/>
                </a:lnTo>
                <a:lnTo>
                  <a:pt x="535" y="40"/>
                </a:lnTo>
                <a:close/>
                <a:moveTo>
                  <a:pt x="549" y="22"/>
                </a:moveTo>
                <a:lnTo>
                  <a:pt x="549" y="23"/>
                </a:lnTo>
                <a:lnTo>
                  <a:pt x="549" y="25"/>
                </a:lnTo>
                <a:lnTo>
                  <a:pt x="549" y="23"/>
                </a:lnTo>
                <a:lnTo>
                  <a:pt x="549" y="22"/>
                </a:lnTo>
                <a:lnTo>
                  <a:pt x="545" y="22"/>
                </a:lnTo>
                <a:lnTo>
                  <a:pt x="542" y="22"/>
                </a:lnTo>
                <a:lnTo>
                  <a:pt x="545" y="22"/>
                </a:lnTo>
                <a:lnTo>
                  <a:pt x="549" y="22"/>
                </a:lnTo>
                <a:close/>
                <a:moveTo>
                  <a:pt x="557" y="28"/>
                </a:moveTo>
                <a:lnTo>
                  <a:pt x="553" y="28"/>
                </a:lnTo>
                <a:lnTo>
                  <a:pt x="549" y="27"/>
                </a:lnTo>
                <a:lnTo>
                  <a:pt x="553" y="28"/>
                </a:lnTo>
                <a:lnTo>
                  <a:pt x="557" y="28"/>
                </a:lnTo>
                <a:close/>
                <a:moveTo>
                  <a:pt x="562" y="27"/>
                </a:moveTo>
                <a:lnTo>
                  <a:pt x="560" y="25"/>
                </a:lnTo>
                <a:lnTo>
                  <a:pt x="560" y="23"/>
                </a:lnTo>
                <a:lnTo>
                  <a:pt x="561" y="22"/>
                </a:lnTo>
                <a:lnTo>
                  <a:pt x="562" y="22"/>
                </a:lnTo>
                <a:lnTo>
                  <a:pt x="569" y="23"/>
                </a:lnTo>
                <a:lnTo>
                  <a:pt x="575" y="25"/>
                </a:lnTo>
                <a:lnTo>
                  <a:pt x="579" y="25"/>
                </a:lnTo>
                <a:lnTo>
                  <a:pt x="581" y="25"/>
                </a:lnTo>
                <a:lnTo>
                  <a:pt x="579" y="25"/>
                </a:lnTo>
                <a:lnTo>
                  <a:pt x="575" y="25"/>
                </a:lnTo>
                <a:lnTo>
                  <a:pt x="572" y="27"/>
                </a:lnTo>
                <a:lnTo>
                  <a:pt x="569" y="28"/>
                </a:lnTo>
                <a:lnTo>
                  <a:pt x="562" y="29"/>
                </a:lnTo>
                <a:lnTo>
                  <a:pt x="556" y="30"/>
                </a:lnTo>
                <a:lnTo>
                  <a:pt x="562" y="29"/>
                </a:lnTo>
                <a:lnTo>
                  <a:pt x="569" y="28"/>
                </a:lnTo>
                <a:lnTo>
                  <a:pt x="566" y="27"/>
                </a:lnTo>
                <a:lnTo>
                  <a:pt x="562" y="27"/>
                </a:lnTo>
                <a:close/>
                <a:moveTo>
                  <a:pt x="574" y="54"/>
                </a:moveTo>
                <a:lnTo>
                  <a:pt x="574" y="54"/>
                </a:lnTo>
                <a:lnTo>
                  <a:pt x="572" y="52"/>
                </a:lnTo>
                <a:lnTo>
                  <a:pt x="571" y="50"/>
                </a:lnTo>
                <a:lnTo>
                  <a:pt x="572" y="52"/>
                </a:lnTo>
                <a:lnTo>
                  <a:pt x="574" y="54"/>
                </a:lnTo>
                <a:close/>
                <a:moveTo>
                  <a:pt x="619" y="43"/>
                </a:moveTo>
                <a:lnTo>
                  <a:pt x="620" y="42"/>
                </a:lnTo>
                <a:lnTo>
                  <a:pt x="621" y="40"/>
                </a:lnTo>
                <a:lnTo>
                  <a:pt x="622" y="40"/>
                </a:lnTo>
                <a:lnTo>
                  <a:pt x="624" y="40"/>
                </a:lnTo>
                <a:lnTo>
                  <a:pt x="624" y="42"/>
                </a:lnTo>
                <a:lnTo>
                  <a:pt x="624" y="44"/>
                </a:lnTo>
                <a:lnTo>
                  <a:pt x="625" y="46"/>
                </a:lnTo>
                <a:lnTo>
                  <a:pt x="627" y="47"/>
                </a:lnTo>
                <a:lnTo>
                  <a:pt x="631" y="48"/>
                </a:lnTo>
                <a:lnTo>
                  <a:pt x="634" y="50"/>
                </a:lnTo>
                <a:lnTo>
                  <a:pt x="626" y="50"/>
                </a:lnTo>
                <a:lnTo>
                  <a:pt x="617" y="50"/>
                </a:lnTo>
                <a:lnTo>
                  <a:pt x="618" y="53"/>
                </a:lnTo>
                <a:lnTo>
                  <a:pt x="620" y="56"/>
                </a:lnTo>
                <a:lnTo>
                  <a:pt x="617" y="56"/>
                </a:lnTo>
                <a:lnTo>
                  <a:pt x="613" y="57"/>
                </a:lnTo>
                <a:lnTo>
                  <a:pt x="612" y="56"/>
                </a:lnTo>
                <a:lnTo>
                  <a:pt x="611" y="54"/>
                </a:lnTo>
                <a:lnTo>
                  <a:pt x="610" y="53"/>
                </a:lnTo>
                <a:lnTo>
                  <a:pt x="610" y="50"/>
                </a:lnTo>
                <a:lnTo>
                  <a:pt x="607" y="48"/>
                </a:lnTo>
                <a:lnTo>
                  <a:pt x="604" y="49"/>
                </a:lnTo>
                <a:lnTo>
                  <a:pt x="588" y="48"/>
                </a:lnTo>
                <a:lnTo>
                  <a:pt x="573" y="48"/>
                </a:lnTo>
                <a:lnTo>
                  <a:pt x="573" y="48"/>
                </a:lnTo>
                <a:lnTo>
                  <a:pt x="571" y="46"/>
                </a:lnTo>
                <a:lnTo>
                  <a:pt x="569" y="45"/>
                </a:lnTo>
                <a:lnTo>
                  <a:pt x="567" y="45"/>
                </a:lnTo>
                <a:lnTo>
                  <a:pt x="565" y="45"/>
                </a:lnTo>
                <a:lnTo>
                  <a:pt x="566" y="44"/>
                </a:lnTo>
                <a:lnTo>
                  <a:pt x="565" y="43"/>
                </a:lnTo>
                <a:lnTo>
                  <a:pt x="564" y="42"/>
                </a:lnTo>
                <a:lnTo>
                  <a:pt x="562" y="42"/>
                </a:lnTo>
                <a:lnTo>
                  <a:pt x="562" y="41"/>
                </a:lnTo>
                <a:lnTo>
                  <a:pt x="562" y="40"/>
                </a:lnTo>
                <a:lnTo>
                  <a:pt x="562" y="40"/>
                </a:lnTo>
                <a:lnTo>
                  <a:pt x="562" y="40"/>
                </a:lnTo>
                <a:lnTo>
                  <a:pt x="571" y="41"/>
                </a:lnTo>
                <a:lnTo>
                  <a:pt x="581" y="41"/>
                </a:lnTo>
                <a:lnTo>
                  <a:pt x="582" y="38"/>
                </a:lnTo>
                <a:lnTo>
                  <a:pt x="581" y="37"/>
                </a:lnTo>
                <a:lnTo>
                  <a:pt x="582" y="38"/>
                </a:lnTo>
                <a:lnTo>
                  <a:pt x="581" y="41"/>
                </a:lnTo>
                <a:lnTo>
                  <a:pt x="582" y="43"/>
                </a:lnTo>
                <a:lnTo>
                  <a:pt x="584" y="44"/>
                </a:lnTo>
                <a:lnTo>
                  <a:pt x="592" y="45"/>
                </a:lnTo>
                <a:lnTo>
                  <a:pt x="602" y="45"/>
                </a:lnTo>
                <a:lnTo>
                  <a:pt x="611" y="45"/>
                </a:lnTo>
                <a:lnTo>
                  <a:pt x="619" y="43"/>
                </a:lnTo>
                <a:close/>
                <a:moveTo>
                  <a:pt x="636" y="51"/>
                </a:moveTo>
                <a:lnTo>
                  <a:pt x="636" y="51"/>
                </a:lnTo>
                <a:lnTo>
                  <a:pt x="635" y="51"/>
                </a:lnTo>
                <a:lnTo>
                  <a:pt x="635" y="51"/>
                </a:lnTo>
                <a:lnTo>
                  <a:pt x="634" y="50"/>
                </a:lnTo>
                <a:lnTo>
                  <a:pt x="635" y="51"/>
                </a:lnTo>
                <a:lnTo>
                  <a:pt x="636" y="51"/>
                </a:lnTo>
                <a:close/>
                <a:moveTo>
                  <a:pt x="668" y="83"/>
                </a:moveTo>
                <a:lnTo>
                  <a:pt x="672" y="82"/>
                </a:lnTo>
                <a:lnTo>
                  <a:pt x="674" y="82"/>
                </a:lnTo>
                <a:lnTo>
                  <a:pt x="672" y="82"/>
                </a:lnTo>
                <a:lnTo>
                  <a:pt x="668" y="83"/>
                </a:lnTo>
                <a:lnTo>
                  <a:pt x="672" y="88"/>
                </a:lnTo>
                <a:lnTo>
                  <a:pt x="676" y="92"/>
                </a:lnTo>
                <a:lnTo>
                  <a:pt x="676" y="94"/>
                </a:lnTo>
                <a:lnTo>
                  <a:pt x="676" y="96"/>
                </a:lnTo>
                <a:lnTo>
                  <a:pt x="674" y="96"/>
                </a:lnTo>
                <a:lnTo>
                  <a:pt x="672" y="95"/>
                </a:lnTo>
                <a:lnTo>
                  <a:pt x="670" y="93"/>
                </a:lnTo>
                <a:lnTo>
                  <a:pt x="667" y="93"/>
                </a:lnTo>
                <a:lnTo>
                  <a:pt x="664" y="93"/>
                </a:lnTo>
                <a:lnTo>
                  <a:pt x="662" y="93"/>
                </a:lnTo>
                <a:lnTo>
                  <a:pt x="661" y="94"/>
                </a:lnTo>
                <a:lnTo>
                  <a:pt x="661" y="94"/>
                </a:lnTo>
                <a:lnTo>
                  <a:pt x="649" y="84"/>
                </a:lnTo>
                <a:lnTo>
                  <a:pt x="637" y="77"/>
                </a:lnTo>
                <a:lnTo>
                  <a:pt x="635" y="76"/>
                </a:lnTo>
                <a:lnTo>
                  <a:pt x="635" y="76"/>
                </a:lnTo>
                <a:lnTo>
                  <a:pt x="636" y="75"/>
                </a:lnTo>
                <a:lnTo>
                  <a:pt x="637" y="75"/>
                </a:lnTo>
                <a:lnTo>
                  <a:pt x="634" y="73"/>
                </a:lnTo>
                <a:lnTo>
                  <a:pt x="630" y="72"/>
                </a:lnTo>
                <a:lnTo>
                  <a:pt x="626" y="72"/>
                </a:lnTo>
                <a:lnTo>
                  <a:pt x="621" y="73"/>
                </a:lnTo>
                <a:lnTo>
                  <a:pt x="626" y="72"/>
                </a:lnTo>
                <a:lnTo>
                  <a:pt x="630" y="72"/>
                </a:lnTo>
                <a:lnTo>
                  <a:pt x="634" y="73"/>
                </a:lnTo>
                <a:lnTo>
                  <a:pt x="637" y="75"/>
                </a:lnTo>
                <a:lnTo>
                  <a:pt x="653" y="78"/>
                </a:lnTo>
                <a:lnTo>
                  <a:pt x="668" y="83"/>
                </a:lnTo>
                <a:close/>
                <a:moveTo>
                  <a:pt x="665" y="72"/>
                </a:moveTo>
                <a:lnTo>
                  <a:pt x="665" y="71"/>
                </a:lnTo>
                <a:lnTo>
                  <a:pt x="665" y="69"/>
                </a:lnTo>
                <a:lnTo>
                  <a:pt x="665" y="71"/>
                </a:lnTo>
                <a:lnTo>
                  <a:pt x="665" y="72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0" y="64"/>
                </a:lnTo>
                <a:lnTo>
                  <a:pt x="662" y="61"/>
                </a:lnTo>
                <a:lnTo>
                  <a:pt x="670" y="64"/>
                </a:lnTo>
                <a:lnTo>
                  <a:pt x="676" y="66"/>
                </a:lnTo>
                <a:close/>
                <a:moveTo>
                  <a:pt x="676" y="66"/>
                </a:moveTo>
                <a:lnTo>
                  <a:pt x="676" y="66"/>
                </a:lnTo>
                <a:lnTo>
                  <a:pt x="676" y="66"/>
                </a:lnTo>
                <a:close/>
                <a:moveTo>
                  <a:pt x="645" y="140"/>
                </a:move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lnTo>
                  <a:pt x="645" y="140"/>
                </a:lnTo>
                <a:close/>
                <a:moveTo>
                  <a:pt x="622" y="158"/>
                </a:moveTo>
                <a:lnTo>
                  <a:pt x="622" y="158"/>
                </a:lnTo>
                <a:lnTo>
                  <a:pt x="621" y="157"/>
                </a:lnTo>
                <a:lnTo>
                  <a:pt x="622" y="156"/>
                </a:lnTo>
                <a:lnTo>
                  <a:pt x="622" y="156"/>
                </a:lnTo>
                <a:lnTo>
                  <a:pt x="622" y="156"/>
                </a:lnTo>
                <a:lnTo>
                  <a:pt x="624" y="157"/>
                </a:lnTo>
                <a:lnTo>
                  <a:pt x="624" y="158"/>
                </a:lnTo>
                <a:lnTo>
                  <a:pt x="622" y="158"/>
                </a:lnTo>
                <a:close/>
                <a:moveTo>
                  <a:pt x="650" y="394"/>
                </a:moveTo>
                <a:lnTo>
                  <a:pt x="649" y="395"/>
                </a:lnTo>
                <a:lnTo>
                  <a:pt x="649" y="395"/>
                </a:lnTo>
                <a:lnTo>
                  <a:pt x="649" y="395"/>
                </a:lnTo>
                <a:lnTo>
                  <a:pt x="650" y="394"/>
                </a:lnTo>
                <a:close/>
                <a:moveTo>
                  <a:pt x="650" y="216"/>
                </a:moveTo>
                <a:lnTo>
                  <a:pt x="650" y="216"/>
                </a:lnTo>
                <a:lnTo>
                  <a:pt x="644" y="206"/>
                </a:lnTo>
                <a:lnTo>
                  <a:pt x="640" y="197"/>
                </a:lnTo>
                <a:lnTo>
                  <a:pt x="638" y="194"/>
                </a:lnTo>
                <a:lnTo>
                  <a:pt x="637" y="193"/>
                </a:lnTo>
                <a:lnTo>
                  <a:pt x="636" y="193"/>
                </a:lnTo>
                <a:lnTo>
                  <a:pt x="633" y="193"/>
                </a:lnTo>
                <a:lnTo>
                  <a:pt x="631" y="193"/>
                </a:lnTo>
                <a:lnTo>
                  <a:pt x="631" y="190"/>
                </a:lnTo>
                <a:lnTo>
                  <a:pt x="629" y="184"/>
                </a:lnTo>
                <a:lnTo>
                  <a:pt x="628" y="178"/>
                </a:lnTo>
                <a:lnTo>
                  <a:pt x="628" y="176"/>
                </a:lnTo>
                <a:lnTo>
                  <a:pt x="627" y="175"/>
                </a:lnTo>
                <a:lnTo>
                  <a:pt x="628" y="176"/>
                </a:lnTo>
                <a:lnTo>
                  <a:pt x="628" y="178"/>
                </a:lnTo>
                <a:lnTo>
                  <a:pt x="628" y="175"/>
                </a:lnTo>
                <a:lnTo>
                  <a:pt x="627" y="174"/>
                </a:lnTo>
                <a:lnTo>
                  <a:pt x="626" y="172"/>
                </a:lnTo>
                <a:lnTo>
                  <a:pt x="625" y="170"/>
                </a:lnTo>
                <a:lnTo>
                  <a:pt x="624" y="173"/>
                </a:lnTo>
                <a:lnTo>
                  <a:pt x="624" y="176"/>
                </a:lnTo>
                <a:lnTo>
                  <a:pt x="624" y="173"/>
                </a:lnTo>
                <a:lnTo>
                  <a:pt x="625" y="170"/>
                </a:lnTo>
                <a:lnTo>
                  <a:pt x="625" y="168"/>
                </a:lnTo>
                <a:lnTo>
                  <a:pt x="624" y="166"/>
                </a:lnTo>
                <a:lnTo>
                  <a:pt x="624" y="164"/>
                </a:lnTo>
                <a:lnTo>
                  <a:pt x="626" y="161"/>
                </a:lnTo>
                <a:lnTo>
                  <a:pt x="630" y="168"/>
                </a:lnTo>
                <a:lnTo>
                  <a:pt x="633" y="175"/>
                </a:lnTo>
                <a:lnTo>
                  <a:pt x="634" y="180"/>
                </a:lnTo>
                <a:lnTo>
                  <a:pt x="636" y="183"/>
                </a:lnTo>
                <a:lnTo>
                  <a:pt x="640" y="186"/>
                </a:lnTo>
                <a:lnTo>
                  <a:pt x="643" y="188"/>
                </a:lnTo>
                <a:lnTo>
                  <a:pt x="643" y="187"/>
                </a:lnTo>
                <a:lnTo>
                  <a:pt x="644" y="187"/>
                </a:lnTo>
                <a:lnTo>
                  <a:pt x="643" y="187"/>
                </a:lnTo>
                <a:lnTo>
                  <a:pt x="643" y="188"/>
                </a:lnTo>
                <a:lnTo>
                  <a:pt x="644" y="188"/>
                </a:lnTo>
                <a:lnTo>
                  <a:pt x="645" y="188"/>
                </a:lnTo>
                <a:lnTo>
                  <a:pt x="647" y="201"/>
                </a:lnTo>
                <a:lnTo>
                  <a:pt x="650" y="213"/>
                </a:lnTo>
                <a:lnTo>
                  <a:pt x="650" y="214"/>
                </a:lnTo>
                <a:lnTo>
                  <a:pt x="650" y="216"/>
                </a:lnTo>
                <a:close/>
                <a:moveTo>
                  <a:pt x="661" y="220"/>
                </a:moveTo>
                <a:lnTo>
                  <a:pt x="659" y="220"/>
                </a:lnTo>
                <a:lnTo>
                  <a:pt x="656" y="220"/>
                </a:lnTo>
                <a:lnTo>
                  <a:pt x="659" y="220"/>
                </a:lnTo>
                <a:lnTo>
                  <a:pt x="661" y="220"/>
                </a:lnTo>
                <a:close/>
                <a:moveTo>
                  <a:pt x="655" y="267"/>
                </a:move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2" y="266"/>
                </a:lnTo>
                <a:lnTo>
                  <a:pt x="653" y="267"/>
                </a:lnTo>
                <a:lnTo>
                  <a:pt x="653" y="267"/>
                </a:lnTo>
                <a:lnTo>
                  <a:pt x="653" y="267"/>
                </a:lnTo>
                <a:lnTo>
                  <a:pt x="655" y="267"/>
                </a:lnTo>
                <a:close/>
                <a:moveTo>
                  <a:pt x="653" y="204"/>
                </a:moveTo>
                <a:lnTo>
                  <a:pt x="658" y="207"/>
                </a:lnTo>
                <a:lnTo>
                  <a:pt x="660" y="213"/>
                </a:lnTo>
                <a:lnTo>
                  <a:pt x="658" y="207"/>
                </a:lnTo>
                <a:lnTo>
                  <a:pt x="653" y="204"/>
                </a:lnTo>
                <a:close/>
                <a:moveTo>
                  <a:pt x="664" y="211"/>
                </a:moveTo>
                <a:lnTo>
                  <a:pt x="664" y="211"/>
                </a:lnTo>
                <a:lnTo>
                  <a:pt x="664" y="210"/>
                </a:lnTo>
                <a:lnTo>
                  <a:pt x="660" y="205"/>
                </a:lnTo>
                <a:lnTo>
                  <a:pt x="656" y="201"/>
                </a:lnTo>
                <a:lnTo>
                  <a:pt x="652" y="197"/>
                </a:lnTo>
                <a:lnTo>
                  <a:pt x="650" y="194"/>
                </a:lnTo>
                <a:lnTo>
                  <a:pt x="648" y="189"/>
                </a:lnTo>
                <a:lnTo>
                  <a:pt x="647" y="185"/>
                </a:lnTo>
                <a:lnTo>
                  <a:pt x="640" y="171"/>
                </a:lnTo>
                <a:lnTo>
                  <a:pt x="634" y="156"/>
                </a:lnTo>
                <a:lnTo>
                  <a:pt x="640" y="158"/>
                </a:lnTo>
                <a:lnTo>
                  <a:pt x="645" y="161"/>
                </a:lnTo>
                <a:lnTo>
                  <a:pt x="647" y="164"/>
                </a:lnTo>
                <a:lnTo>
                  <a:pt x="648" y="166"/>
                </a:lnTo>
                <a:lnTo>
                  <a:pt x="649" y="168"/>
                </a:lnTo>
                <a:lnTo>
                  <a:pt x="649" y="169"/>
                </a:lnTo>
                <a:lnTo>
                  <a:pt x="648" y="172"/>
                </a:lnTo>
                <a:lnTo>
                  <a:pt x="647" y="175"/>
                </a:lnTo>
                <a:lnTo>
                  <a:pt x="648" y="178"/>
                </a:lnTo>
                <a:lnTo>
                  <a:pt x="649" y="180"/>
                </a:lnTo>
                <a:lnTo>
                  <a:pt x="652" y="184"/>
                </a:lnTo>
                <a:lnTo>
                  <a:pt x="656" y="188"/>
                </a:lnTo>
                <a:lnTo>
                  <a:pt x="660" y="195"/>
                </a:lnTo>
                <a:lnTo>
                  <a:pt x="664" y="202"/>
                </a:lnTo>
                <a:lnTo>
                  <a:pt x="665" y="203"/>
                </a:lnTo>
                <a:lnTo>
                  <a:pt x="665" y="205"/>
                </a:lnTo>
                <a:lnTo>
                  <a:pt x="665" y="207"/>
                </a:lnTo>
                <a:lnTo>
                  <a:pt x="664" y="210"/>
                </a:lnTo>
                <a:lnTo>
                  <a:pt x="664" y="211"/>
                </a:lnTo>
                <a:lnTo>
                  <a:pt x="664" y="211"/>
                </a:lnTo>
                <a:close/>
                <a:moveTo>
                  <a:pt x="666" y="398"/>
                </a:moveTo>
                <a:lnTo>
                  <a:pt x="666" y="397"/>
                </a:lnTo>
                <a:lnTo>
                  <a:pt x="666" y="397"/>
                </a:lnTo>
                <a:lnTo>
                  <a:pt x="666" y="397"/>
                </a:lnTo>
                <a:lnTo>
                  <a:pt x="666" y="398"/>
                </a:lnTo>
                <a:close/>
                <a:moveTo>
                  <a:pt x="667" y="257"/>
                </a:moveTo>
                <a:lnTo>
                  <a:pt x="667" y="257"/>
                </a:lnTo>
                <a:lnTo>
                  <a:pt x="668" y="258"/>
                </a:lnTo>
                <a:lnTo>
                  <a:pt x="667" y="257"/>
                </a:lnTo>
                <a:lnTo>
                  <a:pt x="667" y="257"/>
                </a:lnTo>
                <a:close/>
                <a:moveTo>
                  <a:pt x="667" y="260"/>
                </a:moveTo>
                <a:lnTo>
                  <a:pt x="673" y="261"/>
                </a:lnTo>
                <a:lnTo>
                  <a:pt x="676" y="262"/>
                </a:lnTo>
                <a:lnTo>
                  <a:pt x="673" y="261"/>
                </a:lnTo>
                <a:lnTo>
                  <a:pt x="667" y="260"/>
                </a:lnTo>
                <a:lnTo>
                  <a:pt x="667" y="259"/>
                </a:lnTo>
                <a:lnTo>
                  <a:pt x="667" y="258"/>
                </a:lnTo>
                <a:lnTo>
                  <a:pt x="667" y="259"/>
                </a:lnTo>
                <a:lnTo>
                  <a:pt x="667" y="260"/>
                </a:lnTo>
                <a:close/>
                <a:moveTo>
                  <a:pt x="685" y="392"/>
                </a:moveTo>
                <a:lnTo>
                  <a:pt x="682" y="394"/>
                </a:lnTo>
                <a:lnTo>
                  <a:pt x="680" y="396"/>
                </a:lnTo>
                <a:lnTo>
                  <a:pt x="682" y="394"/>
                </a:lnTo>
                <a:lnTo>
                  <a:pt x="685" y="392"/>
                </a:lnTo>
                <a:close/>
                <a:moveTo>
                  <a:pt x="678" y="151"/>
                </a:moveTo>
                <a:lnTo>
                  <a:pt x="679" y="151"/>
                </a:lnTo>
                <a:lnTo>
                  <a:pt x="680" y="150"/>
                </a:lnTo>
                <a:lnTo>
                  <a:pt x="679" y="151"/>
                </a:lnTo>
                <a:lnTo>
                  <a:pt x="678" y="151"/>
                </a:lnTo>
                <a:close/>
                <a:moveTo>
                  <a:pt x="677" y="140"/>
                </a:moveTo>
                <a:lnTo>
                  <a:pt x="680" y="140"/>
                </a:lnTo>
                <a:lnTo>
                  <a:pt x="682" y="141"/>
                </a:lnTo>
                <a:lnTo>
                  <a:pt x="686" y="142"/>
                </a:lnTo>
                <a:lnTo>
                  <a:pt x="687" y="144"/>
                </a:lnTo>
                <a:lnTo>
                  <a:pt x="686" y="142"/>
                </a:lnTo>
                <a:lnTo>
                  <a:pt x="682" y="141"/>
                </a:lnTo>
                <a:lnTo>
                  <a:pt x="680" y="140"/>
                </a:lnTo>
                <a:lnTo>
                  <a:pt x="677" y="140"/>
                </a:lnTo>
                <a:lnTo>
                  <a:pt x="675" y="136"/>
                </a:lnTo>
                <a:lnTo>
                  <a:pt x="672" y="132"/>
                </a:lnTo>
                <a:lnTo>
                  <a:pt x="672" y="130"/>
                </a:lnTo>
                <a:lnTo>
                  <a:pt x="671" y="130"/>
                </a:lnTo>
                <a:lnTo>
                  <a:pt x="666" y="128"/>
                </a:lnTo>
                <a:lnTo>
                  <a:pt x="663" y="127"/>
                </a:lnTo>
                <a:lnTo>
                  <a:pt x="661" y="130"/>
                </a:lnTo>
                <a:lnTo>
                  <a:pt x="660" y="135"/>
                </a:lnTo>
                <a:lnTo>
                  <a:pt x="661" y="139"/>
                </a:lnTo>
                <a:lnTo>
                  <a:pt x="662" y="143"/>
                </a:lnTo>
                <a:lnTo>
                  <a:pt x="663" y="145"/>
                </a:lnTo>
                <a:lnTo>
                  <a:pt x="664" y="149"/>
                </a:lnTo>
                <a:lnTo>
                  <a:pt x="665" y="151"/>
                </a:lnTo>
                <a:lnTo>
                  <a:pt x="664" y="152"/>
                </a:lnTo>
                <a:lnTo>
                  <a:pt x="661" y="153"/>
                </a:lnTo>
                <a:lnTo>
                  <a:pt x="659" y="151"/>
                </a:lnTo>
                <a:lnTo>
                  <a:pt x="658" y="149"/>
                </a:lnTo>
                <a:lnTo>
                  <a:pt x="656" y="145"/>
                </a:lnTo>
                <a:lnTo>
                  <a:pt x="653" y="143"/>
                </a:lnTo>
                <a:lnTo>
                  <a:pt x="650" y="140"/>
                </a:lnTo>
                <a:lnTo>
                  <a:pt x="649" y="144"/>
                </a:lnTo>
                <a:lnTo>
                  <a:pt x="650" y="148"/>
                </a:lnTo>
                <a:lnTo>
                  <a:pt x="649" y="144"/>
                </a:lnTo>
                <a:lnTo>
                  <a:pt x="650" y="140"/>
                </a:lnTo>
                <a:lnTo>
                  <a:pt x="650" y="140"/>
                </a:lnTo>
                <a:lnTo>
                  <a:pt x="650" y="140"/>
                </a:lnTo>
                <a:lnTo>
                  <a:pt x="650" y="137"/>
                </a:lnTo>
                <a:lnTo>
                  <a:pt x="648" y="135"/>
                </a:lnTo>
                <a:lnTo>
                  <a:pt x="647" y="133"/>
                </a:lnTo>
                <a:lnTo>
                  <a:pt x="645" y="129"/>
                </a:lnTo>
                <a:lnTo>
                  <a:pt x="644" y="126"/>
                </a:lnTo>
                <a:lnTo>
                  <a:pt x="644" y="124"/>
                </a:lnTo>
                <a:lnTo>
                  <a:pt x="642" y="120"/>
                </a:lnTo>
                <a:lnTo>
                  <a:pt x="638" y="117"/>
                </a:lnTo>
                <a:lnTo>
                  <a:pt x="635" y="113"/>
                </a:lnTo>
                <a:lnTo>
                  <a:pt x="632" y="111"/>
                </a:lnTo>
                <a:lnTo>
                  <a:pt x="625" y="107"/>
                </a:lnTo>
                <a:lnTo>
                  <a:pt x="617" y="102"/>
                </a:lnTo>
                <a:lnTo>
                  <a:pt x="615" y="100"/>
                </a:lnTo>
                <a:lnTo>
                  <a:pt x="613" y="99"/>
                </a:lnTo>
                <a:lnTo>
                  <a:pt x="612" y="98"/>
                </a:lnTo>
                <a:lnTo>
                  <a:pt x="611" y="96"/>
                </a:lnTo>
                <a:lnTo>
                  <a:pt x="612" y="94"/>
                </a:lnTo>
                <a:lnTo>
                  <a:pt x="614" y="93"/>
                </a:lnTo>
                <a:lnTo>
                  <a:pt x="617" y="93"/>
                </a:lnTo>
                <a:lnTo>
                  <a:pt x="619" y="93"/>
                </a:lnTo>
                <a:lnTo>
                  <a:pt x="622" y="96"/>
                </a:lnTo>
                <a:lnTo>
                  <a:pt x="627" y="96"/>
                </a:lnTo>
                <a:lnTo>
                  <a:pt x="628" y="98"/>
                </a:lnTo>
                <a:lnTo>
                  <a:pt x="629" y="98"/>
                </a:lnTo>
                <a:lnTo>
                  <a:pt x="630" y="99"/>
                </a:lnTo>
                <a:lnTo>
                  <a:pt x="631" y="100"/>
                </a:lnTo>
                <a:lnTo>
                  <a:pt x="633" y="100"/>
                </a:lnTo>
                <a:lnTo>
                  <a:pt x="634" y="99"/>
                </a:lnTo>
                <a:lnTo>
                  <a:pt x="634" y="98"/>
                </a:lnTo>
                <a:lnTo>
                  <a:pt x="634" y="98"/>
                </a:lnTo>
                <a:lnTo>
                  <a:pt x="634" y="98"/>
                </a:lnTo>
                <a:lnTo>
                  <a:pt x="634" y="99"/>
                </a:lnTo>
                <a:lnTo>
                  <a:pt x="634" y="102"/>
                </a:lnTo>
                <a:lnTo>
                  <a:pt x="635" y="103"/>
                </a:lnTo>
                <a:lnTo>
                  <a:pt x="636" y="104"/>
                </a:lnTo>
                <a:lnTo>
                  <a:pt x="637" y="105"/>
                </a:lnTo>
                <a:lnTo>
                  <a:pt x="636" y="104"/>
                </a:lnTo>
                <a:lnTo>
                  <a:pt x="635" y="103"/>
                </a:lnTo>
                <a:lnTo>
                  <a:pt x="635" y="105"/>
                </a:lnTo>
                <a:lnTo>
                  <a:pt x="637" y="105"/>
                </a:lnTo>
                <a:lnTo>
                  <a:pt x="651" y="111"/>
                </a:lnTo>
                <a:lnTo>
                  <a:pt x="663" y="118"/>
                </a:lnTo>
                <a:lnTo>
                  <a:pt x="666" y="121"/>
                </a:lnTo>
                <a:lnTo>
                  <a:pt x="668" y="123"/>
                </a:lnTo>
                <a:lnTo>
                  <a:pt x="671" y="126"/>
                </a:lnTo>
                <a:lnTo>
                  <a:pt x="671" y="130"/>
                </a:lnTo>
                <a:lnTo>
                  <a:pt x="672" y="130"/>
                </a:lnTo>
                <a:lnTo>
                  <a:pt x="672" y="132"/>
                </a:lnTo>
                <a:lnTo>
                  <a:pt x="675" y="136"/>
                </a:lnTo>
                <a:lnTo>
                  <a:pt x="677" y="140"/>
                </a:lnTo>
                <a:close/>
                <a:moveTo>
                  <a:pt x="405" y="538"/>
                </a:moveTo>
                <a:lnTo>
                  <a:pt x="404" y="540"/>
                </a:lnTo>
                <a:lnTo>
                  <a:pt x="404" y="542"/>
                </a:lnTo>
                <a:lnTo>
                  <a:pt x="406" y="543"/>
                </a:lnTo>
                <a:lnTo>
                  <a:pt x="407" y="545"/>
                </a:lnTo>
                <a:lnTo>
                  <a:pt x="407" y="547"/>
                </a:lnTo>
                <a:lnTo>
                  <a:pt x="407" y="549"/>
                </a:lnTo>
                <a:lnTo>
                  <a:pt x="407" y="547"/>
                </a:lnTo>
                <a:lnTo>
                  <a:pt x="407" y="545"/>
                </a:lnTo>
                <a:lnTo>
                  <a:pt x="406" y="543"/>
                </a:lnTo>
                <a:lnTo>
                  <a:pt x="404" y="542"/>
                </a:lnTo>
                <a:lnTo>
                  <a:pt x="403" y="542"/>
                </a:lnTo>
                <a:lnTo>
                  <a:pt x="401" y="542"/>
                </a:lnTo>
                <a:lnTo>
                  <a:pt x="400" y="541"/>
                </a:lnTo>
                <a:lnTo>
                  <a:pt x="400" y="540"/>
                </a:lnTo>
                <a:lnTo>
                  <a:pt x="400" y="541"/>
                </a:lnTo>
                <a:lnTo>
                  <a:pt x="401" y="542"/>
                </a:lnTo>
                <a:lnTo>
                  <a:pt x="403" y="542"/>
                </a:lnTo>
                <a:lnTo>
                  <a:pt x="404" y="542"/>
                </a:lnTo>
                <a:lnTo>
                  <a:pt x="404" y="540"/>
                </a:lnTo>
                <a:lnTo>
                  <a:pt x="405" y="538"/>
                </a:lnTo>
                <a:close/>
                <a:moveTo>
                  <a:pt x="412" y="547"/>
                </a:moveTo>
                <a:lnTo>
                  <a:pt x="410" y="549"/>
                </a:lnTo>
                <a:lnTo>
                  <a:pt x="409" y="550"/>
                </a:lnTo>
                <a:lnTo>
                  <a:pt x="408" y="551"/>
                </a:lnTo>
                <a:lnTo>
                  <a:pt x="406" y="552"/>
                </a:lnTo>
                <a:lnTo>
                  <a:pt x="406" y="552"/>
                </a:lnTo>
                <a:lnTo>
                  <a:pt x="406" y="553"/>
                </a:lnTo>
                <a:lnTo>
                  <a:pt x="406" y="553"/>
                </a:lnTo>
                <a:lnTo>
                  <a:pt x="406" y="553"/>
                </a:lnTo>
                <a:lnTo>
                  <a:pt x="406" y="552"/>
                </a:lnTo>
                <a:lnTo>
                  <a:pt x="406" y="552"/>
                </a:lnTo>
                <a:lnTo>
                  <a:pt x="406" y="552"/>
                </a:lnTo>
                <a:lnTo>
                  <a:pt x="408" y="551"/>
                </a:lnTo>
                <a:lnTo>
                  <a:pt x="409" y="550"/>
                </a:lnTo>
                <a:lnTo>
                  <a:pt x="410" y="549"/>
                </a:lnTo>
                <a:lnTo>
                  <a:pt x="412" y="547"/>
                </a:lnTo>
                <a:close/>
                <a:moveTo>
                  <a:pt x="403" y="787"/>
                </a:moveTo>
                <a:lnTo>
                  <a:pt x="402" y="790"/>
                </a:lnTo>
                <a:lnTo>
                  <a:pt x="400" y="793"/>
                </a:lnTo>
                <a:lnTo>
                  <a:pt x="398" y="794"/>
                </a:lnTo>
                <a:lnTo>
                  <a:pt x="395" y="795"/>
                </a:lnTo>
                <a:lnTo>
                  <a:pt x="398" y="794"/>
                </a:lnTo>
                <a:lnTo>
                  <a:pt x="400" y="793"/>
                </a:lnTo>
                <a:lnTo>
                  <a:pt x="402" y="790"/>
                </a:lnTo>
                <a:lnTo>
                  <a:pt x="403" y="787"/>
                </a:lnTo>
                <a:lnTo>
                  <a:pt x="404" y="787"/>
                </a:lnTo>
                <a:lnTo>
                  <a:pt x="404" y="787"/>
                </a:lnTo>
                <a:lnTo>
                  <a:pt x="404" y="787"/>
                </a:lnTo>
                <a:lnTo>
                  <a:pt x="403" y="787"/>
                </a:lnTo>
                <a:close/>
                <a:moveTo>
                  <a:pt x="394" y="571"/>
                </a:moveTo>
                <a:lnTo>
                  <a:pt x="395" y="572"/>
                </a:lnTo>
                <a:lnTo>
                  <a:pt x="397" y="572"/>
                </a:lnTo>
                <a:lnTo>
                  <a:pt x="398" y="572"/>
                </a:lnTo>
                <a:lnTo>
                  <a:pt x="400" y="570"/>
                </a:lnTo>
                <a:lnTo>
                  <a:pt x="400" y="570"/>
                </a:lnTo>
                <a:lnTo>
                  <a:pt x="401" y="570"/>
                </a:lnTo>
                <a:lnTo>
                  <a:pt x="400" y="570"/>
                </a:lnTo>
                <a:lnTo>
                  <a:pt x="400" y="570"/>
                </a:lnTo>
                <a:lnTo>
                  <a:pt x="398" y="572"/>
                </a:lnTo>
                <a:lnTo>
                  <a:pt x="397" y="572"/>
                </a:lnTo>
                <a:lnTo>
                  <a:pt x="395" y="572"/>
                </a:lnTo>
                <a:lnTo>
                  <a:pt x="394" y="571"/>
                </a:lnTo>
                <a:close/>
                <a:moveTo>
                  <a:pt x="391" y="568"/>
                </a:moveTo>
                <a:lnTo>
                  <a:pt x="387" y="568"/>
                </a:lnTo>
                <a:lnTo>
                  <a:pt x="383" y="567"/>
                </a:lnTo>
                <a:lnTo>
                  <a:pt x="379" y="566"/>
                </a:lnTo>
                <a:lnTo>
                  <a:pt x="376" y="563"/>
                </a:lnTo>
                <a:lnTo>
                  <a:pt x="379" y="566"/>
                </a:lnTo>
                <a:lnTo>
                  <a:pt x="383" y="567"/>
                </a:lnTo>
                <a:lnTo>
                  <a:pt x="387" y="568"/>
                </a:lnTo>
                <a:lnTo>
                  <a:pt x="391" y="568"/>
                </a:lnTo>
                <a:lnTo>
                  <a:pt x="392" y="568"/>
                </a:lnTo>
                <a:lnTo>
                  <a:pt x="393" y="569"/>
                </a:lnTo>
                <a:lnTo>
                  <a:pt x="392" y="568"/>
                </a:lnTo>
                <a:lnTo>
                  <a:pt x="391" y="568"/>
                </a:lnTo>
                <a:close/>
                <a:moveTo>
                  <a:pt x="376" y="604"/>
                </a:moveTo>
                <a:lnTo>
                  <a:pt x="376" y="604"/>
                </a:lnTo>
                <a:lnTo>
                  <a:pt x="375" y="604"/>
                </a:lnTo>
                <a:lnTo>
                  <a:pt x="376" y="604"/>
                </a:lnTo>
                <a:lnTo>
                  <a:pt x="376" y="604"/>
                </a:lnTo>
                <a:lnTo>
                  <a:pt x="376" y="601"/>
                </a:lnTo>
                <a:lnTo>
                  <a:pt x="377" y="598"/>
                </a:lnTo>
                <a:lnTo>
                  <a:pt x="379" y="596"/>
                </a:lnTo>
                <a:lnTo>
                  <a:pt x="382" y="595"/>
                </a:lnTo>
                <a:lnTo>
                  <a:pt x="379" y="596"/>
                </a:lnTo>
                <a:lnTo>
                  <a:pt x="377" y="598"/>
                </a:lnTo>
                <a:lnTo>
                  <a:pt x="376" y="601"/>
                </a:lnTo>
                <a:lnTo>
                  <a:pt x="376" y="604"/>
                </a:lnTo>
                <a:close/>
                <a:moveTo>
                  <a:pt x="376" y="553"/>
                </a:moveTo>
                <a:lnTo>
                  <a:pt x="376" y="551"/>
                </a:lnTo>
                <a:lnTo>
                  <a:pt x="378" y="550"/>
                </a:lnTo>
                <a:lnTo>
                  <a:pt x="376" y="551"/>
                </a:lnTo>
                <a:lnTo>
                  <a:pt x="376" y="553"/>
                </a:lnTo>
                <a:lnTo>
                  <a:pt x="374" y="555"/>
                </a:lnTo>
                <a:lnTo>
                  <a:pt x="374" y="557"/>
                </a:lnTo>
                <a:lnTo>
                  <a:pt x="374" y="555"/>
                </a:lnTo>
                <a:lnTo>
                  <a:pt x="376" y="553"/>
                </a:lnTo>
                <a:close/>
                <a:moveTo>
                  <a:pt x="379" y="548"/>
                </a:moveTo>
                <a:lnTo>
                  <a:pt x="382" y="548"/>
                </a:lnTo>
                <a:lnTo>
                  <a:pt x="384" y="548"/>
                </a:lnTo>
                <a:lnTo>
                  <a:pt x="382" y="548"/>
                </a:lnTo>
                <a:lnTo>
                  <a:pt x="379" y="548"/>
                </a:lnTo>
                <a:lnTo>
                  <a:pt x="379" y="548"/>
                </a:lnTo>
                <a:close/>
                <a:moveTo>
                  <a:pt x="395" y="537"/>
                </a:moveTo>
                <a:lnTo>
                  <a:pt x="391" y="538"/>
                </a:lnTo>
                <a:lnTo>
                  <a:pt x="387" y="539"/>
                </a:lnTo>
                <a:lnTo>
                  <a:pt x="391" y="538"/>
                </a:lnTo>
                <a:lnTo>
                  <a:pt x="395" y="537"/>
                </a:lnTo>
                <a:close/>
                <a:moveTo>
                  <a:pt x="400" y="533"/>
                </a:moveTo>
                <a:lnTo>
                  <a:pt x="399" y="531"/>
                </a:lnTo>
                <a:lnTo>
                  <a:pt x="399" y="530"/>
                </a:lnTo>
                <a:lnTo>
                  <a:pt x="398" y="527"/>
                </a:lnTo>
                <a:lnTo>
                  <a:pt x="397" y="526"/>
                </a:lnTo>
                <a:lnTo>
                  <a:pt x="393" y="524"/>
                </a:lnTo>
                <a:lnTo>
                  <a:pt x="389" y="522"/>
                </a:lnTo>
                <a:lnTo>
                  <a:pt x="393" y="524"/>
                </a:lnTo>
                <a:lnTo>
                  <a:pt x="397" y="526"/>
                </a:lnTo>
                <a:lnTo>
                  <a:pt x="398" y="527"/>
                </a:lnTo>
                <a:lnTo>
                  <a:pt x="399" y="530"/>
                </a:lnTo>
                <a:lnTo>
                  <a:pt x="399" y="531"/>
                </a:lnTo>
                <a:lnTo>
                  <a:pt x="400" y="533"/>
                </a:lnTo>
                <a:close/>
                <a:moveTo>
                  <a:pt x="390" y="511"/>
                </a:moveTo>
                <a:lnTo>
                  <a:pt x="392" y="514"/>
                </a:lnTo>
                <a:lnTo>
                  <a:pt x="394" y="516"/>
                </a:lnTo>
                <a:lnTo>
                  <a:pt x="397" y="516"/>
                </a:lnTo>
                <a:lnTo>
                  <a:pt x="400" y="515"/>
                </a:lnTo>
                <a:lnTo>
                  <a:pt x="397" y="516"/>
                </a:lnTo>
                <a:lnTo>
                  <a:pt x="394" y="516"/>
                </a:lnTo>
                <a:lnTo>
                  <a:pt x="392" y="514"/>
                </a:lnTo>
                <a:lnTo>
                  <a:pt x="390" y="511"/>
                </a:lnTo>
                <a:lnTo>
                  <a:pt x="389" y="511"/>
                </a:lnTo>
                <a:lnTo>
                  <a:pt x="387" y="512"/>
                </a:lnTo>
                <a:lnTo>
                  <a:pt x="389" y="511"/>
                </a:lnTo>
                <a:lnTo>
                  <a:pt x="390" y="511"/>
                </a:lnTo>
                <a:close/>
                <a:moveTo>
                  <a:pt x="394" y="449"/>
                </a:moveTo>
                <a:lnTo>
                  <a:pt x="394" y="449"/>
                </a:lnTo>
                <a:lnTo>
                  <a:pt x="394" y="449"/>
                </a:lnTo>
                <a:lnTo>
                  <a:pt x="393" y="448"/>
                </a:lnTo>
                <a:lnTo>
                  <a:pt x="394" y="449"/>
                </a:lnTo>
                <a:lnTo>
                  <a:pt x="394" y="449"/>
                </a:lnTo>
                <a:close/>
                <a:moveTo>
                  <a:pt x="397" y="495"/>
                </a:moveTo>
                <a:lnTo>
                  <a:pt x="395" y="499"/>
                </a:lnTo>
                <a:lnTo>
                  <a:pt x="395" y="501"/>
                </a:lnTo>
                <a:lnTo>
                  <a:pt x="395" y="499"/>
                </a:lnTo>
                <a:lnTo>
                  <a:pt x="397" y="495"/>
                </a:lnTo>
                <a:close/>
                <a:moveTo>
                  <a:pt x="404" y="488"/>
                </a:moveTo>
                <a:lnTo>
                  <a:pt x="401" y="487"/>
                </a:lnTo>
                <a:lnTo>
                  <a:pt x="398" y="485"/>
                </a:lnTo>
                <a:lnTo>
                  <a:pt x="401" y="487"/>
                </a:lnTo>
                <a:lnTo>
                  <a:pt x="404" y="488"/>
                </a:lnTo>
                <a:close/>
                <a:moveTo>
                  <a:pt x="413" y="558"/>
                </a:moveTo>
                <a:lnTo>
                  <a:pt x="414" y="558"/>
                </a:lnTo>
                <a:lnTo>
                  <a:pt x="415" y="558"/>
                </a:lnTo>
                <a:lnTo>
                  <a:pt x="414" y="558"/>
                </a:lnTo>
                <a:lnTo>
                  <a:pt x="413" y="558"/>
                </a:lnTo>
                <a:lnTo>
                  <a:pt x="412" y="560"/>
                </a:lnTo>
                <a:lnTo>
                  <a:pt x="412" y="560"/>
                </a:lnTo>
                <a:lnTo>
                  <a:pt x="412" y="560"/>
                </a:lnTo>
                <a:lnTo>
                  <a:pt x="413" y="558"/>
                </a:lnTo>
                <a:close/>
                <a:moveTo>
                  <a:pt x="417" y="580"/>
                </a:moveTo>
                <a:lnTo>
                  <a:pt x="417" y="579"/>
                </a:lnTo>
                <a:lnTo>
                  <a:pt x="417" y="578"/>
                </a:lnTo>
                <a:lnTo>
                  <a:pt x="417" y="579"/>
                </a:lnTo>
                <a:lnTo>
                  <a:pt x="417" y="580"/>
                </a:lnTo>
                <a:lnTo>
                  <a:pt x="417" y="580"/>
                </a:lnTo>
                <a:lnTo>
                  <a:pt x="417" y="580"/>
                </a:lnTo>
                <a:lnTo>
                  <a:pt x="416" y="581"/>
                </a:lnTo>
                <a:lnTo>
                  <a:pt x="414" y="581"/>
                </a:lnTo>
                <a:lnTo>
                  <a:pt x="415" y="580"/>
                </a:lnTo>
                <a:lnTo>
                  <a:pt x="417" y="580"/>
                </a:lnTo>
                <a:close/>
                <a:moveTo>
                  <a:pt x="353" y="823"/>
                </a:moveTo>
                <a:lnTo>
                  <a:pt x="353" y="823"/>
                </a:lnTo>
                <a:lnTo>
                  <a:pt x="355" y="820"/>
                </a:lnTo>
                <a:lnTo>
                  <a:pt x="356" y="816"/>
                </a:lnTo>
                <a:lnTo>
                  <a:pt x="355" y="820"/>
                </a:lnTo>
                <a:lnTo>
                  <a:pt x="353" y="823"/>
                </a:lnTo>
                <a:close/>
                <a:moveTo>
                  <a:pt x="346" y="466"/>
                </a:moveTo>
                <a:lnTo>
                  <a:pt x="347" y="465"/>
                </a:lnTo>
                <a:lnTo>
                  <a:pt x="347" y="464"/>
                </a:lnTo>
                <a:lnTo>
                  <a:pt x="347" y="463"/>
                </a:lnTo>
                <a:lnTo>
                  <a:pt x="346" y="462"/>
                </a:lnTo>
                <a:lnTo>
                  <a:pt x="347" y="463"/>
                </a:lnTo>
                <a:lnTo>
                  <a:pt x="347" y="464"/>
                </a:lnTo>
                <a:lnTo>
                  <a:pt x="347" y="465"/>
                </a:lnTo>
                <a:lnTo>
                  <a:pt x="346" y="466"/>
                </a:lnTo>
                <a:close/>
                <a:moveTo>
                  <a:pt x="346" y="654"/>
                </a:moveTo>
                <a:lnTo>
                  <a:pt x="344" y="654"/>
                </a:lnTo>
                <a:lnTo>
                  <a:pt x="342" y="655"/>
                </a:lnTo>
                <a:lnTo>
                  <a:pt x="344" y="654"/>
                </a:lnTo>
                <a:lnTo>
                  <a:pt x="346" y="654"/>
                </a:lnTo>
                <a:lnTo>
                  <a:pt x="346" y="654"/>
                </a:lnTo>
                <a:lnTo>
                  <a:pt x="347" y="654"/>
                </a:lnTo>
                <a:lnTo>
                  <a:pt x="346" y="654"/>
                </a:lnTo>
                <a:lnTo>
                  <a:pt x="346" y="654"/>
                </a:lnTo>
                <a:close/>
                <a:moveTo>
                  <a:pt x="340" y="615"/>
                </a:moveTo>
                <a:lnTo>
                  <a:pt x="339" y="616"/>
                </a:lnTo>
                <a:lnTo>
                  <a:pt x="338" y="617"/>
                </a:lnTo>
                <a:lnTo>
                  <a:pt x="339" y="616"/>
                </a:lnTo>
                <a:lnTo>
                  <a:pt x="340" y="615"/>
                </a:lnTo>
                <a:lnTo>
                  <a:pt x="341" y="616"/>
                </a:lnTo>
                <a:lnTo>
                  <a:pt x="342" y="615"/>
                </a:lnTo>
                <a:lnTo>
                  <a:pt x="341" y="616"/>
                </a:lnTo>
                <a:lnTo>
                  <a:pt x="340" y="615"/>
                </a:lnTo>
                <a:close/>
                <a:moveTo>
                  <a:pt x="333" y="717"/>
                </a:moveTo>
                <a:lnTo>
                  <a:pt x="336" y="721"/>
                </a:lnTo>
                <a:lnTo>
                  <a:pt x="337" y="725"/>
                </a:lnTo>
                <a:lnTo>
                  <a:pt x="336" y="721"/>
                </a:lnTo>
                <a:lnTo>
                  <a:pt x="333" y="717"/>
                </a:lnTo>
                <a:close/>
                <a:moveTo>
                  <a:pt x="332" y="818"/>
                </a:moveTo>
                <a:lnTo>
                  <a:pt x="331" y="817"/>
                </a:lnTo>
                <a:lnTo>
                  <a:pt x="330" y="816"/>
                </a:lnTo>
                <a:lnTo>
                  <a:pt x="331" y="817"/>
                </a:lnTo>
                <a:lnTo>
                  <a:pt x="332" y="818"/>
                </a:lnTo>
                <a:lnTo>
                  <a:pt x="333" y="818"/>
                </a:lnTo>
                <a:lnTo>
                  <a:pt x="336" y="817"/>
                </a:lnTo>
                <a:lnTo>
                  <a:pt x="333" y="818"/>
                </a:lnTo>
                <a:lnTo>
                  <a:pt x="332" y="818"/>
                </a:lnTo>
                <a:close/>
                <a:moveTo>
                  <a:pt x="327" y="818"/>
                </a:moveTo>
                <a:lnTo>
                  <a:pt x="328" y="818"/>
                </a:lnTo>
                <a:lnTo>
                  <a:pt x="329" y="820"/>
                </a:lnTo>
                <a:lnTo>
                  <a:pt x="328" y="821"/>
                </a:lnTo>
                <a:lnTo>
                  <a:pt x="327" y="822"/>
                </a:lnTo>
                <a:lnTo>
                  <a:pt x="327" y="821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327" y="818"/>
                </a:moveTo>
                <a:lnTo>
                  <a:pt x="315" y="821"/>
                </a:lnTo>
                <a:lnTo>
                  <a:pt x="303" y="824"/>
                </a:lnTo>
                <a:lnTo>
                  <a:pt x="300" y="824"/>
                </a:lnTo>
                <a:lnTo>
                  <a:pt x="298" y="825"/>
                </a:lnTo>
                <a:lnTo>
                  <a:pt x="296" y="827"/>
                </a:lnTo>
                <a:lnTo>
                  <a:pt x="295" y="829"/>
                </a:lnTo>
                <a:lnTo>
                  <a:pt x="293" y="828"/>
                </a:lnTo>
                <a:lnTo>
                  <a:pt x="289" y="828"/>
                </a:lnTo>
                <a:lnTo>
                  <a:pt x="287" y="828"/>
                </a:lnTo>
                <a:lnTo>
                  <a:pt x="286" y="829"/>
                </a:lnTo>
                <a:lnTo>
                  <a:pt x="282" y="831"/>
                </a:lnTo>
                <a:lnTo>
                  <a:pt x="279" y="835"/>
                </a:lnTo>
                <a:lnTo>
                  <a:pt x="279" y="835"/>
                </a:lnTo>
                <a:lnTo>
                  <a:pt x="277" y="835"/>
                </a:lnTo>
                <a:lnTo>
                  <a:pt x="276" y="835"/>
                </a:lnTo>
                <a:lnTo>
                  <a:pt x="274" y="836"/>
                </a:lnTo>
                <a:lnTo>
                  <a:pt x="273" y="838"/>
                </a:lnTo>
                <a:lnTo>
                  <a:pt x="273" y="838"/>
                </a:lnTo>
                <a:lnTo>
                  <a:pt x="270" y="838"/>
                </a:lnTo>
                <a:lnTo>
                  <a:pt x="267" y="839"/>
                </a:lnTo>
                <a:lnTo>
                  <a:pt x="264" y="841"/>
                </a:lnTo>
                <a:lnTo>
                  <a:pt x="261" y="843"/>
                </a:lnTo>
                <a:lnTo>
                  <a:pt x="256" y="845"/>
                </a:lnTo>
                <a:lnTo>
                  <a:pt x="253" y="848"/>
                </a:lnTo>
                <a:lnTo>
                  <a:pt x="250" y="847"/>
                </a:lnTo>
                <a:lnTo>
                  <a:pt x="247" y="846"/>
                </a:lnTo>
                <a:lnTo>
                  <a:pt x="245" y="845"/>
                </a:lnTo>
                <a:lnTo>
                  <a:pt x="243" y="843"/>
                </a:lnTo>
                <a:lnTo>
                  <a:pt x="240" y="838"/>
                </a:lnTo>
                <a:lnTo>
                  <a:pt x="238" y="833"/>
                </a:lnTo>
                <a:lnTo>
                  <a:pt x="232" y="824"/>
                </a:lnTo>
                <a:lnTo>
                  <a:pt x="226" y="814"/>
                </a:lnTo>
                <a:lnTo>
                  <a:pt x="225" y="809"/>
                </a:lnTo>
                <a:lnTo>
                  <a:pt x="223" y="805"/>
                </a:lnTo>
                <a:lnTo>
                  <a:pt x="220" y="797"/>
                </a:lnTo>
                <a:lnTo>
                  <a:pt x="217" y="791"/>
                </a:lnTo>
                <a:lnTo>
                  <a:pt x="216" y="783"/>
                </a:lnTo>
                <a:lnTo>
                  <a:pt x="215" y="776"/>
                </a:lnTo>
                <a:lnTo>
                  <a:pt x="216" y="776"/>
                </a:lnTo>
                <a:lnTo>
                  <a:pt x="216" y="777"/>
                </a:lnTo>
                <a:lnTo>
                  <a:pt x="216" y="778"/>
                </a:lnTo>
                <a:lnTo>
                  <a:pt x="216" y="780"/>
                </a:lnTo>
                <a:lnTo>
                  <a:pt x="217" y="781"/>
                </a:lnTo>
                <a:lnTo>
                  <a:pt x="219" y="782"/>
                </a:lnTo>
                <a:lnTo>
                  <a:pt x="219" y="782"/>
                </a:lnTo>
                <a:lnTo>
                  <a:pt x="219" y="782"/>
                </a:lnTo>
                <a:lnTo>
                  <a:pt x="220" y="786"/>
                </a:lnTo>
                <a:lnTo>
                  <a:pt x="221" y="790"/>
                </a:lnTo>
                <a:lnTo>
                  <a:pt x="223" y="793"/>
                </a:lnTo>
                <a:lnTo>
                  <a:pt x="225" y="796"/>
                </a:lnTo>
                <a:lnTo>
                  <a:pt x="225" y="791"/>
                </a:lnTo>
                <a:lnTo>
                  <a:pt x="225" y="786"/>
                </a:lnTo>
                <a:lnTo>
                  <a:pt x="226" y="782"/>
                </a:lnTo>
                <a:lnTo>
                  <a:pt x="227" y="778"/>
                </a:lnTo>
                <a:lnTo>
                  <a:pt x="226" y="782"/>
                </a:lnTo>
                <a:lnTo>
                  <a:pt x="225" y="786"/>
                </a:lnTo>
                <a:lnTo>
                  <a:pt x="225" y="791"/>
                </a:lnTo>
                <a:lnTo>
                  <a:pt x="225" y="796"/>
                </a:lnTo>
                <a:lnTo>
                  <a:pt x="226" y="797"/>
                </a:lnTo>
                <a:lnTo>
                  <a:pt x="226" y="799"/>
                </a:lnTo>
                <a:lnTo>
                  <a:pt x="226" y="800"/>
                </a:lnTo>
                <a:lnTo>
                  <a:pt x="228" y="800"/>
                </a:lnTo>
                <a:lnTo>
                  <a:pt x="230" y="806"/>
                </a:lnTo>
                <a:lnTo>
                  <a:pt x="232" y="809"/>
                </a:lnTo>
                <a:lnTo>
                  <a:pt x="235" y="813"/>
                </a:lnTo>
                <a:lnTo>
                  <a:pt x="237" y="816"/>
                </a:lnTo>
                <a:lnTo>
                  <a:pt x="239" y="818"/>
                </a:lnTo>
                <a:lnTo>
                  <a:pt x="240" y="820"/>
                </a:lnTo>
                <a:lnTo>
                  <a:pt x="242" y="820"/>
                </a:lnTo>
                <a:lnTo>
                  <a:pt x="243" y="818"/>
                </a:lnTo>
                <a:lnTo>
                  <a:pt x="246" y="817"/>
                </a:lnTo>
                <a:lnTo>
                  <a:pt x="247" y="816"/>
                </a:lnTo>
                <a:lnTo>
                  <a:pt x="249" y="811"/>
                </a:lnTo>
                <a:lnTo>
                  <a:pt x="252" y="807"/>
                </a:lnTo>
                <a:lnTo>
                  <a:pt x="255" y="803"/>
                </a:lnTo>
                <a:lnTo>
                  <a:pt x="261" y="800"/>
                </a:lnTo>
                <a:lnTo>
                  <a:pt x="265" y="798"/>
                </a:lnTo>
                <a:lnTo>
                  <a:pt x="269" y="797"/>
                </a:lnTo>
                <a:lnTo>
                  <a:pt x="272" y="798"/>
                </a:lnTo>
                <a:lnTo>
                  <a:pt x="276" y="800"/>
                </a:lnTo>
                <a:lnTo>
                  <a:pt x="278" y="801"/>
                </a:lnTo>
                <a:lnTo>
                  <a:pt x="279" y="802"/>
                </a:lnTo>
                <a:lnTo>
                  <a:pt x="281" y="802"/>
                </a:lnTo>
                <a:lnTo>
                  <a:pt x="282" y="801"/>
                </a:lnTo>
                <a:lnTo>
                  <a:pt x="292" y="798"/>
                </a:lnTo>
                <a:lnTo>
                  <a:pt x="301" y="794"/>
                </a:lnTo>
                <a:lnTo>
                  <a:pt x="291" y="779"/>
                </a:lnTo>
                <a:lnTo>
                  <a:pt x="280" y="764"/>
                </a:lnTo>
                <a:lnTo>
                  <a:pt x="279" y="762"/>
                </a:lnTo>
                <a:lnTo>
                  <a:pt x="278" y="760"/>
                </a:lnTo>
                <a:lnTo>
                  <a:pt x="280" y="759"/>
                </a:lnTo>
                <a:lnTo>
                  <a:pt x="282" y="760"/>
                </a:lnTo>
                <a:lnTo>
                  <a:pt x="283" y="760"/>
                </a:lnTo>
                <a:lnTo>
                  <a:pt x="284" y="759"/>
                </a:lnTo>
                <a:lnTo>
                  <a:pt x="284" y="757"/>
                </a:lnTo>
                <a:lnTo>
                  <a:pt x="284" y="756"/>
                </a:lnTo>
                <a:lnTo>
                  <a:pt x="284" y="755"/>
                </a:lnTo>
                <a:lnTo>
                  <a:pt x="284" y="755"/>
                </a:lnTo>
                <a:lnTo>
                  <a:pt x="282" y="753"/>
                </a:lnTo>
                <a:lnTo>
                  <a:pt x="281" y="751"/>
                </a:lnTo>
                <a:lnTo>
                  <a:pt x="282" y="753"/>
                </a:lnTo>
                <a:lnTo>
                  <a:pt x="284" y="755"/>
                </a:lnTo>
                <a:lnTo>
                  <a:pt x="284" y="755"/>
                </a:lnTo>
                <a:lnTo>
                  <a:pt x="285" y="754"/>
                </a:lnTo>
                <a:lnTo>
                  <a:pt x="284" y="755"/>
                </a:lnTo>
                <a:lnTo>
                  <a:pt x="284" y="755"/>
                </a:lnTo>
                <a:lnTo>
                  <a:pt x="284" y="755"/>
                </a:lnTo>
                <a:lnTo>
                  <a:pt x="284" y="756"/>
                </a:lnTo>
                <a:lnTo>
                  <a:pt x="286" y="756"/>
                </a:lnTo>
                <a:lnTo>
                  <a:pt x="287" y="757"/>
                </a:lnTo>
                <a:lnTo>
                  <a:pt x="287" y="757"/>
                </a:lnTo>
                <a:lnTo>
                  <a:pt x="287" y="757"/>
                </a:lnTo>
                <a:lnTo>
                  <a:pt x="288" y="762"/>
                </a:lnTo>
                <a:lnTo>
                  <a:pt x="291" y="765"/>
                </a:lnTo>
                <a:lnTo>
                  <a:pt x="294" y="768"/>
                </a:lnTo>
                <a:lnTo>
                  <a:pt x="296" y="771"/>
                </a:lnTo>
                <a:lnTo>
                  <a:pt x="304" y="780"/>
                </a:lnTo>
                <a:lnTo>
                  <a:pt x="313" y="790"/>
                </a:lnTo>
                <a:lnTo>
                  <a:pt x="321" y="800"/>
                </a:lnTo>
                <a:lnTo>
                  <a:pt x="329" y="810"/>
                </a:lnTo>
                <a:lnTo>
                  <a:pt x="330" y="811"/>
                </a:lnTo>
                <a:lnTo>
                  <a:pt x="330" y="812"/>
                </a:lnTo>
                <a:lnTo>
                  <a:pt x="330" y="813"/>
                </a:lnTo>
                <a:lnTo>
                  <a:pt x="330" y="815"/>
                </a:lnTo>
                <a:lnTo>
                  <a:pt x="328" y="814"/>
                </a:lnTo>
                <a:lnTo>
                  <a:pt x="327" y="815"/>
                </a:lnTo>
                <a:lnTo>
                  <a:pt x="327" y="817"/>
                </a:lnTo>
                <a:lnTo>
                  <a:pt x="327" y="818"/>
                </a:lnTo>
                <a:lnTo>
                  <a:pt x="327" y="818"/>
                </a:lnTo>
                <a:lnTo>
                  <a:pt x="327" y="818"/>
                </a:lnTo>
                <a:close/>
                <a:moveTo>
                  <a:pt x="295" y="836"/>
                </a:moveTo>
                <a:lnTo>
                  <a:pt x="295" y="836"/>
                </a:lnTo>
                <a:lnTo>
                  <a:pt x="295" y="835"/>
                </a:lnTo>
                <a:lnTo>
                  <a:pt x="295" y="836"/>
                </a:lnTo>
                <a:lnTo>
                  <a:pt x="295" y="836"/>
                </a:lnTo>
                <a:close/>
                <a:moveTo>
                  <a:pt x="267" y="967"/>
                </a:moveTo>
                <a:lnTo>
                  <a:pt x="271" y="956"/>
                </a:lnTo>
                <a:lnTo>
                  <a:pt x="276" y="946"/>
                </a:lnTo>
                <a:lnTo>
                  <a:pt x="271" y="956"/>
                </a:lnTo>
                <a:lnTo>
                  <a:pt x="267" y="967"/>
                </a:lnTo>
                <a:close/>
                <a:moveTo>
                  <a:pt x="267" y="940"/>
                </a:moveTo>
                <a:lnTo>
                  <a:pt x="266" y="940"/>
                </a:lnTo>
                <a:lnTo>
                  <a:pt x="266" y="940"/>
                </a:lnTo>
                <a:lnTo>
                  <a:pt x="266" y="940"/>
                </a:lnTo>
                <a:lnTo>
                  <a:pt x="267" y="940"/>
                </a:lnTo>
                <a:close/>
                <a:moveTo>
                  <a:pt x="254" y="893"/>
                </a:moveTo>
                <a:lnTo>
                  <a:pt x="256" y="888"/>
                </a:lnTo>
                <a:lnTo>
                  <a:pt x="258" y="882"/>
                </a:lnTo>
                <a:lnTo>
                  <a:pt x="258" y="882"/>
                </a:lnTo>
                <a:lnTo>
                  <a:pt x="256" y="888"/>
                </a:lnTo>
                <a:lnTo>
                  <a:pt x="254" y="893"/>
                </a:lnTo>
                <a:close/>
                <a:moveTo>
                  <a:pt x="251" y="875"/>
                </a:moveTo>
                <a:lnTo>
                  <a:pt x="251" y="875"/>
                </a:lnTo>
                <a:lnTo>
                  <a:pt x="252" y="877"/>
                </a:lnTo>
                <a:lnTo>
                  <a:pt x="254" y="879"/>
                </a:lnTo>
                <a:lnTo>
                  <a:pt x="252" y="877"/>
                </a:lnTo>
                <a:lnTo>
                  <a:pt x="251" y="875"/>
                </a:lnTo>
                <a:close/>
                <a:moveTo>
                  <a:pt x="230" y="859"/>
                </a:moveTo>
                <a:lnTo>
                  <a:pt x="223" y="846"/>
                </a:lnTo>
                <a:lnTo>
                  <a:pt x="216" y="835"/>
                </a:lnTo>
                <a:lnTo>
                  <a:pt x="223" y="846"/>
                </a:lnTo>
                <a:lnTo>
                  <a:pt x="230" y="859"/>
                </a:lnTo>
                <a:lnTo>
                  <a:pt x="230" y="859"/>
                </a:lnTo>
                <a:lnTo>
                  <a:pt x="231" y="859"/>
                </a:lnTo>
                <a:lnTo>
                  <a:pt x="230" y="859"/>
                </a:lnTo>
                <a:lnTo>
                  <a:pt x="230" y="859"/>
                </a:lnTo>
                <a:close/>
                <a:moveTo>
                  <a:pt x="231" y="599"/>
                </a:moveTo>
                <a:lnTo>
                  <a:pt x="232" y="595"/>
                </a:lnTo>
                <a:lnTo>
                  <a:pt x="232" y="591"/>
                </a:lnTo>
                <a:lnTo>
                  <a:pt x="233" y="586"/>
                </a:lnTo>
                <a:lnTo>
                  <a:pt x="234" y="581"/>
                </a:lnTo>
                <a:lnTo>
                  <a:pt x="233" y="586"/>
                </a:lnTo>
                <a:lnTo>
                  <a:pt x="232" y="591"/>
                </a:lnTo>
                <a:lnTo>
                  <a:pt x="232" y="595"/>
                </a:lnTo>
                <a:lnTo>
                  <a:pt x="231" y="599"/>
                </a:lnTo>
                <a:lnTo>
                  <a:pt x="228" y="601"/>
                </a:lnTo>
                <a:lnTo>
                  <a:pt x="227" y="604"/>
                </a:lnTo>
                <a:lnTo>
                  <a:pt x="226" y="608"/>
                </a:lnTo>
                <a:lnTo>
                  <a:pt x="226" y="611"/>
                </a:lnTo>
                <a:lnTo>
                  <a:pt x="226" y="608"/>
                </a:lnTo>
                <a:lnTo>
                  <a:pt x="227" y="604"/>
                </a:lnTo>
                <a:lnTo>
                  <a:pt x="228" y="601"/>
                </a:lnTo>
                <a:lnTo>
                  <a:pt x="231" y="599"/>
                </a:lnTo>
                <a:close/>
                <a:moveTo>
                  <a:pt x="242" y="683"/>
                </a:moveTo>
                <a:lnTo>
                  <a:pt x="242" y="683"/>
                </a:lnTo>
                <a:lnTo>
                  <a:pt x="237" y="688"/>
                </a:lnTo>
                <a:lnTo>
                  <a:pt x="232" y="693"/>
                </a:lnTo>
                <a:lnTo>
                  <a:pt x="231" y="694"/>
                </a:lnTo>
                <a:lnTo>
                  <a:pt x="231" y="696"/>
                </a:lnTo>
                <a:lnTo>
                  <a:pt x="230" y="696"/>
                </a:lnTo>
                <a:lnTo>
                  <a:pt x="228" y="698"/>
                </a:lnTo>
                <a:lnTo>
                  <a:pt x="228" y="700"/>
                </a:lnTo>
                <a:lnTo>
                  <a:pt x="228" y="701"/>
                </a:lnTo>
                <a:lnTo>
                  <a:pt x="228" y="700"/>
                </a:lnTo>
                <a:lnTo>
                  <a:pt x="228" y="698"/>
                </a:lnTo>
                <a:lnTo>
                  <a:pt x="230" y="696"/>
                </a:lnTo>
                <a:lnTo>
                  <a:pt x="231" y="696"/>
                </a:lnTo>
                <a:lnTo>
                  <a:pt x="231" y="694"/>
                </a:lnTo>
                <a:lnTo>
                  <a:pt x="232" y="693"/>
                </a:lnTo>
                <a:lnTo>
                  <a:pt x="237" y="688"/>
                </a:lnTo>
                <a:lnTo>
                  <a:pt x="242" y="683"/>
                </a:lnTo>
                <a:close/>
                <a:moveTo>
                  <a:pt x="237" y="607"/>
                </a:moveTo>
                <a:lnTo>
                  <a:pt x="236" y="604"/>
                </a:lnTo>
                <a:lnTo>
                  <a:pt x="236" y="602"/>
                </a:lnTo>
                <a:lnTo>
                  <a:pt x="236" y="604"/>
                </a:lnTo>
                <a:lnTo>
                  <a:pt x="237" y="607"/>
                </a:lnTo>
                <a:close/>
                <a:moveTo>
                  <a:pt x="241" y="627"/>
                </a:moveTo>
                <a:lnTo>
                  <a:pt x="239" y="631"/>
                </a:lnTo>
                <a:lnTo>
                  <a:pt x="236" y="634"/>
                </a:lnTo>
                <a:lnTo>
                  <a:pt x="239" y="631"/>
                </a:lnTo>
                <a:lnTo>
                  <a:pt x="241" y="627"/>
                </a:lnTo>
                <a:close/>
                <a:moveTo>
                  <a:pt x="254" y="584"/>
                </a:moveTo>
                <a:lnTo>
                  <a:pt x="253" y="587"/>
                </a:lnTo>
                <a:lnTo>
                  <a:pt x="252" y="591"/>
                </a:lnTo>
                <a:lnTo>
                  <a:pt x="252" y="591"/>
                </a:lnTo>
                <a:lnTo>
                  <a:pt x="253" y="587"/>
                </a:lnTo>
                <a:lnTo>
                  <a:pt x="254" y="584"/>
                </a:lnTo>
                <a:close/>
                <a:moveTo>
                  <a:pt x="263" y="556"/>
                </a:moveTo>
                <a:lnTo>
                  <a:pt x="262" y="560"/>
                </a:lnTo>
                <a:lnTo>
                  <a:pt x="259" y="562"/>
                </a:lnTo>
                <a:lnTo>
                  <a:pt x="256" y="565"/>
                </a:lnTo>
                <a:lnTo>
                  <a:pt x="252" y="569"/>
                </a:lnTo>
                <a:lnTo>
                  <a:pt x="256" y="565"/>
                </a:lnTo>
                <a:lnTo>
                  <a:pt x="259" y="562"/>
                </a:lnTo>
                <a:lnTo>
                  <a:pt x="262" y="560"/>
                </a:lnTo>
                <a:lnTo>
                  <a:pt x="263" y="556"/>
                </a:lnTo>
                <a:close/>
                <a:moveTo>
                  <a:pt x="272" y="741"/>
                </a:moveTo>
                <a:lnTo>
                  <a:pt x="271" y="745"/>
                </a:lnTo>
                <a:lnTo>
                  <a:pt x="270" y="748"/>
                </a:lnTo>
                <a:lnTo>
                  <a:pt x="271" y="745"/>
                </a:lnTo>
                <a:lnTo>
                  <a:pt x="272" y="741"/>
                </a:lnTo>
                <a:close/>
                <a:moveTo>
                  <a:pt x="281" y="749"/>
                </a:moveTo>
                <a:lnTo>
                  <a:pt x="281" y="750"/>
                </a:lnTo>
                <a:lnTo>
                  <a:pt x="280" y="750"/>
                </a:lnTo>
                <a:lnTo>
                  <a:pt x="281" y="750"/>
                </a:lnTo>
                <a:lnTo>
                  <a:pt x="281" y="749"/>
                </a:lnTo>
                <a:close/>
                <a:moveTo>
                  <a:pt x="282" y="576"/>
                </a:moveTo>
                <a:lnTo>
                  <a:pt x="282" y="576"/>
                </a:lnTo>
                <a:lnTo>
                  <a:pt x="281" y="573"/>
                </a:lnTo>
                <a:lnTo>
                  <a:pt x="281" y="571"/>
                </a:lnTo>
                <a:lnTo>
                  <a:pt x="281" y="573"/>
                </a:lnTo>
                <a:lnTo>
                  <a:pt x="282" y="576"/>
                </a:lnTo>
                <a:close/>
                <a:moveTo>
                  <a:pt x="289" y="729"/>
                </a:moveTo>
                <a:lnTo>
                  <a:pt x="289" y="728"/>
                </a:lnTo>
                <a:lnTo>
                  <a:pt x="289" y="725"/>
                </a:lnTo>
                <a:lnTo>
                  <a:pt x="289" y="728"/>
                </a:lnTo>
                <a:lnTo>
                  <a:pt x="289" y="729"/>
                </a:lnTo>
                <a:close/>
                <a:moveTo>
                  <a:pt x="295" y="765"/>
                </a:move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lnTo>
                  <a:pt x="295" y="765"/>
                </a:lnTo>
                <a:close/>
                <a:moveTo>
                  <a:pt x="294" y="489"/>
                </a:moveTo>
                <a:lnTo>
                  <a:pt x="294" y="489"/>
                </a:lnTo>
                <a:lnTo>
                  <a:pt x="295" y="488"/>
                </a:lnTo>
                <a:lnTo>
                  <a:pt x="295" y="485"/>
                </a:lnTo>
                <a:lnTo>
                  <a:pt x="297" y="484"/>
                </a:lnTo>
                <a:lnTo>
                  <a:pt x="295" y="485"/>
                </a:lnTo>
                <a:lnTo>
                  <a:pt x="295" y="488"/>
                </a:lnTo>
                <a:lnTo>
                  <a:pt x="294" y="489"/>
                </a:lnTo>
                <a:lnTo>
                  <a:pt x="294" y="489"/>
                </a:lnTo>
                <a:lnTo>
                  <a:pt x="294" y="491"/>
                </a:lnTo>
                <a:lnTo>
                  <a:pt x="294" y="493"/>
                </a:lnTo>
                <a:lnTo>
                  <a:pt x="294" y="491"/>
                </a:lnTo>
                <a:lnTo>
                  <a:pt x="294" y="489"/>
                </a:lnTo>
                <a:close/>
                <a:moveTo>
                  <a:pt x="300" y="660"/>
                </a:moveTo>
                <a:lnTo>
                  <a:pt x="300" y="660"/>
                </a:lnTo>
                <a:lnTo>
                  <a:pt x="300" y="660"/>
                </a:lnTo>
                <a:lnTo>
                  <a:pt x="300" y="660"/>
                </a:lnTo>
                <a:close/>
                <a:moveTo>
                  <a:pt x="310" y="694"/>
                </a:moveTo>
                <a:lnTo>
                  <a:pt x="310" y="694"/>
                </a:lnTo>
                <a:lnTo>
                  <a:pt x="309" y="694"/>
                </a:lnTo>
                <a:lnTo>
                  <a:pt x="309" y="694"/>
                </a:lnTo>
                <a:lnTo>
                  <a:pt x="310" y="694"/>
                </a:lnTo>
                <a:lnTo>
                  <a:pt x="310" y="694"/>
                </a:lnTo>
                <a:close/>
                <a:moveTo>
                  <a:pt x="312" y="474"/>
                </a:moveTo>
                <a:lnTo>
                  <a:pt x="315" y="474"/>
                </a:lnTo>
                <a:lnTo>
                  <a:pt x="317" y="473"/>
                </a:lnTo>
                <a:lnTo>
                  <a:pt x="315" y="474"/>
                </a:lnTo>
                <a:lnTo>
                  <a:pt x="312" y="474"/>
                </a:lnTo>
                <a:close/>
                <a:moveTo>
                  <a:pt x="332" y="797"/>
                </a:moveTo>
                <a:lnTo>
                  <a:pt x="333" y="798"/>
                </a:lnTo>
                <a:lnTo>
                  <a:pt x="334" y="799"/>
                </a:lnTo>
                <a:lnTo>
                  <a:pt x="334" y="800"/>
                </a:lnTo>
                <a:lnTo>
                  <a:pt x="334" y="800"/>
                </a:lnTo>
                <a:lnTo>
                  <a:pt x="332" y="799"/>
                </a:lnTo>
                <a:lnTo>
                  <a:pt x="332" y="797"/>
                </a:lnTo>
                <a:lnTo>
                  <a:pt x="327" y="794"/>
                </a:lnTo>
                <a:lnTo>
                  <a:pt x="323" y="788"/>
                </a:lnTo>
                <a:lnTo>
                  <a:pt x="319" y="784"/>
                </a:lnTo>
                <a:lnTo>
                  <a:pt x="316" y="778"/>
                </a:lnTo>
                <a:lnTo>
                  <a:pt x="322" y="782"/>
                </a:lnTo>
                <a:lnTo>
                  <a:pt x="327" y="786"/>
                </a:lnTo>
                <a:lnTo>
                  <a:pt x="329" y="788"/>
                </a:lnTo>
                <a:lnTo>
                  <a:pt x="330" y="791"/>
                </a:lnTo>
                <a:lnTo>
                  <a:pt x="331" y="794"/>
                </a:lnTo>
                <a:lnTo>
                  <a:pt x="332" y="797"/>
                </a:lnTo>
                <a:close/>
                <a:moveTo>
                  <a:pt x="328" y="703"/>
                </a:moveTo>
                <a:lnTo>
                  <a:pt x="327" y="699"/>
                </a:lnTo>
                <a:lnTo>
                  <a:pt x="327" y="694"/>
                </a:lnTo>
                <a:lnTo>
                  <a:pt x="327" y="699"/>
                </a:lnTo>
                <a:lnTo>
                  <a:pt x="328" y="703"/>
                </a:lnTo>
                <a:close/>
                <a:moveTo>
                  <a:pt x="194" y="892"/>
                </a:moveTo>
                <a:lnTo>
                  <a:pt x="189" y="901"/>
                </a:lnTo>
                <a:lnTo>
                  <a:pt x="182" y="908"/>
                </a:lnTo>
                <a:lnTo>
                  <a:pt x="176" y="917"/>
                </a:lnTo>
                <a:lnTo>
                  <a:pt x="171" y="924"/>
                </a:lnTo>
                <a:lnTo>
                  <a:pt x="161" y="939"/>
                </a:lnTo>
                <a:lnTo>
                  <a:pt x="154" y="954"/>
                </a:lnTo>
                <a:lnTo>
                  <a:pt x="150" y="961"/>
                </a:lnTo>
                <a:lnTo>
                  <a:pt x="147" y="967"/>
                </a:lnTo>
                <a:lnTo>
                  <a:pt x="145" y="969"/>
                </a:lnTo>
                <a:lnTo>
                  <a:pt x="142" y="971"/>
                </a:lnTo>
                <a:lnTo>
                  <a:pt x="139" y="974"/>
                </a:lnTo>
                <a:lnTo>
                  <a:pt x="134" y="974"/>
                </a:lnTo>
                <a:lnTo>
                  <a:pt x="130" y="975"/>
                </a:lnTo>
                <a:lnTo>
                  <a:pt x="127" y="976"/>
                </a:lnTo>
                <a:lnTo>
                  <a:pt x="122" y="978"/>
                </a:lnTo>
                <a:lnTo>
                  <a:pt x="119" y="979"/>
                </a:lnTo>
                <a:lnTo>
                  <a:pt x="116" y="977"/>
                </a:lnTo>
                <a:lnTo>
                  <a:pt x="115" y="973"/>
                </a:lnTo>
                <a:lnTo>
                  <a:pt x="113" y="971"/>
                </a:lnTo>
                <a:lnTo>
                  <a:pt x="111" y="970"/>
                </a:lnTo>
                <a:lnTo>
                  <a:pt x="110" y="971"/>
                </a:lnTo>
                <a:lnTo>
                  <a:pt x="110" y="973"/>
                </a:lnTo>
                <a:lnTo>
                  <a:pt x="110" y="975"/>
                </a:lnTo>
                <a:lnTo>
                  <a:pt x="111" y="976"/>
                </a:lnTo>
                <a:lnTo>
                  <a:pt x="113" y="980"/>
                </a:lnTo>
                <a:lnTo>
                  <a:pt x="113" y="983"/>
                </a:lnTo>
                <a:lnTo>
                  <a:pt x="112" y="988"/>
                </a:lnTo>
                <a:lnTo>
                  <a:pt x="111" y="992"/>
                </a:lnTo>
                <a:lnTo>
                  <a:pt x="110" y="995"/>
                </a:lnTo>
                <a:lnTo>
                  <a:pt x="107" y="996"/>
                </a:lnTo>
                <a:lnTo>
                  <a:pt x="105" y="996"/>
                </a:lnTo>
                <a:lnTo>
                  <a:pt x="104" y="995"/>
                </a:lnTo>
                <a:lnTo>
                  <a:pt x="104" y="992"/>
                </a:lnTo>
                <a:lnTo>
                  <a:pt x="106" y="990"/>
                </a:lnTo>
                <a:lnTo>
                  <a:pt x="107" y="989"/>
                </a:lnTo>
                <a:lnTo>
                  <a:pt x="110" y="986"/>
                </a:lnTo>
                <a:lnTo>
                  <a:pt x="105" y="985"/>
                </a:lnTo>
                <a:lnTo>
                  <a:pt x="102" y="986"/>
                </a:lnTo>
                <a:lnTo>
                  <a:pt x="102" y="989"/>
                </a:lnTo>
                <a:lnTo>
                  <a:pt x="102" y="991"/>
                </a:lnTo>
                <a:lnTo>
                  <a:pt x="101" y="992"/>
                </a:lnTo>
                <a:lnTo>
                  <a:pt x="99" y="992"/>
                </a:lnTo>
                <a:lnTo>
                  <a:pt x="97" y="992"/>
                </a:lnTo>
                <a:lnTo>
                  <a:pt x="97" y="990"/>
                </a:lnTo>
                <a:lnTo>
                  <a:pt x="97" y="988"/>
                </a:lnTo>
                <a:lnTo>
                  <a:pt x="97" y="985"/>
                </a:lnTo>
                <a:lnTo>
                  <a:pt x="98" y="980"/>
                </a:lnTo>
                <a:lnTo>
                  <a:pt x="97" y="975"/>
                </a:lnTo>
                <a:lnTo>
                  <a:pt x="95" y="970"/>
                </a:lnTo>
                <a:lnTo>
                  <a:pt x="92" y="966"/>
                </a:lnTo>
                <a:lnTo>
                  <a:pt x="90" y="958"/>
                </a:lnTo>
                <a:lnTo>
                  <a:pt x="91" y="949"/>
                </a:lnTo>
                <a:lnTo>
                  <a:pt x="84" y="960"/>
                </a:lnTo>
                <a:lnTo>
                  <a:pt x="76" y="971"/>
                </a:lnTo>
                <a:lnTo>
                  <a:pt x="84" y="960"/>
                </a:lnTo>
                <a:lnTo>
                  <a:pt x="91" y="949"/>
                </a:lnTo>
                <a:lnTo>
                  <a:pt x="92" y="948"/>
                </a:lnTo>
                <a:lnTo>
                  <a:pt x="94" y="947"/>
                </a:lnTo>
                <a:lnTo>
                  <a:pt x="95" y="944"/>
                </a:lnTo>
                <a:lnTo>
                  <a:pt x="97" y="943"/>
                </a:lnTo>
                <a:lnTo>
                  <a:pt x="95" y="944"/>
                </a:lnTo>
                <a:lnTo>
                  <a:pt x="94" y="947"/>
                </a:lnTo>
                <a:lnTo>
                  <a:pt x="96" y="947"/>
                </a:lnTo>
                <a:lnTo>
                  <a:pt x="98" y="946"/>
                </a:lnTo>
                <a:lnTo>
                  <a:pt x="99" y="945"/>
                </a:lnTo>
                <a:lnTo>
                  <a:pt x="98" y="942"/>
                </a:lnTo>
                <a:lnTo>
                  <a:pt x="102" y="937"/>
                </a:lnTo>
                <a:lnTo>
                  <a:pt x="104" y="932"/>
                </a:lnTo>
                <a:lnTo>
                  <a:pt x="106" y="929"/>
                </a:lnTo>
                <a:lnTo>
                  <a:pt x="107" y="927"/>
                </a:lnTo>
                <a:lnTo>
                  <a:pt x="111" y="925"/>
                </a:lnTo>
                <a:lnTo>
                  <a:pt x="114" y="923"/>
                </a:lnTo>
                <a:lnTo>
                  <a:pt x="115" y="921"/>
                </a:lnTo>
                <a:lnTo>
                  <a:pt x="115" y="917"/>
                </a:lnTo>
                <a:lnTo>
                  <a:pt x="120" y="914"/>
                </a:lnTo>
                <a:lnTo>
                  <a:pt x="122" y="912"/>
                </a:lnTo>
                <a:lnTo>
                  <a:pt x="124" y="909"/>
                </a:lnTo>
                <a:lnTo>
                  <a:pt x="124" y="907"/>
                </a:lnTo>
                <a:lnTo>
                  <a:pt x="126" y="906"/>
                </a:lnTo>
                <a:lnTo>
                  <a:pt x="127" y="906"/>
                </a:lnTo>
                <a:lnTo>
                  <a:pt x="127" y="906"/>
                </a:lnTo>
                <a:lnTo>
                  <a:pt x="130" y="905"/>
                </a:lnTo>
                <a:lnTo>
                  <a:pt x="133" y="904"/>
                </a:lnTo>
                <a:lnTo>
                  <a:pt x="134" y="903"/>
                </a:lnTo>
                <a:lnTo>
                  <a:pt x="135" y="902"/>
                </a:lnTo>
                <a:lnTo>
                  <a:pt x="136" y="900"/>
                </a:lnTo>
                <a:lnTo>
                  <a:pt x="135" y="898"/>
                </a:lnTo>
                <a:lnTo>
                  <a:pt x="135" y="898"/>
                </a:lnTo>
                <a:lnTo>
                  <a:pt x="134" y="894"/>
                </a:lnTo>
                <a:lnTo>
                  <a:pt x="135" y="891"/>
                </a:lnTo>
                <a:lnTo>
                  <a:pt x="134" y="894"/>
                </a:lnTo>
                <a:lnTo>
                  <a:pt x="135" y="898"/>
                </a:lnTo>
                <a:lnTo>
                  <a:pt x="139" y="898"/>
                </a:lnTo>
                <a:lnTo>
                  <a:pt x="142" y="897"/>
                </a:lnTo>
                <a:lnTo>
                  <a:pt x="143" y="897"/>
                </a:lnTo>
                <a:lnTo>
                  <a:pt x="144" y="898"/>
                </a:lnTo>
                <a:lnTo>
                  <a:pt x="145" y="899"/>
                </a:lnTo>
                <a:lnTo>
                  <a:pt x="146" y="900"/>
                </a:lnTo>
                <a:lnTo>
                  <a:pt x="158" y="898"/>
                </a:lnTo>
                <a:lnTo>
                  <a:pt x="168" y="895"/>
                </a:lnTo>
                <a:lnTo>
                  <a:pt x="171" y="894"/>
                </a:lnTo>
                <a:lnTo>
                  <a:pt x="171" y="893"/>
                </a:lnTo>
                <a:lnTo>
                  <a:pt x="170" y="892"/>
                </a:lnTo>
                <a:lnTo>
                  <a:pt x="170" y="891"/>
                </a:lnTo>
                <a:lnTo>
                  <a:pt x="176" y="888"/>
                </a:lnTo>
                <a:lnTo>
                  <a:pt x="183" y="886"/>
                </a:lnTo>
                <a:lnTo>
                  <a:pt x="187" y="885"/>
                </a:lnTo>
                <a:lnTo>
                  <a:pt x="190" y="884"/>
                </a:lnTo>
                <a:lnTo>
                  <a:pt x="193" y="885"/>
                </a:lnTo>
                <a:lnTo>
                  <a:pt x="195" y="886"/>
                </a:lnTo>
                <a:lnTo>
                  <a:pt x="195" y="888"/>
                </a:lnTo>
                <a:lnTo>
                  <a:pt x="194" y="892"/>
                </a:lnTo>
                <a:close/>
                <a:moveTo>
                  <a:pt x="82" y="875"/>
                </a:moveTo>
                <a:lnTo>
                  <a:pt x="82" y="875"/>
                </a:lnTo>
                <a:lnTo>
                  <a:pt x="83" y="875"/>
                </a:lnTo>
                <a:lnTo>
                  <a:pt x="82" y="875"/>
                </a:lnTo>
                <a:lnTo>
                  <a:pt x="82" y="875"/>
                </a:lnTo>
                <a:lnTo>
                  <a:pt x="79" y="881"/>
                </a:lnTo>
                <a:lnTo>
                  <a:pt x="75" y="884"/>
                </a:lnTo>
                <a:lnTo>
                  <a:pt x="79" y="881"/>
                </a:lnTo>
                <a:lnTo>
                  <a:pt x="82" y="875"/>
                </a:lnTo>
                <a:close/>
                <a:moveTo>
                  <a:pt x="72" y="856"/>
                </a:moveTo>
                <a:lnTo>
                  <a:pt x="74" y="854"/>
                </a:lnTo>
                <a:lnTo>
                  <a:pt x="75" y="852"/>
                </a:lnTo>
                <a:lnTo>
                  <a:pt x="74" y="854"/>
                </a:lnTo>
                <a:lnTo>
                  <a:pt x="72" y="856"/>
                </a:lnTo>
                <a:close/>
                <a:moveTo>
                  <a:pt x="72" y="933"/>
                </a:moveTo>
                <a:lnTo>
                  <a:pt x="72" y="932"/>
                </a:lnTo>
                <a:lnTo>
                  <a:pt x="73" y="931"/>
                </a:lnTo>
                <a:lnTo>
                  <a:pt x="72" y="932"/>
                </a:lnTo>
                <a:lnTo>
                  <a:pt x="72" y="933"/>
                </a:lnTo>
                <a:close/>
                <a:moveTo>
                  <a:pt x="83" y="919"/>
                </a:moveTo>
                <a:lnTo>
                  <a:pt x="85" y="919"/>
                </a:lnTo>
                <a:lnTo>
                  <a:pt x="87" y="920"/>
                </a:lnTo>
                <a:lnTo>
                  <a:pt x="88" y="922"/>
                </a:lnTo>
                <a:lnTo>
                  <a:pt x="89" y="924"/>
                </a:lnTo>
                <a:lnTo>
                  <a:pt x="88" y="922"/>
                </a:lnTo>
                <a:lnTo>
                  <a:pt x="87" y="920"/>
                </a:lnTo>
                <a:lnTo>
                  <a:pt x="85" y="919"/>
                </a:lnTo>
                <a:lnTo>
                  <a:pt x="83" y="919"/>
                </a:lnTo>
                <a:lnTo>
                  <a:pt x="83" y="919"/>
                </a:lnTo>
                <a:close/>
                <a:moveTo>
                  <a:pt x="95" y="871"/>
                </a:moveTo>
                <a:lnTo>
                  <a:pt x="94" y="872"/>
                </a:lnTo>
                <a:lnTo>
                  <a:pt x="94" y="874"/>
                </a:lnTo>
                <a:lnTo>
                  <a:pt x="92" y="875"/>
                </a:lnTo>
                <a:lnTo>
                  <a:pt x="91" y="875"/>
                </a:lnTo>
                <a:lnTo>
                  <a:pt x="92" y="875"/>
                </a:lnTo>
                <a:lnTo>
                  <a:pt x="94" y="874"/>
                </a:lnTo>
                <a:lnTo>
                  <a:pt x="94" y="872"/>
                </a:lnTo>
                <a:lnTo>
                  <a:pt x="95" y="871"/>
                </a:lnTo>
                <a:close/>
                <a:moveTo>
                  <a:pt x="98" y="828"/>
                </a:moveTo>
                <a:lnTo>
                  <a:pt x="99" y="828"/>
                </a:lnTo>
                <a:lnTo>
                  <a:pt x="101" y="827"/>
                </a:lnTo>
                <a:lnTo>
                  <a:pt x="99" y="828"/>
                </a:lnTo>
                <a:lnTo>
                  <a:pt x="98" y="828"/>
                </a:lnTo>
                <a:lnTo>
                  <a:pt x="96" y="830"/>
                </a:lnTo>
                <a:lnTo>
                  <a:pt x="94" y="832"/>
                </a:lnTo>
                <a:lnTo>
                  <a:pt x="91" y="832"/>
                </a:lnTo>
                <a:lnTo>
                  <a:pt x="89" y="832"/>
                </a:lnTo>
                <a:lnTo>
                  <a:pt x="91" y="832"/>
                </a:lnTo>
                <a:lnTo>
                  <a:pt x="94" y="832"/>
                </a:lnTo>
                <a:lnTo>
                  <a:pt x="96" y="830"/>
                </a:lnTo>
                <a:lnTo>
                  <a:pt x="98" y="828"/>
                </a:lnTo>
                <a:close/>
                <a:moveTo>
                  <a:pt x="105" y="828"/>
                </a:moveTo>
                <a:lnTo>
                  <a:pt x="109" y="827"/>
                </a:lnTo>
                <a:lnTo>
                  <a:pt x="111" y="827"/>
                </a:lnTo>
                <a:lnTo>
                  <a:pt x="112" y="824"/>
                </a:lnTo>
                <a:lnTo>
                  <a:pt x="114" y="823"/>
                </a:lnTo>
                <a:lnTo>
                  <a:pt x="112" y="824"/>
                </a:lnTo>
                <a:lnTo>
                  <a:pt x="111" y="827"/>
                </a:lnTo>
                <a:lnTo>
                  <a:pt x="109" y="827"/>
                </a:lnTo>
                <a:lnTo>
                  <a:pt x="105" y="828"/>
                </a:lnTo>
                <a:lnTo>
                  <a:pt x="103" y="829"/>
                </a:lnTo>
                <a:lnTo>
                  <a:pt x="101" y="828"/>
                </a:lnTo>
                <a:lnTo>
                  <a:pt x="103" y="829"/>
                </a:lnTo>
                <a:lnTo>
                  <a:pt x="105" y="828"/>
                </a:lnTo>
                <a:close/>
                <a:moveTo>
                  <a:pt x="115" y="817"/>
                </a:moveTo>
                <a:lnTo>
                  <a:pt x="115" y="817"/>
                </a:lnTo>
                <a:lnTo>
                  <a:pt x="115" y="817"/>
                </a:lnTo>
                <a:lnTo>
                  <a:pt x="115" y="817"/>
                </a:lnTo>
                <a:close/>
                <a:moveTo>
                  <a:pt x="118" y="849"/>
                </a:moveTo>
                <a:lnTo>
                  <a:pt x="118" y="847"/>
                </a:lnTo>
                <a:lnTo>
                  <a:pt x="120" y="846"/>
                </a:lnTo>
                <a:lnTo>
                  <a:pt x="121" y="845"/>
                </a:lnTo>
                <a:lnTo>
                  <a:pt x="124" y="845"/>
                </a:lnTo>
                <a:lnTo>
                  <a:pt x="121" y="845"/>
                </a:lnTo>
                <a:lnTo>
                  <a:pt x="120" y="846"/>
                </a:lnTo>
                <a:lnTo>
                  <a:pt x="118" y="847"/>
                </a:lnTo>
                <a:lnTo>
                  <a:pt x="118" y="849"/>
                </a:lnTo>
                <a:lnTo>
                  <a:pt x="116" y="849"/>
                </a:lnTo>
                <a:lnTo>
                  <a:pt x="115" y="851"/>
                </a:lnTo>
                <a:lnTo>
                  <a:pt x="116" y="849"/>
                </a:lnTo>
                <a:lnTo>
                  <a:pt x="118" y="849"/>
                </a:lnTo>
                <a:close/>
                <a:moveTo>
                  <a:pt x="126" y="844"/>
                </a:moveTo>
                <a:lnTo>
                  <a:pt x="127" y="844"/>
                </a:lnTo>
                <a:lnTo>
                  <a:pt x="128" y="844"/>
                </a:lnTo>
                <a:lnTo>
                  <a:pt x="129" y="844"/>
                </a:lnTo>
                <a:lnTo>
                  <a:pt x="131" y="843"/>
                </a:lnTo>
                <a:lnTo>
                  <a:pt x="129" y="844"/>
                </a:lnTo>
                <a:lnTo>
                  <a:pt x="128" y="844"/>
                </a:lnTo>
                <a:lnTo>
                  <a:pt x="127" y="844"/>
                </a:lnTo>
                <a:lnTo>
                  <a:pt x="126" y="844"/>
                </a:lnTo>
                <a:lnTo>
                  <a:pt x="122" y="843"/>
                </a:lnTo>
                <a:lnTo>
                  <a:pt x="118" y="843"/>
                </a:lnTo>
                <a:lnTo>
                  <a:pt x="122" y="843"/>
                </a:lnTo>
                <a:lnTo>
                  <a:pt x="126" y="844"/>
                </a:lnTo>
                <a:close/>
                <a:moveTo>
                  <a:pt x="131" y="848"/>
                </a:moveTo>
                <a:lnTo>
                  <a:pt x="130" y="848"/>
                </a:lnTo>
                <a:lnTo>
                  <a:pt x="130" y="848"/>
                </a:lnTo>
                <a:lnTo>
                  <a:pt x="130" y="848"/>
                </a:lnTo>
                <a:lnTo>
                  <a:pt x="131" y="848"/>
                </a:lnTo>
                <a:close/>
                <a:moveTo>
                  <a:pt x="139" y="807"/>
                </a:moveTo>
                <a:lnTo>
                  <a:pt x="139" y="807"/>
                </a:lnTo>
                <a:lnTo>
                  <a:pt x="139" y="807"/>
                </a:lnTo>
                <a:lnTo>
                  <a:pt x="139" y="807"/>
                </a:lnTo>
                <a:lnTo>
                  <a:pt x="137" y="809"/>
                </a:lnTo>
                <a:lnTo>
                  <a:pt x="136" y="811"/>
                </a:lnTo>
                <a:lnTo>
                  <a:pt x="135" y="812"/>
                </a:lnTo>
                <a:lnTo>
                  <a:pt x="133" y="814"/>
                </a:lnTo>
                <a:lnTo>
                  <a:pt x="135" y="812"/>
                </a:lnTo>
                <a:lnTo>
                  <a:pt x="136" y="811"/>
                </a:lnTo>
                <a:lnTo>
                  <a:pt x="137" y="809"/>
                </a:lnTo>
                <a:lnTo>
                  <a:pt x="139" y="807"/>
                </a:lnTo>
                <a:close/>
                <a:moveTo>
                  <a:pt x="144" y="839"/>
                </a:moveTo>
                <a:lnTo>
                  <a:pt x="140" y="841"/>
                </a:lnTo>
                <a:lnTo>
                  <a:pt x="135" y="843"/>
                </a:lnTo>
                <a:lnTo>
                  <a:pt x="135" y="844"/>
                </a:lnTo>
                <a:lnTo>
                  <a:pt x="134" y="845"/>
                </a:lnTo>
                <a:lnTo>
                  <a:pt x="135" y="844"/>
                </a:lnTo>
                <a:lnTo>
                  <a:pt x="135" y="843"/>
                </a:lnTo>
                <a:lnTo>
                  <a:pt x="140" y="841"/>
                </a:lnTo>
                <a:lnTo>
                  <a:pt x="144" y="839"/>
                </a:lnTo>
                <a:close/>
                <a:moveTo>
                  <a:pt x="149" y="782"/>
                </a:moveTo>
                <a:lnTo>
                  <a:pt x="146" y="788"/>
                </a:lnTo>
                <a:lnTo>
                  <a:pt x="143" y="796"/>
                </a:lnTo>
                <a:lnTo>
                  <a:pt x="143" y="796"/>
                </a:lnTo>
                <a:lnTo>
                  <a:pt x="146" y="788"/>
                </a:lnTo>
                <a:lnTo>
                  <a:pt x="149" y="782"/>
                </a:lnTo>
                <a:close/>
                <a:moveTo>
                  <a:pt x="127" y="905"/>
                </a:moveTo>
                <a:lnTo>
                  <a:pt x="127" y="903"/>
                </a:lnTo>
                <a:lnTo>
                  <a:pt x="128" y="901"/>
                </a:lnTo>
                <a:lnTo>
                  <a:pt x="129" y="900"/>
                </a:lnTo>
                <a:lnTo>
                  <a:pt x="131" y="899"/>
                </a:lnTo>
                <a:lnTo>
                  <a:pt x="129" y="900"/>
                </a:lnTo>
                <a:lnTo>
                  <a:pt x="128" y="901"/>
                </a:lnTo>
                <a:lnTo>
                  <a:pt x="127" y="903"/>
                </a:lnTo>
                <a:lnTo>
                  <a:pt x="127" y="905"/>
                </a:lnTo>
                <a:close/>
                <a:moveTo>
                  <a:pt x="148" y="884"/>
                </a:moveTo>
                <a:lnTo>
                  <a:pt x="148" y="885"/>
                </a:lnTo>
                <a:lnTo>
                  <a:pt x="148" y="886"/>
                </a:lnTo>
                <a:lnTo>
                  <a:pt x="147" y="886"/>
                </a:lnTo>
                <a:lnTo>
                  <a:pt x="146" y="886"/>
                </a:lnTo>
                <a:lnTo>
                  <a:pt x="147" y="886"/>
                </a:lnTo>
                <a:lnTo>
                  <a:pt x="148" y="886"/>
                </a:lnTo>
                <a:lnTo>
                  <a:pt x="148" y="885"/>
                </a:lnTo>
                <a:lnTo>
                  <a:pt x="148" y="884"/>
                </a:lnTo>
                <a:close/>
                <a:moveTo>
                  <a:pt x="130" y="886"/>
                </a:moveTo>
                <a:lnTo>
                  <a:pt x="128" y="886"/>
                </a:lnTo>
                <a:lnTo>
                  <a:pt x="126" y="887"/>
                </a:lnTo>
                <a:lnTo>
                  <a:pt x="128" y="886"/>
                </a:lnTo>
                <a:lnTo>
                  <a:pt x="130" y="886"/>
                </a:lnTo>
                <a:lnTo>
                  <a:pt x="142" y="877"/>
                </a:lnTo>
                <a:lnTo>
                  <a:pt x="152" y="870"/>
                </a:lnTo>
                <a:lnTo>
                  <a:pt x="142" y="877"/>
                </a:lnTo>
                <a:lnTo>
                  <a:pt x="130" y="886"/>
                </a:lnTo>
                <a:close/>
                <a:moveTo>
                  <a:pt x="150" y="801"/>
                </a:moveTo>
                <a:lnTo>
                  <a:pt x="156" y="794"/>
                </a:lnTo>
                <a:lnTo>
                  <a:pt x="159" y="785"/>
                </a:lnTo>
                <a:lnTo>
                  <a:pt x="160" y="783"/>
                </a:lnTo>
                <a:lnTo>
                  <a:pt x="161" y="782"/>
                </a:lnTo>
                <a:lnTo>
                  <a:pt x="160" y="783"/>
                </a:lnTo>
                <a:lnTo>
                  <a:pt x="159" y="785"/>
                </a:lnTo>
                <a:lnTo>
                  <a:pt x="156" y="794"/>
                </a:lnTo>
                <a:lnTo>
                  <a:pt x="150" y="801"/>
                </a:lnTo>
                <a:lnTo>
                  <a:pt x="150" y="802"/>
                </a:lnTo>
                <a:lnTo>
                  <a:pt x="149" y="802"/>
                </a:lnTo>
                <a:lnTo>
                  <a:pt x="150" y="802"/>
                </a:lnTo>
                <a:lnTo>
                  <a:pt x="150" y="801"/>
                </a:lnTo>
                <a:close/>
                <a:moveTo>
                  <a:pt x="154" y="829"/>
                </a:moveTo>
                <a:lnTo>
                  <a:pt x="155" y="829"/>
                </a:lnTo>
                <a:lnTo>
                  <a:pt x="155" y="828"/>
                </a:lnTo>
                <a:lnTo>
                  <a:pt x="156" y="828"/>
                </a:lnTo>
                <a:lnTo>
                  <a:pt x="157" y="827"/>
                </a:lnTo>
                <a:lnTo>
                  <a:pt x="156" y="828"/>
                </a:lnTo>
                <a:lnTo>
                  <a:pt x="155" y="828"/>
                </a:lnTo>
                <a:lnTo>
                  <a:pt x="155" y="829"/>
                </a:lnTo>
                <a:lnTo>
                  <a:pt x="154" y="829"/>
                </a:lnTo>
                <a:close/>
                <a:moveTo>
                  <a:pt x="163" y="890"/>
                </a:moveTo>
                <a:lnTo>
                  <a:pt x="158" y="885"/>
                </a:lnTo>
                <a:lnTo>
                  <a:pt x="154" y="879"/>
                </a:lnTo>
                <a:lnTo>
                  <a:pt x="158" y="885"/>
                </a:lnTo>
                <a:lnTo>
                  <a:pt x="163" y="890"/>
                </a:lnTo>
                <a:close/>
                <a:moveTo>
                  <a:pt x="168" y="866"/>
                </a:moveTo>
                <a:lnTo>
                  <a:pt x="166" y="866"/>
                </a:lnTo>
                <a:lnTo>
                  <a:pt x="164" y="867"/>
                </a:lnTo>
                <a:lnTo>
                  <a:pt x="163" y="868"/>
                </a:lnTo>
                <a:lnTo>
                  <a:pt x="162" y="871"/>
                </a:lnTo>
                <a:lnTo>
                  <a:pt x="159" y="871"/>
                </a:lnTo>
                <a:lnTo>
                  <a:pt x="155" y="871"/>
                </a:lnTo>
                <a:lnTo>
                  <a:pt x="159" y="871"/>
                </a:lnTo>
                <a:lnTo>
                  <a:pt x="162" y="871"/>
                </a:lnTo>
                <a:lnTo>
                  <a:pt x="163" y="868"/>
                </a:lnTo>
                <a:lnTo>
                  <a:pt x="164" y="867"/>
                </a:lnTo>
                <a:lnTo>
                  <a:pt x="166" y="866"/>
                </a:lnTo>
                <a:lnTo>
                  <a:pt x="168" y="866"/>
                </a:lnTo>
                <a:close/>
                <a:moveTo>
                  <a:pt x="177" y="775"/>
                </a:moveTo>
                <a:lnTo>
                  <a:pt x="179" y="771"/>
                </a:lnTo>
                <a:lnTo>
                  <a:pt x="181" y="768"/>
                </a:lnTo>
                <a:lnTo>
                  <a:pt x="179" y="771"/>
                </a:lnTo>
                <a:lnTo>
                  <a:pt x="177" y="775"/>
                </a:lnTo>
                <a:lnTo>
                  <a:pt x="178" y="776"/>
                </a:lnTo>
                <a:lnTo>
                  <a:pt x="179" y="777"/>
                </a:lnTo>
                <a:lnTo>
                  <a:pt x="179" y="777"/>
                </a:lnTo>
                <a:lnTo>
                  <a:pt x="178" y="778"/>
                </a:lnTo>
                <a:lnTo>
                  <a:pt x="177" y="779"/>
                </a:lnTo>
                <a:lnTo>
                  <a:pt x="178" y="778"/>
                </a:lnTo>
                <a:lnTo>
                  <a:pt x="179" y="777"/>
                </a:lnTo>
                <a:lnTo>
                  <a:pt x="178" y="776"/>
                </a:lnTo>
                <a:lnTo>
                  <a:pt x="177" y="775"/>
                </a:lnTo>
                <a:close/>
                <a:moveTo>
                  <a:pt x="190" y="775"/>
                </a:moveTo>
                <a:lnTo>
                  <a:pt x="186" y="776"/>
                </a:lnTo>
                <a:lnTo>
                  <a:pt x="180" y="777"/>
                </a:lnTo>
                <a:lnTo>
                  <a:pt x="186" y="776"/>
                </a:lnTo>
                <a:lnTo>
                  <a:pt x="190" y="775"/>
                </a:lnTo>
                <a:close/>
                <a:moveTo>
                  <a:pt x="190" y="872"/>
                </a:moveTo>
                <a:lnTo>
                  <a:pt x="189" y="871"/>
                </a:lnTo>
                <a:lnTo>
                  <a:pt x="189" y="870"/>
                </a:lnTo>
                <a:lnTo>
                  <a:pt x="189" y="871"/>
                </a:lnTo>
                <a:lnTo>
                  <a:pt x="190" y="872"/>
                </a:lnTo>
                <a:close/>
                <a:moveTo>
                  <a:pt x="51" y="993"/>
                </a:moveTo>
                <a:lnTo>
                  <a:pt x="52" y="992"/>
                </a:lnTo>
                <a:lnTo>
                  <a:pt x="53" y="991"/>
                </a:lnTo>
                <a:lnTo>
                  <a:pt x="52" y="992"/>
                </a:lnTo>
                <a:lnTo>
                  <a:pt x="51" y="993"/>
                </a:lnTo>
                <a:close/>
                <a:moveTo>
                  <a:pt x="50" y="993"/>
                </a:moveTo>
                <a:lnTo>
                  <a:pt x="49" y="994"/>
                </a:lnTo>
                <a:lnTo>
                  <a:pt x="49" y="994"/>
                </a:lnTo>
                <a:lnTo>
                  <a:pt x="49" y="994"/>
                </a:lnTo>
                <a:lnTo>
                  <a:pt x="50" y="993"/>
                </a:lnTo>
                <a:close/>
                <a:moveTo>
                  <a:pt x="43" y="1044"/>
                </a:moveTo>
                <a:lnTo>
                  <a:pt x="44" y="1044"/>
                </a:lnTo>
                <a:lnTo>
                  <a:pt x="46" y="1044"/>
                </a:lnTo>
                <a:lnTo>
                  <a:pt x="44" y="1044"/>
                </a:lnTo>
                <a:lnTo>
                  <a:pt x="43" y="1044"/>
                </a:lnTo>
                <a:close/>
                <a:moveTo>
                  <a:pt x="44" y="1048"/>
                </a:moveTo>
                <a:lnTo>
                  <a:pt x="44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5" y="1046"/>
                </a:lnTo>
                <a:lnTo>
                  <a:pt x="44" y="1046"/>
                </a:lnTo>
                <a:lnTo>
                  <a:pt x="44" y="1048"/>
                </a:lnTo>
                <a:close/>
                <a:moveTo>
                  <a:pt x="35" y="1115"/>
                </a:moveTo>
                <a:lnTo>
                  <a:pt x="33" y="1113"/>
                </a:lnTo>
                <a:lnTo>
                  <a:pt x="28" y="1111"/>
                </a:lnTo>
                <a:lnTo>
                  <a:pt x="33" y="1113"/>
                </a:lnTo>
                <a:lnTo>
                  <a:pt x="35" y="1115"/>
                </a:lnTo>
                <a:lnTo>
                  <a:pt x="37" y="1119"/>
                </a:lnTo>
                <a:lnTo>
                  <a:pt x="40" y="1122"/>
                </a:lnTo>
                <a:lnTo>
                  <a:pt x="42" y="1126"/>
                </a:lnTo>
                <a:lnTo>
                  <a:pt x="46" y="1128"/>
                </a:lnTo>
                <a:lnTo>
                  <a:pt x="42" y="1126"/>
                </a:lnTo>
                <a:lnTo>
                  <a:pt x="40" y="1122"/>
                </a:lnTo>
                <a:lnTo>
                  <a:pt x="37" y="1119"/>
                </a:lnTo>
                <a:lnTo>
                  <a:pt x="35" y="1115"/>
                </a:lnTo>
                <a:close/>
                <a:moveTo>
                  <a:pt x="25" y="1108"/>
                </a:moveTo>
                <a:lnTo>
                  <a:pt x="25" y="1109"/>
                </a:lnTo>
                <a:lnTo>
                  <a:pt x="25" y="1109"/>
                </a:lnTo>
                <a:lnTo>
                  <a:pt x="25" y="1109"/>
                </a:lnTo>
                <a:lnTo>
                  <a:pt x="25" y="1108"/>
                </a:lnTo>
                <a:close/>
                <a:moveTo>
                  <a:pt x="28" y="1075"/>
                </a:moveTo>
                <a:lnTo>
                  <a:pt x="26" y="1075"/>
                </a:lnTo>
                <a:lnTo>
                  <a:pt x="25" y="1076"/>
                </a:lnTo>
                <a:lnTo>
                  <a:pt x="25" y="1076"/>
                </a:lnTo>
                <a:lnTo>
                  <a:pt x="26" y="1075"/>
                </a:lnTo>
                <a:lnTo>
                  <a:pt x="28" y="1075"/>
                </a:lnTo>
                <a:close/>
                <a:moveTo>
                  <a:pt x="24" y="933"/>
                </a:moveTo>
                <a:lnTo>
                  <a:pt x="23" y="934"/>
                </a:lnTo>
                <a:lnTo>
                  <a:pt x="23" y="935"/>
                </a:lnTo>
                <a:lnTo>
                  <a:pt x="23" y="936"/>
                </a:lnTo>
                <a:lnTo>
                  <a:pt x="23" y="936"/>
                </a:lnTo>
                <a:lnTo>
                  <a:pt x="23" y="936"/>
                </a:lnTo>
                <a:lnTo>
                  <a:pt x="23" y="935"/>
                </a:lnTo>
                <a:lnTo>
                  <a:pt x="23" y="934"/>
                </a:lnTo>
                <a:lnTo>
                  <a:pt x="24" y="933"/>
                </a:lnTo>
                <a:lnTo>
                  <a:pt x="28" y="918"/>
                </a:lnTo>
                <a:lnTo>
                  <a:pt x="35" y="903"/>
                </a:lnTo>
                <a:lnTo>
                  <a:pt x="28" y="918"/>
                </a:lnTo>
                <a:lnTo>
                  <a:pt x="24" y="933"/>
                </a:lnTo>
                <a:close/>
                <a:moveTo>
                  <a:pt x="18" y="1082"/>
                </a:moveTo>
                <a:lnTo>
                  <a:pt x="15" y="1082"/>
                </a:lnTo>
                <a:lnTo>
                  <a:pt x="14" y="1082"/>
                </a:lnTo>
                <a:lnTo>
                  <a:pt x="15" y="1082"/>
                </a:lnTo>
                <a:lnTo>
                  <a:pt x="18" y="1082"/>
                </a:lnTo>
                <a:lnTo>
                  <a:pt x="20" y="1076"/>
                </a:lnTo>
                <a:lnTo>
                  <a:pt x="22" y="1074"/>
                </a:lnTo>
                <a:lnTo>
                  <a:pt x="20" y="1076"/>
                </a:lnTo>
                <a:lnTo>
                  <a:pt x="18" y="1082"/>
                </a:lnTo>
                <a:close/>
                <a:moveTo>
                  <a:pt x="13" y="958"/>
                </a:moveTo>
                <a:lnTo>
                  <a:pt x="13" y="955"/>
                </a:lnTo>
                <a:lnTo>
                  <a:pt x="13" y="953"/>
                </a:lnTo>
                <a:lnTo>
                  <a:pt x="13" y="952"/>
                </a:lnTo>
                <a:lnTo>
                  <a:pt x="13" y="951"/>
                </a:lnTo>
                <a:lnTo>
                  <a:pt x="14" y="951"/>
                </a:lnTo>
                <a:lnTo>
                  <a:pt x="16" y="950"/>
                </a:lnTo>
                <a:lnTo>
                  <a:pt x="19" y="951"/>
                </a:lnTo>
                <a:lnTo>
                  <a:pt x="20" y="953"/>
                </a:lnTo>
                <a:lnTo>
                  <a:pt x="20" y="955"/>
                </a:lnTo>
                <a:lnTo>
                  <a:pt x="20" y="958"/>
                </a:lnTo>
                <a:lnTo>
                  <a:pt x="20" y="961"/>
                </a:lnTo>
                <a:lnTo>
                  <a:pt x="20" y="963"/>
                </a:lnTo>
                <a:lnTo>
                  <a:pt x="20" y="964"/>
                </a:lnTo>
                <a:lnTo>
                  <a:pt x="20" y="965"/>
                </a:lnTo>
                <a:lnTo>
                  <a:pt x="18" y="967"/>
                </a:lnTo>
                <a:lnTo>
                  <a:pt x="15" y="969"/>
                </a:lnTo>
                <a:lnTo>
                  <a:pt x="13" y="966"/>
                </a:lnTo>
                <a:lnTo>
                  <a:pt x="12" y="964"/>
                </a:lnTo>
                <a:lnTo>
                  <a:pt x="12" y="961"/>
                </a:lnTo>
                <a:lnTo>
                  <a:pt x="13" y="958"/>
                </a:lnTo>
                <a:close/>
                <a:moveTo>
                  <a:pt x="38" y="968"/>
                </a:moveTo>
                <a:lnTo>
                  <a:pt x="37" y="969"/>
                </a:lnTo>
                <a:lnTo>
                  <a:pt x="36" y="969"/>
                </a:lnTo>
                <a:lnTo>
                  <a:pt x="36" y="970"/>
                </a:lnTo>
                <a:lnTo>
                  <a:pt x="37" y="971"/>
                </a:lnTo>
                <a:lnTo>
                  <a:pt x="34" y="977"/>
                </a:lnTo>
                <a:lnTo>
                  <a:pt x="30" y="982"/>
                </a:lnTo>
                <a:lnTo>
                  <a:pt x="34" y="977"/>
                </a:lnTo>
                <a:lnTo>
                  <a:pt x="37" y="971"/>
                </a:lnTo>
                <a:lnTo>
                  <a:pt x="36" y="970"/>
                </a:lnTo>
                <a:lnTo>
                  <a:pt x="36" y="969"/>
                </a:lnTo>
                <a:lnTo>
                  <a:pt x="37" y="969"/>
                </a:lnTo>
                <a:lnTo>
                  <a:pt x="38" y="968"/>
                </a:lnTo>
                <a:close/>
                <a:moveTo>
                  <a:pt x="37" y="961"/>
                </a:moveTo>
                <a:lnTo>
                  <a:pt x="37" y="963"/>
                </a:lnTo>
                <a:lnTo>
                  <a:pt x="38" y="965"/>
                </a:lnTo>
                <a:lnTo>
                  <a:pt x="38" y="966"/>
                </a:lnTo>
                <a:lnTo>
                  <a:pt x="38" y="968"/>
                </a:lnTo>
                <a:lnTo>
                  <a:pt x="38" y="966"/>
                </a:lnTo>
                <a:lnTo>
                  <a:pt x="38" y="965"/>
                </a:lnTo>
                <a:lnTo>
                  <a:pt x="37" y="963"/>
                </a:lnTo>
                <a:lnTo>
                  <a:pt x="37" y="961"/>
                </a:lnTo>
                <a:close/>
                <a:moveTo>
                  <a:pt x="386" y="408"/>
                </a:moveTo>
                <a:lnTo>
                  <a:pt x="386" y="408"/>
                </a:lnTo>
                <a:lnTo>
                  <a:pt x="386" y="407"/>
                </a:lnTo>
                <a:lnTo>
                  <a:pt x="386" y="408"/>
                </a:lnTo>
                <a:lnTo>
                  <a:pt x="386" y="408"/>
                </a:lnTo>
                <a:close/>
                <a:moveTo>
                  <a:pt x="385" y="389"/>
                </a:moveTo>
                <a:lnTo>
                  <a:pt x="386" y="389"/>
                </a:lnTo>
                <a:lnTo>
                  <a:pt x="386" y="389"/>
                </a:lnTo>
                <a:lnTo>
                  <a:pt x="385" y="389"/>
                </a:lnTo>
                <a:close/>
                <a:moveTo>
                  <a:pt x="358" y="337"/>
                </a:move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lnTo>
                  <a:pt x="358" y="337"/>
                </a:lnTo>
                <a:close/>
                <a:moveTo>
                  <a:pt x="343" y="336"/>
                </a:moveTo>
                <a:lnTo>
                  <a:pt x="343" y="335"/>
                </a:lnTo>
                <a:lnTo>
                  <a:pt x="343" y="335"/>
                </a:lnTo>
                <a:lnTo>
                  <a:pt x="340" y="334"/>
                </a:lnTo>
                <a:lnTo>
                  <a:pt x="340" y="332"/>
                </a:lnTo>
                <a:lnTo>
                  <a:pt x="340" y="334"/>
                </a:lnTo>
                <a:lnTo>
                  <a:pt x="343" y="335"/>
                </a:lnTo>
                <a:lnTo>
                  <a:pt x="343" y="335"/>
                </a:lnTo>
                <a:lnTo>
                  <a:pt x="343" y="336"/>
                </a:lnTo>
                <a:close/>
                <a:moveTo>
                  <a:pt x="342" y="341"/>
                </a:moveTo>
                <a:lnTo>
                  <a:pt x="342" y="339"/>
                </a:lnTo>
                <a:lnTo>
                  <a:pt x="343" y="336"/>
                </a:lnTo>
                <a:lnTo>
                  <a:pt x="342" y="339"/>
                </a:lnTo>
                <a:lnTo>
                  <a:pt x="342" y="341"/>
                </a:lnTo>
                <a:close/>
                <a:moveTo>
                  <a:pt x="401" y="183"/>
                </a:move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1" y="183"/>
                </a:lnTo>
                <a:lnTo>
                  <a:pt x="402" y="184"/>
                </a:lnTo>
                <a:lnTo>
                  <a:pt x="403" y="184"/>
                </a:lnTo>
                <a:lnTo>
                  <a:pt x="402" y="184"/>
                </a:lnTo>
                <a:lnTo>
                  <a:pt x="401" y="183"/>
                </a:lnTo>
                <a:close/>
                <a:moveTo>
                  <a:pt x="392" y="229"/>
                </a:moveTo>
                <a:lnTo>
                  <a:pt x="392" y="224"/>
                </a:lnTo>
                <a:lnTo>
                  <a:pt x="392" y="218"/>
                </a:lnTo>
                <a:lnTo>
                  <a:pt x="392" y="224"/>
                </a:lnTo>
                <a:lnTo>
                  <a:pt x="392" y="229"/>
                </a:lnTo>
                <a:close/>
                <a:moveTo>
                  <a:pt x="2054" y="679"/>
                </a:moveTo>
                <a:lnTo>
                  <a:pt x="2054" y="679"/>
                </a:lnTo>
                <a:lnTo>
                  <a:pt x="2054" y="680"/>
                </a:lnTo>
                <a:lnTo>
                  <a:pt x="2054" y="679"/>
                </a:lnTo>
                <a:lnTo>
                  <a:pt x="2054" y="679"/>
                </a:lnTo>
                <a:lnTo>
                  <a:pt x="2054" y="677"/>
                </a:lnTo>
                <a:lnTo>
                  <a:pt x="2054" y="675"/>
                </a:lnTo>
                <a:lnTo>
                  <a:pt x="2055" y="673"/>
                </a:lnTo>
                <a:lnTo>
                  <a:pt x="2056" y="671"/>
                </a:lnTo>
                <a:lnTo>
                  <a:pt x="2056" y="669"/>
                </a:lnTo>
                <a:lnTo>
                  <a:pt x="2056" y="667"/>
                </a:lnTo>
                <a:lnTo>
                  <a:pt x="2056" y="660"/>
                </a:lnTo>
                <a:lnTo>
                  <a:pt x="2055" y="653"/>
                </a:lnTo>
                <a:lnTo>
                  <a:pt x="2056" y="649"/>
                </a:lnTo>
                <a:lnTo>
                  <a:pt x="2057" y="646"/>
                </a:lnTo>
                <a:lnTo>
                  <a:pt x="2058" y="643"/>
                </a:lnTo>
                <a:lnTo>
                  <a:pt x="2060" y="641"/>
                </a:lnTo>
                <a:lnTo>
                  <a:pt x="2065" y="635"/>
                </a:lnTo>
                <a:lnTo>
                  <a:pt x="2067" y="630"/>
                </a:lnTo>
                <a:lnTo>
                  <a:pt x="2067" y="624"/>
                </a:lnTo>
                <a:lnTo>
                  <a:pt x="2067" y="618"/>
                </a:lnTo>
                <a:lnTo>
                  <a:pt x="2065" y="608"/>
                </a:lnTo>
                <a:lnTo>
                  <a:pt x="2062" y="598"/>
                </a:lnTo>
                <a:lnTo>
                  <a:pt x="2060" y="587"/>
                </a:lnTo>
                <a:lnTo>
                  <a:pt x="2058" y="578"/>
                </a:lnTo>
                <a:lnTo>
                  <a:pt x="2056" y="570"/>
                </a:lnTo>
                <a:lnTo>
                  <a:pt x="2053" y="563"/>
                </a:lnTo>
                <a:lnTo>
                  <a:pt x="2047" y="556"/>
                </a:lnTo>
                <a:lnTo>
                  <a:pt x="2043" y="549"/>
                </a:lnTo>
                <a:lnTo>
                  <a:pt x="2039" y="542"/>
                </a:lnTo>
                <a:lnTo>
                  <a:pt x="2035" y="535"/>
                </a:lnTo>
                <a:lnTo>
                  <a:pt x="2031" y="528"/>
                </a:lnTo>
                <a:lnTo>
                  <a:pt x="2028" y="522"/>
                </a:lnTo>
                <a:lnTo>
                  <a:pt x="2024" y="517"/>
                </a:lnTo>
                <a:lnTo>
                  <a:pt x="2019" y="511"/>
                </a:lnTo>
                <a:lnTo>
                  <a:pt x="2009" y="502"/>
                </a:lnTo>
                <a:lnTo>
                  <a:pt x="1998" y="492"/>
                </a:lnTo>
                <a:lnTo>
                  <a:pt x="1993" y="488"/>
                </a:lnTo>
                <a:lnTo>
                  <a:pt x="1986" y="485"/>
                </a:lnTo>
                <a:lnTo>
                  <a:pt x="1980" y="481"/>
                </a:lnTo>
                <a:lnTo>
                  <a:pt x="1974" y="479"/>
                </a:lnTo>
                <a:lnTo>
                  <a:pt x="1970" y="480"/>
                </a:lnTo>
                <a:lnTo>
                  <a:pt x="1968" y="481"/>
                </a:lnTo>
                <a:lnTo>
                  <a:pt x="1965" y="481"/>
                </a:lnTo>
                <a:lnTo>
                  <a:pt x="1963" y="480"/>
                </a:lnTo>
                <a:lnTo>
                  <a:pt x="1965" y="481"/>
                </a:lnTo>
                <a:lnTo>
                  <a:pt x="1968" y="481"/>
                </a:lnTo>
                <a:lnTo>
                  <a:pt x="1970" y="480"/>
                </a:lnTo>
                <a:lnTo>
                  <a:pt x="1974" y="479"/>
                </a:lnTo>
                <a:lnTo>
                  <a:pt x="1974" y="479"/>
                </a:lnTo>
                <a:lnTo>
                  <a:pt x="1972" y="479"/>
                </a:lnTo>
                <a:lnTo>
                  <a:pt x="1972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1" y="478"/>
                </a:lnTo>
                <a:lnTo>
                  <a:pt x="1970" y="476"/>
                </a:lnTo>
                <a:lnTo>
                  <a:pt x="1969" y="475"/>
                </a:lnTo>
                <a:lnTo>
                  <a:pt x="1967" y="474"/>
                </a:lnTo>
                <a:lnTo>
                  <a:pt x="1966" y="474"/>
                </a:lnTo>
                <a:lnTo>
                  <a:pt x="1960" y="472"/>
                </a:lnTo>
                <a:lnTo>
                  <a:pt x="1953" y="469"/>
                </a:lnTo>
                <a:lnTo>
                  <a:pt x="1943" y="462"/>
                </a:lnTo>
                <a:lnTo>
                  <a:pt x="1931" y="456"/>
                </a:lnTo>
                <a:lnTo>
                  <a:pt x="1919" y="450"/>
                </a:lnTo>
                <a:lnTo>
                  <a:pt x="1906" y="446"/>
                </a:lnTo>
                <a:lnTo>
                  <a:pt x="1890" y="441"/>
                </a:lnTo>
                <a:lnTo>
                  <a:pt x="1874" y="436"/>
                </a:lnTo>
                <a:lnTo>
                  <a:pt x="1857" y="433"/>
                </a:lnTo>
                <a:lnTo>
                  <a:pt x="1841" y="431"/>
                </a:lnTo>
                <a:lnTo>
                  <a:pt x="1839" y="429"/>
                </a:lnTo>
                <a:lnTo>
                  <a:pt x="1835" y="427"/>
                </a:lnTo>
                <a:lnTo>
                  <a:pt x="1833" y="427"/>
                </a:lnTo>
                <a:lnTo>
                  <a:pt x="1830" y="427"/>
                </a:lnTo>
                <a:lnTo>
                  <a:pt x="1822" y="426"/>
                </a:lnTo>
                <a:lnTo>
                  <a:pt x="1813" y="424"/>
                </a:lnTo>
                <a:lnTo>
                  <a:pt x="1804" y="421"/>
                </a:lnTo>
                <a:lnTo>
                  <a:pt x="1797" y="417"/>
                </a:lnTo>
                <a:lnTo>
                  <a:pt x="1785" y="409"/>
                </a:lnTo>
                <a:lnTo>
                  <a:pt x="1773" y="402"/>
                </a:lnTo>
                <a:lnTo>
                  <a:pt x="1769" y="399"/>
                </a:lnTo>
                <a:lnTo>
                  <a:pt x="1766" y="397"/>
                </a:lnTo>
                <a:lnTo>
                  <a:pt x="1761" y="393"/>
                </a:lnTo>
                <a:lnTo>
                  <a:pt x="1755" y="388"/>
                </a:lnTo>
                <a:lnTo>
                  <a:pt x="1751" y="385"/>
                </a:lnTo>
                <a:lnTo>
                  <a:pt x="1744" y="383"/>
                </a:lnTo>
                <a:lnTo>
                  <a:pt x="1743" y="383"/>
                </a:lnTo>
                <a:lnTo>
                  <a:pt x="1741" y="382"/>
                </a:lnTo>
                <a:lnTo>
                  <a:pt x="1741" y="381"/>
                </a:lnTo>
                <a:lnTo>
                  <a:pt x="1740" y="380"/>
                </a:lnTo>
                <a:lnTo>
                  <a:pt x="1739" y="379"/>
                </a:lnTo>
                <a:lnTo>
                  <a:pt x="1738" y="379"/>
                </a:lnTo>
                <a:lnTo>
                  <a:pt x="1734" y="375"/>
                </a:lnTo>
                <a:lnTo>
                  <a:pt x="1728" y="372"/>
                </a:lnTo>
                <a:lnTo>
                  <a:pt x="1723" y="369"/>
                </a:lnTo>
                <a:lnTo>
                  <a:pt x="1718" y="367"/>
                </a:lnTo>
                <a:lnTo>
                  <a:pt x="1716" y="364"/>
                </a:lnTo>
                <a:lnTo>
                  <a:pt x="1712" y="364"/>
                </a:lnTo>
                <a:lnTo>
                  <a:pt x="1702" y="363"/>
                </a:lnTo>
                <a:lnTo>
                  <a:pt x="1692" y="361"/>
                </a:lnTo>
                <a:lnTo>
                  <a:pt x="1681" y="358"/>
                </a:lnTo>
                <a:lnTo>
                  <a:pt x="1672" y="356"/>
                </a:lnTo>
                <a:lnTo>
                  <a:pt x="1668" y="356"/>
                </a:lnTo>
                <a:lnTo>
                  <a:pt x="1665" y="355"/>
                </a:lnTo>
                <a:lnTo>
                  <a:pt x="1663" y="356"/>
                </a:lnTo>
                <a:lnTo>
                  <a:pt x="1662" y="358"/>
                </a:lnTo>
                <a:lnTo>
                  <a:pt x="1662" y="359"/>
                </a:lnTo>
                <a:lnTo>
                  <a:pt x="1662" y="361"/>
                </a:lnTo>
                <a:lnTo>
                  <a:pt x="1663" y="362"/>
                </a:lnTo>
                <a:lnTo>
                  <a:pt x="1664" y="362"/>
                </a:lnTo>
                <a:lnTo>
                  <a:pt x="1667" y="362"/>
                </a:lnTo>
                <a:lnTo>
                  <a:pt x="1670" y="363"/>
                </a:lnTo>
                <a:lnTo>
                  <a:pt x="1679" y="369"/>
                </a:lnTo>
                <a:lnTo>
                  <a:pt x="1688" y="375"/>
                </a:lnTo>
                <a:lnTo>
                  <a:pt x="1702" y="383"/>
                </a:lnTo>
                <a:lnTo>
                  <a:pt x="1717" y="388"/>
                </a:lnTo>
                <a:lnTo>
                  <a:pt x="1720" y="389"/>
                </a:lnTo>
                <a:lnTo>
                  <a:pt x="1723" y="390"/>
                </a:lnTo>
                <a:lnTo>
                  <a:pt x="1724" y="392"/>
                </a:lnTo>
                <a:lnTo>
                  <a:pt x="1725" y="393"/>
                </a:lnTo>
                <a:lnTo>
                  <a:pt x="1725" y="396"/>
                </a:lnTo>
                <a:lnTo>
                  <a:pt x="1724" y="398"/>
                </a:lnTo>
                <a:lnTo>
                  <a:pt x="1723" y="399"/>
                </a:lnTo>
                <a:lnTo>
                  <a:pt x="1722" y="399"/>
                </a:lnTo>
                <a:lnTo>
                  <a:pt x="1721" y="399"/>
                </a:lnTo>
                <a:lnTo>
                  <a:pt x="1720" y="399"/>
                </a:lnTo>
                <a:lnTo>
                  <a:pt x="1714" y="400"/>
                </a:lnTo>
                <a:lnTo>
                  <a:pt x="1710" y="400"/>
                </a:lnTo>
                <a:lnTo>
                  <a:pt x="1709" y="398"/>
                </a:lnTo>
                <a:lnTo>
                  <a:pt x="1708" y="396"/>
                </a:lnTo>
                <a:lnTo>
                  <a:pt x="1707" y="395"/>
                </a:lnTo>
                <a:lnTo>
                  <a:pt x="1706" y="395"/>
                </a:lnTo>
                <a:lnTo>
                  <a:pt x="1703" y="395"/>
                </a:lnTo>
                <a:lnTo>
                  <a:pt x="1699" y="396"/>
                </a:lnTo>
                <a:lnTo>
                  <a:pt x="1689" y="398"/>
                </a:lnTo>
                <a:lnTo>
                  <a:pt x="1678" y="400"/>
                </a:lnTo>
                <a:lnTo>
                  <a:pt x="1675" y="401"/>
                </a:lnTo>
                <a:lnTo>
                  <a:pt x="1674" y="403"/>
                </a:lnTo>
                <a:lnTo>
                  <a:pt x="1668" y="404"/>
                </a:lnTo>
                <a:lnTo>
                  <a:pt x="1662" y="405"/>
                </a:lnTo>
                <a:lnTo>
                  <a:pt x="1652" y="411"/>
                </a:lnTo>
                <a:lnTo>
                  <a:pt x="1643" y="415"/>
                </a:lnTo>
                <a:lnTo>
                  <a:pt x="1633" y="421"/>
                </a:lnTo>
                <a:lnTo>
                  <a:pt x="1623" y="427"/>
                </a:lnTo>
                <a:lnTo>
                  <a:pt x="1606" y="441"/>
                </a:lnTo>
                <a:lnTo>
                  <a:pt x="1589" y="455"/>
                </a:lnTo>
                <a:lnTo>
                  <a:pt x="1585" y="456"/>
                </a:lnTo>
                <a:lnTo>
                  <a:pt x="1581" y="457"/>
                </a:lnTo>
                <a:lnTo>
                  <a:pt x="1575" y="459"/>
                </a:lnTo>
                <a:lnTo>
                  <a:pt x="1572" y="461"/>
                </a:lnTo>
                <a:lnTo>
                  <a:pt x="1564" y="466"/>
                </a:lnTo>
                <a:lnTo>
                  <a:pt x="1557" y="473"/>
                </a:lnTo>
                <a:lnTo>
                  <a:pt x="1555" y="475"/>
                </a:lnTo>
                <a:lnTo>
                  <a:pt x="1556" y="477"/>
                </a:lnTo>
                <a:lnTo>
                  <a:pt x="1557" y="479"/>
                </a:lnTo>
                <a:lnTo>
                  <a:pt x="1557" y="481"/>
                </a:lnTo>
                <a:lnTo>
                  <a:pt x="1558" y="484"/>
                </a:lnTo>
                <a:lnTo>
                  <a:pt x="1557" y="486"/>
                </a:lnTo>
                <a:lnTo>
                  <a:pt x="1555" y="489"/>
                </a:lnTo>
                <a:lnTo>
                  <a:pt x="1553" y="492"/>
                </a:lnTo>
                <a:lnTo>
                  <a:pt x="1550" y="495"/>
                </a:lnTo>
                <a:lnTo>
                  <a:pt x="1549" y="499"/>
                </a:lnTo>
                <a:lnTo>
                  <a:pt x="1547" y="502"/>
                </a:lnTo>
                <a:lnTo>
                  <a:pt x="1546" y="506"/>
                </a:lnTo>
                <a:lnTo>
                  <a:pt x="1546" y="509"/>
                </a:lnTo>
                <a:lnTo>
                  <a:pt x="1546" y="515"/>
                </a:lnTo>
                <a:lnTo>
                  <a:pt x="1545" y="516"/>
                </a:lnTo>
                <a:lnTo>
                  <a:pt x="1545" y="518"/>
                </a:lnTo>
                <a:lnTo>
                  <a:pt x="1544" y="519"/>
                </a:lnTo>
                <a:lnTo>
                  <a:pt x="1542" y="519"/>
                </a:lnTo>
                <a:lnTo>
                  <a:pt x="1541" y="518"/>
                </a:lnTo>
                <a:lnTo>
                  <a:pt x="1540" y="517"/>
                </a:lnTo>
                <a:lnTo>
                  <a:pt x="1540" y="515"/>
                </a:lnTo>
                <a:lnTo>
                  <a:pt x="1540" y="512"/>
                </a:lnTo>
                <a:lnTo>
                  <a:pt x="1540" y="508"/>
                </a:lnTo>
                <a:lnTo>
                  <a:pt x="1541" y="504"/>
                </a:lnTo>
                <a:lnTo>
                  <a:pt x="1541" y="499"/>
                </a:lnTo>
                <a:lnTo>
                  <a:pt x="1541" y="493"/>
                </a:lnTo>
                <a:lnTo>
                  <a:pt x="1540" y="489"/>
                </a:lnTo>
                <a:lnTo>
                  <a:pt x="1537" y="484"/>
                </a:lnTo>
                <a:lnTo>
                  <a:pt x="1534" y="480"/>
                </a:lnTo>
                <a:lnTo>
                  <a:pt x="1531" y="477"/>
                </a:lnTo>
                <a:lnTo>
                  <a:pt x="1530" y="474"/>
                </a:lnTo>
                <a:lnTo>
                  <a:pt x="1529" y="471"/>
                </a:lnTo>
                <a:lnTo>
                  <a:pt x="1529" y="468"/>
                </a:lnTo>
                <a:lnTo>
                  <a:pt x="1529" y="463"/>
                </a:lnTo>
                <a:lnTo>
                  <a:pt x="1531" y="459"/>
                </a:lnTo>
                <a:lnTo>
                  <a:pt x="1532" y="455"/>
                </a:lnTo>
                <a:lnTo>
                  <a:pt x="1538" y="445"/>
                </a:lnTo>
                <a:lnTo>
                  <a:pt x="1544" y="436"/>
                </a:lnTo>
                <a:lnTo>
                  <a:pt x="1553" y="426"/>
                </a:lnTo>
                <a:lnTo>
                  <a:pt x="1562" y="415"/>
                </a:lnTo>
                <a:lnTo>
                  <a:pt x="1572" y="405"/>
                </a:lnTo>
                <a:lnTo>
                  <a:pt x="1583" y="396"/>
                </a:lnTo>
                <a:lnTo>
                  <a:pt x="1598" y="386"/>
                </a:lnTo>
                <a:lnTo>
                  <a:pt x="1614" y="377"/>
                </a:lnTo>
                <a:lnTo>
                  <a:pt x="1631" y="369"/>
                </a:lnTo>
                <a:lnTo>
                  <a:pt x="1649" y="362"/>
                </a:lnTo>
                <a:lnTo>
                  <a:pt x="1644" y="362"/>
                </a:lnTo>
                <a:lnTo>
                  <a:pt x="1640" y="362"/>
                </a:lnTo>
                <a:lnTo>
                  <a:pt x="1634" y="362"/>
                </a:lnTo>
                <a:lnTo>
                  <a:pt x="1630" y="363"/>
                </a:lnTo>
                <a:lnTo>
                  <a:pt x="1617" y="368"/>
                </a:lnTo>
                <a:lnTo>
                  <a:pt x="1604" y="374"/>
                </a:lnTo>
                <a:lnTo>
                  <a:pt x="1591" y="381"/>
                </a:lnTo>
                <a:lnTo>
                  <a:pt x="1581" y="389"/>
                </a:lnTo>
                <a:lnTo>
                  <a:pt x="1575" y="393"/>
                </a:lnTo>
                <a:lnTo>
                  <a:pt x="1569" y="395"/>
                </a:lnTo>
                <a:lnTo>
                  <a:pt x="1564" y="395"/>
                </a:lnTo>
                <a:lnTo>
                  <a:pt x="1557" y="394"/>
                </a:lnTo>
                <a:lnTo>
                  <a:pt x="1551" y="392"/>
                </a:lnTo>
                <a:lnTo>
                  <a:pt x="1544" y="390"/>
                </a:lnTo>
                <a:lnTo>
                  <a:pt x="1530" y="388"/>
                </a:lnTo>
                <a:lnTo>
                  <a:pt x="1516" y="385"/>
                </a:lnTo>
                <a:lnTo>
                  <a:pt x="1502" y="382"/>
                </a:lnTo>
                <a:lnTo>
                  <a:pt x="1489" y="380"/>
                </a:lnTo>
                <a:lnTo>
                  <a:pt x="1474" y="378"/>
                </a:lnTo>
                <a:lnTo>
                  <a:pt x="1460" y="377"/>
                </a:lnTo>
                <a:lnTo>
                  <a:pt x="1446" y="374"/>
                </a:lnTo>
                <a:lnTo>
                  <a:pt x="1432" y="373"/>
                </a:lnTo>
                <a:lnTo>
                  <a:pt x="1420" y="373"/>
                </a:lnTo>
                <a:lnTo>
                  <a:pt x="1407" y="375"/>
                </a:lnTo>
                <a:lnTo>
                  <a:pt x="1396" y="378"/>
                </a:lnTo>
                <a:lnTo>
                  <a:pt x="1385" y="380"/>
                </a:lnTo>
                <a:lnTo>
                  <a:pt x="1383" y="380"/>
                </a:lnTo>
                <a:lnTo>
                  <a:pt x="1380" y="381"/>
                </a:lnTo>
                <a:lnTo>
                  <a:pt x="1378" y="382"/>
                </a:lnTo>
                <a:lnTo>
                  <a:pt x="1377" y="384"/>
                </a:lnTo>
                <a:lnTo>
                  <a:pt x="1370" y="385"/>
                </a:lnTo>
                <a:lnTo>
                  <a:pt x="1361" y="387"/>
                </a:lnTo>
                <a:lnTo>
                  <a:pt x="1347" y="392"/>
                </a:lnTo>
                <a:lnTo>
                  <a:pt x="1333" y="395"/>
                </a:lnTo>
                <a:lnTo>
                  <a:pt x="1327" y="395"/>
                </a:lnTo>
                <a:lnTo>
                  <a:pt x="1320" y="396"/>
                </a:lnTo>
                <a:lnTo>
                  <a:pt x="1314" y="398"/>
                </a:lnTo>
                <a:lnTo>
                  <a:pt x="1309" y="401"/>
                </a:lnTo>
                <a:lnTo>
                  <a:pt x="1304" y="403"/>
                </a:lnTo>
                <a:lnTo>
                  <a:pt x="1298" y="405"/>
                </a:lnTo>
                <a:lnTo>
                  <a:pt x="1293" y="405"/>
                </a:lnTo>
                <a:lnTo>
                  <a:pt x="1288" y="404"/>
                </a:lnTo>
                <a:lnTo>
                  <a:pt x="1284" y="401"/>
                </a:lnTo>
                <a:lnTo>
                  <a:pt x="1279" y="400"/>
                </a:lnTo>
                <a:lnTo>
                  <a:pt x="1272" y="400"/>
                </a:lnTo>
                <a:lnTo>
                  <a:pt x="1267" y="400"/>
                </a:lnTo>
                <a:lnTo>
                  <a:pt x="1261" y="401"/>
                </a:lnTo>
                <a:lnTo>
                  <a:pt x="1255" y="403"/>
                </a:lnTo>
                <a:lnTo>
                  <a:pt x="1251" y="405"/>
                </a:lnTo>
                <a:lnTo>
                  <a:pt x="1247" y="409"/>
                </a:lnTo>
                <a:lnTo>
                  <a:pt x="1238" y="412"/>
                </a:lnTo>
                <a:lnTo>
                  <a:pt x="1231" y="415"/>
                </a:lnTo>
                <a:lnTo>
                  <a:pt x="1223" y="419"/>
                </a:lnTo>
                <a:lnTo>
                  <a:pt x="1217" y="424"/>
                </a:lnTo>
                <a:lnTo>
                  <a:pt x="1203" y="434"/>
                </a:lnTo>
                <a:lnTo>
                  <a:pt x="1190" y="446"/>
                </a:lnTo>
                <a:lnTo>
                  <a:pt x="1185" y="449"/>
                </a:lnTo>
                <a:lnTo>
                  <a:pt x="1179" y="451"/>
                </a:lnTo>
                <a:lnTo>
                  <a:pt x="1173" y="454"/>
                </a:lnTo>
                <a:lnTo>
                  <a:pt x="1167" y="454"/>
                </a:lnTo>
                <a:lnTo>
                  <a:pt x="1155" y="453"/>
                </a:lnTo>
                <a:lnTo>
                  <a:pt x="1143" y="451"/>
                </a:lnTo>
                <a:lnTo>
                  <a:pt x="1132" y="449"/>
                </a:lnTo>
                <a:lnTo>
                  <a:pt x="1121" y="447"/>
                </a:lnTo>
                <a:lnTo>
                  <a:pt x="1111" y="446"/>
                </a:lnTo>
                <a:lnTo>
                  <a:pt x="1101" y="446"/>
                </a:lnTo>
                <a:lnTo>
                  <a:pt x="1091" y="448"/>
                </a:lnTo>
                <a:lnTo>
                  <a:pt x="1082" y="450"/>
                </a:lnTo>
                <a:lnTo>
                  <a:pt x="1072" y="454"/>
                </a:lnTo>
                <a:lnTo>
                  <a:pt x="1064" y="458"/>
                </a:lnTo>
                <a:lnTo>
                  <a:pt x="1055" y="462"/>
                </a:lnTo>
                <a:lnTo>
                  <a:pt x="1046" y="468"/>
                </a:lnTo>
                <a:lnTo>
                  <a:pt x="1042" y="471"/>
                </a:lnTo>
                <a:lnTo>
                  <a:pt x="1038" y="473"/>
                </a:lnTo>
                <a:lnTo>
                  <a:pt x="1034" y="474"/>
                </a:lnTo>
                <a:lnTo>
                  <a:pt x="1029" y="474"/>
                </a:lnTo>
                <a:lnTo>
                  <a:pt x="1025" y="474"/>
                </a:lnTo>
                <a:lnTo>
                  <a:pt x="1021" y="473"/>
                </a:lnTo>
                <a:lnTo>
                  <a:pt x="1016" y="472"/>
                </a:lnTo>
                <a:lnTo>
                  <a:pt x="1012" y="470"/>
                </a:lnTo>
                <a:lnTo>
                  <a:pt x="998" y="463"/>
                </a:lnTo>
                <a:lnTo>
                  <a:pt x="983" y="457"/>
                </a:lnTo>
                <a:lnTo>
                  <a:pt x="968" y="451"/>
                </a:lnTo>
                <a:lnTo>
                  <a:pt x="953" y="448"/>
                </a:lnTo>
                <a:lnTo>
                  <a:pt x="941" y="447"/>
                </a:lnTo>
                <a:lnTo>
                  <a:pt x="930" y="446"/>
                </a:lnTo>
                <a:lnTo>
                  <a:pt x="918" y="446"/>
                </a:lnTo>
                <a:lnTo>
                  <a:pt x="906" y="446"/>
                </a:lnTo>
                <a:lnTo>
                  <a:pt x="894" y="448"/>
                </a:lnTo>
                <a:lnTo>
                  <a:pt x="883" y="450"/>
                </a:lnTo>
                <a:lnTo>
                  <a:pt x="871" y="454"/>
                </a:lnTo>
                <a:lnTo>
                  <a:pt x="859" y="458"/>
                </a:lnTo>
                <a:lnTo>
                  <a:pt x="849" y="463"/>
                </a:lnTo>
                <a:lnTo>
                  <a:pt x="839" y="469"/>
                </a:lnTo>
                <a:lnTo>
                  <a:pt x="834" y="472"/>
                </a:lnTo>
                <a:lnTo>
                  <a:pt x="830" y="476"/>
                </a:lnTo>
                <a:lnTo>
                  <a:pt x="826" y="479"/>
                </a:lnTo>
                <a:lnTo>
                  <a:pt x="823" y="485"/>
                </a:lnTo>
                <a:lnTo>
                  <a:pt x="822" y="485"/>
                </a:lnTo>
                <a:lnTo>
                  <a:pt x="822" y="485"/>
                </a:lnTo>
                <a:lnTo>
                  <a:pt x="821" y="486"/>
                </a:lnTo>
                <a:lnTo>
                  <a:pt x="819" y="486"/>
                </a:lnTo>
                <a:lnTo>
                  <a:pt x="814" y="490"/>
                </a:lnTo>
                <a:lnTo>
                  <a:pt x="810" y="494"/>
                </a:lnTo>
                <a:lnTo>
                  <a:pt x="808" y="497"/>
                </a:lnTo>
                <a:lnTo>
                  <a:pt x="806" y="500"/>
                </a:lnTo>
                <a:lnTo>
                  <a:pt x="803" y="503"/>
                </a:lnTo>
                <a:lnTo>
                  <a:pt x="803" y="506"/>
                </a:lnTo>
                <a:lnTo>
                  <a:pt x="802" y="508"/>
                </a:lnTo>
                <a:lnTo>
                  <a:pt x="802" y="509"/>
                </a:lnTo>
                <a:lnTo>
                  <a:pt x="802" y="510"/>
                </a:lnTo>
                <a:lnTo>
                  <a:pt x="803" y="511"/>
                </a:lnTo>
                <a:lnTo>
                  <a:pt x="806" y="514"/>
                </a:lnTo>
                <a:lnTo>
                  <a:pt x="807" y="515"/>
                </a:lnTo>
                <a:lnTo>
                  <a:pt x="807" y="517"/>
                </a:lnTo>
                <a:lnTo>
                  <a:pt x="807" y="519"/>
                </a:lnTo>
                <a:lnTo>
                  <a:pt x="806" y="521"/>
                </a:lnTo>
                <a:lnTo>
                  <a:pt x="803" y="522"/>
                </a:lnTo>
                <a:lnTo>
                  <a:pt x="801" y="522"/>
                </a:lnTo>
                <a:lnTo>
                  <a:pt x="799" y="522"/>
                </a:lnTo>
                <a:lnTo>
                  <a:pt x="795" y="522"/>
                </a:lnTo>
                <a:lnTo>
                  <a:pt x="792" y="522"/>
                </a:lnTo>
                <a:lnTo>
                  <a:pt x="788" y="523"/>
                </a:lnTo>
                <a:lnTo>
                  <a:pt x="785" y="525"/>
                </a:lnTo>
                <a:lnTo>
                  <a:pt x="781" y="527"/>
                </a:lnTo>
                <a:lnTo>
                  <a:pt x="777" y="527"/>
                </a:lnTo>
                <a:lnTo>
                  <a:pt x="772" y="527"/>
                </a:lnTo>
                <a:lnTo>
                  <a:pt x="768" y="525"/>
                </a:lnTo>
                <a:lnTo>
                  <a:pt x="763" y="522"/>
                </a:lnTo>
                <a:lnTo>
                  <a:pt x="756" y="520"/>
                </a:lnTo>
                <a:lnTo>
                  <a:pt x="752" y="519"/>
                </a:lnTo>
                <a:lnTo>
                  <a:pt x="749" y="517"/>
                </a:lnTo>
                <a:lnTo>
                  <a:pt x="747" y="516"/>
                </a:lnTo>
                <a:lnTo>
                  <a:pt x="746" y="514"/>
                </a:lnTo>
                <a:lnTo>
                  <a:pt x="746" y="511"/>
                </a:lnTo>
                <a:lnTo>
                  <a:pt x="747" y="508"/>
                </a:lnTo>
                <a:lnTo>
                  <a:pt x="748" y="505"/>
                </a:lnTo>
                <a:lnTo>
                  <a:pt x="751" y="502"/>
                </a:lnTo>
                <a:lnTo>
                  <a:pt x="751" y="502"/>
                </a:lnTo>
                <a:lnTo>
                  <a:pt x="751" y="501"/>
                </a:lnTo>
                <a:lnTo>
                  <a:pt x="749" y="501"/>
                </a:lnTo>
                <a:lnTo>
                  <a:pt x="748" y="500"/>
                </a:lnTo>
                <a:lnTo>
                  <a:pt x="749" y="501"/>
                </a:lnTo>
                <a:lnTo>
                  <a:pt x="751" y="501"/>
                </a:lnTo>
                <a:lnTo>
                  <a:pt x="752" y="501"/>
                </a:lnTo>
                <a:lnTo>
                  <a:pt x="754" y="501"/>
                </a:lnTo>
                <a:lnTo>
                  <a:pt x="757" y="501"/>
                </a:lnTo>
                <a:lnTo>
                  <a:pt x="761" y="501"/>
                </a:lnTo>
                <a:lnTo>
                  <a:pt x="764" y="499"/>
                </a:lnTo>
                <a:lnTo>
                  <a:pt x="767" y="496"/>
                </a:lnTo>
                <a:lnTo>
                  <a:pt x="770" y="494"/>
                </a:lnTo>
                <a:lnTo>
                  <a:pt x="774" y="491"/>
                </a:lnTo>
                <a:lnTo>
                  <a:pt x="779" y="489"/>
                </a:lnTo>
                <a:lnTo>
                  <a:pt x="783" y="488"/>
                </a:lnTo>
                <a:lnTo>
                  <a:pt x="787" y="487"/>
                </a:lnTo>
                <a:lnTo>
                  <a:pt x="788" y="485"/>
                </a:lnTo>
                <a:lnTo>
                  <a:pt x="789" y="484"/>
                </a:lnTo>
                <a:lnTo>
                  <a:pt x="788" y="482"/>
                </a:lnTo>
                <a:lnTo>
                  <a:pt x="788" y="480"/>
                </a:lnTo>
                <a:lnTo>
                  <a:pt x="786" y="479"/>
                </a:lnTo>
                <a:lnTo>
                  <a:pt x="779" y="473"/>
                </a:lnTo>
                <a:lnTo>
                  <a:pt x="770" y="469"/>
                </a:lnTo>
                <a:lnTo>
                  <a:pt x="765" y="466"/>
                </a:lnTo>
                <a:lnTo>
                  <a:pt x="761" y="464"/>
                </a:lnTo>
                <a:lnTo>
                  <a:pt x="755" y="464"/>
                </a:lnTo>
                <a:lnTo>
                  <a:pt x="751" y="463"/>
                </a:lnTo>
                <a:lnTo>
                  <a:pt x="749" y="462"/>
                </a:lnTo>
                <a:lnTo>
                  <a:pt x="746" y="461"/>
                </a:lnTo>
                <a:lnTo>
                  <a:pt x="746" y="457"/>
                </a:lnTo>
                <a:lnTo>
                  <a:pt x="746" y="451"/>
                </a:lnTo>
                <a:lnTo>
                  <a:pt x="744" y="446"/>
                </a:lnTo>
                <a:lnTo>
                  <a:pt x="743" y="441"/>
                </a:lnTo>
                <a:lnTo>
                  <a:pt x="743" y="439"/>
                </a:lnTo>
                <a:lnTo>
                  <a:pt x="741" y="438"/>
                </a:lnTo>
                <a:lnTo>
                  <a:pt x="742" y="434"/>
                </a:lnTo>
                <a:lnTo>
                  <a:pt x="742" y="432"/>
                </a:lnTo>
                <a:lnTo>
                  <a:pt x="746" y="431"/>
                </a:lnTo>
                <a:lnTo>
                  <a:pt x="747" y="430"/>
                </a:lnTo>
                <a:lnTo>
                  <a:pt x="747" y="429"/>
                </a:lnTo>
                <a:lnTo>
                  <a:pt x="746" y="426"/>
                </a:lnTo>
                <a:lnTo>
                  <a:pt x="743" y="414"/>
                </a:lnTo>
                <a:lnTo>
                  <a:pt x="740" y="401"/>
                </a:lnTo>
                <a:lnTo>
                  <a:pt x="738" y="393"/>
                </a:lnTo>
                <a:lnTo>
                  <a:pt x="736" y="384"/>
                </a:lnTo>
                <a:lnTo>
                  <a:pt x="734" y="374"/>
                </a:lnTo>
                <a:lnTo>
                  <a:pt x="731" y="367"/>
                </a:lnTo>
                <a:lnTo>
                  <a:pt x="729" y="363"/>
                </a:lnTo>
                <a:lnTo>
                  <a:pt x="729" y="359"/>
                </a:lnTo>
                <a:lnTo>
                  <a:pt x="733" y="348"/>
                </a:lnTo>
                <a:lnTo>
                  <a:pt x="736" y="335"/>
                </a:lnTo>
                <a:lnTo>
                  <a:pt x="739" y="324"/>
                </a:lnTo>
                <a:lnTo>
                  <a:pt x="741" y="313"/>
                </a:lnTo>
                <a:lnTo>
                  <a:pt x="742" y="303"/>
                </a:lnTo>
                <a:lnTo>
                  <a:pt x="743" y="291"/>
                </a:lnTo>
                <a:lnTo>
                  <a:pt x="743" y="278"/>
                </a:lnTo>
                <a:lnTo>
                  <a:pt x="742" y="264"/>
                </a:lnTo>
                <a:lnTo>
                  <a:pt x="741" y="251"/>
                </a:lnTo>
                <a:lnTo>
                  <a:pt x="739" y="239"/>
                </a:lnTo>
                <a:lnTo>
                  <a:pt x="736" y="226"/>
                </a:lnTo>
                <a:lnTo>
                  <a:pt x="733" y="213"/>
                </a:lnTo>
                <a:lnTo>
                  <a:pt x="728" y="200"/>
                </a:lnTo>
                <a:lnTo>
                  <a:pt x="723" y="187"/>
                </a:lnTo>
                <a:lnTo>
                  <a:pt x="721" y="183"/>
                </a:lnTo>
                <a:lnTo>
                  <a:pt x="721" y="178"/>
                </a:lnTo>
                <a:lnTo>
                  <a:pt x="721" y="173"/>
                </a:lnTo>
                <a:lnTo>
                  <a:pt x="721" y="168"/>
                </a:lnTo>
                <a:lnTo>
                  <a:pt x="723" y="159"/>
                </a:lnTo>
                <a:lnTo>
                  <a:pt x="724" y="150"/>
                </a:lnTo>
                <a:lnTo>
                  <a:pt x="725" y="142"/>
                </a:lnTo>
                <a:lnTo>
                  <a:pt x="724" y="134"/>
                </a:lnTo>
                <a:lnTo>
                  <a:pt x="724" y="129"/>
                </a:lnTo>
                <a:lnTo>
                  <a:pt x="722" y="126"/>
                </a:lnTo>
                <a:lnTo>
                  <a:pt x="721" y="122"/>
                </a:lnTo>
                <a:lnTo>
                  <a:pt x="719" y="120"/>
                </a:lnTo>
                <a:lnTo>
                  <a:pt x="719" y="119"/>
                </a:lnTo>
                <a:lnTo>
                  <a:pt x="719" y="118"/>
                </a:lnTo>
                <a:lnTo>
                  <a:pt x="719" y="117"/>
                </a:lnTo>
                <a:lnTo>
                  <a:pt x="718" y="115"/>
                </a:lnTo>
                <a:lnTo>
                  <a:pt x="717" y="114"/>
                </a:lnTo>
                <a:lnTo>
                  <a:pt x="716" y="114"/>
                </a:lnTo>
                <a:lnTo>
                  <a:pt x="712" y="108"/>
                </a:lnTo>
                <a:lnTo>
                  <a:pt x="709" y="102"/>
                </a:lnTo>
                <a:lnTo>
                  <a:pt x="707" y="95"/>
                </a:lnTo>
                <a:lnTo>
                  <a:pt x="705" y="89"/>
                </a:lnTo>
                <a:lnTo>
                  <a:pt x="704" y="81"/>
                </a:lnTo>
                <a:lnTo>
                  <a:pt x="700" y="76"/>
                </a:lnTo>
                <a:lnTo>
                  <a:pt x="695" y="69"/>
                </a:lnTo>
                <a:lnTo>
                  <a:pt x="691" y="64"/>
                </a:lnTo>
                <a:lnTo>
                  <a:pt x="690" y="63"/>
                </a:lnTo>
                <a:lnTo>
                  <a:pt x="690" y="62"/>
                </a:lnTo>
                <a:lnTo>
                  <a:pt x="688" y="64"/>
                </a:lnTo>
                <a:lnTo>
                  <a:pt x="686" y="64"/>
                </a:lnTo>
                <a:lnTo>
                  <a:pt x="685" y="64"/>
                </a:lnTo>
                <a:lnTo>
                  <a:pt x="682" y="64"/>
                </a:lnTo>
                <a:lnTo>
                  <a:pt x="679" y="62"/>
                </a:lnTo>
                <a:lnTo>
                  <a:pt x="676" y="61"/>
                </a:lnTo>
                <a:lnTo>
                  <a:pt x="672" y="60"/>
                </a:lnTo>
                <a:lnTo>
                  <a:pt x="668" y="59"/>
                </a:lnTo>
                <a:lnTo>
                  <a:pt x="660" y="54"/>
                </a:lnTo>
                <a:lnTo>
                  <a:pt x="652" y="50"/>
                </a:lnTo>
                <a:lnTo>
                  <a:pt x="650" y="51"/>
                </a:lnTo>
                <a:lnTo>
                  <a:pt x="647" y="51"/>
                </a:lnTo>
                <a:lnTo>
                  <a:pt x="650" y="51"/>
                </a:lnTo>
                <a:lnTo>
                  <a:pt x="652" y="50"/>
                </a:lnTo>
                <a:lnTo>
                  <a:pt x="646" y="46"/>
                </a:lnTo>
                <a:lnTo>
                  <a:pt x="640" y="41"/>
                </a:lnTo>
                <a:lnTo>
                  <a:pt x="635" y="36"/>
                </a:lnTo>
                <a:lnTo>
                  <a:pt x="631" y="33"/>
                </a:lnTo>
                <a:lnTo>
                  <a:pt x="626" y="31"/>
                </a:lnTo>
                <a:lnTo>
                  <a:pt x="619" y="30"/>
                </a:lnTo>
                <a:lnTo>
                  <a:pt x="612" y="29"/>
                </a:lnTo>
                <a:lnTo>
                  <a:pt x="603" y="28"/>
                </a:lnTo>
                <a:lnTo>
                  <a:pt x="600" y="28"/>
                </a:lnTo>
                <a:lnTo>
                  <a:pt x="596" y="27"/>
                </a:lnTo>
                <a:lnTo>
                  <a:pt x="592" y="25"/>
                </a:lnTo>
                <a:lnTo>
                  <a:pt x="588" y="22"/>
                </a:lnTo>
                <a:lnTo>
                  <a:pt x="586" y="19"/>
                </a:lnTo>
                <a:lnTo>
                  <a:pt x="584" y="18"/>
                </a:lnTo>
                <a:lnTo>
                  <a:pt x="581" y="17"/>
                </a:lnTo>
                <a:lnTo>
                  <a:pt x="579" y="17"/>
                </a:lnTo>
                <a:lnTo>
                  <a:pt x="573" y="16"/>
                </a:lnTo>
                <a:lnTo>
                  <a:pt x="567" y="16"/>
                </a:lnTo>
                <a:lnTo>
                  <a:pt x="566" y="16"/>
                </a:lnTo>
                <a:lnTo>
                  <a:pt x="565" y="17"/>
                </a:lnTo>
                <a:lnTo>
                  <a:pt x="555" y="17"/>
                </a:lnTo>
                <a:lnTo>
                  <a:pt x="544" y="17"/>
                </a:lnTo>
                <a:lnTo>
                  <a:pt x="544" y="18"/>
                </a:lnTo>
                <a:lnTo>
                  <a:pt x="544" y="18"/>
                </a:lnTo>
                <a:lnTo>
                  <a:pt x="544" y="18"/>
                </a:lnTo>
                <a:lnTo>
                  <a:pt x="544" y="17"/>
                </a:lnTo>
                <a:lnTo>
                  <a:pt x="543" y="17"/>
                </a:lnTo>
                <a:lnTo>
                  <a:pt x="542" y="17"/>
                </a:lnTo>
                <a:lnTo>
                  <a:pt x="535" y="17"/>
                </a:lnTo>
                <a:lnTo>
                  <a:pt x="528" y="17"/>
                </a:lnTo>
                <a:lnTo>
                  <a:pt x="525" y="16"/>
                </a:lnTo>
                <a:lnTo>
                  <a:pt x="522" y="15"/>
                </a:lnTo>
                <a:lnTo>
                  <a:pt x="519" y="16"/>
                </a:lnTo>
                <a:lnTo>
                  <a:pt x="515" y="17"/>
                </a:lnTo>
                <a:lnTo>
                  <a:pt x="511" y="17"/>
                </a:lnTo>
                <a:lnTo>
                  <a:pt x="507" y="17"/>
                </a:lnTo>
                <a:lnTo>
                  <a:pt x="507" y="19"/>
                </a:lnTo>
                <a:lnTo>
                  <a:pt x="506" y="20"/>
                </a:lnTo>
                <a:lnTo>
                  <a:pt x="507" y="19"/>
                </a:lnTo>
                <a:lnTo>
                  <a:pt x="507" y="17"/>
                </a:lnTo>
                <a:lnTo>
                  <a:pt x="505" y="16"/>
                </a:lnTo>
                <a:lnTo>
                  <a:pt x="504" y="15"/>
                </a:lnTo>
                <a:lnTo>
                  <a:pt x="501" y="16"/>
                </a:lnTo>
                <a:lnTo>
                  <a:pt x="499" y="17"/>
                </a:lnTo>
                <a:lnTo>
                  <a:pt x="495" y="17"/>
                </a:lnTo>
                <a:lnTo>
                  <a:pt x="491" y="16"/>
                </a:lnTo>
                <a:lnTo>
                  <a:pt x="484" y="13"/>
                </a:lnTo>
                <a:lnTo>
                  <a:pt x="478" y="11"/>
                </a:lnTo>
                <a:lnTo>
                  <a:pt x="470" y="10"/>
                </a:lnTo>
                <a:lnTo>
                  <a:pt x="463" y="12"/>
                </a:lnTo>
                <a:lnTo>
                  <a:pt x="460" y="12"/>
                </a:lnTo>
                <a:lnTo>
                  <a:pt x="458" y="11"/>
                </a:lnTo>
                <a:lnTo>
                  <a:pt x="452" y="7"/>
                </a:lnTo>
                <a:lnTo>
                  <a:pt x="447" y="5"/>
                </a:lnTo>
                <a:lnTo>
                  <a:pt x="446" y="5"/>
                </a:lnTo>
                <a:lnTo>
                  <a:pt x="445" y="5"/>
                </a:lnTo>
                <a:lnTo>
                  <a:pt x="444" y="6"/>
                </a:lnTo>
                <a:lnTo>
                  <a:pt x="444" y="8"/>
                </a:lnTo>
                <a:lnTo>
                  <a:pt x="444" y="11"/>
                </a:lnTo>
                <a:lnTo>
                  <a:pt x="444" y="12"/>
                </a:lnTo>
                <a:lnTo>
                  <a:pt x="443" y="13"/>
                </a:lnTo>
                <a:lnTo>
                  <a:pt x="440" y="13"/>
                </a:lnTo>
                <a:lnTo>
                  <a:pt x="438" y="13"/>
                </a:lnTo>
                <a:lnTo>
                  <a:pt x="437" y="12"/>
                </a:lnTo>
                <a:lnTo>
                  <a:pt x="436" y="10"/>
                </a:lnTo>
                <a:lnTo>
                  <a:pt x="436" y="7"/>
                </a:lnTo>
                <a:lnTo>
                  <a:pt x="436" y="6"/>
                </a:lnTo>
                <a:lnTo>
                  <a:pt x="436" y="4"/>
                </a:lnTo>
                <a:lnTo>
                  <a:pt x="435" y="2"/>
                </a:lnTo>
                <a:lnTo>
                  <a:pt x="434" y="0"/>
                </a:lnTo>
                <a:lnTo>
                  <a:pt x="432" y="2"/>
                </a:lnTo>
                <a:lnTo>
                  <a:pt x="431" y="3"/>
                </a:lnTo>
                <a:lnTo>
                  <a:pt x="430" y="5"/>
                </a:lnTo>
                <a:lnTo>
                  <a:pt x="431" y="7"/>
                </a:lnTo>
                <a:lnTo>
                  <a:pt x="427" y="13"/>
                </a:lnTo>
                <a:lnTo>
                  <a:pt x="424" y="18"/>
                </a:lnTo>
                <a:lnTo>
                  <a:pt x="421" y="18"/>
                </a:lnTo>
                <a:lnTo>
                  <a:pt x="417" y="19"/>
                </a:lnTo>
                <a:lnTo>
                  <a:pt x="419" y="16"/>
                </a:lnTo>
                <a:lnTo>
                  <a:pt x="419" y="14"/>
                </a:lnTo>
                <a:lnTo>
                  <a:pt x="416" y="14"/>
                </a:lnTo>
                <a:lnTo>
                  <a:pt x="412" y="14"/>
                </a:lnTo>
                <a:lnTo>
                  <a:pt x="416" y="14"/>
                </a:lnTo>
                <a:lnTo>
                  <a:pt x="419" y="14"/>
                </a:lnTo>
                <a:lnTo>
                  <a:pt x="420" y="11"/>
                </a:lnTo>
                <a:lnTo>
                  <a:pt x="420" y="10"/>
                </a:lnTo>
                <a:lnTo>
                  <a:pt x="418" y="8"/>
                </a:lnTo>
                <a:lnTo>
                  <a:pt x="413" y="8"/>
                </a:lnTo>
                <a:lnTo>
                  <a:pt x="409" y="7"/>
                </a:lnTo>
                <a:lnTo>
                  <a:pt x="406" y="8"/>
                </a:lnTo>
                <a:lnTo>
                  <a:pt x="404" y="10"/>
                </a:lnTo>
                <a:lnTo>
                  <a:pt x="401" y="11"/>
                </a:lnTo>
                <a:lnTo>
                  <a:pt x="398" y="16"/>
                </a:lnTo>
                <a:lnTo>
                  <a:pt x="393" y="20"/>
                </a:lnTo>
                <a:lnTo>
                  <a:pt x="391" y="20"/>
                </a:lnTo>
                <a:lnTo>
                  <a:pt x="388" y="20"/>
                </a:lnTo>
                <a:lnTo>
                  <a:pt x="386" y="22"/>
                </a:lnTo>
                <a:lnTo>
                  <a:pt x="385" y="26"/>
                </a:lnTo>
                <a:lnTo>
                  <a:pt x="384" y="29"/>
                </a:lnTo>
                <a:lnTo>
                  <a:pt x="382" y="32"/>
                </a:lnTo>
                <a:lnTo>
                  <a:pt x="374" y="46"/>
                </a:lnTo>
                <a:lnTo>
                  <a:pt x="368" y="61"/>
                </a:lnTo>
                <a:lnTo>
                  <a:pt x="364" y="76"/>
                </a:lnTo>
                <a:lnTo>
                  <a:pt x="361" y="91"/>
                </a:lnTo>
                <a:lnTo>
                  <a:pt x="359" y="95"/>
                </a:lnTo>
                <a:lnTo>
                  <a:pt x="359" y="99"/>
                </a:lnTo>
                <a:lnTo>
                  <a:pt x="359" y="104"/>
                </a:lnTo>
                <a:lnTo>
                  <a:pt x="360" y="108"/>
                </a:lnTo>
                <a:lnTo>
                  <a:pt x="362" y="117"/>
                </a:lnTo>
                <a:lnTo>
                  <a:pt x="364" y="125"/>
                </a:lnTo>
                <a:lnTo>
                  <a:pt x="367" y="128"/>
                </a:lnTo>
                <a:lnTo>
                  <a:pt x="370" y="132"/>
                </a:lnTo>
                <a:lnTo>
                  <a:pt x="373" y="133"/>
                </a:lnTo>
                <a:lnTo>
                  <a:pt x="375" y="135"/>
                </a:lnTo>
                <a:lnTo>
                  <a:pt x="376" y="137"/>
                </a:lnTo>
                <a:lnTo>
                  <a:pt x="376" y="139"/>
                </a:lnTo>
                <a:lnTo>
                  <a:pt x="375" y="143"/>
                </a:lnTo>
                <a:lnTo>
                  <a:pt x="373" y="148"/>
                </a:lnTo>
                <a:lnTo>
                  <a:pt x="369" y="156"/>
                </a:lnTo>
                <a:lnTo>
                  <a:pt x="365" y="164"/>
                </a:lnTo>
                <a:lnTo>
                  <a:pt x="363" y="172"/>
                </a:lnTo>
                <a:lnTo>
                  <a:pt x="361" y="181"/>
                </a:lnTo>
                <a:lnTo>
                  <a:pt x="358" y="197"/>
                </a:lnTo>
                <a:lnTo>
                  <a:pt x="357" y="214"/>
                </a:lnTo>
                <a:lnTo>
                  <a:pt x="357" y="230"/>
                </a:lnTo>
                <a:lnTo>
                  <a:pt x="357" y="246"/>
                </a:lnTo>
                <a:lnTo>
                  <a:pt x="357" y="252"/>
                </a:lnTo>
                <a:lnTo>
                  <a:pt x="359" y="257"/>
                </a:lnTo>
                <a:lnTo>
                  <a:pt x="363" y="258"/>
                </a:lnTo>
                <a:lnTo>
                  <a:pt x="369" y="257"/>
                </a:lnTo>
                <a:lnTo>
                  <a:pt x="371" y="256"/>
                </a:lnTo>
                <a:lnTo>
                  <a:pt x="373" y="256"/>
                </a:lnTo>
                <a:lnTo>
                  <a:pt x="375" y="257"/>
                </a:lnTo>
                <a:lnTo>
                  <a:pt x="376" y="258"/>
                </a:lnTo>
                <a:lnTo>
                  <a:pt x="378" y="260"/>
                </a:lnTo>
                <a:lnTo>
                  <a:pt x="377" y="261"/>
                </a:lnTo>
                <a:lnTo>
                  <a:pt x="376" y="262"/>
                </a:lnTo>
                <a:lnTo>
                  <a:pt x="375" y="264"/>
                </a:lnTo>
                <a:lnTo>
                  <a:pt x="375" y="266"/>
                </a:lnTo>
                <a:lnTo>
                  <a:pt x="376" y="267"/>
                </a:lnTo>
                <a:lnTo>
                  <a:pt x="377" y="267"/>
                </a:lnTo>
                <a:lnTo>
                  <a:pt x="379" y="267"/>
                </a:lnTo>
                <a:lnTo>
                  <a:pt x="378" y="271"/>
                </a:lnTo>
                <a:lnTo>
                  <a:pt x="377" y="275"/>
                </a:lnTo>
                <a:lnTo>
                  <a:pt x="382" y="283"/>
                </a:lnTo>
                <a:lnTo>
                  <a:pt x="384" y="293"/>
                </a:lnTo>
                <a:lnTo>
                  <a:pt x="386" y="303"/>
                </a:lnTo>
                <a:lnTo>
                  <a:pt x="390" y="311"/>
                </a:lnTo>
                <a:lnTo>
                  <a:pt x="392" y="314"/>
                </a:lnTo>
                <a:lnTo>
                  <a:pt x="394" y="319"/>
                </a:lnTo>
                <a:lnTo>
                  <a:pt x="394" y="323"/>
                </a:lnTo>
                <a:lnTo>
                  <a:pt x="394" y="327"/>
                </a:lnTo>
                <a:lnTo>
                  <a:pt x="393" y="329"/>
                </a:lnTo>
                <a:lnTo>
                  <a:pt x="393" y="332"/>
                </a:lnTo>
                <a:lnTo>
                  <a:pt x="394" y="333"/>
                </a:lnTo>
                <a:lnTo>
                  <a:pt x="395" y="334"/>
                </a:lnTo>
                <a:lnTo>
                  <a:pt x="399" y="334"/>
                </a:lnTo>
                <a:lnTo>
                  <a:pt x="402" y="335"/>
                </a:lnTo>
                <a:lnTo>
                  <a:pt x="403" y="336"/>
                </a:lnTo>
                <a:lnTo>
                  <a:pt x="405" y="337"/>
                </a:lnTo>
                <a:lnTo>
                  <a:pt x="406" y="341"/>
                </a:lnTo>
                <a:lnTo>
                  <a:pt x="407" y="346"/>
                </a:lnTo>
                <a:lnTo>
                  <a:pt x="410" y="358"/>
                </a:lnTo>
                <a:lnTo>
                  <a:pt x="414" y="371"/>
                </a:lnTo>
                <a:lnTo>
                  <a:pt x="415" y="378"/>
                </a:lnTo>
                <a:lnTo>
                  <a:pt x="415" y="384"/>
                </a:lnTo>
                <a:lnTo>
                  <a:pt x="415" y="385"/>
                </a:lnTo>
                <a:lnTo>
                  <a:pt x="415" y="386"/>
                </a:lnTo>
                <a:lnTo>
                  <a:pt x="414" y="387"/>
                </a:lnTo>
                <a:lnTo>
                  <a:pt x="412" y="387"/>
                </a:lnTo>
                <a:lnTo>
                  <a:pt x="406" y="387"/>
                </a:lnTo>
                <a:lnTo>
                  <a:pt x="403" y="388"/>
                </a:lnTo>
                <a:lnTo>
                  <a:pt x="402" y="392"/>
                </a:lnTo>
                <a:lnTo>
                  <a:pt x="402" y="397"/>
                </a:lnTo>
                <a:lnTo>
                  <a:pt x="391" y="393"/>
                </a:lnTo>
                <a:lnTo>
                  <a:pt x="387" y="389"/>
                </a:lnTo>
                <a:lnTo>
                  <a:pt x="388" y="381"/>
                </a:lnTo>
                <a:lnTo>
                  <a:pt x="387" y="372"/>
                </a:lnTo>
                <a:lnTo>
                  <a:pt x="386" y="363"/>
                </a:lnTo>
                <a:lnTo>
                  <a:pt x="385" y="354"/>
                </a:lnTo>
                <a:lnTo>
                  <a:pt x="385" y="352"/>
                </a:lnTo>
                <a:lnTo>
                  <a:pt x="384" y="349"/>
                </a:lnTo>
                <a:lnTo>
                  <a:pt x="383" y="347"/>
                </a:lnTo>
                <a:lnTo>
                  <a:pt x="380" y="344"/>
                </a:lnTo>
                <a:lnTo>
                  <a:pt x="378" y="337"/>
                </a:lnTo>
                <a:lnTo>
                  <a:pt x="376" y="329"/>
                </a:lnTo>
                <a:lnTo>
                  <a:pt x="373" y="322"/>
                </a:lnTo>
                <a:lnTo>
                  <a:pt x="370" y="314"/>
                </a:lnTo>
                <a:lnTo>
                  <a:pt x="370" y="313"/>
                </a:lnTo>
                <a:lnTo>
                  <a:pt x="369" y="312"/>
                </a:lnTo>
                <a:lnTo>
                  <a:pt x="369" y="311"/>
                </a:lnTo>
                <a:lnTo>
                  <a:pt x="367" y="311"/>
                </a:lnTo>
                <a:lnTo>
                  <a:pt x="364" y="312"/>
                </a:lnTo>
                <a:lnTo>
                  <a:pt x="363" y="313"/>
                </a:lnTo>
                <a:lnTo>
                  <a:pt x="361" y="313"/>
                </a:lnTo>
                <a:lnTo>
                  <a:pt x="359" y="312"/>
                </a:lnTo>
                <a:lnTo>
                  <a:pt x="356" y="310"/>
                </a:lnTo>
                <a:lnTo>
                  <a:pt x="354" y="308"/>
                </a:lnTo>
                <a:lnTo>
                  <a:pt x="350" y="303"/>
                </a:lnTo>
                <a:lnTo>
                  <a:pt x="346" y="297"/>
                </a:lnTo>
                <a:lnTo>
                  <a:pt x="343" y="295"/>
                </a:lnTo>
                <a:lnTo>
                  <a:pt x="340" y="294"/>
                </a:lnTo>
                <a:lnTo>
                  <a:pt x="337" y="294"/>
                </a:lnTo>
                <a:lnTo>
                  <a:pt x="334" y="296"/>
                </a:lnTo>
                <a:lnTo>
                  <a:pt x="330" y="304"/>
                </a:lnTo>
                <a:lnTo>
                  <a:pt x="328" y="311"/>
                </a:lnTo>
                <a:lnTo>
                  <a:pt x="326" y="319"/>
                </a:lnTo>
                <a:lnTo>
                  <a:pt x="325" y="326"/>
                </a:lnTo>
                <a:lnTo>
                  <a:pt x="326" y="335"/>
                </a:lnTo>
                <a:lnTo>
                  <a:pt x="329" y="342"/>
                </a:lnTo>
                <a:lnTo>
                  <a:pt x="333" y="353"/>
                </a:lnTo>
                <a:lnTo>
                  <a:pt x="337" y="363"/>
                </a:lnTo>
                <a:lnTo>
                  <a:pt x="339" y="374"/>
                </a:lnTo>
                <a:lnTo>
                  <a:pt x="342" y="385"/>
                </a:lnTo>
                <a:lnTo>
                  <a:pt x="347" y="393"/>
                </a:lnTo>
                <a:lnTo>
                  <a:pt x="353" y="399"/>
                </a:lnTo>
                <a:lnTo>
                  <a:pt x="355" y="407"/>
                </a:lnTo>
                <a:lnTo>
                  <a:pt x="360" y="412"/>
                </a:lnTo>
                <a:lnTo>
                  <a:pt x="365" y="416"/>
                </a:lnTo>
                <a:lnTo>
                  <a:pt x="371" y="421"/>
                </a:lnTo>
                <a:lnTo>
                  <a:pt x="373" y="421"/>
                </a:lnTo>
                <a:lnTo>
                  <a:pt x="374" y="421"/>
                </a:lnTo>
                <a:lnTo>
                  <a:pt x="374" y="421"/>
                </a:lnTo>
                <a:lnTo>
                  <a:pt x="375" y="420"/>
                </a:lnTo>
                <a:lnTo>
                  <a:pt x="374" y="419"/>
                </a:lnTo>
                <a:lnTo>
                  <a:pt x="373" y="418"/>
                </a:lnTo>
                <a:lnTo>
                  <a:pt x="367" y="413"/>
                </a:lnTo>
                <a:lnTo>
                  <a:pt x="363" y="408"/>
                </a:lnTo>
                <a:lnTo>
                  <a:pt x="362" y="405"/>
                </a:lnTo>
                <a:lnTo>
                  <a:pt x="362" y="402"/>
                </a:lnTo>
                <a:lnTo>
                  <a:pt x="363" y="398"/>
                </a:lnTo>
                <a:lnTo>
                  <a:pt x="364" y="395"/>
                </a:lnTo>
                <a:lnTo>
                  <a:pt x="365" y="392"/>
                </a:lnTo>
                <a:lnTo>
                  <a:pt x="363" y="389"/>
                </a:lnTo>
                <a:lnTo>
                  <a:pt x="361" y="389"/>
                </a:lnTo>
                <a:lnTo>
                  <a:pt x="360" y="392"/>
                </a:lnTo>
                <a:lnTo>
                  <a:pt x="358" y="393"/>
                </a:lnTo>
                <a:lnTo>
                  <a:pt x="357" y="393"/>
                </a:lnTo>
                <a:lnTo>
                  <a:pt x="356" y="392"/>
                </a:lnTo>
                <a:lnTo>
                  <a:pt x="355" y="390"/>
                </a:lnTo>
                <a:lnTo>
                  <a:pt x="347" y="378"/>
                </a:lnTo>
                <a:lnTo>
                  <a:pt x="341" y="365"/>
                </a:lnTo>
                <a:lnTo>
                  <a:pt x="339" y="362"/>
                </a:lnTo>
                <a:lnTo>
                  <a:pt x="338" y="358"/>
                </a:lnTo>
                <a:lnTo>
                  <a:pt x="339" y="362"/>
                </a:lnTo>
                <a:lnTo>
                  <a:pt x="341" y="365"/>
                </a:lnTo>
                <a:lnTo>
                  <a:pt x="341" y="355"/>
                </a:lnTo>
                <a:lnTo>
                  <a:pt x="343" y="350"/>
                </a:lnTo>
                <a:lnTo>
                  <a:pt x="348" y="347"/>
                </a:lnTo>
                <a:lnTo>
                  <a:pt x="358" y="344"/>
                </a:lnTo>
                <a:lnTo>
                  <a:pt x="359" y="344"/>
                </a:lnTo>
                <a:lnTo>
                  <a:pt x="360" y="344"/>
                </a:lnTo>
                <a:lnTo>
                  <a:pt x="360" y="344"/>
                </a:lnTo>
                <a:lnTo>
                  <a:pt x="360" y="346"/>
                </a:lnTo>
                <a:lnTo>
                  <a:pt x="358" y="348"/>
                </a:lnTo>
                <a:lnTo>
                  <a:pt x="356" y="350"/>
                </a:lnTo>
                <a:lnTo>
                  <a:pt x="354" y="352"/>
                </a:lnTo>
                <a:lnTo>
                  <a:pt x="353" y="355"/>
                </a:lnTo>
                <a:lnTo>
                  <a:pt x="353" y="357"/>
                </a:lnTo>
                <a:lnTo>
                  <a:pt x="353" y="361"/>
                </a:lnTo>
                <a:lnTo>
                  <a:pt x="354" y="363"/>
                </a:lnTo>
                <a:lnTo>
                  <a:pt x="356" y="366"/>
                </a:lnTo>
                <a:lnTo>
                  <a:pt x="359" y="371"/>
                </a:lnTo>
                <a:lnTo>
                  <a:pt x="362" y="375"/>
                </a:lnTo>
                <a:lnTo>
                  <a:pt x="367" y="380"/>
                </a:lnTo>
                <a:lnTo>
                  <a:pt x="373" y="383"/>
                </a:lnTo>
                <a:lnTo>
                  <a:pt x="374" y="385"/>
                </a:lnTo>
                <a:lnTo>
                  <a:pt x="375" y="388"/>
                </a:lnTo>
                <a:lnTo>
                  <a:pt x="375" y="390"/>
                </a:lnTo>
                <a:lnTo>
                  <a:pt x="376" y="392"/>
                </a:lnTo>
                <a:lnTo>
                  <a:pt x="377" y="393"/>
                </a:lnTo>
                <a:lnTo>
                  <a:pt x="379" y="393"/>
                </a:lnTo>
                <a:lnTo>
                  <a:pt x="379" y="400"/>
                </a:lnTo>
                <a:lnTo>
                  <a:pt x="382" y="408"/>
                </a:lnTo>
                <a:lnTo>
                  <a:pt x="382" y="409"/>
                </a:lnTo>
                <a:lnTo>
                  <a:pt x="382" y="410"/>
                </a:lnTo>
                <a:lnTo>
                  <a:pt x="384" y="410"/>
                </a:lnTo>
                <a:lnTo>
                  <a:pt x="385" y="409"/>
                </a:lnTo>
                <a:lnTo>
                  <a:pt x="384" y="410"/>
                </a:lnTo>
                <a:lnTo>
                  <a:pt x="382" y="410"/>
                </a:lnTo>
                <a:lnTo>
                  <a:pt x="380" y="413"/>
                </a:lnTo>
                <a:lnTo>
                  <a:pt x="379" y="415"/>
                </a:lnTo>
                <a:lnTo>
                  <a:pt x="379" y="418"/>
                </a:lnTo>
                <a:lnTo>
                  <a:pt x="379" y="421"/>
                </a:lnTo>
                <a:lnTo>
                  <a:pt x="379" y="421"/>
                </a:lnTo>
                <a:lnTo>
                  <a:pt x="377" y="421"/>
                </a:lnTo>
                <a:lnTo>
                  <a:pt x="375" y="420"/>
                </a:lnTo>
                <a:lnTo>
                  <a:pt x="374" y="421"/>
                </a:lnTo>
                <a:lnTo>
                  <a:pt x="374" y="421"/>
                </a:lnTo>
                <a:lnTo>
                  <a:pt x="373" y="421"/>
                </a:lnTo>
                <a:lnTo>
                  <a:pt x="371" y="421"/>
                </a:lnTo>
                <a:lnTo>
                  <a:pt x="372" y="423"/>
                </a:lnTo>
                <a:lnTo>
                  <a:pt x="374" y="423"/>
                </a:lnTo>
                <a:lnTo>
                  <a:pt x="374" y="423"/>
                </a:lnTo>
                <a:lnTo>
                  <a:pt x="374" y="423"/>
                </a:lnTo>
                <a:lnTo>
                  <a:pt x="375" y="424"/>
                </a:lnTo>
                <a:lnTo>
                  <a:pt x="376" y="425"/>
                </a:lnTo>
                <a:lnTo>
                  <a:pt x="378" y="425"/>
                </a:lnTo>
                <a:lnTo>
                  <a:pt x="379" y="425"/>
                </a:lnTo>
                <a:lnTo>
                  <a:pt x="383" y="426"/>
                </a:lnTo>
                <a:lnTo>
                  <a:pt x="387" y="428"/>
                </a:lnTo>
                <a:lnTo>
                  <a:pt x="383" y="432"/>
                </a:lnTo>
                <a:lnTo>
                  <a:pt x="380" y="436"/>
                </a:lnTo>
                <a:lnTo>
                  <a:pt x="380" y="442"/>
                </a:lnTo>
                <a:lnTo>
                  <a:pt x="380" y="448"/>
                </a:lnTo>
                <a:lnTo>
                  <a:pt x="382" y="451"/>
                </a:lnTo>
                <a:lnTo>
                  <a:pt x="379" y="455"/>
                </a:lnTo>
                <a:lnTo>
                  <a:pt x="376" y="457"/>
                </a:lnTo>
                <a:lnTo>
                  <a:pt x="372" y="457"/>
                </a:lnTo>
                <a:lnTo>
                  <a:pt x="363" y="457"/>
                </a:lnTo>
                <a:lnTo>
                  <a:pt x="355" y="458"/>
                </a:lnTo>
                <a:lnTo>
                  <a:pt x="346" y="458"/>
                </a:lnTo>
                <a:lnTo>
                  <a:pt x="338" y="458"/>
                </a:lnTo>
                <a:lnTo>
                  <a:pt x="336" y="459"/>
                </a:lnTo>
                <a:lnTo>
                  <a:pt x="333" y="459"/>
                </a:lnTo>
                <a:lnTo>
                  <a:pt x="332" y="460"/>
                </a:lnTo>
                <a:lnTo>
                  <a:pt x="332" y="462"/>
                </a:lnTo>
                <a:lnTo>
                  <a:pt x="325" y="462"/>
                </a:lnTo>
                <a:lnTo>
                  <a:pt x="318" y="464"/>
                </a:lnTo>
                <a:lnTo>
                  <a:pt x="313" y="465"/>
                </a:lnTo>
                <a:lnTo>
                  <a:pt x="308" y="468"/>
                </a:lnTo>
                <a:lnTo>
                  <a:pt x="303" y="471"/>
                </a:lnTo>
                <a:lnTo>
                  <a:pt x="299" y="474"/>
                </a:lnTo>
                <a:lnTo>
                  <a:pt x="292" y="480"/>
                </a:lnTo>
                <a:lnTo>
                  <a:pt x="285" y="490"/>
                </a:lnTo>
                <a:lnTo>
                  <a:pt x="286" y="490"/>
                </a:lnTo>
                <a:lnTo>
                  <a:pt x="286" y="490"/>
                </a:lnTo>
                <a:lnTo>
                  <a:pt x="286" y="493"/>
                </a:lnTo>
                <a:lnTo>
                  <a:pt x="286" y="495"/>
                </a:lnTo>
                <a:lnTo>
                  <a:pt x="281" y="501"/>
                </a:lnTo>
                <a:lnTo>
                  <a:pt x="274" y="506"/>
                </a:lnTo>
                <a:lnTo>
                  <a:pt x="281" y="501"/>
                </a:lnTo>
                <a:lnTo>
                  <a:pt x="286" y="495"/>
                </a:lnTo>
                <a:lnTo>
                  <a:pt x="286" y="493"/>
                </a:lnTo>
                <a:lnTo>
                  <a:pt x="286" y="490"/>
                </a:lnTo>
                <a:lnTo>
                  <a:pt x="286" y="490"/>
                </a:lnTo>
                <a:lnTo>
                  <a:pt x="285" y="490"/>
                </a:lnTo>
                <a:lnTo>
                  <a:pt x="282" y="491"/>
                </a:lnTo>
                <a:lnTo>
                  <a:pt x="280" y="493"/>
                </a:lnTo>
                <a:lnTo>
                  <a:pt x="278" y="495"/>
                </a:lnTo>
                <a:lnTo>
                  <a:pt x="276" y="499"/>
                </a:lnTo>
                <a:lnTo>
                  <a:pt x="270" y="505"/>
                </a:lnTo>
                <a:lnTo>
                  <a:pt x="265" y="510"/>
                </a:lnTo>
                <a:lnTo>
                  <a:pt x="261" y="518"/>
                </a:lnTo>
                <a:lnTo>
                  <a:pt x="257" y="525"/>
                </a:lnTo>
                <a:lnTo>
                  <a:pt x="257" y="525"/>
                </a:lnTo>
                <a:lnTo>
                  <a:pt x="257" y="525"/>
                </a:lnTo>
                <a:lnTo>
                  <a:pt x="255" y="526"/>
                </a:lnTo>
                <a:lnTo>
                  <a:pt x="254" y="527"/>
                </a:lnTo>
                <a:lnTo>
                  <a:pt x="253" y="528"/>
                </a:lnTo>
                <a:lnTo>
                  <a:pt x="252" y="531"/>
                </a:lnTo>
                <a:lnTo>
                  <a:pt x="251" y="534"/>
                </a:lnTo>
                <a:lnTo>
                  <a:pt x="250" y="537"/>
                </a:lnTo>
                <a:lnTo>
                  <a:pt x="250" y="537"/>
                </a:lnTo>
                <a:lnTo>
                  <a:pt x="250" y="537"/>
                </a:lnTo>
                <a:lnTo>
                  <a:pt x="249" y="538"/>
                </a:lnTo>
                <a:lnTo>
                  <a:pt x="248" y="539"/>
                </a:lnTo>
                <a:lnTo>
                  <a:pt x="247" y="541"/>
                </a:lnTo>
                <a:lnTo>
                  <a:pt x="247" y="542"/>
                </a:lnTo>
                <a:lnTo>
                  <a:pt x="245" y="549"/>
                </a:lnTo>
                <a:lnTo>
                  <a:pt x="241" y="553"/>
                </a:lnTo>
                <a:lnTo>
                  <a:pt x="241" y="553"/>
                </a:lnTo>
                <a:lnTo>
                  <a:pt x="239" y="555"/>
                </a:lnTo>
                <a:lnTo>
                  <a:pt x="237" y="558"/>
                </a:lnTo>
                <a:lnTo>
                  <a:pt x="237" y="562"/>
                </a:lnTo>
                <a:lnTo>
                  <a:pt x="237" y="565"/>
                </a:lnTo>
                <a:lnTo>
                  <a:pt x="237" y="567"/>
                </a:lnTo>
                <a:lnTo>
                  <a:pt x="236" y="569"/>
                </a:lnTo>
                <a:lnTo>
                  <a:pt x="233" y="572"/>
                </a:lnTo>
                <a:lnTo>
                  <a:pt x="231" y="576"/>
                </a:lnTo>
                <a:lnTo>
                  <a:pt x="230" y="580"/>
                </a:lnTo>
                <a:lnTo>
                  <a:pt x="227" y="584"/>
                </a:lnTo>
                <a:lnTo>
                  <a:pt x="224" y="593"/>
                </a:lnTo>
                <a:lnTo>
                  <a:pt x="222" y="601"/>
                </a:lnTo>
                <a:lnTo>
                  <a:pt x="220" y="610"/>
                </a:lnTo>
                <a:lnTo>
                  <a:pt x="218" y="619"/>
                </a:lnTo>
                <a:lnTo>
                  <a:pt x="216" y="629"/>
                </a:lnTo>
                <a:lnTo>
                  <a:pt x="213" y="639"/>
                </a:lnTo>
                <a:lnTo>
                  <a:pt x="211" y="649"/>
                </a:lnTo>
                <a:lnTo>
                  <a:pt x="210" y="659"/>
                </a:lnTo>
                <a:lnTo>
                  <a:pt x="210" y="669"/>
                </a:lnTo>
                <a:lnTo>
                  <a:pt x="211" y="679"/>
                </a:lnTo>
                <a:lnTo>
                  <a:pt x="212" y="689"/>
                </a:lnTo>
                <a:lnTo>
                  <a:pt x="215" y="699"/>
                </a:lnTo>
                <a:lnTo>
                  <a:pt x="216" y="704"/>
                </a:lnTo>
                <a:lnTo>
                  <a:pt x="216" y="709"/>
                </a:lnTo>
                <a:lnTo>
                  <a:pt x="213" y="715"/>
                </a:lnTo>
                <a:lnTo>
                  <a:pt x="210" y="719"/>
                </a:lnTo>
                <a:lnTo>
                  <a:pt x="203" y="728"/>
                </a:lnTo>
                <a:lnTo>
                  <a:pt x="195" y="735"/>
                </a:lnTo>
                <a:lnTo>
                  <a:pt x="187" y="741"/>
                </a:lnTo>
                <a:lnTo>
                  <a:pt x="178" y="749"/>
                </a:lnTo>
                <a:lnTo>
                  <a:pt x="175" y="751"/>
                </a:lnTo>
                <a:lnTo>
                  <a:pt x="170" y="753"/>
                </a:lnTo>
                <a:lnTo>
                  <a:pt x="162" y="756"/>
                </a:lnTo>
                <a:lnTo>
                  <a:pt x="156" y="760"/>
                </a:lnTo>
                <a:lnTo>
                  <a:pt x="149" y="763"/>
                </a:lnTo>
                <a:lnTo>
                  <a:pt x="144" y="768"/>
                </a:lnTo>
                <a:lnTo>
                  <a:pt x="135" y="778"/>
                </a:lnTo>
                <a:lnTo>
                  <a:pt x="129" y="788"/>
                </a:lnTo>
                <a:lnTo>
                  <a:pt x="122" y="799"/>
                </a:lnTo>
                <a:lnTo>
                  <a:pt x="115" y="810"/>
                </a:lnTo>
                <a:lnTo>
                  <a:pt x="115" y="812"/>
                </a:lnTo>
                <a:lnTo>
                  <a:pt x="115" y="813"/>
                </a:lnTo>
                <a:lnTo>
                  <a:pt x="112" y="815"/>
                </a:lnTo>
                <a:lnTo>
                  <a:pt x="110" y="817"/>
                </a:lnTo>
                <a:lnTo>
                  <a:pt x="106" y="817"/>
                </a:lnTo>
                <a:lnTo>
                  <a:pt x="103" y="817"/>
                </a:lnTo>
                <a:lnTo>
                  <a:pt x="100" y="818"/>
                </a:lnTo>
                <a:lnTo>
                  <a:pt x="98" y="821"/>
                </a:lnTo>
                <a:lnTo>
                  <a:pt x="92" y="823"/>
                </a:lnTo>
                <a:lnTo>
                  <a:pt x="86" y="825"/>
                </a:lnTo>
                <a:lnTo>
                  <a:pt x="83" y="826"/>
                </a:lnTo>
                <a:lnTo>
                  <a:pt x="81" y="828"/>
                </a:lnTo>
                <a:lnTo>
                  <a:pt x="77" y="830"/>
                </a:lnTo>
                <a:lnTo>
                  <a:pt x="75" y="835"/>
                </a:lnTo>
                <a:lnTo>
                  <a:pt x="73" y="835"/>
                </a:lnTo>
                <a:lnTo>
                  <a:pt x="72" y="837"/>
                </a:lnTo>
                <a:lnTo>
                  <a:pt x="67" y="841"/>
                </a:lnTo>
                <a:lnTo>
                  <a:pt x="61" y="845"/>
                </a:lnTo>
                <a:lnTo>
                  <a:pt x="58" y="845"/>
                </a:lnTo>
                <a:lnTo>
                  <a:pt x="56" y="847"/>
                </a:lnTo>
                <a:lnTo>
                  <a:pt x="48" y="858"/>
                </a:lnTo>
                <a:lnTo>
                  <a:pt x="40" y="869"/>
                </a:lnTo>
                <a:lnTo>
                  <a:pt x="33" y="879"/>
                </a:lnTo>
                <a:lnTo>
                  <a:pt x="25" y="891"/>
                </a:lnTo>
                <a:lnTo>
                  <a:pt x="21" y="899"/>
                </a:lnTo>
                <a:lnTo>
                  <a:pt x="18" y="906"/>
                </a:lnTo>
                <a:lnTo>
                  <a:pt x="14" y="914"/>
                </a:lnTo>
                <a:lnTo>
                  <a:pt x="12" y="922"/>
                </a:lnTo>
                <a:lnTo>
                  <a:pt x="9" y="939"/>
                </a:lnTo>
                <a:lnTo>
                  <a:pt x="6" y="955"/>
                </a:lnTo>
                <a:lnTo>
                  <a:pt x="6" y="960"/>
                </a:lnTo>
                <a:lnTo>
                  <a:pt x="5" y="963"/>
                </a:lnTo>
                <a:lnTo>
                  <a:pt x="6" y="967"/>
                </a:lnTo>
                <a:lnTo>
                  <a:pt x="9" y="970"/>
                </a:lnTo>
                <a:lnTo>
                  <a:pt x="9" y="976"/>
                </a:lnTo>
                <a:lnTo>
                  <a:pt x="10" y="981"/>
                </a:lnTo>
                <a:lnTo>
                  <a:pt x="11" y="986"/>
                </a:lnTo>
                <a:lnTo>
                  <a:pt x="14" y="992"/>
                </a:lnTo>
                <a:lnTo>
                  <a:pt x="14" y="1008"/>
                </a:lnTo>
                <a:lnTo>
                  <a:pt x="13" y="1023"/>
                </a:lnTo>
                <a:lnTo>
                  <a:pt x="10" y="1039"/>
                </a:lnTo>
                <a:lnTo>
                  <a:pt x="5" y="1055"/>
                </a:lnTo>
                <a:lnTo>
                  <a:pt x="3" y="1059"/>
                </a:lnTo>
                <a:lnTo>
                  <a:pt x="1" y="1066"/>
                </a:lnTo>
                <a:lnTo>
                  <a:pt x="0" y="1069"/>
                </a:lnTo>
                <a:lnTo>
                  <a:pt x="1" y="1072"/>
                </a:lnTo>
                <a:lnTo>
                  <a:pt x="1" y="1075"/>
                </a:lnTo>
                <a:lnTo>
                  <a:pt x="4" y="1078"/>
                </a:lnTo>
                <a:lnTo>
                  <a:pt x="4" y="1084"/>
                </a:lnTo>
                <a:lnTo>
                  <a:pt x="6" y="1089"/>
                </a:lnTo>
                <a:lnTo>
                  <a:pt x="9" y="1093"/>
                </a:lnTo>
                <a:lnTo>
                  <a:pt x="13" y="1098"/>
                </a:lnTo>
                <a:lnTo>
                  <a:pt x="15" y="1101"/>
                </a:lnTo>
                <a:lnTo>
                  <a:pt x="19" y="1105"/>
                </a:lnTo>
                <a:lnTo>
                  <a:pt x="21" y="1107"/>
                </a:lnTo>
                <a:lnTo>
                  <a:pt x="24" y="1111"/>
                </a:lnTo>
                <a:lnTo>
                  <a:pt x="29" y="1118"/>
                </a:lnTo>
                <a:lnTo>
                  <a:pt x="36" y="1124"/>
                </a:lnTo>
                <a:lnTo>
                  <a:pt x="42" y="1131"/>
                </a:lnTo>
                <a:lnTo>
                  <a:pt x="50" y="1136"/>
                </a:lnTo>
                <a:lnTo>
                  <a:pt x="52" y="1138"/>
                </a:lnTo>
                <a:lnTo>
                  <a:pt x="54" y="1139"/>
                </a:lnTo>
                <a:lnTo>
                  <a:pt x="56" y="1139"/>
                </a:lnTo>
                <a:lnTo>
                  <a:pt x="59" y="1139"/>
                </a:lnTo>
                <a:lnTo>
                  <a:pt x="59" y="1138"/>
                </a:lnTo>
                <a:lnTo>
                  <a:pt x="59" y="1136"/>
                </a:lnTo>
                <a:lnTo>
                  <a:pt x="57" y="1136"/>
                </a:lnTo>
                <a:lnTo>
                  <a:pt x="55" y="1136"/>
                </a:lnTo>
                <a:lnTo>
                  <a:pt x="55" y="1134"/>
                </a:lnTo>
                <a:lnTo>
                  <a:pt x="54" y="1133"/>
                </a:lnTo>
                <a:lnTo>
                  <a:pt x="55" y="1134"/>
                </a:lnTo>
                <a:lnTo>
                  <a:pt x="55" y="1136"/>
                </a:lnTo>
                <a:lnTo>
                  <a:pt x="57" y="1136"/>
                </a:lnTo>
                <a:lnTo>
                  <a:pt x="59" y="1136"/>
                </a:lnTo>
                <a:lnTo>
                  <a:pt x="59" y="1138"/>
                </a:lnTo>
                <a:lnTo>
                  <a:pt x="59" y="1139"/>
                </a:lnTo>
                <a:lnTo>
                  <a:pt x="66" y="1139"/>
                </a:lnTo>
                <a:lnTo>
                  <a:pt x="72" y="1139"/>
                </a:lnTo>
                <a:lnTo>
                  <a:pt x="76" y="1139"/>
                </a:lnTo>
                <a:lnTo>
                  <a:pt x="80" y="1141"/>
                </a:lnTo>
                <a:lnTo>
                  <a:pt x="82" y="1139"/>
                </a:lnTo>
                <a:lnTo>
                  <a:pt x="84" y="1139"/>
                </a:lnTo>
                <a:lnTo>
                  <a:pt x="85" y="1138"/>
                </a:lnTo>
                <a:lnTo>
                  <a:pt x="87" y="1136"/>
                </a:lnTo>
                <a:lnTo>
                  <a:pt x="86" y="1136"/>
                </a:lnTo>
                <a:lnTo>
                  <a:pt x="86" y="1136"/>
                </a:lnTo>
                <a:lnTo>
                  <a:pt x="86" y="1136"/>
                </a:lnTo>
                <a:lnTo>
                  <a:pt x="87" y="1136"/>
                </a:lnTo>
                <a:lnTo>
                  <a:pt x="89" y="1136"/>
                </a:lnTo>
                <a:lnTo>
                  <a:pt x="91" y="1136"/>
                </a:lnTo>
                <a:lnTo>
                  <a:pt x="91" y="1135"/>
                </a:lnTo>
                <a:lnTo>
                  <a:pt x="92" y="1135"/>
                </a:lnTo>
                <a:lnTo>
                  <a:pt x="91" y="1135"/>
                </a:lnTo>
                <a:lnTo>
                  <a:pt x="91" y="1136"/>
                </a:lnTo>
                <a:lnTo>
                  <a:pt x="105" y="1132"/>
                </a:lnTo>
                <a:lnTo>
                  <a:pt x="118" y="1128"/>
                </a:lnTo>
                <a:lnTo>
                  <a:pt x="131" y="1122"/>
                </a:lnTo>
                <a:lnTo>
                  <a:pt x="144" y="1117"/>
                </a:lnTo>
                <a:lnTo>
                  <a:pt x="148" y="1116"/>
                </a:lnTo>
                <a:lnTo>
                  <a:pt x="152" y="1115"/>
                </a:lnTo>
                <a:lnTo>
                  <a:pt x="156" y="1114"/>
                </a:lnTo>
                <a:lnTo>
                  <a:pt x="159" y="1111"/>
                </a:lnTo>
                <a:lnTo>
                  <a:pt x="174" y="1106"/>
                </a:lnTo>
                <a:lnTo>
                  <a:pt x="189" y="1100"/>
                </a:lnTo>
                <a:lnTo>
                  <a:pt x="195" y="1097"/>
                </a:lnTo>
                <a:lnTo>
                  <a:pt x="202" y="1092"/>
                </a:lnTo>
                <a:lnTo>
                  <a:pt x="208" y="1087"/>
                </a:lnTo>
                <a:lnTo>
                  <a:pt x="215" y="1082"/>
                </a:lnTo>
                <a:lnTo>
                  <a:pt x="227" y="1068"/>
                </a:lnTo>
                <a:lnTo>
                  <a:pt x="238" y="1054"/>
                </a:lnTo>
                <a:lnTo>
                  <a:pt x="242" y="1046"/>
                </a:lnTo>
                <a:lnTo>
                  <a:pt x="247" y="1038"/>
                </a:lnTo>
                <a:lnTo>
                  <a:pt x="250" y="1029"/>
                </a:lnTo>
                <a:lnTo>
                  <a:pt x="252" y="1020"/>
                </a:lnTo>
                <a:lnTo>
                  <a:pt x="255" y="1009"/>
                </a:lnTo>
                <a:lnTo>
                  <a:pt x="257" y="999"/>
                </a:lnTo>
                <a:lnTo>
                  <a:pt x="261" y="990"/>
                </a:lnTo>
                <a:lnTo>
                  <a:pt x="263" y="979"/>
                </a:lnTo>
                <a:lnTo>
                  <a:pt x="268" y="976"/>
                </a:lnTo>
                <a:lnTo>
                  <a:pt x="273" y="974"/>
                </a:lnTo>
                <a:lnTo>
                  <a:pt x="283" y="974"/>
                </a:lnTo>
                <a:lnTo>
                  <a:pt x="293" y="974"/>
                </a:lnTo>
                <a:lnTo>
                  <a:pt x="301" y="974"/>
                </a:lnTo>
                <a:lnTo>
                  <a:pt x="311" y="973"/>
                </a:lnTo>
                <a:lnTo>
                  <a:pt x="313" y="970"/>
                </a:lnTo>
                <a:lnTo>
                  <a:pt x="312" y="967"/>
                </a:lnTo>
                <a:lnTo>
                  <a:pt x="309" y="955"/>
                </a:lnTo>
                <a:lnTo>
                  <a:pt x="304" y="944"/>
                </a:lnTo>
                <a:lnTo>
                  <a:pt x="302" y="931"/>
                </a:lnTo>
                <a:lnTo>
                  <a:pt x="300" y="919"/>
                </a:lnTo>
                <a:lnTo>
                  <a:pt x="298" y="916"/>
                </a:lnTo>
                <a:lnTo>
                  <a:pt x="296" y="915"/>
                </a:lnTo>
                <a:lnTo>
                  <a:pt x="294" y="918"/>
                </a:lnTo>
                <a:lnTo>
                  <a:pt x="292" y="921"/>
                </a:lnTo>
                <a:lnTo>
                  <a:pt x="289" y="925"/>
                </a:lnTo>
                <a:lnTo>
                  <a:pt x="286" y="928"/>
                </a:lnTo>
                <a:lnTo>
                  <a:pt x="286" y="928"/>
                </a:lnTo>
                <a:lnTo>
                  <a:pt x="285" y="927"/>
                </a:lnTo>
                <a:lnTo>
                  <a:pt x="285" y="925"/>
                </a:lnTo>
                <a:lnTo>
                  <a:pt x="286" y="923"/>
                </a:lnTo>
                <a:lnTo>
                  <a:pt x="286" y="921"/>
                </a:lnTo>
                <a:lnTo>
                  <a:pt x="287" y="920"/>
                </a:lnTo>
                <a:lnTo>
                  <a:pt x="287" y="919"/>
                </a:lnTo>
                <a:lnTo>
                  <a:pt x="287" y="917"/>
                </a:lnTo>
                <a:lnTo>
                  <a:pt x="286" y="916"/>
                </a:lnTo>
                <a:lnTo>
                  <a:pt x="281" y="916"/>
                </a:lnTo>
                <a:lnTo>
                  <a:pt x="276" y="916"/>
                </a:lnTo>
                <a:lnTo>
                  <a:pt x="279" y="908"/>
                </a:lnTo>
                <a:lnTo>
                  <a:pt x="281" y="901"/>
                </a:lnTo>
                <a:lnTo>
                  <a:pt x="284" y="894"/>
                </a:lnTo>
                <a:lnTo>
                  <a:pt x="285" y="886"/>
                </a:lnTo>
                <a:lnTo>
                  <a:pt x="295" y="884"/>
                </a:lnTo>
                <a:lnTo>
                  <a:pt x="306" y="881"/>
                </a:lnTo>
                <a:lnTo>
                  <a:pt x="309" y="882"/>
                </a:lnTo>
                <a:lnTo>
                  <a:pt x="312" y="884"/>
                </a:lnTo>
                <a:lnTo>
                  <a:pt x="314" y="886"/>
                </a:lnTo>
                <a:lnTo>
                  <a:pt x="316" y="889"/>
                </a:lnTo>
                <a:lnTo>
                  <a:pt x="317" y="890"/>
                </a:lnTo>
                <a:lnTo>
                  <a:pt x="319" y="892"/>
                </a:lnTo>
                <a:lnTo>
                  <a:pt x="322" y="891"/>
                </a:lnTo>
                <a:lnTo>
                  <a:pt x="324" y="890"/>
                </a:lnTo>
                <a:lnTo>
                  <a:pt x="326" y="887"/>
                </a:lnTo>
                <a:lnTo>
                  <a:pt x="329" y="885"/>
                </a:lnTo>
                <a:lnTo>
                  <a:pt x="332" y="883"/>
                </a:lnTo>
                <a:lnTo>
                  <a:pt x="336" y="883"/>
                </a:lnTo>
                <a:lnTo>
                  <a:pt x="341" y="882"/>
                </a:lnTo>
                <a:lnTo>
                  <a:pt x="344" y="881"/>
                </a:lnTo>
                <a:lnTo>
                  <a:pt x="347" y="879"/>
                </a:lnTo>
                <a:lnTo>
                  <a:pt x="350" y="877"/>
                </a:lnTo>
                <a:lnTo>
                  <a:pt x="355" y="871"/>
                </a:lnTo>
                <a:lnTo>
                  <a:pt x="359" y="863"/>
                </a:lnTo>
                <a:lnTo>
                  <a:pt x="360" y="861"/>
                </a:lnTo>
                <a:lnTo>
                  <a:pt x="361" y="860"/>
                </a:lnTo>
                <a:lnTo>
                  <a:pt x="363" y="859"/>
                </a:lnTo>
                <a:lnTo>
                  <a:pt x="365" y="860"/>
                </a:lnTo>
                <a:lnTo>
                  <a:pt x="370" y="863"/>
                </a:lnTo>
                <a:lnTo>
                  <a:pt x="373" y="864"/>
                </a:lnTo>
                <a:lnTo>
                  <a:pt x="375" y="862"/>
                </a:lnTo>
                <a:lnTo>
                  <a:pt x="378" y="858"/>
                </a:lnTo>
                <a:lnTo>
                  <a:pt x="380" y="857"/>
                </a:lnTo>
                <a:lnTo>
                  <a:pt x="383" y="855"/>
                </a:lnTo>
                <a:lnTo>
                  <a:pt x="390" y="854"/>
                </a:lnTo>
                <a:lnTo>
                  <a:pt x="394" y="854"/>
                </a:lnTo>
                <a:lnTo>
                  <a:pt x="405" y="842"/>
                </a:lnTo>
                <a:lnTo>
                  <a:pt x="415" y="829"/>
                </a:lnTo>
                <a:lnTo>
                  <a:pt x="416" y="826"/>
                </a:lnTo>
                <a:lnTo>
                  <a:pt x="416" y="822"/>
                </a:lnTo>
                <a:lnTo>
                  <a:pt x="417" y="820"/>
                </a:lnTo>
                <a:lnTo>
                  <a:pt x="419" y="818"/>
                </a:lnTo>
                <a:lnTo>
                  <a:pt x="421" y="817"/>
                </a:lnTo>
                <a:lnTo>
                  <a:pt x="423" y="817"/>
                </a:lnTo>
                <a:lnTo>
                  <a:pt x="427" y="816"/>
                </a:lnTo>
                <a:lnTo>
                  <a:pt x="430" y="815"/>
                </a:lnTo>
                <a:lnTo>
                  <a:pt x="432" y="813"/>
                </a:lnTo>
                <a:lnTo>
                  <a:pt x="435" y="811"/>
                </a:lnTo>
                <a:lnTo>
                  <a:pt x="447" y="801"/>
                </a:lnTo>
                <a:lnTo>
                  <a:pt x="461" y="792"/>
                </a:lnTo>
                <a:lnTo>
                  <a:pt x="470" y="785"/>
                </a:lnTo>
                <a:lnTo>
                  <a:pt x="480" y="778"/>
                </a:lnTo>
                <a:lnTo>
                  <a:pt x="489" y="776"/>
                </a:lnTo>
                <a:lnTo>
                  <a:pt x="497" y="774"/>
                </a:lnTo>
                <a:lnTo>
                  <a:pt x="510" y="769"/>
                </a:lnTo>
                <a:lnTo>
                  <a:pt x="523" y="763"/>
                </a:lnTo>
                <a:lnTo>
                  <a:pt x="533" y="757"/>
                </a:lnTo>
                <a:lnTo>
                  <a:pt x="541" y="751"/>
                </a:lnTo>
                <a:lnTo>
                  <a:pt x="547" y="744"/>
                </a:lnTo>
                <a:lnTo>
                  <a:pt x="553" y="736"/>
                </a:lnTo>
                <a:lnTo>
                  <a:pt x="557" y="730"/>
                </a:lnTo>
                <a:lnTo>
                  <a:pt x="559" y="722"/>
                </a:lnTo>
                <a:lnTo>
                  <a:pt x="561" y="715"/>
                </a:lnTo>
                <a:lnTo>
                  <a:pt x="561" y="707"/>
                </a:lnTo>
                <a:lnTo>
                  <a:pt x="561" y="701"/>
                </a:lnTo>
                <a:lnTo>
                  <a:pt x="560" y="694"/>
                </a:lnTo>
                <a:lnTo>
                  <a:pt x="558" y="689"/>
                </a:lnTo>
                <a:lnTo>
                  <a:pt x="556" y="684"/>
                </a:lnTo>
                <a:lnTo>
                  <a:pt x="554" y="680"/>
                </a:lnTo>
                <a:lnTo>
                  <a:pt x="551" y="677"/>
                </a:lnTo>
                <a:lnTo>
                  <a:pt x="551" y="672"/>
                </a:lnTo>
                <a:lnTo>
                  <a:pt x="550" y="669"/>
                </a:lnTo>
                <a:lnTo>
                  <a:pt x="547" y="665"/>
                </a:lnTo>
                <a:lnTo>
                  <a:pt x="545" y="663"/>
                </a:lnTo>
                <a:lnTo>
                  <a:pt x="540" y="659"/>
                </a:lnTo>
                <a:lnTo>
                  <a:pt x="534" y="657"/>
                </a:lnTo>
                <a:lnTo>
                  <a:pt x="527" y="655"/>
                </a:lnTo>
                <a:lnTo>
                  <a:pt x="522" y="653"/>
                </a:lnTo>
                <a:lnTo>
                  <a:pt x="520" y="652"/>
                </a:lnTo>
                <a:lnTo>
                  <a:pt x="519" y="649"/>
                </a:lnTo>
                <a:lnTo>
                  <a:pt x="518" y="648"/>
                </a:lnTo>
                <a:lnTo>
                  <a:pt x="518" y="645"/>
                </a:lnTo>
                <a:lnTo>
                  <a:pt x="519" y="641"/>
                </a:lnTo>
                <a:lnTo>
                  <a:pt x="518" y="635"/>
                </a:lnTo>
                <a:lnTo>
                  <a:pt x="515" y="629"/>
                </a:lnTo>
                <a:lnTo>
                  <a:pt x="511" y="623"/>
                </a:lnTo>
                <a:lnTo>
                  <a:pt x="504" y="616"/>
                </a:lnTo>
                <a:lnTo>
                  <a:pt x="493" y="608"/>
                </a:lnTo>
                <a:lnTo>
                  <a:pt x="478" y="599"/>
                </a:lnTo>
                <a:lnTo>
                  <a:pt x="459" y="589"/>
                </a:lnTo>
                <a:lnTo>
                  <a:pt x="459" y="586"/>
                </a:lnTo>
                <a:lnTo>
                  <a:pt x="459" y="584"/>
                </a:lnTo>
                <a:lnTo>
                  <a:pt x="456" y="585"/>
                </a:lnTo>
                <a:lnTo>
                  <a:pt x="455" y="586"/>
                </a:lnTo>
                <a:lnTo>
                  <a:pt x="450" y="583"/>
                </a:lnTo>
                <a:lnTo>
                  <a:pt x="445" y="580"/>
                </a:lnTo>
                <a:lnTo>
                  <a:pt x="439" y="579"/>
                </a:lnTo>
                <a:lnTo>
                  <a:pt x="434" y="578"/>
                </a:lnTo>
                <a:lnTo>
                  <a:pt x="434" y="577"/>
                </a:lnTo>
                <a:lnTo>
                  <a:pt x="433" y="577"/>
                </a:lnTo>
                <a:lnTo>
                  <a:pt x="431" y="574"/>
                </a:lnTo>
                <a:lnTo>
                  <a:pt x="430" y="572"/>
                </a:lnTo>
                <a:lnTo>
                  <a:pt x="429" y="571"/>
                </a:lnTo>
                <a:lnTo>
                  <a:pt x="429" y="570"/>
                </a:lnTo>
                <a:lnTo>
                  <a:pt x="430" y="569"/>
                </a:lnTo>
                <a:lnTo>
                  <a:pt x="431" y="568"/>
                </a:lnTo>
                <a:lnTo>
                  <a:pt x="435" y="565"/>
                </a:lnTo>
                <a:lnTo>
                  <a:pt x="436" y="561"/>
                </a:lnTo>
                <a:lnTo>
                  <a:pt x="435" y="557"/>
                </a:lnTo>
                <a:lnTo>
                  <a:pt x="432" y="554"/>
                </a:lnTo>
                <a:lnTo>
                  <a:pt x="433" y="552"/>
                </a:lnTo>
                <a:lnTo>
                  <a:pt x="435" y="551"/>
                </a:lnTo>
                <a:lnTo>
                  <a:pt x="434" y="549"/>
                </a:lnTo>
                <a:lnTo>
                  <a:pt x="431" y="548"/>
                </a:lnTo>
                <a:lnTo>
                  <a:pt x="421" y="546"/>
                </a:lnTo>
                <a:lnTo>
                  <a:pt x="413" y="543"/>
                </a:lnTo>
                <a:lnTo>
                  <a:pt x="410" y="540"/>
                </a:lnTo>
                <a:lnTo>
                  <a:pt x="408" y="538"/>
                </a:lnTo>
                <a:lnTo>
                  <a:pt x="407" y="535"/>
                </a:lnTo>
                <a:lnTo>
                  <a:pt x="406" y="532"/>
                </a:lnTo>
                <a:lnTo>
                  <a:pt x="406" y="531"/>
                </a:lnTo>
                <a:lnTo>
                  <a:pt x="407" y="530"/>
                </a:lnTo>
                <a:lnTo>
                  <a:pt x="409" y="530"/>
                </a:lnTo>
                <a:lnTo>
                  <a:pt x="414" y="530"/>
                </a:lnTo>
                <a:lnTo>
                  <a:pt x="412" y="519"/>
                </a:lnTo>
                <a:lnTo>
                  <a:pt x="409" y="509"/>
                </a:lnTo>
                <a:lnTo>
                  <a:pt x="414" y="503"/>
                </a:lnTo>
                <a:lnTo>
                  <a:pt x="416" y="496"/>
                </a:lnTo>
                <a:lnTo>
                  <a:pt x="416" y="495"/>
                </a:lnTo>
                <a:lnTo>
                  <a:pt x="415" y="494"/>
                </a:lnTo>
                <a:lnTo>
                  <a:pt x="413" y="494"/>
                </a:lnTo>
                <a:lnTo>
                  <a:pt x="412" y="496"/>
                </a:lnTo>
                <a:lnTo>
                  <a:pt x="410" y="499"/>
                </a:lnTo>
                <a:lnTo>
                  <a:pt x="408" y="500"/>
                </a:lnTo>
                <a:lnTo>
                  <a:pt x="406" y="499"/>
                </a:lnTo>
                <a:lnTo>
                  <a:pt x="404" y="497"/>
                </a:lnTo>
                <a:lnTo>
                  <a:pt x="405" y="493"/>
                </a:lnTo>
                <a:lnTo>
                  <a:pt x="406" y="488"/>
                </a:lnTo>
                <a:lnTo>
                  <a:pt x="410" y="486"/>
                </a:lnTo>
                <a:lnTo>
                  <a:pt x="415" y="482"/>
                </a:lnTo>
                <a:lnTo>
                  <a:pt x="416" y="481"/>
                </a:lnTo>
                <a:lnTo>
                  <a:pt x="417" y="479"/>
                </a:lnTo>
                <a:lnTo>
                  <a:pt x="418" y="476"/>
                </a:lnTo>
                <a:lnTo>
                  <a:pt x="418" y="473"/>
                </a:lnTo>
                <a:lnTo>
                  <a:pt x="414" y="475"/>
                </a:lnTo>
                <a:lnTo>
                  <a:pt x="409" y="476"/>
                </a:lnTo>
                <a:lnTo>
                  <a:pt x="409" y="464"/>
                </a:lnTo>
                <a:lnTo>
                  <a:pt x="412" y="454"/>
                </a:lnTo>
                <a:lnTo>
                  <a:pt x="414" y="458"/>
                </a:lnTo>
                <a:lnTo>
                  <a:pt x="415" y="462"/>
                </a:lnTo>
                <a:lnTo>
                  <a:pt x="416" y="463"/>
                </a:lnTo>
                <a:lnTo>
                  <a:pt x="417" y="465"/>
                </a:lnTo>
                <a:lnTo>
                  <a:pt x="419" y="466"/>
                </a:lnTo>
                <a:lnTo>
                  <a:pt x="422" y="468"/>
                </a:lnTo>
                <a:lnTo>
                  <a:pt x="422" y="470"/>
                </a:lnTo>
                <a:lnTo>
                  <a:pt x="422" y="472"/>
                </a:lnTo>
                <a:lnTo>
                  <a:pt x="422" y="475"/>
                </a:lnTo>
                <a:lnTo>
                  <a:pt x="423" y="478"/>
                </a:lnTo>
                <a:lnTo>
                  <a:pt x="424" y="480"/>
                </a:lnTo>
                <a:lnTo>
                  <a:pt x="428" y="484"/>
                </a:lnTo>
                <a:lnTo>
                  <a:pt x="428" y="481"/>
                </a:lnTo>
                <a:lnTo>
                  <a:pt x="429" y="479"/>
                </a:lnTo>
                <a:lnTo>
                  <a:pt x="430" y="479"/>
                </a:lnTo>
                <a:lnTo>
                  <a:pt x="430" y="480"/>
                </a:lnTo>
                <a:lnTo>
                  <a:pt x="430" y="479"/>
                </a:lnTo>
                <a:lnTo>
                  <a:pt x="429" y="479"/>
                </a:lnTo>
                <a:lnTo>
                  <a:pt x="428" y="481"/>
                </a:lnTo>
                <a:lnTo>
                  <a:pt x="428" y="484"/>
                </a:lnTo>
                <a:lnTo>
                  <a:pt x="433" y="491"/>
                </a:lnTo>
                <a:lnTo>
                  <a:pt x="438" y="499"/>
                </a:lnTo>
                <a:lnTo>
                  <a:pt x="438" y="502"/>
                </a:lnTo>
                <a:lnTo>
                  <a:pt x="439" y="504"/>
                </a:lnTo>
                <a:lnTo>
                  <a:pt x="454" y="518"/>
                </a:lnTo>
                <a:lnTo>
                  <a:pt x="470" y="531"/>
                </a:lnTo>
                <a:lnTo>
                  <a:pt x="478" y="536"/>
                </a:lnTo>
                <a:lnTo>
                  <a:pt x="483" y="541"/>
                </a:lnTo>
                <a:lnTo>
                  <a:pt x="488" y="548"/>
                </a:lnTo>
                <a:lnTo>
                  <a:pt x="491" y="555"/>
                </a:lnTo>
                <a:lnTo>
                  <a:pt x="494" y="560"/>
                </a:lnTo>
                <a:lnTo>
                  <a:pt x="497" y="562"/>
                </a:lnTo>
                <a:lnTo>
                  <a:pt x="500" y="562"/>
                </a:lnTo>
                <a:lnTo>
                  <a:pt x="506" y="560"/>
                </a:lnTo>
                <a:lnTo>
                  <a:pt x="508" y="557"/>
                </a:lnTo>
                <a:lnTo>
                  <a:pt x="510" y="555"/>
                </a:lnTo>
                <a:lnTo>
                  <a:pt x="512" y="553"/>
                </a:lnTo>
                <a:lnTo>
                  <a:pt x="515" y="553"/>
                </a:lnTo>
                <a:lnTo>
                  <a:pt x="519" y="553"/>
                </a:lnTo>
                <a:lnTo>
                  <a:pt x="522" y="552"/>
                </a:lnTo>
                <a:lnTo>
                  <a:pt x="524" y="551"/>
                </a:lnTo>
                <a:lnTo>
                  <a:pt x="526" y="549"/>
                </a:lnTo>
                <a:lnTo>
                  <a:pt x="530" y="543"/>
                </a:lnTo>
                <a:lnTo>
                  <a:pt x="534" y="537"/>
                </a:lnTo>
                <a:lnTo>
                  <a:pt x="542" y="524"/>
                </a:lnTo>
                <a:lnTo>
                  <a:pt x="552" y="511"/>
                </a:lnTo>
                <a:lnTo>
                  <a:pt x="554" y="509"/>
                </a:lnTo>
                <a:lnTo>
                  <a:pt x="555" y="507"/>
                </a:lnTo>
                <a:lnTo>
                  <a:pt x="554" y="506"/>
                </a:lnTo>
                <a:lnTo>
                  <a:pt x="552" y="505"/>
                </a:lnTo>
                <a:lnTo>
                  <a:pt x="543" y="504"/>
                </a:lnTo>
                <a:lnTo>
                  <a:pt x="536" y="501"/>
                </a:lnTo>
                <a:lnTo>
                  <a:pt x="528" y="496"/>
                </a:lnTo>
                <a:lnTo>
                  <a:pt x="522" y="492"/>
                </a:lnTo>
                <a:lnTo>
                  <a:pt x="518" y="489"/>
                </a:lnTo>
                <a:lnTo>
                  <a:pt x="516" y="487"/>
                </a:lnTo>
                <a:lnTo>
                  <a:pt x="519" y="485"/>
                </a:lnTo>
                <a:lnTo>
                  <a:pt x="523" y="482"/>
                </a:lnTo>
                <a:lnTo>
                  <a:pt x="520" y="481"/>
                </a:lnTo>
                <a:lnTo>
                  <a:pt x="516" y="480"/>
                </a:lnTo>
                <a:lnTo>
                  <a:pt x="513" y="480"/>
                </a:lnTo>
                <a:lnTo>
                  <a:pt x="510" y="481"/>
                </a:lnTo>
                <a:lnTo>
                  <a:pt x="508" y="482"/>
                </a:lnTo>
                <a:lnTo>
                  <a:pt x="507" y="482"/>
                </a:lnTo>
                <a:lnTo>
                  <a:pt x="505" y="481"/>
                </a:lnTo>
                <a:lnTo>
                  <a:pt x="505" y="479"/>
                </a:lnTo>
                <a:lnTo>
                  <a:pt x="504" y="477"/>
                </a:lnTo>
                <a:lnTo>
                  <a:pt x="504" y="476"/>
                </a:lnTo>
                <a:lnTo>
                  <a:pt x="506" y="475"/>
                </a:lnTo>
                <a:lnTo>
                  <a:pt x="508" y="474"/>
                </a:lnTo>
                <a:lnTo>
                  <a:pt x="514" y="473"/>
                </a:lnTo>
                <a:lnTo>
                  <a:pt x="522" y="473"/>
                </a:lnTo>
                <a:lnTo>
                  <a:pt x="526" y="473"/>
                </a:lnTo>
                <a:lnTo>
                  <a:pt x="530" y="471"/>
                </a:lnTo>
                <a:lnTo>
                  <a:pt x="534" y="469"/>
                </a:lnTo>
                <a:lnTo>
                  <a:pt x="536" y="464"/>
                </a:lnTo>
                <a:lnTo>
                  <a:pt x="533" y="463"/>
                </a:lnTo>
                <a:lnTo>
                  <a:pt x="530" y="462"/>
                </a:lnTo>
                <a:lnTo>
                  <a:pt x="533" y="460"/>
                </a:lnTo>
                <a:lnTo>
                  <a:pt x="533" y="459"/>
                </a:lnTo>
                <a:lnTo>
                  <a:pt x="531" y="459"/>
                </a:lnTo>
                <a:lnTo>
                  <a:pt x="529" y="458"/>
                </a:lnTo>
                <a:lnTo>
                  <a:pt x="526" y="458"/>
                </a:lnTo>
                <a:lnTo>
                  <a:pt x="523" y="457"/>
                </a:lnTo>
                <a:lnTo>
                  <a:pt x="526" y="457"/>
                </a:lnTo>
                <a:lnTo>
                  <a:pt x="530" y="457"/>
                </a:lnTo>
                <a:lnTo>
                  <a:pt x="533" y="457"/>
                </a:lnTo>
                <a:lnTo>
                  <a:pt x="535" y="456"/>
                </a:lnTo>
                <a:lnTo>
                  <a:pt x="536" y="454"/>
                </a:lnTo>
                <a:lnTo>
                  <a:pt x="537" y="451"/>
                </a:lnTo>
                <a:lnTo>
                  <a:pt x="526" y="451"/>
                </a:lnTo>
                <a:lnTo>
                  <a:pt x="516" y="450"/>
                </a:lnTo>
                <a:lnTo>
                  <a:pt x="512" y="448"/>
                </a:lnTo>
                <a:lnTo>
                  <a:pt x="508" y="447"/>
                </a:lnTo>
                <a:lnTo>
                  <a:pt x="506" y="447"/>
                </a:lnTo>
                <a:lnTo>
                  <a:pt x="504" y="448"/>
                </a:lnTo>
                <a:lnTo>
                  <a:pt x="503" y="449"/>
                </a:lnTo>
                <a:lnTo>
                  <a:pt x="500" y="453"/>
                </a:lnTo>
                <a:lnTo>
                  <a:pt x="499" y="454"/>
                </a:lnTo>
                <a:lnTo>
                  <a:pt x="497" y="454"/>
                </a:lnTo>
                <a:lnTo>
                  <a:pt x="495" y="454"/>
                </a:lnTo>
                <a:lnTo>
                  <a:pt x="494" y="453"/>
                </a:lnTo>
                <a:lnTo>
                  <a:pt x="491" y="451"/>
                </a:lnTo>
                <a:lnTo>
                  <a:pt x="489" y="451"/>
                </a:lnTo>
                <a:lnTo>
                  <a:pt x="488" y="453"/>
                </a:lnTo>
                <a:lnTo>
                  <a:pt x="486" y="453"/>
                </a:lnTo>
                <a:lnTo>
                  <a:pt x="485" y="456"/>
                </a:lnTo>
                <a:lnTo>
                  <a:pt x="485" y="460"/>
                </a:lnTo>
                <a:lnTo>
                  <a:pt x="485" y="462"/>
                </a:lnTo>
                <a:lnTo>
                  <a:pt x="485" y="464"/>
                </a:lnTo>
                <a:lnTo>
                  <a:pt x="485" y="466"/>
                </a:lnTo>
                <a:lnTo>
                  <a:pt x="483" y="469"/>
                </a:lnTo>
                <a:lnTo>
                  <a:pt x="481" y="469"/>
                </a:lnTo>
                <a:lnTo>
                  <a:pt x="478" y="469"/>
                </a:lnTo>
                <a:lnTo>
                  <a:pt x="476" y="468"/>
                </a:lnTo>
                <a:lnTo>
                  <a:pt x="474" y="466"/>
                </a:lnTo>
                <a:lnTo>
                  <a:pt x="468" y="463"/>
                </a:lnTo>
                <a:lnTo>
                  <a:pt x="463" y="460"/>
                </a:lnTo>
                <a:lnTo>
                  <a:pt x="461" y="459"/>
                </a:lnTo>
                <a:lnTo>
                  <a:pt x="459" y="457"/>
                </a:lnTo>
                <a:lnTo>
                  <a:pt x="456" y="454"/>
                </a:lnTo>
                <a:lnTo>
                  <a:pt x="455" y="450"/>
                </a:lnTo>
                <a:lnTo>
                  <a:pt x="454" y="448"/>
                </a:lnTo>
                <a:lnTo>
                  <a:pt x="452" y="447"/>
                </a:lnTo>
                <a:lnTo>
                  <a:pt x="450" y="446"/>
                </a:lnTo>
                <a:lnTo>
                  <a:pt x="449" y="444"/>
                </a:lnTo>
                <a:lnTo>
                  <a:pt x="448" y="442"/>
                </a:lnTo>
                <a:lnTo>
                  <a:pt x="448" y="440"/>
                </a:lnTo>
                <a:lnTo>
                  <a:pt x="449" y="435"/>
                </a:lnTo>
                <a:lnTo>
                  <a:pt x="449" y="431"/>
                </a:lnTo>
                <a:lnTo>
                  <a:pt x="450" y="428"/>
                </a:lnTo>
                <a:lnTo>
                  <a:pt x="452" y="427"/>
                </a:lnTo>
                <a:lnTo>
                  <a:pt x="454" y="427"/>
                </a:lnTo>
                <a:lnTo>
                  <a:pt x="458" y="427"/>
                </a:lnTo>
                <a:lnTo>
                  <a:pt x="462" y="427"/>
                </a:lnTo>
                <a:lnTo>
                  <a:pt x="467" y="427"/>
                </a:lnTo>
                <a:lnTo>
                  <a:pt x="471" y="427"/>
                </a:lnTo>
                <a:lnTo>
                  <a:pt x="477" y="425"/>
                </a:lnTo>
                <a:lnTo>
                  <a:pt x="481" y="421"/>
                </a:lnTo>
                <a:lnTo>
                  <a:pt x="488" y="421"/>
                </a:lnTo>
                <a:lnTo>
                  <a:pt x="494" y="421"/>
                </a:lnTo>
                <a:lnTo>
                  <a:pt x="501" y="419"/>
                </a:lnTo>
                <a:lnTo>
                  <a:pt x="498" y="417"/>
                </a:lnTo>
                <a:lnTo>
                  <a:pt x="495" y="416"/>
                </a:lnTo>
                <a:lnTo>
                  <a:pt x="491" y="416"/>
                </a:lnTo>
                <a:lnTo>
                  <a:pt x="486" y="416"/>
                </a:lnTo>
                <a:lnTo>
                  <a:pt x="484" y="416"/>
                </a:lnTo>
                <a:lnTo>
                  <a:pt x="482" y="416"/>
                </a:lnTo>
                <a:lnTo>
                  <a:pt x="481" y="416"/>
                </a:lnTo>
                <a:lnTo>
                  <a:pt x="480" y="416"/>
                </a:lnTo>
                <a:lnTo>
                  <a:pt x="479" y="416"/>
                </a:lnTo>
                <a:lnTo>
                  <a:pt x="479" y="416"/>
                </a:lnTo>
                <a:lnTo>
                  <a:pt x="478" y="413"/>
                </a:lnTo>
                <a:lnTo>
                  <a:pt x="476" y="412"/>
                </a:lnTo>
                <a:lnTo>
                  <a:pt x="473" y="411"/>
                </a:lnTo>
                <a:lnTo>
                  <a:pt x="469" y="411"/>
                </a:lnTo>
                <a:lnTo>
                  <a:pt x="469" y="411"/>
                </a:lnTo>
                <a:lnTo>
                  <a:pt x="469" y="411"/>
                </a:lnTo>
                <a:lnTo>
                  <a:pt x="468" y="407"/>
                </a:lnTo>
                <a:lnTo>
                  <a:pt x="468" y="403"/>
                </a:lnTo>
                <a:lnTo>
                  <a:pt x="470" y="401"/>
                </a:lnTo>
                <a:lnTo>
                  <a:pt x="475" y="399"/>
                </a:lnTo>
                <a:lnTo>
                  <a:pt x="478" y="397"/>
                </a:lnTo>
                <a:lnTo>
                  <a:pt x="482" y="395"/>
                </a:lnTo>
                <a:lnTo>
                  <a:pt x="484" y="394"/>
                </a:lnTo>
                <a:lnTo>
                  <a:pt x="485" y="392"/>
                </a:lnTo>
                <a:lnTo>
                  <a:pt x="485" y="390"/>
                </a:lnTo>
                <a:lnTo>
                  <a:pt x="484" y="388"/>
                </a:lnTo>
                <a:lnTo>
                  <a:pt x="481" y="386"/>
                </a:lnTo>
                <a:lnTo>
                  <a:pt x="481" y="383"/>
                </a:lnTo>
                <a:lnTo>
                  <a:pt x="482" y="381"/>
                </a:lnTo>
                <a:lnTo>
                  <a:pt x="484" y="380"/>
                </a:lnTo>
                <a:lnTo>
                  <a:pt x="486" y="378"/>
                </a:lnTo>
                <a:lnTo>
                  <a:pt x="489" y="377"/>
                </a:lnTo>
                <a:lnTo>
                  <a:pt x="491" y="378"/>
                </a:lnTo>
                <a:lnTo>
                  <a:pt x="493" y="380"/>
                </a:lnTo>
                <a:lnTo>
                  <a:pt x="495" y="383"/>
                </a:lnTo>
                <a:lnTo>
                  <a:pt x="498" y="384"/>
                </a:lnTo>
                <a:lnTo>
                  <a:pt x="500" y="385"/>
                </a:lnTo>
                <a:lnTo>
                  <a:pt x="504" y="385"/>
                </a:lnTo>
                <a:lnTo>
                  <a:pt x="508" y="384"/>
                </a:lnTo>
                <a:lnTo>
                  <a:pt x="513" y="384"/>
                </a:lnTo>
                <a:lnTo>
                  <a:pt x="518" y="385"/>
                </a:lnTo>
                <a:lnTo>
                  <a:pt x="522" y="386"/>
                </a:lnTo>
                <a:lnTo>
                  <a:pt x="531" y="389"/>
                </a:lnTo>
                <a:lnTo>
                  <a:pt x="540" y="393"/>
                </a:lnTo>
                <a:lnTo>
                  <a:pt x="552" y="398"/>
                </a:lnTo>
                <a:lnTo>
                  <a:pt x="562" y="403"/>
                </a:lnTo>
                <a:lnTo>
                  <a:pt x="565" y="404"/>
                </a:lnTo>
                <a:lnTo>
                  <a:pt x="565" y="407"/>
                </a:lnTo>
                <a:lnTo>
                  <a:pt x="564" y="410"/>
                </a:lnTo>
                <a:lnTo>
                  <a:pt x="565" y="412"/>
                </a:lnTo>
                <a:lnTo>
                  <a:pt x="567" y="413"/>
                </a:lnTo>
                <a:lnTo>
                  <a:pt x="569" y="414"/>
                </a:lnTo>
                <a:lnTo>
                  <a:pt x="571" y="415"/>
                </a:lnTo>
                <a:lnTo>
                  <a:pt x="573" y="417"/>
                </a:lnTo>
                <a:lnTo>
                  <a:pt x="574" y="419"/>
                </a:lnTo>
                <a:lnTo>
                  <a:pt x="575" y="421"/>
                </a:lnTo>
                <a:lnTo>
                  <a:pt x="576" y="425"/>
                </a:lnTo>
                <a:lnTo>
                  <a:pt x="579" y="427"/>
                </a:lnTo>
                <a:lnTo>
                  <a:pt x="587" y="429"/>
                </a:lnTo>
                <a:lnTo>
                  <a:pt x="597" y="432"/>
                </a:lnTo>
                <a:lnTo>
                  <a:pt x="605" y="435"/>
                </a:lnTo>
                <a:lnTo>
                  <a:pt x="613" y="441"/>
                </a:lnTo>
                <a:lnTo>
                  <a:pt x="613" y="442"/>
                </a:lnTo>
                <a:lnTo>
                  <a:pt x="613" y="442"/>
                </a:lnTo>
                <a:lnTo>
                  <a:pt x="613" y="444"/>
                </a:lnTo>
                <a:lnTo>
                  <a:pt x="613" y="446"/>
                </a:lnTo>
                <a:lnTo>
                  <a:pt x="613" y="447"/>
                </a:lnTo>
                <a:lnTo>
                  <a:pt x="613" y="447"/>
                </a:lnTo>
                <a:lnTo>
                  <a:pt x="614" y="463"/>
                </a:lnTo>
                <a:lnTo>
                  <a:pt x="614" y="479"/>
                </a:lnTo>
                <a:lnTo>
                  <a:pt x="615" y="491"/>
                </a:lnTo>
                <a:lnTo>
                  <a:pt x="616" y="502"/>
                </a:lnTo>
                <a:lnTo>
                  <a:pt x="618" y="514"/>
                </a:lnTo>
                <a:lnTo>
                  <a:pt x="618" y="525"/>
                </a:lnTo>
                <a:lnTo>
                  <a:pt x="618" y="528"/>
                </a:lnTo>
                <a:lnTo>
                  <a:pt x="616" y="532"/>
                </a:lnTo>
                <a:lnTo>
                  <a:pt x="614" y="533"/>
                </a:lnTo>
                <a:lnTo>
                  <a:pt x="611" y="533"/>
                </a:lnTo>
                <a:lnTo>
                  <a:pt x="607" y="532"/>
                </a:lnTo>
                <a:lnTo>
                  <a:pt x="604" y="531"/>
                </a:lnTo>
                <a:lnTo>
                  <a:pt x="604" y="528"/>
                </a:lnTo>
                <a:lnTo>
                  <a:pt x="605" y="525"/>
                </a:lnTo>
                <a:lnTo>
                  <a:pt x="604" y="522"/>
                </a:lnTo>
                <a:lnTo>
                  <a:pt x="603" y="520"/>
                </a:lnTo>
                <a:lnTo>
                  <a:pt x="602" y="515"/>
                </a:lnTo>
                <a:lnTo>
                  <a:pt x="601" y="509"/>
                </a:lnTo>
                <a:lnTo>
                  <a:pt x="601" y="506"/>
                </a:lnTo>
                <a:lnTo>
                  <a:pt x="601" y="504"/>
                </a:lnTo>
                <a:lnTo>
                  <a:pt x="602" y="501"/>
                </a:lnTo>
                <a:lnTo>
                  <a:pt x="603" y="499"/>
                </a:lnTo>
                <a:lnTo>
                  <a:pt x="606" y="495"/>
                </a:lnTo>
                <a:lnTo>
                  <a:pt x="607" y="491"/>
                </a:lnTo>
                <a:lnTo>
                  <a:pt x="606" y="488"/>
                </a:lnTo>
                <a:lnTo>
                  <a:pt x="604" y="485"/>
                </a:lnTo>
                <a:lnTo>
                  <a:pt x="602" y="482"/>
                </a:lnTo>
                <a:lnTo>
                  <a:pt x="601" y="481"/>
                </a:lnTo>
                <a:lnTo>
                  <a:pt x="600" y="479"/>
                </a:lnTo>
                <a:lnTo>
                  <a:pt x="600" y="476"/>
                </a:lnTo>
                <a:lnTo>
                  <a:pt x="600" y="472"/>
                </a:lnTo>
                <a:lnTo>
                  <a:pt x="599" y="469"/>
                </a:lnTo>
                <a:lnTo>
                  <a:pt x="598" y="466"/>
                </a:lnTo>
                <a:lnTo>
                  <a:pt x="595" y="464"/>
                </a:lnTo>
                <a:lnTo>
                  <a:pt x="591" y="463"/>
                </a:lnTo>
                <a:lnTo>
                  <a:pt x="588" y="464"/>
                </a:lnTo>
                <a:lnTo>
                  <a:pt x="586" y="466"/>
                </a:lnTo>
                <a:lnTo>
                  <a:pt x="584" y="469"/>
                </a:lnTo>
                <a:lnTo>
                  <a:pt x="582" y="472"/>
                </a:lnTo>
                <a:lnTo>
                  <a:pt x="581" y="475"/>
                </a:lnTo>
                <a:lnTo>
                  <a:pt x="580" y="478"/>
                </a:lnTo>
                <a:lnTo>
                  <a:pt x="577" y="481"/>
                </a:lnTo>
                <a:lnTo>
                  <a:pt x="575" y="484"/>
                </a:lnTo>
                <a:lnTo>
                  <a:pt x="571" y="485"/>
                </a:lnTo>
                <a:lnTo>
                  <a:pt x="568" y="486"/>
                </a:lnTo>
                <a:lnTo>
                  <a:pt x="566" y="487"/>
                </a:lnTo>
                <a:lnTo>
                  <a:pt x="564" y="489"/>
                </a:lnTo>
                <a:lnTo>
                  <a:pt x="564" y="491"/>
                </a:lnTo>
                <a:lnTo>
                  <a:pt x="566" y="494"/>
                </a:lnTo>
                <a:lnTo>
                  <a:pt x="568" y="495"/>
                </a:lnTo>
                <a:lnTo>
                  <a:pt x="570" y="495"/>
                </a:lnTo>
                <a:lnTo>
                  <a:pt x="573" y="494"/>
                </a:lnTo>
                <a:lnTo>
                  <a:pt x="576" y="493"/>
                </a:lnTo>
                <a:lnTo>
                  <a:pt x="580" y="493"/>
                </a:lnTo>
                <a:lnTo>
                  <a:pt x="583" y="494"/>
                </a:lnTo>
                <a:lnTo>
                  <a:pt x="585" y="495"/>
                </a:lnTo>
                <a:lnTo>
                  <a:pt x="587" y="497"/>
                </a:lnTo>
                <a:lnTo>
                  <a:pt x="589" y="501"/>
                </a:lnTo>
                <a:lnTo>
                  <a:pt x="590" y="504"/>
                </a:lnTo>
                <a:lnTo>
                  <a:pt x="591" y="508"/>
                </a:lnTo>
                <a:lnTo>
                  <a:pt x="591" y="514"/>
                </a:lnTo>
                <a:lnTo>
                  <a:pt x="591" y="519"/>
                </a:lnTo>
                <a:lnTo>
                  <a:pt x="591" y="521"/>
                </a:lnTo>
                <a:lnTo>
                  <a:pt x="591" y="523"/>
                </a:lnTo>
                <a:lnTo>
                  <a:pt x="590" y="525"/>
                </a:lnTo>
                <a:lnTo>
                  <a:pt x="588" y="526"/>
                </a:lnTo>
                <a:lnTo>
                  <a:pt x="585" y="527"/>
                </a:lnTo>
                <a:lnTo>
                  <a:pt x="583" y="526"/>
                </a:lnTo>
                <a:lnTo>
                  <a:pt x="581" y="525"/>
                </a:lnTo>
                <a:lnTo>
                  <a:pt x="579" y="523"/>
                </a:lnTo>
                <a:lnTo>
                  <a:pt x="575" y="520"/>
                </a:lnTo>
                <a:lnTo>
                  <a:pt x="572" y="518"/>
                </a:lnTo>
                <a:lnTo>
                  <a:pt x="569" y="516"/>
                </a:lnTo>
                <a:lnTo>
                  <a:pt x="565" y="516"/>
                </a:lnTo>
                <a:lnTo>
                  <a:pt x="562" y="518"/>
                </a:lnTo>
                <a:lnTo>
                  <a:pt x="560" y="523"/>
                </a:lnTo>
                <a:lnTo>
                  <a:pt x="560" y="523"/>
                </a:lnTo>
                <a:lnTo>
                  <a:pt x="560" y="524"/>
                </a:lnTo>
                <a:lnTo>
                  <a:pt x="560" y="525"/>
                </a:lnTo>
                <a:lnTo>
                  <a:pt x="561" y="526"/>
                </a:lnTo>
                <a:lnTo>
                  <a:pt x="561" y="527"/>
                </a:lnTo>
                <a:lnTo>
                  <a:pt x="562" y="530"/>
                </a:lnTo>
                <a:lnTo>
                  <a:pt x="565" y="531"/>
                </a:lnTo>
                <a:lnTo>
                  <a:pt x="566" y="532"/>
                </a:lnTo>
                <a:lnTo>
                  <a:pt x="568" y="532"/>
                </a:lnTo>
                <a:lnTo>
                  <a:pt x="574" y="533"/>
                </a:lnTo>
                <a:lnTo>
                  <a:pt x="580" y="535"/>
                </a:lnTo>
                <a:lnTo>
                  <a:pt x="591" y="541"/>
                </a:lnTo>
                <a:lnTo>
                  <a:pt x="603" y="546"/>
                </a:lnTo>
                <a:lnTo>
                  <a:pt x="609" y="548"/>
                </a:lnTo>
                <a:lnTo>
                  <a:pt x="615" y="549"/>
                </a:lnTo>
                <a:lnTo>
                  <a:pt x="620" y="549"/>
                </a:lnTo>
                <a:lnTo>
                  <a:pt x="625" y="549"/>
                </a:lnTo>
                <a:lnTo>
                  <a:pt x="629" y="547"/>
                </a:lnTo>
                <a:lnTo>
                  <a:pt x="633" y="545"/>
                </a:lnTo>
                <a:lnTo>
                  <a:pt x="636" y="541"/>
                </a:lnTo>
                <a:lnTo>
                  <a:pt x="640" y="537"/>
                </a:lnTo>
                <a:lnTo>
                  <a:pt x="643" y="534"/>
                </a:lnTo>
                <a:lnTo>
                  <a:pt x="645" y="531"/>
                </a:lnTo>
                <a:lnTo>
                  <a:pt x="651" y="523"/>
                </a:lnTo>
                <a:lnTo>
                  <a:pt x="653" y="518"/>
                </a:lnTo>
                <a:lnTo>
                  <a:pt x="652" y="512"/>
                </a:lnTo>
                <a:lnTo>
                  <a:pt x="648" y="505"/>
                </a:lnTo>
                <a:lnTo>
                  <a:pt x="648" y="503"/>
                </a:lnTo>
                <a:lnTo>
                  <a:pt x="649" y="501"/>
                </a:lnTo>
                <a:lnTo>
                  <a:pt x="650" y="500"/>
                </a:lnTo>
                <a:lnTo>
                  <a:pt x="652" y="500"/>
                </a:lnTo>
                <a:lnTo>
                  <a:pt x="658" y="500"/>
                </a:lnTo>
                <a:lnTo>
                  <a:pt x="663" y="501"/>
                </a:lnTo>
                <a:lnTo>
                  <a:pt x="666" y="502"/>
                </a:lnTo>
                <a:lnTo>
                  <a:pt x="668" y="503"/>
                </a:lnTo>
                <a:lnTo>
                  <a:pt x="671" y="505"/>
                </a:lnTo>
                <a:lnTo>
                  <a:pt x="672" y="508"/>
                </a:lnTo>
                <a:lnTo>
                  <a:pt x="674" y="511"/>
                </a:lnTo>
                <a:lnTo>
                  <a:pt x="678" y="514"/>
                </a:lnTo>
                <a:lnTo>
                  <a:pt x="682" y="515"/>
                </a:lnTo>
                <a:lnTo>
                  <a:pt x="686" y="516"/>
                </a:lnTo>
                <a:lnTo>
                  <a:pt x="689" y="517"/>
                </a:lnTo>
                <a:lnTo>
                  <a:pt x="691" y="521"/>
                </a:lnTo>
                <a:lnTo>
                  <a:pt x="692" y="522"/>
                </a:lnTo>
                <a:lnTo>
                  <a:pt x="694" y="522"/>
                </a:lnTo>
                <a:lnTo>
                  <a:pt x="695" y="522"/>
                </a:lnTo>
                <a:lnTo>
                  <a:pt x="696" y="521"/>
                </a:lnTo>
                <a:lnTo>
                  <a:pt x="706" y="511"/>
                </a:lnTo>
                <a:lnTo>
                  <a:pt x="713" y="501"/>
                </a:lnTo>
                <a:lnTo>
                  <a:pt x="715" y="500"/>
                </a:lnTo>
                <a:lnTo>
                  <a:pt x="716" y="499"/>
                </a:lnTo>
                <a:lnTo>
                  <a:pt x="717" y="499"/>
                </a:lnTo>
                <a:lnTo>
                  <a:pt x="718" y="497"/>
                </a:lnTo>
                <a:lnTo>
                  <a:pt x="719" y="496"/>
                </a:lnTo>
                <a:lnTo>
                  <a:pt x="719" y="494"/>
                </a:lnTo>
                <a:lnTo>
                  <a:pt x="717" y="495"/>
                </a:lnTo>
                <a:lnTo>
                  <a:pt x="716" y="495"/>
                </a:lnTo>
                <a:lnTo>
                  <a:pt x="711" y="495"/>
                </a:lnTo>
                <a:lnTo>
                  <a:pt x="708" y="494"/>
                </a:lnTo>
                <a:lnTo>
                  <a:pt x="711" y="495"/>
                </a:lnTo>
                <a:lnTo>
                  <a:pt x="716" y="495"/>
                </a:lnTo>
                <a:lnTo>
                  <a:pt x="717" y="495"/>
                </a:lnTo>
                <a:lnTo>
                  <a:pt x="719" y="494"/>
                </a:lnTo>
                <a:lnTo>
                  <a:pt x="719" y="494"/>
                </a:lnTo>
                <a:lnTo>
                  <a:pt x="719" y="494"/>
                </a:lnTo>
                <a:lnTo>
                  <a:pt x="720" y="493"/>
                </a:lnTo>
                <a:lnTo>
                  <a:pt x="721" y="492"/>
                </a:lnTo>
                <a:lnTo>
                  <a:pt x="722" y="491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2" y="490"/>
                </a:lnTo>
                <a:lnTo>
                  <a:pt x="723" y="487"/>
                </a:lnTo>
                <a:lnTo>
                  <a:pt x="724" y="484"/>
                </a:lnTo>
                <a:lnTo>
                  <a:pt x="723" y="487"/>
                </a:lnTo>
                <a:lnTo>
                  <a:pt x="722" y="490"/>
                </a:lnTo>
                <a:lnTo>
                  <a:pt x="724" y="490"/>
                </a:lnTo>
                <a:lnTo>
                  <a:pt x="726" y="490"/>
                </a:lnTo>
                <a:lnTo>
                  <a:pt x="728" y="490"/>
                </a:lnTo>
                <a:lnTo>
                  <a:pt x="729" y="488"/>
                </a:lnTo>
                <a:lnTo>
                  <a:pt x="731" y="486"/>
                </a:lnTo>
                <a:lnTo>
                  <a:pt x="732" y="486"/>
                </a:lnTo>
                <a:lnTo>
                  <a:pt x="733" y="485"/>
                </a:lnTo>
                <a:lnTo>
                  <a:pt x="734" y="486"/>
                </a:lnTo>
                <a:lnTo>
                  <a:pt x="736" y="487"/>
                </a:lnTo>
                <a:lnTo>
                  <a:pt x="735" y="488"/>
                </a:lnTo>
                <a:lnTo>
                  <a:pt x="735" y="489"/>
                </a:lnTo>
                <a:lnTo>
                  <a:pt x="735" y="490"/>
                </a:lnTo>
                <a:lnTo>
                  <a:pt x="735" y="494"/>
                </a:lnTo>
                <a:lnTo>
                  <a:pt x="734" y="499"/>
                </a:lnTo>
                <a:lnTo>
                  <a:pt x="733" y="501"/>
                </a:lnTo>
                <a:lnTo>
                  <a:pt x="734" y="503"/>
                </a:lnTo>
                <a:lnTo>
                  <a:pt x="735" y="504"/>
                </a:lnTo>
                <a:lnTo>
                  <a:pt x="737" y="506"/>
                </a:lnTo>
                <a:lnTo>
                  <a:pt x="736" y="508"/>
                </a:lnTo>
                <a:lnTo>
                  <a:pt x="735" y="509"/>
                </a:lnTo>
                <a:lnTo>
                  <a:pt x="732" y="514"/>
                </a:lnTo>
                <a:lnTo>
                  <a:pt x="731" y="518"/>
                </a:lnTo>
                <a:lnTo>
                  <a:pt x="729" y="522"/>
                </a:lnTo>
                <a:lnTo>
                  <a:pt x="729" y="527"/>
                </a:lnTo>
                <a:lnTo>
                  <a:pt x="727" y="530"/>
                </a:lnTo>
                <a:lnTo>
                  <a:pt x="725" y="534"/>
                </a:lnTo>
                <a:lnTo>
                  <a:pt x="724" y="537"/>
                </a:lnTo>
                <a:lnTo>
                  <a:pt x="724" y="540"/>
                </a:lnTo>
                <a:lnTo>
                  <a:pt x="724" y="546"/>
                </a:lnTo>
                <a:lnTo>
                  <a:pt x="724" y="550"/>
                </a:lnTo>
                <a:lnTo>
                  <a:pt x="725" y="553"/>
                </a:lnTo>
                <a:lnTo>
                  <a:pt x="726" y="556"/>
                </a:lnTo>
                <a:lnTo>
                  <a:pt x="728" y="560"/>
                </a:lnTo>
                <a:lnTo>
                  <a:pt x="732" y="562"/>
                </a:lnTo>
                <a:lnTo>
                  <a:pt x="735" y="565"/>
                </a:lnTo>
                <a:lnTo>
                  <a:pt x="738" y="567"/>
                </a:lnTo>
                <a:lnTo>
                  <a:pt x="743" y="566"/>
                </a:lnTo>
                <a:lnTo>
                  <a:pt x="747" y="566"/>
                </a:lnTo>
                <a:lnTo>
                  <a:pt x="750" y="568"/>
                </a:lnTo>
                <a:lnTo>
                  <a:pt x="753" y="569"/>
                </a:lnTo>
                <a:lnTo>
                  <a:pt x="755" y="570"/>
                </a:lnTo>
                <a:lnTo>
                  <a:pt x="758" y="571"/>
                </a:lnTo>
                <a:lnTo>
                  <a:pt x="765" y="571"/>
                </a:lnTo>
                <a:lnTo>
                  <a:pt x="771" y="572"/>
                </a:lnTo>
                <a:lnTo>
                  <a:pt x="781" y="574"/>
                </a:lnTo>
                <a:lnTo>
                  <a:pt x="791" y="574"/>
                </a:lnTo>
                <a:lnTo>
                  <a:pt x="800" y="574"/>
                </a:lnTo>
                <a:lnTo>
                  <a:pt x="810" y="574"/>
                </a:lnTo>
                <a:lnTo>
                  <a:pt x="815" y="574"/>
                </a:lnTo>
                <a:lnTo>
                  <a:pt x="821" y="574"/>
                </a:lnTo>
                <a:lnTo>
                  <a:pt x="826" y="576"/>
                </a:lnTo>
                <a:lnTo>
                  <a:pt x="831" y="578"/>
                </a:lnTo>
                <a:lnTo>
                  <a:pt x="832" y="578"/>
                </a:lnTo>
                <a:lnTo>
                  <a:pt x="833" y="578"/>
                </a:lnTo>
                <a:lnTo>
                  <a:pt x="835" y="578"/>
                </a:lnTo>
                <a:lnTo>
                  <a:pt x="837" y="577"/>
                </a:lnTo>
                <a:lnTo>
                  <a:pt x="838" y="574"/>
                </a:lnTo>
                <a:lnTo>
                  <a:pt x="840" y="573"/>
                </a:lnTo>
                <a:lnTo>
                  <a:pt x="842" y="573"/>
                </a:lnTo>
                <a:lnTo>
                  <a:pt x="845" y="573"/>
                </a:lnTo>
                <a:lnTo>
                  <a:pt x="849" y="573"/>
                </a:lnTo>
                <a:lnTo>
                  <a:pt x="853" y="572"/>
                </a:lnTo>
                <a:lnTo>
                  <a:pt x="857" y="571"/>
                </a:lnTo>
                <a:lnTo>
                  <a:pt x="860" y="569"/>
                </a:lnTo>
                <a:lnTo>
                  <a:pt x="867" y="565"/>
                </a:lnTo>
                <a:lnTo>
                  <a:pt x="873" y="561"/>
                </a:lnTo>
                <a:lnTo>
                  <a:pt x="879" y="555"/>
                </a:lnTo>
                <a:lnTo>
                  <a:pt x="885" y="549"/>
                </a:lnTo>
                <a:lnTo>
                  <a:pt x="888" y="547"/>
                </a:lnTo>
                <a:lnTo>
                  <a:pt x="891" y="545"/>
                </a:lnTo>
                <a:lnTo>
                  <a:pt x="894" y="542"/>
                </a:lnTo>
                <a:lnTo>
                  <a:pt x="895" y="538"/>
                </a:lnTo>
                <a:lnTo>
                  <a:pt x="898" y="535"/>
                </a:lnTo>
                <a:lnTo>
                  <a:pt x="900" y="533"/>
                </a:lnTo>
                <a:lnTo>
                  <a:pt x="902" y="531"/>
                </a:lnTo>
                <a:lnTo>
                  <a:pt x="904" y="528"/>
                </a:lnTo>
                <a:lnTo>
                  <a:pt x="909" y="527"/>
                </a:lnTo>
                <a:lnTo>
                  <a:pt x="917" y="527"/>
                </a:lnTo>
                <a:lnTo>
                  <a:pt x="919" y="530"/>
                </a:lnTo>
                <a:lnTo>
                  <a:pt x="921" y="531"/>
                </a:lnTo>
                <a:lnTo>
                  <a:pt x="924" y="532"/>
                </a:lnTo>
                <a:lnTo>
                  <a:pt x="928" y="532"/>
                </a:lnTo>
                <a:lnTo>
                  <a:pt x="930" y="532"/>
                </a:lnTo>
                <a:lnTo>
                  <a:pt x="933" y="531"/>
                </a:lnTo>
                <a:lnTo>
                  <a:pt x="936" y="530"/>
                </a:lnTo>
                <a:lnTo>
                  <a:pt x="938" y="527"/>
                </a:lnTo>
                <a:lnTo>
                  <a:pt x="937" y="527"/>
                </a:lnTo>
                <a:lnTo>
                  <a:pt x="936" y="527"/>
                </a:lnTo>
                <a:lnTo>
                  <a:pt x="937" y="527"/>
                </a:lnTo>
                <a:lnTo>
                  <a:pt x="938" y="527"/>
                </a:lnTo>
                <a:lnTo>
                  <a:pt x="939" y="527"/>
                </a:lnTo>
                <a:lnTo>
                  <a:pt x="941" y="527"/>
                </a:lnTo>
                <a:lnTo>
                  <a:pt x="944" y="524"/>
                </a:lnTo>
                <a:lnTo>
                  <a:pt x="947" y="523"/>
                </a:lnTo>
                <a:lnTo>
                  <a:pt x="944" y="524"/>
                </a:lnTo>
                <a:lnTo>
                  <a:pt x="941" y="527"/>
                </a:lnTo>
                <a:lnTo>
                  <a:pt x="943" y="531"/>
                </a:lnTo>
                <a:lnTo>
                  <a:pt x="945" y="532"/>
                </a:lnTo>
                <a:lnTo>
                  <a:pt x="948" y="533"/>
                </a:lnTo>
                <a:lnTo>
                  <a:pt x="951" y="533"/>
                </a:lnTo>
                <a:lnTo>
                  <a:pt x="954" y="533"/>
                </a:lnTo>
                <a:lnTo>
                  <a:pt x="959" y="534"/>
                </a:lnTo>
                <a:lnTo>
                  <a:pt x="962" y="536"/>
                </a:lnTo>
                <a:lnTo>
                  <a:pt x="965" y="538"/>
                </a:lnTo>
                <a:lnTo>
                  <a:pt x="968" y="541"/>
                </a:lnTo>
                <a:lnTo>
                  <a:pt x="969" y="545"/>
                </a:lnTo>
                <a:lnTo>
                  <a:pt x="970" y="549"/>
                </a:lnTo>
                <a:lnTo>
                  <a:pt x="969" y="554"/>
                </a:lnTo>
                <a:lnTo>
                  <a:pt x="974" y="553"/>
                </a:lnTo>
                <a:lnTo>
                  <a:pt x="978" y="552"/>
                </a:lnTo>
                <a:lnTo>
                  <a:pt x="974" y="553"/>
                </a:lnTo>
                <a:lnTo>
                  <a:pt x="969" y="554"/>
                </a:lnTo>
                <a:lnTo>
                  <a:pt x="963" y="562"/>
                </a:lnTo>
                <a:lnTo>
                  <a:pt x="955" y="569"/>
                </a:lnTo>
                <a:lnTo>
                  <a:pt x="953" y="570"/>
                </a:lnTo>
                <a:lnTo>
                  <a:pt x="952" y="570"/>
                </a:lnTo>
                <a:lnTo>
                  <a:pt x="952" y="571"/>
                </a:lnTo>
                <a:lnTo>
                  <a:pt x="952" y="573"/>
                </a:lnTo>
                <a:lnTo>
                  <a:pt x="952" y="574"/>
                </a:lnTo>
                <a:lnTo>
                  <a:pt x="952" y="574"/>
                </a:lnTo>
                <a:lnTo>
                  <a:pt x="948" y="577"/>
                </a:lnTo>
                <a:lnTo>
                  <a:pt x="944" y="580"/>
                </a:lnTo>
                <a:lnTo>
                  <a:pt x="940" y="583"/>
                </a:lnTo>
                <a:lnTo>
                  <a:pt x="938" y="587"/>
                </a:lnTo>
                <a:lnTo>
                  <a:pt x="933" y="595"/>
                </a:lnTo>
                <a:lnTo>
                  <a:pt x="930" y="603"/>
                </a:lnTo>
                <a:lnTo>
                  <a:pt x="929" y="607"/>
                </a:lnTo>
                <a:lnTo>
                  <a:pt x="931" y="609"/>
                </a:lnTo>
                <a:lnTo>
                  <a:pt x="933" y="610"/>
                </a:lnTo>
                <a:lnTo>
                  <a:pt x="935" y="609"/>
                </a:lnTo>
                <a:lnTo>
                  <a:pt x="937" y="608"/>
                </a:lnTo>
                <a:lnTo>
                  <a:pt x="939" y="607"/>
                </a:lnTo>
                <a:lnTo>
                  <a:pt x="941" y="608"/>
                </a:lnTo>
                <a:lnTo>
                  <a:pt x="944" y="609"/>
                </a:lnTo>
                <a:lnTo>
                  <a:pt x="947" y="611"/>
                </a:lnTo>
                <a:lnTo>
                  <a:pt x="951" y="611"/>
                </a:lnTo>
                <a:lnTo>
                  <a:pt x="955" y="612"/>
                </a:lnTo>
                <a:lnTo>
                  <a:pt x="959" y="612"/>
                </a:lnTo>
                <a:lnTo>
                  <a:pt x="969" y="612"/>
                </a:lnTo>
                <a:lnTo>
                  <a:pt x="979" y="613"/>
                </a:lnTo>
                <a:lnTo>
                  <a:pt x="985" y="613"/>
                </a:lnTo>
                <a:lnTo>
                  <a:pt x="992" y="612"/>
                </a:lnTo>
                <a:lnTo>
                  <a:pt x="998" y="610"/>
                </a:lnTo>
                <a:lnTo>
                  <a:pt x="1003" y="606"/>
                </a:lnTo>
                <a:lnTo>
                  <a:pt x="1007" y="602"/>
                </a:lnTo>
                <a:lnTo>
                  <a:pt x="1011" y="599"/>
                </a:lnTo>
                <a:lnTo>
                  <a:pt x="1015" y="596"/>
                </a:lnTo>
                <a:lnTo>
                  <a:pt x="1020" y="594"/>
                </a:lnTo>
                <a:lnTo>
                  <a:pt x="1029" y="592"/>
                </a:lnTo>
                <a:lnTo>
                  <a:pt x="1040" y="591"/>
                </a:lnTo>
                <a:lnTo>
                  <a:pt x="1043" y="591"/>
                </a:lnTo>
                <a:lnTo>
                  <a:pt x="1046" y="589"/>
                </a:lnTo>
                <a:lnTo>
                  <a:pt x="1051" y="586"/>
                </a:lnTo>
                <a:lnTo>
                  <a:pt x="1055" y="584"/>
                </a:lnTo>
                <a:lnTo>
                  <a:pt x="1059" y="582"/>
                </a:lnTo>
                <a:lnTo>
                  <a:pt x="1065" y="581"/>
                </a:lnTo>
                <a:lnTo>
                  <a:pt x="1074" y="578"/>
                </a:lnTo>
                <a:lnTo>
                  <a:pt x="1083" y="573"/>
                </a:lnTo>
                <a:lnTo>
                  <a:pt x="1085" y="573"/>
                </a:lnTo>
                <a:lnTo>
                  <a:pt x="1086" y="573"/>
                </a:lnTo>
                <a:lnTo>
                  <a:pt x="1088" y="577"/>
                </a:lnTo>
                <a:lnTo>
                  <a:pt x="1090" y="578"/>
                </a:lnTo>
                <a:lnTo>
                  <a:pt x="1091" y="578"/>
                </a:lnTo>
                <a:lnTo>
                  <a:pt x="1094" y="578"/>
                </a:lnTo>
                <a:lnTo>
                  <a:pt x="1096" y="574"/>
                </a:lnTo>
                <a:lnTo>
                  <a:pt x="1098" y="571"/>
                </a:lnTo>
                <a:lnTo>
                  <a:pt x="1102" y="569"/>
                </a:lnTo>
                <a:lnTo>
                  <a:pt x="1106" y="568"/>
                </a:lnTo>
                <a:lnTo>
                  <a:pt x="1108" y="567"/>
                </a:lnTo>
                <a:lnTo>
                  <a:pt x="1111" y="566"/>
                </a:lnTo>
                <a:lnTo>
                  <a:pt x="1112" y="561"/>
                </a:lnTo>
                <a:lnTo>
                  <a:pt x="1115" y="556"/>
                </a:lnTo>
                <a:lnTo>
                  <a:pt x="1118" y="553"/>
                </a:lnTo>
                <a:lnTo>
                  <a:pt x="1122" y="549"/>
                </a:lnTo>
                <a:lnTo>
                  <a:pt x="1125" y="546"/>
                </a:lnTo>
                <a:lnTo>
                  <a:pt x="1125" y="542"/>
                </a:lnTo>
                <a:lnTo>
                  <a:pt x="1123" y="539"/>
                </a:lnTo>
                <a:lnTo>
                  <a:pt x="1125" y="537"/>
                </a:lnTo>
                <a:lnTo>
                  <a:pt x="1127" y="534"/>
                </a:lnTo>
                <a:lnTo>
                  <a:pt x="1129" y="533"/>
                </a:lnTo>
                <a:lnTo>
                  <a:pt x="1132" y="528"/>
                </a:lnTo>
                <a:lnTo>
                  <a:pt x="1136" y="524"/>
                </a:lnTo>
                <a:lnTo>
                  <a:pt x="1137" y="521"/>
                </a:lnTo>
                <a:lnTo>
                  <a:pt x="1140" y="519"/>
                </a:lnTo>
                <a:lnTo>
                  <a:pt x="1142" y="518"/>
                </a:lnTo>
                <a:lnTo>
                  <a:pt x="1145" y="517"/>
                </a:lnTo>
                <a:lnTo>
                  <a:pt x="1148" y="520"/>
                </a:lnTo>
                <a:lnTo>
                  <a:pt x="1149" y="524"/>
                </a:lnTo>
                <a:lnTo>
                  <a:pt x="1155" y="520"/>
                </a:lnTo>
                <a:lnTo>
                  <a:pt x="1161" y="516"/>
                </a:lnTo>
                <a:lnTo>
                  <a:pt x="1165" y="517"/>
                </a:lnTo>
                <a:lnTo>
                  <a:pt x="1168" y="519"/>
                </a:lnTo>
                <a:lnTo>
                  <a:pt x="1172" y="521"/>
                </a:lnTo>
                <a:lnTo>
                  <a:pt x="1175" y="524"/>
                </a:lnTo>
                <a:lnTo>
                  <a:pt x="1177" y="525"/>
                </a:lnTo>
                <a:lnTo>
                  <a:pt x="1178" y="525"/>
                </a:lnTo>
                <a:lnTo>
                  <a:pt x="1180" y="524"/>
                </a:lnTo>
                <a:lnTo>
                  <a:pt x="1181" y="523"/>
                </a:lnTo>
                <a:lnTo>
                  <a:pt x="1185" y="521"/>
                </a:lnTo>
                <a:lnTo>
                  <a:pt x="1189" y="520"/>
                </a:lnTo>
                <a:lnTo>
                  <a:pt x="1193" y="519"/>
                </a:lnTo>
                <a:lnTo>
                  <a:pt x="1197" y="519"/>
                </a:lnTo>
                <a:lnTo>
                  <a:pt x="1209" y="514"/>
                </a:lnTo>
                <a:lnTo>
                  <a:pt x="1221" y="508"/>
                </a:lnTo>
                <a:lnTo>
                  <a:pt x="1222" y="506"/>
                </a:lnTo>
                <a:lnTo>
                  <a:pt x="1222" y="503"/>
                </a:lnTo>
                <a:lnTo>
                  <a:pt x="1222" y="502"/>
                </a:lnTo>
                <a:lnTo>
                  <a:pt x="1223" y="501"/>
                </a:lnTo>
                <a:lnTo>
                  <a:pt x="1224" y="500"/>
                </a:lnTo>
                <a:lnTo>
                  <a:pt x="1226" y="499"/>
                </a:lnTo>
                <a:lnTo>
                  <a:pt x="1232" y="496"/>
                </a:lnTo>
                <a:lnTo>
                  <a:pt x="1236" y="494"/>
                </a:lnTo>
                <a:lnTo>
                  <a:pt x="1239" y="490"/>
                </a:lnTo>
                <a:lnTo>
                  <a:pt x="1242" y="485"/>
                </a:lnTo>
                <a:lnTo>
                  <a:pt x="1243" y="482"/>
                </a:lnTo>
                <a:lnTo>
                  <a:pt x="1244" y="481"/>
                </a:lnTo>
                <a:lnTo>
                  <a:pt x="1247" y="480"/>
                </a:lnTo>
                <a:lnTo>
                  <a:pt x="1249" y="479"/>
                </a:lnTo>
                <a:lnTo>
                  <a:pt x="1254" y="478"/>
                </a:lnTo>
                <a:lnTo>
                  <a:pt x="1258" y="480"/>
                </a:lnTo>
                <a:lnTo>
                  <a:pt x="1263" y="482"/>
                </a:lnTo>
                <a:lnTo>
                  <a:pt x="1265" y="485"/>
                </a:lnTo>
                <a:lnTo>
                  <a:pt x="1272" y="493"/>
                </a:lnTo>
                <a:lnTo>
                  <a:pt x="1281" y="500"/>
                </a:lnTo>
                <a:lnTo>
                  <a:pt x="1281" y="502"/>
                </a:lnTo>
                <a:lnTo>
                  <a:pt x="1282" y="504"/>
                </a:lnTo>
                <a:lnTo>
                  <a:pt x="1294" y="503"/>
                </a:lnTo>
                <a:lnTo>
                  <a:pt x="1304" y="502"/>
                </a:lnTo>
                <a:lnTo>
                  <a:pt x="1305" y="501"/>
                </a:lnTo>
                <a:lnTo>
                  <a:pt x="1307" y="500"/>
                </a:lnTo>
                <a:lnTo>
                  <a:pt x="1305" y="499"/>
                </a:lnTo>
                <a:lnTo>
                  <a:pt x="1305" y="497"/>
                </a:lnTo>
                <a:lnTo>
                  <a:pt x="1304" y="495"/>
                </a:lnTo>
                <a:lnTo>
                  <a:pt x="1303" y="494"/>
                </a:lnTo>
                <a:lnTo>
                  <a:pt x="1303" y="492"/>
                </a:lnTo>
                <a:lnTo>
                  <a:pt x="1305" y="491"/>
                </a:lnTo>
                <a:lnTo>
                  <a:pt x="1310" y="492"/>
                </a:lnTo>
                <a:lnTo>
                  <a:pt x="1314" y="493"/>
                </a:lnTo>
                <a:lnTo>
                  <a:pt x="1313" y="496"/>
                </a:lnTo>
                <a:lnTo>
                  <a:pt x="1313" y="499"/>
                </a:lnTo>
                <a:lnTo>
                  <a:pt x="1314" y="501"/>
                </a:lnTo>
                <a:lnTo>
                  <a:pt x="1315" y="502"/>
                </a:lnTo>
                <a:lnTo>
                  <a:pt x="1319" y="503"/>
                </a:lnTo>
                <a:lnTo>
                  <a:pt x="1323" y="504"/>
                </a:lnTo>
                <a:lnTo>
                  <a:pt x="1325" y="505"/>
                </a:lnTo>
                <a:lnTo>
                  <a:pt x="1326" y="506"/>
                </a:lnTo>
                <a:lnTo>
                  <a:pt x="1326" y="508"/>
                </a:lnTo>
                <a:lnTo>
                  <a:pt x="1326" y="510"/>
                </a:lnTo>
                <a:lnTo>
                  <a:pt x="1326" y="511"/>
                </a:lnTo>
                <a:lnTo>
                  <a:pt x="1325" y="512"/>
                </a:lnTo>
                <a:lnTo>
                  <a:pt x="1326" y="514"/>
                </a:lnTo>
                <a:lnTo>
                  <a:pt x="1327" y="515"/>
                </a:lnTo>
                <a:lnTo>
                  <a:pt x="1328" y="515"/>
                </a:lnTo>
                <a:lnTo>
                  <a:pt x="1330" y="514"/>
                </a:lnTo>
                <a:lnTo>
                  <a:pt x="1330" y="512"/>
                </a:lnTo>
                <a:lnTo>
                  <a:pt x="1331" y="511"/>
                </a:lnTo>
                <a:lnTo>
                  <a:pt x="1333" y="507"/>
                </a:lnTo>
                <a:lnTo>
                  <a:pt x="1335" y="506"/>
                </a:lnTo>
                <a:lnTo>
                  <a:pt x="1338" y="507"/>
                </a:lnTo>
                <a:lnTo>
                  <a:pt x="1340" y="512"/>
                </a:lnTo>
                <a:lnTo>
                  <a:pt x="1341" y="514"/>
                </a:lnTo>
                <a:lnTo>
                  <a:pt x="1343" y="515"/>
                </a:lnTo>
                <a:lnTo>
                  <a:pt x="1345" y="515"/>
                </a:lnTo>
                <a:lnTo>
                  <a:pt x="1345" y="512"/>
                </a:lnTo>
                <a:lnTo>
                  <a:pt x="1345" y="510"/>
                </a:lnTo>
                <a:lnTo>
                  <a:pt x="1345" y="508"/>
                </a:lnTo>
                <a:lnTo>
                  <a:pt x="1346" y="506"/>
                </a:lnTo>
                <a:lnTo>
                  <a:pt x="1347" y="505"/>
                </a:lnTo>
                <a:lnTo>
                  <a:pt x="1350" y="502"/>
                </a:lnTo>
                <a:lnTo>
                  <a:pt x="1354" y="500"/>
                </a:lnTo>
                <a:lnTo>
                  <a:pt x="1358" y="497"/>
                </a:lnTo>
                <a:lnTo>
                  <a:pt x="1361" y="496"/>
                </a:lnTo>
                <a:lnTo>
                  <a:pt x="1365" y="499"/>
                </a:lnTo>
                <a:lnTo>
                  <a:pt x="1369" y="502"/>
                </a:lnTo>
                <a:lnTo>
                  <a:pt x="1372" y="506"/>
                </a:lnTo>
                <a:lnTo>
                  <a:pt x="1376" y="508"/>
                </a:lnTo>
                <a:lnTo>
                  <a:pt x="1380" y="510"/>
                </a:lnTo>
                <a:lnTo>
                  <a:pt x="1386" y="511"/>
                </a:lnTo>
                <a:lnTo>
                  <a:pt x="1390" y="512"/>
                </a:lnTo>
                <a:lnTo>
                  <a:pt x="1394" y="515"/>
                </a:lnTo>
                <a:lnTo>
                  <a:pt x="1396" y="516"/>
                </a:lnTo>
                <a:lnTo>
                  <a:pt x="1398" y="517"/>
                </a:lnTo>
                <a:lnTo>
                  <a:pt x="1399" y="519"/>
                </a:lnTo>
                <a:lnTo>
                  <a:pt x="1399" y="522"/>
                </a:lnTo>
                <a:lnTo>
                  <a:pt x="1398" y="525"/>
                </a:lnTo>
                <a:lnTo>
                  <a:pt x="1399" y="528"/>
                </a:lnTo>
                <a:lnTo>
                  <a:pt x="1400" y="532"/>
                </a:lnTo>
                <a:lnTo>
                  <a:pt x="1401" y="534"/>
                </a:lnTo>
                <a:lnTo>
                  <a:pt x="1405" y="540"/>
                </a:lnTo>
                <a:lnTo>
                  <a:pt x="1409" y="546"/>
                </a:lnTo>
                <a:lnTo>
                  <a:pt x="1413" y="550"/>
                </a:lnTo>
                <a:lnTo>
                  <a:pt x="1417" y="552"/>
                </a:lnTo>
                <a:lnTo>
                  <a:pt x="1419" y="553"/>
                </a:lnTo>
                <a:lnTo>
                  <a:pt x="1421" y="553"/>
                </a:lnTo>
                <a:lnTo>
                  <a:pt x="1423" y="552"/>
                </a:lnTo>
                <a:lnTo>
                  <a:pt x="1425" y="551"/>
                </a:lnTo>
                <a:lnTo>
                  <a:pt x="1436" y="545"/>
                </a:lnTo>
                <a:lnTo>
                  <a:pt x="1447" y="539"/>
                </a:lnTo>
                <a:lnTo>
                  <a:pt x="1450" y="537"/>
                </a:lnTo>
                <a:lnTo>
                  <a:pt x="1453" y="536"/>
                </a:lnTo>
                <a:lnTo>
                  <a:pt x="1456" y="535"/>
                </a:lnTo>
                <a:lnTo>
                  <a:pt x="1460" y="535"/>
                </a:lnTo>
                <a:lnTo>
                  <a:pt x="1464" y="535"/>
                </a:lnTo>
                <a:lnTo>
                  <a:pt x="1467" y="536"/>
                </a:lnTo>
                <a:lnTo>
                  <a:pt x="1470" y="538"/>
                </a:lnTo>
                <a:lnTo>
                  <a:pt x="1473" y="540"/>
                </a:lnTo>
                <a:lnTo>
                  <a:pt x="1476" y="543"/>
                </a:lnTo>
                <a:lnTo>
                  <a:pt x="1480" y="547"/>
                </a:lnTo>
                <a:lnTo>
                  <a:pt x="1483" y="549"/>
                </a:lnTo>
                <a:lnTo>
                  <a:pt x="1489" y="550"/>
                </a:lnTo>
                <a:lnTo>
                  <a:pt x="1491" y="551"/>
                </a:lnTo>
                <a:lnTo>
                  <a:pt x="1493" y="553"/>
                </a:lnTo>
                <a:lnTo>
                  <a:pt x="1494" y="556"/>
                </a:lnTo>
                <a:lnTo>
                  <a:pt x="1497" y="558"/>
                </a:lnTo>
                <a:lnTo>
                  <a:pt x="1500" y="558"/>
                </a:lnTo>
                <a:lnTo>
                  <a:pt x="1504" y="560"/>
                </a:lnTo>
                <a:lnTo>
                  <a:pt x="1509" y="561"/>
                </a:lnTo>
                <a:lnTo>
                  <a:pt x="1513" y="564"/>
                </a:lnTo>
                <a:lnTo>
                  <a:pt x="1517" y="568"/>
                </a:lnTo>
                <a:lnTo>
                  <a:pt x="1520" y="572"/>
                </a:lnTo>
                <a:lnTo>
                  <a:pt x="1520" y="574"/>
                </a:lnTo>
                <a:lnTo>
                  <a:pt x="1520" y="577"/>
                </a:lnTo>
                <a:lnTo>
                  <a:pt x="1519" y="578"/>
                </a:lnTo>
                <a:lnTo>
                  <a:pt x="1516" y="578"/>
                </a:lnTo>
                <a:lnTo>
                  <a:pt x="1504" y="577"/>
                </a:lnTo>
                <a:lnTo>
                  <a:pt x="1490" y="578"/>
                </a:lnTo>
                <a:lnTo>
                  <a:pt x="1479" y="571"/>
                </a:lnTo>
                <a:lnTo>
                  <a:pt x="1468" y="566"/>
                </a:lnTo>
                <a:lnTo>
                  <a:pt x="1456" y="562"/>
                </a:lnTo>
                <a:lnTo>
                  <a:pt x="1446" y="556"/>
                </a:lnTo>
                <a:lnTo>
                  <a:pt x="1441" y="554"/>
                </a:lnTo>
                <a:lnTo>
                  <a:pt x="1437" y="552"/>
                </a:lnTo>
                <a:lnTo>
                  <a:pt x="1435" y="552"/>
                </a:lnTo>
                <a:lnTo>
                  <a:pt x="1433" y="552"/>
                </a:lnTo>
                <a:lnTo>
                  <a:pt x="1431" y="553"/>
                </a:lnTo>
                <a:lnTo>
                  <a:pt x="1429" y="554"/>
                </a:lnTo>
                <a:lnTo>
                  <a:pt x="1426" y="556"/>
                </a:lnTo>
                <a:lnTo>
                  <a:pt x="1425" y="560"/>
                </a:lnTo>
                <a:lnTo>
                  <a:pt x="1425" y="562"/>
                </a:lnTo>
                <a:lnTo>
                  <a:pt x="1425" y="565"/>
                </a:lnTo>
                <a:lnTo>
                  <a:pt x="1425" y="568"/>
                </a:lnTo>
                <a:lnTo>
                  <a:pt x="1426" y="571"/>
                </a:lnTo>
                <a:lnTo>
                  <a:pt x="1428" y="574"/>
                </a:lnTo>
                <a:lnTo>
                  <a:pt x="1430" y="576"/>
                </a:lnTo>
                <a:lnTo>
                  <a:pt x="1438" y="582"/>
                </a:lnTo>
                <a:lnTo>
                  <a:pt x="1446" y="588"/>
                </a:lnTo>
                <a:lnTo>
                  <a:pt x="1454" y="595"/>
                </a:lnTo>
                <a:lnTo>
                  <a:pt x="1463" y="600"/>
                </a:lnTo>
                <a:lnTo>
                  <a:pt x="1465" y="601"/>
                </a:lnTo>
                <a:lnTo>
                  <a:pt x="1466" y="603"/>
                </a:lnTo>
                <a:lnTo>
                  <a:pt x="1466" y="604"/>
                </a:lnTo>
                <a:lnTo>
                  <a:pt x="1465" y="607"/>
                </a:lnTo>
                <a:lnTo>
                  <a:pt x="1463" y="609"/>
                </a:lnTo>
                <a:lnTo>
                  <a:pt x="1461" y="611"/>
                </a:lnTo>
                <a:lnTo>
                  <a:pt x="1459" y="612"/>
                </a:lnTo>
                <a:lnTo>
                  <a:pt x="1456" y="613"/>
                </a:lnTo>
                <a:lnTo>
                  <a:pt x="1453" y="613"/>
                </a:lnTo>
                <a:lnTo>
                  <a:pt x="1451" y="613"/>
                </a:lnTo>
                <a:lnTo>
                  <a:pt x="1449" y="612"/>
                </a:lnTo>
                <a:lnTo>
                  <a:pt x="1446" y="611"/>
                </a:lnTo>
                <a:lnTo>
                  <a:pt x="1445" y="610"/>
                </a:lnTo>
                <a:lnTo>
                  <a:pt x="1443" y="609"/>
                </a:lnTo>
                <a:lnTo>
                  <a:pt x="1431" y="607"/>
                </a:lnTo>
                <a:lnTo>
                  <a:pt x="1419" y="604"/>
                </a:lnTo>
                <a:lnTo>
                  <a:pt x="1406" y="604"/>
                </a:lnTo>
                <a:lnTo>
                  <a:pt x="1394" y="606"/>
                </a:lnTo>
                <a:lnTo>
                  <a:pt x="1387" y="607"/>
                </a:lnTo>
                <a:lnTo>
                  <a:pt x="1380" y="606"/>
                </a:lnTo>
                <a:lnTo>
                  <a:pt x="1374" y="603"/>
                </a:lnTo>
                <a:lnTo>
                  <a:pt x="1369" y="600"/>
                </a:lnTo>
                <a:lnTo>
                  <a:pt x="1365" y="598"/>
                </a:lnTo>
                <a:lnTo>
                  <a:pt x="1361" y="597"/>
                </a:lnTo>
                <a:lnTo>
                  <a:pt x="1357" y="596"/>
                </a:lnTo>
                <a:lnTo>
                  <a:pt x="1354" y="597"/>
                </a:lnTo>
                <a:lnTo>
                  <a:pt x="1344" y="596"/>
                </a:lnTo>
                <a:lnTo>
                  <a:pt x="1335" y="595"/>
                </a:lnTo>
                <a:lnTo>
                  <a:pt x="1327" y="593"/>
                </a:lnTo>
                <a:lnTo>
                  <a:pt x="1318" y="589"/>
                </a:lnTo>
                <a:lnTo>
                  <a:pt x="1311" y="585"/>
                </a:lnTo>
                <a:lnTo>
                  <a:pt x="1302" y="582"/>
                </a:lnTo>
                <a:lnTo>
                  <a:pt x="1294" y="580"/>
                </a:lnTo>
                <a:lnTo>
                  <a:pt x="1284" y="579"/>
                </a:lnTo>
                <a:lnTo>
                  <a:pt x="1280" y="578"/>
                </a:lnTo>
                <a:lnTo>
                  <a:pt x="1276" y="577"/>
                </a:lnTo>
                <a:lnTo>
                  <a:pt x="1271" y="574"/>
                </a:lnTo>
                <a:lnTo>
                  <a:pt x="1268" y="572"/>
                </a:lnTo>
                <a:lnTo>
                  <a:pt x="1262" y="569"/>
                </a:lnTo>
                <a:lnTo>
                  <a:pt x="1256" y="566"/>
                </a:lnTo>
                <a:lnTo>
                  <a:pt x="1250" y="565"/>
                </a:lnTo>
                <a:lnTo>
                  <a:pt x="1243" y="564"/>
                </a:lnTo>
                <a:lnTo>
                  <a:pt x="1238" y="565"/>
                </a:lnTo>
                <a:lnTo>
                  <a:pt x="1234" y="566"/>
                </a:lnTo>
                <a:lnTo>
                  <a:pt x="1231" y="568"/>
                </a:lnTo>
                <a:lnTo>
                  <a:pt x="1228" y="572"/>
                </a:lnTo>
                <a:lnTo>
                  <a:pt x="1229" y="576"/>
                </a:lnTo>
                <a:lnTo>
                  <a:pt x="1233" y="579"/>
                </a:lnTo>
                <a:lnTo>
                  <a:pt x="1235" y="581"/>
                </a:lnTo>
                <a:lnTo>
                  <a:pt x="1236" y="583"/>
                </a:lnTo>
                <a:lnTo>
                  <a:pt x="1236" y="586"/>
                </a:lnTo>
                <a:lnTo>
                  <a:pt x="1235" y="588"/>
                </a:lnTo>
                <a:lnTo>
                  <a:pt x="1236" y="589"/>
                </a:lnTo>
                <a:lnTo>
                  <a:pt x="1238" y="591"/>
                </a:lnTo>
                <a:lnTo>
                  <a:pt x="1238" y="591"/>
                </a:lnTo>
                <a:lnTo>
                  <a:pt x="1239" y="591"/>
                </a:lnTo>
                <a:lnTo>
                  <a:pt x="1247" y="595"/>
                </a:lnTo>
                <a:lnTo>
                  <a:pt x="1254" y="600"/>
                </a:lnTo>
                <a:lnTo>
                  <a:pt x="1261" y="606"/>
                </a:lnTo>
                <a:lnTo>
                  <a:pt x="1268" y="612"/>
                </a:lnTo>
                <a:lnTo>
                  <a:pt x="1269" y="613"/>
                </a:lnTo>
                <a:lnTo>
                  <a:pt x="1269" y="614"/>
                </a:lnTo>
                <a:lnTo>
                  <a:pt x="1269" y="623"/>
                </a:lnTo>
                <a:lnTo>
                  <a:pt x="1270" y="631"/>
                </a:lnTo>
                <a:lnTo>
                  <a:pt x="1271" y="634"/>
                </a:lnTo>
                <a:lnTo>
                  <a:pt x="1271" y="639"/>
                </a:lnTo>
                <a:lnTo>
                  <a:pt x="1271" y="643"/>
                </a:lnTo>
                <a:lnTo>
                  <a:pt x="1270" y="647"/>
                </a:lnTo>
                <a:lnTo>
                  <a:pt x="1269" y="649"/>
                </a:lnTo>
                <a:lnTo>
                  <a:pt x="1269" y="650"/>
                </a:lnTo>
                <a:lnTo>
                  <a:pt x="1268" y="652"/>
                </a:lnTo>
                <a:lnTo>
                  <a:pt x="1266" y="653"/>
                </a:lnTo>
                <a:lnTo>
                  <a:pt x="1256" y="654"/>
                </a:lnTo>
                <a:lnTo>
                  <a:pt x="1248" y="657"/>
                </a:lnTo>
                <a:lnTo>
                  <a:pt x="1238" y="659"/>
                </a:lnTo>
                <a:lnTo>
                  <a:pt x="1228" y="659"/>
                </a:lnTo>
                <a:lnTo>
                  <a:pt x="1225" y="659"/>
                </a:lnTo>
                <a:lnTo>
                  <a:pt x="1223" y="660"/>
                </a:lnTo>
                <a:lnTo>
                  <a:pt x="1222" y="662"/>
                </a:lnTo>
                <a:lnTo>
                  <a:pt x="1222" y="665"/>
                </a:lnTo>
                <a:lnTo>
                  <a:pt x="1218" y="665"/>
                </a:lnTo>
                <a:lnTo>
                  <a:pt x="1214" y="664"/>
                </a:lnTo>
                <a:lnTo>
                  <a:pt x="1212" y="664"/>
                </a:lnTo>
                <a:lnTo>
                  <a:pt x="1210" y="665"/>
                </a:lnTo>
                <a:lnTo>
                  <a:pt x="1209" y="667"/>
                </a:lnTo>
                <a:lnTo>
                  <a:pt x="1208" y="670"/>
                </a:lnTo>
                <a:lnTo>
                  <a:pt x="1206" y="670"/>
                </a:lnTo>
                <a:lnTo>
                  <a:pt x="1205" y="670"/>
                </a:lnTo>
                <a:lnTo>
                  <a:pt x="1192" y="670"/>
                </a:lnTo>
                <a:lnTo>
                  <a:pt x="1180" y="670"/>
                </a:lnTo>
                <a:lnTo>
                  <a:pt x="1177" y="670"/>
                </a:lnTo>
                <a:lnTo>
                  <a:pt x="1175" y="672"/>
                </a:lnTo>
                <a:lnTo>
                  <a:pt x="1174" y="674"/>
                </a:lnTo>
                <a:lnTo>
                  <a:pt x="1174" y="675"/>
                </a:lnTo>
                <a:lnTo>
                  <a:pt x="1173" y="675"/>
                </a:lnTo>
                <a:lnTo>
                  <a:pt x="1171" y="675"/>
                </a:lnTo>
                <a:lnTo>
                  <a:pt x="1166" y="674"/>
                </a:lnTo>
                <a:lnTo>
                  <a:pt x="1162" y="674"/>
                </a:lnTo>
                <a:lnTo>
                  <a:pt x="1162" y="671"/>
                </a:lnTo>
                <a:lnTo>
                  <a:pt x="1163" y="670"/>
                </a:lnTo>
                <a:lnTo>
                  <a:pt x="1165" y="669"/>
                </a:lnTo>
                <a:lnTo>
                  <a:pt x="1167" y="669"/>
                </a:lnTo>
                <a:lnTo>
                  <a:pt x="1168" y="670"/>
                </a:lnTo>
                <a:lnTo>
                  <a:pt x="1170" y="669"/>
                </a:lnTo>
                <a:lnTo>
                  <a:pt x="1172" y="668"/>
                </a:lnTo>
                <a:lnTo>
                  <a:pt x="1174" y="664"/>
                </a:lnTo>
                <a:lnTo>
                  <a:pt x="1174" y="662"/>
                </a:lnTo>
                <a:lnTo>
                  <a:pt x="1174" y="660"/>
                </a:lnTo>
                <a:lnTo>
                  <a:pt x="1173" y="658"/>
                </a:lnTo>
                <a:lnTo>
                  <a:pt x="1171" y="658"/>
                </a:lnTo>
                <a:lnTo>
                  <a:pt x="1168" y="658"/>
                </a:lnTo>
                <a:lnTo>
                  <a:pt x="1166" y="659"/>
                </a:lnTo>
                <a:lnTo>
                  <a:pt x="1160" y="660"/>
                </a:lnTo>
                <a:lnTo>
                  <a:pt x="1156" y="663"/>
                </a:lnTo>
                <a:lnTo>
                  <a:pt x="1152" y="668"/>
                </a:lnTo>
                <a:lnTo>
                  <a:pt x="1151" y="674"/>
                </a:lnTo>
                <a:lnTo>
                  <a:pt x="1141" y="673"/>
                </a:lnTo>
                <a:lnTo>
                  <a:pt x="1130" y="671"/>
                </a:lnTo>
                <a:lnTo>
                  <a:pt x="1121" y="670"/>
                </a:lnTo>
                <a:lnTo>
                  <a:pt x="1112" y="671"/>
                </a:lnTo>
                <a:lnTo>
                  <a:pt x="1106" y="671"/>
                </a:lnTo>
                <a:lnTo>
                  <a:pt x="1102" y="672"/>
                </a:lnTo>
                <a:lnTo>
                  <a:pt x="1098" y="671"/>
                </a:lnTo>
                <a:lnTo>
                  <a:pt x="1092" y="670"/>
                </a:lnTo>
                <a:lnTo>
                  <a:pt x="1088" y="669"/>
                </a:lnTo>
                <a:lnTo>
                  <a:pt x="1083" y="669"/>
                </a:lnTo>
                <a:lnTo>
                  <a:pt x="1077" y="669"/>
                </a:lnTo>
                <a:lnTo>
                  <a:pt x="1072" y="671"/>
                </a:lnTo>
                <a:lnTo>
                  <a:pt x="1068" y="672"/>
                </a:lnTo>
                <a:lnTo>
                  <a:pt x="1064" y="672"/>
                </a:lnTo>
                <a:lnTo>
                  <a:pt x="1059" y="672"/>
                </a:lnTo>
                <a:lnTo>
                  <a:pt x="1054" y="671"/>
                </a:lnTo>
                <a:lnTo>
                  <a:pt x="1050" y="670"/>
                </a:lnTo>
                <a:lnTo>
                  <a:pt x="1044" y="671"/>
                </a:lnTo>
                <a:lnTo>
                  <a:pt x="1037" y="673"/>
                </a:lnTo>
                <a:lnTo>
                  <a:pt x="1030" y="675"/>
                </a:lnTo>
                <a:lnTo>
                  <a:pt x="1023" y="676"/>
                </a:lnTo>
                <a:lnTo>
                  <a:pt x="1016" y="675"/>
                </a:lnTo>
                <a:lnTo>
                  <a:pt x="1011" y="674"/>
                </a:lnTo>
                <a:lnTo>
                  <a:pt x="1006" y="674"/>
                </a:lnTo>
                <a:lnTo>
                  <a:pt x="1000" y="675"/>
                </a:lnTo>
                <a:lnTo>
                  <a:pt x="996" y="677"/>
                </a:lnTo>
                <a:lnTo>
                  <a:pt x="995" y="678"/>
                </a:lnTo>
                <a:lnTo>
                  <a:pt x="993" y="678"/>
                </a:lnTo>
                <a:lnTo>
                  <a:pt x="992" y="678"/>
                </a:lnTo>
                <a:lnTo>
                  <a:pt x="991" y="677"/>
                </a:lnTo>
                <a:lnTo>
                  <a:pt x="989" y="675"/>
                </a:lnTo>
                <a:lnTo>
                  <a:pt x="986" y="674"/>
                </a:lnTo>
                <a:lnTo>
                  <a:pt x="984" y="674"/>
                </a:lnTo>
                <a:lnTo>
                  <a:pt x="982" y="674"/>
                </a:lnTo>
                <a:lnTo>
                  <a:pt x="978" y="675"/>
                </a:lnTo>
                <a:lnTo>
                  <a:pt x="975" y="677"/>
                </a:lnTo>
                <a:lnTo>
                  <a:pt x="968" y="681"/>
                </a:lnTo>
                <a:lnTo>
                  <a:pt x="961" y="684"/>
                </a:lnTo>
                <a:lnTo>
                  <a:pt x="953" y="685"/>
                </a:lnTo>
                <a:lnTo>
                  <a:pt x="946" y="685"/>
                </a:lnTo>
                <a:lnTo>
                  <a:pt x="941" y="684"/>
                </a:lnTo>
                <a:lnTo>
                  <a:pt x="936" y="684"/>
                </a:lnTo>
                <a:lnTo>
                  <a:pt x="936" y="685"/>
                </a:lnTo>
                <a:lnTo>
                  <a:pt x="936" y="685"/>
                </a:lnTo>
                <a:lnTo>
                  <a:pt x="936" y="684"/>
                </a:lnTo>
                <a:lnTo>
                  <a:pt x="932" y="680"/>
                </a:lnTo>
                <a:lnTo>
                  <a:pt x="926" y="678"/>
                </a:lnTo>
                <a:lnTo>
                  <a:pt x="921" y="677"/>
                </a:lnTo>
                <a:lnTo>
                  <a:pt x="916" y="678"/>
                </a:lnTo>
                <a:lnTo>
                  <a:pt x="909" y="679"/>
                </a:lnTo>
                <a:lnTo>
                  <a:pt x="904" y="680"/>
                </a:lnTo>
                <a:lnTo>
                  <a:pt x="899" y="680"/>
                </a:lnTo>
                <a:lnTo>
                  <a:pt x="893" y="679"/>
                </a:lnTo>
                <a:lnTo>
                  <a:pt x="888" y="678"/>
                </a:lnTo>
                <a:lnTo>
                  <a:pt x="883" y="676"/>
                </a:lnTo>
                <a:lnTo>
                  <a:pt x="877" y="673"/>
                </a:lnTo>
                <a:lnTo>
                  <a:pt x="873" y="670"/>
                </a:lnTo>
                <a:lnTo>
                  <a:pt x="872" y="667"/>
                </a:lnTo>
                <a:lnTo>
                  <a:pt x="871" y="663"/>
                </a:lnTo>
                <a:lnTo>
                  <a:pt x="869" y="661"/>
                </a:lnTo>
                <a:lnTo>
                  <a:pt x="868" y="659"/>
                </a:lnTo>
                <a:lnTo>
                  <a:pt x="864" y="658"/>
                </a:lnTo>
                <a:lnTo>
                  <a:pt x="862" y="658"/>
                </a:lnTo>
                <a:lnTo>
                  <a:pt x="859" y="659"/>
                </a:lnTo>
                <a:lnTo>
                  <a:pt x="857" y="661"/>
                </a:lnTo>
                <a:lnTo>
                  <a:pt x="854" y="661"/>
                </a:lnTo>
                <a:lnTo>
                  <a:pt x="853" y="660"/>
                </a:lnTo>
                <a:lnTo>
                  <a:pt x="842" y="659"/>
                </a:lnTo>
                <a:lnTo>
                  <a:pt x="832" y="658"/>
                </a:lnTo>
                <a:lnTo>
                  <a:pt x="828" y="658"/>
                </a:lnTo>
                <a:lnTo>
                  <a:pt x="824" y="660"/>
                </a:lnTo>
                <a:lnTo>
                  <a:pt x="818" y="662"/>
                </a:lnTo>
                <a:lnTo>
                  <a:pt x="814" y="667"/>
                </a:lnTo>
                <a:lnTo>
                  <a:pt x="810" y="673"/>
                </a:lnTo>
                <a:lnTo>
                  <a:pt x="807" y="679"/>
                </a:lnTo>
                <a:lnTo>
                  <a:pt x="802" y="685"/>
                </a:lnTo>
                <a:lnTo>
                  <a:pt x="799" y="689"/>
                </a:lnTo>
                <a:lnTo>
                  <a:pt x="799" y="692"/>
                </a:lnTo>
                <a:lnTo>
                  <a:pt x="799" y="694"/>
                </a:lnTo>
                <a:lnTo>
                  <a:pt x="798" y="696"/>
                </a:lnTo>
                <a:lnTo>
                  <a:pt x="797" y="699"/>
                </a:lnTo>
                <a:lnTo>
                  <a:pt x="794" y="702"/>
                </a:lnTo>
                <a:lnTo>
                  <a:pt x="791" y="705"/>
                </a:lnTo>
                <a:lnTo>
                  <a:pt x="788" y="707"/>
                </a:lnTo>
                <a:lnTo>
                  <a:pt x="785" y="710"/>
                </a:lnTo>
                <a:lnTo>
                  <a:pt x="784" y="711"/>
                </a:lnTo>
                <a:lnTo>
                  <a:pt x="783" y="714"/>
                </a:lnTo>
                <a:lnTo>
                  <a:pt x="783" y="716"/>
                </a:lnTo>
                <a:lnTo>
                  <a:pt x="783" y="718"/>
                </a:lnTo>
                <a:lnTo>
                  <a:pt x="784" y="721"/>
                </a:lnTo>
                <a:lnTo>
                  <a:pt x="783" y="724"/>
                </a:lnTo>
                <a:lnTo>
                  <a:pt x="782" y="728"/>
                </a:lnTo>
                <a:lnTo>
                  <a:pt x="781" y="731"/>
                </a:lnTo>
                <a:lnTo>
                  <a:pt x="778" y="735"/>
                </a:lnTo>
                <a:lnTo>
                  <a:pt x="774" y="739"/>
                </a:lnTo>
                <a:lnTo>
                  <a:pt x="772" y="744"/>
                </a:lnTo>
                <a:lnTo>
                  <a:pt x="770" y="749"/>
                </a:lnTo>
                <a:lnTo>
                  <a:pt x="770" y="752"/>
                </a:lnTo>
                <a:lnTo>
                  <a:pt x="769" y="754"/>
                </a:lnTo>
                <a:lnTo>
                  <a:pt x="767" y="757"/>
                </a:lnTo>
                <a:lnTo>
                  <a:pt x="765" y="760"/>
                </a:lnTo>
                <a:lnTo>
                  <a:pt x="761" y="762"/>
                </a:lnTo>
                <a:lnTo>
                  <a:pt x="758" y="765"/>
                </a:lnTo>
                <a:lnTo>
                  <a:pt x="757" y="769"/>
                </a:lnTo>
                <a:lnTo>
                  <a:pt x="756" y="774"/>
                </a:lnTo>
                <a:lnTo>
                  <a:pt x="755" y="778"/>
                </a:lnTo>
                <a:lnTo>
                  <a:pt x="752" y="783"/>
                </a:lnTo>
                <a:lnTo>
                  <a:pt x="751" y="785"/>
                </a:lnTo>
                <a:lnTo>
                  <a:pt x="750" y="787"/>
                </a:lnTo>
                <a:lnTo>
                  <a:pt x="750" y="791"/>
                </a:lnTo>
                <a:lnTo>
                  <a:pt x="751" y="794"/>
                </a:lnTo>
                <a:lnTo>
                  <a:pt x="751" y="795"/>
                </a:lnTo>
                <a:lnTo>
                  <a:pt x="749" y="798"/>
                </a:lnTo>
                <a:lnTo>
                  <a:pt x="743" y="803"/>
                </a:lnTo>
                <a:lnTo>
                  <a:pt x="738" y="809"/>
                </a:lnTo>
                <a:lnTo>
                  <a:pt x="733" y="821"/>
                </a:lnTo>
                <a:lnTo>
                  <a:pt x="727" y="831"/>
                </a:lnTo>
                <a:lnTo>
                  <a:pt x="722" y="843"/>
                </a:lnTo>
                <a:lnTo>
                  <a:pt x="717" y="855"/>
                </a:lnTo>
                <a:lnTo>
                  <a:pt x="709" y="862"/>
                </a:lnTo>
                <a:lnTo>
                  <a:pt x="704" y="870"/>
                </a:lnTo>
                <a:lnTo>
                  <a:pt x="700" y="879"/>
                </a:lnTo>
                <a:lnTo>
                  <a:pt x="693" y="888"/>
                </a:lnTo>
                <a:lnTo>
                  <a:pt x="690" y="892"/>
                </a:lnTo>
                <a:lnTo>
                  <a:pt x="687" y="897"/>
                </a:lnTo>
                <a:lnTo>
                  <a:pt x="685" y="901"/>
                </a:lnTo>
                <a:lnTo>
                  <a:pt x="683" y="906"/>
                </a:lnTo>
                <a:lnTo>
                  <a:pt x="681" y="908"/>
                </a:lnTo>
                <a:lnTo>
                  <a:pt x="678" y="909"/>
                </a:lnTo>
                <a:lnTo>
                  <a:pt x="676" y="912"/>
                </a:lnTo>
                <a:lnTo>
                  <a:pt x="673" y="914"/>
                </a:lnTo>
                <a:lnTo>
                  <a:pt x="672" y="915"/>
                </a:lnTo>
                <a:lnTo>
                  <a:pt x="672" y="916"/>
                </a:lnTo>
                <a:lnTo>
                  <a:pt x="673" y="918"/>
                </a:lnTo>
                <a:lnTo>
                  <a:pt x="675" y="920"/>
                </a:lnTo>
                <a:lnTo>
                  <a:pt x="676" y="921"/>
                </a:lnTo>
                <a:lnTo>
                  <a:pt x="676" y="922"/>
                </a:lnTo>
                <a:lnTo>
                  <a:pt x="676" y="923"/>
                </a:lnTo>
                <a:lnTo>
                  <a:pt x="675" y="923"/>
                </a:lnTo>
                <a:lnTo>
                  <a:pt x="672" y="927"/>
                </a:lnTo>
                <a:lnTo>
                  <a:pt x="670" y="931"/>
                </a:lnTo>
                <a:lnTo>
                  <a:pt x="667" y="935"/>
                </a:lnTo>
                <a:lnTo>
                  <a:pt x="666" y="939"/>
                </a:lnTo>
                <a:lnTo>
                  <a:pt x="666" y="944"/>
                </a:lnTo>
                <a:lnTo>
                  <a:pt x="665" y="948"/>
                </a:lnTo>
                <a:lnTo>
                  <a:pt x="665" y="958"/>
                </a:lnTo>
                <a:lnTo>
                  <a:pt x="664" y="967"/>
                </a:lnTo>
                <a:lnTo>
                  <a:pt x="664" y="968"/>
                </a:lnTo>
                <a:lnTo>
                  <a:pt x="665" y="969"/>
                </a:lnTo>
                <a:lnTo>
                  <a:pt x="666" y="970"/>
                </a:lnTo>
                <a:lnTo>
                  <a:pt x="667" y="971"/>
                </a:lnTo>
                <a:lnTo>
                  <a:pt x="671" y="973"/>
                </a:lnTo>
                <a:lnTo>
                  <a:pt x="672" y="974"/>
                </a:lnTo>
                <a:lnTo>
                  <a:pt x="672" y="976"/>
                </a:lnTo>
                <a:lnTo>
                  <a:pt x="671" y="979"/>
                </a:lnTo>
                <a:lnTo>
                  <a:pt x="670" y="982"/>
                </a:lnTo>
                <a:lnTo>
                  <a:pt x="670" y="984"/>
                </a:lnTo>
                <a:lnTo>
                  <a:pt x="672" y="986"/>
                </a:lnTo>
                <a:lnTo>
                  <a:pt x="674" y="986"/>
                </a:lnTo>
                <a:lnTo>
                  <a:pt x="683" y="990"/>
                </a:lnTo>
                <a:lnTo>
                  <a:pt x="693" y="991"/>
                </a:lnTo>
                <a:lnTo>
                  <a:pt x="694" y="992"/>
                </a:lnTo>
                <a:lnTo>
                  <a:pt x="695" y="994"/>
                </a:lnTo>
                <a:lnTo>
                  <a:pt x="698" y="1002"/>
                </a:lnTo>
                <a:lnTo>
                  <a:pt x="700" y="1012"/>
                </a:lnTo>
                <a:lnTo>
                  <a:pt x="697" y="1015"/>
                </a:lnTo>
                <a:lnTo>
                  <a:pt x="697" y="1017"/>
                </a:lnTo>
                <a:lnTo>
                  <a:pt x="694" y="1019"/>
                </a:lnTo>
                <a:lnTo>
                  <a:pt x="692" y="1019"/>
                </a:lnTo>
                <a:lnTo>
                  <a:pt x="689" y="1020"/>
                </a:lnTo>
                <a:lnTo>
                  <a:pt x="688" y="1022"/>
                </a:lnTo>
                <a:lnTo>
                  <a:pt x="686" y="1024"/>
                </a:lnTo>
                <a:lnTo>
                  <a:pt x="683" y="1025"/>
                </a:lnTo>
                <a:lnTo>
                  <a:pt x="682" y="1024"/>
                </a:lnTo>
                <a:lnTo>
                  <a:pt x="680" y="1022"/>
                </a:lnTo>
                <a:lnTo>
                  <a:pt x="676" y="1016"/>
                </a:lnTo>
                <a:lnTo>
                  <a:pt x="671" y="1012"/>
                </a:lnTo>
                <a:lnTo>
                  <a:pt x="661" y="1008"/>
                </a:lnTo>
                <a:lnTo>
                  <a:pt x="650" y="1007"/>
                </a:lnTo>
                <a:lnTo>
                  <a:pt x="645" y="1007"/>
                </a:lnTo>
                <a:lnTo>
                  <a:pt x="640" y="1008"/>
                </a:lnTo>
                <a:lnTo>
                  <a:pt x="635" y="1011"/>
                </a:lnTo>
                <a:lnTo>
                  <a:pt x="630" y="1015"/>
                </a:lnTo>
                <a:lnTo>
                  <a:pt x="627" y="1016"/>
                </a:lnTo>
                <a:lnTo>
                  <a:pt x="622" y="1017"/>
                </a:lnTo>
                <a:lnTo>
                  <a:pt x="617" y="1016"/>
                </a:lnTo>
                <a:lnTo>
                  <a:pt x="613" y="1017"/>
                </a:lnTo>
                <a:lnTo>
                  <a:pt x="611" y="1021"/>
                </a:lnTo>
                <a:lnTo>
                  <a:pt x="609" y="1024"/>
                </a:lnTo>
                <a:lnTo>
                  <a:pt x="607" y="1025"/>
                </a:lnTo>
                <a:lnTo>
                  <a:pt x="606" y="1025"/>
                </a:lnTo>
                <a:lnTo>
                  <a:pt x="604" y="1026"/>
                </a:lnTo>
                <a:lnTo>
                  <a:pt x="602" y="1025"/>
                </a:lnTo>
                <a:lnTo>
                  <a:pt x="600" y="1028"/>
                </a:lnTo>
                <a:lnTo>
                  <a:pt x="598" y="1030"/>
                </a:lnTo>
                <a:lnTo>
                  <a:pt x="595" y="1032"/>
                </a:lnTo>
                <a:lnTo>
                  <a:pt x="591" y="1034"/>
                </a:lnTo>
                <a:lnTo>
                  <a:pt x="585" y="1035"/>
                </a:lnTo>
                <a:lnTo>
                  <a:pt x="579" y="1036"/>
                </a:lnTo>
                <a:lnTo>
                  <a:pt x="572" y="1038"/>
                </a:lnTo>
                <a:lnTo>
                  <a:pt x="567" y="1039"/>
                </a:lnTo>
                <a:lnTo>
                  <a:pt x="564" y="1038"/>
                </a:lnTo>
                <a:lnTo>
                  <a:pt x="561" y="1037"/>
                </a:lnTo>
                <a:lnTo>
                  <a:pt x="558" y="1034"/>
                </a:lnTo>
                <a:lnTo>
                  <a:pt x="556" y="1029"/>
                </a:lnTo>
                <a:lnTo>
                  <a:pt x="551" y="1023"/>
                </a:lnTo>
                <a:lnTo>
                  <a:pt x="544" y="1017"/>
                </a:lnTo>
                <a:lnTo>
                  <a:pt x="537" y="1012"/>
                </a:lnTo>
                <a:lnTo>
                  <a:pt x="529" y="1007"/>
                </a:lnTo>
                <a:lnTo>
                  <a:pt x="527" y="1006"/>
                </a:lnTo>
                <a:lnTo>
                  <a:pt x="525" y="1006"/>
                </a:lnTo>
                <a:lnTo>
                  <a:pt x="523" y="1007"/>
                </a:lnTo>
                <a:lnTo>
                  <a:pt x="522" y="1008"/>
                </a:lnTo>
                <a:lnTo>
                  <a:pt x="521" y="1009"/>
                </a:lnTo>
                <a:lnTo>
                  <a:pt x="520" y="1011"/>
                </a:lnTo>
                <a:lnTo>
                  <a:pt x="520" y="1012"/>
                </a:lnTo>
                <a:lnTo>
                  <a:pt x="521" y="1014"/>
                </a:lnTo>
                <a:lnTo>
                  <a:pt x="527" y="1023"/>
                </a:lnTo>
                <a:lnTo>
                  <a:pt x="533" y="1031"/>
                </a:lnTo>
                <a:lnTo>
                  <a:pt x="538" y="1041"/>
                </a:lnTo>
                <a:lnTo>
                  <a:pt x="544" y="1050"/>
                </a:lnTo>
                <a:lnTo>
                  <a:pt x="547" y="1056"/>
                </a:lnTo>
                <a:lnTo>
                  <a:pt x="552" y="1061"/>
                </a:lnTo>
                <a:lnTo>
                  <a:pt x="555" y="1067"/>
                </a:lnTo>
                <a:lnTo>
                  <a:pt x="560" y="1070"/>
                </a:lnTo>
                <a:lnTo>
                  <a:pt x="569" y="1075"/>
                </a:lnTo>
                <a:lnTo>
                  <a:pt x="579" y="1081"/>
                </a:lnTo>
                <a:lnTo>
                  <a:pt x="588" y="1085"/>
                </a:lnTo>
                <a:lnTo>
                  <a:pt x="598" y="1088"/>
                </a:lnTo>
                <a:lnTo>
                  <a:pt x="603" y="1091"/>
                </a:lnTo>
                <a:lnTo>
                  <a:pt x="609" y="1095"/>
                </a:lnTo>
                <a:lnTo>
                  <a:pt x="612" y="1099"/>
                </a:lnTo>
                <a:lnTo>
                  <a:pt x="614" y="1102"/>
                </a:lnTo>
                <a:lnTo>
                  <a:pt x="614" y="1104"/>
                </a:lnTo>
                <a:lnTo>
                  <a:pt x="614" y="1105"/>
                </a:lnTo>
                <a:lnTo>
                  <a:pt x="613" y="1106"/>
                </a:lnTo>
                <a:lnTo>
                  <a:pt x="612" y="1107"/>
                </a:lnTo>
                <a:lnTo>
                  <a:pt x="605" y="1108"/>
                </a:lnTo>
                <a:lnTo>
                  <a:pt x="596" y="1108"/>
                </a:lnTo>
                <a:lnTo>
                  <a:pt x="582" y="1108"/>
                </a:lnTo>
                <a:lnTo>
                  <a:pt x="571" y="1107"/>
                </a:lnTo>
                <a:lnTo>
                  <a:pt x="566" y="1108"/>
                </a:lnTo>
                <a:lnTo>
                  <a:pt x="564" y="1109"/>
                </a:lnTo>
                <a:lnTo>
                  <a:pt x="565" y="1113"/>
                </a:lnTo>
                <a:lnTo>
                  <a:pt x="570" y="1117"/>
                </a:lnTo>
                <a:lnTo>
                  <a:pt x="581" y="1123"/>
                </a:lnTo>
                <a:lnTo>
                  <a:pt x="595" y="1133"/>
                </a:lnTo>
                <a:lnTo>
                  <a:pt x="599" y="1136"/>
                </a:lnTo>
                <a:lnTo>
                  <a:pt x="602" y="1139"/>
                </a:lnTo>
                <a:lnTo>
                  <a:pt x="604" y="1143"/>
                </a:lnTo>
                <a:lnTo>
                  <a:pt x="605" y="1145"/>
                </a:lnTo>
                <a:lnTo>
                  <a:pt x="600" y="1147"/>
                </a:lnTo>
                <a:lnTo>
                  <a:pt x="596" y="1150"/>
                </a:lnTo>
                <a:lnTo>
                  <a:pt x="592" y="1154"/>
                </a:lnTo>
                <a:lnTo>
                  <a:pt x="590" y="1159"/>
                </a:lnTo>
                <a:lnTo>
                  <a:pt x="582" y="1162"/>
                </a:lnTo>
                <a:lnTo>
                  <a:pt x="573" y="1164"/>
                </a:lnTo>
                <a:lnTo>
                  <a:pt x="564" y="1166"/>
                </a:lnTo>
                <a:lnTo>
                  <a:pt x="555" y="1167"/>
                </a:lnTo>
                <a:lnTo>
                  <a:pt x="551" y="1165"/>
                </a:lnTo>
                <a:lnTo>
                  <a:pt x="544" y="1165"/>
                </a:lnTo>
                <a:lnTo>
                  <a:pt x="543" y="1161"/>
                </a:lnTo>
                <a:lnTo>
                  <a:pt x="541" y="1158"/>
                </a:lnTo>
                <a:lnTo>
                  <a:pt x="538" y="1155"/>
                </a:lnTo>
                <a:lnTo>
                  <a:pt x="535" y="1153"/>
                </a:lnTo>
                <a:lnTo>
                  <a:pt x="528" y="1151"/>
                </a:lnTo>
                <a:lnTo>
                  <a:pt x="521" y="1150"/>
                </a:lnTo>
                <a:lnTo>
                  <a:pt x="519" y="1149"/>
                </a:lnTo>
                <a:lnTo>
                  <a:pt x="516" y="1147"/>
                </a:lnTo>
                <a:lnTo>
                  <a:pt x="514" y="1146"/>
                </a:lnTo>
                <a:lnTo>
                  <a:pt x="511" y="1145"/>
                </a:lnTo>
                <a:lnTo>
                  <a:pt x="506" y="1146"/>
                </a:lnTo>
                <a:lnTo>
                  <a:pt x="499" y="1146"/>
                </a:lnTo>
                <a:lnTo>
                  <a:pt x="497" y="1145"/>
                </a:lnTo>
                <a:lnTo>
                  <a:pt x="495" y="1144"/>
                </a:lnTo>
                <a:lnTo>
                  <a:pt x="493" y="1141"/>
                </a:lnTo>
                <a:lnTo>
                  <a:pt x="492" y="1136"/>
                </a:lnTo>
                <a:lnTo>
                  <a:pt x="491" y="1135"/>
                </a:lnTo>
                <a:lnTo>
                  <a:pt x="489" y="1134"/>
                </a:lnTo>
                <a:lnTo>
                  <a:pt x="485" y="1134"/>
                </a:lnTo>
                <a:lnTo>
                  <a:pt x="483" y="1135"/>
                </a:lnTo>
                <a:lnTo>
                  <a:pt x="481" y="1136"/>
                </a:lnTo>
                <a:lnTo>
                  <a:pt x="481" y="1137"/>
                </a:lnTo>
                <a:lnTo>
                  <a:pt x="485" y="1142"/>
                </a:lnTo>
                <a:lnTo>
                  <a:pt x="488" y="1146"/>
                </a:lnTo>
                <a:lnTo>
                  <a:pt x="488" y="1151"/>
                </a:lnTo>
                <a:lnTo>
                  <a:pt x="486" y="1157"/>
                </a:lnTo>
                <a:lnTo>
                  <a:pt x="488" y="1158"/>
                </a:lnTo>
                <a:lnTo>
                  <a:pt x="490" y="1159"/>
                </a:lnTo>
                <a:lnTo>
                  <a:pt x="494" y="1163"/>
                </a:lnTo>
                <a:lnTo>
                  <a:pt x="496" y="1167"/>
                </a:lnTo>
                <a:lnTo>
                  <a:pt x="498" y="1172"/>
                </a:lnTo>
                <a:lnTo>
                  <a:pt x="500" y="1177"/>
                </a:lnTo>
                <a:lnTo>
                  <a:pt x="501" y="1179"/>
                </a:lnTo>
                <a:lnTo>
                  <a:pt x="501" y="1181"/>
                </a:lnTo>
                <a:lnTo>
                  <a:pt x="500" y="1183"/>
                </a:lnTo>
                <a:lnTo>
                  <a:pt x="499" y="1185"/>
                </a:lnTo>
                <a:lnTo>
                  <a:pt x="497" y="1187"/>
                </a:lnTo>
                <a:lnTo>
                  <a:pt x="495" y="1188"/>
                </a:lnTo>
                <a:lnTo>
                  <a:pt x="493" y="1188"/>
                </a:lnTo>
                <a:lnTo>
                  <a:pt x="491" y="1187"/>
                </a:lnTo>
                <a:lnTo>
                  <a:pt x="485" y="1184"/>
                </a:lnTo>
                <a:lnTo>
                  <a:pt x="479" y="1181"/>
                </a:lnTo>
                <a:lnTo>
                  <a:pt x="467" y="1176"/>
                </a:lnTo>
                <a:lnTo>
                  <a:pt x="455" y="1168"/>
                </a:lnTo>
                <a:lnTo>
                  <a:pt x="453" y="1165"/>
                </a:lnTo>
                <a:lnTo>
                  <a:pt x="450" y="1163"/>
                </a:lnTo>
                <a:lnTo>
                  <a:pt x="447" y="1161"/>
                </a:lnTo>
                <a:lnTo>
                  <a:pt x="443" y="1161"/>
                </a:lnTo>
                <a:lnTo>
                  <a:pt x="439" y="1160"/>
                </a:lnTo>
                <a:lnTo>
                  <a:pt x="436" y="1159"/>
                </a:lnTo>
                <a:lnTo>
                  <a:pt x="434" y="1157"/>
                </a:lnTo>
                <a:lnTo>
                  <a:pt x="432" y="1154"/>
                </a:lnTo>
                <a:lnTo>
                  <a:pt x="427" y="1148"/>
                </a:lnTo>
                <a:lnTo>
                  <a:pt x="421" y="1143"/>
                </a:lnTo>
                <a:lnTo>
                  <a:pt x="416" y="1138"/>
                </a:lnTo>
                <a:lnTo>
                  <a:pt x="409" y="1134"/>
                </a:lnTo>
                <a:lnTo>
                  <a:pt x="405" y="1130"/>
                </a:lnTo>
                <a:lnTo>
                  <a:pt x="401" y="1126"/>
                </a:lnTo>
                <a:lnTo>
                  <a:pt x="397" y="1120"/>
                </a:lnTo>
                <a:lnTo>
                  <a:pt x="394" y="1114"/>
                </a:lnTo>
                <a:lnTo>
                  <a:pt x="392" y="1109"/>
                </a:lnTo>
                <a:lnTo>
                  <a:pt x="390" y="1104"/>
                </a:lnTo>
                <a:lnTo>
                  <a:pt x="386" y="1097"/>
                </a:lnTo>
                <a:lnTo>
                  <a:pt x="382" y="1088"/>
                </a:lnTo>
                <a:lnTo>
                  <a:pt x="379" y="1081"/>
                </a:lnTo>
                <a:lnTo>
                  <a:pt x="378" y="1071"/>
                </a:lnTo>
                <a:lnTo>
                  <a:pt x="377" y="1069"/>
                </a:lnTo>
                <a:lnTo>
                  <a:pt x="377" y="1066"/>
                </a:lnTo>
                <a:lnTo>
                  <a:pt x="378" y="1062"/>
                </a:lnTo>
                <a:lnTo>
                  <a:pt x="380" y="1061"/>
                </a:lnTo>
                <a:lnTo>
                  <a:pt x="384" y="1060"/>
                </a:lnTo>
                <a:lnTo>
                  <a:pt x="386" y="1061"/>
                </a:lnTo>
                <a:lnTo>
                  <a:pt x="388" y="1063"/>
                </a:lnTo>
                <a:lnTo>
                  <a:pt x="389" y="1066"/>
                </a:lnTo>
                <a:lnTo>
                  <a:pt x="393" y="1069"/>
                </a:lnTo>
                <a:lnTo>
                  <a:pt x="398" y="1072"/>
                </a:lnTo>
                <a:lnTo>
                  <a:pt x="400" y="1074"/>
                </a:lnTo>
                <a:lnTo>
                  <a:pt x="403" y="1076"/>
                </a:lnTo>
                <a:lnTo>
                  <a:pt x="407" y="1078"/>
                </a:lnTo>
                <a:lnTo>
                  <a:pt x="412" y="1080"/>
                </a:lnTo>
                <a:lnTo>
                  <a:pt x="416" y="1081"/>
                </a:lnTo>
                <a:lnTo>
                  <a:pt x="420" y="1080"/>
                </a:lnTo>
                <a:lnTo>
                  <a:pt x="423" y="1080"/>
                </a:lnTo>
                <a:lnTo>
                  <a:pt x="425" y="1077"/>
                </a:lnTo>
                <a:lnTo>
                  <a:pt x="431" y="1073"/>
                </a:lnTo>
                <a:lnTo>
                  <a:pt x="436" y="1071"/>
                </a:lnTo>
                <a:lnTo>
                  <a:pt x="442" y="1071"/>
                </a:lnTo>
                <a:lnTo>
                  <a:pt x="448" y="1071"/>
                </a:lnTo>
                <a:lnTo>
                  <a:pt x="453" y="1071"/>
                </a:lnTo>
                <a:lnTo>
                  <a:pt x="458" y="1069"/>
                </a:lnTo>
                <a:lnTo>
                  <a:pt x="462" y="1066"/>
                </a:lnTo>
                <a:lnTo>
                  <a:pt x="466" y="1063"/>
                </a:lnTo>
                <a:lnTo>
                  <a:pt x="469" y="1060"/>
                </a:lnTo>
                <a:lnTo>
                  <a:pt x="470" y="1056"/>
                </a:lnTo>
                <a:lnTo>
                  <a:pt x="470" y="1054"/>
                </a:lnTo>
                <a:lnTo>
                  <a:pt x="470" y="1052"/>
                </a:lnTo>
                <a:lnTo>
                  <a:pt x="468" y="1050"/>
                </a:lnTo>
                <a:lnTo>
                  <a:pt x="466" y="1047"/>
                </a:lnTo>
                <a:lnTo>
                  <a:pt x="463" y="1042"/>
                </a:lnTo>
                <a:lnTo>
                  <a:pt x="461" y="1036"/>
                </a:lnTo>
                <a:lnTo>
                  <a:pt x="460" y="1032"/>
                </a:lnTo>
                <a:lnTo>
                  <a:pt x="458" y="1030"/>
                </a:lnTo>
                <a:lnTo>
                  <a:pt x="455" y="1028"/>
                </a:lnTo>
                <a:lnTo>
                  <a:pt x="451" y="1026"/>
                </a:lnTo>
                <a:lnTo>
                  <a:pt x="450" y="1026"/>
                </a:lnTo>
                <a:lnTo>
                  <a:pt x="449" y="1024"/>
                </a:lnTo>
                <a:lnTo>
                  <a:pt x="449" y="1023"/>
                </a:lnTo>
                <a:lnTo>
                  <a:pt x="450" y="1021"/>
                </a:lnTo>
                <a:lnTo>
                  <a:pt x="452" y="1016"/>
                </a:lnTo>
                <a:lnTo>
                  <a:pt x="454" y="1013"/>
                </a:lnTo>
                <a:lnTo>
                  <a:pt x="458" y="1010"/>
                </a:lnTo>
                <a:lnTo>
                  <a:pt x="462" y="1007"/>
                </a:lnTo>
                <a:lnTo>
                  <a:pt x="464" y="1006"/>
                </a:lnTo>
                <a:lnTo>
                  <a:pt x="465" y="1005"/>
                </a:lnTo>
                <a:lnTo>
                  <a:pt x="465" y="1002"/>
                </a:lnTo>
                <a:lnTo>
                  <a:pt x="466" y="1001"/>
                </a:lnTo>
                <a:lnTo>
                  <a:pt x="465" y="998"/>
                </a:lnTo>
                <a:lnTo>
                  <a:pt x="464" y="997"/>
                </a:lnTo>
                <a:lnTo>
                  <a:pt x="458" y="998"/>
                </a:lnTo>
                <a:lnTo>
                  <a:pt x="452" y="998"/>
                </a:lnTo>
                <a:lnTo>
                  <a:pt x="448" y="999"/>
                </a:lnTo>
                <a:lnTo>
                  <a:pt x="444" y="1002"/>
                </a:lnTo>
                <a:lnTo>
                  <a:pt x="440" y="1005"/>
                </a:lnTo>
                <a:lnTo>
                  <a:pt x="438" y="1007"/>
                </a:lnTo>
                <a:lnTo>
                  <a:pt x="435" y="1008"/>
                </a:lnTo>
                <a:lnTo>
                  <a:pt x="432" y="1008"/>
                </a:lnTo>
                <a:lnTo>
                  <a:pt x="421" y="1010"/>
                </a:lnTo>
                <a:lnTo>
                  <a:pt x="409" y="1011"/>
                </a:lnTo>
                <a:lnTo>
                  <a:pt x="408" y="1011"/>
                </a:lnTo>
                <a:lnTo>
                  <a:pt x="407" y="1010"/>
                </a:lnTo>
                <a:lnTo>
                  <a:pt x="407" y="1009"/>
                </a:lnTo>
                <a:lnTo>
                  <a:pt x="407" y="1008"/>
                </a:lnTo>
                <a:lnTo>
                  <a:pt x="407" y="1005"/>
                </a:lnTo>
                <a:lnTo>
                  <a:pt x="406" y="1002"/>
                </a:lnTo>
                <a:lnTo>
                  <a:pt x="404" y="1002"/>
                </a:lnTo>
                <a:lnTo>
                  <a:pt x="402" y="1004"/>
                </a:lnTo>
                <a:lnTo>
                  <a:pt x="393" y="1006"/>
                </a:lnTo>
                <a:lnTo>
                  <a:pt x="386" y="1008"/>
                </a:lnTo>
                <a:lnTo>
                  <a:pt x="380" y="1007"/>
                </a:lnTo>
                <a:lnTo>
                  <a:pt x="374" y="1005"/>
                </a:lnTo>
                <a:lnTo>
                  <a:pt x="369" y="1001"/>
                </a:lnTo>
                <a:lnTo>
                  <a:pt x="364" y="996"/>
                </a:lnTo>
                <a:lnTo>
                  <a:pt x="362" y="994"/>
                </a:lnTo>
                <a:lnTo>
                  <a:pt x="360" y="991"/>
                </a:lnTo>
                <a:lnTo>
                  <a:pt x="357" y="988"/>
                </a:lnTo>
                <a:lnTo>
                  <a:pt x="354" y="984"/>
                </a:lnTo>
                <a:lnTo>
                  <a:pt x="349" y="981"/>
                </a:lnTo>
                <a:lnTo>
                  <a:pt x="345" y="980"/>
                </a:lnTo>
                <a:lnTo>
                  <a:pt x="344" y="979"/>
                </a:lnTo>
                <a:lnTo>
                  <a:pt x="344" y="978"/>
                </a:lnTo>
                <a:lnTo>
                  <a:pt x="343" y="975"/>
                </a:lnTo>
                <a:lnTo>
                  <a:pt x="341" y="971"/>
                </a:lnTo>
                <a:lnTo>
                  <a:pt x="339" y="969"/>
                </a:lnTo>
                <a:lnTo>
                  <a:pt x="337" y="968"/>
                </a:lnTo>
                <a:lnTo>
                  <a:pt x="331" y="966"/>
                </a:lnTo>
                <a:lnTo>
                  <a:pt x="325" y="965"/>
                </a:lnTo>
                <a:lnTo>
                  <a:pt x="321" y="965"/>
                </a:lnTo>
                <a:lnTo>
                  <a:pt x="317" y="966"/>
                </a:lnTo>
                <a:lnTo>
                  <a:pt x="316" y="969"/>
                </a:lnTo>
                <a:lnTo>
                  <a:pt x="316" y="975"/>
                </a:lnTo>
                <a:lnTo>
                  <a:pt x="317" y="978"/>
                </a:lnTo>
                <a:lnTo>
                  <a:pt x="318" y="980"/>
                </a:lnTo>
                <a:lnTo>
                  <a:pt x="317" y="983"/>
                </a:lnTo>
                <a:lnTo>
                  <a:pt x="315" y="986"/>
                </a:lnTo>
                <a:lnTo>
                  <a:pt x="324" y="997"/>
                </a:lnTo>
                <a:lnTo>
                  <a:pt x="332" y="1009"/>
                </a:lnTo>
                <a:lnTo>
                  <a:pt x="332" y="1023"/>
                </a:lnTo>
                <a:lnTo>
                  <a:pt x="334" y="1038"/>
                </a:lnTo>
                <a:lnTo>
                  <a:pt x="337" y="1052"/>
                </a:lnTo>
                <a:lnTo>
                  <a:pt x="339" y="1066"/>
                </a:lnTo>
                <a:lnTo>
                  <a:pt x="341" y="1086"/>
                </a:lnTo>
                <a:lnTo>
                  <a:pt x="343" y="1105"/>
                </a:lnTo>
                <a:lnTo>
                  <a:pt x="344" y="1126"/>
                </a:lnTo>
                <a:lnTo>
                  <a:pt x="344" y="1146"/>
                </a:lnTo>
                <a:lnTo>
                  <a:pt x="343" y="1155"/>
                </a:lnTo>
                <a:lnTo>
                  <a:pt x="343" y="1166"/>
                </a:lnTo>
                <a:lnTo>
                  <a:pt x="341" y="1176"/>
                </a:lnTo>
                <a:lnTo>
                  <a:pt x="339" y="1187"/>
                </a:lnTo>
                <a:lnTo>
                  <a:pt x="334" y="1196"/>
                </a:lnTo>
                <a:lnTo>
                  <a:pt x="331" y="1206"/>
                </a:lnTo>
                <a:lnTo>
                  <a:pt x="327" y="1215"/>
                </a:lnTo>
                <a:lnTo>
                  <a:pt x="325" y="1226"/>
                </a:lnTo>
                <a:lnTo>
                  <a:pt x="323" y="1233"/>
                </a:lnTo>
                <a:lnTo>
                  <a:pt x="321" y="1239"/>
                </a:lnTo>
                <a:lnTo>
                  <a:pt x="315" y="1252"/>
                </a:lnTo>
                <a:lnTo>
                  <a:pt x="312" y="1265"/>
                </a:lnTo>
                <a:lnTo>
                  <a:pt x="309" y="1277"/>
                </a:lnTo>
                <a:lnTo>
                  <a:pt x="306" y="1291"/>
                </a:lnTo>
                <a:lnTo>
                  <a:pt x="304" y="1296"/>
                </a:lnTo>
                <a:lnTo>
                  <a:pt x="303" y="1300"/>
                </a:lnTo>
                <a:lnTo>
                  <a:pt x="301" y="1304"/>
                </a:lnTo>
                <a:lnTo>
                  <a:pt x="299" y="1307"/>
                </a:lnTo>
                <a:lnTo>
                  <a:pt x="296" y="1312"/>
                </a:lnTo>
                <a:lnTo>
                  <a:pt x="294" y="1317"/>
                </a:lnTo>
                <a:lnTo>
                  <a:pt x="293" y="1321"/>
                </a:lnTo>
                <a:lnTo>
                  <a:pt x="292" y="1327"/>
                </a:lnTo>
                <a:lnTo>
                  <a:pt x="292" y="1332"/>
                </a:lnTo>
                <a:lnTo>
                  <a:pt x="292" y="1337"/>
                </a:lnTo>
                <a:lnTo>
                  <a:pt x="289" y="1343"/>
                </a:lnTo>
                <a:lnTo>
                  <a:pt x="286" y="1347"/>
                </a:lnTo>
                <a:lnTo>
                  <a:pt x="288" y="1347"/>
                </a:lnTo>
                <a:lnTo>
                  <a:pt x="291" y="1347"/>
                </a:lnTo>
                <a:lnTo>
                  <a:pt x="291" y="1349"/>
                </a:lnTo>
                <a:lnTo>
                  <a:pt x="291" y="1351"/>
                </a:lnTo>
                <a:lnTo>
                  <a:pt x="292" y="1358"/>
                </a:lnTo>
                <a:lnTo>
                  <a:pt x="292" y="1364"/>
                </a:lnTo>
                <a:lnTo>
                  <a:pt x="289" y="1363"/>
                </a:lnTo>
                <a:lnTo>
                  <a:pt x="287" y="1363"/>
                </a:lnTo>
                <a:lnTo>
                  <a:pt x="286" y="1361"/>
                </a:lnTo>
                <a:lnTo>
                  <a:pt x="285" y="1360"/>
                </a:lnTo>
                <a:lnTo>
                  <a:pt x="284" y="1356"/>
                </a:lnTo>
                <a:lnTo>
                  <a:pt x="284" y="1352"/>
                </a:lnTo>
                <a:lnTo>
                  <a:pt x="280" y="1367"/>
                </a:lnTo>
                <a:lnTo>
                  <a:pt x="277" y="1382"/>
                </a:lnTo>
                <a:lnTo>
                  <a:pt x="276" y="1389"/>
                </a:lnTo>
                <a:lnTo>
                  <a:pt x="273" y="1395"/>
                </a:lnTo>
                <a:lnTo>
                  <a:pt x="271" y="1401"/>
                </a:lnTo>
                <a:lnTo>
                  <a:pt x="268" y="1407"/>
                </a:lnTo>
                <a:lnTo>
                  <a:pt x="259" y="1421"/>
                </a:lnTo>
                <a:lnTo>
                  <a:pt x="253" y="1435"/>
                </a:lnTo>
                <a:lnTo>
                  <a:pt x="251" y="1441"/>
                </a:lnTo>
                <a:lnTo>
                  <a:pt x="249" y="1447"/>
                </a:lnTo>
                <a:lnTo>
                  <a:pt x="249" y="1452"/>
                </a:lnTo>
                <a:lnTo>
                  <a:pt x="248" y="1458"/>
                </a:lnTo>
                <a:lnTo>
                  <a:pt x="247" y="1470"/>
                </a:lnTo>
                <a:lnTo>
                  <a:pt x="246" y="1482"/>
                </a:lnTo>
                <a:lnTo>
                  <a:pt x="247" y="1484"/>
                </a:lnTo>
                <a:lnTo>
                  <a:pt x="248" y="1487"/>
                </a:lnTo>
                <a:lnTo>
                  <a:pt x="248" y="1497"/>
                </a:lnTo>
                <a:lnTo>
                  <a:pt x="250" y="1505"/>
                </a:lnTo>
                <a:lnTo>
                  <a:pt x="253" y="1513"/>
                </a:lnTo>
                <a:lnTo>
                  <a:pt x="257" y="1521"/>
                </a:lnTo>
                <a:lnTo>
                  <a:pt x="258" y="1522"/>
                </a:lnTo>
                <a:lnTo>
                  <a:pt x="259" y="1524"/>
                </a:lnTo>
                <a:lnTo>
                  <a:pt x="261" y="1524"/>
                </a:lnTo>
                <a:lnTo>
                  <a:pt x="262" y="1522"/>
                </a:lnTo>
                <a:lnTo>
                  <a:pt x="262" y="1516"/>
                </a:lnTo>
                <a:lnTo>
                  <a:pt x="261" y="1509"/>
                </a:lnTo>
                <a:lnTo>
                  <a:pt x="256" y="1498"/>
                </a:lnTo>
                <a:lnTo>
                  <a:pt x="252" y="1487"/>
                </a:lnTo>
                <a:lnTo>
                  <a:pt x="252" y="1475"/>
                </a:lnTo>
                <a:lnTo>
                  <a:pt x="251" y="1465"/>
                </a:lnTo>
                <a:lnTo>
                  <a:pt x="250" y="1460"/>
                </a:lnTo>
                <a:lnTo>
                  <a:pt x="250" y="1457"/>
                </a:lnTo>
                <a:lnTo>
                  <a:pt x="250" y="1456"/>
                </a:lnTo>
                <a:lnTo>
                  <a:pt x="251" y="1454"/>
                </a:lnTo>
                <a:lnTo>
                  <a:pt x="252" y="1453"/>
                </a:lnTo>
                <a:lnTo>
                  <a:pt x="253" y="1453"/>
                </a:lnTo>
                <a:lnTo>
                  <a:pt x="255" y="1454"/>
                </a:lnTo>
                <a:lnTo>
                  <a:pt x="257" y="1456"/>
                </a:lnTo>
                <a:lnTo>
                  <a:pt x="258" y="1459"/>
                </a:lnTo>
                <a:lnTo>
                  <a:pt x="259" y="1463"/>
                </a:lnTo>
                <a:lnTo>
                  <a:pt x="261" y="1467"/>
                </a:lnTo>
                <a:lnTo>
                  <a:pt x="263" y="1471"/>
                </a:lnTo>
                <a:lnTo>
                  <a:pt x="266" y="1475"/>
                </a:lnTo>
                <a:lnTo>
                  <a:pt x="270" y="1478"/>
                </a:lnTo>
                <a:lnTo>
                  <a:pt x="269" y="1473"/>
                </a:lnTo>
                <a:lnTo>
                  <a:pt x="268" y="1469"/>
                </a:lnTo>
                <a:lnTo>
                  <a:pt x="268" y="1465"/>
                </a:lnTo>
                <a:lnTo>
                  <a:pt x="268" y="1459"/>
                </a:lnTo>
                <a:lnTo>
                  <a:pt x="271" y="1459"/>
                </a:lnTo>
                <a:lnTo>
                  <a:pt x="273" y="1457"/>
                </a:lnTo>
                <a:lnTo>
                  <a:pt x="274" y="1452"/>
                </a:lnTo>
                <a:lnTo>
                  <a:pt x="277" y="1449"/>
                </a:lnTo>
                <a:lnTo>
                  <a:pt x="280" y="1447"/>
                </a:lnTo>
                <a:lnTo>
                  <a:pt x="284" y="1445"/>
                </a:lnTo>
                <a:lnTo>
                  <a:pt x="286" y="1445"/>
                </a:lnTo>
                <a:lnTo>
                  <a:pt x="287" y="1443"/>
                </a:lnTo>
                <a:lnTo>
                  <a:pt x="287" y="1441"/>
                </a:lnTo>
                <a:lnTo>
                  <a:pt x="287" y="1439"/>
                </a:lnTo>
                <a:lnTo>
                  <a:pt x="287" y="1437"/>
                </a:lnTo>
                <a:lnTo>
                  <a:pt x="286" y="1437"/>
                </a:lnTo>
                <a:lnTo>
                  <a:pt x="284" y="1437"/>
                </a:lnTo>
                <a:lnTo>
                  <a:pt x="283" y="1436"/>
                </a:lnTo>
                <a:lnTo>
                  <a:pt x="279" y="1436"/>
                </a:lnTo>
                <a:lnTo>
                  <a:pt x="274" y="1437"/>
                </a:lnTo>
                <a:lnTo>
                  <a:pt x="271" y="1439"/>
                </a:lnTo>
                <a:lnTo>
                  <a:pt x="268" y="1441"/>
                </a:lnTo>
                <a:lnTo>
                  <a:pt x="265" y="1445"/>
                </a:lnTo>
                <a:lnTo>
                  <a:pt x="265" y="1450"/>
                </a:lnTo>
                <a:lnTo>
                  <a:pt x="265" y="1455"/>
                </a:lnTo>
                <a:lnTo>
                  <a:pt x="265" y="1459"/>
                </a:lnTo>
                <a:lnTo>
                  <a:pt x="263" y="1451"/>
                </a:lnTo>
                <a:lnTo>
                  <a:pt x="263" y="1442"/>
                </a:lnTo>
                <a:lnTo>
                  <a:pt x="264" y="1434"/>
                </a:lnTo>
                <a:lnTo>
                  <a:pt x="263" y="1425"/>
                </a:lnTo>
                <a:lnTo>
                  <a:pt x="264" y="1424"/>
                </a:lnTo>
                <a:lnTo>
                  <a:pt x="265" y="1423"/>
                </a:lnTo>
                <a:lnTo>
                  <a:pt x="267" y="1423"/>
                </a:lnTo>
                <a:lnTo>
                  <a:pt x="268" y="1424"/>
                </a:lnTo>
                <a:lnTo>
                  <a:pt x="268" y="1425"/>
                </a:lnTo>
                <a:lnTo>
                  <a:pt x="269" y="1427"/>
                </a:lnTo>
                <a:lnTo>
                  <a:pt x="270" y="1428"/>
                </a:lnTo>
                <a:lnTo>
                  <a:pt x="272" y="1428"/>
                </a:lnTo>
                <a:lnTo>
                  <a:pt x="273" y="1427"/>
                </a:lnTo>
                <a:lnTo>
                  <a:pt x="274" y="1425"/>
                </a:lnTo>
                <a:lnTo>
                  <a:pt x="274" y="1423"/>
                </a:lnTo>
                <a:lnTo>
                  <a:pt x="273" y="1421"/>
                </a:lnTo>
                <a:lnTo>
                  <a:pt x="276" y="1413"/>
                </a:lnTo>
                <a:lnTo>
                  <a:pt x="279" y="1406"/>
                </a:lnTo>
                <a:lnTo>
                  <a:pt x="282" y="1405"/>
                </a:lnTo>
                <a:lnTo>
                  <a:pt x="287" y="1404"/>
                </a:lnTo>
                <a:lnTo>
                  <a:pt x="289" y="1403"/>
                </a:lnTo>
                <a:lnTo>
                  <a:pt x="292" y="1402"/>
                </a:lnTo>
                <a:lnTo>
                  <a:pt x="293" y="1399"/>
                </a:lnTo>
                <a:lnTo>
                  <a:pt x="292" y="1397"/>
                </a:lnTo>
                <a:lnTo>
                  <a:pt x="288" y="1394"/>
                </a:lnTo>
                <a:lnTo>
                  <a:pt x="287" y="1391"/>
                </a:lnTo>
                <a:lnTo>
                  <a:pt x="287" y="1388"/>
                </a:lnTo>
                <a:lnTo>
                  <a:pt x="289" y="1384"/>
                </a:lnTo>
                <a:lnTo>
                  <a:pt x="291" y="1382"/>
                </a:lnTo>
                <a:lnTo>
                  <a:pt x="291" y="1380"/>
                </a:lnTo>
                <a:lnTo>
                  <a:pt x="289" y="1378"/>
                </a:lnTo>
                <a:lnTo>
                  <a:pt x="288" y="1376"/>
                </a:lnTo>
                <a:lnTo>
                  <a:pt x="287" y="1375"/>
                </a:lnTo>
                <a:lnTo>
                  <a:pt x="286" y="1373"/>
                </a:lnTo>
                <a:lnTo>
                  <a:pt x="287" y="1372"/>
                </a:lnTo>
                <a:lnTo>
                  <a:pt x="288" y="1369"/>
                </a:lnTo>
                <a:lnTo>
                  <a:pt x="291" y="1368"/>
                </a:lnTo>
                <a:lnTo>
                  <a:pt x="291" y="1368"/>
                </a:lnTo>
                <a:lnTo>
                  <a:pt x="292" y="1369"/>
                </a:lnTo>
                <a:lnTo>
                  <a:pt x="293" y="1369"/>
                </a:lnTo>
                <a:lnTo>
                  <a:pt x="293" y="1372"/>
                </a:lnTo>
                <a:lnTo>
                  <a:pt x="295" y="1373"/>
                </a:lnTo>
                <a:lnTo>
                  <a:pt x="297" y="1379"/>
                </a:lnTo>
                <a:lnTo>
                  <a:pt x="302" y="1386"/>
                </a:lnTo>
                <a:lnTo>
                  <a:pt x="304" y="1390"/>
                </a:lnTo>
                <a:lnTo>
                  <a:pt x="309" y="1392"/>
                </a:lnTo>
                <a:lnTo>
                  <a:pt x="310" y="1393"/>
                </a:lnTo>
                <a:lnTo>
                  <a:pt x="311" y="1394"/>
                </a:lnTo>
                <a:lnTo>
                  <a:pt x="318" y="1402"/>
                </a:lnTo>
                <a:lnTo>
                  <a:pt x="326" y="1408"/>
                </a:lnTo>
                <a:lnTo>
                  <a:pt x="327" y="1409"/>
                </a:lnTo>
                <a:lnTo>
                  <a:pt x="328" y="1410"/>
                </a:lnTo>
                <a:lnTo>
                  <a:pt x="330" y="1414"/>
                </a:lnTo>
                <a:lnTo>
                  <a:pt x="333" y="1417"/>
                </a:lnTo>
                <a:lnTo>
                  <a:pt x="337" y="1419"/>
                </a:lnTo>
                <a:lnTo>
                  <a:pt x="341" y="1421"/>
                </a:lnTo>
                <a:lnTo>
                  <a:pt x="341" y="1421"/>
                </a:lnTo>
                <a:lnTo>
                  <a:pt x="341" y="1420"/>
                </a:lnTo>
                <a:lnTo>
                  <a:pt x="341" y="1421"/>
                </a:lnTo>
                <a:lnTo>
                  <a:pt x="341" y="1421"/>
                </a:lnTo>
                <a:lnTo>
                  <a:pt x="342" y="1422"/>
                </a:lnTo>
                <a:lnTo>
                  <a:pt x="343" y="1423"/>
                </a:lnTo>
                <a:lnTo>
                  <a:pt x="347" y="1427"/>
                </a:lnTo>
                <a:lnTo>
                  <a:pt x="353" y="1432"/>
                </a:lnTo>
                <a:lnTo>
                  <a:pt x="359" y="1438"/>
                </a:lnTo>
                <a:lnTo>
                  <a:pt x="365" y="1443"/>
                </a:lnTo>
                <a:lnTo>
                  <a:pt x="367" y="1444"/>
                </a:lnTo>
                <a:lnTo>
                  <a:pt x="367" y="1444"/>
                </a:lnTo>
                <a:lnTo>
                  <a:pt x="368" y="1445"/>
                </a:lnTo>
                <a:lnTo>
                  <a:pt x="368" y="1445"/>
                </a:lnTo>
                <a:lnTo>
                  <a:pt x="368" y="1445"/>
                </a:lnTo>
                <a:lnTo>
                  <a:pt x="369" y="1447"/>
                </a:lnTo>
                <a:lnTo>
                  <a:pt x="370" y="1447"/>
                </a:lnTo>
                <a:lnTo>
                  <a:pt x="371" y="1447"/>
                </a:lnTo>
                <a:lnTo>
                  <a:pt x="375" y="1452"/>
                </a:lnTo>
                <a:lnTo>
                  <a:pt x="379" y="1456"/>
                </a:lnTo>
                <a:lnTo>
                  <a:pt x="385" y="1459"/>
                </a:lnTo>
                <a:lnTo>
                  <a:pt x="390" y="1463"/>
                </a:lnTo>
                <a:lnTo>
                  <a:pt x="403" y="1469"/>
                </a:lnTo>
                <a:lnTo>
                  <a:pt x="415" y="1476"/>
                </a:lnTo>
                <a:lnTo>
                  <a:pt x="427" y="1485"/>
                </a:lnTo>
                <a:lnTo>
                  <a:pt x="438" y="1494"/>
                </a:lnTo>
                <a:lnTo>
                  <a:pt x="447" y="1500"/>
                </a:lnTo>
                <a:lnTo>
                  <a:pt x="455" y="1508"/>
                </a:lnTo>
                <a:lnTo>
                  <a:pt x="464" y="1515"/>
                </a:lnTo>
                <a:lnTo>
                  <a:pt x="474" y="1520"/>
                </a:lnTo>
                <a:lnTo>
                  <a:pt x="473" y="1518"/>
                </a:lnTo>
                <a:lnTo>
                  <a:pt x="470" y="1516"/>
                </a:lnTo>
                <a:lnTo>
                  <a:pt x="473" y="1518"/>
                </a:lnTo>
                <a:lnTo>
                  <a:pt x="474" y="1520"/>
                </a:lnTo>
                <a:lnTo>
                  <a:pt x="474" y="1520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5" y="1521"/>
                </a:lnTo>
                <a:lnTo>
                  <a:pt x="476" y="1522"/>
                </a:lnTo>
                <a:lnTo>
                  <a:pt x="477" y="1522"/>
                </a:lnTo>
                <a:lnTo>
                  <a:pt x="483" y="1528"/>
                </a:lnTo>
                <a:lnTo>
                  <a:pt x="490" y="1532"/>
                </a:lnTo>
                <a:lnTo>
                  <a:pt x="497" y="1535"/>
                </a:lnTo>
                <a:lnTo>
                  <a:pt x="504" y="1540"/>
                </a:lnTo>
                <a:lnTo>
                  <a:pt x="508" y="1542"/>
                </a:lnTo>
                <a:lnTo>
                  <a:pt x="510" y="1542"/>
                </a:lnTo>
                <a:lnTo>
                  <a:pt x="511" y="1539"/>
                </a:lnTo>
                <a:lnTo>
                  <a:pt x="511" y="1535"/>
                </a:lnTo>
                <a:lnTo>
                  <a:pt x="511" y="1531"/>
                </a:lnTo>
                <a:lnTo>
                  <a:pt x="513" y="1528"/>
                </a:lnTo>
                <a:lnTo>
                  <a:pt x="515" y="1525"/>
                </a:lnTo>
                <a:lnTo>
                  <a:pt x="518" y="1522"/>
                </a:lnTo>
                <a:lnTo>
                  <a:pt x="518" y="1521"/>
                </a:lnTo>
                <a:lnTo>
                  <a:pt x="515" y="1520"/>
                </a:lnTo>
                <a:lnTo>
                  <a:pt x="512" y="1519"/>
                </a:lnTo>
                <a:lnTo>
                  <a:pt x="509" y="1518"/>
                </a:lnTo>
                <a:lnTo>
                  <a:pt x="504" y="1516"/>
                </a:lnTo>
                <a:lnTo>
                  <a:pt x="498" y="1514"/>
                </a:lnTo>
                <a:lnTo>
                  <a:pt x="493" y="1511"/>
                </a:lnTo>
                <a:lnTo>
                  <a:pt x="490" y="1506"/>
                </a:lnTo>
                <a:lnTo>
                  <a:pt x="485" y="1500"/>
                </a:lnTo>
                <a:lnTo>
                  <a:pt x="480" y="1495"/>
                </a:lnTo>
                <a:lnTo>
                  <a:pt x="475" y="1489"/>
                </a:lnTo>
                <a:lnTo>
                  <a:pt x="469" y="1484"/>
                </a:lnTo>
                <a:lnTo>
                  <a:pt x="468" y="1483"/>
                </a:lnTo>
                <a:lnTo>
                  <a:pt x="467" y="1482"/>
                </a:lnTo>
                <a:lnTo>
                  <a:pt x="466" y="1481"/>
                </a:lnTo>
                <a:lnTo>
                  <a:pt x="464" y="1482"/>
                </a:lnTo>
                <a:lnTo>
                  <a:pt x="464" y="1481"/>
                </a:lnTo>
                <a:lnTo>
                  <a:pt x="463" y="1481"/>
                </a:lnTo>
                <a:lnTo>
                  <a:pt x="460" y="1478"/>
                </a:lnTo>
                <a:lnTo>
                  <a:pt x="454" y="1476"/>
                </a:lnTo>
                <a:lnTo>
                  <a:pt x="437" y="1467"/>
                </a:lnTo>
                <a:lnTo>
                  <a:pt x="420" y="1455"/>
                </a:lnTo>
                <a:lnTo>
                  <a:pt x="403" y="1444"/>
                </a:lnTo>
                <a:lnTo>
                  <a:pt x="385" y="1435"/>
                </a:lnTo>
                <a:lnTo>
                  <a:pt x="372" y="1425"/>
                </a:lnTo>
                <a:lnTo>
                  <a:pt x="358" y="1418"/>
                </a:lnTo>
                <a:lnTo>
                  <a:pt x="357" y="1418"/>
                </a:lnTo>
                <a:lnTo>
                  <a:pt x="357" y="1417"/>
                </a:lnTo>
                <a:lnTo>
                  <a:pt x="356" y="1413"/>
                </a:lnTo>
                <a:lnTo>
                  <a:pt x="354" y="1411"/>
                </a:lnTo>
                <a:lnTo>
                  <a:pt x="350" y="1410"/>
                </a:lnTo>
                <a:lnTo>
                  <a:pt x="348" y="1408"/>
                </a:lnTo>
                <a:lnTo>
                  <a:pt x="341" y="1401"/>
                </a:lnTo>
                <a:lnTo>
                  <a:pt x="332" y="1394"/>
                </a:lnTo>
                <a:lnTo>
                  <a:pt x="333" y="1397"/>
                </a:lnTo>
                <a:lnTo>
                  <a:pt x="334" y="1401"/>
                </a:lnTo>
                <a:lnTo>
                  <a:pt x="333" y="1404"/>
                </a:lnTo>
                <a:lnTo>
                  <a:pt x="332" y="1407"/>
                </a:lnTo>
                <a:lnTo>
                  <a:pt x="333" y="1404"/>
                </a:lnTo>
                <a:lnTo>
                  <a:pt x="334" y="1401"/>
                </a:lnTo>
                <a:lnTo>
                  <a:pt x="333" y="1397"/>
                </a:lnTo>
                <a:lnTo>
                  <a:pt x="332" y="1394"/>
                </a:lnTo>
                <a:lnTo>
                  <a:pt x="331" y="1393"/>
                </a:lnTo>
                <a:lnTo>
                  <a:pt x="331" y="1393"/>
                </a:lnTo>
                <a:lnTo>
                  <a:pt x="330" y="1391"/>
                </a:lnTo>
                <a:lnTo>
                  <a:pt x="328" y="1390"/>
                </a:lnTo>
                <a:lnTo>
                  <a:pt x="325" y="1386"/>
                </a:lnTo>
                <a:lnTo>
                  <a:pt x="322" y="1383"/>
                </a:lnTo>
                <a:lnTo>
                  <a:pt x="318" y="1378"/>
                </a:lnTo>
                <a:lnTo>
                  <a:pt x="315" y="1373"/>
                </a:lnTo>
                <a:lnTo>
                  <a:pt x="315" y="1369"/>
                </a:lnTo>
                <a:lnTo>
                  <a:pt x="315" y="1368"/>
                </a:lnTo>
                <a:lnTo>
                  <a:pt x="316" y="1368"/>
                </a:lnTo>
                <a:lnTo>
                  <a:pt x="317" y="1368"/>
                </a:lnTo>
                <a:lnTo>
                  <a:pt x="319" y="1371"/>
                </a:lnTo>
                <a:lnTo>
                  <a:pt x="322" y="1371"/>
                </a:lnTo>
                <a:lnTo>
                  <a:pt x="323" y="1373"/>
                </a:lnTo>
                <a:lnTo>
                  <a:pt x="325" y="1374"/>
                </a:lnTo>
                <a:lnTo>
                  <a:pt x="326" y="1377"/>
                </a:lnTo>
                <a:lnTo>
                  <a:pt x="328" y="1380"/>
                </a:lnTo>
                <a:lnTo>
                  <a:pt x="331" y="1382"/>
                </a:lnTo>
                <a:lnTo>
                  <a:pt x="334" y="1384"/>
                </a:lnTo>
                <a:lnTo>
                  <a:pt x="338" y="1386"/>
                </a:lnTo>
                <a:lnTo>
                  <a:pt x="342" y="1387"/>
                </a:lnTo>
                <a:lnTo>
                  <a:pt x="345" y="1387"/>
                </a:lnTo>
                <a:lnTo>
                  <a:pt x="348" y="1386"/>
                </a:lnTo>
                <a:lnTo>
                  <a:pt x="353" y="1384"/>
                </a:lnTo>
                <a:lnTo>
                  <a:pt x="355" y="1382"/>
                </a:lnTo>
                <a:lnTo>
                  <a:pt x="357" y="1381"/>
                </a:lnTo>
                <a:lnTo>
                  <a:pt x="359" y="1378"/>
                </a:lnTo>
                <a:lnTo>
                  <a:pt x="360" y="1376"/>
                </a:lnTo>
                <a:lnTo>
                  <a:pt x="359" y="1372"/>
                </a:lnTo>
                <a:lnTo>
                  <a:pt x="358" y="1366"/>
                </a:lnTo>
                <a:lnTo>
                  <a:pt x="357" y="1361"/>
                </a:lnTo>
                <a:lnTo>
                  <a:pt x="356" y="1355"/>
                </a:lnTo>
                <a:lnTo>
                  <a:pt x="357" y="1349"/>
                </a:lnTo>
                <a:lnTo>
                  <a:pt x="357" y="1346"/>
                </a:lnTo>
                <a:lnTo>
                  <a:pt x="357" y="1342"/>
                </a:lnTo>
                <a:lnTo>
                  <a:pt x="357" y="1338"/>
                </a:lnTo>
                <a:lnTo>
                  <a:pt x="355" y="1334"/>
                </a:lnTo>
                <a:lnTo>
                  <a:pt x="359" y="1335"/>
                </a:lnTo>
                <a:lnTo>
                  <a:pt x="362" y="1334"/>
                </a:lnTo>
                <a:lnTo>
                  <a:pt x="362" y="1333"/>
                </a:lnTo>
                <a:lnTo>
                  <a:pt x="363" y="1332"/>
                </a:lnTo>
                <a:lnTo>
                  <a:pt x="363" y="1330"/>
                </a:lnTo>
                <a:lnTo>
                  <a:pt x="362" y="1328"/>
                </a:lnTo>
                <a:lnTo>
                  <a:pt x="362" y="1327"/>
                </a:lnTo>
                <a:lnTo>
                  <a:pt x="363" y="1326"/>
                </a:lnTo>
                <a:lnTo>
                  <a:pt x="364" y="1326"/>
                </a:lnTo>
                <a:lnTo>
                  <a:pt x="367" y="1325"/>
                </a:lnTo>
                <a:lnTo>
                  <a:pt x="368" y="1325"/>
                </a:lnTo>
                <a:lnTo>
                  <a:pt x="369" y="1323"/>
                </a:lnTo>
                <a:lnTo>
                  <a:pt x="369" y="1321"/>
                </a:lnTo>
                <a:lnTo>
                  <a:pt x="369" y="1320"/>
                </a:lnTo>
                <a:lnTo>
                  <a:pt x="367" y="1307"/>
                </a:lnTo>
                <a:lnTo>
                  <a:pt x="365" y="1295"/>
                </a:lnTo>
                <a:lnTo>
                  <a:pt x="365" y="1289"/>
                </a:lnTo>
                <a:lnTo>
                  <a:pt x="367" y="1283"/>
                </a:lnTo>
                <a:lnTo>
                  <a:pt x="369" y="1277"/>
                </a:lnTo>
                <a:lnTo>
                  <a:pt x="371" y="1273"/>
                </a:lnTo>
                <a:lnTo>
                  <a:pt x="374" y="1268"/>
                </a:lnTo>
                <a:lnTo>
                  <a:pt x="375" y="1264"/>
                </a:lnTo>
                <a:lnTo>
                  <a:pt x="376" y="1258"/>
                </a:lnTo>
                <a:lnTo>
                  <a:pt x="376" y="1254"/>
                </a:lnTo>
                <a:lnTo>
                  <a:pt x="376" y="1249"/>
                </a:lnTo>
                <a:lnTo>
                  <a:pt x="376" y="1243"/>
                </a:lnTo>
                <a:lnTo>
                  <a:pt x="379" y="1243"/>
                </a:lnTo>
                <a:lnTo>
                  <a:pt x="382" y="1245"/>
                </a:lnTo>
                <a:lnTo>
                  <a:pt x="384" y="1250"/>
                </a:lnTo>
                <a:lnTo>
                  <a:pt x="384" y="1255"/>
                </a:lnTo>
                <a:lnTo>
                  <a:pt x="380" y="1273"/>
                </a:lnTo>
                <a:lnTo>
                  <a:pt x="377" y="1291"/>
                </a:lnTo>
                <a:lnTo>
                  <a:pt x="375" y="1310"/>
                </a:lnTo>
                <a:lnTo>
                  <a:pt x="373" y="1328"/>
                </a:lnTo>
                <a:lnTo>
                  <a:pt x="371" y="1331"/>
                </a:lnTo>
                <a:lnTo>
                  <a:pt x="370" y="1333"/>
                </a:lnTo>
                <a:lnTo>
                  <a:pt x="369" y="1335"/>
                </a:lnTo>
                <a:lnTo>
                  <a:pt x="370" y="1337"/>
                </a:lnTo>
                <a:lnTo>
                  <a:pt x="371" y="1340"/>
                </a:lnTo>
                <a:lnTo>
                  <a:pt x="372" y="1342"/>
                </a:lnTo>
                <a:lnTo>
                  <a:pt x="372" y="1348"/>
                </a:lnTo>
                <a:lnTo>
                  <a:pt x="372" y="1353"/>
                </a:lnTo>
                <a:lnTo>
                  <a:pt x="372" y="1357"/>
                </a:lnTo>
                <a:lnTo>
                  <a:pt x="373" y="1361"/>
                </a:lnTo>
                <a:lnTo>
                  <a:pt x="376" y="1365"/>
                </a:lnTo>
                <a:lnTo>
                  <a:pt x="378" y="1369"/>
                </a:lnTo>
                <a:lnTo>
                  <a:pt x="387" y="1379"/>
                </a:lnTo>
                <a:lnTo>
                  <a:pt x="397" y="1390"/>
                </a:lnTo>
                <a:lnTo>
                  <a:pt x="407" y="1399"/>
                </a:lnTo>
                <a:lnTo>
                  <a:pt x="419" y="1409"/>
                </a:lnTo>
                <a:lnTo>
                  <a:pt x="430" y="1418"/>
                </a:lnTo>
                <a:lnTo>
                  <a:pt x="440" y="1424"/>
                </a:lnTo>
                <a:lnTo>
                  <a:pt x="445" y="1427"/>
                </a:lnTo>
                <a:lnTo>
                  <a:pt x="449" y="1430"/>
                </a:lnTo>
                <a:lnTo>
                  <a:pt x="452" y="1432"/>
                </a:lnTo>
                <a:lnTo>
                  <a:pt x="454" y="1432"/>
                </a:lnTo>
                <a:lnTo>
                  <a:pt x="459" y="1432"/>
                </a:lnTo>
                <a:lnTo>
                  <a:pt x="462" y="1430"/>
                </a:lnTo>
                <a:lnTo>
                  <a:pt x="464" y="1430"/>
                </a:lnTo>
                <a:lnTo>
                  <a:pt x="466" y="1430"/>
                </a:lnTo>
                <a:lnTo>
                  <a:pt x="469" y="1432"/>
                </a:lnTo>
                <a:lnTo>
                  <a:pt x="473" y="1429"/>
                </a:lnTo>
                <a:lnTo>
                  <a:pt x="475" y="1427"/>
                </a:lnTo>
                <a:lnTo>
                  <a:pt x="477" y="1425"/>
                </a:lnTo>
                <a:lnTo>
                  <a:pt x="479" y="1425"/>
                </a:lnTo>
                <a:lnTo>
                  <a:pt x="481" y="1425"/>
                </a:lnTo>
                <a:lnTo>
                  <a:pt x="486" y="1426"/>
                </a:lnTo>
                <a:lnTo>
                  <a:pt x="491" y="1428"/>
                </a:lnTo>
                <a:lnTo>
                  <a:pt x="492" y="1429"/>
                </a:lnTo>
                <a:lnTo>
                  <a:pt x="493" y="1430"/>
                </a:lnTo>
                <a:lnTo>
                  <a:pt x="494" y="1430"/>
                </a:lnTo>
                <a:lnTo>
                  <a:pt x="496" y="1429"/>
                </a:lnTo>
                <a:lnTo>
                  <a:pt x="498" y="1426"/>
                </a:lnTo>
                <a:lnTo>
                  <a:pt x="499" y="1424"/>
                </a:lnTo>
                <a:lnTo>
                  <a:pt x="501" y="1424"/>
                </a:lnTo>
                <a:lnTo>
                  <a:pt x="503" y="1424"/>
                </a:lnTo>
                <a:lnTo>
                  <a:pt x="505" y="1427"/>
                </a:lnTo>
                <a:lnTo>
                  <a:pt x="507" y="1432"/>
                </a:lnTo>
                <a:lnTo>
                  <a:pt x="509" y="1434"/>
                </a:lnTo>
                <a:lnTo>
                  <a:pt x="512" y="1435"/>
                </a:lnTo>
                <a:lnTo>
                  <a:pt x="514" y="1436"/>
                </a:lnTo>
                <a:lnTo>
                  <a:pt x="518" y="1436"/>
                </a:lnTo>
                <a:lnTo>
                  <a:pt x="521" y="1436"/>
                </a:lnTo>
                <a:lnTo>
                  <a:pt x="522" y="1435"/>
                </a:lnTo>
                <a:lnTo>
                  <a:pt x="523" y="1433"/>
                </a:lnTo>
                <a:lnTo>
                  <a:pt x="523" y="1430"/>
                </a:lnTo>
                <a:lnTo>
                  <a:pt x="524" y="1428"/>
                </a:lnTo>
                <a:lnTo>
                  <a:pt x="525" y="1426"/>
                </a:lnTo>
                <a:lnTo>
                  <a:pt x="526" y="1426"/>
                </a:lnTo>
                <a:lnTo>
                  <a:pt x="528" y="1426"/>
                </a:lnTo>
                <a:lnTo>
                  <a:pt x="534" y="1426"/>
                </a:lnTo>
                <a:lnTo>
                  <a:pt x="538" y="1425"/>
                </a:lnTo>
                <a:lnTo>
                  <a:pt x="541" y="1425"/>
                </a:lnTo>
                <a:lnTo>
                  <a:pt x="543" y="1424"/>
                </a:lnTo>
                <a:lnTo>
                  <a:pt x="543" y="1421"/>
                </a:lnTo>
                <a:lnTo>
                  <a:pt x="541" y="1419"/>
                </a:lnTo>
                <a:lnTo>
                  <a:pt x="531" y="1409"/>
                </a:lnTo>
                <a:lnTo>
                  <a:pt x="521" y="1398"/>
                </a:lnTo>
                <a:lnTo>
                  <a:pt x="516" y="1391"/>
                </a:lnTo>
                <a:lnTo>
                  <a:pt x="510" y="1384"/>
                </a:lnTo>
                <a:lnTo>
                  <a:pt x="507" y="1382"/>
                </a:lnTo>
                <a:lnTo>
                  <a:pt x="504" y="1381"/>
                </a:lnTo>
                <a:lnTo>
                  <a:pt x="499" y="1381"/>
                </a:lnTo>
                <a:lnTo>
                  <a:pt x="496" y="1382"/>
                </a:lnTo>
                <a:lnTo>
                  <a:pt x="494" y="1384"/>
                </a:lnTo>
                <a:lnTo>
                  <a:pt x="492" y="1387"/>
                </a:lnTo>
                <a:lnTo>
                  <a:pt x="490" y="1390"/>
                </a:lnTo>
                <a:lnTo>
                  <a:pt x="491" y="1394"/>
                </a:lnTo>
                <a:lnTo>
                  <a:pt x="491" y="1396"/>
                </a:lnTo>
                <a:lnTo>
                  <a:pt x="490" y="1398"/>
                </a:lnTo>
                <a:lnTo>
                  <a:pt x="488" y="1399"/>
                </a:lnTo>
                <a:lnTo>
                  <a:pt x="485" y="1398"/>
                </a:lnTo>
                <a:lnTo>
                  <a:pt x="482" y="1397"/>
                </a:lnTo>
                <a:lnTo>
                  <a:pt x="478" y="1396"/>
                </a:lnTo>
                <a:lnTo>
                  <a:pt x="476" y="1393"/>
                </a:lnTo>
                <a:lnTo>
                  <a:pt x="475" y="1390"/>
                </a:lnTo>
                <a:lnTo>
                  <a:pt x="473" y="1382"/>
                </a:lnTo>
                <a:lnTo>
                  <a:pt x="469" y="1375"/>
                </a:lnTo>
                <a:lnTo>
                  <a:pt x="466" y="1368"/>
                </a:lnTo>
                <a:lnTo>
                  <a:pt x="462" y="1362"/>
                </a:lnTo>
                <a:lnTo>
                  <a:pt x="461" y="1359"/>
                </a:lnTo>
                <a:lnTo>
                  <a:pt x="459" y="1356"/>
                </a:lnTo>
                <a:lnTo>
                  <a:pt x="456" y="1355"/>
                </a:lnTo>
                <a:lnTo>
                  <a:pt x="455" y="1352"/>
                </a:lnTo>
                <a:lnTo>
                  <a:pt x="454" y="1350"/>
                </a:lnTo>
                <a:lnTo>
                  <a:pt x="455" y="1348"/>
                </a:lnTo>
                <a:lnTo>
                  <a:pt x="455" y="1344"/>
                </a:lnTo>
                <a:lnTo>
                  <a:pt x="455" y="1340"/>
                </a:lnTo>
                <a:lnTo>
                  <a:pt x="458" y="1338"/>
                </a:lnTo>
                <a:lnTo>
                  <a:pt x="459" y="1335"/>
                </a:lnTo>
                <a:lnTo>
                  <a:pt x="459" y="1333"/>
                </a:lnTo>
                <a:lnTo>
                  <a:pt x="459" y="1330"/>
                </a:lnTo>
                <a:lnTo>
                  <a:pt x="459" y="1330"/>
                </a:lnTo>
                <a:lnTo>
                  <a:pt x="459" y="1329"/>
                </a:lnTo>
                <a:lnTo>
                  <a:pt x="460" y="1328"/>
                </a:lnTo>
                <a:lnTo>
                  <a:pt x="464" y="1325"/>
                </a:lnTo>
                <a:lnTo>
                  <a:pt x="469" y="1321"/>
                </a:lnTo>
                <a:lnTo>
                  <a:pt x="475" y="1319"/>
                </a:lnTo>
                <a:lnTo>
                  <a:pt x="481" y="1318"/>
                </a:lnTo>
                <a:lnTo>
                  <a:pt x="495" y="1316"/>
                </a:lnTo>
                <a:lnTo>
                  <a:pt x="509" y="1312"/>
                </a:lnTo>
                <a:lnTo>
                  <a:pt x="523" y="1307"/>
                </a:lnTo>
                <a:lnTo>
                  <a:pt x="536" y="1301"/>
                </a:lnTo>
                <a:lnTo>
                  <a:pt x="542" y="1304"/>
                </a:lnTo>
                <a:lnTo>
                  <a:pt x="549" y="1307"/>
                </a:lnTo>
                <a:lnTo>
                  <a:pt x="557" y="1312"/>
                </a:lnTo>
                <a:lnTo>
                  <a:pt x="566" y="1315"/>
                </a:lnTo>
                <a:lnTo>
                  <a:pt x="574" y="1318"/>
                </a:lnTo>
                <a:lnTo>
                  <a:pt x="584" y="1320"/>
                </a:lnTo>
                <a:lnTo>
                  <a:pt x="587" y="1321"/>
                </a:lnTo>
                <a:lnTo>
                  <a:pt x="591" y="1327"/>
                </a:lnTo>
                <a:lnTo>
                  <a:pt x="596" y="1331"/>
                </a:lnTo>
                <a:lnTo>
                  <a:pt x="597" y="1335"/>
                </a:lnTo>
                <a:lnTo>
                  <a:pt x="597" y="1337"/>
                </a:lnTo>
                <a:lnTo>
                  <a:pt x="597" y="1338"/>
                </a:lnTo>
                <a:lnTo>
                  <a:pt x="596" y="1341"/>
                </a:lnTo>
                <a:lnTo>
                  <a:pt x="594" y="1341"/>
                </a:lnTo>
                <a:lnTo>
                  <a:pt x="590" y="1342"/>
                </a:lnTo>
                <a:lnTo>
                  <a:pt x="589" y="1342"/>
                </a:lnTo>
                <a:lnTo>
                  <a:pt x="588" y="1343"/>
                </a:lnTo>
                <a:lnTo>
                  <a:pt x="588" y="1344"/>
                </a:lnTo>
                <a:lnTo>
                  <a:pt x="590" y="1346"/>
                </a:lnTo>
                <a:lnTo>
                  <a:pt x="592" y="1347"/>
                </a:lnTo>
                <a:lnTo>
                  <a:pt x="596" y="1350"/>
                </a:lnTo>
                <a:lnTo>
                  <a:pt x="598" y="1352"/>
                </a:lnTo>
                <a:lnTo>
                  <a:pt x="598" y="1357"/>
                </a:lnTo>
                <a:lnTo>
                  <a:pt x="598" y="1361"/>
                </a:lnTo>
                <a:lnTo>
                  <a:pt x="596" y="1368"/>
                </a:lnTo>
                <a:lnTo>
                  <a:pt x="594" y="1376"/>
                </a:lnTo>
                <a:lnTo>
                  <a:pt x="591" y="1383"/>
                </a:lnTo>
                <a:lnTo>
                  <a:pt x="588" y="1391"/>
                </a:lnTo>
                <a:lnTo>
                  <a:pt x="587" y="1392"/>
                </a:lnTo>
                <a:lnTo>
                  <a:pt x="588" y="1394"/>
                </a:lnTo>
                <a:lnTo>
                  <a:pt x="589" y="1396"/>
                </a:lnTo>
                <a:lnTo>
                  <a:pt x="589" y="1399"/>
                </a:lnTo>
                <a:lnTo>
                  <a:pt x="589" y="1404"/>
                </a:lnTo>
                <a:lnTo>
                  <a:pt x="588" y="1408"/>
                </a:lnTo>
                <a:lnTo>
                  <a:pt x="586" y="1412"/>
                </a:lnTo>
                <a:lnTo>
                  <a:pt x="584" y="1416"/>
                </a:lnTo>
                <a:lnTo>
                  <a:pt x="582" y="1419"/>
                </a:lnTo>
                <a:lnTo>
                  <a:pt x="580" y="1420"/>
                </a:lnTo>
                <a:lnTo>
                  <a:pt x="576" y="1422"/>
                </a:lnTo>
                <a:lnTo>
                  <a:pt x="574" y="1424"/>
                </a:lnTo>
                <a:lnTo>
                  <a:pt x="572" y="1426"/>
                </a:lnTo>
                <a:lnTo>
                  <a:pt x="571" y="1428"/>
                </a:lnTo>
                <a:lnTo>
                  <a:pt x="571" y="1430"/>
                </a:lnTo>
                <a:lnTo>
                  <a:pt x="571" y="1433"/>
                </a:lnTo>
                <a:lnTo>
                  <a:pt x="572" y="1436"/>
                </a:lnTo>
                <a:lnTo>
                  <a:pt x="573" y="1439"/>
                </a:lnTo>
                <a:lnTo>
                  <a:pt x="575" y="1441"/>
                </a:lnTo>
                <a:lnTo>
                  <a:pt x="575" y="1443"/>
                </a:lnTo>
                <a:lnTo>
                  <a:pt x="574" y="1445"/>
                </a:lnTo>
                <a:lnTo>
                  <a:pt x="573" y="1448"/>
                </a:lnTo>
                <a:lnTo>
                  <a:pt x="571" y="1451"/>
                </a:lnTo>
                <a:lnTo>
                  <a:pt x="569" y="1453"/>
                </a:lnTo>
                <a:lnTo>
                  <a:pt x="569" y="1456"/>
                </a:lnTo>
                <a:lnTo>
                  <a:pt x="569" y="1459"/>
                </a:lnTo>
                <a:lnTo>
                  <a:pt x="570" y="1462"/>
                </a:lnTo>
                <a:lnTo>
                  <a:pt x="572" y="1465"/>
                </a:lnTo>
                <a:lnTo>
                  <a:pt x="574" y="1467"/>
                </a:lnTo>
                <a:lnTo>
                  <a:pt x="579" y="1468"/>
                </a:lnTo>
                <a:lnTo>
                  <a:pt x="583" y="1470"/>
                </a:lnTo>
                <a:lnTo>
                  <a:pt x="586" y="1473"/>
                </a:lnTo>
                <a:lnTo>
                  <a:pt x="587" y="1476"/>
                </a:lnTo>
                <a:lnTo>
                  <a:pt x="589" y="1479"/>
                </a:lnTo>
                <a:lnTo>
                  <a:pt x="591" y="1480"/>
                </a:lnTo>
                <a:lnTo>
                  <a:pt x="594" y="1481"/>
                </a:lnTo>
                <a:lnTo>
                  <a:pt x="598" y="1483"/>
                </a:lnTo>
                <a:lnTo>
                  <a:pt x="601" y="1483"/>
                </a:lnTo>
                <a:lnTo>
                  <a:pt x="603" y="1484"/>
                </a:lnTo>
                <a:lnTo>
                  <a:pt x="605" y="1484"/>
                </a:lnTo>
                <a:lnTo>
                  <a:pt x="606" y="1485"/>
                </a:lnTo>
                <a:lnTo>
                  <a:pt x="607" y="1487"/>
                </a:lnTo>
                <a:lnTo>
                  <a:pt x="610" y="1491"/>
                </a:lnTo>
                <a:lnTo>
                  <a:pt x="612" y="1496"/>
                </a:lnTo>
                <a:lnTo>
                  <a:pt x="615" y="1499"/>
                </a:lnTo>
                <a:lnTo>
                  <a:pt x="618" y="1501"/>
                </a:lnTo>
                <a:lnTo>
                  <a:pt x="622" y="1502"/>
                </a:lnTo>
                <a:lnTo>
                  <a:pt x="626" y="1503"/>
                </a:lnTo>
                <a:lnTo>
                  <a:pt x="631" y="1502"/>
                </a:lnTo>
                <a:lnTo>
                  <a:pt x="635" y="1501"/>
                </a:lnTo>
                <a:lnTo>
                  <a:pt x="641" y="1501"/>
                </a:lnTo>
                <a:lnTo>
                  <a:pt x="647" y="1500"/>
                </a:lnTo>
                <a:lnTo>
                  <a:pt x="649" y="1500"/>
                </a:lnTo>
                <a:lnTo>
                  <a:pt x="652" y="1499"/>
                </a:lnTo>
                <a:lnTo>
                  <a:pt x="655" y="1498"/>
                </a:lnTo>
                <a:lnTo>
                  <a:pt x="657" y="1496"/>
                </a:lnTo>
                <a:lnTo>
                  <a:pt x="655" y="1494"/>
                </a:lnTo>
                <a:lnTo>
                  <a:pt x="651" y="1494"/>
                </a:lnTo>
                <a:lnTo>
                  <a:pt x="649" y="1494"/>
                </a:lnTo>
                <a:lnTo>
                  <a:pt x="646" y="1495"/>
                </a:lnTo>
                <a:lnTo>
                  <a:pt x="649" y="1494"/>
                </a:lnTo>
                <a:lnTo>
                  <a:pt x="651" y="1494"/>
                </a:lnTo>
                <a:lnTo>
                  <a:pt x="655" y="1494"/>
                </a:lnTo>
                <a:lnTo>
                  <a:pt x="657" y="1496"/>
                </a:lnTo>
                <a:lnTo>
                  <a:pt x="664" y="1495"/>
                </a:lnTo>
                <a:lnTo>
                  <a:pt x="671" y="1495"/>
                </a:lnTo>
                <a:lnTo>
                  <a:pt x="676" y="1495"/>
                </a:lnTo>
                <a:lnTo>
                  <a:pt x="682" y="1494"/>
                </a:lnTo>
                <a:lnTo>
                  <a:pt x="687" y="1491"/>
                </a:lnTo>
                <a:lnTo>
                  <a:pt x="692" y="1488"/>
                </a:lnTo>
                <a:lnTo>
                  <a:pt x="705" y="1484"/>
                </a:lnTo>
                <a:lnTo>
                  <a:pt x="718" y="1480"/>
                </a:lnTo>
                <a:lnTo>
                  <a:pt x="732" y="1475"/>
                </a:lnTo>
                <a:lnTo>
                  <a:pt x="744" y="1473"/>
                </a:lnTo>
                <a:lnTo>
                  <a:pt x="753" y="1473"/>
                </a:lnTo>
                <a:lnTo>
                  <a:pt x="761" y="1471"/>
                </a:lnTo>
                <a:lnTo>
                  <a:pt x="774" y="1465"/>
                </a:lnTo>
                <a:lnTo>
                  <a:pt x="788" y="1458"/>
                </a:lnTo>
                <a:lnTo>
                  <a:pt x="801" y="1451"/>
                </a:lnTo>
                <a:lnTo>
                  <a:pt x="814" y="1442"/>
                </a:lnTo>
                <a:lnTo>
                  <a:pt x="819" y="1438"/>
                </a:lnTo>
                <a:lnTo>
                  <a:pt x="824" y="1435"/>
                </a:lnTo>
                <a:lnTo>
                  <a:pt x="829" y="1433"/>
                </a:lnTo>
                <a:lnTo>
                  <a:pt x="834" y="1430"/>
                </a:lnTo>
                <a:lnTo>
                  <a:pt x="834" y="1428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4" y="1425"/>
                </a:lnTo>
                <a:lnTo>
                  <a:pt x="838" y="1425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6"/>
                </a:lnTo>
                <a:lnTo>
                  <a:pt x="841" y="1425"/>
                </a:lnTo>
                <a:lnTo>
                  <a:pt x="841" y="1425"/>
                </a:lnTo>
                <a:lnTo>
                  <a:pt x="842" y="1425"/>
                </a:lnTo>
                <a:lnTo>
                  <a:pt x="843" y="1425"/>
                </a:lnTo>
                <a:lnTo>
                  <a:pt x="847" y="1422"/>
                </a:lnTo>
                <a:lnTo>
                  <a:pt x="852" y="1417"/>
                </a:lnTo>
                <a:lnTo>
                  <a:pt x="855" y="1412"/>
                </a:lnTo>
                <a:lnTo>
                  <a:pt x="857" y="1407"/>
                </a:lnTo>
                <a:lnTo>
                  <a:pt x="859" y="1406"/>
                </a:lnTo>
                <a:lnTo>
                  <a:pt x="860" y="1405"/>
                </a:lnTo>
                <a:lnTo>
                  <a:pt x="861" y="1402"/>
                </a:lnTo>
                <a:lnTo>
                  <a:pt x="862" y="1399"/>
                </a:lnTo>
                <a:lnTo>
                  <a:pt x="864" y="1398"/>
                </a:lnTo>
                <a:lnTo>
                  <a:pt x="865" y="1397"/>
                </a:lnTo>
                <a:lnTo>
                  <a:pt x="865" y="1395"/>
                </a:lnTo>
                <a:lnTo>
                  <a:pt x="864" y="1393"/>
                </a:lnTo>
                <a:lnTo>
                  <a:pt x="864" y="1393"/>
                </a:lnTo>
                <a:lnTo>
                  <a:pt x="865" y="1393"/>
                </a:lnTo>
                <a:lnTo>
                  <a:pt x="868" y="1392"/>
                </a:lnTo>
                <a:lnTo>
                  <a:pt x="870" y="1391"/>
                </a:lnTo>
                <a:lnTo>
                  <a:pt x="872" y="1388"/>
                </a:lnTo>
                <a:lnTo>
                  <a:pt x="873" y="1384"/>
                </a:lnTo>
                <a:lnTo>
                  <a:pt x="873" y="1381"/>
                </a:lnTo>
                <a:lnTo>
                  <a:pt x="873" y="1378"/>
                </a:lnTo>
                <a:lnTo>
                  <a:pt x="872" y="1375"/>
                </a:lnTo>
                <a:lnTo>
                  <a:pt x="870" y="1371"/>
                </a:lnTo>
                <a:lnTo>
                  <a:pt x="870" y="1368"/>
                </a:lnTo>
                <a:lnTo>
                  <a:pt x="868" y="1367"/>
                </a:lnTo>
                <a:lnTo>
                  <a:pt x="868" y="1367"/>
                </a:lnTo>
                <a:lnTo>
                  <a:pt x="868" y="1364"/>
                </a:lnTo>
                <a:lnTo>
                  <a:pt x="868" y="1361"/>
                </a:lnTo>
                <a:lnTo>
                  <a:pt x="867" y="1359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58"/>
                </a:lnTo>
                <a:lnTo>
                  <a:pt x="863" y="1357"/>
                </a:lnTo>
                <a:lnTo>
                  <a:pt x="863" y="1357"/>
                </a:lnTo>
                <a:lnTo>
                  <a:pt x="863" y="1344"/>
                </a:lnTo>
                <a:lnTo>
                  <a:pt x="863" y="1331"/>
                </a:lnTo>
                <a:lnTo>
                  <a:pt x="862" y="1318"/>
                </a:lnTo>
                <a:lnTo>
                  <a:pt x="862" y="1305"/>
                </a:lnTo>
                <a:lnTo>
                  <a:pt x="862" y="1303"/>
                </a:lnTo>
                <a:lnTo>
                  <a:pt x="861" y="1301"/>
                </a:lnTo>
                <a:lnTo>
                  <a:pt x="861" y="1300"/>
                </a:lnTo>
                <a:lnTo>
                  <a:pt x="859" y="1298"/>
                </a:lnTo>
                <a:lnTo>
                  <a:pt x="859" y="1286"/>
                </a:lnTo>
                <a:lnTo>
                  <a:pt x="859" y="1274"/>
                </a:lnTo>
                <a:lnTo>
                  <a:pt x="859" y="1261"/>
                </a:lnTo>
                <a:lnTo>
                  <a:pt x="859" y="1250"/>
                </a:lnTo>
                <a:lnTo>
                  <a:pt x="861" y="1246"/>
                </a:lnTo>
                <a:lnTo>
                  <a:pt x="862" y="1242"/>
                </a:lnTo>
                <a:lnTo>
                  <a:pt x="861" y="1239"/>
                </a:lnTo>
                <a:lnTo>
                  <a:pt x="861" y="1235"/>
                </a:lnTo>
                <a:lnTo>
                  <a:pt x="860" y="1236"/>
                </a:lnTo>
                <a:lnTo>
                  <a:pt x="860" y="1238"/>
                </a:lnTo>
                <a:lnTo>
                  <a:pt x="860" y="1236"/>
                </a:lnTo>
                <a:lnTo>
                  <a:pt x="861" y="1235"/>
                </a:lnTo>
                <a:lnTo>
                  <a:pt x="861" y="1234"/>
                </a:lnTo>
                <a:lnTo>
                  <a:pt x="862" y="1233"/>
                </a:lnTo>
                <a:lnTo>
                  <a:pt x="869" y="1213"/>
                </a:lnTo>
                <a:lnTo>
                  <a:pt x="875" y="1195"/>
                </a:lnTo>
                <a:lnTo>
                  <a:pt x="884" y="1177"/>
                </a:lnTo>
                <a:lnTo>
                  <a:pt x="891" y="1159"/>
                </a:lnTo>
                <a:lnTo>
                  <a:pt x="897" y="1145"/>
                </a:lnTo>
                <a:lnTo>
                  <a:pt x="902" y="1130"/>
                </a:lnTo>
                <a:lnTo>
                  <a:pt x="905" y="1115"/>
                </a:lnTo>
                <a:lnTo>
                  <a:pt x="907" y="1100"/>
                </a:lnTo>
                <a:lnTo>
                  <a:pt x="910" y="1090"/>
                </a:lnTo>
                <a:lnTo>
                  <a:pt x="914" y="1082"/>
                </a:lnTo>
                <a:lnTo>
                  <a:pt x="917" y="1073"/>
                </a:lnTo>
                <a:lnTo>
                  <a:pt x="919" y="1065"/>
                </a:lnTo>
                <a:lnTo>
                  <a:pt x="925" y="1044"/>
                </a:lnTo>
                <a:lnTo>
                  <a:pt x="931" y="1024"/>
                </a:lnTo>
                <a:lnTo>
                  <a:pt x="937" y="1004"/>
                </a:lnTo>
                <a:lnTo>
                  <a:pt x="943" y="983"/>
                </a:lnTo>
                <a:lnTo>
                  <a:pt x="948" y="959"/>
                </a:lnTo>
                <a:lnTo>
                  <a:pt x="953" y="933"/>
                </a:lnTo>
                <a:lnTo>
                  <a:pt x="958" y="908"/>
                </a:lnTo>
                <a:lnTo>
                  <a:pt x="960" y="883"/>
                </a:lnTo>
                <a:lnTo>
                  <a:pt x="961" y="868"/>
                </a:lnTo>
                <a:lnTo>
                  <a:pt x="963" y="853"/>
                </a:lnTo>
                <a:lnTo>
                  <a:pt x="968" y="839"/>
                </a:lnTo>
                <a:lnTo>
                  <a:pt x="974" y="825"/>
                </a:lnTo>
                <a:lnTo>
                  <a:pt x="979" y="811"/>
                </a:lnTo>
                <a:lnTo>
                  <a:pt x="985" y="797"/>
                </a:lnTo>
                <a:lnTo>
                  <a:pt x="989" y="787"/>
                </a:lnTo>
                <a:lnTo>
                  <a:pt x="992" y="778"/>
                </a:lnTo>
                <a:lnTo>
                  <a:pt x="993" y="768"/>
                </a:lnTo>
                <a:lnTo>
                  <a:pt x="994" y="759"/>
                </a:lnTo>
                <a:lnTo>
                  <a:pt x="994" y="747"/>
                </a:lnTo>
                <a:lnTo>
                  <a:pt x="994" y="735"/>
                </a:lnTo>
                <a:lnTo>
                  <a:pt x="994" y="722"/>
                </a:lnTo>
                <a:lnTo>
                  <a:pt x="994" y="710"/>
                </a:lnTo>
                <a:lnTo>
                  <a:pt x="1005" y="711"/>
                </a:lnTo>
                <a:lnTo>
                  <a:pt x="1015" y="711"/>
                </a:lnTo>
                <a:lnTo>
                  <a:pt x="1026" y="711"/>
                </a:lnTo>
                <a:lnTo>
                  <a:pt x="1037" y="713"/>
                </a:lnTo>
                <a:lnTo>
                  <a:pt x="1050" y="715"/>
                </a:lnTo>
                <a:lnTo>
                  <a:pt x="1062" y="716"/>
                </a:lnTo>
                <a:lnTo>
                  <a:pt x="1075" y="715"/>
                </a:lnTo>
                <a:lnTo>
                  <a:pt x="1088" y="713"/>
                </a:lnTo>
                <a:lnTo>
                  <a:pt x="1089" y="713"/>
                </a:lnTo>
                <a:lnTo>
                  <a:pt x="1090" y="711"/>
                </a:lnTo>
                <a:lnTo>
                  <a:pt x="1091" y="711"/>
                </a:lnTo>
                <a:lnTo>
                  <a:pt x="1094" y="711"/>
                </a:lnTo>
                <a:lnTo>
                  <a:pt x="1098" y="711"/>
                </a:lnTo>
                <a:lnTo>
                  <a:pt x="1102" y="710"/>
                </a:lnTo>
                <a:lnTo>
                  <a:pt x="1106" y="709"/>
                </a:lnTo>
                <a:lnTo>
                  <a:pt x="1111" y="707"/>
                </a:lnTo>
                <a:lnTo>
                  <a:pt x="1116" y="706"/>
                </a:lnTo>
                <a:lnTo>
                  <a:pt x="1121" y="704"/>
                </a:lnTo>
                <a:lnTo>
                  <a:pt x="1127" y="702"/>
                </a:lnTo>
                <a:lnTo>
                  <a:pt x="1130" y="702"/>
                </a:lnTo>
                <a:lnTo>
                  <a:pt x="1132" y="705"/>
                </a:lnTo>
                <a:lnTo>
                  <a:pt x="1132" y="710"/>
                </a:lnTo>
                <a:lnTo>
                  <a:pt x="1133" y="716"/>
                </a:lnTo>
                <a:lnTo>
                  <a:pt x="1134" y="719"/>
                </a:lnTo>
                <a:lnTo>
                  <a:pt x="1137" y="720"/>
                </a:lnTo>
                <a:lnTo>
                  <a:pt x="1144" y="719"/>
                </a:lnTo>
                <a:lnTo>
                  <a:pt x="1155" y="718"/>
                </a:lnTo>
                <a:lnTo>
                  <a:pt x="1166" y="716"/>
                </a:lnTo>
                <a:lnTo>
                  <a:pt x="1177" y="715"/>
                </a:lnTo>
                <a:lnTo>
                  <a:pt x="1188" y="715"/>
                </a:lnTo>
                <a:lnTo>
                  <a:pt x="1196" y="714"/>
                </a:lnTo>
                <a:lnTo>
                  <a:pt x="1201" y="711"/>
                </a:lnTo>
                <a:lnTo>
                  <a:pt x="1202" y="707"/>
                </a:lnTo>
                <a:lnTo>
                  <a:pt x="1203" y="700"/>
                </a:lnTo>
                <a:lnTo>
                  <a:pt x="1203" y="695"/>
                </a:lnTo>
                <a:lnTo>
                  <a:pt x="1204" y="692"/>
                </a:lnTo>
                <a:lnTo>
                  <a:pt x="1206" y="690"/>
                </a:lnTo>
                <a:lnTo>
                  <a:pt x="1210" y="689"/>
                </a:lnTo>
                <a:lnTo>
                  <a:pt x="1218" y="688"/>
                </a:lnTo>
                <a:lnTo>
                  <a:pt x="1224" y="686"/>
                </a:lnTo>
                <a:lnTo>
                  <a:pt x="1231" y="685"/>
                </a:lnTo>
                <a:lnTo>
                  <a:pt x="1237" y="683"/>
                </a:lnTo>
                <a:lnTo>
                  <a:pt x="1243" y="679"/>
                </a:lnTo>
                <a:lnTo>
                  <a:pt x="1249" y="676"/>
                </a:lnTo>
                <a:lnTo>
                  <a:pt x="1238" y="677"/>
                </a:lnTo>
                <a:lnTo>
                  <a:pt x="1228" y="679"/>
                </a:lnTo>
                <a:lnTo>
                  <a:pt x="1218" y="681"/>
                </a:lnTo>
                <a:lnTo>
                  <a:pt x="1207" y="684"/>
                </a:lnTo>
                <a:lnTo>
                  <a:pt x="1218" y="681"/>
                </a:lnTo>
                <a:lnTo>
                  <a:pt x="1228" y="679"/>
                </a:lnTo>
                <a:lnTo>
                  <a:pt x="1238" y="677"/>
                </a:lnTo>
                <a:lnTo>
                  <a:pt x="1249" y="676"/>
                </a:lnTo>
                <a:lnTo>
                  <a:pt x="1255" y="675"/>
                </a:lnTo>
                <a:lnTo>
                  <a:pt x="1262" y="673"/>
                </a:lnTo>
                <a:lnTo>
                  <a:pt x="1273" y="671"/>
                </a:lnTo>
                <a:lnTo>
                  <a:pt x="1285" y="670"/>
                </a:lnTo>
                <a:lnTo>
                  <a:pt x="1297" y="671"/>
                </a:lnTo>
                <a:lnTo>
                  <a:pt x="1309" y="673"/>
                </a:lnTo>
                <a:lnTo>
                  <a:pt x="1318" y="675"/>
                </a:lnTo>
                <a:lnTo>
                  <a:pt x="1328" y="676"/>
                </a:lnTo>
                <a:lnTo>
                  <a:pt x="1338" y="677"/>
                </a:lnTo>
                <a:lnTo>
                  <a:pt x="1347" y="678"/>
                </a:lnTo>
                <a:lnTo>
                  <a:pt x="1358" y="680"/>
                </a:lnTo>
                <a:lnTo>
                  <a:pt x="1369" y="681"/>
                </a:lnTo>
                <a:lnTo>
                  <a:pt x="1374" y="684"/>
                </a:lnTo>
                <a:lnTo>
                  <a:pt x="1379" y="685"/>
                </a:lnTo>
                <a:lnTo>
                  <a:pt x="1386" y="684"/>
                </a:lnTo>
                <a:lnTo>
                  <a:pt x="1391" y="683"/>
                </a:lnTo>
                <a:lnTo>
                  <a:pt x="1410" y="680"/>
                </a:lnTo>
                <a:lnTo>
                  <a:pt x="1431" y="678"/>
                </a:lnTo>
                <a:lnTo>
                  <a:pt x="1450" y="674"/>
                </a:lnTo>
                <a:lnTo>
                  <a:pt x="1469" y="670"/>
                </a:lnTo>
                <a:lnTo>
                  <a:pt x="1485" y="667"/>
                </a:lnTo>
                <a:lnTo>
                  <a:pt x="1499" y="661"/>
                </a:lnTo>
                <a:lnTo>
                  <a:pt x="1507" y="658"/>
                </a:lnTo>
                <a:lnTo>
                  <a:pt x="1514" y="655"/>
                </a:lnTo>
                <a:lnTo>
                  <a:pt x="1521" y="652"/>
                </a:lnTo>
                <a:lnTo>
                  <a:pt x="1527" y="647"/>
                </a:lnTo>
                <a:lnTo>
                  <a:pt x="1541" y="639"/>
                </a:lnTo>
                <a:lnTo>
                  <a:pt x="1554" y="629"/>
                </a:lnTo>
                <a:lnTo>
                  <a:pt x="1561" y="624"/>
                </a:lnTo>
                <a:lnTo>
                  <a:pt x="1568" y="618"/>
                </a:lnTo>
                <a:lnTo>
                  <a:pt x="1574" y="613"/>
                </a:lnTo>
                <a:lnTo>
                  <a:pt x="1583" y="610"/>
                </a:lnTo>
                <a:lnTo>
                  <a:pt x="1585" y="611"/>
                </a:lnTo>
                <a:lnTo>
                  <a:pt x="1588" y="613"/>
                </a:lnTo>
                <a:lnTo>
                  <a:pt x="1589" y="623"/>
                </a:lnTo>
                <a:lnTo>
                  <a:pt x="1590" y="633"/>
                </a:lnTo>
                <a:lnTo>
                  <a:pt x="1589" y="645"/>
                </a:lnTo>
                <a:lnTo>
                  <a:pt x="1588" y="658"/>
                </a:lnTo>
                <a:lnTo>
                  <a:pt x="1588" y="665"/>
                </a:lnTo>
                <a:lnTo>
                  <a:pt x="1588" y="673"/>
                </a:lnTo>
                <a:lnTo>
                  <a:pt x="1589" y="681"/>
                </a:lnTo>
                <a:lnTo>
                  <a:pt x="1591" y="689"/>
                </a:lnTo>
                <a:lnTo>
                  <a:pt x="1593" y="701"/>
                </a:lnTo>
                <a:lnTo>
                  <a:pt x="1593" y="713"/>
                </a:lnTo>
                <a:lnTo>
                  <a:pt x="1595" y="718"/>
                </a:lnTo>
                <a:lnTo>
                  <a:pt x="1596" y="724"/>
                </a:lnTo>
                <a:lnTo>
                  <a:pt x="1597" y="730"/>
                </a:lnTo>
                <a:lnTo>
                  <a:pt x="1599" y="736"/>
                </a:lnTo>
                <a:lnTo>
                  <a:pt x="1601" y="750"/>
                </a:lnTo>
                <a:lnTo>
                  <a:pt x="1603" y="764"/>
                </a:lnTo>
                <a:lnTo>
                  <a:pt x="1605" y="770"/>
                </a:lnTo>
                <a:lnTo>
                  <a:pt x="1607" y="778"/>
                </a:lnTo>
                <a:lnTo>
                  <a:pt x="1610" y="784"/>
                </a:lnTo>
                <a:lnTo>
                  <a:pt x="1614" y="791"/>
                </a:lnTo>
                <a:lnTo>
                  <a:pt x="1615" y="792"/>
                </a:lnTo>
                <a:lnTo>
                  <a:pt x="1616" y="794"/>
                </a:lnTo>
                <a:lnTo>
                  <a:pt x="1618" y="798"/>
                </a:lnTo>
                <a:lnTo>
                  <a:pt x="1619" y="803"/>
                </a:lnTo>
                <a:lnTo>
                  <a:pt x="1621" y="808"/>
                </a:lnTo>
                <a:lnTo>
                  <a:pt x="1625" y="812"/>
                </a:lnTo>
                <a:lnTo>
                  <a:pt x="1626" y="812"/>
                </a:lnTo>
                <a:lnTo>
                  <a:pt x="1627" y="813"/>
                </a:lnTo>
                <a:lnTo>
                  <a:pt x="1630" y="818"/>
                </a:lnTo>
                <a:lnTo>
                  <a:pt x="1633" y="824"/>
                </a:lnTo>
                <a:lnTo>
                  <a:pt x="1635" y="831"/>
                </a:lnTo>
                <a:lnTo>
                  <a:pt x="1638" y="839"/>
                </a:lnTo>
                <a:lnTo>
                  <a:pt x="1641" y="844"/>
                </a:lnTo>
                <a:lnTo>
                  <a:pt x="1644" y="848"/>
                </a:lnTo>
                <a:lnTo>
                  <a:pt x="1648" y="853"/>
                </a:lnTo>
                <a:lnTo>
                  <a:pt x="1652" y="856"/>
                </a:lnTo>
                <a:lnTo>
                  <a:pt x="1656" y="858"/>
                </a:lnTo>
                <a:lnTo>
                  <a:pt x="1658" y="859"/>
                </a:lnTo>
                <a:lnTo>
                  <a:pt x="1660" y="860"/>
                </a:lnTo>
                <a:lnTo>
                  <a:pt x="1662" y="860"/>
                </a:lnTo>
                <a:lnTo>
                  <a:pt x="1667" y="859"/>
                </a:lnTo>
                <a:lnTo>
                  <a:pt x="1673" y="857"/>
                </a:lnTo>
                <a:lnTo>
                  <a:pt x="1682" y="853"/>
                </a:lnTo>
                <a:lnTo>
                  <a:pt x="1692" y="851"/>
                </a:lnTo>
                <a:lnTo>
                  <a:pt x="1706" y="847"/>
                </a:lnTo>
                <a:lnTo>
                  <a:pt x="1721" y="844"/>
                </a:lnTo>
                <a:lnTo>
                  <a:pt x="1727" y="843"/>
                </a:lnTo>
                <a:lnTo>
                  <a:pt x="1735" y="842"/>
                </a:lnTo>
                <a:lnTo>
                  <a:pt x="1742" y="842"/>
                </a:lnTo>
                <a:lnTo>
                  <a:pt x="1750" y="843"/>
                </a:lnTo>
                <a:lnTo>
                  <a:pt x="1758" y="843"/>
                </a:lnTo>
                <a:lnTo>
                  <a:pt x="1768" y="843"/>
                </a:lnTo>
                <a:lnTo>
                  <a:pt x="1777" y="843"/>
                </a:lnTo>
                <a:lnTo>
                  <a:pt x="1785" y="843"/>
                </a:lnTo>
                <a:lnTo>
                  <a:pt x="1788" y="838"/>
                </a:lnTo>
                <a:lnTo>
                  <a:pt x="1789" y="832"/>
                </a:lnTo>
                <a:lnTo>
                  <a:pt x="1788" y="838"/>
                </a:lnTo>
                <a:lnTo>
                  <a:pt x="1785" y="843"/>
                </a:lnTo>
                <a:lnTo>
                  <a:pt x="1788" y="843"/>
                </a:lnTo>
                <a:lnTo>
                  <a:pt x="1790" y="843"/>
                </a:lnTo>
                <a:lnTo>
                  <a:pt x="1793" y="842"/>
                </a:lnTo>
                <a:lnTo>
                  <a:pt x="1795" y="841"/>
                </a:lnTo>
                <a:lnTo>
                  <a:pt x="1798" y="837"/>
                </a:lnTo>
                <a:lnTo>
                  <a:pt x="1799" y="830"/>
                </a:lnTo>
                <a:lnTo>
                  <a:pt x="1799" y="826"/>
                </a:lnTo>
                <a:lnTo>
                  <a:pt x="1801" y="823"/>
                </a:lnTo>
                <a:lnTo>
                  <a:pt x="1808" y="820"/>
                </a:lnTo>
                <a:lnTo>
                  <a:pt x="1814" y="815"/>
                </a:lnTo>
                <a:lnTo>
                  <a:pt x="1817" y="813"/>
                </a:lnTo>
                <a:lnTo>
                  <a:pt x="1820" y="812"/>
                </a:lnTo>
                <a:lnTo>
                  <a:pt x="1825" y="811"/>
                </a:lnTo>
                <a:lnTo>
                  <a:pt x="1828" y="811"/>
                </a:lnTo>
                <a:lnTo>
                  <a:pt x="1838" y="812"/>
                </a:lnTo>
                <a:lnTo>
                  <a:pt x="1846" y="814"/>
                </a:lnTo>
                <a:lnTo>
                  <a:pt x="1855" y="816"/>
                </a:lnTo>
                <a:lnTo>
                  <a:pt x="1863" y="818"/>
                </a:lnTo>
                <a:lnTo>
                  <a:pt x="1873" y="818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17"/>
                </a:lnTo>
                <a:lnTo>
                  <a:pt x="1881" y="820"/>
                </a:lnTo>
                <a:lnTo>
                  <a:pt x="1883" y="820"/>
                </a:lnTo>
                <a:lnTo>
                  <a:pt x="1885" y="820"/>
                </a:lnTo>
                <a:lnTo>
                  <a:pt x="1886" y="820"/>
                </a:lnTo>
                <a:lnTo>
                  <a:pt x="1893" y="820"/>
                </a:lnTo>
                <a:lnTo>
                  <a:pt x="1900" y="818"/>
                </a:lnTo>
                <a:lnTo>
                  <a:pt x="1904" y="817"/>
                </a:lnTo>
                <a:lnTo>
                  <a:pt x="1908" y="816"/>
                </a:lnTo>
                <a:lnTo>
                  <a:pt x="1911" y="813"/>
                </a:lnTo>
                <a:lnTo>
                  <a:pt x="1914" y="808"/>
                </a:lnTo>
                <a:lnTo>
                  <a:pt x="1915" y="801"/>
                </a:lnTo>
                <a:lnTo>
                  <a:pt x="1915" y="793"/>
                </a:lnTo>
                <a:lnTo>
                  <a:pt x="1916" y="790"/>
                </a:lnTo>
                <a:lnTo>
                  <a:pt x="1917" y="788"/>
                </a:lnTo>
                <a:lnTo>
                  <a:pt x="1919" y="787"/>
                </a:lnTo>
                <a:lnTo>
                  <a:pt x="1922" y="786"/>
                </a:lnTo>
                <a:lnTo>
                  <a:pt x="1931" y="785"/>
                </a:lnTo>
                <a:lnTo>
                  <a:pt x="1940" y="784"/>
                </a:lnTo>
                <a:lnTo>
                  <a:pt x="1949" y="782"/>
                </a:lnTo>
                <a:lnTo>
                  <a:pt x="1956" y="780"/>
                </a:lnTo>
                <a:lnTo>
                  <a:pt x="1964" y="779"/>
                </a:lnTo>
                <a:lnTo>
                  <a:pt x="1970" y="779"/>
                </a:lnTo>
                <a:lnTo>
                  <a:pt x="1971" y="778"/>
                </a:lnTo>
                <a:lnTo>
                  <a:pt x="1972" y="776"/>
                </a:lnTo>
                <a:lnTo>
                  <a:pt x="1971" y="778"/>
                </a:lnTo>
                <a:lnTo>
                  <a:pt x="1970" y="779"/>
                </a:lnTo>
                <a:lnTo>
                  <a:pt x="1974" y="780"/>
                </a:lnTo>
                <a:lnTo>
                  <a:pt x="1976" y="780"/>
                </a:lnTo>
                <a:lnTo>
                  <a:pt x="1978" y="779"/>
                </a:lnTo>
                <a:lnTo>
                  <a:pt x="1980" y="778"/>
                </a:lnTo>
                <a:lnTo>
                  <a:pt x="1982" y="778"/>
                </a:lnTo>
                <a:lnTo>
                  <a:pt x="1984" y="778"/>
                </a:lnTo>
                <a:lnTo>
                  <a:pt x="1985" y="777"/>
                </a:lnTo>
                <a:lnTo>
                  <a:pt x="1986" y="775"/>
                </a:lnTo>
                <a:lnTo>
                  <a:pt x="1991" y="776"/>
                </a:lnTo>
                <a:lnTo>
                  <a:pt x="1995" y="775"/>
                </a:lnTo>
                <a:lnTo>
                  <a:pt x="2001" y="774"/>
                </a:lnTo>
                <a:lnTo>
                  <a:pt x="2007" y="770"/>
                </a:lnTo>
                <a:lnTo>
                  <a:pt x="2009" y="768"/>
                </a:lnTo>
                <a:lnTo>
                  <a:pt x="2010" y="766"/>
                </a:lnTo>
                <a:lnTo>
                  <a:pt x="2011" y="764"/>
                </a:lnTo>
                <a:lnTo>
                  <a:pt x="2011" y="761"/>
                </a:lnTo>
                <a:lnTo>
                  <a:pt x="2011" y="753"/>
                </a:lnTo>
                <a:lnTo>
                  <a:pt x="2012" y="746"/>
                </a:lnTo>
                <a:lnTo>
                  <a:pt x="2014" y="742"/>
                </a:lnTo>
                <a:lnTo>
                  <a:pt x="2016" y="739"/>
                </a:lnTo>
                <a:lnTo>
                  <a:pt x="2020" y="737"/>
                </a:lnTo>
                <a:lnTo>
                  <a:pt x="2024" y="735"/>
                </a:lnTo>
                <a:lnTo>
                  <a:pt x="2034" y="731"/>
                </a:lnTo>
                <a:lnTo>
                  <a:pt x="2043" y="726"/>
                </a:lnTo>
                <a:lnTo>
                  <a:pt x="2045" y="726"/>
                </a:lnTo>
                <a:lnTo>
                  <a:pt x="2047" y="726"/>
                </a:lnTo>
                <a:lnTo>
                  <a:pt x="2049" y="725"/>
                </a:lnTo>
                <a:lnTo>
                  <a:pt x="2049" y="723"/>
                </a:lnTo>
                <a:lnTo>
                  <a:pt x="2049" y="723"/>
                </a:lnTo>
                <a:lnTo>
                  <a:pt x="2049" y="722"/>
                </a:lnTo>
                <a:lnTo>
                  <a:pt x="2052" y="722"/>
                </a:lnTo>
                <a:lnTo>
                  <a:pt x="2055" y="720"/>
                </a:lnTo>
                <a:lnTo>
                  <a:pt x="2058" y="718"/>
                </a:lnTo>
                <a:lnTo>
                  <a:pt x="2059" y="715"/>
                </a:lnTo>
                <a:lnTo>
                  <a:pt x="2061" y="709"/>
                </a:lnTo>
                <a:lnTo>
                  <a:pt x="2062" y="705"/>
                </a:lnTo>
                <a:lnTo>
                  <a:pt x="2061" y="701"/>
                </a:lnTo>
                <a:lnTo>
                  <a:pt x="2061" y="696"/>
                </a:lnTo>
                <a:lnTo>
                  <a:pt x="2058" y="688"/>
                </a:lnTo>
                <a:lnTo>
                  <a:pt x="2056" y="679"/>
                </a:lnTo>
                <a:lnTo>
                  <a:pt x="2055" y="679"/>
                </a:lnTo>
                <a:lnTo>
                  <a:pt x="2054" y="679"/>
                </a:lnTo>
                <a:close/>
                <a:moveTo>
                  <a:pt x="105" y="958"/>
                </a:moveTo>
                <a:lnTo>
                  <a:pt x="105" y="956"/>
                </a:lnTo>
                <a:lnTo>
                  <a:pt x="105" y="955"/>
                </a:lnTo>
                <a:lnTo>
                  <a:pt x="104" y="956"/>
                </a:lnTo>
                <a:lnTo>
                  <a:pt x="104" y="956"/>
                </a:lnTo>
                <a:lnTo>
                  <a:pt x="104" y="958"/>
                </a:lnTo>
                <a:lnTo>
                  <a:pt x="105" y="959"/>
                </a:lnTo>
                <a:lnTo>
                  <a:pt x="105" y="958"/>
                </a:lnTo>
                <a:lnTo>
                  <a:pt x="105" y="958"/>
                </a:lnTo>
                <a:close/>
                <a:moveTo>
                  <a:pt x="100" y="984"/>
                </a:moveTo>
                <a:lnTo>
                  <a:pt x="100" y="985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6"/>
                </a:lnTo>
                <a:lnTo>
                  <a:pt x="102" y="984"/>
                </a:lnTo>
                <a:lnTo>
                  <a:pt x="102" y="982"/>
                </a:lnTo>
                <a:lnTo>
                  <a:pt x="101" y="983"/>
                </a:lnTo>
                <a:lnTo>
                  <a:pt x="100" y="984"/>
                </a:lnTo>
                <a:close/>
                <a:moveTo>
                  <a:pt x="104" y="977"/>
                </a:moveTo>
                <a:lnTo>
                  <a:pt x="103" y="978"/>
                </a:lnTo>
                <a:lnTo>
                  <a:pt x="102" y="979"/>
                </a:lnTo>
                <a:lnTo>
                  <a:pt x="102" y="981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2" y="982"/>
                </a:lnTo>
                <a:lnTo>
                  <a:pt x="104" y="982"/>
                </a:lnTo>
                <a:lnTo>
                  <a:pt x="106" y="981"/>
                </a:lnTo>
                <a:lnTo>
                  <a:pt x="106" y="980"/>
                </a:lnTo>
                <a:lnTo>
                  <a:pt x="106" y="978"/>
                </a:lnTo>
                <a:lnTo>
                  <a:pt x="105" y="977"/>
                </a:lnTo>
                <a:lnTo>
                  <a:pt x="104" y="977"/>
                </a:lnTo>
                <a:close/>
                <a:moveTo>
                  <a:pt x="104" y="969"/>
                </a:moveTo>
                <a:lnTo>
                  <a:pt x="104" y="967"/>
                </a:lnTo>
                <a:lnTo>
                  <a:pt x="104" y="965"/>
                </a:lnTo>
                <a:lnTo>
                  <a:pt x="103" y="963"/>
                </a:lnTo>
                <a:lnTo>
                  <a:pt x="102" y="961"/>
                </a:lnTo>
                <a:lnTo>
                  <a:pt x="101" y="964"/>
                </a:lnTo>
                <a:lnTo>
                  <a:pt x="102" y="966"/>
                </a:lnTo>
                <a:lnTo>
                  <a:pt x="103" y="968"/>
                </a:lnTo>
                <a:lnTo>
                  <a:pt x="104" y="969"/>
                </a:lnTo>
                <a:close/>
                <a:moveTo>
                  <a:pt x="609" y="226"/>
                </a:moveTo>
                <a:lnTo>
                  <a:pt x="609" y="219"/>
                </a:lnTo>
                <a:lnTo>
                  <a:pt x="607" y="214"/>
                </a:lnTo>
                <a:lnTo>
                  <a:pt x="605" y="209"/>
                </a:lnTo>
                <a:lnTo>
                  <a:pt x="603" y="203"/>
                </a:lnTo>
                <a:lnTo>
                  <a:pt x="602" y="210"/>
                </a:lnTo>
                <a:lnTo>
                  <a:pt x="604" y="215"/>
                </a:lnTo>
                <a:lnTo>
                  <a:pt x="606" y="220"/>
                </a:lnTo>
                <a:lnTo>
                  <a:pt x="609" y="226"/>
                </a:lnTo>
                <a:close/>
                <a:moveTo>
                  <a:pt x="594" y="155"/>
                </a:moveTo>
                <a:lnTo>
                  <a:pt x="590" y="155"/>
                </a:lnTo>
                <a:lnTo>
                  <a:pt x="589" y="157"/>
                </a:lnTo>
                <a:lnTo>
                  <a:pt x="588" y="159"/>
                </a:lnTo>
                <a:lnTo>
                  <a:pt x="588" y="161"/>
                </a:lnTo>
                <a:lnTo>
                  <a:pt x="588" y="165"/>
                </a:lnTo>
                <a:lnTo>
                  <a:pt x="587" y="167"/>
                </a:lnTo>
                <a:lnTo>
                  <a:pt x="585" y="169"/>
                </a:lnTo>
                <a:lnTo>
                  <a:pt x="582" y="169"/>
                </a:lnTo>
                <a:lnTo>
                  <a:pt x="580" y="169"/>
                </a:lnTo>
                <a:lnTo>
                  <a:pt x="577" y="170"/>
                </a:lnTo>
                <a:lnTo>
                  <a:pt x="576" y="171"/>
                </a:lnTo>
                <a:lnTo>
                  <a:pt x="576" y="174"/>
                </a:lnTo>
                <a:lnTo>
                  <a:pt x="577" y="176"/>
                </a:lnTo>
                <a:lnTo>
                  <a:pt x="579" y="178"/>
                </a:lnTo>
                <a:lnTo>
                  <a:pt x="581" y="179"/>
                </a:lnTo>
                <a:lnTo>
                  <a:pt x="583" y="179"/>
                </a:lnTo>
                <a:lnTo>
                  <a:pt x="586" y="179"/>
                </a:lnTo>
                <a:lnTo>
                  <a:pt x="589" y="178"/>
                </a:lnTo>
                <a:lnTo>
                  <a:pt x="591" y="176"/>
                </a:lnTo>
                <a:lnTo>
                  <a:pt x="594" y="175"/>
                </a:lnTo>
                <a:lnTo>
                  <a:pt x="596" y="173"/>
                </a:lnTo>
                <a:lnTo>
                  <a:pt x="597" y="170"/>
                </a:lnTo>
                <a:lnTo>
                  <a:pt x="598" y="167"/>
                </a:lnTo>
                <a:lnTo>
                  <a:pt x="598" y="164"/>
                </a:lnTo>
                <a:lnTo>
                  <a:pt x="598" y="159"/>
                </a:lnTo>
                <a:lnTo>
                  <a:pt x="598" y="156"/>
                </a:lnTo>
                <a:lnTo>
                  <a:pt x="596" y="155"/>
                </a:lnTo>
                <a:lnTo>
                  <a:pt x="594" y="155"/>
                </a:lnTo>
                <a:close/>
                <a:moveTo>
                  <a:pt x="622" y="573"/>
                </a:moveTo>
                <a:lnTo>
                  <a:pt x="620" y="573"/>
                </a:lnTo>
                <a:lnTo>
                  <a:pt x="618" y="572"/>
                </a:lnTo>
                <a:lnTo>
                  <a:pt x="616" y="573"/>
                </a:lnTo>
                <a:lnTo>
                  <a:pt x="615" y="574"/>
                </a:lnTo>
                <a:lnTo>
                  <a:pt x="599" y="573"/>
                </a:lnTo>
                <a:lnTo>
                  <a:pt x="583" y="573"/>
                </a:lnTo>
                <a:lnTo>
                  <a:pt x="570" y="571"/>
                </a:lnTo>
                <a:lnTo>
                  <a:pt x="556" y="569"/>
                </a:lnTo>
                <a:lnTo>
                  <a:pt x="549" y="571"/>
                </a:lnTo>
                <a:lnTo>
                  <a:pt x="540" y="573"/>
                </a:lnTo>
                <a:lnTo>
                  <a:pt x="535" y="573"/>
                </a:lnTo>
                <a:lnTo>
                  <a:pt x="529" y="576"/>
                </a:lnTo>
                <a:lnTo>
                  <a:pt x="526" y="579"/>
                </a:lnTo>
                <a:lnTo>
                  <a:pt x="523" y="584"/>
                </a:lnTo>
                <a:lnTo>
                  <a:pt x="522" y="587"/>
                </a:lnTo>
                <a:lnTo>
                  <a:pt x="523" y="589"/>
                </a:lnTo>
                <a:lnTo>
                  <a:pt x="524" y="589"/>
                </a:lnTo>
                <a:lnTo>
                  <a:pt x="525" y="589"/>
                </a:lnTo>
                <a:lnTo>
                  <a:pt x="526" y="589"/>
                </a:lnTo>
                <a:lnTo>
                  <a:pt x="527" y="588"/>
                </a:lnTo>
                <a:lnTo>
                  <a:pt x="535" y="584"/>
                </a:lnTo>
                <a:lnTo>
                  <a:pt x="542" y="581"/>
                </a:lnTo>
                <a:lnTo>
                  <a:pt x="550" y="579"/>
                </a:lnTo>
                <a:lnTo>
                  <a:pt x="557" y="579"/>
                </a:lnTo>
                <a:lnTo>
                  <a:pt x="569" y="579"/>
                </a:lnTo>
                <a:lnTo>
                  <a:pt x="580" y="579"/>
                </a:lnTo>
                <a:lnTo>
                  <a:pt x="591" y="580"/>
                </a:lnTo>
                <a:lnTo>
                  <a:pt x="602" y="580"/>
                </a:lnTo>
                <a:lnTo>
                  <a:pt x="606" y="580"/>
                </a:lnTo>
                <a:lnTo>
                  <a:pt x="610" y="579"/>
                </a:lnTo>
                <a:lnTo>
                  <a:pt x="612" y="578"/>
                </a:lnTo>
                <a:lnTo>
                  <a:pt x="615" y="574"/>
                </a:lnTo>
                <a:lnTo>
                  <a:pt x="615" y="574"/>
                </a:lnTo>
                <a:lnTo>
                  <a:pt x="618" y="574"/>
                </a:lnTo>
                <a:lnTo>
                  <a:pt x="622" y="573"/>
                </a:lnTo>
                <a:close/>
                <a:moveTo>
                  <a:pt x="579" y="624"/>
                </a:moveTo>
                <a:lnTo>
                  <a:pt x="587" y="622"/>
                </a:lnTo>
                <a:lnTo>
                  <a:pt x="596" y="621"/>
                </a:lnTo>
                <a:lnTo>
                  <a:pt x="587" y="622"/>
                </a:lnTo>
                <a:lnTo>
                  <a:pt x="579" y="624"/>
                </a:lnTo>
                <a:lnTo>
                  <a:pt x="570" y="623"/>
                </a:lnTo>
                <a:lnTo>
                  <a:pt x="561" y="621"/>
                </a:lnTo>
                <a:lnTo>
                  <a:pt x="570" y="623"/>
                </a:lnTo>
                <a:lnTo>
                  <a:pt x="579" y="624"/>
                </a:lnTo>
                <a:close/>
                <a:moveTo>
                  <a:pt x="544" y="619"/>
                </a:moveTo>
                <a:lnTo>
                  <a:pt x="554" y="623"/>
                </a:lnTo>
                <a:lnTo>
                  <a:pt x="564" y="626"/>
                </a:lnTo>
                <a:lnTo>
                  <a:pt x="572" y="628"/>
                </a:lnTo>
                <a:lnTo>
                  <a:pt x="581" y="628"/>
                </a:lnTo>
                <a:lnTo>
                  <a:pt x="588" y="627"/>
                </a:lnTo>
                <a:lnTo>
                  <a:pt x="596" y="627"/>
                </a:lnTo>
                <a:lnTo>
                  <a:pt x="601" y="627"/>
                </a:lnTo>
                <a:lnTo>
                  <a:pt x="603" y="626"/>
                </a:lnTo>
                <a:lnTo>
                  <a:pt x="611" y="621"/>
                </a:lnTo>
                <a:lnTo>
                  <a:pt x="619" y="615"/>
                </a:lnTo>
                <a:lnTo>
                  <a:pt x="622" y="613"/>
                </a:lnTo>
                <a:lnTo>
                  <a:pt x="624" y="610"/>
                </a:lnTo>
                <a:lnTo>
                  <a:pt x="624" y="607"/>
                </a:lnTo>
                <a:lnTo>
                  <a:pt x="621" y="602"/>
                </a:lnTo>
                <a:lnTo>
                  <a:pt x="620" y="601"/>
                </a:lnTo>
                <a:lnTo>
                  <a:pt x="619" y="599"/>
                </a:lnTo>
                <a:lnTo>
                  <a:pt x="619" y="597"/>
                </a:lnTo>
                <a:lnTo>
                  <a:pt x="620" y="594"/>
                </a:lnTo>
                <a:lnTo>
                  <a:pt x="621" y="593"/>
                </a:lnTo>
                <a:lnTo>
                  <a:pt x="620" y="592"/>
                </a:lnTo>
                <a:lnTo>
                  <a:pt x="618" y="591"/>
                </a:lnTo>
                <a:lnTo>
                  <a:pt x="616" y="591"/>
                </a:lnTo>
                <a:lnTo>
                  <a:pt x="605" y="592"/>
                </a:lnTo>
                <a:lnTo>
                  <a:pt x="594" y="593"/>
                </a:lnTo>
                <a:lnTo>
                  <a:pt x="582" y="595"/>
                </a:lnTo>
                <a:lnTo>
                  <a:pt x="571" y="595"/>
                </a:lnTo>
                <a:lnTo>
                  <a:pt x="569" y="595"/>
                </a:lnTo>
                <a:lnTo>
                  <a:pt x="567" y="597"/>
                </a:lnTo>
                <a:lnTo>
                  <a:pt x="564" y="600"/>
                </a:lnTo>
                <a:lnTo>
                  <a:pt x="560" y="601"/>
                </a:lnTo>
                <a:lnTo>
                  <a:pt x="556" y="601"/>
                </a:lnTo>
                <a:lnTo>
                  <a:pt x="552" y="600"/>
                </a:lnTo>
                <a:lnTo>
                  <a:pt x="547" y="600"/>
                </a:lnTo>
                <a:lnTo>
                  <a:pt x="544" y="601"/>
                </a:lnTo>
                <a:lnTo>
                  <a:pt x="541" y="604"/>
                </a:lnTo>
                <a:lnTo>
                  <a:pt x="539" y="608"/>
                </a:lnTo>
                <a:lnTo>
                  <a:pt x="538" y="611"/>
                </a:lnTo>
                <a:lnTo>
                  <a:pt x="539" y="614"/>
                </a:lnTo>
                <a:lnTo>
                  <a:pt x="541" y="617"/>
                </a:lnTo>
                <a:lnTo>
                  <a:pt x="544" y="619"/>
                </a:lnTo>
                <a:close/>
                <a:moveTo>
                  <a:pt x="628" y="803"/>
                </a:moveTo>
                <a:lnTo>
                  <a:pt x="620" y="811"/>
                </a:lnTo>
                <a:lnTo>
                  <a:pt x="615" y="820"/>
                </a:lnTo>
                <a:lnTo>
                  <a:pt x="613" y="825"/>
                </a:lnTo>
                <a:lnTo>
                  <a:pt x="612" y="830"/>
                </a:lnTo>
                <a:lnTo>
                  <a:pt x="612" y="836"/>
                </a:lnTo>
                <a:lnTo>
                  <a:pt x="613" y="842"/>
                </a:lnTo>
                <a:lnTo>
                  <a:pt x="615" y="846"/>
                </a:lnTo>
                <a:lnTo>
                  <a:pt x="617" y="851"/>
                </a:lnTo>
                <a:lnTo>
                  <a:pt x="620" y="855"/>
                </a:lnTo>
                <a:lnTo>
                  <a:pt x="625" y="858"/>
                </a:lnTo>
                <a:lnTo>
                  <a:pt x="627" y="859"/>
                </a:lnTo>
                <a:lnTo>
                  <a:pt x="630" y="860"/>
                </a:lnTo>
                <a:lnTo>
                  <a:pt x="633" y="861"/>
                </a:lnTo>
                <a:lnTo>
                  <a:pt x="635" y="859"/>
                </a:lnTo>
                <a:lnTo>
                  <a:pt x="640" y="853"/>
                </a:lnTo>
                <a:lnTo>
                  <a:pt x="644" y="845"/>
                </a:lnTo>
                <a:lnTo>
                  <a:pt x="648" y="840"/>
                </a:lnTo>
                <a:lnTo>
                  <a:pt x="652" y="837"/>
                </a:lnTo>
                <a:lnTo>
                  <a:pt x="658" y="835"/>
                </a:lnTo>
                <a:lnTo>
                  <a:pt x="662" y="833"/>
                </a:lnTo>
                <a:lnTo>
                  <a:pt x="665" y="833"/>
                </a:lnTo>
                <a:lnTo>
                  <a:pt x="667" y="833"/>
                </a:lnTo>
                <a:lnTo>
                  <a:pt x="670" y="832"/>
                </a:lnTo>
                <a:lnTo>
                  <a:pt x="672" y="830"/>
                </a:lnTo>
                <a:lnTo>
                  <a:pt x="674" y="826"/>
                </a:lnTo>
                <a:lnTo>
                  <a:pt x="676" y="823"/>
                </a:lnTo>
                <a:lnTo>
                  <a:pt x="677" y="822"/>
                </a:lnTo>
                <a:lnTo>
                  <a:pt x="677" y="821"/>
                </a:lnTo>
                <a:lnTo>
                  <a:pt x="678" y="820"/>
                </a:lnTo>
                <a:lnTo>
                  <a:pt x="679" y="820"/>
                </a:lnTo>
                <a:lnTo>
                  <a:pt x="682" y="822"/>
                </a:lnTo>
                <a:lnTo>
                  <a:pt x="685" y="821"/>
                </a:lnTo>
                <a:lnTo>
                  <a:pt x="686" y="818"/>
                </a:lnTo>
                <a:lnTo>
                  <a:pt x="687" y="816"/>
                </a:lnTo>
                <a:lnTo>
                  <a:pt x="690" y="812"/>
                </a:lnTo>
                <a:lnTo>
                  <a:pt x="692" y="808"/>
                </a:lnTo>
                <a:lnTo>
                  <a:pt x="692" y="803"/>
                </a:lnTo>
                <a:lnTo>
                  <a:pt x="693" y="799"/>
                </a:lnTo>
                <a:lnTo>
                  <a:pt x="693" y="794"/>
                </a:lnTo>
                <a:lnTo>
                  <a:pt x="693" y="790"/>
                </a:lnTo>
                <a:lnTo>
                  <a:pt x="694" y="784"/>
                </a:lnTo>
                <a:lnTo>
                  <a:pt x="696" y="780"/>
                </a:lnTo>
                <a:lnTo>
                  <a:pt x="697" y="775"/>
                </a:lnTo>
                <a:lnTo>
                  <a:pt x="700" y="767"/>
                </a:lnTo>
                <a:lnTo>
                  <a:pt x="702" y="763"/>
                </a:lnTo>
                <a:lnTo>
                  <a:pt x="703" y="759"/>
                </a:lnTo>
                <a:lnTo>
                  <a:pt x="703" y="754"/>
                </a:lnTo>
                <a:lnTo>
                  <a:pt x="700" y="750"/>
                </a:lnTo>
                <a:lnTo>
                  <a:pt x="698" y="748"/>
                </a:lnTo>
                <a:lnTo>
                  <a:pt x="698" y="746"/>
                </a:lnTo>
                <a:lnTo>
                  <a:pt x="701" y="744"/>
                </a:lnTo>
                <a:lnTo>
                  <a:pt x="703" y="741"/>
                </a:lnTo>
                <a:lnTo>
                  <a:pt x="703" y="740"/>
                </a:lnTo>
                <a:lnTo>
                  <a:pt x="702" y="738"/>
                </a:lnTo>
                <a:lnTo>
                  <a:pt x="700" y="736"/>
                </a:lnTo>
                <a:lnTo>
                  <a:pt x="697" y="733"/>
                </a:lnTo>
                <a:lnTo>
                  <a:pt x="692" y="725"/>
                </a:lnTo>
                <a:lnTo>
                  <a:pt x="689" y="717"/>
                </a:lnTo>
                <a:lnTo>
                  <a:pt x="688" y="715"/>
                </a:lnTo>
                <a:lnTo>
                  <a:pt x="686" y="713"/>
                </a:lnTo>
                <a:lnTo>
                  <a:pt x="683" y="713"/>
                </a:lnTo>
                <a:lnTo>
                  <a:pt x="681" y="714"/>
                </a:lnTo>
                <a:lnTo>
                  <a:pt x="677" y="715"/>
                </a:lnTo>
                <a:lnTo>
                  <a:pt x="674" y="716"/>
                </a:lnTo>
                <a:lnTo>
                  <a:pt x="670" y="716"/>
                </a:lnTo>
                <a:lnTo>
                  <a:pt x="665" y="716"/>
                </a:lnTo>
                <a:lnTo>
                  <a:pt x="662" y="716"/>
                </a:lnTo>
                <a:lnTo>
                  <a:pt x="660" y="717"/>
                </a:lnTo>
                <a:lnTo>
                  <a:pt x="658" y="719"/>
                </a:lnTo>
                <a:lnTo>
                  <a:pt x="657" y="721"/>
                </a:lnTo>
                <a:lnTo>
                  <a:pt x="656" y="723"/>
                </a:lnTo>
                <a:lnTo>
                  <a:pt x="655" y="725"/>
                </a:lnTo>
                <a:lnTo>
                  <a:pt x="652" y="726"/>
                </a:lnTo>
                <a:lnTo>
                  <a:pt x="651" y="725"/>
                </a:lnTo>
                <a:lnTo>
                  <a:pt x="650" y="724"/>
                </a:lnTo>
                <a:lnTo>
                  <a:pt x="649" y="723"/>
                </a:lnTo>
                <a:lnTo>
                  <a:pt x="648" y="723"/>
                </a:lnTo>
                <a:lnTo>
                  <a:pt x="648" y="724"/>
                </a:lnTo>
                <a:lnTo>
                  <a:pt x="647" y="726"/>
                </a:lnTo>
                <a:lnTo>
                  <a:pt x="646" y="728"/>
                </a:lnTo>
                <a:lnTo>
                  <a:pt x="645" y="730"/>
                </a:lnTo>
                <a:lnTo>
                  <a:pt x="645" y="733"/>
                </a:lnTo>
                <a:lnTo>
                  <a:pt x="644" y="736"/>
                </a:lnTo>
                <a:lnTo>
                  <a:pt x="643" y="739"/>
                </a:lnTo>
                <a:lnTo>
                  <a:pt x="643" y="741"/>
                </a:lnTo>
                <a:lnTo>
                  <a:pt x="641" y="742"/>
                </a:lnTo>
                <a:lnTo>
                  <a:pt x="640" y="744"/>
                </a:lnTo>
                <a:lnTo>
                  <a:pt x="636" y="744"/>
                </a:lnTo>
                <a:lnTo>
                  <a:pt x="634" y="744"/>
                </a:lnTo>
                <a:lnTo>
                  <a:pt x="632" y="745"/>
                </a:lnTo>
                <a:lnTo>
                  <a:pt x="631" y="747"/>
                </a:lnTo>
                <a:lnTo>
                  <a:pt x="631" y="750"/>
                </a:lnTo>
                <a:lnTo>
                  <a:pt x="630" y="752"/>
                </a:lnTo>
                <a:lnTo>
                  <a:pt x="631" y="754"/>
                </a:lnTo>
                <a:lnTo>
                  <a:pt x="631" y="757"/>
                </a:lnTo>
                <a:lnTo>
                  <a:pt x="633" y="760"/>
                </a:lnTo>
                <a:lnTo>
                  <a:pt x="633" y="761"/>
                </a:lnTo>
                <a:lnTo>
                  <a:pt x="634" y="762"/>
                </a:lnTo>
                <a:lnTo>
                  <a:pt x="633" y="763"/>
                </a:lnTo>
                <a:lnTo>
                  <a:pt x="633" y="764"/>
                </a:lnTo>
                <a:lnTo>
                  <a:pt x="631" y="765"/>
                </a:lnTo>
                <a:lnTo>
                  <a:pt x="630" y="767"/>
                </a:lnTo>
                <a:lnTo>
                  <a:pt x="629" y="768"/>
                </a:lnTo>
                <a:lnTo>
                  <a:pt x="629" y="769"/>
                </a:lnTo>
                <a:lnTo>
                  <a:pt x="630" y="774"/>
                </a:lnTo>
                <a:lnTo>
                  <a:pt x="631" y="777"/>
                </a:lnTo>
                <a:lnTo>
                  <a:pt x="632" y="780"/>
                </a:lnTo>
                <a:lnTo>
                  <a:pt x="633" y="783"/>
                </a:lnTo>
                <a:lnTo>
                  <a:pt x="633" y="786"/>
                </a:lnTo>
                <a:lnTo>
                  <a:pt x="632" y="790"/>
                </a:lnTo>
                <a:lnTo>
                  <a:pt x="630" y="792"/>
                </a:lnTo>
                <a:lnTo>
                  <a:pt x="629" y="794"/>
                </a:lnTo>
                <a:lnTo>
                  <a:pt x="629" y="795"/>
                </a:lnTo>
                <a:lnTo>
                  <a:pt x="630" y="797"/>
                </a:lnTo>
                <a:lnTo>
                  <a:pt x="630" y="799"/>
                </a:lnTo>
                <a:lnTo>
                  <a:pt x="630" y="801"/>
                </a:lnTo>
                <a:lnTo>
                  <a:pt x="629" y="802"/>
                </a:lnTo>
                <a:lnTo>
                  <a:pt x="628" y="803"/>
                </a:lnTo>
                <a:close/>
                <a:moveTo>
                  <a:pt x="859" y="1558"/>
                </a:moveTo>
                <a:lnTo>
                  <a:pt x="858" y="1561"/>
                </a:lnTo>
                <a:lnTo>
                  <a:pt x="859" y="1563"/>
                </a:lnTo>
                <a:lnTo>
                  <a:pt x="862" y="1563"/>
                </a:lnTo>
                <a:lnTo>
                  <a:pt x="865" y="1563"/>
                </a:lnTo>
                <a:lnTo>
                  <a:pt x="868" y="1562"/>
                </a:lnTo>
                <a:lnTo>
                  <a:pt x="868" y="1559"/>
                </a:lnTo>
                <a:lnTo>
                  <a:pt x="868" y="1557"/>
                </a:lnTo>
                <a:lnTo>
                  <a:pt x="867" y="1554"/>
                </a:lnTo>
                <a:lnTo>
                  <a:pt x="864" y="1551"/>
                </a:lnTo>
                <a:lnTo>
                  <a:pt x="862" y="1548"/>
                </a:lnTo>
                <a:lnTo>
                  <a:pt x="861" y="1554"/>
                </a:lnTo>
                <a:lnTo>
                  <a:pt x="859" y="1558"/>
                </a:lnTo>
                <a:close/>
                <a:moveTo>
                  <a:pt x="251" y="1542"/>
                </a:moveTo>
                <a:lnTo>
                  <a:pt x="250" y="1537"/>
                </a:lnTo>
                <a:lnTo>
                  <a:pt x="247" y="1533"/>
                </a:lnTo>
                <a:lnTo>
                  <a:pt x="247" y="1536"/>
                </a:lnTo>
                <a:lnTo>
                  <a:pt x="247" y="1540"/>
                </a:lnTo>
                <a:lnTo>
                  <a:pt x="248" y="1541"/>
                </a:lnTo>
                <a:lnTo>
                  <a:pt x="251" y="1542"/>
                </a:lnTo>
                <a:lnTo>
                  <a:pt x="251" y="1547"/>
                </a:lnTo>
                <a:lnTo>
                  <a:pt x="252" y="1552"/>
                </a:lnTo>
                <a:lnTo>
                  <a:pt x="253" y="1557"/>
                </a:lnTo>
                <a:lnTo>
                  <a:pt x="255" y="1561"/>
                </a:lnTo>
                <a:lnTo>
                  <a:pt x="257" y="1563"/>
                </a:lnTo>
                <a:lnTo>
                  <a:pt x="258" y="1563"/>
                </a:lnTo>
                <a:lnTo>
                  <a:pt x="261" y="1563"/>
                </a:lnTo>
                <a:lnTo>
                  <a:pt x="262" y="1563"/>
                </a:lnTo>
                <a:lnTo>
                  <a:pt x="263" y="1562"/>
                </a:lnTo>
                <a:lnTo>
                  <a:pt x="263" y="1560"/>
                </a:lnTo>
                <a:lnTo>
                  <a:pt x="262" y="1559"/>
                </a:lnTo>
                <a:lnTo>
                  <a:pt x="261" y="1558"/>
                </a:lnTo>
                <a:lnTo>
                  <a:pt x="256" y="1550"/>
                </a:lnTo>
                <a:lnTo>
                  <a:pt x="251" y="1542"/>
                </a:lnTo>
                <a:close/>
                <a:moveTo>
                  <a:pt x="296" y="1457"/>
                </a:moveTo>
                <a:lnTo>
                  <a:pt x="294" y="1457"/>
                </a:lnTo>
                <a:lnTo>
                  <a:pt x="292" y="1458"/>
                </a:lnTo>
                <a:lnTo>
                  <a:pt x="292" y="1460"/>
                </a:lnTo>
                <a:lnTo>
                  <a:pt x="292" y="1463"/>
                </a:lnTo>
                <a:lnTo>
                  <a:pt x="291" y="1467"/>
                </a:lnTo>
                <a:lnTo>
                  <a:pt x="289" y="1470"/>
                </a:lnTo>
                <a:lnTo>
                  <a:pt x="286" y="1471"/>
                </a:lnTo>
                <a:lnTo>
                  <a:pt x="282" y="1471"/>
                </a:lnTo>
                <a:lnTo>
                  <a:pt x="280" y="1472"/>
                </a:lnTo>
                <a:lnTo>
                  <a:pt x="279" y="1473"/>
                </a:lnTo>
                <a:lnTo>
                  <a:pt x="278" y="1474"/>
                </a:lnTo>
                <a:lnTo>
                  <a:pt x="278" y="1476"/>
                </a:lnTo>
                <a:lnTo>
                  <a:pt x="278" y="1479"/>
                </a:lnTo>
                <a:lnTo>
                  <a:pt x="280" y="1480"/>
                </a:lnTo>
                <a:lnTo>
                  <a:pt x="281" y="1480"/>
                </a:lnTo>
                <a:lnTo>
                  <a:pt x="283" y="1480"/>
                </a:lnTo>
                <a:lnTo>
                  <a:pt x="286" y="1480"/>
                </a:lnTo>
                <a:lnTo>
                  <a:pt x="289" y="1479"/>
                </a:lnTo>
                <a:lnTo>
                  <a:pt x="293" y="1478"/>
                </a:lnTo>
                <a:lnTo>
                  <a:pt x="295" y="1475"/>
                </a:lnTo>
                <a:lnTo>
                  <a:pt x="297" y="1473"/>
                </a:lnTo>
                <a:lnTo>
                  <a:pt x="298" y="1470"/>
                </a:lnTo>
                <a:lnTo>
                  <a:pt x="299" y="1467"/>
                </a:lnTo>
                <a:lnTo>
                  <a:pt x="300" y="1464"/>
                </a:lnTo>
                <a:lnTo>
                  <a:pt x="300" y="1462"/>
                </a:lnTo>
                <a:lnTo>
                  <a:pt x="300" y="1459"/>
                </a:lnTo>
                <a:lnTo>
                  <a:pt x="299" y="1458"/>
                </a:lnTo>
                <a:lnTo>
                  <a:pt x="296" y="1457"/>
                </a:lnTo>
                <a:close/>
                <a:moveTo>
                  <a:pt x="822" y="1463"/>
                </a:moveTo>
                <a:lnTo>
                  <a:pt x="822" y="1464"/>
                </a:lnTo>
                <a:lnTo>
                  <a:pt x="823" y="1463"/>
                </a:lnTo>
                <a:lnTo>
                  <a:pt x="822" y="1463"/>
                </a:lnTo>
                <a:lnTo>
                  <a:pt x="822" y="1463"/>
                </a:lnTo>
                <a:close/>
                <a:moveTo>
                  <a:pt x="827" y="1440"/>
                </a:moveTo>
                <a:lnTo>
                  <a:pt x="828" y="1439"/>
                </a:lnTo>
                <a:lnTo>
                  <a:pt x="829" y="1439"/>
                </a:lnTo>
                <a:lnTo>
                  <a:pt x="828" y="1439"/>
                </a:lnTo>
                <a:lnTo>
                  <a:pt x="827" y="1440"/>
                </a:lnTo>
                <a:close/>
                <a:moveTo>
                  <a:pt x="830" y="1438"/>
                </a:moveTo>
                <a:lnTo>
                  <a:pt x="831" y="1437"/>
                </a:lnTo>
                <a:lnTo>
                  <a:pt x="832" y="1437"/>
                </a:lnTo>
                <a:lnTo>
                  <a:pt x="830" y="1437"/>
                </a:lnTo>
                <a:lnTo>
                  <a:pt x="830" y="1438"/>
                </a:lnTo>
                <a:close/>
                <a:moveTo>
                  <a:pt x="835" y="1432"/>
                </a:moveTo>
                <a:lnTo>
                  <a:pt x="835" y="1432"/>
                </a:lnTo>
                <a:lnTo>
                  <a:pt x="835" y="1433"/>
                </a:lnTo>
                <a:lnTo>
                  <a:pt x="837" y="1433"/>
                </a:lnTo>
                <a:lnTo>
                  <a:pt x="838" y="1432"/>
                </a:lnTo>
                <a:lnTo>
                  <a:pt x="837" y="1432"/>
                </a:lnTo>
                <a:lnTo>
                  <a:pt x="835" y="1432"/>
                </a:lnTo>
                <a:close/>
                <a:moveTo>
                  <a:pt x="841" y="1427"/>
                </a:moveTo>
                <a:lnTo>
                  <a:pt x="839" y="1428"/>
                </a:lnTo>
                <a:lnTo>
                  <a:pt x="838" y="1428"/>
                </a:lnTo>
                <a:lnTo>
                  <a:pt x="838" y="1429"/>
                </a:lnTo>
                <a:lnTo>
                  <a:pt x="838" y="1430"/>
                </a:lnTo>
                <a:lnTo>
                  <a:pt x="840" y="1430"/>
                </a:lnTo>
                <a:lnTo>
                  <a:pt x="841" y="1427"/>
                </a:lnTo>
                <a:close/>
                <a:moveTo>
                  <a:pt x="245" y="1486"/>
                </a:moveTo>
                <a:lnTo>
                  <a:pt x="243" y="1487"/>
                </a:lnTo>
                <a:lnTo>
                  <a:pt x="242" y="1488"/>
                </a:lnTo>
                <a:lnTo>
                  <a:pt x="242" y="1489"/>
                </a:lnTo>
                <a:lnTo>
                  <a:pt x="243" y="1490"/>
                </a:lnTo>
                <a:lnTo>
                  <a:pt x="245" y="1489"/>
                </a:lnTo>
                <a:lnTo>
                  <a:pt x="246" y="1488"/>
                </a:lnTo>
                <a:lnTo>
                  <a:pt x="246" y="1487"/>
                </a:lnTo>
                <a:lnTo>
                  <a:pt x="245" y="1486"/>
                </a:lnTo>
                <a:close/>
                <a:moveTo>
                  <a:pt x="814" y="1468"/>
                </a:moveTo>
                <a:lnTo>
                  <a:pt x="816" y="1468"/>
                </a:lnTo>
                <a:lnTo>
                  <a:pt x="817" y="1467"/>
                </a:lnTo>
                <a:lnTo>
                  <a:pt x="818" y="1466"/>
                </a:lnTo>
                <a:lnTo>
                  <a:pt x="819" y="1464"/>
                </a:lnTo>
                <a:lnTo>
                  <a:pt x="817" y="1465"/>
                </a:lnTo>
                <a:lnTo>
                  <a:pt x="816" y="1465"/>
                </a:lnTo>
                <a:lnTo>
                  <a:pt x="815" y="1466"/>
                </a:lnTo>
                <a:lnTo>
                  <a:pt x="814" y="1468"/>
                </a:lnTo>
                <a:close/>
                <a:moveTo>
                  <a:pt x="242" y="1521"/>
                </a:moveTo>
                <a:lnTo>
                  <a:pt x="241" y="1522"/>
                </a:lnTo>
                <a:lnTo>
                  <a:pt x="241" y="1524"/>
                </a:lnTo>
                <a:lnTo>
                  <a:pt x="241" y="1525"/>
                </a:lnTo>
                <a:lnTo>
                  <a:pt x="242" y="1526"/>
                </a:lnTo>
                <a:lnTo>
                  <a:pt x="243" y="1529"/>
                </a:lnTo>
                <a:lnTo>
                  <a:pt x="246" y="1531"/>
                </a:lnTo>
                <a:lnTo>
                  <a:pt x="247" y="1528"/>
                </a:lnTo>
                <a:lnTo>
                  <a:pt x="247" y="1525"/>
                </a:lnTo>
                <a:lnTo>
                  <a:pt x="247" y="1524"/>
                </a:lnTo>
                <a:lnTo>
                  <a:pt x="247" y="1522"/>
                </a:lnTo>
                <a:lnTo>
                  <a:pt x="245" y="1521"/>
                </a:lnTo>
                <a:lnTo>
                  <a:pt x="242" y="1521"/>
                </a:lnTo>
                <a:close/>
                <a:moveTo>
                  <a:pt x="241" y="1564"/>
                </a:moveTo>
                <a:lnTo>
                  <a:pt x="241" y="1556"/>
                </a:lnTo>
                <a:lnTo>
                  <a:pt x="241" y="1547"/>
                </a:lnTo>
                <a:lnTo>
                  <a:pt x="241" y="1539"/>
                </a:lnTo>
                <a:lnTo>
                  <a:pt x="241" y="1530"/>
                </a:lnTo>
                <a:lnTo>
                  <a:pt x="238" y="1536"/>
                </a:lnTo>
                <a:lnTo>
                  <a:pt x="237" y="1542"/>
                </a:lnTo>
                <a:lnTo>
                  <a:pt x="239" y="1552"/>
                </a:lnTo>
                <a:lnTo>
                  <a:pt x="241" y="1564"/>
                </a:lnTo>
                <a:close/>
                <a:moveTo>
                  <a:pt x="869" y="1402"/>
                </a:moveTo>
                <a:lnTo>
                  <a:pt x="865" y="1408"/>
                </a:lnTo>
                <a:lnTo>
                  <a:pt x="863" y="1416"/>
                </a:lnTo>
                <a:lnTo>
                  <a:pt x="860" y="1423"/>
                </a:lnTo>
                <a:lnTo>
                  <a:pt x="857" y="1429"/>
                </a:lnTo>
                <a:lnTo>
                  <a:pt x="853" y="1429"/>
                </a:lnTo>
                <a:lnTo>
                  <a:pt x="848" y="1429"/>
                </a:lnTo>
                <a:lnTo>
                  <a:pt x="847" y="1430"/>
                </a:lnTo>
                <a:lnTo>
                  <a:pt x="846" y="1432"/>
                </a:lnTo>
                <a:lnTo>
                  <a:pt x="845" y="1433"/>
                </a:lnTo>
                <a:lnTo>
                  <a:pt x="844" y="1435"/>
                </a:lnTo>
                <a:lnTo>
                  <a:pt x="844" y="1437"/>
                </a:lnTo>
                <a:lnTo>
                  <a:pt x="844" y="1439"/>
                </a:lnTo>
                <a:lnTo>
                  <a:pt x="845" y="1440"/>
                </a:lnTo>
                <a:lnTo>
                  <a:pt x="847" y="1441"/>
                </a:lnTo>
                <a:lnTo>
                  <a:pt x="853" y="1437"/>
                </a:lnTo>
                <a:lnTo>
                  <a:pt x="857" y="1430"/>
                </a:lnTo>
                <a:lnTo>
                  <a:pt x="859" y="1433"/>
                </a:lnTo>
                <a:lnTo>
                  <a:pt x="861" y="1435"/>
                </a:lnTo>
                <a:lnTo>
                  <a:pt x="862" y="1438"/>
                </a:lnTo>
                <a:lnTo>
                  <a:pt x="862" y="1441"/>
                </a:lnTo>
                <a:lnTo>
                  <a:pt x="861" y="1442"/>
                </a:lnTo>
                <a:lnTo>
                  <a:pt x="861" y="1442"/>
                </a:lnTo>
                <a:lnTo>
                  <a:pt x="861" y="1442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2" y="1441"/>
                </a:lnTo>
                <a:lnTo>
                  <a:pt x="863" y="1443"/>
                </a:lnTo>
                <a:lnTo>
                  <a:pt x="865" y="1445"/>
                </a:lnTo>
                <a:lnTo>
                  <a:pt x="868" y="1443"/>
                </a:lnTo>
                <a:lnTo>
                  <a:pt x="868" y="1440"/>
                </a:lnTo>
                <a:lnTo>
                  <a:pt x="867" y="1434"/>
                </a:lnTo>
                <a:lnTo>
                  <a:pt x="868" y="1427"/>
                </a:lnTo>
                <a:lnTo>
                  <a:pt x="869" y="1420"/>
                </a:lnTo>
                <a:lnTo>
                  <a:pt x="870" y="1413"/>
                </a:lnTo>
                <a:lnTo>
                  <a:pt x="870" y="1410"/>
                </a:lnTo>
                <a:lnTo>
                  <a:pt x="871" y="1408"/>
                </a:lnTo>
                <a:lnTo>
                  <a:pt x="870" y="1405"/>
                </a:lnTo>
                <a:lnTo>
                  <a:pt x="869" y="1402"/>
                </a:lnTo>
                <a:close/>
                <a:moveTo>
                  <a:pt x="856" y="1512"/>
                </a:moveTo>
                <a:lnTo>
                  <a:pt x="855" y="1512"/>
                </a:lnTo>
                <a:lnTo>
                  <a:pt x="855" y="1512"/>
                </a:lnTo>
                <a:lnTo>
                  <a:pt x="855" y="1512"/>
                </a:lnTo>
                <a:lnTo>
                  <a:pt x="856" y="1512"/>
                </a:lnTo>
                <a:lnTo>
                  <a:pt x="856" y="1512"/>
                </a:lnTo>
                <a:close/>
                <a:moveTo>
                  <a:pt x="862" y="1474"/>
                </a:moveTo>
                <a:lnTo>
                  <a:pt x="862" y="1472"/>
                </a:lnTo>
                <a:lnTo>
                  <a:pt x="861" y="1469"/>
                </a:lnTo>
                <a:lnTo>
                  <a:pt x="862" y="1472"/>
                </a:lnTo>
                <a:lnTo>
                  <a:pt x="862" y="1474"/>
                </a:lnTo>
                <a:close/>
                <a:moveTo>
                  <a:pt x="872" y="1502"/>
                </a:moveTo>
                <a:lnTo>
                  <a:pt x="871" y="1501"/>
                </a:lnTo>
                <a:lnTo>
                  <a:pt x="870" y="1500"/>
                </a:lnTo>
                <a:lnTo>
                  <a:pt x="868" y="1502"/>
                </a:lnTo>
                <a:lnTo>
                  <a:pt x="868" y="1503"/>
                </a:lnTo>
                <a:lnTo>
                  <a:pt x="868" y="1505"/>
                </a:lnTo>
                <a:lnTo>
                  <a:pt x="868" y="1508"/>
                </a:lnTo>
                <a:lnTo>
                  <a:pt x="868" y="1510"/>
                </a:lnTo>
                <a:lnTo>
                  <a:pt x="867" y="1511"/>
                </a:lnTo>
                <a:lnTo>
                  <a:pt x="867" y="1511"/>
                </a:lnTo>
                <a:lnTo>
                  <a:pt x="864" y="1511"/>
                </a:lnTo>
                <a:lnTo>
                  <a:pt x="864" y="1505"/>
                </a:lnTo>
                <a:lnTo>
                  <a:pt x="864" y="1501"/>
                </a:lnTo>
                <a:lnTo>
                  <a:pt x="864" y="1497"/>
                </a:lnTo>
                <a:lnTo>
                  <a:pt x="862" y="1491"/>
                </a:lnTo>
                <a:lnTo>
                  <a:pt x="862" y="1489"/>
                </a:lnTo>
                <a:lnTo>
                  <a:pt x="861" y="1487"/>
                </a:lnTo>
                <a:lnTo>
                  <a:pt x="860" y="1485"/>
                </a:lnTo>
                <a:lnTo>
                  <a:pt x="861" y="1482"/>
                </a:lnTo>
                <a:lnTo>
                  <a:pt x="862" y="1484"/>
                </a:lnTo>
                <a:lnTo>
                  <a:pt x="863" y="1484"/>
                </a:lnTo>
                <a:lnTo>
                  <a:pt x="864" y="1484"/>
                </a:lnTo>
                <a:lnTo>
                  <a:pt x="865" y="1484"/>
                </a:lnTo>
                <a:lnTo>
                  <a:pt x="867" y="1485"/>
                </a:lnTo>
                <a:lnTo>
                  <a:pt x="868" y="1485"/>
                </a:lnTo>
                <a:lnTo>
                  <a:pt x="869" y="1493"/>
                </a:lnTo>
                <a:lnTo>
                  <a:pt x="870" y="1500"/>
                </a:lnTo>
                <a:lnTo>
                  <a:pt x="871" y="1501"/>
                </a:lnTo>
                <a:lnTo>
                  <a:pt x="872" y="1502"/>
                </a:lnTo>
                <a:lnTo>
                  <a:pt x="875" y="1501"/>
                </a:lnTo>
                <a:lnTo>
                  <a:pt x="877" y="1500"/>
                </a:lnTo>
                <a:lnTo>
                  <a:pt x="877" y="1498"/>
                </a:lnTo>
                <a:lnTo>
                  <a:pt x="877" y="1495"/>
                </a:lnTo>
                <a:lnTo>
                  <a:pt x="875" y="1489"/>
                </a:lnTo>
                <a:lnTo>
                  <a:pt x="874" y="1484"/>
                </a:lnTo>
                <a:lnTo>
                  <a:pt x="874" y="1479"/>
                </a:lnTo>
                <a:lnTo>
                  <a:pt x="874" y="1473"/>
                </a:lnTo>
                <a:lnTo>
                  <a:pt x="874" y="1467"/>
                </a:lnTo>
                <a:lnTo>
                  <a:pt x="872" y="1460"/>
                </a:lnTo>
                <a:lnTo>
                  <a:pt x="869" y="1455"/>
                </a:lnTo>
                <a:lnTo>
                  <a:pt x="863" y="1451"/>
                </a:lnTo>
                <a:lnTo>
                  <a:pt x="861" y="1454"/>
                </a:lnTo>
                <a:lnTo>
                  <a:pt x="860" y="1458"/>
                </a:lnTo>
                <a:lnTo>
                  <a:pt x="860" y="1463"/>
                </a:lnTo>
                <a:lnTo>
                  <a:pt x="860" y="1467"/>
                </a:lnTo>
                <a:lnTo>
                  <a:pt x="860" y="1467"/>
                </a:lnTo>
                <a:lnTo>
                  <a:pt x="859" y="1469"/>
                </a:lnTo>
                <a:lnTo>
                  <a:pt x="857" y="1471"/>
                </a:lnTo>
                <a:lnTo>
                  <a:pt x="855" y="1473"/>
                </a:lnTo>
                <a:lnTo>
                  <a:pt x="852" y="1473"/>
                </a:lnTo>
                <a:lnTo>
                  <a:pt x="849" y="1474"/>
                </a:lnTo>
                <a:lnTo>
                  <a:pt x="847" y="1475"/>
                </a:lnTo>
                <a:lnTo>
                  <a:pt x="846" y="1478"/>
                </a:lnTo>
                <a:lnTo>
                  <a:pt x="846" y="1480"/>
                </a:lnTo>
                <a:lnTo>
                  <a:pt x="845" y="1482"/>
                </a:lnTo>
                <a:lnTo>
                  <a:pt x="844" y="1484"/>
                </a:lnTo>
                <a:lnTo>
                  <a:pt x="843" y="1486"/>
                </a:lnTo>
                <a:lnTo>
                  <a:pt x="841" y="1488"/>
                </a:lnTo>
                <a:lnTo>
                  <a:pt x="838" y="1493"/>
                </a:lnTo>
                <a:lnTo>
                  <a:pt x="834" y="1497"/>
                </a:lnTo>
                <a:lnTo>
                  <a:pt x="833" y="1499"/>
                </a:lnTo>
                <a:lnTo>
                  <a:pt x="833" y="1501"/>
                </a:lnTo>
                <a:lnTo>
                  <a:pt x="834" y="1503"/>
                </a:lnTo>
                <a:lnTo>
                  <a:pt x="835" y="1504"/>
                </a:lnTo>
                <a:lnTo>
                  <a:pt x="838" y="1504"/>
                </a:lnTo>
                <a:lnTo>
                  <a:pt x="839" y="1503"/>
                </a:lnTo>
                <a:lnTo>
                  <a:pt x="840" y="1501"/>
                </a:lnTo>
                <a:lnTo>
                  <a:pt x="841" y="1500"/>
                </a:lnTo>
                <a:lnTo>
                  <a:pt x="841" y="1498"/>
                </a:lnTo>
                <a:lnTo>
                  <a:pt x="842" y="1496"/>
                </a:lnTo>
                <a:lnTo>
                  <a:pt x="843" y="1494"/>
                </a:lnTo>
                <a:lnTo>
                  <a:pt x="845" y="1493"/>
                </a:lnTo>
                <a:lnTo>
                  <a:pt x="846" y="1497"/>
                </a:lnTo>
                <a:lnTo>
                  <a:pt x="845" y="1501"/>
                </a:lnTo>
                <a:lnTo>
                  <a:pt x="843" y="1504"/>
                </a:lnTo>
                <a:lnTo>
                  <a:pt x="840" y="1506"/>
                </a:lnTo>
                <a:lnTo>
                  <a:pt x="838" y="1508"/>
                </a:lnTo>
                <a:lnTo>
                  <a:pt x="837" y="1509"/>
                </a:lnTo>
                <a:lnTo>
                  <a:pt x="835" y="1511"/>
                </a:lnTo>
                <a:lnTo>
                  <a:pt x="837" y="1513"/>
                </a:lnTo>
                <a:lnTo>
                  <a:pt x="839" y="1518"/>
                </a:lnTo>
                <a:lnTo>
                  <a:pt x="841" y="1525"/>
                </a:lnTo>
                <a:lnTo>
                  <a:pt x="840" y="1531"/>
                </a:lnTo>
                <a:lnTo>
                  <a:pt x="838" y="1536"/>
                </a:lnTo>
                <a:lnTo>
                  <a:pt x="831" y="1550"/>
                </a:lnTo>
                <a:lnTo>
                  <a:pt x="825" y="1563"/>
                </a:lnTo>
                <a:lnTo>
                  <a:pt x="830" y="1563"/>
                </a:lnTo>
                <a:lnTo>
                  <a:pt x="835" y="1563"/>
                </a:lnTo>
                <a:lnTo>
                  <a:pt x="838" y="1563"/>
                </a:lnTo>
                <a:lnTo>
                  <a:pt x="841" y="1562"/>
                </a:lnTo>
                <a:lnTo>
                  <a:pt x="843" y="1561"/>
                </a:lnTo>
                <a:lnTo>
                  <a:pt x="845" y="1559"/>
                </a:lnTo>
                <a:lnTo>
                  <a:pt x="852" y="1545"/>
                </a:lnTo>
                <a:lnTo>
                  <a:pt x="857" y="1531"/>
                </a:lnTo>
                <a:lnTo>
                  <a:pt x="858" y="1530"/>
                </a:lnTo>
                <a:lnTo>
                  <a:pt x="858" y="1529"/>
                </a:lnTo>
                <a:lnTo>
                  <a:pt x="860" y="1526"/>
                </a:lnTo>
                <a:lnTo>
                  <a:pt x="861" y="1521"/>
                </a:lnTo>
                <a:lnTo>
                  <a:pt x="862" y="1517"/>
                </a:lnTo>
                <a:lnTo>
                  <a:pt x="862" y="1514"/>
                </a:lnTo>
                <a:lnTo>
                  <a:pt x="867" y="1524"/>
                </a:lnTo>
                <a:lnTo>
                  <a:pt x="870" y="1533"/>
                </a:lnTo>
                <a:lnTo>
                  <a:pt x="872" y="1544"/>
                </a:lnTo>
                <a:lnTo>
                  <a:pt x="872" y="1555"/>
                </a:lnTo>
                <a:lnTo>
                  <a:pt x="872" y="1558"/>
                </a:lnTo>
                <a:lnTo>
                  <a:pt x="872" y="1560"/>
                </a:lnTo>
                <a:lnTo>
                  <a:pt x="873" y="1561"/>
                </a:lnTo>
                <a:lnTo>
                  <a:pt x="874" y="1562"/>
                </a:lnTo>
                <a:lnTo>
                  <a:pt x="875" y="1563"/>
                </a:lnTo>
                <a:lnTo>
                  <a:pt x="878" y="1562"/>
                </a:lnTo>
                <a:lnTo>
                  <a:pt x="879" y="1556"/>
                </a:lnTo>
                <a:lnTo>
                  <a:pt x="879" y="1548"/>
                </a:lnTo>
                <a:lnTo>
                  <a:pt x="876" y="1537"/>
                </a:lnTo>
                <a:lnTo>
                  <a:pt x="874" y="1526"/>
                </a:lnTo>
                <a:lnTo>
                  <a:pt x="872" y="1514"/>
                </a:lnTo>
                <a:lnTo>
                  <a:pt x="872" y="1502"/>
                </a:lnTo>
                <a:close/>
                <a:moveTo>
                  <a:pt x="825" y="1443"/>
                </a:moveTo>
                <a:lnTo>
                  <a:pt x="826" y="1442"/>
                </a:lnTo>
                <a:lnTo>
                  <a:pt x="827" y="1442"/>
                </a:lnTo>
                <a:lnTo>
                  <a:pt x="827" y="1441"/>
                </a:lnTo>
                <a:lnTo>
                  <a:pt x="827" y="1440"/>
                </a:lnTo>
                <a:lnTo>
                  <a:pt x="826" y="1441"/>
                </a:lnTo>
                <a:lnTo>
                  <a:pt x="825" y="1441"/>
                </a:lnTo>
                <a:lnTo>
                  <a:pt x="825" y="1442"/>
                </a:lnTo>
                <a:lnTo>
                  <a:pt x="825" y="1443"/>
                </a:lnTo>
                <a:lnTo>
                  <a:pt x="814" y="1450"/>
                </a:lnTo>
                <a:lnTo>
                  <a:pt x="804" y="1457"/>
                </a:lnTo>
                <a:lnTo>
                  <a:pt x="794" y="1464"/>
                </a:lnTo>
                <a:lnTo>
                  <a:pt x="783" y="1468"/>
                </a:lnTo>
                <a:lnTo>
                  <a:pt x="779" y="1468"/>
                </a:lnTo>
                <a:lnTo>
                  <a:pt x="776" y="1470"/>
                </a:lnTo>
                <a:lnTo>
                  <a:pt x="772" y="1472"/>
                </a:lnTo>
                <a:lnTo>
                  <a:pt x="769" y="1474"/>
                </a:lnTo>
                <a:lnTo>
                  <a:pt x="753" y="1482"/>
                </a:lnTo>
                <a:lnTo>
                  <a:pt x="737" y="1489"/>
                </a:lnTo>
                <a:lnTo>
                  <a:pt x="721" y="1497"/>
                </a:lnTo>
                <a:lnTo>
                  <a:pt x="705" y="1505"/>
                </a:lnTo>
                <a:lnTo>
                  <a:pt x="701" y="1505"/>
                </a:lnTo>
                <a:lnTo>
                  <a:pt x="697" y="1506"/>
                </a:lnTo>
                <a:lnTo>
                  <a:pt x="695" y="1509"/>
                </a:lnTo>
                <a:lnTo>
                  <a:pt x="692" y="1511"/>
                </a:lnTo>
                <a:lnTo>
                  <a:pt x="686" y="1514"/>
                </a:lnTo>
                <a:lnTo>
                  <a:pt x="678" y="1516"/>
                </a:lnTo>
                <a:lnTo>
                  <a:pt x="673" y="1516"/>
                </a:lnTo>
                <a:lnTo>
                  <a:pt x="668" y="1517"/>
                </a:lnTo>
                <a:lnTo>
                  <a:pt x="664" y="1518"/>
                </a:lnTo>
                <a:lnTo>
                  <a:pt x="660" y="1520"/>
                </a:lnTo>
                <a:lnTo>
                  <a:pt x="651" y="1526"/>
                </a:lnTo>
                <a:lnTo>
                  <a:pt x="644" y="1533"/>
                </a:lnTo>
                <a:lnTo>
                  <a:pt x="646" y="1533"/>
                </a:lnTo>
                <a:lnTo>
                  <a:pt x="648" y="1534"/>
                </a:lnTo>
                <a:lnTo>
                  <a:pt x="650" y="1535"/>
                </a:lnTo>
                <a:lnTo>
                  <a:pt x="651" y="1536"/>
                </a:lnTo>
                <a:lnTo>
                  <a:pt x="651" y="1539"/>
                </a:lnTo>
                <a:lnTo>
                  <a:pt x="652" y="1541"/>
                </a:lnTo>
                <a:lnTo>
                  <a:pt x="655" y="1542"/>
                </a:lnTo>
                <a:lnTo>
                  <a:pt x="657" y="1542"/>
                </a:lnTo>
                <a:lnTo>
                  <a:pt x="652" y="1545"/>
                </a:lnTo>
                <a:lnTo>
                  <a:pt x="649" y="1547"/>
                </a:lnTo>
                <a:lnTo>
                  <a:pt x="645" y="1548"/>
                </a:lnTo>
                <a:lnTo>
                  <a:pt x="641" y="1548"/>
                </a:lnTo>
                <a:lnTo>
                  <a:pt x="633" y="1548"/>
                </a:lnTo>
                <a:lnTo>
                  <a:pt x="626" y="1549"/>
                </a:lnTo>
                <a:lnTo>
                  <a:pt x="619" y="1551"/>
                </a:lnTo>
                <a:lnTo>
                  <a:pt x="612" y="1555"/>
                </a:lnTo>
                <a:lnTo>
                  <a:pt x="610" y="1556"/>
                </a:lnTo>
                <a:lnTo>
                  <a:pt x="609" y="1558"/>
                </a:lnTo>
                <a:lnTo>
                  <a:pt x="607" y="1559"/>
                </a:lnTo>
                <a:lnTo>
                  <a:pt x="607" y="1561"/>
                </a:lnTo>
                <a:lnTo>
                  <a:pt x="609" y="1563"/>
                </a:lnTo>
                <a:lnTo>
                  <a:pt x="611" y="1563"/>
                </a:lnTo>
                <a:lnTo>
                  <a:pt x="613" y="1563"/>
                </a:lnTo>
                <a:lnTo>
                  <a:pt x="614" y="1562"/>
                </a:lnTo>
                <a:lnTo>
                  <a:pt x="624" y="1559"/>
                </a:lnTo>
                <a:lnTo>
                  <a:pt x="633" y="1557"/>
                </a:lnTo>
                <a:lnTo>
                  <a:pt x="641" y="1555"/>
                </a:lnTo>
                <a:lnTo>
                  <a:pt x="648" y="1552"/>
                </a:lnTo>
                <a:lnTo>
                  <a:pt x="655" y="1549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4"/>
                </a:lnTo>
                <a:lnTo>
                  <a:pt x="661" y="1543"/>
                </a:lnTo>
                <a:lnTo>
                  <a:pt x="661" y="1543"/>
                </a:lnTo>
                <a:lnTo>
                  <a:pt x="665" y="1543"/>
                </a:lnTo>
                <a:lnTo>
                  <a:pt x="668" y="1541"/>
                </a:lnTo>
                <a:lnTo>
                  <a:pt x="679" y="1535"/>
                </a:lnTo>
                <a:lnTo>
                  <a:pt x="689" y="1529"/>
                </a:lnTo>
                <a:lnTo>
                  <a:pt x="700" y="1524"/>
                </a:lnTo>
                <a:lnTo>
                  <a:pt x="710" y="1517"/>
                </a:lnTo>
                <a:lnTo>
                  <a:pt x="720" y="1513"/>
                </a:lnTo>
                <a:lnTo>
                  <a:pt x="728" y="1509"/>
                </a:lnTo>
                <a:lnTo>
                  <a:pt x="727" y="1506"/>
                </a:lnTo>
                <a:lnTo>
                  <a:pt x="726" y="1505"/>
                </a:lnTo>
                <a:lnTo>
                  <a:pt x="737" y="1499"/>
                </a:lnTo>
                <a:lnTo>
                  <a:pt x="747" y="1493"/>
                </a:lnTo>
                <a:lnTo>
                  <a:pt x="737" y="1499"/>
                </a:lnTo>
                <a:lnTo>
                  <a:pt x="726" y="1505"/>
                </a:lnTo>
                <a:lnTo>
                  <a:pt x="727" y="1506"/>
                </a:lnTo>
                <a:lnTo>
                  <a:pt x="728" y="1509"/>
                </a:lnTo>
                <a:lnTo>
                  <a:pt x="741" y="1501"/>
                </a:lnTo>
                <a:lnTo>
                  <a:pt x="754" y="1495"/>
                </a:lnTo>
                <a:lnTo>
                  <a:pt x="767" y="1488"/>
                </a:lnTo>
                <a:lnTo>
                  <a:pt x="781" y="1483"/>
                </a:lnTo>
                <a:lnTo>
                  <a:pt x="796" y="1476"/>
                </a:lnTo>
                <a:lnTo>
                  <a:pt x="811" y="1469"/>
                </a:lnTo>
                <a:lnTo>
                  <a:pt x="811" y="1464"/>
                </a:lnTo>
                <a:lnTo>
                  <a:pt x="812" y="1458"/>
                </a:lnTo>
                <a:lnTo>
                  <a:pt x="815" y="1455"/>
                </a:lnTo>
                <a:lnTo>
                  <a:pt x="819" y="1451"/>
                </a:lnTo>
                <a:lnTo>
                  <a:pt x="822" y="1450"/>
                </a:lnTo>
                <a:lnTo>
                  <a:pt x="823" y="1449"/>
                </a:lnTo>
                <a:lnTo>
                  <a:pt x="825" y="1447"/>
                </a:lnTo>
                <a:lnTo>
                  <a:pt x="825" y="144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D6A7D2-7D20-0B4D-8122-CD1E812A356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79CA6D-D5FA-FB4E-AEB9-FD81481CB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76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35DBB119-BEE1-3646-89A9-49608E504FFC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 flipH="1">
            <a:off x="1234329" y="1386186"/>
            <a:ext cx="12183394" cy="11844786"/>
          </a:xfrm>
          <a:custGeom>
            <a:avLst/>
            <a:gdLst>
              <a:gd name="T0" fmla="*/ 1478 w 1668"/>
              <a:gd name="T1" fmla="*/ 1395 h 1508"/>
              <a:gd name="T2" fmla="*/ 360 w 1668"/>
              <a:gd name="T3" fmla="*/ 902 h 1508"/>
              <a:gd name="T4" fmla="*/ 173 w 1668"/>
              <a:gd name="T5" fmla="*/ 853 h 1508"/>
              <a:gd name="T6" fmla="*/ 322 w 1668"/>
              <a:gd name="T7" fmla="*/ 992 h 1508"/>
              <a:gd name="T8" fmla="*/ 551 w 1668"/>
              <a:gd name="T9" fmla="*/ 972 h 1508"/>
              <a:gd name="T10" fmla="*/ 550 w 1668"/>
              <a:gd name="T11" fmla="*/ 1112 h 1508"/>
              <a:gd name="T12" fmla="*/ 792 w 1668"/>
              <a:gd name="T13" fmla="*/ 1442 h 1508"/>
              <a:gd name="T14" fmla="*/ 867 w 1668"/>
              <a:gd name="T15" fmla="*/ 1447 h 1508"/>
              <a:gd name="T16" fmla="*/ 921 w 1668"/>
              <a:gd name="T17" fmla="*/ 1358 h 1508"/>
              <a:gd name="T18" fmla="*/ 703 w 1668"/>
              <a:gd name="T19" fmla="*/ 1046 h 1508"/>
              <a:gd name="T20" fmla="*/ 1173 w 1668"/>
              <a:gd name="T21" fmla="*/ 1016 h 1508"/>
              <a:gd name="T22" fmla="*/ 1436 w 1668"/>
              <a:gd name="T23" fmla="*/ 845 h 1508"/>
              <a:gd name="T24" fmla="*/ 1523 w 1668"/>
              <a:gd name="T25" fmla="*/ 1084 h 1508"/>
              <a:gd name="T26" fmla="*/ 1428 w 1668"/>
              <a:gd name="T27" fmla="*/ 1258 h 1508"/>
              <a:gd name="T28" fmla="*/ 1473 w 1668"/>
              <a:gd name="T29" fmla="*/ 1300 h 1508"/>
              <a:gd name="T30" fmla="*/ 1505 w 1668"/>
              <a:gd name="T31" fmla="*/ 1223 h 1508"/>
              <a:gd name="T32" fmla="*/ 1587 w 1668"/>
              <a:gd name="T33" fmla="*/ 1077 h 1508"/>
              <a:gd name="T34" fmla="*/ 1635 w 1668"/>
              <a:gd name="T35" fmla="*/ 880 h 1508"/>
              <a:gd name="T36" fmla="*/ 1589 w 1668"/>
              <a:gd name="T37" fmla="*/ 626 h 1508"/>
              <a:gd name="T38" fmla="*/ 1552 w 1668"/>
              <a:gd name="T39" fmla="*/ 542 h 1508"/>
              <a:gd name="T40" fmla="*/ 1531 w 1668"/>
              <a:gd name="T41" fmla="*/ 375 h 1508"/>
              <a:gd name="T42" fmla="*/ 1570 w 1668"/>
              <a:gd name="T43" fmla="*/ 390 h 1508"/>
              <a:gd name="T44" fmla="*/ 1581 w 1668"/>
              <a:gd name="T45" fmla="*/ 391 h 1508"/>
              <a:gd name="T46" fmla="*/ 1483 w 1668"/>
              <a:gd name="T47" fmla="*/ 205 h 1508"/>
              <a:gd name="T48" fmla="*/ 1399 w 1668"/>
              <a:gd name="T49" fmla="*/ 354 h 1508"/>
              <a:gd name="T50" fmla="*/ 1091 w 1668"/>
              <a:gd name="T51" fmla="*/ 407 h 1508"/>
              <a:gd name="T52" fmla="*/ 572 w 1668"/>
              <a:gd name="T53" fmla="*/ 421 h 1508"/>
              <a:gd name="T54" fmla="*/ 506 w 1668"/>
              <a:gd name="T55" fmla="*/ 453 h 1508"/>
              <a:gd name="T56" fmla="*/ 958 w 1668"/>
              <a:gd name="T57" fmla="*/ 512 h 1508"/>
              <a:gd name="T58" fmla="*/ 1082 w 1668"/>
              <a:gd name="T59" fmla="*/ 600 h 1508"/>
              <a:gd name="T60" fmla="*/ 926 w 1668"/>
              <a:gd name="T61" fmla="*/ 748 h 1508"/>
              <a:gd name="T62" fmla="*/ 879 w 1668"/>
              <a:gd name="T63" fmla="*/ 826 h 1508"/>
              <a:gd name="T64" fmla="*/ 803 w 1668"/>
              <a:gd name="T65" fmla="*/ 791 h 1508"/>
              <a:gd name="T66" fmla="*/ 577 w 1668"/>
              <a:gd name="T67" fmla="*/ 852 h 1508"/>
              <a:gd name="T68" fmla="*/ 1505 w 1668"/>
              <a:gd name="T69" fmla="*/ 1351 h 1508"/>
              <a:gd name="T70" fmla="*/ 1489 w 1668"/>
              <a:gd name="T71" fmla="*/ 1384 h 1508"/>
              <a:gd name="T72" fmla="*/ 1411 w 1668"/>
              <a:gd name="T73" fmla="*/ 1272 h 1508"/>
              <a:gd name="T74" fmla="*/ 1553 w 1668"/>
              <a:gd name="T75" fmla="*/ 935 h 1508"/>
              <a:gd name="T76" fmla="*/ 1534 w 1668"/>
              <a:gd name="T77" fmla="*/ 740 h 1508"/>
              <a:gd name="T78" fmla="*/ 1526 w 1668"/>
              <a:gd name="T79" fmla="*/ 620 h 1508"/>
              <a:gd name="T80" fmla="*/ 1491 w 1668"/>
              <a:gd name="T81" fmla="*/ 216 h 1508"/>
              <a:gd name="T82" fmla="*/ 1436 w 1668"/>
              <a:gd name="T83" fmla="*/ 551 h 1508"/>
              <a:gd name="T84" fmla="*/ 1348 w 1668"/>
              <a:gd name="T85" fmla="*/ 781 h 1508"/>
              <a:gd name="T86" fmla="*/ 1358 w 1668"/>
              <a:gd name="T87" fmla="*/ 752 h 1508"/>
              <a:gd name="T88" fmla="*/ 1256 w 1668"/>
              <a:gd name="T89" fmla="*/ 879 h 1508"/>
              <a:gd name="T90" fmla="*/ 1200 w 1668"/>
              <a:gd name="T91" fmla="*/ 862 h 1508"/>
              <a:gd name="T92" fmla="*/ 1161 w 1668"/>
              <a:gd name="T93" fmla="*/ 889 h 1508"/>
              <a:gd name="T94" fmla="*/ 1128 w 1668"/>
              <a:gd name="T95" fmla="*/ 826 h 1508"/>
              <a:gd name="T96" fmla="*/ 1161 w 1668"/>
              <a:gd name="T97" fmla="*/ 806 h 1508"/>
              <a:gd name="T98" fmla="*/ 1152 w 1668"/>
              <a:gd name="T99" fmla="*/ 951 h 1508"/>
              <a:gd name="T100" fmla="*/ 1269 w 1668"/>
              <a:gd name="T101" fmla="*/ 759 h 1508"/>
              <a:gd name="T102" fmla="*/ 1222 w 1668"/>
              <a:gd name="T103" fmla="*/ 546 h 1508"/>
              <a:gd name="T104" fmla="*/ 1268 w 1668"/>
              <a:gd name="T105" fmla="*/ 588 h 1508"/>
              <a:gd name="T106" fmla="*/ 1344 w 1668"/>
              <a:gd name="T107" fmla="*/ 598 h 1508"/>
              <a:gd name="T108" fmla="*/ 1414 w 1668"/>
              <a:gd name="T109" fmla="*/ 333 h 1508"/>
              <a:gd name="T110" fmla="*/ 750 w 1668"/>
              <a:gd name="T111" fmla="*/ 927 h 1508"/>
              <a:gd name="T112" fmla="*/ 896 w 1668"/>
              <a:gd name="T113" fmla="*/ 1363 h 1508"/>
              <a:gd name="T114" fmla="*/ 327 w 1668"/>
              <a:gd name="T115" fmla="*/ 899 h 1508"/>
              <a:gd name="T116" fmla="*/ 636 w 1668"/>
              <a:gd name="T117" fmla="*/ 426 h 1508"/>
              <a:gd name="T118" fmla="*/ 137 w 1668"/>
              <a:gd name="T119" fmla="*/ 36 h 1508"/>
              <a:gd name="T120" fmla="*/ 255 w 1668"/>
              <a:gd name="T121" fmla="*/ 233 h 1508"/>
              <a:gd name="T122" fmla="*/ 133 w 1668"/>
              <a:gd name="T123" fmla="*/ 2 h 1508"/>
              <a:gd name="T124" fmla="*/ 43 w 1668"/>
              <a:gd name="T125" fmla="*/ 243 h 1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68" h="1508">
                <a:moveTo>
                  <a:pt x="1563" y="757"/>
                </a:moveTo>
                <a:lnTo>
                  <a:pt x="1566" y="757"/>
                </a:lnTo>
                <a:lnTo>
                  <a:pt x="1569" y="757"/>
                </a:lnTo>
                <a:lnTo>
                  <a:pt x="1566" y="757"/>
                </a:lnTo>
                <a:lnTo>
                  <a:pt x="1563" y="757"/>
                </a:lnTo>
                <a:close/>
                <a:moveTo>
                  <a:pt x="1473" y="1389"/>
                </a:moveTo>
                <a:lnTo>
                  <a:pt x="1472" y="1388"/>
                </a:lnTo>
                <a:lnTo>
                  <a:pt x="1472" y="1388"/>
                </a:lnTo>
                <a:lnTo>
                  <a:pt x="1472" y="1384"/>
                </a:lnTo>
                <a:lnTo>
                  <a:pt x="1472" y="1381"/>
                </a:lnTo>
                <a:lnTo>
                  <a:pt x="1477" y="1367"/>
                </a:lnTo>
                <a:lnTo>
                  <a:pt x="1480" y="1354"/>
                </a:lnTo>
                <a:lnTo>
                  <a:pt x="1483" y="1347"/>
                </a:lnTo>
                <a:lnTo>
                  <a:pt x="1484" y="1340"/>
                </a:lnTo>
                <a:lnTo>
                  <a:pt x="1486" y="1340"/>
                </a:lnTo>
                <a:lnTo>
                  <a:pt x="1489" y="1339"/>
                </a:lnTo>
                <a:lnTo>
                  <a:pt x="1489" y="1337"/>
                </a:lnTo>
                <a:lnTo>
                  <a:pt x="1489" y="1336"/>
                </a:lnTo>
                <a:lnTo>
                  <a:pt x="1487" y="1334"/>
                </a:lnTo>
                <a:lnTo>
                  <a:pt x="1487" y="1330"/>
                </a:lnTo>
                <a:lnTo>
                  <a:pt x="1487" y="1330"/>
                </a:lnTo>
                <a:lnTo>
                  <a:pt x="1487" y="1329"/>
                </a:lnTo>
                <a:lnTo>
                  <a:pt x="1494" y="1315"/>
                </a:lnTo>
                <a:lnTo>
                  <a:pt x="1503" y="1301"/>
                </a:lnTo>
                <a:lnTo>
                  <a:pt x="1505" y="1299"/>
                </a:lnTo>
                <a:lnTo>
                  <a:pt x="1506" y="1297"/>
                </a:lnTo>
                <a:lnTo>
                  <a:pt x="1506" y="1293"/>
                </a:lnTo>
                <a:lnTo>
                  <a:pt x="1505" y="1291"/>
                </a:lnTo>
                <a:lnTo>
                  <a:pt x="1504" y="1290"/>
                </a:lnTo>
                <a:lnTo>
                  <a:pt x="1501" y="1291"/>
                </a:lnTo>
                <a:lnTo>
                  <a:pt x="1499" y="1292"/>
                </a:lnTo>
                <a:lnTo>
                  <a:pt x="1497" y="1293"/>
                </a:lnTo>
                <a:lnTo>
                  <a:pt x="1494" y="1294"/>
                </a:lnTo>
                <a:lnTo>
                  <a:pt x="1493" y="1298"/>
                </a:lnTo>
                <a:lnTo>
                  <a:pt x="1491" y="1299"/>
                </a:lnTo>
                <a:lnTo>
                  <a:pt x="1489" y="1300"/>
                </a:lnTo>
                <a:lnTo>
                  <a:pt x="1487" y="1302"/>
                </a:lnTo>
                <a:lnTo>
                  <a:pt x="1486" y="1305"/>
                </a:lnTo>
                <a:lnTo>
                  <a:pt x="1485" y="1309"/>
                </a:lnTo>
                <a:lnTo>
                  <a:pt x="1484" y="1314"/>
                </a:lnTo>
                <a:lnTo>
                  <a:pt x="1480" y="1320"/>
                </a:lnTo>
                <a:lnTo>
                  <a:pt x="1478" y="1325"/>
                </a:lnTo>
                <a:lnTo>
                  <a:pt x="1476" y="1330"/>
                </a:lnTo>
                <a:lnTo>
                  <a:pt x="1475" y="1336"/>
                </a:lnTo>
                <a:lnTo>
                  <a:pt x="1473" y="1342"/>
                </a:lnTo>
                <a:lnTo>
                  <a:pt x="1471" y="1348"/>
                </a:lnTo>
                <a:lnTo>
                  <a:pt x="1468" y="1360"/>
                </a:lnTo>
                <a:lnTo>
                  <a:pt x="1466" y="1370"/>
                </a:lnTo>
                <a:lnTo>
                  <a:pt x="1466" y="1382"/>
                </a:lnTo>
                <a:lnTo>
                  <a:pt x="1469" y="1393"/>
                </a:lnTo>
                <a:lnTo>
                  <a:pt x="1470" y="1396"/>
                </a:lnTo>
                <a:lnTo>
                  <a:pt x="1471" y="1398"/>
                </a:lnTo>
                <a:lnTo>
                  <a:pt x="1473" y="1398"/>
                </a:lnTo>
                <a:lnTo>
                  <a:pt x="1477" y="1398"/>
                </a:lnTo>
                <a:lnTo>
                  <a:pt x="1478" y="1396"/>
                </a:lnTo>
                <a:lnTo>
                  <a:pt x="1478" y="1395"/>
                </a:lnTo>
                <a:lnTo>
                  <a:pt x="1477" y="1393"/>
                </a:lnTo>
                <a:lnTo>
                  <a:pt x="1476" y="1391"/>
                </a:lnTo>
                <a:lnTo>
                  <a:pt x="1475" y="1390"/>
                </a:lnTo>
                <a:lnTo>
                  <a:pt x="1473" y="1389"/>
                </a:lnTo>
                <a:close/>
                <a:moveTo>
                  <a:pt x="1516" y="1346"/>
                </a:moveTo>
                <a:lnTo>
                  <a:pt x="1516" y="1346"/>
                </a:lnTo>
                <a:lnTo>
                  <a:pt x="1516" y="1346"/>
                </a:lnTo>
                <a:lnTo>
                  <a:pt x="1516" y="1346"/>
                </a:lnTo>
                <a:lnTo>
                  <a:pt x="1517" y="1346"/>
                </a:lnTo>
                <a:lnTo>
                  <a:pt x="1516" y="1346"/>
                </a:lnTo>
                <a:lnTo>
                  <a:pt x="1516" y="1344"/>
                </a:lnTo>
                <a:lnTo>
                  <a:pt x="1516" y="1346"/>
                </a:lnTo>
                <a:lnTo>
                  <a:pt x="1516" y="1346"/>
                </a:lnTo>
                <a:close/>
                <a:moveTo>
                  <a:pt x="584" y="826"/>
                </a:moveTo>
                <a:lnTo>
                  <a:pt x="584" y="826"/>
                </a:lnTo>
                <a:lnTo>
                  <a:pt x="584" y="826"/>
                </a:lnTo>
                <a:lnTo>
                  <a:pt x="584" y="826"/>
                </a:lnTo>
                <a:lnTo>
                  <a:pt x="585" y="826"/>
                </a:lnTo>
                <a:lnTo>
                  <a:pt x="584" y="826"/>
                </a:lnTo>
                <a:lnTo>
                  <a:pt x="584" y="826"/>
                </a:lnTo>
                <a:close/>
                <a:moveTo>
                  <a:pt x="582" y="815"/>
                </a:moveTo>
                <a:lnTo>
                  <a:pt x="580" y="815"/>
                </a:lnTo>
                <a:lnTo>
                  <a:pt x="579" y="816"/>
                </a:lnTo>
                <a:lnTo>
                  <a:pt x="575" y="817"/>
                </a:lnTo>
                <a:lnTo>
                  <a:pt x="573" y="820"/>
                </a:lnTo>
                <a:lnTo>
                  <a:pt x="568" y="824"/>
                </a:lnTo>
                <a:lnTo>
                  <a:pt x="565" y="827"/>
                </a:lnTo>
                <a:lnTo>
                  <a:pt x="560" y="830"/>
                </a:lnTo>
                <a:lnTo>
                  <a:pt x="555" y="832"/>
                </a:lnTo>
                <a:lnTo>
                  <a:pt x="552" y="836"/>
                </a:lnTo>
                <a:lnTo>
                  <a:pt x="550" y="839"/>
                </a:lnTo>
                <a:lnTo>
                  <a:pt x="548" y="840"/>
                </a:lnTo>
                <a:lnTo>
                  <a:pt x="548" y="840"/>
                </a:lnTo>
                <a:lnTo>
                  <a:pt x="545" y="840"/>
                </a:lnTo>
                <a:lnTo>
                  <a:pt x="545" y="843"/>
                </a:lnTo>
                <a:lnTo>
                  <a:pt x="529" y="855"/>
                </a:lnTo>
                <a:lnTo>
                  <a:pt x="513" y="868"/>
                </a:lnTo>
                <a:lnTo>
                  <a:pt x="497" y="880"/>
                </a:lnTo>
                <a:lnTo>
                  <a:pt x="482" y="893"/>
                </a:lnTo>
                <a:lnTo>
                  <a:pt x="475" y="897"/>
                </a:lnTo>
                <a:lnTo>
                  <a:pt x="469" y="901"/>
                </a:lnTo>
                <a:lnTo>
                  <a:pt x="462" y="904"/>
                </a:lnTo>
                <a:lnTo>
                  <a:pt x="455" y="908"/>
                </a:lnTo>
                <a:lnTo>
                  <a:pt x="447" y="910"/>
                </a:lnTo>
                <a:lnTo>
                  <a:pt x="440" y="911"/>
                </a:lnTo>
                <a:lnTo>
                  <a:pt x="432" y="913"/>
                </a:lnTo>
                <a:lnTo>
                  <a:pt x="423" y="914"/>
                </a:lnTo>
                <a:lnTo>
                  <a:pt x="413" y="914"/>
                </a:lnTo>
                <a:lnTo>
                  <a:pt x="402" y="914"/>
                </a:lnTo>
                <a:lnTo>
                  <a:pt x="392" y="914"/>
                </a:lnTo>
                <a:lnTo>
                  <a:pt x="381" y="914"/>
                </a:lnTo>
                <a:lnTo>
                  <a:pt x="380" y="914"/>
                </a:lnTo>
                <a:lnTo>
                  <a:pt x="380" y="914"/>
                </a:lnTo>
                <a:lnTo>
                  <a:pt x="377" y="910"/>
                </a:lnTo>
                <a:lnTo>
                  <a:pt x="373" y="908"/>
                </a:lnTo>
                <a:lnTo>
                  <a:pt x="360" y="902"/>
                </a:lnTo>
                <a:lnTo>
                  <a:pt x="345" y="899"/>
                </a:lnTo>
                <a:lnTo>
                  <a:pt x="344" y="896"/>
                </a:lnTo>
                <a:lnTo>
                  <a:pt x="341" y="895"/>
                </a:lnTo>
                <a:lnTo>
                  <a:pt x="339" y="896"/>
                </a:lnTo>
                <a:lnTo>
                  <a:pt x="337" y="897"/>
                </a:lnTo>
                <a:lnTo>
                  <a:pt x="336" y="897"/>
                </a:lnTo>
                <a:lnTo>
                  <a:pt x="333" y="896"/>
                </a:lnTo>
                <a:lnTo>
                  <a:pt x="325" y="894"/>
                </a:lnTo>
                <a:lnTo>
                  <a:pt x="318" y="890"/>
                </a:lnTo>
                <a:lnTo>
                  <a:pt x="311" y="886"/>
                </a:lnTo>
                <a:lnTo>
                  <a:pt x="303" y="885"/>
                </a:lnTo>
                <a:lnTo>
                  <a:pt x="303" y="885"/>
                </a:lnTo>
                <a:lnTo>
                  <a:pt x="302" y="883"/>
                </a:lnTo>
                <a:lnTo>
                  <a:pt x="301" y="882"/>
                </a:lnTo>
                <a:lnTo>
                  <a:pt x="299" y="882"/>
                </a:lnTo>
                <a:lnTo>
                  <a:pt x="298" y="882"/>
                </a:lnTo>
                <a:lnTo>
                  <a:pt x="296" y="882"/>
                </a:lnTo>
                <a:lnTo>
                  <a:pt x="295" y="882"/>
                </a:lnTo>
                <a:lnTo>
                  <a:pt x="294" y="879"/>
                </a:lnTo>
                <a:lnTo>
                  <a:pt x="292" y="878"/>
                </a:lnTo>
                <a:lnTo>
                  <a:pt x="290" y="875"/>
                </a:lnTo>
                <a:lnTo>
                  <a:pt x="288" y="874"/>
                </a:lnTo>
                <a:lnTo>
                  <a:pt x="287" y="874"/>
                </a:lnTo>
                <a:lnTo>
                  <a:pt x="285" y="874"/>
                </a:lnTo>
                <a:lnTo>
                  <a:pt x="281" y="874"/>
                </a:lnTo>
                <a:lnTo>
                  <a:pt x="277" y="874"/>
                </a:lnTo>
                <a:lnTo>
                  <a:pt x="281" y="874"/>
                </a:lnTo>
                <a:lnTo>
                  <a:pt x="285" y="874"/>
                </a:lnTo>
                <a:lnTo>
                  <a:pt x="281" y="869"/>
                </a:lnTo>
                <a:lnTo>
                  <a:pt x="276" y="865"/>
                </a:lnTo>
                <a:lnTo>
                  <a:pt x="271" y="862"/>
                </a:lnTo>
                <a:lnTo>
                  <a:pt x="265" y="861"/>
                </a:lnTo>
                <a:lnTo>
                  <a:pt x="260" y="858"/>
                </a:lnTo>
                <a:lnTo>
                  <a:pt x="253" y="854"/>
                </a:lnTo>
                <a:lnTo>
                  <a:pt x="253" y="852"/>
                </a:lnTo>
                <a:lnTo>
                  <a:pt x="251" y="851"/>
                </a:lnTo>
                <a:lnTo>
                  <a:pt x="253" y="852"/>
                </a:lnTo>
                <a:lnTo>
                  <a:pt x="253" y="854"/>
                </a:lnTo>
                <a:lnTo>
                  <a:pt x="251" y="854"/>
                </a:lnTo>
                <a:lnTo>
                  <a:pt x="250" y="854"/>
                </a:lnTo>
                <a:lnTo>
                  <a:pt x="248" y="853"/>
                </a:lnTo>
                <a:lnTo>
                  <a:pt x="246" y="852"/>
                </a:lnTo>
                <a:lnTo>
                  <a:pt x="237" y="848"/>
                </a:lnTo>
                <a:lnTo>
                  <a:pt x="229" y="844"/>
                </a:lnTo>
                <a:lnTo>
                  <a:pt x="226" y="843"/>
                </a:lnTo>
                <a:lnTo>
                  <a:pt x="221" y="841"/>
                </a:lnTo>
                <a:lnTo>
                  <a:pt x="216" y="840"/>
                </a:lnTo>
                <a:lnTo>
                  <a:pt x="212" y="840"/>
                </a:lnTo>
                <a:lnTo>
                  <a:pt x="202" y="839"/>
                </a:lnTo>
                <a:lnTo>
                  <a:pt x="192" y="839"/>
                </a:lnTo>
                <a:lnTo>
                  <a:pt x="186" y="840"/>
                </a:lnTo>
                <a:lnTo>
                  <a:pt x="180" y="843"/>
                </a:lnTo>
                <a:lnTo>
                  <a:pt x="178" y="845"/>
                </a:lnTo>
                <a:lnTo>
                  <a:pt x="175" y="847"/>
                </a:lnTo>
                <a:lnTo>
                  <a:pt x="174" y="850"/>
                </a:lnTo>
                <a:lnTo>
                  <a:pt x="173" y="853"/>
                </a:lnTo>
                <a:lnTo>
                  <a:pt x="171" y="860"/>
                </a:lnTo>
                <a:lnTo>
                  <a:pt x="167" y="866"/>
                </a:lnTo>
                <a:lnTo>
                  <a:pt x="164" y="869"/>
                </a:lnTo>
                <a:lnTo>
                  <a:pt x="160" y="873"/>
                </a:lnTo>
                <a:lnTo>
                  <a:pt x="159" y="879"/>
                </a:lnTo>
                <a:lnTo>
                  <a:pt x="160" y="883"/>
                </a:lnTo>
                <a:lnTo>
                  <a:pt x="163" y="893"/>
                </a:lnTo>
                <a:lnTo>
                  <a:pt x="165" y="902"/>
                </a:lnTo>
                <a:lnTo>
                  <a:pt x="168" y="910"/>
                </a:lnTo>
                <a:lnTo>
                  <a:pt x="173" y="918"/>
                </a:lnTo>
                <a:lnTo>
                  <a:pt x="175" y="923"/>
                </a:lnTo>
                <a:lnTo>
                  <a:pt x="179" y="928"/>
                </a:lnTo>
                <a:lnTo>
                  <a:pt x="182" y="932"/>
                </a:lnTo>
                <a:lnTo>
                  <a:pt x="187" y="935"/>
                </a:lnTo>
                <a:lnTo>
                  <a:pt x="187" y="936"/>
                </a:lnTo>
                <a:lnTo>
                  <a:pt x="187" y="936"/>
                </a:lnTo>
                <a:lnTo>
                  <a:pt x="192" y="943"/>
                </a:lnTo>
                <a:lnTo>
                  <a:pt x="198" y="949"/>
                </a:lnTo>
                <a:lnTo>
                  <a:pt x="203" y="953"/>
                </a:lnTo>
                <a:lnTo>
                  <a:pt x="212" y="957"/>
                </a:lnTo>
                <a:lnTo>
                  <a:pt x="212" y="957"/>
                </a:lnTo>
                <a:lnTo>
                  <a:pt x="212" y="957"/>
                </a:lnTo>
                <a:lnTo>
                  <a:pt x="213" y="960"/>
                </a:lnTo>
                <a:lnTo>
                  <a:pt x="216" y="963"/>
                </a:lnTo>
                <a:lnTo>
                  <a:pt x="225" y="967"/>
                </a:lnTo>
                <a:lnTo>
                  <a:pt x="233" y="972"/>
                </a:lnTo>
                <a:lnTo>
                  <a:pt x="242" y="974"/>
                </a:lnTo>
                <a:lnTo>
                  <a:pt x="251" y="977"/>
                </a:lnTo>
                <a:lnTo>
                  <a:pt x="251" y="977"/>
                </a:lnTo>
                <a:lnTo>
                  <a:pt x="253" y="977"/>
                </a:lnTo>
                <a:lnTo>
                  <a:pt x="254" y="979"/>
                </a:lnTo>
                <a:lnTo>
                  <a:pt x="256" y="980"/>
                </a:lnTo>
                <a:lnTo>
                  <a:pt x="258" y="981"/>
                </a:lnTo>
                <a:lnTo>
                  <a:pt x="261" y="983"/>
                </a:lnTo>
                <a:lnTo>
                  <a:pt x="270" y="985"/>
                </a:lnTo>
                <a:lnTo>
                  <a:pt x="279" y="987"/>
                </a:lnTo>
                <a:lnTo>
                  <a:pt x="288" y="991"/>
                </a:lnTo>
                <a:lnTo>
                  <a:pt x="296" y="995"/>
                </a:lnTo>
                <a:lnTo>
                  <a:pt x="298" y="997"/>
                </a:lnTo>
                <a:lnTo>
                  <a:pt x="302" y="997"/>
                </a:lnTo>
                <a:lnTo>
                  <a:pt x="302" y="997"/>
                </a:lnTo>
                <a:lnTo>
                  <a:pt x="302" y="997"/>
                </a:lnTo>
                <a:lnTo>
                  <a:pt x="303" y="999"/>
                </a:lnTo>
                <a:lnTo>
                  <a:pt x="304" y="1000"/>
                </a:lnTo>
                <a:lnTo>
                  <a:pt x="306" y="1001"/>
                </a:lnTo>
                <a:lnTo>
                  <a:pt x="309" y="1001"/>
                </a:lnTo>
                <a:lnTo>
                  <a:pt x="313" y="1001"/>
                </a:lnTo>
                <a:lnTo>
                  <a:pt x="316" y="1001"/>
                </a:lnTo>
                <a:lnTo>
                  <a:pt x="317" y="1000"/>
                </a:lnTo>
                <a:lnTo>
                  <a:pt x="318" y="999"/>
                </a:lnTo>
                <a:lnTo>
                  <a:pt x="318" y="997"/>
                </a:lnTo>
                <a:lnTo>
                  <a:pt x="317" y="994"/>
                </a:lnTo>
                <a:lnTo>
                  <a:pt x="316" y="992"/>
                </a:lnTo>
                <a:lnTo>
                  <a:pt x="318" y="991"/>
                </a:lnTo>
                <a:lnTo>
                  <a:pt x="320" y="991"/>
                </a:lnTo>
                <a:lnTo>
                  <a:pt x="322" y="992"/>
                </a:lnTo>
                <a:lnTo>
                  <a:pt x="327" y="997"/>
                </a:lnTo>
                <a:lnTo>
                  <a:pt x="332" y="1002"/>
                </a:lnTo>
                <a:lnTo>
                  <a:pt x="333" y="1005"/>
                </a:lnTo>
                <a:lnTo>
                  <a:pt x="336" y="1005"/>
                </a:lnTo>
                <a:lnTo>
                  <a:pt x="337" y="1005"/>
                </a:lnTo>
                <a:lnTo>
                  <a:pt x="339" y="1005"/>
                </a:lnTo>
                <a:lnTo>
                  <a:pt x="343" y="1007"/>
                </a:lnTo>
                <a:lnTo>
                  <a:pt x="345" y="1009"/>
                </a:lnTo>
                <a:lnTo>
                  <a:pt x="346" y="1011"/>
                </a:lnTo>
                <a:lnTo>
                  <a:pt x="348" y="1011"/>
                </a:lnTo>
                <a:lnTo>
                  <a:pt x="350" y="1012"/>
                </a:lnTo>
                <a:lnTo>
                  <a:pt x="350" y="1012"/>
                </a:lnTo>
                <a:lnTo>
                  <a:pt x="352" y="1014"/>
                </a:lnTo>
                <a:lnTo>
                  <a:pt x="353" y="1015"/>
                </a:lnTo>
                <a:lnTo>
                  <a:pt x="355" y="1016"/>
                </a:lnTo>
                <a:lnTo>
                  <a:pt x="358" y="1016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5"/>
                </a:lnTo>
                <a:lnTo>
                  <a:pt x="358" y="1016"/>
                </a:lnTo>
                <a:lnTo>
                  <a:pt x="359" y="1016"/>
                </a:lnTo>
                <a:lnTo>
                  <a:pt x="360" y="1016"/>
                </a:lnTo>
                <a:lnTo>
                  <a:pt x="363" y="1020"/>
                </a:lnTo>
                <a:lnTo>
                  <a:pt x="366" y="1023"/>
                </a:lnTo>
                <a:lnTo>
                  <a:pt x="358" y="1022"/>
                </a:lnTo>
                <a:lnTo>
                  <a:pt x="350" y="1022"/>
                </a:lnTo>
                <a:lnTo>
                  <a:pt x="358" y="1029"/>
                </a:lnTo>
                <a:lnTo>
                  <a:pt x="366" y="1035"/>
                </a:lnTo>
                <a:lnTo>
                  <a:pt x="371" y="1037"/>
                </a:lnTo>
                <a:lnTo>
                  <a:pt x="377" y="1040"/>
                </a:lnTo>
                <a:lnTo>
                  <a:pt x="382" y="1041"/>
                </a:lnTo>
                <a:lnTo>
                  <a:pt x="387" y="1041"/>
                </a:lnTo>
                <a:lnTo>
                  <a:pt x="399" y="1041"/>
                </a:lnTo>
                <a:lnTo>
                  <a:pt x="410" y="1040"/>
                </a:lnTo>
                <a:lnTo>
                  <a:pt x="415" y="1039"/>
                </a:lnTo>
                <a:lnTo>
                  <a:pt x="419" y="1037"/>
                </a:lnTo>
                <a:lnTo>
                  <a:pt x="422" y="1035"/>
                </a:lnTo>
                <a:lnTo>
                  <a:pt x="426" y="1032"/>
                </a:lnTo>
                <a:lnTo>
                  <a:pt x="432" y="1026"/>
                </a:lnTo>
                <a:lnTo>
                  <a:pt x="437" y="1019"/>
                </a:lnTo>
                <a:lnTo>
                  <a:pt x="439" y="1018"/>
                </a:lnTo>
                <a:lnTo>
                  <a:pt x="439" y="1016"/>
                </a:lnTo>
                <a:lnTo>
                  <a:pt x="442" y="1013"/>
                </a:lnTo>
                <a:lnTo>
                  <a:pt x="446" y="1011"/>
                </a:lnTo>
                <a:lnTo>
                  <a:pt x="449" y="1006"/>
                </a:lnTo>
                <a:lnTo>
                  <a:pt x="451" y="1002"/>
                </a:lnTo>
                <a:lnTo>
                  <a:pt x="454" y="997"/>
                </a:lnTo>
                <a:lnTo>
                  <a:pt x="458" y="992"/>
                </a:lnTo>
                <a:lnTo>
                  <a:pt x="464" y="988"/>
                </a:lnTo>
                <a:lnTo>
                  <a:pt x="470" y="987"/>
                </a:lnTo>
                <a:lnTo>
                  <a:pt x="490" y="984"/>
                </a:lnTo>
                <a:lnTo>
                  <a:pt x="510" y="981"/>
                </a:lnTo>
                <a:lnTo>
                  <a:pt x="529" y="977"/>
                </a:lnTo>
                <a:lnTo>
                  <a:pt x="548" y="973"/>
                </a:lnTo>
                <a:lnTo>
                  <a:pt x="550" y="973"/>
                </a:lnTo>
                <a:lnTo>
                  <a:pt x="551" y="972"/>
                </a:lnTo>
                <a:lnTo>
                  <a:pt x="550" y="973"/>
                </a:lnTo>
                <a:lnTo>
                  <a:pt x="548" y="973"/>
                </a:lnTo>
                <a:lnTo>
                  <a:pt x="548" y="974"/>
                </a:lnTo>
                <a:lnTo>
                  <a:pt x="548" y="976"/>
                </a:lnTo>
                <a:lnTo>
                  <a:pt x="547" y="977"/>
                </a:lnTo>
                <a:lnTo>
                  <a:pt x="546" y="977"/>
                </a:lnTo>
                <a:lnTo>
                  <a:pt x="541" y="979"/>
                </a:lnTo>
                <a:lnTo>
                  <a:pt x="538" y="980"/>
                </a:lnTo>
                <a:lnTo>
                  <a:pt x="533" y="984"/>
                </a:lnTo>
                <a:lnTo>
                  <a:pt x="531" y="987"/>
                </a:lnTo>
                <a:lnTo>
                  <a:pt x="529" y="991"/>
                </a:lnTo>
                <a:lnTo>
                  <a:pt x="526" y="993"/>
                </a:lnTo>
                <a:lnTo>
                  <a:pt x="523" y="995"/>
                </a:lnTo>
                <a:lnTo>
                  <a:pt x="519" y="997"/>
                </a:lnTo>
                <a:lnTo>
                  <a:pt x="516" y="998"/>
                </a:lnTo>
                <a:lnTo>
                  <a:pt x="515" y="999"/>
                </a:lnTo>
                <a:lnTo>
                  <a:pt x="510" y="1004"/>
                </a:lnTo>
                <a:lnTo>
                  <a:pt x="506" y="1008"/>
                </a:lnTo>
                <a:lnTo>
                  <a:pt x="505" y="1014"/>
                </a:lnTo>
                <a:lnTo>
                  <a:pt x="503" y="1019"/>
                </a:lnTo>
                <a:lnTo>
                  <a:pt x="503" y="1025"/>
                </a:lnTo>
                <a:lnTo>
                  <a:pt x="503" y="1030"/>
                </a:lnTo>
                <a:lnTo>
                  <a:pt x="503" y="1036"/>
                </a:lnTo>
                <a:lnTo>
                  <a:pt x="504" y="1042"/>
                </a:lnTo>
                <a:lnTo>
                  <a:pt x="509" y="1049"/>
                </a:lnTo>
                <a:lnTo>
                  <a:pt x="510" y="1059"/>
                </a:lnTo>
                <a:lnTo>
                  <a:pt x="511" y="1062"/>
                </a:lnTo>
                <a:lnTo>
                  <a:pt x="512" y="1066"/>
                </a:lnTo>
                <a:lnTo>
                  <a:pt x="515" y="1068"/>
                </a:lnTo>
                <a:lnTo>
                  <a:pt x="517" y="1070"/>
                </a:lnTo>
                <a:lnTo>
                  <a:pt x="523" y="1074"/>
                </a:lnTo>
                <a:lnTo>
                  <a:pt x="527" y="1078"/>
                </a:lnTo>
                <a:lnTo>
                  <a:pt x="533" y="1083"/>
                </a:lnTo>
                <a:lnTo>
                  <a:pt x="537" y="1089"/>
                </a:lnTo>
                <a:lnTo>
                  <a:pt x="541" y="1095"/>
                </a:lnTo>
                <a:lnTo>
                  <a:pt x="546" y="1101"/>
                </a:lnTo>
                <a:lnTo>
                  <a:pt x="550" y="1103"/>
                </a:lnTo>
                <a:lnTo>
                  <a:pt x="553" y="1104"/>
                </a:lnTo>
                <a:lnTo>
                  <a:pt x="557" y="1104"/>
                </a:lnTo>
                <a:lnTo>
                  <a:pt x="561" y="1104"/>
                </a:lnTo>
                <a:lnTo>
                  <a:pt x="565" y="1106"/>
                </a:lnTo>
                <a:lnTo>
                  <a:pt x="567" y="1110"/>
                </a:lnTo>
                <a:lnTo>
                  <a:pt x="560" y="1111"/>
                </a:lnTo>
                <a:lnTo>
                  <a:pt x="554" y="1112"/>
                </a:lnTo>
                <a:lnTo>
                  <a:pt x="552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1"/>
                </a:lnTo>
                <a:lnTo>
                  <a:pt x="547" y="1110"/>
                </a:lnTo>
                <a:lnTo>
                  <a:pt x="547" y="1110"/>
                </a:lnTo>
                <a:lnTo>
                  <a:pt x="547" y="1110"/>
                </a:lnTo>
                <a:lnTo>
                  <a:pt x="548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0" y="1112"/>
                </a:lnTo>
                <a:lnTo>
                  <a:pt x="559" y="1120"/>
                </a:lnTo>
                <a:lnTo>
                  <a:pt x="568" y="1127"/>
                </a:lnTo>
                <a:lnTo>
                  <a:pt x="578" y="1136"/>
                </a:lnTo>
                <a:lnTo>
                  <a:pt x="587" y="1144"/>
                </a:lnTo>
                <a:lnTo>
                  <a:pt x="600" y="1153"/>
                </a:lnTo>
                <a:lnTo>
                  <a:pt x="612" y="1164"/>
                </a:lnTo>
                <a:lnTo>
                  <a:pt x="623" y="1174"/>
                </a:lnTo>
                <a:lnTo>
                  <a:pt x="636" y="1185"/>
                </a:lnTo>
                <a:lnTo>
                  <a:pt x="646" y="1194"/>
                </a:lnTo>
                <a:lnTo>
                  <a:pt x="655" y="1203"/>
                </a:lnTo>
                <a:lnTo>
                  <a:pt x="665" y="1213"/>
                </a:lnTo>
                <a:lnTo>
                  <a:pt x="675" y="1221"/>
                </a:lnTo>
                <a:lnTo>
                  <a:pt x="692" y="1236"/>
                </a:lnTo>
                <a:lnTo>
                  <a:pt x="707" y="1252"/>
                </a:lnTo>
                <a:lnTo>
                  <a:pt x="714" y="1262"/>
                </a:lnTo>
                <a:lnTo>
                  <a:pt x="722" y="1270"/>
                </a:lnTo>
                <a:lnTo>
                  <a:pt x="727" y="1279"/>
                </a:lnTo>
                <a:lnTo>
                  <a:pt x="733" y="1290"/>
                </a:lnTo>
                <a:lnTo>
                  <a:pt x="741" y="1304"/>
                </a:lnTo>
                <a:lnTo>
                  <a:pt x="750" y="1316"/>
                </a:lnTo>
                <a:lnTo>
                  <a:pt x="751" y="1318"/>
                </a:lnTo>
                <a:lnTo>
                  <a:pt x="751" y="1318"/>
                </a:lnTo>
                <a:lnTo>
                  <a:pt x="751" y="1318"/>
                </a:lnTo>
                <a:lnTo>
                  <a:pt x="752" y="1320"/>
                </a:lnTo>
                <a:lnTo>
                  <a:pt x="752" y="1323"/>
                </a:lnTo>
                <a:lnTo>
                  <a:pt x="753" y="1328"/>
                </a:lnTo>
                <a:lnTo>
                  <a:pt x="754" y="1334"/>
                </a:lnTo>
                <a:lnTo>
                  <a:pt x="755" y="1339"/>
                </a:lnTo>
                <a:lnTo>
                  <a:pt x="754" y="1344"/>
                </a:lnTo>
                <a:lnTo>
                  <a:pt x="752" y="1348"/>
                </a:lnTo>
                <a:lnTo>
                  <a:pt x="751" y="1351"/>
                </a:lnTo>
                <a:lnTo>
                  <a:pt x="751" y="1355"/>
                </a:lnTo>
                <a:lnTo>
                  <a:pt x="752" y="1358"/>
                </a:lnTo>
                <a:lnTo>
                  <a:pt x="754" y="1365"/>
                </a:lnTo>
                <a:lnTo>
                  <a:pt x="758" y="1372"/>
                </a:lnTo>
                <a:lnTo>
                  <a:pt x="764" y="1382"/>
                </a:lnTo>
                <a:lnTo>
                  <a:pt x="771" y="1390"/>
                </a:lnTo>
                <a:lnTo>
                  <a:pt x="773" y="1397"/>
                </a:lnTo>
                <a:lnTo>
                  <a:pt x="774" y="1403"/>
                </a:lnTo>
                <a:lnTo>
                  <a:pt x="774" y="1410"/>
                </a:lnTo>
                <a:lnTo>
                  <a:pt x="774" y="1417"/>
                </a:lnTo>
                <a:lnTo>
                  <a:pt x="775" y="1419"/>
                </a:lnTo>
                <a:lnTo>
                  <a:pt x="775" y="1421"/>
                </a:lnTo>
                <a:lnTo>
                  <a:pt x="776" y="1423"/>
                </a:lnTo>
                <a:lnTo>
                  <a:pt x="780" y="1424"/>
                </a:lnTo>
                <a:lnTo>
                  <a:pt x="785" y="1427"/>
                </a:lnTo>
                <a:lnTo>
                  <a:pt x="788" y="1431"/>
                </a:lnTo>
                <a:lnTo>
                  <a:pt x="789" y="1433"/>
                </a:lnTo>
                <a:lnTo>
                  <a:pt x="791" y="1435"/>
                </a:lnTo>
                <a:lnTo>
                  <a:pt x="791" y="1438"/>
                </a:lnTo>
                <a:lnTo>
                  <a:pt x="791" y="1441"/>
                </a:lnTo>
                <a:lnTo>
                  <a:pt x="792" y="1442"/>
                </a:lnTo>
                <a:lnTo>
                  <a:pt x="794" y="1442"/>
                </a:lnTo>
                <a:lnTo>
                  <a:pt x="794" y="1445"/>
                </a:lnTo>
                <a:lnTo>
                  <a:pt x="795" y="1447"/>
                </a:lnTo>
                <a:lnTo>
                  <a:pt x="793" y="1451"/>
                </a:lnTo>
                <a:lnTo>
                  <a:pt x="794" y="1455"/>
                </a:lnTo>
                <a:lnTo>
                  <a:pt x="795" y="1460"/>
                </a:lnTo>
                <a:lnTo>
                  <a:pt x="795" y="1465"/>
                </a:lnTo>
                <a:lnTo>
                  <a:pt x="794" y="1470"/>
                </a:lnTo>
                <a:lnTo>
                  <a:pt x="794" y="1476"/>
                </a:lnTo>
                <a:lnTo>
                  <a:pt x="792" y="1473"/>
                </a:lnTo>
                <a:lnTo>
                  <a:pt x="791" y="1470"/>
                </a:lnTo>
                <a:lnTo>
                  <a:pt x="789" y="1468"/>
                </a:lnTo>
                <a:lnTo>
                  <a:pt x="787" y="1467"/>
                </a:lnTo>
                <a:lnTo>
                  <a:pt x="786" y="1467"/>
                </a:lnTo>
                <a:lnTo>
                  <a:pt x="785" y="1469"/>
                </a:lnTo>
                <a:lnTo>
                  <a:pt x="785" y="1470"/>
                </a:lnTo>
                <a:lnTo>
                  <a:pt x="785" y="1472"/>
                </a:lnTo>
                <a:lnTo>
                  <a:pt x="785" y="1480"/>
                </a:lnTo>
                <a:lnTo>
                  <a:pt x="785" y="1487"/>
                </a:lnTo>
                <a:lnTo>
                  <a:pt x="785" y="1491"/>
                </a:lnTo>
                <a:lnTo>
                  <a:pt x="786" y="1496"/>
                </a:lnTo>
                <a:lnTo>
                  <a:pt x="788" y="1500"/>
                </a:lnTo>
                <a:lnTo>
                  <a:pt x="791" y="1503"/>
                </a:lnTo>
                <a:lnTo>
                  <a:pt x="793" y="1505"/>
                </a:lnTo>
                <a:lnTo>
                  <a:pt x="798" y="1507"/>
                </a:lnTo>
                <a:lnTo>
                  <a:pt x="802" y="1507"/>
                </a:lnTo>
                <a:lnTo>
                  <a:pt x="808" y="1504"/>
                </a:lnTo>
                <a:lnTo>
                  <a:pt x="813" y="1507"/>
                </a:lnTo>
                <a:lnTo>
                  <a:pt x="816" y="1508"/>
                </a:lnTo>
                <a:lnTo>
                  <a:pt x="820" y="1508"/>
                </a:lnTo>
                <a:lnTo>
                  <a:pt x="822" y="1507"/>
                </a:lnTo>
                <a:lnTo>
                  <a:pt x="823" y="1504"/>
                </a:lnTo>
                <a:lnTo>
                  <a:pt x="822" y="1501"/>
                </a:lnTo>
                <a:lnTo>
                  <a:pt x="824" y="1495"/>
                </a:lnTo>
                <a:lnTo>
                  <a:pt x="828" y="1491"/>
                </a:lnTo>
                <a:lnTo>
                  <a:pt x="830" y="1489"/>
                </a:lnTo>
                <a:lnTo>
                  <a:pt x="834" y="1489"/>
                </a:lnTo>
                <a:lnTo>
                  <a:pt x="838" y="1490"/>
                </a:lnTo>
                <a:lnTo>
                  <a:pt x="841" y="1489"/>
                </a:lnTo>
                <a:lnTo>
                  <a:pt x="843" y="1487"/>
                </a:lnTo>
                <a:lnTo>
                  <a:pt x="845" y="1484"/>
                </a:lnTo>
                <a:lnTo>
                  <a:pt x="847" y="1481"/>
                </a:lnTo>
                <a:lnTo>
                  <a:pt x="845" y="1479"/>
                </a:lnTo>
                <a:lnTo>
                  <a:pt x="844" y="1477"/>
                </a:lnTo>
                <a:lnTo>
                  <a:pt x="843" y="1475"/>
                </a:lnTo>
                <a:lnTo>
                  <a:pt x="843" y="1472"/>
                </a:lnTo>
                <a:lnTo>
                  <a:pt x="845" y="1467"/>
                </a:lnTo>
                <a:lnTo>
                  <a:pt x="848" y="1465"/>
                </a:lnTo>
                <a:lnTo>
                  <a:pt x="850" y="1461"/>
                </a:lnTo>
                <a:lnTo>
                  <a:pt x="854" y="1459"/>
                </a:lnTo>
                <a:lnTo>
                  <a:pt x="856" y="1456"/>
                </a:lnTo>
                <a:lnTo>
                  <a:pt x="861" y="1456"/>
                </a:lnTo>
                <a:lnTo>
                  <a:pt x="863" y="1455"/>
                </a:lnTo>
                <a:lnTo>
                  <a:pt x="864" y="1452"/>
                </a:lnTo>
                <a:lnTo>
                  <a:pt x="865" y="1448"/>
                </a:lnTo>
                <a:lnTo>
                  <a:pt x="867" y="1447"/>
                </a:lnTo>
                <a:lnTo>
                  <a:pt x="868" y="1445"/>
                </a:lnTo>
                <a:lnTo>
                  <a:pt x="868" y="1444"/>
                </a:lnTo>
                <a:lnTo>
                  <a:pt x="867" y="1441"/>
                </a:lnTo>
                <a:lnTo>
                  <a:pt x="863" y="1438"/>
                </a:lnTo>
                <a:lnTo>
                  <a:pt x="861" y="1433"/>
                </a:lnTo>
                <a:lnTo>
                  <a:pt x="861" y="1435"/>
                </a:lnTo>
                <a:lnTo>
                  <a:pt x="859" y="1437"/>
                </a:lnTo>
                <a:lnTo>
                  <a:pt x="856" y="1441"/>
                </a:lnTo>
                <a:lnTo>
                  <a:pt x="854" y="1446"/>
                </a:lnTo>
                <a:lnTo>
                  <a:pt x="856" y="1441"/>
                </a:lnTo>
                <a:lnTo>
                  <a:pt x="859" y="1437"/>
                </a:lnTo>
                <a:lnTo>
                  <a:pt x="861" y="1435"/>
                </a:lnTo>
                <a:lnTo>
                  <a:pt x="861" y="1433"/>
                </a:lnTo>
                <a:lnTo>
                  <a:pt x="864" y="1424"/>
                </a:lnTo>
                <a:lnTo>
                  <a:pt x="868" y="1416"/>
                </a:lnTo>
                <a:lnTo>
                  <a:pt x="871" y="1414"/>
                </a:lnTo>
                <a:lnTo>
                  <a:pt x="875" y="1412"/>
                </a:lnTo>
                <a:lnTo>
                  <a:pt x="876" y="1412"/>
                </a:lnTo>
                <a:lnTo>
                  <a:pt x="877" y="1411"/>
                </a:lnTo>
                <a:lnTo>
                  <a:pt x="878" y="1410"/>
                </a:lnTo>
                <a:lnTo>
                  <a:pt x="878" y="1409"/>
                </a:lnTo>
                <a:lnTo>
                  <a:pt x="878" y="1404"/>
                </a:lnTo>
                <a:lnTo>
                  <a:pt x="879" y="1400"/>
                </a:lnTo>
                <a:lnTo>
                  <a:pt x="883" y="1398"/>
                </a:lnTo>
                <a:lnTo>
                  <a:pt x="888" y="1396"/>
                </a:lnTo>
                <a:lnTo>
                  <a:pt x="890" y="1395"/>
                </a:lnTo>
                <a:lnTo>
                  <a:pt x="892" y="1392"/>
                </a:lnTo>
                <a:lnTo>
                  <a:pt x="898" y="1392"/>
                </a:lnTo>
                <a:lnTo>
                  <a:pt x="903" y="1393"/>
                </a:lnTo>
                <a:lnTo>
                  <a:pt x="905" y="1395"/>
                </a:lnTo>
                <a:lnTo>
                  <a:pt x="906" y="1393"/>
                </a:lnTo>
                <a:lnTo>
                  <a:pt x="907" y="1392"/>
                </a:lnTo>
                <a:lnTo>
                  <a:pt x="909" y="1391"/>
                </a:lnTo>
                <a:lnTo>
                  <a:pt x="910" y="1389"/>
                </a:lnTo>
                <a:lnTo>
                  <a:pt x="910" y="1388"/>
                </a:lnTo>
                <a:lnTo>
                  <a:pt x="910" y="1386"/>
                </a:lnTo>
                <a:lnTo>
                  <a:pt x="907" y="1384"/>
                </a:lnTo>
                <a:lnTo>
                  <a:pt x="905" y="1383"/>
                </a:lnTo>
                <a:lnTo>
                  <a:pt x="903" y="1381"/>
                </a:lnTo>
                <a:lnTo>
                  <a:pt x="903" y="1378"/>
                </a:lnTo>
                <a:lnTo>
                  <a:pt x="903" y="1377"/>
                </a:lnTo>
                <a:lnTo>
                  <a:pt x="906" y="1375"/>
                </a:lnTo>
                <a:lnTo>
                  <a:pt x="910" y="1374"/>
                </a:lnTo>
                <a:lnTo>
                  <a:pt x="913" y="1374"/>
                </a:lnTo>
                <a:lnTo>
                  <a:pt x="917" y="1375"/>
                </a:lnTo>
                <a:lnTo>
                  <a:pt x="919" y="1375"/>
                </a:lnTo>
                <a:lnTo>
                  <a:pt x="920" y="1375"/>
                </a:lnTo>
                <a:lnTo>
                  <a:pt x="921" y="1374"/>
                </a:lnTo>
                <a:lnTo>
                  <a:pt x="923" y="1372"/>
                </a:lnTo>
                <a:lnTo>
                  <a:pt x="924" y="1370"/>
                </a:lnTo>
                <a:lnTo>
                  <a:pt x="926" y="1368"/>
                </a:lnTo>
                <a:lnTo>
                  <a:pt x="927" y="1365"/>
                </a:lnTo>
                <a:lnTo>
                  <a:pt x="927" y="1364"/>
                </a:lnTo>
                <a:lnTo>
                  <a:pt x="926" y="1362"/>
                </a:lnTo>
                <a:lnTo>
                  <a:pt x="925" y="1361"/>
                </a:lnTo>
                <a:lnTo>
                  <a:pt x="921" y="1358"/>
                </a:lnTo>
                <a:lnTo>
                  <a:pt x="920" y="1355"/>
                </a:lnTo>
                <a:lnTo>
                  <a:pt x="920" y="1353"/>
                </a:lnTo>
                <a:lnTo>
                  <a:pt x="921" y="1349"/>
                </a:lnTo>
                <a:lnTo>
                  <a:pt x="920" y="1344"/>
                </a:lnTo>
                <a:lnTo>
                  <a:pt x="920" y="1340"/>
                </a:lnTo>
                <a:lnTo>
                  <a:pt x="920" y="1339"/>
                </a:lnTo>
                <a:lnTo>
                  <a:pt x="921" y="1336"/>
                </a:lnTo>
                <a:lnTo>
                  <a:pt x="924" y="1335"/>
                </a:lnTo>
                <a:lnTo>
                  <a:pt x="927" y="1335"/>
                </a:lnTo>
                <a:lnTo>
                  <a:pt x="930" y="1335"/>
                </a:lnTo>
                <a:lnTo>
                  <a:pt x="933" y="1335"/>
                </a:lnTo>
                <a:lnTo>
                  <a:pt x="934" y="1334"/>
                </a:lnTo>
                <a:lnTo>
                  <a:pt x="937" y="1332"/>
                </a:lnTo>
                <a:lnTo>
                  <a:pt x="937" y="1329"/>
                </a:lnTo>
                <a:lnTo>
                  <a:pt x="937" y="1326"/>
                </a:lnTo>
                <a:lnTo>
                  <a:pt x="936" y="1325"/>
                </a:lnTo>
                <a:lnTo>
                  <a:pt x="933" y="1322"/>
                </a:lnTo>
                <a:lnTo>
                  <a:pt x="931" y="1321"/>
                </a:lnTo>
                <a:lnTo>
                  <a:pt x="928" y="1320"/>
                </a:lnTo>
                <a:lnTo>
                  <a:pt x="924" y="1314"/>
                </a:lnTo>
                <a:lnTo>
                  <a:pt x="919" y="1311"/>
                </a:lnTo>
                <a:lnTo>
                  <a:pt x="913" y="1307"/>
                </a:lnTo>
                <a:lnTo>
                  <a:pt x="907" y="1305"/>
                </a:lnTo>
                <a:lnTo>
                  <a:pt x="893" y="1301"/>
                </a:lnTo>
                <a:lnTo>
                  <a:pt x="879" y="1299"/>
                </a:lnTo>
                <a:lnTo>
                  <a:pt x="869" y="1297"/>
                </a:lnTo>
                <a:lnTo>
                  <a:pt x="858" y="1294"/>
                </a:lnTo>
                <a:lnTo>
                  <a:pt x="847" y="1292"/>
                </a:lnTo>
                <a:lnTo>
                  <a:pt x="836" y="1290"/>
                </a:lnTo>
                <a:lnTo>
                  <a:pt x="835" y="1290"/>
                </a:lnTo>
                <a:lnTo>
                  <a:pt x="834" y="1290"/>
                </a:lnTo>
                <a:lnTo>
                  <a:pt x="833" y="1285"/>
                </a:lnTo>
                <a:lnTo>
                  <a:pt x="830" y="1281"/>
                </a:lnTo>
                <a:lnTo>
                  <a:pt x="827" y="1278"/>
                </a:lnTo>
                <a:lnTo>
                  <a:pt x="824" y="1276"/>
                </a:lnTo>
                <a:lnTo>
                  <a:pt x="823" y="1272"/>
                </a:lnTo>
                <a:lnTo>
                  <a:pt x="822" y="1270"/>
                </a:lnTo>
                <a:lnTo>
                  <a:pt x="815" y="1262"/>
                </a:lnTo>
                <a:lnTo>
                  <a:pt x="810" y="1253"/>
                </a:lnTo>
                <a:lnTo>
                  <a:pt x="800" y="1234"/>
                </a:lnTo>
                <a:lnTo>
                  <a:pt x="789" y="1215"/>
                </a:lnTo>
                <a:lnTo>
                  <a:pt x="779" y="1195"/>
                </a:lnTo>
                <a:lnTo>
                  <a:pt x="768" y="1176"/>
                </a:lnTo>
                <a:lnTo>
                  <a:pt x="760" y="1160"/>
                </a:lnTo>
                <a:lnTo>
                  <a:pt x="751" y="1144"/>
                </a:lnTo>
                <a:lnTo>
                  <a:pt x="741" y="1127"/>
                </a:lnTo>
                <a:lnTo>
                  <a:pt x="734" y="1111"/>
                </a:lnTo>
                <a:lnTo>
                  <a:pt x="726" y="1096"/>
                </a:lnTo>
                <a:lnTo>
                  <a:pt x="717" y="1081"/>
                </a:lnTo>
                <a:lnTo>
                  <a:pt x="705" y="1068"/>
                </a:lnTo>
                <a:lnTo>
                  <a:pt x="691" y="1055"/>
                </a:lnTo>
                <a:lnTo>
                  <a:pt x="692" y="1053"/>
                </a:lnTo>
                <a:lnTo>
                  <a:pt x="695" y="1050"/>
                </a:lnTo>
                <a:lnTo>
                  <a:pt x="696" y="1049"/>
                </a:lnTo>
                <a:lnTo>
                  <a:pt x="698" y="1048"/>
                </a:lnTo>
                <a:lnTo>
                  <a:pt x="703" y="1046"/>
                </a:lnTo>
                <a:lnTo>
                  <a:pt x="709" y="1046"/>
                </a:lnTo>
                <a:lnTo>
                  <a:pt x="707" y="1043"/>
                </a:lnTo>
                <a:lnTo>
                  <a:pt x="707" y="1042"/>
                </a:lnTo>
                <a:lnTo>
                  <a:pt x="707" y="1043"/>
                </a:lnTo>
                <a:lnTo>
                  <a:pt x="709" y="1046"/>
                </a:lnTo>
                <a:lnTo>
                  <a:pt x="710" y="1046"/>
                </a:lnTo>
                <a:lnTo>
                  <a:pt x="711" y="1046"/>
                </a:lnTo>
                <a:lnTo>
                  <a:pt x="711" y="1046"/>
                </a:lnTo>
                <a:lnTo>
                  <a:pt x="712" y="1047"/>
                </a:lnTo>
                <a:lnTo>
                  <a:pt x="713" y="1046"/>
                </a:lnTo>
                <a:lnTo>
                  <a:pt x="730" y="1041"/>
                </a:lnTo>
                <a:lnTo>
                  <a:pt x="746" y="1036"/>
                </a:lnTo>
                <a:lnTo>
                  <a:pt x="768" y="1032"/>
                </a:lnTo>
                <a:lnTo>
                  <a:pt x="789" y="1026"/>
                </a:lnTo>
                <a:lnTo>
                  <a:pt x="810" y="1020"/>
                </a:lnTo>
                <a:lnTo>
                  <a:pt x="831" y="1013"/>
                </a:lnTo>
                <a:lnTo>
                  <a:pt x="837" y="1012"/>
                </a:lnTo>
                <a:lnTo>
                  <a:pt x="843" y="1011"/>
                </a:lnTo>
                <a:lnTo>
                  <a:pt x="850" y="1012"/>
                </a:lnTo>
                <a:lnTo>
                  <a:pt x="856" y="1015"/>
                </a:lnTo>
                <a:lnTo>
                  <a:pt x="874" y="1028"/>
                </a:lnTo>
                <a:lnTo>
                  <a:pt x="891" y="1040"/>
                </a:lnTo>
                <a:lnTo>
                  <a:pt x="909" y="1052"/>
                </a:lnTo>
                <a:lnTo>
                  <a:pt x="925" y="1066"/>
                </a:lnTo>
                <a:lnTo>
                  <a:pt x="931" y="1069"/>
                </a:lnTo>
                <a:lnTo>
                  <a:pt x="937" y="1073"/>
                </a:lnTo>
                <a:lnTo>
                  <a:pt x="943" y="1075"/>
                </a:lnTo>
                <a:lnTo>
                  <a:pt x="950" y="1077"/>
                </a:lnTo>
                <a:lnTo>
                  <a:pt x="962" y="1081"/>
                </a:lnTo>
                <a:lnTo>
                  <a:pt x="975" y="1084"/>
                </a:lnTo>
                <a:lnTo>
                  <a:pt x="981" y="1087"/>
                </a:lnTo>
                <a:lnTo>
                  <a:pt x="988" y="1088"/>
                </a:lnTo>
                <a:lnTo>
                  <a:pt x="995" y="1089"/>
                </a:lnTo>
                <a:lnTo>
                  <a:pt x="1002" y="1090"/>
                </a:lnTo>
                <a:lnTo>
                  <a:pt x="1016" y="1090"/>
                </a:lnTo>
                <a:lnTo>
                  <a:pt x="1030" y="1094"/>
                </a:lnTo>
                <a:lnTo>
                  <a:pt x="1031" y="1094"/>
                </a:lnTo>
                <a:lnTo>
                  <a:pt x="1033" y="1094"/>
                </a:lnTo>
                <a:lnTo>
                  <a:pt x="1049" y="1087"/>
                </a:lnTo>
                <a:lnTo>
                  <a:pt x="1066" y="1081"/>
                </a:lnTo>
                <a:lnTo>
                  <a:pt x="1073" y="1078"/>
                </a:lnTo>
                <a:lnTo>
                  <a:pt x="1081" y="1075"/>
                </a:lnTo>
                <a:lnTo>
                  <a:pt x="1089" y="1073"/>
                </a:lnTo>
                <a:lnTo>
                  <a:pt x="1097" y="1070"/>
                </a:lnTo>
                <a:lnTo>
                  <a:pt x="1105" y="1069"/>
                </a:lnTo>
                <a:lnTo>
                  <a:pt x="1112" y="1066"/>
                </a:lnTo>
                <a:lnTo>
                  <a:pt x="1119" y="1062"/>
                </a:lnTo>
                <a:lnTo>
                  <a:pt x="1126" y="1057"/>
                </a:lnTo>
                <a:lnTo>
                  <a:pt x="1138" y="1047"/>
                </a:lnTo>
                <a:lnTo>
                  <a:pt x="1148" y="1035"/>
                </a:lnTo>
                <a:lnTo>
                  <a:pt x="1153" y="1028"/>
                </a:lnTo>
                <a:lnTo>
                  <a:pt x="1159" y="1021"/>
                </a:lnTo>
                <a:lnTo>
                  <a:pt x="1164" y="1021"/>
                </a:lnTo>
                <a:lnTo>
                  <a:pt x="1167" y="1021"/>
                </a:lnTo>
                <a:lnTo>
                  <a:pt x="1169" y="1019"/>
                </a:lnTo>
                <a:lnTo>
                  <a:pt x="1173" y="1016"/>
                </a:lnTo>
                <a:lnTo>
                  <a:pt x="1175" y="1013"/>
                </a:lnTo>
                <a:lnTo>
                  <a:pt x="1178" y="1012"/>
                </a:lnTo>
                <a:lnTo>
                  <a:pt x="1192" y="1001"/>
                </a:lnTo>
                <a:lnTo>
                  <a:pt x="1204" y="992"/>
                </a:lnTo>
                <a:lnTo>
                  <a:pt x="1210" y="986"/>
                </a:lnTo>
                <a:lnTo>
                  <a:pt x="1216" y="980"/>
                </a:lnTo>
                <a:lnTo>
                  <a:pt x="1222" y="974"/>
                </a:lnTo>
                <a:lnTo>
                  <a:pt x="1226" y="966"/>
                </a:lnTo>
                <a:lnTo>
                  <a:pt x="1228" y="963"/>
                </a:lnTo>
                <a:lnTo>
                  <a:pt x="1231" y="960"/>
                </a:lnTo>
                <a:lnTo>
                  <a:pt x="1235" y="959"/>
                </a:lnTo>
                <a:lnTo>
                  <a:pt x="1240" y="958"/>
                </a:lnTo>
                <a:lnTo>
                  <a:pt x="1244" y="958"/>
                </a:lnTo>
                <a:lnTo>
                  <a:pt x="1248" y="956"/>
                </a:lnTo>
                <a:lnTo>
                  <a:pt x="1251" y="952"/>
                </a:lnTo>
                <a:lnTo>
                  <a:pt x="1255" y="949"/>
                </a:lnTo>
                <a:lnTo>
                  <a:pt x="1264" y="938"/>
                </a:lnTo>
                <a:lnTo>
                  <a:pt x="1272" y="928"/>
                </a:lnTo>
                <a:lnTo>
                  <a:pt x="1276" y="924"/>
                </a:lnTo>
                <a:lnTo>
                  <a:pt x="1279" y="923"/>
                </a:lnTo>
                <a:lnTo>
                  <a:pt x="1283" y="922"/>
                </a:lnTo>
                <a:lnTo>
                  <a:pt x="1287" y="921"/>
                </a:lnTo>
                <a:lnTo>
                  <a:pt x="1291" y="917"/>
                </a:lnTo>
                <a:lnTo>
                  <a:pt x="1295" y="915"/>
                </a:lnTo>
                <a:lnTo>
                  <a:pt x="1298" y="911"/>
                </a:lnTo>
                <a:lnTo>
                  <a:pt x="1300" y="907"/>
                </a:lnTo>
                <a:lnTo>
                  <a:pt x="1303" y="903"/>
                </a:lnTo>
                <a:lnTo>
                  <a:pt x="1304" y="900"/>
                </a:lnTo>
                <a:lnTo>
                  <a:pt x="1306" y="895"/>
                </a:lnTo>
                <a:lnTo>
                  <a:pt x="1311" y="889"/>
                </a:lnTo>
                <a:lnTo>
                  <a:pt x="1313" y="887"/>
                </a:lnTo>
                <a:lnTo>
                  <a:pt x="1316" y="885"/>
                </a:lnTo>
                <a:lnTo>
                  <a:pt x="1318" y="883"/>
                </a:lnTo>
                <a:lnTo>
                  <a:pt x="1320" y="883"/>
                </a:lnTo>
                <a:lnTo>
                  <a:pt x="1328" y="883"/>
                </a:lnTo>
                <a:lnTo>
                  <a:pt x="1335" y="882"/>
                </a:lnTo>
                <a:lnTo>
                  <a:pt x="1344" y="880"/>
                </a:lnTo>
                <a:lnTo>
                  <a:pt x="1351" y="876"/>
                </a:lnTo>
                <a:lnTo>
                  <a:pt x="1354" y="876"/>
                </a:lnTo>
                <a:lnTo>
                  <a:pt x="1358" y="875"/>
                </a:lnTo>
                <a:lnTo>
                  <a:pt x="1367" y="872"/>
                </a:lnTo>
                <a:lnTo>
                  <a:pt x="1376" y="868"/>
                </a:lnTo>
                <a:lnTo>
                  <a:pt x="1386" y="864"/>
                </a:lnTo>
                <a:lnTo>
                  <a:pt x="1395" y="860"/>
                </a:lnTo>
                <a:lnTo>
                  <a:pt x="1399" y="860"/>
                </a:lnTo>
                <a:lnTo>
                  <a:pt x="1402" y="860"/>
                </a:lnTo>
                <a:lnTo>
                  <a:pt x="1404" y="860"/>
                </a:lnTo>
                <a:lnTo>
                  <a:pt x="1407" y="858"/>
                </a:lnTo>
                <a:lnTo>
                  <a:pt x="1409" y="854"/>
                </a:lnTo>
                <a:lnTo>
                  <a:pt x="1413" y="852"/>
                </a:lnTo>
                <a:lnTo>
                  <a:pt x="1416" y="850"/>
                </a:lnTo>
                <a:lnTo>
                  <a:pt x="1421" y="847"/>
                </a:lnTo>
                <a:lnTo>
                  <a:pt x="1423" y="846"/>
                </a:lnTo>
                <a:lnTo>
                  <a:pt x="1427" y="845"/>
                </a:lnTo>
                <a:lnTo>
                  <a:pt x="1431" y="845"/>
                </a:lnTo>
                <a:lnTo>
                  <a:pt x="1436" y="845"/>
                </a:lnTo>
                <a:lnTo>
                  <a:pt x="1440" y="845"/>
                </a:lnTo>
                <a:lnTo>
                  <a:pt x="1444" y="843"/>
                </a:lnTo>
                <a:lnTo>
                  <a:pt x="1450" y="839"/>
                </a:lnTo>
                <a:lnTo>
                  <a:pt x="1457" y="836"/>
                </a:lnTo>
                <a:lnTo>
                  <a:pt x="1463" y="831"/>
                </a:lnTo>
                <a:lnTo>
                  <a:pt x="1469" y="827"/>
                </a:lnTo>
                <a:lnTo>
                  <a:pt x="1484" y="816"/>
                </a:lnTo>
                <a:lnTo>
                  <a:pt x="1499" y="803"/>
                </a:lnTo>
                <a:lnTo>
                  <a:pt x="1501" y="802"/>
                </a:lnTo>
                <a:lnTo>
                  <a:pt x="1504" y="801"/>
                </a:lnTo>
                <a:lnTo>
                  <a:pt x="1509" y="799"/>
                </a:lnTo>
                <a:lnTo>
                  <a:pt x="1512" y="797"/>
                </a:lnTo>
                <a:lnTo>
                  <a:pt x="1516" y="794"/>
                </a:lnTo>
                <a:lnTo>
                  <a:pt x="1520" y="791"/>
                </a:lnTo>
                <a:lnTo>
                  <a:pt x="1527" y="792"/>
                </a:lnTo>
                <a:lnTo>
                  <a:pt x="1531" y="794"/>
                </a:lnTo>
                <a:lnTo>
                  <a:pt x="1531" y="797"/>
                </a:lnTo>
                <a:lnTo>
                  <a:pt x="1528" y="804"/>
                </a:lnTo>
                <a:lnTo>
                  <a:pt x="1531" y="809"/>
                </a:lnTo>
                <a:lnTo>
                  <a:pt x="1534" y="813"/>
                </a:lnTo>
                <a:lnTo>
                  <a:pt x="1531" y="809"/>
                </a:lnTo>
                <a:lnTo>
                  <a:pt x="1528" y="804"/>
                </a:lnTo>
                <a:lnTo>
                  <a:pt x="1526" y="808"/>
                </a:lnTo>
                <a:lnTo>
                  <a:pt x="1525" y="812"/>
                </a:lnTo>
                <a:lnTo>
                  <a:pt x="1525" y="817"/>
                </a:lnTo>
                <a:lnTo>
                  <a:pt x="1525" y="822"/>
                </a:lnTo>
                <a:lnTo>
                  <a:pt x="1525" y="824"/>
                </a:lnTo>
                <a:lnTo>
                  <a:pt x="1526" y="825"/>
                </a:lnTo>
                <a:lnTo>
                  <a:pt x="1530" y="830"/>
                </a:lnTo>
                <a:lnTo>
                  <a:pt x="1532" y="833"/>
                </a:lnTo>
                <a:lnTo>
                  <a:pt x="1532" y="838"/>
                </a:lnTo>
                <a:lnTo>
                  <a:pt x="1531" y="844"/>
                </a:lnTo>
                <a:lnTo>
                  <a:pt x="1530" y="851"/>
                </a:lnTo>
                <a:lnTo>
                  <a:pt x="1531" y="859"/>
                </a:lnTo>
                <a:lnTo>
                  <a:pt x="1534" y="869"/>
                </a:lnTo>
                <a:lnTo>
                  <a:pt x="1537" y="880"/>
                </a:lnTo>
                <a:lnTo>
                  <a:pt x="1539" y="892"/>
                </a:lnTo>
                <a:lnTo>
                  <a:pt x="1538" y="903"/>
                </a:lnTo>
                <a:lnTo>
                  <a:pt x="1538" y="906"/>
                </a:lnTo>
                <a:lnTo>
                  <a:pt x="1539" y="909"/>
                </a:lnTo>
                <a:lnTo>
                  <a:pt x="1540" y="911"/>
                </a:lnTo>
                <a:lnTo>
                  <a:pt x="1544" y="913"/>
                </a:lnTo>
                <a:lnTo>
                  <a:pt x="1542" y="936"/>
                </a:lnTo>
                <a:lnTo>
                  <a:pt x="1544" y="959"/>
                </a:lnTo>
                <a:lnTo>
                  <a:pt x="1545" y="983"/>
                </a:lnTo>
                <a:lnTo>
                  <a:pt x="1545" y="1006"/>
                </a:lnTo>
                <a:lnTo>
                  <a:pt x="1546" y="1015"/>
                </a:lnTo>
                <a:lnTo>
                  <a:pt x="1546" y="1026"/>
                </a:lnTo>
                <a:lnTo>
                  <a:pt x="1545" y="1032"/>
                </a:lnTo>
                <a:lnTo>
                  <a:pt x="1544" y="1037"/>
                </a:lnTo>
                <a:lnTo>
                  <a:pt x="1541" y="1043"/>
                </a:lnTo>
                <a:lnTo>
                  <a:pt x="1538" y="1049"/>
                </a:lnTo>
                <a:lnTo>
                  <a:pt x="1533" y="1060"/>
                </a:lnTo>
                <a:lnTo>
                  <a:pt x="1528" y="1071"/>
                </a:lnTo>
                <a:lnTo>
                  <a:pt x="1525" y="1077"/>
                </a:lnTo>
                <a:lnTo>
                  <a:pt x="1523" y="1084"/>
                </a:lnTo>
                <a:lnTo>
                  <a:pt x="1521" y="1088"/>
                </a:lnTo>
                <a:lnTo>
                  <a:pt x="1520" y="1090"/>
                </a:lnTo>
                <a:lnTo>
                  <a:pt x="1521" y="1095"/>
                </a:lnTo>
                <a:lnTo>
                  <a:pt x="1523" y="1098"/>
                </a:lnTo>
                <a:lnTo>
                  <a:pt x="1523" y="1101"/>
                </a:lnTo>
                <a:lnTo>
                  <a:pt x="1521" y="1102"/>
                </a:lnTo>
                <a:lnTo>
                  <a:pt x="1519" y="1108"/>
                </a:lnTo>
                <a:lnTo>
                  <a:pt x="1518" y="1112"/>
                </a:lnTo>
                <a:lnTo>
                  <a:pt x="1520" y="1117"/>
                </a:lnTo>
                <a:lnTo>
                  <a:pt x="1524" y="1123"/>
                </a:lnTo>
                <a:lnTo>
                  <a:pt x="1525" y="1124"/>
                </a:lnTo>
                <a:lnTo>
                  <a:pt x="1525" y="1126"/>
                </a:lnTo>
                <a:lnTo>
                  <a:pt x="1524" y="1129"/>
                </a:lnTo>
                <a:lnTo>
                  <a:pt x="1523" y="1130"/>
                </a:lnTo>
                <a:lnTo>
                  <a:pt x="1520" y="1131"/>
                </a:lnTo>
                <a:lnTo>
                  <a:pt x="1519" y="1130"/>
                </a:lnTo>
                <a:lnTo>
                  <a:pt x="1518" y="1129"/>
                </a:lnTo>
                <a:lnTo>
                  <a:pt x="1517" y="1127"/>
                </a:lnTo>
                <a:lnTo>
                  <a:pt x="1517" y="1125"/>
                </a:lnTo>
                <a:lnTo>
                  <a:pt x="1514" y="1125"/>
                </a:lnTo>
                <a:lnTo>
                  <a:pt x="1513" y="1129"/>
                </a:lnTo>
                <a:lnTo>
                  <a:pt x="1514" y="1131"/>
                </a:lnTo>
                <a:lnTo>
                  <a:pt x="1517" y="1132"/>
                </a:lnTo>
                <a:lnTo>
                  <a:pt x="1520" y="1133"/>
                </a:lnTo>
                <a:lnTo>
                  <a:pt x="1524" y="1136"/>
                </a:lnTo>
                <a:lnTo>
                  <a:pt x="1526" y="1138"/>
                </a:lnTo>
                <a:lnTo>
                  <a:pt x="1524" y="1136"/>
                </a:lnTo>
                <a:lnTo>
                  <a:pt x="1520" y="1133"/>
                </a:lnTo>
                <a:lnTo>
                  <a:pt x="1520" y="1136"/>
                </a:lnTo>
                <a:lnTo>
                  <a:pt x="1520" y="1138"/>
                </a:lnTo>
                <a:lnTo>
                  <a:pt x="1518" y="1141"/>
                </a:lnTo>
                <a:lnTo>
                  <a:pt x="1517" y="1144"/>
                </a:lnTo>
                <a:lnTo>
                  <a:pt x="1514" y="1146"/>
                </a:lnTo>
                <a:lnTo>
                  <a:pt x="1512" y="1148"/>
                </a:lnTo>
                <a:lnTo>
                  <a:pt x="1511" y="1151"/>
                </a:lnTo>
                <a:lnTo>
                  <a:pt x="1510" y="1154"/>
                </a:lnTo>
                <a:lnTo>
                  <a:pt x="1509" y="1160"/>
                </a:lnTo>
                <a:lnTo>
                  <a:pt x="1506" y="1165"/>
                </a:lnTo>
                <a:lnTo>
                  <a:pt x="1506" y="1166"/>
                </a:lnTo>
                <a:lnTo>
                  <a:pt x="1506" y="1167"/>
                </a:lnTo>
                <a:lnTo>
                  <a:pt x="1504" y="1172"/>
                </a:lnTo>
                <a:lnTo>
                  <a:pt x="1501" y="1175"/>
                </a:lnTo>
                <a:lnTo>
                  <a:pt x="1490" y="1192"/>
                </a:lnTo>
                <a:lnTo>
                  <a:pt x="1478" y="1208"/>
                </a:lnTo>
                <a:lnTo>
                  <a:pt x="1469" y="1216"/>
                </a:lnTo>
                <a:lnTo>
                  <a:pt x="1458" y="1223"/>
                </a:lnTo>
                <a:lnTo>
                  <a:pt x="1447" y="1230"/>
                </a:lnTo>
                <a:lnTo>
                  <a:pt x="1436" y="1238"/>
                </a:lnTo>
                <a:lnTo>
                  <a:pt x="1431" y="1244"/>
                </a:lnTo>
                <a:lnTo>
                  <a:pt x="1429" y="1250"/>
                </a:lnTo>
                <a:lnTo>
                  <a:pt x="1427" y="1252"/>
                </a:lnTo>
                <a:lnTo>
                  <a:pt x="1424" y="1256"/>
                </a:lnTo>
                <a:lnTo>
                  <a:pt x="1422" y="1258"/>
                </a:lnTo>
                <a:lnTo>
                  <a:pt x="1418" y="1259"/>
                </a:lnTo>
                <a:lnTo>
                  <a:pt x="1424" y="1259"/>
                </a:lnTo>
                <a:lnTo>
                  <a:pt x="1428" y="1258"/>
                </a:lnTo>
                <a:lnTo>
                  <a:pt x="1431" y="1259"/>
                </a:lnTo>
                <a:lnTo>
                  <a:pt x="1436" y="1259"/>
                </a:lnTo>
                <a:lnTo>
                  <a:pt x="1436" y="1256"/>
                </a:lnTo>
                <a:lnTo>
                  <a:pt x="1438" y="1252"/>
                </a:lnTo>
                <a:lnTo>
                  <a:pt x="1441" y="1248"/>
                </a:lnTo>
                <a:lnTo>
                  <a:pt x="1444" y="1244"/>
                </a:lnTo>
                <a:lnTo>
                  <a:pt x="1448" y="1242"/>
                </a:lnTo>
                <a:lnTo>
                  <a:pt x="1451" y="1239"/>
                </a:lnTo>
                <a:lnTo>
                  <a:pt x="1456" y="1238"/>
                </a:lnTo>
                <a:lnTo>
                  <a:pt x="1461" y="1238"/>
                </a:lnTo>
                <a:lnTo>
                  <a:pt x="1458" y="1242"/>
                </a:lnTo>
                <a:lnTo>
                  <a:pt x="1458" y="1246"/>
                </a:lnTo>
                <a:lnTo>
                  <a:pt x="1452" y="1253"/>
                </a:lnTo>
                <a:lnTo>
                  <a:pt x="1449" y="1260"/>
                </a:lnTo>
                <a:lnTo>
                  <a:pt x="1448" y="1264"/>
                </a:lnTo>
                <a:lnTo>
                  <a:pt x="1447" y="1266"/>
                </a:lnTo>
                <a:lnTo>
                  <a:pt x="1447" y="1267"/>
                </a:lnTo>
                <a:lnTo>
                  <a:pt x="1448" y="1269"/>
                </a:lnTo>
                <a:lnTo>
                  <a:pt x="1449" y="1270"/>
                </a:lnTo>
                <a:lnTo>
                  <a:pt x="1451" y="1271"/>
                </a:lnTo>
                <a:lnTo>
                  <a:pt x="1454" y="1274"/>
                </a:lnTo>
                <a:lnTo>
                  <a:pt x="1458" y="1276"/>
                </a:lnTo>
                <a:lnTo>
                  <a:pt x="1459" y="1277"/>
                </a:lnTo>
                <a:lnTo>
                  <a:pt x="1461" y="1277"/>
                </a:lnTo>
                <a:lnTo>
                  <a:pt x="1461" y="1278"/>
                </a:lnTo>
                <a:lnTo>
                  <a:pt x="1462" y="1279"/>
                </a:lnTo>
                <a:lnTo>
                  <a:pt x="1462" y="1290"/>
                </a:lnTo>
                <a:lnTo>
                  <a:pt x="1462" y="1300"/>
                </a:lnTo>
                <a:lnTo>
                  <a:pt x="1458" y="1302"/>
                </a:lnTo>
                <a:lnTo>
                  <a:pt x="1458" y="1306"/>
                </a:lnTo>
                <a:lnTo>
                  <a:pt x="1458" y="1309"/>
                </a:lnTo>
                <a:lnTo>
                  <a:pt x="1459" y="1313"/>
                </a:lnTo>
                <a:lnTo>
                  <a:pt x="1459" y="1315"/>
                </a:lnTo>
                <a:lnTo>
                  <a:pt x="1459" y="1318"/>
                </a:lnTo>
                <a:lnTo>
                  <a:pt x="1457" y="1323"/>
                </a:lnTo>
                <a:lnTo>
                  <a:pt x="1456" y="1328"/>
                </a:lnTo>
                <a:lnTo>
                  <a:pt x="1457" y="1334"/>
                </a:lnTo>
                <a:lnTo>
                  <a:pt x="1459" y="1339"/>
                </a:lnTo>
                <a:lnTo>
                  <a:pt x="1461" y="1342"/>
                </a:lnTo>
                <a:lnTo>
                  <a:pt x="1461" y="1344"/>
                </a:lnTo>
                <a:lnTo>
                  <a:pt x="1463" y="1347"/>
                </a:lnTo>
                <a:lnTo>
                  <a:pt x="1464" y="1348"/>
                </a:lnTo>
                <a:lnTo>
                  <a:pt x="1466" y="1349"/>
                </a:lnTo>
                <a:lnTo>
                  <a:pt x="1469" y="1348"/>
                </a:lnTo>
                <a:lnTo>
                  <a:pt x="1470" y="1347"/>
                </a:lnTo>
                <a:lnTo>
                  <a:pt x="1470" y="1344"/>
                </a:lnTo>
                <a:lnTo>
                  <a:pt x="1469" y="1343"/>
                </a:lnTo>
                <a:lnTo>
                  <a:pt x="1469" y="1341"/>
                </a:lnTo>
                <a:lnTo>
                  <a:pt x="1465" y="1336"/>
                </a:lnTo>
                <a:lnTo>
                  <a:pt x="1463" y="1330"/>
                </a:lnTo>
                <a:lnTo>
                  <a:pt x="1466" y="1325"/>
                </a:lnTo>
                <a:lnTo>
                  <a:pt x="1469" y="1318"/>
                </a:lnTo>
                <a:lnTo>
                  <a:pt x="1471" y="1312"/>
                </a:lnTo>
                <a:lnTo>
                  <a:pt x="1473" y="1306"/>
                </a:lnTo>
                <a:lnTo>
                  <a:pt x="1473" y="1304"/>
                </a:lnTo>
                <a:lnTo>
                  <a:pt x="1473" y="1300"/>
                </a:lnTo>
                <a:lnTo>
                  <a:pt x="1472" y="1298"/>
                </a:lnTo>
                <a:lnTo>
                  <a:pt x="1471" y="1294"/>
                </a:lnTo>
                <a:lnTo>
                  <a:pt x="1471" y="1294"/>
                </a:lnTo>
                <a:lnTo>
                  <a:pt x="1471" y="1293"/>
                </a:lnTo>
                <a:lnTo>
                  <a:pt x="1477" y="1290"/>
                </a:lnTo>
                <a:lnTo>
                  <a:pt x="1480" y="1286"/>
                </a:lnTo>
                <a:lnTo>
                  <a:pt x="1483" y="1285"/>
                </a:lnTo>
                <a:lnTo>
                  <a:pt x="1485" y="1284"/>
                </a:lnTo>
                <a:lnTo>
                  <a:pt x="1486" y="1283"/>
                </a:lnTo>
                <a:lnTo>
                  <a:pt x="1486" y="1280"/>
                </a:lnTo>
                <a:lnTo>
                  <a:pt x="1485" y="1277"/>
                </a:lnTo>
                <a:lnTo>
                  <a:pt x="1484" y="1273"/>
                </a:lnTo>
                <a:lnTo>
                  <a:pt x="1484" y="1271"/>
                </a:lnTo>
                <a:lnTo>
                  <a:pt x="1482" y="1270"/>
                </a:lnTo>
                <a:lnTo>
                  <a:pt x="1482" y="1269"/>
                </a:lnTo>
                <a:lnTo>
                  <a:pt x="1482" y="1269"/>
                </a:lnTo>
                <a:lnTo>
                  <a:pt x="1480" y="1267"/>
                </a:lnTo>
                <a:lnTo>
                  <a:pt x="1480" y="1265"/>
                </a:lnTo>
                <a:lnTo>
                  <a:pt x="1483" y="1262"/>
                </a:lnTo>
                <a:lnTo>
                  <a:pt x="1482" y="1259"/>
                </a:lnTo>
                <a:lnTo>
                  <a:pt x="1476" y="1256"/>
                </a:lnTo>
                <a:lnTo>
                  <a:pt x="1471" y="1251"/>
                </a:lnTo>
                <a:lnTo>
                  <a:pt x="1471" y="1248"/>
                </a:lnTo>
                <a:lnTo>
                  <a:pt x="1471" y="1243"/>
                </a:lnTo>
                <a:lnTo>
                  <a:pt x="1470" y="1239"/>
                </a:lnTo>
                <a:lnTo>
                  <a:pt x="1468" y="1237"/>
                </a:lnTo>
                <a:lnTo>
                  <a:pt x="1466" y="1235"/>
                </a:lnTo>
                <a:lnTo>
                  <a:pt x="1465" y="1234"/>
                </a:lnTo>
                <a:lnTo>
                  <a:pt x="1465" y="1231"/>
                </a:lnTo>
                <a:lnTo>
                  <a:pt x="1466" y="1229"/>
                </a:lnTo>
                <a:lnTo>
                  <a:pt x="1470" y="1228"/>
                </a:lnTo>
                <a:lnTo>
                  <a:pt x="1472" y="1227"/>
                </a:lnTo>
                <a:lnTo>
                  <a:pt x="1476" y="1227"/>
                </a:lnTo>
                <a:lnTo>
                  <a:pt x="1479" y="1228"/>
                </a:lnTo>
                <a:lnTo>
                  <a:pt x="1486" y="1234"/>
                </a:lnTo>
                <a:lnTo>
                  <a:pt x="1493" y="1241"/>
                </a:lnTo>
                <a:lnTo>
                  <a:pt x="1494" y="1243"/>
                </a:lnTo>
                <a:lnTo>
                  <a:pt x="1496" y="1245"/>
                </a:lnTo>
                <a:lnTo>
                  <a:pt x="1497" y="1246"/>
                </a:lnTo>
                <a:lnTo>
                  <a:pt x="1496" y="1250"/>
                </a:lnTo>
                <a:lnTo>
                  <a:pt x="1494" y="1256"/>
                </a:lnTo>
                <a:lnTo>
                  <a:pt x="1491" y="1260"/>
                </a:lnTo>
                <a:lnTo>
                  <a:pt x="1491" y="1262"/>
                </a:lnTo>
                <a:lnTo>
                  <a:pt x="1490" y="1263"/>
                </a:lnTo>
                <a:lnTo>
                  <a:pt x="1490" y="1265"/>
                </a:lnTo>
                <a:lnTo>
                  <a:pt x="1491" y="1266"/>
                </a:lnTo>
                <a:lnTo>
                  <a:pt x="1493" y="1266"/>
                </a:lnTo>
                <a:lnTo>
                  <a:pt x="1496" y="1264"/>
                </a:lnTo>
                <a:lnTo>
                  <a:pt x="1500" y="1259"/>
                </a:lnTo>
                <a:lnTo>
                  <a:pt x="1504" y="1253"/>
                </a:lnTo>
                <a:lnTo>
                  <a:pt x="1506" y="1249"/>
                </a:lnTo>
                <a:lnTo>
                  <a:pt x="1507" y="1244"/>
                </a:lnTo>
                <a:lnTo>
                  <a:pt x="1507" y="1239"/>
                </a:lnTo>
                <a:lnTo>
                  <a:pt x="1507" y="1234"/>
                </a:lnTo>
                <a:lnTo>
                  <a:pt x="1506" y="1229"/>
                </a:lnTo>
                <a:lnTo>
                  <a:pt x="1505" y="1223"/>
                </a:lnTo>
                <a:lnTo>
                  <a:pt x="1503" y="1218"/>
                </a:lnTo>
                <a:lnTo>
                  <a:pt x="1503" y="1216"/>
                </a:lnTo>
                <a:lnTo>
                  <a:pt x="1504" y="1214"/>
                </a:lnTo>
                <a:lnTo>
                  <a:pt x="1509" y="1214"/>
                </a:lnTo>
                <a:lnTo>
                  <a:pt x="1511" y="1213"/>
                </a:lnTo>
                <a:lnTo>
                  <a:pt x="1512" y="1211"/>
                </a:lnTo>
                <a:lnTo>
                  <a:pt x="1514" y="1209"/>
                </a:lnTo>
                <a:lnTo>
                  <a:pt x="1516" y="1207"/>
                </a:lnTo>
                <a:lnTo>
                  <a:pt x="1517" y="1201"/>
                </a:lnTo>
                <a:lnTo>
                  <a:pt x="1517" y="1196"/>
                </a:lnTo>
                <a:lnTo>
                  <a:pt x="1517" y="1193"/>
                </a:lnTo>
                <a:lnTo>
                  <a:pt x="1517" y="1188"/>
                </a:lnTo>
                <a:lnTo>
                  <a:pt x="1521" y="1179"/>
                </a:lnTo>
                <a:lnTo>
                  <a:pt x="1527" y="1172"/>
                </a:lnTo>
                <a:lnTo>
                  <a:pt x="1534" y="1164"/>
                </a:lnTo>
                <a:lnTo>
                  <a:pt x="1540" y="1157"/>
                </a:lnTo>
                <a:lnTo>
                  <a:pt x="1542" y="1154"/>
                </a:lnTo>
                <a:lnTo>
                  <a:pt x="1545" y="1151"/>
                </a:lnTo>
                <a:lnTo>
                  <a:pt x="1546" y="1147"/>
                </a:lnTo>
                <a:lnTo>
                  <a:pt x="1547" y="1145"/>
                </a:lnTo>
                <a:lnTo>
                  <a:pt x="1546" y="1143"/>
                </a:lnTo>
                <a:lnTo>
                  <a:pt x="1546" y="1140"/>
                </a:lnTo>
                <a:lnTo>
                  <a:pt x="1544" y="1134"/>
                </a:lnTo>
                <a:lnTo>
                  <a:pt x="1544" y="1130"/>
                </a:lnTo>
                <a:lnTo>
                  <a:pt x="1545" y="1126"/>
                </a:lnTo>
                <a:lnTo>
                  <a:pt x="1546" y="1122"/>
                </a:lnTo>
                <a:lnTo>
                  <a:pt x="1547" y="1120"/>
                </a:lnTo>
                <a:lnTo>
                  <a:pt x="1548" y="1119"/>
                </a:lnTo>
                <a:lnTo>
                  <a:pt x="1549" y="1119"/>
                </a:lnTo>
                <a:lnTo>
                  <a:pt x="1553" y="1118"/>
                </a:lnTo>
                <a:lnTo>
                  <a:pt x="1554" y="1123"/>
                </a:lnTo>
                <a:lnTo>
                  <a:pt x="1556" y="1127"/>
                </a:lnTo>
                <a:lnTo>
                  <a:pt x="1559" y="1125"/>
                </a:lnTo>
                <a:lnTo>
                  <a:pt x="1560" y="1123"/>
                </a:lnTo>
                <a:lnTo>
                  <a:pt x="1560" y="1119"/>
                </a:lnTo>
                <a:lnTo>
                  <a:pt x="1559" y="1117"/>
                </a:lnTo>
                <a:lnTo>
                  <a:pt x="1558" y="1115"/>
                </a:lnTo>
                <a:lnTo>
                  <a:pt x="1558" y="1112"/>
                </a:lnTo>
                <a:lnTo>
                  <a:pt x="1558" y="1111"/>
                </a:lnTo>
                <a:lnTo>
                  <a:pt x="1559" y="1109"/>
                </a:lnTo>
                <a:lnTo>
                  <a:pt x="1561" y="1108"/>
                </a:lnTo>
                <a:lnTo>
                  <a:pt x="1562" y="1109"/>
                </a:lnTo>
                <a:lnTo>
                  <a:pt x="1563" y="1110"/>
                </a:lnTo>
                <a:lnTo>
                  <a:pt x="1565" y="1111"/>
                </a:lnTo>
                <a:lnTo>
                  <a:pt x="1567" y="1113"/>
                </a:lnTo>
                <a:lnTo>
                  <a:pt x="1569" y="1112"/>
                </a:lnTo>
                <a:lnTo>
                  <a:pt x="1573" y="1109"/>
                </a:lnTo>
                <a:lnTo>
                  <a:pt x="1573" y="1106"/>
                </a:lnTo>
                <a:lnTo>
                  <a:pt x="1572" y="1103"/>
                </a:lnTo>
                <a:lnTo>
                  <a:pt x="1572" y="1099"/>
                </a:lnTo>
                <a:lnTo>
                  <a:pt x="1572" y="1096"/>
                </a:lnTo>
                <a:lnTo>
                  <a:pt x="1574" y="1094"/>
                </a:lnTo>
                <a:lnTo>
                  <a:pt x="1577" y="1089"/>
                </a:lnTo>
                <a:lnTo>
                  <a:pt x="1581" y="1084"/>
                </a:lnTo>
                <a:lnTo>
                  <a:pt x="1583" y="1081"/>
                </a:lnTo>
                <a:lnTo>
                  <a:pt x="1587" y="1077"/>
                </a:lnTo>
                <a:lnTo>
                  <a:pt x="1590" y="1074"/>
                </a:lnTo>
                <a:lnTo>
                  <a:pt x="1592" y="1068"/>
                </a:lnTo>
                <a:lnTo>
                  <a:pt x="1594" y="1056"/>
                </a:lnTo>
                <a:lnTo>
                  <a:pt x="1599" y="1045"/>
                </a:lnTo>
                <a:lnTo>
                  <a:pt x="1602" y="1036"/>
                </a:lnTo>
                <a:lnTo>
                  <a:pt x="1604" y="1028"/>
                </a:lnTo>
                <a:lnTo>
                  <a:pt x="1607" y="1020"/>
                </a:lnTo>
                <a:lnTo>
                  <a:pt x="1608" y="1012"/>
                </a:lnTo>
                <a:lnTo>
                  <a:pt x="1609" y="1011"/>
                </a:lnTo>
                <a:lnTo>
                  <a:pt x="1609" y="1011"/>
                </a:lnTo>
                <a:lnTo>
                  <a:pt x="1611" y="1011"/>
                </a:lnTo>
                <a:lnTo>
                  <a:pt x="1613" y="1011"/>
                </a:lnTo>
                <a:lnTo>
                  <a:pt x="1614" y="1004"/>
                </a:lnTo>
                <a:lnTo>
                  <a:pt x="1614" y="997"/>
                </a:lnTo>
                <a:lnTo>
                  <a:pt x="1614" y="990"/>
                </a:lnTo>
                <a:lnTo>
                  <a:pt x="1610" y="984"/>
                </a:lnTo>
                <a:lnTo>
                  <a:pt x="1607" y="979"/>
                </a:lnTo>
                <a:lnTo>
                  <a:pt x="1604" y="974"/>
                </a:lnTo>
                <a:lnTo>
                  <a:pt x="1600" y="959"/>
                </a:lnTo>
                <a:lnTo>
                  <a:pt x="1597" y="943"/>
                </a:lnTo>
                <a:lnTo>
                  <a:pt x="1595" y="928"/>
                </a:lnTo>
                <a:lnTo>
                  <a:pt x="1594" y="911"/>
                </a:lnTo>
                <a:lnTo>
                  <a:pt x="1592" y="911"/>
                </a:lnTo>
                <a:lnTo>
                  <a:pt x="1589" y="913"/>
                </a:lnTo>
                <a:lnTo>
                  <a:pt x="1588" y="911"/>
                </a:lnTo>
                <a:lnTo>
                  <a:pt x="1587" y="911"/>
                </a:lnTo>
                <a:lnTo>
                  <a:pt x="1585" y="910"/>
                </a:lnTo>
                <a:lnTo>
                  <a:pt x="1581" y="910"/>
                </a:lnTo>
                <a:lnTo>
                  <a:pt x="1585" y="910"/>
                </a:lnTo>
                <a:lnTo>
                  <a:pt x="1587" y="911"/>
                </a:lnTo>
                <a:lnTo>
                  <a:pt x="1588" y="911"/>
                </a:lnTo>
                <a:lnTo>
                  <a:pt x="1589" y="913"/>
                </a:lnTo>
                <a:lnTo>
                  <a:pt x="1592" y="911"/>
                </a:lnTo>
                <a:lnTo>
                  <a:pt x="1594" y="911"/>
                </a:lnTo>
                <a:lnTo>
                  <a:pt x="1595" y="910"/>
                </a:lnTo>
                <a:lnTo>
                  <a:pt x="1596" y="910"/>
                </a:lnTo>
                <a:lnTo>
                  <a:pt x="1600" y="910"/>
                </a:lnTo>
                <a:lnTo>
                  <a:pt x="1603" y="910"/>
                </a:lnTo>
                <a:lnTo>
                  <a:pt x="1607" y="909"/>
                </a:lnTo>
                <a:lnTo>
                  <a:pt x="1610" y="908"/>
                </a:lnTo>
                <a:lnTo>
                  <a:pt x="1607" y="906"/>
                </a:lnTo>
                <a:lnTo>
                  <a:pt x="1603" y="903"/>
                </a:lnTo>
                <a:lnTo>
                  <a:pt x="1608" y="902"/>
                </a:lnTo>
                <a:lnTo>
                  <a:pt x="1610" y="900"/>
                </a:lnTo>
                <a:lnTo>
                  <a:pt x="1614" y="900"/>
                </a:lnTo>
                <a:lnTo>
                  <a:pt x="1618" y="900"/>
                </a:lnTo>
                <a:lnTo>
                  <a:pt x="1621" y="900"/>
                </a:lnTo>
                <a:lnTo>
                  <a:pt x="1623" y="897"/>
                </a:lnTo>
                <a:lnTo>
                  <a:pt x="1628" y="892"/>
                </a:lnTo>
                <a:lnTo>
                  <a:pt x="1634" y="887"/>
                </a:lnTo>
                <a:lnTo>
                  <a:pt x="1635" y="886"/>
                </a:lnTo>
                <a:lnTo>
                  <a:pt x="1636" y="885"/>
                </a:lnTo>
                <a:lnTo>
                  <a:pt x="1634" y="883"/>
                </a:lnTo>
                <a:lnTo>
                  <a:pt x="1634" y="882"/>
                </a:lnTo>
                <a:lnTo>
                  <a:pt x="1634" y="881"/>
                </a:lnTo>
                <a:lnTo>
                  <a:pt x="1635" y="880"/>
                </a:lnTo>
                <a:lnTo>
                  <a:pt x="1637" y="879"/>
                </a:lnTo>
                <a:lnTo>
                  <a:pt x="1638" y="878"/>
                </a:lnTo>
                <a:lnTo>
                  <a:pt x="1642" y="873"/>
                </a:lnTo>
                <a:lnTo>
                  <a:pt x="1642" y="868"/>
                </a:lnTo>
                <a:lnTo>
                  <a:pt x="1643" y="860"/>
                </a:lnTo>
                <a:lnTo>
                  <a:pt x="1644" y="851"/>
                </a:lnTo>
                <a:lnTo>
                  <a:pt x="1646" y="843"/>
                </a:lnTo>
                <a:lnTo>
                  <a:pt x="1646" y="833"/>
                </a:lnTo>
                <a:lnTo>
                  <a:pt x="1648" y="831"/>
                </a:lnTo>
                <a:lnTo>
                  <a:pt x="1648" y="829"/>
                </a:lnTo>
                <a:lnTo>
                  <a:pt x="1649" y="827"/>
                </a:lnTo>
                <a:lnTo>
                  <a:pt x="1649" y="825"/>
                </a:lnTo>
                <a:lnTo>
                  <a:pt x="1649" y="824"/>
                </a:lnTo>
                <a:lnTo>
                  <a:pt x="1648" y="823"/>
                </a:lnTo>
                <a:lnTo>
                  <a:pt x="1648" y="820"/>
                </a:lnTo>
                <a:lnTo>
                  <a:pt x="1648" y="818"/>
                </a:lnTo>
                <a:lnTo>
                  <a:pt x="1650" y="815"/>
                </a:lnTo>
                <a:lnTo>
                  <a:pt x="1651" y="810"/>
                </a:lnTo>
                <a:lnTo>
                  <a:pt x="1650" y="805"/>
                </a:lnTo>
                <a:lnTo>
                  <a:pt x="1648" y="802"/>
                </a:lnTo>
                <a:lnTo>
                  <a:pt x="1648" y="797"/>
                </a:lnTo>
                <a:lnTo>
                  <a:pt x="1646" y="794"/>
                </a:lnTo>
                <a:lnTo>
                  <a:pt x="1646" y="791"/>
                </a:lnTo>
                <a:lnTo>
                  <a:pt x="1646" y="790"/>
                </a:lnTo>
                <a:lnTo>
                  <a:pt x="1645" y="788"/>
                </a:lnTo>
                <a:lnTo>
                  <a:pt x="1644" y="787"/>
                </a:lnTo>
                <a:lnTo>
                  <a:pt x="1641" y="784"/>
                </a:lnTo>
                <a:lnTo>
                  <a:pt x="1638" y="782"/>
                </a:lnTo>
                <a:lnTo>
                  <a:pt x="1638" y="780"/>
                </a:lnTo>
                <a:lnTo>
                  <a:pt x="1638" y="777"/>
                </a:lnTo>
                <a:lnTo>
                  <a:pt x="1641" y="777"/>
                </a:lnTo>
                <a:lnTo>
                  <a:pt x="1641" y="775"/>
                </a:lnTo>
                <a:lnTo>
                  <a:pt x="1641" y="774"/>
                </a:lnTo>
                <a:lnTo>
                  <a:pt x="1639" y="771"/>
                </a:lnTo>
                <a:lnTo>
                  <a:pt x="1639" y="762"/>
                </a:lnTo>
                <a:lnTo>
                  <a:pt x="1639" y="752"/>
                </a:lnTo>
                <a:lnTo>
                  <a:pt x="1639" y="750"/>
                </a:lnTo>
                <a:lnTo>
                  <a:pt x="1641" y="750"/>
                </a:lnTo>
                <a:lnTo>
                  <a:pt x="1638" y="734"/>
                </a:lnTo>
                <a:lnTo>
                  <a:pt x="1637" y="718"/>
                </a:lnTo>
                <a:lnTo>
                  <a:pt x="1636" y="714"/>
                </a:lnTo>
                <a:lnTo>
                  <a:pt x="1635" y="711"/>
                </a:lnTo>
                <a:lnTo>
                  <a:pt x="1632" y="707"/>
                </a:lnTo>
                <a:lnTo>
                  <a:pt x="1630" y="704"/>
                </a:lnTo>
                <a:lnTo>
                  <a:pt x="1625" y="699"/>
                </a:lnTo>
                <a:lnTo>
                  <a:pt x="1622" y="694"/>
                </a:lnTo>
                <a:lnTo>
                  <a:pt x="1620" y="689"/>
                </a:lnTo>
                <a:lnTo>
                  <a:pt x="1617" y="683"/>
                </a:lnTo>
                <a:lnTo>
                  <a:pt x="1613" y="671"/>
                </a:lnTo>
                <a:lnTo>
                  <a:pt x="1607" y="658"/>
                </a:lnTo>
                <a:lnTo>
                  <a:pt x="1602" y="647"/>
                </a:lnTo>
                <a:lnTo>
                  <a:pt x="1596" y="635"/>
                </a:lnTo>
                <a:lnTo>
                  <a:pt x="1595" y="631"/>
                </a:lnTo>
                <a:lnTo>
                  <a:pt x="1594" y="629"/>
                </a:lnTo>
                <a:lnTo>
                  <a:pt x="1592" y="627"/>
                </a:lnTo>
                <a:lnTo>
                  <a:pt x="1589" y="626"/>
                </a:lnTo>
                <a:lnTo>
                  <a:pt x="1589" y="624"/>
                </a:lnTo>
                <a:lnTo>
                  <a:pt x="1588" y="624"/>
                </a:lnTo>
                <a:lnTo>
                  <a:pt x="1588" y="624"/>
                </a:lnTo>
                <a:lnTo>
                  <a:pt x="1588" y="623"/>
                </a:lnTo>
                <a:lnTo>
                  <a:pt x="1587" y="622"/>
                </a:lnTo>
                <a:lnTo>
                  <a:pt x="1587" y="620"/>
                </a:lnTo>
                <a:lnTo>
                  <a:pt x="1587" y="619"/>
                </a:lnTo>
                <a:lnTo>
                  <a:pt x="1587" y="617"/>
                </a:lnTo>
                <a:lnTo>
                  <a:pt x="1586" y="616"/>
                </a:lnTo>
                <a:lnTo>
                  <a:pt x="1583" y="615"/>
                </a:lnTo>
                <a:lnTo>
                  <a:pt x="1576" y="605"/>
                </a:lnTo>
                <a:lnTo>
                  <a:pt x="1568" y="595"/>
                </a:lnTo>
                <a:lnTo>
                  <a:pt x="1568" y="591"/>
                </a:lnTo>
                <a:lnTo>
                  <a:pt x="1567" y="587"/>
                </a:lnTo>
                <a:lnTo>
                  <a:pt x="1565" y="584"/>
                </a:lnTo>
                <a:lnTo>
                  <a:pt x="1562" y="581"/>
                </a:lnTo>
                <a:lnTo>
                  <a:pt x="1555" y="577"/>
                </a:lnTo>
                <a:lnTo>
                  <a:pt x="1548" y="572"/>
                </a:lnTo>
                <a:lnTo>
                  <a:pt x="1547" y="571"/>
                </a:lnTo>
                <a:lnTo>
                  <a:pt x="1546" y="568"/>
                </a:lnTo>
                <a:lnTo>
                  <a:pt x="1547" y="566"/>
                </a:lnTo>
                <a:lnTo>
                  <a:pt x="1549" y="566"/>
                </a:lnTo>
                <a:lnTo>
                  <a:pt x="1555" y="564"/>
                </a:lnTo>
                <a:lnTo>
                  <a:pt x="1561" y="561"/>
                </a:lnTo>
                <a:lnTo>
                  <a:pt x="1563" y="560"/>
                </a:lnTo>
                <a:lnTo>
                  <a:pt x="1567" y="558"/>
                </a:lnTo>
                <a:lnTo>
                  <a:pt x="1568" y="556"/>
                </a:lnTo>
                <a:lnTo>
                  <a:pt x="1570" y="552"/>
                </a:lnTo>
                <a:lnTo>
                  <a:pt x="1565" y="554"/>
                </a:lnTo>
                <a:lnTo>
                  <a:pt x="1561" y="556"/>
                </a:lnTo>
                <a:lnTo>
                  <a:pt x="1555" y="554"/>
                </a:lnTo>
                <a:lnTo>
                  <a:pt x="1549" y="554"/>
                </a:lnTo>
                <a:lnTo>
                  <a:pt x="1549" y="554"/>
                </a:lnTo>
                <a:lnTo>
                  <a:pt x="1551" y="552"/>
                </a:lnTo>
                <a:lnTo>
                  <a:pt x="1553" y="551"/>
                </a:lnTo>
                <a:lnTo>
                  <a:pt x="1553" y="550"/>
                </a:lnTo>
                <a:lnTo>
                  <a:pt x="1554" y="549"/>
                </a:lnTo>
                <a:lnTo>
                  <a:pt x="1554" y="547"/>
                </a:lnTo>
                <a:lnTo>
                  <a:pt x="1553" y="546"/>
                </a:lnTo>
                <a:lnTo>
                  <a:pt x="1558" y="542"/>
                </a:lnTo>
                <a:lnTo>
                  <a:pt x="1562" y="537"/>
                </a:lnTo>
                <a:lnTo>
                  <a:pt x="1567" y="536"/>
                </a:lnTo>
                <a:lnTo>
                  <a:pt x="1569" y="535"/>
                </a:lnTo>
                <a:lnTo>
                  <a:pt x="1570" y="531"/>
                </a:lnTo>
                <a:lnTo>
                  <a:pt x="1569" y="526"/>
                </a:lnTo>
                <a:lnTo>
                  <a:pt x="1567" y="521"/>
                </a:lnTo>
                <a:lnTo>
                  <a:pt x="1562" y="516"/>
                </a:lnTo>
                <a:lnTo>
                  <a:pt x="1558" y="511"/>
                </a:lnTo>
                <a:lnTo>
                  <a:pt x="1553" y="507"/>
                </a:lnTo>
                <a:lnTo>
                  <a:pt x="1552" y="512"/>
                </a:lnTo>
                <a:lnTo>
                  <a:pt x="1553" y="517"/>
                </a:lnTo>
                <a:lnTo>
                  <a:pt x="1554" y="523"/>
                </a:lnTo>
                <a:lnTo>
                  <a:pt x="1554" y="528"/>
                </a:lnTo>
                <a:lnTo>
                  <a:pt x="1556" y="535"/>
                </a:lnTo>
                <a:lnTo>
                  <a:pt x="1555" y="539"/>
                </a:lnTo>
                <a:lnTo>
                  <a:pt x="1552" y="542"/>
                </a:lnTo>
                <a:lnTo>
                  <a:pt x="1545" y="545"/>
                </a:lnTo>
                <a:lnTo>
                  <a:pt x="1541" y="546"/>
                </a:lnTo>
                <a:lnTo>
                  <a:pt x="1539" y="547"/>
                </a:lnTo>
                <a:lnTo>
                  <a:pt x="1524" y="547"/>
                </a:lnTo>
                <a:lnTo>
                  <a:pt x="1509" y="547"/>
                </a:lnTo>
                <a:lnTo>
                  <a:pt x="1504" y="546"/>
                </a:lnTo>
                <a:lnTo>
                  <a:pt x="1500" y="545"/>
                </a:lnTo>
                <a:lnTo>
                  <a:pt x="1499" y="542"/>
                </a:lnTo>
                <a:lnTo>
                  <a:pt x="1499" y="538"/>
                </a:lnTo>
                <a:lnTo>
                  <a:pt x="1499" y="535"/>
                </a:lnTo>
                <a:lnTo>
                  <a:pt x="1500" y="532"/>
                </a:lnTo>
                <a:lnTo>
                  <a:pt x="1504" y="526"/>
                </a:lnTo>
                <a:lnTo>
                  <a:pt x="1505" y="521"/>
                </a:lnTo>
                <a:lnTo>
                  <a:pt x="1507" y="512"/>
                </a:lnTo>
                <a:lnTo>
                  <a:pt x="1511" y="505"/>
                </a:lnTo>
                <a:lnTo>
                  <a:pt x="1517" y="498"/>
                </a:lnTo>
                <a:lnTo>
                  <a:pt x="1519" y="491"/>
                </a:lnTo>
                <a:lnTo>
                  <a:pt x="1520" y="483"/>
                </a:lnTo>
                <a:lnTo>
                  <a:pt x="1521" y="476"/>
                </a:lnTo>
                <a:lnTo>
                  <a:pt x="1518" y="477"/>
                </a:lnTo>
                <a:lnTo>
                  <a:pt x="1514" y="479"/>
                </a:lnTo>
                <a:lnTo>
                  <a:pt x="1513" y="476"/>
                </a:lnTo>
                <a:lnTo>
                  <a:pt x="1514" y="475"/>
                </a:lnTo>
                <a:lnTo>
                  <a:pt x="1516" y="474"/>
                </a:lnTo>
                <a:lnTo>
                  <a:pt x="1517" y="473"/>
                </a:lnTo>
                <a:lnTo>
                  <a:pt x="1520" y="469"/>
                </a:lnTo>
                <a:lnTo>
                  <a:pt x="1520" y="466"/>
                </a:lnTo>
                <a:lnTo>
                  <a:pt x="1518" y="461"/>
                </a:lnTo>
                <a:lnTo>
                  <a:pt x="1513" y="456"/>
                </a:lnTo>
                <a:lnTo>
                  <a:pt x="1514" y="455"/>
                </a:lnTo>
                <a:lnTo>
                  <a:pt x="1516" y="454"/>
                </a:lnTo>
                <a:lnTo>
                  <a:pt x="1517" y="453"/>
                </a:lnTo>
                <a:lnTo>
                  <a:pt x="1517" y="453"/>
                </a:lnTo>
                <a:lnTo>
                  <a:pt x="1517" y="452"/>
                </a:lnTo>
                <a:lnTo>
                  <a:pt x="1516" y="451"/>
                </a:lnTo>
                <a:lnTo>
                  <a:pt x="1516" y="449"/>
                </a:lnTo>
                <a:lnTo>
                  <a:pt x="1516" y="447"/>
                </a:lnTo>
                <a:lnTo>
                  <a:pt x="1518" y="446"/>
                </a:lnTo>
                <a:lnTo>
                  <a:pt x="1519" y="445"/>
                </a:lnTo>
                <a:lnTo>
                  <a:pt x="1519" y="442"/>
                </a:lnTo>
                <a:lnTo>
                  <a:pt x="1519" y="441"/>
                </a:lnTo>
                <a:lnTo>
                  <a:pt x="1519" y="431"/>
                </a:lnTo>
                <a:lnTo>
                  <a:pt x="1521" y="421"/>
                </a:lnTo>
                <a:lnTo>
                  <a:pt x="1525" y="410"/>
                </a:lnTo>
                <a:lnTo>
                  <a:pt x="1527" y="397"/>
                </a:lnTo>
                <a:lnTo>
                  <a:pt x="1527" y="396"/>
                </a:lnTo>
                <a:lnTo>
                  <a:pt x="1528" y="395"/>
                </a:lnTo>
                <a:lnTo>
                  <a:pt x="1527" y="393"/>
                </a:lnTo>
                <a:lnTo>
                  <a:pt x="1526" y="393"/>
                </a:lnTo>
                <a:lnTo>
                  <a:pt x="1526" y="390"/>
                </a:lnTo>
                <a:lnTo>
                  <a:pt x="1526" y="385"/>
                </a:lnTo>
                <a:lnTo>
                  <a:pt x="1527" y="385"/>
                </a:lnTo>
                <a:lnTo>
                  <a:pt x="1528" y="383"/>
                </a:lnTo>
                <a:lnTo>
                  <a:pt x="1528" y="381"/>
                </a:lnTo>
                <a:lnTo>
                  <a:pt x="1530" y="377"/>
                </a:lnTo>
                <a:lnTo>
                  <a:pt x="1531" y="375"/>
                </a:lnTo>
                <a:lnTo>
                  <a:pt x="1532" y="374"/>
                </a:lnTo>
                <a:lnTo>
                  <a:pt x="1537" y="370"/>
                </a:lnTo>
                <a:lnTo>
                  <a:pt x="1540" y="365"/>
                </a:lnTo>
                <a:lnTo>
                  <a:pt x="1540" y="376"/>
                </a:lnTo>
                <a:lnTo>
                  <a:pt x="1541" y="385"/>
                </a:lnTo>
                <a:lnTo>
                  <a:pt x="1541" y="385"/>
                </a:lnTo>
                <a:lnTo>
                  <a:pt x="1539" y="390"/>
                </a:lnTo>
                <a:lnTo>
                  <a:pt x="1537" y="393"/>
                </a:lnTo>
                <a:lnTo>
                  <a:pt x="1535" y="395"/>
                </a:lnTo>
                <a:lnTo>
                  <a:pt x="1535" y="396"/>
                </a:lnTo>
                <a:lnTo>
                  <a:pt x="1535" y="398"/>
                </a:lnTo>
                <a:lnTo>
                  <a:pt x="1535" y="399"/>
                </a:lnTo>
                <a:lnTo>
                  <a:pt x="1537" y="403"/>
                </a:lnTo>
                <a:lnTo>
                  <a:pt x="1537" y="405"/>
                </a:lnTo>
                <a:lnTo>
                  <a:pt x="1535" y="406"/>
                </a:lnTo>
                <a:lnTo>
                  <a:pt x="1535" y="409"/>
                </a:lnTo>
                <a:lnTo>
                  <a:pt x="1535" y="409"/>
                </a:lnTo>
                <a:lnTo>
                  <a:pt x="1534" y="410"/>
                </a:lnTo>
                <a:lnTo>
                  <a:pt x="1534" y="412"/>
                </a:lnTo>
                <a:lnTo>
                  <a:pt x="1533" y="414"/>
                </a:lnTo>
                <a:lnTo>
                  <a:pt x="1532" y="416"/>
                </a:lnTo>
                <a:lnTo>
                  <a:pt x="1531" y="417"/>
                </a:lnTo>
                <a:lnTo>
                  <a:pt x="1531" y="419"/>
                </a:lnTo>
                <a:lnTo>
                  <a:pt x="1531" y="420"/>
                </a:lnTo>
                <a:lnTo>
                  <a:pt x="1533" y="421"/>
                </a:lnTo>
                <a:lnTo>
                  <a:pt x="1534" y="421"/>
                </a:lnTo>
                <a:lnTo>
                  <a:pt x="1535" y="420"/>
                </a:lnTo>
                <a:lnTo>
                  <a:pt x="1537" y="419"/>
                </a:lnTo>
                <a:lnTo>
                  <a:pt x="1538" y="418"/>
                </a:lnTo>
                <a:lnTo>
                  <a:pt x="1540" y="418"/>
                </a:lnTo>
                <a:lnTo>
                  <a:pt x="1541" y="419"/>
                </a:lnTo>
                <a:lnTo>
                  <a:pt x="1544" y="420"/>
                </a:lnTo>
                <a:lnTo>
                  <a:pt x="1546" y="421"/>
                </a:lnTo>
                <a:lnTo>
                  <a:pt x="1548" y="421"/>
                </a:lnTo>
                <a:lnTo>
                  <a:pt x="1551" y="420"/>
                </a:lnTo>
                <a:lnTo>
                  <a:pt x="1553" y="419"/>
                </a:lnTo>
                <a:lnTo>
                  <a:pt x="1554" y="417"/>
                </a:lnTo>
                <a:lnTo>
                  <a:pt x="1553" y="413"/>
                </a:lnTo>
                <a:lnTo>
                  <a:pt x="1551" y="407"/>
                </a:lnTo>
                <a:lnTo>
                  <a:pt x="1551" y="402"/>
                </a:lnTo>
                <a:lnTo>
                  <a:pt x="1553" y="400"/>
                </a:lnTo>
                <a:lnTo>
                  <a:pt x="1554" y="400"/>
                </a:lnTo>
                <a:lnTo>
                  <a:pt x="1555" y="402"/>
                </a:lnTo>
                <a:lnTo>
                  <a:pt x="1555" y="404"/>
                </a:lnTo>
                <a:lnTo>
                  <a:pt x="1556" y="407"/>
                </a:lnTo>
                <a:lnTo>
                  <a:pt x="1559" y="410"/>
                </a:lnTo>
                <a:lnTo>
                  <a:pt x="1561" y="412"/>
                </a:lnTo>
                <a:lnTo>
                  <a:pt x="1563" y="412"/>
                </a:lnTo>
                <a:lnTo>
                  <a:pt x="1566" y="410"/>
                </a:lnTo>
                <a:lnTo>
                  <a:pt x="1567" y="409"/>
                </a:lnTo>
                <a:lnTo>
                  <a:pt x="1569" y="406"/>
                </a:lnTo>
                <a:lnTo>
                  <a:pt x="1570" y="405"/>
                </a:lnTo>
                <a:lnTo>
                  <a:pt x="1570" y="403"/>
                </a:lnTo>
                <a:lnTo>
                  <a:pt x="1568" y="400"/>
                </a:lnTo>
                <a:lnTo>
                  <a:pt x="1570" y="395"/>
                </a:lnTo>
                <a:lnTo>
                  <a:pt x="1570" y="390"/>
                </a:lnTo>
                <a:lnTo>
                  <a:pt x="1572" y="390"/>
                </a:lnTo>
                <a:lnTo>
                  <a:pt x="1572" y="390"/>
                </a:lnTo>
                <a:lnTo>
                  <a:pt x="1572" y="389"/>
                </a:lnTo>
                <a:lnTo>
                  <a:pt x="1570" y="388"/>
                </a:lnTo>
                <a:lnTo>
                  <a:pt x="1570" y="385"/>
                </a:lnTo>
                <a:lnTo>
                  <a:pt x="1574" y="385"/>
                </a:lnTo>
                <a:lnTo>
                  <a:pt x="1574" y="386"/>
                </a:lnTo>
                <a:lnTo>
                  <a:pt x="1574" y="388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5" y="390"/>
                </a:lnTo>
                <a:lnTo>
                  <a:pt x="1574" y="392"/>
                </a:lnTo>
                <a:lnTo>
                  <a:pt x="1575" y="396"/>
                </a:lnTo>
                <a:lnTo>
                  <a:pt x="1576" y="393"/>
                </a:lnTo>
                <a:lnTo>
                  <a:pt x="1575" y="390"/>
                </a:lnTo>
                <a:lnTo>
                  <a:pt x="1579" y="388"/>
                </a:lnTo>
                <a:lnTo>
                  <a:pt x="1580" y="383"/>
                </a:lnTo>
                <a:lnTo>
                  <a:pt x="1581" y="379"/>
                </a:lnTo>
                <a:lnTo>
                  <a:pt x="1581" y="375"/>
                </a:lnTo>
                <a:lnTo>
                  <a:pt x="1581" y="371"/>
                </a:lnTo>
                <a:lnTo>
                  <a:pt x="1580" y="368"/>
                </a:lnTo>
                <a:lnTo>
                  <a:pt x="1576" y="365"/>
                </a:lnTo>
                <a:lnTo>
                  <a:pt x="1573" y="364"/>
                </a:lnTo>
                <a:lnTo>
                  <a:pt x="1572" y="363"/>
                </a:lnTo>
                <a:lnTo>
                  <a:pt x="1570" y="363"/>
                </a:lnTo>
                <a:lnTo>
                  <a:pt x="1569" y="360"/>
                </a:lnTo>
                <a:lnTo>
                  <a:pt x="1569" y="357"/>
                </a:lnTo>
                <a:lnTo>
                  <a:pt x="1568" y="358"/>
                </a:lnTo>
                <a:lnTo>
                  <a:pt x="1567" y="358"/>
                </a:lnTo>
                <a:lnTo>
                  <a:pt x="1567" y="360"/>
                </a:lnTo>
                <a:lnTo>
                  <a:pt x="1567" y="361"/>
                </a:lnTo>
                <a:lnTo>
                  <a:pt x="1567" y="362"/>
                </a:lnTo>
                <a:lnTo>
                  <a:pt x="1567" y="362"/>
                </a:lnTo>
                <a:lnTo>
                  <a:pt x="1567" y="361"/>
                </a:lnTo>
                <a:lnTo>
                  <a:pt x="1567" y="360"/>
                </a:lnTo>
                <a:lnTo>
                  <a:pt x="1567" y="358"/>
                </a:lnTo>
                <a:lnTo>
                  <a:pt x="1565" y="358"/>
                </a:lnTo>
                <a:lnTo>
                  <a:pt x="1562" y="360"/>
                </a:lnTo>
                <a:lnTo>
                  <a:pt x="1565" y="358"/>
                </a:lnTo>
                <a:lnTo>
                  <a:pt x="1567" y="358"/>
                </a:lnTo>
                <a:lnTo>
                  <a:pt x="1568" y="358"/>
                </a:lnTo>
                <a:lnTo>
                  <a:pt x="1569" y="357"/>
                </a:lnTo>
                <a:lnTo>
                  <a:pt x="1572" y="356"/>
                </a:lnTo>
                <a:lnTo>
                  <a:pt x="1575" y="355"/>
                </a:lnTo>
                <a:lnTo>
                  <a:pt x="1576" y="355"/>
                </a:lnTo>
                <a:lnTo>
                  <a:pt x="1577" y="355"/>
                </a:lnTo>
                <a:lnTo>
                  <a:pt x="1579" y="357"/>
                </a:lnTo>
                <a:lnTo>
                  <a:pt x="1579" y="360"/>
                </a:lnTo>
                <a:lnTo>
                  <a:pt x="1581" y="363"/>
                </a:lnTo>
                <a:lnTo>
                  <a:pt x="1583" y="365"/>
                </a:lnTo>
                <a:lnTo>
                  <a:pt x="1586" y="368"/>
                </a:lnTo>
                <a:lnTo>
                  <a:pt x="1587" y="371"/>
                </a:lnTo>
                <a:lnTo>
                  <a:pt x="1587" y="374"/>
                </a:lnTo>
                <a:lnTo>
                  <a:pt x="1586" y="376"/>
                </a:lnTo>
                <a:lnTo>
                  <a:pt x="1581" y="391"/>
                </a:lnTo>
                <a:lnTo>
                  <a:pt x="1574" y="406"/>
                </a:lnTo>
                <a:lnTo>
                  <a:pt x="1570" y="414"/>
                </a:lnTo>
                <a:lnTo>
                  <a:pt x="1569" y="423"/>
                </a:lnTo>
                <a:lnTo>
                  <a:pt x="1568" y="425"/>
                </a:lnTo>
                <a:lnTo>
                  <a:pt x="1569" y="427"/>
                </a:lnTo>
                <a:lnTo>
                  <a:pt x="1569" y="428"/>
                </a:lnTo>
                <a:lnTo>
                  <a:pt x="1572" y="431"/>
                </a:lnTo>
                <a:lnTo>
                  <a:pt x="1574" y="431"/>
                </a:lnTo>
                <a:lnTo>
                  <a:pt x="1575" y="430"/>
                </a:lnTo>
                <a:lnTo>
                  <a:pt x="1576" y="427"/>
                </a:lnTo>
                <a:lnTo>
                  <a:pt x="1577" y="426"/>
                </a:lnTo>
                <a:lnTo>
                  <a:pt x="1580" y="423"/>
                </a:lnTo>
                <a:lnTo>
                  <a:pt x="1582" y="418"/>
                </a:lnTo>
                <a:lnTo>
                  <a:pt x="1587" y="407"/>
                </a:lnTo>
                <a:lnTo>
                  <a:pt x="1593" y="397"/>
                </a:lnTo>
                <a:lnTo>
                  <a:pt x="1597" y="388"/>
                </a:lnTo>
                <a:lnTo>
                  <a:pt x="1603" y="377"/>
                </a:lnTo>
                <a:lnTo>
                  <a:pt x="1606" y="367"/>
                </a:lnTo>
                <a:lnTo>
                  <a:pt x="1610" y="356"/>
                </a:lnTo>
                <a:lnTo>
                  <a:pt x="1613" y="346"/>
                </a:lnTo>
                <a:lnTo>
                  <a:pt x="1615" y="335"/>
                </a:lnTo>
                <a:lnTo>
                  <a:pt x="1616" y="327"/>
                </a:lnTo>
                <a:lnTo>
                  <a:pt x="1617" y="319"/>
                </a:lnTo>
                <a:lnTo>
                  <a:pt x="1616" y="310"/>
                </a:lnTo>
                <a:lnTo>
                  <a:pt x="1613" y="302"/>
                </a:lnTo>
                <a:lnTo>
                  <a:pt x="1613" y="293"/>
                </a:lnTo>
                <a:lnTo>
                  <a:pt x="1611" y="284"/>
                </a:lnTo>
                <a:lnTo>
                  <a:pt x="1613" y="282"/>
                </a:lnTo>
                <a:lnTo>
                  <a:pt x="1614" y="281"/>
                </a:lnTo>
                <a:lnTo>
                  <a:pt x="1615" y="274"/>
                </a:lnTo>
                <a:lnTo>
                  <a:pt x="1614" y="268"/>
                </a:lnTo>
                <a:lnTo>
                  <a:pt x="1611" y="264"/>
                </a:lnTo>
                <a:lnTo>
                  <a:pt x="1607" y="259"/>
                </a:lnTo>
                <a:lnTo>
                  <a:pt x="1609" y="258"/>
                </a:lnTo>
                <a:lnTo>
                  <a:pt x="1610" y="256"/>
                </a:lnTo>
                <a:lnTo>
                  <a:pt x="1611" y="254"/>
                </a:lnTo>
                <a:lnTo>
                  <a:pt x="1610" y="252"/>
                </a:lnTo>
                <a:lnTo>
                  <a:pt x="1608" y="249"/>
                </a:lnTo>
                <a:lnTo>
                  <a:pt x="1606" y="246"/>
                </a:lnTo>
                <a:lnTo>
                  <a:pt x="1606" y="245"/>
                </a:lnTo>
                <a:lnTo>
                  <a:pt x="1604" y="244"/>
                </a:lnTo>
                <a:lnTo>
                  <a:pt x="1599" y="233"/>
                </a:lnTo>
                <a:lnTo>
                  <a:pt x="1592" y="224"/>
                </a:lnTo>
                <a:lnTo>
                  <a:pt x="1589" y="222"/>
                </a:lnTo>
                <a:lnTo>
                  <a:pt x="1587" y="221"/>
                </a:lnTo>
                <a:lnTo>
                  <a:pt x="1577" y="221"/>
                </a:lnTo>
                <a:lnTo>
                  <a:pt x="1569" y="218"/>
                </a:lnTo>
                <a:lnTo>
                  <a:pt x="1567" y="216"/>
                </a:lnTo>
                <a:lnTo>
                  <a:pt x="1562" y="215"/>
                </a:lnTo>
                <a:lnTo>
                  <a:pt x="1551" y="211"/>
                </a:lnTo>
                <a:lnTo>
                  <a:pt x="1539" y="209"/>
                </a:lnTo>
                <a:lnTo>
                  <a:pt x="1528" y="207"/>
                </a:lnTo>
                <a:lnTo>
                  <a:pt x="1518" y="205"/>
                </a:lnTo>
                <a:lnTo>
                  <a:pt x="1509" y="204"/>
                </a:lnTo>
                <a:lnTo>
                  <a:pt x="1498" y="205"/>
                </a:lnTo>
                <a:lnTo>
                  <a:pt x="1483" y="205"/>
                </a:lnTo>
                <a:lnTo>
                  <a:pt x="1469" y="205"/>
                </a:lnTo>
                <a:lnTo>
                  <a:pt x="1466" y="205"/>
                </a:lnTo>
                <a:lnTo>
                  <a:pt x="1465" y="205"/>
                </a:lnTo>
                <a:lnTo>
                  <a:pt x="1463" y="207"/>
                </a:lnTo>
                <a:lnTo>
                  <a:pt x="1463" y="209"/>
                </a:lnTo>
                <a:lnTo>
                  <a:pt x="1462" y="209"/>
                </a:lnTo>
                <a:lnTo>
                  <a:pt x="1462" y="209"/>
                </a:lnTo>
                <a:lnTo>
                  <a:pt x="1458" y="209"/>
                </a:lnTo>
                <a:lnTo>
                  <a:pt x="1455" y="209"/>
                </a:lnTo>
                <a:lnTo>
                  <a:pt x="1451" y="210"/>
                </a:lnTo>
                <a:lnTo>
                  <a:pt x="1448" y="211"/>
                </a:lnTo>
                <a:lnTo>
                  <a:pt x="1444" y="215"/>
                </a:lnTo>
                <a:lnTo>
                  <a:pt x="1440" y="219"/>
                </a:lnTo>
                <a:lnTo>
                  <a:pt x="1436" y="223"/>
                </a:lnTo>
                <a:lnTo>
                  <a:pt x="1434" y="229"/>
                </a:lnTo>
                <a:lnTo>
                  <a:pt x="1430" y="233"/>
                </a:lnTo>
                <a:lnTo>
                  <a:pt x="1428" y="237"/>
                </a:lnTo>
                <a:lnTo>
                  <a:pt x="1425" y="242"/>
                </a:lnTo>
                <a:lnTo>
                  <a:pt x="1425" y="245"/>
                </a:lnTo>
                <a:lnTo>
                  <a:pt x="1427" y="247"/>
                </a:lnTo>
                <a:lnTo>
                  <a:pt x="1428" y="251"/>
                </a:lnTo>
                <a:lnTo>
                  <a:pt x="1430" y="254"/>
                </a:lnTo>
                <a:lnTo>
                  <a:pt x="1435" y="257"/>
                </a:lnTo>
                <a:lnTo>
                  <a:pt x="1436" y="260"/>
                </a:lnTo>
                <a:lnTo>
                  <a:pt x="1435" y="264"/>
                </a:lnTo>
                <a:lnTo>
                  <a:pt x="1434" y="265"/>
                </a:lnTo>
                <a:lnTo>
                  <a:pt x="1432" y="266"/>
                </a:lnTo>
                <a:lnTo>
                  <a:pt x="1425" y="273"/>
                </a:lnTo>
                <a:lnTo>
                  <a:pt x="1421" y="282"/>
                </a:lnTo>
                <a:lnTo>
                  <a:pt x="1420" y="286"/>
                </a:lnTo>
                <a:lnTo>
                  <a:pt x="1418" y="291"/>
                </a:lnTo>
                <a:lnTo>
                  <a:pt x="1417" y="293"/>
                </a:lnTo>
                <a:lnTo>
                  <a:pt x="1415" y="294"/>
                </a:lnTo>
                <a:lnTo>
                  <a:pt x="1413" y="294"/>
                </a:lnTo>
                <a:lnTo>
                  <a:pt x="1409" y="294"/>
                </a:lnTo>
                <a:lnTo>
                  <a:pt x="1408" y="294"/>
                </a:lnTo>
                <a:lnTo>
                  <a:pt x="1407" y="296"/>
                </a:lnTo>
                <a:lnTo>
                  <a:pt x="1404" y="302"/>
                </a:lnTo>
                <a:lnTo>
                  <a:pt x="1401" y="309"/>
                </a:lnTo>
                <a:lnTo>
                  <a:pt x="1397" y="315"/>
                </a:lnTo>
                <a:lnTo>
                  <a:pt x="1393" y="321"/>
                </a:lnTo>
                <a:lnTo>
                  <a:pt x="1393" y="323"/>
                </a:lnTo>
                <a:lnTo>
                  <a:pt x="1393" y="326"/>
                </a:lnTo>
                <a:lnTo>
                  <a:pt x="1394" y="328"/>
                </a:lnTo>
                <a:lnTo>
                  <a:pt x="1396" y="329"/>
                </a:lnTo>
                <a:lnTo>
                  <a:pt x="1396" y="330"/>
                </a:lnTo>
                <a:lnTo>
                  <a:pt x="1396" y="332"/>
                </a:lnTo>
                <a:lnTo>
                  <a:pt x="1395" y="332"/>
                </a:lnTo>
                <a:lnTo>
                  <a:pt x="1395" y="333"/>
                </a:lnTo>
                <a:lnTo>
                  <a:pt x="1395" y="335"/>
                </a:lnTo>
                <a:lnTo>
                  <a:pt x="1395" y="336"/>
                </a:lnTo>
                <a:lnTo>
                  <a:pt x="1397" y="340"/>
                </a:lnTo>
                <a:lnTo>
                  <a:pt x="1399" y="344"/>
                </a:lnTo>
                <a:lnTo>
                  <a:pt x="1397" y="348"/>
                </a:lnTo>
                <a:lnTo>
                  <a:pt x="1397" y="350"/>
                </a:lnTo>
                <a:lnTo>
                  <a:pt x="1399" y="354"/>
                </a:lnTo>
                <a:lnTo>
                  <a:pt x="1401" y="356"/>
                </a:lnTo>
                <a:lnTo>
                  <a:pt x="1401" y="358"/>
                </a:lnTo>
                <a:lnTo>
                  <a:pt x="1402" y="360"/>
                </a:lnTo>
                <a:lnTo>
                  <a:pt x="1401" y="362"/>
                </a:lnTo>
                <a:lnTo>
                  <a:pt x="1400" y="363"/>
                </a:lnTo>
                <a:lnTo>
                  <a:pt x="1399" y="367"/>
                </a:lnTo>
                <a:lnTo>
                  <a:pt x="1397" y="370"/>
                </a:lnTo>
                <a:lnTo>
                  <a:pt x="1393" y="378"/>
                </a:lnTo>
                <a:lnTo>
                  <a:pt x="1390" y="386"/>
                </a:lnTo>
                <a:lnTo>
                  <a:pt x="1389" y="398"/>
                </a:lnTo>
                <a:lnTo>
                  <a:pt x="1387" y="410"/>
                </a:lnTo>
                <a:lnTo>
                  <a:pt x="1386" y="413"/>
                </a:lnTo>
                <a:lnTo>
                  <a:pt x="1383" y="414"/>
                </a:lnTo>
                <a:lnTo>
                  <a:pt x="1381" y="413"/>
                </a:lnTo>
                <a:lnTo>
                  <a:pt x="1380" y="411"/>
                </a:lnTo>
                <a:lnTo>
                  <a:pt x="1381" y="404"/>
                </a:lnTo>
                <a:lnTo>
                  <a:pt x="1380" y="402"/>
                </a:lnTo>
                <a:lnTo>
                  <a:pt x="1378" y="399"/>
                </a:lnTo>
                <a:lnTo>
                  <a:pt x="1372" y="398"/>
                </a:lnTo>
                <a:lnTo>
                  <a:pt x="1366" y="397"/>
                </a:lnTo>
                <a:lnTo>
                  <a:pt x="1361" y="396"/>
                </a:lnTo>
                <a:lnTo>
                  <a:pt x="1344" y="390"/>
                </a:lnTo>
                <a:lnTo>
                  <a:pt x="1326" y="385"/>
                </a:lnTo>
                <a:lnTo>
                  <a:pt x="1307" y="382"/>
                </a:lnTo>
                <a:lnTo>
                  <a:pt x="1290" y="381"/>
                </a:lnTo>
                <a:lnTo>
                  <a:pt x="1282" y="381"/>
                </a:lnTo>
                <a:lnTo>
                  <a:pt x="1275" y="381"/>
                </a:lnTo>
                <a:lnTo>
                  <a:pt x="1272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70" y="381"/>
                </a:lnTo>
                <a:lnTo>
                  <a:pt x="1259" y="381"/>
                </a:lnTo>
                <a:lnTo>
                  <a:pt x="1248" y="379"/>
                </a:lnTo>
                <a:lnTo>
                  <a:pt x="1237" y="378"/>
                </a:lnTo>
                <a:lnTo>
                  <a:pt x="1227" y="376"/>
                </a:lnTo>
                <a:lnTo>
                  <a:pt x="1220" y="376"/>
                </a:lnTo>
                <a:lnTo>
                  <a:pt x="1213" y="375"/>
                </a:lnTo>
                <a:lnTo>
                  <a:pt x="1204" y="375"/>
                </a:lnTo>
                <a:lnTo>
                  <a:pt x="1197" y="376"/>
                </a:lnTo>
                <a:lnTo>
                  <a:pt x="1190" y="377"/>
                </a:lnTo>
                <a:lnTo>
                  <a:pt x="1185" y="379"/>
                </a:lnTo>
                <a:lnTo>
                  <a:pt x="1179" y="382"/>
                </a:lnTo>
                <a:lnTo>
                  <a:pt x="1173" y="386"/>
                </a:lnTo>
                <a:lnTo>
                  <a:pt x="1171" y="388"/>
                </a:lnTo>
                <a:lnTo>
                  <a:pt x="1167" y="388"/>
                </a:lnTo>
                <a:lnTo>
                  <a:pt x="1151" y="388"/>
                </a:lnTo>
                <a:lnTo>
                  <a:pt x="1134" y="389"/>
                </a:lnTo>
                <a:lnTo>
                  <a:pt x="1118" y="389"/>
                </a:lnTo>
                <a:lnTo>
                  <a:pt x="1102" y="390"/>
                </a:lnTo>
                <a:lnTo>
                  <a:pt x="1097" y="390"/>
                </a:lnTo>
                <a:lnTo>
                  <a:pt x="1095" y="391"/>
                </a:lnTo>
                <a:lnTo>
                  <a:pt x="1093" y="395"/>
                </a:lnTo>
                <a:lnTo>
                  <a:pt x="1093" y="398"/>
                </a:lnTo>
                <a:lnTo>
                  <a:pt x="1091" y="402"/>
                </a:lnTo>
                <a:lnTo>
                  <a:pt x="1090" y="404"/>
                </a:lnTo>
                <a:lnTo>
                  <a:pt x="1091" y="407"/>
                </a:lnTo>
                <a:lnTo>
                  <a:pt x="1093" y="410"/>
                </a:lnTo>
                <a:lnTo>
                  <a:pt x="1092" y="412"/>
                </a:lnTo>
                <a:lnTo>
                  <a:pt x="1091" y="413"/>
                </a:lnTo>
                <a:lnTo>
                  <a:pt x="1089" y="413"/>
                </a:lnTo>
                <a:lnTo>
                  <a:pt x="1088" y="413"/>
                </a:lnTo>
                <a:lnTo>
                  <a:pt x="1085" y="412"/>
                </a:lnTo>
                <a:lnTo>
                  <a:pt x="1083" y="412"/>
                </a:lnTo>
                <a:lnTo>
                  <a:pt x="1082" y="413"/>
                </a:lnTo>
                <a:lnTo>
                  <a:pt x="1081" y="414"/>
                </a:lnTo>
                <a:lnTo>
                  <a:pt x="1077" y="416"/>
                </a:lnTo>
                <a:lnTo>
                  <a:pt x="1075" y="416"/>
                </a:lnTo>
                <a:lnTo>
                  <a:pt x="1068" y="414"/>
                </a:lnTo>
                <a:lnTo>
                  <a:pt x="1061" y="416"/>
                </a:lnTo>
                <a:lnTo>
                  <a:pt x="1049" y="418"/>
                </a:lnTo>
                <a:lnTo>
                  <a:pt x="1037" y="419"/>
                </a:lnTo>
                <a:lnTo>
                  <a:pt x="1024" y="420"/>
                </a:lnTo>
                <a:lnTo>
                  <a:pt x="1013" y="420"/>
                </a:lnTo>
                <a:lnTo>
                  <a:pt x="1009" y="420"/>
                </a:lnTo>
                <a:lnTo>
                  <a:pt x="1004" y="420"/>
                </a:lnTo>
                <a:lnTo>
                  <a:pt x="1001" y="420"/>
                </a:lnTo>
                <a:lnTo>
                  <a:pt x="997" y="420"/>
                </a:lnTo>
                <a:lnTo>
                  <a:pt x="995" y="417"/>
                </a:lnTo>
                <a:lnTo>
                  <a:pt x="992" y="416"/>
                </a:lnTo>
                <a:lnTo>
                  <a:pt x="988" y="416"/>
                </a:lnTo>
                <a:lnTo>
                  <a:pt x="986" y="416"/>
                </a:lnTo>
                <a:lnTo>
                  <a:pt x="976" y="414"/>
                </a:lnTo>
                <a:lnTo>
                  <a:pt x="968" y="412"/>
                </a:lnTo>
                <a:lnTo>
                  <a:pt x="960" y="411"/>
                </a:lnTo>
                <a:lnTo>
                  <a:pt x="951" y="411"/>
                </a:lnTo>
                <a:lnTo>
                  <a:pt x="950" y="411"/>
                </a:lnTo>
                <a:lnTo>
                  <a:pt x="948" y="411"/>
                </a:lnTo>
                <a:lnTo>
                  <a:pt x="941" y="407"/>
                </a:lnTo>
                <a:lnTo>
                  <a:pt x="934" y="406"/>
                </a:lnTo>
                <a:lnTo>
                  <a:pt x="926" y="406"/>
                </a:lnTo>
                <a:lnTo>
                  <a:pt x="919" y="405"/>
                </a:lnTo>
                <a:lnTo>
                  <a:pt x="900" y="405"/>
                </a:lnTo>
                <a:lnTo>
                  <a:pt x="882" y="405"/>
                </a:lnTo>
                <a:lnTo>
                  <a:pt x="863" y="406"/>
                </a:lnTo>
                <a:lnTo>
                  <a:pt x="844" y="407"/>
                </a:lnTo>
                <a:lnTo>
                  <a:pt x="807" y="412"/>
                </a:lnTo>
                <a:lnTo>
                  <a:pt x="769" y="418"/>
                </a:lnTo>
                <a:lnTo>
                  <a:pt x="747" y="419"/>
                </a:lnTo>
                <a:lnTo>
                  <a:pt x="725" y="420"/>
                </a:lnTo>
                <a:lnTo>
                  <a:pt x="704" y="419"/>
                </a:lnTo>
                <a:lnTo>
                  <a:pt x="682" y="417"/>
                </a:lnTo>
                <a:lnTo>
                  <a:pt x="671" y="416"/>
                </a:lnTo>
                <a:lnTo>
                  <a:pt x="662" y="416"/>
                </a:lnTo>
                <a:lnTo>
                  <a:pt x="646" y="418"/>
                </a:lnTo>
                <a:lnTo>
                  <a:pt x="629" y="418"/>
                </a:lnTo>
                <a:lnTo>
                  <a:pt x="612" y="419"/>
                </a:lnTo>
                <a:lnTo>
                  <a:pt x="595" y="420"/>
                </a:lnTo>
                <a:lnTo>
                  <a:pt x="586" y="420"/>
                </a:lnTo>
                <a:lnTo>
                  <a:pt x="578" y="420"/>
                </a:lnTo>
                <a:lnTo>
                  <a:pt x="575" y="420"/>
                </a:lnTo>
                <a:lnTo>
                  <a:pt x="574" y="421"/>
                </a:lnTo>
                <a:lnTo>
                  <a:pt x="572" y="421"/>
                </a:lnTo>
                <a:lnTo>
                  <a:pt x="569" y="419"/>
                </a:lnTo>
                <a:lnTo>
                  <a:pt x="569" y="419"/>
                </a:lnTo>
                <a:lnTo>
                  <a:pt x="569" y="418"/>
                </a:lnTo>
                <a:lnTo>
                  <a:pt x="568" y="416"/>
                </a:lnTo>
                <a:lnTo>
                  <a:pt x="567" y="414"/>
                </a:lnTo>
                <a:lnTo>
                  <a:pt x="565" y="414"/>
                </a:lnTo>
                <a:lnTo>
                  <a:pt x="564" y="416"/>
                </a:lnTo>
                <a:lnTo>
                  <a:pt x="559" y="417"/>
                </a:lnTo>
                <a:lnTo>
                  <a:pt x="554" y="419"/>
                </a:lnTo>
                <a:lnTo>
                  <a:pt x="550" y="419"/>
                </a:lnTo>
                <a:lnTo>
                  <a:pt x="545" y="419"/>
                </a:lnTo>
                <a:lnTo>
                  <a:pt x="534" y="418"/>
                </a:lnTo>
                <a:lnTo>
                  <a:pt x="525" y="416"/>
                </a:lnTo>
                <a:lnTo>
                  <a:pt x="520" y="416"/>
                </a:lnTo>
                <a:lnTo>
                  <a:pt x="515" y="416"/>
                </a:lnTo>
                <a:lnTo>
                  <a:pt x="510" y="416"/>
                </a:lnTo>
                <a:lnTo>
                  <a:pt x="505" y="417"/>
                </a:lnTo>
                <a:lnTo>
                  <a:pt x="496" y="420"/>
                </a:lnTo>
                <a:lnTo>
                  <a:pt x="486" y="423"/>
                </a:lnTo>
                <a:lnTo>
                  <a:pt x="486" y="424"/>
                </a:lnTo>
                <a:lnTo>
                  <a:pt x="485" y="425"/>
                </a:lnTo>
                <a:lnTo>
                  <a:pt x="482" y="425"/>
                </a:lnTo>
                <a:lnTo>
                  <a:pt x="478" y="425"/>
                </a:lnTo>
                <a:lnTo>
                  <a:pt x="474" y="425"/>
                </a:lnTo>
                <a:lnTo>
                  <a:pt x="470" y="425"/>
                </a:lnTo>
                <a:lnTo>
                  <a:pt x="462" y="427"/>
                </a:lnTo>
                <a:lnTo>
                  <a:pt x="456" y="432"/>
                </a:lnTo>
                <a:lnTo>
                  <a:pt x="454" y="435"/>
                </a:lnTo>
                <a:lnTo>
                  <a:pt x="455" y="438"/>
                </a:lnTo>
                <a:lnTo>
                  <a:pt x="456" y="441"/>
                </a:lnTo>
                <a:lnTo>
                  <a:pt x="456" y="444"/>
                </a:lnTo>
                <a:lnTo>
                  <a:pt x="456" y="447"/>
                </a:lnTo>
                <a:lnTo>
                  <a:pt x="456" y="451"/>
                </a:lnTo>
                <a:lnTo>
                  <a:pt x="454" y="448"/>
                </a:lnTo>
                <a:lnTo>
                  <a:pt x="450" y="448"/>
                </a:lnTo>
                <a:lnTo>
                  <a:pt x="448" y="449"/>
                </a:lnTo>
                <a:lnTo>
                  <a:pt x="444" y="449"/>
                </a:lnTo>
                <a:lnTo>
                  <a:pt x="443" y="451"/>
                </a:lnTo>
                <a:lnTo>
                  <a:pt x="442" y="453"/>
                </a:lnTo>
                <a:lnTo>
                  <a:pt x="442" y="454"/>
                </a:lnTo>
                <a:lnTo>
                  <a:pt x="443" y="456"/>
                </a:lnTo>
                <a:lnTo>
                  <a:pt x="444" y="459"/>
                </a:lnTo>
                <a:lnTo>
                  <a:pt x="446" y="460"/>
                </a:lnTo>
                <a:lnTo>
                  <a:pt x="448" y="461"/>
                </a:lnTo>
                <a:lnTo>
                  <a:pt x="451" y="461"/>
                </a:lnTo>
                <a:lnTo>
                  <a:pt x="461" y="460"/>
                </a:lnTo>
                <a:lnTo>
                  <a:pt x="471" y="459"/>
                </a:lnTo>
                <a:lnTo>
                  <a:pt x="477" y="459"/>
                </a:lnTo>
                <a:lnTo>
                  <a:pt x="482" y="459"/>
                </a:lnTo>
                <a:lnTo>
                  <a:pt x="488" y="456"/>
                </a:lnTo>
                <a:lnTo>
                  <a:pt x="492" y="453"/>
                </a:lnTo>
                <a:lnTo>
                  <a:pt x="493" y="453"/>
                </a:lnTo>
                <a:lnTo>
                  <a:pt x="495" y="453"/>
                </a:lnTo>
                <a:lnTo>
                  <a:pt x="499" y="453"/>
                </a:lnTo>
                <a:lnTo>
                  <a:pt x="503" y="453"/>
                </a:lnTo>
                <a:lnTo>
                  <a:pt x="506" y="453"/>
                </a:lnTo>
                <a:lnTo>
                  <a:pt x="510" y="451"/>
                </a:lnTo>
                <a:lnTo>
                  <a:pt x="511" y="451"/>
                </a:lnTo>
                <a:lnTo>
                  <a:pt x="511" y="451"/>
                </a:lnTo>
                <a:lnTo>
                  <a:pt x="512" y="451"/>
                </a:lnTo>
                <a:lnTo>
                  <a:pt x="512" y="451"/>
                </a:lnTo>
                <a:lnTo>
                  <a:pt x="513" y="451"/>
                </a:lnTo>
                <a:lnTo>
                  <a:pt x="516" y="453"/>
                </a:lnTo>
                <a:lnTo>
                  <a:pt x="518" y="454"/>
                </a:lnTo>
                <a:lnTo>
                  <a:pt x="520" y="454"/>
                </a:lnTo>
                <a:lnTo>
                  <a:pt x="523" y="453"/>
                </a:lnTo>
                <a:lnTo>
                  <a:pt x="529" y="453"/>
                </a:lnTo>
                <a:lnTo>
                  <a:pt x="533" y="452"/>
                </a:lnTo>
                <a:lnTo>
                  <a:pt x="539" y="453"/>
                </a:lnTo>
                <a:lnTo>
                  <a:pt x="544" y="453"/>
                </a:lnTo>
                <a:lnTo>
                  <a:pt x="548" y="454"/>
                </a:lnTo>
                <a:lnTo>
                  <a:pt x="553" y="453"/>
                </a:lnTo>
                <a:lnTo>
                  <a:pt x="557" y="453"/>
                </a:lnTo>
                <a:lnTo>
                  <a:pt x="560" y="453"/>
                </a:lnTo>
                <a:lnTo>
                  <a:pt x="571" y="455"/>
                </a:lnTo>
                <a:lnTo>
                  <a:pt x="580" y="459"/>
                </a:lnTo>
                <a:lnTo>
                  <a:pt x="587" y="459"/>
                </a:lnTo>
                <a:lnTo>
                  <a:pt x="594" y="460"/>
                </a:lnTo>
                <a:lnTo>
                  <a:pt x="599" y="465"/>
                </a:lnTo>
                <a:lnTo>
                  <a:pt x="605" y="468"/>
                </a:lnTo>
                <a:lnTo>
                  <a:pt x="612" y="470"/>
                </a:lnTo>
                <a:lnTo>
                  <a:pt x="619" y="472"/>
                </a:lnTo>
                <a:lnTo>
                  <a:pt x="624" y="473"/>
                </a:lnTo>
                <a:lnTo>
                  <a:pt x="630" y="474"/>
                </a:lnTo>
                <a:lnTo>
                  <a:pt x="634" y="474"/>
                </a:lnTo>
                <a:lnTo>
                  <a:pt x="637" y="473"/>
                </a:lnTo>
                <a:lnTo>
                  <a:pt x="640" y="472"/>
                </a:lnTo>
                <a:lnTo>
                  <a:pt x="643" y="468"/>
                </a:lnTo>
                <a:lnTo>
                  <a:pt x="643" y="468"/>
                </a:lnTo>
                <a:lnTo>
                  <a:pt x="643" y="468"/>
                </a:lnTo>
                <a:lnTo>
                  <a:pt x="646" y="468"/>
                </a:lnTo>
                <a:lnTo>
                  <a:pt x="647" y="468"/>
                </a:lnTo>
                <a:lnTo>
                  <a:pt x="661" y="466"/>
                </a:lnTo>
                <a:lnTo>
                  <a:pt x="674" y="466"/>
                </a:lnTo>
                <a:lnTo>
                  <a:pt x="686" y="468"/>
                </a:lnTo>
                <a:lnTo>
                  <a:pt x="700" y="470"/>
                </a:lnTo>
                <a:lnTo>
                  <a:pt x="722" y="475"/>
                </a:lnTo>
                <a:lnTo>
                  <a:pt x="743" y="481"/>
                </a:lnTo>
                <a:lnTo>
                  <a:pt x="764" y="486"/>
                </a:lnTo>
                <a:lnTo>
                  <a:pt x="785" y="491"/>
                </a:lnTo>
                <a:lnTo>
                  <a:pt x="792" y="493"/>
                </a:lnTo>
                <a:lnTo>
                  <a:pt x="798" y="495"/>
                </a:lnTo>
                <a:lnTo>
                  <a:pt x="805" y="497"/>
                </a:lnTo>
                <a:lnTo>
                  <a:pt x="812" y="497"/>
                </a:lnTo>
                <a:lnTo>
                  <a:pt x="831" y="501"/>
                </a:lnTo>
                <a:lnTo>
                  <a:pt x="851" y="504"/>
                </a:lnTo>
                <a:lnTo>
                  <a:pt x="871" y="507"/>
                </a:lnTo>
                <a:lnTo>
                  <a:pt x="891" y="509"/>
                </a:lnTo>
                <a:lnTo>
                  <a:pt x="907" y="511"/>
                </a:lnTo>
                <a:lnTo>
                  <a:pt x="925" y="514"/>
                </a:lnTo>
                <a:lnTo>
                  <a:pt x="941" y="514"/>
                </a:lnTo>
                <a:lnTo>
                  <a:pt x="958" y="512"/>
                </a:lnTo>
                <a:lnTo>
                  <a:pt x="985" y="510"/>
                </a:lnTo>
                <a:lnTo>
                  <a:pt x="1010" y="508"/>
                </a:lnTo>
                <a:lnTo>
                  <a:pt x="1037" y="507"/>
                </a:lnTo>
                <a:lnTo>
                  <a:pt x="1064" y="505"/>
                </a:lnTo>
                <a:lnTo>
                  <a:pt x="1078" y="504"/>
                </a:lnTo>
                <a:lnTo>
                  <a:pt x="1092" y="502"/>
                </a:lnTo>
                <a:lnTo>
                  <a:pt x="1090" y="500"/>
                </a:lnTo>
                <a:lnTo>
                  <a:pt x="1089" y="497"/>
                </a:lnTo>
                <a:lnTo>
                  <a:pt x="1090" y="500"/>
                </a:lnTo>
                <a:lnTo>
                  <a:pt x="1092" y="502"/>
                </a:lnTo>
                <a:lnTo>
                  <a:pt x="1096" y="505"/>
                </a:lnTo>
                <a:lnTo>
                  <a:pt x="1099" y="508"/>
                </a:lnTo>
                <a:lnTo>
                  <a:pt x="1103" y="509"/>
                </a:lnTo>
                <a:lnTo>
                  <a:pt x="1107" y="509"/>
                </a:lnTo>
                <a:lnTo>
                  <a:pt x="1119" y="508"/>
                </a:lnTo>
                <a:lnTo>
                  <a:pt x="1131" y="508"/>
                </a:lnTo>
                <a:lnTo>
                  <a:pt x="1142" y="507"/>
                </a:lnTo>
                <a:lnTo>
                  <a:pt x="1154" y="504"/>
                </a:lnTo>
                <a:lnTo>
                  <a:pt x="1162" y="505"/>
                </a:lnTo>
                <a:lnTo>
                  <a:pt x="1172" y="508"/>
                </a:lnTo>
                <a:lnTo>
                  <a:pt x="1185" y="509"/>
                </a:lnTo>
                <a:lnTo>
                  <a:pt x="1197" y="510"/>
                </a:lnTo>
                <a:lnTo>
                  <a:pt x="1201" y="511"/>
                </a:lnTo>
                <a:lnTo>
                  <a:pt x="1206" y="511"/>
                </a:lnTo>
                <a:lnTo>
                  <a:pt x="1209" y="510"/>
                </a:lnTo>
                <a:lnTo>
                  <a:pt x="1213" y="507"/>
                </a:lnTo>
                <a:lnTo>
                  <a:pt x="1215" y="511"/>
                </a:lnTo>
                <a:lnTo>
                  <a:pt x="1216" y="515"/>
                </a:lnTo>
                <a:lnTo>
                  <a:pt x="1216" y="518"/>
                </a:lnTo>
                <a:lnTo>
                  <a:pt x="1215" y="522"/>
                </a:lnTo>
                <a:lnTo>
                  <a:pt x="1213" y="524"/>
                </a:lnTo>
                <a:lnTo>
                  <a:pt x="1210" y="528"/>
                </a:lnTo>
                <a:lnTo>
                  <a:pt x="1202" y="528"/>
                </a:lnTo>
                <a:lnTo>
                  <a:pt x="1194" y="529"/>
                </a:lnTo>
                <a:lnTo>
                  <a:pt x="1187" y="531"/>
                </a:lnTo>
                <a:lnTo>
                  <a:pt x="1180" y="537"/>
                </a:lnTo>
                <a:lnTo>
                  <a:pt x="1171" y="540"/>
                </a:lnTo>
                <a:lnTo>
                  <a:pt x="1161" y="544"/>
                </a:lnTo>
                <a:lnTo>
                  <a:pt x="1152" y="547"/>
                </a:lnTo>
                <a:lnTo>
                  <a:pt x="1144" y="552"/>
                </a:lnTo>
                <a:lnTo>
                  <a:pt x="1128" y="564"/>
                </a:lnTo>
                <a:lnTo>
                  <a:pt x="1113" y="577"/>
                </a:lnTo>
                <a:lnTo>
                  <a:pt x="1110" y="580"/>
                </a:lnTo>
                <a:lnTo>
                  <a:pt x="1106" y="584"/>
                </a:lnTo>
                <a:lnTo>
                  <a:pt x="1104" y="587"/>
                </a:lnTo>
                <a:lnTo>
                  <a:pt x="1103" y="592"/>
                </a:lnTo>
                <a:lnTo>
                  <a:pt x="1099" y="591"/>
                </a:lnTo>
                <a:lnTo>
                  <a:pt x="1097" y="591"/>
                </a:lnTo>
                <a:lnTo>
                  <a:pt x="1095" y="592"/>
                </a:lnTo>
                <a:lnTo>
                  <a:pt x="1092" y="594"/>
                </a:lnTo>
                <a:lnTo>
                  <a:pt x="1089" y="602"/>
                </a:lnTo>
                <a:lnTo>
                  <a:pt x="1084" y="613"/>
                </a:lnTo>
                <a:lnTo>
                  <a:pt x="1084" y="609"/>
                </a:lnTo>
                <a:lnTo>
                  <a:pt x="1084" y="606"/>
                </a:lnTo>
                <a:lnTo>
                  <a:pt x="1084" y="602"/>
                </a:lnTo>
                <a:lnTo>
                  <a:pt x="1082" y="600"/>
                </a:lnTo>
                <a:lnTo>
                  <a:pt x="1079" y="600"/>
                </a:lnTo>
                <a:lnTo>
                  <a:pt x="1077" y="603"/>
                </a:lnTo>
                <a:lnTo>
                  <a:pt x="1070" y="612"/>
                </a:lnTo>
                <a:lnTo>
                  <a:pt x="1063" y="621"/>
                </a:lnTo>
                <a:lnTo>
                  <a:pt x="1047" y="631"/>
                </a:lnTo>
                <a:lnTo>
                  <a:pt x="1031" y="643"/>
                </a:lnTo>
                <a:lnTo>
                  <a:pt x="1016" y="654"/>
                </a:lnTo>
                <a:lnTo>
                  <a:pt x="1001" y="665"/>
                </a:lnTo>
                <a:lnTo>
                  <a:pt x="994" y="671"/>
                </a:lnTo>
                <a:lnTo>
                  <a:pt x="988" y="677"/>
                </a:lnTo>
                <a:lnTo>
                  <a:pt x="986" y="682"/>
                </a:lnTo>
                <a:lnTo>
                  <a:pt x="983" y="685"/>
                </a:lnTo>
                <a:lnTo>
                  <a:pt x="982" y="690"/>
                </a:lnTo>
                <a:lnTo>
                  <a:pt x="981" y="693"/>
                </a:lnTo>
                <a:lnTo>
                  <a:pt x="980" y="699"/>
                </a:lnTo>
                <a:lnTo>
                  <a:pt x="978" y="704"/>
                </a:lnTo>
                <a:lnTo>
                  <a:pt x="974" y="705"/>
                </a:lnTo>
                <a:lnTo>
                  <a:pt x="969" y="706"/>
                </a:lnTo>
                <a:lnTo>
                  <a:pt x="966" y="706"/>
                </a:lnTo>
                <a:lnTo>
                  <a:pt x="961" y="707"/>
                </a:lnTo>
                <a:lnTo>
                  <a:pt x="958" y="707"/>
                </a:lnTo>
                <a:lnTo>
                  <a:pt x="955" y="708"/>
                </a:lnTo>
                <a:lnTo>
                  <a:pt x="953" y="710"/>
                </a:lnTo>
                <a:lnTo>
                  <a:pt x="951" y="713"/>
                </a:lnTo>
                <a:lnTo>
                  <a:pt x="948" y="714"/>
                </a:lnTo>
                <a:lnTo>
                  <a:pt x="946" y="717"/>
                </a:lnTo>
                <a:lnTo>
                  <a:pt x="946" y="719"/>
                </a:lnTo>
                <a:lnTo>
                  <a:pt x="947" y="721"/>
                </a:lnTo>
                <a:lnTo>
                  <a:pt x="950" y="722"/>
                </a:lnTo>
                <a:lnTo>
                  <a:pt x="952" y="722"/>
                </a:lnTo>
                <a:lnTo>
                  <a:pt x="954" y="721"/>
                </a:lnTo>
                <a:lnTo>
                  <a:pt x="957" y="720"/>
                </a:lnTo>
                <a:lnTo>
                  <a:pt x="958" y="719"/>
                </a:lnTo>
                <a:lnTo>
                  <a:pt x="960" y="719"/>
                </a:lnTo>
                <a:lnTo>
                  <a:pt x="960" y="720"/>
                </a:lnTo>
                <a:lnTo>
                  <a:pt x="961" y="722"/>
                </a:lnTo>
                <a:lnTo>
                  <a:pt x="955" y="724"/>
                </a:lnTo>
                <a:lnTo>
                  <a:pt x="950" y="728"/>
                </a:lnTo>
                <a:lnTo>
                  <a:pt x="948" y="728"/>
                </a:lnTo>
                <a:lnTo>
                  <a:pt x="948" y="728"/>
                </a:lnTo>
                <a:lnTo>
                  <a:pt x="948" y="728"/>
                </a:lnTo>
                <a:lnTo>
                  <a:pt x="947" y="732"/>
                </a:lnTo>
                <a:lnTo>
                  <a:pt x="946" y="736"/>
                </a:lnTo>
                <a:lnTo>
                  <a:pt x="946" y="736"/>
                </a:lnTo>
                <a:lnTo>
                  <a:pt x="943" y="736"/>
                </a:lnTo>
                <a:lnTo>
                  <a:pt x="941" y="738"/>
                </a:lnTo>
                <a:lnTo>
                  <a:pt x="940" y="740"/>
                </a:lnTo>
                <a:lnTo>
                  <a:pt x="938" y="742"/>
                </a:lnTo>
                <a:lnTo>
                  <a:pt x="938" y="745"/>
                </a:lnTo>
                <a:lnTo>
                  <a:pt x="936" y="747"/>
                </a:lnTo>
                <a:lnTo>
                  <a:pt x="934" y="745"/>
                </a:lnTo>
                <a:lnTo>
                  <a:pt x="932" y="742"/>
                </a:lnTo>
                <a:lnTo>
                  <a:pt x="930" y="749"/>
                </a:lnTo>
                <a:lnTo>
                  <a:pt x="928" y="756"/>
                </a:lnTo>
                <a:lnTo>
                  <a:pt x="926" y="753"/>
                </a:lnTo>
                <a:lnTo>
                  <a:pt x="926" y="748"/>
                </a:lnTo>
                <a:lnTo>
                  <a:pt x="925" y="743"/>
                </a:lnTo>
                <a:lnTo>
                  <a:pt x="926" y="739"/>
                </a:lnTo>
                <a:lnTo>
                  <a:pt x="927" y="738"/>
                </a:lnTo>
                <a:lnTo>
                  <a:pt x="927" y="735"/>
                </a:lnTo>
                <a:lnTo>
                  <a:pt x="926" y="734"/>
                </a:lnTo>
                <a:lnTo>
                  <a:pt x="924" y="733"/>
                </a:lnTo>
                <a:lnTo>
                  <a:pt x="914" y="734"/>
                </a:lnTo>
                <a:lnTo>
                  <a:pt x="905" y="736"/>
                </a:lnTo>
                <a:lnTo>
                  <a:pt x="902" y="738"/>
                </a:lnTo>
                <a:lnTo>
                  <a:pt x="897" y="740"/>
                </a:lnTo>
                <a:lnTo>
                  <a:pt x="893" y="742"/>
                </a:lnTo>
                <a:lnTo>
                  <a:pt x="890" y="747"/>
                </a:lnTo>
                <a:lnTo>
                  <a:pt x="886" y="750"/>
                </a:lnTo>
                <a:lnTo>
                  <a:pt x="883" y="753"/>
                </a:lnTo>
                <a:lnTo>
                  <a:pt x="878" y="754"/>
                </a:lnTo>
                <a:lnTo>
                  <a:pt x="872" y="754"/>
                </a:lnTo>
                <a:lnTo>
                  <a:pt x="868" y="754"/>
                </a:lnTo>
                <a:lnTo>
                  <a:pt x="863" y="754"/>
                </a:lnTo>
                <a:lnTo>
                  <a:pt x="858" y="755"/>
                </a:lnTo>
                <a:lnTo>
                  <a:pt x="855" y="757"/>
                </a:lnTo>
                <a:lnTo>
                  <a:pt x="847" y="762"/>
                </a:lnTo>
                <a:lnTo>
                  <a:pt x="840" y="766"/>
                </a:lnTo>
                <a:lnTo>
                  <a:pt x="831" y="768"/>
                </a:lnTo>
                <a:lnTo>
                  <a:pt x="823" y="770"/>
                </a:lnTo>
                <a:lnTo>
                  <a:pt x="820" y="770"/>
                </a:lnTo>
                <a:lnTo>
                  <a:pt x="817" y="771"/>
                </a:lnTo>
                <a:lnTo>
                  <a:pt x="815" y="771"/>
                </a:lnTo>
                <a:lnTo>
                  <a:pt x="814" y="771"/>
                </a:lnTo>
                <a:lnTo>
                  <a:pt x="812" y="773"/>
                </a:lnTo>
                <a:lnTo>
                  <a:pt x="810" y="775"/>
                </a:lnTo>
                <a:lnTo>
                  <a:pt x="810" y="775"/>
                </a:lnTo>
                <a:lnTo>
                  <a:pt x="809" y="775"/>
                </a:lnTo>
                <a:lnTo>
                  <a:pt x="807" y="777"/>
                </a:lnTo>
                <a:lnTo>
                  <a:pt x="805" y="780"/>
                </a:lnTo>
                <a:lnTo>
                  <a:pt x="807" y="782"/>
                </a:lnTo>
                <a:lnTo>
                  <a:pt x="809" y="782"/>
                </a:lnTo>
                <a:lnTo>
                  <a:pt x="812" y="783"/>
                </a:lnTo>
                <a:lnTo>
                  <a:pt x="814" y="783"/>
                </a:lnTo>
                <a:lnTo>
                  <a:pt x="814" y="783"/>
                </a:lnTo>
                <a:lnTo>
                  <a:pt x="814" y="783"/>
                </a:lnTo>
                <a:lnTo>
                  <a:pt x="820" y="788"/>
                </a:lnTo>
                <a:lnTo>
                  <a:pt x="826" y="791"/>
                </a:lnTo>
                <a:lnTo>
                  <a:pt x="831" y="795"/>
                </a:lnTo>
                <a:lnTo>
                  <a:pt x="838" y="796"/>
                </a:lnTo>
                <a:lnTo>
                  <a:pt x="838" y="796"/>
                </a:lnTo>
                <a:lnTo>
                  <a:pt x="838" y="796"/>
                </a:lnTo>
                <a:lnTo>
                  <a:pt x="842" y="801"/>
                </a:lnTo>
                <a:lnTo>
                  <a:pt x="848" y="803"/>
                </a:lnTo>
                <a:lnTo>
                  <a:pt x="852" y="806"/>
                </a:lnTo>
                <a:lnTo>
                  <a:pt x="857" y="808"/>
                </a:lnTo>
                <a:lnTo>
                  <a:pt x="858" y="808"/>
                </a:lnTo>
                <a:lnTo>
                  <a:pt x="859" y="810"/>
                </a:lnTo>
                <a:lnTo>
                  <a:pt x="863" y="811"/>
                </a:lnTo>
                <a:lnTo>
                  <a:pt x="869" y="816"/>
                </a:lnTo>
                <a:lnTo>
                  <a:pt x="875" y="820"/>
                </a:lnTo>
                <a:lnTo>
                  <a:pt x="879" y="826"/>
                </a:lnTo>
                <a:lnTo>
                  <a:pt x="883" y="833"/>
                </a:lnTo>
                <a:lnTo>
                  <a:pt x="885" y="846"/>
                </a:lnTo>
                <a:lnTo>
                  <a:pt x="885" y="858"/>
                </a:lnTo>
                <a:lnTo>
                  <a:pt x="884" y="871"/>
                </a:lnTo>
                <a:lnTo>
                  <a:pt x="881" y="882"/>
                </a:lnTo>
                <a:lnTo>
                  <a:pt x="879" y="885"/>
                </a:lnTo>
                <a:lnTo>
                  <a:pt x="878" y="885"/>
                </a:lnTo>
                <a:lnTo>
                  <a:pt x="877" y="885"/>
                </a:lnTo>
                <a:lnTo>
                  <a:pt x="875" y="885"/>
                </a:lnTo>
                <a:lnTo>
                  <a:pt x="872" y="883"/>
                </a:lnTo>
                <a:lnTo>
                  <a:pt x="870" y="882"/>
                </a:lnTo>
                <a:lnTo>
                  <a:pt x="869" y="879"/>
                </a:lnTo>
                <a:lnTo>
                  <a:pt x="868" y="876"/>
                </a:lnTo>
                <a:lnTo>
                  <a:pt x="865" y="874"/>
                </a:lnTo>
                <a:lnTo>
                  <a:pt x="863" y="873"/>
                </a:lnTo>
                <a:lnTo>
                  <a:pt x="859" y="869"/>
                </a:lnTo>
                <a:lnTo>
                  <a:pt x="858" y="866"/>
                </a:lnTo>
                <a:lnTo>
                  <a:pt x="859" y="864"/>
                </a:lnTo>
                <a:lnTo>
                  <a:pt x="863" y="860"/>
                </a:lnTo>
                <a:lnTo>
                  <a:pt x="859" y="859"/>
                </a:lnTo>
                <a:lnTo>
                  <a:pt x="858" y="858"/>
                </a:lnTo>
                <a:lnTo>
                  <a:pt x="854" y="855"/>
                </a:lnTo>
                <a:lnTo>
                  <a:pt x="850" y="853"/>
                </a:lnTo>
                <a:lnTo>
                  <a:pt x="848" y="850"/>
                </a:lnTo>
                <a:lnTo>
                  <a:pt x="848" y="845"/>
                </a:lnTo>
                <a:lnTo>
                  <a:pt x="847" y="838"/>
                </a:lnTo>
                <a:lnTo>
                  <a:pt x="843" y="831"/>
                </a:lnTo>
                <a:lnTo>
                  <a:pt x="841" y="827"/>
                </a:lnTo>
                <a:lnTo>
                  <a:pt x="840" y="823"/>
                </a:lnTo>
                <a:lnTo>
                  <a:pt x="838" y="818"/>
                </a:lnTo>
                <a:lnTo>
                  <a:pt x="838" y="812"/>
                </a:lnTo>
                <a:lnTo>
                  <a:pt x="841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2"/>
                </a:lnTo>
                <a:lnTo>
                  <a:pt x="843" y="810"/>
                </a:lnTo>
                <a:lnTo>
                  <a:pt x="843" y="808"/>
                </a:lnTo>
                <a:lnTo>
                  <a:pt x="842" y="806"/>
                </a:lnTo>
                <a:lnTo>
                  <a:pt x="840" y="805"/>
                </a:lnTo>
                <a:lnTo>
                  <a:pt x="833" y="804"/>
                </a:lnTo>
                <a:lnTo>
                  <a:pt x="826" y="801"/>
                </a:lnTo>
                <a:lnTo>
                  <a:pt x="819" y="797"/>
                </a:lnTo>
                <a:lnTo>
                  <a:pt x="813" y="794"/>
                </a:lnTo>
                <a:lnTo>
                  <a:pt x="810" y="792"/>
                </a:lnTo>
                <a:lnTo>
                  <a:pt x="809" y="794"/>
                </a:lnTo>
                <a:lnTo>
                  <a:pt x="808" y="796"/>
                </a:lnTo>
                <a:lnTo>
                  <a:pt x="807" y="796"/>
                </a:lnTo>
                <a:lnTo>
                  <a:pt x="806" y="795"/>
                </a:lnTo>
                <a:lnTo>
                  <a:pt x="805" y="794"/>
                </a:lnTo>
                <a:lnTo>
                  <a:pt x="803" y="791"/>
                </a:lnTo>
                <a:lnTo>
                  <a:pt x="802" y="790"/>
                </a:lnTo>
                <a:lnTo>
                  <a:pt x="793" y="785"/>
                </a:lnTo>
                <a:lnTo>
                  <a:pt x="782" y="780"/>
                </a:lnTo>
                <a:lnTo>
                  <a:pt x="776" y="776"/>
                </a:lnTo>
                <a:lnTo>
                  <a:pt x="771" y="770"/>
                </a:lnTo>
                <a:lnTo>
                  <a:pt x="767" y="767"/>
                </a:lnTo>
                <a:lnTo>
                  <a:pt x="764" y="763"/>
                </a:lnTo>
                <a:lnTo>
                  <a:pt x="761" y="762"/>
                </a:lnTo>
                <a:lnTo>
                  <a:pt x="759" y="762"/>
                </a:lnTo>
                <a:lnTo>
                  <a:pt x="757" y="764"/>
                </a:lnTo>
                <a:lnTo>
                  <a:pt x="753" y="767"/>
                </a:lnTo>
                <a:lnTo>
                  <a:pt x="751" y="768"/>
                </a:lnTo>
                <a:lnTo>
                  <a:pt x="748" y="767"/>
                </a:lnTo>
                <a:lnTo>
                  <a:pt x="745" y="763"/>
                </a:lnTo>
                <a:lnTo>
                  <a:pt x="741" y="760"/>
                </a:lnTo>
                <a:lnTo>
                  <a:pt x="737" y="755"/>
                </a:lnTo>
                <a:lnTo>
                  <a:pt x="732" y="752"/>
                </a:lnTo>
                <a:lnTo>
                  <a:pt x="727" y="748"/>
                </a:lnTo>
                <a:lnTo>
                  <a:pt x="723" y="746"/>
                </a:lnTo>
                <a:lnTo>
                  <a:pt x="714" y="745"/>
                </a:lnTo>
                <a:lnTo>
                  <a:pt x="707" y="745"/>
                </a:lnTo>
                <a:lnTo>
                  <a:pt x="700" y="745"/>
                </a:lnTo>
                <a:lnTo>
                  <a:pt x="693" y="746"/>
                </a:lnTo>
                <a:lnTo>
                  <a:pt x="686" y="748"/>
                </a:lnTo>
                <a:lnTo>
                  <a:pt x="681" y="752"/>
                </a:lnTo>
                <a:lnTo>
                  <a:pt x="675" y="755"/>
                </a:lnTo>
                <a:lnTo>
                  <a:pt x="669" y="761"/>
                </a:lnTo>
                <a:lnTo>
                  <a:pt x="663" y="764"/>
                </a:lnTo>
                <a:lnTo>
                  <a:pt x="658" y="767"/>
                </a:lnTo>
                <a:lnTo>
                  <a:pt x="654" y="767"/>
                </a:lnTo>
                <a:lnTo>
                  <a:pt x="650" y="768"/>
                </a:lnTo>
                <a:lnTo>
                  <a:pt x="646" y="769"/>
                </a:lnTo>
                <a:lnTo>
                  <a:pt x="643" y="771"/>
                </a:lnTo>
                <a:lnTo>
                  <a:pt x="636" y="776"/>
                </a:lnTo>
                <a:lnTo>
                  <a:pt x="630" y="782"/>
                </a:lnTo>
                <a:lnTo>
                  <a:pt x="627" y="785"/>
                </a:lnTo>
                <a:lnTo>
                  <a:pt x="621" y="787"/>
                </a:lnTo>
                <a:lnTo>
                  <a:pt x="615" y="788"/>
                </a:lnTo>
                <a:lnTo>
                  <a:pt x="609" y="790"/>
                </a:lnTo>
                <a:lnTo>
                  <a:pt x="605" y="794"/>
                </a:lnTo>
                <a:lnTo>
                  <a:pt x="601" y="799"/>
                </a:lnTo>
                <a:lnTo>
                  <a:pt x="598" y="803"/>
                </a:lnTo>
                <a:lnTo>
                  <a:pt x="594" y="808"/>
                </a:lnTo>
                <a:lnTo>
                  <a:pt x="591" y="811"/>
                </a:lnTo>
                <a:lnTo>
                  <a:pt x="588" y="816"/>
                </a:lnTo>
                <a:lnTo>
                  <a:pt x="588" y="818"/>
                </a:lnTo>
                <a:lnTo>
                  <a:pt x="588" y="820"/>
                </a:lnTo>
                <a:lnTo>
                  <a:pt x="588" y="823"/>
                </a:lnTo>
                <a:lnTo>
                  <a:pt x="591" y="825"/>
                </a:lnTo>
                <a:lnTo>
                  <a:pt x="592" y="829"/>
                </a:lnTo>
                <a:lnTo>
                  <a:pt x="591" y="833"/>
                </a:lnTo>
                <a:lnTo>
                  <a:pt x="588" y="839"/>
                </a:lnTo>
                <a:lnTo>
                  <a:pt x="585" y="844"/>
                </a:lnTo>
                <a:lnTo>
                  <a:pt x="581" y="848"/>
                </a:lnTo>
                <a:lnTo>
                  <a:pt x="577" y="853"/>
                </a:lnTo>
                <a:lnTo>
                  <a:pt x="577" y="852"/>
                </a:lnTo>
                <a:lnTo>
                  <a:pt x="577" y="851"/>
                </a:lnTo>
                <a:lnTo>
                  <a:pt x="577" y="850"/>
                </a:lnTo>
                <a:lnTo>
                  <a:pt x="577" y="848"/>
                </a:lnTo>
                <a:lnTo>
                  <a:pt x="577" y="847"/>
                </a:lnTo>
                <a:lnTo>
                  <a:pt x="574" y="846"/>
                </a:lnTo>
                <a:lnTo>
                  <a:pt x="574" y="846"/>
                </a:lnTo>
                <a:lnTo>
                  <a:pt x="574" y="845"/>
                </a:lnTo>
                <a:lnTo>
                  <a:pt x="575" y="844"/>
                </a:lnTo>
                <a:lnTo>
                  <a:pt x="577" y="843"/>
                </a:lnTo>
                <a:lnTo>
                  <a:pt x="578" y="840"/>
                </a:lnTo>
                <a:lnTo>
                  <a:pt x="578" y="839"/>
                </a:lnTo>
                <a:lnTo>
                  <a:pt x="578" y="838"/>
                </a:lnTo>
                <a:lnTo>
                  <a:pt x="578" y="826"/>
                </a:lnTo>
                <a:lnTo>
                  <a:pt x="579" y="816"/>
                </a:lnTo>
                <a:lnTo>
                  <a:pt x="581" y="816"/>
                </a:lnTo>
                <a:lnTo>
                  <a:pt x="582" y="815"/>
                </a:lnTo>
                <a:close/>
                <a:moveTo>
                  <a:pt x="1519" y="1322"/>
                </a:moveTo>
                <a:lnTo>
                  <a:pt x="1520" y="1322"/>
                </a:lnTo>
                <a:lnTo>
                  <a:pt x="1520" y="1322"/>
                </a:lnTo>
                <a:lnTo>
                  <a:pt x="1520" y="1322"/>
                </a:lnTo>
                <a:lnTo>
                  <a:pt x="1519" y="1322"/>
                </a:lnTo>
                <a:close/>
                <a:moveTo>
                  <a:pt x="1520" y="1323"/>
                </a:moveTo>
                <a:lnTo>
                  <a:pt x="1523" y="1322"/>
                </a:lnTo>
                <a:lnTo>
                  <a:pt x="1524" y="1320"/>
                </a:lnTo>
                <a:lnTo>
                  <a:pt x="1525" y="1319"/>
                </a:lnTo>
                <a:lnTo>
                  <a:pt x="1527" y="1318"/>
                </a:lnTo>
                <a:lnTo>
                  <a:pt x="1528" y="1315"/>
                </a:lnTo>
                <a:lnTo>
                  <a:pt x="1530" y="1312"/>
                </a:lnTo>
                <a:lnTo>
                  <a:pt x="1526" y="1313"/>
                </a:lnTo>
                <a:lnTo>
                  <a:pt x="1525" y="1314"/>
                </a:lnTo>
                <a:lnTo>
                  <a:pt x="1523" y="1316"/>
                </a:lnTo>
                <a:lnTo>
                  <a:pt x="1523" y="1319"/>
                </a:lnTo>
                <a:lnTo>
                  <a:pt x="1523" y="1319"/>
                </a:lnTo>
                <a:lnTo>
                  <a:pt x="1520" y="1320"/>
                </a:lnTo>
                <a:lnTo>
                  <a:pt x="1519" y="1322"/>
                </a:lnTo>
                <a:lnTo>
                  <a:pt x="1519" y="1323"/>
                </a:lnTo>
                <a:lnTo>
                  <a:pt x="1519" y="1323"/>
                </a:lnTo>
                <a:lnTo>
                  <a:pt x="1518" y="1327"/>
                </a:lnTo>
                <a:lnTo>
                  <a:pt x="1516" y="1330"/>
                </a:lnTo>
                <a:lnTo>
                  <a:pt x="1516" y="1332"/>
                </a:lnTo>
                <a:lnTo>
                  <a:pt x="1516" y="1333"/>
                </a:lnTo>
                <a:lnTo>
                  <a:pt x="1517" y="1334"/>
                </a:lnTo>
                <a:lnTo>
                  <a:pt x="1518" y="1333"/>
                </a:lnTo>
                <a:lnTo>
                  <a:pt x="1520" y="1329"/>
                </a:lnTo>
                <a:lnTo>
                  <a:pt x="1520" y="1323"/>
                </a:lnTo>
                <a:close/>
                <a:moveTo>
                  <a:pt x="1513" y="1349"/>
                </a:moveTo>
                <a:lnTo>
                  <a:pt x="1512" y="1350"/>
                </a:lnTo>
                <a:lnTo>
                  <a:pt x="1512" y="1351"/>
                </a:lnTo>
                <a:lnTo>
                  <a:pt x="1512" y="1353"/>
                </a:lnTo>
                <a:lnTo>
                  <a:pt x="1513" y="1353"/>
                </a:lnTo>
                <a:lnTo>
                  <a:pt x="1514" y="1353"/>
                </a:lnTo>
                <a:lnTo>
                  <a:pt x="1514" y="1351"/>
                </a:lnTo>
                <a:lnTo>
                  <a:pt x="1514" y="1350"/>
                </a:lnTo>
                <a:lnTo>
                  <a:pt x="1513" y="1349"/>
                </a:lnTo>
                <a:close/>
                <a:moveTo>
                  <a:pt x="1505" y="1353"/>
                </a:moveTo>
                <a:lnTo>
                  <a:pt x="1505" y="1351"/>
                </a:lnTo>
                <a:lnTo>
                  <a:pt x="1505" y="1351"/>
                </a:lnTo>
                <a:lnTo>
                  <a:pt x="1506" y="1351"/>
                </a:lnTo>
                <a:lnTo>
                  <a:pt x="1506" y="1351"/>
                </a:lnTo>
                <a:lnTo>
                  <a:pt x="1510" y="1349"/>
                </a:lnTo>
                <a:lnTo>
                  <a:pt x="1510" y="1347"/>
                </a:lnTo>
                <a:lnTo>
                  <a:pt x="1510" y="1343"/>
                </a:lnTo>
                <a:lnTo>
                  <a:pt x="1510" y="1341"/>
                </a:lnTo>
                <a:lnTo>
                  <a:pt x="1509" y="1340"/>
                </a:lnTo>
                <a:lnTo>
                  <a:pt x="1507" y="1340"/>
                </a:lnTo>
                <a:lnTo>
                  <a:pt x="1505" y="1343"/>
                </a:lnTo>
                <a:lnTo>
                  <a:pt x="1505" y="1348"/>
                </a:lnTo>
                <a:lnTo>
                  <a:pt x="1505" y="1350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1"/>
                </a:lnTo>
                <a:lnTo>
                  <a:pt x="1505" y="1353"/>
                </a:lnTo>
                <a:lnTo>
                  <a:pt x="1505" y="1353"/>
                </a:lnTo>
                <a:lnTo>
                  <a:pt x="1503" y="1349"/>
                </a:lnTo>
                <a:lnTo>
                  <a:pt x="1503" y="1346"/>
                </a:lnTo>
                <a:lnTo>
                  <a:pt x="1501" y="1343"/>
                </a:lnTo>
                <a:lnTo>
                  <a:pt x="1501" y="1341"/>
                </a:lnTo>
                <a:lnTo>
                  <a:pt x="1505" y="1339"/>
                </a:lnTo>
                <a:lnTo>
                  <a:pt x="1507" y="1336"/>
                </a:lnTo>
                <a:lnTo>
                  <a:pt x="1510" y="1333"/>
                </a:lnTo>
                <a:lnTo>
                  <a:pt x="1511" y="1328"/>
                </a:lnTo>
                <a:lnTo>
                  <a:pt x="1511" y="1323"/>
                </a:lnTo>
                <a:lnTo>
                  <a:pt x="1512" y="1320"/>
                </a:lnTo>
                <a:lnTo>
                  <a:pt x="1514" y="1315"/>
                </a:lnTo>
                <a:lnTo>
                  <a:pt x="1517" y="1312"/>
                </a:lnTo>
                <a:lnTo>
                  <a:pt x="1519" y="1309"/>
                </a:lnTo>
                <a:lnTo>
                  <a:pt x="1520" y="1307"/>
                </a:lnTo>
                <a:lnTo>
                  <a:pt x="1520" y="1304"/>
                </a:lnTo>
                <a:lnTo>
                  <a:pt x="1519" y="1300"/>
                </a:lnTo>
                <a:lnTo>
                  <a:pt x="1514" y="1305"/>
                </a:lnTo>
                <a:lnTo>
                  <a:pt x="1510" y="1309"/>
                </a:lnTo>
                <a:lnTo>
                  <a:pt x="1506" y="1315"/>
                </a:lnTo>
                <a:lnTo>
                  <a:pt x="1504" y="1321"/>
                </a:lnTo>
                <a:lnTo>
                  <a:pt x="1499" y="1335"/>
                </a:lnTo>
                <a:lnTo>
                  <a:pt x="1493" y="1349"/>
                </a:lnTo>
                <a:lnTo>
                  <a:pt x="1491" y="1355"/>
                </a:lnTo>
                <a:lnTo>
                  <a:pt x="1489" y="1361"/>
                </a:lnTo>
                <a:lnTo>
                  <a:pt x="1486" y="1367"/>
                </a:lnTo>
                <a:lnTo>
                  <a:pt x="1485" y="1374"/>
                </a:lnTo>
                <a:lnTo>
                  <a:pt x="1483" y="1385"/>
                </a:lnTo>
                <a:lnTo>
                  <a:pt x="1480" y="1398"/>
                </a:lnTo>
                <a:lnTo>
                  <a:pt x="1480" y="1400"/>
                </a:lnTo>
                <a:lnTo>
                  <a:pt x="1482" y="1402"/>
                </a:lnTo>
                <a:lnTo>
                  <a:pt x="1483" y="1403"/>
                </a:lnTo>
                <a:lnTo>
                  <a:pt x="1485" y="1403"/>
                </a:lnTo>
                <a:lnTo>
                  <a:pt x="1487" y="1403"/>
                </a:lnTo>
                <a:lnTo>
                  <a:pt x="1489" y="1403"/>
                </a:lnTo>
                <a:lnTo>
                  <a:pt x="1490" y="1400"/>
                </a:lnTo>
                <a:lnTo>
                  <a:pt x="1489" y="1398"/>
                </a:lnTo>
                <a:lnTo>
                  <a:pt x="1489" y="1393"/>
                </a:lnTo>
                <a:lnTo>
                  <a:pt x="1489" y="1388"/>
                </a:lnTo>
                <a:lnTo>
                  <a:pt x="1489" y="1384"/>
                </a:lnTo>
                <a:lnTo>
                  <a:pt x="1487" y="1381"/>
                </a:lnTo>
                <a:lnTo>
                  <a:pt x="1487" y="1378"/>
                </a:lnTo>
                <a:lnTo>
                  <a:pt x="1487" y="1377"/>
                </a:lnTo>
                <a:lnTo>
                  <a:pt x="1490" y="1376"/>
                </a:lnTo>
                <a:lnTo>
                  <a:pt x="1491" y="1375"/>
                </a:lnTo>
                <a:lnTo>
                  <a:pt x="1494" y="1372"/>
                </a:lnTo>
                <a:lnTo>
                  <a:pt x="1497" y="1371"/>
                </a:lnTo>
                <a:lnTo>
                  <a:pt x="1497" y="1368"/>
                </a:lnTo>
                <a:lnTo>
                  <a:pt x="1494" y="1365"/>
                </a:lnTo>
                <a:lnTo>
                  <a:pt x="1496" y="1362"/>
                </a:lnTo>
                <a:lnTo>
                  <a:pt x="1496" y="1358"/>
                </a:lnTo>
                <a:lnTo>
                  <a:pt x="1497" y="1355"/>
                </a:lnTo>
                <a:lnTo>
                  <a:pt x="1500" y="1353"/>
                </a:lnTo>
                <a:lnTo>
                  <a:pt x="1501" y="1355"/>
                </a:lnTo>
                <a:lnTo>
                  <a:pt x="1504" y="1355"/>
                </a:lnTo>
                <a:lnTo>
                  <a:pt x="1505" y="1354"/>
                </a:lnTo>
                <a:lnTo>
                  <a:pt x="1505" y="1353"/>
                </a:lnTo>
                <a:lnTo>
                  <a:pt x="1505" y="1353"/>
                </a:lnTo>
                <a:lnTo>
                  <a:pt x="1505" y="1353"/>
                </a:lnTo>
                <a:close/>
                <a:moveTo>
                  <a:pt x="843" y="817"/>
                </a:moveTo>
                <a:lnTo>
                  <a:pt x="844" y="819"/>
                </a:lnTo>
                <a:lnTo>
                  <a:pt x="845" y="822"/>
                </a:lnTo>
                <a:lnTo>
                  <a:pt x="847" y="823"/>
                </a:lnTo>
                <a:lnTo>
                  <a:pt x="849" y="824"/>
                </a:lnTo>
                <a:lnTo>
                  <a:pt x="851" y="824"/>
                </a:lnTo>
                <a:lnTo>
                  <a:pt x="852" y="823"/>
                </a:lnTo>
                <a:lnTo>
                  <a:pt x="852" y="822"/>
                </a:lnTo>
                <a:lnTo>
                  <a:pt x="854" y="820"/>
                </a:lnTo>
                <a:lnTo>
                  <a:pt x="854" y="818"/>
                </a:lnTo>
                <a:lnTo>
                  <a:pt x="852" y="816"/>
                </a:lnTo>
                <a:lnTo>
                  <a:pt x="850" y="815"/>
                </a:lnTo>
                <a:lnTo>
                  <a:pt x="848" y="813"/>
                </a:lnTo>
                <a:lnTo>
                  <a:pt x="845" y="813"/>
                </a:lnTo>
                <a:lnTo>
                  <a:pt x="843" y="812"/>
                </a:lnTo>
                <a:lnTo>
                  <a:pt x="843" y="815"/>
                </a:lnTo>
                <a:lnTo>
                  <a:pt x="843" y="817"/>
                </a:lnTo>
                <a:close/>
                <a:moveTo>
                  <a:pt x="1662" y="874"/>
                </a:moveTo>
                <a:lnTo>
                  <a:pt x="1659" y="874"/>
                </a:lnTo>
                <a:lnTo>
                  <a:pt x="1658" y="875"/>
                </a:lnTo>
                <a:lnTo>
                  <a:pt x="1657" y="876"/>
                </a:lnTo>
                <a:lnTo>
                  <a:pt x="1657" y="878"/>
                </a:lnTo>
                <a:lnTo>
                  <a:pt x="1657" y="881"/>
                </a:lnTo>
                <a:lnTo>
                  <a:pt x="1655" y="883"/>
                </a:lnTo>
                <a:lnTo>
                  <a:pt x="1657" y="887"/>
                </a:lnTo>
                <a:lnTo>
                  <a:pt x="1661" y="889"/>
                </a:lnTo>
                <a:lnTo>
                  <a:pt x="1663" y="888"/>
                </a:lnTo>
                <a:lnTo>
                  <a:pt x="1665" y="887"/>
                </a:lnTo>
                <a:lnTo>
                  <a:pt x="1666" y="885"/>
                </a:lnTo>
                <a:lnTo>
                  <a:pt x="1666" y="882"/>
                </a:lnTo>
                <a:lnTo>
                  <a:pt x="1665" y="878"/>
                </a:lnTo>
                <a:lnTo>
                  <a:pt x="1662" y="874"/>
                </a:lnTo>
                <a:close/>
                <a:moveTo>
                  <a:pt x="1418" y="1265"/>
                </a:moveTo>
                <a:lnTo>
                  <a:pt x="1414" y="1265"/>
                </a:lnTo>
                <a:lnTo>
                  <a:pt x="1411" y="1266"/>
                </a:lnTo>
                <a:lnTo>
                  <a:pt x="1411" y="1269"/>
                </a:lnTo>
                <a:lnTo>
                  <a:pt x="1411" y="1272"/>
                </a:lnTo>
                <a:lnTo>
                  <a:pt x="1414" y="1276"/>
                </a:lnTo>
                <a:lnTo>
                  <a:pt x="1418" y="1278"/>
                </a:lnTo>
                <a:lnTo>
                  <a:pt x="1423" y="1279"/>
                </a:lnTo>
                <a:lnTo>
                  <a:pt x="1428" y="1279"/>
                </a:lnTo>
                <a:lnTo>
                  <a:pt x="1430" y="1278"/>
                </a:lnTo>
                <a:lnTo>
                  <a:pt x="1430" y="1276"/>
                </a:lnTo>
                <a:lnTo>
                  <a:pt x="1427" y="1272"/>
                </a:lnTo>
                <a:lnTo>
                  <a:pt x="1424" y="1269"/>
                </a:lnTo>
                <a:lnTo>
                  <a:pt x="1422" y="1266"/>
                </a:lnTo>
                <a:lnTo>
                  <a:pt x="1418" y="1265"/>
                </a:lnTo>
                <a:close/>
                <a:moveTo>
                  <a:pt x="1661" y="872"/>
                </a:moveTo>
                <a:lnTo>
                  <a:pt x="1663" y="871"/>
                </a:lnTo>
                <a:lnTo>
                  <a:pt x="1665" y="868"/>
                </a:lnTo>
                <a:lnTo>
                  <a:pt x="1666" y="866"/>
                </a:lnTo>
                <a:lnTo>
                  <a:pt x="1668" y="861"/>
                </a:lnTo>
                <a:lnTo>
                  <a:pt x="1666" y="848"/>
                </a:lnTo>
                <a:lnTo>
                  <a:pt x="1666" y="836"/>
                </a:lnTo>
                <a:lnTo>
                  <a:pt x="1666" y="823"/>
                </a:lnTo>
                <a:lnTo>
                  <a:pt x="1666" y="810"/>
                </a:lnTo>
                <a:lnTo>
                  <a:pt x="1666" y="795"/>
                </a:lnTo>
                <a:lnTo>
                  <a:pt x="1664" y="781"/>
                </a:lnTo>
                <a:lnTo>
                  <a:pt x="1662" y="766"/>
                </a:lnTo>
                <a:lnTo>
                  <a:pt x="1656" y="752"/>
                </a:lnTo>
                <a:lnTo>
                  <a:pt x="1654" y="753"/>
                </a:lnTo>
                <a:lnTo>
                  <a:pt x="1654" y="754"/>
                </a:lnTo>
                <a:lnTo>
                  <a:pt x="1652" y="756"/>
                </a:lnTo>
                <a:lnTo>
                  <a:pt x="1654" y="757"/>
                </a:lnTo>
                <a:lnTo>
                  <a:pt x="1655" y="760"/>
                </a:lnTo>
                <a:lnTo>
                  <a:pt x="1656" y="762"/>
                </a:lnTo>
                <a:lnTo>
                  <a:pt x="1657" y="782"/>
                </a:lnTo>
                <a:lnTo>
                  <a:pt x="1657" y="803"/>
                </a:lnTo>
                <a:lnTo>
                  <a:pt x="1656" y="823"/>
                </a:lnTo>
                <a:lnTo>
                  <a:pt x="1652" y="843"/>
                </a:lnTo>
                <a:lnTo>
                  <a:pt x="1652" y="847"/>
                </a:lnTo>
                <a:lnTo>
                  <a:pt x="1650" y="852"/>
                </a:lnTo>
                <a:lnTo>
                  <a:pt x="1648" y="855"/>
                </a:lnTo>
                <a:lnTo>
                  <a:pt x="1646" y="859"/>
                </a:lnTo>
                <a:lnTo>
                  <a:pt x="1648" y="862"/>
                </a:lnTo>
                <a:lnTo>
                  <a:pt x="1649" y="867"/>
                </a:lnTo>
                <a:lnTo>
                  <a:pt x="1651" y="869"/>
                </a:lnTo>
                <a:lnTo>
                  <a:pt x="1655" y="872"/>
                </a:lnTo>
                <a:lnTo>
                  <a:pt x="1657" y="872"/>
                </a:lnTo>
                <a:lnTo>
                  <a:pt x="1661" y="872"/>
                </a:lnTo>
                <a:close/>
                <a:moveTo>
                  <a:pt x="1559" y="747"/>
                </a:moveTo>
                <a:lnTo>
                  <a:pt x="1559" y="747"/>
                </a:lnTo>
                <a:lnTo>
                  <a:pt x="1559" y="747"/>
                </a:lnTo>
                <a:lnTo>
                  <a:pt x="1559" y="747"/>
                </a:lnTo>
                <a:close/>
                <a:moveTo>
                  <a:pt x="1556" y="606"/>
                </a:moveTo>
                <a:lnTo>
                  <a:pt x="1553" y="605"/>
                </a:lnTo>
                <a:lnTo>
                  <a:pt x="1552" y="602"/>
                </a:lnTo>
                <a:lnTo>
                  <a:pt x="1553" y="605"/>
                </a:lnTo>
                <a:lnTo>
                  <a:pt x="1556" y="606"/>
                </a:lnTo>
                <a:close/>
                <a:moveTo>
                  <a:pt x="1552" y="939"/>
                </a:moveTo>
                <a:lnTo>
                  <a:pt x="1552" y="938"/>
                </a:lnTo>
                <a:lnTo>
                  <a:pt x="1553" y="936"/>
                </a:lnTo>
                <a:lnTo>
                  <a:pt x="1553" y="935"/>
                </a:lnTo>
                <a:lnTo>
                  <a:pt x="1553" y="934"/>
                </a:lnTo>
                <a:lnTo>
                  <a:pt x="1551" y="932"/>
                </a:lnTo>
                <a:lnTo>
                  <a:pt x="1551" y="931"/>
                </a:lnTo>
                <a:lnTo>
                  <a:pt x="1551" y="929"/>
                </a:lnTo>
                <a:lnTo>
                  <a:pt x="1551" y="928"/>
                </a:lnTo>
                <a:lnTo>
                  <a:pt x="1551" y="929"/>
                </a:lnTo>
                <a:lnTo>
                  <a:pt x="1551" y="931"/>
                </a:lnTo>
                <a:lnTo>
                  <a:pt x="1551" y="932"/>
                </a:lnTo>
                <a:lnTo>
                  <a:pt x="1553" y="934"/>
                </a:lnTo>
                <a:lnTo>
                  <a:pt x="1553" y="935"/>
                </a:lnTo>
                <a:lnTo>
                  <a:pt x="1553" y="936"/>
                </a:lnTo>
                <a:lnTo>
                  <a:pt x="1552" y="938"/>
                </a:lnTo>
                <a:lnTo>
                  <a:pt x="1552" y="939"/>
                </a:lnTo>
                <a:close/>
                <a:moveTo>
                  <a:pt x="1538" y="655"/>
                </a:moveTo>
                <a:lnTo>
                  <a:pt x="1538" y="651"/>
                </a:lnTo>
                <a:lnTo>
                  <a:pt x="1538" y="648"/>
                </a:lnTo>
                <a:lnTo>
                  <a:pt x="1538" y="643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0"/>
                </a:lnTo>
                <a:lnTo>
                  <a:pt x="1539" y="643"/>
                </a:lnTo>
                <a:lnTo>
                  <a:pt x="1538" y="648"/>
                </a:lnTo>
                <a:lnTo>
                  <a:pt x="1538" y="651"/>
                </a:lnTo>
                <a:lnTo>
                  <a:pt x="1538" y="655"/>
                </a:lnTo>
                <a:lnTo>
                  <a:pt x="1545" y="662"/>
                </a:lnTo>
                <a:lnTo>
                  <a:pt x="1548" y="668"/>
                </a:lnTo>
                <a:lnTo>
                  <a:pt x="1549" y="670"/>
                </a:lnTo>
                <a:lnTo>
                  <a:pt x="1551" y="673"/>
                </a:lnTo>
                <a:lnTo>
                  <a:pt x="1549" y="676"/>
                </a:lnTo>
                <a:lnTo>
                  <a:pt x="1549" y="679"/>
                </a:lnTo>
                <a:lnTo>
                  <a:pt x="1549" y="676"/>
                </a:lnTo>
                <a:lnTo>
                  <a:pt x="1551" y="673"/>
                </a:lnTo>
                <a:lnTo>
                  <a:pt x="1549" y="670"/>
                </a:lnTo>
                <a:lnTo>
                  <a:pt x="1548" y="668"/>
                </a:lnTo>
                <a:lnTo>
                  <a:pt x="1545" y="662"/>
                </a:lnTo>
                <a:lnTo>
                  <a:pt x="1538" y="655"/>
                </a:lnTo>
                <a:close/>
                <a:moveTo>
                  <a:pt x="1545" y="825"/>
                </a:moveTo>
                <a:lnTo>
                  <a:pt x="1540" y="825"/>
                </a:lnTo>
                <a:lnTo>
                  <a:pt x="1537" y="824"/>
                </a:lnTo>
                <a:lnTo>
                  <a:pt x="1540" y="825"/>
                </a:lnTo>
                <a:lnTo>
                  <a:pt x="1545" y="825"/>
                </a:lnTo>
                <a:lnTo>
                  <a:pt x="1545" y="825"/>
                </a:lnTo>
                <a:close/>
                <a:moveTo>
                  <a:pt x="1538" y="794"/>
                </a:moveTo>
                <a:lnTo>
                  <a:pt x="1539" y="798"/>
                </a:lnTo>
                <a:lnTo>
                  <a:pt x="1540" y="803"/>
                </a:lnTo>
                <a:lnTo>
                  <a:pt x="1539" y="798"/>
                </a:lnTo>
                <a:lnTo>
                  <a:pt x="1538" y="794"/>
                </a:lnTo>
                <a:lnTo>
                  <a:pt x="1537" y="792"/>
                </a:lnTo>
                <a:lnTo>
                  <a:pt x="1535" y="792"/>
                </a:lnTo>
                <a:lnTo>
                  <a:pt x="1537" y="792"/>
                </a:lnTo>
                <a:lnTo>
                  <a:pt x="1538" y="794"/>
                </a:lnTo>
                <a:close/>
                <a:moveTo>
                  <a:pt x="1534" y="741"/>
                </a:moveTo>
                <a:lnTo>
                  <a:pt x="1534" y="740"/>
                </a:lnTo>
                <a:lnTo>
                  <a:pt x="1535" y="739"/>
                </a:lnTo>
                <a:lnTo>
                  <a:pt x="1534" y="740"/>
                </a:lnTo>
                <a:lnTo>
                  <a:pt x="1534" y="741"/>
                </a:lnTo>
                <a:close/>
                <a:moveTo>
                  <a:pt x="1538" y="738"/>
                </a:moveTo>
                <a:lnTo>
                  <a:pt x="1538" y="738"/>
                </a:lnTo>
                <a:lnTo>
                  <a:pt x="1538" y="735"/>
                </a:lnTo>
                <a:lnTo>
                  <a:pt x="1539" y="734"/>
                </a:lnTo>
                <a:lnTo>
                  <a:pt x="1538" y="735"/>
                </a:lnTo>
                <a:lnTo>
                  <a:pt x="1538" y="738"/>
                </a:lnTo>
                <a:lnTo>
                  <a:pt x="1538" y="738"/>
                </a:lnTo>
                <a:close/>
                <a:moveTo>
                  <a:pt x="1544" y="757"/>
                </a:moveTo>
                <a:lnTo>
                  <a:pt x="1540" y="756"/>
                </a:lnTo>
                <a:lnTo>
                  <a:pt x="1537" y="755"/>
                </a:lnTo>
                <a:lnTo>
                  <a:pt x="1537" y="754"/>
                </a:lnTo>
                <a:lnTo>
                  <a:pt x="1537" y="753"/>
                </a:lnTo>
                <a:lnTo>
                  <a:pt x="1537" y="754"/>
                </a:lnTo>
                <a:lnTo>
                  <a:pt x="1537" y="755"/>
                </a:lnTo>
                <a:lnTo>
                  <a:pt x="1540" y="756"/>
                </a:lnTo>
                <a:lnTo>
                  <a:pt x="1544" y="757"/>
                </a:lnTo>
                <a:close/>
                <a:moveTo>
                  <a:pt x="1533" y="633"/>
                </a:moveTo>
                <a:lnTo>
                  <a:pt x="1535" y="637"/>
                </a:lnTo>
                <a:lnTo>
                  <a:pt x="1539" y="640"/>
                </a:lnTo>
                <a:lnTo>
                  <a:pt x="1535" y="637"/>
                </a:lnTo>
                <a:lnTo>
                  <a:pt x="1533" y="633"/>
                </a:lnTo>
                <a:close/>
                <a:moveTo>
                  <a:pt x="1470" y="1255"/>
                </a:moveTo>
                <a:lnTo>
                  <a:pt x="1471" y="1257"/>
                </a:lnTo>
                <a:lnTo>
                  <a:pt x="1471" y="1259"/>
                </a:lnTo>
                <a:lnTo>
                  <a:pt x="1471" y="1257"/>
                </a:lnTo>
                <a:lnTo>
                  <a:pt x="1470" y="1255"/>
                </a:lnTo>
                <a:lnTo>
                  <a:pt x="1468" y="1252"/>
                </a:lnTo>
                <a:lnTo>
                  <a:pt x="1468" y="1249"/>
                </a:lnTo>
                <a:lnTo>
                  <a:pt x="1468" y="1252"/>
                </a:lnTo>
                <a:lnTo>
                  <a:pt x="1470" y="1255"/>
                </a:lnTo>
                <a:close/>
                <a:moveTo>
                  <a:pt x="1521" y="568"/>
                </a:moveTo>
                <a:lnTo>
                  <a:pt x="1526" y="571"/>
                </a:lnTo>
                <a:lnTo>
                  <a:pt x="1531" y="572"/>
                </a:lnTo>
                <a:lnTo>
                  <a:pt x="1526" y="571"/>
                </a:lnTo>
                <a:lnTo>
                  <a:pt x="1521" y="568"/>
                </a:lnTo>
                <a:close/>
                <a:moveTo>
                  <a:pt x="1528" y="622"/>
                </a:move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lnTo>
                  <a:pt x="1528" y="622"/>
                </a:lnTo>
                <a:close/>
                <a:moveTo>
                  <a:pt x="1530" y="679"/>
                </a:moveTo>
                <a:lnTo>
                  <a:pt x="1527" y="678"/>
                </a:lnTo>
                <a:lnTo>
                  <a:pt x="1526" y="678"/>
                </a:lnTo>
                <a:lnTo>
                  <a:pt x="1527" y="678"/>
                </a:lnTo>
                <a:lnTo>
                  <a:pt x="1530" y="679"/>
                </a:lnTo>
                <a:lnTo>
                  <a:pt x="1530" y="679"/>
                </a:lnTo>
                <a:close/>
                <a:moveTo>
                  <a:pt x="1527" y="636"/>
                </a:moveTo>
                <a:lnTo>
                  <a:pt x="1526" y="629"/>
                </a:lnTo>
                <a:lnTo>
                  <a:pt x="1525" y="621"/>
                </a:lnTo>
                <a:lnTo>
                  <a:pt x="1526" y="629"/>
                </a:lnTo>
                <a:lnTo>
                  <a:pt x="1527" y="636"/>
                </a:lnTo>
                <a:close/>
                <a:moveTo>
                  <a:pt x="1526" y="620"/>
                </a:moveTo>
                <a:lnTo>
                  <a:pt x="1527" y="621"/>
                </a:lnTo>
                <a:lnTo>
                  <a:pt x="1528" y="622"/>
                </a:lnTo>
                <a:lnTo>
                  <a:pt x="1527" y="621"/>
                </a:lnTo>
                <a:lnTo>
                  <a:pt x="1526" y="620"/>
                </a:lnTo>
                <a:close/>
                <a:moveTo>
                  <a:pt x="1519" y="684"/>
                </a:moveTo>
                <a:lnTo>
                  <a:pt x="1519" y="682"/>
                </a:lnTo>
                <a:lnTo>
                  <a:pt x="1520" y="679"/>
                </a:lnTo>
                <a:lnTo>
                  <a:pt x="1521" y="678"/>
                </a:lnTo>
                <a:lnTo>
                  <a:pt x="1524" y="678"/>
                </a:lnTo>
                <a:lnTo>
                  <a:pt x="1521" y="678"/>
                </a:lnTo>
                <a:lnTo>
                  <a:pt x="1520" y="679"/>
                </a:lnTo>
                <a:lnTo>
                  <a:pt x="1519" y="682"/>
                </a:lnTo>
                <a:lnTo>
                  <a:pt x="1519" y="684"/>
                </a:lnTo>
                <a:close/>
                <a:moveTo>
                  <a:pt x="1504" y="734"/>
                </a:moveTo>
                <a:lnTo>
                  <a:pt x="1503" y="732"/>
                </a:lnTo>
                <a:lnTo>
                  <a:pt x="1501" y="728"/>
                </a:lnTo>
                <a:lnTo>
                  <a:pt x="1503" y="732"/>
                </a:lnTo>
                <a:lnTo>
                  <a:pt x="1504" y="734"/>
                </a:lnTo>
                <a:lnTo>
                  <a:pt x="1506" y="733"/>
                </a:lnTo>
                <a:lnTo>
                  <a:pt x="1509" y="733"/>
                </a:lnTo>
                <a:lnTo>
                  <a:pt x="1510" y="734"/>
                </a:lnTo>
                <a:lnTo>
                  <a:pt x="1510" y="736"/>
                </a:lnTo>
                <a:lnTo>
                  <a:pt x="1510" y="734"/>
                </a:lnTo>
                <a:lnTo>
                  <a:pt x="1509" y="733"/>
                </a:lnTo>
                <a:lnTo>
                  <a:pt x="1506" y="733"/>
                </a:lnTo>
                <a:lnTo>
                  <a:pt x="1504" y="734"/>
                </a:lnTo>
                <a:close/>
                <a:moveTo>
                  <a:pt x="1505" y="570"/>
                </a:moveTo>
                <a:lnTo>
                  <a:pt x="1503" y="571"/>
                </a:lnTo>
                <a:lnTo>
                  <a:pt x="1501" y="571"/>
                </a:lnTo>
                <a:lnTo>
                  <a:pt x="1503" y="571"/>
                </a:lnTo>
                <a:lnTo>
                  <a:pt x="1505" y="570"/>
                </a:lnTo>
                <a:close/>
                <a:moveTo>
                  <a:pt x="1523" y="581"/>
                </a:moveTo>
                <a:lnTo>
                  <a:pt x="1514" y="575"/>
                </a:lnTo>
                <a:lnTo>
                  <a:pt x="1507" y="568"/>
                </a:lnTo>
                <a:lnTo>
                  <a:pt x="1514" y="575"/>
                </a:lnTo>
                <a:lnTo>
                  <a:pt x="1523" y="581"/>
                </a:lnTo>
                <a:close/>
                <a:moveTo>
                  <a:pt x="1513" y="571"/>
                </a:moveTo>
                <a:lnTo>
                  <a:pt x="1511" y="568"/>
                </a:lnTo>
                <a:lnTo>
                  <a:pt x="1511" y="567"/>
                </a:lnTo>
                <a:lnTo>
                  <a:pt x="1511" y="568"/>
                </a:lnTo>
                <a:lnTo>
                  <a:pt x="1513" y="571"/>
                </a:lnTo>
                <a:close/>
                <a:moveTo>
                  <a:pt x="1505" y="249"/>
                </a:moveTo>
                <a:lnTo>
                  <a:pt x="1506" y="246"/>
                </a:lnTo>
                <a:lnTo>
                  <a:pt x="1507" y="245"/>
                </a:lnTo>
                <a:lnTo>
                  <a:pt x="1506" y="246"/>
                </a:lnTo>
                <a:lnTo>
                  <a:pt x="1505" y="249"/>
                </a:lnTo>
                <a:lnTo>
                  <a:pt x="1501" y="250"/>
                </a:lnTo>
                <a:lnTo>
                  <a:pt x="1499" y="253"/>
                </a:lnTo>
                <a:lnTo>
                  <a:pt x="1501" y="250"/>
                </a:lnTo>
                <a:lnTo>
                  <a:pt x="1505" y="249"/>
                </a:lnTo>
                <a:close/>
                <a:moveTo>
                  <a:pt x="1499" y="694"/>
                </a:moveTo>
                <a:lnTo>
                  <a:pt x="1498" y="697"/>
                </a:lnTo>
                <a:lnTo>
                  <a:pt x="1496" y="698"/>
                </a:lnTo>
                <a:lnTo>
                  <a:pt x="1498" y="697"/>
                </a:lnTo>
                <a:lnTo>
                  <a:pt x="1499" y="694"/>
                </a:lnTo>
                <a:close/>
                <a:moveTo>
                  <a:pt x="1491" y="216"/>
                </a:moveTo>
                <a:lnTo>
                  <a:pt x="1493" y="215"/>
                </a:lnTo>
                <a:lnTo>
                  <a:pt x="1496" y="214"/>
                </a:lnTo>
                <a:lnTo>
                  <a:pt x="1493" y="215"/>
                </a:lnTo>
                <a:lnTo>
                  <a:pt x="1491" y="216"/>
                </a:lnTo>
                <a:close/>
                <a:moveTo>
                  <a:pt x="1498" y="544"/>
                </a:moveTo>
                <a:lnTo>
                  <a:pt x="1497" y="543"/>
                </a:lnTo>
                <a:lnTo>
                  <a:pt x="1497" y="542"/>
                </a:lnTo>
                <a:lnTo>
                  <a:pt x="1497" y="543"/>
                </a:lnTo>
                <a:lnTo>
                  <a:pt x="1498" y="544"/>
                </a:lnTo>
                <a:close/>
                <a:moveTo>
                  <a:pt x="1500" y="210"/>
                </a:moveTo>
                <a:lnTo>
                  <a:pt x="1499" y="211"/>
                </a:lnTo>
                <a:lnTo>
                  <a:pt x="1497" y="212"/>
                </a:lnTo>
                <a:lnTo>
                  <a:pt x="1499" y="211"/>
                </a:lnTo>
                <a:lnTo>
                  <a:pt x="1500" y="210"/>
                </a:lnTo>
                <a:close/>
                <a:moveTo>
                  <a:pt x="1505" y="249"/>
                </a:move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lnTo>
                  <a:pt x="1505" y="249"/>
                </a:lnTo>
                <a:close/>
                <a:moveTo>
                  <a:pt x="1480" y="341"/>
                </a:moveTo>
                <a:lnTo>
                  <a:pt x="1482" y="342"/>
                </a:lnTo>
                <a:lnTo>
                  <a:pt x="1483" y="343"/>
                </a:lnTo>
                <a:lnTo>
                  <a:pt x="1484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5" y="344"/>
                </a:lnTo>
                <a:lnTo>
                  <a:pt x="1484" y="344"/>
                </a:lnTo>
                <a:lnTo>
                  <a:pt x="1483" y="343"/>
                </a:lnTo>
                <a:lnTo>
                  <a:pt x="1482" y="342"/>
                </a:lnTo>
                <a:lnTo>
                  <a:pt x="1480" y="341"/>
                </a:lnTo>
                <a:close/>
                <a:moveTo>
                  <a:pt x="1477" y="633"/>
                </a:moveTo>
                <a:lnTo>
                  <a:pt x="1476" y="631"/>
                </a:lnTo>
                <a:lnTo>
                  <a:pt x="1476" y="629"/>
                </a:lnTo>
                <a:lnTo>
                  <a:pt x="1476" y="629"/>
                </a:lnTo>
                <a:lnTo>
                  <a:pt x="1478" y="629"/>
                </a:lnTo>
                <a:lnTo>
                  <a:pt x="1480" y="629"/>
                </a:lnTo>
                <a:lnTo>
                  <a:pt x="1478" y="629"/>
                </a:lnTo>
                <a:lnTo>
                  <a:pt x="1476" y="629"/>
                </a:lnTo>
                <a:lnTo>
                  <a:pt x="1476" y="631"/>
                </a:lnTo>
                <a:lnTo>
                  <a:pt x="1477" y="633"/>
                </a:lnTo>
                <a:close/>
                <a:moveTo>
                  <a:pt x="1452" y="811"/>
                </a:moveTo>
                <a:lnTo>
                  <a:pt x="1450" y="811"/>
                </a:lnTo>
                <a:lnTo>
                  <a:pt x="1448" y="811"/>
                </a:lnTo>
                <a:lnTo>
                  <a:pt x="1450" y="811"/>
                </a:lnTo>
                <a:lnTo>
                  <a:pt x="1452" y="811"/>
                </a:lnTo>
                <a:lnTo>
                  <a:pt x="1458" y="811"/>
                </a:lnTo>
                <a:lnTo>
                  <a:pt x="1463" y="810"/>
                </a:lnTo>
                <a:lnTo>
                  <a:pt x="1458" y="811"/>
                </a:lnTo>
                <a:lnTo>
                  <a:pt x="1452" y="811"/>
                </a:lnTo>
                <a:close/>
                <a:moveTo>
                  <a:pt x="1444" y="557"/>
                </a:moveTo>
                <a:lnTo>
                  <a:pt x="1441" y="554"/>
                </a:lnTo>
                <a:lnTo>
                  <a:pt x="1437" y="552"/>
                </a:lnTo>
                <a:lnTo>
                  <a:pt x="1436" y="551"/>
                </a:lnTo>
                <a:lnTo>
                  <a:pt x="1436" y="549"/>
                </a:lnTo>
                <a:lnTo>
                  <a:pt x="1436" y="551"/>
                </a:lnTo>
                <a:lnTo>
                  <a:pt x="1437" y="552"/>
                </a:lnTo>
                <a:lnTo>
                  <a:pt x="1441" y="554"/>
                </a:lnTo>
                <a:lnTo>
                  <a:pt x="1444" y="557"/>
                </a:lnTo>
                <a:lnTo>
                  <a:pt x="1445" y="557"/>
                </a:lnTo>
                <a:lnTo>
                  <a:pt x="1448" y="558"/>
                </a:lnTo>
                <a:lnTo>
                  <a:pt x="1445" y="557"/>
                </a:lnTo>
                <a:lnTo>
                  <a:pt x="1444" y="557"/>
                </a:lnTo>
                <a:close/>
                <a:moveTo>
                  <a:pt x="1431" y="703"/>
                </a:moveTo>
                <a:lnTo>
                  <a:pt x="1432" y="704"/>
                </a:lnTo>
                <a:lnTo>
                  <a:pt x="1434" y="704"/>
                </a:lnTo>
                <a:lnTo>
                  <a:pt x="1432" y="704"/>
                </a:lnTo>
                <a:lnTo>
                  <a:pt x="1431" y="703"/>
                </a:lnTo>
                <a:lnTo>
                  <a:pt x="1430" y="701"/>
                </a:lnTo>
                <a:lnTo>
                  <a:pt x="1429" y="699"/>
                </a:lnTo>
                <a:lnTo>
                  <a:pt x="1430" y="701"/>
                </a:lnTo>
                <a:lnTo>
                  <a:pt x="1431" y="703"/>
                </a:lnTo>
                <a:close/>
                <a:moveTo>
                  <a:pt x="1425" y="742"/>
                </a:moveTo>
                <a:lnTo>
                  <a:pt x="1428" y="738"/>
                </a:lnTo>
                <a:lnTo>
                  <a:pt x="1429" y="733"/>
                </a:lnTo>
                <a:lnTo>
                  <a:pt x="1428" y="738"/>
                </a:lnTo>
                <a:lnTo>
                  <a:pt x="1425" y="742"/>
                </a:lnTo>
                <a:close/>
                <a:moveTo>
                  <a:pt x="1422" y="752"/>
                </a:moveTo>
                <a:lnTo>
                  <a:pt x="1423" y="752"/>
                </a:lnTo>
                <a:lnTo>
                  <a:pt x="1423" y="752"/>
                </a:lnTo>
                <a:lnTo>
                  <a:pt x="1423" y="752"/>
                </a:lnTo>
                <a:lnTo>
                  <a:pt x="1422" y="752"/>
                </a:lnTo>
                <a:close/>
                <a:moveTo>
                  <a:pt x="1418" y="727"/>
                </a:moveTo>
                <a:lnTo>
                  <a:pt x="1421" y="735"/>
                </a:lnTo>
                <a:lnTo>
                  <a:pt x="1423" y="742"/>
                </a:lnTo>
                <a:lnTo>
                  <a:pt x="1421" y="735"/>
                </a:lnTo>
                <a:lnTo>
                  <a:pt x="1418" y="727"/>
                </a:lnTo>
                <a:close/>
                <a:moveTo>
                  <a:pt x="1415" y="728"/>
                </a:moveTo>
                <a:lnTo>
                  <a:pt x="1415" y="725"/>
                </a:lnTo>
                <a:lnTo>
                  <a:pt x="1416" y="722"/>
                </a:lnTo>
                <a:lnTo>
                  <a:pt x="1415" y="725"/>
                </a:lnTo>
                <a:lnTo>
                  <a:pt x="1415" y="728"/>
                </a:lnTo>
                <a:close/>
                <a:moveTo>
                  <a:pt x="1409" y="711"/>
                </a:moveTo>
                <a:lnTo>
                  <a:pt x="1409" y="712"/>
                </a:lnTo>
                <a:lnTo>
                  <a:pt x="1409" y="713"/>
                </a:lnTo>
                <a:lnTo>
                  <a:pt x="1409" y="712"/>
                </a:lnTo>
                <a:lnTo>
                  <a:pt x="1409" y="711"/>
                </a:lnTo>
                <a:lnTo>
                  <a:pt x="1409" y="706"/>
                </a:lnTo>
                <a:lnTo>
                  <a:pt x="1411" y="700"/>
                </a:lnTo>
                <a:lnTo>
                  <a:pt x="1415" y="697"/>
                </a:lnTo>
                <a:lnTo>
                  <a:pt x="1420" y="696"/>
                </a:lnTo>
                <a:lnTo>
                  <a:pt x="1415" y="697"/>
                </a:lnTo>
                <a:lnTo>
                  <a:pt x="1411" y="700"/>
                </a:lnTo>
                <a:lnTo>
                  <a:pt x="1409" y="706"/>
                </a:lnTo>
                <a:lnTo>
                  <a:pt x="1409" y="711"/>
                </a:lnTo>
                <a:close/>
                <a:moveTo>
                  <a:pt x="1407" y="782"/>
                </a:moveTo>
                <a:lnTo>
                  <a:pt x="1400" y="784"/>
                </a:lnTo>
                <a:lnTo>
                  <a:pt x="1393" y="785"/>
                </a:lnTo>
                <a:lnTo>
                  <a:pt x="1385" y="785"/>
                </a:lnTo>
                <a:lnTo>
                  <a:pt x="1378" y="785"/>
                </a:lnTo>
                <a:lnTo>
                  <a:pt x="1363" y="783"/>
                </a:lnTo>
                <a:lnTo>
                  <a:pt x="1348" y="781"/>
                </a:lnTo>
                <a:lnTo>
                  <a:pt x="1332" y="777"/>
                </a:lnTo>
                <a:lnTo>
                  <a:pt x="1316" y="774"/>
                </a:lnTo>
                <a:lnTo>
                  <a:pt x="1299" y="769"/>
                </a:lnTo>
                <a:lnTo>
                  <a:pt x="1283" y="763"/>
                </a:lnTo>
                <a:lnTo>
                  <a:pt x="1279" y="760"/>
                </a:lnTo>
                <a:lnTo>
                  <a:pt x="1275" y="756"/>
                </a:lnTo>
                <a:lnTo>
                  <a:pt x="1275" y="756"/>
                </a:lnTo>
                <a:lnTo>
                  <a:pt x="1275" y="754"/>
                </a:lnTo>
                <a:lnTo>
                  <a:pt x="1273" y="752"/>
                </a:lnTo>
                <a:lnTo>
                  <a:pt x="1264" y="738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5" y="722"/>
                </a:lnTo>
                <a:lnTo>
                  <a:pt x="1258" y="724"/>
                </a:lnTo>
                <a:lnTo>
                  <a:pt x="1261" y="725"/>
                </a:lnTo>
                <a:lnTo>
                  <a:pt x="1264" y="728"/>
                </a:lnTo>
                <a:lnTo>
                  <a:pt x="1268" y="731"/>
                </a:lnTo>
                <a:lnTo>
                  <a:pt x="1272" y="733"/>
                </a:lnTo>
                <a:lnTo>
                  <a:pt x="1277" y="733"/>
                </a:lnTo>
                <a:lnTo>
                  <a:pt x="1278" y="734"/>
                </a:lnTo>
                <a:lnTo>
                  <a:pt x="1279" y="735"/>
                </a:lnTo>
                <a:lnTo>
                  <a:pt x="1280" y="735"/>
                </a:lnTo>
                <a:lnTo>
                  <a:pt x="1282" y="734"/>
                </a:lnTo>
                <a:lnTo>
                  <a:pt x="1283" y="734"/>
                </a:lnTo>
                <a:lnTo>
                  <a:pt x="1284" y="734"/>
                </a:lnTo>
                <a:lnTo>
                  <a:pt x="1287" y="738"/>
                </a:lnTo>
                <a:lnTo>
                  <a:pt x="1291" y="739"/>
                </a:lnTo>
                <a:lnTo>
                  <a:pt x="1296" y="740"/>
                </a:lnTo>
                <a:lnTo>
                  <a:pt x="1299" y="741"/>
                </a:lnTo>
                <a:lnTo>
                  <a:pt x="1307" y="742"/>
                </a:lnTo>
                <a:lnTo>
                  <a:pt x="1314" y="742"/>
                </a:lnTo>
                <a:lnTo>
                  <a:pt x="1318" y="743"/>
                </a:lnTo>
                <a:lnTo>
                  <a:pt x="1320" y="743"/>
                </a:lnTo>
                <a:lnTo>
                  <a:pt x="1323" y="746"/>
                </a:lnTo>
                <a:lnTo>
                  <a:pt x="1324" y="749"/>
                </a:lnTo>
                <a:lnTo>
                  <a:pt x="1325" y="750"/>
                </a:lnTo>
                <a:lnTo>
                  <a:pt x="1326" y="752"/>
                </a:lnTo>
                <a:lnTo>
                  <a:pt x="1327" y="753"/>
                </a:lnTo>
                <a:lnTo>
                  <a:pt x="1330" y="753"/>
                </a:lnTo>
                <a:lnTo>
                  <a:pt x="1331" y="752"/>
                </a:lnTo>
                <a:lnTo>
                  <a:pt x="1331" y="750"/>
                </a:lnTo>
                <a:lnTo>
                  <a:pt x="1331" y="749"/>
                </a:lnTo>
                <a:lnTo>
                  <a:pt x="1330" y="747"/>
                </a:lnTo>
                <a:lnTo>
                  <a:pt x="1330" y="745"/>
                </a:lnTo>
                <a:lnTo>
                  <a:pt x="1330" y="742"/>
                </a:lnTo>
                <a:lnTo>
                  <a:pt x="1332" y="742"/>
                </a:lnTo>
                <a:lnTo>
                  <a:pt x="1334" y="743"/>
                </a:lnTo>
                <a:lnTo>
                  <a:pt x="1340" y="747"/>
                </a:lnTo>
                <a:lnTo>
                  <a:pt x="1345" y="749"/>
                </a:lnTo>
                <a:lnTo>
                  <a:pt x="1348" y="752"/>
                </a:lnTo>
                <a:lnTo>
                  <a:pt x="1351" y="752"/>
                </a:lnTo>
                <a:lnTo>
                  <a:pt x="1354" y="750"/>
                </a:lnTo>
                <a:lnTo>
                  <a:pt x="1355" y="750"/>
                </a:lnTo>
                <a:lnTo>
                  <a:pt x="1358" y="750"/>
                </a:lnTo>
                <a:lnTo>
                  <a:pt x="1358" y="752"/>
                </a:lnTo>
                <a:lnTo>
                  <a:pt x="1358" y="755"/>
                </a:lnTo>
                <a:lnTo>
                  <a:pt x="1358" y="759"/>
                </a:lnTo>
                <a:lnTo>
                  <a:pt x="1359" y="763"/>
                </a:lnTo>
                <a:lnTo>
                  <a:pt x="1360" y="768"/>
                </a:lnTo>
                <a:lnTo>
                  <a:pt x="1361" y="770"/>
                </a:lnTo>
                <a:lnTo>
                  <a:pt x="1362" y="773"/>
                </a:lnTo>
                <a:lnTo>
                  <a:pt x="1365" y="774"/>
                </a:lnTo>
                <a:lnTo>
                  <a:pt x="1368" y="774"/>
                </a:lnTo>
                <a:lnTo>
                  <a:pt x="1371" y="774"/>
                </a:lnTo>
                <a:lnTo>
                  <a:pt x="1371" y="771"/>
                </a:lnTo>
                <a:lnTo>
                  <a:pt x="1372" y="769"/>
                </a:lnTo>
                <a:lnTo>
                  <a:pt x="1372" y="767"/>
                </a:lnTo>
                <a:lnTo>
                  <a:pt x="1373" y="764"/>
                </a:lnTo>
                <a:lnTo>
                  <a:pt x="1374" y="763"/>
                </a:lnTo>
                <a:lnTo>
                  <a:pt x="1376" y="764"/>
                </a:lnTo>
                <a:lnTo>
                  <a:pt x="1378" y="766"/>
                </a:lnTo>
                <a:lnTo>
                  <a:pt x="1382" y="771"/>
                </a:lnTo>
                <a:lnTo>
                  <a:pt x="1388" y="775"/>
                </a:lnTo>
                <a:lnTo>
                  <a:pt x="1392" y="776"/>
                </a:lnTo>
                <a:lnTo>
                  <a:pt x="1395" y="776"/>
                </a:lnTo>
                <a:lnTo>
                  <a:pt x="1399" y="776"/>
                </a:lnTo>
                <a:lnTo>
                  <a:pt x="1402" y="775"/>
                </a:lnTo>
                <a:lnTo>
                  <a:pt x="1404" y="776"/>
                </a:lnTo>
                <a:lnTo>
                  <a:pt x="1408" y="776"/>
                </a:lnTo>
                <a:lnTo>
                  <a:pt x="1409" y="777"/>
                </a:lnTo>
                <a:lnTo>
                  <a:pt x="1410" y="777"/>
                </a:lnTo>
                <a:lnTo>
                  <a:pt x="1411" y="778"/>
                </a:lnTo>
                <a:lnTo>
                  <a:pt x="1411" y="781"/>
                </a:lnTo>
                <a:lnTo>
                  <a:pt x="1410" y="782"/>
                </a:lnTo>
                <a:lnTo>
                  <a:pt x="1407" y="782"/>
                </a:lnTo>
                <a:close/>
                <a:moveTo>
                  <a:pt x="1400" y="852"/>
                </a:moveTo>
                <a:lnTo>
                  <a:pt x="1401" y="850"/>
                </a:lnTo>
                <a:lnTo>
                  <a:pt x="1402" y="848"/>
                </a:lnTo>
                <a:lnTo>
                  <a:pt x="1401" y="850"/>
                </a:lnTo>
                <a:lnTo>
                  <a:pt x="1400" y="852"/>
                </a:lnTo>
                <a:close/>
                <a:moveTo>
                  <a:pt x="1386" y="858"/>
                </a:moveTo>
                <a:lnTo>
                  <a:pt x="1378" y="858"/>
                </a:lnTo>
                <a:lnTo>
                  <a:pt x="1368" y="859"/>
                </a:lnTo>
                <a:lnTo>
                  <a:pt x="1378" y="858"/>
                </a:lnTo>
                <a:lnTo>
                  <a:pt x="1386" y="858"/>
                </a:lnTo>
                <a:lnTo>
                  <a:pt x="1389" y="855"/>
                </a:lnTo>
                <a:lnTo>
                  <a:pt x="1393" y="854"/>
                </a:lnTo>
                <a:lnTo>
                  <a:pt x="1389" y="855"/>
                </a:lnTo>
                <a:lnTo>
                  <a:pt x="1386" y="858"/>
                </a:lnTo>
                <a:close/>
                <a:moveTo>
                  <a:pt x="1278" y="876"/>
                </a:moveTo>
                <a:lnTo>
                  <a:pt x="1272" y="872"/>
                </a:lnTo>
                <a:lnTo>
                  <a:pt x="1265" y="869"/>
                </a:lnTo>
                <a:lnTo>
                  <a:pt x="1263" y="868"/>
                </a:lnTo>
                <a:lnTo>
                  <a:pt x="1258" y="866"/>
                </a:lnTo>
                <a:lnTo>
                  <a:pt x="1257" y="866"/>
                </a:lnTo>
                <a:lnTo>
                  <a:pt x="1256" y="867"/>
                </a:lnTo>
                <a:lnTo>
                  <a:pt x="1256" y="869"/>
                </a:lnTo>
                <a:lnTo>
                  <a:pt x="1258" y="874"/>
                </a:lnTo>
                <a:lnTo>
                  <a:pt x="1257" y="874"/>
                </a:lnTo>
                <a:lnTo>
                  <a:pt x="1257" y="875"/>
                </a:lnTo>
                <a:lnTo>
                  <a:pt x="1256" y="879"/>
                </a:lnTo>
                <a:lnTo>
                  <a:pt x="1255" y="882"/>
                </a:lnTo>
                <a:lnTo>
                  <a:pt x="1255" y="886"/>
                </a:lnTo>
                <a:lnTo>
                  <a:pt x="1256" y="889"/>
                </a:lnTo>
                <a:lnTo>
                  <a:pt x="1256" y="895"/>
                </a:lnTo>
                <a:lnTo>
                  <a:pt x="1255" y="902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03"/>
                </a:lnTo>
                <a:lnTo>
                  <a:pt x="1255" y="911"/>
                </a:lnTo>
                <a:lnTo>
                  <a:pt x="1255" y="918"/>
                </a:lnTo>
                <a:lnTo>
                  <a:pt x="1255" y="911"/>
                </a:lnTo>
                <a:lnTo>
                  <a:pt x="1255" y="903"/>
                </a:lnTo>
                <a:lnTo>
                  <a:pt x="1252" y="903"/>
                </a:lnTo>
                <a:lnTo>
                  <a:pt x="1251" y="903"/>
                </a:lnTo>
                <a:lnTo>
                  <a:pt x="1250" y="904"/>
                </a:lnTo>
                <a:lnTo>
                  <a:pt x="1250" y="906"/>
                </a:lnTo>
                <a:lnTo>
                  <a:pt x="1250" y="904"/>
                </a:lnTo>
                <a:lnTo>
                  <a:pt x="1251" y="903"/>
                </a:lnTo>
                <a:lnTo>
                  <a:pt x="1248" y="892"/>
                </a:lnTo>
                <a:lnTo>
                  <a:pt x="1245" y="881"/>
                </a:lnTo>
                <a:lnTo>
                  <a:pt x="1243" y="874"/>
                </a:lnTo>
                <a:lnTo>
                  <a:pt x="1240" y="867"/>
                </a:lnTo>
                <a:lnTo>
                  <a:pt x="1240" y="865"/>
                </a:lnTo>
                <a:lnTo>
                  <a:pt x="1237" y="865"/>
                </a:lnTo>
                <a:lnTo>
                  <a:pt x="1236" y="865"/>
                </a:lnTo>
                <a:lnTo>
                  <a:pt x="1234" y="865"/>
                </a:lnTo>
                <a:lnTo>
                  <a:pt x="1233" y="866"/>
                </a:lnTo>
                <a:lnTo>
                  <a:pt x="1233" y="867"/>
                </a:lnTo>
                <a:lnTo>
                  <a:pt x="1233" y="869"/>
                </a:lnTo>
                <a:lnTo>
                  <a:pt x="1233" y="871"/>
                </a:lnTo>
                <a:lnTo>
                  <a:pt x="1235" y="874"/>
                </a:lnTo>
                <a:lnTo>
                  <a:pt x="1236" y="878"/>
                </a:lnTo>
                <a:lnTo>
                  <a:pt x="1236" y="880"/>
                </a:lnTo>
                <a:lnTo>
                  <a:pt x="1234" y="882"/>
                </a:lnTo>
                <a:lnTo>
                  <a:pt x="1231" y="882"/>
                </a:lnTo>
                <a:lnTo>
                  <a:pt x="1229" y="881"/>
                </a:lnTo>
                <a:lnTo>
                  <a:pt x="1227" y="878"/>
                </a:lnTo>
                <a:lnTo>
                  <a:pt x="1224" y="875"/>
                </a:lnTo>
                <a:lnTo>
                  <a:pt x="1218" y="869"/>
                </a:lnTo>
                <a:lnTo>
                  <a:pt x="1213" y="865"/>
                </a:lnTo>
                <a:lnTo>
                  <a:pt x="1207" y="859"/>
                </a:lnTo>
                <a:lnTo>
                  <a:pt x="1202" y="853"/>
                </a:lnTo>
                <a:lnTo>
                  <a:pt x="1197" y="847"/>
                </a:lnTo>
                <a:lnTo>
                  <a:pt x="1190" y="843"/>
                </a:lnTo>
                <a:lnTo>
                  <a:pt x="1183" y="840"/>
                </a:lnTo>
                <a:lnTo>
                  <a:pt x="1176" y="838"/>
                </a:lnTo>
                <a:lnTo>
                  <a:pt x="1174" y="838"/>
                </a:lnTo>
                <a:lnTo>
                  <a:pt x="1173" y="839"/>
                </a:lnTo>
                <a:lnTo>
                  <a:pt x="1172" y="840"/>
                </a:lnTo>
                <a:lnTo>
                  <a:pt x="1171" y="841"/>
                </a:lnTo>
                <a:lnTo>
                  <a:pt x="1172" y="844"/>
                </a:lnTo>
                <a:lnTo>
                  <a:pt x="1174" y="845"/>
                </a:lnTo>
                <a:lnTo>
                  <a:pt x="1181" y="848"/>
                </a:lnTo>
                <a:lnTo>
                  <a:pt x="1188" y="853"/>
                </a:lnTo>
                <a:lnTo>
                  <a:pt x="1194" y="858"/>
                </a:lnTo>
                <a:lnTo>
                  <a:pt x="1200" y="862"/>
                </a:lnTo>
                <a:lnTo>
                  <a:pt x="1202" y="865"/>
                </a:lnTo>
                <a:lnTo>
                  <a:pt x="1203" y="867"/>
                </a:lnTo>
                <a:lnTo>
                  <a:pt x="1203" y="869"/>
                </a:lnTo>
                <a:lnTo>
                  <a:pt x="1202" y="872"/>
                </a:lnTo>
                <a:lnTo>
                  <a:pt x="1200" y="875"/>
                </a:lnTo>
                <a:lnTo>
                  <a:pt x="1200" y="879"/>
                </a:lnTo>
                <a:lnTo>
                  <a:pt x="1202" y="882"/>
                </a:lnTo>
                <a:lnTo>
                  <a:pt x="1204" y="885"/>
                </a:lnTo>
                <a:lnTo>
                  <a:pt x="1208" y="889"/>
                </a:lnTo>
                <a:lnTo>
                  <a:pt x="1211" y="893"/>
                </a:lnTo>
                <a:lnTo>
                  <a:pt x="1214" y="897"/>
                </a:lnTo>
                <a:lnTo>
                  <a:pt x="1216" y="902"/>
                </a:lnTo>
                <a:lnTo>
                  <a:pt x="1217" y="907"/>
                </a:lnTo>
                <a:lnTo>
                  <a:pt x="1216" y="910"/>
                </a:lnTo>
                <a:lnTo>
                  <a:pt x="1215" y="913"/>
                </a:lnTo>
                <a:lnTo>
                  <a:pt x="1213" y="914"/>
                </a:lnTo>
                <a:lnTo>
                  <a:pt x="1209" y="914"/>
                </a:lnTo>
                <a:lnTo>
                  <a:pt x="1206" y="911"/>
                </a:lnTo>
                <a:lnTo>
                  <a:pt x="1202" y="909"/>
                </a:lnTo>
                <a:lnTo>
                  <a:pt x="1202" y="906"/>
                </a:lnTo>
                <a:lnTo>
                  <a:pt x="1202" y="901"/>
                </a:lnTo>
                <a:lnTo>
                  <a:pt x="1201" y="897"/>
                </a:lnTo>
                <a:lnTo>
                  <a:pt x="1200" y="894"/>
                </a:lnTo>
                <a:lnTo>
                  <a:pt x="1197" y="890"/>
                </a:lnTo>
                <a:lnTo>
                  <a:pt x="1192" y="885"/>
                </a:lnTo>
                <a:lnTo>
                  <a:pt x="1187" y="879"/>
                </a:lnTo>
                <a:lnTo>
                  <a:pt x="1186" y="878"/>
                </a:lnTo>
                <a:lnTo>
                  <a:pt x="1183" y="876"/>
                </a:lnTo>
                <a:lnTo>
                  <a:pt x="1182" y="875"/>
                </a:lnTo>
                <a:lnTo>
                  <a:pt x="1180" y="876"/>
                </a:lnTo>
                <a:lnTo>
                  <a:pt x="1179" y="879"/>
                </a:lnTo>
                <a:lnTo>
                  <a:pt x="1179" y="881"/>
                </a:lnTo>
                <a:lnTo>
                  <a:pt x="1180" y="882"/>
                </a:lnTo>
                <a:lnTo>
                  <a:pt x="1181" y="883"/>
                </a:lnTo>
                <a:lnTo>
                  <a:pt x="1186" y="889"/>
                </a:lnTo>
                <a:lnTo>
                  <a:pt x="1189" y="894"/>
                </a:lnTo>
                <a:lnTo>
                  <a:pt x="1192" y="901"/>
                </a:lnTo>
                <a:lnTo>
                  <a:pt x="1192" y="908"/>
                </a:lnTo>
                <a:lnTo>
                  <a:pt x="1194" y="913"/>
                </a:lnTo>
                <a:lnTo>
                  <a:pt x="1196" y="917"/>
                </a:lnTo>
                <a:lnTo>
                  <a:pt x="1190" y="916"/>
                </a:lnTo>
                <a:lnTo>
                  <a:pt x="1187" y="913"/>
                </a:lnTo>
                <a:lnTo>
                  <a:pt x="1183" y="909"/>
                </a:lnTo>
                <a:lnTo>
                  <a:pt x="1182" y="904"/>
                </a:lnTo>
                <a:lnTo>
                  <a:pt x="1182" y="903"/>
                </a:lnTo>
                <a:lnTo>
                  <a:pt x="1182" y="903"/>
                </a:lnTo>
                <a:lnTo>
                  <a:pt x="1176" y="896"/>
                </a:lnTo>
                <a:lnTo>
                  <a:pt x="1173" y="888"/>
                </a:lnTo>
                <a:lnTo>
                  <a:pt x="1172" y="880"/>
                </a:lnTo>
                <a:lnTo>
                  <a:pt x="1172" y="872"/>
                </a:lnTo>
                <a:lnTo>
                  <a:pt x="1171" y="869"/>
                </a:lnTo>
                <a:lnTo>
                  <a:pt x="1169" y="868"/>
                </a:lnTo>
                <a:lnTo>
                  <a:pt x="1168" y="869"/>
                </a:lnTo>
                <a:lnTo>
                  <a:pt x="1167" y="871"/>
                </a:lnTo>
                <a:lnTo>
                  <a:pt x="1165" y="879"/>
                </a:lnTo>
                <a:lnTo>
                  <a:pt x="1161" y="889"/>
                </a:lnTo>
                <a:lnTo>
                  <a:pt x="1161" y="892"/>
                </a:lnTo>
                <a:lnTo>
                  <a:pt x="1161" y="894"/>
                </a:lnTo>
                <a:lnTo>
                  <a:pt x="1160" y="896"/>
                </a:lnTo>
                <a:lnTo>
                  <a:pt x="1159" y="897"/>
                </a:lnTo>
                <a:lnTo>
                  <a:pt x="1157" y="897"/>
                </a:lnTo>
                <a:lnTo>
                  <a:pt x="1154" y="897"/>
                </a:lnTo>
                <a:lnTo>
                  <a:pt x="1152" y="897"/>
                </a:lnTo>
                <a:lnTo>
                  <a:pt x="1150" y="896"/>
                </a:lnTo>
                <a:lnTo>
                  <a:pt x="1142" y="892"/>
                </a:lnTo>
                <a:lnTo>
                  <a:pt x="1135" y="885"/>
                </a:lnTo>
                <a:lnTo>
                  <a:pt x="1131" y="878"/>
                </a:lnTo>
                <a:lnTo>
                  <a:pt x="1127" y="869"/>
                </a:lnTo>
                <a:lnTo>
                  <a:pt x="1127" y="867"/>
                </a:lnTo>
                <a:lnTo>
                  <a:pt x="1126" y="866"/>
                </a:lnTo>
                <a:lnTo>
                  <a:pt x="1125" y="864"/>
                </a:lnTo>
                <a:lnTo>
                  <a:pt x="1123" y="864"/>
                </a:lnTo>
                <a:lnTo>
                  <a:pt x="1121" y="865"/>
                </a:lnTo>
                <a:lnTo>
                  <a:pt x="1121" y="867"/>
                </a:lnTo>
                <a:lnTo>
                  <a:pt x="1123" y="871"/>
                </a:lnTo>
                <a:lnTo>
                  <a:pt x="1123" y="873"/>
                </a:lnTo>
                <a:lnTo>
                  <a:pt x="1123" y="875"/>
                </a:lnTo>
                <a:lnTo>
                  <a:pt x="1121" y="876"/>
                </a:lnTo>
                <a:lnTo>
                  <a:pt x="1120" y="876"/>
                </a:lnTo>
                <a:lnTo>
                  <a:pt x="1119" y="875"/>
                </a:lnTo>
                <a:lnTo>
                  <a:pt x="1113" y="873"/>
                </a:lnTo>
                <a:lnTo>
                  <a:pt x="1109" y="869"/>
                </a:lnTo>
                <a:lnTo>
                  <a:pt x="1104" y="866"/>
                </a:lnTo>
                <a:lnTo>
                  <a:pt x="1099" y="861"/>
                </a:lnTo>
                <a:lnTo>
                  <a:pt x="1096" y="857"/>
                </a:lnTo>
                <a:lnTo>
                  <a:pt x="1089" y="854"/>
                </a:lnTo>
                <a:lnTo>
                  <a:pt x="1088" y="853"/>
                </a:lnTo>
                <a:lnTo>
                  <a:pt x="1085" y="852"/>
                </a:lnTo>
                <a:lnTo>
                  <a:pt x="1084" y="850"/>
                </a:lnTo>
                <a:lnTo>
                  <a:pt x="1084" y="847"/>
                </a:lnTo>
                <a:lnTo>
                  <a:pt x="1086" y="845"/>
                </a:lnTo>
                <a:lnTo>
                  <a:pt x="1088" y="845"/>
                </a:lnTo>
                <a:lnTo>
                  <a:pt x="1090" y="845"/>
                </a:lnTo>
                <a:lnTo>
                  <a:pt x="1092" y="845"/>
                </a:lnTo>
                <a:lnTo>
                  <a:pt x="1096" y="846"/>
                </a:lnTo>
                <a:lnTo>
                  <a:pt x="1099" y="845"/>
                </a:lnTo>
                <a:lnTo>
                  <a:pt x="1102" y="845"/>
                </a:lnTo>
                <a:lnTo>
                  <a:pt x="1104" y="845"/>
                </a:lnTo>
                <a:lnTo>
                  <a:pt x="1106" y="847"/>
                </a:lnTo>
                <a:lnTo>
                  <a:pt x="1107" y="848"/>
                </a:lnTo>
                <a:lnTo>
                  <a:pt x="1109" y="852"/>
                </a:lnTo>
                <a:lnTo>
                  <a:pt x="1111" y="854"/>
                </a:lnTo>
                <a:lnTo>
                  <a:pt x="1114" y="855"/>
                </a:lnTo>
                <a:lnTo>
                  <a:pt x="1118" y="858"/>
                </a:lnTo>
                <a:lnTo>
                  <a:pt x="1118" y="848"/>
                </a:lnTo>
                <a:lnTo>
                  <a:pt x="1118" y="839"/>
                </a:lnTo>
                <a:lnTo>
                  <a:pt x="1118" y="836"/>
                </a:lnTo>
                <a:lnTo>
                  <a:pt x="1119" y="832"/>
                </a:lnTo>
                <a:lnTo>
                  <a:pt x="1121" y="830"/>
                </a:lnTo>
                <a:lnTo>
                  <a:pt x="1124" y="829"/>
                </a:lnTo>
                <a:lnTo>
                  <a:pt x="1126" y="827"/>
                </a:lnTo>
                <a:lnTo>
                  <a:pt x="1128" y="826"/>
                </a:lnTo>
                <a:lnTo>
                  <a:pt x="1132" y="827"/>
                </a:lnTo>
                <a:lnTo>
                  <a:pt x="1135" y="827"/>
                </a:lnTo>
                <a:lnTo>
                  <a:pt x="1137" y="829"/>
                </a:lnTo>
                <a:lnTo>
                  <a:pt x="1139" y="829"/>
                </a:lnTo>
                <a:lnTo>
                  <a:pt x="1142" y="830"/>
                </a:lnTo>
                <a:lnTo>
                  <a:pt x="1145" y="832"/>
                </a:lnTo>
                <a:lnTo>
                  <a:pt x="1145" y="834"/>
                </a:lnTo>
                <a:lnTo>
                  <a:pt x="1144" y="838"/>
                </a:lnTo>
                <a:lnTo>
                  <a:pt x="1140" y="843"/>
                </a:lnTo>
                <a:lnTo>
                  <a:pt x="1139" y="848"/>
                </a:lnTo>
                <a:lnTo>
                  <a:pt x="1139" y="852"/>
                </a:lnTo>
                <a:lnTo>
                  <a:pt x="1141" y="854"/>
                </a:lnTo>
                <a:lnTo>
                  <a:pt x="1142" y="854"/>
                </a:lnTo>
                <a:lnTo>
                  <a:pt x="1146" y="853"/>
                </a:lnTo>
                <a:lnTo>
                  <a:pt x="1152" y="850"/>
                </a:lnTo>
                <a:lnTo>
                  <a:pt x="1159" y="847"/>
                </a:lnTo>
                <a:lnTo>
                  <a:pt x="1161" y="846"/>
                </a:lnTo>
                <a:lnTo>
                  <a:pt x="1164" y="845"/>
                </a:lnTo>
                <a:lnTo>
                  <a:pt x="1164" y="843"/>
                </a:lnTo>
                <a:lnTo>
                  <a:pt x="1164" y="839"/>
                </a:lnTo>
                <a:lnTo>
                  <a:pt x="1162" y="837"/>
                </a:lnTo>
                <a:lnTo>
                  <a:pt x="1161" y="836"/>
                </a:lnTo>
                <a:lnTo>
                  <a:pt x="1159" y="836"/>
                </a:lnTo>
                <a:lnTo>
                  <a:pt x="1158" y="838"/>
                </a:lnTo>
                <a:lnTo>
                  <a:pt x="1157" y="839"/>
                </a:lnTo>
                <a:lnTo>
                  <a:pt x="1157" y="840"/>
                </a:lnTo>
                <a:lnTo>
                  <a:pt x="1155" y="841"/>
                </a:lnTo>
                <a:lnTo>
                  <a:pt x="1154" y="840"/>
                </a:lnTo>
                <a:lnTo>
                  <a:pt x="1153" y="840"/>
                </a:lnTo>
                <a:lnTo>
                  <a:pt x="1153" y="838"/>
                </a:lnTo>
                <a:lnTo>
                  <a:pt x="1153" y="837"/>
                </a:lnTo>
                <a:lnTo>
                  <a:pt x="1153" y="834"/>
                </a:lnTo>
                <a:lnTo>
                  <a:pt x="1153" y="833"/>
                </a:lnTo>
                <a:lnTo>
                  <a:pt x="1155" y="832"/>
                </a:lnTo>
                <a:lnTo>
                  <a:pt x="1160" y="829"/>
                </a:lnTo>
                <a:lnTo>
                  <a:pt x="1162" y="823"/>
                </a:lnTo>
                <a:lnTo>
                  <a:pt x="1164" y="818"/>
                </a:lnTo>
                <a:lnTo>
                  <a:pt x="1166" y="812"/>
                </a:lnTo>
                <a:lnTo>
                  <a:pt x="1164" y="811"/>
                </a:lnTo>
                <a:lnTo>
                  <a:pt x="1164" y="811"/>
                </a:lnTo>
                <a:lnTo>
                  <a:pt x="1161" y="813"/>
                </a:lnTo>
                <a:lnTo>
                  <a:pt x="1160" y="816"/>
                </a:lnTo>
                <a:lnTo>
                  <a:pt x="1159" y="817"/>
                </a:lnTo>
                <a:lnTo>
                  <a:pt x="1155" y="818"/>
                </a:lnTo>
                <a:lnTo>
                  <a:pt x="1154" y="816"/>
                </a:lnTo>
                <a:lnTo>
                  <a:pt x="1153" y="815"/>
                </a:lnTo>
                <a:lnTo>
                  <a:pt x="1153" y="811"/>
                </a:lnTo>
                <a:lnTo>
                  <a:pt x="1153" y="809"/>
                </a:lnTo>
                <a:lnTo>
                  <a:pt x="1152" y="806"/>
                </a:lnTo>
                <a:lnTo>
                  <a:pt x="1151" y="804"/>
                </a:lnTo>
                <a:lnTo>
                  <a:pt x="1151" y="803"/>
                </a:lnTo>
                <a:lnTo>
                  <a:pt x="1150" y="802"/>
                </a:lnTo>
                <a:lnTo>
                  <a:pt x="1151" y="803"/>
                </a:lnTo>
                <a:lnTo>
                  <a:pt x="1151" y="804"/>
                </a:lnTo>
                <a:lnTo>
                  <a:pt x="1157" y="805"/>
                </a:lnTo>
                <a:lnTo>
                  <a:pt x="1161" y="806"/>
                </a:lnTo>
                <a:lnTo>
                  <a:pt x="1162" y="808"/>
                </a:lnTo>
                <a:lnTo>
                  <a:pt x="1162" y="809"/>
                </a:lnTo>
                <a:lnTo>
                  <a:pt x="1164" y="809"/>
                </a:lnTo>
                <a:lnTo>
                  <a:pt x="1166" y="808"/>
                </a:lnTo>
                <a:lnTo>
                  <a:pt x="1168" y="808"/>
                </a:lnTo>
                <a:lnTo>
                  <a:pt x="1171" y="809"/>
                </a:lnTo>
                <a:lnTo>
                  <a:pt x="1171" y="808"/>
                </a:lnTo>
                <a:lnTo>
                  <a:pt x="1171" y="806"/>
                </a:lnTo>
                <a:lnTo>
                  <a:pt x="1171" y="808"/>
                </a:lnTo>
                <a:lnTo>
                  <a:pt x="1171" y="809"/>
                </a:lnTo>
                <a:lnTo>
                  <a:pt x="1172" y="810"/>
                </a:lnTo>
                <a:lnTo>
                  <a:pt x="1174" y="811"/>
                </a:lnTo>
                <a:lnTo>
                  <a:pt x="1190" y="817"/>
                </a:lnTo>
                <a:lnTo>
                  <a:pt x="1208" y="824"/>
                </a:lnTo>
                <a:lnTo>
                  <a:pt x="1224" y="831"/>
                </a:lnTo>
                <a:lnTo>
                  <a:pt x="1240" y="840"/>
                </a:lnTo>
                <a:lnTo>
                  <a:pt x="1249" y="846"/>
                </a:lnTo>
                <a:lnTo>
                  <a:pt x="1259" y="851"/>
                </a:lnTo>
                <a:lnTo>
                  <a:pt x="1265" y="855"/>
                </a:lnTo>
                <a:lnTo>
                  <a:pt x="1272" y="859"/>
                </a:lnTo>
                <a:lnTo>
                  <a:pt x="1279" y="862"/>
                </a:lnTo>
                <a:lnTo>
                  <a:pt x="1286" y="865"/>
                </a:lnTo>
                <a:lnTo>
                  <a:pt x="1286" y="865"/>
                </a:lnTo>
                <a:lnTo>
                  <a:pt x="1286" y="866"/>
                </a:lnTo>
                <a:lnTo>
                  <a:pt x="1286" y="868"/>
                </a:lnTo>
                <a:lnTo>
                  <a:pt x="1287" y="869"/>
                </a:lnTo>
                <a:lnTo>
                  <a:pt x="1289" y="869"/>
                </a:lnTo>
                <a:lnTo>
                  <a:pt x="1289" y="874"/>
                </a:lnTo>
                <a:lnTo>
                  <a:pt x="1289" y="879"/>
                </a:lnTo>
                <a:lnTo>
                  <a:pt x="1286" y="879"/>
                </a:lnTo>
                <a:lnTo>
                  <a:pt x="1284" y="879"/>
                </a:lnTo>
                <a:lnTo>
                  <a:pt x="1282" y="878"/>
                </a:lnTo>
                <a:lnTo>
                  <a:pt x="1278" y="876"/>
                </a:lnTo>
                <a:close/>
                <a:moveTo>
                  <a:pt x="1182" y="952"/>
                </a:moveTo>
                <a:lnTo>
                  <a:pt x="1186" y="950"/>
                </a:lnTo>
                <a:lnTo>
                  <a:pt x="1190" y="948"/>
                </a:lnTo>
                <a:lnTo>
                  <a:pt x="1190" y="948"/>
                </a:lnTo>
                <a:lnTo>
                  <a:pt x="1186" y="950"/>
                </a:lnTo>
                <a:lnTo>
                  <a:pt x="1182" y="952"/>
                </a:lnTo>
                <a:close/>
                <a:moveTo>
                  <a:pt x="1155" y="962"/>
                </a:moveTo>
                <a:lnTo>
                  <a:pt x="1158" y="963"/>
                </a:lnTo>
                <a:lnTo>
                  <a:pt x="1159" y="965"/>
                </a:lnTo>
                <a:lnTo>
                  <a:pt x="1158" y="963"/>
                </a:lnTo>
                <a:lnTo>
                  <a:pt x="1155" y="962"/>
                </a:lnTo>
                <a:close/>
                <a:moveTo>
                  <a:pt x="1155" y="944"/>
                </a:moveTo>
                <a:lnTo>
                  <a:pt x="1155" y="944"/>
                </a:lnTo>
                <a:lnTo>
                  <a:pt x="1155" y="943"/>
                </a:lnTo>
                <a:lnTo>
                  <a:pt x="1155" y="944"/>
                </a:lnTo>
                <a:lnTo>
                  <a:pt x="1155" y="944"/>
                </a:lnTo>
                <a:close/>
                <a:moveTo>
                  <a:pt x="1150" y="939"/>
                </a:moveTo>
                <a:lnTo>
                  <a:pt x="1152" y="945"/>
                </a:lnTo>
                <a:lnTo>
                  <a:pt x="1152" y="951"/>
                </a:lnTo>
                <a:lnTo>
                  <a:pt x="1151" y="952"/>
                </a:lnTo>
                <a:lnTo>
                  <a:pt x="1150" y="952"/>
                </a:lnTo>
                <a:lnTo>
                  <a:pt x="1151" y="952"/>
                </a:lnTo>
                <a:lnTo>
                  <a:pt x="1152" y="951"/>
                </a:lnTo>
                <a:lnTo>
                  <a:pt x="1152" y="945"/>
                </a:lnTo>
                <a:lnTo>
                  <a:pt x="1150" y="939"/>
                </a:lnTo>
                <a:close/>
                <a:moveTo>
                  <a:pt x="1162" y="978"/>
                </a:moveTo>
                <a:lnTo>
                  <a:pt x="1162" y="977"/>
                </a:lnTo>
                <a:lnTo>
                  <a:pt x="1162" y="977"/>
                </a:lnTo>
                <a:lnTo>
                  <a:pt x="1162" y="973"/>
                </a:lnTo>
                <a:lnTo>
                  <a:pt x="1162" y="971"/>
                </a:lnTo>
                <a:lnTo>
                  <a:pt x="1154" y="967"/>
                </a:lnTo>
                <a:lnTo>
                  <a:pt x="1148" y="963"/>
                </a:lnTo>
                <a:lnTo>
                  <a:pt x="1154" y="967"/>
                </a:lnTo>
                <a:lnTo>
                  <a:pt x="1162" y="971"/>
                </a:lnTo>
                <a:lnTo>
                  <a:pt x="1162" y="973"/>
                </a:lnTo>
                <a:lnTo>
                  <a:pt x="1162" y="977"/>
                </a:lnTo>
                <a:lnTo>
                  <a:pt x="1162" y="977"/>
                </a:lnTo>
                <a:lnTo>
                  <a:pt x="1162" y="978"/>
                </a:lnTo>
                <a:close/>
                <a:moveTo>
                  <a:pt x="1144" y="966"/>
                </a:moveTo>
                <a:lnTo>
                  <a:pt x="1144" y="966"/>
                </a:lnTo>
                <a:lnTo>
                  <a:pt x="1142" y="965"/>
                </a:lnTo>
                <a:lnTo>
                  <a:pt x="1144" y="966"/>
                </a:lnTo>
                <a:lnTo>
                  <a:pt x="1144" y="966"/>
                </a:lnTo>
                <a:lnTo>
                  <a:pt x="1146" y="967"/>
                </a:lnTo>
                <a:lnTo>
                  <a:pt x="1147" y="969"/>
                </a:lnTo>
                <a:lnTo>
                  <a:pt x="1146" y="967"/>
                </a:lnTo>
                <a:lnTo>
                  <a:pt x="1144" y="966"/>
                </a:lnTo>
                <a:close/>
                <a:moveTo>
                  <a:pt x="1092" y="874"/>
                </a:moveTo>
                <a:lnTo>
                  <a:pt x="1090" y="872"/>
                </a:lnTo>
                <a:lnTo>
                  <a:pt x="1088" y="869"/>
                </a:lnTo>
                <a:lnTo>
                  <a:pt x="1090" y="872"/>
                </a:lnTo>
                <a:lnTo>
                  <a:pt x="1092" y="874"/>
                </a:lnTo>
                <a:lnTo>
                  <a:pt x="1104" y="885"/>
                </a:lnTo>
                <a:lnTo>
                  <a:pt x="1116" y="895"/>
                </a:lnTo>
                <a:lnTo>
                  <a:pt x="1128" y="906"/>
                </a:lnTo>
                <a:lnTo>
                  <a:pt x="1140" y="916"/>
                </a:lnTo>
                <a:lnTo>
                  <a:pt x="1128" y="906"/>
                </a:lnTo>
                <a:lnTo>
                  <a:pt x="1116" y="895"/>
                </a:lnTo>
                <a:lnTo>
                  <a:pt x="1104" y="885"/>
                </a:lnTo>
                <a:lnTo>
                  <a:pt x="1092" y="874"/>
                </a:lnTo>
                <a:close/>
                <a:moveTo>
                  <a:pt x="1134" y="986"/>
                </a:moveTo>
                <a:lnTo>
                  <a:pt x="1134" y="986"/>
                </a:lnTo>
                <a:lnTo>
                  <a:pt x="1135" y="988"/>
                </a:lnTo>
                <a:lnTo>
                  <a:pt x="1135" y="991"/>
                </a:lnTo>
                <a:lnTo>
                  <a:pt x="1135" y="988"/>
                </a:lnTo>
                <a:lnTo>
                  <a:pt x="1134" y="986"/>
                </a:lnTo>
                <a:close/>
                <a:moveTo>
                  <a:pt x="1135" y="993"/>
                </a:moveTo>
                <a:lnTo>
                  <a:pt x="1135" y="992"/>
                </a:lnTo>
                <a:lnTo>
                  <a:pt x="1135" y="991"/>
                </a:lnTo>
                <a:lnTo>
                  <a:pt x="1135" y="992"/>
                </a:lnTo>
                <a:lnTo>
                  <a:pt x="1135" y="993"/>
                </a:lnTo>
                <a:close/>
                <a:moveTo>
                  <a:pt x="1269" y="759"/>
                </a:moveTo>
                <a:lnTo>
                  <a:pt x="1270" y="763"/>
                </a:lnTo>
                <a:lnTo>
                  <a:pt x="1271" y="767"/>
                </a:lnTo>
                <a:lnTo>
                  <a:pt x="1270" y="763"/>
                </a:lnTo>
                <a:lnTo>
                  <a:pt x="1269" y="759"/>
                </a:lnTo>
                <a:lnTo>
                  <a:pt x="1269" y="759"/>
                </a:lnTo>
                <a:lnTo>
                  <a:pt x="1269" y="760"/>
                </a:lnTo>
                <a:lnTo>
                  <a:pt x="1269" y="759"/>
                </a:lnTo>
                <a:lnTo>
                  <a:pt x="1269" y="759"/>
                </a:lnTo>
                <a:close/>
                <a:moveTo>
                  <a:pt x="1269" y="759"/>
                </a:moveTo>
                <a:lnTo>
                  <a:pt x="1266" y="757"/>
                </a:lnTo>
                <a:lnTo>
                  <a:pt x="1265" y="756"/>
                </a:lnTo>
                <a:lnTo>
                  <a:pt x="1266" y="757"/>
                </a:lnTo>
                <a:lnTo>
                  <a:pt x="1269" y="759"/>
                </a:lnTo>
                <a:close/>
                <a:moveTo>
                  <a:pt x="1197" y="787"/>
                </a:moveTo>
                <a:lnTo>
                  <a:pt x="1199" y="789"/>
                </a:lnTo>
                <a:lnTo>
                  <a:pt x="1201" y="790"/>
                </a:lnTo>
                <a:lnTo>
                  <a:pt x="1202" y="790"/>
                </a:lnTo>
                <a:lnTo>
                  <a:pt x="1204" y="791"/>
                </a:lnTo>
                <a:lnTo>
                  <a:pt x="1208" y="794"/>
                </a:lnTo>
                <a:lnTo>
                  <a:pt x="1211" y="797"/>
                </a:lnTo>
                <a:lnTo>
                  <a:pt x="1215" y="799"/>
                </a:lnTo>
                <a:lnTo>
                  <a:pt x="1220" y="801"/>
                </a:lnTo>
                <a:lnTo>
                  <a:pt x="1217" y="795"/>
                </a:lnTo>
                <a:lnTo>
                  <a:pt x="1214" y="790"/>
                </a:lnTo>
                <a:lnTo>
                  <a:pt x="1217" y="789"/>
                </a:lnTo>
                <a:lnTo>
                  <a:pt x="1221" y="790"/>
                </a:lnTo>
                <a:lnTo>
                  <a:pt x="1224" y="791"/>
                </a:lnTo>
                <a:lnTo>
                  <a:pt x="1228" y="792"/>
                </a:lnTo>
                <a:lnTo>
                  <a:pt x="1233" y="797"/>
                </a:lnTo>
                <a:lnTo>
                  <a:pt x="1238" y="802"/>
                </a:lnTo>
                <a:lnTo>
                  <a:pt x="1248" y="811"/>
                </a:lnTo>
                <a:lnTo>
                  <a:pt x="1256" y="822"/>
                </a:lnTo>
                <a:lnTo>
                  <a:pt x="1263" y="832"/>
                </a:lnTo>
                <a:lnTo>
                  <a:pt x="1269" y="844"/>
                </a:lnTo>
                <a:lnTo>
                  <a:pt x="1270" y="847"/>
                </a:lnTo>
                <a:lnTo>
                  <a:pt x="1270" y="850"/>
                </a:lnTo>
                <a:lnTo>
                  <a:pt x="1269" y="850"/>
                </a:lnTo>
                <a:lnTo>
                  <a:pt x="1268" y="850"/>
                </a:lnTo>
                <a:lnTo>
                  <a:pt x="1264" y="850"/>
                </a:lnTo>
                <a:lnTo>
                  <a:pt x="1261" y="850"/>
                </a:lnTo>
                <a:lnTo>
                  <a:pt x="1257" y="843"/>
                </a:lnTo>
                <a:lnTo>
                  <a:pt x="1254" y="836"/>
                </a:lnTo>
                <a:lnTo>
                  <a:pt x="1248" y="831"/>
                </a:lnTo>
                <a:lnTo>
                  <a:pt x="1242" y="826"/>
                </a:lnTo>
                <a:lnTo>
                  <a:pt x="1229" y="818"/>
                </a:lnTo>
                <a:lnTo>
                  <a:pt x="1217" y="811"/>
                </a:lnTo>
                <a:lnTo>
                  <a:pt x="1208" y="805"/>
                </a:lnTo>
                <a:lnTo>
                  <a:pt x="1199" y="801"/>
                </a:lnTo>
                <a:lnTo>
                  <a:pt x="1194" y="797"/>
                </a:lnTo>
                <a:lnTo>
                  <a:pt x="1190" y="795"/>
                </a:lnTo>
                <a:lnTo>
                  <a:pt x="1187" y="790"/>
                </a:lnTo>
                <a:lnTo>
                  <a:pt x="1183" y="785"/>
                </a:lnTo>
                <a:lnTo>
                  <a:pt x="1182" y="784"/>
                </a:lnTo>
                <a:lnTo>
                  <a:pt x="1182" y="782"/>
                </a:lnTo>
                <a:lnTo>
                  <a:pt x="1186" y="783"/>
                </a:lnTo>
                <a:lnTo>
                  <a:pt x="1189" y="785"/>
                </a:lnTo>
                <a:lnTo>
                  <a:pt x="1194" y="787"/>
                </a:lnTo>
                <a:lnTo>
                  <a:pt x="1197" y="787"/>
                </a:lnTo>
                <a:close/>
                <a:moveTo>
                  <a:pt x="1222" y="546"/>
                </a:moveTo>
                <a:lnTo>
                  <a:pt x="1218" y="545"/>
                </a:lnTo>
                <a:lnTo>
                  <a:pt x="1216" y="543"/>
                </a:lnTo>
                <a:lnTo>
                  <a:pt x="1218" y="545"/>
                </a:lnTo>
                <a:lnTo>
                  <a:pt x="1222" y="546"/>
                </a:lnTo>
                <a:close/>
                <a:moveTo>
                  <a:pt x="1241" y="454"/>
                </a:moveTo>
                <a:lnTo>
                  <a:pt x="1241" y="453"/>
                </a:lnTo>
                <a:lnTo>
                  <a:pt x="1241" y="453"/>
                </a:lnTo>
                <a:lnTo>
                  <a:pt x="1241" y="453"/>
                </a:lnTo>
                <a:lnTo>
                  <a:pt x="1241" y="454"/>
                </a:lnTo>
                <a:lnTo>
                  <a:pt x="1235" y="460"/>
                </a:lnTo>
                <a:lnTo>
                  <a:pt x="1229" y="467"/>
                </a:lnTo>
                <a:lnTo>
                  <a:pt x="1235" y="460"/>
                </a:lnTo>
                <a:lnTo>
                  <a:pt x="1241" y="454"/>
                </a:lnTo>
                <a:close/>
                <a:moveTo>
                  <a:pt x="1261" y="430"/>
                </a:moveTo>
                <a:lnTo>
                  <a:pt x="1261" y="427"/>
                </a:lnTo>
                <a:lnTo>
                  <a:pt x="1262" y="426"/>
                </a:lnTo>
                <a:lnTo>
                  <a:pt x="1261" y="427"/>
                </a:lnTo>
                <a:lnTo>
                  <a:pt x="1261" y="430"/>
                </a:lnTo>
                <a:lnTo>
                  <a:pt x="1258" y="432"/>
                </a:lnTo>
                <a:lnTo>
                  <a:pt x="1256" y="434"/>
                </a:lnTo>
                <a:lnTo>
                  <a:pt x="1258" y="432"/>
                </a:lnTo>
                <a:lnTo>
                  <a:pt x="1261" y="430"/>
                </a:lnTo>
                <a:close/>
                <a:moveTo>
                  <a:pt x="1269" y="585"/>
                </a:moveTo>
                <a:lnTo>
                  <a:pt x="1269" y="584"/>
                </a:lnTo>
                <a:lnTo>
                  <a:pt x="1269" y="582"/>
                </a:lnTo>
                <a:lnTo>
                  <a:pt x="1270" y="581"/>
                </a:lnTo>
                <a:lnTo>
                  <a:pt x="1272" y="581"/>
                </a:lnTo>
                <a:lnTo>
                  <a:pt x="1276" y="584"/>
                </a:lnTo>
                <a:lnTo>
                  <a:pt x="1279" y="586"/>
                </a:lnTo>
                <a:lnTo>
                  <a:pt x="1289" y="588"/>
                </a:lnTo>
                <a:lnTo>
                  <a:pt x="1298" y="593"/>
                </a:lnTo>
                <a:lnTo>
                  <a:pt x="1307" y="596"/>
                </a:lnTo>
                <a:lnTo>
                  <a:pt x="1316" y="601"/>
                </a:lnTo>
                <a:lnTo>
                  <a:pt x="1320" y="606"/>
                </a:lnTo>
                <a:lnTo>
                  <a:pt x="1325" y="612"/>
                </a:lnTo>
                <a:lnTo>
                  <a:pt x="1327" y="615"/>
                </a:lnTo>
                <a:lnTo>
                  <a:pt x="1330" y="619"/>
                </a:lnTo>
                <a:lnTo>
                  <a:pt x="1334" y="623"/>
                </a:lnTo>
                <a:lnTo>
                  <a:pt x="1335" y="628"/>
                </a:lnTo>
                <a:lnTo>
                  <a:pt x="1333" y="630"/>
                </a:lnTo>
                <a:lnTo>
                  <a:pt x="1328" y="634"/>
                </a:lnTo>
                <a:lnTo>
                  <a:pt x="1321" y="637"/>
                </a:lnTo>
                <a:lnTo>
                  <a:pt x="1314" y="640"/>
                </a:lnTo>
                <a:lnTo>
                  <a:pt x="1309" y="644"/>
                </a:lnTo>
                <a:lnTo>
                  <a:pt x="1303" y="650"/>
                </a:lnTo>
                <a:lnTo>
                  <a:pt x="1300" y="651"/>
                </a:lnTo>
                <a:lnTo>
                  <a:pt x="1298" y="650"/>
                </a:lnTo>
                <a:lnTo>
                  <a:pt x="1296" y="648"/>
                </a:lnTo>
                <a:lnTo>
                  <a:pt x="1295" y="645"/>
                </a:lnTo>
                <a:lnTo>
                  <a:pt x="1292" y="636"/>
                </a:lnTo>
                <a:lnTo>
                  <a:pt x="1290" y="628"/>
                </a:lnTo>
                <a:lnTo>
                  <a:pt x="1286" y="620"/>
                </a:lnTo>
                <a:lnTo>
                  <a:pt x="1284" y="610"/>
                </a:lnTo>
                <a:lnTo>
                  <a:pt x="1283" y="606"/>
                </a:lnTo>
                <a:lnTo>
                  <a:pt x="1279" y="602"/>
                </a:lnTo>
                <a:lnTo>
                  <a:pt x="1276" y="599"/>
                </a:lnTo>
                <a:lnTo>
                  <a:pt x="1271" y="595"/>
                </a:lnTo>
                <a:lnTo>
                  <a:pt x="1269" y="593"/>
                </a:lnTo>
                <a:lnTo>
                  <a:pt x="1268" y="591"/>
                </a:lnTo>
                <a:lnTo>
                  <a:pt x="1268" y="588"/>
                </a:lnTo>
                <a:lnTo>
                  <a:pt x="1269" y="585"/>
                </a:lnTo>
                <a:close/>
                <a:moveTo>
                  <a:pt x="1296" y="414"/>
                </a:moveTo>
                <a:lnTo>
                  <a:pt x="1298" y="414"/>
                </a:lnTo>
                <a:lnTo>
                  <a:pt x="1302" y="414"/>
                </a:lnTo>
                <a:lnTo>
                  <a:pt x="1298" y="414"/>
                </a:lnTo>
                <a:lnTo>
                  <a:pt x="1296" y="414"/>
                </a:lnTo>
                <a:lnTo>
                  <a:pt x="1296" y="414"/>
                </a:lnTo>
                <a:close/>
                <a:moveTo>
                  <a:pt x="1371" y="679"/>
                </a:moveTo>
                <a:lnTo>
                  <a:pt x="1367" y="677"/>
                </a:lnTo>
                <a:lnTo>
                  <a:pt x="1362" y="677"/>
                </a:lnTo>
                <a:lnTo>
                  <a:pt x="1362" y="677"/>
                </a:lnTo>
                <a:lnTo>
                  <a:pt x="1367" y="677"/>
                </a:lnTo>
                <a:lnTo>
                  <a:pt x="1371" y="679"/>
                </a:lnTo>
                <a:close/>
                <a:moveTo>
                  <a:pt x="1344" y="598"/>
                </a:moveTo>
                <a:lnTo>
                  <a:pt x="1346" y="595"/>
                </a:lnTo>
                <a:lnTo>
                  <a:pt x="1348" y="594"/>
                </a:lnTo>
                <a:lnTo>
                  <a:pt x="1351" y="594"/>
                </a:lnTo>
                <a:lnTo>
                  <a:pt x="1353" y="594"/>
                </a:lnTo>
                <a:lnTo>
                  <a:pt x="1359" y="595"/>
                </a:lnTo>
                <a:lnTo>
                  <a:pt x="1363" y="598"/>
                </a:lnTo>
                <a:lnTo>
                  <a:pt x="1367" y="600"/>
                </a:lnTo>
                <a:lnTo>
                  <a:pt x="1371" y="602"/>
                </a:lnTo>
                <a:lnTo>
                  <a:pt x="1378" y="609"/>
                </a:lnTo>
                <a:lnTo>
                  <a:pt x="1385" y="616"/>
                </a:lnTo>
                <a:lnTo>
                  <a:pt x="1386" y="617"/>
                </a:lnTo>
                <a:lnTo>
                  <a:pt x="1386" y="619"/>
                </a:lnTo>
                <a:lnTo>
                  <a:pt x="1386" y="620"/>
                </a:lnTo>
                <a:lnTo>
                  <a:pt x="1385" y="622"/>
                </a:lnTo>
                <a:lnTo>
                  <a:pt x="1382" y="623"/>
                </a:lnTo>
                <a:lnTo>
                  <a:pt x="1380" y="622"/>
                </a:lnTo>
                <a:lnTo>
                  <a:pt x="1379" y="621"/>
                </a:lnTo>
                <a:lnTo>
                  <a:pt x="1378" y="620"/>
                </a:lnTo>
                <a:lnTo>
                  <a:pt x="1372" y="613"/>
                </a:lnTo>
                <a:lnTo>
                  <a:pt x="1365" y="606"/>
                </a:lnTo>
                <a:lnTo>
                  <a:pt x="1360" y="603"/>
                </a:lnTo>
                <a:lnTo>
                  <a:pt x="1358" y="602"/>
                </a:lnTo>
                <a:lnTo>
                  <a:pt x="1354" y="605"/>
                </a:lnTo>
                <a:lnTo>
                  <a:pt x="1352" y="609"/>
                </a:lnTo>
                <a:lnTo>
                  <a:pt x="1349" y="613"/>
                </a:lnTo>
                <a:lnTo>
                  <a:pt x="1348" y="617"/>
                </a:lnTo>
                <a:lnTo>
                  <a:pt x="1347" y="619"/>
                </a:lnTo>
                <a:lnTo>
                  <a:pt x="1345" y="621"/>
                </a:lnTo>
                <a:lnTo>
                  <a:pt x="1342" y="621"/>
                </a:lnTo>
                <a:lnTo>
                  <a:pt x="1340" y="621"/>
                </a:lnTo>
                <a:lnTo>
                  <a:pt x="1338" y="620"/>
                </a:lnTo>
                <a:lnTo>
                  <a:pt x="1337" y="619"/>
                </a:lnTo>
                <a:lnTo>
                  <a:pt x="1335" y="617"/>
                </a:lnTo>
                <a:lnTo>
                  <a:pt x="1334" y="616"/>
                </a:lnTo>
                <a:lnTo>
                  <a:pt x="1333" y="612"/>
                </a:lnTo>
                <a:lnTo>
                  <a:pt x="1333" y="607"/>
                </a:lnTo>
                <a:lnTo>
                  <a:pt x="1332" y="603"/>
                </a:lnTo>
                <a:lnTo>
                  <a:pt x="1332" y="600"/>
                </a:lnTo>
                <a:lnTo>
                  <a:pt x="1335" y="603"/>
                </a:lnTo>
                <a:lnTo>
                  <a:pt x="1339" y="603"/>
                </a:lnTo>
                <a:lnTo>
                  <a:pt x="1342" y="601"/>
                </a:lnTo>
                <a:lnTo>
                  <a:pt x="1344" y="598"/>
                </a:lnTo>
                <a:close/>
                <a:moveTo>
                  <a:pt x="1346" y="561"/>
                </a:moveTo>
                <a:lnTo>
                  <a:pt x="1358" y="568"/>
                </a:lnTo>
                <a:lnTo>
                  <a:pt x="1368" y="575"/>
                </a:lnTo>
                <a:lnTo>
                  <a:pt x="1358" y="568"/>
                </a:lnTo>
                <a:lnTo>
                  <a:pt x="1346" y="561"/>
                </a:lnTo>
                <a:lnTo>
                  <a:pt x="1340" y="557"/>
                </a:lnTo>
                <a:lnTo>
                  <a:pt x="1334" y="552"/>
                </a:lnTo>
                <a:lnTo>
                  <a:pt x="1340" y="557"/>
                </a:lnTo>
                <a:lnTo>
                  <a:pt x="1346" y="561"/>
                </a:lnTo>
                <a:close/>
                <a:moveTo>
                  <a:pt x="1385" y="462"/>
                </a:moveTo>
                <a:lnTo>
                  <a:pt x="1385" y="465"/>
                </a:lnTo>
                <a:lnTo>
                  <a:pt x="1385" y="468"/>
                </a:lnTo>
                <a:lnTo>
                  <a:pt x="1385" y="465"/>
                </a:lnTo>
                <a:lnTo>
                  <a:pt x="1385" y="462"/>
                </a:lnTo>
                <a:close/>
                <a:moveTo>
                  <a:pt x="1389" y="483"/>
                </a:moveTo>
                <a:lnTo>
                  <a:pt x="1390" y="484"/>
                </a:lnTo>
                <a:lnTo>
                  <a:pt x="1392" y="487"/>
                </a:lnTo>
                <a:lnTo>
                  <a:pt x="1390" y="484"/>
                </a:lnTo>
                <a:lnTo>
                  <a:pt x="1389" y="483"/>
                </a:lnTo>
                <a:lnTo>
                  <a:pt x="1386" y="475"/>
                </a:lnTo>
                <a:lnTo>
                  <a:pt x="1385" y="468"/>
                </a:lnTo>
                <a:lnTo>
                  <a:pt x="1386" y="475"/>
                </a:lnTo>
                <a:lnTo>
                  <a:pt x="1389" y="483"/>
                </a:lnTo>
                <a:close/>
                <a:moveTo>
                  <a:pt x="1388" y="444"/>
                </a:moveTo>
                <a:lnTo>
                  <a:pt x="1388" y="444"/>
                </a:lnTo>
                <a:lnTo>
                  <a:pt x="1387" y="447"/>
                </a:lnTo>
                <a:lnTo>
                  <a:pt x="1387" y="451"/>
                </a:lnTo>
                <a:lnTo>
                  <a:pt x="1387" y="447"/>
                </a:lnTo>
                <a:lnTo>
                  <a:pt x="1388" y="444"/>
                </a:lnTo>
                <a:close/>
                <a:moveTo>
                  <a:pt x="1395" y="405"/>
                </a:moveTo>
                <a:lnTo>
                  <a:pt x="1393" y="406"/>
                </a:lnTo>
                <a:lnTo>
                  <a:pt x="1392" y="409"/>
                </a:lnTo>
                <a:lnTo>
                  <a:pt x="1390" y="411"/>
                </a:lnTo>
                <a:lnTo>
                  <a:pt x="1392" y="416"/>
                </a:lnTo>
                <a:lnTo>
                  <a:pt x="1390" y="411"/>
                </a:lnTo>
                <a:lnTo>
                  <a:pt x="1392" y="409"/>
                </a:lnTo>
                <a:lnTo>
                  <a:pt x="1393" y="406"/>
                </a:lnTo>
                <a:lnTo>
                  <a:pt x="1395" y="405"/>
                </a:lnTo>
                <a:close/>
                <a:moveTo>
                  <a:pt x="1388" y="650"/>
                </a:moveTo>
                <a:lnTo>
                  <a:pt x="1389" y="652"/>
                </a:lnTo>
                <a:lnTo>
                  <a:pt x="1392" y="655"/>
                </a:lnTo>
                <a:lnTo>
                  <a:pt x="1389" y="652"/>
                </a:lnTo>
                <a:lnTo>
                  <a:pt x="1388" y="650"/>
                </a:lnTo>
                <a:close/>
                <a:moveTo>
                  <a:pt x="1401" y="700"/>
                </a:moveTo>
                <a:lnTo>
                  <a:pt x="1401" y="700"/>
                </a:lnTo>
                <a:lnTo>
                  <a:pt x="1395" y="685"/>
                </a:lnTo>
                <a:lnTo>
                  <a:pt x="1390" y="671"/>
                </a:lnTo>
                <a:lnTo>
                  <a:pt x="1395" y="685"/>
                </a:lnTo>
                <a:lnTo>
                  <a:pt x="1401" y="700"/>
                </a:lnTo>
                <a:close/>
                <a:moveTo>
                  <a:pt x="1404" y="707"/>
                </a:moveTo>
                <a:lnTo>
                  <a:pt x="1403" y="705"/>
                </a:lnTo>
                <a:lnTo>
                  <a:pt x="1402" y="703"/>
                </a:lnTo>
                <a:lnTo>
                  <a:pt x="1403" y="705"/>
                </a:lnTo>
                <a:lnTo>
                  <a:pt x="1404" y="707"/>
                </a:lnTo>
                <a:close/>
                <a:moveTo>
                  <a:pt x="1413" y="332"/>
                </a:moveTo>
                <a:lnTo>
                  <a:pt x="1414" y="333"/>
                </a:lnTo>
                <a:lnTo>
                  <a:pt x="1414" y="333"/>
                </a:lnTo>
                <a:lnTo>
                  <a:pt x="1414" y="333"/>
                </a:lnTo>
                <a:lnTo>
                  <a:pt x="1413" y="332"/>
                </a:lnTo>
                <a:lnTo>
                  <a:pt x="1413" y="332"/>
                </a:lnTo>
                <a:lnTo>
                  <a:pt x="1413" y="330"/>
                </a:lnTo>
                <a:lnTo>
                  <a:pt x="1413" y="332"/>
                </a:lnTo>
                <a:lnTo>
                  <a:pt x="1413" y="332"/>
                </a:lnTo>
                <a:close/>
                <a:moveTo>
                  <a:pt x="1417" y="327"/>
                </a:moveTo>
                <a:lnTo>
                  <a:pt x="1418" y="327"/>
                </a:lnTo>
                <a:lnTo>
                  <a:pt x="1421" y="327"/>
                </a:lnTo>
                <a:lnTo>
                  <a:pt x="1418" y="327"/>
                </a:lnTo>
                <a:lnTo>
                  <a:pt x="1417" y="327"/>
                </a:lnTo>
                <a:lnTo>
                  <a:pt x="1417" y="329"/>
                </a:lnTo>
                <a:lnTo>
                  <a:pt x="1416" y="329"/>
                </a:lnTo>
                <a:lnTo>
                  <a:pt x="1417" y="329"/>
                </a:lnTo>
                <a:lnTo>
                  <a:pt x="1417" y="327"/>
                </a:lnTo>
                <a:close/>
                <a:moveTo>
                  <a:pt x="1434" y="508"/>
                </a:moveTo>
                <a:lnTo>
                  <a:pt x="1432" y="509"/>
                </a:lnTo>
                <a:lnTo>
                  <a:pt x="1431" y="510"/>
                </a:lnTo>
                <a:lnTo>
                  <a:pt x="1432" y="509"/>
                </a:lnTo>
                <a:lnTo>
                  <a:pt x="1434" y="508"/>
                </a:lnTo>
                <a:close/>
                <a:moveTo>
                  <a:pt x="1020" y="843"/>
                </a:moveTo>
                <a:lnTo>
                  <a:pt x="1003" y="827"/>
                </a:lnTo>
                <a:lnTo>
                  <a:pt x="987" y="812"/>
                </a:lnTo>
                <a:lnTo>
                  <a:pt x="1003" y="827"/>
                </a:lnTo>
                <a:lnTo>
                  <a:pt x="1020" y="843"/>
                </a:lnTo>
                <a:lnTo>
                  <a:pt x="1022" y="841"/>
                </a:lnTo>
                <a:lnTo>
                  <a:pt x="1024" y="840"/>
                </a:lnTo>
                <a:lnTo>
                  <a:pt x="1022" y="841"/>
                </a:lnTo>
                <a:lnTo>
                  <a:pt x="1020" y="843"/>
                </a:lnTo>
                <a:close/>
                <a:moveTo>
                  <a:pt x="1006" y="689"/>
                </a:moveTo>
                <a:lnTo>
                  <a:pt x="1006" y="689"/>
                </a:lnTo>
                <a:lnTo>
                  <a:pt x="1004" y="690"/>
                </a:lnTo>
                <a:lnTo>
                  <a:pt x="1006" y="689"/>
                </a:lnTo>
                <a:lnTo>
                  <a:pt x="1006" y="689"/>
                </a:lnTo>
                <a:close/>
                <a:moveTo>
                  <a:pt x="946" y="755"/>
                </a:moveTo>
                <a:lnTo>
                  <a:pt x="946" y="755"/>
                </a:lnTo>
                <a:lnTo>
                  <a:pt x="946" y="755"/>
                </a:lnTo>
                <a:lnTo>
                  <a:pt x="947" y="755"/>
                </a:lnTo>
                <a:lnTo>
                  <a:pt x="946" y="755"/>
                </a:lnTo>
                <a:lnTo>
                  <a:pt x="946" y="755"/>
                </a:lnTo>
                <a:close/>
                <a:moveTo>
                  <a:pt x="939" y="769"/>
                </a:moveTo>
                <a:lnTo>
                  <a:pt x="939" y="769"/>
                </a:lnTo>
                <a:lnTo>
                  <a:pt x="939" y="769"/>
                </a:lnTo>
                <a:lnTo>
                  <a:pt x="940" y="771"/>
                </a:lnTo>
                <a:lnTo>
                  <a:pt x="943" y="774"/>
                </a:lnTo>
                <a:lnTo>
                  <a:pt x="940" y="771"/>
                </a:lnTo>
                <a:lnTo>
                  <a:pt x="939" y="769"/>
                </a:lnTo>
                <a:close/>
                <a:moveTo>
                  <a:pt x="817" y="973"/>
                </a:moveTo>
                <a:lnTo>
                  <a:pt x="808" y="973"/>
                </a:lnTo>
                <a:lnTo>
                  <a:pt x="800" y="972"/>
                </a:lnTo>
                <a:lnTo>
                  <a:pt x="789" y="966"/>
                </a:lnTo>
                <a:lnTo>
                  <a:pt x="781" y="957"/>
                </a:lnTo>
                <a:lnTo>
                  <a:pt x="765" y="943"/>
                </a:lnTo>
                <a:lnTo>
                  <a:pt x="748" y="929"/>
                </a:lnTo>
                <a:lnTo>
                  <a:pt x="750" y="927"/>
                </a:lnTo>
                <a:lnTo>
                  <a:pt x="750" y="925"/>
                </a:lnTo>
                <a:lnTo>
                  <a:pt x="759" y="929"/>
                </a:lnTo>
                <a:lnTo>
                  <a:pt x="768" y="932"/>
                </a:lnTo>
                <a:lnTo>
                  <a:pt x="776" y="937"/>
                </a:lnTo>
                <a:lnTo>
                  <a:pt x="785" y="943"/>
                </a:lnTo>
                <a:lnTo>
                  <a:pt x="792" y="948"/>
                </a:lnTo>
                <a:lnTo>
                  <a:pt x="799" y="951"/>
                </a:lnTo>
                <a:lnTo>
                  <a:pt x="800" y="952"/>
                </a:lnTo>
                <a:lnTo>
                  <a:pt x="801" y="952"/>
                </a:lnTo>
                <a:lnTo>
                  <a:pt x="802" y="953"/>
                </a:lnTo>
                <a:lnTo>
                  <a:pt x="800" y="956"/>
                </a:lnTo>
                <a:lnTo>
                  <a:pt x="801" y="958"/>
                </a:lnTo>
                <a:lnTo>
                  <a:pt x="806" y="962"/>
                </a:lnTo>
                <a:lnTo>
                  <a:pt x="809" y="963"/>
                </a:lnTo>
                <a:lnTo>
                  <a:pt x="813" y="965"/>
                </a:lnTo>
                <a:lnTo>
                  <a:pt x="816" y="969"/>
                </a:lnTo>
                <a:lnTo>
                  <a:pt x="817" y="973"/>
                </a:lnTo>
                <a:lnTo>
                  <a:pt x="821" y="973"/>
                </a:lnTo>
                <a:lnTo>
                  <a:pt x="826" y="972"/>
                </a:lnTo>
                <a:lnTo>
                  <a:pt x="821" y="973"/>
                </a:lnTo>
                <a:lnTo>
                  <a:pt x="817" y="973"/>
                </a:lnTo>
                <a:close/>
                <a:moveTo>
                  <a:pt x="789" y="1392"/>
                </a:moveTo>
                <a:lnTo>
                  <a:pt x="792" y="1390"/>
                </a:lnTo>
                <a:lnTo>
                  <a:pt x="794" y="1389"/>
                </a:lnTo>
                <a:lnTo>
                  <a:pt x="792" y="1390"/>
                </a:lnTo>
                <a:lnTo>
                  <a:pt x="789" y="1392"/>
                </a:lnTo>
                <a:lnTo>
                  <a:pt x="788" y="1392"/>
                </a:lnTo>
                <a:lnTo>
                  <a:pt x="788" y="1393"/>
                </a:lnTo>
                <a:lnTo>
                  <a:pt x="788" y="1392"/>
                </a:lnTo>
                <a:lnTo>
                  <a:pt x="789" y="1392"/>
                </a:lnTo>
                <a:close/>
                <a:moveTo>
                  <a:pt x="857" y="1405"/>
                </a:moveTo>
                <a:lnTo>
                  <a:pt x="848" y="1406"/>
                </a:lnTo>
                <a:lnTo>
                  <a:pt x="838" y="1406"/>
                </a:lnTo>
                <a:lnTo>
                  <a:pt x="830" y="1407"/>
                </a:lnTo>
                <a:lnTo>
                  <a:pt x="821" y="1407"/>
                </a:lnTo>
                <a:lnTo>
                  <a:pt x="830" y="1407"/>
                </a:lnTo>
                <a:lnTo>
                  <a:pt x="838" y="1406"/>
                </a:lnTo>
                <a:lnTo>
                  <a:pt x="848" y="1406"/>
                </a:lnTo>
                <a:lnTo>
                  <a:pt x="857" y="1405"/>
                </a:lnTo>
                <a:close/>
                <a:moveTo>
                  <a:pt x="863" y="1404"/>
                </a:moveTo>
                <a:lnTo>
                  <a:pt x="859" y="1404"/>
                </a:lnTo>
                <a:lnTo>
                  <a:pt x="857" y="1404"/>
                </a:lnTo>
                <a:lnTo>
                  <a:pt x="859" y="1404"/>
                </a:lnTo>
                <a:lnTo>
                  <a:pt x="863" y="1404"/>
                </a:lnTo>
                <a:close/>
                <a:moveTo>
                  <a:pt x="872" y="1403"/>
                </a:moveTo>
                <a:lnTo>
                  <a:pt x="871" y="1402"/>
                </a:lnTo>
                <a:lnTo>
                  <a:pt x="869" y="1402"/>
                </a:lnTo>
                <a:lnTo>
                  <a:pt x="867" y="1403"/>
                </a:lnTo>
                <a:lnTo>
                  <a:pt x="865" y="1403"/>
                </a:lnTo>
                <a:lnTo>
                  <a:pt x="867" y="1403"/>
                </a:lnTo>
                <a:lnTo>
                  <a:pt x="869" y="1402"/>
                </a:lnTo>
                <a:lnTo>
                  <a:pt x="871" y="1402"/>
                </a:lnTo>
                <a:lnTo>
                  <a:pt x="872" y="1403"/>
                </a:lnTo>
                <a:close/>
                <a:moveTo>
                  <a:pt x="885" y="1377"/>
                </a:moveTo>
                <a:lnTo>
                  <a:pt x="891" y="1370"/>
                </a:lnTo>
                <a:lnTo>
                  <a:pt x="896" y="1363"/>
                </a:lnTo>
                <a:lnTo>
                  <a:pt x="891" y="1370"/>
                </a:lnTo>
                <a:lnTo>
                  <a:pt x="885" y="1377"/>
                </a:lnTo>
                <a:lnTo>
                  <a:pt x="885" y="1377"/>
                </a:lnTo>
                <a:lnTo>
                  <a:pt x="885" y="1378"/>
                </a:lnTo>
                <a:lnTo>
                  <a:pt x="885" y="1377"/>
                </a:lnTo>
                <a:lnTo>
                  <a:pt x="885" y="1377"/>
                </a:lnTo>
                <a:close/>
                <a:moveTo>
                  <a:pt x="898" y="1330"/>
                </a:move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lnTo>
                  <a:pt x="898" y="1330"/>
                </a:lnTo>
                <a:close/>
                <a:moveTo>
                  <a:pt x="907" y="1335"/>
                </a:moveTo>
                <a:lnTo>
                  <a:pt x="907" y="1334"/>
                </a:lnTo>
                <a:lnTo>
                  <a:pt x="907" y="1333"/>
                </a:lnTo>
                <a:lnTo>
                  <a:pt x="907" y="1334"/>
                </a:lnTo>
                <a:lnTo>
                  <a:pt x="907" y="1335"/>
                </a:lnTo>
                <a:lnTo>
                  <a:pt x="903" y="1334"/>
                </a:lnTo>
                <a:lnTo>
                  <a:pt x="899" y="1330"/>
                </a:lnTo>
                <a:lnTo>
                  <a:pt x="903" y="1334"/>
                </a:lnTo>
                <a:lnTo>
                  <a:pt x="907" y="1335"/>
                </a:lnTo>
                <a:close/>
                <a:moveTo>
                  <a:pt x="907" y="1333"/>
                </a:moveTo>
                <a:lnTo>
                  <a:pt x="906" y="1332"/>
                </a:lnTo>
                <a:lnTo>
                  <a:pt x="906" y="1330"/>
                </a:lnTo>
                <a:lnTo>
                  <a:pt x="906" y="1332"/>
                </a:lnTo>
                <a:lnTo>
                  <a:pt x="907" y="1333"/>
                </a:lnTo>
                <a:close/>
                <a:moveTo>
                  <a:pt x="912" y="1336"/>
                </a:moveTo>
                <a:lnTo>
                  <a:pt x="912" y="1334"/>
                </a:lnTo>
                <a:lnTo>
                  <a:pt x="912" y="1333"/>
                </a:lnTo>
                <a:lnTo>
                  <a:pt x="912" y="1334"/>
                </a:lnTo>
                <a:lnTo>
                  <a:pt x="912" y="1336"/>
                </a:lnTo>
                <a:close/>
                <a:moveTo>
                  <a:pt x="586" y="1106"/>
                </a:moveTo>
                <a:lnTo>
                  <a:pt x="585" y="1106"/>
                </a:lnTo>
                <a:lnTo>
                  <a:pt x="585" y="1106"/>
                </a:lnTo>
                <a:lnTo>
                  <a:pt x="584" y="1108"/>
                </a:lnTo>
                <a:lnTo>
                  <a:pt x="582" y="1109"/>
                </a:lnTo>
                <a:lnTo>
                  <a:pt x="584" y="1108"/>
                </a:lnTo>
                <a:lnTo>
                  <a:pt x="585" y="1106"/>
                </a:lnTo>
                <a:lnTo>
                  <a:pt x="585" y="1106"/>
                </a:lnTo>
                <a:lnTo>
                  <a:pt x="586" y="1106"/>
                </a:lnTo>
                <a:lnTo>
                  <a:pt x="588" y="1105"/>
                </a:lnTo>
                <a:lnTo>
                  <a:pt x="591" y="1105"/>
                </a:lnTo>
                <a:lnTo>
                  <a:pt x="588" y="1105"/>
                </a:lnTo>
                <a:lnTo>
                  <a:pt x="586" y="1106"/>
                </a:lnTo>
                <a:close/>
                <a:moveTo>
                  <a:pt x="353" y="916"/>
                </a:moveTo>
                <a:lnTo>
                  <a:pt x="355" y="917"/>
                </a:lnTo>
                <a:lnTo>
                  <a:pt x="358" y="920"/>
                </a:lnTo>
                <a:lnTo>
                  <a:pt x="355" y="917"/>
                </a:lnTo>
                <a:lnTo>
                  <a:pt x="353" y="916"/>
                </a:lnTo>
                <a:close/>
                <a:moveTo>
                  <a:pt x="327" y="899"/>
                </a:moveTo>
                <a:lnTo>
                  <a:pt x="330" y="897"/>
                </a:lnTo>
                <a:lnTo>
                  <a:pt x="332" y="897"/>
                </a:lnTo>
                <a:lnTo>
                  <a:pt x="330" y="897"/>
                </a:lnTo>
                <a:lnTo>
                  <a:pt x="327" y="899"/>
                </a:lnTo>
                <a:close/>
                <a:moveTo>
                  <a:pt x="322" y="899"/>
                </a:moveTo>
                <a:lnTo>
                  <a:pt x="324" y="899"/>
                </a:lnTo>
                <a:lnTo>
                  <a:pt x="327" y="899"/>
                </a:lnTo>
                <a:lnTo>
                  <a:pt x="324" y="899"/>
                </a:lnTo>
                <a:lnTo>
                  <a:pt x="322" y="899"/>
                </a:lnTo>
                <a:close/>
                <a:moveTo>
                  <a:pt x="316" y="895"/>
                </a:moveTo>
                <a:lnTo>
                  <a:pt x="315" y="894"/>
                </a:lnTo>
                <a:lnTo>
                  <a:pt x="313" y="893"/>
                </a:lnTo>
                <a:lnTo>
                  <a:pt x="315" y="894"/>
                </a:lnTo>
                <a:lnTo>
                  <a:pt x="316" y="895"/>
                </a:lnTo>
                <a:close/>
                <a:moveTo>
                  <a:pt x="283" y="881"/>
                </a:moveTo>
                <a:lnTo>
                  <a:pt x="284" y="882"/>
                </a:lnTo>
                <a:lnTo>
                  <a:pt x="284" y="883"/>
                </a:lnTo>
                <a:lnTo>
                  <a:pt x="284" y="882"/>
                </a:lnTo>
                <a:lnTo>
                  <a:pt x="283" y="881"/>
                </a:lnTo>
                <a:close/>
                <a:moveTo>
                  <a:pt x="230" y="934"/>
                </a:moveTo>
                <a:lnTo>
                  <a:pt x="228" y="935"/>
                </a:lnTo>
                <a:lnTo>
                  <a:pt x="227" y="937"/>
                </a:lnTo>
                <a:lnTo>
                  <a:pt x="228" y="935"/>
                </a:lnTo>
                <a:lnTo>
                  <a:pt x="230" y="934"/>
                </a:lnTo>
                <a:lnTo>
                  <a:pt x="232" y="932"/>
                </a:lnTo>
                <a:lnTo>
                  <a:pt x="233" y="932"/>
                </a:lnTo>
                <a:lnTo>
                  <a:pt x="232" y="932"/>
                </a:lnTo>
                <a:lnTo>
                  <a:pt x="230" y="934"/>
                </a:lnTo>
                <a:close/>
                <a:moveTo>
                  <a:pt x="182" y="890"/>
                </a:moveTo>
                <a:lnTo>
                  <a:pt x="184" y="893"/>
                </a:lnTo>
                <a:lnTo>
                  <a:pt x="185" y="893"/>
                </a:lnTo>
                <a:lnTo>
                  <a:pt x="184" y="893"/>
                </a:lnTo>
                <a:lnTo>
                  <a:pt x="182" y="890"/>
                </a:lnTo>
                <a:close/>
                <a:moveTo>
                  <a:pt x="1211" y="479"/>
                </a:moveTo>
                <a:lnTo>
                  <a:pt x="1210" y="486"/>
                </a:lnTo>
                <a:lnTo>
                  <a:pt x="1208" y="493"/>
                </a:lnTo>
                <a:lnTo>
                  <a:pt x="1210" y="486"/>
                </a:lnTo>
                <a:lnTo>
                  <a:pt x="1211" y="479"/>
                </a:lnTo>
                <a:lnTo>
                  <a:pt x="1213" y="479"/>
                </a:lnTo>
                <a:lnTo>
                  <a:pt x="1214" y="477"/>
                </a:lnTo>
                <a:lnTo>
                  <a:pt x="1213" y="479"/>
                </a:lnTo>
                <a:lnTo>
                  <a:pt x="1211" y="479"/>
                </a:lnTo>
                <a:close/>
                <a:moveTo>
                  <a:pt x="1207" y="498"/>
                </a:moveTo>
                <a:lnTo>
                  <a:pt x="1207" y="496"/>
                </a:lnTo>
                <a:lnTo>
                  <a:pt x="1208" y="494"/>
                </a:lnTo>
                <a:lnTo>
                  <a:pt x="1207" y="487"/>
                </a:lnTo>
                <a:lnTo>
                  <a:pt x="1206" y="481"/>
                </a:lnTo>
                <a:lnTo>
                  <a:pt x="1207" y="487"/>
                </a:lnTo>
                <a:lnTo>
                  <a:pt x="1208" y="494"/>
                </a:lnTo>
                <a:lnTo>
                  <a:pt x="1207" y="496"/>
                </a:lnTo>
                <a:lnTo>
                  <a:pt x="1207" y="498"/>
                </a:lnTo>
                <a:close/>
                <a:moveTo>
                  <a:pt x="1089" y="451"/>
                </a:move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89" y="451"/>
                </a:lnTo>
                <a:lnTo>
                  <a:pt x="1090" y="444"/>
                </a:lnTo>
                <a:lnTo>
                  <a:pt x="1091" y="437"/>
                </a:lnTo>
                <a:lnTo>
                  <a:pt x="1090" y="444"/>
                </a:lnTo>
                <a:lnTo>
                  <a:pt x="1089" y="451"/>
                </a:lnTo>
                <a:close/>
                <a:moveTo>
                  <a:pt x="633" y="430"/>
                </a:moveTo>
                <a:lnTo>
                  <a:pt x="634" y="427"/>
                </a:lnTo>
                <a:lnTo>
                  <a:pt x="636" y="426"/>
                </a:lnTo>
                <a:lnTo>
                  <a:pt x="634" y="427"/>
                </a:lnTo>
                <a:lnTo>
                  <a:pt x="633" y="430"/>
                </a:lnTo>
                <a:close/>
                <a:moveTo>
                  <a:pt x="511" y="433"/>
                </a:moveTo>
                <a:lnTo>
                  <a:pt x="506" y="434"/>
                </a:lnTo>
                <a:lnTo>
                  <a:pt x="502" y="438"/>
                </a:lnTo>
                <a:lnTo>
                  <a:pt x="497" y="439"/>
                </a:lnTo>
                <a:lnTo>
                  <a:pt x="492" y="440"/>
                </a:lnTo>
                <a:lnTo>
                  <a:pt x="497" y="439"/>
                </a:lnTo>
                <a:lnTo>
                  <a:pt x="502" y="438"/>
                </a:lnTo>
                <a:lnTo>
                  <a:pt x="506" y="434"/>
                </a:lnTo>
                <a:lnTo>
                  <a:pt x="511" y="433"/>
                </a:lnTo>
                <a:lnTo>
                  <a:pt x="513" y="433"/>
                </a:lnTo>
                <a:lnTo>
                  <a:pt x="516" y="433"/>
                </a:lnTo>
                <a:lnTo>
                  <a:pt x="513" y="433"/>
                </a:lnTo>
                <a:lnTo>
                  <a:pt x="511" y="433"/>
                </a:lnTo>
                <a:close/>
                <a:moveTo>
                  <a:pt x="1518" y="242"/>
                </a:moveTo>
                <a:lnTo>
                  <a:pt x="1516" y="244"/>
                </a:lnTo>
                <a:lnTo>
                  <a:pt x="1516" y="247"/>
                </a:lnTo>
                <a:lnTo>
                  <a:pt x="1516" y="244"/>
                </a:lnTo>
                <a:lnTo>
                  <a:pt x="1518" y="242"/>
                </a:lnTo>
                <a:close/>
                <a:moveTo>
                  <a:pt x="1563" y="365"/>
                </a:moveTo>
                <a:lnTo>
                  <a:pt x="1565" y="363"/>
                </a:lnTo>
                <a:lnTo>
                  <a:pt x="1566" y="362"/>
                </a:lnTo>
                <a:lnTo>
                  <a:pt x="1565" y="363"/>
                </a:lnTo>
                <a:lnTo>
                  <a:pt x="1563" y="365"/>
                </a:lnTo>
                <a:lnTo>
                  <a:pt x="1561" y="365"/>
                </a:lnTo>
                <a:lnTo>
                  <a:pt x="1560" y="367"/>
                </a:lnTo>
                <a:lnTo>
                  <a:pt x="1561" y="365"/>
                </a:lnTo>
                <a:lnTo>
                  <a:pt x="1563" y="365"/>
                </a:lnTo>
                <a:close/>
                <a:moveTo>
                  <a:pt x="1568" y="365"/>
                </a:moveTo>
                <a:lnTo>
                  <a:pt x="1566" y="367"/>
                </a:lnTo>
                <a:lnTo>
                  <a:pt x="1565" y="367"/>
                </a:lnTo>
                <a:lnTo>
                  <a:pt x="1566" y="367"/>
                </a:lnTo>
                <a:lnTo>
                  <a:pt x="1568" y="365"/>
                </a:lnTo>
                <a:close/>
                <a:moveTo>
                  <a:pt x="1577" y="275"/>
                </a:moveTo>
                <a:lnTo>
                  <a:pt x="1580" y="277"/>
                </a:lnTo>
                <a:lnTo>
                  <a:pt x="1582" y="277"/>
                </a:lnTo>
                <a:lnTo>
                  <a:pt x="1580" y="277"/>
                </a:lnTo>
                <a:lnTo>
                  <a:pt x="1577" y="275"/>
                </a:lnTo>
                <a:lnTo>
                  <a:pt x="1575" y="272"/>
                </a:lnTo>
                <a:lnTo>
                  <a:pt x="1573" y="268"/>
                </a:lnTo>
                <a:lnTo>
                  <a:pt x="1575" y="272"/>
                </a:lnTo>
                <a:lnTo>
                  <a:pt x="1577" y="275"/>
                </a:lnTo>
                <a:close/>
                <a:moveTo>
                  <a:pt x="1551" y="547"/>
                </a:moveTo>
                <a:lnTo>
                  <a:pt x="1551" y="546"/>
                </a:lnTo>
                <a:lnTo>
                  <a:pt x="1552" y="546"/>
                </a:lnTo>
                <a:lnTo>
                  <a:pt x="1551" y="546"/>
                </a:lnTo>
                <a:lnTo>
                  <a:pt x="1551" y="547"/>
                </a:lnTo>
                <a:lnTo>
                  <a:pt x="1549" y="547"/>
                </a:lnTo>
                <a:lnTo>
                  <a:pt x="1548" y="549"/>
                </a:lnTo>
                <a:lnTo>
                  <a:pt x="1549" y="547"/>
                </a:lnTo>
                <a:lnTo>
                  <a:pt x="1551" y="547"/>
                </a:lnTo>
                <a:close/>
                <a:moveTo>
                  <a:pt x="140" y="35"/>
                </a:moveTo>
                <a:lnTo>
                  <a:pt x="137" y="36"/>
                </a:lnTo>
                <a:lnTo>
                  <a:pt x="134" y="39"/>
                </a:lnTo>
                <a:lnTo>
                  <a:pt x="137" y="36"/>
                </a:lnTo>
                <a:lnTo>
                  <a:pt x="140" y="35"/>
                </a:lnTo>
                <a:lnTo>
                  <a:pt x="142" y="35"/>
                </a:lnTo>
                <a:lnTo>
                  <a:pt x="142" y="35"/>
                </a:lnTo>
                <a:lnTo>
                  <a:pt x="142" y="35"/>
                </a:lnTo>
                <a:lnTo>
                  <a:pt x="140" y="35"/>
                </a:lnTo>
                <a:close/>
                <a:moveTo>
                  <a:pt x="142" y="48"/>
                </a:moveTo>
                <a:lnTo>
                  <a:pt x="139" y="47"/>
                </a:lnTo>
                <a:lnTo>
                  <a:pt x="139" y="47"/>
                </a:lnTo>
                <a:lnTo>
                  <a:pt x="139" y="47"/>
                </a:lnTo>
                <a:lnTo>
                  <a:pt x="142" y="48"/>
                </a:lnTo>
                <a:lnTo>
                  <a:pt x="142" y="48"/>
                </a:lnTo>
                <a:close/>
                <a:moveTo>
                  <a:pt x="132" y="42"/>
                </a:moveTo>
                <a:lnTo>
                  <a:pt x="133" y="42"/>
                </a:lnTo>
                <a:lnTo>
                  <a:pt x="134" y="39"/>
                </a:lnTo>
                <a:lnTo>
                  <a:pt x="133" y="42"/>
                </a:lnTo>
                <a:lnTo>
                  <a:pt x="132" y="42"/>
                </a:lnTo>
                <a:close/>
                <a:moveTo>
                  <a:pt x="81" y="29"/>
                </a:moveTo>
                <a:lnTo>
                  <a:pt x="80" y="32"/>
                </a:lnTo>
                <a:lnTo>
                  <a:pt x="78" y="34"/>
                </a:lnTo>
                <a:lnTo>
                  <a:pt x="80" y="32"/>
                </a:lnTo>
                <a:lnTo>
                  <a:pt x="81" y="29"/>
                </a:lnTo>
                <a:close/>
                <a:moveTo>
                  <a:pt x="216" y="175"/>
                </a:moveTo>
                <a:lnTo>
                  <a:pt x="215" y="174"/>
                </a:lnTo>
                <a:lnTo>
                  <a:pt x="215" y="174"/>
                </a:lnTo>
                <a:lnTo>
                  <a:pt x="215" y="174"/>
                </a:lnTo>
                <a:lnTo>
                  <a:pt x="216" y="175"/>
                </a:lnTo>
                <a:close/>
                <a:moveTo>
                  <a:pt x="250" y="86"/>
                </a:moveTo>
                <a:lnTo>
                  <a:pt x="248" y="86"/>
                </a:lnTo>
                <a:lnTo>
                  <a:pt x="247" y="85"/>
                </a:lnTo>
                <a:lnTo>
                  <a:pt x="248" y="86"/>
                </a:lnTo>
                <a:lnTo>
                  <a:pt x="250" y="86"/>
                </a:lnTo>
                <a:close/>
                <a:moveTo>
                  <a:pt x="188" y="267"/>
                </a:moveTo>
                <a:lnTo>
                  <a:pt x="199" y="263"/>
                </a:lnTo>
                <a:lnTo>
                  <a:pt x="209" y="257"/>
                </a:lnTo>
                <a:lnTo>
                  <a:pt x="212" y="254"/>
                </a:lnTo>
                <a:lnTo>
                  <a:pt x="214" y="252"/>
                </a:lnTo>
                <a:lnTo>
                  <a:pt x="218" y="252"/>
                </a:lnTo>
                <a:lnTo>
                  <a:pt x="221" y="252"/>
                </a:lnTo>
                <a:lnTo>
                  <a:pt x="218" y="252"/>
                </a:lnTo>
                <a:lnTo>
                  <a:pt x="214" y="252"/>
                </a:lnTo>
                <a:lnTo>
                  <a:pt x="212" y="254"/>
                </a:lnTo>
                <a:lnTo>
                  <a:pt x="209" y="257"/>
                </a:lnTo>
                <a:lnTo>
                  <a:pt x="210" y="259"/>
                </a:lnTo>
                <a:lnTo>
                  <a:pt x="210" y="260"/>
                </a:lnTo>
                <a:lnTo>
                  <a:pt x="210" y="261"/>
                </a:lnTo>
                <a:lnTo>
                  <a:pt x="210" y="263"/>
                </a:lnTo>
                <a:lnTo>
                  <a:pt x="208" y="265"/>
                </a:lnTo>
                <a:lnTo>
                  <a:pt x="207" y="267"/>
                </a:lnTo>
                <a:lnTo>
                  <a:pt x="212" y="267"/>
                </a:lnTo>
                <a:lnTo>
                  <a:pt x="215" y="265"/>
                </a:lnTo>
                <a:lnTo>
                  <a:pt x="219" y="263"/>
                </a:lnTo>
                <a:lnTo>
                  <a:pt x="222" y="261"/>
                </a:lnTo>
                <a:lnTo>
                  <a:pt x="233" y="257"/>
                </a:lnTo>
                <a:lnTo>
                  <a:pt x="242" y="251"/>
                </a:lnTo>
                <a:lnTo>
                  <a:pt x="249" y="243"/>
                </a:lnTo>
                <a:lnTo>
                  <a:pt x="255" y="233"/>
                </a:lnTo>
                <a:lnTo>
                  <a:pt x="257" y="228"/>
                </a:lnTo>
                <a:lnTo>
                  <a:pt x="261" y="222"/>
                </a:lnTo>
                <a:lnTo>
                  <a:pt x="265" y="214"/>
                </a:lnTo>
                <a:lnTo>
                  <a:pt x="269" y="203"/>
                </a:lnTo>
                <a:lnTo>
                  <a:pt x="271" y="193"/>
                </a:lnTo>
                <a:lnTo>
                  <a:pt x="276" y="183"/>
                </a:lnTo>
                <a:lnTo>
                  <a:pt x="277" y="181"/>
                </a:lnTo>
                <a:lnTo>
                  <a:pt x="276" y="179"/>
                </a:lnTo>
                <a:lnTo>
                  <a:pt x="274" y="176"/>
                </a:lnTo>
                <a:lnTo>
                  <a:pt x="274" y="174"/>
                </a:lnTo>
                <a:lnTo>
                  <a:pt x="275" y="165"/>
                </a:lnTo>
                <a:lnTo>
                  <a:pt x="276" y="155"/>
                </a:lnTo>
                <a:lnTo>
                  <a:pt x="277" y="146"/>
                </a:lnTo>
                <a:lnTo>
                  <a:pt x="277" y="137"/>
                </a:lnTo>
                <a:lnTo>
                  <a:pt x="277" y="132"/>
                </a:lnTo>
                <a:lnTo>
                  <a:pt x="276" y="128"/>
                </a:lnTo>
                <a:lnTo>
                  <a:pt x="276" y="125"/>
                </a:lnTo>
                <a:lnTo>
                  <a:pt x="274" y="123"/>
                </a:lnTo>
                <a:lnTo>
                  <a:pt x="271" y="121"/>
                </a:lnTo>
                <a:lnTo>
                  <a:pt x="270" y="120"/>
                </a:lnTo>
                <a:lnTo>
                  <a:pt x="269" y="118"/>
                </a:lnTo>
                <a:lnTo>
                  <a:pt x="269" y="117"/>
                </a:lnTo>
                <a:lnTo>
                  <a:pt x="269" y="113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0" y="110"/>
                </a:lnTo>
                <a:lnTo>
                  <a:pt x="275" y="113"/>
                </a:lnTo>
                <a:lnTo>
                  <a:pt x="279" y="117"/>
                </a:lnTo>
                <a:lnTo>
                  <a:pt x="278" y="112"/>
                </a:lnTo>
                <a:lnTo>
                  <a:pt x="277" y="107"/>
                </a:lnTo>
                <a:lnTo>
                  <a:pt x="276" y="100"/>
                </a:lnTo>
                <a:lnTo>
                  <a:pt x="274" y="92"/>
                </a:lnTo>
                <a:lnTo>
                  <a:pt x="270" y="85"/>
                </a:lnTo>
                <a:lnTo>
                  <a:pt x="265" y="78"/>
                </a:lnTo>
                <a:lnTo>
                  <a:pt x="265" y="78"/>
                </a:lnTo>
                <a:lnTo>
                  <a:pt x="265" y="77"/>
                </a:lnTo>
                <a:lnTo>
                  <a:pt x="264" y="72"/>
                </a:lnTo>
                <a:lnTo>
                  <a:pt x="262" y="68"/>
                </a:lnTo>
                <a:lnTo>
                  <a:pt x="254" y="57"/>
                </a:lnTo>
                <a:lnTo>
                  <a:pt x="246" y="47"/>
                </a:lnTo>
                <a:lnTo>
                  <a:pt x="235" y="37"/>
                </a:lnTo>
                <a:lnTo>
                  <a:pt x="225" y="28"/>
                </a:lnTo>
                <a:lnTo>
                  <a:pt x="216" y="23"/>
                </a:lnTo>
                <a:lnTo>
                  <a:pt x="207" y="19"/>
                </a:lnTo>
                <a:lnTo>
                  <a:pt x="198" y="16"/>
                </a:lnTo>
                <a:lnTo>
                  <a:pt x="188" y="14"/>
                </a:lnTo>
                <a:lnTo>
                  <a:pt x="177" y="11"/>
                </a:lnTo>
                <a:lnTo>
                  <a:pt x="165" y="6"/>
                </a:lnTo>
                <a:lnTo>
                  <a:pt x="161" y="4"/>
                </a:lnTo>
                <a:lnTo>
                  <a:pt x="157" y="1"/>
                </a:lnTo>
                <a:lnTo>
                  <a:pt x="152" y="0"/>
                </a:lnTo>
                <a:lnTo>
                  <a:pt x="147" y="0"/>
                </a:lnTo>
                <a:lnTo>
                  <a:pt x="133" y="2"/>
                </a:lnTo>
                <a:lnTo>
                  <a:pt x="118" y="5"/>
                </a:lnTo>
                <a:lnTo>
                  <a:pt x="109" y="6"/>
                </a:lnTo>
                <a:lnTo>
                  <a:pt x="99" y="8"/>
                </a:lnTo>
                <a:lnTo>
                  <a:pt x="91" y="11"/>
                </a:lnTo>
                <a:lnTo>
                  <a:pt x="82" y="15"/>
                </a:lnTo>
                <a:lnTo>
                  <a:pt x="82" y="15"/>
                </a:lnTo>
                <a:lnTo>
                  <a:pt x="78" y="18"/>
                </a:lnTo>
                <a:lnTo>
                  <a:pt x="75" y="20"/>
                </a:lnTo>
                <a:lnTo>
                  <a:pt x="62" y="28"/>
                </a:lnTo>
                <a:lnTo>
                  <a:pt x="49" y="37"/>
                </a:lnTo>
                <a:lnTo>
                  <a:pt x="43" y="42"/>
                </a:lnTo>
                <a:lnTo>
                  <a:pt x="37" y="48"/>
                </a:lnTo>
                <a:lnTo>
                  <a:pt x="33" y="54"/>
                </a:lnTo>
                <a:lnTo>
                  <a:pt x="28" y="60"/>
                </a:lnTo>
                <a:lnTo>
                  <a:pt x="27" y="62"/>
                </a:lnTo>
                <a:lnTo>
                  <a:pt x="25" y="64"/>
                </a:lnTo>
                <a:lnTo>
                  <a:pt x="25" y="65"/>
                </a:lnTo>
                <a:lnTo>
                  <a:pt x="25" y="65"/>
                </a:lnTo>
                <a:lnTo>
                  <a:pt x="26" y="67"/>
                </a:lnTo>
                <a:lnTo>
                  <a:pt x="28" y="68"/>
                </a:lnTo>
                <a:lnTo>
                  <a:pt x="29" y="70"/>
                </a:lnTo>
                <a:lnTo>
                  <a:pt x="28" y="71"/>
                </a:lnTo>
                <a:lnTo>
                  <a:pt x="26" y="75"/>
                </a:lnTo>
                <a:lnTo>
                  <a:pt x="26" y="78"/>
                </a:lnTo>
                <a:lnTo>
                  <a:pt x="22" y="78"/>
                </a:lnTo>
                <a:lnTo>
                  <a:pt x="19" y="79"/>
                </a:lnTo>
                <a:lnTo>
                  <a:pt x="15" y="81"/>
                </a:lnTo>
                <a:lnTo>
                  <a:pt x="13" y="83"/>
                </a:lnTo>
                <a:lnTo>
                  <a:pt x="11" y="89"/>
                </a:lnTo>
                <a:lnTo>
                  <a:pt x="8" y="95"/>
                </a:lnTo>
                <a:lnTo>
                  <a:pt x="6" y="102"/>
                </a:lnTo>
                <a:lnTo>
                  <a:pt x="6" y="109"/>
                </a:lnTo>
                <a:lnTo>
                  <a:pt x="4" y="112"/>
                </a:lnTo>
                <a:lnTo>
                  <a:pt x="2" y="117"/>
                </a:lnTo>
                <a:lnTo>
                  <a:pt x="1" y="133"/>
                </a:lnTo>
                <a:lnTo>
                  <a:pt x="0" y="147"/>
                </a:lnTo>
                <a:lnTo>
                  <a:pt x="1" y="162"/>
                </a:lnTo>
                <a:lnTo>
                  <a:pt x="4" y="176"/>
                </a:lnTo>
                <a:lnTo>
                  <a:pt x="8" y="190"/>
                </a:lnTo>
                <a:lnTo>
                  <a:pt x="14" y="203"/>
                </a:lnTo>
                <a:lnTo>
                  <a:pt x="21" y="216"/>
                </a:lnTo>
                <a:lnTo>
                  <a:pt x="30" y="229"/>
                </a:lnTo>
                <a:lnTo>
                  <a:pt x="30" y="231"/>
                </a:lnTo>
                <a:lnTo>
                  <a:pt x="33" y="232"/>
                </a:lnTo>
                <a:lnTo>
                  <a:pt x="34" y="233"/>
                </a:lnTo>
                <a:lnTo>
                  <a:pt x="35" y="236"/>
                </a:lnTo>
                <a:lnTo>
                  <a:pt x="35" y="237"/>
                </a:lnTo>
                <a:lnTo>
                  <a:pt x="35" y="238"/>
                </a:lnTo>
                <a:lnTo>
                  <a:pt x="36" y="238"/>
                </a:lnTo>
                <a:lnTo>
                  <a:pt x="37" y="239"/>
                </a:lnTo>
                <a:lnTo>
                  <a:pt x="39" y="239"/>
                </a:lnTo>
                <a:lnTo>
                  <a:pt x="40" y="240"/>
                </a:lnTo>
                <a:lnTo>
                  <a:pt x="40" y="242"/>
                </a:lnTo>
                <a:lnTo>
                  <a:pt x="41" y="243"/>
                </a:lnTo>
                <a:lnTo>
                  <a:pt x="42" y="243"/>
                </a:lnTo>
                <a:lnTo>
                  <a:pt x="43" y="243"/>
                </a:lnTo>
                <a:lnTo>
                  <a:pt x="44" y="244"/>
                </a:lnTo>
                <a:lnTo>
                  <a:pt x="44" y="245"/>
                </a:lnTo>
                <a:lnTo>
                  <a:pt x="47" y="247"/>
                </a:lnTo>
                <a:lnTo>
                  <a:pt x="49" y="250"/>
                </a:lnTo>
                <a:lnTo>
                  <a:pt x="51" y="252"/>
                </a:lnTo>
                <a:lnTo>
                  <a:pt x="55" y="253"/>
                </a:lnTo>
                <a:lnTo>
                  <a:pt x="55" y="253"/>
                </a:lnTo>
                <a:lnTo>
                  <a:pt x="55" y="253"/>
                </a:lnTo>
                <a:lnTo>
                  <a:pt x="58" y="257"/>
                </a:lnTo>
                <a:lnTo>
                  <a:pt x="62" y="260"/>
                </a:lnTo>
                <a:lnTo>
                  <a:pt x="65" y="261"/>
                </a:lnTo>
                <a:lnTo>
                  <a:pt x="71" y="263"/>
                </a:lnTo>
                <a:lnTo>
                  <a:pt x="77" y="268"/>
                </a:lnTo>
                <a:lnTo>
                  <a:pt x="84" y="272"/>
                </a:lnTo>
                <a:lnTo>
                  <a:pt x="91" y="275"/>
                </a:lnTo>
                <a:lnTo>
                  <a:pt x="98" y="278"/>
                </a:lnTo>
                <a:lnTo>
                  <a:pt x="113" y="281"/>
                </a:lnTo>
                <a:lnTo>
                  <a:pt x="129" y="285"/>
                </a:lnTo>
                <a:lnTo>
                  <a:pt x="131" y="285"/>
                </a:lnTo>
                <a:lnTo>
                  <a:pt x="133" y="284"/>
                </a:lnTo>
                <a:lnTo>
                  <a:pt x="136" y="282"/>
                </a:lnTo>
                <a:lnTo>
                  <a:pt x="138" y="279"/>
                </a:lnTo>
                <a:lnTo>
                  <a:pt x="144" y="277"/>
                </a:lnTo>
                <a:lnTo>
                  <a:pt x="150" y="274"/>
                </a:lnTo>
                <a:lnTo>
                  <a:pt x="156" y="272"/>
                </a:lnTo>
                <a:lnTo>
                  <a:pt x="163" y="271"/>
                </a:lnTo>
                <a:lnTo>
                  <a:pt x="175" y="271"/>
                </a:lnTo>
                <a:lnTo>
                  <a:pt x="188" y="267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b="1" dirty="0"/>
            </a:lvl1pPr>
          </a:lstStyle>
          <a:p>
            <a:pPr lvl="0" algn="ctr"/>
            <a:r>
              <a:rPr lang="en-US" sz="9600"/>
              <a:t>sdfs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B854D5A-782A-2942-ABE6-58B2C995656C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0C0B1BF-37CE-864C-B646-B8C223C12E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38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0">
            <a:extLst>
              <a:ext uri="{FF2B5EF4-FFF2-40B4-BE49-F238E27FC236}">
                <a16:creationId xmlns:a16="http://schemas.microsoft.com/office/drawing/2014/main" id="{EB1B4F7E-3DBA-DA4B-9A60-64D9858BDA55}"/>
              </a:ext>
            </a:extLst>
          </p:cNvPr>
          <p:cNvSpPr>
            <a:spLocks noGrp="1" noEditPoints="1"/>
          </p:cNvSpPr>
          <p:nvPr>
            <p:ph type="pic" sz="quarter" idx="30"/>
          </p:nvPr>
        </p:nvSpPr>
        <p:spPr bwMode="auto">
          <a:xfrm>
            <a:off x="11617524" y="1885338"/>
            <a:ext cx="10945216" cy="11832250"/>
          </a:xfrm>
          <a:custGeom>
            <a:avLst/>
            <a:gdLst>
              <a:gd name="T0" fmla="*/ 906 w 25125"/>
              <a:gd name="T1" fmla="*/ 22906 h 26875"/>
              <a:gd name="T2" fmla="*/ 219 w 25125"/>
              <a:gd name="T3" fmla="*/ 26156 h 26875"/>
              <a:gd name="T4" fmla="*/ 1875 w 25125"/>
              <a:gd name="T5" fmla="*/ 24406 h 26875"/>
              <a:gd name="T6" fmla="*/ 15687 w 25125"/>
              <a:gd name="T7" fmla="*/ 16469 h 26875"/>
              <a:gd name="T8" fmla="*/ 24219 w 25125"/>
              <a:gd name="T9" fmla="*/ 5344 h 26875"/>
              <a:gd name="T10" fmla="*/ 13406 w 25125"/>
              <a:gd name="T11" fmla="*/ 15375 h 26875"/>
              <a:gd name="T12" fmla="*/ 18156 w 25125"/>
              <a:gd name="T13" fmla="*/ 4594 h 26875"/>
              <a:gd name="T14" fmla="*/ 17562 w 25125"/>
              <a:gd name="T15" fmla="*/ 6531 h 26875"/>
              <a:gd name="T16" fmla="*/ 14781 w 25125"/>
              <a:gd name="T17" fmla="*/ 16938 h 26875"/>
              <a:gd name="T18" fmla="*/ 14562 w 25125"/>
              <a:gd name="T19" fmla="*/ 17656 h 26875"/>
              <a:gd name="T20" fmla="*/ 19375 w 25125"/>
              <a:gd name="T21" fmla="*/ 22531 h 26875"/>
              <a:gd name="T22" fmla="*/ 16750 w 25125"/>
              <a:gd name="T23" fmla="*/ 22375 h 26875"/>
              <a:gd name="T24" fmla="*/ 16531 w 25125"/>
              <a:gd name="T25" fmla="*/ 23656 h 26875"/>
              <a:gd name="T26" fmla="*/ 20594 w 25125"/>
              <a:gd name="T27" fmla="*/ 24844 h 26875"/>
              <a:gd name="T28" fmla="*/ 25031 w 25125"/>
              <a:gd name="T29" fmla="*/ 1969 h 26875"/>
              <a:gd name="T30" fmla="*/ 24406 w 25125"/>
              <a:gd name="T31" fmla="*/ 1719 h 26875"/>
              <a:gd name="T32" fmla="*/ 23625 w 25125"/>
              <a:gd name="T33" fmla="*/ 1688 h 26875"/>
              <a:gd name="T34" fmla="*/ 22656 w 25125"/>
              <a:gd name="T35" fmla="*/ 5563 h 26875"/>
              <a:gd name="T36" fmla="*/ 18656 w 25125"/>
              <a:gd name="T37" fmla="*/ 5938 h 26875"/>
              <a:gd name="T38" fmla="*/ 17812 w 25125"/>
              <a:gd name="T39" fmla="*/ 5125 h 26875"/>
              <a:gd name="T40" fmla="*/ 18562 w 25125"/>
              <a:gd name="T41" fmla="*/ 3219 h 26875"/>
              <a:gd name="T42" fmla="*/ 19187 w 25125"/>
              <a:gd name="T43" fmla="*/ 2031 h 26875"/>
              <a:gd name="T44" fmla="*/ 17781 w 25125"/>
              <a:gd name="T45" fmla="*/ 313 h 26875"/>
              <a:gd name="T46" fmla="*/ 15156 w 25125"/>
              <a:gd name="T47" fmla="*/ 3625 h 26875"/>
              <a:gd name="T48" fmla="*/ 13281 w 25125"/>
              <a:gd name="T49" fmla="*/ 4094 h 26875"/>
              <a:gd name="T50" fmla="*/ 12219 w 25125"/>
              <a:gd name="T51" fmla="*/ 4594 h 26875"/>
              <a:gd name="T52" fmla="*/ 9187 w 25125"/>
              <a:gd name="T53" fmla="*/ 6188 h 26875"/>
              <a:gd name="T54" fmla="*/ 4031 w 25125"/>
              <a:gd name="T55" fmla="*/ 11406 h 26875"/>
              <a:gd name="T56" fmla="*/ 5969 w 25125"/>
              <a:gd name="T57" fmla="*/ 11844 h 26875"/>
              <a:gd name="T58" fmla="*/ 8562 w 25125"/>
              <a:gd name="T59" fmla="*/ 8313 h 26875"/>
              <a:gd name="T60" fmla="*/ 13281 w 25125"/>
              <a:gd name="T61" fmla="*/ 6688 h 26875"/>
              <a:gd name="T62" fmla="*/ 12656 w 25125"/>
              <a:gd name="T63" fmla="*/ 7875 h 26875"/>
              <a:gd name="T64" fmla="*/ 13219 w 25125"/>
              <a:gd name="T65" fmla="*/ 10063 h 26875"/>
              <a:gd name="T66" fmla="*/ 12812 w 25125"/>
              <a:gd name="T67" fmla="*/ 10969 h 26875"/>
              <a:gd name="T68" fmla="*/ 14000 w 25125"/>
              <a:gd name="T69" fmla="*/ 11969 h 26875"/>
              <a:gd name="T70" fmla="*/ 12156 w 25125"/>
              <a:gd name="T71" fmla="*/ 12563 h 26875"/>
              <a:gd name="T72" fmla="*/ 10562 w 25125"/>
              <a:gd name="T73" fmla="*/ 16188 h 26875"/>
              <a:gd name="T74" fmla="*/ 8781 w 25125"/>
              <a:gd name="T75" fmla="*/ 19031 h 26875"/>
              <a:gd name="T76" fmla="*/ 8719 w 25125"/>
              <a:gd name="T77" fmla="*/ 20719 h 26875"/>
              <a:gd name="T78" fmla="*/ 10812 w 25125"/>
              <a:gd name="T79" fmla="*/ 19469 h 26875"/>
              <a:gd name="T80" fmla="*/ 11281 w 25125"/>
              <a:gd name="T81" fmla="*/ 18875 h 26875"/>
              <a:gd name="T82" fmla="*/ 12875 w 25125"/>
              <a:gd name="T83" fmla="*/ 16813 h 26875"/>
              <a:gd name="T84" fmla="*/ 13812 w 25125"/>
              <a:gd name="T85" fmla="*/ 14750 h 26875"/>
              <a:gd name="T86" fmla="*/ 15875 w 25125"/>
              <a:gd name="T87" fmla="*/ 14375 h 26875"/>
              <a:gd name="T88" fmla="*/ 14469 w 25125"/>
              <a:gd name="T89" fmla="*/ 15969 h 26875"/>
              <a:gd name="T90" fmla="*/ 15125 w 25125"/>
              <a:gd name="T91" fmla="*/ 16313 h 26875"/>
              <a:gd name="T92" fmla="*/ 16781 w 25125"/>
              <a:gd name="T93" fmla="*/ 15500 h 26875"/>
              <a:gd name="T94" fmla="*/ 18094 w 25125"/>
              <a:gd name="T95" fmla="*/ 15375 h 26875"/>
              <a:gd name="T96" fmla="*/ 18375 w 25125"/>
              <a:gd name="T97" fmla="*/ 21156 h 26875"/>
              <a:gd name="T98" fmla="*/ 21469 w 25125"/>
              <a:gd name="T99" fmla="*/ 16563 h 26875"/>
              <a:gd name="T100" fmla="*/ 18000 w 25125"/>
              <a:gd name="T101" fmla="*/ 13750 h 26875"/>
              <a:gd name="T102" fmla="*/ 17156 w 25125"/>
              <a:gd name="T103" fmla="*/ 13063 h 26875"/>
              <a:gd name="T104" fmla="*/ 16000 w 25125"/>
              <a:gd name="T105" fmla="*/ 13031 h 26875"/>
              <a:gd name="T106" fmla="*/ 15375 w 25125"/>
              <a:gd name="T107" fmla="*/ 12281 h 26875"/>
              <a:gd name="T108" fmla="*/ 14625 w 25125"/>
              <a:gd name="T109" fmla="*/ 11813 h 26875"/>
              <a:gd name="T110" fmla="*/ 15281 w 25125"/>
              <a:gd name="T111" fmla="*/ 10188 h 26875"/>
              <a:gd name="T112" fmla="*/ 15687 w 25125"/>
              <a:gd name="T113" fmla="*/ 9906 h 26875"/>
              <a:gd name="T114" fmla="*/ 15719 w 25125"/>
              <a:gd name="T115" fmla="*/ 8313 h 26875"/>
              <a:gd name="T116" fmla="*/ 17562 w 25125"/>
              <a:gd name="T117" fmla="*/ 5781 h 26875"/>
              <a:gd name="T118" fmla="*/ 18750 w 25125"/>
              <a:gd name="T119" fmla="*/ 7656 h 26875"/>
              <a:gd name="T120" fmla="*/ 21625 w 25125"/>
              <a:gd name="T121" fmla="*/ 8094 h 26875"/>
              <a:gd name="T122" fmla="*/ 22969 w 25125"/>
              <a:gd name="T123" fmla="*/ 6656 h 26875"/>
              <a:gd name="T124" fmla="*/ 24062 w 25125"/>
              <a:gd name="T125" fmla="*/ 5188 h 26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125" h="26875">
                <a:moveTo>
                  <a:pt x="3312" y="22812"/>
                </a:moveTo>
                <a:cubicBezTo>
                  <a:pt x="3312" y="22812"/>
                  <a:pt x="3312" y="22812"/>
                  <a:pt x="3312" y="22812"/>
                </a:cubicBezTo>
                <a:cubicBezTo>
                  <a:pt x="3312" y="22812"/>
                  <a:pt x="3281" y="22812"/>
                  <a:pt x="3281" y="22812"/>
                </a:cubicBezTo>
                <a:cubicBezTo>
                  <a:pt x="3281" y="22781"/>
                  <a:pt x="3281" y="22719"/>
                  <a:pt x="3250" y="22687"/>
                </a:cubicBezTo>
                <a:cubicBezTo>
                  <a:pt x="3250" y="22656"/>
                  <a:pt x="3250" y="22625"/>
                  <a:pt x="3250" y="22594"/>
                </a:cubicBezTo>
                <a:cubicBezTo>
                  <a:pt x="3250" y="22562"/>
                  <a:pt x="3219" y="22562"/>
                  <a:pt x="3187" y="22531"/>
                </a:cubicBezTo>
                <a:cubicBezTo>
                  <a:pt x="3187" y="22531"/>
                  <a:pt x="3187" y="22531"/>
                  <a:pt x="3187" y="22531"/>
                </a:cubicBezTo>
                <a:cubicBezTo>
                  <a:pt x="3187" y="22500"/>
                  <a:pt x="3187" y="22500"/>
                  <a:pt x="3187" y="22500"/>
                </a:cubicBezTo>
                <a:cubicBezTo>
                  <a:pt x="3187" y="22469"/>
                  <a:pt x="3187" y="22469"/>
                  <a:pt x="3187" y="22469"/>
                </a:cubicBezTo>
                <a:cubicBezTo>
                  <a:pt x="3187" y="22437"/>
                  <a:pt x="3156" y="22406"/>
                  <a:pt x="3156" y="22406"/>
                </a:cubicBezTo>
                <a:cubicBezTo>
                  <a:pt x="3125" y="22344"/>
                  <a:pt x="3125" y="22281"/>
                  <a:pt x="3094" y="22219"/>
                </a:cubicBezTo>
                <a:cubicBezTo>
                  <a:pt x="3094" y="22187"/>
                  <a:pt x="3062" y="22187"/>
                  <a:pt x="3062" y="22156"/>
                </a:cubicBezTo>
                <a:cubicBezTo>
                  <a:pt x="2969" y="22000"/>
                  <a:pt x="2937" y="21844"/>
                  <a:pt x="2781" y="21719"/>
                </a:cubicBezTo>
                <a:cubicBezTo>
                  <a:pt x="2750" y="21719"/>
                  <a:pt x="2750" y="21719"/>
                  <a:pt x="2719" y="21719"/>
                </a:cubicBezTo>
                <a:cubicBezTo>
                  <a:pt x="2719" y="21719"/>
                  <a:pt x="2687" y="21719"/>
                  <a:pt x="2656" y="21750"/>
                </a:cubicBezTo>
                <a:cubicBezTo>
                  <a:pt x="2656" y="21750"/>
                  <a:pt x="2625" y="21750"/>
                  <a:pt x="2594" y="21781"/>
                </a:cubicBezTo>
                <a:cubicBezTo>
                  <a:pt x="2594" y="21781"/>
                  <a:pt x="2594" y="21781"/>
                  <a:pt x="2594" y="21781"/>
                </a:cubicBezTo>
                <a:cubicBezTo>
                  <a:pt x="2531" y="21781"/>
                  <a:pt x="2500" y="21844"/>
                  <a:pt x="2469" y="21875"/>
                </a:cubicBezTo>
                <a:cubicBezTo>
                  <a:pt x="2437" y="21875"/>
                  <a:pt x="2437" y="21875"/>
                  <a:pt x="2437" y="21875"/>
                </a:cubicBezTo>
                <a:cubicBezTo>
                  <a:pt x="2406" y="21875"/>
                  <a:pt x="2406" y="21844"/>
                  <a:pt x="2375" y="21844"/>
                </a:cubicBezTo>
                <a:cubicBezTo>
                  <a:pt x="2250" y="21906"/>
                  <a:pt x="2125" y="21906"/>
                  <a:pt x="2000" y="21969"/>
                </a:cubicBezTo>
                <a:cubicBezTo>
                  <a:pt x="1969" y="21969"/>
                  <a:pt x="1969" y="22000"/>
                  <a:pt x="1937" y="21969"/>
                </a:cubicBezTo>
                <a:cubicBezTo>
                  <a:pt x="1875" y="21906"/>
                  <a:pt x="1812" y="21937"/>
                  <a:pt x="1750" y="21906"/>
                </a:cubicBezTo>
                <a:cubicBezTo>
                  <a:pt x="1625" y="21906"/>
                  <a:pt x="1500" y="21875"/>
                  <a:pt x="1375" y="21844"/>
                </a:cubicBezTo>
                <a:cubicBezTo>
                  <a:pt x="1250" y="21844"/>
                  <a:pt x="1125" y="21781"/>
                  <a:pt x="969" y="21812"/>
                </a:cubicBezTo>
                <a:cubicBezTo>
                  <a:pt x="969" y="21812"/>
                  <a:pt x="969" y="21812"/>
                  <a:pt x="937" y="21844"/>
                </a:cubicBezTo>
                <a:cubicBezTo>
                  <a:pt x="937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44"/>
                  <a:pt x="906" y="21844"/>
                  <a:pt x="906" y="21844"/>
                </a:cubicBezTo>
                <a:cubicBezTo>
                  <a:pt x="906" y="21875"/>
                  <a:pt x="906" y="21875"/>
                  <a:pt x="906" y="21906"/>
                </a:cubicBezTo>
                <a:cubicBezTo>
                  <a:pt x="906" y="21937"/>
                  <a:pt x="906" y="22000"/>
                  <a:pt x="937" y="22062"/>
                </a:cubicBezTo>
                <a:cubicBezTo>
                  <a:pt x="937" y="22344"/>
                  <a:pt x="1000" y="22625"/>
                  <a:pt x="937" y="22875"/>
                </a:cubicBezTo>
                <a:cubicBezTo>
                  <a:pt x="937" y="22906"/>
                  <a:pt x="937" y="22906"/>
                  <a:pt x="906" y="22906"/>
                </a:cubicBezTo>
                <a:cubicBezTo>
                  <a:pt x="906" y="22937"/>
                  <a:pt x="906" y="22906"/>
                  <a:pt x="906" y="22906"/>
                </a:cubicBezTo>
                <a:cubicBezTo>
                  <a:pt x="906" y="22781"/>
                  <a:pt x="906" y="22656"/>
                  <a:pt x="906" y="22562"/>
                </a:cubicBezTo>
                <a:cubicBezTo>
                  <a:pt x="906" y="22375"/>
                  <a:pt x="906" y="22187"/>
                  <a:pt x="906" y="22000"/>
                </a:cubicBezTo>
                <a:cubicBezTo>
                  <a:pt x="906" y="22000"/>
                  <a:pt x="875" y="22031"/>
                  <a:pt x="875" y="22031"/>
                </a:cubicBezTo>
                <a:cubicBezTo>
                  <a:pt x="844" y="22125"/>
                  <a:pt x="875" y="22219"/>
                  <a:pt x="844" y="22281"/>
                </a:cubicBezTo>
                <a:cubicBezTo>
                  <a:pt x="844" y="22219"/>
                  <a:pt x="844" y="22125"/>
                  <a:pt x="812" y="22031"/>
                </a:cubicBezTo>
                <a:cubicBezTo>
                  <a:pt x="812" y="22031"/>
                  <a:pt x="812" y="22031"/>
                  <a:pt x="812" y="22031"/>
                </a:cubicBezTo>
                <a:cubicBezTo>
                  <a:pt x="812" y="22000"/>
                  <a:pt x="812" y="21969"/>
                  <a:pt x="812" y="21937"/>
                </a:cubicBezTo>
                <a:cubicBezTo>
                  <a:pt x="781" y="21906"/>
                  <a:pt x="781" y="21875"/>
                  <a:pt x="781" y="21844"/>
                </a:cubicBezTo>
                <a:cubicBezTo>
                  <a:pt x="781" y="21844"/>
                  <a:pt x="750" y="21812"/>
                  <a:pt x="750" y="21812"/>
                </a:cubicBezTo>
                <a:cubicBezTo>
                  <a:pt x="750" y="21781"/>
                  <a:pt x="750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719" y="21781"/>
                  <a:pt x="719" y="21781"/>
                </a:cubicBezTo>
                <a:cubicBezTo>
                  <a:pt x="719" y="21781"/>
                  <a:pt x="687" y="21812"/>
                  <a:pt x="687" y="21812"/>
                </a:cubicBezTo>
                <a:cubicBezTo>
                  <a:pt x="656" y="21812"/>
                  <a:pt x="594" y="21812"/>
                  <a:pt x="562" y="21812"/>
                </a:cubicBezTo>
                <a:cubicBezTo>
                  <a:pt x="531" y="21812"/>
                  <a:pt x="500" y="21812"/>
                  <a:pt x="469" y="21812"/>
                </a:cubicBezTo>
                <a:cubicBezTo>
                  <a:pt x="437" y="21812"/>
                  <a:pt x="437" y="21844"/>
                  <a:pt x="437" y="21844"/>
                </a:cubicBezTo>
                <a:cubicBezTo>
                  <a:pt x="312" y="21844"/>
                  <a:pt x="312" y="21937"/>
                  <a:pt x="281" y="22000"/>
                </a:cubicBezTo>
                <a:cubicBezTo>
                  <a:pt x="219" y="22125"/>
                  <a:pt x="187" y="22281"/>
                  <a:pt x="187" y="22406"/>
                </a:cubicBezTo>
                <a:cubicBezTo>
                  <a:pt x="125" y="22437"/>
                  <a:pt x="125" y="22500"/>
                  <a:pt x="125" y="22531"/>
                </a:cubicBezTo>
                <a:cubicBezTo>
                  <a:pt x="156" y="22562"/>
                  <a:pt x="156" y="22594"/>
                  <a:pt x="156" y="22625"/>
                </a:cubicBezTo>
                <a:cubicBezTo>
                  <a:pt x="156" y="22687"/>
                  <a:pt x="156" y="22781"/>
                  <a:pt x="156" y="22875"/>
                </a:cubicBezTo>
                <a:cubicBezTo>
                  <a:pt x="94" y="22937"/>
                  <a:pt x="125" y="23031"/>
                  <a:pt x="125" y="23094"/>
                </a:cubicBezTo>
                <a:cubicBezTo>
                  <a:pt x="125" y="23094"/>
                  <a:pt x="125" y="23094"/>
                  <a:pt x="156" y="23125"/>
                </a:cubicBezTo>
                <a:cubicBezTo>
                  <a:pt x="219" y="23281"/>
                  <a:pt x="125" y="23406"/>
                  <a:pt x="156" y="23562"/>
                </a:cubicBezTo>
                <a:cubicBezTo>
                  <a:pt x="156" y="23719"/>
                  <a:pt x="125" y="23844"/>
                  <a:pt x="94" y="24000"/>
                </a:cubicBezTo>
                <a:cubicBezTo>
                  <a:pt x="94" y="24281"/>
                  <a:pt x="0" y="24531"/>
                  <a:pt x="31" y="24844"/>
                </a:cubicBezTo>
                <a:cubicBezTo>
                  <a:pt x="31" y="25000"/>
                  <a:pt x="0" y="25187"/>
                  <a:pt x="31" y="25375"/>
                </a:cubicBezTo>
                <a:cubicBezTo>
                  <a:pt x="0" y="25469"/>
                  <a:pt x="31" y="25531"/>
                  <a:pt x="62" y="25625"/>
                </a:cubicBezTo>
                <a:cubicBezTo>
                  <a:pt x="94" y="25687"/>
                  <a:pt x="94" y="25781"/>
                  <a:pt x="125" y="25844"/>
                </a:cubicBezTo>
                <a:cubicBezTo>
                  <a:pt x="156" y="25937"/>
                  <a:pt x="187" y="26062"/>
                  <a:pt x="219" y="26156"/>
                </a:cubicBezTo>
                <a:cubicBezTo>
                  <a:pt x="219" y="26156"/>
                  <a:pt x="219" y="26156"/>
                  <a:pt x="219" y="26156"/>
                </a:cubicBezTo>
                <a:cubicBezTo>
                  <a:pt x="250" y="26156"/>
                  <a:pt x="250" y="26187"/>
                  <a:pt x="250" y="26187"/>
                </a:cubicBezTo>
                <a:cubicBezTo>
                  <a:pt x="250" y="26187"/>
                  <a:pt x="250" y="26187"/>
                  <a:pt x="250" y="26187"/>
                </a:cubicBezTo>
                <a:cubicBezTo>
                  <a:pt x="250" y="26187"/>
                  <a:pt x="250" y="26219"/>
                  <a:pt x="250" y="26219"/>
                </a:cubicBezTo>
                <a:cubicBezTo>
                  <a:pt x="250" y="26250"/>
                  <a:pt x="281" y="26250"/>
                  <a:pt x="281" y="26281"/>
                </a:cubicBezTo>
                <a:cubicBezTo>
                  <a:pt x="375" y="26437"/>
                  <a:pt x="469" y="26625"/>
                  <a:pt x="625" y="26781"/>
                </a:cubicBezTo>
                <a:cubicBezTo>
                  <a:pt x="625" y="26781"/>
                  <a:pt x="625" y="26781"/>
                  <a:pt x="625" y="26812"/>
                </a:cubicBezTo>
                <a:cubicBezTo>
                  <a:pt x="656" y="26844"/>
                  <a:pt x="687" y="26844"/>
                  <a:pt x="719" y="26875"/>
                </a:cubicBezTo>
                <a:cubicBezTo>
                  <a:pt x="719" y="26875"/>
                  <a:pt x="719" y="26875"/>
                  <a:pt x="750" y="26875"/>
                </a:cubicBezTo>
                <a:cubicBezTo>
                  <a:pt x="750" y="26875"/>
                  <a:pt x="781" y="26875"/>
                  <a:pt x="812" y="26844"/>
                </a:cubicBezTo>
                <a:cubicBezTo>
                  <a:pt x="812" y="26844"/>
                  <a:pt x="844" y="26844"/>
                  <a:pt x="875" y="26844"/>
                </a:cubicBezTo>
                <a:cubicBezTo>
                  <a:pt x="937" y="26812"/>
                  <a:pt x="969" y="26812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969" y="26719"/>
                  <a:pt x="969" y="26719"/>
                  <a:pt x="969" y="26719"/>
                </a:cubicBezTo>
                <a:cubicBezTo>
                  <a:pt x="1000" y="26719"/>
                  <a:pt x="1031" y="26719"/>
                  <a:pt x="1031" y="26719"/>
                </a:cubicBezTo>
                <a:cubicBezTo>
                  <a:pt x="1125" y="26687"/>
                  <a:pt x="1187" y="26594"/>
                  <a:pt x="1187" y="26500"/>
                </a:cubicBezTo>
                <a:cubicBezTo>
                  <a:pt x="1156" y="26375"/>
                  <a:pt x="1187" y="26281"/>
                  <a:pt x="1187" y="26156"/>
                </a:cubicBezTo>
                <a:cubicBezTo>
                  <a:pt x="1219" y="25937"/>
                  <a:pt x="1281" y="25719"/>
                  <a:pt x="1375" y="25500"/>
                </a:cubicBezTo>
                <a:cubicBezTo>
                  <a:pt x="1375" y="25500"/>
                  <a:pt x="1375" y="25469"/>
                  <a:pt x="1375" y="25469"/>
                </a:cubicBezTo>
                <a:cubicBezTo>
                  <a:pt x="1375" y="25469"/>
                  <a:pt x="1375" y="25469"/>
                  <a:pt x="1344" y="25437"/>
                </a:cubicBezTo>
                <a:cubicBezTo>
                  <a:pt x="1375" y="25437"/>
                  <a:pt x="1375" y="25437"/>
                  <a:pt x="1375" y="25437"/>
                </a:cubicBezTo>
                <a:cubicBezTo>
                  <a:pt x="1406" y="25437"/>
                  <a:pt x="1437" y="25437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469" y="25406"/>
                  <a:pt x="1469" y="25406"/>
                  <a:pt x="1469" y="25406"/>
                </a:cubicBezTo>
                <a:cubicBezTo>
                  <a:pt x="1500" y="25406"/>
                  <a:pt x="1500" y="25375"/>
                  <a:pt x="1500" y="25375"/>
                </a:cubicBezTo>
                <a:cubicBezTo>
                  <a:pt x="1500" y="25375"/>
                  <a:pt x="1500" y="25344"/>
                  <a:pt x="1500" y="25344"/>
                </a:cubicBezTo>
                <a:cubicBezTo>
                  <a:pt x="1500" y="25219"/>
                  <a:pt x="1594" y="25156"/>
                  <a:pt x="1625" y="25062"/>
                </a:cubicBezTo>
                <a:cubicBezTo>
                  <a:pt x="1625" y="25062"/>
                  <a:pt x="1656" y="25031"/>
                  <a:pt x="1656" y="25000"/>
                </a:cubicBezTo>
                <a:cubicBezTo>
                  <a:pt x="1687" y="24969"/>
                  <a:pt x="1719" y="24937"/>
                  <a:pt x="1750" y="24875"/>
                </a:cubicBezTo>
                <a:cubicBezTo>
                  <a:pt x="1750" y="24875"/>
                  <a:pt x="1750" y="24875"/>
                  <a:pt x="1750" y="24844"/>
                </a:cubicBezTo>
                <a:cubicBezTo>
                  <a:pt x="1844" y="24750"/>
                  <a:pt x="1906" y="24625"/>
                  <a:pt x="1906" y="24469"/>
                </a:cubicBezTo>
                <a:cubicBezTo>
                  <a:pt x="1937" y="24437"/>
                  <a:pt x="1906" y="24437"/>
                  <a:pt x="1875" y="24406"/>
                </a:cubicBezTo>
                <a:cubicBezTo>
                  <a:pt x="1875" y="24406"/>
                  <a:pt x="1875" y="24406"/>
                  <a:pt x="1875" y="24406"/>
                </a:cubicBezTo>
                <a:cubicBezTo>
                  <a:pt x="1844" y="24375"/>
                  <a:pt x="1875" y="24344"/>
                  <a:pt x="1875" y="24312"/>
                </a:cubicBezTo>
                <a:cubicBezTo>
                  <a:pt x="1906" y="24281"/>
                  <a:pt x="1937" y="24281"/>
                  <a:pt x="1937" y="24312"/>
                </a:cubicBezTo>
                <a:cubicBezTo>
                  <a:pt x="1969" y="24344"/>
                  <a:pt x="2000" y="24344"/>
                  <a:pt x="1937" y="24375"/>
                </a:cubicBezTo>
                <a:cubicBezTo>
                  <a:pt x="1937" y="24406"/>
                  <a:pt x="1937" y="24437"/>
                  <a:pt x="1969" y="24437"/>
                </a:cubicBezTo>
                <a:cubicBezTo>
                  <a:pt x="1937" y="24469"/>
                  <a:pt x="1937" y="24500"/>
                  <a:pt x="2000" y="24469"/>
                </a:cubicBezTo>
                <a:cubicBezTo>
                  <a:pt x="2062" y="24437"/>
                  <a:pt x="2094" y="24375"/>
                  <a:pt x="2156" y="24312"/>
                </a:cubicBezTo>
                <a:cubicBezTo>
                  <a:pt x="2187" y="24312"/>
                  <a:pt x="2250" y="24250"/>
                  <a:pt x="2312" y="24312"/>
                </a:cubicBezTo>
                <a:cubicBezTo>
                  <a:pt x="2312" y="24312"/>
                  <a:pt x="2344" y="24312"/>
                  <a:pt x="2344" y="24281"/>
                </a:cubicBezTo>
                <a:cubicBezTo>
                  <a:pt x="2375" y="24219"/>
                  <a:pt x="2406" y="24187"/>
                  <a:pt x="2469" y="24156"/>
                </a:cubicBezTo>
                <a:cubicBezTo>
                  <a:pt x="2500" y="24125"/>
                  <a:pt x="2562" y="24094"/>
                  <a:pt x="2594" y="24031"/>
                </a:cubicBezTo>
                <a:cubicBezTo>
                  <a:pt x="2625" y="24031"/>
                  <a:pt x="2625" y="24000"/>
                  <a:pt x="2656" y="23969"/>
                </a:cubicBezTo>
                <a:cubicBezTo>
                  <a:pt x="2687" y="23937"/>
                  <a:pt x="2719" y="23906"/>
                  <a:pt x="2719" y="23906"/>
                </a:cubicBezTo>
                <a:cubicBezTo>
                  <a:pt x="2719" y="23906"/>
                  <a:pt x="2719" y="23906"/>
                  <a:pt x="2719" y="23906"/>
                </a:cubicBezTo>
                <a:cubicBezTo>
                  <a:pt x="2750" y="23875"/>
                  <a:pt x="2750" y="23875"/>
                  <a:pt x="2750" y="23844"/>
                </a:cubicBezTo>
                <a:cubicBezTo>
                  <a:pt x="2781" y="23844"/>
                  <a:pt x="2781" y="23812"/>
                  <a:pt x="2812" y="23781"/>
                </a:cubicBezTo>
                <a:cubicBezTo>
                  <a:pt x="2812" y="23781"/>
                  <a:pt x="2812" y="23750"/>
                  <a:pt x="2812" y="23750"/>
                </a:cubicBezTo>
                <a:cubicBezTo>
                  <a:pt x="2844" y="23687"/>
                  <a:pt x="2844" y="23625"/>
                  <a:pt x="2844" y="23562"/>
                </a:cubicBezTo>
                <a:cubicBezTo>
                  <a:pt x="2781" y="23656"/>
                  <a:pt x="2781" y="23812"/>
                  <a:pt x="2656" y="23906"/>
                </a:cubicBezTo>
                <a:cubicBezTo>
                  <a:pt x="2656" y="23875"/>
                  <a:pt x="2656" y="23844"/>
                  <a:pt x="2656" y="23844"/>
                </a:cubicBezTo>
                <a:cubicBezTo>
                  <a:pt x="2656" y="23812"/>
                  <a:pt x="2656" y="23812"/>
                  <a:pt x="2656" y="23781"/>
                </a:cubicBezTo>
                <a:cubicBezTo>
                  <a:pt x="2656" y="23781"/>
                  <a:pt x="2656" y="23781"/>
                  <a:pt x="2656" y="23781"/>
                </a:cubicBezTo>
                <a:cubicBezTo>
                  <a:pt x="2656" y="23750"/>
                  <a:pt x="2656" y="23719"/>
                  <a:pt x="2625" y="23719"/>
                </a:cubicBezTo>
                <a:cubicBezTo>
                  <a:pt x="2594" y="23687"/>
                  <a:pt x="2562" y="23687"/>
                  <a:pt x="2531" y="23687"/>
                </a:cubicBezTo>
                <a:cubicBezTo>
                  <a:pt x="2594" y="23625"/>
                  <a:pt x="2687" y="23594"/>
                  <a:pt x="2750" y="23531"/>
                </a:cubicBezTo>
                <a:cubicBezTo>
                  <a:pt x="2781" y="23531"/>
                  <a:pt x="2781" y="23500"/>
                  <a:pt x="2812" y="23469"/>
                </a:cubicBezTo>
                <a:cubicBezTo>
                  <a:pt x="2844" y="23469"/>
                  <a:pt x="2875" y="23531"/>
                  <a:pt x="2875" y="23469"/>
                </a:cubicBezTo>
                <a:cubicBezTo>
                  <a:pt x="2875" y="23406"/>
                  <a:pt x="2937" y="23406"/>
                  <a:pt x="2969" y="23375"/>
                </a:cubicBezTo>
                <a:cubicBezTo>
                  <a:pt x="3094" y="23312"/>
                  <a:pt x="3219" y="23219"/>
                  <a:pt x="3344" y="23156"/>
                </a:cubicBezTo>
                <a:cubicBezTo>
                  <a:pt x="3344" y="23062"/>
                  <a:pt x="3344" y="22969"/>
                  <a:pt x="3344" y="22875"/>
                </a:cubicBezTo>
                <a:cubicBezTo>
                  <a:pt x="3344" y="22875"/>
                  <a:pt x="3344" y="22844"/>
                  <a:pt x="3344" y="22844"/>
                </a:cubicBezTo>
                <a:cubicBezTo>
                  <a:pt x="3344" y="22844"/>
                  <a:pt x="3344" y="22812"/>
                  <a:pt x="3312" y="22812"/>
                </a:cubicBezTo>
                <a:close/>
                <a:moveTo>
                  <a:pt x="15719" y="16469"/>
                </a:moveTo>
                <a:cubicBezTo>
                  <a:pt x="15719" y="16469"/>
                  <a:pt x="15719" y="16469"/>
                  <a:pt x="15687" y="16469"/>
                </a:cubicBezTo>
                <a:cubicBezTo>
                  <a:pt x="15687" y="16469"/>
                  <a:pt x="15687" y="16469"/>
                  <a:pt x="15687" y="16469"/>
                </a:cubicBezTo>
                <a:cubicBezTo>
                  <a:pt x="15687" y="16469"/>
                  <a:pt x="15719" y="16469"/>
                  <a:pt x="15719" y="16469"/>
                </a:cubicBezTo>
                <a:cubicBezTo>
                  <a:pt x="15719" y="16563"/>
                  <a:pt x="15781" y="16563"/>
                  <a:pt x="15875" y="16563"/>
                </a:cubicBezTo>
                <a:cubicBezTo>
                  <a:pt x="15875" y="16563"/>
                  <a:pt x="15875" y="16563"/>
                  <a:pt x="15844" y="16563"/>
                </a:cubicBezTo>
                <a:cubicBezTo>
                  <a:pt x="15812" y="16500"/>
                  <a:pt x="15750" y="16531"/>
                  <a:pt x="15719" y="16469"/>
                </a:cubicBezTo>
                <a:close/>
                <a:moveTo>
                  <a:pt x="9062" y="18438"/>
                </a:moveTo>
                <a:cubicBezTo>
                  <a:pt x="9062" y="18438"/>
                  <a:pt x="9062" y="18469"/>
                  <a:pt x="9062" y="18469"/>
                </a:cubicBezTo>
                <a:cubicBezTo>
                  <a:pt x="9062" y="18469"/>
                  <a:pt x="9094" y="18469"/>
                  <a:pt x="9094" y="18469"/>
                </a:cubicBezTo>
                <a:cubicBezTo>
                  <a:pt x="9094" y="18469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125" y="18438"/>
                  <a:pt x="9125" y="18406"/>
                  <a:pt x="9125" y="18406"/>
                </a:cubicBezTo>
                <a:cubicBezTo>
                  <a:pt x="9250" y="18188"/>
                  <a:pt x="9375" y="18000"/>
                  <a:pt x="9469" y="17813"/>
                </a:cubicBezTo>
                <a:cubicBezTo>
                  <a:pt x="9469" y="17781"/>
                  <a:pt x="9500" y="17719"/>
                  <a:pt x="9437" y="17688"/>
                </a:cubicBezTo>
                <a:cubicBezTo>
                  <a:pt x="9437" y="17781"/>
                  <a:pt x="9344" y="17844"/>
                  <a:pt x="9312" y="17938"/>
                </a:cubicBezTo>
                <a:cubicBezTo>
                  <a:pt x="9250" y="18000"/>
                  <a:pt x="9219" y="18031"/>
                  <a:pt x="9187" y="18094"/>
                </a:cubicBezTo>
                <a:cubicBezTo>
                  <a:pt x="9156" y="18219"/>
                  <a:pt x="9094" y="18313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94" y="18438"/>
                  <a:pt x="9094" y="18438"/>
                </a:cubicBezTo>
                <a:cubicBezTo>
                  <a:pt x="9094" y="18438"/>
                  <a:pt x="9062" y="18438"/>
                  <a:pt x="9062" y="18438"/>
                </a:cubicBezTo>
                <a:close/>
                <a:moveTo>
                  <a:pt x="18031" y="15531"/>
                </a:moveTo>
                <a:cubicBezTo>
                  <a:pt x="18031" y="15531"/>
                  <a:pt x="18031" y="15531"/>
                  <a:pt x="18062" y="15500"/>
                </a:cubicBezTo>
                <a:cubicBezTo>
                  <a:pt x="18031" y="15500"/>
                  <a:pt x="18031" y="15500"/>
                  <a:pt x="18000" y="15500"/>
                </a:cubicBezTo>
                <a:cubicBezTo>
                  <a:pt x="18000" y="15500"/>
                  <a:pt x="18000" y="15500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00" y="15531"/>
                  <a:pt x="18000" y="15531"/>
                </a:cubicBezTo>
                <a:cubicBezTo>
                  <a:pt x="18000" y="15531"/>
                  <a:pt x="18031" y="15531"/>
                  <a:pt x="18031" y="15531"/>
                </a:cubicBezTo>
                <a:close/>
                <a:moveTo>
                  <a:pt x="24219" y="5344"/>
                </a:moveTo>
                <a:cubicBezTo>
                  <a:pt x="24219" y="5375"/>
                  <a:pt x="24219" y="5375"/>
                  <a:pt x="24250" y="5375"/>
                </a:cubicBezTo>
                <a:cubicBezTo>
                  <a:pt x="24250" y="5375"/>
                  <a:pt x="24250" y="5375"/>
                  <a:pt x="24250" y="5375"/>
                </a:cubicBezTo>
                <a:cubicBezTo>
                  <a:pt x="24250" y="5344"/>
                  <a:pt x="24250" y="5344"/>
                  <a:pt x="24250" y="5313"/>
                </a:cubicBezTo>
                <a:cubicBezTo>
                  <a:pt x="24250" y="5344"/>
                  <a:pt x="24219" y="5344"/>
                  <a:pt x="24219" y="5344"/>
                </a:cubicBezTo>
                <a:close/>
                <a:moveTo>
                  <a:pt x="18187" y="5500"/>
                </a:moveTo>
                <a:cubicBezTo>
                  <a:pt x="18187" y="5500"/>
                  <a:pt x="18187" y="5500"/>
                  <a:pt x="18187" y="5500"/>
                </a:cubicBezTo>
                <a:cubicBezTo>
                  <a:pt x="18187" y="5531"/>
                  <a:pt x="18187" y="5531"/>
                  <a:pt x="18187" y="5531"/>
                </a:cubicBezTo>
                <a:cubicBezTo>
                  <a:pt x="18187" y="5531"/>
                  <a:pt x="18219" y="5531"/>
                  <a:pt x="18219" y="5531"/>
                </a:cubicBezTo>
                <a:cubicBezTo>
                  <a:pt x="18219" y="5500"/>
                  <a:pt x="18219" y="5500"/>
                  <a:pt x="18187" y="5500"/>
                </a:cubicBezTo>
                <a:close/>
                <a:moveTo>
                  <a:pt x="20062" y="7969"/>
                </a:moveTo>
                <a:cubicBezTo>
                  <a:pt x="20031" y="7969"/>
                  <a:pt x="20031" y="7969"/>
                  <a:pt x="20031" y="8000"/>
                </a:cubicBezTo>
                <a:cubicBezTo>
                  <a:pt x="20031" y="8031"/>
                  <a:pt x="20062" y="8031"/>
                  <a:pt x="20094" y="8031"/>
                </a:cubicBezTo>
                <a:cubicBezTo>
                  <a:pt x="20094" y="8031"/>
                  <a:pt x="20125" y="8031"/>
                  <a:pt x="20094" y="8000"/>
                </a:cubicBezTo>
                <a:cubicBezTo>
                  <a:pt x="20094" y="7969"/>
                  <a:pt x="20094" y="7969"/>
                  <a:pt x="20062" y="7969"/>
                </a:cubicBezTo>
                <a:close/>
                <a:moveTo>
                  <a:pt x="12687" y="17250"/>
                </a:moveTo>
                <a:cubicBezTo>
                  <a:pt x="12656" y="17281"/>
                  <a:pt x="12687" y="17313"/>
                  <a:pt x="12687" y="17313"/>
                </a:cubicBezTo>
                <a:cubicBezTo>
                  <a:pt x="12719" y="17313"/>
                  <a:pt x="12750" y="17281"/>
                  <a:pt x="12781" y="17281"/>
                </a:cubicBezTo>
                <a:cubicBezTo>
                  <a:pt x="12750" y="17250"/>
                  <a:pt x="12719" y="17250"/>
                  <a:pt x="12687" y="17250"/>
                </a:cubicBezTo>
                <a:close/>
                <a:moveTo>
                  <a:pt x="17562" y="7219"/>
                </a:moveTo>
                <a:cubicBezTo>
                  <a:pt x="17594" y="7188"/>
                  <a:pt x="17625" y="7156"/>
                  <a:pt x="17594" y="7094"/>
                </a:cubicBezTo>
                <a:cubicBezTo>
                  <a:pt x="17531" y="7125"/>
                  <a:pt x="17531" y="7156"/>
                  <a:pt x="17562" y="7188"/>
                </a:cubicBezTo>
                <a:cubicBezTo>
                  <a:pt x="17562" y="7219"/>
                  <a:pt x="17562" y="7219"/>
                  <a:pt x="17562" y="7219"/>
                </a:cubicBezTo>
                <a:close/>
                <a:moveTo>
                  <a:pt x="18031" y="5344"/>
                </a:moveTo>
                <a:cubicBezTo>
                  <a:pt x="18031" y="5406"/>
                  <a:pt x="18062" y="5438"/>
                  <a:pt x="18125" y="5469"/>
                </a:cubicBezTo>
                <a:cubicBezTo>
                  <a:pt x="18125" y="5375"/>
                  <a:pt x="18062" y="5375"/>
                  <a:pt x="18031" y="5344"/>
                </a:cubicBezTo>
                <a:close/>
                <a:moveTo>
                  <a:pt x="17375" y="5188"/>
                </a:moveTo>
                <a:cubicBezTo>
                  <a:pt x="17437" y="5250"/>
                  <a:pt x="17469" y="5313"/>
                  <a:pt x="17531" y="5375"/>
                </a:cubicBezTo>
                <a:cubicBezTo>
                  <a:pt x="17531" y="5281"/>
                  <a:pt x="17469" y="5219"/>
                  <a:pt x="17375" y="5188"/>
                </a:cubicBezTo>
                <a:close/>
                <a:moveTo>
                  <a:pt x="17375" y="15781"/>
                </a:moveTo>
                <a:cubicBezTo>
                  <a:pt x="17375" y="15750"/>
                  <a:pt x="17375" y="15719"/>
                  <a:pt x="17344" y="15719"/>
                </a:cubicBezTo>
                <a:cubicBezTo>
                  <a:pt x="17312" y="15750"/>
                  <a:pt x="17312" y="15750"/>
                  <a:pt x="17312" y="15781"/>
                </a:cubicBezTo>
                <a:cubicBezTo>
                  <a:pt x="17312" y="15813"/>
                  <a:pt x="17344" y="15875"/>
                  <a:pt x="17344" y="15938"/>
                </a:cubicBezTo>
                <a:cubicBezTo>
                  <a:pt x="17406" y="15875"/>
                  <a:pt x="17375" y="15813"/>
                  <a:pt x="17375" y="15781"/>
                </a:cubicBezTo>
                <a:close/>
                <a:moveTo>
                  <a:pt x="13594" y="16719"/>
                </a:moveTo>
                <a:cubicBezTo>
                  <a:pt x="13562" y="16813"/>
                  <a:pt x="13437" y="16844"/>
                  <a:pt x="13469" y="16938"/>
                </a:cubicBezTo>
                <a:cubicBezTo>
                  <a:pt x="13562" y="16906"/>
                  <a:pt x="13594" y="16844"/>
                  <a:pt x="13594" y="16719"/>
                </a:cubicBezTo>
                <a:close/>
                <a:moveTo>
                  <a:pt x="13406" y="15375"/>
                </a:moveTo>
                <a:cubicBezTo>
                  <a:pt x="13437" y="15375"/>
                  <a:pt x="13437" y="15375"/>
                  <a:pt x="13437" y="15344"/>
                </a:cubicBezTo>
                <a:cubicBezTo>
                  <a:pt x="13437" y="15344"/>
                  <a:pt x="13437" y="15313"/>
                  <a:pt x="13406" y="15313"/>
                </a:cubicBezTo>
                <a:cubicBezTo>
                  <a:pt x="13344" y="15313"/>
                  <a:pt x="13281" y="15313"/>
                  <a:pt x="13187" y="15313"/>
                </a:cubicBezTo>
                <a:cubicBezTo>
                  <a:pt x="13250" y="15406"/>
                  <a:pt x="13344" y="15375"/>
                  <a:pt x="13406" y="15375"/>
                </a:cubicBezTo>
                <a:close/>
                <a:moveTo>
                  <a:pt x="13031" y="15375"/>
                </a:moveTo>
                <a:cubicBezTo>
                  <a:pt x="13094" y="15406"/>
                  <a:pt x="13156" y="15469"/>
                  <a:pt x="13250" y="15438"/>
                </a:cubicBezTo>
                <a:cubicBezTo>
                  <a:pt x="13094" y="15375"/>
                  <a:pt x="12969" y="15281"/>
                  <a:pt x="12844" y="15281"/>
                </a:cubicBezTo>
                <a:cubicBezTo>
                  <a:pt x="12906" y="15313"/>
                  <a:pt x="12969" y="15375"/>
                  <a:pt x="13031" y="15375"/>
                </a:cubicBezTo>
                <a:close/>
                <a:moveTo>
                  <a:pt x="24281" y="5281"/>
                </a:moveTo>
                <a:cubicBezTo>
                  <a:pt x="24437" y="5250"/>
                  <a:pt x="24469" y="5125"/>
                  <a:pt x="24469" y="5000"/>
                </a:cubicBezTo>
                <a:cubicBezTo>
                  <a:pt x="24344" y="5063"/>
                  <a:pt x="24312" y="5188"/>
                  <a:pt x="24281" y="5281"/>
                </a:cubicBezTo>
                <a:close/>
                <a:moveTo>
                  <a:pt x="20719" y="17469"/>
                </a:moveTo>
                <a:cubicBezTo>
                  <a:pt x="20687" y="17469"/>
                  <a:pt x="20687" y="17469"/>
                  <a:pt x="20687" y="17500"/>
                </a:cubicBezTo>
                <a:cubicBezTo>
                  <a:pt x="20687" y="17625"/>
                  <a:pt x="20531" y="17750"/>
                  <a:pt x="20625" y="17906"/>
                </a:cubicBezTo>
                <a:cubicBezTo>
                  <a:pt x="20656" y="17875"/>
                  <a:pt x="20750" y="17656"/>
                  <a:pt x="20750" y="17625"/>
                </a:cubicBezTo>
                <a:cubicBezTo>
                  <a:pt x="20750" y="17625"/>
                  <a:pt x="20750" y="17625"/>
                  <a:pt x="20750" y="17625"/>
                </a:cubicBezTo>
                <a:cubicBezTo>
                  <a:pt x="20719" y="17594"/>
                  <a:pt x="20719" y="17563"/>
                  <a:pt x="20750" y="17531"/>
                </a:cubicBezTo>
                <a:cubicBezTo>
                  <a:pt x="20750" y="17500"/>
                  <a:pt x="20750" y="17469"/>
                  <a:pt x="20719" y="17469"/>
                </a:cubicBezTo>
                <a:close/>
                <a:moveTo>
                  <a:pt x="14219" y="16469"/>
                </a:moveTo>
                <a:cubicBezTo>
                  <a:pt x="14094" y="16375"/>
                  <a:pt x="13969" y="16344"/>
                  <a:pt x="13812" y="16344"/>
                </a:cubicBezTo>
                <a:cubicBezTo>
                  <a:pt x="13812" y="16344"/>
                  <a:pt x="13781" y="16344"/>
                  <a:pt x="13781" y="16375"/>
                </a:cubicBezTo>
                <a:cubicBezTo>
                  <a:pt x="13781" y="16375"/>
                  <a:pt x="13781" y="16406"/>
                  <a:pt x="13812" y="16406"/>
                </a:cubicBezTo>
                <a:cubicBezTo>
                  <a:pt x="13937" y="16469"/>
                  <a:pt x="14062" y="16500"/>
                  <a:pt x="14219" y="16469"/>
                </a:cubicBezTo>
                <a:close/>
                <a:moveTo>
                  <a:pt x="18344" y="4469"/>
                </a:moveTo>
                <a:cubicBezTo>
                  <a:pt x="18312" y="4406"/>
                  <a:pt x="18250" y="4469"/>
                  <a:pt x="18187" y="4469"/>
                </a:cubicBezTo>
                <a:cubicBezTo>
                  <a:pt x="18156" y="4438"/>
                  <a:pt x="18094" y="4406"/>
                  <a:pt x="18062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31" y="4375"/>
                  <a:pt x="18031" y="4375"/>
                  <a:pt x="18031" y="4375"/>
                </a:cubicBezTo>
                <a:cubicBezTo>
                  <a:pt x="18000" y="4375"/>
                  <a:pt x="17969" y="4406"/>
                  <a:pt x="18000" y="4438"/>
                </a:cubicBezTo>
                <a:cubicBezTo>
                  <a:pt x="18000" y="4500"/>
                  <a:pt x="18000" y="4531"/>
                  <a:pt x="18031" y="4594"/>
                </a:cubicBezTo>
                <a:cubicBezTo>
                  <a:pt x="18031" y="4625"/>
                  <a:pt x="18094" y="4719"/>
                  <a:pt x="17969" y="4719"/>
                </a:cubicBezTo>
                <a:cubicBezTo>
                  <a:pt x="17937" y="4719"/>
                  <a:pt x="17937" y="4750"/>
                  <a:pt x="17937" y="4781"/>
                </a:cubicBezTo>
                <a:cubicBezTo>
                  <a:pt x="18094" y="4781"/>
                  <a:pt x="18125" y="4750"/>
                  <a:pt x="18156" y="4594"/>
                </a:cubicBezTo>
                <a:cubicBezTo>
                  <a:pt x="18156" y="4563"/>
                  <a:pt x="18156" y="4563"/>
                  <a:pt x="18219" y="4531"/>
                </a:cubicBezTo>
                <a:cubicBezTo>
                  <a:pt x="18250" y="4531"/>
                  <a:pt x="18344" y="4531"/>
                  <a:pt x="18344" y="4469"/>
                </a:cubicBezTo>
                <a:close/>
                <a:moveTo>
                  <a:pt x="12594" y="11875"/>
                </a:moveTo>
                <a:cubicBezTo>
                  <a:pt x="12719" y="11813"/>
                  <a:pt x="12719" y="11750"/>
                  <a:pt x="12656" y="11563"/>
                </a:cubicBezTo>
                <a:cubicBezTo>
                  <a:pt x="12594" y="11656"/>
                  <a:pt x="12562" y="11781"/>
                  <a:pt x="12531" y="11875"/>
                </a:cubicBezTo>
                <a:cubicBezTo>
                  <a:pt x="12469" y="11906"/>
                  <a:pt x="12469" y="11938"/>
                  <a:pt x="12469" y="11969"/>
                </a:cubicBezTo>
                <a:cubicBezTo>
                  <a:pt x="12469" y="11969"/>
                  <a:pt x="12437" y="11969"/>
                  <a:pt x="12437" y="11969"/>
                </a:cubicBezTo>
                <a:cubicBezTo>
                  <a:pt x="12375" y="12125"/>
                  <a:pt x="12375" y="12281"/>
                  <a:pt x="12250" y="12375"/>
                </a:cubicBezTo>
                <a:cubicBezTo>
                  <a:pt x="12375" y="12344"/>
                  <a:pt x="12437" y="12219"/>
                  <a:pt x="12562" y="12156"/>
                </a:cubicBezTo>
                <a:cubicBezTo>
                  <a:pt x="12562" y="12156"/>
                  <a:pt x="12594" y="12156"/>
                  <a:pt x="12594" y="12156"/>
                </a:cubicBezTo>
                <a:cubicBezTo>
                  <a:pt x="12687" y="12094"/>
                  <a:pt x="12719" y="12000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719" y="11875"/>
                  <a:pt x="12719" y="11875"/>
                  <a:pt x="12719" y="11875"/>
                </a:cubicBezTo>
                <a:cubicBezTo>
                  <a:pt x="12687" y="11906"/>
                  <a:pt x="12687" y="11938"/>
                  <a:pt x="12656" y="11969"/>
                </a:cubicBezTo>
                <a:cubicBezTo>
                  <a:pt x="12656" y="11969"/>
                  <a:pt x="12625" y="12000"/>
                  <a:pt x="12594" y="12000"/>
                </a:cubicBezTo>
                <a:cubicBezTo>
                  <a:pt x="12562" y="11969"/>
                  <a:pt x="12562" y="11938"/>
                  <a:pt x="12594" y="11906"/>
                </a:cubicBezTo>
                <a:cubicBezTo>
                  <a:pt x="12594" y="11906"/>
                  <a:pt x="12594" y="11875"/>
                  <a:pt x="12594" y="11875"/>
                </a:cubicBezTo>
                <a:close/>
                <a:moveTo>
                  <a:pt x="17031" y="8219"/>
                </a:moveTo>
                <a:cubicBezTo>
                  <a:pt x="16969" y="8313"/>
                  <a:pt x="16906" y="8375"/>
                  <a:pt x="16906" y="8500"/>
                </a:cubicBezTo>
                <a:cubicBezTo>
                  <a:pt x="16906" y="8781"/>
                  <a:pt x="16906" y="9063"/>
                  <a:pt x="16906" y="9344"/>
                </a:cubicBezTo>
                <a:cubicBezTo>
                  <a:pt x="17000" y="9000"/>
                  <a:pt x="17000" y="8625"/>
                  <a:pt x="17031" y="8219"/>
                </a:cubicBezTo>
                <a:close/>
                <a:moveTo>
                  <a:pt x="18719" y="13500"/>
                </a:moveTo>
                <a:cubicBezTo>
                  <a:pt x="18687" y="13500"/>
                  <a:pt x="18656" y="13469"/>
                  <a:pt x="18625" y="13500"/>
                </a:cubicBezTo>
                <a:cubicBezTo>
                  <a:pt x="18625" y="13531"/>
                  <a:pt x="18656" y="13563"/>
                  <a:pt x="18656" y="13594"/>
                </a:cubicBezTo>
                <a:cubicBezTo>
                  <a:pt x="18687" y="13594"/>
                  <a:pt x="18719" y="13594"/>
                  <a:pt x="18719" y="13625"/>
                </a:cubicBezTo>
                <a:cubicBezTo>
                  <a:pt x="18937" y="13750"/>
                  <a:pt x="19219" y="13750"/>
                  <a:pt x="19437" y="13906"/>
                </a:cubicBezTo>
                <a:cubicBezTo>
                  <a:pt x="19469" y="13906"/>
                  <a:pt x="19500" y="13938"/>
                  <a:pt x="19531" y="13906"/>
                </a:cubicBezTo>
                <a:cubicBezTo>
                  <a:pt x="19344" y="13781"/>
                  <a:pt x="19156" y="13656"/>
                  <a:pt x="18937" y="13563"/>
                </a:cubicBezTo>
                <a:cubicBezTo>
                  <a:pt x="18875" y="13531"/>
                  <a:pt x="18781" y="13500"/>
                  <a:pt x="18719" y="13500"/>
                </a:cubicBezTo>
                <a:close/>
                <a:moveTo>
                  <a:pt x="17781" y="6781"/>
                </a:moveTo>
                <a:cubicBezTo>
                  <a:pt x="17812" y="6656"/>
                  <a:pt x="17875" y="6531"/>
                  <a:pt x="17969" y="6469"/>
                </a:cubicBezTo>
                <a:cubicBezTo>
                  <a:pt x="18000" y="6469"/>
                  <a:pt x="18031" y="6438"/>
                  <a:pt x="18031" y="6406"/>
                </a:cubicBezTo>
                <a:cubicBezTo>
                  <a:pt x="17844" y="6344"/>
                  <a:pt x="17719" y="6469"/>
                  <a:pt x="17562" y="6531"/>
                </a:cubicBezTo>
                <a:cubicBezTo>
                  <a:pt x="17437" y="6563"/>
                  <a:pt x="17469" y="6625"/>
                  <a:pt x="17469" y="6719"/>
                </a:cubicBezTo>
                <a:cubicBezTo>
                  <a:pt x="17469" y="6813"/>
                  <a:pt x="17594" y="6844"/>
                  <a:pt x="17656" y="6875"/>
                </a:cubicBezTo>
                <a:cubicBezTo>
                  <a:pt x="17750" y="6875"/>
                  <a:pt x="17750" y="6813"/>
                  <a:pt x="17781" y="6781"/>
                </a:cubicBezTo>
                <a:close/>
                <a:moveTo>
                  <a:pt x="22281" y="7719"/>
                </a:moveTo>
                <a:cubicBezTo>
                  <a:pt x="22125" y="7781"/>
                  <a:pt x="22031" y="7969"/>
                  <a:pt x="21906" y="8094"/>
                </a:cubicBezTo>
                <a:cubicBezTo>
                  <a:pt x="21844" y="8156"/>
                  <a:pt x="21781" y="8219"/>
                  <a:pt x="21719" y="8219"/>
                </a:cubicBezTo>
                <a:cubicBezTo>
                  <a:pt x="21656" y="8219"/>
                  <a:pt x="21562" y="8250"/>
                  <a:pt x="21500" y="8281"/>
                </a:cubicBezTo>
                <a:cubicBezTo>
                  <a:pt x="21625" y="8281"/>
                  <a:pt x="21750" y="8281"/>
                  <a:pt x="21875" y="8281"/>
                </a:cubicBezTo>
                <a:cubicBezTo>
                  <a:pt x="22031" y="8281"/>
                  <a:pt x="22187" y="8188"/>
                  <a:pt x="22219" y="8000"/>
                </a:cubicBezTo>
                <a:cubicBezTo>
                  <a:pt x="22250" y="7969"/>
                  <a:pt x="22219" y="7938"/>
                  <a:pt x="22187" y="7938"/>
                </a:cubicBezTo>
                <a:cubicBezTo>
                  <a:pt x="22187" y="7906"/>
                  <a:pt x="22187" y="7875"/>
                  <a:pt x="22219" y="7844"/>
                </a:cubicBezTo>
                <a:cubicBezTo>
                  <a:pt x="22250" y="7813"/>
                  <a:pt x="22281" y="7813"/>
                  <a:pt x="22312" y="7781"/>
                </a:cubicBezTo>
                <a:cubicBezTo>
                  <a:pt x="22344" y="7750"/>
                  <a:pt x="22375" y="7750"/>
                  <a:pt x="22375" y="7719"/>
                </a:cubicBezTo>
                <a:cubicBezTo>
                  <a:pt x="22344" y="7688"/>
                  <a:pt x="22312" y="7719"/>
                  <a:pt x="22281" y="7719"/>
                </a:cubicBezTo>
                <a:close/>
                <a:moveTo>
                  <a:pt x="14875" y="16719"/>
                </a:moveTo>
                <a:cubicBezTo>
                  <a:pt x="14812" y="16719"/>
                  <a:pt x="14812" y="16813"/>
                  <a:pt x="14781" y="16844"/>
                </a:cubicBezTo>
                <a:cubicBezTo>
                  <a:pt x="14781" y="16813"/>
                  <a:pt x="14812" y="16781"/>
                  <a:pt x="14781" y="16781"/>
                </a:cubicBezTo>
                <a:cubicBezTo>
                  <a:pt x="14594" y="16813"/>
                  <a:pt x="14437" y="16813"/>
                  <a:pt x="14250" y="16813"/>
                </a:cubicBezTo>
                <a:cubicBezTo>
                  <a:pt x="14156" y="16781"/>
                  <a:pt x="14062" y="16750"/>
                  <a:pt x="14000" y="16875"/>
                </a:cubicBezTo>
                <a:cubicBezTo>
                  <a:pt x="14000" y="16875"/>
                  <a:pt x="14094" y="16844"/>
                  <a:pt x="14031" y="16938"/>
                </a:cubicBezTo>
                <a:cubicBezTo>
                  <a:pt x="14000" y="16969"/>
                  <a:pt x="13937" y="17031"/>
                  <a:pt x="13906" y="17063"/>
                </a:cubicBezTo>
                <a:cubicBezTo>
                  <a:pt x="13781" y="17125"/>
                  <a:pt x="13781" y="17250"/>
                  <a:pt x="13719" y="17344"/>
                </a:cubicBezTo>
                <a:cubicBezTo>
                  <a:pt x="13719" y="17344"/>
                  <a:pt x="13750" y="17344"/>
                  <a:pt x="13750" y="17313"/>
                </a:cubicBezTo>
                <a:cubicBezTo>
                  <a:pt x="13844" y="17250"/>
                  <a:pt x="13937" y="17188"/>
                  <a:pt x="14000" y="17063"/>
                </a:cubicBezTo>
                <a:cubicBezTo>
                  <a:pt x="14062" y="17125"/>
                  <a:pt x="14156" y="17156"/>
                  <a:pt x="14219" y="17188"/>
                </a:cubicBezTo>
                <a:cubicBezTo>
                  <a:pt x="14281" y="17219"/>
                  <a:pt x="14312" y="17250"/>
                  <a:pt x="14344" y="17250"/>
                </a:cubicBezTo>
                <a:cubicBezTo>
                  <a:pt x="14344" y="17250"/>
                  <a:pt x="14375" y="17281"/>
                  <a:pt x="14406" y="17281"/>
                </a:cubicBezTo>
                <a:cubicBezTo>
                  <a:pt x="14469" y="17313"/>
                  <a:pt x="14531" y="17313"/>
                  <a:pt x="14594" y="17281"/>
                </a:cubicBezTo>
                <a:cubicBezTo>
                  <a:pt x="14625" y="17219"/>
                  <a:pt x="14594" y="17188"/>
                  <a:pt x="14625" y="17125"/>
                </a:cubicBezTo>
                <a:cubicBezTo>
                  <a:pt x="14687" y="17188"/>
                  <a:pt x="14781" y="17156"/>
                  <a:pt x="14781" y="17125"/>
                </a:cubicBezTo>
                <a:cubicBezTo>
                  <a:pt x="14812" y="17063"/>
                  <a:pt x="14750" y="17031"/>
                  <a:pt x="14719" y="17000"/>
                </a:cubicBezTo>
                <a:cubicBezTo>
                  <a:pt x="14656" y="16969"/>
                  <a:pt x="14625" y="16938"/>
                  <a:pt x="14562" y="16875"/>
                </a:cubicBezTo>
                <a:cubicBezTo>
                  <a:pt x="14656" y="16844"/>
                  <a:pt x="14719" y="16906"/>
                  <a:pt x="14781" y="16938"/>
                </a:cubicBezTo>
                <a:cubicBezTo>
                  <a:pt x="14844" y="16938"/>
                  <a:pt x="14875" y="16938"/>
                  <a:pt x="14875" y="16875"/>
                </a:cubicBezTo>
                <a:cubicBezTo>
                  <a:pt x="14875" y="16813"/>
                  <a:pt x="14937" y="16750"/>
                  <a:pt x="14875" y="16719"/>
                </a:cubicBezTo>
                <a:close/>
                <a:moveTo>
                  <a:pt x="17250" y="16125"/>
                </a:moveTo>
                <a:cubicBezTo>
                  <a:pt x="17219" y="16031"/>
                  <a:pt x="17156" y="16125"/>
                  <a:pt x="17125" y="16156"/>
                </a:cubicBezTo>
                <a:cubicBezTo>
                  <a:pt x="17062" y="16156"/>
                  <a:pt x="17000" y="16156"/>
                  <a:pt x="16937" y="16219"/>
                </a:cubicBezTo>
                <a:cubicBezTo>
                  <a:pt x="16906" y="16219"/>
                  <a:pt x="16906" y="16188"/>
                  <a:pt x="16906" y="16156"/>
                </a:cubicBezTo>
                <a:cubicBezTo>
                  <a:pt x="16875" y="16094"/>
                  <a:pt x="16844" y="16094"/>
                  <a:pt x="16812" y="16125"/>
                </a:cubicBezTo>
                <a:cubicBezTo>
                  <a:pt x="16781" y="16156"/>
                  <a:pt x="16750" y="16219"/>
                  <a:pt x="16719" y="16250"/>
                </a:cubicBezTo>
                <a:cubicBezTo>
                  <a:pt x="16656" y="16313"/>
                  <a:pt x="16750" y="16344"/>
                  <a:pt x="16750" y="16375"/>
                </a:cubicBezTo>
                <a:cubicBezTo>
                  <a:pt x="16750" y="16406"/>
                  <a:pt x="16781" y="16375"/>
                  <a:pt x="16812" y="16375"/>
                </a:cubicBezTo>
                <a:cubicBezTo>
                  <a:pt x="16937" y="16344"/>
                  <a:pt x="16875" y="16281"/>
                  <a:pt x="16844" y="16250"/>
                </a:cubicBezTo>
                <a:cubicBezTo>
                  <a:pt x="16906" y="16250"/>
                  <a:pt x="17000" y="16281"/>
                  <a:pt x="17031" y="16344"/>
                </a:cubicBezTo>
                <a:cubicBezTo>
                  <a:pt x="17031" y="16406"/>
                  <a:pt x="17094" y="16406"/>
                  <a:pt x="17125" y="16375"/>
                </a:cubicBezTo>
                <a:cubicBezTo>
                  <a:pt x="17219" y="16375"/>
                  <a:pt x="17344" y="16344"/>
                  <a:pt x="17437" y="16313"/>
                </a:cubicBezTo>
                <a:cubicBezTo>
                  <a:pt x="17531" y="16281"/>
                  <a:pt x="17531" y="16219"/>
                  <a:pt x="17469" y="16156"/>
                </a:cubicBezTo>
                <a:cubicBezTo>
                  <a:pt x="17469" y="16156"/>
                  <a:pt x="17469" y="16125"/>
                  <a:pt x="17437" y="16094"/>
                </a:cubicBezTo>
                <a:cubicBezTo>
                  <a:pt x="17406" y="16031"/>
                  <a:pt x="17344" y="16031"/>
                  <a:pt x="17344" y="15969"/>
                </a:cubicBezTo>
                <a:cubicBezTo>
                  <a:pt x="17312" y="15969"/>
                  <a:pt x="17281" y="16000"/>
                  <a:pt x="17250" y="16031"/>
                </a:cubicBezTo>
                <a:cubicBezTo>
                  <a:pt x="17312" y="16031"/>
                  <a:pt x="17344" y="16063"/>
                  <a:pt x="17312" y="16094"/>
                </a:cubicBezTo>
                <a:cubicBezTo>
                  <a:pt x="17312" y="16125"/>
                  <a:pt x="17281" y="16156"/>
                  <a:pt x="17250" y="16125"/>
                </a:cubicBezTo>
                <a:close/>
                <a:moveTo>
                  <a:pt x="14719" y="17563"/>
                </a:moveTo>
                <a:cubicBezTo>
                  <a:pt x="14687" y="17563"/>
                  <a:pt x="14687" y="17531"/>
                  <a:pt x="14687" y="17531"/>
                </a:cubicBezTo>
                <a:cubicBezTo>
                  <a:pt x="14594" y="17438"/>
                  <a:pt x="14500" y="17313"/>
                  <a:pt x="14344" y="17344"/>
                </a:cubicBezTo>
                <a:cubicBezTo>
                  <a:pt x="14125" y="17375"/>
                  <a:pt x="13937" y="17406"/>
                  <a:pt x="13719" y="17438"/>
                </a:cubicBezTo>
                <a:cubicBezTo>
                  <a:pt x="13687" y="17469"/>
                  <a:pt x="13625" y="17469"/>
                  <a:pt x="13594" y="17500"/>
                </a:cubicBezTo>
                <a:cubicBezTo>
                  <a:pt x="13500" y="17625"/>
                  <a:pt x="13437" y="17750"/>
                  <a:pt x="13344" y="17875"/>
                </a:cubicBezTo>
                <a:cubicBezTo>
                  <a:pt x="13344" y="17875"/>
                  <a:pt x="13375" y="17875"/>
                  <a:pt x="13406" y="17875"/>
                </a:cubicBezTo>
                <a:cubicBezTo>
                  <a:pt x="13406" y="17875"/>
                  <a:pt x="13406" y="17875"/>
                  <a:pt x="13437" y="17875"/>
                </a:cubicBezTo>
                <a:cubicBezTo>
                  <a:pt x="13437" y="17875"/>
                  <a:pt x="13437" y="17875"/>
                  <a:pt x="13469" y="17875"/>
                </a:cubicBezTo>
                <a:cubicBezTo>
                  <a:pt x="13469" y="17875"/>
                  <a:pt x="13469" y="17875"/>
                  <a:pt x="13500" y="17875"/>
                </a:cubicBezTo>
                <a:cubicBezTo>
                  <a:pt x="13531" y="17875"/>
                  <a:pt x="13562" y="17844"/>
                  <a:pt x="13625" y="17844"/>
                </a:cubicBezTo>
                <a:cubicBezTo>
                  <a:pt x="13906" y="17750"/>
                  <a:pt x="14219" y="17688"/>
                  <a:pt x="14500" y="17688"/>
                </a:cubicBezTo>
                <a:cubicBezTo>
                  <a:pt x="14531" y="17656"/>
                  <a:pt x="14562" y="17656"/>
                  <a:pt x="14562" y="17656"/>
                </a:cubicBezTo>
                <a:cubicBezTo>
                  <a:pt x="14562" y="17656"/>
                  <a:pt x="14594" y="17688"/>
                  <a:pt x="14594" y="17688"/>
                </a:cubicBezTo>
                <a:cubicBezTo>
                  <a:pt x="14594" y="17688"/>
                  <a:pt x="14625" y="17688"/>
                  <a:pt x="14656" y="17656"/>
                </a:cubicBezTo>
                <a:cubicBezTo>
                  <a:pt x="14656" y="17656"/>
                  <a:pt x="14656" y="17656"/>
                  <a:pt x="14656" y="17656"/>
                </a:cubicBezTo>
                <a:cubicBezTo>
                  <a:pt x="14687" y="17625"/>
                  <a:pt x="14719" y="17625"/>
                  <a:pt x="14750" y="17625"/>
                </a:cubicBezTo>
                <a:cubicBezTo>
                  <a:pt x="14750" y="17625"/>
                  <a:pt x="14750" y="17594"/>
                  <a:pt x="14750" y="17594"/>
                </a:cubicBezTo>
                <a:cubicBezTo>
                  <a:pt x="14750" y="17594"/>
                  <a:pt x="14719" y="17563"/>
                  <a:pt x="14719" y="17563"/>
                </a:cubicBezTo>
                <a:close/>
                <a:moveTo>
                  <a:pt x="20562" y="24375"/>
                </a:moveTo>
                <a:cubicBezTo>
                  <a:pt x="20531" y="24344"/>
                  <a:pt x="20531" y="24344"/>
                  <a:pt x="20531" y="24344"/>
                </a:cubicBezTo>
                <a:cubicBezTo>
                  <a:pt x="20531" y="24312"/>
                  <a:pt x="20500" y="24312"/>
                  <a:pt x="20500" y="24312"/>
                </a:cubicBezTo>
                <a:cubicBezTo>
                  <a:pt x="20500" y="24312"/>
                  <a:pt x="20500" y="24312"/>
                  <a:pt x="20500" y="24312"/>
                </a:cubicBezTo>
                <a:cubicBezTo>
                  <a:pt x="20469" y="24312"/>
                  <a:pt x="20469" y="24312"/>
                  <a:pt x="20437" y="24312"/>
                </a:cubicBezTo>
                <a:cubicBezTo>
                  <a:pt x="20437" y="24312"/>
                  <a:pt x="20437" y="24312"/>
                  <a:pt x="20437" y="24312"/>
                </a:cubicBezTo>
                <a:cubicBezTo>
                  <a:pt x="20437" y="24281"/>
                  <a:pt x="20437" y="24281"/>
                  <a:pt x="20406" y="24281"/>
                </a:cubicBezTo>
                <a:cubicBezTo>
                  <a:pt x="20406" y="24281"/>
                  <a:pt x="20406" y="24281"/>
                  <a:pt x="20406" y="24250"/>
                </a:cubicBezTo>
                <a:cubicBezTo>
                  <a:pt x="20406" y="24250"/>
                  <a:pt x="20375" y="24250"/>
                  <a:pt x="20375" y="24250"/>
                </a:cubicBezTo>
                <a:cubicBezTo>
                  <a:pt x="20375" y="24250"/>
                  <a:pt x="20375" y="24250"/>
                  <a:pt x="20375" y="24250"/>
                </a:cubicBezTo>
                <a:cubicBezTo>
                  <a:pt x="20344" y="24250"/>
                  <a:pt x="20344" y="24219"/>
                  <a:pt x="20344" y="24219"/>
                </a:cubicBezTo>
                <a:cubicBezTo>
                  <a:pt x="20187" y="24125"/>
                  <a:pt x="20031" y="24062"/>
                  <a:pt x="19906" y="23906"/>
                </a:cubicBezTo>
                <a:cubicBezTo>
                  <a:pt x="19875" y="23906"/>
                  <a:pt x="19875" y="23875"/>
                  <a:pt x="19875" y="23875"/>
                </a:cubicBezTo>
                <a:cubicBezTo>
                  <a:pt x="19844" y="23844"/>
                  <a:pt x="19844" y="23844"/>
                  <a:pt x="19812" y="23812"/>
                </a:cubicBezTo>
                <a:cubicBezTo>
                  <a:pt x="19812" y="23812"/>
                  <a:pt x="19812" y="23781"/>
                  <a:pt x="19812" y="23781"/>
                </a:cubicBezTo>
                <a:cubicBezTo>
                  <a:pt x="19812" y="23781"/>
                  <a:pt x="19812" y="23781"/>
                  <a:pt x="19812" y="23781"/>
                </a:cubicBezTo>
                <a:cubicBezTo>
                  <a:pt x="19781" y="23750"/>
                  <a:pt x="19781" y="23750"/>
                  <a:pt x="19750" y="23750"/>
                </a:cubicBezTo>
                <a:cubicBezTo>
                  <a:pt x="19750" y="23750"/>
                  <a:pt x="19750" y="23719"/>
                  <a:pt x="19750" y="23719"/>
                </a:cubicBezTo>
                <a:cubicBezTo>
                  <a:pt x="19687" y="23656"/>
                  <a:pt x="19656" y="23594"/>
                  <a:pt x="19625" y="23531"/>
                </a:cubicBezTo>
                <a:cubicBezTo>
                  <a:pt x="19500" y="23344"/>
                  <a:pt x="19375" y="23156"/>
                  <a:pt x="19281" y="22969"/>
                </a:cubicBezTo>
                <a:cubicBezTo>
                  <a:pt x="19250" y="22937"/>
                  <a:pt x="19250" y="22906"/>
                  <a:pt x="19219" y="22906"/>
                </a:cubicBezTo>
                <a:cubicBezTo>
                  <a:pt x="19281" y="22906"/>
                  <a:pt x="19312" y="22969"/>
                  <a:pt x="19375" y="23000"/>
                </a:cubicBezTo>
                <a:cubicBezTo>
                  <a:pt x="19375" y="23031"/>
                  <a:pt x="19406" y="23062"/>
                  <a:pt x="19437" y="23062"/>
                </a:cubicBezTo>
                <a:cubicBezTo>
                  <a:pt x="19469" y="23031"/>
                  <a:pt x="19437" y="23031"/>
                  <a:pt x="19437" y="23000"/>
                </a:cubicBezTo>
                <a:cubicBezTo>
                  <a:pt x="19375" y="22906"/>
                  <a:pt x="19312" y="22844"/>
                  <a:pt x="19250" y="22781"/>
                </a:cubicBezTo>
                <a:cubicBezTo>
                  <a:pt x="19187" y="22687"/>
                  <a:pt x="19219" y="22656"/>
                  <a:pt x="19281" y="22625"/>
                </a:cubicBezTo>
                <a:cubicBezTo>
                  <a:pt x="19344" y="22625"/>
                  <a:pt x="19406" y="22594"/>
                  <a:pt x="19375" y="22531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500"/>
                  <a:pt x="19375" y="22500"/>
                  <a:pt x="19375" y="22500"/>
                </a:cubicBezTo>
                <a:cubicBezTo>
                  <a:pt x="19375" y="22469"/>
                  <a:pt x="19344" y="22469"/>
                  <a:pt x="19344" y="22469"/>
                </a:cubicBezTo>
                <a:cubicBezTo>
                  <a:pt x="19312" y="22469"/>
                  <a:pt x="19281" y="22469"/>
                  <a:pt x="19281" y="22469"/>
                </a:cubicBezTo>
                <a:cubicBezTo>
                  <a:pt x="19281" y="22469"/>
                  <a:pt x="19281" y="22469"/>
                  <a:pt x="19281" y="22469"/>
                </a:cubicBezTo>
                <a:cubicBezTo>
                  <a:pt x="19250" y="22500"/>
                  <a:pt x="19250" y="22500"/>
                  <a:pt x="19219" y="22500"/>
                </a:cubicBezTo>
                <a:cubicBezTo>
                  <a:pt x="19219" y="22500"/>
                  <a:pt x="19219" y="22500"/>
                  <a:pt x="19219" y="22500"/>
                </a:cubicBezTo>
                <a:cubicBezTo>
                  <a:pt x="19156" y="22531"/>
                  <a:pt x="19062" y="22531"/>
                  <a:pt x="19031" y="22500"/>
                </a:cubicBezTo>
                <a:cubicBezTo>
                  <a:pt x="18969" y="22437"/>
                  <a:pt x="19031" y="22375"/>
                  <a:pt x="19062" y="22312"/>
                </a:cubicBezTo>
                <a:cubicBezTo>
                  <a:pt x="19062" y="22281"/>
                  <a:pt x="19062" y="22250"/>
                  <a:pt x="19062" y="22219"/>
                </a:cubicBezTo>
                <a:cubicBezTo>
                  <a:pt x="19031" y="22156"/>
                  <a:pt x="19000" y="22094"/>
                  <a:pt x="19000" y="22062"/>
                </a:cubicBezTo>
                <a:cubicBezTo>
                  <a:pt x="19000" y="22031"/>
                  <a:pt x="19000" y="22031"/>
                  <a:pt x="19000" y="22000"/>
                </a:cubicBezTo>
                <a:cubicBezTo>
                  <a:pt x="19000" y="22000"/>
                  <a:pt x="19000" y="22000"/>
                  <a:pt x="19000" y="22000"/>
                </a:cubicBezTo>
                <a:cubicBezTo>
                  <a:pt x="19000" y="21906"/>
                  <a:pt x="19031" y="21781"/>
                  <a:pt x="19062" y="21656"/>
                </a:cubicBezTo>
                <a:cubicBezTo>
                  <a:pt x="19062" y="21625"/>
                  <a:pt x="19062" y="21625"/>
                  <a:pt x="19094" y="21594"/>
                </a:cubicBezTo>
                <a:cubicBezTo>
                  <a:pt x="19094" y="21594"/>
                  <a:pt x="19094" y="21562"/>
                  <a:pt x="19094" y="21562"/>
                </a:cubicBezTo>
                <a:cubicBezTo>
                  <a:pt x="19094" y="21562"/>
                  <a:pt x="19094" y="21531"/>
                  <a:pt x="19094" y="21531"/>
                </a:cubicBezTo>
                <a:cubicBezTo>
                  <a:pt x="19031" y="21531"/>
                  <a:pt x="18969" y="21562"/>
                  <a:pt x="18937" y="21562"/>
                </a:cubicBezTo>
                <a:cubicBezTo>
                  <a:pt x="18500" y="21500"/>
                  <a:pt x="18094" y="21406"/>
                  <a:pt x="17719" y="21156"/>
                </a:cubicBezTo>
                <a:cubicBezTo>
                  <a:pt x="17687" y="21125"/>
                  <a:pt x="17656" y="21125"/>
                  <a:pt x="17656" y="21156"/>
                </a:cubicBezTo>
                <a:cubicBezTo>
                  <a:pt x="17562" y="21406"/>
                  <a:pt x="17406" y="21594"/>
                  <a:pt x="17312" y="21812"/>
                </a:cubicBezTo>
                <a:cubicBezTo>
                  <a:pt x="17312" y="21812"/>
                  <a:pt x="17312" y="21812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81" y="21844"/>
                  <a:pt x="17281" y="21844"/>
                  <a:pt x="17281" y="21844"/>
                </a:cubicBezTo>
                <a:cubicBezTo>
                  <a:pt x="17250" y="21875"/>
                  <a:pt x="17250" y="21875"/>
                  <a:pt x="17250" y="21875"/>
                </a:cubicBezTo>
                <a:cubicBezTo>
                  <a:pt x="17250" y="21875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06"/>
                  <a:pt x="17250" y="21906"/>
                  <a:pt x="17250" y="21906"/>
                </a:cubicBezTo>
                <a:cubicBezTo>
                  <a:pt x="17250" y="21937"/>
                  <a:pt x="17219" y="21937"/>
                  <a:pt x="17219" y="21937"/>
                </a:cubicBezTo>
                <a:cubicBezTo>
                  <a:pt x="17219" y="21937"/>
                  <a:pt x="17187" y="21937"/>
                  <a:pt x="17187" y="21937"/>
                </a:cubicBezTo>
                <a:cubicBezTo>
                  <a:pt x="17125" y="21906"/>
                  <a:pt x="17094" y="21937"/>
                  <a:pt x="17094" y="21969"/>
                </a:cubicBezTo>
                <a:cubicBezTo>
                  <a:pt x="17000" y="22094"/>
                  <a:pt x="16875" y="22219"/>
                  <a:pt x="16781" y="22344"/>
                </a:cubicBezTo>
                <a:cubicBezTo>
                  <a:pt x="16750" y="22344"/>
                  <a:pt x="16750" y="22375"/>
                  <a:pt x="16750" y="22375"/>
                </a:cubicBezTo>
                <a:cubicBezTo>
                  <a:pt x="16719" y="22375"/>
                  <a:pt x="16719" y="22406"/>
                  <a:pt x="16719" y="22406"/>
                </a:cubicBezTo>
                <a:cubicBezTo>
                  <a:pt x="16719" y="22406"/>
                  <a:pt x="16719" y="22406"/>
                  <a:pt x="16719" y="22406"/>
                </a:cubicBezTo>
                <a:cubicBezTo>
                  <a:pt x="16719" y="22406"/>
                  <a:pt x="16719" y="22437"/>
                  <a:pt x="16719" y="22437"/>
                </a:cubicBezTo>
                <a:cubicBezTo>
                  <a:pt x="16687" y="22437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469"/>
                  <a:pt x="16687" y="22469"/>
                  <a:pt x="16687" y="22469"/>
                </a:cubicBezTo>
                <a:cubicBezTo>
                  <a:pt x="16687" y="22500"/>
                  <a:pt x="16656" y="22531"/>
                  <a:pt x="16625" y="22562"/>
                </a:cubicBezTo>
                <a:cubicBezTo>
                  <a:pt x="16625" y="22562"/>
                  <a:pt x="16594" y="22594"/>
                  <a:pt x="16594" y="22625"/>
                </a:cubicBezTo>
                <a:cubicBezTo>
                  <a:pt x="16562" y="22625"/>
                  <a:pt x="16562" y="22656"/>
                  <a:pt x="16562" y="22687"/>
                </a:cubicBezTo>
                <a:cubicBezTo>
                  <a:pt x="16562" y="22687"/>
                  <a:pt x="16562" y="22687"/>
                  <a:pt x="16562" y="22687"/>
                </a:cubicBezTo>
                <a:cubicBezTo>
                  <a:pt x="16531" y="22719"/>
                  <a:pt x="16531" y="22781"/>
                  <a:pt x="16500" y="22812"/>
                </a:cubicBezTo>
                <a:cubicBezTo>
                  <a:pt x="16500" y="22844"/>
                  <a:pt x="16500" y="22875"/>
                  <a:pt x="16469" y="22875"/>
                </a:cubicBezTo>
                <a:cubicBezTo>
                  <a:pt x="16437" y="22937"/>
                  <a:pt x="16406" y="22969"/>
                  <a:pt x="16375" y="23031"/>
                </a:cubicBezTo>
                <a:cubicBezTo>
                  <a:pt x="16344" y="23094"/>
                  <a:pt x="16312" y="23156"/>
                  <a:pt x="16312" y="23219"/>
                </a:cubicBezTo>
                <a:cubicBezTo>
                  <a:pt x="16312" y="23219"/>
                  <a:pt x="16312" y="23250"/>
                  <a:pt x="16281" y="23250"/>
                </a:cubicBezTo>
                <a:cubicBezTo>
                  <a:pt x="16281" y="23250"/>
                  <a:pt x="16281" y="23250"/>
                  <a:pt x="16281" y="23250"/>
                </a:cubicBezTo>
                <a:cubicBezTo>
                  <a:pt x="16281" y="23250"/>
                  <a:pt x="16312" y="23250"/>
                  <a:pt x="16312" y="23250"/>
                </a:cubicBezTo>
                <a:cubicBezTo>
                  <a:pt x="16281" y="23281"/>
                  <a:pt x="16250" y="23312"/>
                  <a:pt x="16250" y="23375"/>
                </a:cubicBezTo>
                <a:cubicBezTo>
                  <a:pt x="16250" y="23375"/>
                  <a:pt x="16250" y="23375"/>
                  <a:pt x="16250" y="23406"/>
                </a:cubicBezTo>
                <a:cubicBezTo>
                  <a:pt x="16281" y="23406"/>
                  <a:pt x="16281" y="23406"/>
                  <a:pt x="16281" y="23406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281" y="23437"/>
                  <a:pt x="16281" y="23437"/>
                  <a:pt x="16281" y="23437"/>
                </a:cubicBezTo>
                <a:cubicBezTo>
                  <a:pt x="16312" y="23437"/>
                  <a:pt x="16312" y="23437"/>
                  <a:pt x="16312" y="23437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12" y="23469"/>
                  <a:pt x="16312" y="23469"/>
                </a:cubicBezTo>
                <a:cubicBezTo>
                  <a:pt x="16312" y="23469"/>
                  <a:pt x="16344" y="23469"/>
                  <a:pt x="16344" y="23469"/>
                </a:cubicBezTo>
                <a:cubicBezTo>
                  <a:pt x="16344" y="23500"/>
                  <a:pt x="16344" y="23500"/>
                  <a:pt x="16344" y="23531"/>
                </a:cubicBezTo>
                <a:cubicBezTo>
                  <a:pt x="16375" y="23562"/>
                  <a:pt x="16375" y="23562"/>
                  <a:pt x="16375" y="23594"/>
                </a:cubicBezTo>
                <a:cubicBezTo>
                  <a:pt x="16375" y="23594"/>
                  <a:pt x="16375" y="23594"/>
                  <a:pt x="16375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06" y="23594"/>
                  <a:pt x="16406" y="23594"/>
                  <a:pt x="16406" y="23594"/>
                </a:cubicBezTo>
                <a:cubicBezTo>
                  <a:pt x="16437" y="23625"/>
                  <a:pt x="16469" y="23625"/>
                  <a:pt x="16500" y="23656"/>
                </a:cubicBezTo>
                <a:cubicBezTo>
                  <a:pt x="16500" y="23656"/>
                  <a:pt x="16531" y="23656"/>
                  <a:pt x="16531" y="23656"/>
                </a:cubicBezTo>
                <a:cubicBezTo>
                  <a:pt x="16531" y="23656"/>
                  <a:pt x="16531" y="23687"/>
                  <a:pt x="16531" y="23687"/>
                </a:cubicBezTo>
                <a:cubicBezTo>
                  <a:pt x="16531" y="23687"/>
                  <a:pt x="16562" y="23687"/>
                  <a:pt x="16562" y="23687"/>
                </a:cubicBezTo>
                <a:cubicBezTo>
                  <a:pt x="16562" y="23687"/>
                  <a:pt x="16562" y="23687"/>
                  <a:pt x="16562" y="23687"/>
                </a:cubicBezTo>
                <a:cubicBezTo>
                  <a:pt x="16594" y="23687"/>
                  <a:pt x="16594" y="23687"/>
                  <a:pt x="16594" y="23719"/>
                </a:cubicBezTo>
                <a:cubicBezTo>
                  <a:pt x="16625" y="23719"/>
                  <a:pt x="16625" y="23719"/>
                  <a:pt x="16625" y="23719"/>
                </a:cubicBezTo>
                <a:cubicBezTo>
                  <a:pt x="16625" y="23719"/>
                  <a:pt x="16656" y="23719"/>
                  <a:pt x="16656" y="23750"/>
                </a:cubicBezTo>
                <a:cubicBezTo>
                  <a:pt x="16750" y="23781"/>
                  <a:pt x="16844" y="23875"/>
                  <a:pt x="16937" y="23844"/>
                </a:cubicBezTo>
                <a:cubicBezTo>
                  <a:pt x="17031" y="23844"/>
                  <a:pt x="17094" y="23875"/>
                  <a:pt x="17125" y="23906"/>
                </a:cubicBezTo>
                <a:cubicBezTo>
                  <a:pt x="17219" y="24031"/>
                  <a:pt x="17344" y="24094"/>
                  <a:pt x="17469" y="24094"/>
                </a:cubicBezTo>
                <a:cubicBezTo>
                  <a:pt x="17531" y="24094"/>
                  <a:pt x="17594" y="24125"/>
                  <a:pt x="17625" y="24156"/>
                </a:cubicBezTo>
                <a:cubicBezTo>
                  <a:pt x="17719" y="24250"/>
                  <a:pt x="17812" y="24250"/>
                  <a:pt x="17906" y="24281"/>
                </a:cubicBezTo>
                <a:cubicBezTo>
                  <a:pt x="17937" y="24312"/>
                  <a:pt x="18000" y="24312"/>
                  <a:pt x="18062" y="24344"/>
                </a:cubicBezTo>
                <a:cubicBezTo>
                  <a:pt x="18156" y="24437"/>
                  <a:pt x="18281" y="24500"/>
                  <a:pt x="18437" y="24562"/>
                </a:cubicBezTo>
                <a:cubicBezTo>
                  <a:pt x="18500" y="24562"/>
                  <a:pt x="18531" y="24594"/>
                  <a:pt x="18594" y="24625"/>
                </a:cubicBezTo>
                <a:cubicBezTo>
                  <a:pt x="18687" y="24750"/>
                  <a:pt x="18812" y="24812"/>
                  <a:pt x="18969" y="24844"/>
                </a:cubicBezTo>
                <a:cubicBezTo>
                  <a:pt x="19125" y="24844"/>
                  <a:pt x="19187" y="24969"/>
                  <a:pt x="19312" y="24969"/>
                </a:cubicBezTo>
                <a:cubicBezTo>
                  <a:pt x="19469" y="25000"/>
                  <a:pt x="19625" y="25062"/>
                  <a:pt x="19781" y="25094"/>
                </a:cubicBezTo>
                <a:cubicBezTo>
                  <a:pt x="19906" y="25125"/>
                  <a:pt x="20000" y="25094"/>
                  <a:pt x="20125" y="25094"/>
                </a:cubicBezTo>
                <a:cubicBezTo>
                  <a:pt x="20156" y="25125"/>
                  <a:pt x="20187" y="25125"/>
                  <a:pt x="20187" y="25125"/>
                </a:cubicBezTo>
                <a:cubicBezTo>
                  <a:pt x="20250" y="25125"/>
                  <a:pt x="20281" y="25125"/>
                  <a:pt x="20312" y="25125"/>
                </a:cubicBezTo>
                <a:cubicBezTo>
                  <a:pt x="20344" y="25125"/>
                  <a:pt x="20344" y="25094"/>
                  <a:pt x="20375" y="25094"/>
                </a:cubicBezTo>
                <a:cubicBezTo>
                  <a:pt x="20375" y="25094"/>
                  <a:pt x="20375" y="25094"/>
                  <a:pt x="20406" y="25094"/>
                </a:cubicBezTo>
                <a:cubicBezTo>
                  <a:pt x="20406" y="25094"/>
                  <a:pt x="20406" y="25094"/>
                  <a:pt x="20406" y="25094"/>
                </a:cubicBezTo>
                <a:cubicBezTo>
                  <a:pt x="20437" y="25094"/>
                  <a:pt x="20437" y="25094"/>
                  <a:pt x="20469" y="25094"/>
                </a:cubicBezTo>
                <a:cubicBezTo>
                  <a:pt x="20531" y="25094"/>
                  <a:pt x="20594" y="25062"/>
                  <a:pt x="20656" y="25031"/>
                </a:cubicBezTo>
                <a:cubicBezTo>
                  <a:pt x="20656" y="25031"/>
                  <a:pt x="20656" y="25031"/>
                  <a:pt x="20656" y="25031"/>
                </a:cubicBezTo>
                <a:cubicBezTo>
                  <a:pt x="20687" y="25031"/>
                  <a:pt x="20719" y="25000"/>
                  <a:pt x="20719" y="24969"/>
                </a:cubicBezTo>
                <a:cubicBezTo>
                  <a:pt x="20719" y="24969"/>
                  <a:pt x="20719" y="24969"/>
                  <a:pt x="20719" y="24969"/>
                </a:cubicBezTo>
                <a:cubicBezTo>
                  <a:pt x="20719" y="24906"/>
                  <a:pt x="20656" y="24906"/>
                  <a:pt x="20625" y="24906"/>
                </a:cubicBezTo>
                <a:cubicBezTo>
                  <a:pt x="20594" y="24906"/>
                  <a:pt x="20562" y="24906"/>
                  <a:pt x="20500" y="24906"/>
                </a:cubicBezTo>
                <a:cubicBezTo>
                  <a:pt x="20500" y="24906"/>
                  <a:pt x="20500" y="24906"/>
                  <a:pt x="20469" y="24906"/>
                </a:cubicBezTo>
                <a:cubicBezTo>
                  <a:pt x="20469" y="24875"/>
                  <a:pt x="20500" y="24844"/>
                  <a:pt x="20500" y="24844"/>
                </a:cubicBezTo>
                <a:cubicBezTo>
                  <a:pt x="20531" y="24844"/>
                  <a:pt x="20562" y="24844"/>
                  <a:pt x="20594" y="24844"/>
                </a:cubicBezTo>
                <a:cubicBezTo>
                  <a:pt x="20625" y="24844"/>
                  <a:pt x="20625" y="24844"/>
                  <a:pt x="20656" y="24812"/>
                </a:cubicBezTo>
                <a:cubicBezTo>
                  <a:pt x="20687" y="24812"/>
                  <a:pt x="20687" y="24812"/>
                  <a:pt x="20719" y="24812"/>
                </a:cubicBezTo>
                <a:cubicBezTo>
                  <a:pt x="20812" y="24781"/>
                  <a:pt x="20875" y="24687"/>
                  <a:pt x="20844" y="24594"/>
                </a:cubicBezTo>
                <a:cubicBezTo>
                  <a:pt x="20781" y="24500"/>
                  <a:pt x="20687" y="24375"/>
                  <a:pt x="20562" y="24375"/>
                </a:cubicBezTo>
                <a:close/>
                <a:moveTo>
                  <a:pt x="9875" y="16969"/>
                </a:moveTo>
                <a:cubicBezTo>
                  <a:pt x="9906" y="16969"/>
                  <a:pt x="9906" y="16969"/>
                  <a:pt x="9906" y="16969"/>
                </a:cubicBezTo>
                <a:cubicBezTo>
                  <a:pt x="9906" y="16938"/>
                  <a:pt x="9875" y="16938"/>
                  <a:pt x="9875" y="16938"/>
                </a:cubicBezTo>
                <a:cubicBezTo>
                  <a:pt x="9875" y="16938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ubicBezTo>
                  <a:pt x="9875" y="16969"/>
                  <a:pt x="9875" y="16969"/>
                  <a:pt x="9875" y="16969"/>
                </a:cubicBezTo>
                <a:close/>
                <a:moveTo>
                  <a:pt x="17906" y="15531"/>
                </a:moveTo>
                <a:cubicBezTo>
                  <a:pt x="17906" y="15531"/>
                  <a:pt x="17906" y="15531"/>
                  <a:pt x="17906" y="15531"/>
                </a:cubicBezTo>
                <a:cubicBezTo>
                  <a:pt x="17875" y="15531"/>
                  <a:pt x="17875" y="15531"/>
                  <a:pt x="17844" y="15563"/>
                </a:cubicBezTo>
                <a:cubicBezTo>
                  <a:pt x="17844" y="15563"/>
                  <a:pt x="17875" y="15594"/>
                  <a:pt x="17906" y="15594"/>
                </a:cubicBezTo>
                <a:cubicBezTo>
                  <a:pt x="17906" y="15563"/>
                  <a:pt x="17937" y="15563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37" y="15531"/>
                  <a:pt x="17937" y="15531"/>
                </a:cubicBezTo>
                <a:cubicBezTo>
                  <a:pt x="17937" y="15531"/>
                  <a:pt x="17906" y="15531"/>
                  <a:pt x="17906" y="15531"/>
                </a:cubicBezTo>
                <a:close/>
                <a:moveTo>
                  <a:pt x="25062" y="3188"/>
                </a:moveTo>
                <a:cubicBezTo>
                  <a:pt x="25062" y="3188"/>
                  <a:pt x="25062" y="3188"/>
                  <a:pt x="25062" y="3188"/>
                </a:cubicBezTo>
                <a:cubicBezTo>
                  <a:pt x="25062" y="3156"/>
                  <a:pt x="25031" y="3156"/>
                  <a:pt x="25031" y="3156"/>
                </a:cubicBezTo>
                <a:cubicBezTo>
                  <a:pt x="25031" y="3156"/>
                  <a:pt x="25031" y="3156"/>
                  <a:pt x="25031" y="3156"/>
                </a:cubicBezTo>
                <a:cubicBezTo>
                  <a:pt x="25062" y="3125"/>
                  <a:pt x="25031" y="3094"/>
                  <a:pt x="25031" y="3063"/>
                </a:cubicBezTo>
                <a:cubicBezTo>
                  <a:pt x="25031" y="3063"/>
                  <a:pt x="25031" y="3031"/>
                  <a:pt x="25031" y="3031"/>
                </a:cubicBezTo>
                <a:cubicBezTo>
                  <a:pt x="25062" y="3000"/>
                  <a:pt x="25062" y="2938"/>
                  <a:pt x="25062" y="2906"/>
                </a:cubicBezTo>
                <a:cubicBezTo>
                  <a:pt x="25094" y="2875"/>
                  <a:pt x="25094" y="2844"/>
                  <a:pt x="25094" y="2813"/>
                </a:cubicBezTo>
                <a:cubicBezTo>
                  <a:pt x="25094" y="2719"/>
                  <a:pt x="25062" y="2656"/>
                  <a:pt x="25094" y="2594"/>
                </a:cubicBezTo>
                <a:cubicBezTo>
                  <a:pt x="25094" y="2563"/>
                  <a:pt x="25094" y="2563"/>
                  <a:pt x="25094" y="2531"/>
                </a:cubicBezTo>
                <a:cubicBezTo>
                  <a:pt x="25094" y="2500"/>
                  <a:pt x="25094" y="2469"/>
                  <a:pt x="25094" y="2438"/>
                </a:cubicBezTo>
                <a:cubicBezTo>
                  <a:pt x="25094" y="2375"/>
                  <a:pt x="25094" y="2344"/>
                  <a:pt x="25094" y="2313"/>
                </a:cubicBezTo>
                <a:cubicBezTo>
                  <a:pt x="25094" y="2281"/>
                  <a:pt x="25094" y="2250"/>
                  <a:pt x="25094" y="2250"/>
                </a:cubicBezTo>
                <a:cubicBezTo>
                  <a:pt x="25125" y="2125"/>
                  <a:pt x="25031" y="2063"/>
                  <a:pt x="25031" y="1969"/>
                </a:cubicBezTo>
                <a:cubicBezTo>
                  <a:pt x="25031" y="1938"/>
                  <a:pt x="25000" y="1875"/>
                  <a:pt x="24937" y="1875"/>
                </a:cubicBezTo>
                <a:cubicBezTo>
                  <a:pt x="24906" y="1875"/>
                  <a:pt x="24844" y="1906"/>
                  <a:pt x="24844" y="1969"/>
                </a:cubicBezTo>
                <a:cubicBezTo>
                  <a:pt x="24844" y="1969"/>
                  <a:pt x="24844" y="1969"/>
                  <a:pt x="24844" y="2000"/>
                </a:cubicBezTo>
                <a:cubicBezTo>
                  <a:pt x="24844" y="2063"/>
                  <a:pt x="24812" y="2125"/>
                  <a:pt x="24844" y="2188"/>
                </a:cubicBezTo>
                <a:cubicBezTo>
                  <a:pt x="24844" y="2219"/>
                  <a:pt x="24875" y="2219"/>
                  <a:pt x="24875" y="2219"/>
                </a:cubicBezTo>
                <a:cubicBezTo>
                  <a:pt x="24875" y="2250"/>
                  <a:pt x="24875" y="2281"/>
                  <a:pt x="24875" y="2313"/>
                </a:cubicBezTo>
                <a:cubicBezTo>
                  <a:pt x="24875" y="2313"/>
                  <a:pt x="24875" y="2313"/>
                  <a:pt x="24875" y="2313"/>
                </a:cubicBezTo>
                <a:cubicBezTo>
                  <a:pt x="24875" y="2313"/>
                  <a:pt x="24875" y="2313"/>
                  <a:pt x="24875" y="2344"/>
                </a:cubicBezTo>
                <a:cubicBezTo>
                  <a:pt x="24875" y="2344"/>
                  <a:pt x="24875" y="2344"/>
                  <a:pt x="24875" y="2344"/>
                </a:cubicBezTo>
                <a:cubicBezTo>
                  <a:pt x="24875" y="2375"/>
                  <a:pt x="24875" y="2375"/>
                  <a:pt x="24875" y="2375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75" y="2406"/>
                  <a:pt x="24875" y="2406"/>
                  <a:pt x="24875" y="2406"/>
                </a:cubicBezTo>
                <a:cubicBezTo>
                  <a:pt x="24844" y="2438"/>
                  <a:pt x="24844" y="2438"/>
                  <a:pt x="24844" y="2469"/>
                </a:cubicBezTo>
                <a:cubicBezTo>
                  <a:pt x="24844" y="2469"/>
                  <a:pt x="24844" y="2500"/>
                  <a:pt x="24844" y="2500"/>
                </a:cubicBezTo>
                <a:cubicBezTo>
                  <a:pt x="24844" y="2531"/>
                  <a:pt x="24844" y="2531"/>
                  <a:pt x="24812" y="2563"/>
                </a:cubicBezTo>
                <a:cubicBezTo>
                  <a:pt x="24812" y="2563"/>
                  <a:pt x="24812" y="2563"/>
                  <a:pt x="24812" y="2563"/>
                </a:cubicBezTo>
                <a:cubicBezTo>
                  <a:pt x="24812" y="2594"/>
                  <a:pt x="24812" y="2594"/>
                  <a:pt x="24812" y="2625"/>
                </a:cubicBezTo>
                <a:cubicBezTo>
                  <a:pt x="24812" y="2625"/>
                  <a:pt x="24812" y="2656"/>
                  <a:pt x="24812" y="2656"/>
                </a:cubicBezTo>
                <a:cubicBezTo>
                  <a:pt x="24812" y="2656"/>
                  <a:pt x="24812" y="2688"/>
                  <a:pt x="24812" y="2688"/>
                </a:cubicBezTo>
                <a:cubicBezTo>
                  <a:pt x="24812" y="2688"/>
                  <a:pt x="24812" y="2688"/>
                  <a:pt x="24812" y="2719"/>
                </a:cubicBezTo>
                <a:cubicBezTo>
                  <a:pt x="24812" y="2719"/>
                  <a:pt x="24812" y="2719"/>
                  <a:pt x="24812" y="2719"/>
                </a:cubicBezTo>
                <a:cubicBezTo>
                  <a:pt x="24812" y="2750"/>
                  <a:pt x="24812" y="2750"/>
                  <a:pt x="24812" y="2781"/>
                </a:cubicBezTo>
                <a:cubicBezTo>
                  <a:pt x="24781" y="2781"/>
                  <a:pt x="24781" y="2781"/>
                  <a:pt x="24781" y="2781"/>
                </a:cubicBezTo>
                <a:cubicBezTo>
                  <a:pt x="24750" y="2781"/>
                  <a:pt x="24750" y="2750"/>
                  <a:pt x="24750" y="2719"/>
                </a:cubicBezTo>
                <a:cubicBezTo>
                  <a:pt x="24750" y="2688"/>
                  <a:pt x="24750" y="2656"/>
                  <a:pt x="24750" y="2656"/>
                </a:cubicBezTo>
                <a:cubicBezTo>
                  <a:pt x="24781" y="2531"/>
                  <a:pt x="24812" y="2406"/>
                  <a:pt x="24781" y="2281"/>
                </a:cubicBezTo>
                <a:cubicBezTo>
                  <a:pt x="24750" y="2094"/>
                  <a:pt x="24719" y="1938"/>
                  <a:pt x="24719" y="1750"/>
                </a:cubicBezTo>
                <a:cubicBezTo>
                  <a:pt x="24687" y="1656"/>
                  <a:pt x="24687" y="1594"/>
                  <a:pt x="24656" y="1531"/>
                </a:cubicBezTo>
                <a:cubicBezTo>
                  <a:pt x="24656" y="1438"/>
                  <a:pt x="24625" y="1406"/>
                  <a:pt x="24531" y="1406"/>
                </a:cubicBezTo>
                <a:cubicBezTo>
                  <a:pt x="24469" y="1406"/>
                  <a:pt x="24406" y="1406"/>
                  <a:pt x="24406" y="1469"/>
                </a:cubicBezTo>
                <a:cubicBezTo>
                  <a:pt x="24406" y="1500"/>
                  <a:pt x="24406" y="1531"/>
                  <a:pt x="24406" y="1531"/>
                </a:cubicBezTo>
                <a:cubicBezTo>
                  <a:pt x="24406" y="1594"/>
                  <a:pt x="24406" y="1625"/>
                  <a:pt x="24406" y="1688"/>
                </a:cubicBezTo>
                <a:cubicBezTo>
                  <a:pt x="24406" y="1688"/>
                  <a:pt x="24406" y="1688"/>
                  <a:pt x="24406" y="1719"/>
                </a:cubicBezTo>
                <a:cubicBezTo>
                  <a:pt x="24406" y="1719"/>
                  <a:pt x="24406" y="1750"/>
                  <a:pt x="24406" y="1750"/>
                </a:cubicBezTo>
                <a:cubicBezTo>
                  <a:pt x="24437" y="1813"/>
                  <a:pt x="24437" y="1844"/>
                  <a:pt x="24469" y="1875"/>
                </a:cubicBezTo>
                <a:cubicBezTo>
                  <a:pt x="24469" y="1906"/>
                  <a:pt x="24469" y="1906"/>
                  <a:pt x="24469" y="1938"/>
                </a:cubicBezTo>
                <a:cubicBezTo>
                  <a:pt x="24469" y="1938"/>
                  <a:pt x="24469" y="1969"/>
                  <a:pt x="24469" y="2000"/>
                </a:cubicBezTo>
                <a:cubicBezTo>
                  <a:pt x="24437" y="2094"/>
                  <a:pt x="24406" y="2188"/>
                  <a:pt x="24437" y="2250"/>
                </a:cubicBezTo>
                <a:cubicBezTo>
                  <a:pt x="24437" y="2313"/>
                  <a:pt x="24437" y="2375"/>
                  <a:pt x="24437" y="2406"/>
                </a:cubicBezTo>
                <a:cubicBezTo>
                  <a:pt x="24437" y="2438"/>
                  <a:pt x="24437" y="2469"/>
                  <a:pt x="24437" y="2469"/>
                </a:cubicBezTo>
                <a:cubicBezTo>
                  <a:pt x="24437" y="2500"/>
                  <a:pt x="24437" y="2531"/>
                  <a:pt x="24437" y="2563"/>
                </a:cubicBezTo>
                <a:cubicBezTo>
                  <a:pt x="24437" y="2594"/>
                  <a:pt x="24437" y="2625"/>
                  <a:pt x="24406" y="2656"/>
                </a:cubicBezTo>
                <a:cubicBezTo>
                  <a:pt x="24375" y="2594"/>
                  <a:pt x="24375" y="2531"/>
                  <a:pt x="24375" y="2500"/>
                </a:cubicBezTo>
                <a:cubicBezTo>
                  <a:pt x="24375" y="2469"/>
                  <a:pt x="24375" y="2438"/>
                  <a:pt x="24375" y="2406"/>
                </a:cubicBezTo>
                <a:cubicBezTo>
                  <a:pt x="24375" y="2375"/>
                  <a:pt x="24375" y="2344"/>
                  <a:pt x="24375" y="2313"/>
                </a:cubicBezTo>
                <a:cubicBezTo>
                  <a:pt x="24375" y="2281"/>
                  <a:pt x="24375" y="2281"/>
                  <a:pt x="24375" y="2250"/>
                </a:cubicBezTo>
                <a:cubicBezTo>
                  <a:pt x="24375" y="2219"/>
                  <a:pt x="24344" y="2188"/>
                  <a:pt x="24344" y="2156"/>
                </a:cubicBezTo>
                <a:cubicBezTo>
                  <a:pt x="24312" y="2031"/>
                  <a:pt x="24312" y="1938"/>
                  <a:pt x="24281" y="1844"/>
                </a:cubicBezTo>
                <a:cubicBezTo>
                  <a:pt x="24281" y="1813"/>
                  <a:pt x="24281" y="1750"/>
                  <a:pt x="24250" y="1719"/>
                </a:cubicBezTo>
                <a:cubicBezTo>
                  <a:pt x="24250" y="1656"/>
                  <a:pt x="24250" y="1625"/>
                  <a:pt x="24250" y="1563"/>
                </a:cubicBezTo>
                <a:cubicBezTo>
                  <a:pt x="24250" y="1531"/>
                  <a:pt x="24219" y="1469"/>
                  <a:pt x="24219" y="1406"/>
                </a:cubicBezTo>
                <a:cubicBezTo>
                  <a:pt x="24187" y="1344"/>
                  <a:pt x="24156" y="1344"/>
                  <a:pt x="24094" y="1344"/>
                </a:cubicBezTo>
                <a:cubicBezTo>
                  <a:pt x="24062" y="1344"/>
                  <a:pt x="24000" y="1344"/>
                  <a:pt x="24000" y="1406"/>
                </a:cubicBezTo>
                <a:cubicBezTo>
                  <a:pt x="23969" y="1438"/>
                  <a:pt x="23969" y="1500"/>
                  <a:pt x="23969" y="1563"/>
                </a:cubicBezTo>
                <a:cubicBezTo>
                  <a:pt x="23969" y="1750"/>
                  <a:pt x="24000" y="1969"/>
                  <a:pt x="24000" y="2188"/>
                </a:cubicBezTo>
                <a:cubicBezTo>
                  <a:pt x="24000" y="2250"/>
                  <a:pt x="24000" y="2344"/>
                  <a:pt x="24031" y="2406"/>
                </a:cubicBezTo>
                <a:cubicBezTo>
                  <a:pt x="24031" y="2500"/>
                  <a:pt x="24062" y="2594"/>
                  <a:pt x="24062" y="2688"/>
                </a:cubicBezTo>
                <a:cubicBezTo>
                  <a:pt x="24062" y="2750"/>
                  <a:pt x="24031" y="2750"/>
                  <a:pt x="24000" y="2750"/>
                </a:cubicBezTo>
                <a:cubicBezTo>
                  <a:pt x="23969" y="2750"/>
                  <a:pt x="23937" y="2719"/>
                  <a:pt x="23969" y="2688"/>
                </a:cubicBezTo>
                <a:cubicBezTo>
                  <a:pt x="24000" y="2531"/>
                  <a:pt x="23937" y="2375"/>
                  <a:pt x="23906" y="2219"/>
                </a:cubicBezTo>
                <a:cubicBezTo>
                  <a:pt x="23875" y="2031"/>
                  <a:pt x="23906" y="1875"/>
                  <a:pt x="23875" y="1688"/>
                </a:cubicBezTo>
                <a:cubicBezTo>
                  <a:pt x="23844" y="1563"/>
                  <a:pt x="23781" y="1563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56" y="1625"/>
                  <a:pt x="23656" y="1625"/>
                  <a:pt x="23656" y="1625"/>
                </a:cubicBezTo>
                <a:cubicBezTo>
                  <a:pt x="23625" y="1656"/>
                  <a:pt x="23625" y="1656"/>
                  <a:pt x="23656" y="1656"/>
                </a:cubicBezTo>
                <a:cubicBezTo>
                  <a:pt x="23625" y="1656"/>
                  <a:pt x="23625" y="1656"/>
                  <a:pt x="23625" y="1688"/>
                </a:cubicBezTo>
                <a:cubicBezTo>
                  <a:pt x="23625" y="1688"/>
                  <a:pt x="23625" y="1688"/>
                  <a:pt x="23594" y="1719"/>
                </a:cubicBezTo>
                <a:cubicBezTo>
                  <a:pt x="23594" y="1750"/>
                  <a:pt x="23594" y="1781"/>
                  <a:pt x="23625" y="1813"/>
                </a:cubicBezTo>
                <a:cubicBezTo>
                  <a:pt x="23625" y="1844"/>
                  <a:pt x="23594" y="1875"/>
                  <a:pt x="23594" y="1875"/>
                </a:cubicBezTo>
                <a:cubicBezTo>
                  <a:pt x="23562" y="2031"/>
                  <a:pt x="23594" y="2156"/>
                  <a:pt x="23594" y="2313"/>
                </a:cubicBezTo>
                <a:cubicBezTo>
                  <a:pt x="23594" y="2375"/>
                  <a:pt x="23594" y="2438"/>
                  <a:pt x="23594" y="2500"/>
                </a:cubicBezTo>
                <a:cubicBezTo>
                  <a:pt x="23625" y="2719"/>
                  <a:pt x="23625" y="2938"/>
                  <a:pt x="23656" y="3156"/>
                </a:cubicBezTo>
                <a:cubicBezTo>
                  <a:pt x="23656" y="3156"/>
                  <a:pt x="23656" y="3156"/>
                  <a:pt x="23656" y="3156"/>
                </a:cubicBezTo>
                <a:cubicBezTo>
                  <a:pt x="23656" y="3156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188"/>
                  <a:pt x="23656" y="3188"/>
                </a:cubicBezTo>
                <a:cubicBezTo>
                  <a:pt x="23656" y="3188"/>
                  <a:pt x="23656" y="3219"/>
                  <a:pt x="23656" y="3250"/>
                </a:cubicBezTo>
                <a:cubicBezTo>
                  <a:pt x="23656" y="3281"/>
                  <a:pt x="23656" y="3344"/>
                  <a:pt x="23594" y="3344"/>
                </a:cubicBezTo>
                <a:cubicBezTo>
                  <a:pt x="23531" y="3375"/>
                  <a:pt x="23469" y="3375"/>
                  <a:pt x="23437" y="3344"/>
                </a:cubicBezTo>
                <a:cubicBezTo>
                  <a:pt x="23344" y="3250"/>
                  <a:pt x="23250" y="3188"/>
                  <a:pt x="23156" y="3125"/>
                </a:cubicBezTo>
                <a:cubicBezTo>
                  <a:pt x="23000" y="3000"/>
                  <a:pt x="22844" y="2969"/>
                  <a:pt x="22687" y="3031"/>
                </a:cubicBezTo>
                <a:cubicBezTo>
                  <a:pt x="22656" y="3031"/>
                  <a:pt x="22625" y="3063"/>
                  <a:pt x="22625" y="3063"/>
                </a:cubicBezTo>
                <a:cubicBezTo>
                  <a:pt x="22594" y="3094"/>
                  <a:pt x="22594" y="3125"/>
                  <a:pt x="22625" y="3156"/>
                </a:cubicBezTo>
                <a:cubicBezTo>
                  <a:pt x="22625" y="3156"/>
                  <a:pt x="22625" y="3156"/>
                  <a:pt x="22625" y="3156"/>
                </a:cubicBezTo>
                <a:cubicBezTo>
                  <a:pt x="22625" y="3188"/>
                  <a:pt x="22625" y="3188"/>
                  <a:pt x="22656" y="3188"/>
                </a:cubicBezTo>
                <a:cubicBezTo>
                  <a:pt x="22656" y="3219"/>
                  <a:pt x="22656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687" y="3219"/>
                  <a:pt x="22687" y="3219"/>
                  <a:pt x="22687" y="3219"/>
                </a:cubicBezTo>
                <a:cubicBezTo>
                  <a:pt x="22719" y="3219"/>
                  <a:pt x="22750" y="3219"/>
                  <a:pt x="22750" y="3219"/>
                </a:cubicBezTo>
                <a:cubicBezTo>
                  <a:pt x="22781" y="3219"/>
                  <a:pt x="22781" y="3219"/>
                  <a:pt x="22781" y="3219"/>
                </a:cubicBezTo>
                <a:cubicBezTo>
                  <a:pt x="22781" y="3250"/>
                  <a:pt x="22781" y="3250"/>
                  <a:pt x="22812" y="3281"/>
                </a:cubicBezTo>
                <a:cubicBezTo>
                  <a:pt x="23000" y="3438"/>
                  <a:pt x="23219" y="3563"/>
                  <a:pt x="23344" y="3781"/>
                </a:cubicBezTo>
                <a:cubicBezTo>
                  <a:pt x="23375" y="3844"/>
                  <a:pt x="23437" y="3844"/>
                  <a:pt x="23469" y="3875"/>
                </a:cubicBezTo>
                <a:cubicBezTo>
                  <a:pt x="23562" y="3938"/>
                  <a:pt x="23687" y="4000"/>
                  <a:pt x="23750" y="4094"/>
                </a:cubicBezTo>
                <a:cubicBezTo>
                  <a:pt x="23781" y="4156"/>
                  <a:pt x="23812" y="4219"/>
                  <a:pt x="23781" y="4250"/>
                </a:cubicBezTo>
                <a:cubicBezTo>
                  <a:pt x="23656" y="4406"/>
                  <a:pt x="23562" y="4563"/>
                  <a:pt x="23437" y="4719"/>
                </a:cubicBezTo>
                <a:cubicBezTo>
                  <a:pt x="23250" y="4938"/>
                  <a:pt x="23094" y="5156"/>
                  <a:pt x="22875" y="5375"/>
                </a:cubicBezTo>
                <a:cubicBezTo>
                  <a:pt x="22812" y="5438"/>
                  <a:pt x="22750" y="5531"/>
                  <a:pt x="22656" y="5563"/>
                </a:cubicBezTo>
                <a:cubicBezTo>
                  <a:pt x="22500" y="5656"/>
                  <a:pt x="22406" y="5750"/>
                  <a:pt x="22281" y="5844"/>
                </a:cubicBezTo>
                <a:cubicBezTo>
                  <a:pt x="21906" y="6063"/>
                  <a:pt x="21625" y="6375"/>
                  <a:pt x="21281" y="6625"/>
                </a:cubicBezTo>
                <a:cubicBezTo>
                  <a:pt x="21281" y="6625"/>
                  <a:pt x="21187" y="6656"/>
                  <a:pt x="21219" y="6719"/>
                </a:cubicBezTo>
                <a:cubicBezTo>
                  <a:pt x="21281" y="6781"/>
                  <a:pt x="21344" y="6875"/>
                  <a:pt x="21469" y="6844"/>
                </a:cubicBezTo>
                <a:cubicBezTo>
                  <a:pt x="21469" y="6875"/>
                  <a:pt x="21469" y="6875"/>
                  <a:pt x="21500" y="6875"/>
                </a:cubicBezTo>
                <a:cubicBezTo>
                  <a:pt x="21500" y="6906"/>
                  <a:pt x="21531" y="6938"/>
                  <a:pt x="21531" y="6969"/>
                </a:cubicBezTo>
                <a:cubicBezTo>
                  <a:pt x="21531" y="6969"/>
                  <a:pt x="21531" y="7000"/>
                  <a:pt x="21531" y="7000"/>
                </a:cubicBezTo>
                <a:cubicBezTo>
                  <a:pt x="21500" y="7031"/>
                  <a:pt x="21469" y="7000"/>
                  <a:pt x="21406" y="7000"/>
                </a:cubicBezTo>
                <a:cubicBezTo>
                  <a:pt x="21406" y="7000"/>
                  <a:pt x="21406" y="7000"/>
                  <a:pt x="21375" y="7000"/>
                </a:cubicBezTo>
                <a:cubicBezTo>
                  <a:pt x="21375" y="7000"/>
                  <a:pt x="21375" y="7000"/>
                  <a:pt x="21375" y="7000"/>
                </a:cubicBezTo>
                <a:cubicBezTo>
                  <a:pt x="21375" y="6969"/>
                  <a:pt x="21375" y="6969"/>
                  <a:pt x="21375" y="6969"/>
                </a:cubicBezTo>
                <a:cubicBezTo>
                  <a:pt x="21344" y="6906"/>
                  <a:pt x="21312" y="6875"/>
                  <a:pt x="21250" y="6875"/>
                </a:cubicBezTo>
                <a:cubicBezTo>
                  <a:pt x="21219" y="6875"/>
                  <a:pt x="21156" y="6844"/>
                  <a:pt x="21187" y="6813"/>
                </a:cubicBezTo>
                <a:cubicBezTo>
                  <a:pt x="21219" y="6719"/>
                  <a:pt x="21156" y="6688"/>
                  <a:pt x="21125" y="6656"/>
                </a:cubicBezTo>
                <a:cubicBezTo>
                  <a:pt x="20969" y="6625"/>
                  <a:pt x="20875" y="6531"/>
                  <a:pt x="20750" y="6469"/>
                </a:cubicBezTo>
                <a:cubicBezTo>
                  <a:pt x="20469" y="6344"/>
                  <a:pt x="20187" y="6281"/>
                  <a:pt x="19906" y="6219"/>
                </a:cubicBezTo>
                <a:cubicBezTo>
                  <a:pt x="19812" y="6188"/>
                  <a:pt x="19687" y="6156"/>
                  <a:pt x="19594" y="6250"/>
                </a:cubicBezTo>
                <a:cubicBezTo>
                  <a:pt x="19562" y="6281"/>
                  <a:pt x="19500" y="6281"/>
                  <a:pt x="19437" y="6281"/>
                </a:cubicBezTo>
                <a:cubicBezTo>
                  <a:pt x="19406" y="6281"/>
                  <a:pt x="19406" y="6250"/>
                  <a:pt x="19406" y="6219"/>
                </a:cubicBezTo>
                <a:cubicBezTo>
                  <a:pt x="19500" y="6125"/>
                  <a:pt x="19469" y="6063"/>
                  <a:pt x="19344" y="6063"/>
                </a:cubicBezTo>
                <a:cubicBezTo>
                  <a:pt x="19312" y="6063"/>
                  <a:pt x="19312" y="6000"/>
                  <a:pt x="19281" y="6000"/>
                </a:cubicBezTo>
                <a:cubicBezTo>
                  <a:pt x="19250" y="5969"/>
                  <a:pt x="19187" y="5938"/>
                  <a:pt x="19156" y="6000"/>
                </a:cubicBezTo>
                <a:cubicBezTo>
                  <a:pt x="19125" y="6031"/>
                  <a:pt x="19062" y="6031"/>
                  <a:pt x="19062" y="5969"/>
                </a:cubicBezTo>
                <a:cubicBezTo>
                  <a:pt x="19062" y="5938"/>
                  <a:pt x="19062" y="5938"/>
                  <a:pt x="19031" y="5906"/>
                </a:cubicBezTo>
                <a:cubicBezTo>
                  <a:pt x="19031" y="5844"/>
                  <a:pt x="18969" y="5875"/>
                  <a:pt x="18875" y="5875"/>
                </a:cubicBezTo>
                <a:cubicBezTo>
                  <a:pt x="18875" y="5844"/>
                  <a:pt x="18875" y="5813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75" y="5781"/>
                  <a:pt x="18875" y="5781"/>
                  <a:pt x="18875" y="5781"/>
                </a:cubicBezTo>
                <a:cubicBezTo>
                  <a:pt x="18844" y="5750"/>
                  <a:pt x="18844" y="5719"/>
                  <a:pt x="18812" y="5719"/>
                </a:cubicBezTo>
                <a:cubicBezTo>
                  <a:pt x="18812" y="5688"/>
                  <a:pt x="18750" y="5719"/>
                  <a:pt x="18750" y="5688"/>
                </a:cubicBezTo>
                <a:cubicBezTo>
                  <a:pt x="18719" y="5688"/>
                  <a:pt x="18687" y="5656"/>
                  <a:pt x="18687" y="5656"/>
                </a:cubicBezTo>
                <a:cubicBezTo>
                  <a:pt x="18656" y="5688"/>
                  <a:pt x="18687" y="5719"/>
                  <a:pt x="18687" y="5750"/>
                </a:cubicBezTo>
                <a:cubicBezTo>
                  <a:pt x="18687" y="5813"/>
                  <a:pt x="18687" y="5875"/>
                  <a:pt x="18656" y="5938"/>
                </a:cubicBezTo>
                <a:cubicBezTo>
                  <a:pt x="18656" y="5906"/>
                  <a:pt x="18656" y="5906"/>
                  <a:pt x="18656" y="5906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75"/>
                  <a:pt x="18656" y="5875"/>
                  <a:pt x="18656" y="5875"/>
                </a:cubicBezTo>
                <a:cubicBezTo>
                  <a:pt x="18656" y="5844"/>
                  <a:pt x="18656" y="5813"/>
                  <a:pt x="18594" y="5813"/>
                </a:cubicBezTo>
                <a:cubicBezTo>
                  <a:pt x="18594" y="5781"/>
                  <a:pt x="18594" y="5750"/>
                  <a:pt x="18594" y="5719"/>
                </a:cubicBezTo>
                <a:cubicBezTo>
                  <a:pt x="18594" y="5719"/>
                  <a:pt x="18594" y="5719"/>
                  <a:pt x="18594" y="5719"/>
                </a:cubicBezTo>
                <a:cubicBezTo>
                  <a:pt x="18625" y="5719"/>
                  <a:pt x="18625" y="5719"/>
                  <a:pt x="18625" y="5719"/>
                </a:cubicBezTo>
                <a:cubicBezTo>
                  <a:pt x="18625" y="5719"/>
                  <a:pt x="18625" y="5688"/>
                  <a:pt x="18625" y="5688"/>
                </a:cubicBezTo>
                <a:cubicBezTo>
                  <a:pt x="18625" y="5688"/>
                  <a:pt x="18625" y="5688"/>
                  <a:pt x="18594" y="5688"/>
                </a:cubicBezTo>
                <a:cubicBezTo>
                  <a:pt x="18594" y="5688"/>
                  <a:pt x="18594" y="5656"/>
                  <a:pt x="18594" y="5656"/>
                </a:cubicBezTo>
                <a:cubicBezTo>
                  <a:pt x="18594" y="5656"/>
                  <a:pt x="18594" y="5656"/>
                  <a:pt x="18594" y="5656"/>
                </a:cubicBezTo>
                <a:cubicBezTo>
                  <a:pt x="18594" y="5625"/>
                  <a:pt x="18594" y="5625"/>
                  <a:pt x="18594" y="5625"/>
                </a:cubicBezTo>
                <a:cubicBezTo>
                  <a:pt x="18594" y="5594"/>
                  <a:pt x="18562" y="5563"/>
                  <a:pt x="18531" y="5531"/>
                </a:cubicBezTo>
                <a:cubicBezTo>
                  <a:pt x="18531" y="5531"/>
                  <a:pt x="18500" y="5500"/>
                  <a:pt x="18437" y="5500"/>
                </a:cubicBezTo>
                <a:cubicBezTo>
                  <a:pt x="18437" y="5469"/>
                  <a:pt x="18406" y="5469"/>
                  <a:pt x="18375" y="5500"/>
                </a:cubicBezTo>
                <a:cubicBezTo>
                  <a:pt x="18375" y="5531"/>
                  <a:pt x="18375" y="5531"/>
                  <a:pt x="18406" y="5531"/>
                </a:cubicBezTo>
                <a:cubicBezTo>
                  <a:pt x="18406" y="5531"/>
                  <a:pt x="18406" y="5563"/>
                  <a:pt x="18406" y="5563"/>
                </a:cubicBezTo>
                <a:cubicBezTo>
                  <a:pt x="18469" y="5625"/>
                  <a:pt x="18500" y="5656"/>
                  <a:pt x="18531" y="5750"/>
                </a:cubicBezTo>
                <a:cubicBezTo>
                  <a:pt x="18469" y="5719"/>
                  <a:pt x="18437" y="5688"/>
                  <a:pt x="18375" y="5656"/>
                </a:cubicBezTo>
                <a:cubicBezTo>
                  <a:pt x="18312" y="5656"/>
                  <a:pt x="18281" y="5625"/>
                  <a:pt x="18219" y="5688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56"/>
                  <a:pt x="18219" y="5656"/>
                  <a:pt x="18219" y="5656"/>
                </a:cubicBezTo>
                <a:cubicBezTo>
                  <a:pt x="18219" y="5625"/>
                  <a:pt x="18219" y="5625"/>
                  <a:pt x="18219" y="5625"/>
                </a:cubicBezTo>
                <a:cubicBezTo>
                  <a:pt x="18219" y="5625"/>
                  <a:pt x="18219" y="5625"/>
                  <a:pt x="18187" y="5625"/>
                </a:cubicBezTo>
                <a:cubicBezTo>
                  <a:pt x="18187" y="5625"/>
                  <a:pt x="18156" y="5594"/>
                  <a:pt x="18125" y="5594"/>
                </a:cubicBezTo>
                <a:cubicBezTo>
                  <a:pt x="18125" y="5594"/>
                  <a:pt x="18125" y="5594"/>
                  <a:pt x="18125" y="5594"/>
                </a:cubicBezTo>
                <a:cubicBezTo>
                  <a:pt x="18156" y="5656"/>
                  <a:pt x="18187" y="5719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13"/>
                  <a:pt x="18219" y="5813"/>
                  <a:pt x="18219" y="5813"/>
                </a:cubicBezTo>
                <a:cubicBezTo>
                  <a:pt x="18219" y="5844"/>
                  <a:pt x="18219" y="5844"/>
                  <a:pt x="18250" y="5875"/>
                </a:cubicBezTo>
                <a:cubicBezTo>
                  <a:pt x="18219" y="5875"/>
                  <a:pt x="18219" y="5875"/>
                  <a:pt x="18187" y="5906"/>
                </a:cubicBezTo>
                <a:cubicBezTo>
                  <a:pt x="18094" y="5656"/>
                  <a:pt x="17969" y="5438"/>
                  <a:pt x="17875" y="5188"/>
                </a:cubicBezTo>
                <a:cubicBezTo>
                  <a:pt x="17875" y="5156"/>
                  <a:pt x="17844" y="5125"/>
                  <a:pt x="17812" y="5125"/>
                </a:cubicBezTo>
                <a:cubicBezTo>
                  <a:pt x="17781" y="5156"/>
                  <a:pt x="17750" y="5125"/>
                  <a:pt x="17750" y="5125"/>
                </a:cubicBezTo>
                <a:cubicBezTo>
                  <a:pt x="17719" y="5125"/>
                  <a:pt x="17719" y="5125"/>
                  <a:pt x="17719" y="5125"/>
                </a:cubicBezTo>
                <a:cubicBezTo>
                  <a:pt x="17719" y="5125"/>
                  <a:pt x="17719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87" y="5125"/>
                  <a:pt x="17687" y="5125"/>
                  <a:pt x="17687" y="5125"/>
                </a:cubicBezTo>
                <a:cubicBezTo>
                  <a:pt x="17656" y="5094"/>
                  <a:pt x="17656" y="5094"/>
                  <a:pt x="17656" y="5094"/>
                </a:cubicBezTo>
                <a:cubicBezTo>
                  <a:pt x="17625" y="5094"/>
                  <a:pt x="17625" y="5094"/>
                  <a:pt x="17594" y="5125"/>
                </a:cubicBezTo>
                <a:cubicBezTo>
                  <a:pt x="17531" y="5063"/>
                  <a:pt x="17562" y="5031"/>
                  <a:pt x="17562" y="5031"/>
                </a:cubicBezTo>
                <a:cubicBezTo>
                  <a:pt x="17594" y="5000"/>
                  <a:pt x="17625" y="5000"/>
                  <a:pt x="17625" y="4969"/>
                </a:cubicBezTo>
                <a:cubicBezTo>
                  <a:pt x="17656" y="4938"/>
                  <a:pt x="17687" y="4969"/>
                  <a:pt x="17687" y="4906"/>
                </a:cubicBezTo>
                <a:cubicBezTo>
                  <a:pt x="17656" y="4844"/>
                  <a:pt x="17687" y="4750"/>
                  <a:pt x="17687" y="4688"/>
                </a:cubicBezTo>
                <a:cubicBezTo>
                  <a:pt x="17656" y="4531"/>
                  <a:pt x="17687" y="4406"/>
                  <a:pt x="17844" y="4313"/>
                </a:cubicBezTo>
                <a:cubicBezTo>
                  <a:pt x="17937" y="4281"/>
                  <a:pt x="17969" y="4188"/>
                  <a:pt x="17937" y="4125"/>
                </a:cubicBezTo>
                <a:cubicBezTo>
                  <a:pt x="17844" y="4031"/>
                  <a:pt x="17875" y="3906"/>
                  <a:pt x="17844" y="3781"/>
                </a:cubicBezTo>
                <a:cubicBezTo>
                  <a:pt x="17844" y="3750"/>
                  <a:pt x="17844" y="3688"/>
                  <a:pt x="17906" y="3656"/>
                </a:cubicBezTo>
                <a:cubicBezTo>
                  <a:pt x="18000" y="3594"/>
                  <a:pt x="18000" y="3500"/>
                  <a:pt x="18062" y="3406"/>
                </a:cubicBezTo>
                <a:cubicBezTo>
                  <a:pt x="18125" y="3344"/>
                  <a:pt x="18125" y="3250"/>
                  <a:pt x="18094" y="3156"/>
                </a:cubicBezTo>
                <a:cubicBezTo>
                  <a:pt x="18094" y="3031"/>
                  <a:pt x="18156" y="2938"/>
                  <a:pt x="18281" y="2969"/>
                </a:cubicBezTo>
                <a:cubicBezTo>
                  <a:pt x="18312" y="2969"/>
                  <a:pt x="18344" y="2969"/>
                  <a:pt x="18344" y="2969"/>
                </a:cubicBezTo>
                <a:cubicBezTo>
                  <a:pt x="18406" y="3000"/>
                  <a:pt x="18469" y="3000"/>
                  <a:pt x="18531" y="2969"/>
                </a:cubicBezTo>
                <a:cubicBezTo>
                  <a:pt x="18531" y="2969"/>
                  <a:pt x="18531" y="2969"/>
                  <a:pt x="18562" y="2938"/>
                </a:cubicBezTo>
                <a:cubicBezTo>
                  <a:pt x="18656" y="2938"/>
                  <a:pt x="18750" y="2969"/>
                  <a:pt x="18781" y="3000"/>
                </a:cubicBezTo>
                <a:cubicBezTo>
                  <a:pt x="18844" y="3031"/>
                  <a:pt x="18844" y="3094"/>
                  <a:pt x="18875" y="3156"/>
                </a:cubicBezTo>
                <a:cubicBezTo>
                  <a:pt x="18812" y="3156"/>
                  <a:pt x="18781" y="3156"/>
                  <a:pt x="18750" y="3156"/>
                </a:cubicBezTo>
                <a:cubicBezTo>
                  <a:pt x="18719" y="3094"/>
                  <a:pt x="18656" y="3094"/>
                  <a:pt x="18625" y="3094"/>
                </a:cubicBezTo>
                <a:cubicBezTo>
                  <a:pt x="18531" y="3063"/>
                  <a:pt x="18437" y="3031"/>
                  <a:pt x="18375" y="3094"/>
                </a:cubicBezTo>
                <a:cubicBezTo>
                  <a:pt x="18312" y="3156"/>
                  <a:pt x="18344" y="3188"/>
                  <a:pt x="18375" y="3250"/>
                </a:cubicBezTo>
                <a:cubicBezTo>
                  <a:pt x="18406" y="3281"/>
                  <a:pt x="18437" y="3250"/>
                  <a:pt x="18469" y="3219"/>
                </a:cubicBezTo>
                <a:cubicBezTo>
                  <a:pt x="18469" y="3188"/>
                  <a:pt x="18500" y="3156"/>
                  <a:pt x="18500" y="3156"/>
                </a:cubicBezTo>
                <a:cubicBezTo>
                  <a:pt x="18500" y="3156"/>
                  <a:pt x="18500" y="3156"/>
                  <a:pt x="18500" y="3156"/>
                </a:cubicBezTo>
                <a:cubicBezTo>
                  <a:pt x="18531" y="3156"/>
                  <a:pt x="18531" y="3156"/>
                  <a:pt x="18531" y="3156"/>
                </a:cubicBezTo>
                <a:cubicBezTo>
                  <a:pt x="18531" y="3156"/>
                  <a:pt x="18562" y="3188"/>
                  <a:pt x="18562" y="3188"/>
                </a:cubicBezTo>
                <a:cubicBezTo>
                  <a:pt x="18562" y="3188"/>
                  <a:pt x="18562" y="3188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62" y="3219"/>
                  <a:pt x="18562" y="3219"/>
                  <a:pt x="18562" y="3219"/>
                </a:cubicBezTo>
                <a:cubicBezTo>
                  <a:pt x="18594" y="3219"/>
                  <a:pt x="18594" y="3219"/>
                  <a:pt x="18594" y="3219"/>
                </a:cubicBezTo>
                <a:cubicBezTo>
                  <a:pt x="18594" y="3219"/>
                  <a:pt x="18594" y="3250"/>
                  <a:pt x="18594" y="3250"/>
                </a:cubicBezTo>
                <a:cubicBezTo>
                  <a:pt x="18562" y="3313"/>
                  <a:pt x="18500" y="3406"/>
                  <a:pt x="18531" y="3500"/>
                </a:cubicBezTo>
                <a:cubicBezTo>
                  <a:pt x="18562" y="3563"/>
                  <a:pt x="18531" y="3625"/>
                  <a:pt x="18500" y="3688"/>
                </a:cubicBezTo>
                <a:cubicBezTo>
                  <a:pt x="18469" y="3719"/>
                  <a:pt x="18406" y="3781"/>
                  <a:pt x="18375" y="3844"/>
                </a:cubicBezTo>
                <a:cubicBezTo>
                  <a:pt x="18219" y="3969"/>
                  <a:pt x="18219" y="4094"/>
                  <a:pt x="18312" y="4281"/>
                </a:cubicBezTo>
                <a:cubicBezTo>
                  <a:pt x="18344" y="4281"/>
                  <a:pt x="18375" y="4313"/>
                  <a:pt x="18375" y="4281"/>
                </a:cubicBezTo>
                <a:cubicBezTo>
                  <a:pt x="18406" y="4250"/>
                  <a:pt x="18406" y="4250"/>
                  <a:pt x="18437" y="4250"/>
                </a:cubicBezTo>
                <a:cubicBezTo>
                  <a:pt x="18437" y="4219"/>
                  <a:pt x="18469" y="4219"/>
                  <a:pt x="18469" y="4219"/>
                </a:cubicBezTo>
                <a:cubicBezTo>
                  <a:pt x="18531" y="4219"/>
                  <a:pt x="18594" y="4250"/>
                  <a:pt x="18625" y="4281"/>
                </a:cubicBezTo>
                <a:cubicBezTo>
                  <a:pt x="18719" y="4313"/>
                  <a:pt x="18781" y="4313"/>
                  <a:pt x="18812" y="4281"/>
                </a:cubicBezTo>
                <a:cubicBezTo>
                  <a:pt x="18844" y="4250"/>
                  <a:pt x="18844" y="4250"/>
                  <a:pt x="18844" y="4250"/>
                </a:cubicBezTo>
                <a:cubicBezTo>
                  <a:pt x="18875" y="4125"/>
                  <a:pt x="18906" y="4031"/>
                  <a:pt x="18875" y="3906"/>
                </a:cubicBezTo>
                <a:cubicBezTo>
                  <a:pt x="18875" y="3813"/>
                  <a:pt x="18844" y="3688"/>
                  <a:pt x="18844" y="3594"/>
                </a:cubicBezTo>
                <a:cubicBezTo>
                  <a:pt x="18844" y="3406"/>
                  <a:pt x="18844" y="3406"/>
                  <a:pt x="19000" y="3344"/>
                </a:cubicBezTo>
                <a:cubicBezTo>
                  <a:pt x="19062" y="3344"/>
                  <a:pt x="19125" y="3313"/>
                  <a:pt x="19125" y="3250"/>
                </a:cubicBezTo>
                <a:cubicBezTo>
                  <a:pt x="19125" y="3094"/>
                  <a:pt x="19156" y="2938"/>
                  <a:pt x="19187" y="2750"/>
                </a:cubicBezTo>
                <a:cubicBezTo>
                  <a:pt x="19219" y="2656"/>
                  <a:pt x="19250" y="2531"/>
                  <a:pt x="19219" y="2406"/>
                </a:cubicBezTo>
                <a:cubicBezTo>
                  <a:pt x="19187" y="2500"/>
                  <a:pt x="19187" y="2563"/>
                  <a:pt x="19125" y="2625"/>
                </a:cubicBezTo>
                <a:cubicBezTo>
                  <a:pt x="19094" y="2594"/>
                  <a:pt x="19125" y="2563"/>
                  <a:pt x="19125" y="2531"/>
                </a:cubicBezTo>
                <a:cubicBezTo>
                  <a:pt x="19125" y="2469"/>
                  <a:pt x="19125" y="2375"/>
                  <a:pt x="19094" y="2313"/>
                </a:cubicBezTo>
                <a:cubicBezTo>
                  <a:pt x="19062" y="2219"/>
                  <a:pt x="19031" y="2094"/>
                  <a:pt x="18906" y="2156"/>
                </a:cubicBezTo>
                <a:cubicBezTo>
                  <a:pt x="18844" y="2188"/>
                  <a:pt x="18812" y="2125"/>
                  <a:pt x="18812" y="2094"/>
                </a:cubicBezTo>
                <a:cubicBezTo>
                  <a:pt x="18781" y="2031"/>
                  <a:pt x="18781" y="2000"/>
                  <a:pt x="18781" y="1969"/>
                </a:cubicBezTo>
                <a:cubicBezTo>
                  <a:pt x="18781" y="1938"/>
                  <a:pt x="18781" y="1906"/>
                  <a:pt x="18812" y="1875"/>
                </a:cubicBezTo>
                <a:cubicBezTo>
                  <a:pt x="18844" y="1844"/>
                  <a:pt x="18875" y="1875"/>
                  <a:pt x="18906" y="1875"/>
                </a:cubicBezTo>
                <a:cubicBezTo>
                  <a:pt x="18906" y="1906"/>
                  <a:pt x="18906" y="1906"/>
                  <a:pt x="18937" y="1906"/>
                </a:cubicBezTo>
                <a:cubicBezTo>
                  <a:pt x="19000" y="1938"/>
                  <a:pt x="19062" y="1938"/>
                  <a:pt x="19156" y="1969"/>
                </a:cubicBezTo>
                <a:cubicBezTo>
                  <a:pt x="19156" y="1969"/>
                  <a:pt x="19156" y="2000"/>
                  <a:pt x="19187" y="2000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187" y="2031"/>
                  <a:pt x="19187" y="2031"/>
                  <a:pt x="19187" y="2031"/>
                </a:cubicBezTo>
                <a:cubicBezTo>
                  <a:pt x="19219" y="2156"/>
                  <a:pt x="19312" y="2219"/>
                  <a:pt x="19437" y="2219"/>
                </a:cubicBezTo>
                <a:cubicBezTo>
                  <a:pt x="19531" y="2219"/>
                  <a:pt x="19562" y="2188"/>
                  <a:pt x="19562" y="2094"/>
                </a:cubicBezTo>
                <a:cubicBezTo>
                  <a:pt x="19594" y="2000"/>
                  <a:pt x="19594" y="1906"/>
                  <a:pt x="19594" y="1813"/>
                </a:cubicBezTo>
                <a:cubicBezTo>
                  <a:pt x="19562" y="1625"/>
                  <a:pt x="19594" y="1438"/>
                  <a:pt x="19469" y="1250"/>
                </a:cubicBezTo>
                <a:cubicBezTo>
                  <a:pt x="19469" y="1250"/>
                  <a:pt x="19469" y="1250"/>
                  <a:pt x="19469" y="1219"/>
                </a:cubicBezTo>
                <a:cubicBezTo>
                  <a:pt x="19469" y="1219"/>
                  <a:pt x="19469" y="1219"/>
                  <a:pt x="19469" y="1219"/>
                </a:cubicBezTo>
                <a:cubicBezTo>
                  <a:pt x="19437" y="1188"/>
                  <a:pt x="19437" y="1156"/>
                  <a:pt x="19406" y="1156"/>
                </a:cubicBezTo>
                <a:cubicBezTo>
                  <a:pt x="19406" y="1156"/>
                  <a:pt x="19406" y="1156"/>
                  <a:pt x="19406" y="1125"/>
                </a:cubicBezTo>
                <a:cubicBezTo>
                  <a:pt x="19406" y="1125"/>
                  <a:pt x="19406" y="1125"/>
                  <a:pt x="19406" y="1125"/>
                </a:cubicBezTo>
                <a:cubicBezTo>
                  <a:pt x="19375" y="1125"/>
                  <a:pt x="19344" y="1125"/>
                  <a:pt x="19344" y="1094"/>
                </a:cubicBezTo>
                <a:cubicBezTo>
                  <a:pt x="19312" y="1094"/>
                  <a:pt x="19281" y="1063"/>
                  <a:pt x="19281" y="1063"/>
                </a:cubicBezTo>
                <a:cubicBezTo>
                  <a:pt x="19219" y="1000"/>
                  <a:pt x="19125" y="938"/>
                  <a:pt x="19062" y="875"/>
                </a:cubicBezTo>
                <a:cubicBezTo>
                  <a:pt x="19031" y="844"/>
                  <a:pt x="19031" y="813"/>
                  <a:pt x="19000" y="781"/>
                </a:cubicBezTo>
                <a:cubicBezTo>
                  <a:pt x="18969" y="719"/>
                  <a:pt x="18906" y="688"/>
                  <a:pt x="18875" y="656"/>
                </a:cubicBezTo>
                <a:cubicBezTo>
                  <a:pt x="18812" y="625"/>
                  <a:pt x="18781" y="625"/>
                  <a:pt x="18781" y="719"/>
                </a:cubicBezTo>
                <a:cubicBezTo>
                  <a:pt x="18781" y="719"/>
                  <a:pt x="18781" y="719"/>
                  <a:pt x="18781" y="719"/>
                </a:cubicBezTo>
                <a:cubicBezTo>
                  <a:pt x="18750" y="719"/>
                  <a:pt x="18750" y="719"/>
                  <a:pt x="18719" y="719"/>
                </a:cubicBezTo>
                <a:cubicBezTo>
                  <a:pt x="18719" y="719"/>
                  <a:pt x="18719" y="719"/>
                  <a:pt x="18719" y="719"/>
                </a:cubicBezTo>
                <a:cubicBezTo>
                  <a:pt x="18687" y="688"/>
                  <a:pt x="18687" y="656"/>
                  <a:pt x="18656" y="656"/>
                </a:cubicBezTo>
                <a:cubicBezTo>
                  <a:pt x="18625" y="656"/>
                  <a:pt x="18625" y="656"/>
                  <a:pt x="18594" y="656"/>
                </a:cubicBezTo>
                <a:cubicBezTo>
                  <a:pt x="18562" y="656"/>
                  <a:pt x="18562" y="656"/>
                  <a:pt x="18531" y="656"/>
                </a:cubicBezTo>
                <a:cubicBezTo>
                  <a:pt x="18531" y="563"/>
                  <a:pt x="18500" y="500"/>
                  <a:pt x="18406" y="500"/>
                </a:cubicBezTo>
                <a:cubicBezTo>
                  <a:pt x="18406" y="469"/>
                  <a:pt x="18406" y="469"/>
                  <a:pt x="18406" y="469"/>
                </a:cubicBezTo>
                <a:cubicBezTo>
                  <a:pt x="18375" y="438"/>
                  <a:pt x="18375" y="438"/>
                  <a:pt x="18344" y="438"/>
                </a:cubicBezTo>
                <a:cubicBezTo>
                  <a:pt x="18344" y="438"/>
                  <a:pt x="18344" y="438"/>
                  <a:pt x="18344" y="438"/>
                </a:cubicBezTo>
                <a:cubicBezTo>
                  <a:pt x="18344" y="438"/>
                  <a:pt x="18344" y="438"/>
                  <a:pt x="18312" y="438"/>
                </a:cubicBezTo>
                <a:cubicBezTo>
                  <a:pt x="18312" y="438"/>
                  <a:pt x="18312" y="438"/>
                  <a:pt x="18312" y="438"/>
                </a:cubicBezTo>
                <a:cubicBezTo>
                  <a:pt x="18219" y="313"/>
                  <a:pt x="18094" y="281"/>
                  <a:pt x="17969" y="219"/>
                </a:cubicBezTo>
                <a:cubicBezTo>
                  <a:pt x="17937" y="188"/>
                  <a:pt x="17906" y="188"/>
                  <a:pt x="17875" y="188"/>
                </a:cubicBezTo>
                <a:cubicBezTo>
                  <a:pt x="17875" y="219"/>
                  <a:pt x="17844" y="250"/>
                  <a:pt x="17844" y="281"/>
                </a:cubicBezTo>
                <a:cubicBezTo>
                  <a:pt x="17844" y="313"/>
                  <a:pt x="17812" y="313"/>
                  <a:pt x="17812" y="313"/>
                </a:cubicBezTo>
                <a:cubicBezTo>
                  <a:pt x="17812" y="313"/>
                  <a:pt x="17781" y="313"/>
                  <a:pt x="17781" y="313"/>
                </a:cubicBezTo>
                <a:cubicBezTo>
                  <a:pt x="17719" y="313"/>
                  <a:pt x="17656" y="281"/>
                  <a:pt x="17625" y="219"/>
                </a:cubicBezTo>
                <a:cubicBezTo>
                  <a:pt x="17594" y="219"/>
                  <a:pt x="17562" y="188"/>
                  <a:pt x="17562" y="156"/>
                </a:cubicBezTo>
                <a:cubicBezTo>
                  <a:pt x="17594" y="125"/>
                  <a:pt x="17656" y="156"/>
                  <a:pt x="17719" y="125"/>
                </a:cubicBezTo>
                <a:cubicBezTo>
                  <a:pt x="17656" y="63"/>
                  <a:pt x="17562" y="94"/>
                  <a:pt x="17469" y="63"/>
                </a:cubicBezTo>
                <a:cubicBezTo>
                  <a:pt x="17344" y="0"/>
                  <a:pt x="17187" y="63"/>
                  <a:pt x="17062" y="94"/>
                </a:cubicBezTo>
                <a:cubicBezTo>
                  <a:pt x="17000" y="94"/>
                  <a:pt x="16969" y="125"/>
                  <a:pt x="16937" y="188"/>
                </a:cubicBezTo>
                <a:cubicBezTo>
                  <a:pt x="16844" y="219"/>
                  <a:pt x="16781" y="250"/>
                  <a:pt x="16687" y="281"/>
                </a:cubicBezTo>
                <a:cubicBezTo>
                  <a:pt x="16687" y="281"/>
                  <a:pt x="16719" y="313"/>
                  <a:pt x="16719" y="313"/>
                </a:cubicBezTo>
                <a:cubicBezTo>
                  <a:pt x="16781" y="281"/>
                  <a:pt x="16844" y="250"/>
                  <a:pt x="16937" y="250"/>
                </a:cubicBezTo>
                <a:cubicBezTo>
                  <a:pt x="16969" y="250"/>
                  <a:pt x="16969" y="281"/>
                  <a:pt x="16969" y="313"/>
                </a:cubicBezTo>
                <a:cubicBezTo>
                  <a:pt x="16969" y="313"/>
                  <a:pt x="16969" y="313"/>
                  <a:pt x="16969" y="344"/>
                </a:cubicBezTo>
                <a:cubicBezTo>
                  <a:pt x="16969" y="344"/>
                  <a:pt x="16937" y="375"/>
                  <a:pt x="16937" y="375"/>
                </a:cubicBezTo>
                <a:cubicBezTo>
                  <a:pt x="16937" y="406"/>
                  <a:pt x="16844" y="406"/>
                  <a:pt x="16812" y="375"/>
                </a:cubicBezTo>
                <a:cubicBezTo>
                  <a:pt x="16781" y="375"/>
                  <a:pt x="16781" y="344"/>
                  <a:pt x="16781" y="344"/>
                </a:cubicBezTo>
                <a:cubicBezTo>
                  <a:pt x="16750" y="375"/>
                  <a:pt x="16719" y="375"/>
                  <a:pt x="16719" y="375"/>
                </a:cubicBezTo>
                <a:cubicBezTo>
                  <a:pt x="16656" y="375"/>
                  <a:pt x="16625" y="406"/>
                  <a:pt x="16562" y="406"/>
                </a:cubicBezTo>
                <a:cubicBezTo>
                  <a:pt x="16500" y="438"/>
                  <a:pt x="16406" y="500"/>
                  <a:pt x="16344" y="563"/>
                </a:cubicBezTo>
                <a:cubicBezTo>
                  <a:pt x="16312" y="563"/>
                  <a:pt x="16312" y="594"/>
                  <a:pt x="16281" y="594"/>
                </a:cubicBezTo>
                <a:cubicBezTo>
                  <a:pt x="16281" y="594"/>
                  <a:pt x="16281" y="594"/>
                  <a:pt x="16250" y="594"/>
                </a:cubicBezTo>
                <a:cubicBezTo>
                  <a:pt x="16250" y="594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50" y="625"/>
                  <a:pt x="16250" y="625"/>
                  <a:pt x="16250" y="625"/>
                </a:cubicBezTo>
                <a:cubicBezTo>
                  <a:pt x="16219" y="656"/>
                  <a:pt x="16187" y="656"/>
                  <a:pt x="16187" y="656"/>
                </a:cubicBezTo>
                <a:cubicBezTo>
                  <a:pt x="16187" y="688"/>
                  <a:pt x="16156" y="688"/>
                  <a:pt x="16156" y="688"/>
                </a:cubicBezTo>
                <a:cubicBezTo>
                  <a:pt x="16062" y="844"/>
                  <a:pt x="15969" y="969"/>
                  <a:pt x="15875" y="1125"/>
                </a:cubicBezTo>
                <a:cubicBezTo>
                  <a:pt x="15875" y="1156"/>
                  <a:pt x="15844" y="1188"/>
                  <a:pt x="15844" y="1219"/>
                </a:cubicBezTo>
                <a:cubicBezTo>
                  <a:pt x="15844" y="1500"/>
                  <a:pt x="15687" y="1750"/>
                  <a:pt x="15687" y="2031"/>
                </a:cubicBezTo>
                <a:cubicBezTo>
                  <a:pt x="15687" y="2188"/>
                  <a:pt x="15687" y="2344"/>
                  <a:pt x="15656" y="2531"/>
                </a:cubicBezTo>
                <a:cubicBezTo>
                  <a:pt x="15656" y="2594"/>
                  <a:pt x="15594" y="2688"/>
                  <a:pt x="15625" y="2781"/>
                </a:cubicBezTo>
                <a:cubicBezTo>
                  <a:pt x="15656" y="2844"/>
                  <a:pt x="15625" y="2875"/>
                  <a:pt x="15594" y="2906"/>
                </a:cubicBezTo>
                <a:cubicBezTo>
                  <a:pt x="15469" y="3063"/>
                  <a:pt x="15344" y="3188"/>
                  <a:pt x="15250" y="3313"/>
                </a:cubicBezTo>
                <a:cubicBezTo>
                  <a:pt x="15187" y="3375"/>
                  <a:pt x="15031" y="3438"/>
                  <a:pt x="15156" y="3563"/>
                </a:cubicBezTo>
                <a:cubicBezTo>
                  <a:pt x="15187" y="3563"/>
                  <a:pt x="15156" y="3594"/>
                  <a:pt x="15156" y="3625"/>
                </a:cubicBezTo>
                <a:cubicBezTo>
                  <a:pt x="15156" y="3656"/>
                  <a:pt x="15156" y="3688"/>
                  <a:pt x="15187" y="3688"/>
                </a:cubicBezTo>
                <a:cubicBezTo>
                  <a:pt x="15250" y="3719"/>
                  <a:pt x="15219" y="3750"/>
                  <a:pt x="15187" y="3781"/>
                </a:cubicBezTo>
                <a:cubicBezTo>
                  <a:pt x="15156" y="3813"/>
                  <a:pt x="15125" y="3844"/>
                  <a:pt x="15062" y="3875"/>
                </a:cubicBezTo>
                <a:cubicBezTo>
                  <a:pt x="15062" y="3844"/>
                  <a:pt x="15031" y="3844"/>
                  <a:pt x="15000" y="3813"/>
                </a:cubicBezTo>
                <a:cubicBezTo>
                  <a:pt x="15000" y="3750"/>
                  <a:pt x="14937" y="3688"/>
                  <a:pt x="14906" y="3625"/>
                </a:cubicBezTo>
                <a:cubicBezTo>
                  <a:pt x="14812" y="3688"/>
                  <a:pt x="14781" y="3781"/>
                  <a:pt x="14656" y="3781"/>
                </a:cubicBezTo>
                <a:cubicBezTo>
                  <a:pt x="14562" y="3781"/>
                  <a:pt x="14500" y="3875"/>
                  <a:pt x="14406" y="3906"/>
                </a:cubicBezTo>
                <a:cubicBezTo>
                  <a:pt x="14375" y="3906"/>
                  <a:pt x="14344" y="3875"/>
                  <a:pt x="14344" y="3875"/>
                </a:cubicBezTo>
                <a:cubicBezTo>
                  <a:pt x="14281" y="3875"/>
                  <a:pt x="14219" y="3844"/>
                  <a:pt x="14156" y="3906"/>
                </a:cubicBezTo>
                <a:cubicBezTo>
                  <a:pt x="14000" y="3938"/>
                  <a:pt x="13844" y="4000"/>
                  <a:pt x="13656" y="4031"/>
                </a:cubicBezTo>
                <a:cubicBezTo>
                  <a:pt x="13594" y="4031"/>
                  <a:pt x="13531" y="4031"/>
                  <a:pt x="13437" y="4031"/>
                </a:cubicBezTo>
                <a:cubicBezTo>
                  <a:pt x="13500" y="4125"/>
                  <a:pt x="13562" y="4094"/>
                  <a:pt x="13594" y="4125"/>
                </a:cubicBezTo>
                <a:cubicBezTo>
                  <a:pt x="13594" y="4125"/>
                  <a:pt x="13594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25" y="4125"/>
                  <a:pt x="13625" y="4125"/>
                  <a:pt x="13625" y="4125"/>
                </a:cubicBezTo>
                <a:cubicBezTo>
                  <a:pt x="13656" y="4125"/>
                  <a:pt x="13687" y="4125"/>
                  <a:pt x="13719" y="4156"/>
                </a:cubicBezTo>
                <a:cubicBezTo>
                  <a:pt x="13719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50" y="4156"/>
                </a:cubicBezTo>
                <a:cubicBezTo>
                  <a:pt x="13750" y="4156"/>
                  <a:pt x="13750" y="4156"/>
                  <a:pt x="13781" y="4156"/>
                </a:cubicBezTo>
                <a:cubicBezTo>
                  <a:pt x="13781" y="4156"/>
                  <a:pt x="13812" y="4156"/>
                  <a:pt x="13812" y="4188"/>
                </a:cubicBezTo>
                <a:cubicBezTo>
                  <a:pt x="13812" y="4188"/>
                  <a:pt x="13812" y="4188"/>
                  <a:pt x="13781" y="4188"/>
                </a:cubicBezTo>
                <a:cubicBezTo>
                  <a:pt x="13781" y="4219"/>
                  <a:pt x="13750" y="4188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50" y="4250"/>
                  <a:pt x="13750" y="4250"/>
                  <a:pt x="13750" y="4250"/>
                </a:cubicBezTo>
                <a:cubicBezTo>
                  <a:pt x="13781" y="4250"/>
                  <a:pt x="13781" y="4250"/>
                  <a:pt x="13812" y="4250"/>
                </a:cubicBezTo>
                <a:cubicBezTo>
                  <a:pt x="13781" y="4281"/>
                  <a:pt x="13750" y="4281"/>
                  <a:pt x="13719" y="4281"/>
                </a:cubicBezTo>
                <a:cubicBezTo>
                  <a:pt x="13687" y="4281"/>
                  <a:pt x="13687" y="4219"/>
                  <a:pt x="13656" y="4219"/>
                </a:cubicBezTo>
                <a:cubicBezTo>
                  <a:pt x="13656" y="4219"/>
                  <a:pt x="13656" y="4219"/>
                  <a:pt x="13656" y="4219"/>
                </a:cubicBezTo>
                <a:cubicBezTo>
                  <a:pt x="13562" y="4219"/>
                  <a:pt x="13469" y="4156"/>
                  <a:pt x="13406" y="4125"/>
                </a:cubicBezTo>
                <a:cubicBezTo>
                  <a:pt x="13406" y="4125"/>
                  <a:pt x="13406" y="4125"/>
                  <a:pt x="13406" y="4125"/>
                </a:cubicBezTo>
                <a:cubicBezTo>
                  <a:pt x="13406" y="4094"/>
                  <a:pt x="13406" y="4094"/>
                  <a:pt x="13375" y="4094"/>
                </a:cubicBezTo>
                <a:cubicBezTo>
                  <a:pt x="13375" y="4094"/>
                  <a:pt x="13375" y="4094"/>
                  <a:pt x="13344" y="4094"/>
                </a:cubicBezTo>
                <a:cubicBezTo>
                  <a:pt x="13312" y="4094"/>
                  <a:pt x="13312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281" y="4094"/>
                  <a:pt x="13281" y="4094"/>
                  <a:pt x="13281" y="4094"/>
                </a:cubicBezTo>
                <a:cubicBezTo>
                  <a:pt x="13125" y="4125"/>
                  <a:pt x="12969" y="4125"/>
                  <a:pt x="12812" y="4188"/>
                </a:cubicBezTo>
                <a:cubicBezTo>
                  <a:pt x="12781" y="4188"/>
                  <a:pt x="12750" y="4219"/>
                  <a:pt x="12719" y="4250"/>
                </a:cubicBezTo>
                <a:cubicBezTo>
                  <a:pt x="12875" y="4188"/>
                  <a:pt x="12969" y="4281"/>
                  <a:pt x="13062" y="4344"/>
                </a:cubicBezTo>
                <a:cubicBezTo>
                  <a:pt x="13094" y="4344"/>
                  <a:pt x="13125" y="4375"/>
                  <a:pt x="13156" y="4375"/>
                </a:cubicBezTo>
                <a:cubicBezTo>
                  <a:pt x="13219" y="4406"/>
                  <a:pt x="13312" y="4438"/>
                  <a:pt x="13375" y="4500"/>
                </a:cubicBezTo>
                <a:cubicBezTo>
                  <a:pt x="13406" y="4531"/>
                  <a:pt x="13406" y="4563"/>
                  <a:pt x="13437" y="4594"/>
                </a:cubicBezTo>
                <a:cubicBezTo>
                  <a:pt x="13437" y="4594"/>
                  <a:pt x="13437" y="4594"/>
                  <a:pt x="13437" y="4594"/>
                </a:cubicBezTo>
                <a:cubicBezTo>
                  <a:pt x="13406" y="4563"/>
                  <a:pt x="13375" y="4594"/>
                  <a:pt x="13375" y="4563"/>
                </a:cubicBezTo>
                <a:cubicBezTo>
                  <a:pt x="13344" y="4563"/>
                  <a:pt x="13344" y="4563"/>
                  <a:pt x="13344" y="4563"/>
                </a:cubicBezTo>
                <a:cubicBezTo>
                  <a:pt x="13281" y="4500"/>
                  <a:pt x="13187" y="4438"/>
                  <a:pt x="13094" y="4406"/>
                </a:cubicBezTo>
                <a:cubicBezTo>
                  <a:pt x="13000" y="4344"/>
                  <a:pt x="12906" y="4313"/>
                  <a:pt x="12781" y="4313"/>
                </a:cubicBezTo>
                <a:cubicBezTo>
                  <a:pt x="12750" y="4313"/>
                  <a:pt x="12719" y="4313"/>
                  <a:pt x="12687" y="4313"/>
                </a:cubicBezTo>
                <a:cubicBezTo>
                  <a:pt x="12625" y="4313"/>
                  <a:pt x="12531" y="4313"/>
                  <a:pt x="12469" y="4344"/>
                </a:cubicBezTo>
                <a:cubicBezTo>
                  <a:pt x="12437" y="4375"/>
                  <a:pt x="12437" y="4375"/>
                  <a:pt x="12406" y="4375"/>
                </a:cubicBezTo>
                <a:cubicBezTo>
                  <a:pt x="12375" y="4406"/>
                  <a:pt x="12344" y="4406"/>
                  <a:pt x="12312" y="4438"/>
                </a:cubicBezTo>
                <a:cubicBezTo>
                  <a:pt x="12312" y="4438"/>
                  <a:pt x="12281" y="4438"/>
                  <a:pt x="12281" y="4438"/>
                </a:cubicBezTo>
                <a:cubicBezTo>
                  <a:pt x="12250" y="4469"/>
                  <a:pt x="12219" y="4469"/>
                  <a:pt x="12219" y="4531"/>
                </a:cubicBezTo>
                <a:cubicBezTo>
                  <a:pt x="12250" y="4531"/>
                  <a:pt x="12250" y="4531"/>
                  <a:pt x="12250" y="4531"/>
                </a:cubicBezTo>
                <a:cubicBezTo>
                  <a:pt x="12250" y="4531"/>
                  <a:pt x="12281" y="4531"/>
                  <a:pt x="12281" y="4531"/>
                </a:cubicBezTo>
                <a:cubicBezTo>
                  <a:pt x="12312" y="4531"/>
                  <a:pt x="12344" y="4563"/>
                  <a:pt x="12375" y="4563"/>
                </a:cubicBezTo>
                <a:cubicBezTo>
                  <a:pt x="12437" y="4594"/>
                  <a:pt x="12500" y="4625"/>
                  <a:pt x="12562" y="4656"/>
                </a:cubicBezTo>
                <a:cubicBezTo>
                  <a:pt x="12531" y="4656"/>
                  <a:pt x="12531" y="4656"/>
                  <a:pt x="12531" y="4656"/>
                </a:cubicBezTo>
                <a:cubicBezTo>
                  <a:pt x="12531" y="4688"/>
                  <a:pt x="12531" y="4688"/>
                  <a:pt x="12531" y="4719"/>
                </a:cubicBezTo>
                <a:cubicBezTo>
                  <a:pt x="12531" y="4719"/>
                  <a:pt x="12500" y="4688"/>
                  <a:pt x="12500" y="4688"/>
                </a:cubicBezTo>
                <a:cubicBezTo>
                  <a:pt x="12500" y="4688"/>
                  <a:pt x="12500" y="4688"/>
                  <a:pt x="12500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69" y="4688"/>
                  <a:pt x="12469" y="4688"/>
                  <a:pt x="12469" y="4688"/>
                </a:cubicBezTo>
                <a:cubicBezTo>
                  <a:pt x="12406" y="4688"/>
                  <a:pt x="12375" y="4656"/>
                  <a:pt x="12344" y="4656"/>
                </a:cubicBezTo>
                <a:cubicBezTo>
                  <a:pt x="12344" y="4563"/>
                  <a:pt x="12281" y="4563"/>
                  <a:pt x="12219" y="4594"/>
                </a:cubicBezTo>
                <a:cubicBezTo>
                  <a:pt x="12125" y="4594"/>
                  <a:pt x="12000" y="4625"/>
                  <a:pt x="11906" y="4656"/>
                </a:cubicBezTo>
                <a:cubicBezTo>
                  <a:pt x="11906" y="4688"/>
                  <a:pt x="11875" y="4688"/>
                  <a:pt x="11875" y="4688"/>
                </a:cubicBezTo>
                <a:cubicBezTo>
                  <a:pt x="11844" y="4719"/>
                  <a:pt x="11812" y="4750"/>
                  <a:pt x="11781" y="4750"/>
                </a:cubicBezTo>
                <a:cubicBezTo>
                  <a:pt x="11781" y="4750"/>
                  <a:pt x="11750" y="4750"/>
                  <a:pt x="11750" y="4750"/>
                </a:cubicBezTo>
                <a:cubicBezTo>
                  <a:pt x="11687" y="4813"/>
                  <a:pt x="11594" y="4844"/>
                  <a:pt x="11531" y="4875"/>
                </a:cubicBezTo>
                <a:cubicBezTo>
                  <a:pt x="11500" y="4906"/>
                  <a:pt x="11437" y="4906"/>
                  <a:pt x="11437" y="4938"/>
                </a:cubicBezTo>
                <a:cubicBezTo>
                  <a:pt x="11437" y="4969"/>
                  <a:pt x="11437" y="4969"/>
                  <a:pt x="11469" y="4969"/>
                </a:cubicBezTo>
                <a:cubicBezTo>
                  <a:pt x="11469" y="5000"/>
                  <a:pt x="11500" y="5000"/>
                  <a:pt x="11531" y="5000"/>
                </a:cubicBezTo>
                <a:cubicBezTo>
                  <a:pt x="11625" y="5094"/>
                  <a:pt x="11750" y="5188"/>
                  <a:pt x="11875" y="5250"/>
                </a:cubicBezTo>
                <a:cubicBezTo>
                  <a:pt x="11906" y="5281"/>
                  <a:pt x="11937" y="5313"/>
                  <a:pt x="11969" y="5344"/>
                </a:cubicBezTo>
                <a:cubicBezTo>
                  <a:pt x="11969" y="5344"/>
                  <a:pt x="11969" y="5344"/>
                  <a:pt x="11937" y="5344"/>
                </a:cubicBezTo>
                <a:cubicBezTo>
                  <a:pt x="11844" y="5313"/>
                  <a:pt x="11750" y="5250"/>
                  <a:pt x="11656" y="5219"/>
                </a:cubicBezTo>
                <a:cubicBezTo>
                  <a:pt x="11656" y="5188"/>
                  <a:pt x="11625" y="5188"/>
                  <a:pt x="11625" y="5156"/>
                </a:cubicBezTo>
                <a:cubicBezTo>
                  <a:pt x="11625" y="5156"/>
                  <a:pt x="11594" y="5156"/>
                  <a:pt x="11594" y="5125"/>
                </a:cubicBezTo>
                <a:cubicBezTo>
                  <a:pt x="11469" y="5000"/>
                  <a:pt x="11375" y="4969"/>
                  <a:pt x="11219" y="5000"/>
                </a:cubicBezTo>
                <a:cubicBezTo>
                  <a:pt x="11125" y="5000"/>
                  <a:pt x="11094" y="5063"/>
                  <a:pt x="11000" y="5094"/>
                </a:cubicBezTo>
                <a:cubicBezTo>
                  <a:pt x="10969" y="5125"/>
                  <a:pt x="10906" y="5125"/>
                  <a:pt x="10875" y="5188"/>
                </a:cubicBezTo>
                <a:cubicBezTo>
                  <a:pt x="10844" y="5188"/>
                  <a:pt x="10812" y="5188"/>
                  <a:pt x="10781" y="5188"/>
                </a:cubicBezTo>
                <a:cubicBezTo>
                  <a:pt x="10781" y="5188"/>
                  <a:pt x="10750" y="5188"/>
                  <a:pt x="10750" y="5219"/>
                </a:cubicBezTo>
                <a:cubicBezTo>
                  <a:pt x="10750" y="5219"/>
                  <a:pt x="10750" y="5219"/>
                  <a:pt x="10750" y="5219"/>
                </a:cubicBezTo>
                <a:cubicBezTo>
                  <a:pt x="10719" y="5219"/>
                  <a:pt x="10656" y="5281"/>
                  <a:pt x="10625" y="5281"/>
                </a:cubicBezTo>
                <a:cubicBezTo>
                  <a:pt x="10594" y="5313"/>
                  <a:pt x="10594" y="5313"/>
                  <a:pt x="10625" y="5344"/>
                </a:cubicBezTo>
                <a:cubicBezTo>
                  <a:pt x="10625" y="5344"/>
                  <a:pt x="10625" y="5344"/>
                  <a:pt x="10625" y="5344"/>
                </a:cubicBezTo>
                <a:cubicBezTo>
                  <a:pt x="10656" y="5375"/>
                  <a:pt x="10687" y="5406"/>
                  <a:pt x="10719" y="5469"/>
                </a:cubicBezTo>
                <a:cubicBezTo>
                  <a:pt x="10687" y="5469"/>
                  <a:pt x="10656" y="5531"/>
                  <a:pt x="10625" y="5531"/>
                </a:cubicBezTo>
                <a:cubicBezTo>
                  <a:pt x="10469" y="5500"/>
                  <a:pt x="10375" y="5594"/>
                  <a:pt x="10250" y="5656"/>
                </a:cubicBezTo>
                <a:cubicBezTo>
                  <a:pt x="10219" y="5656"/>
                  <a:pt x="10156" y="5688"/>
                  <a:pt x="10125" y="5750"/>
                </a:cubicBezTo>
                <a:cubicBezTo>
                  <a:pt x="10062" y="5875"/>
                  <a:pt x="10000" y="5906"/>
                  <a:pt x="9844" y="5844"/>
                </a:cubicBezTo>
                <a:cubicBezTo>
                  <a:pt x="9906" y="5750"/>
                  <a:pt x="10062" y="5813"/>
                  <a:pt x="10094" y="5688"/>
                </a:cubicBezTo>
                <a:cubicBezTo>
                  <a:pt x="10062" y="5688"/>
                  <a:pt x="10062" y="5656"/>
                  <a:pt x="10062" y="5688"/>
                </a:cubicBezTo>
                <a:cubicBezTo>
                  <a:pt x="9812" y="5813"/>
                  <a:pt x="9562" y="5906"/>
                  <a:pt x="9281" y="6031"/>
                </a:cubicBezTo>
                <a:cubicBezTo>
                  <a:pt x="9281" y="6063"/>
                  <a:pt x="9250" y="6063"/>
                  <a:pt x="9250" y="6094"/>
                </a:cubicBezTo>
                <a:cubicBezTo>
                  <a:pt x="9281" y="6156"/>
                  <a:pt x="9219" y="6156"/>
                  <a:pt x="9187" y="6188"/>
                </a:cubicBezTo>
                <a:cubicBezTo>
                  <a:pt x="9125" y="6219"/>
                  <a:pt x="9062" y="6250"/>
                  <a:pt x="9000" y="6313"/>
                </a:cubicBezTo>
                <a:cubicBezTo>
                  <a:pt x="8937" y="6406"/>
                  <a:pt x="8781" y="6438"/>
                  <a:pt x="8656" y="6406"/>
                </a:cubicBezTo>
                <a:cubicBezTo>
                  <a:pt x="8750" y="6344"/>
                  <a:pt x="8906" y="6344"/>
                  <a:pt x="8969" y="6219"/>
                </a:cubicBezTo>
                <a:cubicBezTo>
                  <a:pt x="8875" y="6188"/>
                  <a:pt x="8812" y="6250"/>
                  <a:pt x="8750" y="6281"/>
                </a:cubicBezTo>
                <a:cubicBezTo>
                  <a:pt x="8656" y="6281"/>
                  <a:pt x="8531" y="6344"/>
                  <a:pt x="8500" y="6438"/>
                </a:cubicBezTo>
                <a:cubicBezTo>
                  <a:pt x="8375" y="6625"/>
                  <a:pt x="8187" y="6781"/>
                  <a:pt x="8000" y="6906"/>
                </a:cubicBezTo>
                <a:cubicBezTo>
                  <a:pt x="7531" y="7219"/>
                  <a:pt x="7125" y="7594"/>
                  <a:pt x="6719" y="8000"/>
                </a:cubicBezTo>
                <a:cubicBezTo>
                  <a:pt x="6250" y="8438"/>
                  <a:pt x="5844" y="8906"/>
                  <a:pt x="5437" y="9406"/>
                </a:cubicBezTo>
                <a:cubicBezTo>
                  <a:pt x="5344" y="9531"/>
                  <a:pt x="5281" y="9625"/>
                  <a:pt x="5094" y="9688"/>
                </a:cubicBezTo>
                <a:cubicBezTo>
                  <a:pt x="4781" y="9813"/>
                  <a:pt x="4500" y="10031"/>
                  <a:pt x="4281" y="10344"/>
                </a:cubicBezTo>
                <a:cubicBezTo>
                  <a:pt x="4125" y="10531"/>
                  <a:pt x="4000" y="10719"/>
                  <a:pt x="3812" y="10875"/>
                </a:cubicBezTo>
                <a:cubicBezTo>
                  <a:pt x="3781" y="10906"/>
                  <a:pt x="3750" y="10938"/>
                  <a:pt x="3719" y="10969"/>
                </a:cubicBezTo>
                <a:cubicBezTo>
                  <a:pt x="3687" y="10969"/>
                  <a:pt x="3687" y="10969"/>
                  <a:pt x="3687" y="11000"/>
                </a:cubicBezTo>
                <a:cubicBezTo>
                  <a:pt x="3625" y="11031"/>
                  <a:pt x="3594" y="11094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62" y="11125"/>
                  <a:pt x="3562" y="11125"/>
                  <a:pt x="3562" y="11125"/>
                </a:cubicBezTo>
                <a:cubicBezTo>
                  <a:pt x="3531" y="11156"/>
                  <a:pt x="3500" y="11188"/>
                  <a:pt x="3469" y="11219"/>
                </a:cubicBezTo>
                <a:cubicBezTo>
                  <a:pt x="3469" y="11219"/>
                  <a:pt x="3469" y="11219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69" y="11250"/>
                </a:cubicBezTo>
                <a:cubicBezTo>
                  <a:pt x="3469" y="11250"/>
                  <a:pt x="3469" y="11250"/>
                  <a:pt x="3437" y="11281"/>
                </a:cubicBezTo>
                <a:cubicBezTo>
                  <a:pt x="3437" y="11281"/>
                  <a:pt x="3437" y="11281"/>
                  <a:pt x="3437" y="11281"/>
                </a:cubicBezTo>
                <a:cubicBezTo>
                  <a:pt x="3437" y="11281"/>
                  <a:pt x="3437" y="11281"/>
                  <a:pt x="3406" y="11313"/>
                </a:cubicBezTo>
                <a:cubicBezTo>
                  <a:pt x="3406" y="11313"/>
                  <a:pt x="3406" y="11313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406" y="11344"/>
                  <a:pt x="3406" y="11344"/>
                  <a:pt x="3406" y="11344"/>
                </a:cubicBezTo>
                <a:cubicBezTo>
                  <a:pt x="3344" y="11406"/>
                  <a:pt x="3312" y="11469"/>
                  <a:pt x="3375" y="11531"/>
                </a:cubicBezTo>
                <a:cubicBezTo>
                  <a:pt x="3437" y="11594"/>
                  <a:pt x="3500" y="11563"/>
                  <a:pt x="3562" y="11531"/>
                </a:cubicBezTo>
                <a:cubicBezTo>
                  <a:pt x="3687" y="11344"/>
                  <a:pt x="3844" y="11219"/>
                  <a:pt x="4000" y="11094"/>
                </a:cubicBezTo>
                <a:cubicBezTo>
                  <a:pt x="4062" y="11063"/>
                  <a:pt x="4125" y="10969"/>
                  <a:pt x="4187" y="11000"/>
                </a:cubicBezTo>
                <a:cubicBezTo>
                  <a:pt x="4250" y="11031"/>
                  <a:pt x="4219" y="11125"/>
                  <a:pt x="4219" y="11188"/>
                </a:cubicBezTo>
                <a:cubicBezTo>
                  <a:pt x="4219" y="11188"/>
                  <a:pt x="4219" y="11188"/>
                  <a:pt x="4219" y="11188"/>
                </a:cubicBezTo>
                <a:cubicBezTo>
                  <a:pt x="4125" y="11250"/>
                  <a:pt x="4094" y="11344"/>
                  <a:pt x="4031" y="11406"/>
                </a:cubicBezTo>
                <a:cubicBezTo>
                  <a:pt x="3781" y="11656"/>
                  <a:pt x="3625" y="11938"/>
                  <a:pt x="3500" y="12250"/>
                </a:cubicBezTo>
                <a:cubicBezTo>
                  <a:pt x="3469" y="12313"/>
                  <a:pt x="3500" y="12375"/>
                  <a:pt x="3562" y="12406"/>
                </a:cubicBezTo>
                <a:cubicBezTo>
                  <a:pt x="3625" y="12438"/>
                  <a:pt x="3687" y="12438"/>
                  <a:pt x="3719" y="12375"/>
                </a:cubicBezTo>
                <a:cubicBezTo>
                  <a:pt x="3781" y="12281"/>
                  <a:pt x="3812" y="12188"/>
                  <a:pt x="3875" y="12094"/>
                </a:cubicBezTo>
                <a:cubicBezTo>
                  <a:pt x="3937" y="12000"/>
                  <a:pt x="3969" y="11906"/>
                  <a:pt x="4125" y="11844"/>
                </a:cubicBezTo>
                <a:cubicBezTo>
                  <a:pt x="4094" y="11906"/>
                  <a:pt x="4062" y="11969"/>
                  <a:pt x="4031" y="12031"/>
                </a:cubicBezTo>
                <a:cubicBezTo>
                  <a:pt x="3937" y="12188"/>
                  <a:pt x="3844" y="12375"/>
                  <a:pt x="3719" y="12531"/>
                </a:cubicBezTo>
                <a:cubicBezTo>
                  <a:pt x="3687" y="12594"/>
                  <a:pt x="3687" y="12688"/>
                  <a:pt x="3750" y="12719"/>
                </a:cubicBezTo>
                <a:cubicBezTo>
                  <a:pt x="3812" y="12781"/>
                  <a:pt x="3875" y="12750"/>
                  <a:pt x="3937" y="12688"/>
                </a:cubicBezTo>
                <a:cubicBezTo>
                  <a:pt x="4000" y="12656"/>
                  <a:pt x="4000" y="12594"/>
                  <a:pt x="4062" y="12594"/>
                </a:cubicBezTo>
                <a:cubicBezTo>
                  <a:pt x="4094" y="12781"/>
                  <a:pt x="4187" y="12813"/>
                  <a:pt x="4344" y="12656"/>
                </a:cubicBezTo>
                <a:cubicBezTo>
                  <a:pt x="4500" y="12531"/>
                  <a:pt x="4625" y="12375"/>
                  <a:pt x="4750" y="12219"/>
                </a:cubicBezTo>
                <a:cubicBezTo>
                  <a:pt x="4781" y="12188"/>
                  <a:pt x="4812" y="12188"/>
                  <a:pt x="4812" y="12125"/>
                </a:cubicBezTo>
                <a:cubicBezTo>
                  <a:pt x="4844" y="12000"/>
                  <a:pt x="4937" y="11875"/>
                  <a:pt x="5000" y="11781"/>
                </a:cubicBezTo>
                <a:cubicBezTo>
                  <a:pt x="5031" y="11750"/>
                  <a:pt x="5031" y="11719"/>
                  <a:pt x="5031" y="11688"/>
                </a:cubicBezTo>
                <a:cubicBezTo>
                  <a:pt x="5031" y="11656"/>
                  <a:pt x="5062" y="11625"/>
                  <a:pt x="5062" y="11625"/>
                </a:cubicBezTo>
                <a:cubicBezTo>
                  <a:pt x="5156" y="11594"/>
                  <a:pt x="5219" y="11563"/>
                  <a:pt x="5250" y="11500"/>
                </a:cubicBezTo>
                <a:cubicBezTo>
                  <a:pt x="5281" y="11500"/>
                  <a:pt x="5281" y="11469"/>
                  <a:pt x="5281" y="11469"/>
                </a:cubicBezTo>
                <a:cubicBezTo>
                  <a:pt x="5312" y="11438"/>
                  <a:pt x="5344" y="11438"/>
                  <a:pt x="5344" y="11406"/>
                </a:cubicBezTo>
                <a:cubicBezTo>
                  <a:pt x="5437" y="11313"/>
                  <a:pt x="5531" y="11188"/>
                  <a:pt x="5656" y="11063"/>
                </a:cubicBezTo>
                <a:cubicBezTo>
                  <a:pt x="5656" y="11156"/>
                  <a:pt x="5687" y="11125"/>
                  <a:pt x="5750" y="11125"/>
                </a:cubicBezTo>
                <a:cubicBezTo>
                  <a:pt x="5781" y="11094"/>
                  <a:pt x="5812" y="11094"/>
                  <a:pt x="5844" y="11125"/>
                </a:cubicBezTo>
                <a:cubicBezTo>
                  <a:pt x="5844" y="11125"/>
                  <a:pt x="5844" y="11125"/>
                  <a:pt x="5844" y="11125"/>
                </a:cubicBezTo>
                <a:cubicBezTo>
                  <a:pt x="5750" y="11188"/>
                  <a:pt x="5719" y="11250"/>
                  <a:pt x="5656" y="11313"/>
                </a:cubicBezTo>
                <a:cubicBezTo>
                  <a:pt x="5625" y="11375"/>
                  <a:pt x="5594" y="11406"/>
                  <a:pt x="5594" y="11500"/>
                </a:cubicBezTo>
                <a:cubicBezTo>
                  <a:pt x="5594" y="11719"/>
                  <a:pt x="5656" y="11938"/>
                  <a:pt x="5844" y="12000"/>
                </a:cubicBezTo>
                <a:cubicBezTo>
                  <a:pt x="5906" y="12031"/>
                  <a:pt x="5969" y="12063"/>
                  <a:pt x="6031" y="12000"/>
                </a:cubicBezTo>
                <a:cubicBezTo>
                  <a:pt x="6062" y="12000"/>
                  <a:pt x="6062" y="11969"/>
                  <a:pt x="6062" y="11969"/>
                </a:cubicBezTo>
                <a:cubicBezTo>
                  <a:pt x="6062" y="11969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38"/>
                  <a:pt x="6031" y="11938"/>
                </a:cubicBezTo>
                <a:cubicBezTo>
                  <a:pt x="6031" y="11938"/>
                  <a:pt x="6031" y="11906"/>
                  <a:pt x="6031" y="11906"/>
                </a:cubicBezTo>
                <a:cubicBezTo>
                  <a:pt x="6000" y="11875"/>
                  <a:pt x="6000" y="11844"/>
                  <a:pt x="5969" y="11844"/>
                </a:cubicBezTo>
                <a:cubicBezTo>
                  <a:pt x="5969" y="11813"/>
                  <a:pt x="5969" y="11813"/>
                  <a:pt x="5969" y="11781"/>
                </a:cubicBezTo>
                <a:cubicBezTo>
                  <a:pt x="5969" y="11563"/>
                  <a:pt x="5937" y="11344"/>
                  <a:pt x="6062" y="11125"/>
                </a:cubicBezTo>
                <a:cubicBezTo>
                  <a:pt x="6062" y="11063"/>
                  <a:pt x="6125" y="11000"/>
                  <a:pt x="6094" y="10938"/>
                </a:cubicBezTo>
                <a:cubicBezTo>
                  <a:pt x="6094" y="10938"/>
                  <a:pt x="6062" y="10938"/>
                  <a:pt x="6062" y="10969"/>
                </a:cubicBezTo>
                <a:cubicBezTo>
                  <a:pt x="6062" y="11000"/>
                  <a:pt x="6031" y="11000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69"/>
                  <a:pt x="6000" y="10969"/>
                  <a:pt x="6000" y="10969"/>
                </a:cubicBezTo>
                <a:cubicBezTo>
                  <a:pt x="6000" y="10906"/>
                  <a:pt x="5969" y="10844"/>
                  <a:pt x="5969" y="10813"/>
                </a:cubicBezTo>
                <a:cubicBezTo>
                  <a:pt x="5969" y="10781"/>
                  <a:pt x="5969" y="10781"/>
                  <a:pt x="5969" y="10781"/>
                </a:cubicBezTo>
                <a:cubicBezTo>
                  <a:pt x="5969" y="10781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50"/>
                </a:cubicBezTo>
                <a:cubicBezTo>
                  <a:pt x="5969" y="10750"/>
                  <a:pt x="5969" y="10750"/>
                  <a:pt x="5969" y="10719"/>
                </a:cubicBezTo>
                <a:cubicBezTo>
                  <a:pt x="5969" y="10719"/>
                  <a:pt x="5969" y="10719"/>
                  <a:pt x="5969" y="10719"/>
                </a:cubicBezTo>
                <a:cubicBezTo>
                  <a:pt x="5969" y="10688"/>
                  <a:pt x="5937" y="10656"/>
                  <a:pt x="5937" y="10625"/>
                </a:cubicBezTo>
                <a:cubicBezTo>
                  <a:pt x="5937" y="10625"/>
                  <a:pt x="5937" y="10594"/>
                  <a:pt x="5937" y="10594"/>
                </a:cubicBezTo>
                <a:cubicBezTo>
                  <a:pt x="5937" y="10594"/>
                  <a:pt x="5937" y="10563"/>
                  <a:pt x="5969" y="10563"/>
                </a:cubicBezTo>
                <a:cubicBezTo>
                  <a:pt x="5969" y="10531"/>
                  <a:pt x="5937" y="10469"/>
                  <a:pt x="5906" y="10469"/>
                </a:cubicBezTo>
                <a:cubicBezTo>
                  <a:pt x="5844" y="10438"/>
                  <a:pt x="5844" y="10469"/>
                  <a:pt x="5812" y="10500"/>
                </a:cubicBezTo>
                <a:cubicBezTo>
                  <a:pt x="5719" y="10594"/>
                  <a:pt x="5625" y="10656"/>
                  <a:pt x="5562" y="10750"/>
                </a:cubicBezTo>
                <a:cubicBezTo>
                  <a:pt x="5562" y="10781"/>
                  <a:pt x="5531" y="10844"/>
                  <a:pt x="5469" y="10844"/>
                </a:cubicBezTo>
                <a:cubicBezTo>
                  <a:pt x="5500" y="10750"/>
                  <a:pt x="5500" y="10656"/>
                  <a:pt x="5562" y="10594"/>
                </a:cubicBezTo>
                <a:cubicBezTo>
                  <a:pt x="5687" y="10500"/>
                  <a:pt x="5719" y="10313"/>
                  <a:pt x="5906" y="10313"/>
                </a:cubicBezTo>
                <a:cubicBezTo>
                  <a:pt x="5937" y="10313"/>
                  <a:pt x="5969" y="10313"/>
                  <a:pt x="5969" y="10281"/>
                </a:cubicBezTo>
                <a:cubicBezTo>
                  <a:pt x="6125" y="10063"/>
                  <a:pt x="6406" y="9969"/>
                  <a:pt x="6562" y="9719"/>
                </a:cubicBezTo>
                <a:cubicBezTo>
                  <a:pt x="6594" y="9625"/>
                  <a:pt x="6719" y="9625"/>
                  <a:pt x="6812" y="9594"/>
                </a:cubicBezTo>
                <a:cubicBezTo>
                  <a:pt x="6875" y="9531"/>
                  <a:pt x="7000" y="9531"/>
                  <a:pt x="7000" y="9406"/>
                </a:cubicBezTo>
                <a:cubicBezTo>
                  <a:pt x="7000" y="9344"/>
                  <a:pt x="7031" y="9250"/>
                  <a:pt x="7094" y="9219"/>
                </a:cubicBezTo>
                <a:cubicBezTo>
                  <a:pt x="7219" y="9156"/>
                  <a:pt x="7344" y="9094"/>
                  <a:pt x="7437" y="9000"/>
                </a:cubicBezTo>
                <a:cubicBezTo>
                  <a:pt x="7562" y="8906"/>
                  <a:pt x="7687" y="8844"/>
                  <a:pt x="7781" y="8750"/>
                </a:cubicBezTo>
                <a:cubicBezTo>
                  <a:pt x="7875" y="8688"/>
                  <a:pt x="8031" y="8688"/>
                  <a:pt x="8094" y="8531"/>
                </a:cubicBezTo>
                <a:cubicBezTo>
                  <a:pt x="8094" y="8531"/>
                  <a:pt x="8125" y="8500"/>
                  <a:pt x="8156" y="8500"/>
                </a:cubicBezTo>
                <a:cubicBezTo>
                  <a:pt x="8187" y="8500"/>
                  <a:pt x="8219" y="8469"/>
                  <a:pt x="8250" y="8438"/>
                </a:cubicBezTo>
                <a:cubicBezTo>
                  <a:pt x="8344" y="8344"/>
                  <a:pt x="8406" y="8281"/>
                  <a:pt x="8562" y="8313"/>
                </a:cubicBezTo>
                <a:cubicBezTo>
                  <a:pt x="8594" y="8313"/>
                  <a:pt x="8625" y="8313"/>
                  <a:pt x="8625" y="8281"/>
                </a:cubicBezTo>
                <a:cubicBezTo>
                  <a:pt x="8812" y="8188"/>
                  <a:pt x="8937" y="8063"/>
                  <a:pt x="9062" y="7938"/>
                </a:cubicBezTo>
                <a:cubicBezTo>
                  <a:pt x="9219" y="7750"/>
                  <a:pt x="9406" y="7594"/>
                  <a:pt x="9562" y="7406"/>
                </a:cubicBezTo>
                <a:cubicBezTo>
                  <a:pt x="9562" y="7344"/>
                  <a:pt x="9625" y="7375"/>
                  <a:pt x="9656" y="7313"/>
                </a:cubicBezTo>
                <a:cubicBezTo>
                  <a:pt x="9812" y="7125"/>
                  <a:pt x="10062" y="7156"/>
                  <a:pt x="10250" y="7094"/>
                </a:cubicBezTo>
                <a:cubicBezTo>
                  <a:pt x="10281" y="7094"/>
                  <a:pt x="10344" y="7063"/>
                  <a:pt x="10344" y="7125"/>
                </a:cubicBezTo>
                <a:cubicBezTo>
                  <a:pt x="10344" y="7156"/>
                  <a:pt x="10312" y="7188"/>
                  <a:pt x="10281" y="7219"/>
                </a:cubicBezTo>
                <a:cubicBezTo>
                  <a:pt x="10250" y="7219"/>
                  <a:pt x="10187" y="7219"/>
                  <a:pt x="10187" y="7281"/>
                </a:cubicBezTo>
                <a:cubicBezTo>
                  <a:pt x="10281" y="7313"/>
                  <a:pt x="10375" y="7281"/>
                  <a:pt x="10469" y="7250"/>
                </a:cubicBezTo>
                <a:cubicBezTo>
                  <a:pt x="10625" y="7219"/>
                  <a:pt x="10781" y="7250"/>
                  <a:pt x="10937" y="7188"/>
                </a:cubicBezTo>
                <a:cubicBezTo>
                  <a:pt x="11094" y="7156"/>
                  <a:pt x="11250" y="7063"/>
                  <a:pt x="11437" y="6969"/>
                </a:cubicBezTo>
                <a:cubicBezTo>
                  <a:pt x="11437" y="6969"/>
                  <a:pt x="11437" y="6969"/>
                  <a:pt x="11469" y="6969"/>
                </a:cubicBezTo>
                <a:cubicBezTo>
                  <a:pt x="11531" y="6906"/>
                  <a:pt x="11625" y="6844"/>
                  <a:pt x="11719" y="6875"/>
                </a:cubicBezTo>
                <a:cubicBezTo>
                  <a:pt x="11719" y="6906"/>
                  <a:pt x="11687" y="6906"/>
                  <a:pt x="11687" y="6938"/>
                </a:cubicBezTo>
                <a:cubicBezTo>
                  <a:pt x="11687" y="6938"/>
                  <a:pt x="11687" y="6938"/>
                  <a:pt x="11687" y="6938"/>
                </a:cubicBezTo>
                <a:cubicBezTo>
                  <a:pt x="11719" y="6938"/>
                  <a:pt x="11750" y="6969"/>
                  <a:pt x="11781" y="6938"/>
                </a:cubicBezTo>
                <a:cubicBezTo>
                  <a:pt x="11812" y="6938"/>
                  <a:pt x="11812" y="6906"/>
                  <a:pt x="11844" y="6875"/>
                </a:cubicBezTo>
                <a:cubicBezTo>
                  <a:pt x="11844" y="6875"/>
                  <a:pt x="11844" y="6875"/>
                  <a:pt x="11844" y="6875"/>
                </a:cubicBezTo>
                <a:cubicBezTo>
                  <a:pt x="11875" y="6875"/>
                  <a:pt x="11906" y="6875"/>
                  <a:pt x="11906" y="6844"/>
                </a:cubicBezTo>
                <a:cubicBezTo>
                  <a:pt x="11906" y="6844"/>
                  <a:pt x="11906" y="6844"/>
                  <a:pt x="11906" y="6813"/>
                </a:cubicBezTo>
                <a:cubicBezTo>
                  <a:pt x="11937" y="6781"/>
                  <a:pt x="11937" y="6844"/>
                  <a:pt x="11969" y="6875"/>
                </a:cubicBezTo>
                <a:cubicBezTo>
                  <a:pt x="12000" y="6875"/>
                  <a:pt x="12000" y="6875"/>
                  <a:pt x="12000" y="6875"/>
                </a:cubicBezTo>
                <a:cubicBezTo>
                  <a:pt x="12031" y="6813"/>
                  <a:pt x="12000" y="6781"/>
                  <a:pt x="12062" y="6750"/>
                </a:cubicBezTo>
                <a:cubicBezTo>
                  <a:pt x="12156" y="6688"/>
                  <a:pt x="12281" y="6625"/>
                  <a:pt x="12406" y="6625"/>
                </a:cubicBezTo>
                <a:cubicBezTo>
                  <a:pt x="12500" y="6656"/>
                  <a:pt x="12594" y="6625"/>
                  <a:pt x="12656" y="6625"/>
                </a:cubicBezTo>
                <a:cubicBezTo>
                  <a:pt x="12687" y="6625"/>
                  <a:pt x="12687" y="6625"/>
                  <a:pt x="12719" y="6625"/>
                </a:cubicBezTo>
                <a:cubicBezTo>
                  <a:pt x="12750" y="6625"/>
                  <a:pt x="12781" y="6625"/>
                  <a:pt x="12812" y="6625"/>
                </a:cubicBezTo>
                <a:cubicBezTo>
                  <a:pt x="12875" y="6625"/>
                  <a:pt x="12937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00" y="6625"/>
                  <a:pt x="13000" y="6625"/>
                  <a:pt x="13000" y="6625"/>
                </a:cubicBezTo>
                <a:cubicBezTo>
                  <a:pt x="13094" y="6594"/>
                  <a:pt x="13219" y="6594"/>
                  <a:pt x="13312" y="6594"/>
                </a:cubicBezTo>
                <a:cubicBezTo>
                  <a:pt x="13312" y="6625"/>
                  <a:pt x="13344" y="6688"/>
                  <a:pt x="13281" y="6688"/>
                </a:cubicBezTo>
                <a:cubicBezTo>
                  <a:pt x="13250" y="6688"/>
                  <a:pt x="13219" y="6688"/>
                  <a:pt x="13187" y="6688"/>
                </a:cubicBezTo>
                <a:cubicBezTo>
                  <a:pt x="12969" y="6688"/>
                  <a:pt x="12781" y="6781"/>
                  <a:pt x="12594" y="6781"/>
                </a:cubicBezTo>
                <a:cubicBezTo>
                  <a:pt x="12562" y="6781"/>
                  <a:pt x="12562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31" y="6781"/>
                  <a:pt x="12531" y="6781"/>
                  <a:pt x="12531" y="6781"/>
                </a:cubicBezTo>
                <a:cubicBezTo>
                  <a:pt x="12500" y="6781"/>
                  <a:pt x="12500" y="6781"/>
                  <a:pt x="12500" y="6781"/>
                </a:cubicBezTo>
                <a:cubicBezTo>
                  <a:pt x="12469" y="6781"/>
                  <a:pt x="12437" y="6813"/>
                  <a:pt x="12437" y="6844"/>
                </a:cubicBezTo>
                <a:cubicBezTo>
                  <a:pt x="12437" y="6844"/>
                  <a:pt x="12437" y="6844"/>
                  <a:pt x="12437" y="6844"/>
                </a:cubicBezTo>
                <a:cubicBezTo>
                  <a:pt x="12437" y="6875"/>
                  <a:pt x="12437" y="6875"/>
                  <a:pt x="12437" y="6875"/>
                </a:cubicBezTo>
                <a:cubicBezTo>
                  <a:pt x="12406" y="6844"/>
                  <a:pt x="12406" y="6813"/>
                  <a:pt x="12344" y="6813"/>
                </a:cubicBezTo>
                <a:cubicBezTo>
                  <a:pt x="12344" y="6813"/>
                  <a:pt x="12344" y="6813"/>
                  <a:pt x="12312" y="6813"/>
                </a:cubicBezTo>
                <a:cubicBezTo>
                  <a:pt x="12250" y="6844"/>
                  <a:pt x="12312" y="6906"/>
                  <a:pt x="12312" y="6938"/>
                </a:cubicBezTo>
                <a:cubicBezTo>
                  <a:pt x="12375" y="7063"/>
                  <a:pt x="12406" y="7219"/>
                  <a:pt x="12469" y="7313"/>
                </a:cubicBezTo>
                <a:cubicBezTo>
                  <a:pt x="12625" y="7625"/>
                  <a:pt x="12781" y="7906"/>
                  <a:pt x="12937" y="8219"/>
                </a:cubicBezTo>
                <a:cubicBezTo>
                  <a:pt x="13031" y="8406"/>
                  <a:pt x="13156" y="8594"/>
                  <a:pt x="13250" y="8781"/>
                </a:cubicBezTo>
                <a:cubicBezTo>
                  <a:pt x="13281" y="8844"/>
                  <a:pt x="13312" y="8906"/>
                  <a:pt x="13344" y="8969"/>
                </a:cubicBezTo>
                <a:cubicBezTo>
                  <a:pt x="13344" y="8969"/>
                  <a:pt x="13344" y="8969"/>
                  <a:pt x="13344" y="8969"/>
                </a:cubicBezTo>
                <a:cubicBezTo>
                  <a:pt x="13344" y="9000"/>
                  <a:pt x="13344" y="9031"/>
                  <a:pt x="13344" y="9031"/>
                </a:cubicBezTo>
                <a:cubicBezTo>
                  <a:pt x="13156" y="8719"/>
                  <a:pt x="12969" y="8406"/>
                  <a:pt x="12781" y="8094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81" y="8063"/>
                  <a:pt x="12781" y="8063"/>
                  <a:pt x="12781" y="8063"/>
                </a:cubicBezTo>
                <a:cubicBezTo>
                  <a:pt x="12750" y="8063"/>
                  <a:pt x="12750" y="8031"/>
                  <a:pt x="12750" y="8031"/>
                </a:cubicBezTo>
                <a:cubicBezTo>
                  <a:pt x="12750" y="8031"/>
                  <a:pt x="12750" y="8031"/>
                  <a:pt x="12750" y="8031"/>
                </a:cubicBezTo>
                <a:cubicBezTo>
                  <a:pt x="12750" y="8000"/>
                  <a:pt x="12719" y="8000"/>
                  <a:pt x="12719" y="8000"/>
                </a:cubicBezTo>
                <a:cubicBezTo>
                  <a:pt x="12719" y="8000"/>
                  <a:pt x="12719" y="8000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719" y="7969"/>
                </a:cubicBezTo>
                <a:cubicBezTo>
                  <a:pt x="12719" y="7969"/>
                  <a:pt x="12719" y="7969"/>
                  <a:pt x="12687" y="7969"/>
                </a:cubicBezTo>
                <a:cubicBezTo>
                  <a:pt x="12687" y="7938"/>
                  <a:pt x="12687" y="7938"/>
                  <a:pt x="12656" y="7938"/>
                </a:cubicBezTo>
                <a:cubicBezTo>
                  <a:pt x="12656" y="7938"/>
                  <a:pt x="12656" y="7906"/>
                  <a:pt x="12687" y="7906"/>
                </a:cubicBezTo>
                <a:cubicBezTo>
                  <a:pt x="12687" y="7906"/>
                  <a:pt x="12687" y="7906"/>
                  <a:pt x="12687" y="7906"/>
                </a:cubicBezTo>
                <a:cubicBezTo>
                  <a:pt x="12656" y="7906"/>
                  <a:pt x="12656" y="7906"/>
                  <a:pt x="12656" y="7906"/>
                </a:cubicBezTo>
                <a:cubicBezTo>
                  <a:pt x="12656" y="7906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656" y="7875"/>
                  <a:pt x="12656" y="7875"/>
                  <a:pt x="12656" y="7875"/>
                </a:cubicBezTo>
                <a:cubicBezTo>
                  <a:pt x="12562" y="7656"/>
                  <a:pt x="12469" y="7438"/>
                  <a:pt x="12375" y="7250"/>
                </a:cubicBezTo>
                <a:cubicBezTo>
                  <a:pt x="12375" y="7375"/>
                  <a:pt x="12375" y="7531"/>
                  <a:pt x="12375" y="7656"/>
                </a:cubicBezTo>
                <a:cubicBezTo>
                  <a:pt x="12375" y="7656"/>
                  <a:pt x="12375" y="7656"/>
                  <a:pt x="12375" y="7688"/>
                </a:cubicBezTo>
                <a:cubicBezTo>
                  <a:pt x="12406" y="7688"/>
                  <a:pt x="12406" y="7688"/>
                  <a:pt x="12406" y="7719"/>
                </a:cubicBezTo>
                <a:cubicBezTo>
                  <a:pt x="12406" y="7719"/>
                  <a:pt x="12406" y="7719"/>
                  <a:pt x="12406" y="7719"/>
                </a:cubicBezTo>
                <a:cubicBezTo>
                  <a:pt x="12437" y="7781"/>
                  <a:pt x="12437" y="7813"/>
                  <a:pt x="12469" y="7844"/>
                </a:cubicBezTo>
                <a:cubicBezTo>
                  <a:pt x="12500" y="7906"/>
                  <a:pt x="12531" y="7969"/>
                  <a:pt x="12562" y="8031"/>
                </a:cubicBezTo>
                <a:cubicBezTo>
                  <a:pt x="12594" y="8094"/>
                  <a:pt x="12594" y="8125"/>
                  <a:pt x="12625" y="8156"/>
                </a:cubicBezTo>
                <a:cubicBezTo>
                  <a:pt x="12625" y="8188"/>
                  <a:pt x="12656" y="8219"/>
                  <a:pt x="12687" y="8250"/>
                </a:cubicBezTo>
                <a:cubicBezTo>
                  <a:pt x="12781" y="8438"/>
                  <a:pt x="12875" y="8625"/>
                  <a:pt x="12969" y="8813"/>
                </a:cubicBezTo>
                <a:cubicBezTo>
                  <a:pt x="13062" y="9000"/>
                  <a:pt x="13156" y="9188"/>
                  <a:pt x="13250" y="9375"/>
                </a:cubicBezTo>
                <a:cubicBezTo>
                  <a:pt x="13250" y="9375"/>
                  <a:pt x="13250" y="9375"/>
                  <a:pt x="13250" y="9375"/>
                </a:cubicBezTo>
                <a:cubicBezTo>
                  <a:pt x="13250" y="9375"/>
                  <a:pt x="13250" y="9406"/>
                  <a:pt x="13250" y="9406"/>
                </a:cubicBezTo>
                <a:cubicBezTo>
                  <a:pt x="13187" y="9313"/>
                  <a:pt x="13125" y="9250"/>
                  <a:pt x="13062" y="9156"/>
                </a:cubicBezTo>
                <a:cubicBezTo>
                  <a:pt x="13031" y="9031"/>
                  <a:pt x="12937" y="8938"/>
                  <a:pt x="12875" y="8844"/>
                </a:cubicBezTo>
                <a:cubicBezTo>
                  <a:pt x="12875" y="8844"/>
                  <a:pt x="12875" y="8844"/>
                  <a:pt x="12875" y="8844"/>
                </a:cubicBezTo>
                <a:cubicBezTo>
                  <a:pt x="12844" y="8813"/>
                  <a:pt x="12812" y="8813"/>
                  <a:pt x="12781" y="8813"/>
                </a:cubicBezTo>
                <a:cubicBezTo>
                  <a:pt x="12750" y="8781"/>
                  <a:pt x="12719" y="8750"/>
                  <a:pt x="12719" y="8719"/>
                </a:cubicBezTo>
                <a:cubicBezTo>
                  <a:pt x="12687" y="8688"/>
                  <a:pt x="12656" y="8656"/>
                  <a:pt x="12656" y="8625"/>
                </a:cubicBezTo>
                <a:cubicBezTo>
                  <a:pt x="12656" y="8625"/>
                  <a:pt x="12656" y="8625"/>
                  <a:pt x="12656" y="8625"/>
                </a:cubicBezTo>
                <a:cubicBezTo>
                  <a:pt x="12594" y="8500"/>
                  <a:pt x="12531" y="8406"/>
                  <a:pt x="12500" y="8313"/>
                </a:cubicBezTo>
                <a:cubicBezTo>
                  <a:pt x="12469" y="8219"/>
                  <a:pt x="12437" y="8156"/>
                  <a:pt x="12406" y="8063"/>
                </a:cubicBezTo>
                <a:cubicBezTo>
                  <a:pt x="12375" y="8031"/>
                  <a:pt x="12375" y="7969"/>
                  <a:pt x="12375" y="7938"/>
                </a:cubicBezTo>
                <a:cubicBezTo>
                  <a:pt x="12344" y="7969"/>
                  <a:pt x="12375" y="8000"/>
                  <a:pt x="12375" y="8031"/>
                </a:cubicBezTo>
                <a:cubicBezTo>
                  <a:pt x="12375" y="8219"/>
                  <a:pt x="12437" y="8375"/>
                  <a:pt x="12500" y="8563"/>
                </a:cubicBezTo>
                <a:cubicBezTo>
                  <a:pt x="12594" y="8844"/>
                  <a:pt x="12719" y="9125"/>
                  <a:pt x="12906" y="9375"/>
                </a:cubicBezTo>
                <a:cubicBezTo>
                  <a:pt x="12906" y="9406"/>
                  <a:pt x="12937" y="9438"/>
                  <a:pt x="12969" y="9469"/>
                </a:cubicBezTo>
                <a:cubicBezTo>
                  <a:pt x="13125" y="9719"/>
                  <a:pt x="13312" y="9938"/>
                  <a:pt x="13500" y="10188"/>
                </a:cubicBezTo>
                <a:cubicBezTo>
                  <a:pt x="13469" y="10219"/>
                  <a:pt x="13469" y="10188"/>
                  <a:pt x="13437" y="10188"/>
                </a:cubicBezTo>
                <a:cubicBezTo>
                  <a:pt x="13437" y="10188"/>
                  <a:pt x="13437" y="10188"/>
                  <a:pt x="13437" y="10188"/>
                </a:cubicBezTo>
                <a:cubicBezTo>
                  <a:pt x="13375" y="10125"/>
                  <a:pt x="13312" y="10094"/>
                  <a:pt x="13219" y="10063"/>
                </a:cubicBezTo>
                <a:cubicBezTo>
                  <a:pt x="12906" y="9875"/>
                  <a:pt x="12687" y="9656"/>
                  <a:pt x="12625" y="9281"/>
                </a:cubicBezTo>
                <a:cubicBezTo>
                  <a:pt x="12625" y="9156"/>
                  <a:pt x="12594" y="9063"/>
                  <a:pt x="12562" y="8906"/>
                </a:cubicBezTo>
                <a:cubicBezTo>
                  <a:pt x="12531" y="9000"/>
                  <a:pt x="12531" y="9031"/>
                  <a:pt x="12562" y="9094"/>
                </a:cubicBezTo>
                <a:cubicBezTo>
                  <a:pt x="12562" y="9125"/>
                  <a:pt x="12562" y="9156"/>
                  <a:pt x="12562" y="9188"/>
                </a:cubicBezTo>
                <a:cubicBezTo>
                  <a:pt x="12594" y="9375"/>
                  <a:pt x="12594" y="9563"/>
                  <a:pt x="12594" y="9750"/>
                </a:cubicBezTo>
                <a:cubicBezTo>
                  <a:pt x="12594" y="9844"/>
                  <a:pt x="12594" y="9906"/>
                  <a:pt x="12594" y="9969"/>
                </a:cubicBezTo>
                <a:cubicBezTo>
                  <a:pt x="12594" y="10000"/>
                  <a:pt x="12594" y="10031"/>
                  <a:pt x="12594" y="10063"/>
                </a:cubicBezTo>
                <a:cubicBezTo>
                  <a:pt x="12594" y="10188"/>
                  <a:pt x="12594" y="10313"/>
                  <a:pt x="12687" y="10438"/>
                </a:cubicBezTo>
                <a:cubicBezTo>
                  <a:pt x="12687" y="10438"/>
                  <a:pt x="12719" y="10438"/>
                  <a:pt x="12719" y="10469"/>
                </a:cubicBezTo>
                <a:cubicBezTo>
                  <a:pt x="12812" y="10563"/>
                  <a:pt x="12906" y="10656"/>
                  <a:pt x="13000" y="10719"/>
                </a:cubicBezTo>
                <a:cubicBezTo>
                  <a:pt x="13031" y="10781"/>
                  <a:pt x="13062" y="10781"/>
                  <a:pt x="13094" y="10813"/>
                </a:cubicBezTo>
                <a:cubicBezTo>
                  <a:pt x="13125" y="10844"/>
                  <a:pt x="13125" y="10844"/>
                  <a:pt x="13125" y="10875"/>
                </a:cubicBezTo>
                <a:cubicBezTo>
                  <a:pt x="13062" y="10844"/>
                  <a:pt x="13000" y="10781"/>
                  <a:pt x="12937" y="10750"/>
                </a:cubicBezTo>
                <a:cubicBezTo>
                  <a:pt x="12937" y="10750"/>
                  <a:pt x="12906" y="10719"/>
                  <a:pt x="12906" y="10719"/>
                </a:cubicBezTo>
                <a:cubicBezTo>
                  <a:pt x="12844" y="10656"/>
                  <a:pt x="12781" y="10625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94"/>
                  <a:pt x="12750" y="10594"/>
                  <a:pt x="12750" y="10594"/>
                </a:cubicBezTo>
                <a:cubicBezTo>
                  <a:pt x="12750" y="10563"/>
                  <a:pt x="12719" y="10563"/>
                  <a:pt x="12719" y="10563"/>
                </a:cubicBezTo>
                <a:cubicBezTo>
                  <a:pt x="12719" y="10563"/>
                  <a:pt x="12719" y="10563"/>
                  <a:pt x="12719" y="10563"/>
                </a:cubicBezTo>
                <a:cubicBezTo>
                  <a:pt x="12719" y="10594"/>
                  <a:pt x="12719" y="10594"/>
                  <a:pt x="12750" y="10594"/>
                </a:cubicBezTo>
                <a:cubicBezTo>
                  <a:pt x="12719" y="10625"/>
                  <a:pt x="12750" y="10625"/>
                  <a:pt x="12750" y="10625"/>
                </a:cubicBezTo>
                <a:cubicBezTo>
                  <a:pt x="12750" y="10719"/>
                  <a:pt x="12812" y="10750"/>
                  <a:pt x="12875" y="10781"/>
                </a:cubicBezTo>
                <a:cubicBezTo>
                  <a:pt x="12875" y="10813"/>
                  <a:pt x="12875" y="10813"/>
                  <a:pt x="12906" y="10813"/>
                </a:cubicBezTo>
                <a:cubicBezTo>
                  <a:pt x="12906" y="10813"/>
                  <a:pt x="12906" y="10813"/>
                  <a:pt x="12906" y="10813"/>
                </a:cubicBezTo>
                <a:cubicBezTo>
                  <a:pt x="13000" y="10906"/>
                  <a:pt x="13094" y="10938"/>
                  <a:pt x="13187" y="11031"/>
                </a:cubicBezTo>
                <a:cubicBezTo>
                  <a:pt x="13219" y="11063"/>
                  <a:pt x="13250" y="11094"/>
                  <a:pt x="13250" y="11125"/>
                </a:cubicBezTo>
                <a:cubicBezTo>
                  <a:pt x="13250" y="11125"/>
                  <a:pt x="13250" y="11125"/>
                  <a:pt x="13250" y="11125"/>
                </a:cubicBezTo>
                <a:cubicBezTo>
                  <a:pt x="13187" y="11125"/>
                  <a:pt x="13156" y="11094"/>
                  <a:pt x="13125" y="11063"/>
                </a:cubicBezTo>
                <a:cubicBezTo>
                  <a:pt x="13094" y="11063"/>
                  <a:pt x="13094" y="11031"/>
                  <a:pt x="13062" y="11031"/>
                </a:cubicBezTo>
                <a:cubicBezTo>
                  <a:pt x="13000" y="11000"/>
                  <a:pt x="12937" y="10938"/>
                  <a:pt x="12875" y="10938"/>
                </a:cubicBezTo>
                <a:cubicBezTo>
                  <a:pt x="12812" y="10906"/>
                  <a:pt x="12781" y="10813"/>
                  <a:pt x="12719" y="10813"/>
                </a:cubicBezTo>
                <a:cubicBezTo>
                  <a:pt x="12719" y="10875"/>
                  <a:pt x="12781" y="10906"/>
                  <a:pt x="12812" y="10969"/>
                </a:cubicBezTo>
                <a:cubicBezTo>
                  <a:pt x="12812" y="10969"/>
                  <a:pt x="12844" y="10969"/>
                  <a:pt x="12844" y="10969"/>
                </a:cubicBezTo>
                <a:cubicBezTo>
                  <a:pt x="12844" y="11031"/>
                  <a:pt x="12844" y="11031"/>
                  <a:pt x="12781" y="11031"/>
                </a:cubicBezTo>
                <a:cubicBezTo>
                  <a:pt x="12781" y="11031"/>
                  <a:pt x="12781" y="11031"/>
                  <a:pt x="12750" y="11031"/>
                </a:cubicBezTo>
                <a:cubicBezTo>
                  <a:pt x="12687" y="11000"/>
                  <a:pt x="12687" y="11031"/>
                  <a:pt x="12719" y="11156"/>
                </a:cubicBezTo>
                <a:cubicBezTo>
                  <a:pt x="12719" y="11156"/>
                  <a:pt x="12719" y="11125"/>
                  <a:pt x="12719" y="11125"/>
                </a:cubicBezTo>
                <a:cubicBezTo>
                  <a:pt x="12750" y="11094"/>
                  <a:pt x="12750" y="11094"/>
                  <a:pt x="12781" y="11094"/>
                </a:cubicBezTo>
                <a:cubicBezTo>
                  <a:pt x="12812" y="11094"/>
                  <a:pt x="12812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44" y="11094"/>
                  <a:pt x="12844" y="11094"/>
                </a:cubicBezTo>
                <a:cubicBezTo>
                  <a:pt x="12844" y="11094"/>
                  <a:pt x="12875" y="11094"/>
                  <a:pt x="12875" y="11094"/>
                </a:cubicBezTo>
                <a:cubicBezTo>
                  <a:pt x="12812" y="11219"/>
                  <a:pt x="12937" y="11281"/>
                  <a:pt x="12969" y="11344"/>
                </a:cubicBezTo>
                <a:cubicBezTo>
                  <a:pt x="13000" y="11438"/>
                  <a:pt x="13062" y="11531"/>
                  <a:pt x="12937" y="11563"/>
                </a:cubicBezTo>
                <a:cubicBezTo>
                  <a:pt x="12875" y="11594"/>
                  <a:pt x="12844" y="11625"/>
                  <a:pt x="12844" y="11563"/>
                </a:cubicBezTo>
                <a:cubicBezTo>
                  <a:pt x="12844" y="11500"/>
                  <a:pt x="12812" y="11438"/>
                  <a:pt x="12781" y="11375"/>
                </a:cubicBezTo>
                <a:cubicBezTo>
                  <a:pt x="12781" y="11344"/>
                  <a:pt x="12750" y="11313"/>
                  <a:pt x="12719" y="11313"/>
                </a:cubicBezTo>
                <a:cubicBezTo>
                  <a:pt x="12719" y="11406"/>
                  <a:pt x="12750" y="11531"/>
                  <a:pt x="12812" y="11625"/>
                </a:cubicBezTo>
                <a:cubicBezTo>
                  <a:pt x="12812" y="11656"/>
                  <a:pt x="12844" y="11688"/>
                  <a:pt x="12844" y="11719"/>
                </a:cubicBezTo>
                <a:cubicBezTo>
                  <a:pt x="12875" y="11719"/>
                  <a:pt x="12875" y="11750"/>
                  <a:pt x="12906" y="11750"/>
                </a:cubicBezTo>
                <a:cubicBezTo>
                  <a:pt x="12906" y="11781"/>
                  <a:pt x="12937" y="11813"/>
                  <a:pt x="12937" y="11813"/>
                </a:cubicBezTo>
                <a:cubicBezTo>
                  <a:pt x="12937" y="11844"/>
                  <a:pt x="12969" y="11844"/>
                  <a:pt x="12969" y="11875"/>
                </a:cubicBezTo>
                <a:cubicBezTo>
                  <a:pt x="13000" y="11906"/>
                  <a:pt x="13031" y="11938"/>
                  <a:pt x="13062" y="11906"/>
                </a:cubicBezTo>
                <a:cubicBezTo>
                  <a:pt x="13219" y="11844"/>
                  <a:pt x="13344" y="11875"/>
                  <a:pt x="13469" y="11875"/>
                </a:cubicBezTo>
                <a:cubicBezTo>
                  <a:pt x="13531" y="11875"/>
                  <a:pt x="13625" y="11906"/>
                  <a:pt x="13656" y="11875"/>
                </a:cubicBezTo>
                <a:cubicBezTo>
                  <a:pt x="13656" y="11781"/>
                  <a:pt x="13562" y="11781"/>
                  <a:pt x="13500" y="11719"/>
                </a:cubicBezTo>
                <a:cubicBezTo>
                  <a:pt x="13437" y="11656"/>
                  <a:pt x="13312" y="11656"/>
                  <a:pt x="13281" y="11563"/>
                </a:cubicBezTo>
                <a:cubicBezTo>
                  <a:pt x="13281" y="11563"/>
                  <a:pt x="13312" y="11531"/>
                  <a:pt x="13312" y="11531"/>
                </a:cubicBezTo>
                <a:cubicBezTo>
                  <a:pt x="13312" y="11563"/>
                  <a:pt x="13312" y="11563"/>
                  <a:pt x="13344" y="11563"/>
                </a:cubicBezTo>
                <a:cubicBezTo>
                  <a:pt x="13375" y="11563"/>
                  <a:pt x="13406" y="11594"/>
                  <a:pt x="13437" y="11594"/>
                </a:cubicBezTo>
                <a:cubicBezTo>
                  <a:pt x="13531" y="11656"/>
                  <a:pt x="13625" y="11688"/>
                  <a:pt x="13719" y="11750"/>
                </a:cubicBezTo>
                <a:cubicBezTo>
                  <a:pt x="13844" y="11844"/>
                  <a:pt x="14031" y="11844"/>
                  <a:pt x="14187" y="11938"/>
                </a:cubicBezTo>
                <a:cubicBezTo>
                  <a:pt x="14187" y="11938"/>
                  <a:pt x="14156" y="11938"/>
                  <a:pt x="14156" y="11938"/>
                </a:cubicBezTo>
                <a:cubicBezTo>
                  <a:pt x="14156" y="11969"/>
                  <a:pt x="14156" y="11969"/>
                  <a:pt x="14156" y="11969"/>
                </a:cubicBezTo>
                <a:cubicBezTo>
                  <a:pt x="14094" y="11969"/>
                  <a:pt x="14031" y="11969"/>
                  <a:pt x="14000" y="11969"/>
                </a:cubicBezTo>
                <a:cubicBezTo>
                  <a:pt x="13969" y="11969"/>
                  <a:pt x="13969" y="11969"/>
                  <a:pt x="13937" y="11969"/>
                </a:cubicBezTo>
                <a:cubicBezTo>
                  <a:pt x="13906" y="11969"/>
                  <a:pt x="13875" y="11969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812" y="11938"/>
                </a:cubicBezTo>
                <a:cubicBezTo>
                  <a:pt x="13812" y="11938"/>
                  <a:pt x="13812" y="11938"/>
                  <a:pt x="13781" y="11938"/>
                </a:cubicBezTo>
                <a:cubicBezTo>
                  <a:pt x="13781" y="11938"/>
                  <a:pt x="13781" y="11938"/>
                  <a:pt x="13781" y="11938"/>
                </a:cubicBezTo>
                <a:cubicBezTo>
                  <a:pt x="13812" y="11906"/>
                  <a:pt x="13781" y="11906"/>
                  <a:pt x="13750" y="11906"/>
                </a:cubicBezTo>
                <a:cubicBezTo>
                  <a:pt x="13750" y="11906"/>
                  <a:pt x="13750" y="11906"/>
                  <a:pt x="13750" y="11906"/>
                </a:cubicBezTo>
                <a:cubicBezTo>
                  <a:pt x="13750" y="11906"/>
                  <a:pt x="13719" y="11906"/>
                  <a:pt x="13719" y="11938"/>
                </a:cubicBezTo>
                <a:cubicBezTo>
                  <a:pt x="13719" y="11938"/>
                  <a:pt x="13719" y="11938"/>
                  <a:pt x="13750" y="11969"/>
                </a:cubicBezTo>
                <a:cubicBezTo>
                  <a:pt x="13719" y="12000"/>
                  <a:pt x="13719" y="12000"/>
                  <a:pt x="13687" y="12031"/>
                </a:cubicBezTo>
                <a:cubicBezTo>
                  <a:pt x="13687" y="12031"/>
                  <a:pt x="13656" y="12031"/>
                  <a:pt x="13656" y="12031"/>
                </a:cubicBezTo>
                <a:cubicBezTo>
                  <a:pt x="13656" y="12031"/>
                  <a:pt x="13656" y="12031"/>
                  <a:pt x="13656" y="12031"/>
                </a:cubicBezTo>
                <a:cubicBezTo>
                  <a:pt x="13625" y="12031"/>
                  <a:pt x="13594" y="12000"/>
                  <a:pt x="13594" y="12000"/>
                </a:cubicBezTo>
                <a:cubicBezTo>
                  <a:pt x="13562" y="12000"/>
                  <a:pt x="13531" y="12031"/>
                  <a:pt x="13531" y="12063"/>
                </a:cubicBezTo>
                <a:cubicBezTo>
                  <a:pt x="13500" y="12063"/>
                  <a:pt x="13437" y="12094"/>
                  <a:pt x="13406" y="12094"/>
                </a:cubicBezTo>
                <a:cubicBezTo>
                  <a:pt x="13250" y="12031"/>
                  <a:pt x="13094" y="12000"/>
                  <a:pt x="12937" y="12063"/>
                </a:cubicBezTo>
                <a:cubicBezTo>
                  <a:pt x="13031" y="12188"/>
                  <a:pt x="13156" y="12156"/>
                  <a:pt x="13250" y="12219"/>
                </a:cubicBezTo>
                <a:cubicBezTo>
                  <a:pt x="13250" y="12219"/>
                  <a:pt x="13250" y="12219"/>
                  <a:pt x="13250" y="12219"/>
                </a:cubicBezTo>
                <a:cubicBezTo>
                  <a:pt x="13219" y="12250"/>
                  <a:pt x="13187" y="12219"/>
                  <a:pt x="13156" y="12250"/>
                </a:cubicBezTo>
                <a:cubicBezTo>
                  <a:pt x="13156" y="12250"/>
                  <a:pt x="13125" y="12219"/>
                  <a:pt x="13094" y="12219"/>
                </a:cubicBezTo>
                <a:cubicBezTo>
                  <a:pt x="13062" y="12219"/>
                  <a:pt x="13000" y="12219"/>
                  <a:pt x="12969" y="12250"/>
                </a:cubicBezTo>
                <a:cubicBezTo>
                  <a:pt x="12937" y="12250"/>
                  <a:pt x="12937" y="12250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37" y="12219"/>
                  <a:pt x="12937" y="12219"/>
                  <a:pt x="12937" y="12219"/>
                </a:cubicBezTo>
                <a:cubicBezTo>
                  <a:pt x="12906" y="12250"/>
                  <a:pt x="12906" y="12250"/>
                  <a:pt x="12906" y="12250"/>
                </a:cubicBezTo>
                <a:cubicBezTo>
                  <a:pt x="12719" y="12313"/>
                  <a:pt x="12562" y="12344"/>
                  <a:pt x="12375" y="12406"/>
                </a:cubicBezTo>
                <a:cubicBezTo>
                  <a:pt x="12344" y="12438"/>
                  <a:pt x="12344" y="12438"/>
                  <a:pt x="12312" y="12438"/>
                </a:cubicBezTo>
                <a:cubicBezTo>
                  <a:pt x="12250" y="12469"/>
                  <a:pt x="12187" y="12500"/>
                  <a:pt x="12156" y="12563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31"/>
                  <a:pt x="12156" y="12531"/>
                  <a:pt x="12156" y="12531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63"/>
                </a:cubicBezTo>
                <a:cubicBezTo>
                  <a:pt x="12156" y="12563"/>
                  <a:pt x="12156" y="12563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594"/>
                </a:cubicBezTo>
                <a:cubicBezTo>
                  <a:pt x="12156" y="12594"/>
                  <a:pt x="12156" y="12594"/>
                  <a:pt x="12156" y="12625"/>
                </a:cubicBezTo>
                <a:cubicBezTo>
                  <a:pt x="12125" y="12656"/>
                  <a:pt x="12062" y="12719"/>
                  <a:pt x="12031" y="12750"/>
                </a:cubicBezTo>
                <a:cubicBezTo>
                  <a:pt x="11875" y="12813"/>
                  <a:pt x="11781" y="12938"/>
                  <a:pt x="11656" y="13063"/>
                </a:cubicBezTo>
                <a:cubicBezTo>
                  <a:pt x="11500" y="13156"/>
                  <a:pt x="11406" y="13313"/>
                  <a:pt x="11312" y="13469"/>
                </a:cubicBezTo>
                <a:cubicBezTo>
                  <a:pt x="11125" y="13813"/>
                  <a:pt x="11031" y="14188"/>
                  <a:pt x="11000" y="14563"/>
                </a:cubicBezTo>
                <a:cubicBezTo>
                  <a:pt x="10969" y="14688"/>
                  <a:pt x="10906" y="14813"/>
                  <a:pt x="10937" y="14938"/>
                </a:cubicBezTo>
                <a:cubicBezTo>
                  <a:pt x="10937" y="15000"/>
                  <a:pt x="10937" y="15000"/>
                  <a:pt x="10906" y="15031"/>
                </a:cubicBezTo>
                <a:cubicBezTo>
                  <a:pt x="10875" y="15125"/>
                  <a:pt x="10906" y="15219"/>
                  <a:pt x="10906" y="15313"/>
                </a:cubicBezTo>
                <a:cubicBezTo>
                  <a:pt x="10906" y="15313"/>
                  <a:pt x="10906" y="15313"/>
                  <a:pt x="10906" y="15313"/>
                </a:cubicBezTo>
                <a:cubicBezTo>
                  <a:pt x="10937" y="15313"/>
                  <a:pt x="10937" y="15313"/>
                  <a:pt x="10969" y="15313"/>
                </a:cubicBezTo>
                <a:cubicBezTo>
                  <a:pt x="11094" y="15344"/>
                  <a:pt x="11156" y="15344"/>
                  <a:pt x="11187" y="15406"/>
                </a:cubicBezTo>
                <a:cubicBezTo>
                  <a:pt x="11187" y="15406"/>
                  <a:pt x="11219" y="15406"/>
                  <a:pt x="11219" y="15406"/>
                </a:cubicBezTo>
                <a:cubicBezTo>
                  <a:pt x="11219" y="15438"/>
                  <a:pt x="11219" y="15438"/>
                  <a:pt x="11219" y="15469"/>
                </a:cubicBezTo>
                <a:cubicBezTo>
                  <a:pt x="11219" y="15469"/>
                  <a:pt x="11250" y="15469"/>
                  <a:pt x="11250" y="15500"/>
                </a:cubicBezTo>
                <a:cubicBezTo>
                  <a:pt x="11250" y="15531"/>
                  <a:pt x="11250" y="15563"/>
                  <a:pt x="11250" y="15563"/>
                </a:cubicBezTo>
                <a:cubicBezTo>
                  <a:pt x="11219" y="15594"/>
                  <a:pt x="11219" y="15594"/>
                  <a:pt x="11219" y="15594"/>
                </a:cubicBezTo>
                <a:cubicBezTo>
                  <a:pt x="11187" y="15531"/>
                  <a:pt x="11156" y="15563"/>
                  <a:pt x="11125" y="15563"/>
                </a:cubicBezTo>
                <a:cubicBezTo>
                  <a:pt x="11156" y="15594"/>
                  <a:pt x="11187" y="15594"/>
                  <a:pt x="11219" y="15594"/>
                </a:cubicBezTo>
                <a:cubicBezTo>
                  <a:pt x="11219" y="15656"/>
                  <a:pt x="11281" y="15594"/>
                  <a:pt x="11312" y="15656"/>
                </a:cubicBezTo>
                <a:cubicBezTo>
                  <a:pt x="11250" y="15688"/>
                  <a:pt x="11125" y="15656"/>
                  <a:pt x="11125" y="15781"/>
                </a:cubicBezTo>
                <a:cubicBezTo>
                  <a:pt x="11219" y="15781"/>
                  <a:pt x="11312" y="15781"/>
                  <a:pt x="11437" y="15813"/>
                </a:cubicBezTo>
                <a:cubicBezTo>
                  <a:pt x="11250" y="15813"/>
                  <a:pt x="11062" y="15844"/>
                  <a:pt x="10875" y="15906"/>
                </a:cubicBezTo>
                <a:cubicBezTo>
                  <a:pt x="10844" y="15906"/>
                  <a:pt x="10844" y="15781"/>
                  <a:pt x="10812" y="15844"/>
                </a:cubicBezTo>
                <a:cubicBezTo>
                  <a:pt x="10781" y="15906"/>
                  <a:pt x="10719" y="15906"/>
                  <a:pt x="10687" y="15938"/>
                </a:cubicBezTo>
                <a:cubicBezTo>
                  <a:pt x="10594" y="16000"/>
                  <a:pt x="10531" y="16031"/>
                  <a:pt x="10469" y="16125"/>
                </a:cubicBezTo>
                <a:cubicBezTo>
                  <a:pt x="10594" y="16031"/>
                  <a:pt x="10719" y="15969"/>
                  <a:pt x="10844" y="16000"/>
                </a:cubicBezTo>
                <a:cubicBezTo>
                  <a:pt x="10844" y="16000"/>
                  <a:pt x="10844" y="16031"/>
                  <a:pt x="10812" y="16031"/>
                </a:cubicBezTo>
                <a:cubicBezTo>
                  <a:pt x="10750" y="16125"/>
                  <a:pt x="10656" y="16156"/>
                  <a:pt x="10562" y="16188"/>
                </a:cubicBezTo>
                <a:cubicBezTo>
                  <a:pt x="10531" y="16188"/>
                  <a:pt x="10531" y="16188"/>
                  <a:pt x="10500" y="16188"/>
                </a:cubicBezTo>
                <a:cubicBezTo>
                  <a:pt x="10344" y="16219"/>
                  <a:pt x="10281" y="16281"/>
                  <a:pt x="10250" y="16406"/>
                </a:cubicBezTo>
                <a:cubicBezTo>
                  <a:pt x="10312" y="16375"/>
                  <a:pt x="10344" y="16344"/>
                  <a:pt x="10406" y="16344"/>
                </a:cubicBezTo>
                <a:cubicBezTo>
                  <a:pt x="10406" y="16344"/>
                  <a:pt x="10406" y="16344"/>
                  <a:pt x="10437" y="16344"/>
                </a:cubicBezTo>
                <a:cubicBezTo>
                  <a:pt x="10437" y="16344"/>
                  <a:pt x="10437" y="16344"/>
                  <a:pt x="10469" y="16344"/>
                </a:cubicBezTo>
                <a:cubicBezTo>
                  <a:pt x="10469" y="16344"/>
                  <a:pt x="10469" y="16375"/>
                  <a:pt x="10500" y="16375"/>
                </a:cubicBezTo>
                <a:cubicBezTo>
                  <a:pt x="10500" y="16375"/>
                  <a:pt x="10500" y="16375"/>
                  <a:pt x="10531" y="16344"/>
                </a:cubicBezTo>
                <a:cubicBezTo>
                  <a:pt x="10531" y="16344"/>
                  <a:pt x="10562" y="16344"/>
                  <a:pt x="10562" y="16344"/>
                </a:cubicBezTo>
                <a:cubicBezTo>
                  <a:pt x="10562" y="16344"/>
                  <a:pt x="10562" y="16344"/>
                  <a:pt x="10562" y="16344"/>
                </a:cubicBezTo>
                <a:cubicBezTo>
                  <a:pt x="10625" y="16344"/>
                  <a:pt x="10656" y="16313"/>
                  <a:pt x="10719" y="16281"/>
                </a:cubicBezTo>
                <a:cubicBezTo>
                  <a:pt x="10719" y="16281"/>
                  <a:pt x="10750" y="16281"/>
                  <a:pt x="10750" y="16281"/>
                </a:cubicBezTo>
                <a:cubicBezTo>
                  <a:pt x="10781" y="16375"/>
                  <a:pt x="10719" y="16531"/>
                  <a:pt x="10625" y="16531"/>
                </a:cubicBezTo>
                <a:cubicBezTo>
                  <a:pt x="10531" y="16531"/>
                  <a:pt x="10469" y="16563"/>
                  <a:pt x="10469" y="16625"/>
                </a:cubicBezTo>
                <a:cubicBezTo>
                  <a:pt x="10406" y="16719"/>
                  <a:pt x="10281" y="16719"/>
                  <a:pt x="10219" y="16781"/>
                </a:cubicBezTo>
                <a:cubicBezTo>
                  <a:pt x="10187" y="16813"/>
                  <a:pt x="10187" y="16813"/>
                  <a:pt x="10156" y="16781"/>
                </a:cubicBezTo>
                <a:cubicBezTo>
                  <a:pt x="10156" y="16781"/>
                  <a:pt x="10156" y="16781"/>
                  <a:pt x="10156" y="16750"/>
                </a:cubicBezTo>
                <a:cubicBezTo>
                  <a:pt x="10156" y="16719"/>
                  <a:pt x="10187" y="16719"/>
                  <a:pt x="10187" y="16656"/>
                </a:cubicBezTo>
                <a:cubicBezTo>
                  <a:pt x="10031" y="16656"/>
                  <a:pt x="10031" y="16781"/>
                  <a:pt x="9937" y="16875"/>
                </a:cubicBezTo>
                <a:cubicBezTo>
                  <a:pt x="9937" y="16875"/>
                  <a:pt x="9906" y="16906"/>
                  <a:pt x="9937" y="16938"/>
                </a:cubicBezTo>
                <a:cubicBezTo>
                  <a:pt x="9969" y="16938"/>
                  <a:pt x="10000" y="16938"/>
                  <a:pt x="10000" y="16906"/>
                </a:cubicBezTo>
                <a:cubicBezTo>
                  <a:pt x="10031" y="16844"/>
                  <a:pt x="10062" y="16844"/>
                  <a:pt x="10125" y="16875"/>
                </a:cubicBezTo>
                <a:cubicBezTo>
                  <a:pt x="10219" y="16875"/>
                  <a:pt x="10344" y="16844"/>
                  <a:pt x="10437" y="16781"/>
                </a:cubicBezTo>
                <a:cubicBezTo>
                  <a:pt x="10500" y="16719"/>
                  <a:pt x="10594" y="16719"/>
                  <a:pt x="10656" y="16688"/>
                </a:cubicBezTo>
                <a:cubicBezTo>
                  <a:pt x="10687" y="16688"/>
                  <a:pt x="10719" y="16719"/>
                  <a:pt x="10687" y="16750"/>
                </a:cubicBezTo>
                <a:cubicBezTo>
                  <a:pt x="10625" y="16781"/>
                  <a:pt x="10594" y="16875"/>
                  <a:pt x="10531" y="16906"/>
                </a:cubicBezTo>
                <a:cubicBezTo>
                  <a:pt x="10281" y="17000"/>
                  <a:pt x="10031" y="17094"/>
                  <a:pt x="9906" y="17344"/>
                </a:cubicBezTo>
                <a:cubicBezTo>
                  <a:pt x="9875" y="17438"/>
                  <a:pt x="9719" y="17500"/>
                  <a:pt x="9687" y="17594"/>
                </a:cubicBezTo>
                <a:cubicBezTo>
                  <a:pt x="9687" y="17719"/>
                  <a:pt x="9625" y="17813"/>
                  <a:pt x="9562" y="17875"/>
                </a:cubicBezTo>
                <a:cubicBezTo>
                  <a:pt x="9375" y="18125"/>
                  <a:pt x="9250" y="18406"/>
                  <a:pt x="9094" y="18656"/>
                </a:cubicBezTo>
                <a:cubicBezTo>
                  <a:pt x="8937" y="18844"/>
                  <a:pt x="8875" y="19094"/>
                  <a:pt x="8656" y="19187"/>
                </a:cubicBezTo>
                <a:cubicBezTo>
                  <a:pt x="8656" y="19219"/>
                  <a:pt x="8625" y="19250"/>
                  <a:pt x="8625" y="19219"/>
                </a:cubicBezTo>
                <a:cubicBezTo>
                  <a:pt x="8594" y="19187"/>
                  <a:pt x="8594" y="19156"/>
                  <a:pt x="8625" y="19156"/>
                </a:cubicBezTo>
                <a:cubicBezTo>
                  <a:pt x="8656" y="19094"/>
                  <a:pt x="8719" y="19062"/>
                  <a:pt x="8781" y="19031"/>
                </a:cubicBezTo>
                <a:cubicBezTo>
                  <a:pt x="8812" y="19000"/>
                  <a:pt x="8812" y="18937"/>
                  <a:pt x="8750" y="18937"/>
                </a:cubicBezTo>
                <a:cubicBezTo>
                  <a:pt x="8719" y="18906"/>
                  <a:pt x="8656" y="18906"/>
                  <a:pt x="8625" y="18906"/>
                </a:cubicBezTo>
                <a:cubicBezTo>
                  <a:pt x="8500" y="19000"/>
                  <a:pt x="8375" y="19062"/>
                  <a:pt x="8219" y="19094"/>
                </a:cubicBezTo>
                <a:cubicBezTo>
                  <a:pt x="8062" y="19156"/>
                  <a:pt x="7687" y="19219"/>
                  <a:pt x="6781" y="19437"/>
                </a:cubicBezTo>
                <a:cubicBezTo>
                  <a:pt x="5906" y="19656"/>
                  <a:pt x="5312" y="20406"/>
                  <a:pt x="4531" y="20750"/>
                </a:cubicBezTo>
                <a:cubicBezTo>
                  <a:pt x="3781" y="21094"/>
                  <a:pt x="3156" y="21469"/>
                  <a:pt x="3156" y="21687"/>
                </a:cubicBezTo>
                <a:cubicBezTo>
                  <a:pt x="3125" y="21719"/>
                  <a:pt x="3156" y="21781"/>
                  <a:pt x="3187" y="21844"/>
                </a:cubicBezTo>
                <a:cubicBezTo>
                  <a:pt x="3187" y="21937"/>
                  <a:pt x="3219" y="22031"/>
                  <a:pt x="3281" y="22031"/>
                </a:cubicBezTo>
                <a:cubicBezTo>
                  <a:pt x="3406" y="22000"/>
                  <a:pt x="3406" y="22062"/>
                  <a:pt x="3437" y="22125"/>
                </a:cubicBezTo>
                <a:cubicBezTo>
                  <a:pt x="3469" y="22156"/>
                  <a:pt x="3469" y="22156"/>
                  <a:pt x="3500" y="22156"/>
                </a:cubicBezTo>
                <a:cubicBezTo>
                  <a:pt x="3344" y="22406"/>
                  <a:pt x="3312" y="22562"/>
                  <a:pt x="3687" y="22406"/>
                </a:cubicBezTo>
                <a:cubicBezTo>
                  <a:pt x="4312" y="22187"/>
                  <a:pt x="4906" y="21937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344" y="21719"/>
                  <a:pt x="5344" y="21719"/>
                  <a:pt x="5344" y="21719"/>
                </a:cubicBezTo>
                <a:cubicBezTo>
                  <a:pt x="5531" y="21625"/>
                  <a:pt x="5687" y="21500"/>
                  <a:pt x="5781" y="21406"/>
                </a:cubicBezTo>
                <a:cubicBezTo>
                  <a:pt x="5812" y="21406"/>
                  <a:pt x="5812" y="21406"/>
                  <a:pt x="5812" y="21406"/>
                </a:cubicBezTo>
                <a:cubicBezTo>
                  <a:pt x="5969" y="21344"/>
                  <a:pt x="6062" y="21250"/>
                  <a:pt x="6187" y="21156"/>
                </a:cubicBezTo>
                <a:cubicBezTo>
                  <a:pt x="6250" y="21125"/>
                  <a:pt x="6281" y="21062"/>
                  <a:pt x="6312" y="21000"/>
                </a:cubicBezTo>
                <a:cubicBezTo>
                  <a:pt x="6406" y="20937"/>
                  <a:pt x="6500" y="20875"/>
                  <a:pt x="6594" y="20781"/>
                </a:cubicBezTo>
                <a:cubicBezTo>
                  <a:pt x="6625" y="20750"/>
                  <a:pt x="6656" y="20719"/>
                  <a:pt x="6687" y="20719"/>
                </a:cubicBezTo>
                <a:cubicBezTo>
                  <a:pt x="6781" y="20719"/>
                  <a:pt x="6906" y="20781"/>
                  <a:pt x="6937" y="20625"/>
                </a:cubicBezTo>
                <a:cubicBezTo>
                  <a:pt x="6937" y="20594"/>
                  <a:pt x="6969" y="20594"/>
                  <a:pt x="6969" y="20594"/>
                </a:cubicBezTo>
                <a:cubicBezTo>
                  <a:pt x="7062" y="20656"/>
                  <a:pt x="7156" y="20625"/>
                  <a:pt x="7250" y="20594"/>
                </a:cubicBezTo>
                <a:cubicBezTo>
                  <a:pt x="7406" y="20562"/>
                  <a:pt x="7562" y="20531"/>
                  <a:pt x="7719" y="20531"/>
                </a:cubicBezTo>
                <a:cubicBezTo>
                  <a:pt x="7656" y="20625"/>
                  <a:pt x="7562" y="20719"/>
                  <a:pt x="7531" y="20812"/>
                </a:cubicBezTo>
                <a:cubicBezTo>
                  <a:pt x="7469" y="20937"/>
                  <a:pt x="7437" y="21062"/>
                  <a:pt x="7312" y="21125"/>
                </a:cubicBezTo>
                <a:cubicBezTo>
                  <a:pt x="7281" y="21156"/>
                  <a:pt x="7312" y="21187"/>
                  <a:pt x="7344" y="21187"/>
                </a:cubicBezTo>
                <a:cubicBezTo>
                  <a:pt x="7469" y="21219"/>
                  <a:pt x="7594" y="21156"/>
                  <a:pt x="7687" y="21156"/>
                </a:cubicBezTo>
                <a:cubicBezTo>
                  <a:pt x="7781" y="21125"/>
                  <a:pt x="7812" y="21031"/>
                  <a:pt x="7906" y="21000"/>
                </a:cubicBezTo>
                <a:cubicBezTo>
                  <a:pt x="8031" y="20937"/>
                  <a:pt x="8156" y="20812"/>
                  <a:pt x="8312" y="20844"/>
                </a:cubicBezTo>
                <a:cubicBezTo>
                  <a:pt x="8344" y="20844"/>
                  <a:pt x="8375" y="20844"/>
                  <a:pt x="8375" y="20812"/>
                </a:cubicBezTo>
                <a:cubicBezTo>
                  <a:pt x="8469" y="20750"/>
                  <a:pt x="8594" y="20812"/>
                  <a:pt x="8687" y="20719"/>
                </a:cubicBezTo>
                <a:cubicBezTo>
                  <a:pt x="8687" y="20719"/>
                  <a:pt x="8719" y="20719"/>
                  <a:pt x="8719" y="20719"/>
                </a:cubicBezTo>
                <a:cubicBezTo>
                  <a:pt x="8750" y="20781"/>
                  <a:pt x="8812" y="20812"/>
                  <a:pt x="8875" y="20844"/>
                </a:cubicBezTo>
                <a:cubicBezTo>
                  <a:pt x="8875" y="20844"/>
                  <a:pt x="8906" y="20875"/>
                  <a:pt x="8875" y="20906"/>
                </a:cubicBezTo>
                <a:cubicBezTo>
                  <a:pt x="8875" y="20906"/>
                  <a:pt x="8875" y="20937"/>
                  <a:pt x="8844" y="20937"/>
                </a:cubicBezTo>
                <a:cubicBezTo>
                  <a:pt x="8719" y="20906"/>
                  <a:pt x="8656" y="21000"/>
                  <a:pt x="8594" y="21031"/>
                </a:cubicBezTo>
                <a:cubicBezTo>
                  <a:pt x="8500" y="21094"/>
                  <a:pt x="8406" y="21187"/>
                  <a:pt x="8281" y="21187"/>
                </a:cubicBezTo>
                <a:cubicBezTo>
                  <a:pt x="8344" y="21250"/>
                  <a:pt x="8344" y="21250"/>
                  <a:pt x="8375" y="21250"/>
                </a:cubicBezTo>
                <a:cubicBezTo>
                  <a:pt x="8531" y="21187"/>
                  <a:pt x="8687" y="21187"/>
                  <a:pt x="8844" y="21187"/>
                </a:cubicBezTo>
                <a:cubicBezTo>
                  <a:pt x="9094" y="21187"/>
                  <a:pt x="9375" y="21219"/>
                  <a:pt x="9594" y="21031"/>
                </a:cubicBezTo>
                <a:cubicBezTo>
                  <a:pt x="9719" y="20937"/>
                  <a:pt x="9812" y="20812"/>
                  <a:pt x="9937" y="20656"/>
                </a:cubicBezTo>
                <a:cubicBezTo>
                  <a:pt x="10000" y="20594"/>
                  <a:pt x="10062" y="20500"/>
                  <a:pt x="10156" y="20469"/>
                </a:cubicBezTo>
                <a:cubicBezTo>
                  <a:pt x="10250" y="20437"/>
                  <a:pt x="10312" y="20281"/>
                  <a:pt x="10250" y="20219"/>
                </a:cubicBezTo>
                <a:cubicBezTo>
                  <a:pt x="10219" y="20156"/>
                  <a:pt x="10125" y="20156"/>
                  <a:pt x="10062" y="20187"/>
                </a:cubicBezTo>
                <a:cubicBezTo>
                  <a:pt x="9906" y="20219"/>
                  <a:pt x="9781" y="20312"/>
                  <a:pt x="9656" y="20406"/>
                </a:cubicBezTo>
                <a:cubicBezTo>
                  <a:pt x="9531" y="20531"/>
                  <a:pt x="9375" y="20656"/>
                  <a:pt x="9187" y="20719"/>
                </a:cubicBezTo>
                <a:cubicBezTo>
                  <a:pt x="9125" y="20719"/>
                  <a:pt x="9062" y="20719"/>
                  <a:pt x="9031" y="20781"/>
                </a:cubicBezTo>
                <a:cubicBezTo>
                  <a:pt x="9000" y="20781"/>
                  <a:pt x="8969" y="20812"/>
                  <a:pt x="8937" y="20781"/>
                </a:cubicBezTo>
                <a:cubicBezTo>
                  <a:pt x="8937" y="20750"/>
                  <a:pt x="8937" y="20719"/>
                  <a:pt x="8969" y="20719"/>
                </a:cubicBezTo>
                <a:cubicBezTo>
                  <a:pt x="9031" y="20687"/>
                  <a:pt x="9000" y="20656"/>
                  <a:pt x="8969" y="20625"/>
                </a:cubicBezTo>
                <a:cubicBezTo>
                  <a:pt x="8906" y="20625"/>
                  <a:pt x="8875" y="20594"/>
                  <a:pt x="8844" y="20594"/>
                </a:cubicBezTo>
                <a:cubicBezTo>
                  <a:pt x="8812" y="20562"/>
                  <a:pt x="8781" y="20562"/>
                  <a:pt x="8781" y="20531"/>
                </a:cubicBezTo>
                <a:cubicBezTo>
                  <a:pt x="8781" y="20500"/>
                  <a:pt x="8812" y="20500"/>
                  <a:pt x="8844" y="20500"/>
                </a:cubicBezTo>
                <a:cubicBezTo>
                  <a:pt x="8906" y="20469"/>
                  <a:pt x="8937" y="20469"/>
                  <a:pt x="9000" y="20437"/>
                </a:cubicBezTo>
                <a:cubicBezTo>
                  <a:pt x="9094" y="20406"/>
                  <a:pt x="9156" y="20344"/>
                  <a:pt x="9156" y="20281"/>
                </a:cubicBezTo>
                <a:cubicBezTo>
                  <a:pt x="9156" y="20156"/>
                  <a:pt x="9219" y="20094"/>
                  <a:pt x="9312" y="20031"/>
                </a:cubicBezTo>
                <a:cubicBezTo>
                  <a:pt x="9375" y="20000"/>
                  <a:pt x="9469" y="19937"/>
                  <a:pt x="9531" y="19875"/>
                </a:cubicBezTo>
                <a:cubicBezTo>
                  <a:pt x="9625" y="19812"/>
                  <a:pt x="9719" y="19750"/>
                  <a:pt x="9812" y="19719"/>
                </a:cubicBezTo>
                <a:cubicBezTo>
                  <a:pt x="9875" y="19687"/>
                  <a:pt x="9937" y="19687"/>
                  <a:pt x="10031" y="19687"/>
                </a:cubicBezTo>
                <a:cubicBezTo>
                  <a:pt x="10125" y="19656"/>
                  <a:pt x="10187" y="19531"/>
                  <a:pt x="10281" y="19562"/>
                </a:cubicBezTo>
                <a:cubicBezTo>
                  <a:pt x="10437" y="19594"/>
                  <a:pt x="10562" y="19500"/>
                  <a:pt x="10687" y="19437"/>
                </a:cubicBezTo>
                <a:cubicBezTo>
                  <a:pt x="10687" y="19437"/>
                  <a:pt x="10687" y="19437"/>
                  <a:pt x="10687" y="19437"/>
                </a:cubicBezTo>
                <a:cubicBezTo>
                  <a:pt x="10719" y="19406"/>
                  <a:pt x="10781" y="19406"/>
                  <a:pt x="10750" y="19469"/>
                </a:cubicBezTo>
                <a:cubicBezTo>
                  <a:pt x="10750" y="19500"/>
                  <a:pt x="10750" y="19500"/>
                  <a:pt x="10781" y="19500"/>
                </a:cubicBezTo>
                <a:cubicBezTo>
                  <a:pt x="10844" y="19500"/>
                  <a:pt x="10812" y="19469"/>
                  <a:pt x="10812" y="19469"/>
                </a:cubicBezTo>
                <a:cubicBezTo>
                  <a:pt x="10812" y="19437"/>
                  <a:pt x="10812" y="19406"/>
                  <a:pt x="10844" y="19406"/>
                </a:cubicBezTo>
                <a:cubicBezTo>
                  <a:pt x="10937" y="19406"/>
                  <a:pt x="11000" y="19312"/>
                  <a:pt x="11094" y="19281"/>
                </a:cubicBezTo>
                <a:cubicBezTo>
                  <a:pt x="11219" y="19219"/>
                  <a:pt x="11344" y="19094"/>
                  <a:pt x="11500" y="19062"/>
                </a:cubicBezTo>
                <a:cubicBezTo>
                  <a:pt x="11531" y="19062"/>
                  <a:pt x="11531" y="19031"/>
                  <a:pt x="11562" y="19031"/>
                </a:cubicBezTo>
                <a:cubicBezTo>
                  <a:pt x="11594" y="18937"/>
                  <a:pt x="11656" y="18844"/>
                  <a:pt x="11750" y="18813"/>
                </a:cubicBezTo>
                <a:cubicBezTo>
                  <a:pt x="11750" y="18813"/>
                  <a:pt x="11781" y="18813"/>
                  <a:pt x="11781" y="18813"/>
                </a:cubicBezTo>
                <a:cubicBezTo>
                  <a:pt x="11781" y="18813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812" y="18781"/>
                  <a:pt x="11812" y="18781"/>
                </a:cubicBezTo>
                <a:cubicBezTo>
                  <a:pt x="11812" y="18781"/>
                  <a:pt x="11812" y="18781"/>
                  <a:pt x="11812" y="18781"/>
                </a:cubicBezTo>
                <a:cubicBezTo>
                  <a:pt x="11812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81" y="18781"/>
                  <a:pt x="11781" y="18781"/>
                  <a:pt x="11781" y="18781"/>
                </a:cubicBezTo>
                <a:cubicBezTo>
                  <a:pt x="11750" y="18781"/>
                  <a:pt x="11656" y="18813"/>
                  <a:pt x="11719" y="18719"/>
                </a:cubicBezTo>
                <a:cubicBezTo>
                  <a:pt x="11781" y="18594"/>
                  <a:pt x="11875" y="18469"/>
                  <a:pt x="12062" y="18469"/>
                </a:cubicBezTo>
                <a:cubicBezTo>
                  <a:pt x="12125" y="18438"/>
                  <a:pt x="12187" y="18438"/>
                  <a:pt x="12219" y="18375"/>
                </a:cubicBezTo>
                <a:cubicBezTo>
                  <a:pt x="12219" y="18375"/>
                  <a:pt x="12219" y="18375"/>
                  <a:pt x="12219" y="18375"/>
                </a:cubicBezTo>
                <a:cubicBezTo>
                  <a:pt x="12062" y="18375"/>
                  <a:pt x="12062" y="18375"/>
                  <a:pt x="11969" y="18313"/>
                </a:cubicBezTo>
                <a:cubicBezTo>
                  <a:pt x="11969" y="18313"/>
                  <a:pt x="11937" y="18313"/>
                  <a:pt x="11937" y="18313"/>
                </a:cubicBezTo>
                <a:cubicBezTo>
                  <a:pt x="11875" y="18313"/>
                  <a:pt x="11812" y="18313"/>
                  <a:pt x="11781" y="18375"/>
                </a:cubicBezTo>
                <a:cubicBezTo>
                  <a:pt x="11750" y="18438"/>
                  <a:pt x="11719" y="18438"/>
                  <a:pt x="11687" y="18438"/>
                </a:cubicBezTo>
                <a:cubicBezTo>
                  <a:pt x="11625" y="18438"/>
                  <a:pt x="11594" y="18438"/>
                  <a:pt x="11562" y="18469"/>
                </a:cubicBezTo>
                <a:cubicBezTo>
                  <a:pt x="11469" y="18563"/>
                  <a:pt x="11344" y="18594"/>
                  <a:pt x="11312" y="18719"/>
                </a:cubicBezTo>
                <a:cubicBezTo>
                  <a:pt x="11344" y="18750"/>
                  <a:pt x="11375" y="18719"/>
                  <a:pt x="11406" y="18719"/>
                </a:cubicBezTo>
                <a:cubicBezTo>
                  <a:pt x="11406" y="18719"/>
                  <a:pt x="11437" y="18719"/>
                  <a:pt x="11437" y="18719"/>
                </a:cubicBezTo>
                <a:cubicBezTo>
                  <a:pt x="11437" y="18719"/>
                  <a:pt x="11437" y="18750"/>
                  <a:pt x="11437" y="18750"/>
                </a:cubicBezTo>
                <a:cubicBezTo>
                  <a:pt x="11375" y="18750"/>
                  <a:pt x="11344" y="18813"/>
                  <a:pt x="11312" y="18844"/>
                </a:cubicBezTo>
                <a:cubicBezTo>
                  <a:pt x="11312" y="18844"/>
                  <a:pt x="11312" y="18844"/>
                  <a:pt x="11312" y="18844"/>
                </a:cubicBezTo>
                <a:cubicBezTo>
                  <a:pt x="11312" y="18875"/>
                  <a:pt x="11281" y="18875"/>
                  <a:pt x="11281" y="18875"/>
                </a:cubicBezTo>
                <a:cubicBezTo>
                  <a:pt x="11281" y="18875"/>
                  <a:pt x="11250" y="18906"/>
                  <a:pt x="11219" y="18906"/>
                </a:cubicBezTo>
                <a:cubicBezTo>
                  <a:pt x="11219" y="18875"/>
                  <a:pt x="11219" y="18875"/>
                  <a:pt x="11219" y="18875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219" y="18844"/>
                </a:cubicBezTo>
                <a:cubicBezTo>
                  <a:pt x="11219" y="18844"/>
                  <a:pt x="11219" y="18844"/>
                  <a:pt x="11187" y="18844"/>
                </a:cubicBezTo>
                <a:cubicBezTo>
                  <a:pt x="11187" y="18844"/>
                  <a:pt x="11187" y="18844"/>
                  <a:pt x="11156" y="18844"/>
                </a:cubicBezTo>
                <a:cubicBezTo>
                  <a:pt x="11094" y="18937"/>
                  <a:pt x="11000" y="18937"/>
                  <a:pt x="10906" y="19000"/>
                </a:cubicBezTo>
                <a:cubicBezTo>
                  <a:pt x="10844" y="19031"/>
                  <a:pt x="10750" y="19062"/>
                  <a:pt x="10687" y="19094"/>
                </a:cubicBezTo>
                <a:cubicBezTo>
                  <a:pt x="10656" y="19125"/>
                  <a:pt x="10656" y="19125"/>
                  <a:pt x="10625" y="19125"/>
                </a:cubicBezTo>
                <a:cubicBezTo>
                  <a:pt x="10594" y="19094"/>
                  <a:pt x="10625" y="19062"/>
                  <a:pt x="10625" y="19031"/>
                </a:cubicBezTo>
                <a:cubicBezTo>
                  <a:pt x="10656" y="19000"/>
                  <a:pt x="10719" y="18969"/>
                  <a:pt x="10687" y="18906"/>
                </a:cubicBezTo>
                <a:cubicBezTo>
                  <a:pt x="10625" y="18844"/>
                  <a:pt x="10656" y="18813"/>
                  <a:pt x="10687" y="18750"/>
                </a:cubicBezTo>
                <a:cubicBezTo>
                  <a:pt x="10750" y="18781"/>
                  <a:pt x="10656" y="18844"/>
                  <a:pt x="10719" y="18844"/>
                </a:cubicBezTo>
                <a:cubicBezTo>
                  <a:pt x="10781" y="18844"/>
                  <a:pt x="10781" y="18781"/>
                  <a:pt x="10781" y="18750"/>
                </a:cubicBezTo>
                <a:cubicBezTo>
                  <a:pt x="10750" y="18719"/>
                  <a:pt x="10750" y="18656"/>
                  <a:pt x="10750" y="18625"/>
                </a:cubicBezTo>
                <a:cubicBezTo>
                  <a:pt x="10750" y="18563"/>
                  <a:pt x="10750" y="18469"/>
                  <a:pt x="10812" y="18406"/>
                </a:cubicBezTo>
                <a:cubicBezTo>
                  <a:pt x="11000" y="18344"/>
                  <a:pt x="11094" y="18156"/>
                  <a:pt x="11250" y="18063"/>
                </a:cubicBezTo>
                <a:cubicBezTo>
                  <a:pt x="11312" y="18000"/>
                  <a:pt x="11375" y="17875"/>
                  <a:pt x="11531" y="17906"/>
                </a:cubicBezTo>
                <a:cubicBezTo>
                  <a:pt x="11562" y="17906"/>
                  <a:pt x="11562" y="17875"/>
                  <a:pt x="11562" y="17875"/>
                </a:cubicBezTo>
                <a:cubicBezTo>
                  <a:pt x="11562" y="17719"/>
                  <a:pt x="11719" y="17750"/>
                  <a:pt x="11781" y="17688"/>
                </a:cubicBezTo>
                <a:cubicBezTo>
                  <a:pt x="11812" y="17688"/>
                  <a:pt x="11875" y="17656"/>
                  <a:pt x="11906" y="17625"/>
                </a:cubicBezTo>
                <a:cubicBezTo>
                  <a:pt x="11969" y="17563"/>
                  <a:pt x="12031" y="17531"/>
                  <a:pt x="12094" y="17563"/>
                </a:cubicBezTo>
                <a:cubicBezTo>
                  <a:pt x="12125" y="17563"/>
                  <a:pt x="12156" y="17594"/>
                  <a:pt x="12187" y="17531"/>
                </a:cubicBezTo>
                <a:cubicBezTo>
                  <a:pt x="12219" y="17469"/>
                  <a:pt x="12281" y="17469"/>
                  <a:pt x="12312" y="17500"/>
                </a:cubicBezTo>
                <a:cubicBezTo>
                  <a:pt x="12375" y="17531"/>
                  <a:pt x="12406" y="17500"/>
                  <a:pt x="12437" y="17469"/>
                </a:cubicBezTo>
                <a:cubicBezTo>
                  <a:pt x="12469" y="17406"/>
                  <a:pt x="12500" y="17344"/>
                  <a:pt x="12562" y="17344"/>
                </a:cubicBezTo>
                <a:cubicBezTo>
                  <a:pt x="12656" y="17375"/>
                  <a:pt x="12656" y="17313"/>
                  <a:pt x="12656" y="17281"/>
                </a:cubicBezTo>
                <a:cubicBezTo>
                  <a:pt x="12687" y="17219"/>
                  <a:pt x="12687" y="17125"/>
                  <a:pt x="12781" y="17156"/>
                </a:cubicBezTo>
                <a:cubicBezTo>
                  <a:pt x="12812" y="17156"/>
                  <a:pt x="12812" y="17125"/>
                  <a:pt x="12844" y="17125"/>
                </a:cubicBezTo>
                <a:cubicBezTo>
                  <a:pt x="12906" y="17063"/>
                  <a:pt x="12969" y="16938"/>
                  <a:pt x="13125" y="17000"/>
                </a:cubicBezTo>
                <a:cubicBezTo>
                  <a:pt x="13156" y="17000"/>
                  <a:pt x="13187" y="16969"/>
                  <a:pt x="13219" y="16938"/>
                </a:cubicBezTo>
                <a:cubicBezTo>
                  <a:pt x="13094" y="16906"/>
                  <a:pt x="13000" y="16844"/>
                  <a:pt x="12875" y="16813"/>
                </a:cubicBezTo>
                <a:cubicBezTo>
                  <a:pt x="12937" y="16781"/>
                  <a:pt x="12969" y="16750"/>
                  <a:pt x="13000" y="16719"/>
                </a:cubicBezTo>
                <a:cubicBezTo>
                  <a:pt x="13000" y="16688"/>
                  <a:pt x="13000" y="16688"/>
                  <a:pt x="13000" y="16688"/>
                </a:cubicBezTo>
                <a:cubicBezTo>
                  <a:pt x="13000" y="16688"/>
                  <a:pt x="13000" y="16656"/>
                  <a:pt x="13000" y="16656"/>
                </a:cubicBezTo>
                <a:cubicBezTo>
                  <a:pt x="13000" y="16656"/>
                  <a:pt x="13031" y="16656"/>
                  <a:pt x="13031" y="16656"/>
                </a:cubicBezTo>
                <a:cubicBezTo>
                  <a:pt x="13031" y="16719"/>
                  <a:pt x="13125" y="16719"/>
                  <a:pt x="13156" y="16781"/>
                </a:cubicBezTo>
                <a:cubicBezTo>
                  <a:pt x="13187" y="16844"/>
                  <a:pt x="13219" y="16813"/>
                  <a:pt x="13250" y="16781"/>
                </a:cubicBezTo>
                <a:cubicBezTo>
                  <a:pt x="13281" y="16750"/>
                  <a:pt x="13312" y="16750"/>
                  <a:pt x="13312" y="16719"/>
                </a:cubicBezTo>
                <a:cubicBezTo>
                  <a:pt x="13344" y="16656"/>
                  <a:pt x="13344" y="16563"/>
                  <a:pt x="13312" y="16469"/>
                </a:cubicBezTo>
                <a:cubicBezTo>
                  <a:pt x="13406" y="16438"/>
                  <a:pt x="13469" y="16406"/>
                  <a:pt x="13531" y="16406"/>
                </a:cubicBezTo>
                <a:cubicBezTo>
                  <a:pt x="13562" y="16406"/>
                  <a:pt x="13562" y="16406"/>
                  <a:pt x="13562" y="16406"/>
                </a:cubicBezTo>
                <a:cubicBezTo>
                  <a:pt x="13594" y="16406"/>
                  <a:pt x="13625" y="16406"/>
                  <a:pt x="13656" y="16406"/>
                </a:cubicBezTo>
                <a:cubicBezTo>
                  <a:pt x="13531" y="16344"/>
                  <a:pt x="13406" y="16219"/>
                  <a:pt x="13219" y="16188"/>
                </a:cubicBezTo>
                <a:cubicBezTo>
                  <a:pt x="13219" y="16188"/>
                  <a:pt x="13187" y="16156"/>
                  <a:pt x="13187" y="16156"/>
                </a:cubicBezTo>
                <a:cubicBezTo>
                  <a:pt x="13156" y="16156"/>
                  <a:pt x="13156" y="16156"/>
                  <a:pt x="13125" y="16125"/>
                </a:cubicBezTo>
                <a:cubicBezTo>
                  <a:pt x="13094" y="16125"/>
                  <a:pt x="13062" y="16094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3000" y="16063"/>
                  <a:pt x="13000" y="16063"/>
                </a:cubicBezTo>
                <a:cubicBezTo>
                  <a:pt x="13000" y="16063"/>
                  <a:pt x="12969" y="16063"/>
                  <a:pt x="12937" y="16031"/>
                </a:cubicBezTo>
                <a:cubicBezTo>
                  <a:pt x="12719" y="15938"/>
                  <a:pt x="12531" y="15813"/>
                  <a:pt x="12312" y="15656"/>
                </a:cubicBezTo>
                <a:cubicBezTo>
                  <a:pt x="12281" y="15625"/>
                  <a:pt x="12281" y="15594"/>
                  <a:pt x="12312" y="15563"/>
                </a:cubicBezTo>
                <a:cubicBezTo>
                  <a:pt x="12406" y="15469"/>
                  <a:pt x="12531" y="15406"/>
                  <a:pt x="12625" y="15344"/>
                </a:cubicBezTo>
                <a:cubicBezTo>
                  <a:pt x="12781" y="15250"/>
                  <a:pt x="12937" y="15156"/>
                  <a:pt x="13094" y="15125"/>
                </a:cubicBezTo>
                <a:cubicBezTo>
                  <a:pt x="13125" y="15125"/>
                  <a:pt x="13125" y="15125"/>
                  <a:pt x="13125" y="15125"/>
                </a:cubicBezTo>
                <a:cubicBezTo>
                  <a:pt x="13312" y="15094"/>
                  <a:pt x="13500" y="15125"/>
                  <a:pt x="13656" y="15125"/>
                </a:cubicBezTo>
                <a:cubicBezTo>
                  <a:pt x="13687" y="15094"/>
                  <a:pt x="13750" y="15125"/>
                  <a:pt x="13750" y="15063"/>
                </a:cubicBezTo>
                <a:cubicBezTo>
                  <a:pt x="13719" y="15031"/>
                  <a:pt x="13687" y="15031"/>
                  <a:pt x="13656" y="15063"/>
                </a:cubicBezTo>
                <a:cubicBezTo>
                  <a:pt x="13625" y="15063"/>
                  <a:pt x="13594" y="15063"/>
                  <a:pt x="13562" y="15063"/>
                </a:cubicBezTo>
                <a:cubicBezTo>
                  <a:pt x="13437" y="15063"/>
                  <a:pt x="13344" y="15031"/>
                  <a:pt x="13250" y="15031"/>
                </a:cubicBezTo>
                <a:cubicBezTo>
                  <a:pt x="13406" y="14938"/>
                  <a:pt x="13562" y="14844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50" y="14750"/>
                  <a:pt x="13750" y="14750"/>
                </a:cubicBezTo>
                <a:cubicBezTo>
                  <a:pt x="13750" y="14750"/>
                  <a:pt x="13781" y="14750"/>
                  <a:pt x="13781" y="14750"/>
                </a:cubicBezTo>
                <a:cubicBezTo>
                  <a:pt x="13781" y="14750"/>
                  <a:pt x="13812" y="14750"/>
                  <a:pt x="13812" y="14750"/>
                </a:cubicBezTo>
                <a:cubicBezTo>
                  <a:pt x="13844" y="14750"/>
                  <a:pt x="13875" y="14750"/>
                  <a:pt x="13875" y="14719"/>
                </a:cubicBezTo>
                <a:cubicBezTo>
                  <a:pt x="13906" y="14719"/>
                  <a:pt x="13937" y="14719"/>
                  <a:pt x="13969" y="14719"/>
                </a:cubicBezTo>
                <a:cubicBezTo>
                  <a:pt x="14000" y="14719"/>
                  <a:pt x="14031" y="14719"/>
                  <a:pt x="14062" y="14688"/>
                </a:cubicBezTo>
                <a:cubicBezTo>
                  <a:pt x="14312" y="14625"/>
                  <a:pt x="14531" y="14531"/>
                  <a:pt x="14750" y="14406"/>
                </a:cubicBezTo>
                <a:cubicBezTo>
                  <a:pt x="15062" y="14250"/>
                  <a:pt x="15344" y="14094"/>
                  <a:pt x="15625" y="13969"/>
                </a:cubicBezTo>
                <a:cubicBezTo>
                  <a:pt x="15625" y="13969"/>
                  <a:pt x="15625" y="13969"/>
                  <a:pt x="15656" y="13969"/>
                </a:cubicBezTo>
                <a:cubicBezTo>
                  <a:pt x="15656" y="13969"/>
                  <a:pt x="15687" y="13969"/>
                  <a:pt x="15687" y="14000"/>
                </a:cubicBezTo>
                <a:cubicBezTo>
                  <a:pt x="15687" y="14000"/>
                  <a:pt x="15687" y="14000"/>
                  <a:pt x="15687" y="14000"/>
                </a:cubicBezTo>
                <a:cubicBezTo>
                  <a:pt x="15687" y="14000"/>
                  <a:pt x="15656" y="14000"/>
                  <a:pt x="15656" y="14000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56" y="13969"/>
                </a:cubicBezTo>
                <a:cubicBezTo>
                  <a:pt x="15656" y="13969"/>
                  <a:pt x="15656" y="13969"/>
                  <a:pt x="15625" y="13969"/>
                </a:cubicBezTo>
                <a:cubicBezTo>
                  <a:pt x="15625" y="14000"/>
                  <a:pt x="15625" y="14000"/>
                  <a:pt x="15625" y="14031"/>
                </a:cubicBezTo>
                <a:cubicBezTo>
                  <a:pt x="15625" y="14031"/>
                  <a:pt x="15594" y="14031"/>
                  <a:pt x="15594" y="14031"/>
                </a:cubicBezTo>
                <a:cubicBezTo>
                  <a:pt x="15594" y="14031"/>
                  <a:pt x="15594" y="14031"/>
                  <a:pt x="15562" y="14031"/>
                </a:cubicBezTo>
                <a:cubicBezTo>
                  <a:pt x="15562" y="14031"/>
                  <a:pt x="15562" y="14031"/>
                  <a:pt x="15562" y="14031"/>
                </a:cubicBezTo>
                <a:cubicBezTo>
                  <a:pt x="15562" y="14031"/>
                  <a:pt x="15562" y="14063"/>
                  <a:pt x="15562" y="14063"/>
                </a:cubicBezTo>
                <a:cubicBezTo>
                  <a:pt x="15531" y="14094"/>
                  <a:pt x="15469" y="14125"/>
                  <a:pt x="15437" y="14125"/>
                </a:cubicBezTo>
                <a:cubicBezTo>
                  <a:pt x="15187" y="14250"/>
                  <a:pt x="14969" y="14406"/>
                  <a:pt x="14750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719" y="14500"/>
                  <a:pt x="14719" y="14500"/>
                  <a:pt x="14719" y="14500"/>
                </a:cubicBezTo>
                <a:cubicBezTo>
                  <a:pt x="14687" y="14531"/>
                  <a:pt x="14687" y="14531"/>
                  <a:pt x="14687" y="14531"/>
                </a:cubicBezTo>
                <a:cubicBezTo>
                  <a:pt x="14656" y="14563"/>
                  <a:pt x="14656" y="14563"/>
                  <a:pt x="14625" y="14563"/>
                </a:cubicBezTo>
                <a:cubicBezTo>
                  <a:pt x="14625" y="14563"/>
                  <a:pt x="14594" y="14563"/>
                  <a:pt x="14594" y="14563"/>
                </a:cubicBezTo>
                <a:cubicBezTo>
                  <a:pt x="14312" y="14688"/>
                  <a:pt x="14031" y="14781"/>
                  <a:pt x="13750" y="14844"/>
                </a:cubicBezTo>
                <a:cubicBezTo>
                  <a:pt x="13687" y="14844"/>
                  <a:pt x="13719" y="14875"/>
                  <a:pt x="13719" y="14906"/>
                </a:cubicBezTo>
                <a:cubicBezTo>
                  <a:pt x="13750" y="14906"/>
                  <a:pt x="13750" y="14938"/>
                  <a:pt x="13781" y="14938"/>
                </a:cubicBezTo>
                <a:cubicBezTo>
                  <a:pt x="13875" y="15031"/>
                  <a:pt x="14031" y="15031"/>
                  <a:pt x="14156" y="15000"/>
                </a:cubicBezTo>
                <a:cubicBezTo>
                  <a:pt x="14187" y="14969"/>
                  <a:pt x="14219" y="14969"/>
                  <a:pt x="14281" y="14969"/>
                </a:cubicBezTo>
                <a:cubicBezTo>
                  <a:pt x="14281" y="14969"/>
                  <a:pt x="14281" y="14969"/>
                  <a:pt x="14281" y="14969"/>
                </a:cubicBezTo>
                <a:cubicBezTo>
                  <a:pt x="14594" y="14875"/>
                  <a:pt x="14844" y="14719"/>
                  <a:pt x="15125" y="14594"/>
                </a:cubicBezTo>
                <a:cubicBezTo>
                  <a:pt x="15375" y="14500"/>
                  <a:pt x="15625" y="14375"/>
                  <a:pt x="15906" y="14281"/>
                </a:cubicBezTo>
                <a:cubicBezTo>
                  <a:pt x="15875" y="14313"/>
                  <a:pt x="15875" y="14344"/>
                  <a:pt x="15875" y="14375"/>
                </a:cubicBezTo>
                <a:cubicBezTo>
                  <a:pt x="15875" y="14375"/>
                  <a:pt x="15875" y="14375"/>
                  <a:pt x="15875" y="14375"/>
                </a:cubicBezTo>
                <a:cubicBezTo>
                  <a:pt x="15844" y="14375"/>
                  <a:pt x="15812" y="14406"/>
                  <a:pt x="15750" y="14406"/>
                </a:cubicBezTo>
                <a:cubicBezTo>
                  <a:pt x="15750" y="14406"/>
                  <a:pt x="15750" y="14406"/>
                  <a:pt x="15750" y="14406"/>
                </a:cubicBezTo>
                <a:cubicBezTo>
                  <a:pt x="15719" y="14438"/>
                  <a:pt x="15687" y="14438"/>
                  <a:pt x="15625" y="14469"/>
                </a:cubicBezTo>
                <a:cubicBezTo>
                  <a:pt x="15344" y="14594"/>
                  <a:pt x="15094" y="14750"/>
                  <a:pt x="14812" y="14844"/>
                </a:cubicBezTo>
                <a:cubicBezTo>
                  <a:pt x="14562" y="14906"/>
                  <a:pt x="14344" y="15000"/>
                  <a:pt x="14125" y="15125"/>
                </a:cubicBezTo>
                <a:cubicBezTo>
                  <a:pt x="14219" y="15125"/>
                  <a:pt x="14344" y="15125"/>
                  <a:pt x="14437" y="15125"/>
                </a:cubicBezTo>
                <a:cubicBezTo>
                  <a:pt x="14531" y="15125"/>
                  <a:pt x="14531" y="15188"/>
                  <a:pt x="14500" y="15250"/>
                </a:cubicBezTo>
                <a:cubicBezTo>
                  <a:pt x="14500" y="15281"/>
                  <a:pt x="14500" y="15281"/>
                  <a:pt x="14500" y="15281"/>
                </a:cubicBezTo>
                <a:cubicBezTo>
                  <a:pt x="14500" y="15281"/>
                  <a:pt x="14469" y="15281"/>
                  <a:pt x="14469" y="15313"/>
                </a:cubicBezTo>
                <a:cubicBezTo>
                  <a:pt x="14437" y="15313"/>
                  <a:pt x="14406" y="15344"/>
                  <a:pt x="14375" y="15344"/>
                </a:cubicBezTo>
                <a:cubicBezTo>
                  <a:pt x="14344" y="15375"/>
                  <a:pt x="14312" y="15406"/>
                  <a:pt x="14250" y="15406"/>
                </a:cubicBezTo>
                <a:cubicBezTo>
                  <a:pt x="14156" y="15438"/>
                  <a:pt x="14094" y="15438"/>
                  <a:pt x="14000" y="15438"/>
                </a:cubicBezTo>
                <a:cubicBezTo>
                  <a:pt x="13937" y="15469"/>
                  <a:pt x="13906" y="15469"/>
                  <a:pt x="13844" y="15469"/>
                </a:cubicBezTo>
                <a:cubicBezTo>
                  <a:pt x="13844" y="15469"/>
                  <a:pt x="13844" y="15469"/>
                  <a:pt x="13844" y="15469"/>
                </a:cubicBezTo>
                <a:cubicBezTo>
                  <a:pt x="13812" y="15438"/>
                  <a:pt x="13781" y="15438"/>
                  <a:pt x="13750" y="15469"/>
                </a:cubicBezTo>
                <a:cubicBezTo>
                  <a:pt x="13719" y="15469"/>
                  <a:pt x="13719" y="15469"/>
                  <a:pt x="13687" y="15469"/>
                </a:cubicBezTo>
                <a:cubicBezTo>
                  <a:pt x="13656" y="15469"/>
                  <a:pt x="13656" y="15500"/>
                  <a:pt x="13625" y="15500"/>
                </a:cubicBezTo>
                <a:cubicBezTo>
                  <a:pt x="13562" y="15469"/>
                  <a:pt x="13531" y="15500"/>
                  <a:pt x="13469" y="15531"/>
                </a:cubicBezTo>
                <a:cubicBezTo>
                  <a:pt x="13562" y="15531"/>
                  <a:pt x="13625" y="15531"/>
                  <a:pt x="13719" y="15531"/>
                </a:cubicBezTo>
                <a:cubicBezTo>
                  <a:pt x="13781" y="15563"/>
                  <a:pt x="13875" y="15531"/>
                  <a:pt x="13937" y="15531"/>
                </a:cubicBezTo>
                <a:cubicBezTo>
                  <a:pt x="14000" y="15531"/>
                  <a:pt x="14031" y="15531"/>
                  <a:pt x="14062" y="15531"/>
                </a:cubicBezTo>
                <a:cubicBezTo>
                  <a:pt x="14281" y="15531"/>
                  <a:pt x="14500" y="15438"/>
                  <a:pt x="14719" y="15375"/>
                </a:cubicBezTo>
                <a:cubicBezTo>
                  <a:pt x="14750" y="15375"/>
                  <a:pt x="14781" y="15375"/>
                  <a:pt x="14844" y="15375"/>
                </a:cubicBezTo>
                <a:cubicBezTo>
                  <a:pt x="14844" y="15375"/>
                  <a:pt x="14844" y="15375"/>
                  <a:pt x="14844" y="15375"/>
                </a:cubicBezTo>
                <a:cubicBezTo>
                  <a:pt x="14844" y="15375"/>
                  <a:pt x="14875" y="15344"/>
                  <a:pt x="14906" y="15375"/>
                </a:cubicBezTo>
                <a:cubicBezTo>
                  <a:pt x="14812" y="15406"/>
                  <a:pt x="14750" y="15438"/>
                  <a:pt x="14687" y="15469"/>
                </a:cubicBezTo>
                <a:cubicBezTo>
                  <a:pt x="14656" y="15469"/>
                  <a:pt x="14656" y="15469"/>
                  <a:pt x="14625" y="15469"/>
                </a:cubicBezTo>
                <a:cubicBezTo>
                  <a:pt x="14594" y="15469"/>
                  <a:pt x="14562" y="15500"/>
                  <a:pt x="14625" y="15563"/>
                </a:cubicBezTo>
                <a:cubicBezTo>
                  <a:pt x="14625" y="15563"/>
                  <a:pt x="14625" y="15563"/>
                  <a:pt x="14625" y="15594"/>
                </a:cubicBezTo>
                <a:cubicBezTo>
                  <a:pt x="14687" y="15688"/>
                  <a:pt x="14687" y="15813"/>
                  <a:pt x="14656" y="15938"/>
                </a:cubicBezTo>
                <a:cubicBezTo>
                  <a:pt x="14594" y="15938"/>
                  <a:pt x="14562" y="15969"/>
                  <a:pt x="14500" y="15969"/>
                </a:cubicBezTo>
                <a:cubicBezTo>
                  <a:pt x="14500" y="15969"/>
                  <a:pt x="14469" y="15969"/>
                  <a:pt x="14469" y="15969"/>
                </a:cubicBezTo>
                <a:cubicBezTo>
                  <a:pt x="14469" y="15969"/>
                  <a:pt x="14469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5969"/>
                  <a:pt x="14437" y="15969"/>
                </a:cubicBezTo>
                <a:cubicBezTo>
                  <a:pt x="14437" y="15969"/>
                  <a:pt x="14437" y="16000"/>
                  <a:pt x="14437" y="16000"/>
                </a:cubicBezTo>
                <a:cubicBezTo>
                  <a:pt x="14406" y="16000"/>
                  <a:pt x="14406" y="16000"/>
                  <a:pt x="14375" y="16000"/>
                </a:cubicBezTo>
                <a:cubicBezTo>
                  <a:pt x="14187" y="15969"/>
                  <a:pt x="14000" y="16000"/>
                  <a:pt x="13812" y="16000"/>
                </a:cubicBezTo>
                <a:cubicBezTo>
                  <a:pt x="13781" y="16000"/>
                  <a:pt x="13719" y="15969"/>
                  <a:pt x="13719" y="16031"/>
                </a:cubicBezTo>
                <a:cubicBezTo>
                  <a:pt x="13719" y="16063"/>
                  <a:pt x="13750" y="16094"/>
                  <a:pt x="13781" y="16125"/>
                </a:cubicBezTo>
                <a:cubicBezTo>
                  <a:pt x="13969" y="16188"/>
                  <a:pt x="14156" y="16219"/>
                  <a:pt x="14344" y="16219"/>
                </a:cubicBezTo>
                <a:cubicBezTo>
                  <a:pt x="14375" y="16219"/>
                  <a:pt x="14437" y="16250"/>
                  <a:pt x="14500" y="16250"/>
                </a:cubicBezTo>
                <a:cubicBezTo>
                  <a:pt x="14562" y="16281"/>
                  <a:pt x="14562" y="16281"/>
                  <a:pt x="14531" y="16344"/>
                </a:cubicBezTo>
                <a:cubicBezTo>
                  <a:pt x="14437" y="16406"/>
                  <a:pt x="14375" y="16469"/>
                  <a:pt x="14281" y="16375"/>
                </a:cubicBezTo>
                <a:cubicBezTo>
                  <a:pt x="14281" y="16406"/>
                  <a:pt x="14281" y="16406"/>
                  <a:pt x="14312" y="16438"/>
                </a:cubicBezTo>
                <a:cubicBezTo>
                  <a:pt x="14344" y="16469"/>
                  <a:pt x="14406" y="16469"/>
                  <a:pt x="14437" y="16531"/>
                </a:cubicBezTo>
                <a:cubicBezTo>
                  <a:pt x="14406" y="16531"/>
                  <a:pt x="14375" y="16531"/>
                  <a:pt x="14375" y="16563"/>
                </a:cubicBezTo>
                <a:cubicBezTo>
                  <a:pt x="14281" y="16531"/>
                  <a:pt x="14250" y="16625"/>
                  <a:pt x="14219" y="16656"/>
                </a:cubicBezTo>
                <a:cubicBezTo>
                  <a:pt x="14219" y="16656"/>
                  <a:pt x="14187" y="16656"/>
                  <a:pt x="14187" y="16656"/>
                </a:cubicBezTo>
                <a:cubicBezTo>
                  <a:pt x="14187" y="16656"/>
                  <a:pt x="14187" y="16656"/>
                  <a:pt x="14187" y="16656"/>
                </a:cubicBezTo>
                <a:cubicBezTo>
                  <a:pt x="14187" y="16688"/>
                  <a:pt x="14219" y="16688"/>
                  <a:pt x="14219" y="16688"/>
                </a:cubicBezTo>
                <a:cubicBezTo>
                  <a:pt x="14219" y="16719"/>
                  <a:pt x="14219" y="16719"/>
                  <a:pt x="14250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19" y="16719"/>
                  <a:pt x="14219" y="16719"/>
                  <a:pt x="14219" y="16719"/>
                </a:cubicBezTo>
                <a:cubicBezTo>
                  <a:pt x="14250" y="16719"/>
                  <a:pt x="14250" y="16719"/>
                  <a:pt x="14250" y="16719"/>
                </a:cubicBezTo>
                <a:cubicBezTo>
                  <a:pt x="14406" y="16813"/>
                  <a:pt x="14531" y="16750"/>
                  <a:pt x="14656" y="16688"/>
                </a:cubicBezTo>
                <a:cubicBezTo>
                  <a:pt x="14687" y="16656"/>
                  <a:pt x="14687" y="16656"/>
                  <a:pt x="14719" y="16625"/>
                </a:cubicBezTo>
                <a:cubicBezTo>
                  <a:pt x="14750" y="16656"/>
                  <a:pt x="14750" y="16656"/>
                  <a:pt x="14781" y="16656"/>
                </a:cubicBezTo>
                <a:cubicBezTo>
                  <a:pt x="14906" y="16594"/>
                  <a:pt x="15031" y="16531"/>
                  <a:pt x="15187" y="16531"/>
                </a:cubicBezTo>
                <a:cubicBezTo>
                  <a:pt x="15219" y="16531"/>
                  <a:pt x="15219" y="16500"/>
                  <a:pt x="15281" y="16469"/>
                </a:cubicBezTo>
                <a:cubicBezTo>
                  <a:pt x="15219" y="16469"/>
                  <a:pt x="15187" y="16469"/>
                  <a:pt x="15156" y="16500"/>
                </a:cubicBezTo>
                <a:cubicBezTo>
                  <a:pt x="15094" y="16531"/>
                  <a:pt x="15062" y="16500"/>
                  <a:pt x="15000" y="16500"/>
                </a:cubicBezTo>
                <a:cubicBezTo>
                  <a:pt x="15031" y="16438"/>
                  <a:pt x="15031" y="16375"/>
                  <a:pt x="15062" y="16344"/>
                </a:cubicBezTo>
                <a:cubicBezTo>
                  <a:pt x="15094" y="16344"/>
                  <a:pt x="15094" y="16313"/>
                  <a:pt x="15125" y="16313"/>
                </a:cubicBezTo>
                <a:cubicBezTo>
                  <a:pt x="15156" y="16281"/>
                  <a:pt x="15187" y="16219"/>
                  <a:pt x="15219" y="16156"/>
                </a:cubicBezTo>
                <a:cubicBezTo>
                  <a:pt x="15281" y="16250"/>
                  <a:pt x="15281" y="16406"/>
                  <a:pt x="15375" y="16469"/>
                </a:cubicBezTo>
                <a:cubicBezTo>
                  <a:pt x="15406" y="16469"/>
                  <a:pt x="15469" y="16469"/>
                  <a:pt x="15531" y="16469"/>
                </a:cubicBezTo>
                <a:cubicBezTo>
                  <a:pt x="15594" y="16469"/>
                  <a:pt x="15625" y="16469"/>
                  <a:pt x="15625" y="16406"/>
                </a:cubicBezTo>
                <a:cubicBezTo>
                  <a:pt x="15625" y="16344"/>
                  <a:pt x="15625" y="16313"/>
                  <a:pt x="15625" y="16281"/>
                </a:cubicBezTo>
                <a:cubicBezTo>
                  <a:pt x="15625" y="16250"/>
                  <a:pt x="15625" y="16188"/>
                  <a:pt x="15594" y="16188"/>
                </a:cubicBezTo>
                <a:cubicBezTo>
                  <a:pt x="15562" y="16188"/>
                  <a:pt x="15500" y="16188"/>
                  <a:pt x="15469" y="16250"/>
                </a:cubicBezTo>
                <a:cubicBezTo>
                  <a:pt x="15437" y="16250"/>
                  <a:pt x="15406" y="16281"/>
                  <a:pt x="15344" y="16281"/>
                </a:cubicBezTo>
                <a:cubicBezTo>
                  <a:pt x="15375" y="16219"/>
                  <a:pt x="15406" y="16188"/>
                  <a:pt x="15437" y="16125"/>
                </a:cubicBezTo>
                <a:cubicBezTo>
                  <a:pt x="15406" y="16125"/>
                  <a:pt x="15344" y="16125"/>
                  <a:pt x="15312" y="16125"/>
                </a:cubicBezTo>
                <a:cubicBezTo>
                  <a:pt x="15469" y="16031"/>
                  <a:pt x="15625" y="16000"/>
                  <a:pt x="15750" y="15938"/>
                </a:cubicBezTo>
                <a:cubicBezTo>
                  <a:pt x="15875" y="15875"/>
                  <a:pt x="16000" y="15844"/>
                  <a:pt x="16094" y="15719"/>
                </a:cubicBezTo>
                <a:cubicBezTo>
                  <a:pt x="16250" y="15563"/>
                  <a:pt x="16437" y="15406"/>
                  <a:pt x="16562" y="15219"/>
                </a:cubicBezTo>
                <a:cubicBezTo>
                  <a:pt x="16562" y="15188"/>
                  <a:pt x="16594" y="15188"/>
                  <a:pt x="16594" y="15188"/>
                </a:cubicBezTo>
                <a:cubicBezTo>
                  <a:pt x="16719" y="15219"/>
                  <a:pt x="16750" y="15125"/>
                  <a:pt x="16781" y="15094"/>
                </a:cubicBezTo>
                <a:cubicBezTo>
                  <a:pt x="16844" y="15000"/>
                  <a:pt x="16969" y="14938"/>
                  <a:pt x="17031" y="14875"/>
                </a:cubicBezTo>
                <a:cubicBezTo>
                  <a:pt x="17094" y="14844"/>
                  <a:pt x="17125" y="14813"/>
                  <a:pt x="17187" y="14781"/>
                </a:cubicBezTo>
                <a:cubicBezTo>
                  <a:pt x="17219" y="14750"/>
                  <a:pt x="17250" y="14719"/>
                  <a:pt x="17281" y="14719"/>
                </a:cubicBezTo>
                <a:cubicBezTo>
                  <a:pt x="17250" y="14750"/>
                  <a:pt x="17250" y="14781"/>
                  <a:pt x="17219" y="14781"/>
                </a:cubicBezTo>
                <a:cubicBezTo>
                  <a:pt x="17187" y="14813"/>
                  <a:pt x="17156" y="14844"/>
                  <a:pt x="17156" y="14844"/>
                </a:cubicBezTo>
                <a:cubicBezTo>
                  <a:pt x="16937" y="15031"/>
                  <a:pt x="16750" y="15219"/>
                  <a:pt x="16562" y="15375"/>
                </a:cubicBezTo>
                <a:cubicBezTo>
                  <a:pt x="16531" y="15406"/>
                  <a:pt x="16500" y="15406"/>
                  <a:pt x="16531" y="15438"/>
                </a:cubicBezTo>
                <a:cubicBezTo>
                  <a:pt x="16531" y="15469"/>
                  <a:pt x="16594" y="15500"/>
                  <a:pt x="16625" y="15500"/>
                </a:cubicBezTo>
                <a:cubicBezTo>
                  <a:pt x="16656" y="15469"/>
                  <a:pt x="16719" y="15469"/>
                  <a:pt x="16750" y="15438"/>
                </a:cubicBezTo>
                <a:cubicBezTo>
                  <a:pt x="16750" y="15406"/>
                  <a:pt x="16750" y="15406"/>
                  <a:pt x="16781" y="15406"/>
                </a:cubicBezTo>
                <a:cubicBezTo>
                  <a:pt x="16781" y="15406"/>
                  <a:pt x="16781" y="15406"/>
                  <a:pt x="16781" y="15406"/>
                </a:cubicBezTo>
                <a:cubicBezTo>
                  <a:pt x="16812" y="15406"/>
                  <a:pt x="16812" y="15375"/>
                  <a:pt x="16812" y="15406"/>
                </a:cubicBezTo>
                <a:cubicBezTo>
                  <a:pt x="16844" y="15406"/>
                  <a:pt x="16875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875" y="15469"/>
                  <a:pt x="16875" y="15469"/>
                  <a:pt x="16844" y="15469"/>
                </a:cubicBezTo>
                <a:cubicBezTo>
                  <a:pt x="16844" y="15469"/>
                  <a:pt x="16844" y="15469"/>
                  <a:pt x="16844" y="15469"/>
                </a:cubicBezTo>
                <a:cubicBezTo>
                  <a:pt x="16812" y="15469"/>
                  <a:pt x="16781" y="15438"/>
                  <a:pt x="16781" y="15500"/>
                </a:cubicBezTo>
                <a:cubicBezTo>
                  <a:pt x="16781" y="15531"/>
                  <a:pt x="16781" y="15594"/>
                  <a:pt x="16812" y="15656"/>
                </a:cubicBezTo>
                <a:cubicBezTo>
                  <a:pt x="16812" y="15656"/>
                  <a:pt x="16844" y="15656"/>
                  <a:pt x="16844" y="15656"/>
                </a:cubicBezTo>
                <a:cubicBezTo>
                  <a:pt x="16781" y="15563"/>
                  <a:pt x="16906" y="15531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06" y="15438"/>
                  <a:pt x="16906" y="15438"/>
                  <a:pt x="16906" y="15438"/>
                </a:cubicBezTo>
                <a:cubicBezTo>
                  <a:pt x="16969" y="15500"/>
                  <a:pt x="17062" y="15469"/>
                  <a:pt x="17125" y="15531"/>
                </a:cubicBezTo>
                <a:cubicBezTo>
                  <a:pt x="17125" y="15563"/>
                  <a:pt x="17156" y="15563"/>
                  <a:pt x="17187" y="15531"/>
                </a:cubicBezTo>
                <a:cubicBezTo>
                  <a:pt x="17250" y="15469"/>
                  <a:pt x="17312" y="15500"/>
                  <a:pt x="17312" y="15594"/>
                </a:cubicBezTo>
                <a:cubicBezTo>
                  <a:pt x="17312" y="15625"/>
                  <a:pt x="17312" y="15656"/>
                  <a:pt x="17344" y="15656"/>
                </a:cubicBezTo>
                <a:cubicBezTo>
                  <a:pt x="17375" y="15656"/>
                  <a:pt x="17375" y="15656"/>
                  <a:pt x="17406" y="15625"/>
                </a:cubicBezTo>
                <a:cubicBezTo>
                  <a:pt x="17406" y="15594"/>
                  <a:pt x="17437" y="15531"/>
                  <a:pt x="17437" y="15500"/>
                </a:cubicBezTo>
                <a:cubicBezTo>
                  <a:pt x="17437" y="15406"/>
                  <a:pt x="17500" y="15438"/>
                  <a:pt x="17531" y="15438"/>
                </a:cubicBezTo>
                <a:cubicBezTo>
                  <a:pt x="17562" y="15438"/>
                  <a:pt x="17562" y="15438"/>
                  <a:pt x="17594" y="15469"/>
                </a:cubicBezTo>
                <a:cubicBezTo>
                  <a:pt x="17594" y="15469"/>
                  <a:pt x="17594" y="15469"/>
                  <a:pt x="17594" y="15469"/>
                </a:cubicBezTo>
                <a:cubicBezTo>
                  <a:pt x="17594" y="15469"/>
                  <a:pt x="17594" y="15469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00"/>
                  <a:pt x="17594" y="15500"/>
                  <a:pt x="17594" y="15500"/>
                </a:cubicBezTo>
                <a:cubicBezTo>
                  <a:pt x="17594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25" y="15531"/>
                  <a:pt x="17625" y="15531"/>
                  <a:pt x="17625" y="15531"/>
                </a:cubicBezTo>
                <a:cubicBezTo>
                  <a:pt x="17656" y="15438"/>
                  <a:pt x="17719" y="15438"/>
                  <a:pt x="17781" y="15469"/>
                </a:cubicBezTo>
                <a:cubicBezTo>
                  <a:pt x="17844" y="15500"/>
                  <a:pt x="17875" y="15469"/>
                  <a:pt x="17937" y="15406"/>
                </a:cubicBezTo>
                <a:cubicBezTo>
                  <a:pt x="17969" y="15375"/>
                  <a:pt x="18094" y="15344"/>
                  <a:pt x="18094" y="15375"/>
                </a:cubicBezTo>
                <a:cubicBezTo>
                  <a:pt x="18156" y="15500"/>
                  <a:pt x="18250" y="15469"/>
                  <a:pt x="18344" y="15500"/>
                </a:cubicBezTo>
                <a:cubicBezTo>
                  <a:pt x="18406" y="15531"/>
                  <a:pt x="18594" y="15656"/>
                  <a:pt x="18594" y="15719"/>
                </a:cubicBezTo>
                <a:cubicBezTo>
                  <a:pt x="18594" y="15750"/>
                  <a:pt x="18594" y="15781"/>
                  <a:pt x="18562" y="15781"/>
                </a:cubicBezTo>
                <a:cubicBezTo>
                  <a:pt x="18469" y="15906"/>
                  <a:pt x="18344" y="15875"/>
                  <a:pt x="18219" y="15875"/>
                </a:cubicBezTo>
                <a:cubicBezTo>
                  <a:pt x="18219" y="15906"/>
                  <a:pt x="18219" y="15938"/>
                  <a:pt x="18250" y="15969"/>
                </a:cubicBezTo>
                <a:cubicBezTo>
                  <a:pt x="18250" y="15969"/>
                  <a:pt x="18250" y="16000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250" y="16031"/>
                  <a:pt x="18250" y="16031"/>
                  <a:pt x="18250" y="16031"/>
                </a:cubicBezTo>
                <a:cubicBezTo>
                  <a:pt x="18312" y="16000"/>
                  <a:pt x="18375" y="16031"/>
                  <a:pt x="18437" y="16000"/>
                </a:cubicBezTo>
                <a:cubicBezTo>
                  <a:pt x="18531" y="15969"/>
                  <a:pt x="18625" y="16031"/>
                  <a:pt x="18719" y="15969"/>
                </a:cubicBezTo>
                <a:cubicBezTo>
                  <a:pt x="18750" y="15969"/>
                  <a:pt x="18781" y="15969"/>
                  <a:pt x="18781" y="16000"/>
                </a:cubicBezTo>
                <a:cubicBezTo>
                  <a:pt x="18812" y="16031"/>
                  <a:pt x="18812" y="16031"/>
                  <a:pt x="18844" y="16031"/>
                </a:cubicBezTo>
                <a:cubicBezTo>
                  <a:pt x="19094" y="16031"/>
                  <a:pt x="19344" y="16063"/>
                  <a:pt x="19625" y="16125"/>
                </a:cubicBezTo>
                <a:cubicBezTo>
                  <a:pt x="19531" y="16156"/>
                  <a:pt x="19500" y="16219"/>
                  <a:pt x="19500" y="16250"/>
                </a:cubicBezTo>
                <a:cubicBezTo>
                  <a:pt x="19406" y="16313"/>
                  <a:pt x="19312" y="16344"/>
                  <a:pt x="19281" y="16438"/>
                </a:cubicBezTo>
                <a:cubicBezTo>
                  <a:pt x="19250" y="16438"/>
                  <a:pt x="19250" y="16500"/>
                  <a:pt x="19281" y="16531"/>
                </a:cubicBezTo>
                <a:cubicBezTo>
                  <a:pt x="19187" y="16594"/>
                  <a:pt x="19156" y="16719"/>
                  <a:pt x="19094" y="16813"/>
                </a:cubicBezTo>
                <a:cubicBezTo>
                  <a:pt x="18969" y="17031"/>
                  <a:pt x="18906" y="17281"/>
                  <a:pt x="18812" y="17500"/>
                </a:cubicBezTo>
                <a:cubicBezTo>
                  <a:pt x="18781" y="17594"/>
                  <a:pt x="18812" y="17688"/>
                  <a:pt x="18781" y="17781"/>
                </a:cubicBezTo>
                <a:cubicBezTo>
                  <a:pt x="18781" y="17906"/>
                  <a:pt x="18750" y="18031"/>
                  <a:pt x="18719" y="18156"/>
                </a:cubicBezTo>
                <a:cubicBezTo>
                  <a:pt x="18719" y="18219"/>
                  <a:pt x="18750" y="18313"/>
                  <a:pt x="18687" y="18344"/>
                </a:cubicBezTo>
                <a:cubicBezTo>
                  <a:pt x="18656" y="18406"/>
                  <a:pt x="18656" y="18438"/>
                  <a:pt x="18656" y="18500"/>
                </a:cubicBezTo>
                <a:cubicBezTo>
                  <a:pt x="18687" y="18594"/>
                  <a:pt x="18687" y="18719"/>
                  <a:pt x="18594" y="18813"/>
                </a:cubicBezTo>
                <a:cubicBezTo>
                  <a:pt x="18562" y="18844"/>
                  <a:pt x="18531" y="18906"/>
                  <a:pt x="18531" y="18969"/>
                </a:cubicBezTo>
                <a:cubicBezTo>
                  <a:pt x="18469" y="19125"/>
                  <a:pt x="18406" y="19312"/>
                  <a:pt x="18375" y="19500"/>
                </a:cubicBezTo>
                <a:cubicBezTo>
                  <a:pt x="18344" y="19625"/>
                  <a:pt x="18312" y="19781"/>
                  <a:pt x="18250" y="19906"/>
                </a:cubicBezTo>
                <a:cubicBezTo>
                  <a:pt x="18156" y="20219"/>
                  <a:pt x="18125" y="20562"/>
                  <a:pt x="17969" y="20844"/>
                </a:cubicBezTo>
                <a:cubicBezTo>
                  <a:pt x="17937" y="20906"/>
                  <a:pt x="17937" y="20969"/>
                  <a:pt x="17937" y="21000"/>
                </a:cubicBezTo>
                <a:cubicBezTo>
                  <a:pt x="17937" y="21031"/>
                  <a:pt x="17937" y="21062"/>
                  <a:pt x="17969" y="21062"/>
                </a:cubicBezTo>
                <a:cubicBezTo>
                  <a:pt x="18094" y="21125"/>
                  <a:pt x="18219" y="21156"/>
                  <a:pt x="18375" y="21156"/>
                </a:cubicBezTo>
                <a:cubicBezTo>
                  <a:pt x="18406" y="21156"/>
                  <a:pt x="18437" y="21219"/>
                  <a:pt x="18437" y="21187"/>
                </a:cubicBezTo>
                <a:cubicBezTo>
                  <a:pt x="18500" y="21094"/>
                  <a:pt x="18594" y="21125"/>
                  <a:pt x="18656" y="21094"/>
                </a:cubicBezTo>
                <a:cubicBezTo>
                  <a:pt x="18781" y="21062"/>
                  <a:pt x="18875" y="21000"/>
                  <a:pt x="18969" y="20937"/>
                </a:cubicBezTo>
                <a:cubicBezTo>
                  <a:pt x="19062" y="20812"/>
                  <a:pt x="19156" y="20719"/>
                  <a:pt x="19219" y="20594"/>
                </a:cubicBezTo>
                <a:cubicBezTo>
                  <a:pt x="19344" y="20437"/>
                  <a:pt x="19406" y="20281"/>
                  <a:pt x="19500" y="20125"/>
                </a:cubicBezTo>
                <a:cubicBezTo>
                  <a:pt x="19594" y="19969"/>
                  <a:pt x="19687" y="19781"/>
                  <a:pt x="19750" y="19594"/>
                </a:cubicBezTo>
                <a:cubicBezTo>
                  <a:pt x="19781" y="19531"/>
                  <a:pt x="19875" y="19531"/>
                  <a:pt x="19875" y="19437"/>
                </a:cubicBezTo>
                <a:cubicBezTo>
                  <a:pt x="19906" y="19375"/>
                  <a:pt x="19969" y="19281"/>
                  <a:pt x="20000" y="19219"/>
                </a:cubicBezTo>
                <a:cubicBezTo>
                  <a:pt x="20062" y="19094"/>
                  <a:pt x="20094" y="18969"/>
                  <a:pt x="20125" y="18813"/>
                </a:cubicBezTo>
                <a:cubicBezTo>
                  <a:pt x="20187" y="18656"/>
                  <a:pt x="20250" y="18500"/>
                  <a:pt x="20312" y="18313"/>
                </a:cubicBezTo>
                <a:cubicBezTo>
                  <a:pt x="20312" y="18281"/>
                  <a:pt x="20344" y="18281"/>
                  <a:pt x="20344" y="18250"/>
                </a:cubicBezTo>
                <a:cubicBezTo>
                  <a:pt x="20312" y="18094"/>
                  <a:pt x="20437" y="18000"/>
                  <a:pt x="20469" y="17844"/>
                </a:cubicBezTo>
                <a:cubicBezTo>
                  <a:pt x="20469" y="17750"/>
                  <a:pt x="20562" y="17688"/>
                  <a:pt x="20562" y="17594"/>
                </a:cubicBezTo>
                <a:cubicBezTo>
                  <a:pt x="20562" y="17406"/>
                  <a:pt x="20687" y="17250"/>
                  <a:pt x="20750" y="17094"/>
                </a:cubicBezTo>
                <a:cubicBezTo>
                  <a:pt x="20781" y="17031"/>
                  <a:pt x="20781" y="16938"/>
                  <a:pt x="20844" y="16906"/>
                </a:cubicBezTo>
                <a:cubicBezTo>
                  <a:pt x="20906" y="16813"/>
                  <a:pt x="20969" y="16750"/>
                  <a:pt x="20969" y="16625"/>
                </a:cubicBezTo>
                <a:cubicBezTo>
                  <a:pt x="21000" y="16594"/>
                  <a:pt x="21000" y="16563"/>
                  <a:pt x="21031" y="16594"/>
                </a:cubicBezTo>
                <a:cubicBezTo>
                  <a:pt x="21094" y="16594"/>
                  <a:pt x="21094" y="16625"/>
                  <a:pt x="21094" y="16656"/>
                </a:cubicBezTo>
                <a:cubicBezTo>
                  <a:pt x="21062" y="16688"/>
                  <a:pt x="21062" y="16719"/>
                  <a:pt x="21094" y="16750"/>
                </a:cubicBezTo>
                <a:cubicBezTo>
                  <a:pt x="21094" y="16781"/>
                  <a:pt x="21094" y="16781"/>
                  <a:pt x="21094" y="16813"/>
                </a:cubicBezTo>
                <a:cubicBezTo>
                  <a:pt x="21094" y="16813"/>
                  <a:pt x="21094" y="16813"/>
                  <a:pt x="21094" y="16844"/>
                </a:cubicBezTo>
                <a:cubicBezTo>
                  <a:pt x="21094" y="16844"/>
                  <a:pt x="21094" y="16844"/>
                  <a:pt x="21094" y="16844"/>
                </a:cubicBezTo>
                <a:cubicBezTo>
                  <a:pt x="21094" y="16906"/>
                  <a:pt x="21094" y="16938"/>
                  <a:pt x="21094" y="17000"/>
                </a:cubicBezTo>
                <a:cubicBezTo>
                  <a:pt x="21094" y="17031"/>
                  <a:pt x="21094" y="17063"/>
                  <a:pt x="21094" y="17125"/>
                </a:cubicBezTo>
                <a:cubicBezTo>
                  <a:pt x="21094" y="17125"/>
                  <a:pt x="21125" y="17156"/>
                  <a:pt x="21125" y="17188"/>
                </a:cubicBezTo>
                <a:cubicBezTo>
                  <a:pt x="21125" y="17188"/>
                  <a:pt x="21125" y="17219"/>
                  <a:pt x="21125" y="17219"/>
                </a:cubicBezTo>
                <a:cubicBezTo>
                  <a:pt x="21156" y="17125"/>
                  <a:pt x="21219" y="17063"/>
                  <a:pt x="21219" y="16969"/>
                </a:cubicBezTo>
                <a:cubicBezTo>
                  <a:pt x="21219" y="16906"/>
                  <a:pt x="21250" y="16844"/>
                  <a:pt x="21281" y="16781"/>
                </a:cubicBezTo>
                <a:cubicBezTo>
                  <a:pt x="21281" y="16750"/>
                  <a:pt x="21312" y="16719"/>
                  <a:pt x="21375" y="16719"/>
                </a:cubicBezTo>
                <a:cubicBezTo>
                  <a:pt x="21406" y="16719"/>
                  <a:pt x="21375" y="16781"/>
                  <a:pt x="21375" y="16813"/>
                </a:cubicBezTo>
                <a:cubicBezTo>
                  <a:pt x="21375" y="16844"/>
                  <a:pt x="21375" y="16875"/>
                  <a:pt x="21375" y="16906"/>
                </a:cubicBezTo>
                <a:cubicBezTo>
                  <a:pt x="21406" y="16813"/>
                  <a:pt x="21500" y="16750"/>
                  <a:pt x="21437" y="16625"/>
                </a:cubicBezTo>
                <a:cubicBezTo>
                  <a:pt x="21437" y="16594"/>
                  <a:pt x="21437" y="16594"/>
                  <a:pt x="21469" y="16563"/>
                </a:cubicBezTo>
                <a:cubicBezTo>
                  <a:pt x="21469" y="16500"/>
                  <a:pt x="21500" y="16406"/>
                  <a:pt x="21500" y="16344"/>
                </a:cubicBezTo>
                <a:cubicBezTo>
                  <a:pt x="21500" y="16188"/>
                  <a:pt x="21500" y="16031"/>
                  <a:pt x="21594" y="15906"/>
                </a:cubicBezTo>
                <a:cubicBezTo>
                  <a:pt x="21625" y="15844"/>
                  <a:pt x="21625" y="15813"/>
                  <a:pt x="21594" y="15750"/>
                </a:cubicBezTo>
                <a:cubicBezTo>
                  <a:pt x="21562" y="15656"/>
                  <a:pt x="21406" y="15594"/>
                  <a:pt x="21469" y="15438"/>
                </a:cubicBezTo>
                <a:cubicBezTo>
                  <a:pt x="21469" y="15438"/>
                  <a:pt x="21437" y="15438"/>
                  <a:pt x="21437" y="15438"/>
                </a:cubicBezTo>
                <a:cubicBezTo>
                  <a:pt x="21437" y="15438"/>
                  <a:pt x="21406" y="15438"/>
                  <a:pt x="21406" y="15406"/>
                </a:cubicBezTo>
                <a:cubicBezTo>
                  <a:pt x="21406" y="15375"/>
                  <a:pt x="21437" y="15375"/>
                  <a:pt x="21469" y="15375"/>
                </a:cubicBezTo>
                <a:cubicBezTo>
                  <a:pt x="21500" y="15375"/>
                  <a:pt x="21531" y="15406"/>
                  <a:pt x="21594" y="15375"/>
                </a:cubicBezTo>
                <a:cubicBezTo>
                  <a:pt x="21656" y="15344"/>
                  <a:pt x="21656" y="15375"/>
                  <a:pt x="21656" y="15438"/>
                </a:cubicBezTo>
                <a:cubicBezTo>
                  <a:pt x="21656" y="15500"/>
                  <a:pt x="21656" y="15563"/>
                  <a:pt x="21687" y="15625"/>
                </a:cubicBezTo>
                <a:cubicBezTo>
                  <a:pt x="21719" y="15688"/>
                  <a:pt x="21750" y="15688"/>
                  <a:pt x="21781" y="15625"/>
                </a:cubicBezTo>
                <a:cubicBezTo>
                  <a:pt x="21875" y="15500"/>
                  <a:pt x="21875" y="15281"/>
                  <a:pt x="21750" y="15188"/>
                </a:cubicBezTo>
                <a:cubicBezTo>
                  <a:pt x="21594" y="15094"/>
                  <a:pt x="21531" y="14938"/>
                  <a:pt x="21437" y="14813"/>
                </a:cubicBezTo>
                <a:cubicBezTo>
                  <a:pt x="21437" y="14781"/>
                  <a:pt x="21406" y="14750"/>
                  <a:pt x="21375" y="14750"/>
                </a:cubicBezTo>
                <a:cubicBezTo>
                  <a:pt x="21281" y="14719"/>
                  <a:pt x="21187" y="14656"/>
                  <a:pt x="21094" y="14688"/>
                </a:cubicBezTo>
                <a:cubicBezTo>
                  <a:pt x="21031" y="14719"/>
                  <a:pt x="21000" y="14688"/>
                  <a:pt x="20969" y="14656"/>
                </a:cubicBezTo>
                <a:cubicBezTo>
                  <a:pt x="20906" y="14625"/>
                  <a:pt x="20875" y="14625"/>
                  <a:pt x="20844" y="14594"/>
                </a:cubicBezTo>
                <a:cubicBezTo>
                  <a:pt x="20687" y="14500"/>
                  <a:pt x="20500" y="14563"/>
                  <a:pt x="20344" y="14531"/>
                </a:cubicBezTo>
                <a:cubicBezTo>
                  <a:pt x="20281" y="14500"/>
                  <a:pt x="20250" y="14438"/>
                  <a:pt x="20187" y="14438"/>
                </a:cubicBezTo>
                <a:cubicBezTo>
                  <a:pt x="20062" y="14406"/>
                  <a:pt x="19937" y="14406"/>
                  <a:pt x="19875" y="14313"/>
                </a:cubicBezTo>
                <a:cubicBezTo>
                  <a:pt x="19844" y="14281"/>
                  <a:pt x="19812" y="14281"/>
                  <a:pt x="19750" y="14281"/>
                </a:cubicBezTo>
                <a:cubicBezTo>
                  <a:pt x="19594" y="14313"/>
                  <a:pt x="19469" y="14219"/>
                  <a:pt x="19406" y="14063"/>
                </a:cubicBezTo>
                <a:cubicBezTo>
                  <a:pt x="19406" y="14063"/>
                  <a:pt x="19406" y="14031"/>
                  <a:pt x="19375" y="14031"/>
                </a:cubicBezTo>
                <a:cubicBezTo>
                  <a:pt x="19281" y="14000"/>
                  <a:pt x="19156" y="13938"/>
                  <a:pt x="19031" y="13875"/>
                </a:cubicBezTo>
                <a:cubicBezTo>
                  <a:pt x="18906" y="13813"/>
                  <a:pt x="18750" y="13781"/>
                  <a:pt x="18625" y="13719"/>
                </a:cubicBezTo>
                <a:cubicBezTo>
                  <a:pt x="18594" y="13688"/>
                  <a:pt x="18531" y="13688"/>
                  <a:pt x="18500" y="13719"/>
                </a:cubicBezTo>
                <a:cubicBezTo>
                  <a:pt x="18469" y="13750"/>
                  <a:pt x="18437" y="13719"/>
                  <a:pt x="18406" y="13688"/>
                </a:cubicBezTo>
                <a:cubicBezTo>
                  <a:pt x="18406" y="13688"/>
                  <a:pt x="18375" y="13656"/>
                  <a:pt x="18375" y="13625"/>
                </a:cubicBezTo>
                <a:cubicBezTo>
                  <a:pt x="18281" y="13563"/>
                  <a:pt x="18219" y="13594"/>
                  <a:pt x="18125" y="13656"/>
                </a:cubicBezTo>
                <a:cubicBezTo>
                  <a:pt x="18125" y="13656"/>
                  <a:pt x="18125" y="13656"/>
                  <a:pt x="18094" y="13688"/>
                </a:cubicBezTo>
                <a:cubicBezTo>
                  <a:pt x="18094" y="13688"/>
                  <a:pt x="18094" y="13688"/>
                  <a:pt x="18062" y="13688"/>
                </a:cubicBezTo>
                <a:cubicBezTo>
                  <a:pt x="18062" y="13688"/>
                  <a:pt x="18062" y="13719"/>
                  <a:pt x="18031" y="13719"/>
                </a:cubicBezTo>
                <a:cubicBezTo>
                  <a:pt x="18031" y="13719"/>
                  <a:pt x="18031" y="13750"/>
                  <a:pt x="18000" y="13750"/>
                </a:cubicBezTo>
                <a:cubicBezTo>
                  <a:pt x="18000" y="13750"/>
                  <a:pt x="18000" y="13750"/>
                  <a:pt x="18000" y="13750"/>
                </a:cubicBezTo>
                <a:cubicBezTo>
                  <a:pt x="18000" y="13750"/>
                  <a:pt x="18000" y="13750"/>
                  <a:pt x="17969" y="13750"/>
                </a:cubicBezTo>
                <a:cubicBezTo>
                  <a:pt x="17969" y="13750"/>
                  <a:pt x="17969" y="13750"/>
                  <a:pt x="17969" y="13750"/>
                </a:cubicBezTo>
                <a:cubicBezTo>
                  <a:pt x="18000" y="13688"/>
                  <a:pt x="18031" y="13656"/>
                  <a:pt x="18062" y="13625"/>
                </a:cubicBezTo>
                <a:cubicBezTo>
                  <a:pt x="18094" y="13594"/>
                  <a:pt x="18094" y="13594"/>
                  <a:pt x="18125" y="13563"/>
                </a:cubicBezTo>
                <a:cubicBezTo>
                  <a:pt x="18187" y="13500"/>
                  <a:pt x="18281" y="13469"/>
                  <a:pt x="18312" y="13375"/>
                </a:cubicBezTo>
                <a:cubicBezTo>
                  <a:pt x="18375" y="13438"/>
                  <a:pt x="18437" y="13469"/>
                  <a:pt x="18531" y="13438"/>
                </a:cubicBezTo>
                <a:cubicBezTo>
                  <a:pt x="18500" y="13438"/>
                  <a:pt x="18469" y="13406"/>
                  <a:pt x="18437" y="13406"/>
                </a:cubicBezTo>
                <a:cubicBezTo>
                  <a:pt x="18406" y="13375"/>
                  <a:pt x="18375" y="13375"/>
                  <a:pt x="18312" y="13375"/>
                </a:cubicBezTo>
                <a:cubicBezTo>
                  <a:pt x="18281" y="13375"/>
                  <a:pt x="18219" y="13406"/>
                  <a:pt x="18187" y="13406"/>
                </a:cubicBezTo>
                <a:cubicBezTo>
                  <a:pt x="18156" y="13438"/>
                  <a:pt x="18156" y="13438"/>
                  <a:pt x="18125" y="13438"/>
                </a:cubicBezTo>
                <a:cubicBezTo>
                  <a:pt x="18094" y="13438"/>
                  <a:pt x="18031" y="13531"/>
                  <a:pt x="18000" y="13500"/>
                </a:cubicBezTo>
                <a:cubicBezTo>
                  <a:pt x="17937" y="13438"/>
                  <a:pt x="18031" y="13406"/>
                  <a:pt x="18062" y="13344"/>
                </a:cubicBezTo>
                <a:cubicBezTo>
                  <a:pt x="18062" y="13313"/>
                  <a:pt x="18094" y="13281"/>
                  <a:pt x="18062" y="13250"/>
                </a:cubicBezTo>
                <a:cubicBezTo>
                  <a:pt x="18031" y="13188"/>
                  <a:pt x="18000" y="13250"/>
                  <a:pt x="17969" y="13250"/>
                </a:cubicBezTo>
                <a:cubicBezTo>
                  <a:pt x="17969" y="13250"/>
                  <a:pt x="17969" y="13250"/>
                  <a:pt x="17937" y="13250"/>
                </a:cubicBezTo>
                <a:cubicBezTo>
                  <a:pt x="17937" y="13250"/>
                  <a:pt x="17906" y="13281"/>
                  <a:pt x="17906" y="13281"/>
                </a:cubicBezTo>
                <a:cubicBezTo>
                  <a:pt x="17844" y="13281"/>
                  <a:pt x="17781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719" y="13281"/>
                  <a:pt x="17719" y="13281"/>
                  <a:pt x="17719" y="13281"/>
                </a:cubicBezTo>
                <a:cubicBezTo>
                  <a:pt x="17687" y="13281"/>
                  <a:pt x="17687" y="13281"/>
                  <a:pt x="17687" y="13281"/>
                </a:cubicBezTo>
                <a:cubicBezTo>
                  <a:pt x="17656" y="13281"/>
                  <a:pt x="17594" y="13281"/>
                  <a:pt x="17531" y="13281"/>
                </a:cubicBezTo>
                <a:cubicBezTo>
                  <a:pt x="17500" y="13281"/>
                  <a:pt x="17469" y="13281"/>
                  <a:pt x="17469" y="13281"/>
                </a:cubicBezTo>
                <a:cubicBezTo>
                  <a:pt x="17469" y="13281"/>
                  <a:pt x="17469" y="13250"/>
                  <a:pt x="17437" y="13250"/>
                </a:cubicBezTo>
                <a:cubicBezTo>
                  <a:pt x="17437" y="13250"/>
                  <a:pt x="17406" y="13250"/>
                  <a:pt x="17375" y="13250"/>
                </a:cubicBezTo>
                <a:cubicBezTo>
                  <a:pt x="17375" y="13250"/>
                  <a:pt x="17344" y="13281"/>
                  <a:pt x="17344" y="13281"/>
                </a:cubicBezTo>
                <a:cubicBezTo>
                  <a:pt x="17312" y="13281"/>
                  <a:pt x="17281" y="13281"/>
                  <a:pt x="17250" y="13281"/>
                </a:cubicBezTo>
                <a:cubicBezTo>
                  <a:pt x="17156" y="13219"/>
                  <a:pt x="17062" y="13250"/>
                  <a:pt x="16969" y="13250"/>
                </a:cubicBezTo>
                <a:cubicBezTo>
                  <a:pt x="17031" y="13188"/>
                  <a:pt x="17062" y="13219"/>
                  <a:pt x="17094" y="13188"/>
                </a:cubicBezTo>
                <a:cubicBezTo>
                  <a:pt x="17125" y="13188"/>
                  <a:pt x="17187" y="13219"/>
                  <a:pt x="17219" y="13188"/>
                </a:cubicBezTo>
                <a:cubicBezTo>
                  <a:pt x="17250" y="13188"/>
                  <a:pt x="17281" y="13156"/>
                  <a:pt x="17312" y="13125"/>
                </a:cubicBezTo>
                <a:cubicBezTo>
                  <a:pt x="17312" y="13094"/>
                  <a:pt x="17281" y="13063"/>
                  <a:pt x="17281" y="13063"/>
                </a:cubicBezTo>
                <a:cubicBezTo>
                  <a:pt x="17219" y="13031"/>
                  <a:pt x="17187" y="13031"/>
                  <a:pt x="17156" y="13063"/>
                </a:cubicBezTo>
                <a:cubicBezTo>
                  <a:pt x="17156" y="13094"/>
                  <a:pt x="17125" y="13094"/>
                  <a:pt x="17094" y="13125"/>
                </a:cubicBezTo>
                <a:cubicBezTo>
                  <a:pt x="17094" y="13156"/>
                  <a:pt x="17094" y="13156"/>
                  <a:pt x="17062" y="13156"/>
                </a:cubicBezTo>
                <a:cubicBezTo>
                  <a:pt x="17031" y="13156"/>
                  <a:pt x="17031" y="13125"/>
                  <a:pt x="17031" y="13094"/>
                </a:cubicBezTo>
                <a:cubicBezTo>
                  <a:pt x="17031" y="13094"/>
                  <a:pt x="17031" y="13063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31" y="13031"/>
                  <a:pt x="17031" y="13031"/>
                  <a:pt x="17031" y="13031"/>
                </a:cubicBezTo>
                <a:cubicBezTo>
                  <a:pt x="17062" y="13031"/>
                  <a:pt x="17062" y="13000"/>
                  <a:pt x="17062" y="13000"/>
                </a:cubicBezTo>
                <a:cubicBezTo>
                  <a:pt x="17062" y="13000"/>
                  <a:pt x="17062" y="13000"/>
                  <a:pt x="17062" y="13000"/>
                </a:cubicBezTo>
                <a:cubicBezTo>
                  <a:pt x="17062" y="13000"/>
                  <a:pt x="17062" y="12969"/>
                  <a:pt x="17062" y="12969"/>
                </a:cubicBezTo>
                <a:cubicBezTo>
                  <a:pt x="17062" y="12969"/>
                  <a:pt x="17062" y="12969"/>
                  <a:pt x="17062" y="12969"/>
                </a:cubicBezTo>
                <a:cubicBezTo>
                  <a:pt x="17031" y="13000"/>
                  <a:pt x="17031" y="13000"/>
                  <a:pt x="17031" y="13031"/>
                </a:cubicBezTo>
                <a:cubicBezTo>
                  <a:pt x="16969" y="13000"/>
                  <a:pt x="16844" y="13094"/>
                  <a:pt x="16844" y="13188"/>
                </a:cubicBezTo>
                <a:cubicBezTo>
                  <a:pt x="16844" y="13188"/>
                  <a:pt x="16844" y="13219"/>
                  <a:pt x="16844" y="13219"/>
                </a:cubicBezTo>
                <a:cubicBezTo>
                  <a:pt x="16844" y="13250"/>
                  <a:pt x="16812" y="13250"/>
                  <a:pt x="16781" y="13250"/>
                </a:cubicBezTo>
                <a:cubicBezTo>
                  <a:pt x="16750" y="13219"/>
                  <a:pt x="16750" y="13219"/>
                  <a:pt x="16750" y="13188"/>
                </a:cubicBezTo>
                <a:cubicBezTo>
                  <a:pt x="16750" y="13125"/>
                  <a:pt x="16781" y="13094"/>
                  <a:pt x="16812" y="13063"/>
                </a:cubicBezTo>
                <a:cubicBezTo>
                  <a:pt x="16844" y="13031"/>
                  <a:pt x="16875" y="13000"/>
                  <a:pt x="16906" y="12969"/>
                </a:cubicBezTo>
                <a:cubicBezTo>
                  <a:pt x="16719" y="12938"/>
                  <a:pt x="16750" y="12938"/>
                  <a:pt x="16625" y="13063"/>
                </a:cubicBezTo>
                <a:cubicBezTo>
                  <a:pt x="16594" y="13094"/>
                  <a:pt x="16531" y="13094"/>
                  <a:pt x="16531" y="13063"/>
                </a:cubicBezTo>
                <a:cubicBezTo>
                  <a:pt x="16500" y="13031"/>
                  <a:pt x="16500" y="13031"/>
                  <a:pt x="16469" y="13000"/>
                </a:cubicBezTo>
                <a:cubicBezTo>
                  <a:pt x="16437" y="13000"/>
                  <a:pt x="16406" y="13000"/>
                  <a:pt x="16375" y="13000"/>
                </a:cubicBezTo>
                <a:cubicBezTo>
                  <a:pt x="16375" y="13000"/>
                  <a:pt x="16375" y="13000"/>
                  <a:pt x="16375" y="12969"/>
                </a:cubicBezTo>
                <a:cubicBezTo>
                  <a:pt x="16375" y="12969"/>
                  <a:pt x="16375" y="12969"/>
                  <a:pt x="16344" y="12969"/>
                </a:cubicBezTo>
                <a:cubicBezTo>
                  <a:pt x="16344" y="12969"/>
                  <a:pt x="16344" y="12969"/>
                  <a:pt x="16344" y="12969"/>
                </a:cubicBezTo>
                <a:cubicBezTo>
                  <a:pt x="16344" y="12969"/>
                  <a:pt x="16344" y="12969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44" y="13000"/>
                  <a:pt x="16344" y="13000"/>
                </a:cubicBezTo>
                <a:cubicBezTo>
                  <a:pt x="16344" y="13000"/>
                  <a:pt x="16375" y="13000"/>
                  <a:pt x="16375" y="13000"/>
                </a:cubicBezTo>
                <a:cubicBezTo>
                  <a:pt x="16375" y="13031"/>
                  <a:pt x="16375" y="13094"/>
                  <a:pt x="16344" y="13094"/>
                </a:cubicBezTo>
                <a:cubicBezTo>
                  <a:pt x="16219" y="13094"/>
                  <a:pt x="16094" y="13094"/>
                  <a:pt x="15969" y="13063"/>
                </a:cubicBezTo>
                <a:cubicBezTo>
                  <a:pt x="16000" y="13063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00" y="13031"/>
                  <a:pt x="16000" y="13031"/>
                  <a:pt x="16000" y="13031"/>
                </a:cubicBezTo>
                <a:cubicBezTo>
                  <a:pt x="16094" y="13000"/>
                  <a:pt x="16156" y="12969"/>
                  <a:pt x="16250" y="12906"/>
                </a:cubicBezTo>
                <a:cubicBezTo>
                  <a:pt x="16250" y="12906"/>
                  <a:pt x="16281" y="12906"/>
                  <a:pt x="16312" y="12875"/>
                </a:cubicBezTo>
                <a:cubicBezTo>
                  <a:pt x="16375" y="12875"/>
                  <a:pt x="16406" y="12844"/>
                  <a:pt x="16437" y="12844"/>
                </a:cubicBezTo>
                <a:cubicBezTo>
                  <a:pt x="16375" y="12813"/>
                  <a:pt x="16375" y="12781"/>
                  <a:pt x="16344" y="12750"/>
                </a:cubicBezTo>
                <a:cubicBezTo>
                  <a:pt x="16344" y="12688"/>
                  <a:pt x="16312" y="12594"/>
                  <a:pt x="16219" y="12656"/>
                </a:cubicBezTo>
                <a:cubicBezTo>
                  <a:pt x="16219" y="12656"/>
                  <a:pt x="16187" y="12688"/>
                  <a:pt x="16187" y="12688"/>
                </a:cubicBezTo>
                <a:cubicBezTo>
                  <a:pt x="16156" y="12688"/>
                  <a:pt x="16156" y="12688"/>
                  <a:pt x="16156" y="12719"/>
                </a:cubicBezTo>
                <a:cubicBezTo>
                  <a:pt x="16094" y="12719"/>
                  <a:pt x="16062" y="12750"/>
                  <a:pt x="16031" y="12781"/>
                </a:cubicBezTo>
                <a:cubicBezTo>
                  <a:pt x="16000" y="12781"/>
                  <a:pt x="15969" y="12813"/>
                  <a:pt x="15937" y="12813"/>
                </a:cubicBezTo>
                <a:cubicBezTo>
                  <a:pt x="15937" y="12781"/>
                  <a:pt x="15937" y="12750"/>
                  <a:pt x="15937" y="12688"/>
                </a:cubicBezTo>
                <a:cubicBezTo>
                  <a:pt x="15937" y="12688"/>
                  <a:pt x="15937" y="12688"/>
                  <a:pt x="15937" y="12688"/>
                </a:cubicBezTo>
                <a:cubicBezTo>
                  <a:pt x="15937" y="12625"/>
                  <a:pt x="15969" y="12594"/>
                  <a:pt x="15937" y="12563"/>
                </a:cubicBezTo>
                <a:cubicBezTo>
                  <a:pt x="15937" y="12563"/>
                  <a:pt x="15937" y="12563"/>
                  <a:pt x="15937" y="12531"/>
                </a:cubicBezTo>
                <a:cubicBezTo>
                  <a:pt x="15906" y="12500"/>
                  <a:pt x="15875" y="12438"/>
                  <a:pt x="15844" y="12406"/>
                </a:cubicBezTo>
                <a:cubicBezTo>
                  <a:pt x="15812" y="12375"/>
                  <a:pt x="15781" y="12344"/>
                  <a:pt x="15719" y="12344"/>
                </a:cubicBezTo>
                <a:cubicBezTo>
                  <a:pt x="15687" y="12281"/>
                  <a:pt x="15687" y="12219"/>
                  <a:pt x="15656" y="12156"/>
                </a:cubicBezTo>
                <a:cubicBezTo>
                  <a:pt x="15625" y="12156"/>
                  <a:pt x="15625" y="12125"/>
                  <a:pt x="15594" y="12125"/>
                </a:cubicBezTo>
                <a:cubicBezTo>
                  <a:pt x="15562" y="12156"/>
                  <a:pt x="15594" y="12219"/>
                  <a:pt x="15562" y="12281"/>
                </a:cubicBezTo>
                <a:cubicBezTo>
                  <a:pt x="15562" y="12281"/>
                  <a:pt x="15562" y="12281"/>
                  <a:pt x="15562" y="12281"/>
                </a:cubicBezTo>
                <a:cubicBezTo>
                  <a:pt x="15531" y="12250"/>
                  <a:pt x="15531" y="12188"/>
                  <a:pt x="15531" y="12156"/>
                </a:cubicBezTo>
                <a:cubicBezTo>
                  <a:pt x="15531" y="12125"/>
                  <a:pt x="15500" y="12094"/>
                  <a:pt x="15500" y="12094"/>
                </a:cubicBezTo>
                <a:cubicBezTo>
                  <a:pt x="15500" y="12094"/>
                  <a:pt x="15500" y="12063"/>
                  <a:pt x="15500" y="12063"/>
                </a:cubicBezTo>
                <a:cubicBezTo>
                  <a:pt x="15500" y="12063"/>
                  <a:pt x="15500" y="12063"/>
                  <a:pt x="15500" y="12031"/>
                </a:cubicBezTo>
                <a:cubicBezTo>
                  <a:pt x="15406" y="11844"/>
                  <a:pt x="15281" y="11688"/>
                  <a:pt x="15094" y="11563"/>
                </a:cubicBezTo>
                <a:cubicBezTo>
                  <a:pt x="15062" y="11531"/>
                  <a:pt x="15031" y="11500"/>
                  <a:pt x="15000" y="11500"/>
                </a:cubicBezTo>
                <a:cubicBezTo>
                  <a:pt x="15062" y="11656"/>
                  <a:pt x="15156" y="11750"/>
                  <a:pt x="15219" y="11844"/>
                </a:cubicBezTo>
                <a:cubicBezTo>
                  <a:pt x="15312" y="12000"/>
                  <a:pt x="15312" y="12188"/>
                  <a:pt x="15500" y="12281"/>
                </a:cubicBezTo>
                <a:cubicBezTo>
                  <a:pt x="15500" y="12281"/>
                  <a:pt x="15500" y="12281"/>
                  <a:pt x="15500" y="12281"/>
                </a:cubicBezTo>
                <a:cubicBezTo>
                  <a:pt x="15500" y="12281"/>
                  <a:pt x="15500" y="12281"/>
                  <a:pt x="15500" y="12313"/>
                </a:cubicBezTo>
                <a:cubicBezTo>
                  <a:pt x="15469" y="12313"/>
                  <a:pt x="15437" y="12313"/>
                  <a:pt x="15406" y="12313"/>
                </a:cubicBezTo>
                <a:cubicBezTo>
                  <a:pt x="15406" y="12313"/>
                  <a:pt x="15406" y="12313"/>
                  <a:pt x="15406" y="12313"/>
                </a:cubicBezTo>
                <a:cubicBezTo>
                  <a:pt x="15375" y="12313"/>
                  <a:pt x="15375" y="12281"/>
                  <a:pt x="15375" y="12281"/>
                </a:cubicBezTo>
                <a:cubicBezTo>
                  <a:pt x="15344" y="12250"/>
                  <a:pt x="15312" y="12250"/>
                  <a:pt x="15312" y="12219"/>
                </a:cubicBezTo>
                <a:cubicBezTo>
                  <a:pt x="15281" y="12219"/>
                  <a:pt x="15250" y="12219"/>
                  <a:pt x="15219" y="12219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219" y="12188"/>
                  <a:pt x="15219" y="12188"/>
                  <a:pt x="15219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88"/>
                  <a:pt x="15187" y="12188"/>
                  <a:pt x="15187" y="12188"/>
                </a:cubicBezTo>
                <a:cubicBezTo>
                  <a:pt x="15187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56" y="12156"/>
                </a:cubicBezTo>
                <a:cubicBezTo>
                  <a:pt x="15156" y="12156"/>
                  <a:pt x="15156" y="12156"/>
                  <a:pt x="15125" y="12156"/>
                </a:cubicBezTo>
                <a:cubicBezTo>
                  <a:pt x="15125" y="12156"/>
                  <a:pt x="15125" y="12156"/>
                  <a:pt x="15156" y="12156"/>
                </a:cubicBezTo>
                <a:cubicBezTo>
                  <a:pt x="15156" y="12219"/>
                  <a:pt x="15187" y="12219"/>
                  <a:pt x="15219" y="12219"/>
                </a:cubicBezTo>
                <a:cubicBezTo>
                  <a:pt x="15219" y="12219"/>
                  <a:pt x="15219" y="12250"/>
                  <a:pt x="15219" y="12250"/>
                </a:cubicBezTo>
                <a:cubicBezTo>
                  <a:pt x="15250" y="12281"/>
                  <a:pt x="15312" y="12313"/>
                  <a:pt x="15344" y="12344"/>
                </a:cubicBezTo>
                <a:cubicBezTo>
                  <a:pt x="15219" y="12375"/>
                  <a:pt x="15125" y="12375"/>
                  <a:pt x="15031" y="12313"/>
                </a:cubicBezTo>
                <a:cubicBezTo>
                  <a:pt x="15000" y="12313"/>
                  <a:pt x="15000" y="12313"/>
                  <a:pt x="15000" y="12313"/>
                </a:cubicBezTo>
                <a:cubicBezTo>
                  <a:pt x="14969" y="12281"/>
                  <a:pt x="14906" y="12281"/>
                  <a:pt x="14906" y="12250"/>
                </a:cubicBezTo>
                <a:cubicBezTo>
                  <a:pt x="14937" y="12063"/>
                  <a:pt x="14812" y="11969"/>
                  <a:pt x="14656" y="11906"/>
                </a:cubicBezTo>
                <a:cubicBezTo>
                  <a:pt x="14656" y="11875"/>
                  <a:pt x="14656" y="11875"/>
                  <a:pt x="14656" y="11875"/>
                </a:cubicBezTo>
                <a:cubicBezTo>
                  <a:pt x="14656" y="11875"/>
                  <a:pt x="14656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625" y="11875"/>
                </a:cubicBezTo>
                <a:cubicBezTo>
                  <a:pt x="14625" y="11875"/>
                  <a:pt x="14625" y="11875"/>
                  <a:pt x="14594" y="11875"/>
                </a:cubicBezTo>
                <a:cubicBezTo>
                  <a:pt x="14594" y="11875"/>
                  <a:pt x="14562" y="11875"/>
                  <a:pt x="14562" y="11875"/>
                </a:cubicBezTo>
                <a:cubicBezTo>
                  <a:pt x="14562" y="11875"/>
                  <a:pt x="14562" y="11875"/>
                  <a:pt x="14562" y="11875"/>
                </a:cubicBezTo>
                <a:cubicBezTo>
                  <a:pt x="14562" y="11844"/>
                  <a:pt x="14562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594" y="11844"/>
                </a:cubicBezTo>
                <a:cubicBezTo>
                  <a:pt x="14594" y="11844"/>
                  <a:pt x="14594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44"/>
                  <a:pt x="14625" y="11844"/>
                  <a:pt x="14625" y="11844"/>
                </a:cubicBezTo>
                <a:cubicBezTo>
                  <a:pt x="14625" y="11813"/>
                  <a:pt x="14625" y="11813"/>
                  <a:pt x="14625" y="11813"/>
                </a:cubicBezTo>
                <a:cubicBezTo>
                  <a:pt x="14594" y="11750"/>
                  <a:pt x="14531" y="11781"/>
                  <a:pt x="14531" y="11719"/>
                </a:cubicBezTo>
                <a:cubicBezTo>
                  <a:pt x="14812" y="11781"/>
                  <a:pt x="15000" y="12031"/>
                  <a:pt x="15281" y="12156"/>
                </a:cubicBezTo>
                <a:cubicBezTo>
                  <a:pt x="15281" y="12125"/>
                  <a:pt x="15281" y="12094"/>
                  <a:pt x="15281" y="12063"/>
                </a:cubicBezTo>
                <a:cubicBezTo>
                  <a:pt x="15125" y="11781"/>
                  <a:pt x="14969" y="11500"/>
                  <a:pt x="14750" y="11281"/>
                </a:cubicBezTo>
                <a:cubicBezTo>
                  <a:pt x="14750" y="11250"/>
                  <a:pt x="14719" y="11219"/>
                  <a:pt x="14750" y="11219"/>
                </a:cubicBezTo>
                <a:cubicBezTo>
                  <a:pt x="14750" y="11219"/>
                  <a:pt x="14750" y="11219"/>
                  <a:pt x="14750" y="11219"/>
                </a:cubicBezTo>
                <a:cubicBezTo>
                  <a:pt x="14875" y="11313"/>
                  <a:pt x="15000" y="11406"/>
                  <a:pt x="15125" y="11500"/>
                </a:cubicBezTo>
                <a:cubicBezTo>
                  <a:pt x="15125" y="11469"/>
                  <a:pt x="15125" y="11438"/>
                  <a:pt x="15094" y="11438"/>
                </a:cubicBezTo>
                <a:cubicBezTo>
                  <a:pt x="15000" y="11281"/>
                  <a:pt x="14906" y="11094"/>
                  <a:pt x="14812" y="10938"/>
                </a:cubicBezTo>
                <a:cubicBezTo>
                  <a:pt x="14812" y="10938"/>
                  <a:pt x="14812" y="10906"/>
                  <a:pt x="14812" y="10906"/>
                </a:cubicBezTo>
                <a:cubicBezTo>
                  <a:pt x="14875" y="10969"/>
                  <a:pt x="14937" y="11063"/>
                  <a:pt x="15000" y="11125"/>
                </a:cubicBezTo>
                <a:cubicBezTo>
                  <a:pt x="15031" y="11063"/>
                  <a:pt x="15000" y="11031"/>
                  <a:pt x="15000" y="11000"/>
                </a:cubicBezTo>
                <a:cubicBezTo>
                  <a:pt x="15062" y="10969"/>
                  <a:pt x="15094" y="11031"/>
                  <a:pt x="15125" y="11063"/>
                </a:cubicBezTo>
                <a:cubicBezTo>
                  <a:pt x="15219" y="11156"/>
                  <a:pt x="15281" y="11250"/>
                  <a:pt x="15344" y="11313"/>
                </a:cubicBezTo>
                <a:cubicBezTo>
                  <a:pt x="15469" y="11469"/>
                  <a:pt x="15500" y="11656"/>
                  <a:pt x="15562" y="11813"/>
                </a:cubicBezTo>
                <a:cubicBezTo>
                  <a:pt x="15594" y="11906"/>
                  <a:pt x="15594" y="12031"/>
                  <a:pt x="15687" y="12094"/>
                </a:cubicBezTo>
                <a:cubicBezTo>
                  <a:pt x="15719" y="11844"/>
                  <a:pt x="15500" y="11281"/>
                  <a:pt x="15375" y="11063"/>
                </a:cubicBezTo>
                <a:cubicBezTo>
                  <a:pt x="15281" y="10875"/>
                  <a:pt x="15187" y="10719"/>
                  <a:pt x="15094" y="10531"/>
                </a:cubicBezTo>
                <a:cubicBezTo>
                  <a:pt x="15094" y="10531"/>
                  <a:pt x="15094" y="10500"/>
                  <a:pt x="15094" y="10500"/>
                </a:cubicBezTo>
                <a:cubicBezTo>
                  <a:pt x="15094" y="10500"/>
                  <a:pt x="15094" y="10500"/>
                  <a:pt x="15094" y="10469"/>
                </a:cubicBezTo>
                <a:cubicBezTo>
                  <a:pt x="15094" y="10469"/>
                  <a:pt x="15094" y="10469"/>
                  <a:pt x="15094" y="10469"/>
                </a:cubicBezTo>
                <a:cubicBezTo>
                  <a:pt x="15094" y="10438"/>
                  <a:pt x="15094" y="10406"/>
                  <a:pt x="15062" y="10375"/>
                </a:cubicBezTo>
                <a:cubicBezTo>
                  <a:pt x="15062" y="10375"/>
                  <a:pt x="15062" y="10344"/>
                  <a:pt x="15031" y="10313"/>
                </a:cubicBezTo>
                <a:cubicBezTo>
                  <a:pt x="15094" y="10313"/>
                  <a:pt x="15125" y="10375"/>
                  <a:pt x="15156" y="10375"/>
                </a:cubicBezTo>
                <a:cubicBezTo>
                  <a:pt x="15219" y="10250"/>
                  <a:pt x="15125" y="10125"/>
                  <a:pt x="15094" y="10000"/>
                </a:cubicBezTo>
                <a:cubicBezTo>
                  <a:pt x="15156" y="10031"/>
                  <a:pt x="15156" y="10063"/>
                  <a:pt x="15187" y="10094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25"/>
                  <a:pt x="15187" y="10125"/>
                  <a:pt x="15187" y="10125"/>
                </a:cubicBezTo>
                <a:cubicBezTo>
                  <a:pt x="15187" y="10156"/>
                  <a:pt x="15219" y="10188"/>
                  <a:pt x="15219" y="10188"/>
                </a:cubicBezTo>
                <a:cubicBezTo>
                  <a:pt x="15250" y="10188"/>
                  <a:pt x="15250" y="10188"/>
                  <a:pt x="15250" y="10188"/>
                </a:cubicBezTo>
                <a:cubicBezTo>
                  <a:pt x="15250" y="10188"/>
                  <a:pt x="15250" y="10219"/>
                  <a:pt x="15281" y="10219"/>
                </a:cubicBezTo>
                <a:cubicBezTo>
                  <a:pt x="15281" y="10219"/>
                  <a:pt x="15281" y="10219"/>
                  <a:pt x="15281" y="10219"/>
                </a:cubicBezTo>
                <a:cubicBezTo>
                  <a:pt x="15281" y="10188"/>
                  <a:pt x="15281" y="10188"/>
                  <a:pt x="15281" y="10188"/>
                </a:cubicBezTo>
                <a:cubicBezTo>
                  <a:pt x="15281" y="10094"/>
                  <a:pt x="15250" y="10063"/>
                  <a:pt x="15219" y="10000"/>
                </a:cubicBezTo>
                <a:cubicBezTo>
                  <a:pt x="15187" y="9969"/>
                  <a:pt x="15187" y="9969"/>
                  <a:pt x="15156" y="9938"/>
                </a:cubicBezTo>
                <a:cubicBezTo>
                  <a:pt x="15125" y="9875"/>
                  <a:pt x="15062" y="9781"/>
                  <a:pt x="15062" y="9719"/>
                </a:cubicBezTo>
                <a:cubicBezTo>
                  <a:pt x="15062" y="9719"/>
                  <a:pt x="15062" y="9719"/>
                  <a:pt x="15094" y="9719"/>
                </a:cubicBezTo>
                <a:cubicBezTo>
                  <a:pt x="15125" y="9750"/>
                  <a:pt x="15156" y="9750"/>
                  <a:pt x="15187" y="9781"/>
                </a:cubicBezTo>
                <a:cubicBezTo>
                  <a:pt x="15250" y="9906"/>
                  <a:pt x="15312" y="10000"/>
                  <a:pt x="15375" y="10125"/>
                </a:cubicBezTo>
                <a:cubicBezTo>
                  <a:pt x="15375" y="10125"/>
                  <a:pt x="15375" y="10156"/>
                  <a:pt x="15406" y="10156"/>
                </a:cubicBezTo>
                <a:cubicBezTo>
                  <a:pt x="15375" y="10156"/>
                  <a:pt x="15375" y="10156"/>
                  <a:pt x="15375" y="10156"/>
                </a:cubicBezTo>
                <a:cubicBezTo>
                  <a:pt x="15375" y="10188"/>
                  <a:pt x="15375" y="10188"/>
                  <a:pt x="15406" y="10188"/>
                </a:cubicBezTo>
                <a:cubicBezTo>
                  <a:pt x="15406" y="10188"/>
                  <a:pt x="15406" y="10188"/>
                  <a:pt x="15406" y="10188"/>
                </a:cubicBezTo>
                <a:cubicBezTo>
                  <a:pt x="15469" y="10438"/>
                  <a:pt x="15562" y="10656"/>
                  <a:pt x="15656" y="10906"/>
                </a:cubicBezTo>
                <a:cubicBezTo>
                  <a:pt x="15656" y="10594"/>
                  <a:pt x="15562" y="10344"/>
                  <a:pt x="15406" y="10094"/>
                </a:cubicBezTo>
                <a:cubicBezTo>
                  <a:pt x="15437" y="10063"/>
                  <a:pt x="15469" y="10094"/>
                  <a:pt x="15469" y="10094"/>
                </a:cubicBezTo>
                <a:cubicBezTo>
                  <a:pt x="15500" y="10094"/>
                  <a:pt x="15562" y="10156"/>
                  <a:pt x="15562" y="10094"/>
                </a:cubicBezTo>
                <a:cubicBezTo>
                  <a:pt x="15594" y="10094"/>
                  <a:pt x="15594" y="10094"/>
                  <a:pt x="15594" y="10094"/>
                </a:cubicBezTo>
                <a:cubicBezTo>
                  <a:pt x="15594" y="10063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31"/>
                </a:cubicBezTo>
                <a:cubicBezTo>
                  <a:pt x="15594" y="10031"/>
                  <a:pt x="15594" y="10031"/>
                  <a:pt x="15594" y="10000"/>
                </a:cubicBezTo>
                <a:cubicBezTo>
                  <a:pt x="15594" y="10000"/>
                  <a:pt x="15594" y="10000"/>
                  <a:pt x="15562" y="10000"/>
                </a:cubicBezTo>
                <a:cubicBezTo>
                  <a:pt x="15562" y="9938"/>
                  <a:pt x="15531" y="9906"/>
                  <a:pt x="15531" y="9875"/>
                </a:cubicBezTo>
                <a:cubicBezTo>
                  <a:pt x="15406" y="9688"/>
                  <a:pt x="15281" y="9531"/>
                  <a:pt x="15187" y="9375"/>
                </a:cubicBezTo>
                <a:cubicBezTo>
                  <a:pt x="15156" y="9344"/>
                  <a:pt x="15125" y="9313"/>
                  <a:pt x="15094" y="9281"/>
                </a:cubicBezTo>
                <a:cubicBezTo>
                  <a:pt x="15094" y="9250"/>
                  <a:pt x="15031" y="9219"/>
                  <a:pt x="15062" y="9156"/>
                </a:cubicBezTo>
                <a:cubicBezTo>
                  <a:pt x="15187" y="9250"/>
                  <a:pt x="15312" y="9375"/>
                  <a:pt x="15406" y="9469"/>
                </a:cubicBezTo>
                <a:cubicBezTo>
                  <a:pt x="15406" y="9469"/>
                  <a:pt x="15406" y="9469"/>
                  <a:pt x="15406" y="9469"/>
                </a:cubicBezTo>
                <a:cubicBezTo>
                  <a:pt x="15406" y="9469"/>
                  <a:pt x="15437" y="9500"/>
                  <a:pt x="15437" y="9500"/>
                </a:cubicBezTo>
                <a:cubicBezTo>
                  <a:pt x="15437" y="9500"/>
                  <a:pt x="15437" y="9500"/>
                  <a:pt x="15469" y="9500"/>
                </a:cubicBezTo>
                <a:cubicBezTo>
                  <a:pt x="15469" y="9500"/>
                  <a:pt x="15469" y="9500"/>
                  <a:pt x="15469" y="9500"/>
                </a:cubicBezTo>
                <a:cubicBezTo>
                  <a:pt x="15469" y="9500"/>
                  <a:pt x="15469" y="9531"/>
                  <a:pt x="15500" y="9531"/>
                </a:cubicBezTo>
                <a:cubicBezTo>
                  <a:pt x="15500" y="9531"/>
                  <a:pt x="15500" y="9531"/>
                  <a:pt x="15500" y="9531"/>
                </a:cubicBezTo>
                <a:cubicBezTo>
                  <a:pt x="15531" y="9625"/>
                  <a:pt x="15594" y="9688"/>
                  <a:pt x="15656" y="9781"/>
                </a:cubicBezTo>
                <a:cubicBezTo>
                  <a:pt x="15656" y="9813"/>
                  <a:pt x="15656" y="9813"/>
                  <a:pt x="15656" y="9844"/>
                </a:cubicBezTo>
                <a:cubicBezTo>
                  <a:pt x="15656" y="9844"/>
                  <a:pt x="15656" y="9875"/>
                  <a:pt x="15687" y="9906"/>
                </a:cubicBezTo>
                <a:cubicBezTo>
                  <a:pt x="15687" y="9969"/>
                  <a:pt x="15719" y="10031"/>
                  <a:pt x="15750" y="10063"/>
                </a:cubicBezTo>
                <a:cubicBezTo>
                  <a:pt x="15750" y="10156"/>
                  <a:pt x="15781" y="10281"/>
                  <a:pt x="15781" y="10375"/>
                </a:cubicBezTo>
                <a:cubicBezTo>
                  <a:pt x="15781" y="10406"/>
                  <a:pt x="15781" y="10469"/>
                  <a:pt x="15781" y="10500"/>
                </a:cubicBezTo>
                <a:cubicBezTo>
                  <a:pt x="15750" y="10656"/>
                  <a:pt x="15750" y="10813"/>
                  <a:pt x="15781" y="10938"/>
                </a:cubicBezTo>
                <a:cubicBezTo>
                  <a:pt x="15812" y="11063"/>
                  <a:pt x="15812" y="11188"/>
                  <a:pt x="15844" y="11313"/>
                </a:cubicBezTo>
                <a:cubicBezTo>
                  <a:pt x="15844" y="11656"/>
                  <a:pt x="15937" y="12000"/>
                  <a:pt x="15937" y="12375"/>
                </a:cubicBezTo>
                <a:cubicBezTo>
                  <a:pt x="15937" y="12438"/>
                  <a:pt x="16031" y="12469"/>
                  <a:pt x="16094" y="12469"/>
                </a:cubicBezTo>
                <a:cubicBezTo>
                  <a:pt x="16187" y="12469"/>
                  <a:pt x="16156" y="12406"/>
                  <a:pt x="16156" y="12375"/>
                </a:cubicBezTo>
                <a:cubicBezTo>
                  <a:pt x="16156" y="12000"/>
                  <a:pt x="16125" y="11656"/>
                  <a:pt x="16062" y="11313"/>
                </a:cubicBezTo>
                <a:cubicBezTo>
                  <a:pt x="16000" y="10906"/>
                  <a:pt x="15969" y="10469"/>
                  <a:pt x="15812" y="10094"/>
                </a:cubicBezTo>
                <a:cubicBezTo>
                  <a:pt x="15844" y="10063"/>
                  <a:pt x="15812" y="10031"/>
                  <a:pt x="15781" y="10000"/>
                </a:cubicBezTo>
                <a:cubicBezTo>
                  <a:pt x="15781" y="10000"/>
                  <a:pt x="15781" y="9969"/>
                  <a:pt x="15781" y="9969"/>
                </a:cubicBezTo>
                <a:cubicBezTo>
                  <a:pt x="15750" y="9969"/>
                  <a:pt x="15750" y="9938"/>
                  <a:pt x="15750" y="9938"/>
                </a:cubicBezTo>
                <a:cubicBezTo>
                  <a:pt x="15750" y="9906"/>
                  <a:pt x="15750" y="9906"/>
                  <a:pt x="15750" y="9906"/>
                </a:cubicBezTo>
                <a:cubicBezTo>
                  <a:pt x="15719" y="9844"/>
                  <a:pt x="15750" y="9781"/>
                  <a:pt x="15844" y="9719"/>
                </a:cubicBezTo>
                <a:cubicBezTo>
                  <a:pt x="15875" y="9781"/>
                  <a:pt x="15906" y="9813"/>
                  <a:pt x="15937" y="9844"/>
                </a:cubicBezTo>
                <a:cubicBezTo>
                  <a:pt x="15969" y="9906"/>
                  <a:pt x="16000" y="9969"/>
                  <a:pt x="16000" y="10031"/>
                </a:cubicBezTo>
                <a:cubicBezTo>
                  <a:pt x="16000" y="10031"/>
                  <a:pt x="16000" y="10063"/>
                  <a:pt x="16031" y="10063"/>
                </a:cubicBezTo>
                <a:cubicBezTo>
                  <a:pt x="16125" y="10469"/>
                  <a:pt x="16156" y="10875"/>
                  <a:pt x="16156" y="11281"/>
                </a:cubicBezTo>
                <a:cubicBezTo>
                  <a:pt x="16187" y="11688"/>
                  <a:pt x="16219" y="12063"/>
                  <a:pt x="16219" y="12438"/>
                </a:cubicBezTo>
                <a:cubicBezTo>
                  <a:pt x="16250" y="11938"/>
                  <a:pt x="16344" y="11438"/>
                  <a:pt x="16344" y="10906"/>
                </a:cubicBezTo>
                <a:cubicBezTo>
                  <a:pt x="16344" y="10531"/>
                  <a:pt x="16312" y="10156"/>
                  <a:pt x="16156" y="9813"/>
                </a:cubicBezTo>
                <a:cubicBezTo>
                  <a:pt x="16062" y="9531"/>
                  <a:pt x="15906" y="9313"/>
                  <a:pt x="15719" y="9094"/>
                </a:cubicBezTo>
                <a:cubicBezTo>
                  <a:pt x="15656" y="9000"/>
                  <a:pt x="15562" y="8875"/>
                  <a:pt x="15469" y="8781"/>
                </a:cubicBezTo>
                <a:cubicBezTo>
                  <a:pt x="15500" y="8781"/>
                  <a:pt x="15500" y="8750"/>
                  <a:pt x="15500" y="8750"/>
                </a:cubicBezTo>
                <a:cubicBezTo>
                  <a:pt x="15750" y="9094"/>
                  <a:pt x="16062" y="9344"/>
                  <a:pt x="16312" y="9656"/>
                </a:cubicBezTo>
                <a:cubicBezTo>
                  <a:pt x="16344" y="9625"/>
                  <a:pt x="16312" y="9563"/>
                  <a:pt x="16312" y="9531"/>
                </a:cubicBezTo>
                <a:cubicBezTo>
                  <a:pt x="16219" y="9250"/>
                  <a:pt x="16000" y="9063"/>
                  <a:pt x="15812" y="8844"/>
                </a:cubicBezTo>
                <a:cubicBezTo>
                  <a:pt x="15656" y="8656"/>
                  <a:pt x="15469" y="8531"/>
                  <a:pt x="15344" y="8344"/>
                </a:cubicBezTo>
                <a:cubicBezTo>
                  <a:pt x="15375" y="8313"/>
                  <a:pt x="15437" y="8344"/>
                  <a:pt x="15469" y="8344"/>
                </a:cubicBezTo>
                <a:cubicBezTo>
                  <a:pt x="15500" y="8344"/>
                  <a:pt x="15500" y="8344"/>
                  <a:pt x="15531" y="8344"/>
                </a:cubicBezTo>
                <a:cubicBezTo>
                  <a:pt x="15562" y="8344"/>
                  <a:pt x="15625" y="8375"/>
                  <a:pt x="15656" y="8344"/>
                </a:cubicBezTo>
                <a:cubicBezTo>
                  <a:pt x="15656" y="8344"/>
                  <a:pt x="15687" y="8344"/>
                  <a:pt x="15719" y="8313"/>
                </a:cubicBezTo>
                <a:cubicBezTo>
                  <a:pt x="15719" y="8313"/>
                  <a:pt x="15750" y="8313"/>
                  <a:pt x="15781" y="8313"/>
                </a:cubicBezTo>
                <a:cubicBezTo>
                  <a:pt x="15875" y="8313"/>
                  <a:pt x="15969" y="8281"/>
                  <a:pt x="16031" y="8219"/>
                </a:cubicBezTo>
                <a:cubicBezTo>
                  <a:pt x="16062" y="8188"/>
                  <a:pt x="16062" y="8125"/>
                  <a:pt x="16031" y="8125"/>
                </a:cubicBezTo>
                <a:cubicBezTo>
                  <a:pt x="16031" y="8125"/>
                  <a:pt x="16031" y="8125"/>
                  <a:pt x="16000" y="8156"/>
                </a:cubicBezTo>
                <a:cubicBezTo>
                  <a:pt x="16000" y="8156"/>
                  <a:pt x="16000" y="8156"/>
                  <a:pt x="15969" y="8156"/>
                </a:cubicBezTo>
                <a:cubicBezTo>
                  <a:pt x="15969" y="8156"/>
                  <a:pt x="15937" y="8125"/>
                  <a:pt x="15906" y="8125"/>
                </a:cubicBezTo>
                <a:cubicBezTo>
                  <a:pt x="15875" y="8125"/>
                  <a:pt x="15875" y="8156"/>
                  <a:pt x="15844" y="8156"/>
                </a:cubicBezTo>
                <a:cubicBezTo>
                  <a:pt x="15812" y="8156"/>
                  <a:pt x="15750" y="8156"/>
                  <a:pt x="15719" y="8156"/>
                </a:cubicBezTo>
                <a:cubicBezTo>
                  <a:pt x="15719" y="8063"/>
                  <a:pt x="15844" y="8031"/>
                  <a:pt x="15844" y="7906"/>
                </a:cubicBezTo>
                <a:cubicBezTo>
                  <a:pt x="15812" y="7906"/>
                  <a:pt x="15781" y="7938"/>
                  <a:pt x="15781" y="7938"/>
                </a:cubicBezTo>
                <a:cubicBezTo>
                  <a:pt x="15750" y="7969"/>
                  <a:pt x="15750" y="8000"/>
                  <a:pt x="15719" y="8000"/>
                </a:cubicBezTo>
                <a:cubicBezTo>
                  <a:pt x="15687" y="7969"/>
                  <a:pt x="15687" y="7938"/>
                  <a:pt x="15687" y="7938"/>
                </a:cubicBezTo>
                <a:cubicBezTo>
                  <a:pt x="15656" y="7844"/>
                  <a:pt x="15625" y="7750"/>
                  <a:pt x="15719" y="7719"/>
                </a:cubicBezTo>
                <a:cubicBezTo>
                  <a:pt x="15719" y="7719"/>
                  <a:pt x="15719" y="7688"/>
                  <a:pt x="15719" y="7688"/>
                </a:cubicBezTo>
                <a:cubicBezTo>
                  <a:pt x="15719" y="7688"/>
                  <a:pt x="15719" y="7688"/>
                  <a:pt x="15719" y="7688"/>
                </a:cubicBezTo>
                <a:cubicBezTo>
                  <a:pt x="15750" y="7688"/>
                  <a:pt x="15750" y="7688"/>
                  <a:pt x="15750" y="7656"/>
                </a:cubicBezTo>
                <a:cubicBezTo>
                  <a:pt x="15812" y="7656"/>
                  <a:pt x="15844" y="7625"/>
                  <a:pt x="15906" y="7594"/>
                </a:cubicBezTo>
                <a:cubicBezTo>
                  <a:pt x="15937" y="7594"/>
                  <a:pt x="15969" y="7563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00" y="7500"/>
                </a:cubicBezTo>
                <a:cubicBezTo>
                  <a:pt x="16000" y="7500"/>
                  <a:pt x="16000" y="7500"/>
                  <a:pt x="16031" y="7500"/>
                </a:cubicBezTo>
                <a:cubicBezTo>
                  <a:pt x="16031" y="7500"/>
                  <a:pt x="16031" y="7500"/>
                  <a:pt x="16031" y="7500"/>
                </a:cubicBezTo>
                <a:cubicBezTo>
                  <a:pt x="16062" y="7469"/>
                  <a:pt x="16094" y="7469"/>
                  <a:pt x="16125" y="7406"/>
                </a:cubicBezTo>
                <a:cubicBezTo>
                  <a:pt x="16187" y="7375"/>
                  <a:pt x="16219" y="7344"/>
                  <a:pt x="16250" y="7313"/>
                </a:cubicBezTo>
                <a:cubicBezTo>
                  <a:pt x="16250" y="7313"/>
                  <a:pt x="16250" y="7313"/>
                  <a:pt x="16250" y="7313"/>
                </a:cubicBezTo>
                <a:cubicBezTo>
                  <a:pt x="16281" y="7281"/>
                  <a:pt x="16281" y="7281"/>
                  <a:pt x="16312" y="7250"/>
                </a:cubicBezTo>
                <a:cubicBezTo>
                  <a:pt x="16531" y="6969"/>
                  <a:pt x="16750" y="6719"/>
                  <a:pt x="16969" y="6438"/>
                </a:cubicBezTo>
                <a:cubicBezTo>
                  <a:pt x="17156" y="6250"/>
                  <a:pt x="17406" y="6125"/>
                  <a:pt x="17500" y="5875"/>
                </a:cubicBezTo>
                <a:cubicBezTo>
                  <a:pt x="17531" y="5875"/>
                  <a:pt x="17531" y="5875"/>
                  <a:pt x="17531" y="5844"/>
                </a:cubicBezTo>
                <a:cubicBezTo>
                  <a:pt x="17562" y="5844"/>
                  <a:pt x="17562" y="5813"/>
                  <a:pt x="17562" y="5813"/>
                </a:cubicBezTo>
                <a:cubicBezTo>
                  <a:pt x="17562" y="5813"/>
                  <a:pt x="17562" y="5781"/>
                  <a:pt x="17562" y="5781"/>
                </a:cubicBezTo>
                <a:cubicBezTo>
                  <a:pt x="17562" y="5781"/>
                  <a:pt x="17562" y="5781"/>
                  <a:pt x="17562" y="5781"/>
                </a:cubicBezTo>
                <a:cubicBezTo>
                  <a:pt x="17562" y="5781"/>
                  <a:pt x="17531" y="5750"/>
                  <a:pt x="17531" y="5719"/>
                </a:cubicBezTo>
                <a:cubicBezTo>
                  <a:pt x="17437" y="5500"/>
                  <a:pt x="17344" y="5313"/>
                  <a:pt x="17250" y="5094"/>
                </a:cubicBezTo>
                <a:cubicBezTo>
                  <a:pt x="17250" y="5094"/>
                  <a:pt x="17250" y="5094"/>
                  <a:pt x="17250" y="5063"/>
                </a:cubicBezTo>
                <a:cubicBezTo>
                  <a:pt x="17281" y="5063"/>
                  <a:pt x="17281" y="5094"/>
                  <a:pt x="17312" y="5094"/>
                </a:cubicBezTo>
                <a:cubicBezTo>
                  <a:pt x="17312" y="5094"/>
                  <a:pt x="17312" y="5094"/>
                  <a:pt x="17344" y="5094"/>
                </a:cubicBezTo>
                <a:cubicBezTo>
                  <a:pt x="17344" y="5094"/>
                  <a:pt x="17344" y="5094"/>
                  <a:pt x="17344" y="5094"/>
                </a:cubicBezTo>
                <a:cubicBezTo>
                  <a:pt x="17406" y="5094"/>
                  <a:pt x="17437" y="5125"/>
                  <a:pt x="17469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00" y="5125"/>
                  <a:pt x="17500" y="5125"/>
                  <a:pt x="17500" y="5125"/>
                </a:cubicBezTo>
                <a:cubicBezTo>
                  <a:pt x="17562" y="5344"/>
                  <a:pt x="17656" y="5563"/>
                  <a:pt x="17781" y="5750"/>
                </a:cubicBezTo>
                <a:cubicBezTo>
                  <a:pt x="17875" y="5906"/>
                  <a:pt x="17969" y="6000"/>
                  <a:pt x="18094" y="6125"/>
                </a:cubicBezTo>
                <a:cubicBezTo>
                  <a:pt x="18062" y="6125"/>
                  <a:pt x="18031" y="6125"/>
                  <a:pt x="18000" y="6125"/>
                </a:cubicBezTo>
                <a:cubicBezTo>
                  <a:pt x="17906" y="6031"/>
                  <a:pt x="17750" y="6000"/>
                  <a:pt x="17625" y="5906"/>
                </a:cubicBezTo>
                <a:cubicBezTo>
                  <a:pt x="17594" y="6063"/>
                  <a:pt x="17750" y="6156"/>
                  <a:pt x="17844" y="6188"/>
                </a:cubicBezTo>
                <a:cubicBezTo>
                  <a:pt x="17875" y="6219"/>
                  <a:pt x="17875" y="6219"/>
                  <a:pt x="17906" y="6219"/>
                </a:cubicBezTo>
                <a:cubicBezTo>
                  <a:pt x="18000" y="6250"/>
                  <a:pt x="18094" y="6250"/>
                  <a:pt x="18187" y="6156"/>
                </a:cubicBezTo>
                <a:cubicBezTo>
                  <a:pt x="18187" y="6188"/>
                  <a:pt x="18187" y="6219"/>
                  <a:pt x="18187" y="6250"/>
                </a:cubicBezTo>
                <a:cubicBezTo>
                  <a:pt x="18156" y="6313"/>
                  <a:pt x="18156" y="6375"/>
                  <a:pt x="18125" y="6438"/>
                </a:cubicBezTo>
                <a:cubicBezTo>
                  <a:pt x="18125" y="6438"/>
                  <a:pt x="18125" y="6438"/>
                  <a:pt x="18125" y="6438"/>
                </a:cubicBezTo>
                <a:cubicBezTo>
                  <a:pt x="18125" y="6469"/>
                  <a:pt x="18094" y="6500"/>
                  <a:pt x="18094" y="6500"/>
                </a:cubicBezTo>
                <a:cubicBezTo>
                  <a:pt x="18094" y="6531"/>
                  <a:pt x="18062" y="6531"/>
                  <a:pt x="18062" y="6531"/>
                </a:cubicBezTo>
                <a:cubicBezTo>
                  <a:pt x="17844" y="6750"/>
                  <a:pt x="17750" y="7031"/>
                  <a:pt x="17594" y="7281"/>
                </a:cubicBezTo>
                <a:cubicBezTo>
                  <a:pt x="17562" y="7313"/>
                  <a:pt x="17531" y="7375"/>
                  <a:pt x="17562" y="7438"/>
                </a:cubicBezTo>
                <a:cubicBezTo>
                  <a:pt x="17594" y="7438"/>
                  <a:pt x="17625" y="7406"/>
                  <a:pt x="17625" y="7375"/>
                </a:cubicBezTo>
                <a:cubicBezTo>
                  <a:pt x="17656" y="7313"/>
                  <a:pt x="17719" y="7313"/>
                  <a:pt x="17750" y="7313"/>
                </a:cubicBezTo>
                <a:cubicBezTo>
                  <a:pt x="17875" y="7375"/>
                  <a:pt x="18031" y="7313"/>
                  <a:pt x="18125" y="7469"/>
                </a:cubicBezTo>
                <a:cubicBezTo>
                  <a:pt x="18156" y="7469"/>
                  <a:pt x="18187" y="7469"/>
                  <a:pt x="18187" y="7469"/>
                </a:cubicBezTo>
                <a:cubicBezTo>
                  <a:pt x="18125" y="7563"/>
                  <a:pt x="18125" y="7563"/>
                  <a:pt x="18125" y="7594"/>
                </a:cubicBezTo>
                <a:cubicBezTo>
                  <a:pt x="18281" y="7531"/>
                  <a:pt x="18281" y="7531"/>
                  <a:pt x="18406" y="7656"/>
                </a:cubicBezTo>
                <a:cubicBezTo>
                  <a:pt x="18406" y="7688"/>
                  <a:pt x="18437" y="7688"/>
                  <a:pt x="18437" y="7688"/>
                </a:cubicBezTo>
                <a:cubicBezTo>
                  <a:pt x="18531" y="7688"/>
                  <a:pt x="18625" y="7719"/>
                  <a:pt x="18687" y="7750"/>
                </a:cubicBezTo>
                <a:cubicBezTo>
                  <a:pt x="18719" y="7750"/>
                  <a:pt x="18750" y="7781"/>
                  <a:pt x="18781" y="7719"/>
                </a:cubicBezTo>
                <a:cubicBezTo>
                  <a:pt x="18812" y="7688"/>
                  <a:pt x="18781" y="7656"/>
                  <a:pt x="18750" y="7656"/>
                </a:cubicBezTo>
                <a:cubicBezTo>
                  <a:pt x="18625" y="7563"/>
                  <a:pt x="18500" y="7500"/>
                  <a:pt x="18406" y="7438"/>
                </a:cubicBezTo>
                <a:cubicBezTo>
                  <a:pt x="18375" y="7406"/>
                  <a:pt x="18312" y="7406"/>
                  <a:pt x="18344" y="7375"/>
                </a:cubicBezTo>
                <a:cubicBezTo>
                  <a:pt x="18375" y="7344"/>
                  <a:pt x="18406" y="7281"/>
                  <a:pt x="18437" y="7313"/>
                </a:cubicBezTo>
                <a:cubicBezTo>
                  <a:pt x="18562" y="7375"/>
                  <a:pt x="18687" y="7406"/>
                  <a:pt x="18781" y="7500"/>
                </a:cubicBezTo>
                <a:cubicBezTo>
                  <a:pt x="18844" y="7563"/>
                  <a:pt x="18906" y="7594"/>
                  <a:pt x="18969" y="7625"/>
                </a:cubicBezTo>
                <a:cubicBezTo>
                  <a:pt x="19125" y="7688"/>
                  <a:pt x="19312" y="7719"/>
                  <a:pt x="19469" y="7781"/>
                </a:cubicBezTo>
                <a:cubicBezTo>
                  <a:pt x="19656" y="7813"/>
                  <a:pt x="19812" y="7969"/>
                  <a:pt x="20031" y="7906"/>
                </a:cubicBezTo>
                <a:cubicBezTo>
                  <a:pt x="20031" y="7875"/>
                  <a:pt x="20000" y="7875"/>
                  <a:pt x="19969" y="7844"/>
                </a:cubicBezTo>
                <a:cubicBezTo>
                  <a:pt x="19937" y="7844"/>
                  <a:pt x="19937" y="7813"/>
                  <a:pt x="19937" y="7781"/>
                </a:cubicBezTo>
                <a:cubicBezTo>
                  <a:pt x="19969" y="7719"/>
                  <a:pt x="20000" y="7750"/>
                  <a:pt x="20031" y="7750"/>
                </a:cubicBezTo>
                <a:cubicBezTo>
                  <a:pt x="20062" y="7750"/>
                  <a:pt x="20062" y="7750"/>
                  <a:pt x="20094" y="7750"/>
                </a:cubicBezTo>
                <a:cubicBezTo>
                  <a:pt x="20125" y="7750"/>
                  <a:pt x="20125" y="7719"/>
                  <a:pt x="20156" y="7688"/>
                </a:cubicBezTo>
                <a:cubicBezTo>
                  <a:pt x="20156" y="7656"/>
                  <a:pt x="20156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56"/>
                  <a:pt x="20187" y="7656"/>
                  <a:pt x="20187" y="7656"/>
                </a:cubicBezTo>
                <a:cubicBezTo>
                  <a:pt x="20187" y="7625"/>
                  <a:pt x="20219" y="7625"/>
                  <a:pt x="20219" y="7625"/>
                </a:cubicBezTo>
                <a:cubicBezTo>
                  <a:pt x="20219" y="7625"/>
                  <a:pt x="20250" y="7625"/>
                  <a:pt x="20250" y="7625"/>
                </a:cubicBezTo>
                <a:cubicBezTo>
                  <a:pt x="20281" y="7656"/>
                  <a:pt x="20344" y="7688"/>
                  <a:pt x="20250" y="7750"/>
                </a:cubicBezTo>
                <a:cubicBezTo>
                  <a:pt x="20219" y="7781"/>
                  <a:pt x="20250" y="7813"/>
                  <a:pt x="20281" y="7813"/>
                </a:cubicBezTo>
                <a:cubicBezTo>
                  <a:pt x="20344" y="7844"/>
                  <a:pt x="20406" y="7844"/>
                  <a:pt x="20469" y="7813"/>
                </a:cubicBezTo>
                <a:cubicBezTo>
                  <a:pt x="20500" y="7813"/>
                  <a:pt x="20562" y="7781"/>
                  <a:pt x="20531" y="7844"/>
                </a:cubicBezTo>
                <a:cubicBezTo>
                  <a:pt x="20500" y="7938"/>
                  <a:pt x="20562" y="7906"/>
                  <a:pt x="20625" y="7906"/>
                </a:cubicBezTo>
                <a:cubicBezTo>
                  <a:pt x="20656" y="7938"/>
                  <a:pt x="20687" y="7875"/>
                  <a:pt x="20719" y="7938"/>
                </a:cubicBezTo>
                <a:cubicBezTo>
                  <a:pt x="20719" y="7969"/>
                  <a:pt x="20719" y="8031"/>
                  <a:pt x="20687" y="8063"/>
                </a:cubicBezTo>
                <a:cubicBezTo>
                  <a:pt x="20687" y="8094"/>
                  <a:pt x="20656" y="8125"/>
                  <a:pt x="20625" y="8156"/>
                </a:cubicBezTo>
                <a:cubicBezTo>
                  <a:pt x="20750" y="8188"/>
                  <a:pt x="20844" y="8219"/>
                  <a:pt x="20969" y="8219"/>
                </a:cubicBezTo>
                <a:cubicBezTo>
                  <a:pt x="21031" y="8219"/>
                  <a:pt x="21094" y="8250"/>
                  <a:pt x="21125" y="8219"/>
                </a:cubicBezTo>
                <a:cubicBezTo>
                  <a:pt x="21219" y="8125"/>
                  <a:pt x="21312" y="8156"/>
                  <a:pt x="21375" y="8188"/>
                </a:cubicBezTo>
                <a:cubicBezTo>
                  <a:pt x="21406" y="8188"/>
                  <a:pt x="21406" y="8188"/>
                  <a:pt x="21406" y="8188"/>
                </a:cubicBezTo>
                <a:cubicBezTo>
                  <a:pt x="21437" y="8188"/>
                  <a:pt x="21437" y="8188"/>
                  <a:pt x="21469" y="8188"/>
                </a:cubicBezTo>
                <a:cubicBezTo>
                  <a:pt x="21469" y="8188"/>
                  <a:pt x="21469" y="8188"/>
                  <a:pt x="21469" y="8188"/>
                </a:cubicBezTo>
                <a:cubicBezTo>
                  <a:pt x="21500" y="8188"/>
                  <a:pt x="21562" y="8188"/>
                  <a:pt x="21594" y="8156"/>
                </a:cubicBezTo>
                <a:cubicBezTo>
                  <a:pt x="21594" y="8156"/>
                  <a:pt x="21625" y="8125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25" y="8094"/>
                  <a:pt x="21625" y="8094"/>
                  <a:pt x="21625" y="8094"/>
                </a:cubicBezTo>
                <a:cubicBezTo>
                  <a:pt x="21687" y="8094"/>
                  <a:pt x="21719" y="8063"/>
                  <a:pt x="21719" y="8031"/>
                </a:cubicBezTo>
                <a:cubicBezTo>
                  <a:pt x="21750" y="7906"/>
                  <a:pt x="21844" y="7844"/>
                  <a:pt x="21937" y="7750"/>
                </a:cubicBezTo>
                <a:cubicBezTo>
                  <a:pt x="22062" y="7656"/>
                  <a:pt x="22125" y="7469"/>
                  <a:pt x="22281" y="7375"/>
                </a:cubicBezTo>
                <a:cubicBezTo>
                  <a:pt x="22344" y="7313"/>
                  <a:pt x="22406" y="7250"/>
                  <a:pt x="22469" y="7188"/>
                </a:cubicBezTo>
                <a:cubicBezTo>
                  <a:pt x="22500" y="7188"/>
                  <a:pt x="22531" y="7156"/>
                  <a:pt x="22562" y="7125"/>
                </a:cubicBezTo>
                <a:cubicBezTo>
                  <a:pt x="22594" y="7094"/>
                  <a:pt x="22625" y="7063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25" y="7000"/>
                  <a:pt x="22625" y="7000"/>
                  <a:pt x="22625" y="7000"/>
                </a:cubicBezTo>
                <a:cubicBezTo>
                  <a:pt x="22656" y="7000"/>
                  <a:pt x="22656" y="7000"/>
                  <a:pt x="22656" y="7000"/>
                </a:cubicBezTo>
                <a:cubicBezTo>
                  <a:pt x="22656" y="7000"/>
                  <a:pt x="22656" y="6969"/>
                  <a:pt x="22656" y="6969"/>
                </a:cubicBezTo>
                <a:cubicBezTo>
                  <a:pt x="22656" y="6969"/>
                  <a:pt x="22656" y="6969"/>
                  <a:pt x="22656" y="6969"/>
                </a:cubicBezTo>
                <a:cubicBezTo>
                  <a:pt x="22656" y="6969"/>
                  <a:pt x="22656" y="6938"/>
                  <a:pt x="22656" y="6938"/>
                </a:cubicBezTo>
                <a:cubicBezTo>
                  <a:pt x="22687" y="6938"/>
                  <a:pt x="22687" y="6938"/>
                  <a:pt x="22687" y="6906"/>
                </a:cubicBezTo>
                <a:cubicBezTo>
                  <a:pt x="22687" y="6938"/>
                  <a:pt x="22687" y="6938"/>
                  <a:pt x="22687" y="6938"/>
                </a:cubicBezTo>
                <a:cubicBezTo>
                  <a:pt x="22719" y="6938"/>
                  <a:pt x="22750" y="6938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906"/>
                  <a:pt x="22750" y="6906"/>
                </a:cubicBezTo>
                <a:cubicBezTo>
                  <a:pt x="22750" y="6906"/>
                  <a:pt x="22750" y="6875"/>
                  <a:pt x="22750" y="6875"/>
                </a:cubicBezTo>
                <a:cubicBezTo>
                  <a:pt x="22750" y="6875"/>
                  <a:pt x="22750" y="6875"/>
                  <a:pt x="22750" y="6875"/>
                </a:cubicBezTo>
                <a:cubicBezTo>
                  <a:pt x="22750" y="6844"/>
                  <a:pt x="22781" y="6844"/>
                  <a:pt x="22781" y="6844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781" y="6813"/>
                  <a:pt x="22781" y="6813"/>
                  <a:pt x="22781" y="6813"/>
                </a:cubicBezTo>
                <a:cubicBezTo>
                  <a:pt x="22781" y="6844"/>
                  <a:pt x="22781" y="6844"/>
                  <a:pt x="22781" y="6844"/>
                </a:cubicBezTo>
                <a:cubicBezTo>
                  <a:pt x="22812" y="6844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813"/>
                </a:cubicBezTo>
                <a:cubicBezTo>
                  <a:pt x="22844" y="6813"/>
                  <a:pt x="22844" y="6813"/>
                  <a:pt x="22844" y="6781"/>
                </a:cubicBezTo>
                <a:cubicBezTo>
                  <a:pt x="22844" y="6781"/>
                  <a:pt x="22844" y="6781"/>
                  <a:pt x="22844" y="6750"/>
                </a:cubicBezTo>
                <a:cubicBezTo>
                  <a:pt x="22875" y="6750"/>
                  <a:pt x="22875" y="6750"/>
                  <a:pt x="22875" y="6750"/>
                </a:cubicBezTo>
                <a:cubicBezTo>
                  <a:pt x="22906" y="6750"/>
                  <a:pt x="22906" y="6750"/>
                  <a:pt x="22906" y="6750"/>
                </a:cubicBezTo>
                <a:cubicBezTo>
                  <a:pt x="22937" y="6719"/>
                  <a:pt x="22969" y="6719"/>
                  <a:pt x="22969" y="6688"/>
                </a:cubicBezTo>
                <a:cubicBezTo>
                  <a:pt x="22969" y="6656"/>
                  <a:pt x="22969" y="6656"/>
                  <a:pt x="22969" y="6656"/>
                </a:cubicBezTo>
                <a:cubicBezTo>
                  <a:pt x="23000" y="6656"/>
                  <a:pt x="23000" y="6656"/>
                  <a:pt x="23000" y="6656"/>
                </a:cubicBezTo>
                <a:cubicBezTo>
                  <a:pt x="23031" y="6656"/>
                  <a:pt x="23031" y="6625"/>
                  <a:pt x="23031" y="6594"/>
                </a:cubicBezTo>
                <a:cubicBezTo>
                  <a:pt x="23031" y="6594"/>
                  <a:pt x="23031" y="6594"/>
                  <a:pt x="23062" y="6563"/>
                </a:cubicBezTo>
                <a:cubicBezTo>
                  <a:pt x="23062" y="6563"/>
                  <a:pt x="23062" y="6563"/>
                  <a:pt x="23094" y="6563"/>
                </a:cubicBezTo>
                <a:cubicBezTo>
                  <a:pt x="23094" y="6563"/>
                  <a:pt x="23094" y="6563"/>
                  <a:pt x="23125" y="6531"/>
                </a:cubicBezTo>
                <a:cubicBezTo>
                  <a:pt x="23125" y="6531"/>
                  <a:pt x="23125" y="6500"/>
                  <a:pt x="23125" y="6500"/>
                </a:cubicBezTo>
                <a:cubicBezTo>
                  <a:pt x="23125" y="6500"/>
                  <a:pt x="23125" y="6469"/>
                  <a:pt x="23125" y="6469"/>
                </a:cubicBezTo>
                <a:cubicBezTo>
                  <a:pt x="23125" y="6469"/>
                  <a:pt x="23125" y="6469"/>
                  <a:pt x="23125" y="6469"/>
                </a:cubicBezTo>
                <a:cubicBezTo>
                  <a:pt x="23156" y="6469"/>
                  <a:pt x="23156" y="6469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187" y="6438"/>
                  <a:pt x="23187" y="6438"/>
                  <a:pt x="23187" y="6438"/>
                </a:cubicBezTo>
                <a:cubicBezTo>
                  <a:pt x="23219" y="6375"/>
                  <a:pt x="23219" y="6344"/>
                  <a:pt x="23219" y="6313"/>
                </a:cubicBezTo>
                <a:cubicBezTo>
                  <a:pt x="23250" y="6281"/>
                  <a:pt x="23281" y="6250"/>
                  <a:pt x="23312" y="6188"/>
                </a:cubicBezTo>
                <a:cubicBezTo>
                  <a:pt x="23344" y="6188"/>
                  <a:pt x="23375" y="6188"/>
                  <a:pt x="23375" y="6188"/>
                </a:cubicBezTo>
                <a:cubicBezTo>
                  <a:pt x="23375" y="6219"/>
                  <a:pt x="23375" y="6250"/>
                  <a:pt x="23375" y="6281"/>
                </a:cubicBezTo>
                <a:cubicBezTo>
                  <a:pt x="23375" y="6281"/>
                  <a:pt x="23375" y="6281"/>
                  <a:pt x="23375" y="6281"/>
                </a:cubicBezTo>
                <a:cubicBezTo>
                  <a:pt x="23344" y="6313"/>
                  <a:pt x="23344" y="6313"/>
                  <a:pt x="23344" y="6313"/>
                </a:cubicBezTo>
                <a:cubicBezTo>
                  <a:pt x="23312" y="6375"/>
                  <a:pt x="23250" y="6438"/>
                  <a:pt x="23250" y="6531"/>
                </a:cubicBezTo>
                <a:cubicBezTo>
                  <a:pt x="23281" y="6531"/>
                  <a:pt x="23312" y="6500"/>
                  <a:pt x="23312" y="6500"/>
                </a:cubicBezTo>
                <a:cubicBezTo>
                  <a:pt x="23437" y="6313"/>
                  <a:pt x="23594" y="6188"/>
                  <a:pt x="23719" y="6031"/>
                </a:cubicBezTo>
                <a:cubicBezTo>
                  <a:pt x="23750" y="5969"/>
                  <a:pt x="23812" y="5906"/>
                  <a:pt x="23844" y="5813"/>
                </a:cubicBezTo>
                <a:cubicBezTo>
                  <a:pt x="23875" y="5719"/>
                  <a:pt x="23875" y="5563"/>
                  <a:pt x="24000" y="5500"/>
                </a:cubicBezTo>
                <a:cubicBezTo>
                  <a:pt x="24031" y="5500"/>
                  <a:pt x="24031" y="5469"/>
                  <a:pt x="24031" y="5438"/>
                </a:cubicBezTo>
                <a:cubicBezTo>
                  <a:pt x="24000" y="5406"/>
                  <a:pt x="24000" y="5406"/>
                  <a:pt x="24000" y="5375"/>
                </a:cubicBezTo>
                <a:cubicBezTo>
                  <a:pt x="24000" y="5344"/>
                  <a:pt x="24000" y="5344"/>
                  <a:pt x="24000" y="5313"/>
                </a:cubicBezTo>
                <a:cubicBezTo>
                  <a:pt x="24000" y="5313"/>
                  <a:pt x="24000" y="5313"/>
                  <a:pt x="24000" y="5313"/>
                </a:cubicBezTo>
                <a:cubicBezTo>
                  <a:pt x="24031" y="5344"/>
                  <a:pt x="24062" y="5344"/>
                  <a:pt x="24062" y="5313"/>
                </a:cubicBezTo>
                <a:cubicBezTo>
                  <a:pt x="24062" y="5313"/>
                  <a:pt x="24062" y="5281"/>
                  <a:pt x="24062" y="5281"/>
                </a:cubicBezTo>
                <a:cubicBezTo>
                  <a:pt x="24062" y="5281"/>
                  <a:pt x="24031" y="5250"/>
                  <a:pt x="24031" y="5250"/>
                </a:cubicBezTo>
                <a:cubicBezTo>
                  <a:pt x="24031" y="5250"/>
                  <a:pt x="24031" y="5250"/>
                  <a:pt x="24031" y="5250"/>
                </a:cubicBezTo>
                <a:cubicBezTo>
                  <a:pt x="24031" y="5219"/>
                  <a:pt x="24031" y="5219"/>
                  <a:pt x="24031" y="5219"/>
                </a:cubicBezTo>
                <a:cubicBezTo>
                  <a:pt x="24031" y="5219"/>
                  <a:pt x="24031" y="5188"/>
                  <a:pt x="24062" y="5188"/>
                </a:cubicBezTo>
                <a:cubicBezTo>
                  <a:pt x="24062" y="5188"/>
                  <a:pt x="24062" y="5188"/>
                  <a:pt x="24062" y="5188"/>
                </a:cubicBezTo>
                <a:cubicBezTo>
                  <a:pt x="24062" y="5188"/>
                  <a:pt x="24062" y="5188"/>
                  <a:pt x="24094" y="5188"/>
                </a:cubicBezTo>
                <a:cubicBezTo>
                  <a:pt x="24094" y="5188"/>
                  <a:pt x="24125" y="5156"/>
                  <a:pt x="24094" y="5125"/>
                </a:cubicBezTo>
                <a:cubicBezTo>
                  <a:pt x="24125" y="5125"/>
                  <a:pt x="24125" y="5094"/>
                  <a:pt x="24125" y="5094"/>
                </a:cubicBezTo>
                <a:cubicBezTo>
                  <a:pt x="24187" y="5125"/>
                  <a:pt x="24219" y="5063"/>
                  <a:pt x="24219" y="5063"/>
                </a:cubicBezTo>
                <a:cubicBezTo>
                  <a:pt x="24281" y="5000"/>
                  <a:pt x="24312" y="4938"/>
                  <a:pt x="24375" y="4906"/>
                </a:cubicBezTo>
                <a:cubicBezTo>
                  <a:pt x="24437" y="4781"/>
                  <a:pt x="24562" y="4656"/>
                  <a:pt x="24531" y="4500"/>
                </a:cubicBezTo>
                <a:cubicBezTo>
                  <a:pt x="24531" y="4469"/>
                  <a:pt x="24531" y="4406"/>
                  <a:pt x="24594" y="4438"/>
                </a:cubicBezTo>
                <a:cubicBezTo>
                  <a:pt x="24594" y="4438"/>
                  <a:pt x="24625" y="4438"/>
                  <a:pt x="24625" y="4406"/>
                </a:cubicBezTo>
                <a:cubicBezTo>
                  <a:pt x="24687" y="4406"/>
                  <a:pt x="24656" y="4344"/>
                  <a:pt x="24656" y="4313"/>
                </a:cubicBezTo>
                <a:cubicBezTo>
                  <a:pt x="24656" y="4281"/>
                  <a:pt x="24656" y="4281"/>
                  <a:pt x="24656" y="4250"/>
                </a:cubicBezTo>
                <a:cubicBezTo>
                  <a:pt x="24812" y="4281"/>
                  <a:pt x="24844" y="4375"/>
                  <a:pt x="24750" y="4500"/>
                </a:cubicBezTo>
                <a:cubicBezTo>
                  <a:pt x="24750" y="4531"/>
                  <a:pt x="24719" y="4563"/>
                  <a:pt x="24687" y="4563"/>
                </a:cubicBezTo>
                <a:cubicBezTo>
                  <a:pt x="24594" y="4656"/>
                  <a:pt x="24594" y="4781"/>
                  <a:pt x="24531" y="4906"/>
                </a:cubicBezTo>
                <a:cubicBezTo>
                  <a:pt x="24594" y="4875"/>
                  <a:pt x="24594" y="4844"/>
                  <a:pt x="24625" y="4781"/>
                </a:cubicBezTo>
                <a:cubicBezTo>
                  <a:pt x="24719" y="4656"/>
                  <a:pt x="24781" y="4500"/>
                  <a:pt x="24875" y="4344"/>
                </a:cubicBezTo>
                <a:cubicBezTo>
                  <a:pt x="24937" y="4281"/>
                  <a:pt x="24969" y="4156"/>
                  <a:pt x="25000" y="4031"/>
                </a:cubicBezTo>
                <a:cubicBezTo>
                  <a:pt x="25000" y="3875"/>
                  <a:pt x="25031" y="3688"/>
                  <a:pt x="25062" y="3531"/>
                </a:cubicBezTo>
                <a:cubicBezTo>
                  <a:pt x="25062" y="3531"/>
                  <a:pt x="25062" y="3500"/>
                  <a:pt x="25094" y="3500"/>
                </a:cubicBezTo>
                <a:cubicBezTo>
                  <a:pt x="25094" y="3406"/>
                  <a:pt x="25094" y="3281"/>
                  <a:pt x="25062" y="31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08FA05C-E0BD-C743-9E23-8CB7128E38E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A851091-F99E-7443-ABC9-A55B06CF41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313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1">
            <a:extLst>
              <a:ext uri="{FF2B5EF4-FFF2-40B4-BE49-F238E27FC236}">
                <a16:creationId xmlns:a16="http://schemas.microsoft.com/office/drawing/2014/main" id="{B2FD969C-DA13-324A-8F0A-1C7F3976E522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464395" y="1458194"/>
            <a:ext cx="13250265" cy="11858352"/>
          </a:xfrm>
          <a:custGeom>
            <a:avLst/>
            <a:gdLst>
              <a:gd name="T0" fmla="*/ 1656 w 1709"/>
              <a:gd name="T1" fmla="*/ 1394 h 1534"/>
              <a:gd name="T2" fmla="*/ 1498 w 1709"/>
              <a:gd name="T3" fmla="*/ 1124 h 1534"/>
              <a:gd name="T4" fmla="*/ 1387 w 1709"/>
              <a:gd name="T5" fmla="*/ 844 h 1534"/>
              <a:gd name="T6" fmla="*/ 1359 w 1709"/>
              <a:gd name="T7" fmla="*/ 695 h 1534"/>
              <a:gd name="T8" fmla="*/ 1227 w 1709"/>
              <a:gd name="T9" fmla="*/ 467 h 1534"/>
              <a:gd name="T10" fmla="*/ 1134 w 1709"/>
              <a:gd name="T11" fmla="*/ 349 h 1534"/>
              <a:gd name="T12" fmla="*/ 730 w 1709"/>
              <a:gd name="T13" fmla="*/ 145 h 1534"/>
              <a:gd name="T14" fmla="*/ 467 w 1709"/>
              <a:gd name="T15" fmla="*/ 195 h 1534"/>
              <a:gd name="T16" fmla="*/ 448 w 1709"/>
              <a:gd name="T17" fmla="*/ 135 h 1534"/>
              <a:gd name="T18" fmla="*/ 277 w 1709"/>
              <a:gd name="T19" fmla="*/ 91 h 1534"/>
              <a:gd name="T20" fmla="*/ 264 w 1709"/>
              <a:gd name="T21" fmla="*/ 452 h 1534"/>
              <a:gd name="T22" fmla="*/ 190 w 1709"/>
              <a:gd name="T23" fmla="*/ 763 h 1534"/>
              <a:gd name="T24" fmla="*/ 139 w 1709"/>
              <a:gd name="T25" fmla="*/ 953 h 1534"/>
              <a:gd name="T26" fmla="*/ 150 w 1709"/>
              <a:gd name="T27" fmla="*/ 1010 h 1534"/>
              <a:gd name="T28" fmla="*/ 277 w 1709"/>
              <a:gd name="T29" fmla="*/ 739 h 1534"/>
              <a:gd name="T30" fmla="*/ 443 w 1709"/>
              <a:gd name="T31" fmla="*/ 758 h 1534"/>
              <a:gd name="T32" fmla="*/ 351 w 1709"/>
              <a:gd name="T33" fmla="*/ 1198 h 1534"/>
              <a:gd name="T34" fmla="*/ 328 w 1709"/>
              <a:gd name="T35" fmla="*/ 1315 h 1534"/>
              <a:gd name="T36" fmla="*/ 415 w 1709"/>
              <a:gd name="T37" fmla="*/ 1373 h 1534"/>
              <a:gd name="T38" fmla="*/ 407 w 1709"/>
              <a:gd name="T39" fmla="*/ 1225 h 1534"/>
              <a:gd name="T40" fmla="*/ 512 w 1709"/>
              <a:gd name="T41" fmla="*/ 999 h 1534"/>
              <a:gd name="T42" fmla="*/ 658 w 1709"/>
              <a:gd name="T43" fmla="*/ 1366 h 1534"/>
              <a:gd name="T44" fmla="*/ 600 w 1709"/>
              <a:gd name="T45" fmla="*/ 1510 h 1534"/>
              <a:gd name="T46" fmla="*/ 795 w 1709"/>
              <a:gd name="T47" fmla="*/ 1434 h 1534"/>
              <a:gd name="T48" fmla="*/ 988 w 1709"/>
              <a:gd name="T49" fmla="*/ 1420 h 1534"/>
              <a:gd name="T50" fmla="*/ 970 w 1709"/>
              <a:gd name="T51" fmla="*/ 1295 h 1534"/>
              <a:gd name="T52" fmla="*/ 1077 w 1709"/>
              <a:gd name="T53" fmla="*/ 988 h 1534"/>
              <a:gd name="T54" fmla="*/ 1559 w 1709"/>
              <a:gd name="T55" fmla="*/ 1350 h 1534"/>
              <a:gd name="T56" fmla="*/ 1684 w 1709"/>
              <a:gd name="T57" fmla="*/ 1516 h 1534"/>
              <a:gd name="T58" fmla="*/ 434 w 1709"/>
              <a:gd name="T59" fmla="*/ 1316 h 1534"/>
              <a:gd name="T60" fmla="*/ 8 w 1709"/>
              <a:gd name="T61" fmla="*/ 1277 h 1534"/>
              <a:gd name="T62" fmla="*/ 17 w 1709"/>
              <a:gd name="T63" fmla="*/ 1245 h 1534"/>
              <a:gd name="T64" fmla="*/ 208 w 1709"/>
              <a:gd name="T65" fmla="*/ 1370 h 1534"/>
              <a:gd name="T66" fmla="*/ 1623 w 1709"/>
              <a:gd name="T67" fmla="*/ 1469 h 1534"/>
              <a:gd name="T68" fmla="*/ 1590 w 1709"/>
              <a:gd name="T69" fmla="*/ 1389 h 1534"/>
              <a:gd name="T70" fmla="*/ 1341 w 1709"/>
              <a:gd name="T71" fmla="*/ 971 h 1534"/>
              <a:gd name="T72" fmla="*/ 1206 w 1709"/>
              <a:gd name="T73" fmla="*/ 518 h 1534"/>
              <a:gd name="T74" fmla="*/ 1133 w 1709"/>
              <a:gd name="T75" fmla="*/ 557 h 1534"/>
              <a:gd name="T76" fmla="*/ 1155 w 1709"/>
              <a:gd name="T77" fmla="*/ 659 h 1534"/>
              <a:gd name="T78" fmla="*/ 1152 w 1709"/>
              <a:gd name="T79" fmla="*/ 439 h 1534"/>
              <a:gd name="T80" fmla="*/ 1017 w 1709"/>
              <a:gd name="T81" fmla="*/ 569 h 1534"/>
              <a:gd name="T82" fmla="*/ 809 w 1709"/>
              <a:gd name="T83" fmla="*/ 665 h 1534"/>
              <a:gd name="T84" fmla="*/ 759 w 1709"/>
              <a:gd name="T85" fmla="*/ 933 h 1534"/>
              <a:gd name="T86" fmla="*/ 875 w 1709"/>
              <a:gd name="T87" fmla="*/ 1321 h 1534"/>
              <a:gd name="T88" fmla="*/ 719 w 1709"/>
              <a:gd name="T89" fmla="*/ 1190 h 1534"/>
              <a:gd name="T90" fmla="*/ 737 w 1709"/>
              <a:gd name="T91" fmla="*/ 943 h 1534"/>
              <a:gd name="T92" fmla="*/ 871 w 1709"/>
              <a:gd name="T93" fmla="*/ 1319 h 1534"/>
              <a:gd name="T94" fmla="*/ 635 w 1709"/>
              <a:gd name="T95" fmla="*/ 916 h 1534"/>
              <a:gd name="T96" fmla="*/ 709 w 1709"/>
              <a:gd name="T97" fmla="*/ 716 h 1534"/>
              <a:gd name="T98" fmla="*/ 701 w 1709"/>
              <a:gd name="T99" fmla="*/ 783 h 1534"/>
              <a:gd name="T100" fmla="*/ 647 w 1709"/>
              <a:gd name="T101" fmla="*/ 755 h 1534"/>
              <a:gd name="T102" fmla="*/ 759 w 1709"/>
              <a:gd name="T103" fmla="*/ 457 h 1534"/>
              <a:gd name="T104" fmla="*/ 841 w 1709"/>
              <a:gd name="T105" fmla="*/ 414 h 1534"/>
              <a:gd name="T106" fmla="*/ 965 w 1709"/>
              <a:gd name="T107" fmla="*/ 446 h 1534"/>
              <a:gd name="T108" fmla="*/ 781 w 1709"/>
              <a:gd name="T109" fmla="*/ 1498 h 1534"/>
              <a:gd name="T110" fmla="*/ 578 w 1709"/>
              <a:gd name="T111" fmla="*/ 884 h 1534"/>
              <a:gd name="T112" fmla="*/ 553 w 1709"/>
              <a:gd name="T113" fmla="*/ 882 h 1534"/>
              <a:gd name="T114" fmla="*/ 554 w 1709"/>
              <a:gd name="T115" fmla="*/ 220 h 1534"/>
              <a:gd name="T116" fmla="*/ 429 w 1709"/>
              <a:gd name="T117" fmla="*/ 181 h 1534"/>
              <a:gd name="T118" fmla="*/ 407 w 1709"/>
              <a:gd name="T119" fmla="*/ 255 h 1534"/>
              <a:gd name="T120" fmla="*/ 282 w 1709"/>
              <a:gd name="T121" fmla="*/ 376 h 1534"/>
              <a:gd name="T122" fmla="*/ 308 w 1709"/>
              <a:gd name="T123" fmla="*/ 166 h 1534"/>
              <a:gd name="T124" fmla="*/ 308 w 1709"/>
              <a:gd name="T125" fmla="*/ 187 h 1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09" h="1534">
                <a:moveTo>
                  <a:pt x="1691" y="1473"/>
                </a:moveTo>
                <a:lnTo>
                  <a:pt x="1691" y="1464"/>
                </a:lnTo>
                <a:lnTo>
                  <a:pt x="1691" y="1457"/>
                </a:lnTo>
                <a:lnTo>
                  <a:pt x="1691" y="1464"/>
                </a:lnTo>
                <a:lnTo>
                  <a:pt x="1691" y="1473"/>
                </a:lnTo>
                <a:lnTo>
                  <a:pt x="1692" y="1475"/>
                </a:lnTo>
                <a:lnTo>
                  <a:pt x="1693" y="1477"/>
                </a:lnTo>
                <a:lnTo>
                  <a:pt x="1692" y="1475"/>
                </a:lnTo>
                <a:lnTo>
                  <a:pt x="1691" y="1473"/>
                </a:lnTo>
                <a:close/>
                <a:moveTo>
                  <a:pt x="819" y="1362"/>
                </a:moveTo>
                <a:lnTo>
                  <a:pt x="820" y="1364"/>
                </a:lnTo>
                <a:lnTo>
                  <a:pt x="821" y="1364"/>
                </a:lnTo>
                <a:lnTo>
                  <a:pt x="822" y="1363"/>
                </a:lnTo>
                <a:lnTo>
                  <a:pt x="823" y="1362"/>
                </a:lnTo>
                <a:lnTo>
                  <a:pt x="826" y="1356"/>
                </a:lnTo>
                <a:lnTo>
                  <a:pt x="829" y="1350"/>
                </a:lnTo>
                <a:lnTo>
                  <a:pt x="832" y="1348"/>
                </a:lnTo>
                <a:lnTo>
                  <a:pt x="834" y="1344"/>
                </a:lnTo>
                <a:lnTo>
                  <a:pt x="836" y="1341"/>
                </a:lnTo>
                <a:lnTo>
                  <a:pt x="837" y="1337"/>
                </a:lnTo>
                <a:lnTo>
                  <a:pt x="835" y="1340"/>
                </a:lnTo>
                <a:lnTo>
                  <a:pt x="832" y="1342"/>
                </a:lnTo>
                <a:lnTo>
                  <a:pt x="829" y="1343"/>
                </a:lnTo>
                <a:lnTo>
                  <a:pt x="828" y="1344"/>
                </a:lnTo>
                <a:lnTo>
                  <a:pt x="828" y="1347"/>
                </a:lnTo>
                <a:lnTo>
                  <a:pt x="827" y="1349"/>
                </a:lnTo>
                <a:lnTo>
                  <a:pt x="825" y="1350"/>
                </a:lnTo>
                <a:lnTo>
                  <a:pt x="822" y="1350"/>
                </a:lnTo>
                <a:lnTo>
                  <a:pt x="820" y="1349"/>
                </a:lnTo>
                <a:lnTo>
                  <a:pt x="818" y="1344"/>
                </a:lnTo>
                <a:lnTo>
                  <a:pt x="818" y="1349"/>
                </a:lnTo>
                <a:lnTo>
                  <a:pt x="818" y="1351"/>
                </a:lnTo>
                <a:lnTo>
                  <a:pt x="815" y="1355"/>
                </a:lnTo>
                <a:lnTo>
                  <a:pt x="812" y="1359"/>
                </a:lnTo>
                <a:lnTo>
                  <a:pt x="815" y="1361"/>
                </a:lnTo>
                <a:lnTo>
                  <a:pt x="819" y="1362"/>
                </a:lnTo>
                <a:close/>
                <a:moveTo>
                  <a:pt x="530" y="897"/>
                </a:moveTo>
                <a:lnTo>
                  <a:pt x="531" y="897"/>
                </a:lnTo>
                <a:lnTo>
                  <a:pt x="532" y="897"/>
                </a:lnTo>
                <a:lnTo>
                  <a:pt x="533" y="897"/>
                </a:lnTo>
                <a:lnTo>
                  <a:pt x="533" y="896"/>
                </a:lnTo>
                <a:lnTo>
                  <a:pt x="532" y="896"/>
                </a:lnTo>
                <a:lnTo>
                  <a:pt x="531" y="896"/>
                </a:lnTo>
                <a:lnTo>
                  <a:pt x="531" y="896"/>
                </a:lnTo>
                <a:lnTo>
                  <a:pt x="530" y="897"/>
                </a:lnTo>
                <a:close/>
                <a:moveTo>
                  <a:pt x="1690" y="1446"/>
                </a:moveTo>
                <a:lnTo>
                  <a:pt x="1690" y="1446"/>
                </a:lnTo>
                <a:lnTo>
                  <a:pt x="1690" y="1446"/>
                </a:lnTo>
                <a:lnTo>
                  <a:pt x="1690" y="1447"/>
                </a:lnTo>
                <a:lnTo>
                  <a:pt x="1690" y="1447"/>
                </a:lnTo>
                <a:lnTo>
                  <a:pt x="1686" y="1450"/>
                </a:lnTo>
                <a:lnTo>
                  <a:pt x="1685" y="1454"/>
                </a:lnTo>
                <a:lnTo>
                  <a:pt x="1682" y="1452"/>
                </a:lnTo>
                <a:lnTo>
                  <a:pt x="1679" y="1448"/>
                </a:lnTo>
                <a:lnTo>
                  <a:pt x="1678" y="1445"/>
                </a:lnTo>
                <a:lnTo>
                  <a:pt x="1677" y="1442"/>
                </a:lnTo>
                <a:lnTo>
                  <a:pt x="1675" y="1441"/>
                </a:lnTo>
                <a:lnTo>
                  <a:pt x="1674" y="1441"/>
                </a:lnTo>
                <a:lnTo>
                  <a:pt x="1669" y="1441"/>
                </a:lnTo>
                <a:lnTo>
                  <a:pt x="1664" y="1445"/>
                </a:lnTo>
                <a:lnTo>
                  <a:pt x="1662" y="1446"/>
                </a:lnTo>
                <a:lnTo>
                  <a:pt x="1658" y="1446"/>
                </a:lnTo>
                <a:lnTo>
                  <a:pt x="1657" y="1445"/>
                </a:lnTo>
                <a:lnTo>
                  <a:pt x="1656" y="1442"/>
                </a:lnTo>
                <a:lnTo>
                  <a:pt x="1654" y="1431"/>
                </a:lnTo>
                <a:lnTo>
                  <a:pt x="1650" y="1419"/>
                </a:lnTo>
                <a:lnTo>
                  <a:pt x="1652" y="1413"/>
                </a:lnTo>
                <a:lnTo>
                  <a:pt x="1652" y="1408"/>
                </a:lnTo>
                <a:lnTo>
                  <a:pt x="1654" y="1408"/>
                </a:lnTo>
                <a:lnTo>
                  <a:pt x="1654" y="1407"/>
                </a:lnTo>
                <a:lnTo>
                  <a:pt x="1654" y="1407"/>
                </a:lnTo>
                <a:lnTo>
                  <a:pt x="1652" y="1406"/>
                </a:lnTo>
                <a:lnTo>
                  <a:pt x="1654" y="1405"/>
                </a:lnTo>
                <a:lnTo>
                  <a:pt x="1654" y="1404"/>
                </a:lnTo>
                <a:lnTo>
                  <a:pt x="1655" y="1400"/>
                </a:lnTo>
                <a:lnTo>
                  <a:pt x="1656" y="1398"/>
                </a:lnTo>
                <a:lnTo>
                  <a:pt x="1656" y="1394"/>
                </a:lnTo>
                <a:lnTo>
                  <a:pt x="1655" y="1392"/>
                </a:lnTo>
                <a:lnTo>
                  <a:pt x="1655" y="1390"/>
                </a:lnTo>
                <a:lnTo>
                  <a:pt x="1655" y="1387"/>
                </a:lnTo>
                <a:lnTo>
                  <a:pt x="1661" y="1387"/>
                </a:lnTo>
                <a:lnTo>
                  <a:pt x="1665" y="1390"/>
                </a:lnTo>
                <a:lnTo>
                  <a:pt x="1667" y="1392"/>
                </a:lnTo>
                <a:lnTo>
                  <a:pt x="1669" y="1393"/>
                </a:lnTo>
                <a:lnTo>
                  <a:pt x="1670" y="1393"/>
                </a:lnTo>
                <a:lnTo>
                  <a:pt x="1672" y="1392"/>
                </a:lnTo>
                <a:lnTo>
                  <a:pt x="1672" y="1391"/>
                </a:lnTo>
                <a:lnTo>
                  <a:pt x="1674" y="1389"/>
                </a:lnTo>
                <a:lnTo>
                  <a:pt x="1672" y="1387"/>
                </a:lnTo>
                <a:lnTo>
                  <a:pt x="1672" y="1385"/>
                </a:lnTo>
                <a:lnTo>
                  <a:pt x="1668" y="1376"/>
                </a:lnTo>
                <a:lnTo>
                  <a:pt x="1662" y="1366"/>
                </a:lnTo>
                <a:lnTo>
                  <a:pt x="1658" y="1363"/>
                </a:lnTo>
                <a:lnTo>
                  <a:pt x="1654" y="1359"/>
                </a:lnTo>
                <a:lnTo>
                  <a:pt x="1649" y="1357"/>
                </a:lnTo>
                <a:lnTo>
                  <a:pt x="1643" y="1355"/>
                </a:lnTo>
                <a:lnTo>
                  <a:pt x="1638" y="1354"/>
                </a:lnTo>
                <a:lnTo>
                  <a:pt x="1635" y="1352"/>
                </a:lnTo>
                <a:lnTo>
                  <a:pt x="1633" y="1351"/>
                </a:lnTo>
                <a:lnTo>
                  <a:pt x="1631" y="1350"/>
                </a:lnTo>
                <a:lnTo>
                  <a:pt x="1630" y="1348"/>
                </a:lnTo>
                <a:lnTo>
                  <a:pt x="1630" y="1344"/>
                </a:lnTo>
                <a:lnTo>
                  <a:pt x="1630" y="1340"/>
                </a:lnTo>
                <a:lnTo>
                  <a:pt x="1630" y="1335"/>
                </a:lnTo>
                <a:lnTo>
                  <a:pt x="1628" y="1331"/>
                </a:lnTo>
                <a:lnTo>
                  <a:pt x="1626" y="1328"/>
                </a:lnTo>
                <a:lnTo>
                  <a:pt x="1620" y="1320"/>
                </a:lnTo>
                <a:lnTo>
                  <a:pt x="1614" y="1310"/>
                </a:lnTo>
                <a:lnTo>
                  <a:pt x="1610" y="1305"/>
                </a:lnTo>
                <a:lnTo>
                  <a:pt x="1607" y="1299"/>
                </a:lnTo>
                <a:lnTo>
                  <a:pt x="1602" y="1294"/>
                </a:lnTo>
                <a:lnTo>
                  <a:pt x="1598" y="1289"/>
                </a:lnTo>
                <a:lnTo>
                  <a:pt x="1598" y="1289"/>
                </a:lnTo>
                <a:lnTo>
                  <a:pt x="1596" y="1282"/>
                </a:lnTo>
                <a:lnTo>
                  <a:pt x="1593" y="1277"/>
                </a:lnTo>
                <a:lnTo>
                  <a:pt x="1589" y="1272"/>
                </a:lnTo>
                <a:lnTo>
                  <a:pt x="1586" y="1266"/>
                </a:lnTo>
                <a:lnTo>
                  <a:pt x="1582" y="1258"/>
                </a:lnTo>
                <a:lnTo>
                  <a:pt x="1578" y="1251"/>
                </a:lnTo>
                <a:lnTo>
                  <a:pt x="1573" y="1244"/>
                </a:lnTo>
                <a:lnTo>
                  <a:pt x="1566" y="1237"/>
                </a:lnTo>
                <a:lnTo>
                  <a:pt x="1566" y="1237"/>
                </a:lnTo>
                <a:lnTo>
                  <a:pt x="1562" y="1228"/>
                </a:lnTo>
                <a:lnTo>
                  <a:pt x="1557" y="1218"/>
                </a:lnTo>
                <a:lnTo>
                  <a:pt x="1550" y="1210"/>
                </a:lnTo>
                <a:lnTo>
                  <a:pt x="1545" y="1201"/>
                </a:lnTo>
                <a:lnTo>
                  <a:pt x="1545" y="1201"/>
                </a:lnTo>
                <a:lnTo>
                  <a:pt x="1544" y="1200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1"/>
                </a:lnTo>
                <a:lnTo>
                  <a:pt x="1544" y="1200"/>
                </a:lnTo>
                <a:lnTo>
                  <a:pt x="1544" y="1197"/>
                </a:lnTo>
                <a:lnTo>
                  <a:pt x="1541" y="1196"/>
                </a:lnTo>
                <a:lnTo>
                  <a:pt x="1540" y="1190"/>
                </a:lnTo>
                <a:lnTo>
                  <a:pt x="1537" y="1186"/>
                </a:lnTo>
                <a:lnTo>
                  <a:pt x="1533" y="1182"/>
                </a:lnTo>
                <a:lnTo>
                  <a:pt x="1530" y="1177"/>
                </a:lnTo>
                <a:lnTo>
                  <a:pt x="1524" y="1167"/>
                </a:lnTo>
                <a:lnTo>
                  <a:pt x="1518" y="1156"/>
                </a:lnTo>
                <a:lnTo>
                  <a:pt x="1512" y="1147"/>
                </a:lnTo>
                <a:lnTo>
                  <a:pt x="1505" y="1138"/>
                </a:lnTo>
                <a:lnTo>
                  <a:pt x="1505" y="1135"/>
                </a:lnTo>
                <a:lnTo>
                  <a:pt x="1504" y="1134"/>
                </a:lnTo>
                <a:lnTo>
                  <a:pt x="1504" y="1133"/>
                </a:lnTo>
                <a:lnTo>
                  <a:pt x="1503" y="1132"/>
                </a:lnTo>
                <a:lnTo>
                  <a:pt x="1502" y="1131"/>
                </a:lnTo>
                <a:lnTo>
                  <a:pt x="1500" y="1131"/>
                </a:lnTo>
                <a:lnTo>
                  <a:pt x="1500" y="1130"/>
                </a:lnTo>
                <a:lnTo>
                  <a:pt x="1499" y="1128"/>
                </a:lnTo>
                <a:lnTo>
                  <a:pt x="1499" y="1126"/>
                </a:lnTo>
                <a:lnTo>
                  <a:pt x="1498" y="1126"/>
                </a:lnTo>
                <a:lnTo>
                  <a:pt x="1498" y="1126"/>
                </a:lnTo>
                <a:lnTo>
                  <a:pt x="1498" y="1124"/>
                </a:lnTo>
                <a:lnTo>
                  <a:pt x="1498" y="1123"/>
                </a:lnTo>
                <a:lnTo>
                  <a:pt x="1497" y="1121"/>
                </a:lnTo>
                <a:lnTo>
                  <a:pt x="1496" y="1121"/>
                </a:lnTo>
                <a:lnTo>
                  <a:pt x="1495" y="1120"/>
                </a:lnTo>
                <a:lnTo>
                  <a:pt x="1493" y="1120"/>
                </a:lnTo>
                <a:lnTo>
                  <a:pt x="1492" y="1116"/>
                </a:lnTo>
                <a:lnTo>
                  <a:pt x="1490" y="1111"/>
                </a:lnTo>
                <a:lnTo>
                  <a:pt x="1486" y="1107"/>
                </a:lnTo>
                <a:lnTo>
                  <a:pt x="1483" y="1104"/>
                </a:lnTo>
                <a:lnTo>
                  <a:pt x="1483" y="1103"/>
                </a:lnTo>
                <a:lnTo>
                  <a:pt x="1483" y="1103"/>
                </a:lnTo>
                <a:lnTo>
                  <a:pt x="1483" y="1099"/>
                </a:lnTo>
                <a:lnTo>
                  <a:pt x="1482" y="1097"/>
                </a:lnTo>
                <a:lnTo>
                  <a:pt x="1479" y="1091"/>
                </a:lnTo>
                <a:lnTo>
                  <a:pt x="1477" y="1086"/>
                </a:lnTo>
                <a:lnTo>
                  <a:pt x="1474" y="1082"/>
                </a:lnTo>
                <a:lnTo>
                  <a:pt x="1470" y="1078"/>
                </a:lnTo>
                <a:lnTo>
                  <a:pt x="1463" y="1070"/>
                </a:lnTo>
                <a:lnTo>
                  <a:pt x="1455" y="1062"/>
                </a:lnTo>
                <a:lnTo>
                  <a:pt x="1454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1" y="1059"/>
                </a:lnTo>
                <a:lnTo>
                  <a:pt x="1450" y="1057"/>
                </a:lnTo>
                <a:lnTo>
                  <a:pt x="1450" y="1055"/>
                </a:lnTo>
                <a:lnTo>
                  <a:pt x="1448" y="1055"/>
                </a:lnTo>
                <a:lnTo>
                  <a:pt x="1445" y="1055"/>
                </a:lnTo>
                <a:lnTo>
                  <a:pt x="1445" y="1054"/>
                </a:lnTo>
                <a:lnTo>
                  <a:pt x="1445" y="1054"/>
                </a:lnTo>
                <a:lnTo>
                  <a:pt x="1444" y="1051"/>
                </a:lnTo>
                <a:lnTo>
                  <a:pt x="1442" y="1049"/>
                </a:lnTo>
                <a:lnTo>
                  <a:pt x="1440" y="1047"/>
                </a:lnTo>
                <a:lnTo>
                  <a:pt x="1437" y="1045"/>
                </a:lnTo>
                <a:lnTo>
                  <a:pt x="1424" y="1037"/>
                </a:lnTo>
                <a:lnTo>
                  <a:pt x="1414" y="1028"/>
                </a:lnTo>
                <a:lnTo>
                  <a:pt x="1403" y="1017"/>
                </a:lnTo>
                <a:lnTo>
                  <a:pt x="1395" y="1006"/>
                </a:lnTo>
                <a:lnTo>
                  <a:pt x="1392" y="1002"/>
                </a:lnTo>
                <a:lnTo>
                  <a:pt x="1391" y="999"/>
                </a:lnTo>
                <a:lnTo>
                  <a:pt x="1389" y="996"/>
                </a:lnTo>
                <a:lnTo>
                  <a:pt x="1389" y="994"/>
                </a:lnTo>
                <a:lnTo>
                  <a:pt x="1391" y="992"/>
                </a:lnTo>
                <a:lnTo>
                  <a:pt x="1393" y="989"/>
                </a:lnTo>
                <a:lnTo>
                  <a:pt x="1395" y="989"/>
                </a:lnTo>
                <a:lnTo>
                  <a:pt x="1396" y="989"/>
                </a:lnTo>
                <a:lnTo>
                  <a:pt x="1396" y="988"/>
                </a:lnTo>
                <a:lnTo>
                  <a:pt x="1396" y="986"/>
                </a:lnTo>
                <a:lnTo>
                  <a:pt x="1394" y="984"/>
                </a:lnTo>
                <a:lnTo>
                  <a:pt x="1393" y="981"/>
                </a:lnTo>
                <a:lnTo>
                  <a:pt x="1393" y="972"/>
                </a:lnTo>
                <a:lnTo>
                  <a:pt x="1393" y="964"/>
                </a:lnTo>
                <a:lnTo>
                  <a:pt x="1392" y="951"/>
                </a:lnTo>
                <a:lnTo>
                  <a:pt x="1392" y="939"/>
                </a:lnTo>
                <a:lnTo>
                  <a:pt x="1393" y="933"/>
                </a:lnTo>
                <a:lnTo>
                  <a:pt x="1392" y="930"/>
                </a:lnTo>
                <a:lnTo>
                  <a:pt x="1389" y="926"/>
                </a:lnTo>
                <a:lnTo>
                  <a:pt x="1386" y="923"/>
                </a:lnTo>
                <a:lnTo>
                  <a:pt x="1385" y="922"/>
                </a:lnTo>
                <a:lnTo>
                  <a:pt x="1384" y="921"/>
                </a:lnTo>
                <a:lnTo>
                  <a:pt x="1385" y="919"/>
                </a:lnTo>
                <a:lnTo>
                  <a:pt x="1386" y="917"/>
                </a:lnTo>
                <a:lnTo>
                  <a:pt x="1388" y="915"/>
                </a:lnTo>
                <a:lnTo>
                  <a:pt x="1389" y="912"/>
                </a:lnTo>
                <a:lnTo>
                  <a:pt x="1389" y="909"/>
                </a:lnTo>
                <a:lnTo>
                  <a:pt x="1386" y="905"/>
                </a:lnTo>
                <a:lnTo>
                  <a:pt x="1385" y="904"/>
                </a:lnTo>
                <a:lnTo>
                  <a:pt x="1384" y="903"/>
                </a:lnTo>
                <a:lnTo>
                  <a:pt x="1384" y="902"/>
                </a:lnTo>
                <a:lnTo>
                  <a:pt x="1386" y="901"/>
                </a:lnTo>
                <a:lnTo>
                  <a:pt x="1387" y="898"/>
                </a:lnTo>
                <a:lnTo>
                  <a:pt x="1388" y="897"/>
                </a:lnTo>
                <a:lnTo>
                  <a:pt x="1388" y="895"/>
                </a:lnTo>
                <a:lnTo>
                  <a:pt x="1388" y="893"/>
                </a:lnTo>
                <a:lnTo>
                  <a:pt x="1388" y="880"/>
                </a:lnTo>
                <a:lnTo>
                  <a:pt x="1387" y="868"/>
                </a:lnTo>
                <a:lnTo>
                  <a:pt x="1387" y="856"/>
                </a:lnTo>
                <a:lnTo>
                  <a:pt x="1387" y="844"/>
                </a:lnTo>
                <a:lnTo>
                  <a:pt x="1387" y="831"/>
                </a:lnTo>
                <a:lnTo>
                  <a:pt x="1386" y="819"/>
                </a:lnTo>
                <a:lnTo>
                  <a:pt x="1385" y="806"/>
                </a:lnTo>
                <a:lnTo>
                  <a:pt x="1381" y="795"/>
                </a:lnTo>
                <a:lnTo>
                  <a:pt x="1381" y="792"/>
                </a:lnTo>
                <a:lnTo>
                  <a:pt x="1381" y="790"/>
                </a:lnTo>
                <a:lnTo>
                  <a:pt x="1384" y="784"/>
                </a:lnTo>
                <a:lnTo>
                  <a:pt x="1382" y="779"/>
                </a:lnTo>
                <a:lnTo>
                  <a:pt x="1380" y="776"/>
                </a:lnTo>
                <a:lnTo>
                  <a:pt x="1378" y="772"/>
                </a:lnTo>
                <a:lnTo>
                  <a:pt x="1375" y="769"/>
                </a:lnTo>
                <a:lnTo>
                  <a:pt x="1372" y="765"/>
                </a:lnTo>
                <a:lnTo>
                  <a:pt x="1371" y="761"/>
                </a:lnTo>
                <a:lnTo>
                  <a:pt x="1369" y="756"/>
                </a:lnTo>
                <a:lnTo>
                  <a:pt x="1369" y="756"/>
                </a:lnTo>
                <a:lnTo>
                  <a:pt x="1368" y="756"/>
                </a:lnTo>
                <a:lnTo>
                  <a:pt x="1366" y="755"/>
                </a:lnTo>
                <a:lnTo>
                  <a:pt x="1366" y="754"/>
                </a:lnTo>
                <a:lnTo>
                  <a:pt x="1367" y="751"/>
                </a:lnTo>
                <a:lnTo>
                  <a:pt x="1367" y="750"/>
                </a:lnTo>
                <a:lnTo>
                  <a:pt x="1371" y="749"/>
                </a:lnTo>
                <a:lnTo>
                  <a:pt x="1374" y="750"/>
                </a:lnTo>
                <a:lnTo>
                  <a:pt x="1376" y="753"/>
                </a:lnTo>
                <a:lnTo>
                  <a:pt x="1379" y="755"/>
                </a:lnTo>
                <a:lnTo>
                  <a:pt x="1380" y="755"/>
                </a:lnTo>
                <a:lnTo>
                  <a:pt x="1382" y="755"/>
                </a:lnTo>
                <a:lnTo>
                  <a:pt x="1384" y="753"/>
                </a:lnTo>
                <a:lnTo>
                  <a:pt x="1381" y="750"/>
                </a:lnTo>
                <a:lnTo>
                  <a:pt x="1379" y="749"/>
                </a:lnTo>
                <a:lnTo>
                  <a:pt x="1378" y="747"/>
                </a:lnTo>
                <a:lnTo>
                  <a:pt x="1376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4" y="746"/>
                </a:lnTo>
                <a:lnTo>
                  <a:pt x="1372" y="742"/>
                </a:lnTo>
                <a:lnTo>
                  <a:pt x="1368" y="741"/>
                </a:lnTo>
                <a:lnTo>
                  <a:pt x="1366" y="741"/>
                </a:lnTo>
                <a:lnTo>
                  <a:pt x="1365" y="739"/>
                </a:lnTo>
                <a:lnTo>
                  <a:pt x="1366" y="737"/>
                </a:lnTo>
                <a:lnTo>
                  <a:pt x="1367" y="735"/>
                </a:lnTo>
                <a:lnTo>
                  <a:pt x="1367" y="735"/>
                </a:lnTo>
                <a:lnTo>
                  <a:pt x="1367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8" y="735"/>
                </a:lnTo>
                <a:lnTo>
                  <a:pt x="1369" y="735"/>
                </a:lnTo>
                <a:lnTo>
                  <a:pt x="1371" y="735"/>
                </a:lnTo>
                <a:lnTo>
                  <a:pt x="1372" y="736"/>
                </a:lnTo>
                <a:lnTo>
                  <a:pt x="1372" y="736"/>
                </a:lnTo>
                <a:lnTo>
                  <a:pt x="1372" y="736"/>
                </a:lnTo>
                <a:lnTo>
                  <a:pt x="1376" y="739"/>
                </a:lnTo>
                <a:lnTo>
                  <a:pt x="1381" y="741"/>
                </a:lnTo>
                <a:lnTo>
                  <a:pt x="1385" y="744"/>
                </a:lnTo>
                <a:lnTo>
                  <a:pt x="1387" y="749"/>
                </a:lnTo>
                <a:lnTo>
                  <a:pt x="1388" y="744"/>
                </a:lnTo>
                <a:lnTo>
                  <a:pt x="1388" y="740"/>
                </a:lnTo>
                <a:lnTo>
                  <a:pt x="1387" y="736"/>
                </a:lnTo>
                <a:lnTo>
                  <a:pt x="1384" y="733"/>
                </a:lnTo>
                <a:lnTo>
                  <a:pt x="1376" y="726"/>
                </a:lnTo>
                <a:lnTo>
                  <a:pt x="1368" y="721"/>
                </a:lnTo>
                <a:lnTo>
                  <a:pt x="1368" y="718"/>
                </a:lnTo>
                <a:lnTo>
                  <a:pt x="1368" y="714"/>
                </a:lnTo>
                <a:lnTo>
                  <a:pt x="1368" y="713"/>
                </a:lnTo>
                <a:lnTo>
                  <a:pt x="1367" y="711"/>
                </a:lnTo>
                <a:lnTo>
                  <a:pt x="1366" y="709"/>
                </a:lnTo>
                <a:lnTo>
                  <a:pt x="1364" y="709"/>
                </a:lnTo>
                <a:lnTo>
                  <a:pt x="1362" y="708"/>
                </a:lnTo>
                <a:lnTo>
                  <a:pt x="1361" y="708"/>
                </a:lnTo>
                <a:lnTo>
                  <a:pt x="1361" y="706"/>
                </a:lnTo>
                <a:lnTo>
                  <a:pt x="1360" y="704"/>
                </a:lnTo>
                <a:lnTo>
                  <a:pt x="1360" y="702"/>
                </a:lnTo>
                <a:lnTo>
                  <a:pt x="1358" y="701"/>
                </a:lnTo>
                <a:lnTo>
                  <a:pt x="1354" y="700"/>
                </a:lnTo>
                <a:lnTo>
                  <a:pt x="1352" y="699"/>
                </a:lnTo>
                <a:lnTo>
                  <a:pt x="1354" y="698"/>
                </a:lnTo>
                <a:lnTo>
                  <a:pt x="1357" y="697"/>
                </a:lnTo>
                <a:lnTo>
                  <a:pt x="1359" y="695"/>
                </a:lnTo>
                <a:lnTo>
                  <a:pt x="1360" y="693"/>
                </a:lnTo>
                <a:lnTo>
                  <a:pt x="1361" y="688"/>
                </a:lnTo>
                <a:lnTo>
                  <a:pt x="1361" y="683"/>
                </a:lnTo>
                <a:lnTo>
                  <a:pt x="1361" y="679"/>
                </a:lnTo>
                <a:lnTo>
                  <a:pt x="1362" y="678"/>
                </a:lnTo>
                <a:lnTo>
                  <a:pt x="1365" y="678"/>
                </a:lnTo>
                <a:lnTo>
                  <a:pt x="1367" y="678"/>
                </a:lnTo>
                <a:lnTo>
                  <a:pt x="1369" y="679"/>
                </a:lnTo>
                <a:lnTo>
                  <a:pt x="1373" y="681"/>
                </a:lnTo>
                <a:lnTo>
                  <a:pt x="1378" y="685"/>
                </a:lnTo>
                <a:lnTo>
                  <a:pt x="1382" y="690"/>
                </a:lnTo>
                <a:lnTo>
                  <a:pt x="1385" y="691"/>
                </a:lnTo>
                <a:lnTo>
                  <a:pt x="1387" y="693"/>
                </a:lnTo>
                <a:lnTo>
                  <a:pt x="1389" y="694"/>
                </a:lnTo>
                <a:lnTo>
                  <a:pt x="1393" y="694"/>
                </a:lnTo>
                <a:lnTo>
                  <a:pt x="1395" y="694"/>
                </a:lnTo>
                <a:lnTo>
                  <a:pt x="1396" y="693"/>
                </a:lnTo>
                <a:lnTo>
                  <a:pt x="1396" y="691"/>
                </a:lnTo>
                <a:lnTo>
                  <a:pt x="1394" y="688"/>
                </a:lnTo>
                <a:lnTo>
                  <a:pt x="1391" y="687"/>
                </a:lnTo>
                <a:lnTo>
                  <a:pt x="1387" y="685"/>
                </a:lnTo>
                <a:lnTo>
                  <a:pt x="1384" y="681"/>
                </a:lnTo>
                <a:lnTo>
                  <a:pt x="1381" y="678"/>
                </a:lnTo>
                <a:lnTo>
                  <a:pt x="1379" y="677"/>
                </a:lnTo>
                <a:lnTo>
                  <a:pt x="1378" y="676"/>
                </a:lnTo>
                <a:lnTo>
                  <a:pt x="1386" y="677"/>
                </a:lnTo>
                <a:lnTo>
                  <a:pt x="1389" y="677"/>
                </a:lnTo>
                <a:lnTo>
                  <a:pt x="1381" y="670"/>
                </a:lnTo>
                <a:lnTo>
                  <a:pt x="1366" y="657"/>
                </a:lnTo>
                <a:lnTo>
                  <a:pt x="1360" y="651"/>
                </a:lnTo>
                <a:lnTo>
                  <a:pt x="1357" y="648"/>
                </a:lnTo>
                <a:lnTo>
                  <a:pt x="1359" y="648"/>
                </a:lnTo>
                <a:lnTo>
                  <a:pt x="1367" y="653"/>
                </a:lnTo>
                <a:lnTo>
                  <a:pt x="1376" y="660"/>
                </a:lnTo>
                <a:lnTo>
                  <a:pt x="1382" y="663"/>
                </a:lnTo>
                <a:lnTo>
                  <a:pt x="1384" y="663"/>
                </a:lnTo>
                <a:lnTo>
                  <a:pt x="1384" y="662"/>
                </a:lnTo>
                <a:lnTo>
                  <a:pt x="1382" y="660"/>
                </a:lnTo>
                <a:lnTo>
                  <a:pt x="1382" y="658"/>
                </a:lnTo>
                <a:lnTo>
                  <a:pt x="1375" y="645"/>
                </a:lnTo>
                <a:lnTo>
                  <a:pt x="1371" y="631"/>
                </a:lnTo>
                <a:lnTo>
                  <a:pt x="1369" y="625"/>
                </a:lnTo>
                <a:lnTo>
                  <a:pt x="1367" y="618"/>
                </a:lnTo>
                <a:lnTo>
                  <a:pt x="1365" y="613"/>
                </a:lnTo>
                <a:lnTo>
                  <a:pt x="1361" y="606"/>
                </a:lnTo>
                <a:lnTo>
                  <a:pt x="1352" y="593"/>
                </a:lnTo>
                <a:lnTo>
                  <a:pt x="1338" y="579"/>
                </a:lnTo>
                <a:lnTo>
                  <a:pt x="1326" y="567"/>
                </a:lnTo>
                <a:lnTo>
                  <a:pt x="1317" y="560"/>
                </a:lnTo>
                <a:lnTo>
                  <a:pt x="1308" y="553"/>
                </a:lnTo>
                <a:lnTo>
                  <a:pt x="1295" y="540"/>
                </a:lnTo>
                <a:lnTo>
                  <a:pt x="1281" y="526"/>
                </a:lnTo>
                <a:lnTo>
                  <a:pt x="1271" y="516"/>
                </a:lnTo>
                <a:lnTo>
                  <a:pt x="1263" y="503"/>
                </a:lnTo>
                <a:lnTo>
                  <a:pt x="1254" y="488"/>
                </a:lnTo>
                <a:lnTo>
                  <a:pt x="1253" y="484"/>
                </a:lnTo>
                <a:lnTo>
                  <a:pt x="1250" y="482"/>
                </a:lnTo>
                <a:lnTo>
                  <a:pt x="1249" y="482"/>
                </a:lnTo>
                <a:lnTo>
                  <a:pt x="1248" y="482"/>
                </a:lnTo>
                <a:lnTo>
                  <a:pt x="1247" y="487"/>
                </a:lnTo>
                <a:lnTo>
                  <a:pt x="1247" y="492"/>
                </a:lnTo>
                <a:lnTo>
                  <a:pt x="1247" y="499"/>
                </a:lnTo>
                <a:lnTo>
                  <a:pt x="1247" y="504"/>
                </a:lnTo>
                <a:lnTo>
                  <a:pt x="1247" y="504"/>
                </a:lnTo>
                <a:lnTo>
                  <a:pt x="1246" y="499"/>
                </a:lnTo>
                <a:lnTo>
                  <a:pt x="1244" y="491"/>
                </a:lnTo>
                <a:lnTo>
                  <a:pt x="1241" y="482"/>
                </a:lnTo>
                <a:lnTo>
                  <a:pt x="1236" y="474"/>
                </a:lnTo>
                <a:lnTo>
                  <a:pt x="1233" y="467"/>
                </a:lnTo>
                <a:lnTo>
                  <a:pt x="1228" y="461"/>
                </a:lnTo>
                <a:lnTo>
                  <a:pt x="1226" y="456"/>
                </a:lnTo>
                <a:lnTo>
                  <a:pt x="1224" y="456"/>
                </a:lnTo>
                <a:lnTo>
                  <a:pt x="1224" y="456"/>
                </a:lnTo>
                <a:lnTo>
                  <a:pt x="1224" y="457"/>
                </a:lnTo>
                <a:lnTo>
                  <a:pt x="1226" y="459"/>
                </a:lnTo>
                <a:lnTo>
                  <a:pt x="1227" y="463"/>
                </a:lnTo>
                <a:lnTo>
                  <a:pt x="1227" y="467"/>
                </a:lnTo>
                <a:lnTo>
                  <a:pt x="1227" y="469"/>
                </a:lnTo>
                <a:lnTo>
                  <a:pt x="1226" y="471"/>
                </a:lnTo>
                <a:lnTo>
                  <a:pt x="1222" y="474"/>
                </a:lnTo>
                <a:lnTo>
                  <a:pt x="1221" y="474"/>
                </a:lnTo>
                <a:lnTo>
                  <a:pt x="1216" y="462"/>
                </a:lnTo>
                <a:lnTo>
                  <a:pt x="1212" y="452"/>
                </a:lnTo>
                <a:lnTo>
                  <a:pt x="1210" y="449"/>
                </a:lnTo>
                <a:lnTo>
                  <a:pt x="1210" y="447"/>
                </a:lnTo>
                <a:lnTo>
                  <a:pt x="1208" y="447"/>
                </a:lnTo>
                <a:lnTo>
                  <a:pt x="1206" y="449"/>
                </a:lnTo>
                <a:lnTo>
                  <a:pt x="1202" y="448"/>
                </a:lnTo>
                <a:lnTo>
                  <a:pt x="1200" y="447"/>
                </a:lnTo>
                <a:lnTo>
                  <a:pt x="1200" y="439"/>
                </a:lnTo>
                <a:lnTo>
                  <a:pt x="1199" y="431"/>
                </a:lnTo>
                <a:lnTo>
                  <a:pt x="1196" y="422"/>
                </a:lnTo>
                <a:lnTo>
                  <a:pt x="1194" y="415"/>
                </a:lnTo>
                <a:lnTo>
                  <a:pt x="1191" y="407"/>
                </a:lnTo>
                <a:lnTo>
                  <a:pt x="1188" y="398"/>
                </a:lnTo>
                <a:lnTo>
                  <a:pt x="1185" y="390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8" y="381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5" y="378"/>
                </a:lnTo>
                <a:lnTo>
                  <a:pt x="1174" y="376"/>
                </a:lnTo>
                <a:lnTo>
                  <a:pt x="1174" y="377"/>
                </a:lnTo>
                <a:lnTo>
                  <a:pt x="1174" y="378"/>
                </a:lnTo>
                <a:lnTo>
                  <a:pt x="1175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7" y="379"/>
                </a:lnTo>
                <a:lnTo>
                  <a:pt x="1178" y="381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79" y="383"/>
                </a:lnTo>
                <a:lnTo>
                  <a:pt x="1180" y="389"/>
                </a:lnTo>
                <a:lnTo>
                  <a:pt x="1181" y="393"/>
                </a:lnTo>
                <a:lnTo>
                  <a:pt x="1184" y="400"/>
                </a:lnTo>
                <a:lnTo>
                  <a:pt x="1185" y="408"/>
                </a:lnTo>
                <a:lnTo>
                  <a:pt x="1186" y="415"/>
                </a:lnTo>
                <a:lnTo>
                  <a:pt x="1185" y="424"/>
                </a:lnTo>
                <a:lnTo>
                  <a:pt x="1182" y="414"/>
                </a:lnTo>
                <a:lnTo>
                  <a:pt x="1180" y="405"/>
                </a:lnTo>
                <a:lnTo>
                  <a:pt x="1178" y="400"/>
                </a:lnTo>
                <a:lnTo>
                  <a:pt x="1177" y="396"/>
                </a:lnTo>
                <a:lnTo>
                  <a:pt x="1174" y="391"/>
                </a:lnTo>
                <a:lnTo>
                  <a:pt x="1172" y="386"/>
                </a:lnTo>
                <a:lnTo>
                  <a:pt x="1171" y="392"/>
                </a:lnTo>
                <a:lnTo>
                  <a:pt x="1171" y="397"/>
                </a:lnTo>
                <a:lnTo>
                  <a:pt x="1171" y="407"/>
                </a:lnTo>
                <a:lnTo>
                  <a:pt x="1168" y="418"/>
                </a:lnTo>
                <a:lnTo>
                  <a:pt x="1167" y="427"/>
                </a:lnTo>
                <a:lnTo>
                  <a:pt x="1165" y="438"/>
                </a:lnTo>
                <a:lnTo>
                  <a:pt x="1164" y="439"/>
                </a:lnTo>
                <a:lnTo>
                  <a:pt x="1164" y="441"/>
                </a:lnTo>
                <a:lnTo>
                  <a:pt x="1161" y="441"/>
                </a:lnTo>
                <a:lnTo>
                  <a:pt x="1159" y="440"/>
                </a:lnTo>
                <a:lnTo>
                  <a:pt x="1159" y="435"/>
                </a:lnTo>
                <a:lnTo>
                  <a:pt x="1160" y="431"/>
                </a:lnTo>
                <a:lnTo>
                  <a:pt x="1161" y="425"/>
                </a:lnTo>
                <a:lnTo>
                  <a:pt x="1162" y="419"/>
                </a:lnTo>
                <a:lnTo>
                  <a:pt x="1162" y="413"/>
                </a:lnTo>
                <a:lnTo>
                  <a:pt x="1162" y="407"/>
                </a:lnTo>
                <a:lnTo>
                  <a:pt x="1161" y="401"/>
                </a:lnTo>
                <a:lnTo>
                  <a:pt x="1160" y="396"/>
                </a:lnTo>
                <a:lnTo>
                  <a:pt x="1158" y="390"/>
                </a:lnTo>
                <a:lnTo>
                  <a:pt x="1154" y="384"/>
                </a:lnTo>
                <a:lnTo>
                  <a:pt x="1151" y="379"/>
                </a:lnTo>
                <a:lnTo>
                  <a:pt x="1147" y="374"/>
                </a:lnTo>
                <a:lnTo>
                  <a:pt x="1143" y="365"/>
                </a:lnTo>
                <a:lnTo>
                  <a:pt x="1137" y="356"/>
                </a:lnTo>
                <a:lnTo>
                  <a:pt x="1134" y="349"/>
                </a:lnTo>
                <a:lnTo>
                  <a:pt x="1130" y="343"/>
                </a:lnTo>
                <a:lnTo>
                  <a:pt x="1126" y="338"/>
                </a:lnTo>
                <a:lnTo>
                  <a:pt x="1120" y="334"/>
                </a:lnTo>
                <a:lnTo>
                  <a:pt x="1116" y="330"/>
                </a:lnTo>
                <a:lnTo>
                  <a:pt x="1109" y="328"/>
                </a:lnTo>
                <a:lnTo>
                  <a:pt x="1102" y="325"/>
                </a:lnTo>
                <a:lnTo>
                  <a:pt x="1095" y="324"/>
                </a:lnTo>
                <a:lnTo>
                  <a:pt x="1095" y="323"/>
                </a:lnTo>
                <a:lnTo>
                  <a:pt x="1094" y="323"/>
                </a:lnTo>
                <a:lnTo>
                  <a:pt x="1094" y="323"/>
                </a:lnTo>
                <a:lnTo>
                  <a:pt x="1092" y="323"/>
                </a:lnTo>
                <a:lnTo>
                  <a:pt x="1090" y="322"/>
                </a:lnTo>
                <a:lnTo>
                  <a:pt x="1088" y="318"/>
                </a:lnTo>
                <a:lnTo>
                  <a:pt x="1085" y="316"/>
                </a:lnTo>
                <a:lnTo>
                  <a:pt x="1084" y="313"/>
                </a:lnTo>
                <a:lnTo>
                  <a:pt x="1078" y="296"/>
                </a:lnTo>
                <a:lnTo>
                  <a:pt x="1072" y="280"/>
                </a:lnTo>
                <a:lnTo>
                  <a:pt x="1070" y="275"/>
                </a:lnTo>
                <a:lnTo>
                  <a:pt x="1067" y="271"/>
                </a:lnTo>
                <a:lnTo>
                  <a:pt x="1062" y="267"/>
                </a:lnTo>
                <a:lnTo>
                  <a:pt x="1057" y="266"/>
                </a:lnTo>
                <a:lnTo>
                  <a:pt x="1041" y="262"/>
                </a:lnTo>
                <a:lnTo>
                  <a:pt x="1026" y="260"/>
                </a:lnTo>
                <a:lnTo>
                  <a:pt x="1019" y="259"/>
                </a:lnTo>
                <a:lnTo>
                  <a:pt x="1013" y="255"/>
                </a:lnTo>
                <a:lnTo>
                  <a:pt x="1008" y="251"/>
                </a:lnTo>
                <a:lnTo>
                  <a:pt x="1005" y="245"/>
                </a:lnTo>
                <a:lnTo>
                  <a:pt x="1000" y="236"/>
                </a:lnTo>
                <a:lnTo>
                  <a:pt x="993" y="226"/>
                </a:lnTo>
                <a:lnTo>
                  <a:pt x="989" y="222"/>
                </a:lnTo>
                <a:lnTo>
                  <a:pt x="985" y="218"/>
                </a:lnTo>
                <a:lnTo>
                  <a:pt x="980" y="216"/>
                </a:lnTo>
                <a:lnTo>
                  <a:pt x="974" y="213"/>
                </a:lnTo>
                <a:lnTo>
                  <a:pt x="965" y="212"/>
                </a:lnTo>
                <a:lnTo>
                  <a:pt x="957" y="211"/>
                </a:lnTo>
                <a:lnTo>
                  <a:pt x="947" y="212"/>
                </a:lnTo>
                <a:lnTo>
                  <a:pt x="939" y="213"/>
                </a:lnTo>
                <a:lnTo>
                  <a:pt x="933" y="215"/>
                </a:lnTo>
                <a:lnTo>
                  <a:pt x="930" y="216"/>
                </a:lnTo>
                <a:lnTo>
                  <a:pt x="929" y="206"/>
                </a:lnTo>
                <a:lnTo>
                  <a:pt x="926" y="194"/>
                </a:lnTo>
                <a:lnTo>
                  <a:pt x="922" y="175"/>
                </a:lnTo>
                <a:lnTo>
                  <a:pt x="915" y="154"/>
                </a:lnTo>
                <a:lnTo>
                  <a:pt x="911" y="145"/>
                </a:lnTo>
                <a:lnTo>
                  <a:pt x="908" y="136"/>
                </a:lnTo>
                <a:lnTo>
                  <a:pt x="903" y="129"/>
                </a:lnTo>
                <a:lnTo>
                  <a:pt x="897" y="122"/>
                </a:lnTo>
                <a:lnTo>
                  <a:pt x="888" y="112"/>
                </a:lnTo>
                <a:lnTo>
                  <a:pt x="878" y="105"/>
                </a:lnTo>
                <a:lnTo>
                  <a:pt x="877" y="104"/>
                </a:lnTo>
                <a:lnTo>
                  <a:pt x="875" y="103"/>
                </a:lnTo>
                <a:lnTo>
                  <a:pt x="872" y="101"/>
                </a:lnTo>
                <a:lnTo>
                  <a:pt x="871" y="101"/>
                </a:lnTo>
                <a:lnTo>
                  <a:pt x="870" y="100"/>
                </a:lnTo>
                <a:lnTo>
                  <a:pt x="870" y="100"/>
                </a:lnTo>
                <a:lnTo>
                  <a:pt x="870" y="100"/>
                </a:lnTo>
                <a:lnTo>
                  <a:pt x="854" y="92"/>
                </a:lnTo>
                <a:lnTo>
                  <a:pt x="836" y="84"/>
                </a:lnTo>
                <a:lnTo>
                  <a:pt x="833" y="83"/>
                </a:lnTo>
                <a:lnTo>
                  <a:pt x="829" y="82"/>
                </a:lnTo>
                <a:lnTo>
                  <a:pt x="826" y="82"/>
                </a:lnTo>
                <a:lnTo>
                  <a:pt x="822" y="82"/>
                </a:lnTo>
                <a:lnTo>
                  <a:pt x="812" y="82"/>
                </a:lnTo>
                <a:lnTo>
                  <a:pt x="801" y="84"/>
                </a:lnTo>
                <a:lnTo>
                  <a:pt x="792" y="87"/>
                </a:lnTo>
                <a:lnTo>
                  <a:pt x="784" y="93"/>
                </a:lnTo>
                <a:lnTo>
                  <a:pt x="777" y="99"/>
                </a:lnTo>
                <a:lnTo>
                  <a:pt x="770" y="105"/>
                </a:lnTo>
                <a:lnTo>
                  <a:pt x="757" y="115"/>
                </a:lnTo>
                <a:lnTo>
                  <a:pt x="744" y="127"/>
                </a:lnTo>
                <a:lnTo>
                  <a:pt x="744" y="127"/>
                </a:lnTo>
                <a:lnTo>
                  <a:pt x="744" y="127"/>
                </a:lnTo>
                <a:lnTo>
                  <a:pt x="742" y="129"/>
                </a:lnTo>
                <a:lnTo>
                  <a:pt x="738" y="133"/>
                </a:lnTo>
                <a:lnTo>
                  <a:pt x="738" y="133"/>
                </a:lnTo>
                <a:lnTo>
                  <a:pt x="737" y="134"/>
                </a:lnTo>
                <a:lnTo>
                  <a:pt x="730" y="145"/>
                </a:lnTo>
                <a:lnTo>
                  <a:pt x="724" y="154"/>
                </a:lnTo>
                <a:lnTo>
                  <a:pt x="720" y="164"/>
                </a:lnTo>
                <a:lnTo>
                  <a:pt x="719" y="174"/>
                </a:lnTo>
                <a:lnTo>
                  <a:pt x="717" y="188"/>
                </a:lnTo>
                <a:lnTo>
                  <a:pt x="717" y="194"/>
                </a:lnTo>
                <a:lnTo>
                  <a:pt x="717" y="202"/>
                </a:lnTo>
                <a:lnTo>
                  <a:pt x="718" y="211"/>
                </a:lnTo>
                <a:lnTo>
                  <a:pt x="718" y="216"/>
                </a:lnTo>
                <a:lnTo>
                  <a:pt x="720" y="220"/>
                </a:lnTo>
                <a:lnTo>
                  <a:pt x="723" y="224"/>
                </a:lnTo>
                <a:lnTo>
                  <a:pt x="726" y="227"/>
                </a:lnTo>
                <a:lnTo>
                  <a:pt x="729" y="231"/>
                </a:lnTo>
                <a:lnTo>
                  <a:pt x="732" y="232"/>
                </a:lnTo>
                <a:lnTo>
                  <a:pt x="732" y="230"/>
                </a:lnTo>
                <a:lnTo>
                  <a:pt x="731" y="227"/>
                </a:lnTo>
                <a:lnTo>
                  <a:pt x="732" y="230"/>
                </a:lnTo>
                <a:lnTo>
                  <a:pt x="732" y="232"/>
                </a:lnTo>
                <a:lnTo>
                  <a:pt x="736" y="236"/>
                </a:lnTo>
                <a:lnTo>
                  <a:pt x="738" y="239"/>
                </a:lnTo>
                <a:lnTo>
                  <a:pt x="738" y="243"/>
                </a:lnTo>
                <a:lnTo>
                  <a:pt x="737" y="247"/>
                </a:lnTo>
                <a:lnTo>
                  <a:pt x="733" y="262"/>
                </a:lnTo>
                <a:lnTo>
                  <a:pt x="731" y="279"/>
                </a:lnTo>
                <a:lnTo>
                  <a:pt x="730" y="283"/>
                </a:lnTo>
                <a:lnTo>
                  <a:pt x="732" y="287"/>
                </a:lnTo>
                <a:lnTo>
                  <a:pt x="682" y="289"/>
                </a:lnTo>
                <a:lnTo>
                  <a:pt x="673" y="282"/>
                </a:lnTo>
                <a:lnTo>
                  <a:pt x="661" y="275"/>
                </a:lnTo>
                <a:lnTo>
                  <a:pt x="650" y="269"/>
                </a:lnTo>
                <a:lnTo>
                  <a:pt x="639" y="264"/>
                </a:lnTo>
                <a:lnTo>
                  <a:pt x="637" y="261"/>
                </a:lnTo>
                <a:lnTo>
                  <a:pt x="636" y="260"/>
                </a:lnTo>
                <a:lnTo>
                  <a:pt x="634" y="259"/>
                </a:lnTo>
                <a:lnTo>
                  <a:pt x="632" y="258"/>
                </a:lnTo>
                <a:lnTo>
                  <a:pt x="625" y="252"/>
                </a:lnTo>
                <a:lnTo>
                  <a:pt x="618" y="247"/>
                </a:lnTo>
                <a:lnTo>
                  <a:pt x="619" y="253"/>
                </a:lnTo>
                <a:lnTo>
                  <a:pt x="620" y="259"/>
                </a:lnTo>
                <a:lnTo>
                  <a:pt x="616" y="259"/>
                </a:lnTo>
                <a:lnTo>
                  <a:pt x="614" y="259"/>
                </a:lnTo>
                <a:lnTo>
                  <a:pt x="616" y="259"/>
                </a:lnTo>
                <a:lnTo>
                  <a:pt x="620" y="259"/>
                </a:lnTo>
                <a:lnTo>
                  <a:pt x="619" y="253"/>
                </a:lnTo>
                <a:lnTo>
                  <a:pt x="618" y="247"/>
                </a:lnTo>
                <a:lnTo>
                  <a:pt x="614" y="244"/>
                </a:lnTo>
                <a:lnTo>
                  <a:pt x="611" y="241"/>
                </a:lnTo>
                <a:lnTo>
                  <a:pt x="607" y="239"/>
                </a:lnTo>
                <a:lnTo>
                  <a:pt x="602" y="237"/>
                </a:lnTo>
                <a:lnTo>
                  <a:pt x="599" y="233"/>
                </a:lnTo>
                <a:lnTo>
                  <a:pt x="594" y="231"/>
                </a:lnTo>
                <a:lnTo>
                  <a:pt x="590" y="229"/>
                </a:lnTo>
                <a:lnTo>
                  <a:pt x="585" y="227"/>
                </a:lnTo>
                <a:lnTo>
                  <a:pt x="577" y="223"/>
                </a:lnTo>
                <a:lnTo>
                  <a:pt x="568" y="218"/>
                </a:lnTo>
                <a:lnTo>
                  <a:pt x="559" y="215"/>
                </a:lnTo>
                <a:lnTo>
                  <a:pt x="550" y="211"/>
                </a:lnTo>
                <a:lnTo>
                  <a:pt x="550" y="215"/>
                </a:lnTo>
                <a:lnTo>
                  <a:pt x="551" y="217"/>
                </a:lnTo>
                <a:lnTo>
                  <a:pt x="550" y="215"/>
                </a:lnTo>
                <a:lnTo>
                  <a:pt x="550" y="211"/>
                </a:lnTo>
                <a:lnTo>
                  <a:pt x="546" y="210"/>
                </a:lnTo>
                <a:lnTo>
                  <a:pt x="543" y="210"/>
                </a:lnTo>
                <a:lnTo>
                  <a:pt x="539" y="208"/>
                </a:lnTo>
                <a:lnTo>
                  <a:pt x="536" y="208"/>
                </a:lnTo>
                <a:lnTo>
                  <a:pt x="518" y="208"/>
                </a:lnTo>
                <a:lnTo>
                  <a:pt x="501" y="208"/>
                </a:lnTo>
                <a:lnTo>
                  <a:pt x="499" y="206"/>
                </a:lnTo>
                <a:lnTo>
                  <a:pt x="497" y="206"/>
                </a:lnTo>
                <a:lnTo>
                  <a:pt x="492" y="204"/>
                </a:lnTo>
                <a:lnTo>
                  <a:pt x="487" y="202"/>
                </a:lnTo>
                <a:lnTo>
                  <a:pt x="485" y="199"/>
                </a:lnTo>
                <a:lnTo>
                  <a:pt x="483" y="198"/>
                </a:lnTo>
                <a:lnTo>
                  <a:pt x="481" y="197"/>
                </a:lnTo>
                <a:lnTo>
                  <a:pt x="478" y="197"/>
                </a:lnTo>
                <a:lnTo>
                  <a:pt x="476" y="196"/>
                </a:lnTo>
                <a:lnTo>
                  <a:pt x="474" y="196"/>
                </a:lnTo>
                <a:lnTo>
                  <a:pt x="467" y="195"/>
                </a:lnTo>
                <a:lnTo>
                  <a:pt x="461" y="194"/>
                </a:lnTo>
                <a:lnTo>
                  <a:pt x="459" y="192"/>
                </a:lnTo>
                <a:lnTo>
                  <a:pt x="456" y="190"/>
                </a:lnTo>
                <a:lnTo>
                  <a:pt x="455" y="187"/>
                </a:lnTo>
                <a:lnTo>
                  <a:pt x="454" y="182"/>
                </a:lnTo>
                <a:lnTo>
                  <a:pt x="450" y="197"/>
                </a:lnTo>
                <a:lnTo>
                  <a:pt x="445" y="211"/>
                </a:lnTo>
                <a:lnTo>
                  <a:pt x="442" y="212"/>
                </a:lnTo>
                <a:lnTo>
                  <a:pt x="440" y="213"/>
                </a:lnTo>
                <a:lnTo>
                  <a:pt x="440" y="211"/>
                </a:lnTo>
                <a:lnTo>
                  <a:pt x="440" y="208"/>
                </a:lnTo>
                <a:lnTo>
                  <a:pt x="440" y="205"/>
                </a:lnTo>
                <a:lnTo>
                  <a:pt x="441" y="203"/>
                </a:lnTo>
                <a:lnTo>
                  <a:pt x="443" y="201"/>
                </a:lnTo>
                <a:lnTo>
                  <a:pt x="445" y="198"/>
                </a:lnTo>
                <a:lnTo>
                  <a:pt x="445" y="196"/>
                </a:lnTo>
                <a:lnTo>
                  <a:pt x="445" y="192"/>
                </a:lnTo>
                <a:lnTo>
                  <a:pt x="445" y="180"/>
                </a:lnTo>
                <a:lnTo>
                  <a:pt x="445" y="167"/>
                </a:lnTo>
                <a:lnTo>
                  <a:pt x="445" y="164"/>
                </a:lnTo>
                <a:lnTo>
                  <a:pt x="445" y="163"/>
                </a:lnTo>
                <a:lnTo>
                  <a:pt x="443" y="161"/>
                </a:lnTo>
                <a:lnTo>
                  <a:pt x="441" y="160"/>
                </a:lnTo>
                <a:lnTo>
                  <a:pt x="441" y="156"/>
                </a:lnTo>
                <a:lnTo>
                  <a:pt x="441" y="154"/>
                </a:lnTo>
                <a:lnTo>
                  <a:pt x="439" y="153"/>
                </a:lnTo>
                <a:lnTo>
                  <a:pt x="434" y="152"/>
                </a:lnTo>
                <a:lnTo>
                  <a:pt x="434" y="149"/>
                </a:lnTo>
                <a:lnTo>
                  <a:pt x="433" y="146"/>
                </a:lnTo>
                <a:lnTo>
                  <a:pt x="434" y="140"/>
                </a:lnTo>
                <a:lnTo>
                  <a:pt x="433" y="135"/>
                </a:lnTo>
                <a:lnTo>
                  <a:pt x="433" y="131"/>
                </a:lnTo>
                <a:lnTo>
                  <a:pt x="430" y="126"/>
                </a:lnTo>
                <a:lnTo>
                  <a:pt x="428" y="120"/>
                </a:lnTo>
                <a:lnTo>
                  <a:pt x="425" y="113"/>
                </a:lnTo>
                <a:lnTo>
                  <a:pt x="420" y="107"/>
                </a:lnTo>
                <a:lnTo>
                  <a:pt x="414" y="103"/>
                </a:lnTo>
                <a:lnTo>
                  <a:pt x="416" y="103"/>
                </a:lnTo>
                <a:lnTo>
                  <a:pt x="420" y="101"/>
                </a:lnTo>
                <a:lnTo>
                  <a:pt x="421" y="101"/>
                </a:lnTo>
                <a:lnTo>
                  <a:pt x="422" y="99"/>
                </a:lnTo>
                <a:lnTo>
                  <a:pt x="423" y="96"/>
                </a:lnTo>
                <a:lnTo>
                  <a:pt x="421" y="94"/>
                </a:lnTo>
                <a:lnTo>
                  <a:pt x="420" y="92"/>
                </a:lnTo>
                <a:lnTo>
                  <a:pt x="419" y="91"/>
                </a:lnTo>
                <a:lnTo>
                  <a:pt x="420" y="90"/>
                </a:lnTo>
                <a:lnTo>
                  <a:pt x="422" y="89"/>
                </a:lnTo>
                <a:lnTo>
                  <a:pt x="422" y="91"/>
                </a:lnTo>
                <a:lnTo>
                  <a:pt x="425" y="91"/>
                </a:lnTo>
                <a:lnTo>
                  <a:pt x="426" y="92"/>
                </a:lnTo>
                <a:lnTo>
                  <a:pt x="428" y="92"/>
                </a:lnTo>
                <a:lnTo>
                  <a:pt x="432" y="94"/>
                </a:lnTo>
                <a:lnTo>
                  <a:pt x="434" y="97"/>
                </a:lnTo>
                <a:lnTo>
                  <a:pt x="435" y="96"/>
                </a:lnTo>
                <a:lnTo>
                  <a:pt x="436" y="96"/>
                </a:lnTo>
                <a:lnTo>
                  <a:pt x="435" y="96"/>
                </a:lnTo>
                <a:lnTo>
                  <a:pt x="434" y="97"/>
                </a:lnTo>
                <a:lnTo>
                  <a:pt x="434" y="100"/>
                </a:lnTo>
                <a:lnTo>
                  <a:pt x="435" y="103"/>
                </a:lnTo>
                <a:lnTo>
                  <a:pt x="437" y="104"/>
                </a:lnTo>
                <a:lnTo>
                  <a:pt x="440" y="106"/>
                </a:lnTo>
                <a:lnTo>
                  <a:pt x="440" y="108"/>
                </a:lnTo>
                <a:lnTo>
                  <a:pt x="440" y="111"/>
                </a:lnTo>
                <a:lnTo>
                  <a:pt x="439" y="113"/>
                </a:lnTo>
                <a:lnTo>
                  <a:pt x="437" y="115"/>
                </a:lnTo>
                <a:lnTo>
                  <a:pt x="437" y="117"/>
                </a:lnTo>
                <a:lnTo>
                  <a:pt x="439" y="117"/>
                </a:lnTo>
                <a:lnTo>
                  <a:pt x="441" y="117"/>
                </a:lnTo>
                <a:lnTo>
                  <a:pt x="445" y="117"/>
                </a:lnTo>
                <a:lnTo>
                  <a:pt x="445" y="120"/>
                </a:lnTo>
                <a:lnTo>
                  <a:pt x="445" y="124"/>
                </a:lnTo>
                <a:lnTo>
                  <a:pt x="446" y="128"/>
                </a:lnTo>
                <a:lnTo>
                  <a:pt x="447" y="132"/>
                </a:lnTo>
                <a:lnTo>
                  <a:pt x="448" y="132"/>
                </a:lnTo>
                <a:lnTo>
                  <a:pt x="448" y="133"/>
                </a:lnTo>
                <a:lnTo>
                  <a:pt x="448" y="133"/>
                </a:lnTo>
                <a:lnTo>
                  <a:pt x="448" y="135"/>
                </a:lnTo>
                <a:lnTo>
                  <a:pt x="448" y="138"/>
                </a:lnTo>
                <a:lnTo>
                  <a:pt x="447" y="141"/>
                </a:lnTo>
                <a:lnTo>
                  <a:pt x="448" y="145"/>
                </a:lnTo>
                <a:lnTo>
                  <a:pt x="449" y="148"/>
                </a:lnTo>
                <a:lnTo>
                  <a:pt x="452" y="153"/>
                </a:lnTo>
                <a:lnTo>
                  <a:pt x="452" y="140"/>
                </a:lnTo>
                <a:lnTo>
                  <a:pt x="454" y="139"/>
                </a:lnTo>
                <a:lnTo>
                  <a:pt x="455" y="138"/>
                </a:lnTo>
                <a:lnTo>
                  <a:pt x="456" y="135"/>
                </a:lnTo>
                <a:lnTo>
                  <a:pt x="456" y="134"/>
                </a:lnTo>
                <a:lnTo>
                  <a:pt x="455" y="131"/>
                </a:lnTo>
                <a:lnTo>
                  <a:pt x="455" y="126"/>
                </a:lnTo>
                <a:lnTo>
                  <a:pt x="452" y="125"/>
                </a:lnTo>
                <a:lnTo>
                  <a:pt x="450" y="122"/>
                </a:lnTo>
                <a:lnTo>
                  <a:pt x="450" y="120"/>
                </a:lnTo>
                <a:lnTo>
                  <a:pt x="453" y="117"/>
                </a:lnTo>
                <a:lnTo>
                  <a:pt x="455" y="110"/>
                </a:lnTo>
                <a:lnTo>
                  <a:pt x="455" y="104"/>
                </a:lnTo>
                <a:lnTo>
                  <a:pt x="455" y="101"/>
                </a:lnTo>
                <a:lnTo>
                  <a:pt x="455" y="101"/>
                </a:lnTo>
                <a:lnTo>
                  <a:pt x="454" y="100"/>
                </a:lnTo>
                <a:lnTo>
                  <a:pt x="452" y="101"/>
                </a:lnTo>
                <a:lnTo>
                  <a:pt x="450" y="99"/>
                </a:lnTo>
                <a:lnTo>
                  <a:pt x="450" y="97"/>
                </a:lnTo>
                <a:lnTo>
                  <a:pt x="450" y="93"/>
                </a:lnTo>
                <a:lnTo>
                  <a:pt x="450" y="89"/>
                </a:lnTo>
                <a:lnTo>
                  <a:pt x="450" y="82"/>
                </a:lnTo>
                <a:lnTo>
                  <a:pt x="449" y="75"/>
                </a:lnTo>
                <a:lnTo>
                  <a:pt x="448" y="68"/>
                </a:lnTo>
                <a:lnTo>
                  <a:pt x="446" y="61"/>
                </a:lnTo>
                <a:lnTo>
                  <a:pt x="443" y="51"/>
                </a:lnTo>
                <a:lnTo>
                  <a:pt x="440" y="44"/>
                </a:lnTo>
                <a:lnTo>
                  <a:pt x="436" y="36"/>
                </a:lnTo>
                <a:lnTo>
                  <a:pt x="430" y="29"/>
                </a:lnTo>
                <a:lnTo>
                  <a:pt x="430" y="28"/>
                </a:lnTo>
                <a:lnTo>
                  <a:pt x="429" y="28"/>
                </a:lnTo>
                <a:lnTo>
                  <a:pt x="429" y="26"/>
                </a:lnTo>
                <a:lnTo>
                  <a:pt x="428" y="24"/>
                </a:lnTo>
                <a:lnTo>
                  <a:pt x="427" y="24"/>
                </a:lnTo>
                <a:lnTo>
                  <a:pt x="426" y="24"/>
                </a:lnTo>
                <a:lnTo>
                  <a:pt x="420" y="19"/>
                </a:lnTo>
                <a:lnTo>
                  <a:pt x="413" y="14"/>
                </a:lnTo>
                <a:lnTo>
                  <a:pt x="406" y="10"/>
                </a:lnTo>
                <a:lnTo>
                  <a:pt x="398" y="8"/>
                </a:lnTo>
                <a:lnTo>
                  <a:pt x="395" y="6"/>
                </a:lnTo>
                <a:lnTo>
                  <a:pt x="392" y="5"/>
                </a:lnTo>
                <a:lnTo>
                  <a:pt x="390" y="3"/>
                </a:lnTo>
                <a:lnTo>
                  <a:pt x="386" y="3"/>
                </a:lnTo>
                <a:lnTo>
                  <a:pt x="384" y="3"/>
                </a:lnTo>
                <a:lnTo>
                  <a:pt x="383" y="2"/>
                </a:lnTo>
                <a:lnTo>
                  <a:pt x="373" y="1"/>
                </a:lnTo>
                <a:lnTo>
                  <a:pt x="365" y="0"/>
                </a:lnTo>
                <a:lnTo>
                  <a:pt x="356" y="0"/>
                </a:lnTo>
                <a:lnTo>
                  <a:pt x="346" y="2"/>
                </a:lnTo>
                <a:lnTo>
                  <a:pt x="346" y="2"/>
                </a:lnTo>
                <a:lnTo>
                  <a:pt x="345" y="2"/>
                </a:lnTo>
                <a:lnTo>
                  <a:pt x="333" y="6"/>
                </a:lnTo>
                <a:lnTo>
                  <a:pt x="323" y="10"/>
                </a:lnTo>
                <a:lnTo>
                  <a:pt x="314" y="17"/>
                </a:lnTo>
                <a:lnTo>
                  <a:pt x="303" y="24"/>
                </a:lnTo>
                <a:lnTo>
                  <a:pt x="296" y="30"/>
                </a:lnTo>
                <a:lnTo>
                  <a:pt x="290" y="37"/>
                </a:lnTo>
                <a:lnTo>
                  <a:pt x="285" y="45"/>
                </a:lnTo>
                <a:lnTo>
                  <a:pt x="282" y="55"/>
                </a:lnTo>
                <a:lnTo>
                  <a:pt x="283" y="57"/>
                </a:lnTo>
                <a:lnTo>
                  <a:pt x="284" y="58"/>
                </a:lnTo>
                <a:lnTo>
                  <a:pt x="283" y="57"/>
                </a:lnTo>
                <a:lnTo>
                  <a:pt x="282" y="55"/>
                </a:lnTo>
                <a:lnTo>
                  <a:pt x="280" y="59"/>
                </a:lnTo>
                <a:lnTo>
                  <a:pt x="278" y="65"/>
                </a:lnTo>
                <a:lnTo>
                  <a:pt x="277" y="71"/>
                </a:lnTo>
                <a:lnTo>
                  <a:pt x="276" y="76"/>
                </a:lnTo>
                <a:lnTo>
                  <a:pt x="275" y="79"/>
                </a:lnTo>
                <a:lnTo>
                  <a:pt x="274" y="83"/>
                </a:lnTo>
                <a:lnTo>
                  <a:pt x="275" y="85"/>
                </a:lnTo>
                <a:lnTo>
                  <a:pt x="276" y="89"/>
                </a:lnTo>
                <a:lnTo>
                  <a:pt x="277" y="91"/>
                </a:lnTo>
                <a:lnTo>
                  <a:pt x="277" y="93"/>
                </a:lnTo>
                <a:lnTo>
                  <a:pt x="278" y="106"/>
                </a:lnTo>
                <a:lnTo>
                  <a:pt x="281" y="118"/>
                </a:lnTo>
                <a:lnTo>
                  <a:pt x="283" y="124"/>
                </a:lnTo>
                <a:lnTo>
                  <a:pt x="285" y="131"/>
                </a:lnTo>
                <a:lnTo>
                  <a:pt x="288" y="136"/>
                </a:lnTo>
                <a:lnTo>
                  <a:pt x="287" y="143"/>
                </a:lnTo>
                <a:lnTo>
                  <a:pt x="287" y="143"/>
                </a:lnTo>
                <a:lnTo>
                  <a:pt x="285" y="143"/>
                </a:lnTo>
                <a:lnTo>
                  <a:pt x="283" y="143"/>
                </a:lnTo>
                <a:lnTo>
                  <a:pt x="282" y="145"/>
                </a:lnTo>
                <a:lnTo>
                  <a:pt x="281" y="147"/>
                </a:lnTo>
                <a:lnTo>
                  <a:pt x="281" y="149"/>
                </a:lnTo>
                <a:lnTo>
                  <a:pt x="281" y="152"/>
                </a:lnTo>
                <a:lnTo>
                  <a:pt x="281" y="154"/>
                </a:lnTo>
                <a:lnTo>
                  <a:pt x="282" y="156"/>
                </a:lnTo>
                <a:lnTo>
                  <a:pt x="283" y="157"/>
                </a:lnTo>
                <a:lnTo>
                  <a:pt x="284" y="157"/>
                </a:lnTo>
                <a:lnTo>
                  <a:pt x="288" y="156"/>
                </a:lnTo>
                <a:lnTo>
                  <a:pt x="289" y="156"/>
                </a:lnTo>
                <a:lnTo>
                  <a:pt x="290" y="157"/>
                </a:lnTo>
                <a:lnTo>
                  <a:pt x="289" y="161"/>
                </a:lnTo>
                <a:lnTo>
                  <a:pt x="289" y="166"/>
                </a:lnTo>
                <a:lnTo>
                  <a:pt x="289" y="170"/>
                </a:lnTo>
                <a:lnTo>
                  <a:pt x="289" y="175"/>
                </a:lnTo>
                <a:lnTo>
                  <a:pt x="291" y="178"/>
                </a:lnTo>
                <a:lnTo>
                  <a:pt x="295" y="187"/>
                </a:lnTo>
                <a:lnTo>
                  <a:pt x="301" y="194"/>
                </a:lnTo>
                <a:lnTo>
                  <a:pt x="302" y="195"/>
                </a:lnTo>
                <a:lnTo>
                  <a:pt x="304" y="196"/>
                </a:lnTo>
                <a:lnTo>
                  <a:pt x="307" y="197"/>
                </a:lnTo>
                <a:lnTo>
                  <a:pt x="309" y="196"/>
                </a:lnTo>
                <a:lnTo>
                  <a:pt x="311" y="197"/>
                </a:lnTo>
                <a:lnTo>
                  <a:pt x="312" y="199"/>
                </a:lnTo>
                <a:lnTo>
                  <a:pt x="314" y="202"/>
                </a:lnTo>
                <a:lnTo>
                  <a:pt x="314" y="204"/>
                </a:lnTo>
                <a:lnTo>
                  <a:pt x="315" y="215"/>
                </a:lnTo>
                <a:lnTo>
                  <a:pt x="318" y="224"/>
                </a:lnTo>
                <a:lnTo>
                  <a:pt x="322" y="233"/>
                </a:lnTo>
                <a:lnTo>
                  <a:pt x="328" y="243"/>
                </a:lnTo>
                <a:lnTo>
                  <a:pt x="330" y="246"/>
                </a:lnTo>
                <a:lnTo>
                  <a:pt x="332" y="248"/>
                </a:lnTo>
                <a:lnTo>
                  <a:pt x="335" y="252"/>
                </a:lnTo>
                <a:lnTo>
                  <a:pt x="336" y="254"/>
                </a:lnTo>
                <a:lnTo>
                  <a:pt x="337" y="255"/>
                </a:lnTo>
                <a:lnTo>
                  <a:pt x="337" y="258"/>
                </a:lnTo>
                <a:lnTo>
                  <a:pt x="336" y="259"/>
                </a:lnTo>
                <a:lnTo>
                  <a:pt x="335" y="261"/>
                </a:lnTo>
                <a:lnTo>
                  <a:pt x="319" y="273"/>
                </a:lnTo>
                <a:lnTo>
                  <a:pt x="305" y="286"/>
                </a:lnTo>
                <a:lnTo>
                  <a:pt x="300" y="289"/>
                </a:lnTo>
                <a:lnTo>
                  <a:pt x="295" y="295"/>
                </a:lnTo>
                <a:lnTo>
                  <a:pt x="291" y="300"/>
                </a:lnTo>
                <a:lnTo>
                  <a:pt x="288" y="307"/>
                </a:lnTo>
                <a:lnTo>
                  <a:pt x="284" y="310"/>
                </a:lnTo>
                <a:lnTo>
                  <a:pt x="282" y="315"/>
                </a:lnTo>
                <a:lnTo>
                  <a:pt x="281" y="315"/>
                </a:lnTo>
                <a:lnTo>
                  <a:pt x="281" y="316"/>
                </a:lnTo>
                <a:lnTo>
                  <a:pt x="281" y="316"/>
                </a:lnTo>
                <a:lnTo>
                  <a:pt x="281" y="316"/>
                </a:lnTo>
                <a:lnTo>
                  <a:pt x="276" y="321"/>
                </a:lnTo>
                <a:lnTo>
                  <a:pt x="273" y="324"/>
                </a:lnTo>
                <a:lnTo>
                  <a:pt x="271" y="325"/>
                </a:lnTo>
                <a:lnTo>
                  <a:pt x="270" y="328"/>
                </a:lnTo>
                <a:lnTo>
                  <a:pt x="270" y="331"/>
                </a:lnTo>
                <a:lnTo>
                  <a:pt x="271" y="334"/>
                </a:lnTo>
                <a:lnTo>
                  <a:pt x="268" y="343"/>
                </a:lnTo>
                <a:lnTo>
                  <a:pt x="266" y="352"/>
                </a:lnTo>
                <a:lnTo>
                  <a:pt x="264" y="362"/>
                </a:lnTo>
                <a:lnTo>
                  <a:pt x="263" y="371"/>
                </a:lnTo>
                <a:lnTo>
                  <a:pt x="263" y="389"/>
                </a:lnTo>
                <a:lnTo>
                  <a:pt x="263" y="407"/>
                </a:lnTo>
                <a:lnTo>
                  <a:pt x="263" y="426"/>
                </a:lnTo>
                <a:lnTo>
                  <a:pt x="262" y="443"/>
                </a:lnTo>
                <a:lnTo>
                  <a:pt x="261" y="450"/>
                </a:lnTo>
                <a:lnTo>
                  <a:pt x="263" y="457"/>
                </a:lnTo>
                <a:lnTo>
                  <a:pt x="264" y="452"/>
                </a:lnTo>
                <a:lnTo>
                  <a:pt x="267" y="446"/>
                </a:lnTo>
                <a:lnTo>
                  <a:pt x="269" y="452"/>
                </a:lnTo>
                <a:lnTo>
                  <a:pt x="268" y="457"/>
                </a:lnTo>
                <a:lnTo>
                  <a:pt x="267" y="462"/>
                </a:lnTo>
                <a:lnTo>
                  <a:pt x="266" y="467"/>
                </a:lnTo>
                <a:lnTo>
                  <a:pt x="264" y="473"/>
                </a:lnTo>
                <a:lnTo>
                  <a:pt x="266" y="476"/>
                </a:lnTo>
                <a:lnTo>
                  <a:pt x="268" y="480"/>
                </a:lnTo>
                <a:lnTo>
                  <a:pt x="273" y="482"/>
                </a:lnTo>
                <a:lnTo>
                  <a:pt x="273" y="488"/>
                </a:lnTo>
                <a:lnTo>
                  <a:pt x="273" y="494"/>
                </a:lnTo>
                <a:lnTo>
                  <a:pt x="273" y="494"/>
                </a:lnTo>
                <a:lnTo>
                  <a:pt x="270" y="494"/>
                </a:lnTo>
                <a:lnTo>
                  <a:pt x="270" y="494"/>
                </a:lnTo>
                <a:lnTo>
                  <a:pt x="267" y="511"/>
                </a:lnTo>
                <a:lnTo>
                  <a:pt x="264" y="527"/>
                </a:lnTo>
                <a:lnTo>
                  <a:pt x="264" y="527"/>
                </a:lnTo>
                <a:lnTo>
                  <a:pt x="264" y="529"/>
                </a:lnTo>
                <a:lnTo>
                  <a:pt x="263" y="536"/>
                </a:lnTo>
                <a:lnTo>
                  <a:pt x="261" y="541"/>
                </a:lnTo>
                <a:lnTo>
                  <a:pt x="259" y="543"/>
                </a:lnTo>
                <a:lnTo>
                  <a:pt x="257" y="545"/>
                </a:lnTo>
                <a:lnTo>
                  <a:pt x="257" y="546"/>
                </a:lnTo>
                <a:lnTo>
                  <a:pt x="257" y="548"/>
                </a:lnTo>
                <a:lnTo>
                  <a:pt x="254" y="564"/>
                </a:lnTo>
                <a:lnTo>
                  <a:pt x="250" y="579"/>
                </a:lnTo>
                <a:lnTo>
                  <a:pt x="248" y="588"/>
                </a:lnTo>
                <a:lnTo>
                  <a:pt x="246" y="596"/>
                </a:lnTo>
                <a:lnTo>
                  <a:pt x="242" y="606"/>
                </a:lnTo>
                <a:lnTo>
                  <a:pt x="240" y="614"/>
                </a:lnTo>
                <a:lnTo>
                  <a:pt x="240" y="615"/>
                </a:lnTo>
                <a:lnTo>
                  <a:pt x="239" y="615"/>
                </a:lnTo>
                <a:lnTo>
                  <a:pt x="238" y="615"/>
                </a:lnTo>
                <a:lnTo>
                  <a:pt x="236" y="616"/>
                </a:lnTo>
                <a:lnTo>
                  <a:pt x="235" y="617"/>
                </a:lnTo>
                <a:lnTo>
                  <a:pt x="235" y="618"/>
                </a:lnTo>
                <a:lnTo>
                  <a:pt x="234" y="621"/>
                </a:lnTo>
                <a:lnTo>
                  <a:pt x="233" y="624"/>
                </a:lnTo>
                <a:lnTo>
                  <a:pt x="233" y="624"/>
                </a:lnTo>
                <a:lnTo>
                  <a:pt x="233" y="624"/>
                </a:lnTo>
                <a:lnTo>
                  <a:pt x="231" y="627"/>
                </a:lnTo>
                <a:lnTo>
                  <a:pt x="229" y="628"/>
                </a:lnTo>
                <a:lnTo>
                  <a:pt x="229" y="630"/>
                </a:lnTo>
                <a:lnTo>
                  <a:pt x="229" y="632"/>
                </a:lnTo>
                <a:lnTo>
                  <a:pt x="229" y="632"/>
                </a:lnTo>
                <a:lnTo>
                  <a:pt x="229" y="634"/>
                </a:lnTo>
                <a:lnTo>
                  <a:pt x="227" y="636"/>
                </a:lnTo>
                <a:lnTo>
                  <a:pt x="226" y="638"/>
                </a:lnTo>
                <a:lnTo>
                  <a:pt x="225" y="642"/>
                </a:lnTo>
                <a:lnTo>
                  <a:pt x="225" y="645"/>
                </a:lnTo>
                <a:lnTo>
                  <a:pt x="221" y="652"/>
                </a:lnTo>
                <a:lnTo>
                  <a:pt x="219" y="660"/>
                </a:lnTo>
                <a:lnTo>
                  <a:pt x="216" y="663"/>
                </a:lnTo>
                <a:lnTo>
                  <a:pt x="215" y="666"/>
                </a:lnTo>
                <a:lnTo>
                  <a:pt x="214" y="669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4" y="672"/>
                </a:lnTo>
                <a:lnTo>
                  <a:pt x="212" y="674"/>
                </a:lnTo>
                <a:lnTo>
                  <a:pt x="211" y="678"/>
                </a:lnTo>
                <a:lnTo>
                  <a:pt x="211" y="681"/>
                </a:lnTo>
                <a:lnTo>
                  <a:pt x="211" y="685"/>
                </a:lnTo>
                <a:lnTo>
                  <a:pt x="209" y="688"/>
                </a:lnTo>
                <a:lnTo>
                  <a:pt x="209" y="692"/>
                </a:lnTo>
                <a:lnTo>
                  <a:pt x="207" y="693"/>
                </a:lnTo>
                <a:lnTo>
                  <a:pt x="206" y="694"/>
                </a:lnTo>
                <a:lnTo>
                  <a:pt x="202" y="704"/>
                </a:lnTo>
                <a:lnTo>
                  <a:pt x="201" y="713"/>
                </a:lnTo>
                <a:lnTo>
                  <a:pt x="200" y="722"/>
                </a:lnTo>
                <a:lnTo>
                  <a:pt x="199" y="732"/>
                </a:lnTo>
                <a:lnTo>
                  <a:pt x="199" y="736"/>
                </a:lnTo>
                <a:lnTo>
                  <a:pt x="198" y="740"/>
                </a:lnTo>
                <a:lnTo>
                  <a:pt x="194" y="744"/>
                </a:lnTo>
                <a:lnTo>
                  <a:pt x="192" y="750"/>
                </a:lnTo>
                <a:lnTo>
                  <a:pt x="191" y="756"/>
                </a:lnTo>
                <a:lnTo>
                  <a:pt x="190" y="763"/>
                </a:lnTo>
                <a:lnTo>
                  <a:pt x="190" y="770"/>
                </a:lnTo>
                <a:lnTo>
                  <a:pt x="191" y="778"/>
                </a:lnTo>
                <a:lnTo>
                  <a:pt x="192" y="785"/>
                </a:lnTo>
                <a:lnTo>
                  <a:pt x="194" y="793"/>
                </a:lnTo>
                <a:lnTo>
                  <a:pt x="193" y="800"/>
                </a:lnTo>
                <a:lnTo>
                  <a:pt x="190" y="809"/>
                </a:lnTo>
                <a:lnTo>
                  <a:pt x="188" y="810"/>
                </a:lnTo>
                <a:lnTo>
                  <a:pt x="190" y="811"/>
                </a:lnTo>
                <a:lnTo>
                  <a:pt x="186" y="817"/>
                </a:lnTo>
                <a:lnTo>
                  <a:pt x="184" y="824"/>
                </a:lnTo>
                <a:lnTo>
                  <a:pt x="183" y="831"/>
                </a:lnTo>
                <a:lnTo>
                  <a:pt x="184" y="838"/>
                </a:lnTo>
                <a:lnTo>
                  <a:pt x="183" y="838"/>
                </a:lnTo>
                <a:lnTo>
                  <a:pt x="185" y="837"/>
                </a:lnTo>
                <a:lnTo>
                  <a:pt x="186" y="838"/>
                </a:lnTo>
                <a:lnTo>
                  <a:pt x="186" y="839"/>
                </a:lnTo>
                <a:lnTo>
                  <a:pt x="186" y="840"/>
                </a:lnTo>
                <a:lnTo>
                  <a:pt x="186" y="841"/>
                </a:lnTo>
                <a:lnTo>
                  <a:pt x="186" y="842"/>
                </a:lnTo>
                <a:lnTo>
                  <a:pt x="188" y="841"/>
                </a:lnTo>
                <a:lnTo>
                  <a:pt x="190" y="842"/>
                </a:lnTo>
                <a:lnTo>
                  <a:pt x="191" y="844"/>
                </a:lnTo>
                <a:lnTo>
                  <a:pt x="192" y="845"/>
                </a:lnTo>
                <a:lnTo>
                  <a:pt x="192" y="845"/>
                </a:lnTo>
                <a:lnTo>
                  <a:pt x="192" y="846"/>
                </a:lnTo>
                <a:lnTo>
                  <a:pt x="192" y="845"/>
                </a:lnTo>
                <a:lnTo>
                  <a:pt x="192" y="845"/>
                </a:lnTo>
                <a:lnTo>
                  <a:pt x="192" y="847"/>
                </a:lnTo>
                <a:lnTo>
                  <a:pt x="193" y="848"/>
                </a:lnTo>
                <a:lnTo>
                  <a:pt x="192" y="851"/>
                </a:lnTo>
                <a:lnTo>
                  <a:pt x="191" y="852"/>
                </a:lnTo>
                <a:lnTo>
                  <a:pt x="190" y="851"/>
                </a:lnTo>
                <a:lnTo>
                  <a:pt x="188" y="849"/>
                </a:lnTo>
                <a:lnTo>
                  <a:pt x="187" y="848"/>
                </a:lnTo>
                <a:lnTo>
                  <a:pt x="186" y="846"/>
                </a:lnTo>
                <a:lnTo>
                  <a:pt x="185" y="845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6" y="842"/>
                </a:lnTo>
                <a:lnTo>
                  <a:pt x="185" y="842"/>
                </a:lnTo>
                <a:lnTo>
                  <a:pt x="184" y="842"/>
                </a:lnTo>
                <a:lnTo>
                  <a:pt x="183" y="840"/>
                </a:lnTo>
                <a:lnTo>
                  <a:pt x="183" y="839"/>
                </a:lnTo>
                <a:lnTo>
                  <a:pt x="183" y="838"/>
                </a:lnTo>
                <a:lnTo>
                  <a:pt x="184" y="838"/>
                </a:lnTo>
                <a:lnTo>
                  <a:pt x="184" y="838"/>
                </a:lnTo>
                <a:lnTo>
                  <a:pt x="181" y="838"/>
                </a:lnTo>
                <a:lnTo>
                  <a:pt x="179" y="840"/>
                </a:lnTo>
                <a:lnTo>
                  <a:pt x="179" y="856"/>
                </a:lnTo>
                <a:lnTo>
                  <a:pt x="177" y="873"/>
                </a:lnTo>
                <a:lnTo>
                  <a:pt x="176" y="882"/>
                </a:lnTo>
                <a:lnTo>
                  <a:pt x="173" y="890"/>
                </a:lnTo>
                <a:lnTo>
                  <a:pt x="171" y="900"/>
                </a:lnTo>
                <a:lnTo>
                  <a:pt x="167" y="908"/>
                </a:lnTo>
                <a:lnTo>
                  <a:pt x="167" y="904"/>
                </a:lnTo>
                <a:lnTo>
                  <a:pt x="166" y="903"/>
                </a:lnTo>
                <a:lnTo>
                  <a:pt x="165" y="903"/>
                </a:lnTo>
                <a:lnTo>
                  <a:pt x="164" y="903"/>
                </a:lnTo>
                <a:lnTo>
                  <a:pt x="163" y="904"/>
                </a:lnTo>
                <a:lnTo>
                  <a:pt x="163" y="905"/>
                </a:lnTo>
                <a:lnTo>
                  <a:pt x="163" y="910"/>
                </a:lnTo>
                <a:lnTo>
                  <a:pt x="164" y="914"/>
                </a:lnTo>
                <a:lnTo>
                  <a:pt x="164" y="916"/>
                </a:lnTo>
                <a:lnTo>
                  <a:pt x="163" y="917"/>
                </a:lnTo>
                <a:lnTo>
                  <a:pt x="160" y="918"/>
                </a:lnTo>
                <a:lnTo>
                  <a:pt x="157" y="918"/>
                </a:lnTo>
                <a:lnTo>
                  <a:pt x="156" y="919"/>
                </a:lnTo>
                <a:lnTo>
                  <a:pt x="154" y="919"/>
                </a:lnTo>
                <a:lnTo>
                  <a:pt x="153" y="921"/>
                </a:lnTo>
                <a:lnTo>
                  <a:pt x="153" y="923"/>
                </a:lnTo>
                <a:lnTo>
                  <a:pt x="153" y="928"/>
                </a:lnTo>
                <a:lnTo>
                  <a:pt x="153" y="932"/>
                </a:lnTo>
                <a:lnTo>
                  <a:pt x="152" y="936"/>
                </a:lnTo>
                <a:lnTo>
                  <a:pt x="150" y="940"/>
                </a:lnTo>
                <a:lnTo>
                  <a:pt x="145" y="947"/>
                </a:lnTo>
                <a:lnTo>
                  <a:pt x="139" y="953"/>
                </a:lnTo>
                <a:lnTo>
                  <a:pt x="135" y="958"/>
                </a:lnTo>
                <a:lnTo>
                  <a:pt x="130" y="963"/>
                </a:lnTo>
                <a:lnTo>
                  <a:pt x="128" y="968"/>
                </a:lnTo>
                <a:lnTo>
                  <a:pt x="126" y="974"/>
                </a:lnTo>
                <a:lnTo>
                  <a:pt x="126" y="977"/>
                </a:lnTo>
                <a:lnTo>
                  <a:pt x="125" y="978"/>
                </a:lnTo>
                <a:lnTo>
                  <a:pt x="124" y="981"/>
                </a:lnTo>
                <a:lnTo>
                  <a:pt x="123" y="986"/>
                </a:lnTo>
                <a:lnTo>
                  <a:pt x="124" y="981"/>
                </a:lnTo>
                <a:lnTo>
                  <a:pt x="125" y="978"/>
                </a:lnTo>
                <a:lnTo>
                  <a:pt x="124" y="972"/>
                </a:lnTo>
                <a:lnTo>
                  <a:pt x="124" y="966"/>
                </a:lnTo>
                <a:lnTo>
                  <a:pt x="122" y="966"/>
                </a:lnTo>
                <a:lnTo>
                  <a:pt x="121" y="968"/>
                </a:lnTo>
                <a:lnTo>
                  <a:pt x="116" y="974"/>
                </a:lnTo>
                <a:lnTo>
                  <a:pt x="110" y="980"/>
                </a:lnTo>
                <a:lnTo>
                  <a:pt x="105" y="985"/>
                </a:lnTo>
                <a:lnTo>
                  <a:pt x="100" y="989"/>
                </a:lnTo>
                <a:lnTo>
                  <a:pt x="96" y="991"/>
                </a:lnTo>
                <a:lnTo>
                  <a:pt x="93" y="994"/>
                </a:lnTo>
                <a:lnTo>
                  <a:pt x="90" y="996"/>
                </a:lnTo>
                <a:lnTo>
                  <a:pt x="89" y="1000"/>
                </a:lnTo>
                <a:lnTo>
                  <a:pt x="89" y="1000"/>
                </a:lnTo>
                <a:lnTo>
                  <a:pt x="88" y="1000"/>
                </a:lnTo>
                <a:lnTo>
                  <a:pt x="87" y="1001"/>
                </a:lnTo>
                <a:lnTo>
                  <a:pt x="88" y="1001"/>
                </a:lnTo>
                <a:lnTo>
                  <a:pt x="89" y="1001"/>
                </a:lnTo>
                <a:lnTo>
                  <a:pt x="90" y="1003"/>
                </a:lnTo>
                <a:lnTo>
                  <a:pt x="93" y="1005"/>
                </a:lnTo>
                <a:lnTo>
                  <a:pt x="95" y="1005"/>
                </a:lnTo>
                <a:lnTo>
                  <a:pt x="98" y="1003"/>
                </a:lnTo>
                <a:lnTo>
                  <a:pt x="107" y="999"/>
                </a:lnTo>
                <a:lnTo>
                  <a:pt x="115" y="994"/>
                </a:lnTo>
                <a:lnTo>
                  <a:pt x="117" y="998"/>
                </a:lnTo>
                <a:lnTo>
                  <a:pt x="118" y="1002"/>
                </a:lnTo>
                <a:lnTo>
                  <a:pt x="118" y="1003"/>
                </a:lnTo>
                <a:lnTo>
                  <a:pt x="117" y="1005"/>
                </a:lnTo>
                <a:lnTo>
                  <a:pt x="115" y="1009"/>
                </a:lnTo>
                <a:lnTo>
                  <a:pt x="115" y="1015"/>
                </a:lnTo>
                <a:lnTo>
                  <a:pt x="115" y="1020"/>
                </a:lnTo>
                <a:lnTo>
                  <a:pt x="115" y="1024"/>
                </a:lnTo>
                <a:lnTo>
                  <a:pt x="115" y="1035"/>
                </a:lnTo>
                <a:lnTo>
                  <a:pt x="114" y="1045"/>
                </a:lnTo>
                <a:lnTo>
                  <a:pt x="114" y="1049"/>
                </a:lnTo>
                <a:lnTo>
                  <a:pt x="116" y="1051"/>
                </a:lnTo>
                <a:lnTo>
                  <a:pt x="117" y="1052"/>
                </a:lnTo>
                <a:lnTo>
                  <a:pt x="118" y="1051"/>
                </a:lnTo>
                <a:lnTo>
                  <a:pt x="119" y="1050"/>
                </a:lnTo>
                <a:lnTo>
                  <a:pt x="121" y="1049"/>
                </a:lnTo>
                <a:lnTo>
                  <a:pt x="122" y="1051"/>
                </a:lnTo>
                <a:lnTo>
                  <a:pt x="123" y="1055"/>
                </a:lnTo>
                <a:lnTo>
                  <a:pt x="123" y="1057"/>
                </a:lnTo>
                <a:lnTo>
                  <a:pt x="123" y="1059"/>
                </a:lnTo>
                <a:lnTo>
                  <a:pt x="121" y="1062"/>
                </a:lnTo>
                <a:lnTo>
                  <a:pt x="121" y="1065"/>
                </a:lnTo>
                <a:lnTo>
                  <a:pt x="121" y="1069"/>
                </a:lnTo>
                <a:lnTo>
                  <a:pt x="123" y="1072"/>
                </a:lnTo>
                <a:lnTo>
                  <a:pt x="123" y="1076"/>
                </a:lnTo>
                <a:lnTo>
                  <a:pt x="124" y="1079"/>
                </a:lnTo>
                <a:lnTo>
                  <a:pt x="124" y="1082"/>
                </a:lnTo>
                <a:lnTo>
                  <a:pt x="126" y="1083"/>
                </a:lnTo>
                <a:lnTo>
                  <a:pt x="129" y="1083"/>
                </a:lnTo>
                <a:lnTo>
                  <a:pt x="131" y="1082"/>
                </a:lnTo>
                <a:lnTo>
                  <a:pt x="133" y="1079"/>
                </a:lnTo>
                <a:lnTo>
                  <a:pt x="137" y="1077"/>
                </a:lnTo>
                <a:lnTo>
                  <a:pt x="139" y="1075"/>
                </a:lnTo>
                <a:lnTo>
                  <a:pt x="142" y="1072"/>
                </a:lnTo>
                <a:lnTo>
                  <a:pt x="143" y="1069"/>
                </a:lnTo>
                <a:lnTo>
                  <a:pt x="143" y="1066"/>
                </a:lnTo>
                <a:lnTo>
                  <a:pt x="144" y="1054"/>
                </a:lnTo>
                <a:lnTo>
                  <a:pt x="145" y="1041"/>
                </a:lnTo>
                <a:lnTo>
                  <a:pt x="147" y="1033"/>
                </a:lnTo>
                <a:lnTo>
                  <a:pt x="147" y="1026"/>
                </a:lnTo>
                <a:lnTo>
                  <a:pt x="147" y="1021"/>
                </a:lnTo>
                <a:lnTo>
                  <a:pt x="147" y="1017"/>
                </a:lnTo>
                <a:lnTo>
                  <a:pt x="149" y="1014"/>
                </a:lnTo>
                <a:lnTo>
                  <a:pt x="150" y="1010"/>
                </a:lnTo>
                <a:lnTo>
                  <a:pt x="154" y="1005"/>
                </a:lnTo>
                <a:lnTo>
                  <a:pt x="159" y="999"/>
                </a:lnTo>
                <a:lnTo>
                  <a:pt x="162" y="996"/>
                </a:lnTo>
                <a:lnTo>
                  <a:pt x="165" y="994"/>
                </a:lnTo>
                <a:lnTo>
                  <a:pt x="169" y="992"/>
                </a:lnTo>
                <a:lnTo>
                  <a:pt x="173" y="992"/>
                </a:lnTo>
                <a:lnTo>
                  <a:pt x="179" y="992"/>
                </a:lnTo>
                <a:lnTo>
                  <a:pt x="184" y="992"/>
                </a:lnTo>
                <a:lnTo>
                  <a:pt x="188" y="994"/>
                </a:lnTo>
                <a:lnTo>
                  <a:pt x="193" y="996"/>
                </a:lnTo>
                <a:lnTo>
                  <a:pt x="197" y="999"/>
                </a:lnTo>
                <a:lnTo>
                  <a:pt x="199" y="1003"/>
                </a:lnTo>
                <a:lnTo>
                  <a:pt x="202" y="1008"/>
                </a:lnTo>
                <a:lnTo>
                  <a:pt x="205" y="1013"/>
                </a:lnTo>
                <a:lnTo>
                  <a:pt x="207" y="1020"/>
                </a:lnTo>
                <a:lnTo>
                  <a:pt x="211" y="1027"/>
                </a:lnTo>
                <a:lnTo>
                  <a:pt x="213" y="1029"/>
                </a:lnTo>
                <a:lnTo>
                  <a:pt x="216" y="1031"/>
                </a:lnTo>
                <a:lnTo>
                  <a:pt x="219" y="1034"/>
                </a:lnTo>
                <a:lnTo>
                  <a:pt x="223" y="1035"/>
                </a:lnTo>
                <a:lnTo>
                  <a:pt x="227" y="1036"/>
                </a:lnTo>
                <a:lnTo>
                  <a:pt x="229" y="1035"/>
                </a:lnTo>
                <a:lnTo>
                  <a:pt x="232" y="1034"/>
                </a:lnTo>
                <a:lnTo>
                  <a:pt x="234" y="1033"/>
                </a:lnTo>
                <a:lnTo>
                  <a:pt x="235" y="1030"/>
                </a:lnTo>
                <a:lnTo>
                  <a:pt x="236" y="1028"/>
                </a:lnTo>
                <a:lnTo>
                  <a:pt x="235" y="1024"/>
                </a:lnTo>
                <a:lnTo>
                  <a:pt x="234" y="1022"/>
                </a:lnTo>
                <a:lnTo>
                  <a:pt x="225" y="1008"/>
                </a:lnTo>
                <a:lnTo>
                  <a:pt x="216" y="993"/>
                </a:lnTo>
                <a:lnTo>
                  <a:pt x="213" y="979"/>
                </a:lnTo>
                <a:lnTo>
                  <a:pt x="209" y="965"/>
                </a:lnTo>
                <a:lnTo>
                  <a:pt x="207" y="956"/>
                </a:lnTo>
                <a:lnTo>
                  <a:pt x="206" y="946"/>
                </a:lnTo>
                <a:lnTo>
                  <a:pt x="204" y="936"/>
                </a:lnTo>
                <a:lnTo>
                  <a:pt x="201" y="926"/>
                </a:lnTo>
                <a:lnTo>
                  <a:pt x="204" y="924"/>
                </a:lnTo>
                <a:lnTo>
                  <a:pt x="206" y="919"/>
                </a:lnTo>
                <a:lnTo>
                  <a:pt x="206" y="911"/>
                </a:lnTo>
                <a:lnTo>
                  <a:pt x="206" y="911"/>
                </a:lnTo>
                <a:lnTo>
                  <a:pt x="206" y="911"/>
                </a:lnTo>
                <a:lnTo>
                  <a:pt x="206" y="902"/>
                </a:lnTo>
                <a:lnTo>
                  <a:pt x="208" y="893"/>
                </a:lnTo>
                <a:lnTo>
                  <a:pt x="211" y="883"/>
                </a:lnTo>
                <a:lnTo>
                  <a:pt x="214" y="874"/>
                </a:lnTo>
                <a:lnTo>
                  <a:pt x="222" y="856"/>
                </a:lnTo>
                <a:lnTo>
                  <a:pt x="231" y="838"/>
                </a:lnTo>
                <a:lnTo>
                  <a:pt x="236" y="824"/>
                </a:lnTo>
                <a:lnTo>
                  <a:pt x="242" y="810"/>
                </a:lnTo>
                <a:lnTo>
                  <a:pt x="243" y="811"/>
                </a:lnTo>
                <a:lnTo>
                  <a:pt x="243" y="811"/>
                </a:lnTo>
                <a:lnTo>
                  <a:pt x="246" y="807"/>
                </a:lnTo>
                <a:lnTo>
                  <a:pt x="246" y="804"/>
                </a:lnTo>
                <a:lnTo>
                  <a:pt x="246" y="803"/>
                </a:lnTo>
                <a:lnTo>
                  <a:pt x="246" y="803"/>
                </a:lnTo>
                <a:lnTo>
                  <a:pt x="249" y="800"/>
                </a:lnTo>
                <a:lnTo>
                  <a:pt x="250" y="798"/>
                </a:lnTo>
                <a:lnTo>
                  <a:pt x="253" y="793"/>
                </a:lnTo>
                <a:lnTo>
                  <a:pt x="254" y="790"/>
                </a:lnTo>
                <a:lnTo>
                  <a:pt x="255" y="786"/>
                </a:lnTo>
                <a:lnTo>
                  <a:pt x="257" y="783"/>
                </a:lnTo>
                <a:lnTo>
                  <a:pt x="259" y="782"/>
                </a:lnTo>
                <a:lnTo>
                  <a:pt x="260" y="778"/>
                </a:lnTo>
                <a:lnTo>
                  <a:pt x="260" y="777"/>
                </a:lnTo>
                <a:lnTo>
                  <a:pt x="260" y="776"/>
                </a:lnTo>
                <a:lnTo>
                  <a:pt x="261" y="774"/>
                </a:lnTo>
                <a:lnTo>
                  <a:pt x="262" y="772"/>
                </a:lnTo>
                <a:lnTo>
                  <a:pt x="262" y="772"/>
                </a:lnTo>
                <a:lnTo>
                  <a:pt x="263" y="772"/>
                </a:lnTo>
                <a:lnTo>
                  <a:pt x="264" y="771"/>
                </a:lnTo>
                <a:lnTo>
                  <a:pt x="266" y="770"/>
                </a:lnTo>
                <a:lnTo>
                  <a:pt x="269" y="758"/>
                </a:lnTo>
                <a:lnTo>
                  <a:pt x="274" y="746"/>
                </a:lnTo>
                <a:lnTo>
                  <a:pt x="275" y="746"/>
                </a:lnTo>
                <a:lnTo>
                  <a:pt x="275" y="744"/>
                </a:lnTo>
                <a:lnTo>
                  <a:pt x="276" y="742"/>
                </a:lnTo>
                <a:lnTo>
                  <a:pt x="277" y="739"/>
                </a:lnTo>
                <a:lnTo>
                  <a:pt x="282" y="722"/>
                </a:lnTo>
                <a:lnTo>
                  <a:pt x="287" y="706"/>
                </a:lnTo>
                <a:lnTo>
                  <a:pt x="290" y="692"/>
                </a:lnTo>
                <a:lnTo>
                  <a:pt x="294" y="679"/>
                </a:lnTo>
                <a:lnTo>
                  <a:pt x="296" y="663"/>
                </a:lnTo>
                <a:lnTo>
                  <a:pt x="298" y="648"/>
                </a:lnTo>
                <a:lnTo>
                  <a:pt x="301" y="632"/>
                </a:lnTo>
                <a:lnTo>
                  <a:pt x="304" y="616"/>
                </a:lnTo>
                <a:lnTo>
                  <a:pt x="311" y="594"/>
                </a:lnTo>
                <a:lnTo>
                  <a:pt x="318" y="572"/>
                </a:lnTo>
                <a:lnTo>
                  <a:pt x="326" y="550"/>
                </a:lnTo>
                <a:lnTo>
                  <a:pt x="333" y="527"/>
                </a:lnTo>
                <a:lnTo>
                  <a:pt x="338" y="513"/>
                </a:lnTo>
                <a:lnTo>
                  <a:pt x="342" y="499"/>
                </a:lnTo>
                <a:lnTo>
                  <a:pt x="344" y="485"/>
                </a:lnTo>
                <a:lnTo>
                  <a:pt x="345" y="470"/>
                </a:lnTo>
                <a:lnTo>
                  <a:pt x="346" y="462"/>
                </a:lnTo>
                <a:lnTo>
                  <a:pt x="347" y="459"/>
                </a:lnTo>
                <a:lnTo>
                  <a:pt x="351" y="459"/>
                </a:lnTo>
                <a:lnTo>
                  <a:pt x="359" y="461"/>
                </a:lnTo>
                <a:lnTo>
                  <a:pt x="365" y="463"/>
                </a:lnTo>
                <a:lnTo>
                  <a:pt x="371" y="467"/>
                </a:lnTo>
                <a:lnTo>
                  <a:pt x="376" y="470"/>
                </a:lnTo>
                <a:lnTo>
                  <a:pt x="380" y="474"/>
                </a:lnTo>
                <a:lnTo>
                  <a:pt x="385" y="478"/>
                </a:lnTo>
                <a:lnTo>
                  <a:pt x="388" y="483"/>
                </a:lnTo>
                <a:lnTo>
                  <a:pt x="391" y="489"/>
                </a:lnTo>
                <a:lnTo>
                  <a:pt x="394" y="495"/>
                </a:lnTo>
                <a:lnTo>
                  <a:pt x="398" y="505"/>
                </a:lnTo>
                <a:lnTo>
                  <a:pt x="401" y="517"/>
                </a:lnTo>
                <a:lnTo>
                  <a:pt x="405" y="527"/>
                </a:lnTo>
                <a:lnTo>
                  <a:pt x="408" y="538"/>
                </a:lnTo>
                <a:lnTo>
                  <a:pt x="414" y="553"/>
                </a:lnTo>
                <a:lnTo>
                  <a:pt x="419" y="567"/>
                </a:lnTo>
                <a:lnTo>
                  <a:pt x="425" y="581"/>
                </a:lnTo>
                <a:lnTo>
                  <a:pt x="432" y="595"/>
                </a:lnTo>
                <a:lnTo>
                  <a:pt x="442" y="609"/>
                </a:lnTo>
                <a:lnTo>
                  <a:pt x="453" y="623"/>
                </a:lnTo>
                <a:lnTo>
                  <a:pt x="464" y="637"/>
                </a:lnTo>
                <a:lnTo>
                  <a:pt x="474" y="651"/>
                </a:lnTo>
                <a:lnTo>
                  <a:pt x="478" y="656"/>
                </a:lnTo>
                <a:lnTo>
                  <a:pt x="482" y="662"/>
                </a:lnTo>
                <a:lnTo>
                  <a:pt x="480" y="663"/>
                </a:lnTo>
                <a:lnTo>
                  <a:pt x="478" y="665"/>
                </a:lnTo>
                <a:lnTo>
                  <a:pt x="478" y="666"/>
                </a:lnTo>
                <a:lnTo>
                  <a:pt x="478" y="669"/>
                </a:lnTo>
                <a:lnTo>
                  <a:pt x="478" y="672"/>
                </a:lnTo>
                <a:lnTo>
                  <a:pt x="477" y="676"/>
                </a:lnTo>
                <a:lnTo>
                  <a:pt x="476" y="677"/>
                </a:lnTo>
                <a:lnTo>
                  <a:pt x="476" y="678"/>
                </a:lnTo>
                <a:lnTo>
                  <a:pt x="475" y="680"/>
                </a:lnTo>
                <a:lnTo>
                  <a:pt x="474" y="684"/>
                </a:lnTo>
                <a:lnTo>
                  <a:pt x="473" y="686"/>
                </a:lnTo>
                <a:lnTo>
                  <a:pt x="474" y="690"/>
                </a:lnTo>
                <a:lnTo>
                  <a:pt x="474" y="695"/>
                </a:lnTo>
                <a:lnTo>
                  <a:pt x="474" y="701"/>
                </a:lnTo>
                <a:lnTo>
                  <a:pt x="474" y="706"/>
                </a:lnTo>
                <a:lnTo>
                  <a:pt x="473" y="709"/>
                </a:lnTo>
                <a:lnTo>
                  <a:pt x="470" y="714"/>
                </a:lnTo>
                <a:lnTo>
                  <a:pt x="467" y="718"/>
                </a:lnTo>
                <a:lnTo>
                  <a:pt x="463" y="721"/>
                </a:lnTo>
                <a:lnTo>
                  <a:pt x="459" y="725"/>
                </a:lnTo>
                <a:lnTo>
                  <a:pt x="456" y="726"/>
                </a:lnTo>
                <a:lnTo>
                  <a:pt x="455" y="728"/>
                </a:lnTo>
                <a:lnTo>
                  <a:pt x="450" y="732"/>
                </a:lnTo>
                <a:lnTo>
                  <a:pt x="447" y="735"/>
                </a:lnTo>
                <a:lnTo>
                  <a:pt x="445" y="740"/>
                </a:lnTo>
                <a:lnTo>
                  <a:pt x="445" y="746"/>
                </a:lnTo>
                <a:lnTo>
                  <a:pt x="445" y="748"/>
                </a:lnTo>
                <a:lnTo>
                  <a:pt x="446" y="750"/>
                </a:lnTo>
                <a:lnTo>
                  <a:pt x="447" y="751"/>
                </a:lnTo>
                <a:lnTo>
                  <a:pt x="447" y="751"/>
                </a:lnTo>
                <a:lnTo>
                  <a:pt x="447" y="751"/>
                </a:lnTo>
                <a:lnTo>
                  <a:pt x="446" y="750"/>
                </a:lnTo>
                <a:lnTo>
                  <a:pt x="446" y="754"/>
                </a:lnTo>
                <a:lnTo>
                  <a:pt x="446" y="756"/>
                </a:lnTo>
                <a:lnTo>
                  <a:pt x="443" y="758"/>
                </a:lnTo>
                <a:lnTo>
                  <a:pt x="442" y="761"/>
                </a:lnTo>
                <a:lnTo>
                  <a:pt x="437" y="765"/>
                </a:lnTo>
                <a:lnTo>
                  <a:pt x="433" y="771"/>
                </a:lnTo>
                <a:lnTo>
                  <a:pt x="425" y="781"/>
                </a:lnTo>
                <a:lnTo>
                  <a:pt x="418" y="791"/>
                </a:lnTo>
                <a:lnTo>
                  <a:pt x="412" y="802"/>
                </a:lnTo>
                <a:lnTo>
                  <a:pt x="406" y="813"/>
                </a:lnTo>
                <a:lnTo>
                  <a:pt x="406" y="814"/>
                </a:lnTo>
                <a:lnTo>
                  <a:pt x="406" y="814"/>
                </a:lnTo>
                <a:lnTo>
                  <a:pt x="404" y="817"/>
                </a:lnTo>
                <a:lnTo>
                  <a:pt x="404" y="819"/>
                </a:lnTo>
                <a:lnTo>
                  <a:pt x="399" y="830"/>
                </a:lnTo>
                <a:lnTo>
                  <a:pt x="394" y="840"/>
                </a:lnTo>
                <a:lnTo>
                  <a:pt x="390" y="849"/>
                </a:lnTo>
                <a:lnTo>
                  <a:pt x="385" y="860"/>
                </a:lnTo>
                <a:lnTo>
                  <a:pt x="378" y="876"/>
                </a:lnTo>
                <a:lnTo>
                  <a:pt x="371" y="891"/>
                </a:lnTo>
                <a:lnTo>
                  <a:pt x="364" y="907"/>
                </a:lnTo>
                <a:lnTo>
                  <a:pt x="359" y="923"/>
                </a:lnTo>
                <a:lnTo>
                  <a:pt x="358" y="925"/>
                </a:lnTo>
                <a:lnTo>
                  <a:pt x="358" y="926"/>
                </a:lnTo>
                <a:lnTo>
                  <a:pt x="356" y="928"/>
                </a:lnTo>
                <a:lnTo>
                  <a:pt x="356" y="929"/>
                </a:lnTo>
                <a:lnTo>
                  <a:pt x="354" y="930"/>
                </a:lnTo>
                <a:lnTo>
                  <a:pt x="353" y="931"/>
                </a:lnTo>
                <a:lnTo>
                  <a:pt x="352" y="932"/>
                </a:lnTo>
                <a:lnTo>
                  <a:pt x="351" y="933"/>
                </a:lnTo>
                <a:lnTo>
                  <a:pt x="350" y="940"/>
                </a:lnTo>
                <a:lnTo>
                  <a:pt x="351" y="947"/>
                </a:lnTo>
                <a:lnTo>
                  <a:pt x="344" y="964"/>
                </a:lnTo>
                <a:lnTo>
                  <a:pt x="338" y="981"/>
                </a:lnTo>
                <a:lnTo>
                  <a:pt x="337" y="985"/>
                </a:lnTo>
                <a:lnTo>
                  <a:pt x="338" y="987"/>
                </a:lnTo>
                <a:lnTo>
                  <a:pt x="339" y="988"/>
                </a:lnTo>
                <a:lnTo>
                  <a:pt x="342" y="989"/>
                </a:lnTo>
                <a:lnTo>
                  <a:pt x="343" y="992"/>
                </a:lnTo>
                <a:lnTo>
                  <a:pt x="344" y="994"/>
                </a:lnTo>
                <a:lnTo>
                  <a:pt x="344" y="995"/>
                </a:lnTo>
                <a:lnTo>
                  <a:pt x="342" y="998"/>
                </a:lnTo>
                <a:lnTo>
                  <a:pt x="339" y="1000"/>
                </a:lnTo>
                <a:lnTo>
                  <a:pt x="337" y="1002"/>
                </a:lnTo>
                <a:lnTo>
                  <a:pt x="336" y="1003"/>
                </a:lnTo>
                <a:lnTo>
                  <a:pt x="336" y="1005"/>
                </a:lnTo>
                <a:lnTo>
                  <a:pt x="337" y="1006"/>
                </a:lnTo>
                <a:lnTo>
                  <a:pt x="340" y="1008"/>
                </a:lnTo>
                <a:lnTo>
                  <a:pt x="339" y="1009"/>
                </a:lnTo>
                <a:lnTo>
                  <a:pt x="339" y="1010"/>
                </a:lnTo>
                <a:lnTo>
                  <a:pt x="332" y="1019"/>
                </a:lnTo>
                <a:lnTo>
                  <a:pt x="324" y="1024"/>
                </a:lnTo>
                <a:lnTo>
                  <a:pt x="322" y="1024"/>
                </a:lnTo>
                <a:lnTo>
                  <a:pt x="319" y="1024"/>
                </a:lnTo>
                <a:lnTo>
                  <a:pt x="319" y="1026"/>
                </a:lnTo>
                <a:lnTo>
                  <a:pt x="319" y="1027"/>
                </a:lnTo>
                <a:lnTo>
                  <a:pt x="319" y="1030"/>
                </a:lnTo>
                <a:lnTo>
                  <a:pt x="319" y="1034"/>
                </a:lnTo>
                <a:lnTo>
                  <a:pt x="319" y="1047"/>
                </a:lnTo>
                <a:lnTo>
                  <a:pt x="319" y="1058"/>
                </a:lnTo>
                <a:lnTo>
                  <a:pt x="319" y="1071"/>
                </a:lnTo>
                <a:lnTo>
                  <a:pt x="318" y="1084"/>
                </a:lnTo>
                <a:lnTo>
                  <a:pt x="318" y="1099"/>
                </a:lnTo>
                <a:lnTo>
                  <a:pt x="318" y="1113"/>
                </a:lnTo>
                <a:lnTo>
                  <a:pt x="319" y="1127"/>
                </a:lnTo>
                <a:lnTo>
                  <a:pt x="322" y="1142"/>
                </a:lnTo>
                <a:lnTo>
                  <a:pt x="324" y="1154"/>
                </a:lnTo>
                <a:lnTo>
                  <a:pt x="329" y="1167"/>
                </a:lnTo>
                <a:lnTo>
                  <a:pt x="333" y="1179"/>
                </a:lnTo>
                <a:lnTo>
                  <a:pt x="339" y="1190"/>
                </a:lnTo>
                <a:lnTo>
                  <a:pt x="342" y="1186"/>
                </a:lnTo>
                <a:lnTo>
                  <a:pt x="344" y="1182"/>
                </a:lnTo>
                <a:lnTo>
                  <a:pt x="345" y="1181"/>
                </a:lnTo>
                <a:lnTo>
                  <a:pt x="346" y="1180"/>
                </a:lnTo>
                <a:lnTo>
                  <a:pt x="349" y="1182"/>
                </a:lnTo>
                <a:lnTo>
                  <a:pt x="350" y="1184"/>
                </a:lnTo>
                <a:lnTo>
                  <a:pt x="351" y="1188"/>
                </a:lnTo>
                <a:lnTo>
                  <a:pt x="351" y="1190"/>
                </a:lnTo>
                <a:lnTo>
                  <a:pt x="350" y="1195"/>
                </a:lnTo>
                <a:lnTo>
                  <a:pt x="351" y="1198"/>
                </a:lnTo>
                <a:lnTo>
                  <a:pt x="352" y="1202"/>
                </a:lnTo>
                <a:lnTo>
                  <a:pt x="356" y="1204"/>
                </a:lnTo>
                <a:lnTo>
                  <a:pt x="357" y="1208"/>
                </a:lnTo>
                <a:lnTo>
                  <a:pt x="359" y="1211"/>
                </a:lnTo>
                <a:lnTo>
                  <a:pt x="359" y="1215"/>
                </a:lnTo>
                <a:lnTo>
                  <a:pt x="358" y="1217"/>
                </a:lnTo>
                <a:lnTo>
                  <a:pt x="354" y="1217"/>
                </a:lnTo>
                <a:lnTo>
                  <a:pt x="351" y="1214"/>
                </a:lnTo>
                <a:lnTo>
                  <a:pt x="350" y="1212"/>
                </a:lnTo>
                <a:lnTo>
                  <a:pt x="349" y="1211"/>
                </a:lnTo>
                <a:lnTo>
                  <a:pt x="347" y="1211"/>
                </a:lnTo>
                <a:lnTo>
                  <a:pt x="345" y="1211"/>
                </a:lnTo>
                <a:lnTo>
                  <a:pt x="347" y="1217"/>
                </a:lnTo>
                <a:lnTo>
                  <a:pt x="350" y="1223"/>
                </a:lnTo>
                <a:lnTo>
                  <a:pt x="353" y="1226"/>
                </a:lnTo>
                <a:lnTo>
                  <a:pt x="359" y="1230"/>
                </a:lnTo>
                <a:lnTo>
                  <a:pt x="360" y="1231"/>
                </a:lnTo>
                <a:lnTo>
                  <a:pt x="361" y="1232"/>
                </a:lnTo>
                <a:lnTo>
                  <a:pt x="361" y="1232"/>
                </a:lnTo>
                <a:lnTo>
                  <a:pt x="363" y="1232"/>
                </a:lnTo>
                <a:lnTo>
                  <a:pt x="365" y="1232"/>
                </a:lnTo>
                <a:lnTo>
                  <a:pt x="366" y="1232"/>
                </a:lnTo>
                <a:lnTo>
                  <a:pt x="367" y="1235"/>
                </a:lnTo>
                <a:lnTo>
                  <a:pt x="368" y="1236"/>
                </a:lnTo>
                <a:lnTo>
                  <a:pt x="370" y="1236"/>
                </a:lnTo>
                <a:lnTo>
                  <a:pt x="372" y="1236"/>
                </a:lnTo>
                <a:lnTo>
                  <a:pt x="376" y="1236"/>
                </a:lnTo>
                <a:lnTo>
                  <a:pt x="379" y="1237"/>
                </a:lnTo>
                <a:lnTo>
                  <a:pt x="373" y="1242"/>
                </a:lnTo>
                <a:lnTo>
                  <a:pt x="368" y="1246"/>
                </a:lnTo>
                <a:lnTo>
                  <a:pt x="367" y="1250"/>
                </a:lnTo>
                <a:lnTo>
                  <a:pt x="366" y="1253"/>
                </a:lnTo>
                <a:lnTo>
                  <a:pt x="366" y="1257"/>
                </a:lnTo>
                <a:lnTo>
                  <a:pt x="366" y="1260"/>
                </a:lnTo>
                <a:lnTo>
                  <a:pt x="366" y="1263"/>
                </a:lnTo>
                <a:lnTo>
                  <a:pt x="367" y="1266"/>
                </a:lnTo>
                <a:lnTo>
                  <a:pt x="366" y="1268"/>
                </a:lnTo>
                <a:lnTo>
                  <a:pt x="364" y="1270"/>
                </a:lnTo>
                <a:lnTo>
                  <a:pt x="365" y="1271"/>
                </a:lnTo>
                <a:lnTo>
                  <a:pt x="365" y="1271"/>
                </a:lnTo>
                <a:lnTo>
                  <a:pt x="365" y="1271"/>
                </a:lnTo>
                <a:lnTo>
                  <a:pt x="364" y="1270"/>
                </a:lnTo>
                <a:lnTo>
                  <a:pt x="364" y="1270"/>
                </a:lnTo>
                <a:lnTo>
                  <a:pt x="363" y="1268"/>
                </a:lnTo>
                <a:lnTo>
                  <a:pt x="364" y="1267"/>
                </a:lnTo>
                <a:lnTo>
                  <a:pt x="364" y="1268"/>
                </a:lnTo>
                <a:lnTo>
                  <a:pt x="363" y="1268"/>
                </a:lnTo>
                <a:lnTo>
                  <a:pt x="361" y="1267"/>
                </a:lnTo>
                <a:lnTo>
                  <a:pt x="360" y="1266"/>
                </a:lnTo>
                <a:lnTo>
                  <a:pt x="358" y="1266"/>
                </a:lnTo>
                <a:lnTo>
                  <a:pt x="358" y="1270"/>
                </a:lnTo>
                <a:lnTo>
                  <a:pt x="357" y="1277"/>
                </a:lnTo>
                <a:lnTo>
                  <a:pt x="357" y="1285"/>
                </a:lnTo>
                <a:lnTo>
                  <a:pt x="358" y="1286"/>
                </a:lnTo>
                <a:lnTo>
                  <a:pt x="357" y="1288"/>
                </a:lnTo>
                <a:lnTo>
                  <a:pt x="356" y="1288"/>
                </a:lnTo>
                <a:lnTo>
                  <a:pt x="353" y="1288"/>
                </a:lnTo>
                <a:lnTo>
                  <a:pt x="352" y="1288"/>
                </a:lnTo>
                <a:lnTo>
                  <a:pt x="352" y="1288"/>
                </a:lnTo>
                <a:lnTo>
                  <a:pt x="354" y="1295"/>
                </a:lnTo>
                <a:lnTo>
                  <a:pt x="358" y="1300"/>
                </a:lnTo>
                <a:lnTo>
                  <a:pt x="360" y="1300"/>
                </a:lnTo>
                <a:lnTo>
                  <a:pt x="363" y="1300"/>
                </a:lnTo>
                <a:lnTo>
                  <a:pt x="364" y="1300"/>
                </a:lnTo>
                <a:lnTo>
                  <a:pt x="366" y="1301"/>
                </a:lnTo>
                <a:lnTo>
                  <a:pt x="366" y="1306"/>
                </a:lnTo>
                <a:lnTo>
                  <a:pt x="365" y="1308"/>
                </a:lnTo>
                <a:lnTo>
                  <a:pt x="363" y="1312"/>
                </a:lnTo>
                <a:lnTo>
                  <a:pt x="359" y="1314"/>
                </a:lnTo>
                <a:lnTo>
                  <a:pt x="357" y="1314"/>
                </a:lnTo>
                <a:lnTo>
                  <a:pt x="354" y="1314"/>
                </a:lnTo>
                <a:lnTo>
                  <a:pt x="347" y="1310"/>
                </a:lnTo>
                <a:lnTo>
                  <a:pt x="343" y="1309"/>
                </a:lnTo>
                <a:lnTo>
                  <a:pt x="338" y="1310"/>
                </a:lnTo>
                <a:lnTo>
                  <a:pt x="335" y="1314"/>
                </a:lnTo>
                <a:lnTo>
                  <a:pt x="331" y="1314"/>
                </a:lnTo>
                <a:lnTo>
                  <a:pt x="328" y="1315"/>
                </a:lnTo>
                <a:lnTo>
                  <a:pt x="324" y="1316"/>
                </a:lnTo>
                <a:lnTo>
                  <a:pt x="322" y="1320"/>
                </a:lnTo>
                <a:lnTo>
                  <a:pt x="317" y="1324"/>
                </a:lnTo>
                <a:lnTo>
                  <a:pt x="312" y="1329"/>
                </a:lnTo>
                <a:lnTo>
                  <a:pt x="307" y="1333"/>
                </a:lnTo>
                <a:lnTo>
                  <a:pt x="301" y="1336"/>
                </a:lnTo>
                <a:lnTo>
                  <a:pt x="289" y="1342"/>
                </a:lnTo>
                <a:lnTo>
                  <a:pt x="280" y="1350"/>
                </a:lnTo>
                <a:lnTo>
                  <a:pt x="277" y="1351"/>
                </a:lnTo>
                <a:lnTo>
                  <a:pt x="276" y="1352"/>
                </a:lnTo>
                <a:lnTo>
                  <a:pt x="276" y="1354"/>
                </a:lnTo>
                <a:lnTo>
                  <a:pt x="275" y="1356"/>
                </a:lnTo>
                <a:lnTo>
                  <a:pt x="297" y="1356"/>
                </a:lnTo>
                <a:lnTo>
                  <a:pt x="295" y="1358"/>
                </a:lnTo>
                <a:lnTo>
                  <a:pt x="294" y="1359"/>
                </a:lnTo>
                <a:lnTo>
                  <a:pt x="290" y="1364"/>
                </a:lnTo>
                <a:lnTo>
                  <a:pt x="285" y="1368"/>
                </a:lnTo>
                <a:lnTo>
                  <a:pt x="282" y="1371"/>
                </a:lnTo>
                <a:lnTo>
                  <a:pt x="277" y="1373"/>
                </a:lnTo>
                <a:lnTo>
                  <a:pt x="273" y="1376"/>
                </a:lnTo>
                <a:lnTo>
                  <a:pt x="267" y="1377"/>
                </a:lnTo>
                <a:lnTo>
                  <a:pt x="261" y="1378"/>
                </a:lnTo>
                <a:lnTo>
                  <a:pt x="255" y="1378"/>
                </a:lnTo>
                <a:lnTo>
                  <a:pt x="247" y="1378"/>
                </a:lnTo>
                <a:lnTo>
                  <a:pt x="242" y="1380"/>
                </a:lnTo>
                <a:lnTo>
                  <a:pt x="241" y="1385"/>
                </a:lnTo>
                <a:lnTo>
                  <a:pt x="241" y="1394"/>
                </a:lnTo>
                <a:lnTo>
                  <a:pt x="241" y="1397"/>
                </a:lnTo>
                <a:lnTo>
                  <a:pt x="242" y="1399"/>
                </a:lnTo>
                <a:lnTo>
                  <a:pt x="246" y="1405"/>
                </a:lnTo>
                <a:lnTo>
                  <a:pt x="250" y="1408"/>
                </a:lnTo>
                <a:lnTo>
                  <a:pt x="256" y="1411"/>
                </a:lnTo>
                <a:lnTo>
                  <a:pt x="263" y="1411"/>
                </a:lnTo>
                <a:lnTo>
                  <a:pt x="273" y="1411"/>
                </a:lnTo>
                <a:lnTo>
                  <a:pt x="283" y="1411"/>
                </a:lnTo>
                <a:lnTo>
                  <a:pt x="300" y="1410"/>
                </a:lnTo>
                <a:lnTo>
                  <a:pt x="315" y="1408"/>
                </a:lnTo>
                <a:lnTo>
                  <a:pt x="331" y="1406"/>
                </a:lnTo>
                <a:lnTo>
                  <a:pt x="346" y="1403"/>
                </a:lnTo>
                <a:lnTo>
                  <a:pt x="349" y="1403"/>
                </a:lnTo>
                <a:lnTo>
                  <a:pt x="351" y="1403"/>
                </a:lnTo>
                <a:lnTo>
                  <a:pt x="363" y="1398"/>
                </a:lnTo>
                <a:lnTo>
                  <a:pt x="376" y="1394"/>
                </a:lnTo>
                <a:lnTo>
                  <a:pt x="387" y="1393"/>
                </a:lnTo>
                <a:lnTo>
                  <a:pt x="400" y="1392"/>
                </a:lnTo>
                <a:lnTo>
                  <a:pt x="406" y="1392"/>
                </a:lnTo>
                <a:lnTo>
                  <a:pt x="411" y="1391"/>
                </a:lnTo>
                <a:lnTo>
                  <a:pt x="416" y="1389"/>
                </a:lnTo>
                <a:lnTo>
                  <a:pt x="421" y="1386"/>
                </a:lnTo>
                <a:lnTo>
                  <a:pt x="404" y="1385"/>
                </a:lnTo>
                <a:lnTo>
                  <a:pt x="387" y="1386"/>
                </a:lnTo>
                <a:lnTo>
                  <a:pt x="370" y="1389"/>
                </a:lnTo>
                <a:lnTo>
                  <a:pt x="353" y="1393"/>
                </a:lnTo>
                <a:lnTo>
                  <a:pt x="350" y="1390"/>
                </a:lnTo>
                <a:lnTo>
                  <a:pt x="345" y="1387"/>
                </a:lnTo>
                <a:lnTo>
                  <a:pt x="344" y="1385"/>
                </a:lnTo>
                <a:lnTo>
                  <a:pt x="343" y="1384"/>
                </a:lnTo>
                <a:lnTo>
                  <a:pt x="342" y="1384"/>
                </a:lnTo>
                <a:lnTo>
                  <a:pt x="339" y="1385"/>
                </a:lnTo>
                <a:lnTo>
                  <a:pt x="336" y="1385"/>
                </a:lnTo>
                <a:lnTo>
                  <a:pt x="332" y="1385"/>
                </a:lnTo>
                <a:lnTo>
                  <a:pt x="328" y="1384"/>
                </a:lnTo>
                <a:lnTo>
                  <a:pt x="323" y="1383"/>
                </a:lnTo>
                <a:lnTo>
                  <a:pt x="329" y="1379"/>
                </a:lnTo>
                <a:lnTo>
                  <a:pt x="335" y="1377"/>
                </a:lnTo>
                <a:lnTo>
                  <a:pt x="340" y="1375"/>
                </a:lnTo>
                <a:lnTo>
                  <a:pt x="346" y="1376"/>
                </a:lnTo>
                <a:lnTo>
                  <a:pt x="359" y="1376"/>
                </a:lnTo>
                <a:lnTo>
                  <a:pt x="372" y="1375"/>
                </a:lnTo>
                <a:lnTo>
                  <a:pt x="370" y="1377"/>
                </a:lnTo>
                <a:lnTo>
                  <a:pt x="368" y="1378"/>
                </a:lnTo>
                <a:lnTo>
                  <a:pt x="378" y="1378"/>
                </a:lnTo>
                <a:lnTo>
                  <a:pt x="387" y="1378"/>
                </a:lnTo>
                <a:lnTo>
                  <a:pt x="394" y="1377"/>
                </a:lnTo>
                <a:lnTo>
                  <a:pt x="401" y="1377"/>
                </a:lnTo>
                <a:lnTo>
                  <a:pt x="408" y="1376"/>
                </a:lnTo>
                <a:lnTo>
                  <a:pt x="415" y="1373"/>
                </a:lnTo>
                <a:lnTo>
                  <a:pt x="422" y="1372"/>
                </a:lnTo>
                <a:lnTo>
                  <a:pt x="429" y="1370"/>
                </a:lnTo>
                <a:lnTo>
                  <a:pt x="435" y="1368"/>
                </a:lnTo>
                <a:lnTo>
                  <a:pt x="441" y="1364"/>
                </a:lnTo>
                <a:lnTo>
                  <a:pt x="441" y="1363"/>
                </a:lnTo>
                <a:lnTo>
                  <a:pt x="442" y="1363"/>
                </a:lnTo>
                <a:lnTo>
                  <a:pt x="443" y="1363"/>
                </a:lnTo>
                <a:lnTo>
                  <a:pt x="442" y="1362"/>
                </a:lnTo>
                <a:lnTo>
                  <a:pt x="441" y="1362"/>
                </a:lnTo>
                <a:lnTo>
                  <a:pt x="439" y="1362"/>
                </a:lnTo>
                <a:lnTo>
                  <a:pt x="440" y="1359"/>
                </a:lnTo>
                <a:lnTo>
                  <a:pt x="440" y="1357"/>
                </a:lnTo>
                <a:lnTo>
                  <a:pt x="437" y="1357"/>
                </a:lnTo>
                <a:lnTo>
                  <a:pt x="435" y="1358"/>
                </a:lnTo>
                <a:lnTo>
                  <a:pt x="430" y="1361"/>
                </a:lnTo>
                <a:lnTo>
                  <a:pt x="427" y="1361"/>
                </a:lnTo>
                <a:lnTo>
                  <a:pt x="426" y="1361"/>
                </a:lnTo>
                <a:lnTo>
                  <a:pt x="423" y="1358"/>
                </a:lnTo>
                <a:lnTo>
                  <a:pt x="422" y="1357"/>
                </a:lnTo>
                <a:lnTo>
                  <a:pt x="421" y="1354"/>
                </a:lnTo>
                <a:lnTo>
                  <a:pt x="421" y="1351"/>
                </a:lnTo>
                <a:lnTo>
                  <a:pt x="420" y="1349"/>
                </a:lnTo>
                <a:lnTo>
                  <a:pt x="419" y="1348"/>
                </a:lnTo>
                <a:lnTo>
                  <a:pt x="418" y="1348"/>
                </a:lnTo>
                <a:lnTo>
                  <a:pt x="415" y="1348"/>
                </a:lnTo>
                <a:lnTo>
                  <a:pt x="413" y="1349"/>
                </a:lnTo>
                <a:lnTo>
                  <a:pt x="412" y="1348"/>
                </a:lnTo>
                <a:lnTo>
                  <a:pt x="412" y="1345"/>
                </a:lnTo>
                <a:lnTo>
                  <a:pt x="414" y="1342"/>
                </a:lnTo>
                <a:lnTo>
                  <a:pt x="415" y="1338"/>
                </a:lnTo>
                <a:lnTo>
                  <a:pt x="416" y="1337"/>
                </a:lnTo>
                <a:lnTo>
                  <a:pt x="415" y="1335"/>
                </a:lnTo>
                <a:lnTo>
                  <a:pt x="414" y="1334"/>
                </a:lnTo>
                <a:lnTo>
                  <a:pt x="412" y="1333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1" y="1331"/>
                </a:lnTo>
                <a:lnTo>
                  <a:pt x="412" y="1330"/>
                </a:lnTo>
                <a:lnTo>
                  <a:pt x="413" y="1330"/>
                </a:lnTo>
                <a:lnTo>
                  <a:pt x="419" y="1329"/>
                </a:lnTo>
                <a:lnTo>
                  <a:pt x="422" y="1327"/>
                </a:lnTo>
                <a:lnTo>
                  <a:pt x="425" y="1323"/>
                </a:lnTo>
                <a:lnTo>
                  <a:pt x="425" y="1319"/>
                </a:lnTo>
                <a:lnTo>
                  <a:pt x="425" y="1312"/>
                </a:lnTo>
                <a:lnTo>
                  <a:pt x="422" y="1307"/>
                </a:lnTo>
                <a:lnTo>
                  <a:pt x="419" y="1305"/>
                </a:lnTo>
                <a:lnTo>
                  <a:pt x="413" y="1303"/>
                </a:lnTo>
                <a:lnTo>
                  <a:pt x="411" y="1301"/>
                </a:lnTo>
                <a:lnTo>
                  <a:pt x="408" y="1299"/>
                </a:lnTo>
                <a:lnTo>
                  <a:pt x="412" y="1299"/>
                </a:lnTo>
                <a:lnTo>
                  <a:pt x="413" y="1298"/>
                </a:lnTo>
                <a:lnTo>
                  <a:pt x="414" y="1296"/>
                </a:lnTo>
                <a:lnTo>
                  <a:pt x="414" y="1295"/>
                </a:lnTo>
                <a:lnTo>
                  <a:pt x="414" y="1292"/>
                </a:lnTo>
                <a:lnTo>
                  <a:pt x="414" y="1288"/>
                </a:lnTo>
                <a:lnTo>
                  <a:pt x="418" y="1286"/>
                </a:lnTo>
                <a:lnTo>
                  <a:pt x="422" y="1285"/>
                </a:lnTo>
                <a:lnTo>
                  <a:pt x="427" y="1285"/>
                </a:lnTo>
                <a:lnTo>
                  <a:pt x="430" y="1284"/>
                </a:lnTo>
                <a:lnTo>
                  <a:pt x="425" y="1282"/>
                </a:lnTo>
                <a:lnTo>
                  <a:pt x="419" y="1280"/>
                </a:lnTo>
                <a:lnTo>
                  <a:pt x="415" y="1275"/>
                </a:lnTo>
                <a:lnTo>
                  <a:pt x="414" y="1271"/>
                </a:lnTo>
                <a:lnTo>
                  <a:pt x="413" y="1265"/>
                </a:lnTo>
                <a:lnTo>
                  <a:pt x="414" y="1259"/>
                </a:lnTo>
                <a:lnTo>
                  <a:pt x="416" y="1251"/>
                </a:lnTo>
                <a:lnTo>
                  <a:pt x="416" y="1243"/>
                </a:lnTo>
                <a:lnTo>
                  <a:pt x="415" y="1239"/>
                </a:lnTo>
                <a:lnTo>
                  <a:pt x="414" y="1236"/>
                </a:lnTo>
                <a:lnTo>
                  <a:pt x="412" y="1231"/>
                </a:lnTo>
                <a:lnTo>
                  <a:pt x="408" y="1229"/>
                </a:lnTo>
                <a:lnTo>
                  <a:pt x="408" y="1228"/>
                </a:lnTo>
                <a:lnTo>
                  <a:pt x="409" y="1226"/>
                </a:lnTo>
                <a:lnTo>
                  <a:pt x="407" y="1225"/>
                </a:lnTo>
                <a:lnTo>
                  <a:pt x="406" y="1224"/>
                </a:lnTo>
                <a:lnTo>
                  <a:pt x="407" y="1225"/>
                </a:lnTo>
                <a:lnTo>
                  <a:pt x="409" y="1226"/>
                </a:lnTo>
                <a:lnTo>
                  <a:pt x="412" y="1225"/>
                </a:lnTo>
                <a:lnTo>
                  <a:pt x="413" y="1225"/>
                </a:lnTo>
                <a:lnTo>
                  <a:pt x="414" y="1224"/>
                </a:lnTo>
                <a:lnTo>
                  <a:pt x="415" y="1223"/>
                </a:lnTo>
                <a:lnTo>
                  <a:pt x="415" y="1223"/>
                </a:lnTo>
                <a:lnTo>
                  <a:pt x="416" y="1222"/>
                </a:lnTo>
                <a:lnTo>
                  <a:pt x="419" y="1219"/>
                </a:lnTo>
                <a:lnTo>
                  <a:pt x="421" y="1216"/>
                </a:lnTo>
                <a:lnTo>
                  <a:pt x="422" y="1211"/>
                </a:lnTo>
                <a:lnTo>
                  <a:pt x="423" y="1207"/>
                </a:lnTo>
                <a:lnTo>
                  <a:pt x="425" y="1202"/>
                </a:lnTo>
                <a:lnTo>
                  <a:pt x="423" y="1197"/>
                </a:lnTo>
                <a:lnTo>
                  <a:pt x="423" y="1194"/>
                </a:lnTo>
                <a:lnTo>
                  <a:pt x="422" y="1190"/>
                </a:lnTo>
                <a:lnTo>
                  <a:pt x="420" y="1188"/>
                </a:lnTo>
                <a:lnTo>
                  <a:pt x="416" y="1188"/>
                </a:lnTo>
                <a:lnTo>
                  <a:pt x="416" y="1187"/>
                </a:lnTo>
                <a:lnTo>
                  <a:pt x="415" y="1187"/>
                </a:lnTo>
                <a:lnTo>
                  <a:pt x="415" y="1184"/>
                </a:lnTo>
                <a:lnTo>
                  <a:pt x="415" y="1182"/>
                </a:lnTo>
                <a:lnTo>
                  <a:pt x="415" y="1180"/>
                </a:lnTo>
                <a:lnTo>
                  <a:pt x="418" y="1179"/>
                </a:lnTo>
                <a:lnTo>
                  <a:pt x="421" y="1177"/>
                </a:lnTo>
                <a:lnTo>
                  <a:pt x="423" y="1176"/>
                </a:lnTo>
                <a:lnTo>
                  <a:pt x="425" y="1175"/>
                </a:lnTo>
                <a:lnTo>
                  <a:pt x="425" y="1173"/>
                </a:lnTo>
                <a:lnTo>
                  <a:pt x="423" y="1169"/>
                </a:lnTo>
                <a:lnTo>
                  <a:pt x="421" y="1166"/>
                </a:lnTo>
                <a:lnTo>
                  <a:pt x="420" y="1162"/>
                </a:lnTo>
                <a:lnTo>
                  <a:pt x="419" y="1159"/>
                </a:lnTo>
                <a:lnTo>
                  <a:pt x="418" y="1141"/>
                </a:lnTo>
                <a:lnTo>
                  <a:pt x="415" y="1124"/>
                </a:lnTo>
                <a:lnTo>
                  <a:pt x="414" y="1105"/>
                </a:lnTo>
                <a:lnTo>
                  <a:pt x="412" y="1087"/>
                </a:lnTo>
                <a:lnTo>
                  <a:pt x="412" y="1086"/>
                </a:lnTo>
                <a:lnTo>
                  <a:pt x="412" y="1085"/>
                </a:lnTo>
                <a:lnTo>
                  <a:pt x="409" y="1077"/>
                </a:lnTo>
                <a:lnTo>
                  <a:pt x="408" y="1069"/>
                </a:lnTo>
                <a:lnTo>
                  <a:pt x="407" y="1061"/>
                </a:lnTo>
                <a:lnTo>
                  <a:pt x="406" y="1052"/>
                </a:lnTo>
                <a:lnTo>
                  <a:pt x="402" y="1051"/>
                </a:lnTo>
                <a:lnTo>
                  <a:pt x="399" y="1049"/>
                </a:lnTo>
                <a:lnTo>
                  <a:pt x="402" y="1051"/>
                </a:lnTo>
                <a:lnTo>
                  <a:pt x="406" y="1052"/>
                </a:lnTo>
                <a:lnTo>
                  <a:pt x="406" y="1045"/>
                </a:lnTo>
                <a:lnTo>
                  <a:pt x="407" y="1040"/>
                </a:lnTo>
                <a:lnTo>
                  <a:pt x="408" y="1034"/>
                </a:lnTo>
                <a:lnTo>
                  <a:pt x="409" y="1028"/>
                </a:lnTo>
                <a:lnTo>
                  <a:pt x="413" y="1022"/>
                </a:lnTo>
                <a:lnTo>
                  <a:pt x="416" y="1019"/>
                </a:lnTo>
                <a:lnTo>
                  <a:pt x="402" y="1013"/>
                </a:lnTo>
                <a:lnTo>
                  <a:pt x="387" y="1008"/>
                </a:lnTo>
                <a:lnTo>
                  <a:pt x="373" y="1002"/>
                </a:lnTo>
                <a:lnTo>
                  <a:pt x="359" y="998"/>
                </a:lnTo>
                <a:lnTo>
                  <a:pt x="346" y="1013"/>
                </a:lnTo>
                <a:lnTo>
                  <a:pt x="335" y="1028"/>
                </a:lnTo>
                <a:lnTo>
                  <a:pt x="346" y="1013"/>
                </a:lnTo>
                <a:lnTo>
                  <a:pt x="359" y="998"/>
                </a:lnTo>
                <a:lnTo>
                  <a:pt x="373" y="1002"/>
                </a:lnTo>
                <a:lnTo>
                  <a:pt x="387" y="1008"/>
                </a:lnTo>
                <a:lnTo>
                  <a:pt x="402" y="1013"/>
                </a:lnTo>
                <a:lnTo>
                  <a:pt x="416" y="1019"/>
                </a:lnTo>
                <a:lnTo>
                  <a:pt x="422" y="1014"/>
                </a:lnTo>
                <a:lnTo>
                  <a:pt x="429" y="1012"/>
                </a:lnTo>
                <a:lnTo>
                  <a:pt x="437" y="1009"/>
                </a:lnTo>
                <a:lnTo>
                  <a:pt x="446" y="1008"/>
                </a:lnTo>
                <a:lnTo>
                  <a:pt x="462" y="1008"/>
                </a:lnTo>
                <a:lnTo>
                  <a:pt x="477" y="1009"/>
                </a:lnTo>
                <a:lnTo>
                  <a:pt x="491" y="1010"/>
                </a:lnTo>
                <a:lnTo>
                  <a:pt x="503" y="1012"/>
                </a:lnTo>
                <a:lnTo>
                  <a:pt x="509" y="1014"/>
                </a:lnTo>
                <a:lnTo>
                  <a:pt x="513" y="1015"/>
                </a:lnTo>
                <a:lnTo>
                  <a:pt x="519" y="1019"/>
                </a:lnTo>
                <a:lnTo>
                  <a:pt x="524" y="1021"/>
                </a:lnTo>
                <a:lnTo>
                  <a:pt x="517" y="1010"/>
                </a:lnTo>
                <a:lnTo>
                  <a:pt x="512" y="999"/>
                </a:lnTo>
                <a:lnTo>
                  <a:pt x="517" y="1010"/>
                </a:lnTo>
                <a:lnTo>
                  <a:pt x="524" y="1021"/>
                </a:lnTo>
                <a:lnTo>
                  <a:pt x="528" y="1024"/>
                </a:lnTo>
                <a:lnTo>
                  <a:pt x="531" y="1029"/>
                </a:lnTo>
                <a:lnTo>
                  <a:pt x="535" y="1034"/>
                </a:lnTo>
                <a:lnTo>
                  <a:pt x="537" y="1040"/>
                </a:lnTo>
                <a:lnTo>
                  <a:pt x="542" y="1049"/>
                </a:lnTo>
                <a:lnTo>
                  <a:pt x="547" y="1058"/>
                </a:lnTo>
                <a:lnTo>
                  <a:pt x="553" y="1068"/>
                </a:lnTo>
                <a:lnTo>
                  <a:pt x="560" y="1077"/>
                </a:lnTo>
                <a:lnTo>
                  <a:pt x="565" y="1083"/>
                </a:lnTo>
                <a:lnTo>
                  <a:pt x="571" y="1091"/>
                </a:lnTo>
                <a:lnTo>
                  <a:pt x="575" y="1098"/>
                </a:lnTo>
                <a:lnTo>
                  <a:pt x="579" y="1105"/>
                </a:lnTo>
                <a:lnTo>
                  <a:pt x="580" y="1107"/>
                </a:lnTo>
                <a:lnTo>
                  <a:pt x="581" y="1109"/>
                </a:lnTo>
                <a:lnTo>
                  <a:pt x="587" y="1120"/>
                </a:lnTo>
                <a:lnTo>
                  <a:pt x="592" y="1131"/>
                </a:lnTo>
                <a:lnTo>
                  <a:pt x="597" y="1142"/>
                </a:lnTo>
                <a:lnTo>
                  <a:pt x="602" y="1154"/>
                </a:lnTo>
                <a:lnTo>
                  <a:pt x="604" y="1159"/>
                </a:lnTo>
                <a:lnTo>
                  <a:pt x="606" y="1165"/>
                </a:lnTo>
                <a:lnTo>
                  <a:pt x="609" y="1170"/>
                </a:lnTo>
                <a:lnTo>
                  <a:pt x="613" y="1175"/>
                </a:lnTo>
                <a:lnTo>
                  <a:pt x="613" y="1175"/>
                </a:lnTo>
                <a:lnTo>
                  <a:pt x="613" y="1176"/>
                </a:lnTo>
                <a:lnTo>
                  <a:pt x="614" y="1181"/>
                </a:lnTo>
                <a:lnTo>
                  <a:pt x="618" y="1184"/>
                </a:lnTo>
                <a:lnTo>
                  <a:pt x="618" y="1184"/>
                </a:lnTo>
                <a:lnTo>
                  <a:pt x="618" y="1188"/>
                </a:lnTo>
                <a:lnTo>
                  <a:pt x="619" y="1190"/>
                </a:lnTo>
                <a:lnTo>
                  <a:pt x="621" y="1193"/>
                </a:lnTo>
                <a:lnTo>
                  <a:pt x="622" y="1194"/>
                </a:lnTo>
                <a:lnTo>
                  <a:pt x="622" y="1194"/>
                </a:lnTo>
                <a:lnTo>
                  <a:pt x="629" y="1207"/>
                </a:lnTo>
                <a:lnTo>
                  <a:pt x="636" y="1219"/>
                </a:lnTo>
                <a:lnTo>
                  <a:pt x="642" y="1231"/>
                </a:lnTo>
                <a:lnTo>
                  <a:pt x="649" y="1242"/>
                </a:lnTo>
                <a:lnTo>
                  <a:pt x="655" y="1253"/>
                </a:lnTo>
                <a:lnTo>
                  <a:pt x="661" y="1265"/>
                </a:lnTo>
                <a:lnTo>
                  <a:pt x="661" y="1266"/>
                </a:lnTo>
                <a:lnTo>
                  <a:pt x="662" y="1266"/>
                </a:lnTo>
                <a:lnTo>
                  <a:pt x="662" y="1266"/>
                </a:lnTo>
                <a:lnTo>
                  <a:pt x="664" y="1272"/>
                </a:lnTo>
                <a:lnTo>
                  <a:pt x="667" y="1277"/>
                </a:lnTo>
                <a:lnTo>
                  <a:pt x="674" y="1289"/>
                </a:lnTo>
                <a:lnTo>
                  <a:pt x="680" y="1303"/>
                </a:lnTo>
                <a:lnTo>
                  <a:pt x="684" y="1317"/>
                </a:lnTo>
                <a:lnTo>
                  <a:pt x="687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8" y="1331"/>
                </a:lnTo>
                <a:lnTo>
                  <a:pt x="687" y="1331"/>
                </a:lnTo>
                <a:lnTo>
                  <a:pt x="684" y="1334"/>
                </a:lnTo>
                <a:lnTo>
                  <a:pt x="681" y="1336"/>
                </a:lnTo>
                <a:lnTo>
                  <a:pt x="677" y="1342"/>
                </a:lnTo>
                <a:lnTo>
                  <a:pt x="675" y="1347"/>
                </a:lnTo>
                <a:lnTo>
                  <a:pt x="675" y="1350"/>
                </a:lnTo>
                <a:lnTo>
                  <a:pt x="675" y="1352"/>
                </a:lnTo>
                <a:lnTo>
                  <a:pt x="676" y="1356"/>
                </a:lnTo>
                <a:lnTo>
                  <a:pt x="678" y="1359"/>
                </a:lnTo>
                <a:lnTo>
                  <a:pt x="680" y="1361"/>
                </a:lnTo>
                <a:lnTo>
                  <a:pt x="678" y="1363"/>
                </a:lnTo>
                <a:lnTo>
                  <a:pt x="677" y="1363"/>
                </a:lnTo>
                <a:lnTo>
                  <a:pt x="675" y="1363"/>
                </a:lnTo>
                <a:lnTo>
                  <a:pt x="667" y="1359"/>
                </a:lnTo>
                <a:lnTo>
                  <a:pt x="660" y="1358"/>
                </a:lnTo>
                <a:lnTo>
                  <a:pt x="657" y="1358"/>
                </a:lnTo>
                <a:lnTo>
                  <a:pt x="655" y="1359"/>
                </a:lnTo>
                <a:lnTo>
                  <a:pt x="654" y="1361"/>
                </a:lnTo>
                <a:lnTo>
                  <a:pt x="653" y="1362"/>
                </a:lnTo>
                <a:lnTo>
                  <a:pt x="653" y="1365"/>
                </a:lnTo>
                <a:lnTo>
                  <a:pt x="654" y="1366"/>
                </a:lnTo>
                <a:lnTo>
                  <a:pt x="656" y="1366"/>
                </a:lnTo>
                <a:lnTo>
                  <a:pt x="658" y="1366"/>
                </a:lnTo>
                <a:lnTo>
                  <a:pt x="658" y="1368"/>
                </a:lnTo>
                <a:lnTo>
                  <a:pt x="658" y="1366"/>
                </a:lnTo>
                <a:lnTo>
                  <a:pt x="658" y="1366"/>
                </a:lnTo>
                <a:lnTo>
                  <a:pt x="661" y="1368"/>
                </a:lnTo>
                <a:lnTo>
                  <a:pt x="663" y="1368"/>
                </a:lnTo>
                <a:lnTo>
                  <a:pt x="673" y="1369"/>
                </a:lnTo>
                <a:lnTo>
                  <a:pt x="682" y="1371"/>
                </a:lnTo>
                <a:lnTo>
                  <a:pt x="683" y="1373"/>
                </a:lnTo>
                <a:lnTo>
                  <a:pt x="683" y="1376"/>
                </a:lnTo>
                <a:lnTo>
                  <a:pt x="684" y="1382"/>
                </a:lnTo>
                <a:lnTo>
                  <a:pt x="688" y="1389"/>
                </a:lnTo>
                <a:lnTo>
                  <a:pt x="690" y="1391"/>
                </a:lnTo>
                <a:lnTo>
                  <a:pt x="692" y="1391"/>
                </a:lnTo>
                <a:lnTo>
                  <a:pt x="697" y="1392"/>
                </a:lnTo>
                <a:lnTo>
                  <a:pt x="699" y="1394"/>
                </a:lnTo>
                <a:lnTo>
                  <a:pt x="701" y="1398"/>
                </a:lnTo>
                <a:lnTo>
                  <a:pt x="701" y="1403"/>
                </a:lnTo>
                <a:lnTo>
                  <a:pt x="696" y="1404"/>
                </a:lnTo>
                <a:lnTo>
                  <a:pt x="690" y="1404"/>
                </a:lnTo>
                <a:lnTo>
                  <a:pt x="689" y="1405"/>
                </a:lnTo>
                <a:lnTo>
                  <a:pt x="687" y="1406"/>
                </a:lnTo>
                <a:lnTo>
                  <a:pt x="685" y="1407"/>
                </a:lnTo>
                <a:lnTo>
                  <a:pt x="684" y="1411"/>
                </a:lnTo>
                <a:lnTo>
                  <a:pt x="690" y="1411"/>
                </a:lnTo>
                <a:lnTo>
                  <a:pt x="697" y="1411"/>
                </a:lnTo>
                <a:lnTo>
                  <a:pt x="703" y="1411"/>
                </a:lnTo>
                <a:lnTo>
                  <a:pt x="709" y="1412"/>
                </a:lnTo>
                <a:lnTo>
                  <a:pt x="715" y="1413"/>
                </a:lnTo>
                <a:lnTo>
                  <a:pt x="720" y="1414"/>
                </a:lnTo>
                <a:lnTo>
                  <a:pt x="715" y="1413"/>
                </a:lnTo>
                <a:lnTo>
                  <a:pt x="709" y="1412"/>
                </a:lnTo>
                <a:lnTo>
                  <a:pt x="703" y="1411"/>
                </a:lnTo>
                <a:lnTo>
                  <a:pt x="697" y="1411"/>
                </a:lnTo>
                <a:lnTo>
                  <a:pt x="690" y="1411"/>
                </a:lnTo>
                <a:lnTo>
                  <a:pt x="684" y="1411"/>
                </a:lnTo>
                <a:lnTo>
                  <a:pt x="680" y="1417"/>
                </a:lnTo>
                <a:lnTo>
                  <a:pt x="675" y="1421"/>
                </a:lnTo>
                <a:lnTo>
                  <a:pt x="671" y="1425"/>
                </a:lnTo>
                <a:lnTo>
                  <a:pt x="670" y="1428"/>
                </a:lnTo>
                <a:lnTo>
                  <a:pt x="669" y="1429"/>
                </a:lnTo>
                <a:lnTo>
                  <a:pt x="668" y="1431"/>
                </a:lnTo>
                <a:lnTo>
                  <a:pt x="664" y="1433"/>
                </a:lnTo>
                <a:lnTo>
                  <a:pt x="662" y="1436"/>
                </a:lnTo>
                <a:lnTo>
                  <a:pt x="661" y="1440"/>
                </a:lnTo>
                <a:lnTo>
                  <a:pt x="660" y="1445"/>
                </a:lnTo>
                <a:lnTo>
                  <a:pt x="657" y="1445"/>
                </a:lnTo>
                <a:lnTo>
                  <a:pt x="656" y="1446"/>
                </a:lnTo>
                <a:lnTo>
                  <a:pt x="650" y="1454"/>
                </a:lnTo>
                <a:lnTo>
                  <a:pt x="644" y="1462"/>
                </a:lnTo>
                <a:lnTo>
                  <a:pt x="647" y="1462"/>
                </a:lnTo>
                <a:lnTo>
                  <a:pt x="649" y="1462"/>
                </a:lnTo>
                <a:lnTo>
                  <a:pt x="649" y="1464"/>
                </a:lnTo>
                <a:lnTo>
                  <a:pt x="650" y="1466"/>
                </a:lnTo>
                <a:lnTo>
                  <a:pt x="651" y="1467"/>
                </a:lnTo>
                <a:lnTo>
                  <a:pt x="654" y="1468"/>
                </a:lnTo>
                <a:lnTo>
                  <a:pt x="654" y="1470"/>
                </a:lnTo>
                <a:lnTo>
                  <a:pt x="654" y="1471"/>
                </a:lnTo>
                <a:lnTo>
                  <a:pt x="653" y="1474"/>
                </a:lnTo>
                <a:lnTo>
                  <a:pt x="650" y="1473"/>
                </a:lnTo>
                <a:lnTo>
                  <a:pt x="647" y="1471"/>
                </a:lnTo>
                <a:lnTo>
                  <a:pt x="643" y="1471"/>
                </a:lnTo>
                <a:lnTo>
                  <a:pt x="640" y="1474"/>
                </a:lnTo>
                <a:lnTo>
                  <a:pt x="637" y="1476"/>
                </a:lnTo>
                <a:lnTo>
                  <a:pt x="632" y="1480"/>
                </a:lnTo>
                <a:lnTo>
                  <a:pt x="626" y="1483"/>
                </a:lnTo>
                <a:lnTo>
                  <a:pt x="620" y="1483"/>
                </a:lnTo>
                <a:lnTo>
                  <a:pt x="615" y="1485"/>
                </a:lnTo>
                <a:lnTo>
                  <a:pt x="612" y="1488"/>
                </a:lnTo>
                <a:lnTo>
                  <a:pt x="608" y="1490"/>
                </a:lnTo>
                <a:lnTo>
                  <a:pt x="605" y="1495"/>
                </a:lnTo>
                <a:lnTo>
                  <a:pt x="602" y="1498"/>
                </a:lnTo>
                <a:lnTo>
                  <a:pt x="601" y="1504"/>
                </a:lnTo>
                <a:lnTo>
                  <a:pt x="600" y="1509"/>
                </a:lnTo>
                <a:lnTo>
                  <a:pt x="600" y="1510"/>
                </a:lnTo>
                <a:lnTo>
                  <a:pt x="600" y="1510"/>
                </a:lnTo>
                <a:lnTo>
                  <a:pt x="605" y="1512"/>
                </a:lnTo>
                <a:lnTo>
                  <a:pt x="609" y="1513"/>
                </a:lnTo>
                <a:lnTo>
                  <a:pt x="605" y="1512"/>
                </a:lnTo>
                <a:lnTo>
                  <a:pt x="600" y="1510"/>
                </a:lnTo>
                <a:lnTo>
                  <a:pt x="599" y="1511"/>
                </a:lnTo>
                <a:lnTo>
                  <a:pt x="599" y="1511"/>
                </a:lnTo>
                <a:lnTo>
                  <a:pt x="598" y="1511"/>
                </a:lnTo>
                <a:lnTo>
                  <a:pt x="599" y="1512"/>
                </a:lnTo>
                <a:lnTo>
                  <a:pt x="599" y="1516"/>
                </a:lnTo>
                <a:lnTo>
                  <a:pt x="600" y="1518"/>
                </a:lnTo>
                <a:lnTo>
                  <a:pt x="595" y="1520"/>
                </a:lnTo>
                <a:lnTo>
                  <a:pt x="591" y="1522"/>
                </a:lnTo>
                <a:lnTo>
                  <a:pt x="588" y="1523"/>
                </a:lnTo>
                <a:lnTo>
                  <a:pt x="587" y="1525"/>
                </a:lnTo>
                <a:lnTo>
                  <a:pt x="587" y="1527"/>
                </a:lnTo>
                <a:lnTo>
                  <a:pt x="588" y="1527"/>
                </a:lnTo>
                <a:lnTo>
                  <a:pt x="595" y="1529"/>
                </a:lnTo>
                <a:lnTo>
                  <a:pt x="602" y="1531"/>
                </a:lnTo>
                <a:lnTo>
                  <a:pt x="609" y="1532"/>
                </a:lnTo>
                <a:lnTo>
                  <a:pt x="616" y="1531"/>
                </a:lnTo>
                <a:lnTo>
                  <a:pt x="618" y="1531"/>
                </a:lnTo>
                <a:lnTo>
                  <a:pt x="619" y="1532"/>
                </a:lnTo>
                <a:lnTo>
                  <a:pt x="628" y="1533"/>
                </a:lnTo>
                <a:lnTo>
                  <a:pt x="636" y="1534"/>
                </a:lnTo>
                <a:lnTo>
                  <a:pt x="644" y="1533"/>
                </a:lnTo>
                <a:lnTo>
                  <a:pt x="653" y="1532"/>
                </a:lnTo>
                <a:lnTo>
                  <a:pt x="655" y="1532"/>
                </a:lnTo>
                <a:lnTo>
                  <a:pt x="656" y="1532"/>
                </a:lnTo>
                <a:lnTo>
                  <a:pt x="662" y="1533"/>
                </a:lnTo>
                <a:lnTo>
                  <a:pt x="668" y="1533"/>
                </a:lnTo>
                <a:lnTo>
                  <a:pt x="674" y="1532"/>
                </a:lnTo>
                <a:lnTo>
                  <a:pt x="680" y="1531"/>
                </a:lnTo>
                <a:lnTo>
                  <a:pt x="681" y="1531"/>
                </a:lnTo>
                <a:lnTo>
                  <a:pt x="682" y="1531"/>
                </a:lnTo>
                <a:lnTo>
                  <a:pt x="684" y="1532"/>
                </a:lnTo>
                <a:lnTo>
                  <a:pt x="685" y="1534"/>
                </a:lnTo>
                <a:lnTo>
                  <a:pt x="687" y="1534"/>
                </a:lnTo>
                <a:lnTo>
                  <a:pt x="689" y="1534"/>
                </a:lnTo>
                <a:lnTo>
                  <a:pt x="691" y="1532"/>
                </a:lnTo>
                <a:lnTo>
                  <a:pt x="695" y="1531"/>
                </a:lnTo>
                <a:lnTo>
                  <a:pt x="704" y="1530"/>
                </a:lnTo>
                <a:lnTo>
                  <a:pt x="715" y="1529"/>
                </a:lnTo>
                <a:lnTo>
                  <a:pt x="724" y="1527"/>
                </a:lnTo>
                <a:lnTo>
                  <a:pt x="733" y="1524"/>
                </a:lnTo>
                <a:lnTo>
                  <a:pt x="747" y="1519"/>
                </a:lnTo>
                <a:lnTo>
                  <a:pt x="761" y="1515"/>
                </a:lnTo>
                <a:lnTo>
                  <a:pt x="775" y="1511"/>
                </a:lnTo>
                <a:lnTo>
                  <a:pt x="791" y="1506"/>
                </a:lnTo>
                <a:lnTo>
                  <a:pt x="802" y="1504"/>
                </a:lnTo>
                <a:lnTo>
                  <a:pt x="813" y="1502"/>
                </a:lnTo>
                <a:lnTo>
                  <a:pt x="816" y="1499"/>
                </a:lnTo>
                <a:lnTo>
                  <a:pt x="818" y="1497"/>
                </a:lnTo>
                <a:lnTo>
                  <a:pt x="818" y="1495"/>
                </a:lnTo>
                <a:lnTo>
                  <a:pt x="816" y="1494"/>
                </a:lnTo>
                <a:lnTo>
                  <a:pt x="814" y="1494"/>
                </a:lnTo>
                <a:lnTo>
                  <a:pt x="813" y="1494"/>
                </a:lnTo>
                <a:lnTo>
                  <a:pt x="799" y="1490"/>
                </a:lnTo>
                <a:lnTo>
                  <a:pt x="785" y="1488"/>
                </a:lnTo>
                <a:lnTo>
                  <a:pt x="781" y="1489"/>
                </a:lnTo>
                <a:lnTo>
                  <a:pt x="778" y="1489"/>
                </a:lnTo>
                <a:lnTo>
                  <a:pt x="774" y="1488"/>
                </a:lnTo>
                <a:lnTo>
                  <a:pt x="772" y="1487"/>
                </a:lnTo>
                <a:lnTo>
                  <a:pt x="787" y="1483"/>
                </a:lnTo>
                <a:lnTo>
                  <a:pt x="804" y="1478"/>
                </a:lnTo>
                <a:lnTo>
                  <a:pt x="819" y="1473"/>
                </a:lnTo>
                <a:lnTo>
                  <a:pt x="833" y="1464"/>
                </a:lnTo>
                <a:lnTo>
                  <a:pt x="835" y="1463"/>
                </a:lnTo>
                <a:lnTo>
                  <a:pt x="837" y="1461"/>
                </a:lnTo>
                <a:lnTo>
                  <a:pt x="839" y="1459"/>
                </a:lnTo>
                <a:lnTo>
                  <a:pt x="839" y="1455"/>
                </a:lnTo>
                <a:lnTo>
                  <a:pt x="837" y="1450"/>
                </a:lnTo>
                <a:lnTo>
                  <a:pt x="835" y="1447"/>
                </a:lnTo>
                <a:lnTo>
                  <a:pt x="832" y="1446"/>
                </a:lnTo>
                <a:lnTo>
                  <a:pt x="827" y="1445"/>
                </a:lnTo>
                <a:lnTo>
                  <a:pt x="819" y="1443"/>
                </a:lnTo>
                <a:lnTo>
                  <a:pt x="812" y="1442"/>
                </a:lnTo>
                <a:lnTo>
                  <a:pt x="807" y="1442"/>
                </a:lnTo>
                <a:lnTo>
                  <a:pt x="804" y="1440"/>
                </a:lnTo>
                <a:lnTo>
                  <a:pt x="800" y="1439"/>
                </a:lnTo>
                <a:lnTo>
                  <a:pt x="796" y="1435"/>
                </a:lnTo>
                <a:lnTo>
                  <a:pt x="795" y="1434"/>
                </a:lnTo>
                <a:lnTo>
                  <a:pt x="793" y="1434"/>
                </a:lnTo>
                <a:lnTo>
                  <a:pt x="791" y="1435"/>
                </a:lnTo>
                <a:lnTo>
                  <a:pt x="789" y="1436"/>
                </a:lnTo>
                <a:lnTo>
                  <a:pt x="782" y="1446"/>
                </a:lnTo>
                <a:lnTo>
                  <a:pt x="774" y="1454"/>
                </a:lnTo>
                <a:lnTo>
                  <a:pt x="767" y="1469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85"/>
                </a:lnTo>
                <a:lnTo>
                  <a:pt x="760" y="1490"/>
                </a:lnTo>
                <a:lnTo>
                  <a:pt x="759" y="1491"/>
                </a:lnTo>
                <a:lnTo>
                  <a:pt x="757" y="1491"/>
                </a:lnTo>
                <a:lnTo>
                  <a:pt x="754" y="1491"/>
                </a:lnTo>
                <a:lnTo>
                  <a:pt x="749" y="1490"/>
                </a:lnTo>
                <a:lnTo>
                  <a:pt x="742" y="1488"/>
                </a:lnTo>
                <a:lnTo>
                  <a:pt x="746" y="1485"/>
                </a:lnTo>
                <a:lnTo>
                  <a:pt x="749" y="1483"/>
                </a:lnTo>
                <a:lnTo>
                  <a:pt x="750" y="1481"/>
                </a:lnTo>
                <a:lnTo>
                  <a:pt x="751" y="1477"/>
                </a:lnTo>
                <a:lnTo>
                  <a:pt x="745" y="1480"/>
                </a:lnTo>
                <a:lnTo>
                  <a:pt x="739" y="1482"/>
                </a:lnTo>
                <a:lnTo>
                  <a:pt x="737" y="1483"/>
                </a:lnTo>
                <a:lnTo>
                  <a:pt x="735" y="1482"/>
                </a:lnTo>
                <a:lnTo>
                  <a:pt x="735" y="1480"/>
                </a:lnTo>
                <a:lnTo>
                  <a:pt x="736" y="1477"/>
                </a:lnTo>
                <a:lnTo>
                  <a:pt x="739" y="1471"/>
                </a:lnTo>
                <a:lnTo>
                  <a:pt x="739" y="1464"/>
                </a:lnTo>
                <a:lnTo>
                  <a:pt x="745" y="1463"/>
                </a:lnTo>
                <a:lnTo>
                  <a:pt x="750" y="1462"/>
                </a:lnTo>
                <a:lnTo>
                  <a:pt x="753" y="1461"/>
                </a:lnTo>
                <a:lnTo>
                  <a:pt x="757" y="1459"/>
                </a:lnTo>
                <a:lnTo>
                  <a:pt x="759" y="1456"/>
                </a:lnTo>
                <a:lnTo>
                  <a:pt x="760" y="1452"/>
                </a:lnTo>
                <a:lnTo>
                  <a:pt x="764" y="1453"/>
                </a:lnTo>
                <a:lnTo>
                  <a:pt x="768" y="1454"/>
                </a:lnTo>
                <a:lnTo>
                  <a:pt x="770" y="1454"/>
                </a:lnTo>
                <a:lnTo>
                  <a:pt x="771" y="1453"/>
                </a:lnTo>
                <a:lnTo>
                  <a:pt x="771" y="1449"/>
                </a:lnTo>
                <a:lnTo>
                  <a:pt x="771" y="1446"/>
                </a:lnTo>
                <a:lnTo>
                  <a:pt x="773" y="1445"/>
                </a:lnTo>
                <a:lnTo>
                  <a:pt x="774" y="1443"/>
                </a:lnTo>
                <a:lnTo>
                  <a:pt x="775" y="1441"/>
                </a:lnTo>
                <a:lnTo>
                  <a:pt x="775" y="1440"/>
                </a:lnTo>
                <a:lnTo>
                  <a:pt x="773" y="1436"/>
                </a:lnTo>
                <a:lnTo>
                  <a:pt x="771" y="1434"/>
                </a:lnTo>
                <a:lnTo>
                  <a:pt x="770" y="1432"/>
                </a:lnTo>
                <a:lnTo>
                  <a:pt x="771" y="1431"/>
                </a:lnTo>
                <a:lnTo>
                  <a:pt x="775" y="1419"/>
                </a:lnTo>
                <a:lnTo>
                  <a:pt x="780" y="1408"/>
                </a:lnTo>
                <a:lnTo>
                  <a:pt x="782" y="1404"/>
                </a:lnTo>
                <a:lnTo>
                  <a:pt x="782" y="1399"/>
                </a:lnTo>
                <a:lnTo>
                  <a:pt x="782" y="1393"/>
                </a:lnTo>
                <a:lnTo>
                  <a:pt x="782" y="1389"/>
                </a:lnTo>
                <a:lnTo>
                  <a:pt x="789" y="1393"/>
                </a:lnTo>
                <a:lnTo>
                  <a:pt x="795" y="1398"/>
                </a:lnTo>
                <a:lnTo>
                  <a:pt x="798" y="1401"/>
                </a:lnTo>
                <a:lnTo>
                  <a:pt x="799" y="1405"/>
                </a:lnTo>
                <a:lnTo>
                  <a:pt x="800" y="1408"/>
                </a:lnTo>
                <a:lnTo>
                  <a:pt x="800" y="1413"/>
                </a:lnTo>
                <a:lnTo>
                  <a:pt x="801" y="1417"/>
                </a:lnTo>
                <a:lnTo>
                  <a:pt x="805" y="1419"/>
                </a:lnTo>
                <a:lnTo>
                  <a:pt x="808" y="1419"/>
                </a:lnTo>
                <a:lnTo>
                  <a:pt x="812" y="1418"/>
                </a:lnTo>
                <a:lnTo>
                  <a:pt x="816" y="1421"/>
                </a:lnTo>
                <a:lnTo>
                  <a:pt x="822" y="1424"/>
                </a:lnTo>
                <a:lnTo>
                  <a:pt x="822" y="1426"/>
                </a:lnTo>
                <a:lnTo>
                  <a:pt x="823" y="1428"/>
                </a:lnTo>
                <a:lnTo>
                  <a:pt x="825" y="1429"/>
                </a:lnTo>
                <a:lnTo>
                  <a:pt x="826" y="1429"/>
                </a:lnTo>
                <a:lnTo>
                  <a:pt x="829" y="1431"/>
                </a:lnTo>
                <a:lnTo>
                  <a:pt x="833" y="1431"/>
                </a:lnTo>
                <a:lnTo>
                  <a:pt x="869" y="1431"/>
                </a:lnTo>
                <a:lnTo>
                  <a:pt x="906" y="1429"/>
                </a:lnTo>
                <a:lnTo>
                  <a:pt x="943" y="1427"/>
                </a:lnTo>
                <a:lnTo>
                  <a:pt x="980" y="1424"/>
                </a:lnTo>
                <a:lnTo>
                  <a:pt x="984" y="1422"/>
                </a:lnTo>
                <a:lnTo>
                  <a:pt x="988" y="1420"/>
                </a:lnTo>
                <a:lnTo>
                  <a:pt x="988" y="1419"/>
                </a:lnTo>
                <a:lnTo>
                  <a:pt x="989" y="1418"/>
                </a:lnTo>
                <a:lnTo>
                  <a:pt x="988" y="1419"/>
                </a:lnTo>
                <a:lnTo>
                  <a:pt x="988" y="1420"/>
                </a:lnTo>
                <a:lnTo>
                  <a:pt x="992" y="1418"/>
                </a:lnTo>
                <a:lnTo>
                  <a:pt x="995" y="1415"/>
                </a:lnTo>
                <a:lnTo>
                  <a:pt x="998" y="1412"/>
                </a:lnTo>
                <a:lnTo>
                  <a:pt x="1000" y="1408"/>
                </a:lnTo>
                <a:lnTo>
                  <a:pt x="1001" y="1406"/>
                </a:lnTo>
                <a:lnTo>
                  <a:pt x="1001" y="1405"/>
                </a:lnTo>
                <a:lnTo>
                  <a:pt x="1000" y="1404"/>
                </a:lnTo>
                <a:lnTo>
                  <a:pt x="998" y="1404"/>
                </a:lnTo>
                <a:lnTo>
                  <a:pt x="994" y="1405"/>
                </a:lnTo>
                <a:lnTo>
                  <a:pt x="991" y="1404"/>
                </a:lnTo>
                <a:lnTo>
                  <a:pt x="994" y="1400"/>
                </a:lnTo>
                <a:lnTo>
                  <a:pt x="998" y="1397"/>
                </a:lnTo>
                <a:lnTo>
                  <a:pt x="1000" y="1393"/>
                </a:lnTo>
                <a:lnTo>
                  <a:pt x="1000" y="1391"/>
                </a:lnTo>
                <a:lnTo>
                  <a:pt x="1000" y="1387"/>
                </a:lnTo>
                <a:lnTo>
                  <a:pt x="999" y="1384"/>
                </a:lnTo>
                <a:lnTo>
                  <a:pt x="996" y="1380"/>
                </a:lnTo>
                <a:lnTo>
                  <a:pt x="993" y="1377"/>
                </a:lnTo>
                <a:lnTo>
                  <a:pt x="992" y="1377"/>
                </a:lnTo>
                <a:lnTo>
                  <a:pt x="992" y="1376"/>
                </a:lnTo>
                <a:lnTo>
                  <a:pt x="992" y="1375"/>
                </a:lnTo>
                <a:lnTo>
                  <a:pt x="993" y="1373"/>
                </a:lnTo>
                <a:lnTo>
                  <a:pt x="994" y="1370"/>
                </a:lnTo>
                <a:lnTo>
                  <a:pt x="995" y="1365"/>
                </a:lnTo>
                <a:lnTo>
                  <a:pt x="995" y="1361"/>
                </a:lnTo>
                <a:lnTo>
                  <a:pt x="994" y="1359"/>
                </a:lnTo>
                <a:lnTo>
                  <a:pt x="984" y="1351"/>
                </a:lnTo>
                <a:lnTo>
                  <a:pt x="973" y="1343"/>
                </a:lnTo>
                <a:lnTo>
                  <a:pt x="972" y="1343"/>
                </a:lnTo>
                <a:lnTo>
                  <a:pt x="971" y="1344"/>
                </a:lnTo>
                <a:lnTo>
                  <a:pt x="970" y="1345"/>
                </a:lnTo>
                <a:lnTo>
                  <a:pt x="968" y="1347"/>
                </a:lnTo>
                <a:lnTo>
                  <a:pt x="965" y="1349"/>
                </a:lnTo>
                <a:lnTo>
                  <a:pt x="960" y="1351"/>
                </a:lnTo>
                <a:lnTo>
                  <a:pt x="959" y="1348"/>
                </a:lnTo>
                <a:lnTo>
                  <a:pt x="959" y="1343"/>
                </a:lnTo>
                <a:lnTo>
                  <a:pt x="958" y="1338"/>
                </a:lnTo>
                <a:lnTo>
                  <a:pt x="958" y="1334"/>
                </a:lnTo>
                <a:lnTo>
                  <a:pt x="956" y="1330"/>
                </a:lnTo>
                <a:lnTo>
                  <a:pt x="954" y="1327"/>
                </a:lnTo>
                <a:lnTo>
                  <a:pt x="952" y="1324"/>
                </a:lnTo>
                <a:lnTo>
                  <a:pt x="949" y="1322"/>
                </a:lnTo>
                <a:lnTo>
                  <a:pt x="944" y="1320"/>
                </a:lnTo>
                <a:lnTo>
                  <a:pt x="939" y="1319"/>
                </a:lnTo>
                <a:lnTo>
                  <a:pt x="938" y="1317"/>
                </a:lnTo>
                <a:lnTo>
                  <a:pt x="939" y="1316"/>
                </a:lnTo>
                <a:lnTo>
                  <a:pt x="941" y="1316"/>
                </a:lnTo>
                <a:lnTo>
                  <a:pt x="945" y="1316"/>
                </a:lnTo>
                <a:lnTo>
                  <a:pt x="950" y="1319"/>
                </a:lnTo>
                <a:lnTo>
                  <a:pt x="954" y="1319"/>
                </a:lnTo>
                <a:lnTo>
                  <a:pt x="959" y="1317"/>
                </a:lnTo>
                <a:lnTo>
                  <a:pt x="964" y="1314"/>
                </a:lnTo>
                <a:lnTo>
                  <a:pt x="966" y="1312"/>
                </a:lnTo>
                <a:lnTo>
                  <a:pt x="968" y="1309"/>
                </a:lnTo>
                <a:lnTo>
                  <a:pt x="971" y="1307"/>
                </a:lnTo>
                <a:lnTo>
                  <a:pt x="972" y="1303"/>
                </a:lnTo>
                <a:lnTo>
                  <a:pt x="974" y="1308"/>
                </a:lnTo>
                <a:lnTo>
                  <a:pt x="975" y="1312"/>
                </a:lnTo>
                <a:lnTo>
                  <a:pt x="974" y="1316"/>
                </a:lnTo>
                <a:lnTo>
                  <a:pt x="974" y="1321"/>
                </a:lnTo>
                <a:lnTo>
                  <a:pt x="974" y="1323"/>
                </a:lnTo>
                <a:lnTo>
                  <a:pt x="977" y="1326"/>
                </a:lnTo>
                <a:lnTo>
                  <a:pt x="979" y="1324"/>
                </a:lnTo>
                <a:lnTo>
                  <a:pt x="979" y="1322"/>
                </a:lnTo>
                <a:lnTo>
                  <a:pt x="979" y="1314"/>
                </a:lnTo>
                <a:lnTo>
                  <a:pt x="979" y="1306"/>
                </a:lnTo>
                <a:lnTo>
                  <a:pt x="979" y="1303"/>
                </a:lnTo>
                <a:lnTo>
                  <a:pt x="978" y="1301"/>
                </a:lnTo>
                <a:lnTo>
                  <a:pt x="977" y="1300"/>
                </a:lnTo>
                <a:lnTo>
                  <a:pt x="974" y="1300"/>
                </a:lnTo>
                <a:lnTo>
                  <a:pt x="973" y="1298"/>
                </a:lnTo>
                <a:lnTo>
                  <a:pt x="971" y="1296"/>
                </a:lnTo>
                <a:lnTo>
                  <a:pt x="970" y="1295"/>
                </a:lnTo>
                <a:lnTo>
                  <a:pt x="967" y="1296"/>
                </a:lnTo>
                <a:lnTo>
                  <a:pt x="964" y="1298"/>
                </a:lnTo>
                <a:lnTo>
                  <a:pt x="964" y="1300"/>
                </a:lnTo>
                <a:lnTo>
                  <a:pt x="964" y="1302"/>
                </a:lnTo>
                <a:lnTo>
                  <a:pt x="964" y="1306"/>
                </a:lnTo>
                <a:lnTo>
                  <a:pt x="963" y="1306"/>
                </a:lnTo>
                <a:lnTo>
                  <a:pt x="963" y="1307"/>
                </a:lnTo>
                <a:lnTo>
                  <a:pt x="963" y="1307"/>
                </a:lnTo>
                <a:lnTo>
                  <a:pt x="961" y="1307"/>
                </a:lnTo>
                <a:lnTo>
                  <a:pt x="959" y="1306"/>
                </a:lnTo>
                <a:lnTo>
                  <a:pt x="958" y="1303"/>
                </a:lnTo>
                <a:lnTo>
                  <a:pt x="954" y="1291"/>
                </a:lnTo>
                <a:lnTo>
                  <a:pt x="949" y="1278"/>
                </a:lnTo>
                <a:lnTo>
                  <a:pt x="946" y="1272"/>
                </a:lnTo>
                <a:lnTo>
                  <a:pt x="945" y="1267"/>
                </a:lnTo>
                <a:lnTo>
                  <a:pt x="944" y="1261"/>
                </a:lnTo>
                <a:lnTo>
                  <a:pt x="945" y="1258"/>
                </a:lnTo>
                <a:lnTo>
                  <a:pt x="947" y="1252"/>
                </a:lnTo>
                <a:lnTo>
                  <a:pt x="947" y="1246"/>
                </a:lnTo>
                <a:lnTo>
                  <a:pt x="946" y="1242"/>
                </a:lnTo>
                <a:lnTo>
                  <a:pt x="945" y="1237"/>
                </a:lnTo>
                <a:lnTo>
                  <a:pt x="941" y="1223"/>
                </a:lnTo>
                <a:lnTo>
                  <a:pt x="938" y="1209"/>
                </a:lnTo>
                <a:lnTo>
                  <a:pt x="934" y="1195"/>
                </a:lnTo>
                <a:lnTo>
                  <a:pt x="931" y="1181"/>
                </a:lnTo>
                <a:lnTo>
                  <a:pt x="929" y="1168"/>
                </a:lnTo>
                <a:lnTo>
                  <a:pt x="925" y="1155"/>
                </a:lnTo>
                <a:lnTo>
                  <a:pt x="922" y="1140"/>
                </a:lnTo>
                <a:lnTo>
                  <a:pt x="918" y="1124"/>
                </a:lnTo>
                <a:lnTo>
                  <a:pt x="916" y="1110"/>
                </a:lnTo>
                <a:lnTo>
                  <a:pt x="916" y="1097"/>
                </a:lnTo>
                <a:lnTo>
                  <a:pt x="916" y="1084"/>
                </a:lnTo>
                <a:lnTo>
                  <a:pt x="916" y="1070"/>
                </a:lnTo>
                <a:lnTo>
                  <a:pt x="916" y="1065"/>
                </a:lnTo>
                <a:lnTo>
                  <a:pt x="915" y="1061"/>
                </a:lnTo>
                <a:lnTo>
                  <a:pt x="910" y="1043"/>
                </a:lnTo>
                <a:lnTo>
                  <a:pt x="905" y="1026"/>
                </a:lnTo>
                <a:lnTo>
                  <a:pt x="903" y="1020"/>
                </a:lnTo>
                <a:lnTo>
                  <a:pt x="902" y="1013"/>
                </a:lnTo>
                <a:lnTo>
                  <a:pt x="899" y="1006"/>
                </a:lnTo>
                <a:lnTo>
                  <a:pt x="896" y="1000"/>
                </a:lnTo>
                <a:lnTo>
                  <a:pt x="894" y="1005"/>
                </a:lnTo>
                <a:lnTo>
                  <a:pt x="892" y="1009"/>
                </a:lnTo>
                <a:lnTo>
                  <a:pt x="894" y="1005"/>
                </a:lnTo>
                <a:lnTo>
                  <a:pt x="896" y="1000"/>
                </a:lnTo>
                <a:lnTo>
                  <a:pt x="896" y="996"/>
                </a:lnTo>
                <a:lnTo>
                  <a:pt x="896" y="993"/>
                </a:lnTo>
                <a:lnTo>
                  <a:pt x="895" y="991"/>
                </a:lnTo>
                <a:lnTo>
                  <a:pt x="892" y="987"/>
                </a:lnTo>
                <a:lnTo>
                  <a:pt x="891" y="984"/>
                </a:lnTo>
                <a:lnTo>
                  <a:pt x="890" y="979"/>
                </a:lnTo>
                <a:lnTo>
                  <a:pt x="889" y="980"/>
                </a:lnTo>
                <a:lnTo>
                  <a:pt x="888" y="981"/>
                </a:lnTo>
                <a:lnTo>
                  <a:pt x="887" y="986"/>
                </a:lnTo>
                <a:lnTo>
                  <a:pt x="885" y="991"/>
                </a:lnTo>
                <a:lnTo>
                  <a:pt x="887" y="986"/>
                </a:lnTo>
                <a:lnTo>
                  <a:pt x="888" y="981"/>
                </a:lnTo>
                <a:lnTo>
                  <a:pt x="889" y="980"/>
                </a:lnTo>
                <a:lnTo>
                  <a:pt x="890" y="979"/>
                </a:lnTo>
                <a:lnTo>
                  <a:pt x="894" y="974"/>
                </a:lnTo>
                <a:lnTo>
                  <a:pt x="897" y="970"/>
                </a:lnTo>
                <a:lnTo>
                  <a:pt x="902" y="966"/>
                </a:lnTo>
                <a:lnTo>
                  <a:pt x="908" y="963"/>
                </a:lnTo>
                <a:lnTo>
                  <a:pt x="926" y="977"/>
                </a:lnTo>
                <a:lnTo>
                  <a:pt x="945" y="989"/>
                </a:lnTo>
                <a:lnTo>
                  <a:pt x="964" y="1002"/>
                </a:lnTo>
                <a:lnTo>
                  <a:pt x="981" y="1016"/>
                </a:lnTo>
                <a:lnTo>
                  <a:pt x="995" y="1027"/>
                </a:lnTo>
                <a:lnTo>
                  <a:pt x="1010" y="1037"/>
                </a:lnTo>
                <a:lnTo>
                  <a:pt x="1014" y="1040"/>
                </a:lnTo>
                <a:lnTo>
                  <a:pt x="1016" y="1040"/>
                </a:lnTo>
                <a:lnTo>
                  <a:pt x="1020" y="1038"/>
                </a:lnTo>
                <a:lnTo>
                  <a:pt x="1023" y="1036"/>
                </a:lnTo>
                <a:lnTo>
                  <a:pt x="1032" y="1028"/>
                </a:lnTo>
                <a:lnTo>
                  <a:pt x="1040" y="1021"/>
                </a:lnTo>
                <a:lnTo>
                  <a:pt x="1060" y="1005"/>
                </a:lnTo>
                <a:lnTo>
                  <a:pt x="1077" y="988"/>
                </a:lnTo>
                <a:lnTo>
                  <a:pt x="1096" y="972"/>
                </a:lnTo>
                <a:lnTo>
                  <a:pt x="1113" y="954"/>
                </a:lnTo>
                <a:lnTo>
                  <a:pt x="1122" y="944"/>
                </a:lnTo>
                <a:lnTo>
                  <a:pt x="1131" y="935"/>
                </a:lnTo>
                <a:lnTo>
                  <a:pt x="1139" y="925"/>
                </a:lnTo>
                <a:lnTo>
                  <a:pt x="1147" y="915"/>
                </a:lnTo>
                <a:lnTo>
                  <a:pt x="1148" y="912"/>
                </a:lnTo>
                <a:lnTo>
                  <a:pt x="1151" y="910"/>
                </a:lnTo>
                <a:lnTo>
                  <a:pt x="1152" y="910"/>
                </a:lnTo>
                <a:lnTo>
                  <a:pt x="1153" y="910"/>
                </a:lnTo>
                <a:lnTo>
                  <a:pt x="1154" y="911"/>
                </a:lnTo>
                <a:lnTo>
                  <a:pt x="1155" y="912"/>
                </a:lnTo>
                <a:lnTo>
                  <a:pt x="1157" y="916"/>
                </a:lnTo>
                <a:lnTo>
                  <a:pt x="1158" y="918"/>
                </a:lnTo>
                <a:lnTo>
                  <a:pt x="1164" y="933"/>
                </a:lnTo>
                <a:lnTo>
                  <a:pt x="1171" y="949"/>
                </a:lnTo>
                <a:lnTo>
                  <a:pt x="1178" y="964"/>
                </a:lnTo>
                <a:lnTo>
                  <a:pt x="1185" y="979"/>
                </a:lnTo>
                <a:lnTo>
                  <a:pt x="1184" y="985"/>
                </a:lnTo>
                <a:lnTo>
                  <a:pt x="1184" y="989"/>
                </a:lnTo>
                <a:lnTo>
                  <a:pt x="1184" y="1000"/>
                </a:lnTo>
                <a:lnTo>
                  <a:pt x="1184" y="1010"/>
                </a:lnTo>
                <a:lnTo>
                  <a:pt x="1184" y="1020"/>
                </a:lnTo>
                <a:lnTo>
                  <a:pt x="1185" y="1028"/>
                </a:lnTo>
                <a:lnTo>
                  <a:pt x="1186" y="1031"/>
                </a:lnTo>
                <a:lnTo>
                  <a:pt x="1186" y="1035"/>
                </a:lnTo>
                <a:lnTo>
                  <a:pt x="1184" y="1041"/>
                </a:lnTo>
                <a:lnTo>
                  <a:pt x="1184" y="1047"/>
                </a:lnTo>
                <a:lnTo>
                  <a:pt x="1184" y="1052"/>
                </a:lnTo>
                <a:lnTo>
                  <a:pt x="1184" y="1058"/>
                </a:lnTo>
                <a:lnTo>
                  <a:pt x="1184" y="1062"/>
                </a:lnTo>
                <a:lnTo>
                  <a:pt x="1185" y="1065"/>
                </a:lnTo>
                <a:lnTo>
                  <a:pt x="1187" y="1066"/>
                </a:lnTo>
                <a:lnTo>
                  <a:pt x="1191" y="1068"/>
                </a:lnTo>
                <a:lnTo>
                  <a:pt x="1200" y="1069"/>
                </a:lnTo>
                <a:lnTo>
                  <a:pt x="1208" y="1070"/>
                </a:lnTo>
                <a:lnTo>
                  <a:pt x="1217" y="1070"/>
                </a:lnTo>
                <a:lnTo>
                  <a:pt x="1227" y="1069"/>
                </a:lnTo>
                <a:lnTo>
                  <a:pt x="1244" y="1065"/>
                </a:lnTo>
                <a:lnTo>
                  <a:pt x="1261" y="1061"/>
                </a:lnTo>
                <a:lnTo>
                  <a:pt x="1277" y="1057"/>
                </a:lnTo>
                <a:lnTo>
                  <a:pt x="1295" y="1051"/>
                </a:lnTo>
                <a:lnTo>
                  <a:pt x="1297" y="1051"/>
                </a:lnTo>
                <a:lnTo>
                  <a:pt x="1299" y="1052"/>
                </a:lnTo>
                <a:lnTo>
                  <a:pt x="1300" y="1054"/>
                </a:lnTo>
                <a:lnTo>
                  <a:pt x="1303" y="1056"/>
                </a:lnTo>
                <a:lnTo>
                  <a:pt x="1311" y="1066"/>
                </a:lnTo>
                <a:lnTo>
                  <a:pt x="1319" y="1076"/>
                </a:lnTo>
                <a:lnTo>
                  <a:pt x="1329" y="1086"/>
                </a:lnTo>
                <a:lnTo>
                  <a:pt x="1339" y="1094"/>
                </a:lnTo>
                <a:lnTo>
                  <a:pt x="1339" y="1094"/>
                </a:lnTo>
                <a:lnTo>
                  <a:pt x="1348" y="1104"/>
                </a:lnTo>
                <a:lnTo>
                  <a:pt x="1358" y="1112"/>
                </a:lnTo>
                <a:lnTo>
                  <a:pt x="1367" y="1121"/>
                </a:lnTo>
                <a:lnTo>
                  <a:pt x="1376" y="1130"/>
                </a:lnTo>
                <a:lnTo>
                  <a:pt x="1378" y="1131"/>
                </a:lnTo>
                <a:lnTo>
                  <a:pt x="1378" y="1131"/>
                </a:lnTo>
                <a:lnTo>
                  <a:pt x="1387" y="1146"/>
                </a:lnTo>
                <a:lnTo>
                  <a:pt x="1396" y="1160"/>
                </a:lnTo>
                <a:lnTo>
                  <a:pt x="1410" y="1179"/>
                </a:lnTo>
                <a:lnTo>
                  <a:pt x="1427" y="1195"/>
                </a:lnTo>
                <a:lnTo>
                  <a:pt x="1443" y="1212"/>
                </a:lnTo>
                <a:lnTo>
                  <a:pt x="1458" y="1230"/>
                </a:lnTo>
                <a:lnTo>
                  <a:pt x="1460" y="1231"/>
                </a:lnTo>
                <a:lnTo>
                  <a:pt x="1462" y="1231"/>
                </a:lnTo>
                <a:lnTo>
                  <a:pt x="1463" y="1236"/>
                </a:lnTo>
                <a:lnTo>
                  <a:pt x="1467" y="1239"/>
                </a:lnTo>
                <a:lnTo>
                  <a:pt x="1481" y="1254"/>
                </a:lnTo>
                <a:lnTo>
                  <a:pt x="1496" y="1268"/>
                </a:lnTo>
                <a:lnTo>
                  <a:pt x="1509" y="1282"/>
                </a:lnTo>
                <a:lnTo>
                  <a:pt x="1521" y="1295"/>
                </a:lnTo>
                <a:lnTo>
                  <a:pt x="1534" y="1309"/>
                </a:lnTo>
                <a:lnTo>
                  <a:pt x="1544" y="1324"/>
                </a:lnTo>
                <a:lnTo>
                  <a:pt x="1546" y="1330"/>
                </a:lnTo>
                <a:lnTo>
                  <a:pt x="1550" y="1338"/>
                </a:lnTo>
                <a:lnTo>
                  <a:pt x="1554" y="1345"/>
                </a:lnTo>
                <a:lnTo>
                  <a:pt x="1559" y="1350"/>
                </a:lnTo>
                <a:lnTo>
                  <a:pt x="1559" y="1351"/>
                </a:lnTo>
                <a:lnTo>
                  <a:pt x="1559" y="1352"/>
                </a:lnTo>
                <a:lnTo>
                  <a:pt x="1559" y="1361"/>
                </a:lnTo>
                <a:lnTo>
                  <a:pt x="1561" y="1368"/>
                </a:lnTo>
                <a:lnTo>
                  <a:pt x="1558" y="1369"/>
                </a:lnTo>
                <a:lnTo>
                  <a:pt x="1557" y="1371"/>
                </a:lnTo>
                <a:lnTo>
                  <a:pt x="1557" y="1372"/>
                </a:lnTo>
                <a:lnTo>
                  <a:pt x="1558" y="1373"/>
                </a:lnTo>
                <a:lnTo>
                  <a:pt x="1560" y="1377"/>
                </a:lnTo>
                <a:lnTo>
                  <a:pt x="1561" y="1380"/>
                </a:lnTo>
                <a:lnTo>
                  <a:pt x="1561" y="1384"/>
                </a:lnTo>
                <a:lnTo>
                  <a:pt x="1562" y="1386"/>
                </a:lnTo>
                <a:lnTo>
                  <a:pt x="1565" y="1391"/>
                </a:lnTo>
                <a:lnTo>
                  <a:pt x="1566" y="1393"/>
                </a:lnTo>
                <a:lnTo>
                  <a:pt x="1565" y="1397"/>
                </a:lnTo>
                <a:lnTo>
                  <a:pt x="1562" y="1401"/>
                </a:lnTo>
                <a:lnTo>
                  <a:pt x="1560" y="1403"/>
                </a:lnTo>
                <a:lnTo>
                  <a:pt x="1560" y="1406"/>
                </a:lnTo>
                <a:lnTo>
                  <a:pt x="1560" y="1408"/>
                </a:lnTo>
                <a:lnTo>
                  <a:pt x="1561" y="1412"/>
                </a:lnTo>
                <a:lnTo>
                  <a:pt x="1564" y="1414"/>
                </a:lnTo>
                <a:lnTo>
                  <a:pt x="1565" y="1419"/>
                </a:lnTo>
                <a:lnTo>
                  <a:pt x="1565" y="1422"/>
                </a:lnTo>
                <a:lnTo>
                  <a:pt x="1565" y="1426"/>
                </a:lnTo>
                <a:lnTo>
                  <a:pt x="1568" y="1421"/>
                </a:lnTo>
                <a:lnTo>
                  <a:pt x="1572" y="1419"/>
                </a:lnTo>
                <a:lnTo>
                  <a:pt x="1572" y="1420"/>
                </a:lnTo>
                <a:lnTo>
                  <a:pt x="1573" y="1421"/>
                </a:lnTo>
                <a:lnTo>
                  <a:pt x="1572" y="1432"/>
                </a:lnTo>
                <a:lnTo>
                  <a:pt x="1572" y="1441"/>
                </a:lnTo>
                <a:lnTo>
                  <a:pt x="1572" y="1450"/>
                </a:lnTo>
                <a:lnTo>
                  <a:pt x="1572" y="1461"/>
                </a:lnTo>
                <a:lnTo>
                  <a:pt x="1571" y="1466"/>
                </a:lnTo>
                <a:lnTo>
                  <a:pt x="1569" y="1471"/>
                </a:lnTo>
                <a:lnTo>
                  <a:pt x="1569" y="1476"/>
                </a:lnTo>
                <a:lnTo>
                  <a:pt x="1571" y="1482"/>
                </a:lnTo>
                <a:lnTo>
                  <a:pt x="1571" y="1482"/>
                </a:lnTo>
                <a:lnTo>
                  <a:pt x="1572" y="1482"/>
                </a:lnTo>
                <a:lnTo>
                  <a:pt x="1571" y="1482"/>
                </a:lnTo>
                <a:lnTo>
                  <a:pt x="1571" y="1482"/>
                </a:lnTo>
                <a:lnTo>
                  <a:pt x="1569" y="1482"/>
                </a:lnTo>
                <a:lnTo>
                  <a:pt x="1568" y="1483"/>
                </a:lnTo>
                <a:lnTo>
                  <a:pt x="1567" y="1484"/>
                </a:lnTo>
                <a:lnTo>
                  <a:pt x="1566" y="1484"/>
                </a:lnTo>
                <a:lnTo>
                  <a:pt x="1566" y="1485"/>
                </a:lnTo>
                <a:lnTo>
                  <a:pt x="1567" y="1487"/>
                </a:lnTo>
                <a:lnTo>
                  <a:pt x="1567" y="1488"/>
                </a:lnTo>
                <a:lnTo>
                  <a:pt x="1567" y="1489"/>
                </a:lnTo>
                <a:lnTo>
                  <a:pt x="1567" y="1490"/>
                </a:lnTo>
                <a:lnTo>
                  <a:pt x="1568" y="1491"/>
                </a:lnTo>
                <a:lnTo>
                  <a:pt x="1568" y="1494"/>
                </a:lnTo>
                <a:lnTo>
                  <a:pt x="1568" y="1495"/>
                </a:lnTo>
                <a:lnTo>
                  <a:pt x="1568" y="1496"/>
                </a:lnTo>
                <a:lnTo>
                  <a:pt x="1569" y="1497"/>
                </a:lnTo>
                <a:lnTo>
                  <a:pt x="1571" y="1497"/>
                </a:lnTo>
                <a:lnTo>
                  <a:pt x="1569" y="1499"/>
                </a:lnTo>
                <a:lnTo>
                  <a:pt x="1569" y="1502"/>
                </a:lnTo>
                <a:lnTo>
                  <a:pt x="1568" y="1503"/>
                </a:lnTo>
                <a:lnTo>
                  <a:pt x="1568" y="1504"/>
                </a:lnTo>
                <a:lnTo>
                  <a:pt x="1568" y="1505"/>
                </a:lnTo>
                <a:lnTo>
                  <a:pt x="1569" y="1508"/>
                </a:lnTo>
                <a:lnTo>
                  <a:pt x="1564" y="1506"/>
                </a:lnTo>
                <a:lnTo>
                  <a:pt x="1561" y="1509"/>
                </a:lnTo>
                <a:lnTo>
                  <a:pt x="1559" y="1511"/>
                </a:lnTo>
                <a:lnTo>
                  <a:pt x="1558" y="1516"/>
                </a:lnTo>
                <a:lnTo>
                  <a:pt x="1559" y="1520"/>
                </a:lnTo>
                <a:lnTo>
                  <a:pt x="1560" y="1524"/>
                </a:lnTo>
                <a:lnTo>
                  <a:pt x="1564" y="1526"/>
                </a:lnTo>
                <a:lnTo>
                  <a:pt x="1568" y="1529"/>
                </a:lnTo>
                <a:lnTo>
                  <a:pt x="1582" y="1531"/>
                </a:lnTo>
                <a:lnTo>
                  <a:pt x="1598" y="1532"/>
                </a:lnTo>
                <a:lnTo>
                  <a:pt x="1616" y="1532"/>
                </a:lnTo>
                <a:lnTo>
                  <a:pt x="1635" y="1530"/>
                </a:lnTo>
                <a:lnTo>
                  <a:pt x="1654" y="1526"/>
                </a:lnTo>
                <a:lnTo>
                  <a:pt x="1672" y="1523"/>
                </a:lnTo>
                <a:lnTo>
                  <a:pt x="1679" y="1519"/>
                </a:lnTo>
                <a:lnTo>
                  <a:pt x="1684" y="1516"/>
                </a:lnTo>
                <a:lnTo>
                  <a:pt x="1688" y="1510"/>
                </a:lnTo>
                <a:lnTo>
                  <a:pt x="1691" y="1504"/>
                </a:lnTo>
                <a:lnTo>
                  <a:pt x="1692" y="1502"/>
                </a:lnTo>
                <a:lnTo>
                  <a:pt x="1691" y="1499"/>
                </a:lnTo>
                <a:lnTo>
                  <a:pt x="1691" y="1498"/>
                </a:lnTo>
                <a:lnTo>
                  <a:pt x="1690" y="1497"/>
                </a:lnTo>
                <a:lnTo>
                  <a:pt x="1686" y="1495"/>
                </a:lnTo>
                <a:lnTo>
                  <a:pt x="1685" y="1492"/>
                </a:lnTo>
                <a:lnTo>
                  <a:pt x="1685" y="1492"/>
                </a:lnTo>
                <a:lnTo>
                  <a:pt x="1685" y="1491"/>
                </a:lnTo>
                <a:lnTo>
                  <a:pt x="1689" y="1489"/>
                </a:lnTo>
                <a:lnTo>
                  <a:pt x="1692" y="1487"/>
                </a:lnTo>
                <a:lnTo>
                  <a:pt x="1698" y="1482"/>
                </a:lnTo>
                <a:lnTo>
                  <a:pt x="1703" y="1476"/>
                </a:lnTo>
                <a:lnTo>
                  <a:pt x="1706" y="1468"/>
                </a:lnTo>
                <a:lnTo>
                  <a:pt x="1709" y="1459"/>
                </a:lnTo>
                <a:lnTo>
                  <a:pt x="1709" y="1454"/>
                </a:lnTo>
                <a:lnTo>
                  <a:pt x="1709" y="1450"/>
                </a:lnTo>
                <a:lnTo>
                  <a:pt x="1707" y="1446"/>
                </a:lnTo>
                <a:lnTo>
                  <a:pt x="1705" y="1441"/>
                </a:lnTo>
                <a:lnTo>
                  <a:pt x="1704" y="1438"/>
                </a:lnTo>
                <a:lnTo>
                  <a:pt x="1702" y="1434"/>
                </a:lnTo>
                <a:lnTo>
                  <a:pt x="1699" y="1427"/>
                </a:lnTo>
                <a:lnTo>
                  <a:pt x="1697" y="1421"/>
                </a:lnTo>
                <a:lnTo>
                  <a:pt x="1695" y="1414"/>
                </a:lnTo>
                <a:lnTo>
                  <a:pt x="1689" y="1410"/>
                </a:lnTo>
                <a:lnTo>
                  <a:pt x="1689" y="1408"/>
                </a:lnTo>
                <a:lnTo>
                  <a:pt x="1686" y="1407"/>
                </a:lnTo>
                <a:lnTo>
                  <a:pt x="1685" y="1408"/>
                </a:lnTo>
                <a:lnTo>
                  <a:pt x="1685" y="1411"/>
                </a:lnTo>
                <a:lnTo>
                  <a:pt x="1688" y="1424"/>
                </a:lnTo>
                <a:lnTo>
                  <a:pt x="1689" y="1436"/>
                </a:lnTo>
                <a:lnTo>
                  <a:pt x="1689" y="1439"/>
                </a:lnTo>
                <a:lnTo>
                  <a:pt x="1690" y="1440"/>
                </a:lnTo>
                <a:lnTo>
                  <a:pt x="1691" y="1440"/>
                </a:lnTo>
                <a:lnTo>
                  <a:pt x="1693" y="1439"/>
                </a:lnTo>
                <a:lnTo>
                  <a:pt x="1695" y="1439"/>
                </a:lnTo>
                <a:lnTo>
                  <a:pt x="1697" y="1440"/>
                </a:lnTo>
                <a:lnTo>
                  <a:pt x="1698" y="1442"/>
                </a:lnTo>
                <a:lnTo>
                  <a:pt x="1698" y="1445"/>
                </a:lnTo>
                <a:lnTo>
                  <a:pt x="1695" y="1449"/>
                </a:lnTo>
                <a:lnTo>
                  <a:pt x="1692" y="1455"/>
                </a:lnTo>
                <a:lnTo>
                  <a:pt x="1692" y="1454"/>
                </a:lnTo>
                <a:lnTo>
                  <a:pt x="1692" y="1454"/>
                </a:lnTo>
                <a:lnTo>
                  <a:pt x="1691" y="1455"/>
                </a:lnTo>
                <a:lnTo>
                  <a:pt x="1690" y="1456"/>
                </a:lnTo>
                <a:lnTo>
                  <a:pt x="1688" y="1459"/>
                </a:lnTo>
                <a:lnTo>
                  <a:pt x="1688" y="1460"/>
                </a:lnTo>
                <a:lnTo>
                  <a:pt x="1688" y="1459"/>
                </a:lnTo>
                <a:lnTo>
                  <a:pt x="1690" y="1456"/>
                </a:lnTo>
                <a:lnTo>
                  <a:pt x="1691" y="1455"/>
                </a:lnTo>
                <a:lnTo>
                  <a:pt x="1692" y="1454"/>
                </a:lnTo>
                <a:lnTo>
                  <a:pt x="1691" y="1450"/>
                </a:lnTo>
                <a:lnTo>
                  <a:pt x="1690" y="1447"/>
                </a:lnTo>
                <a:lnTo>
                  <a:pt x="1690" y="1447"/>
                </a:lnTo>
                <a:lnTo>
                  <a:pt x="1690" y="1446"/>
                </a:lnTo>
                <a:lnTo>
                  <a:pt x="1690" y="1446"/>
                </a:lnTo>
                <a:close/>
                <a:moveTo>
                  <a:pt x="1691" y="1446"/>
                </a:moveTo>
                <a:lnTo>
                  <a:pt x="1691" y="1446"/>
                </a:lnTo>
                <a:lnTo>
                  <a:pt x="1690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lnTo>
                  <a:pt x="1691" y="1446"/>
                </a:lnTo>
                <a:close/>
                <a:moveTo>
                  <a:pt x="252" y="810"/>
                </a:moveTo>
                <a:lnTo>
                  <a:pt x="252" y="810"/>
                </a:lnTo>
                <a:lnTo>
                  <a:pt x="250" y="810"/>
                </a:lnTo>
                <a:lnTo>
                  <a:pt x="252" y="811"/>
                </a:lnTo>
                <a:lnTo>
                  <a:pt x="252" y="811"/>
                </a:lnTo>
                <a:lnTo>
                  <a:pt x="253" y="811"/>
                </a:lnTo>
                <a:lnTo>
                  <a:pt x="253" y="811"/>
                </a:lnTo>
                <a:lnTo>
                  <a:pt x="253" y="810"/>
                </a:lnTo>
                <a:lnTo>
                  <a:pt x="252" y="810"/>
                </a:lnTo>
                <a:close/>
                <a:moveTo>
                  <a:pt x="434" y="1317"/>
                </a:moveTo>
                <a:lnTo>
                  <a:pt x="433" y="1317"/>
                </a:lnTo>
                <a:lnTo>
                  <a:pt x="433" y="1317"/>
                </a:lnTo>
                <a:lnTo>
                  <a:pt x="434" y="1316"/>
                </a:lnTo>
                <a:lnTo>
                  <a:pt x="434" y="1316"/>
                </a:lnTo>
                <a:lnTo>
                  <a:pt x="434" y="1317"/>
                </a:lnTo>
                <a:lnTo>
                  <a:pt x="434" y="1317"/>
                </a:lnTo>
                <a:close/>
                <a:moveTo>
                  <a:pt x="433" y="1302"/>
                </a:moveTo>
                <a:lnTo>
                  <a:pt x="430" y="1302"/>
                </a:lnTo>
                <a:lnTo>
                  <a:pt x="429" y="1303"/>
                </a:lnTo>
                <a:lnTo>
                  <a:pt x="429" y="1305"/>
                </a:lnTo>
                <a:lnTo>
                  <a:pt x="429" y="1307"/>
                </a:lnTo>
                <a:lnTo>
                  <a:pt x="429" y="1314"/>
                </a:lnTo>
                <a:lnTo>
                  <a:pt x="430" y="1322"/>
                </a:lnTo>
                <a:lnTo>
                  <a:pt x="433" y="1324"/>
                </a:lnTo>
                <a:lnTo>
                  <a:pt x="435" y="1324"/>
                </a:lnTo>
                <a:lnTo>
                  <a:pt x="437" y="1324"/>
                </a:lnTo>
                <a:lnTo>
                  <a:pt x="439" y="1323"/>
                </a:lnTo>
                <a:lnTo>
                  <a:pt x="440" y="1322"/>
                </a:lnTo>
                <a:lnTo>
                  <a:pt x="440" y="1321"/>
                </a:lnTo>
                <a:lnTo>
                  <a:pt x="440" y="1317"/>
                </a:lnTo>
                <a:lnTo>
                  <a:pt x="440" y="1314"/>
                </a:lnTo>
                <a:lnTo>
                  <a:pt x="440" y="1302"/>
                </a:lnTo>
                <a:lnTo>
                  <a:pt x="440" y="1292"/>
                </a:lnTo>
                <a:lnTo>
                  <a:pt x="439" y="1292"/>
                </a:lnTo>
                <a:lnTo>
                  <a:pt x="437" y="1292"/>
                </a:lnTo>
                <a:lnTo>
                  <a:pt x="437" y="1303"/>
                </a:lnTo>
                <a:lnTo>
                  <a:pt x="437" y="1314"/>
                </a:lnTo>
                <a:lnTo>
                  <a:pt x="436" y="1315"/>
                </a:lnTo>
                <a:lnTo>
                  <a:pt x="434" y="1315"/>
                </a:lnTo>
                <a:lnTo>
                  <a:pt x="434" y="1310"/>
                </a:lnTo>
                <a:lnTo>
                  <a:pt x="434" y="1306"/>
                </a:lnTo>
                <a:lnTo>
                  <a:pt x="434" y="1303"/>
                </a:lnTo>
                <a:lnTo>
                  <a:pt x="433" y="1302"/>
                </a:lnTo>
                <a:close/>
                <a:moveTo>
                  <a:pt x="192" y="1307"/>
                </a:moveTo>
                <a:lnTo>
                  <a:pt x="200" y="1305"/>
                </a:lnTo>
                <a:lnTo>
                  <a:pt x="207" y="1305"/>
                </a:lnTo>
                <a:lnTo>
                  <a:pt x="200" y="1305"/>
                </a:lnTo>
                <a:lnTo>
                  <a:pt x="192" y="1307"/>
                </a:lnTo>
                <a:close/>
                <a:moveTo>
                  <a:pt x="187" y="1310"/>
                </a:moveTo>
                <a:lnTo>
                  <a:pt x="183" y="1307"/>
                </a:lnTo>
                <a:lnTo>
                  <a:pt x="178" y="1302"/>
                </a:lnTo>
                <a:lnTo>
                  <a:pt x="183" y="1307"/>
                </a:lnTo>
                <a:lnTo>
                  <a:pt x="187" y="1310"/>
                </a:lnTo>
                <a:close/>
                <a:moveTo>
                  <a:pt x="129" y="1369"/>
                </a:moveTo>
                <a:lnTo>
                  <a:pt x="126" y="1366"/>
                </a:lnTo>
                <a:lnTo>
                  <a:pt x="125" y="1365"/>
                </a:lnTo>
                <a:lnTo>
                  <a:pt x="126" y="1366"/>
                </a:lnTo>
                <a:lnTo>
                  <a:pt x="129" y="1369"/>
                </a:lnTo>
                <a:lnTo>
                  <a:pt x="136" y="1377"/>
                </a:lnTo>
                <a:lnTo>
                  <a:pt x="142" y="1384"/>
                </a:lnTo>
                <a:lnTo>
                  <a:pt x="136" y="1377"/>
                </a:lnTo>
                <a:lnTo>
                  <a:pt x="129" y="1369"/>
                </a:lnTo>
                <a:close/>
                <a:moveTo>
                  <a:pt x="125" y="1380"/>
                </a:moveTo>
                <a:lnTo>
                  <a:pt x="124" y="1380"/>
                </a:lnTo>
                <a:lnTo>
                  <a:pt x="124" y="1379"/>
                </a:lnTo>
                <a:lnTo>
                  <a:pt x="124" y="1380"/>
                </a:lnTo>
                <a:lnTo>
                  <a:pt x="125" y="1380"/>
                </a:lnTo>
                <a:lnTo>
                  <a:pt x="128" y="1382"/>
                </a:lnTo>
                <a:lnTo>
                  <a:pt x="129" y="1383"/>
                </a:lnTo>
                <a:lnTo>
                  <a:pt x="128" y="1382"/>
                </a:lnTo>
                <a:lnTo>
                  <a:pt x="125" y="1380"/>
                </a:lnTo>
                <a:close/>
                <a:moveTo>
                  <a:pt x="114" y="1368"/>
                </a:moveTo>
                <a:lnTo>
                  <a:pt x="115" y="1369"/>
                </a:lnTo>
                <a:lnTo>
                  <a:pt x="117" y="1370"/>
                </a:lnTo>
                <a:lnTo>
                  <a:pt x="115" y="1369"/>
                </a:lnTo>
                <a:lnTo>
                  <a:pt x="114" y="1368"/>
                </a:lnTo>
                <a:close/>
                <a:moveTo>
                  <a:pt x="20" y="1245"/>
                </a:moveTo>
                <a:lnTo>
                  <a:pt x="31" y="1245"/>
                </a:lnTo>
                <a:lnTo>
                  <a:pt x="40" y="1243"/>
                </a:lnTo>
                <a:lnTo>
                  <a:pt x="31" y="1245"/>
                </a:lnTo>
                <a:lnTo>
                  <a:pt x="20" y="1245"/>
                </a:lnTo>
                <a:close/>
                <a:moveTo>
                  <a:pt x="9" y="1275"/>
                </a:moveTo>
                <a:lnTo>
                  <a:pt x="9" y="1275"/>
                </a:lnTo>
                <a:lnTo>
                  <a:pt x="9" y="1274"/>
                </a:lnTo>
                <a:lnTo>
                  <a:pt x="9" y="1275"/>
                </a:lnTo>
                <a:lnTo>
                  <a:pt x="9" y="1275"/>
                </a:lnTo>
                <a:lnTo>
                  <a:pt x="9" y="1275"/>
                </a:lnTo>
                <a:close/>
                <a:moveTo>
                  <a:pt x="8" y="1278"/>
                </a:moveTo>
                <a:lnTo>
                  <a:pt x="8" y="1277"/>
                </a:lnTo>
                <a:lnTo>
                  <a:pt x="8" y="1277"/>
                </a:lnTo>
                <a:lnTo>
                  <a:pt x="8" y="1277"/>
                </a:lnTo>
                <a:lnTo>
                  <a:pt x="8" y="1278"/>
                </a:lnTo>
                <a:close/>
                <a:moveTo>
                  <a:pt x="5" y="1287"/>
                </a:moveTo>
                <a:lnTo>
                  <a:pt x="4" y="1287"/>
                </a:lnTo>
                <a:lnTo>
                  <a:pt x="2" y="1287"/>
                </a:lnTo>
                <a:lnTo>
                  <a:pt x="4" y="1287"/>
                </a:lnTo>
                <a:lnTo>
                  <a:pt x="5" y="1287"/>
                </a:lnTo>
                <a:lnTo>
                  <a:pt x="5" y="1285"/>
                </a:lnTo>
                <a:lnTo>
                  <a:pt x="6" y="1284"/>
                </a:lnTo>
                <a:lnTo>
                  <a:pt x="5" y="1285"/>
                </a:lnTo>
                <a:lnTo>
                  <a:pt x="5" y="1287"/>
                </a:lnTo>
                <a:close/>
                <a:moveTo>
                  <a:pt x="231" y="1268"/>
                </a:moveTo>
                <a:lnTo>
                  <a:pt x="227" y="1260"/>
                </a:lnTo>
                <a:lnTo>
                  <a:pt x="225" y="1252"/>
                </a:lnTo>
                <a:lnTo>
                  <a:pt x="222" y="1245"/>
                </a:lnTo>
                <a:lnTo>
                  <a:pt x="219" y="1239"/>
                </a:lnTo>
                <a:lnTo>
                  <a:pt x="214" y="1232"/>
                </a:lnTo>
                <a:lnTo>
                  <a:pt x="209" y="1226"/>
                </a:lnTo>
                <a:lnTo>
                  <a:pt x="209" y="1226"/>
                </a:lnTo>
                <a:lnTo>
                  <a:pt x="208" y="1225"/>
                </a:lnTo>
                <a:lnTo>
                  <a:pt x="205" y="1218"/>
                </a:lnTo>
                <a:lnTo>
                  <a:pt x="201" y="1212"/>
                </a:lnTo>
                <a:lnTo>
                  <a:pt x="195" y="1208"/>
                </a:lnTo>
                <a:lnTo>
                  <a:pt x="188" y="1204"/>
                </a:lnTo>
                <a:lnTo>
                  <a:pt x="187" y="1204"/>
                </a:lnTo>
                <a:lnTo>
                  <a:pt x="187" y="1204"/>
                </a:lnTo>
                <a:lnTo>
                  <a:pt x="185" y="1200"/>
                </a:lnTo>
                <a:lnTo>
                  <a:pt x="181" y="1197"/>
                </a:lnTo>
                <a:lnTo>
                  <a:pt x="177" y="1195"/>
                </a:lnTo>
                <a:lnTo>
                  <a:pt x="172" y="1194"/>
                </a:lnTo>
                <a:lnTo>
                  <a:pt x="166" y="1189"/>
                </a:lnTo>
                <a:lnTo>
                  <a:pt x="159" y="1187"/>
                </a:lnTo>
                <a:lnTo>
                  <a:pt x="152" y="1184"/>
                </a:lnTo>
                <a:lnTo>
                  <a:pt x="145" y="1182"/>
                </a:lnTo>
                <a:lnTo>
                  <a:pt x="138" y="1181"/>
                </a:lnTo>
                <a:lnTo>
                  <a:pt x="131" y="1180"/>
                </a:lnTo>
                <a:lnTo>
                  <a:pt x="124" y="1180"/>
                </a:lnTo>
                <a:lnTo>
                  <a:pt x="117" y="1181"/>
                </a:lnTo>
                <a:lnTo>
                  <a:pt x="116" y="1181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5" y="1183"/>
                </a:lnTo>
                <a:lnTo>
                  <a:pt x="111" y="1186"/>
                </a:lnTo>
                <a:lnTo>
                  <a:pt x="109" y="1189"/>
                </a:lnTo>
                <a:lnTo>
                  <a:pt x="109" y="1189"/>
                </a:lnTo>
                <a:lnTo>
                  <a:pt x="109" y="1188"/>
                </a:lnTo>
                <a:lnTo>
                  <a:pt x="109" y="1187"/>
                </a:lnTo>
                <a:lnTo>
                  <a:pt x="108" y="1184"/>
                </a:lnTo>
                <a:lnTo>
                  <a:pt x="105" y="1183"/>
                </a:lnTo>
                <a:lnTo>
                  <a:pt x="102" y="1183"/>
                </a:lnTo>
                <a:lnTo>
                  <a:pt x="100" y="1183"/>
                </a:lnTo>
                <a:lnTo>
                  <a:pt x="97" y="1183"/>
                </a:lnTo>
                <a:lnTo>
                  <a:pt x="95" y="1184"/>
                </a:lnTo>
                <a:lnTo>
                  <a:pt x="95" y="1188"/>
                </a:lnTo>
                <a:lnTo>
                  <a:pt x="95" y="1191"/>
                </a:lnTo>
                <a:lnTo>
                  <a:pt x="95" y="1195"/>
                </a:lnTo>
                <a:lnTo>
                  <a:pt x="94" y="1198"/>
                </a:lnTo>
                <a:lnTo>
                  <a:pt x="91" y="1201"/>
                </a:lnTo>
                <a:lnTo>
                  <a:pt x="87" y="1207"/>
                </a:lnTo>
                <a:lnTo>
                  <a:pt x="82" y="1211"/>
                </a:lnTo>
                <a:lnTo>
                  <a:pt x="80" y="1212"/>
                </a:lnTo>
                <a:lnTo>
                  <a:pt x="78" y="1215"/>
                </a:lnTo>
                <a:lnTo>
                  <a:pt x="77" y="1219"/>
                </a:lnTo>
                <a:lnTo>
                  <a:pt x="75" y="1221"/>
                </a:lnTo>
                <a:lnTo>
                  <a:pt x="73" y="1222"/>
                </a:lnTo>
                <a:lnTo>
                  <a:pt x="69" y="1221"/>
                </a:lnTo>
                <a:lnTo>
                  <a:pt x="66" y="1221"/>
                </a:lnTo>
                <a:lnTo>
                  <a:pt x="61" y="1221"/>
                </a:lnTo>
                <a:lnTo>
                  <a:pt x="43" y="1225"/>
                </a:lnTo>
                <a:lnTo>
                  <a:pt x="26" y="1232"/>
                </a:lnTo>
                <a:lnTo>
                  <a:pt x="22" y="1233"/>
                </a:lnTo>
                <a:lnTo>
                  <a:pt x="19" y="1236"/>
                </a:lnTo>
                <a:lnTo>
                  <a:pt x="17" y="1239"/>
                </a:lnTo>
                <a:lnTo>
                  <a:pt x="15" y="1244"/>
                </a:lnTo>
                <a:lnTo>
                  <a:pt x="17" y="1245"/>
                </a:lnTo>
                <a:lnTo>
                  <a:pt x="17" y="1245"/>
                </a:lnTo>
                <a:lnTo>
                  <a:pt x="17" y="1245"/>
                </a:lnTo>
                <a:lnTo>
                  <a:pt x="15" y="1244"/>
                </a:lnTo>
                <a:lnTo>
                  <a:pt x="12" y="1250"/>
                </a:lnTo>
                <a:lnTo>
                  <a:pt x="9" y="1257"/>
                </a:lnTo>
                <a:lnTo>
                  <a:pt x="9" y="1263"/>
                </a:lnTo>
                <a:lnTo>
                  <a:pt x="11" y="1268"/>
                </a:lnTo>
                <a:lnTo>
                  <a:pt x="14" y="1264"/>
                </a:lnTo>
                <a:lnTo>
                  <a:pt x="18" y="1258"/>
                </a:lnTo>
                <a:lnTo>
                  <a:pt x="14" y="1264"/>
                </a:lnTo>
                <a:lnTo>
                  <a:pt x="11" y="1268"/>
                </a:lnTo>
                <a:lnTo>
                  <a:pt x="9" y="1263"/>
                </a:lnTo>
                <a:lnTo>
                  <a:pt x="9" y="1257"/>
                </a:lnTo>
                <a:lnTo>
                  <a:pt x="6" y="1264"/>
                </a:lnTo>
                <a:lnTo>
                  <a:pt x="4" y="1272"/>
                </a:lnTo>
                <a:lnTo>
                  <a:pt x="2" y="1279"/>
                </a:lnTo>
                <a:lnTo>
                  <a:pt x="2" y="1287"/>
                </a:lnTo>
                <a:lnTo>
                  <a:pt x="2" y="1287"/>
                </a:lnTo>
                <a:lnTo>
                  <a:pt x="2" y="1289"/>
                </a:lnTo>
                <a:lnTo>
                  <a:pt x="2" y="1291"/>
                </a:lnTo>
                <a:lnTo>
                  <a:pt x="0" y="1300"/>
                </a:lnTo>
                <a:lnTo>
                  <a:pt x="0" y="1308"/>
                </a:lnTo>
                <a:lnTo>
                  <a:pt x="1" y="1316"/>
                </a:lnTo>
                <a:lnTo>
                  <a:pt x="5" y="1324"/>
                </a:lnTo>
                <a:lnTo>
                  <a:pt x="7" y="1333"/>
                </a:lnTo>
                <a:lnTo>
                  <a:pt x="9" y="1342"/>
                </a:lnTo>
                <a:lnTo>
                  <a:pt x="11" y="1345"/>
                </a:lnTo>
                <a:lnTo>
                  <a:pt x="11" y="1348"/>
                </a:lnTo>
                <a:lnTo>
                  <a:pt x="13" y="1350"/>
                </a:lnTo>
                <a:lnTo>
                  <a:pt x="15" y="1352"/>
                </a:lnTo>
                <a:lnTo>
                  <a:pt x="15" y="1352"/>
                </a:lnTo>
                <a:lnTo>
                  <a:pt x="15" y="1354"/>
                </a:lnTo>
                <a:lnTo>
                  <a:pt x="15" y="1356"/>
                </a:lnTo>
                <a:lnTo>
                  <a:pt x="17" y="1358"/>
                </a:lnTo>
                <a:lnTo>
                  <a:pt x="18" y="1359"/>
                </a:lnTo>
                <a:lnTo>
                  <a:pt x="20" y="1361"/>
                </a:lnTo>
                <a:lnTo>
                  <a:pt x="21" y="1362"/>
                </a:lnTo>
                <a:lnTo>
                  <a:pt x="21" y="1362"/>
                </a:lnTo>
                <a:lnTo>
                  <a:pt x="22" y="1366"/>
                </a:lnTo>
                <a:lnTo>
                  <a:pt x="25" y="1370"/>
                </a:lnTo>
                <a:lnTo>
                  <a:pt x="27" y="1373"/>
                </a:lnTo>
                <a:lnTo>
                  <a:pt x="32" y="1376"/>
                </a:lnTo>
                <a:lnTo>
                  <a:pt x="32" y="1376"/>
                </a:lnTo>
                <a:lnTo>
                  <a:pt x="32" y="1379"/>
                </a:lnTo>
                <a:lnTo>
                  <a:pt x="34" y="1382"/>
                </a:lnTo>
                <a:lnTo>
                  <a:pt x="43" y="1389"/>
                </a:lnTo>
                <a:lnTo>
                  <a:pt x="53" y="1396"/>
                </a:lnTo>
                <a:lnTo>
                  <a:pt x="63" y="1401"/>
                </a:lnTo>
                <a:lnTo>
                  <a:pt x="75" y="1406"/>
                </a:lnTo>
                <a:lnTo>
                  <a:pt x="88" y="1410"/>
                </a:lnTo>
                <a:lnTo>
                  <a:pt x="101" y="1413"/>
                </a:lnTo>
                <a:lnTo>
                  <a:pt x="110" y="1414"/>
                </a:lnTo>
                <a:lnTo>
                  <a:pt x="121" y="1414"/>
                </a:lnTo>
                <a:lnTo>
                  <a:pt x="125" y="1413"/>
                </a:lnTo>
                <a:lnTo>
                  <a:pt x="131" y="1412"/>
                </a:lnTo>
                <a:lnTo>
                  <a:pt x="136" y="1411"/>
                </a:lnTo>
                <a:lnTo>
                  <a:pt x="142" y="1412"/>
                </a:lnTo>
                <a:lnTo>
                  <a:pt x="144" y="1412"/>
                </a:lnTo>
                <a:lnTo>
                  <a:pt x="145" y="1412"/>
                </a:lnTo>
                <a:lnTo>
                  <a:pt x="147" y="1411"/>
                </a:lnTo>
                <a:lnTo>
                  <a:pt x="149" y="1408"/>
                </a:lnTo>
                <a:lnTo>
                  <a:pt x="151" y="1408"/>
                </a:lnTo>
                <a:lnTo>
                  <a:pt x="153" y="1407"/>
                </a:lnTo>
                <a:lnTo>
                  <a:pt x="156" y="1408"/>
                </a:lnTo>
                <a:lnTo>
                  <a:pt x="158" y="1408"/>
                </a:lnTo>
                <a:lnTo>
                  <a:pt x="160" y="1407"/>
                </a:lnTo>
                <a:lnTo>
                  <a:pt x="162" y="1405"/>
                </a:lnTo>
                <a:lnTo>
                  <a:pt x="172" y="1400"/>
                </a:lnTo>
                <a:lnTo>
                  <a:pt x="181" y="1394"/>
                </a:lnTo>
                <a:lnTo>
                  <a:pt x="191" y="1387"/>
                </a:lnTo>
                <a:lnTo>
                  <a:pt x="199" y="1379"/>
                </a:lnTo>
                <a:lnTo>
                  <a:pt x="199" y="1379"/>
                </a:lnTo>
                <a:lnTo>
                  <a:pt x="200" y="1378"/>
                </a:lnTo>
                <a:lnTo>
                  <a:pt x="200" y="1378"/>
                </a:lnTo>
                <a:lnTo>
                  <a:pt x="200" y="1378"/>
                </a:lnTo>
                <a:lnTo>
                  <a:pt x="205" y="1375"/>
                </a:lnTo>
                <a:lnTo>
                  <a:pt x="208" y="1370"/>
                </a:lnTo>
                <a:lnTo>
                  <a:pt x="212" y="1366"/>
                </a:lnTo>
                <a:lnTo>
                  <a:pt x="215" y="1361"/>
                </a:lnTo>
                <a:lnTo>
                  <a:pt x="220" y="1355"/>
                </a:lnTo>
                <a:lnTo>
                  <a:pt x="223" y="1347"/>
                </a:lnTo>
                <a:lnTo>
                  <a:pt x="227" y="1338"/>
                </a:lnTo>
                <a:lnTo>
                  <a:pt x="229" y="1331"/>
                </a:lnTo>
                <a:lnTo>
                  <a:pt x="225" y="1333"/>
                </a:lnTo>
                <a:lnTo>
                  <a:pt x="221" y="1336"/>
                </a:lnTo>
                <a:lnTo>
                  <a:pt x="219" y="1340"/>
                </a:lnTo>
                <a:lnTo>
                  <a:pt x="215" y="1343"/>
                </a:lnTo>
                <a:lnTo>
                  <a:pt x="219" y="1340"/>
                </a:lnTo>
                <a:lnTo>
                  <a:pt x="221" y="1336"/>
                </a:lnTo>
                <a:lnTo>
                  <a:pt x="225" y="1333"/>
                </a:lnTo>
                <a:lnTo>
                  <a:pt x="229" y="1331"/>
                </a:lnTo>
                <a:lnTo>
                  <a:pt x="229" y="1328"/>
                </a:lnTo>
                <a:lnTo>
                  <a:pt x="231" y="1326"/>
                </a:lnTo>
                <a:lnTo>
                  <a:pt x="232" y="1324"/>
                </a:lnTo>
                <a:lnTo>
                  <a:pt x="233" y="1323"/>
                </a:lnTo>
                <a:lnTo>
                  <a:pt x="234" y="1313"/>
                </a:lnTo>
                <a:lnTo>
                  <a:pt x="235" y="1302"/>
                </a:lnTo>
                <a:lnTo>
                  <a:pt x="235" y="1291"/>
                </a:lnTo>
                <a:lnTo>
                  <a:pt x="234" y="1280"/>
                </a:lnTo>
                <a:lnTo>
                  <a:pt x="234" y="1277"/>
                </a:lnTo>
                <a:lnTo>
                  <a:pt x="234" y="1274"/>
                </a:lnTo>
                <a:lnTo>
                  <a:pt x="233" y="1271"/>
                </a:lnTo>
                <a:lnTo>
                  <a:pt x="231" y="1268"/>
                </a:lnTo>
                <a:close/>
                <a:moveTo>
                  <a:pt x="1683" y="1467"/>
                </a:moveTo>
                <a:lnTo>
                  <a:pt x="1684" y="1467"/>
                </a:lnTo>
                <a:lnTo>
                  <a:pt x="1685" y="1467"/>
                </a:lnTo>
                <a:lnTo>
                  <a:pt x="1686" y="1467"/>
                </a:lnTo>
                <a:lnTo>
                  <a:pt x="1686" y="1466"/>
                </a:lnTo>
                <a:lnTo>
                  <a:pt x="1686" y="1467"/>
                </a:lnTo>
                <a:lnTo>
                  <a:pt x="1685" y="1467"/>
                </a:lnTo>
                <a:lnTo>
                  <a:pt x="1684" y="1467"/>
                </a:lnTo>
                <a:lnTo>
                  <a:pt x="1683" y="1467"/>
                </a:lnTo>
                <a:close/>
                <a:moveTo>
                  <a:pt x="1670" y="1473"/>
                </a:moveTo>
                <a:lnTo>
                  <a:pt x="1674" y="1471"/>
                </a:lnTo>
                <a:lnTo>
                  <a:pt x="1677" y="1470"/>
                </a:lnTo>
                <a:lnTo>
                  <a:pt x="1679" y="1468"/>
                </a:lnTo>
                <a:lnTo>
                  <a:pt x="1682" y="1466"/>
                </a:lnTo>
                <a:lnTo>
                  <a:pt x="1682" y="1466"/>
                </a:lnTo>
                <a:lnTo>
                  <a:pt x="1679" y="1468"/>
                </a:lnTo>
                <a:lnTo>
                  <a:pt x="1677" y="1470"/>
                </a:lnTo>
                <a:lnTo>
                  <a:pt x="1674" y="1471"/>
                </a:lnTo>
                <a:lnTo>
                  <a:pt x="1670" y="1473"/>
                </a:lnTo>
                <a:close/>
                <a:moveTo>
                  <a:pt x="1643" y="1487"/>
                </a:moveTo>
                <a:lnTo>
                  <a:pt x="1643" y="1487"/>
                </a:lnTo>
                <a:lnTo>
                  <a:pt x="1642" y="1488"/>
                </a:lnTo>
                <a:lnTo>
                  <a:pt x="1643" y="1487"/>
                </a:lnTo>
                <a:lnTo>
                  <a:pt x="1643" y="1487"/>
                </a:lnTo>
                <a:lnTo>
                  <a:pt x="1652" y="1487"/>
                </a:lnTo>
                <a:lnTo>
                  <a:pt x="1661" y="1487"/>
                </a:lnTo>
                <a:lnTo>
                  <a:pt x="1652" y="1487"/>
                </a:lnTo>
                <a:lnTo>
                  <a:pt x="1643" y="1487"/>
                </a:lnTo>
                <a:close/>
                <a:moveTo>
                  <a:pt x="1635" y="1488"/>
                </a:moveTo>
                <a:lnTo>
                  <a:pt x="1634" y="1489"/>
                </a:lnTo>
                <a:lnTo>
                  <a:pt x="1633" y="1489"/>
                </a:lnTo>
                <a:lnTo>
                  <a:pt x="1634" y="1489"/>
                </a:lnTo>
                <a:lnTo>
                  <a:pt x="1635" y="1488"/>
                </a:lnTo>
                <a:lnTo>
                  <a:pt x="1638" y="1487"/>
                </a:lnTo>
                <a:lnTo>
                  <a:pt x="1641" y="1487"/>
                </a:lnTo>
                <a:lnTo>
                  <a:pt x="1638" y="1487"/>
                </a:lnTo>
                <a:lnTo>
                  <a:pt x="1635" y="1488"/>
                </a:lnTo>
                <a:close/>
                <a:moveTo>
                  <a:pt x="1628" y="1489"/>
                </a:moveTo>
                <a:lnTo>
                  <a:pt x="1627" y="1490"/>
                </a:lnTo>
                <a:lnTo>
                  <a:pt x="1626" y="1491"/>
                </a:lnTo>
                <a:lnTo>
                  <a:pt x="1627" y="1490"/>
                </a:lnTo>
                <a:lnTo>
                  <a:pt x="1628" y="1489"/>
                </a:lnTo>
                <a:lnTo>
                  <a:pt x="1629" y="1489"/>
                </a:lnTo>
                <a:lnTo>
                  <a:pt x="1631" y="1489"/>
                </a:lnTo>
                <a:lnTo>
                  <a:pt x="1629" y="1489"/>
                </a:lnTo>
                <a:lnTo>
                  <a:pt x="1628" y="1489"/>
                </a:lnTo>
                <a:close/>
                <a:moveTo>
                  <a:pt x="1623" y="1469"/>
                </a:moveTo>
                <a:lnTo>
                  <a:pt x="1621" y="1468"/>
                </a:lnTo>
                <a:lnTo>
                  <a:pt x="1620" y="1469"/>
                </a:lnTo>
                <a:lnTo>
                  <a:pt x="1621" y="1468"/>
                </a:lnTo>
                <a:lnTo>
                  <a:pt x="1623" y="1469"/>
                </a:lnTo>
                <a:lnTo>
                  <a:pt x="1623" y="1468"/>
                </a:lnTo>
                <a:lnTo>
                  <a:pt x="1624" y="1467"/>
                </a:lnTo>
                <a:lnTo>
                  <a:pt x="1623" y="1464"/>
                </a:lnTo>
                <a:lnTo>
                  <a:pt x="1624" y="1462"/>
                </a:lnTo>
                <a:lnTo>
                  <a:pt x="1627" y="1460"/>
                </a:lnTo>
                <a:lnTo>
                  <a:pt x="1630" y="1460"/>
                </a:lnTo>
                <a:lnTo>
                  <a:pt x="1640" y="1460"/>
                </a:lnTo>
                <a:lnTo>
                  <a:pt x="1648" y="1462"/>
                </a:lnTo>
                <a:lnTo>
                  <a:pt x="1642" y="1466"/>
                </a:lnTo>
                <a:lnTo>
                  <a:pt x="1636" y="1467"/>
                </a:lnTo>
                <a:lnTo>
                  <a:pt x="1630" y="1467"/>
                </a:lnTo>
                <a:lnTo>
                  <a:pt x="1624" y="1467"/>
                </a:lnTo>
                <a:lnTo>
                  <a:pt x="1623" y="1468"/>
                </a:lnTo>
                <a:lnTo>
                  <a:pt x="1623" y="1469"/>
                </a:lnTo>
                <a:close/>
                <a:moveTo>
                  <a:pt x="1617" y="1397"/>
                </a:moveTo>
                <a:lnTo>
                  <a:pt x="1619" y="1398"/>
                </a:lnTo>
                <a:lnTo>
                  <a:pt x="1619" y="1398"/>
                </a:lnTo>
                <a:lnTo>
                  <a:pt x="1622" y="1397"/>
                </a:lnTo>
                <a:lnTo>
                  <a:pt x="1626" y="1397"/>
                </a:lnTo>
                <a:lnTo>
                  <a:pt x="1626" y="1397"/>
                </a:lnTo>
                <a:lnTo>
                  <a:pt x="1622" y="1397"/>
                </a:lnTo>
                <a:lnTo>
                  <a:pt x="1619" y="1398"/>
                </a:lnTo>
                <a:lnTo>
                  <a:pt x="1619" y="1398"/>
                </a:lnTo>
                <a:lnTo>
                  <a:pt x="1617" y="1397"/>
                </a:lnTo>
                <a:close/>
                <a:moveTo>
                  <a:pt x="1616" y="1410"/>
                </a:moveTo>
                <a:lnTo>
                  <a:pt x="1612" y="1408"/>
                </a:lnTo>
                <a:lnTo>
                  <a:pt x="1608" y="1410"/>
                </a:lnTo>
                <a:lnTo>
                  <a:pt x="1612" y="1408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lnTo>
                  <a:pt x="1616" y="1410"/>
                </a:lnTo>
                <a:close/>
                <a:moveTo>
                  <a:pt x="1613" y="1473"/>
                </a:moveTo>
                <a:lnTo>
                  <a:pt x="1612" y="1473"/>
                </a:lnTo>
                <a:lnTo>
                  <a:pt x="1609" y="1473"/>
                </a:lnTo>
                <a:lnTo>
                  <a:pt x="1612" y="1473"/>
                </a:lnTo>
                <a:lnTo>
                  <a:pt x="1613" y="1473"/>
                </a:lnTo>
                <a:lnTo>
                  <a:pt x="1614" y="1470"/>
                </a:lnTo>
                <a:lnTo>
                  <a:pt x="1615" y="1469"/>
                </a:lnTo>
                <a:lnTo>
                  <a:pt x="1614" y="1470"/>
                </a:lnTo>
                <a:lnTo>
                  <a:pt x="1613" y="1473"/>
                </a:lnTo>
                <a:close/>
                <a:moveTo>
                  <a:pt x="1603" y="1337"/>
                </a:moveTo>
                <a:lnTo>
                  <a:pt x="1607" y="1337"/>
                </a:lnTo>
                <a:lnTo>
                  <a:pt x="1610" y="1336"/>
                </a:lnTo>
                <a:lnTo>
                  <a:pt x="1612" y="1337"/>
                </a:lnTo>
                <a:lnTo>
                  <a:pt x="1613" y="1337"/>
                </a:lnTo>
                <a:lnTo>
                  <a:pt x="1620" y="1342"/>
                </a:lnTo>
                <a:lnTo>
                  <a:pt x="1626" y="1348"/>
                </a:lnTo>
                <a:lnTo>
                  <a:pt x="1614" y="1342"/>
                </a:lnTo>
                <a:lnTo>
                  <a:pt x="1603" y="1337"/>
                </a:lnTo>
                <a:close/>
                <a:moveTo>
                  <a:pt x="1596" y="1408"/>
                </a:moveTo>
                <a:lnTo>
                  <a:pt x="1599" y="1408"/>
                </a:lnTo>
                <a:lnTo>
                  <a:pt x="1601" y="1407"/>
                </a:lnTo>
                <a:lnTo>
                  <a:pt x="1602" y="1405"/>
                </a:lnTo>
                <a:lnTo>
                  <a:pt x="1605" y="1404"/>
                </a:lnTo>
                <a:lnTo>
                  <a:pt x="1602" y="1405"/>
                </a:lnTo>
                <a:lnTo>
                  <a:pt x="1601" y="1407"/>
                </a:lnTo>
                <a:lnTo>
                  <a:pt x="1599" y="1408"/>
                </a:lnTo>
                <a:lnTo>
                  <a:pt x="1596" y="1408"/>
                </a:lnTo>
                <a:close/>
                <a:moveTo>
                  <a:pt x="1595" y="1308"/>
                </a:moveTo>
                <a:lnTo>
                  <a:pt x="1594" y="1308"/>
                </a:lnTo>
                <a:lnTo>
                  <a:pt x="1593" y="1306"/>
                </a:lnTo>
                <a:lnTo>
                  <a:pt x="1595" y="1303"/>
                </a:lnTo>
                <a:lnTo>
                  <a:pt x="1598" y="1302"/>
                </a:lnTo>
                <a:lnTo>
                  <a:pt x="1599" y="1300"/>
                </a:lnTo>
                <a:lnTo>
                  <a:pt x="1599" y="1298"/>
                </a:lnTo>
                <a:lnTo>
                  <a:pt x="1599" y="1300"/>
                </a:lnTo>
                <a:lnTo>
                  <a:pt x="1598" y="1302"/>
                </a:lnTo>
                <a:lnTo>
                  <a:pt x="1595" y="1303"/>
                </a:lnTo>
                <a:lnTo>
                  <a:pt x="1593" y="1306"/>
                </a:lnTo>
                <a:lnTo>
                  <a:pt x="1594" y="1308"/>
                </a:lnTo>
                <a:lnTo>
                  <a:pt x="1595" y="1308"/>
                </a:lnTo>
                <a:close/>
                <a:moveTo>
                  <a:pt x="1593" y="1391"/>
                </a:moveTo>
                <a:lnTo>
                  <a:pt x="1594" y="1390"/>
                </a:lnTo>
                <a:lnTo>
                  <a:pt x="1594" y="1389"/>
                </a:lnTo>
                <a:lnTo>
                  <a:pt x="1592" y="1389"/>
                </a:lnTo>
                <a:lnTo>
                  <a:pt x="1590" y="1389"/>
                </a:lnTo>
                <a:lnTo>
                  <a:pt x="1592" y="1389"/>
                </a:lnTo>
                <a:lnTo>
                  <a:pt x="1594" y="1389"/>
                </a:lnTo>
                <a:lnTo>
                  <a:pt x="1594" y="1390"/>
                </a:lnTo>
                <a:lnTo>
                  <a:pt x="1593" y="1391"/>
                </a:lnTo>
                <a:close/>
                <a:moveTo>
                  <a:pt x="1592" y="1476"/>
                </a:moveTo>
                <a:lnTo>
                  <a:pt x="1588" y="1475"/>
                </a:lnTo>
                <a:lnTo>
                  <a:pt x="1586" y="1476"/>
                </a:lnTo>
                <a:lnTo>
                  <a:pt x="1588" y="1475"/>
                </a:lnTo>
                <a:lnTo>
                  <a:pt x="1592" y="1476"/>
                </a:lnTo>
                <a:lnTo>
                  <a:pt x="1593" y="1474"/>
                </a:lnTo>
                <a:lnTo>
                  <a:pt x="1593" y="1473"/>
                </a:lnTo>
                <a:lnTo>
                  <a:pt x="1593" y="1474"/>
                </a:lnTo>
                <a:lnTo>
                  <a:pt x="1592" y="1476"/>
                </a:lnTo>
                <a:close/>
                <a:moveTo>
                  <a:pt x="1578" y="1454"/>
                </a:moveTo>
                <a:lnTo>
                  <a:pt x="1578" y="1455"/>
                </a:lnTo>
                <a:lnTo>
                  <a:pt x="1579" y="1455"/>
                </a:lnTo>
                <a:lnTo>
                  <a:pt x="1581" y="1456"/>
                </a:lnTo>
                <a:lnTo>
                  <a:pt x="1583" y="1456"/>
                </a:lnTo>
                <a:lnTo>
                  <a:pt x="1581" y="1456"/>
                </a:lnTo>
                <a:lnTo>
                  <a:pt x="1579" y="1455"/>
                </a:lnTo>
                <a:lnTo>
                  <a:pt x="1578" y="1455"/>
                </a:lnTo>
                <a:lnTo>
                  <a:pt x="1578" y="1454"/>
                </a:lnTo>
                <a:close/>
                <a:moveTo>
                  <a:pt x="1558" y="1324"/>
                </a:moveTo>
                <a:lnTo>
                  <a:pt x="1557" y="1324"/>
                </a:lnTo>
                <a:lnTo>
                  <a:pt x="1554" y="1324"/>
                </a:lnTo>
                <a:lnTo>
                  <a:pt x="1557" y="1324"/>
                </a:lnTo>
                <a:lnTo>
                  <a:pt x="1558" y="1324"/>
                </a:lnTo>
                <a:lnTo>
                  <a:pt x="1571" y="1316"/>
                </a:lnTo>
                <a:lnTo>
                  <a:pt x="1583" y="1310"/>
                </a:lnTo>
                <a:lnTo>
                  <a:pt x="1571" y="1316"/>
                </a:lnTo>
                <a:lnTo>
                  <a:pt x="1558" y="1324"/>
                </a:lnTo>
                <a:close/>
                <a:moveTo>
                  <a:pt x="1562" y="1344"/>
                </a:moveTo>
                <a:lnTo>
                  <a:pt x="1564" y="1341"/>
                </a:lnTo>
                <a:lnTo>
                  <a:pt x="1567" y="1338"/>
                </a:lnTo>
                <a:lnTo>
                  <a:pt x="1567" y="1338"/>
                </a:lnTo>
                <a:lnTo>
                  <a:pt x="1564" y="1341"/>
                </a:lnTo>
                <a:lnTo>
                  <a:pt x="1562" y="1344"/>
                </a:lnTo>
                <a:close/>
                <a:moveTo>
                  <a:pt x="1589" y="1406"/>
                </a:moveTo>
                <a:lnTo>
                  <a:pt x="1590" y="1408"/>
                </a:lnTo>
                <a:lnTo>
                  <a:pt x="1593" y="1408"/>
                </a:lnTo>
                <a:lnTo>
                  <a:pt x="1590" y="1408"/>
                </a:lnTo>
                <a:lnTo>
                  <a:pt x="1589" y="1406"/>
                </a:lnTo>
                <a:lnTo>
                  <a:pt x="1586" y="1407"/>
                </a:lnTo>
                <a:lnTo>
                  <a:pt x="1583" y="1408"/>
                </a:lnTo>
                <a:lnTo>
                  <a:pt x="1586" y="1407"/>
                </a:lnTo>
                <a:lnTo>
                  <a:pt x="1589" y="1406"/>
                </a:lnTo>
                <a:close/>
                <a:moveTo>
                  <a:pt x="1629" y="1418"/>
                </a:moveTo>
                <a:lnTo>
                  <a:pt x="1628" y="1417"/>
                </a:lnTo>
                <a:lnTo>
                  <a:pt x="1628" y="1414"/>
                </a:lnTo>
                <a:lnTo>
                  <a:pt x="1628" y="1417"/>
                </a:lnTo>
                <a:lnTo>
                  <a:pt x="1629" y="1418"/>
                </a:lnTo>
                <a:close/>
                <a:moveTo>
                  <a:pt x="1654" y="1473"/>
                </a:moveTo>
                <a:lnTo>
                  <a:pt x="1654" y="1473"/>
                </a:lnTo>
                <a:lnTo>
                  <a:pt x="1655" y="1473"/>
                </a:lnTo>
                <a:lnTo>
                  <a:pt x="1654" y="1473"/>
                </a:lnTo>
                <a:lnTo>
                  <a:pt x="1654" y="1473"/>
                </a:lnTo>
                <a:lnTo>
                  <a:pt x="1652" y="1471"/>
                </a:lnTo>
                <a:lnTo>
                  <a:pt x="1651" y="1470"/>
                </a:lnTo>
                <a:lnTo>
                  <a:pt x="1652" y="1471"/>
                </a:lnTo>
                <a:lnTo>
                  <a:pt x="1654" y="1473"/>
                </a:lnTo>
                <a:close/>
                <a:moveTo>
                  <a:pt x="1520" y="1180"/>
                </a:moveTo>
                <a:lnTo>
                  <a:pt x="1514" y="1183"/>
                </a:lnTo>
                <a:lnTo>
                  <a:pt x="1510" y="1187"/>
                </a:lnTo>
                <a:lnTo>
                  <a:pt x="1514" y="1183"/>
                </a:lnTo>
                <a:lnTo>
                  <a:pt x="1520" y="1180"/>
                </a:lnTo>
                <a:lnTo>
                  <a:pt x="1521" y="1177"/>
                </a:lnTo>
                <a:lnTo>
                  <a:pt x="1521" y="1176"/>
                </a:lnTo>
                <a:lnTo>
                  <a:pt x="1521" y="1177"/>
                </a:lnTo>
                <a:lnTo>
                  <a:pt x="1520" y="1180"/>
                </a:lnTo>
                <a:close/>
                <a:moveTo>
                  <a:pt x="1341" y="971"/>
                </a:moveTo>
                <a:lnTo>
                  <a:pt x="1332" y="970"/>
                </a:lnTo>
                <a:lnTo>
                  <a:pt x="1324" y="970"/>
                </a:lnTo>
                <a:lnTo>
                  <a:pt x="1332" y="970"/>
                </a:lnTo>
                <a:lnTo>
                  <a:pt x="1341" y="971"/>
                </a:lnTo>
                <a:lnTo>
                  <a:pt x="1343" y="971"/>
                </a:lnTo>
                <a:lnTo>
                  <a:pt x="1341" y="971"/>
                </a:lnTo>
                <a:lnTo>
                  <a:pt x="1341" y="971"/>
                </a:lnTo>
                <a:close/>
                <a:moveTo>
                  <a:pt x="1319" y="971"/>
                </a:moveTo>
                <a:lnTo>
                  <a:pt x="1319" y="971"/>
                </a:lnTo>
                <a:lnTo>
                  <a:pt x="1322" y="978"/>
                </a:lnTo>
                <a:lnTo>
                  <a:pt x="1324" y="984"/>
                </a:lnTo>
                <a:lnTo>
                  <a:pt x="1322" y="978"/>
                </a:lnTo>
                <a:lnTo>
                  <a:pt x="1319" y="971"/>
                </a:lnTo>
                <a:close/>
                <a:moveTo>
                  <a:pt x="1312" y="970"/>
                </a:moveTo>
                <a:lnTo>
                  <a:pt x="1312" y="970"/>
                </a:lnTo>
                <a:lnTo>
                  <a:pt x="1315" y="970"/>
                </a:lnTo>
                <a:lnTo>
                  <a:pt x="1317" y="968"/>
                </a:lnTo>
                <a:lnTo>
                  <a:pt x="1315" y="970"/>
                </a:lnTo>
                <a:lnTo>
                  <a:pt x="1312" y="970"/>
                </a:lnTo>
                <a:close/>
                <a:moveTo>
                  <a:pt x="1311" y="970"/>
                </a:moveTo>
                <a:lnTo>
                  <a:pt x="1306" y="971"/>
                </a:lnTo>
                <a:lnTo>
                  <a:pt x="1302" y="972"/>
                </a:lnTo>
                <a:lnTo>
                  <a:pt x="1306" y="971"/>
                </a:lnTo>
                <a:lnTo>
                  <a:pt x="1311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2" y="970"/>
                </a:lnTo>
                <a:lnTo>
                  <a:pt x="1311" y="970"/>
                </a:lnTo>
                <a:close/>
                <a:moveTo>
                  <a:pt x="1279" y="1017"/>
                </a:moveTo>
                <a:lnTo>
                  <a:pt x="1279" y="1016"/>
                </a:lnTo>
                <a:lnTo>
                  <a:pt x="1278" y="1015"/>
                </a:lnTo>
                <a:lnTo>
                  <a:pt x="1278" y="1014"/>
                </a:lnTo>
                <a:lnTo>
                  <a:pt x="1277" y="1013"/>
                </a:lnTo>
                <a:lnTo>
                  <a:pt x="1277" y="1012"/>
                </a:lnTo>
                <a:lnTo>
                  <a:pt x="1276" y="1010"/>
                </a:lnTo>
                <a:lnTo>
                  <a:pt x="1277" y="1012"/>
                </a:lnTo>
                <a:lnTo>
                  <a:pt x="1277" y="1013"/>
                </a:lnTo>
                <a:lnTo>
                  <a:pt x="1278" y="1014"/>
                </a:lnTo>
                <a:lnTo>
                  <a:pt x="1278" y="1015"/>
                </a:lnTo>
                <a:lnTo>
                  <a:pt x="1279" y="1016"/>
                </a:lnTo>
                <a:lnTo>
                  <a:pt x="1279" y="1017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9"/>
                </a:lnTo>
                <a:lnTo>
                  <a:pt x="1279" y="1017"/>
                </a:lnTo>
                <a:close/>
                <a:moveTo>
                  <a:pt x="1276" y="1010"/>
                </a:moveTo>
                <a:lnTo>
                  <a:pt x="1274" y="1003"/>
                </a:lnTo>
                <a:lnTo>
                  <a:pt x="1269" y="996"/>
                </a:lnTo>
                <a:lnTo>
                  <a:pt x="1274" y="1003"/>
                </a:lnTo>
                <a:lnTo>
                  <a:pt x="1276" y="1010"/>
                </a:lnTo>
                <a:close/>
                <a:moveTo>
                  <a:pt x="1268" y="986"/>
                </a:moveTo>
                <a:lnTo>
                  <a:pt x="1269" y="984"/>
                </a:lnTo>
                <a:lnTo>
                  <a:pt x="1271" y="982"/>
                </a:lnTo>
                <a:lnTo>
                  <a:pt x="1269" y="984"/>
                </a:lnTo>
                <a:lnTo>
                  <a:pt x="1268" y="986"/>
                </a:lnTo>
                <a:close/>
                <a:moveTo>
                  <a:pt x="1250" y="622"/>
                </a:moveTo>
                <a:lnTo>
                  <a:pt x="1249" y="623"/>
                </a:lnTo>
                <a:lnTo>
                  <a:pt x="1249" y="624"/>
                </a:lnTo>
                <a:lnTo>
                  <a:pt x="1249" y="623"/>
                </a:lnTo>
                <a:lnTo>
                  <a:pt x="1250" y="622"/>
                </a:lnTo>
                <a:lnTo>
                  <a:pt x="1254" y="618"/>
                </a:lnTo>
                <a:lnTo>
                  <a:pt x="1257" y="616"/>
                </a:lnTo>
                <a:lnTo>
                  <a:pt x="1254" y="618"/>
                </a:lnTo>
                <a:lnTo>
                  <a:pt x="1250" y="622"/>
                </a:lnTo>
                <a:close/>
                <a:moveTo>
                  <a:pt x="1275" y="621"/>
                </a:moveTo>
                <a:lnTo>
                  <a:pt x="1272" y="620"/>
                </a:lnTo>
                <a:lnTo>
                  <a:pt x="1270" y="620"/>
                </a:lnTo>
                <a:lnTo>
                  <a:pt x="1272" y="620"/>
                </a:lnTo>
                <a:lnTo>
                  <a:pt x="1275" y="621"/>
                </a:lnTo>
                <a:close/>
                <a:moveTo>
                  <a:pt x="1233" y="952"/>
                </a:moveTo>
                <a:lnTo>
                  <a:pt x="1233" y="952"/>
                </a:lnTo>
                <a:lnTo>
                  <a:pt x="1231" y="951"/>
                </a:lnTo>
                <a:lnTo>
                  <a:pt x="1233" y="952"/>
                </a:lnTo>
                <a:lnTo>
                  <a:pt x="1233" y="952"/>
                </a:lnTo>
                <a:lnTo>
                  <a:pt x="1233" y="952"/>
                </a:lnTo>
                <a:lnTo>
                  <a:pt x="1234" y="952"/>
                </a:lnTo>
                <a:lnTo>
                  <a:pt x="1233" y="952"/>
                </a:lnTo>
                <a:lnTo>
                  <a:pt x="1233" y="952"/>
                </a:lnTo>
                <a:close/>
                <a:moveTo>
                  <a:pt x="1212" y="553"/>
                </a:moveTo>
                <a:lnTo>
                  <a:pt x="1212" y="551"/>
                </a:lnTo>
                <a:lnTo>
                  <a:pt x="1210" y="551"/>
                </a:lnTo>
                <a:lnTo>
                  <a:pt x="1209" y="543"/>
                </a:lnTo>
                <a:lnTo>
                  <a:pt x="1207" y="536"/>
                </a:lnTo>
                <a:lnTo>
                  <a:pt x="1206" y="518"/>
                </a:lnTo>
                <a:lnTo>
                  <a:pt x="1203" y="501"/>
                </a:lnTo>
                <a:lnTo>
                  <a:pt x="1202" y="492"/>
                </a:lnTo>
                <a:lnTo>
                  <a:pt x="1200" y="483"/>
                </a:lnTo>
                <a:lnTo>
                  <a:pt x="1198" y="475"/>
                </a:lnTo>
                <a:lnTo>
                  <a:pt x="1194" y="467"/>
                </a:lnTo>
                <a:lnTo>
                  <a:pt x="1194" y="459"/>
                </a:lnTo>
                <a:lnTo>
                  <a:pt x="1198" y="464"/>
                </a:lnTo>
                <a:lnTo>
                  <a:pt x="1201" y="469"/>
                </a:lnTo>
                <a:lnTo>
                  <a:pt x="1202" y="466"/>
                </a:lnTo>
                <a:lnTo>
                  <a:pt x="1205" y="462"/>
                </a:lnTo>
                <a:lnTo>
                  <a:pt x="1205" y="461"/>
                </a:lnTo>
                <a:lnTo>
                  <a:pt x="1205" y="460"/>
                </a:lnTo>
                <a:lnTo>
                  <a:pt x="1205" y="461"/>
                </a:lnTo>
                <a:lnTo>
                  <a:pt x="1205" y="462"/>
                </a:lnTo>
                <a:lnTo>
                  <a:pt x="1205" y="470"/>
                </a:lnTo>
                <a:lnTo>
                  <a:pt x="1206" y="478"/>
                </a:lnTo>
                <a:lnTo>
                  <a:pt x="1205" y="481"/>
                </a:lnTo>
                <a:lnTo>
                  <a:pt x="1205" y="483"/>
                </a:lnTo>
                <a:lnTo>
                  <a:pt x="1206" y="485"/>
                </a:lnTo>
                <a:lnTo>
                  <a:pt x="1207" y="488"/>
                </a:lnTo>
                <a:lnTo>
                  <a:pt x="1208" y="498"/>
                </a:lnTo>
                <a:lnTo>
                  <a:pt x="1210" y="510"/>
                </a:lnTo>
                <a:lnTo>
                  <a:pt x="1213" y="511"/>
                </a:lnTo>
                <a:lnTo>
                  <a:pt x="1214" y="512"/>
                </a:lnTo>
                <a:lnTo>
                  <a:pt x="1213" y="511"/>
                </a:lnTo>
                <a:lnTo>
                  <a:pt x="1210" y="510"/>
                </a:lnTo>
                <a:lnTo>
                  <a:pt x="1212" y="526"/>
                </a:lnTo>
                <a:lnTo>
                  <a:pt x="1214" y="543"/>
                </a:lnTo>
                <a:lnTo>
                  <a:pt x="1215" y="546"/>
                </a:lnTo>
                <a:lnTo>
                  <a:pt x="1215" y="550"/>
                </a:lnTo>
                <a:lnTo>
                  <a:pt x="1215" y="553"/>
                </a:lnTo>
                <a:lnTo>
                  <a:pt x="1214" y="555"/>
                </a:lnTo>
                <a:lnTo>
                  <a:pt x="1213" y="554"/>
                </a:lnTo>
                <a:lnTo>
                  <a:pt x="1212" y="553"/>
                </a:lnTo>
                <a:close/>
                <a:moveTo>
                  <a:pt x="1207" y="483"/>
                </a:moveTo>
                <a:lnTo>
                  <a:pt x="1207" y="482"/>
                </a:lnTo>
                <a:lnTo>
                  <a:pt x="1206" y="480"/>
                </a:lnTo>
                <a:lnTo>
                  <a:pt x="1207" y="482"/>
                </a:lnTo>
                <a:lnTo>
                  <a:pt x="1207" y="483"/>
                </a:lnTo>
                <a:close/>
                <a:moveTo>
                  <a:pt x="1188" y="431"/>
                </a:moveTo>
                <a:lnTo>
                  <a:pt x="1187" y="429"/>
                </a:lnTo>
                <a:lnTo>
                  <a:pt x="1187" y="428"/>
                </a:lnTo>
                <a:lnTo>
                  <a:pt x="1187" y="428"/>
                </a:lnTo>
                <a:lnTo>
                  <a:pt x="1188" y="428"/>
                </a:lnTo>
                <a:lnTo>
                  <a:pt x="1188" y="429"/>
                </a:lnTo>
                <a:lnTo>
                  <a:pt x="1189" y="429"/>
                </a:lnTo>
                <a:lnTo>
                  <a:pt x="1188" y="431"/>
                </a:lnTo>
                <a:lnTo>
                  <a:pt x="1188" y="431"/>
                </a:lnTo>
                <a:close/>
                <a:moveTo>
                  <a:pt x="1179" y="464"/>
                </a:moveTo>
                <a:lnTo>
                  <a:pt x="1177" y="460"/>
                </a:lnTo>
                <a:lnTo>
                  <a:pt x="1175" y="455"/>
                </a:lnTo>
                <a:lnTo>
                  <a:pt x="1177" y="447"/>
                </a:lnTo>
                <a:lnTo>
                  <a:pt x="1180" y="432"/>
                </a:lnTo>
                <a:lnTo>
                  <a:pt x="1179" y="448"/>
                </a:lnTo>
                <a:lnTo>
                  <a:pt x="1179" y="464"/>
                </a:lnTo>
                <a:close/>
                <a:moveTo>
                  <a:pt x="1159" y="665"/>
                </a:moveTo>
                <a:lnTo>
                  <a:pt x="1157" y="665"/>
                </a:lnTo>
                <a:lnTo>
                  <a:pt x="1155" y="667"/>
                </a:lnTo>
                <a:lnTo>
                  <a:pt x="1155" y="667"/>
                </a:lnTo>
                <a:lnTo>
                  <a:pt x="1154" y="667"/>
                </a:lnTo>
                <a:lnTo>
                  <a:pt x="1153" y="666"/>
                </a:lnTo>
                <a:lnTo>
                  <a:pt x="1153" y="665"/>
                </a:lnTo>
                <a:lnTo>
                  <a:pt x="1150" y="655"/>
                </a:lnTo>
                <a:lnTo>
                  <a:pt x="1146" y="644"/>
                </a:lnTo>
                <a:lnTo>
                  <a:pt x="1144" y="632"/>
                </a:lnTo>
                <a:lnTo>
                  <a:pt x="1141" y="622"/>
                </a:lnTo>
                <a:lnTo>
                  <a:pt x="1139" y="610"/>
                </a:lnTo>
                <a:lnTo>
                  <a:pt x="1137" y="600"/>
                </a:lnTo>
                <a:lnTo>
                  <a:pt x="1138" y="596"/>
                </a:lnTo>
                <a:lnTo>
                  <a:pt x="1138" y="594"/>
                </a:lnTo>
                <a:lnTo>
                  <a:pt x="1140" y="588"/>
                </a:lnTo>
                <a:lnTo>
                  <a:pt x="1140" y="581"/>
                </a:lnTo>
                <a:lnTo>
                  <a:pt x="1140" y="574"/>
                </a:lnTo>
                <a:lnTo>
                  <a:pt x="1138" y="567"/>
                </a:lnTo>
                <a:lnTo>
                  <a:pt x="1137" y="562"/>
                </a:lnTo>
                <a:lnTo>
                  <a:pt x="1137" y="557"/>
                </a:lnTo>
                <a:lnTo>
                  <a:pt x="1133" y="557"/>
                </a:lnTo>
                <a:lnTo>
                  <a:pt x="1131" y="558"/>
                </a:lnTo>
                <a:lnTo>
                  <a:pt x="1133" y="557"/>
                </a:lnTo>
                <a:lnTo>
                  <a:pt x="1137" y="557"/>
                </a:lnTo>
                <a:lnTo>
                  <a:pt x="1137" y="548"/>
                </a:lnTo>
                <a:lnTo>
                  <a:pt x="1136" y="540"/>
                </a:lnTo>
                <a:lnTo>
                  <a:pt x="1133" y="532"/>
                </a:lnTo>
                <a:lnTo>
                  <a:pt x="1131" y="524"/>
                </a:lnTo>
                <a:lnTo>
                  <a:pt x="1130" y="513"/>
                </a:lnTo>
                <a:lnTo>
                  <a:pt x="1127" y="503"/>
                </a:lnTo>
                <a:lnTo>
                  <a:pt x="1125" y="494"/>
                </a:lnTo>
                <a:lnTo>
                  <a:pt x="1120" y="485"/>
                </a:lnTo>
                <a:lnTo>
                  <a:pt x="1117" y="478"/>
                </a:lnTo>
                <a:lnTo>
                  <a:pt x="1115" y="473"/>
                </a:lnTo>
                <a:lnTo>
                  <a:pt x="1112" y="466"/>
                </a:lnTo>
                <a:lnTo>
                  <a:pt x="1111" y="459"/>
                </a:lnTo>
                <a:lnTo>
                  <a:pt x="1110" y="446"/>
                </a:lnTo>
                <a:lnTo>
                  <a:pt x="1111" y="432"/>
                </a:lnTo>
                <a:lnTo>
                  <a:pt x="1110" y="420"/>
                </a:lnTo>
                <a:lnTo>
                  <a:pt x="1109" y="408"/>
                </a:lnTo>
                <a:lnTo>
                  <a:pt x="1106" y="397"/>
                </a:lnTo>
                <a:lnTo>
                  <a:pt x="1104" y="385"/>
                </a:lnTo>
                <a:lnTo>
                  <a:pt x="1104" y="381"/>
                </a:lnTo>
                <a:lnTo>
                  <a:pt x="1104" y="378"/>
                </a:lnTo>
                <a:lnTo>
                  <a:pt x="1105" y="376"/>
                </a:lnTo>
                <a:lnTo>
                  <a:pt x="1109" y="374"/>
                </a:lnTo>
                <a:lnTo>
                  <a:pt x="1112" y="374"/>
                </a:lnTo>
                <a:lnTo>
                  <a:pt x="1115" y="376"/>
                </a:lnTo>
                <a:lnTo>
                  <a:pt x="1116" y="379"/>
                </a:lnTo>
                <a:lnTo>
                  <a:pt x="1116" y="383"/>
                </a:lnTo>
                <a:lnTo>
                  <a:pt x="1119" y="398"/>
                </a:lnTo>
                <a:lnTo>
                  <a:pt x="1122" y="413"/>
                </a:lnTo>
                <a:lnTo>
                  <a:pt x="1122" y="417"/>
                </a:lnTo>
                <a:lnTo>
                  <a:pt x="1124" y="420"/>
                </a:lnTo>
                <a:lnTo>
                  <a:pt x="1124" y="424"/>
                </a:lnTo>
                <a:lnTo>
                  <a:pt x="1124" y="427"/>
                </a:lnTo>
                <a:lnTo>
                  <a:pt x="1122" y="427"/>
                </a:lnTo>
                <a:lnTo>
                  <a:pt x="1122" y="428"/>
                </a:lnTo>
                <a:lnTo>
                  <a:pt x="1122" y="429"/>
                </a:lnTo>
                <a:lnTo>
                  <a:pt x="1123" y="431"/>
                </a:lnTo>
                <a:lnTo>
                  <a:pt x="1124" y="429"/>
                </a:lnTo>
                <a:lnTo>
                  <a:pt x="1124" y="428"/>
                </a:lnTo>
                <a:lnTo>
                  <a:pt x="1124" y="429"/>
                </a:lnTo>
                <a:lnTo>
                  <a:pt x="1123" y="431"/>
                </a:lnTo>
                <a:lnTo>
                  <a:pt x="1123" y="436"/>
                </a:lnTo>
                <a:lnTo>
                  <a:pt x="1123" y="442"/>
                </a:lnTo>
                <a:lnTo>
                  <a:pt x="1122" y="445"/>
                </a:lnTo>
                <a:lnTo>
                  <a:pt x="1120" y="448"/>
                </a:lnTo>
                <a:lnTo>
                  <a:pt x="1122" y="450"/>
                </a:lnTo>
                <a:lnTo>
                  <a:pt x="1124" y="453"/>
                </a:lnTo>
                <a:lnTo>
                  <a:pt x="1124" y="455"/>
                </a:lnTo>
                <a:lnTo>
                  <a:pt x="1124" y="456"/>
                </a:lnTo>
                <a:lnTo>
                  <a:pt x="1124" y="459"/>
                </a:lnTo>
                <a:lnTo>
                  <a:pt x="1124" y="460"/>
                </a:lnTo>
                <a:lnTo>
                  <a:pt x="1124" y="461"/>
                </a:lnTo>
                <a:lnTo>
                  <a:pt x="1126" y="462"/>
                </a:lnTo>
                <a:lnTo>
                  <a:pt x="1130" y="477"/>
                </a:lnTo>
                <a:lnTo>
                  <a:pt x="1134" y="492"/>
                </a:lnTo>
                <a:lnTo>
                  <a:pt x="1137" y="504"/>
                </a:lnTo>
                <a:lnTo>
                  <a:pt x="1140" y="516"/>
                </a:lnTo>
                <a:lnTo>
                  <a:pt x="1143" y="527"/>
                </a:lnTo>
                <a:lnTo>
                  <a:pt x="1145" y="538"/>
                </a:lnTo>
                <a:lnTo>
                  <a:pt x="1147" y="548"/>
                </a:lnTo>
                <a:lnTo>
                  <a:pt x="1148" y="558"/>
                </a:lnTo>
                <a:lnTo>
                  <a:pt x="1150" y="568"/>
                </a:lnTo>
                <a:lnTo>
                  <a:pt x="1150" y="578"/>
                </a:lnTo>
                <a:lnTo>
                  <a:pt x="1150" y="588"/>
                </a:lnTo>
                <a:lnTo>
                  <a:pt x="1151" y="599"/>
                </a:lnTo>
                <a:lnTo>
                  <a:pt x="1152" y="609"/>
                </a:lnTo>
                <a:lnTo>
                  <a:pt x="1152" y="620"/>
                </a:lnTo>
                <a:lnTo>
                  <a:pt x="1153" y="622"/>
                </a:lnTo>
                <a:lnTo>
                  <a:pt x="1154" y="625"/>
                </a:lnTo>
                <a:lnTo>
                  <a:pt x="1153" y="622"/>
                </a:lnTo>
                <a:lnTo>
                  <a:pt x="1152" y="620"/>
                </a:lnTo>
                <a:lnTo>
                  <a:pt x="1152" y="630"/>
                </a:lnTo>
                <a:lnTo>
                  <a:pt x="1153" y="639"/>
                </a:lnTo>
                <a:lnTo>
                  <a:pt x="1154" y="650"/>
                </a:lnTo>
                <a:lnTo>
                  <a:pt x="1155" y="659"/>
                </a:lnTo>
                <a:lnTo>
                  <a:pt x="1157" y="663"/>
                </a:lnTo>
                <a:lnTo>
                  <a:pt x="1159" y="665"/>
                </a:lnTo>
                <a:lnTo>
                  <a:pt x="1161" y="665"/>
                </a:lnTo>
                <a:lnTo>
                  <a:pt x="1164" y="666"/>
                </a:lnTo>
                <a:lnTo>
                  <a:pt x="1161" y="665"/>
                </a:lnTo>
                <a:lnTo>
                  <a:pt x="1159" y="665"/>
                </a:lnTo>
                <a:close/>
                <a:moveTo>
                  <a:pt x="1148" y="721"/>
                </a:moveTo>
                <a:lnTo>
                  <a:pt x="1148" y="723"/>
                </a:lnTo>
                <a:lnTo>
                  <a:pt x="1147" y="723"/>
                </a:lnTo>
                <a:lnTo>
                  <a:pt x="1148" y="723"/>
                </a:lnTo>
                <a:lnTo>
                  <a:pt x="1148" y="721"/>
                </a:lnTo>
                <a:lnTo>
                  <a:pt x="1150" y="719"/>
                </a:lnTo>
                <a:lnTo>
                  <a:pt x="1150" y="716"/>
                </a:lnTo>
                <a:lnTo>
                  <a:pt x="1150" y="719"/>
                </a:lnTo>
                <a:lnTo>
                  <a:pt x="1148" y="721"/>
                </a:lnTo>
                <a:close/>
                <a:moveTo>
                  <a:pt x="1145" y="725"/>
                </a:moveTo>
                <a:lnTo>
                  <a:pt x="1145" y="730"/>
                </a:lnTo>
                <a:lnTo>
                  <a:pt x="1141" y="735"/>
                </a:lnTo>
                <a:lnTo>
                  <a:pt x="1139" y="739"/>
                </a:lnTo>
                <a:lnTo>
                  <a:pt x="1134" y="741"/>
                </a:lnTo>
                <a:lnTo>
                  <a:pt x="1139" y="739"/>
                </a:lnTo>
                <a:lnTo>
                  <a:pt x="1141" y="735"/>
                </a:lnTo>
                <a:lnTo>
                  <a:pt x="1145" y="730"/>
                </a:lnTo>
                <a:lnTo>
                  <a:pt x="1145" y="725"/>
                </a:lnTo>
                <a:lnTo>
                  <a:pt x="1146" y="725"/>
                </a:lnTo>
                <a:lnTo>
                  <a:pt x="1146" y="725"/>
                </a:lnTo>
                <a:lnTo>
                  <a:pt x="1145" y="725"/>
                </a:lnTo>
                <a:close/>
                <a:moveTo>
                  <a:pt x="1111" y="478"/>
                </a:moveTo>
                <a:lnTo>
                  <a:pt x="1111" y="477"/>
                </a:lnTo>
                <a:lnTo>
                  <a:pt x="1111" y="477"/>
                </a:lnTo>
                <a:lnTo>
                  <a:pt x="1111" y="477"/>
                </a:lnTo>
                <a:lnTo>
                  <a:pt x="1111" y="478"/>
                </a:lnTo>
                <a:lnTo>
                  <a:pt x="1115" y="480"/>
                </a:lnTo>
                <a:lnTo>
                  <a:pt x="1116" y="483"/>
                </a:lnTo>
                <a:lnTo>
                  <a:pt x="1117" y="485"/>
                </a:lnTo>
                <a:lnTo>
                  <a:pt x="1118" y="488"/>
                </a:lnTo>
                <a:lnTo>
                  <a:pt x="1117" y="485"/>
                </a:lnTo>
                <a:lnTo>
                  <a:pt x="1116" y="483"/>
                </a:lnTo>
                <a:lnTo>
                  <a:pt x="1115" y="480"/>
                </a:lnTo>
                <a:lnTo>
                  <a:pt x="1111" y="478"/>
                </a:lnTo>
                <a:close/>
                <a:moveTo>
                  <a:pt x="1143" y="483"/>
                </a:moveTo>
                <a:lnTo>
                  <a:pt x="1143" y="485"/>
                </a:lnTo>
                <a:lnTo>
                  <a:pt x="1143" y="488"/>
                </a:lnTo>
                <a:lnTo>
                  <a:pt x="1143" y="485"/>
                </a:lnTo>
                <a:lnTo>
                  <a:pt x="1143" y="483"/>
                </a:lnTo>
                <a:close/>
                <a:moveTo>
                  <a:pt x="1147" y="443"/>
                </a:moveTo>
                <a:lnTo>
                  <a:pt x="1148" y="443"/>
                </a:lnTo>
                <a:lnTo>
                  <a:pt x="1148" y="442"/>
                </a:lnTo>
                <a:lnTo>
                  <a:pt x="1148" y="443"/>
                </a:lnTo>
                <a:lnTo>
                  <a:pt x="1147" y="443"/>
                </a:lnTo>
                <a:lnTo>
                  <a:pt x="1145" y="445"/>
                </a:lnTo>
                <a:lnTo>
                  <a:pt x="1144" y="446"/>
                </a:lnTo>
                <a:lnTo>
                  <a:pt x="1145" y="445"/>
                </a:lnTo>
                <a:lnTo>
                  <a:pt x="1147" y="443"/>
                </a:lnTo>
                <a:close/>
                <a:moveTo>
                  <a:pt x="1154" y="499"/>
                </a:moveTo>
                <a:lnTo>
                  <a:pt x="1152" y="496"/>
                </a:lnTo>
                <a:lnTo>
                  <a:pt x="1150" y="492"/>
                </a:lnTo>
                <a:lnTo>
                  <a:pt x="1152" y="496"/>
                </a:lnTo>
                <a:lnTo>
                  <a:pt x="1154" y="499"/>
                </a:lnTo>
                <a:close/>
                <a:moveTo>
                  <a:pt x="1145" y="429"/>
                </a:moveTo>
                <a:lnTo>
                  <a:pt x="1148" y="417"/>
                </a:lnTo>
                <a:lnTo>
                  <a:pt x="1152" y="404"/>
                </a:lnTo>
                <a:lnTo>
                  <a:pt x="1153" y="401"/>
                </a:lnTo>
                <a:lnTo>
                  <a:pt x="1154" y="400"/>
                </a:lnTo>
                <a:lnTo>
                  <a:pt x="1155" y="400"/>
                </a:lnTo>
                <a:lnTo>
                  <a:pt x="1157" y="400"/>
                </a:lnTo>
                <a:lnTo>
                  <a:pt x="1158" y="406"/>
                </a:lnTo>
                <a:lnTo>
                  <a:pt x="1159" y="411"/>
                </a:lnTo>
                <a:lnTo>
                  <a:pt x="1159" y="417"/>
                </a:lnTo>
                <a:lnTo>
                  <a:pt x="1158" y="421"/>
                </a:lnTo>
                <a:lnTo>
                  <a:pt x="1158" y="426"/>
                </a:lnTo>
                <a:lnTo>
                  <a:pt x="1157" y="429"/>
                </a:lnTo>
                <a:lnTo>
                  <a:pt x="1154" y="434"/>
                </a:lnTo>
                <a:lnTo>
                  <a:pt x="1152" y="438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9"/>
                </a:lnTo>
                <a:lnTo>
                  <a:pt x="1152" y="438"/>
                </a:lnTo>
                <a:lnTo>
                  <a:pt x="1148" y="438"/>
                </a:lnTo>
                <a:lnTo>
                  <a:pt x="1146" y="436"/>
                </a:lnTo>
                <a:lnTo>
                  <a:pt x="1145" y="434"/>
                </a:lnTo>
                <a:lnTo>
                  <a:pt x="1145" y="429"/>
                </a:lnTo>
                <a:close/>
                <a:moveTo>
                  <a:pt x="1083" y="373"/>
                </a:moveTo>
                <a:lnTo>
                  <a:pt x="1081" y="373"/>
                </a:lnTo>
                <a:lnTo>
                  <a:pt x="1079" y="372"/>
                </a:lnTo>
                <a:lnTo>
                  <a:pt x="1079" y="371"/>
                </a:lnTo>
                <a:lnTo>
                  <a:pt x="1078" y="370"/>
                </a:lnTo>
                <a:lnTo>
                  <a:pt x="1076" y="367"/>
                </a:lnTo>
                <a:lnTo>
                  <a:pt x="1075" y="367"/>
                </a:lnTo>
                <a:lnTo>
                  <a:pt x="1072" y="367"/>
                </a:lnTo>
                <a:lnTo>
                  <a:pt x="1070" y="369"/>
                </a:lnTo>
                <a:lnTo>
                  <a:pt x="1067" y="371"/>
                </a:lnTo>
                <a:lnTo>
                  <a:pt x="1064" y="377"/>
                </a:lnTo>
                <a:lnTo>
                  <a:pt x="1063" y="379"/>
                </a:lnTo>
                <a:lnTo>
                  <a:pt x="1062" y="383"/>
                </a:lnTo>
                <a:lnTo>
                  <a:pt x="1060" y="384"/>
                </a:lnTo>
                <a:lnTo>
                  <a:pt x="1056" y="385"/>
                </a:lnTo>
                <a:lnTo>
                  <a:pt x="1053" y="383"/>
                </a:lnTo>
                <a:lnTo>
                  <a:pt x="1050" y="380"/>
                </a:lnTo>
                <a:lnTo>
                  <a:pt x="1049" y="377"/>
                </a:lnTo>
                <a:lnTo>
                  <a:pt x="1049" y="373"/>
                </a:lnTo>
                <a:lnTo>
                  <a:pt x="1049" y="371"/>
                </a:lnTo>
                <a:lnTo>
                  <a:pt x="1048" y="367"/>
                </a:lnTo>
                <a:lnTo>
                  <a:pt x="1050" y="363"/>
                </a:lnTo>
                <a:lnTo>
                  <a:pt x="1055" y="358"/>
                </a:lnTo>
                <a:lnTo>
                  <a:pt x="1060" y="355"/>
                </a:lnTo>
                <a:lnTo>
                  <a:pt x="1062" y="350"/>
                </a:lnTo>
                <a:lnTo>
                  <a:pt x="1063" y="348"/>
                </a:lnTo>
                <a:lnTo>
                  <a:pt x="1063" y="345"/>
                </a:lnTo>
                <a:lnTo>
                  <a:pt x="1062" y="342"/>
                </a:lnTo>
                <a:lnTo>
                  <a:pt x="1058" y="339"/>
                </a:lnTo>
                <a:lnTo>
                  <a:pt x="1057" y="337"/>
                </a:lnTo>
                <a:lnTo>
                  <a:pt x="1057" y="336"/>
                </a:lnTo>
                <a:lnTo>
                  <a:pt x="1058" y="334"/>
                </a:lnTo>
                <a:lnTo>
                  <a:pt x="1061" y="334"/>
                </a:lnTo>
                <a:lnTo>
                  <a:pt x="1064" y="332"/>
                </a:lnTo>
                <a:lnTo>
                  <a:pt x="1068" y="331"/>
                </a:lnTo>
                <a:lnTo>
                  <a:pt x="1071" y="331"/>
                </a:lnTo>
                <a:lnTo>
                  <a:pt x="1074" y="332"/>
                </a:lnTo>
                <a:lnTo>
                  <a:pt x="1074" y="335"/>
                </a:lnTo>
                <a:lnTo>
                  <a:pt x="1072" y="337"/>
                </a:lnTo>
                <a:lnTo>
                  <a:pt x="1071" y="341"/>
                </a:lnTo>
                <a:lnTo>
                  <a:pt x="1071" y="344"/>
                </a:lnTo>
                <a:lnTo>
                  <a:pt x="1072" y="346"/>
                </a:lnTo>
                <a:lnTo>
                  <a:pt x="1075" y="350"/>
                </a:lnTo>
                <a:lnTo>
                  <a:pt x="1079" y="357"/>
                </a:lnTo>
                <a:lnTo>
                  <a:pt x="1083" y="365"/>
                </a:lnTo>
                <a:lnTo>
                  <a:pt x="1084" y="367"/>
                </a:lnTo>
                <a:lnTo>
                  <a:pt x="1084" y="369"/>
                </a:lnTo>
                <a:lnTo>
                  <a:pt x="1084" y="371"/>
                </a:lnTo>
                <a:lnTo>
                  <a:pt x="1083" y="373"/>
                </a:lnTo>
                <a:close/>
                <a:moveTo>
                  <a:pt x="1034" y="345"/>
                </a:moveTo>
                <a:lnTo>
                  <a:pt x="1037" y="343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9" y="341"/>
                </a:lnTo>
                <a:lnTo>
                  <a:pt x="1037" y="343"/>
                </a:lnTo>
                <a:lnTo>
                  <a:pt x="1034" y="345"/>
                </a:lnTo>
                <a:close/>
                <a:moveTo>
                  <a:pt x="1026" y="357"/>
                </a:moveTo>
                <a:lnTo>
                  <a:pt x="1026" y="355"/>
                </a:lnTo>
                <a:lnTo>
                  <a:pt x="1026" y="352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1"/>
                </a:lnTo>
                <a:lnTo>
                  <a:pt x="1026" y="352"/>
                </a:lnTo>
                <a:lnTo>
                  <a:pt x="1026" y="355"/>
                </a:lnTo>
                <a:lnTo>
                  <a:pt x="1026" y="357"/>
                </a:lnTo>
                <a:close/>
                <a:moveTo>
                  <a:pt x="1017" y="569"/>
                </a:moveTo>
                <a:lnTo>
                  <a:pt x="1017" y="561"/>
                </a:lnTo>
                <a:lnTo>
                  <a:pt x="1016" y="553"/>
                </a:lnTo>
                <a:lnTo>
                  <a:pt x="1017" y="561"/>
                </a:lnTo>
                <a:lnTo>
                  <a:pt x="1017" y="569"/>
                </a:lnTo>
                <a:lnTo>
                  <a:pt x="1020" y="571"/>
                </a:lnTo>
                <a:lnTo>
                  <a:pt x="1021" y="572"/>
                </a:lnTo>
                <a:lnTo>
                  <a:pt x="1020" y="571"/>
                </a:lnTo>
                <a:lnTo>
                  <a:pt x="1017" y="569"/>
                </a:lnTo>
                <a:close/>
                <a:moveTo>
                  <a:pt x="1006" y="419"/>
                </a:moveTo>
                <a:lnTo>
                  <a:pt x="1006" y="417"/>
                </a:lnTo>
                <a:lnTo>
                  <a:pt x="1003" y="415"/>
                </a:lnTo>
                <a:lnTo>
                  <a:pt x="1006" y="417"/>
                </a:lnTo>
                <a:lnTo>
                  <a:pt x="1006" y="419"/>
                </a:lnTo>
                <a:close/>
                <a:moveTo>
                  <a:pt x="1000" y="483"/>
                </a:moveTo>
                <a:lnTo>
                  <a:pt x="1000" y="483"/>
                </a:lnTo>
                <a:lnTo>
                  <a:pt x="999" y="482"/>
                </a:lnTo>
                <a:lnTo>
                  <a:pt x="998" y="481"/>
                </a:lnTo>
                <a:lnTo>
                  <a:pt x="999" y="482"/>
                </a:lnTo>
                <a:lnTo>
                  <a:pt x="1000" y="483"/>
                </a:lnTo>
                <a:lnTo>
                  <a:pt x="1000" y="483"/>
                </a:lnTo>
                <a:lnTo>
                  <a:pt x="1000" y="487"/>
                </a:lnTo>
                <a:lnTo>
                  <a:pt x="1000" y="490"/>
                </a:lnTo>
                <a:lnTo>
                  <a:pt x="1001" y="494"/>
                </a:lnTo>
                <a:lnTo>
                  <a:pt x="1003" y="497"/>
                </a:lnTo>
                <a:lnTo>
                  <a:pt x="1001" y="494"/>
                </a:lnTo>
                <a:lnTo>
                  <a:pt x="1000" y="490"/>
                </a:lnTo>
                <a:lnTo>
                  <a:pt x="1000" y="487"/>
                </a:lnTo>
                <a:lnTo>
                  <a:pt x="1000" y="483"/>
                </a:lnTo>
                <a:close/>
                <a:moveTo>
                  <a:pt x="995" y="681"/>
                </a:moveTo>
                <a:lnTo>
                  <a:pt x="992" y="683"/>
                </a:lnTo>
                <a:lnTo>
                  <a:pt x="987" y="685"/>
                </a:lnTo>
                <a:lnTo>
                  <a:pt x="992" y="683"/>
                </a:lnTo>
                <a:lnTo>
                  <a:pt x="995" y="681"/>
                </a:lnTo>
                <a:close/>
                <a:moveTo>
                  <a:pt x="985" y="442"/>
                </a:moveTo>
                <a:lnTo>
                  <a:pt x="982" y="449"/>
                </a:lnTo>
                <a:lnTo>
                  <a:pt x="980" y="457"/>
                </a:lnTo>
                <a:lnTo>
                  <a:pt x="982" y="449"/>
                </a:lnTo>
                <a:lnTo>
                  <a:pt x="985" y="442"/>
                </a:lnTo>
                <a:lnTo>
                  <a:pt x="986" y="445"/>
                </a:lnTo>
                <a:lnTo>
                  <a:pt x="986" y="447"/>
                </a:lnTo>
                <a:lnTo>
                  <a:pt x="986" y="445"/>
                </a:lnTo>
                <a:lnTo>
                  <a:pt x="985" y="442"/>
                </a:lnTo>
                <a:close/>
                <a:moveTo>
                  <a:pt x="979" y="489"/>
                </a:moveTo>
                <a:lnTo>
                  <a:pt x="978" y="490"/>
                </a:lnTo>
                <a:lnTo>
                  <a:pt x="977" y="491"/>
                </a:lnTo>
                <a:lnTo>
                  <a:pt x="978" y="490"/>
                </a:lnTo>
                <a:lnTo>
                  <a:pt x="979" y="489"/>
                </a:lnTo>
                <a:lnTo>
                  <a:pt x="981" y="490"/>
                </a:lnTo>
                <a:lnTo>
                  <a:pt x="981" y="491"/>
                </a:lnTo>
                <a:lnTo>
                  <a:pt x="981" y="490"/>
                </a:lnTo>
                <a:lnTo>
                  <a:pt x="979" y="489"/>
                </a:lnTo>
                <a:close/>
                <a:moveTo>
                  <a:pt x="979" y="688"/>
                </a:moveTo>
                <a:lnTo>
                  <a:pt x="970" y="693"/>
                </a:lnTo>
                <a:lnTo>
                  <a:pt x="959" y="697"/>
                </a:lnTo>
                <a:lnTo>
                  <a:pt x="949" y="701"/>
                </a:lnTo>
                <a:lnTo>
                  <a:pt x="938" y="705"/>
                </a:lnTo>
                <a:lnTo>
                  <a:pt x="936" y="704"/>
                </a:lnTo>
                <a:lnTo>
                  <a:pt x="933" y="705"/>
                </a:lnTo>
                <a:lnTo>
                  <a:pt x="923" y="707"/>
                </a:lnTo>
                <a:lnTo>
                  <a:pt x="912" y="709"/>
                </a:lnTo>
                <a:lnTo>
                  <a:pt x="902" y="711"/>
                </a:lnTo>
                <a:lnTo>
                  <a:pt x="891" y="713"/>
                </a:lnTo>
                <a:lnTo>
                  <a:pt x="880" y="714"/>
                </a:lnTo>
                <a:lnTo>
                  <a:pt x="868" y="716"/>
                </a:lnTo>
                <a:lnTo>
                  <a:pt x="857" y="718"/>
                </a:lnTo>
                <a:lnTo>
                  <a:pt x="846" y="720"/>
                </a:lnTo>
                <a:lnTo>
                  <a:pt x="836" y="720"/>
                </a:lnTo>
                <a:lnTo>
                  <a:pt x="828" y="720"/>
                </a:lnTo>
                <a:lnTo>
                  <a:pt x="819" y="719"/>
                </a:lnTo>
                <a:lnTo>
                  <a:pt x="811" y="718"/>
                </a:lnTo>
                <a:lnTo>
                  <a:pt x="806" y="713"/>
                </a:lnTo>
                <a:lnTo>
                  <a:pt x="801" y="709"/>
                </a:lnTo>
                <a:lnTo>
                  <a:pt x="802" y="704"/>
                </a:lnTo>
                <a:lnTo>
                  <a:pt x="804" y="700"/>
                </a:lnTo>
                <a:lnTo>
                  <a:pt x="807" y="697"/>
                </a:lnTo>
                <a:lnTo>
                  <a:pt x="809" y="693"/>
                </a:lnTo>
                <a:lnTo>
                  <a:pt x="812" y="690"/>
                </a:lnTo>
                <a:lnTo>
                  <a:pt x="812" y="686"/>
                </a:lnTo>
                <a:lnTo>
                  <a:pt x="812" y="681"/>
                </a:lnTo>
                <a:lnTo>
                  <a:pt x="812" y="678"/>
                </a:lnTo>
                <a:lnTo>
                  <a:pt x="809" y="665"/>
                </a:lnTo>
                <a:lnTo>
                  <a:pt x="807" y="653"/>
                </a:lnTo>
                <a:lnTo>
                  <a:pt x="806" y="641"/>
                </a:lnTo>
                <a:lnTo>
                  <a:pt x="806" y="628"/>
                </a:lnTo>
                <a:lnTo>
                  <a:pt x="807" y="622"/>
                </a:lnTo>
                <a:lnTo>
                  <a:pt x="806" y="617"/>
                </a:lnTo>
                <a:lnTo>
                  <a:pt x="805" y="611"/>
                </a:lnTo>
                <a:lnTo>
                  <a:pt x="801" y="607"/>
                </a:lnTo>
                <a:lnTo>
                  <a:pt x="795" y="600"/>
                </a:lnTo>
                <a:lnTo>
                  <a:pt x="791" y="593"/>
                </a:lnTo>
                <a:lnTo>
                  <a:pt x="786" y="585"/>
                </a:lnTo>
                <a:lnTo>
                  <a:pt x="782" y="576"/>
                </a:lnTo>
                <a:lnTo>
                  <a:pt x="787" y="571"/>
                </a:lnTo>
                <a:lnTo>
                  <a:pt x="793" y="565"/>
                </a:lnTo>
                <a:lnTo>
                  <a:pt x="800" y="560"/>
                </a:lnTo>
                <a:lnTo>
                  <a:pt x="806" y="555"/>
                </a:lnTo>
                <a:lnTo>
                  <a:pt x="815" y="547"/>
                </a:lnTo>
                <a:lnTo>
                  <a:pt x="825" y="538"/>
                </a:lnTo>
                <a:lnTo>
                  <a:pt x="834" y="527"/>
                </a:lnTo>
                <a:lnTo>
                  <a:pt x="842" y="518"/>
                </a:lnTo>
                <a:lnTo>
                  <a:pt x="853" y="505"/>
                </a:lnTo>
                <a:lnTo>
                  <a:pt x="864" y="492"/>
                </a:lnTo>
                <a:lnTo>
                  <a:pt x="867" y="495"/>
                </a:lnTo>
                <a:lnTo>
                  <a:pt x="868" y="497"/>
                </a:lnTo>
                <a:lnTo>
                  <a:pt x="874" y="515"/>
                </a:lnTo>
                <a:lnTo>
                  <a:pt x="881" y="531"/>
                </a:lnTo>
                <a:lnTo>
                  <a:pt x="888" y="547"/>
                </a:lnTo>
                <a:lnTo>
                  <a:pt x="895" y="564"/>
                </a:lnTo>
                <a:lnTo>
                  <a:pt x="895" y="564"/>
                </a:lnTo>
                <a:lnTo>
                  <a:pt x="896" y="562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5" y="564"/>
                </a:lnTo>
                <a:lnTo>
                  <a:pt x="896" y="566"/>
                </a:lnTo>
                <a:lnTo>
                  <a:pt x="896" y="568"/>
                </a:lnTo>
                <a:lnTo>
                  <a:pt x="901" y="579"/>
                </a:lnTo>
                <a:lnTo>
                  <a:pt x="906" y="588"/>
                </a:lnTo>
                <a:lnTo>
                  <a:pt x="912" y="599"/>
                </a:lnTo>
                <a:lnTo>
                  <a:pt x="919" y="608"/>
                </a:lnTo>
                <a:lnTo>
                  <a:pt x="933" y="625"/>
                </a:lnTo>
                <a:lnTo>
                  <a:pt x="947" y="643"/>
                </a:lnTo>
                <a:lnTo>
                  <a:pt x="963" y="662"/>
                </a:lnTo>
                <a:lnTo>
                  <a:pt x="977" y="679"/>
                </a:lnTo>
                <a:lnTo>
                  <a:pt x="978" y="680"/>
                </a:lnTo>
                <a:lnTo>
                  <a:pt x="980" y="683"/>
                </a:lnTo>
                <a:lnTo>
                  <a:pt x="980" y="685"/>
                </a:lnTo>
                <a:lnTo>
                  <a:pt x="979" y="688"/>
                </a:lnTo>
                <a:close/>
                <a:moveTo>
                  <a:pt x="922" y="951"/>
                </a:moveTo>
                <a:lnTo>
                  <a:pt x="917" y="954"/>
                </a:lnTo>
                <a:lnTo>
                  <a:pt x="912" y="958"/>
                </a:lnTo>
                <a:lnTo>
                  <a:pt x="917" y="954"/>
                </a:lnTo>
                <a:lnTo>
                  <a:pt x="922" y="951"/>
                </a:lnTo>
                <a:close/>
                <a:moveTo>
                  <a:pt x="887" y="779"/>
                </a:moveTo>
                <a:lnTo>
                  <a:pt x="876" y="790"/>
                </a:lnTo>
                <a:lnTo>
                  <a:pt x="868" y="800"/>
                </a:lnTo>
                <a:lnTo>
                  <a:pt x="868" y="805"/>
                </a:lnTo>
                <a:lnTo>
                  <a:pt x="870" y="807"/>
                </a:lnTo>
                <a:lnTo>
                  <a:pt x="868" y="805"/>
                </a:lnTo>
                <a:lnTo>
                  <a:pt x="868" y="800"/>
                </a:lnTo>
                <a:lnTo>
                  <a:pt x="863" y="806"/>
                </a:lnTo>
                <a:lnTo>
                  <a:pt x="858" y="812"/>
                </a:lnTo>
                <a:lnTo>
                  <a:pt x="856" y="812"/>
                </a:lnTo>
                <a:lnTo>
                  <a:pt x="854" y="813"/>
                </a:lnTo>
                <a:lnTo>
                  <a:pt x="850" y="820"/>
                </a:lnTo>
                <a:lnTo>
                  <a:pt x="846" y="826"/>
                </a:lnTo>
                <a:lnTo>
                  <a:pt x="841" y="831"/>
                </a:lnTo>
                <a:lnTo>
                  <a:pt x="835" y="837"/>
                </a:lnTo>
                <a:lnTo>
                  <a:pt x="826" y="846"/>
                </a:lnTo>
                <a:lnTo>
                  <a:pt x="816" y="856"/>
                </a:lnTo>
                <a:lnTo>
                  <a:pt x="807" y="867"/>
                </a:lnTo>
                <a:lnTo>
                  <a:pt x="798" y="877"/>
                </a:lnTo>
                <a:lnTo>
                  <a:pt x="782" y="894"/>
                </a:lnTo>
                <a:lnTo>
                  <a:pt x="768" y="910"/>
                </a:lnTo>
                <a:lnTo>
                  <a:pt x="765" y="916"/>
                </a:lnTo>
                <a:lnTo>
                  <a:pt x="763" y="922"/>
                </a:lnTo>
                <a:lnTo>
                  <a:pt x="760" y="928"/>
                </a:lnTo>
                <a:lnTo>
                  <a:pt x="759" y="933"/>
                </a:lnTo>
                <a:lnTo>
                  <a:pt x="757" y="939"/>
                </a:lnTo>
                <a:lnTo>
                  <a:pt x="757" y="945"/>
                </a:lnTo>
                <a:lnTo>
                  <a:pt x="757" y="951"/>
                </a:lnTo>
                <a:lnTo>
                  <a:pt x="758" y="957"/>
                </a:lnTo>
                <a:lnTo>
                  <a:pt x="763" y="972"/>
                </a:lnTo>
                <a:lnTo>
                  <a:pt x="767" y="986"/>
                </a:lnTo>
                <a:lnTo>
                  <a:pt x="771" y="1001"/>
                </a:lnTo>
                <a:lnTo>
                  <a:pt x="775" y="1015"/>
                </a:lnTo>
                <a:lnTo>
                  <a:pt x="777" y="1019"/>
                </a:lnTo>
                <a:lnTo>
                  <a:pt x="779" y="1021"/>
                </a:lnTo>
                <a:lnTo>
                  <a:pt x="779" y="1021"/>
                </a:lnTo>
                <a:lnTo>
                  <a:pt x="779" y="1021"/>
                </a:lnTo>
                <a:lnTo>
                  <a:pt x="785" y="1036"/>
                </a:lnTo>
                <a:lnTo>
                  <a:pt x="792" y="1052"/>
                </a:lnTo>
                <a:lnTo>
                  <a:pt x="796" y="1072"/>
                </a:lnTo>
                <a:lnTo>
                  <a:pt x="804" y="1092"/>
                </a:lnTo>
                <a:lnTo>
                  <a:pt x="811" y="1111"/>
                </a:lnTo>
                <a:lnTo>
                  <a:pt x="820" y="1130"/>
                </a:lnTo>
                <a:lnTo>
                  <a:pt x="834" y="1160"/>
                </a:lnTo>
                <a:lnTo>
                  <a:pt x="849" y="1190"/>
                </a:lnTo>
                <a:lnTo>
                  <a:pt x="856" y="1207"/>
                </a:lnTo>
                <a:lnTo>
                  <a:pt x="862" y="1222"/>
                </a:lnTo>
                <a:lnTo>
                  <a:pt x="868" y="1237"/>
                </a:lnTo>
                <a:lnTo>
                  <a:pt x="874" y="1253"/>
                </a:lnTo>
                <a:lnTo>
                  <a:pt x="875" y="1257"/>
                </a:lnTo>
                <a:lnTo>
                  <a:pt x="877" y="1260"/>
                </a:lnTo>
                <a:lnTo>
                  <a:pt x="880" y="1261"/>
                </a:lnTo>
                <a:lnTo>
                  <a:pt x="883" y="1261"/>
                </a:lnTo>
                <a:lnTo>
                  <a:pt x="885" y="1261"/>
                </a:lnTo>
                <a:lnTo>
                  <a:pt x="887" y="1263"/>
                </a:lnTo>
                <a:lnTo>
                  <a:pt x="889" y="1261"/>
                </a:lnTo>
                <a:lnTo>
                  <a:pt x="890" y="1261"/>
                </a:lnTo>
                <a:lnTo>
                  <a:pt x="889" y="1261"/>
                </a:lnTo>
                <a:lnTo>
                  <a:pt x="887" y="1263"/>
                </a:lnTo>
                <a:lnTo>
                  <a:pt x="888" y="1270"/>
                </a:lnTo>
                <a:lnTo>
                  <a:pt x="887" y="1278"/>
                </a:lnTo>
                <a:lnTo>
                  <a:pt x="887" y="1278"/>
                </a:lnTo>
                <a:lnTo>
                  <a:pt x="887" y="1277"/>
                </a:lnTo>
                <a:lnTo>
                  <a:pt x="884" y="1275"/>
                </a:lnTo>
                <a:lnTo>
                  <a:pt x="882" y="1273"/>
                </a:lnTo>
                <a:lnTo>
                  <a:pt x="878" y="1272"/>
                </a:lnTo>
                <a:lnTo>
                  <a:pt x="877" y="1273"/>
                </a:lnTo>
                <a:lnTo>
                  <a:pt x="876" y="1275"/>
                </a:lnTo>
                <a:lnTo>
                  <a:pt x="878" y="1277"/>
                </a:lnTo>
                <a:lnTo>
                  <a:pt x="881" y="1279"/>
                </a:lnTo>
                <a:lnTo>
                  <a:pt x="882" y="1281"/>
                </a:lnTo>
                <a:lnTo>
                  <a:pt x="884" y="1284"/>
                </a:lnTo>
                <a:lnTo>
                  <a:pt x="885" y="1286"/>
                </a:lnTo>
                <a:lnTo>
                  <a:pt x="885" y="1289"/>
                </a:lnTo>
                <a:lnTo>
                  <a:pt x="884" y="1293"/>
                </a:lnTo>
                <a:lnTo>
                  <a:pt x="883" y="1296"/>
                </a:lnTo>
                <a:lnTo>
                  <a:pt x="881" y="1300"/>
                </a:lnTo>
                <a:lnTo>
                  <a:pt x="880" y="1301"/>
                </a:lnTo>
                <a:lnTo>
                  <a:pt x="880" y="1303"/>
                </a:lnTo>
                <a:lnTo>
                  <a:pt x="881" y="1305"/>
                </a:lnTo>
                <a:lnTo>
                  <a:pt x="883" y="1305"/>
                </a:lnTo>
                <a:lnTo>
                  <a:pt x="883" y="1306"/>
                </a:lnTo>
                <a:lnTo>
                  <a:pt x="883" y="1306"/>
                </a:lnTo>
                <a:lnTo>
                  <a:pt x="889" y="1303"/>
                </a:lnTo>
                <a:lnTo>
                  <a:pt x="895" y="1302"/>
                </a:lnTo>
                <a:lnTo>
                  <a:pt x="889" y="1303"/>
                </a:lnTo>
                <a:lnTo>
                  <a:pt x="883" y="1306"/>
                </a:lnTo>
                <a:lnTo>
                  <a:pt x="885" y="1309"/>
                </a:lnTo>
                <a:lnTo>
                  <a:pt x="884" y="1312"/>
                </a:lnTo>
                <a:lnTo>
                  <a:pt x="883" y="1312"/>
                </a:lnTo>
                <a:lnTo>
                  <a:pt x="880" y="1312"/>
                </a:lnTo>
                <a:lnTo>
                  <a:pt x="877" y="1312"/>
                </a:lnTo>
                <a:lnTo>
                  <a:pt x="877" y="1312"/>
                </a:lnTo>
                <a:lnTo>
                  <a:pt x="876" y="1314"/>
                </a:lnTo>
                <a:lnTo>
                  <a:pt x="876" y="1319"/>
                </a:lnTo>
                <a:lnTo>
                  <a:pt x="881" y="1320"/>
                </a:lnTo>
                <a:lnTo>
                  <a:pt x="883" y="1322"/>
                </a:lnTo>
                <a:lnTo>
                  <a:pt x="881" y="1320"/>
                </a:lnTo>
                <a:lnTo>
                  <a:pt x="876" y="1319"/>
                </a:lnTo>
                <a:lnTo>
                  <a:pt x="876" y="1320"/>
                </a:lnTo>
                <a:lnTo>
                  <a:pt x="875" y="1320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1"/>
                </a:lnTo>
                <a:lnTo>
                  <a:pt x="875" y="1320"/>
                </a:lnTo>
                <a:lnTo>
                  <a:pt x="875" y="1314"/>
                </a:lnTo>
                <a:lnTo>
                  <a:pt x="875" y="1309"/>
                </a:lnTo>
                <a:lnTo>
                  <a:pt x="876" y="1308"/>
                </a:lnTo>
                <a:lnTo>
                  <a:pt x="876" y="1307"/>
                </a:lnTo>
                <a:lnTo>
                  <a:pt x="876" y="1305"/>
                </a:lnTo>
                <a:lnTo>
                  <a:pt x="875" y="1303"/>
                </a:lnTo>
                <a:lnTo>
                  <a:pt x="872" y="1303"/>
                </a:lnTo>
                <a:lnTo>
                  <a:pt x="870" y="1306"/>
                </a:lnTo>
                <a:lnTo>
                  <a:pt x="868" y="1307"/>
                </a:lnTo>
                <a:lnTo>
                  <a:pt x="864" y="1308"/>
                </a:lnTo>
                <a:lnTo>
                  <a:pt x="860" y="1313"/>
                </a:lnTo>
                <a:lnTo>
                  <a:pt x="855" y="1319"/>
                </a:lnTo>
                <a:lnTo>
                  <a:pt x="854" y="1322"/>
                </a:lnTo>
                <a:lnTo>
                  <a:pt x="853" y="1324"/>
                </a:lnTo>
                <a:lnTo>
                  <a:pt x="853" y="1328"/>
                </a:lnTo>
                <a:lnTo>
                  <a:pt x="854" y="1331"/>
                </a:lnTo>
                <a:lnTo>
                  <a:pt x="846" y="1341"/>
                </a:lnTo>
                <a:lnTo>
                  <a:pt x="837" y="1350"/>
                </a:lnTo>
                <a:lnTo>
                  <a:pt x="834" y="1352"/>
                </a:lnTo>
                <a:lnTo>
                  <a:pt x="832" y="1356"/>
                </a:lnTo>
                <a:lnTo>
                  <a:pt x="829" y="1358"/>
                </a:lnTo>
                <a:lnTo>
                  <a:pt x="827" y="1363"/>
                </a:lnTo>
                <a:lnTo>
                  <a:pt x="826" y="1365"/>
                </a:lnTo>
                <a:lnTo>
                  <a:pt x="823" y="1369"/>
                </a:lnTo>
                <a:lnTo>
                  <a:pt x="820" y="1371"/>
                </a:lnTo>
                <a:lnTo>
                  <a:pt x="816" y="1372"/>
                </a:lnTo>
                <a:lnTo>
                  <a:pt x="807" y="1377"/>
                </a:lnTo>
                <a:lnTo>
                  <a:pt x="799" y="1383"/>
                </a:lnTo>
                <a:lnTo>
                  <a:pt x="804" y="1387"/>
                </a:lnTo>
                <a:lnTo>
                  <a:pt x="807" y="1393"/>
                </a:lnTo>
                <a:lnTo>
                  <a:pt x="807" y="1393"/>
                </a:lnTo>
                <a:lnTo>
                  <a:pt x="808" y="1393"/>
                </a:lnTo>
                <a:lnTo>
                  <a:pt x="807" y="1393"/>
                </a:lnTo>
                <a:lnTo>
                  <a:pt x="807" y="1393"/>
                </a:lnTo>
                <a:lnTo>
                  <a:pt x="804" y="1387"/>
                </a:lnTo>
                <a:lnTo>
                  <a:pt x="799" y="1383"/>
                </a:lnTo>
                <a:lnTo>
                  <a:pt x="793" y="1380"/>
                </a:lnTo>
                <a:lnTo>
                  <a:pt x="786" y="1380"/>
                </a:lnTo>
                <a:lnTo>
                  <a:pt x="786" y="1383"/>
                </a:lnTo>
                <a:lnTo>
                  <a:pt x="786" y="1385"/>
                </a:lnTo>
                <a:lnTo>
                  <a:pt x="786" y="1383"/>
                </a:lnTo>
                <a:lnTo>
                  <a:pt x="786" y="1380"/>
                </a:lnTo>
                <a:lnTo>
                  <a:pt x="778" y="1372"/>
                </a:lnTo>
                <a:lnTo>
                  <a:pt x="768" y="1365"/>
                </a:lnTo>
                <a:lnTo>
                  <a:pt x="767" y="1364"/>
                </a:lnTo>
                <a:lnTo>
                  <a:pt x="766" y="1363"/>
                </a:lnTo>
                <a:lnTo>
                  <a:pt x="761" y="1352"/>
                </a:lnTo>
                <a:lnTo>
                  <a:pt x="757" y="1343"/>
                </a:lnTo>
                <a:lnTo>
                  <a:pt x="752" y="1333"/>
                </a:lnTo>
                <a:lnTo>
                  <a:pt x="746" y="1323"/>
                </a:lnTo>
                <a:lnTo>
                  <a:pt x="747" y="1320"/>
                </a:lnTo>
                <a:lnTo>
                  <a:pt x="746" y="1315"/>
                </a:lnTo>
                <a:lnTo>
                  <a:pt x="740" y="1300"/>
                </a:lnTo>
                <a:lnTo>
                  <a:pt x="736" y="1284"/>
                </a:lnTo>
                <a:lnTo>
                  <a:pt x="731" y="1267"/>
                </a:lnTo>
                <a:lnTo>
                  <a:pt x="727" y="1251"/>
                </a:lnTo>
                <a:lnTo>
                  <a:pt x="726" y="1249"/>
                </a:lnTo>
                <a:lnTo>
                  <a:pt x="724" y="1245"/>
                </a:lnTo>
                <a:lnTo>
                  <a:pt x="725" y="1244"/>
                </a:lnTo>
                <a:lnTo>
                  <a:pt x="726" y="1243"/>
                </a:lnTo>
                <a:lnTo>
                  <a:pt x="724" y="1235"/>
                </a:lnTo>
                <a:lnTo>
                  <a:pt x="720" y="1228"/>
                </a:lnTo>
                <a:lnTo>
                  <a:pt x="724" y="1235"/>
                </a:lnTo>
                <a:lnTo>
                  <a:pt x="726" y="1243"/>
                </a:lnTo>
                <a:lnTo>
                  <a:pt x="727" y="1242"/>
                </a:lnTo>
                <a:lnTo>
                  <a:pt x="730" y="1240"/>
                </a:lnTo>
                <a:lnTo>
                  <a:pt x="732" y="1240"/>
                </a:lnTo>
                <a:lnTo>
                  <a:pt x="735" y="1240"/>
                </a:lnTo>
                <a:lnTo>
                  <a:pt x="736" y="1238"/>
                </a:lnTo>
                <a:lnTo>
                  <a:pt x="736" y="1236"/>
                </a:lnTo>
                <a:lnTo>
                  <a:pt x="731" y="1226"/>
                </a:lnTo>
                <a:lnTo>
                  <a:pt x="729" y="1216"/>
                </a:lnTo>
                <a:lnTo>
                  <a:pt x="724" y="1203"/>
                </a:lnTo>
                <a:lnTo>
                  <a:pt x="719" y="1190"/>
                </a:lnTo>
                <a:lnTo>
                  <a:pt x="715" y="1176"/>
                </a:lnTo>
                <a:lnTo>
                  <a:pt x="708" y="1165"/>
                </a:lnTo>
                <a:lnTo>
                  <a:pt x="708" y="1163"/>
                </a:lnTo>
                <a:lnTo>
                  <a:pt x="708" y="1162"/>
                </a:lnTo>
                <a:lnTo>
                  <a:pt x="706" y="1159"/>
                </a:lnTo>
                <a:lnTo>
                  <a:pt x="706" y="1156"/>
                </a:lnTo>
                <a:lnTo>
                  <a:pt x="705" y="1154"/>
                </a:lnTo>
                <a:lnTo>
                  <a:pt x="703" y="1153"/>
                </a:lnTo>
                <a:lnTo>
                  <a:pt x="698" y="1141"/>
                </a:lnTo>
                <a:lnTo>
                  <a:pt x="695" y="1128"/>
                </a:lnTo>
                <a:lnTo>
                  <a:pt x="690" y="1117"/>
                </a:lnTo>
                <a:lnTo>
                  <a:pt x="685" y="1105"/>
                </a:lnTo>
                <a:lnTo>
                  <a:pt x="685" y="1101"/>
                </a:lnTo>
                <a:lnTo>
                  <a:pt x="685" y="1099"/>
                </a:lnTo>
                <a:lnTo>
                  <a:pt x="684" y="1098"/>
                </a:lnTo>
                <a:lnTo>
                  <a:pt x="682" y="1096"/>
                </a:lnTo>
                <a:lnTo>
                  <a:pt x="681" y="1094"/>
                </a:lnTo>
                <a:lnTo>
                  <a:pt x="681" y="1092"/>
                </a:lnTo>
                <a:lnTo>
                  <a:pt x="681" y="1090"/>
                </a:lnTo>
                <a:lnTo>
                  <a:pt x="680" y="1089"/>
                </a:lnTo>
                <a:lnTo>
                  <a:pt x="678" y="1086"/>
                </a:lnTo>
                <a:lnTo>
                  <a:pt x="676" y="1085"/>
                </a:lnTo>
                <a:lnTo>
                  <a:pt x="676" y="1083"/>
                </a:lnTo>
                <a:lnTo>
                  <a:pt x="675" y="1080"/>
                </a:lnTo>
                <a:lnTo>
                  <a:pt x="675" y="1080"/>
                </a:lnTo>
                <a:lnTo>
                  <a:pt x="675" y="1078"/>
                </a:lnTo>
                <a:lnTo>
                  <a:pt x="675" y="1076"/>
                </a:lnTo>
                <a:lnTo>
                  <a:pt x="673" y="1075"/>
                </a:lnTo>
                <a:lnTo>
                  <a:pt x="670" y="1073"/>
                </a:lnTo>
                <a:lnTo>
                  <a:pt x="670" y="1071"/>
                </a:lnTo>
                <a:lnTo>
                  <a:pt x="670" y="1070"/>
                </a:lnTo>
                <a:lnTo>
                  <a:pt x="670" y="1066"/>
                </a:lnTo>
                <a:lnTo>
                  <a:pt x="669" y="1064"/>
                </a:lnTo>
                <a:lnTo>
                  <a:pt x="668" y="1061"/>
                </a:lnTo>
                <a:lnTo>
                  <a:pt x="666" y="1059"/>
                </a:lnTo>
                <a:lnTo>
                  <a:pt x="666" y="1058"/>
                </a:lnTo>
                <a:lnTo>
                  <a:pt x="666" y="1057"/>
                </a:lnTo>
                <a:lnTo>
                  <a:pt x="669" y="1057"/>
                </a:lnTo>
                <a:lnTo>
                  <a:pt x="674" y="1058"/>
                </a:lnTo>
                <a:lnTo>
                  <a:pt x="664" y="1042"/>
                </a:lnTo>
                <a:lnTo>
                  <a:pt x="655" y="1028"/>
                </a:lnTo>
                <a:lnTo>
                  <a:pt x="654" y="1027"/>
                </a:lnTo>
                <a:lnTo>
                  <a:pt x="651" y="1024"/>
                </a:lnTo>
                <a:lnTo>
                  <a:pt x="653" y="1021"/>
                </a:lnTo>
                <a:lnTo>
                  <a:pt x="655" y="1019"/>
                </a:lnTo>
                <a:lnTo>
                  <a:pt x="663" y="1027"/>
                </a:lnTo>
                <a:lnTo>
                  <a:pt x="671" y="1035"/>
                </a:lnTo>
                <a:lnTo>
                  <a:pt x="678" y="1043"/>
                </a:lnTo>
                <a:lnTo>
                  <a:pt x="685" y="1050"/>
                </a:lnTo>
                <a:lnTo>
                  <a:pt x="694" y="1056"/>
                </a:lnTo>
                <a:lnTo>
                  <a:pt x="704" y="1061"/>
                </a:lnTo>
                <a:lnTo>
                  <a:pt x="709" y="1063"/>
                </a:lnTo>
                <a:lnTo>
                  <a:pt x="713" y="1062"/>
                </a:lnTo>
                <a:lnTo>
                  <a:pt x="718" y="1061"/>
                </a:lnTo>
                <a:lnTo>
                  <a:pt x="723" y="1057"/>
                </a:lnTo>
                <a:lnTo>
                  <a:pt x="725" y="1054"/>
                </a:lnTo>
                <a:lnTo>
                  <a:pt x="725" y="1050"/>
                </a:lnTo>
                <a:lnTo>
                  <a:pt x="724" y="1045"/>
                </a:lnTo>
                <a:lnTo>
                  <a:pt x="723" y="1042"/>
                </a:lnTo>
                <a:lnTo>
                  <a:pt x="724" y="1040"/>
                </a:lnTo>
                <a:lnTo>
                  <a:pt x="726" y="1038"/>
                </a:lnTo>
                <a:lnTo>
                  <a:pt x="727" y="1026"/>
                </a:lnTo>
                <a:lnTo>
                  <a:pt x="730" y="1013"/>
                </a:lnTo>
                <a:lnTo>
                  <a:pt x="730" y="1009"/>
                </a:lnTo>
                <a:lnTo>
                  <a:pt x="731" y="1006"/>
                </a:lnTo>
                <a:lnTo>
                  <a:pt x="732" y="1002"/>
                </a:lnTo>
                <a:lnTo>
                  <a:pt x="733" y="998"/>
                </a:lnTo>
                <a:lnTo>
                  <a:pt x="732" y="994"/>
                </a:lnTo>
                <a:lnTo>
                  <a:pt x="731" y="989"/>
                </a:lnTo>
                <a:lnTo>
                  <a:pt x="731" y="982"/>
                </a:lnTo>
                <a:lnTo>
                  <a:pt x="730" y="975"/>
                </a:lnTo>
                <a:lnTo>
                  <a:pt x="730" y="973"/>
                </a:lnTo>
                <a:lnTo>
                  <a:pt x="731" y="972"/>
                </a:lnTo>
                <a:lnTo>
                  <a:pt x="730" y="970"/>
                </a:lnTo>
                <a:lnTo>
                  <a:pt x="729" y="968"/>
                </a:lnTo>
                <a:lnTo>
                  <a:pt x="733" y="956"/>
                </a:lnTo>
                <a:lnTo>
                  <a:pt x="737" y="943"/>
                </a:lnTo>
                <a:lnTo>
                  <a:pt x="739" y="930"/>
                </a:lnTo>
                <a:lnTo>
                  <a:pt x="740" y="917"/>
                </a:lnTo>
                <a:lnTo>
                  <a:pt x="742" y="903"/>
                </a:lnTo>
                <a:lnTo>
                  <a:pt x="743" y="890"/>
                </a:lnTo>
                <a:lnTo>
                  <a:pt x="745" y="877"/>
                </a:lnTo>
                <a:lnTo>
                  <a:pt x="747" y="865"/>
                </a:lnTo>
                <a:lnTo>
                  <a:pt x="750" y="854"/>
                </a:lnTo>
                <a:lnTo>
                  <a:pt x="752" y="844"/>
                </a:lnTo>
                <a:lnTo>
                  <a:pt x="754" y="833"/>
                </a:lnTo>
                <a:lnTo>
                  <a:pt x="754" y="823"/>
                </a:lnTo>
                <a:lnTo>
                  <a:pt x="761" y="817"/>
                </a:lnTo>
                <a:lnTo>
                  <a:pt x="770" y="813"/>
                </a:lnTo>
                <a:lnTo>
                  <a:pt x="779" y="811"/>
                </a:lnTo>
                <a:lnTo>
                  <a:pt x="787" y="810"/>
                </a:lnTo>
                <a:lnTo>
                  <a:pt x="801" y="807"/>
                </a:lnTo>
                <a:lnTo>
                  <a:pt x="814" y="804"/>
                </a:lnTo>
                <a:lnTo>
                  <a:pt x="826" y="798"/>
                </a:lnTo>
                <a:lnTo>
                  <a:pt x="837" y="791"/>
                </a:lnTo>
                <a:lnTo>
                  <a:pt x="848" y="784"/>
                </a:lnTo>
                <a:lnTo>
                  <a:pt x="861" y="781"/>
                </a:lnTo>
                <a:lnTo>
                  <a:pt x="871" y="778"/>
                </a:lnTo>
                <a:lnTo>
                  <a:pt x="882" y="777"/>
                </a:lnTo>
                <a:lnTo>
                  <a:pt x="883" y="777"/>
                </a:lnTo>
                <a:lnTo>
                  <a:pt x="885" y="777"/>
                </a:lnTo>
                <a:lnTo>
                  <a:pt x="887" y="778"/>
                </a:lnTo>
                <a:lnTo>
                  <a:pt x="887" y="779"/>
                </a:lnTo>
                <a:lnTo>
                  <a:pt x="887" y="779"/>
                </a:lnTo>
                <a:lnTo>
                  <a:pt x="888" y="779"/>
                </a:lnTo>
                <a:lnTo>
                  <a:pt x="887" y="779"/>
                </a:lnTo>
                <a:lnTo>
                  <a:pt x="887" y="779"/>
                </a:lnTo>
                <a:close/>
                <a:moveTo>
                  <a:pt x="885" y="1037"/>
                </a:moveTo>
                <a:lnTo>
                  <a:pt x="889" y="1040"/>
                </a:lnTo>
                <a:lnTo>
                  <a:pt x="890" y="1043"/>
                </a:lnTo>
                <a:lnTo>
                  <a:pt x="889" y="1040"/>
                </a:lnTo>
                <a:lnTo>
                  <a:pt x="885" y="1037"/>
                </a:lnTo>
                <a:lnTo>
                  <a:pt x="885" y="1036"/>
                </a:lnTo>
                <a:lnTo>
                  <a:pt x="885" y="1035"/>
                </a:lnTo>
                <a:lnTo>
                  <a:pt x="885" y="1036"/>
                </a:lnTo>
                <a:lnTo>
                  <a:pt x="885" y="1037"/>
                </a:lnTo>
                <a:close/>
                <a:moveTo>
                  <a:pt x="898" y="1399"/>
                </a:moveTo>
                <a:lnTo>
                  <a:pt x="898" y="1399"/>
                </a:lnTo>
                <a:lnTo>
                  <a:pt x="899" y="1399"/>
                </a:lnTo>
                <a:lnTo>
                  <a:pt x="899" y="1398"/>
                </a:lnTo>
                <a:lnTo>
                  <a:pt x="899" y="1399"/>
                </a:lnTo>
                <a:lnTo>
                  <a:pt x="898" y="1399"/>
                </a:lnTo>
                <a:lnTo>
                  <a:pt x="898" y="1403"/>
                </a:lnTo>
                <a:lnTo>
                  <a:pt x="898" y="1406"/>
                </a:lnTo>
                <a:lnTo>
                  <a:pt x="897" y="1407"/>
                </a:lnTo>
                <a:lnTo>
                  <a:pt x="895" y="1408"/>
                </a:lnTo>
                <a:lnTo>
                  <a:pt x="891" y="1408"/>
                </a:lnTo>
                <a:lnTo>
                  <a:pt x="889" y="1408"/>
                </a:lnTo>
                <a:lnTo>
                  <a:pt x="891" y="1408"/>
                </a:lnTo>
                <a:lnTo>
                  <a:pt x="895" y="1408"/>
                </a:lnTo>
                <a:lnTo>
                  <a:pt x="897" y="1407"/>
                </a:lnTo>
                <a:lnTo>
                  <a:pt x="898" y="1406"/>
                </a:lnTo>
                <a:lnTo>
                  <a:pt x="898" y="1403"/>
                </a:lnTo>
                <a:lnTo>
                  <a:pt x="898" y="1399"/>
                </a:lnTo>
                <a:close/>
                <a:moveTo>
                  <a:pt x="927" y="1261"/>
                </a:moveTo>
                <a:lnTo>
                  <a:pt x="913" y="1261"/>
                </a:lnTo>
                <a:lnTo>
                  <a:pt x="901" y="1263"/>
                </a:lnTo>
                <a:lnTo>
                  <a:pt x="902" y="1265"/>
                </a:lnTo>
                <a:lnTo>
                  <a:pt x="904" y="1266"/>
                </a:lnTo>
                <a:lnTo>
                  <a:pt x="902" y="1265"/>
                </a:lnTo>
                <a:lnTo>
                  <a:pt x="901" y="1263"/>
                </a:lnTo>
                <a:lnTo>
                  <a:pt x="913" y="1261"/>
                </a:lnTo>
                <a:lnTo>
                  <a:pt x="927" y="1261"/>
                </a:lnTo>
                <a:close/>
                <a:moveTo>
                  <a:pt x="869" y="1323"/>
                </a:moveTo>
                <a:lnTo>
                  <a:pt x="863" y="1326"/>
                </a:lnTo>
                <a:lnTo>
                  <a:pt x="857" y="1329"/>
                </a:lnTo>
                <a:lnTo>
                  <a:pt x="860" y="1322"/>
                </a:lnTo>
                <a:lnTo>
                  <a:pt x="864" y="1315"/>
                </a:lnTo>
                <a:lnTo>
                  <a:pt x="865" y="1314"/>
                </a:lnTo>
                <a:lnTo>
                  <a:pt x="867" y="1314"/>
                </a:lnTo>
                <a:lnTo>
                  <a:pt x="868" y="1314"/>
                </a:lnTo>
                <a:lnTo>
                  <a:pt x="869" y="1315"/>
                </a:lnTo>
                <a:lnTo>
                  <a:pt x="870" y="1317"/>
                </a:lnTo>
                <a:lnTo>
                  <a:pt x="871" y="1319"/>
                </a:lnTo>
                <a:lnTo>
                  <a:pt x="871" y="1321"/>
                </a:lnTo>
                <a:lnTo>
                  <a:pt x="869" y="1323"/>
                </a:lnTo>
                <a:close/>
                <a:moveTo>
                  <a:pt x="813" y="1394"/>
                </a:moveTo>
                <a:lnTo>
                  <a:pt x="816" y="1398"/>
                </a:lnTo>
                <a:lnTo>
                  <a:pt x="820" y="1401"/>
                </a:lnTo>
                <a:lnTo>
                  <a:pt x="816" y="1398"/>
                </a:lnTo>
                <a:lnTo>
                  <a:pt x="813" y="1394"/>
                </a:lnTo>
                <a:close/>
                <a:moveTo>
                  <a:pt x="777" y="1384"/>
                </a:moveTo>
                <a:lnTo>
                  <a:pt x="779" y="1383"/>
                </a:lnTo>
                <a:lnTo>
                  <a:pt x="779" y="1382"/>
                </a:lnTo>
                <a:lnTo>
                  <a:pt x="779" y="1383"/>
                </a:lnTo>
                <a:lnTo>
                  <a:pt x="777" y="1384"/>
                </a:lnTo>
                <a:lnTo>
                  <a:pt x="777" y="1384"/>
                </a:lnTo>
                <a:close/>
                <a:moveTo>
                  <a:pt x="764" y="1405"/>
                </a:moveTo>
                <a:lnTo>
                  <a:pt x="758" y="1401"/>
                </a:lnTo>
                <a:lnTo>
                  <a:pt x="753" y="1398"/>
                </a:lnTo>
                <a:lnTo>
                  <a:pt x="758" y="1401"/>
                </a:lnTo>
                <a:lnTo>
                  <a:pt x="764" y="1405"/>
                </a:lnTo>
                <a:lnTo>
                  <a:pt x="765" y="1406"/>
                </a:lnTo>
                <a:lnTo>
                  <a:pt x="766" y="1408"/>
                </a:lnTo>
                <a:lnTo>
                  <a:pt x="765" y="1406"/>
                </a:lnTo>
                <a:lnTo>
                  <a:pt x="764" y="1405"/>
                </a:lnTo>
                <a:close/>
                <a:moveTo>
                  <a:pt x="750" y="1393"/>
                </a:moveTo>
                <a:lnTo>
                  <a:pt x="751" y="1389"/>
                </a:lnTo>
                <a:lnTo>
                  <a:pt x="752" y="1386"/>
                </a:lnTo>
                <a:lnTo>
                  <a:pt x="751" y="1389"/>
                </a:lnTo>
                <a:lnTo>
                  <a:pt x="750" y="1393"/>
                </a:lnTo>
                <a:close/>
                <a:moveTo>
                  <a:pt x="733" y="1401"/>
                </a:moveTo>
                <a:lnTo>
                  <a:pt x="733" y="1398"/>
                </a:lnTo>
                <a:lnTo>
                  <a:pt x="731" y="1394"/>
                </a:lnTo>
                <a:lnTo>
                  <a:pt x="733" y="1398"/>
                </a:lnTo>
                <a:lnTo>
                  <a:pt x="733" y="1401"/>
                </a:lnTo>
                <a:close/>
                <a:moveTo>
                  <a:pt x="691" y="1259"/>
                </a:moveTo>
                <a:lnTo>
                  <a:pt x="687" y="1260"/>
                </a:lnTo>
                <a:lnTo>
                  <a:pt x="682" y="1261"/>
                </a:lnTo>
                <a:lnTo>
                  <a:pt x="687" y="1260"/>
                </a:lnTo>
                <a:lnTo>
                  <a:pt x="691" y="1259"/>
                </a:lnTo>
                <a:lnTo>
                  <a:pt x="697" y="1256"/>
                </a:lnTo>
                <a:lnTo>
                  <a:pt x="704" y="1252"/>
                </a:lnTo>
                <a:lnTo>
                  <a:pt x="697" y="1256"/>
                </a:lnTo>
                <a:lnTo>
                  <a:pt x="691" y="1259"/>
                </a:lnTo>
                <a:close/>
                <a:moveTo>
                  <a:pt x="690" y="1330"/>
                </a:moveTo>
                <a:lnTo>
                  <a:pt x="694" y="1330"/>
                </a:lnTo>
                <a:lnTo>
                  <a:pt x="696" y="1329"/>
                </a:lnTo>
                <a:lnTo>
                  <a:pt x="694" y="1330"/>
                </a:lnTo>
                <a:lnTo>
                  <a:pt x="690" y="1330"/>
                </a:lnTo>
                <a:close/>
                <a:moveTo>
                  <a:pt x="684" y="1369"/>
                </a:moveTo>
                <a:lnTo>
                  <a:pt x="687" y="1368"/>
                </a:lnTo>
                <a:lnTo>
                  <a:pt x="690" y="1368"/>
                </a:lnTo>
                <a:lnTo>
                  <a:pt x="687" y="1368"/>
                </a:lnTo>
                <a:lnTo>
                  <a:pt x="684" y="1369"/>
                </a:lnTo>
                <a:close/>
                <a:moveTo>
                  <a:pt x="653" y="992"/>
                </a:moveTo>
                <a:lnTo>
                  <a:pt x="658" y="999"/>
                </a:lnTo>
                <a:lnTo>
                  <a:pt x="666" y="1005"/>
                </a:lnTo>
                <a:lnTo>
                  <a:pt x="658" y="999"/>
                </a:lnTo>
                <a:lnTo>
                  <a:pt x="653" y="992"/>
                </a:lnTo>
                <a:lnTo>
                  <a:pt x="649" y="989"/>
                </a:lnTo>
                <a:lnTo>
                  <a:pt x="647" y="987"/>
                </a:lnTo>
                <a:lnTo>
                  <a:pt x="649" y="989"/>
                </a:lnTo>
                <a:lnTo>
                  <a:pt x="653" y="992"/>
                </a:lnTo>
                <a:close/>
                <a:moveTo>
                  <a:pt x="639" y="854"/>
                </a:moveTo>
                <a:lnTo>
                  <a:pt x="637" y="853"/>
                </a:lnTo>
                <a:lnTo>
                  <a:pt x="636" y="852"/>
                </a:lnTo>
                <a:lnTo>
                  <a:pt x="637" y="853"/>
                </a:lnTo>
                <a:lnTo>
                  <a:pt x="639" y="854"/>
                </a:lnTo>
                <a:lnTo>
                  <a:pt x="642" y="851"/>
                </a:lnTo>
                <a:lnTo>
                  <a:pt x="643" y="848"/>
                </a:lnTo>
                <a:lnTo>
                  <a:pt x="642" y="851"/>
                </a:lnTo>
                <a:lnTo>
                  <a:pt x="639" y="854"/>
                </a:lnTo>
                <a:close/>
                <a:moveTo>
                  <a:pt x="634" y="915"/>
                </a:moveTo>
                <a:lnTo>
                  <a:pt x="635" y="916"/>
                </a:lnTo>
                <a:lnTo>
                  <a:pt x="636" y="916"/>
                </a:lnTo>
                <a:lnTo>
                  <a:pt x="637" y="916"/>
                </a:lnTo>
                <a:lnTo>
                  <a:pt x="639" y="915"/>
                </a:lnTo>
                <a:lnTo>
                  <a:pt x="637" y="916"/>
                </a:lnTo>
                <a:lnTo>
                  <a:pt x="636" y="916"/>
                </a:lnTo>
                <a:lnTo>
                  <a:pt x="635" y="916"/>
                </a:lnTo>
                <a:lnTo>
                  <a:pt x="634" y="915"/>
                </a:lnTo>
                <a:close/>
                <a:moveTo>
                  <a:pt x="633" y="960"/>
                </a:moveTo>
                <a:lnTo>
                  <a:pt x="634" y="965"/>
                </a:lnTo>
                <a:lnTo>
                  <a:pt x="635" y="970"/>
                </a:lnTo>
                <a:lnTo>
                  <a:pt x="634" y="965"/>
                </a:lnTo>
                <a:lnTo>
                  <a:pt x="633" y="960"/>
                </a:lnTo>
                <a:close/>
                <a:moveTo>
                  <a:pt x="632" y="890"/>
                </a:moveTo>
                <a:lnTo>
                  <a:pt x="632" y="886"/>
                </a:lnTo>
                <a:lnTo>
                  <a:pt x="632" y="881"/>
                </a:lnTo>
                <a:lnTo>
                  <a:pt x="632" y="886"/>
                </a:lnTo>
                <a:lnTo>
                  <a:pt x="632" y="890"/>
                </a:lnTo>
                <a:lnTo>
                  <a:pt x="633" y="890"/>
                </a:lnTo>
                <a:lnTo>
                  <a:pt x="633" y="890"/>
                </a:lnTo>
                <a:lnTo>
                  <a:pt x="633" y="890"/>
                </a:lnTo>
                <a:lnTo>
                  <a:pt x="632" y="890"/>
                </a:lnTo>
                <a:close/>
                <a:moveTo>
                  <a:pt x="625" y="615"/>
                </a:moveTo>
                <a:lnTo>
                  <a:pt x="630" y="614"/>
                </a:lnTo>
                <a:lnTo>
                  <a:pt x="635" y="611"/>
                </a:lnTo>
                <a:lnTo>
                  <a:pt x="639" y="608"/>
                </a:lnTo>
                <a:lnTo>
                  <a:pt x="642" y="607"/>
                </a:lnTo>
                <a:lnTo>
                  <a:pt x="639" y="608"/>
                </a:lnTo>
                <a:lnTo>
                  <a:pt x="635" y="611"/>
                </a:lnTo>
                <a:lnTo>
                  <a:pt x="630" y="614"/>
                </a:lnTo>
                <a:lnTo>
                  <a:pt x="625" y="615"/>
                </a:lnTo>
                <a:close/>
                <a:moveTo>
                  <a:pt x="621" y="945"/>
                </a:moveTo>
                <a:lnTo>
                  <a:pt x="619" y="943"/>
                </a:lnTo>
                <a:lnTo>
                  <a:pt x="618" y="940"/>
                </a:lnTo>
                <a:lnTo>
                  <a:pt x="619" y="943"/>
                </a:lnTo>
                <a:lnTo>
                  <a:pt x="621" y="945"/>
                </a:lnTo>
                <a:lnTo>
                  <a:pt x="622" y="947"/>
                </a:lnTo>
                <a:lnTo>
                  <a:pt x="625" y="951"/>
                </a:lnTo>
                <a:lnTo>
                  <a:pt x="622" y="947"/>
                </a:lnTo>
                <a:lnTo>
                  <a:pt x="621" y="945"/>
                </a:lnTo>
                <a:close/>
                <a:moveTo>
                  <a:pt x="621" y="275"/>
                </a:moveTo>
                <a:lnTo>
                  <a:pt x="622" y="275"/>
                </a:lnTo>
                <a:lnTo>
                  <a:pt x="623" y="274"/>
                </a:lnTo>
                <a:lnTo>
                  <a:pt x="622" y="275"/>
                </a:lnTo>
                <a:lnTo>
                  <a:pt x="621" y="275"/>
                </a:lnTo>
                <a:lnTo>
                  <a:pt x="620" y="274"/>
                </a:lnTo>
                <a:lnTo>
                  <a:pt x="620" y="274"/>
                </a:lnTo>
                <a:lnTo>
                  <a:pt x="620" y="274"/>
                </a:lnTo>
                <a:lnTo>
                  <a:pt x="621" y="275"/>
                </a:lnTo>
                <a:close/>
                <a:moveTo>
                  <a:pt x="630" y="273"/>
                </a:moveTo>
                <a:lnTo>
                  <a:pt x="632" y="273"/>
                </a:lnTo>
                <a:lnTo>
                  <a:pt x="634" y="273"/>
                </a:lnTo>
                <a:lnTo>
                  <a:pt x="643" y="274"/>
                </a:lnTo>
                <a:lnTo>
                  <a:pt x="651" y="276"/>
                </a:lnTo>
                <a:lnTo>
                  <a:pt x="658" y="281"/>
                </a:lnTo>
                <a:lnTo>
                  <a:pt x="667" y="286"/>
                </a:lnTo>
                <a:lnTo>
                  <a:pt x="680" y="296"/>
                </a:lnTo>
                <a:lnTo>
                  <a:pt x="692" y="308"/>
                </a:lnTo>
                <a:lnTo>
                  <a:pt x="695" y="309"/>
                </a:lnTo>
                <a:lnTo>
                  <a:pt x="696" y="311"/>
                </a:lnTo>
                <a:lnTo>
                  <a:pt x="699" y="313"/>
                </a:lnTo>
                <a:lnTo>
                  <a:pt x="701" y="313"/>
                </a:lnTo>
                <a:lnTo>
                  <a:pt x="698" y="315"/>
                </a:lnTo>
                <a:lnTo>
                  <a:pt x="696" y="316"/>
                </a:lnTo>
                <a:lnTo>
                  <a:pt x="694" y="318"/>
                </a:lnTo>
                <a:lnTo>
                  <a:pt x="690" y="317"/>
                </a:lnTo>
                <a:lnTo>
                  <a:pt x="688" y="316"/>
                </a:lnTo>
                <a:lnTo>
                  <a:pt x="685" y="314"/>
                </a:lnTo>
                <a:lnTo>
                  <a:pt x="670" y="302"/>
                </a:lnTo>
                <a:lnTo>
                  <a:pt x="655" y="289"/>
                </a:lnTo>
                <a:lnTo>
                  <a:pt x="654" y="288"/>
                </a:lnTo>
                <a:lnTo>
                  <a:pt x="654" y="287"/>
                </a:lnTo>
                <a:lnTo>
                  <a:pt x="653" y="287"/>
                </a:lnTo>
                <a:lnTo>
                  <a:pt x="650" y="288"/>
                </a:lnTo>
                <a:lnTo>
                  <a:pt x="648" y="287"/>
                </a:lnTo>
                <a:lnTo>
                  <a:pt x="646" y="285"/>
                </a:lnTo>
                <a:lnTo>
                  <a:pt x="646" y="285"/>
                </a:lnTo>
                <a:lnTo>
                  <a:pt x="643" y="281"/>
                </a:lnTo>
                <a:lnTo>
                  <a:pt x="639" y="278"/>
                </a:lnTo>
                <a:lnTo>
                  <a:pt x="634" y="276"/>
                </a:lnTo>
                <a:lnTo>
                  <a:pt x="630" y="273"/>
                </a:lnTo>
                <a:lnTo>
                  <a:pt x="630" y="273"/>
                </a:lnTo>
                <a:close/>
                <a:moveTo>
                  <a:pt x="716" y="702"/>
                </a:moveTo>
                <a:lnTo>
                  <a:pt x="709" y="716"/>
                </a:lnTo>
                <a:lnTo>
                  <a:pt x="702" y="729"/>
                </a:lnTo>
                <a:lnTo>
                  <a:pt x="687" y="732"/>
                </a:lnTo>
                <a:lnTo>
                  <a:pt x="673" y="733"/>
                </a:lnTo>
                <a:lnTo>
                  <a:pt x="687" y="732"/>
                </a:lnTo>
                <a:lnTo>
                  <a:pt x="702" y="729"/>
                </a:lnTo>
                <a:lnTo>
                  <a:pt x="709" y="716"/>
                </a:lnTo>
                <a:lnTo>
                  <a:pt x="716" y="702"/>
                </a:lnTo>
                <a:close/>
                <a:moveTo>
                  <a:pt x="703" y="678"/>
                </a:moveTo>
                <a:lnTo>
                  <a:pt x="703" y="678"/>
                </a:lnTo>
                <a:lnTo>
                  <a:pt x="703" y="678"/>
                </a:lnTo>
                <a:lnTo>
                  <a:pt x="703" y="678"/>
                </a:lnTo>
                <a:lnTo>
                  <a:pt x="702" y="680"/>
                </a:lnTo>
                <a:lnTo>
                  <a:pt x="702" y="683"/>
                </a:lnTo>
                <a:lnTo>
                  <a:pt x="702" y="680"/>
                </a:lnTo>
                <a:lnTo>
                  <a:pt x="703" y="678"/>
                </a:lnTo>
                <a:close/>
                <a:moveTo>
                  <a:pt x="727" y="524"/>
                </a:moveTo>
                <a:lnTo>
                  <a:pt x="727" y="523"/>
                </a:lnTo>
                <a:lnTo>
                  <a:pt x="729" y="522"/>
                </a:lnTo>
                <a:lnTo>
                  <a:pt x="727" y="523"/>
                </a:lnTo>
                <a:lnTo>
                  <a:pt x="727" y="524"/>
                </a:lnTo>
                <a:lnTo>
                  <a:pt x="715" y="536"/>
                </a:lnTo>
                <a:lnTo>
                  <a:pt x="702" y="548"/>
                </a:lnTo>
                <a:lnTo>
                  <a:pt x="715" y="536"/>
                </a:lnTo>
                <a:lnTo>
                  <a:pt x="727" y="524"/>
                </a:lnTo>
                <a:close/>
                <a:moveTo>
                  <a:pt x="718" y="701"/>
                </a:moveTo>
                <a:lnTo>
                  <a:pt x="720" y="702"/>
                </a:lnTo>
                <a:lnTo>
                  <a:pt x="724" y="702"/>
                </a:lnTo>
                <a:lnTo>
                  <a:pt x="720" y="702"/>
                </a:lnTo>
                <a:lnTo>
                  <a:pt x="718" y="701"/>
                </a:lnTo>
                <a:lnTo>
                  <a:pt x="711" y="694"/>
                </a:lnTo>
                <a:lnTo>
                  <a:pt x="704" y="686"/>
                </a:lnTo>
                <a:lnTo>
                  <a:pt x="711" y="694"/>
                </a:lnTo>
                <a:lnTo>
                  <a:pt x="718" y="701"/>
                </a:lnTo>
                <a:close/>
                <a:moveTo>
                  <a:pt x="723" y="681"/>
                </a:moveTo>
                <a:lnTo>
                  <a:pt x="723" y="681"/>
                </a:lnTo>
                <a:lnTo>
                  <a:pt x="718" y="679"/>
                </a:lnTo>
                <a:lnTo>
                  <a:pt x="712" y="676"/>
                </a:lnTo>
                <a:lnTo>
                  <a:pt x="718" y="679"/>
                </a:lnTo>
                <a:lnTo>
                  <a:pt x="723" y="681"/>
                </a:lnTo>
                <a:close/>
                <a:moveTo>
                  <a:pt x="711" y="636"/>
                </a:moveTo>
                <a:lnTo>
                  <a:pt x="708" y="642"/>
                </a:lnTo>
                <a:lnTo>
                  <a:pt x="704" y="646"/>
                </a:lnTo>
                <a:lnTo>
                  <a:pt x="708" y="642"/>
                </a:lnTo>
                <a:lnTo>
                  <a:pt x="711" y="636"/>
                </a:lnTo>
                <a:lnTo>
                  <a:pt x="713" y="629"/>
                </a:lnTo>
                <a:lnTo>
                  <a:pt x="716" y="622"/>
                </a:lnTo>
                <a:lnTo>
                  <a:pt x="713" y="629"/>
                </a:lnTo>
                <a:lnTo>
                  <a:pt x="711" y="636"/>
                </a:lnTo>
                <a:close/>
                <a:moveTo>
                  <a:pt x="709" y="730"/>
                </a:moveTo>
                <a:lnTo>
                  <a:pt x="717" y="729"/>
                </a:lnTo>
                <a:lnTo>
                  <a:pt x="724" y="728"/>
                </a:lnTo>
                <a:lnTo>
                  <a:pt x="727" y="723"/>
                </a:lnTo>
                <a:lnTo>
                  <a:pt x="731" y="719"/>
                </a:lnTo>
                <a:lnTo>
                  <a:pt x="727" y="723"/>
                </a:lnTo>
                <a:lnTo>
                  <a:pt x="724" y="728"/>
                </a:lnTo>
                <a:lnTo>
                  <a:pt x="717" y="729"/>
                </a:lnTo>
                <a:lnTo>
                  <a:pt x="709" y="730"/>
                </a:lnTo>
                <a:close/>
                <a:moveTo>
                  <a:pt x="713" y="782"/>
                </a:moveTo>
                <a:lnTo>
                  <a:pt x="709" y="784"/>
                </a:lnTo>
                <a:lnTo>
                  <a:pt x="704" y="786"/>
                </a:lnTo>
                <a:lnTo>
                  <a:pt x="709" y="784"/>
                </a:lnTo>
                <a:lnTo>
                  <a:pt x="713" y="782"/>
                </a:lnTo>
                <a:close/>
                <a:moveTo>
                  <a:pt x="713" y="758"/>
                </a:moveTo>
                <a:lnTo>
                  <a:pt x="713" y="758"/>
                </a:lnTo>
                <a:lnTo>
                  <a:pt x="713" y="761"/>
                </a:lnTo>
                <a:lnTo>
                  <a:pt x="712" y="762"/>
                </a:lnTo>
                <a:lnTo>
                  <a:pt x="711" y="762"/>
                </a:lnTo>
                <a:lnTo>
                  <a:pt x="710" y="761"/>
                </a:lnTo>
                <a:lnTo>
                  <a:pt x="711" y="762"/>
                </a:lnTo>
                <a:lnTo>
                  <a:pt x="712" y="762"/>
                </a:lnTo>
                <a:lnTo>
                  <a:pt x="713" y="761"/>
                </a:lnTo>
                <a:lnTo>
                  <a:pt x="713" y="758"/>
                </a:lnTo>
                <a:close/>
                <a:moveTo>
                  <a:pt x="701" y="783"/>
                </a:moveTo>
                <a:lnTo>
                  <a:pt x="706" y="781"/>
                </a:lnTo>
                <a:lnTo>
                  <a:pt x="712" y="779"/>
                </a:lnTo>
                <a:lnTo>
                  <a:pt x="706" y="781"/>
                </a:lnTo>
                <a:lnTo>
                  <a:pt x="701" y="783"/>
                </a:lnTo>
                <a:close/>
                <a:moveTo>
                  <a:pt x="692" y="996"/>
                </a:moveTo>
                <a:lnTo>
                  <a:pt x="698" y="999"/>
                </a:lnTo>
                <a:lnTo>
                  <a:pt x="703" y="1003"/>
                </a:lnTo>
                <a:lnTo>
                  <a:pt x="698" y="999"/>
                </a:lnTo>
                <a:lnTo>
                  <a:pt x="692" y="996"/>
                </a:lnTo>
                <a:lnTo>
                  <a:pt x="685" y="989"/>
                </a:lnTo>
                <a:lnTo>
                  <a:pt x="678" y="984"/>
                </a:lnTo>
                <a:lnTo>
                  <a:pt x="685" y="989"/>
                </a:lnTo>
                <a:lnTo>
                  <a:pt x="692" y="996"/>
                </a:lnTo>
                <a:close/>
                <a:moveTo>
                  <a:pt x="670" y="756"/>
                </a:moveTo>
                <a:lnTo>
                  <a:pt x="671" y="755"/>
                </a:lnTo>
                <a:lnTo>
                  <a:pt x="673" y="755"/>
                </a:lnTo>
                <a:lnTo>
                  <a:pt x="671" y="755"/>
                </a:lnTo>
                <a:lnTo>
                  <a:pt x="670" y="756"/>
                </a:lnTo>
                <a:close/>
                <a:moveTo>
                  <a:pt x="673" y="760"/>
                </a:moveTo>
                <a:lnTo>
                  <a:pt x="670" y="764"/>
                </a:lnTo>
                <a:lnTo>
                  <a:pt x="670" y="770"/>
                </a:lnTo>
                <a:lnTo>
                  <a:pt x="670" y="770"/>
                </a:lnTo>
                <a:lnTo>
                  <a:pt x="669" y="771"/>
                </a:lnTo>
                <a:lnTo>
                  <a:pt x="670" y="770"/>
                </a:lnTo>
                <a:lnTo>
                  <a:pt x="670" y="770"/>
                </a:lnTo>
                <a:lnTo>
                  <a:pt x="670" y="764"/>
                </a:lnTo>
                <a:lnTo>
                  <a:pt x="673" y="760"/>
                </a:lnTo>
                <a:close/>
                <a:moveTo>
                  <a:pt x="669" y="760"/>
                </a:moveTo>
                <a:lnTo>
                  <a:pt x="666" y="756"/>
                </a:lnTo>
                <a:lnTo>
                  <a:pt x="663" y="755"/>
                </a:lnTo>
                <a:lnTo>
                  <a:pt x="666" y="756"/>
                </a:lnTo>
                <a:lnTo>
                  <a:pt x="669" y="760"/>
                </a:lnTo>
                <a:close/>
                <a:moveTo>
                  <a:pt x="655" y="816"/>
                </a:moveTo>
                <a:lnTo>
                  <a:pt x="661" y="818"/>
                </a:lnTo>
                <a:lnTo>
                  <a:pt x="666" y="819"/>
                </a:lnTo>
                <a:lnTo>
                  <a:pt x="661" y="818"/>
                </a:lnTo>
                <a:lnTo>
                  <a:pt x="655" y="816"/>
                </a:lnTo>
                <a:lnTo>
                  <a:pt x="655" y="816"/>
                </a:lnTo>
                <a:close/>
                <a:moveTo>
                  <a:pt x="655" y="795"/>
                </a:moveTo>
                <a:lnTo>
                  <a:pt x="656" y="795"/>
                </a:lnTo>
                <a:lnTo>
                  <a:pt x="657" y="796"/>
                </a:lnTo>
                <a:lnTo>
                  <a:pt x="656" y="795"/>
                </a:lnTo>
                <a:lnTo>
                  <a:pt x="655" y="795"/>
                </a:lnTo>
                <a:close/>
                <a:moveTo>
                  <a:pt x="662" y="776"/>
                </a:moveTo>
                <a:lnTo>
                  <a:pt x="660" y="777"/>
                </a:lnTo>
                <a:lnTo>
                  <a:pt x="657" y="777"/>
                </a:lnTo>
                <a:lnTo>
                  <a:pt x="660" y="777"/>
                </a:lnTo>
                <a:lnTo>
                  <a:pt x="662" y="776"/>
                </a:lnTo>
                <a:close/>
                <a:moveTo>
                  <a:pt x="635" y="592"/>
                </a:moveTo>
                <a:lnTo>
                  <a:pt x="646" y="592"/>
                </a:lnTo>
                <a:lnTo>
                  <a:pt x="655" y="592"/>
                </a:lnTo>
                <a:lnTo>
                  <a:pt x="646" y="592"/>
                </a:lnTo>
                <a:lnTo>
                  <a:pt x="635" y="592"/>
                </a:lnTo>
                <a:close/>
                <a:moveTo>
                  <a:pt x="637" y="616"/>
                </a:moveTo>
                <a:lnTo>
                  <a:pt x="643" y="618"/>
                </a:lnTo>
                <a:lnTo>
                  <a:pt x="649" y="618"/>
                </a:lnTo>
                <a:lnTo>
                  <a:pt x="650" y="620"/>
                </a:lnTo>
                <a:lnTo>
                  <a:pt x="651" y="621"/>
                </a:lnTo>
                <a:lnTo>
                  <a:pt x="653" y="620"/>
                </a:lnTo>
                <a:lnTo>
                  <a:pt x="654" y="620"/>
                </a:lnTo>
                <a:lnTo>
                  <a:pt x="653" y="620"/>
                </a:lnTo>
                <a:lnTo>
                  <a:pt x="651" y="621"/>
                </a:lnTo>
                <a:lnTo>
                  <a:pt x="650" y="620"/>
                </a:lnTo>
                <a:lnTo>
                  <a:pt x="649" y="618"/>
                </a:lnTo>
                <a:lnTo>
                  <a:pt x="643" y="618"/>
                </a:lnTo>
                <a:lnTo>
                  <a:pt x="637" y="616"/>
                </a:lnTo>
                <a:close/>
                <a:moveTo>
                  <a:pt x="636" y="693"/>
                </a:moveTo>
                <a:lnTo>
                  <a:pt x="636" y="693"/>
                </a:lnTo>
                <a:lnTo>
                  <a:pt x="635" y="692"/>
                </a:lnTo>
                <a:lnTo>
                  <a:pt x="636" y="693"/>
                </a:lnTo>
                <a:lnTo>
                  <a:pt x="636" y="693"/>
                </a:lnTo>
                <a:lnTo>
                  <a:pt x="639" y="697"/>
                </a:lnTo>
                <a:lnTo>
                  <a:pt x="642" y="698"/>
                </a:lnTo>
                <a:lnTo>
                  <a:pt x="639" y="697"/>
                </a:lnTo>
                <a:lnTo>
                  <a:pt x="636" y="693"/>
                </a:lnTo>
                <a:close/>
                <a:moveTo>
                  <a:pt x="641" y="746"/>
                </a:moveTo>
                <a:lnTo>
                  <a:pt x="641" y="747"/>
                </a:lnTo>
                <a:lnTo>
                  <a:pt x="642" y="749"/>
                </a:lnTo>
                <a:lnTo>
                  <a:pt x="643" y="753"/>
                </a:lnTo>
                <a:lnTo>
                  <a:pt x="644" y="754"/>
                </a:lnTo>
                <a:lnTo>
                  <a:pt x="647" y="755"/>
                </a:lnTo>
                <a:lnTo>
                  <a:pt x="649" y="756"/>
                </a:lnTo>
                <a:lnTo>
                  <a:pt x="647" y="755"/>
                </a:lnTo>
                <a:lnTo>
                  <a:pt x="644" y="754"/>
                </a:lnTo>
                <a:lnTo>
                  <a:pt x="643" y="753"/>
                </a:lnTo>
                <a:lnTo>
                  <a:pt x="642" y="749"/>
                </a:lnTo>
                <a:lnTo>
                  <a:pt x="641" y="747"/>
                </a:lnTo>
                <a:lnTo>
                  <a:pt x="641" y="746"/>
                </a:lnTo>
                <a:close/>
                <a:moveTo>
                  <a:pt x="649" y="777"/>
                </a:moveTo>
                <a:lnTo>
                  <a:pt x="649" y="777"/>
                </a:lnTo>
                <a:lnTo>
                  <a:pt x="649" y="777"/>
                </a:lnTo>
                <a:lnTo>
                  <a:pt x="649" y="777"/>
                </a:lnTo>
                <a:lnTo>
                  <a:pt x="655" y="774"/>
                </a:lnTo>
                <a:lnTo>
                  <a:pt x="661" y="771"/>
                </a:lnTo>
                <a:lnTo>
                  <a:pt x="655" y="774"/>
                </a:lnTo>
                <a:lnTo>
                  <a:pt x="649" y="777"/>
                </a:lnTo>
                <a:close/>
                <a:moveTo>
                  <a:pt x="663" y="792"/>
                </a:moveTo>
                <a:lnTo>
                  <a:pt x="662" y="792"/>
                </a:lnTo>
                <a:lnTo>
                  <a:pt x="661" y="792"/>
                </a:lnTo>
                <a:lnTo>
                  <a:pt x="662" y="792"/>
                </a:lnTo>
                <a:lnTo>
                  <a:pt x="663" y="792"/>
                </a:lnTo>
                <a:lnTo>
                  <a:pt x="671" y="790"/>
                </a:lnTo>
                <a:lnTo>
                  <a:pt x="681" y="788"/>
                </a:lnTo>
                <a:lnTo>
                  <a:pt x="671" y="790"/>
                </a:lnTo>
                <a:lnTo>
                  <a:pt x="663" y="792"/>
                </a:lnTo>
                <a:close/>
                <a:moveTo>
                  <a:pt x="669" y="819"/>
                </a:moveTo>
                <a:lnTo>
                  <a:pt x="669" y="820"/>
                </a:lnTo>
                <a:lnTo>
                  <a:pt x="668" y="823"/>
                </a:lnTo>
                <a:lnTo>
                  <a:pt x="669" y="820"/>
                </a:lnTo>
                <a:lnTo>
                  <a:pt x="669" y="819"/>
                </a:lnTo>
                <a:lnTo>
                  <a:pt x="670" y="818"/>
                </a:lnTo>
                <a:lnTo>
                  <a:pt x="670" y="818"/>
                </a:lnTo>
                <a:lnTo>
                  <a:pt x="670" y="818"/>
                </a:lnTo>
                <a:lnTo>
                  <a:pt x="669" y="819"/>
                </a:lnTo>
                <a:close/>
                <a:moveTo>
                  <a:pt x="670" y="911"/>
                </a:moveTo>
                <a:lnTo>
                  <a:pt x="670" y="914"/>
                </a:lnTo>
                <a:lnTo>
                  <a:pt x="671" y="916"/>
                </a:lnTo>
                <a:lnTo>
                  <a:pt x="670" y="914"/>
                </a:lnTo>
                <a:lnTo>
                  <a:pt x="670" y="911"/>
                </a:lnTo>
                <a:close/>
                <a:moveTo>
                  <a:pt x="751" y="593"/>
                </a:moveTo>
                <a:lnTo>
                  <a:pt x="737" y="601"/>
                </a:lnTo>
                <a:lnTo>
                  <a:pt x="723" y="610"/>
                </a:lnTo>
                <a:lnTo>
                  <a:pt x="723" y="610"/>
                </a:lnTo>
                <a:lnTo>
                  <a:pt x="723" y="611"/>
                </a:lnTo>
                <a:lnTo>
                  <a:pt x="723" y="610"/>
                </a:lnTo>
                <a:lnTo>
                  <a:pt x="723" y="610"/>
                </a:lnTo>
                <a:lnTo>
                  <a:pt x="737" y="601"/>
                </a:lnTo>
                <a:lnTo>
                  <a:pt x="751" y="593"/>
                </a:lnTo>
                <a:close/>
                <a:moveTo>
                  <a:pt x="737" y="709"/>
                </a:moveTo>
                <a:lnTo>
                  <a:pt x="736" y="709"/>
                </a:lnTo>
                <a:lnTo>
                  <a:pt x="735" y="711"/>
                </a:lnTo>
                <a:lnTo>
                  <a:pt x="735" y="711"/>
                </a:lnTo>
                <a:lnTo>
                  <a:pt x="733" y="712"/>
                </a:lnTo>
                <a:lnTo>
                  <a:pt x="732" y="711"/>
                </a:lnTo>
                <a:lnTo>
                  <a:pt x="732" y="711"/>
                </a:lnTo>
                <a:lnTo>
                  <a:pt x="732" y="711"/>
                </a:lnTo>
                <a:lnTo>
                  <a:pt x="733" y="712"/>
                </a:lnTo>
                <a:lnTo>
                  <a:pt x="735" y="711"/>
                </a:lnTo>
                <a:lnTo>
                  <a:pt x="735" y="711"/>
                </a:lnTo>
                <a:lnTo>
                  <a:pt x="736" y="709"/>
                </a:lnTo>
                <a:lnTo>
                  <a:pt x="737" y="709"/>
                </a:lnTo>
                <a:close/>
                <a:moveTo>
                  <a:pt x="731" y="704"/>
                </a:moveTo>
                <a:lnTo>
                  <a:pt x="735" y="705"/>
                </a:lnTo>
                <a:lnTo>
                  <a:pt x="738" y="708"/>
                </a:lnTo>
                <a:lnTo>
                  <a:pt x="745" y="711"/>
                </a:lnTo>
                <a:lnTo>
                  <a:pt x="751" y="714"/>
                </a:lnTo>
                <a:lnTo>
                  <a:pt x="745" y="711"/>
                </a:lnTo>
                <a:lnTo>
                  <a:pt x="738" y="708"/>
                </a:lnTo>
                <a:lnTo>
                  <a:pt x="735" y="705"/>
                </a:lnTo>
                <a:lnTo>
                  <a:pt x="731" y="704"/>
                </a:lnTo>
                <a:close/>
                <a:moveTo>
                  <a:pt x="753" y="455"/>
                </a:moveTo>
                <a:lnTo>
                  <a:pt x="754" y="454"/>
                </a:lnTo>
                <a:lnTo>
                  <a:pt x="756" y="452"/>
                </a:lnTo>
                <a:lnTo>
                  <a:pt x="754" y="454"/>
                </a:lnTo>
                <a:lnTo>
                  <a:pt x="753" y="455"/>
                </a:lnTo>
                <a:lnTo>
                  <a:pt x="753" y="455"/>
                </a:lnTo>
                <a:lnTo>
                  <a:pt x="757" y="457"/>
                </a:lnTo>
                <a:lnTo>
                  <a:pt x="759" y="457"/>
                </a:lnTo>
                <a:lnTo>
                  <a:pt x="764" y="460"/>
                </a:lnTo>
                <a:lnTo>
                  <a:pt x="765" y="463"/>
                </a:lnTo>
                <a:lnTo>
                  <a:pt x="765" y="467"/>
                </a:lnTo>
                <a:lnTo>
                  <a:pt x="763" y="470"/>
                </a:lnTo>
                <a:lnTo>
                  <a:pt x="760" y="474"/>
                </a:lnTo>
                <a:lnTo>
                  <a:pt x="759" y="478"/>
                </a:lnTo>
                <a:lnTo>
                  <a:pt x="756" y="482"/>
                </a:lnTo>
                <a:lnTo>
                  <a:pt x="751" y="484"/>
                </a:lnTo>
                <a:lnTo>
                  <a:pt x="751" y="487"/>
                </a:lnTo>
                <a:lnTo>
                  <a:pt x="752" y="489"/>
                </a:lnTo>
                <a:lnTo>
                  <a:pt x="751" y="487"/>
                </a:lnTo>
                <a:lnTo>
                  <a:pt x="751" y="484"/>
                </a:lnTo>
                <a:lnTo>
                  <a:pt x="749" y="482"/>
                </a:lnTo>
                <a:lnTo>
                  <a:pt x="747" y="478"/>
                </a:lnTo>
                <a:lnTo>
                  <a:pt x="744" y="474"/>
                </a:lnTo>
                <a:lnTo>
                  <a:pt x="740" y="468"/>
                </a:lnTo>
                <a:lnTo>
                  <a:pt x="737" y="459"/>
                </a:lnTo>
                <a:lnTo>
                  <a:pt x="735" y="449"/>
                </a:lnTo>
                <a:lnTo>
                  <a:pt x="744" y="453"/>
                </a:lnTo>
                <a:lnTo>
                  <a:pt x="753" y="455"/>
                </a:lnTo>
                <a:close/>
                <a:moveTo>
                  <a:pt x="735" y="227"/>
                </a:moveTo>
                <a:lnTo>
                  <a:pt x="737" y="227"/>
                </a:lnTo>
                <a:lnTo>
                  <a:pt x="739" y="226"/>
                </a:lnTo>
                <a:lnTo>
                  <a:pt x="740" y="226"/>
                </a:lnTo>
                <a:lnTo>
                  <a:pt x="740" y="226"/>
                </a:lnTo>
                <a:lnTo>
                  <a:pt x="740" y="226"/>
                </a:lnTo>
                <a:lnTo>
                  <a:pt x="739" y="226"/>
                </a:lnTo>
                <a:lnTo>
                  <a:pt x="737" y="227"/>
                </a:lnTo>
                <a:lnTo>
                  <a:pt x="735" y="227"/>
                </a:lnTo>
                <a:close/>
                <a:moveTo>
                  <a:pt x="733" y="227"/>
                </a:moveTo>
                <a:lnTo>
                  <a:pt x="735" y="225"/>
                </a:lnTo>
                <a:lnTo>
                  <a:pt x="735" y="222"/>
                </a:lnTo>
                <a:lnTo>
                  <a:pt x="735" y="225"/>
                </a:lnTo>
                <a:lnTo>
                  <a:pt x="733" y="227"/>
                </a:lnTo>
                <a:close/>
                <a:moveTo>
                  <a:pt x="780" y="698"/>
                </a:moveTo>
                <a:lnTo>
                  <a:pt x="782" y="699"/>
                </a:lnTo>
                <a:lnTo>
                  <a:pt x="785" y="699"/>
                </a:lnTo>
                <a:lnTo>
                  <a:pt x="782" y="699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lnTo>
                  <a:pt x="780" y="698"/>
                </a:lnTo>
                <a:close/>
                <a:moveTo>
                  <a:pt x="786" y="377"/>
                </a:moveTo>
                <a:lnTo>
                  <a:pt x="786" y="378"/>
                </a:lnTo>
                <a:lnTo>
                  <a:pt x="786" y="378"/>
                </a:lnTo>
                <a:lnTo>
                  <a:pt x="795" y="376"/>
                </a:lnTo>
                <a:lnTo>
                  <a:pt x="804" y="372"/>
                </a:lnTo>
                <a:lnTo>
                  <a:pt x="813" y="369"/>
                </a:lnTo>
                <a:lnTo>
                  <a:pt x="821" y="363"/>
                </a:lnTo>
                <a:lnTo>
                  <a:pt x="828" y="359"/>
                </a:lnTo>
                <a:lnTo>
                  <a:pt x="832" y="358"/>
                </a:lnTo>
                <a:lnTo>
                  <a:pt x="835" y="360"/>
                </a:lnTo>
                <a:lnTo>
                  <a:pt x="839" y="367"/>
                </a:lnTo>
                <a:lnTo>
                  <a:pt x="840" y="367"/>
                </a:lnTo>
                <a:lnTo>
                  <a:pt x="840" y="367"/>
                </a:lnTo>
                <a:lnTo>
                  <a:pt x="840" y="369"/>
                </a:lnTo>
                <a:lnTo>
                  <a:pt x="841" y="369"/>
                </a:lnTo>
                <a:lnTo>
                  <a:pt x="841" y="371"/>
                </a:lnTo>
                <a:lnTo>
                  <a:pt x="841" y="372"/>
                </a:lnTo>
                <a:lnTo>
                  <a:pt x="840" y="373"/>
                </a:lnTo>
                <a:lnTo>
                  <a:pt x="840" y="374"/>
                </a:lnTo>
                <a:lnTo>
                  <a:pt x="840" y="376"/>
                </a:lnTo>
                <a:lnTo>
                  <a:pt x="840" y="377"/>
                </a:lnTo>
                <a:lnTo>
                  <a:pt x="839" y="381"/>
                </a:lnTo>
                <a:lnTo>
                  <a:pt x="837" y="386"/>
                </a:lnTo>
                <a:lnTo>
                  <a:pt x="839" y="391"/>
                </a:lnTo>
                <a:lnTo>
                  <a:pt x="839" y="396"/>
                </a:lnTo>
                <a:lnTo>
                  <a:pt x="839" y="399"/>
                </a:lnTo>
                <a:lnTo>
                  <a:pt x="839" y="401"/>
                </a:lnTo>
                <a:lnTo>
                  <a:pt x="840" y="404"/>
                </a:lnTo>
                <a:lnTo>
                  <a:pt x="841" y="407"/>
                </a:lnTo>
                <a:lnTo>
                  <a:pt x="840" y="404"/>
                </a:lnTo>
                <a:lnTo>
                  <a:pt x="839" y="401"/>
                </a:lnTo>
                <a:lnTo>
                  <a:pt x="839" y="405"/>
                </a:lnTo>
                <a:lnTo>
                  <a:pt x="839" y="408"/>
                </a:lnTo>
                <a:lnTo>
                  <a:pt x="839" y="412"/>
                </a:lnTo>
                <a:lnTo>
                  <a:pt x="841" y="414"/>
                </a:lnTo>
                <a:lnTo>
                  <a:pt x="841" y="418"/>
                </a:lnTo>
                <a:lnTo>
                  <a:pt x="841" y="420"/>
                </a:lnTo>
                <a:lnTo>
                  <a:pt x="830" y="414"/>
                </a:lnTo>
                <a:lnTo>
                  <a:pt x="821" y="406"/>
                </a:lnTo>
                <a:lnTo>
                  <a:pt x="811" y="399"/>
                </a:lnTo>
                <a:lnTo>
                  <a:pt x="801" y="392"/>
                </a:lnTo>
                <a:lnTo>
                  <a:pt x="799" y="391"/>
                </a:lnTo>
                <a:lnTo>
                  <a:pt x="796" y="390"/>
                </a:lnTo>
                <a:lnTo>
                  <a:pt x="796" y="390"/>
                </a:lnTo>
                <a:lnTo>
                  <a:pt x="792" y="385"/>
                </a:lnTo>
                <a:lnTo>
                  <a:pt x="787" y="383"/>
                </a:lnTo>
                <a:lnTo>
                  <a:pt x="786" y="381"/>
                </a:lnTo>
                <a:lnTo>
                  <a:pt x="785" y="379"/>
                </a:lnTo>
                <a:lnTo>
                  <a:pt x="786" y="379"/>
                </a:lnTo>
                <a:lnTo>
                  <a:pt x="786" y="378"/>
                </a:lnTo>
                <a:lnTo>
                  <a:pt x="786" y="378"/>
                </a:lnTo>
                <a:lnTo>
                  <a:pt x="786" y="377"/>
                </a:lnTo>
                <a:close/>
                <a:moveTo>
                  <a:pt x="860" y="348"/>
                </a:moveTo>
                <a:lnTo>
                  <a:pt x="860" y="348"/>
                </a:lnTo>
                <a:lnTo>
                  <a:pt x="861" y="348"/>
                </a:lnTo>
                <a:lnTo>
                  <a:pt x="860" y="348"/>
                </a:lnTo>
                <a:lnTo>
                  <a:pt x="860" y="348"/>
                </a:lnTo>
                <a:lnTo>
                  <a:pt x="857" y="348"/>
                </a:lnTo>
                <a:lnTo>
                  <a:pt x="855" y="346"/>
                </a:lnTo>
                <a:lnTo>
                  <a:pt x="857" y="348"/>
                </a:lnTo>
                <a:lnTo>
                  <a:pt x="860" y="348"/>
                </a:lnTo>
                <a:close/>
                <a:moveTo>
                  <a:pt x="880" y="262"/>
                </a:moveTo>
                <a:lnTo>
                  <a:pt x="882" y="264"/>
                </a:lnTo>
                <a:lnTo>
                  <a:pt x="883" y="266"/>
                </a:lnTo>
                <a:lnTo>
                  <a:pt x="882" y="264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lnTo>
                  <a:pt x="880" y="262"/>
                </a:lnTo>
                <a:close/>
                <a:moveTo>
                  <a:pt x="932" y="287"/>
                </a:moveTo>
                <a:lnTo>
                  <a:pt x="932" y="290"/>
                </a:lnTo>
                <a:lnTo>
                  <a:pt x="931" y="294"/>
                </a:lnTo>
                <a:lnTo>
                  <a:pt x="932" y="290"/>
                </a:lnTo>
                <a:lnTo>
                  <a:pt x="932" y="287"/>
                </a:lnTo>
                <a:close/>
                <a:moveTo>
                  <a:pt x="954" y="447"/>
                </a:moveTo>
                <a:lnTo>
                  <a:pt x="953" y="441"/>
                </a:lnTo>
                <a:lnTo>
                  <a:pt x="953" y="435"/>
                </a:lnTo>
                <a:lnTo>
                  <a:pt x="949" y="441"/>
                </a:lnTo>
                <a:lnTo>
                  <a:pt x="946" y="446"/>
                </a:lnTo>
                <a:lnTo>
                  <a:pt x="949" y="441"/>
                </a:lnTo>
                <a:lnTo>
                  <a:pt x="953" y="435"/>
                </a:lnTo>
                <a:lnTo>
                  <a:pt x="956" y="428"/>
                </a:lnTo>
                <a:lnTo>
                  <a:pt x="957" y="421"/>
                </a:lnTo>
                <a:lnTo>
                  <a:pt x="956" y="428"/>
                </a:lnTo>
                <a:lnTo>
                  <a:pt x="953" y="435"/>
                </a:lnTo>
                <a:lnTo>
                  <a:pt x="953" y="441"/>
                </a:lnTo>
                <a:lnTo>
                  <a:pt x="954" y="447"/>
                </a:lnTo>
                <a:close/>
                <a:moveTo>
                  <a:pt x="951" y="415"/>
                </a:moveTo>
                <a:lnTo>
                  <a:pt x="952" y="408"/>
                </a:lnTo>
                <a:lnTo>
                  <a:pt x="954" y="400"/>
                </a:lnTo>
                <a:lnTo>
                  <a:pt x="956" y="398"/>
                </a:lnTo>
                <a:lnTo>
                  <a:pt x="957" y="396"/>
                </a:lnTo>
                <a:lnTo>
                  <a:pt x="958" y="396"/>
                </a:lnTo>
                <a:lnTo>
                  <a:pt x="961" y="396"/>
                </a:lnTo>
                <a:lnTo>
                  <a:pt x="963" y="397"/>
                </a:lnTo>
                <a:lnTo>
                  <a:pt x="964" y="399"/>
                </a:lnTo>
                <a:lnTo>
                  <a:pt x="964" y="401"/>
                </a:lnTo>
                <a:lnTo>
                  <a:pt x="963" y="403"/>
                </a:lnTo>
                <a:lnTo>
                  <a:pt x="960" y="410"/>
                </a:lnTo>
                <a:lnTo>
                  <a:pt x="958" y="415"/>
                </a:lnTo>
                <a:lnTo>
                  <a:pt x="956" y="417"/>
                </a:lnTo>
                <a:lnTo>
                  <a:pt x="954" y="418"/>
                </a:lnTo>
                <a:lnTo>
                  <a:pt x="953" y="419"/>
                </a:lnTo>
                <a:lnTo>
                  <a:pt x="952" y="419"/>
                </a:lnTo>
                <a:lnTo>
                  <a:pt x="952" y="418"/>
                </a:lnTo>
                <a:lnTo>
                  <a:pt x="951" y="415"/>
                </a:lnTo>
                <a:lnTo>
                  <a:pt x="944" y="429"/>
                </a:lnTo>
                <a:lnTo>
                  <a:pt x="937" y="445"/>
                </a:lnTo>
                <a:lnTo>
                  <a:pt x="944" y="429"/>
                </a:lnTo>
                <a:lnTo>
                  <a:pt x="951" y="415"/>
                </a:lnTo>
                <a:close/>
                <a:moveTo>
                  <a:pt x="967" y="446"/>
                </a:moveTo>
                <a:lnTo>
                  <a:pt x="965" y="446"/>
                </a:lnTo>
                <a:lnTo>
                  <a:pt x="964" y="445"/>
                </a:lnTo>
                <a:lnTo>
                  <a:pt x="963" y="443"/>
                </a:lnTo>
                <a:lnTo>
                  <a:pt x="963" y="442"/>
                </a:lnTo>
                <a:lnTo>
                  <a:pt x="963" y="443"/>
                </a:lnTo>
                <a:lnTo>
                  <a:pt x="964" y="445"/>
                </a:lnTo>
                <a:lnTo>
                  <a:pt x="965" y="446"/>
                </a:lnTo>
                <a:lnTo>
                  <a:pt x="967" y="446"/>
                </a:lnTo>
                <a:close/>
                <a:moveTo>
                  <a:pt x="970" y="279"/>
                </a:moveTo>
                <a:lnTo>
                  <a:pt x="973" y="269"/>
                </a:lnTo>
                <a:lnTo>
                  <a:pt x="975" y="260"/>
                </a:lnTo>
                <a:lnTo>
                  <a:pt x="973" y="269"/>
                </a:lnTo>
                <a:lnTo>
                  <a:pt x="970" y="279"/>
                </a:lnTo>
                <a:lnTo>
                  <a:pt x="968" y="280"/>
                </a:lnTo>
                <a:lnTo>
                  <a:pt x="967" y="279"/>
                </a:lnTo>
                <a:lnTo>
                  <a:pt x="968" y="280"/>
                </a:lnTo>
                <a:lnTo>
                  <a:pt x="970" y="279"/>
                </a:lnTo>
                <a:close/>
                <a:moveTo>
                  <a:pt x="995" y="410"/>
                </a:moveTo>
                <a:lnTo>
                  <a:pt x="996" y="410"/>
                </a:lnTo>
                <a:lnTo>
                  <a:pt x="999" y="410"/>
                </a:lnTo>
                <a:lnTo>
                  <a:pt x="999" y="407"/>
                </a:lnTo>
                <a:lnTo>
                  <a:pt x="999" y="406"/>
                </a:lnTo>
                <a:lnTo>
                  <a:pt x="999" y="406"/>
                </a:lnTo>
                <a:lnTo>
                  <a:pt x="999" y="407"/>
                </a:lnTo>
                <a:lnTo>
                  <a:pt x="999" y="410"/>
                </a:lnTo>
                <a:lnTo>
                  <a:pt x="999" y="417"/>
                </a:lnTo>
                <a:lnTo>
                  <a:pt x="999" y="424"/>
                </a:lnTo>
                <a:lnTo>
                  <a:pt x="999" y="417"/>
                </a:lnTo>
                <a:lnTo>
                  <a:pt x="999" y="410"/>
                </a:lnTo>
                <a:lnTo>
                  <a:pt x="996" y="410"/>
                </a:lnTo>
                <a:lnTo>
                  <a:pt x="995" y="410"/>
                </a:lnTo>
                <a:lnTo>
                  <a:pt x="995" y="407"/>
                </a:lnTo>
                <a:lnTo>
                  <a:pt x="995" y="406"/>
                </a:lnTo>
                <a:lnTo>
                  <a:pt x="995" y="407"/>
                </a:lnTo>
                <a:lnTo>
                  <a:pt x="995" y="410"/>
                </a:lnTo>
                <a:close/>
                <a:moveTo>
                  <a:pt x="938" y="1257"/>
                </a:moveTo>
                <a:lnTo>
                  <a:pt x="940" y="1256"/>
                </a:lnTo>
                <a:lnTo>
                  <a:pt x="941" y="1254"/>
                </a:lnTo>
                <a:lnTo>
                  <a:pt x="940" y="1256"/>
                </a:lnTo>
                <a:lnTo>
                  <a:pt x="938" y="1257"/>
                </a:lnTo>
                <a:lnTo>
                  <a:pt x="937" y="1257"/>
                </a:lnTo>
                <a:lnTo>
                  <a:pt x="937" y="1257"/>
                </a:lnTo>
                <a:lnTo>
                  <a:pt x="938" y="1257"/>
                </a:lnTo>
                <a:close/>
                <a:moveTo>
                  <a:pt x="958" y="1310"/>
                </a:moveTo>
                <a:lnTo>
                  <a:pt x="958" y="1310"/>
                </a:lnTo>
                <a:lnTo>
                  <a:pt x="957" y="1310"/>
                </a:lnTo>
                <a:lnTo>
                  <a:pt x="958" y="1310"/>
                </a:lnTo>
                <a:lnTo>
                  <a:pt x="958" y="1310"/>
                </a:lnTo>
                <a:close/>
                <a:moveTo>
                  <a:pt x="958" y="1405"/>
                </a:moveTo>
                <a:lnTo>
                  <a:pt x="951" y="1405"/>
                </a:lnTo>
                <a:lnTo>
                  <a:pt x="944" y="1405"/>
                </a:lnTo>
                <a:lnTo>
                  <a:pt x="951" y="1405"/>
                </a:lnTo>
                <a:lnTo>
                  <a:pt x="958" y="1405"/>
                </a:lnTo>
                <a:close/>
                <a:moveTo>
                  <a:pt x="981" y="1382"/>
                </a:moveTo>
                <a:lnTo>
                  <a:pt x="982" y="1382"/>
                </a:lnTo>
                <a:lnTo>
                  <a:pt x="985" y="1383"/>
                </a:lnTo>
                <a:lnTo>
                  <a:pt x="982" y="1382"/>
                </a:lnTo>
                <a:lnTo>
                  <a:pt x="981" y="1382"/>
                </a:lnTo>
                <a:lnTo>
                  <a:pt x="977" y="1377"/>
                </a:lnTo>
                <a:lnTo>
                  <a:pt x="974" y="1373"/>
                </a:lnTo>
                <a:lnTo>
                  <a:pt x="973" y="1368"/>
                </a:lnTo>
                <a:lnTo>
                  <a:pt x="973" y="1363"/>
                </a:lnTo>
                <a:lnTo>
                  <a:pt x="973" y="1368"/>
                </a:lnTo>
                <a:lnTo>
                  <a:pt x="974" y="1373"/>
                </a:lnTo>
                <a:lnTo>
                  <a:pt x="977" y="1377"/>
                </a:lnTo>
                <a:lnTo>
                  <a:pt x="981" y="1382"/>
                </a:lnTo>
                <a:close/>
                <a:moveTo>
                  <a:pt x="754" y="1502"/>
                </a:moveTo>
                <a:lnTo>
                  <a:pt x="757" y="1502"/>
                </a:lnTo>
                <a:lnTo>
                  <a:pt x="759" y="1499"/>
                </a:lnTo>
                <a:lnTo>
                  <a:pt x="759" y="1497"/>
                </a:lnTo>
                <a:lnTo>
                  <a:pt x="760" y="1495"/>
                </a:lnTo>
                <a:lnTo>
                  <a:pt x="763" y="1492"/>
                </a:lnTo>
                <a:lnTo>
                  <a:pt x="764" y="1492"/>
                </a:lnTo>
                <a:lnTo>
                  <a:pt x="768" y="1491"/>
                </a:lnTo>
                <a:lnTo>
                  <a:pt x="773" y="1492"/>
                </a:lnTo>
                <a:lnTo>
                  <a:pt x="781" y="1494"/>
                </a:lnTo>
                <a:lnTo>
                  <a:pt x="789" y="1495"/>
                </a:lnTo>
                <a:lnTo>
                  <a:pt x="781" y="1498"/>
                </a:lnTo>
                <a:lnTo>
                  <a:pt x="772" y="1501"/>
                </a:lnTo>
                <a:lnTo>
                  <a:pt x="763" y="1503"/>
                </a:lnTo>
                <a:lnTo>
                  <a:pt x="753" y="1504"/>
                </a:lnTo>
                <a:lnTo>
                  <a:pt x="754" y="1503"/>
                </a:lnTo>
                <a:lnTo>
                  <a:pt x="754" y="1502"/>
                </a:lnTo>
                <a:lnTo>
                  <a:pt x="753" y="1502"/>
                </a:lnTo>
                <a:lnTo>
                  <a:pt x="752" y="1503"/>
                </a:lnTo>
                <a:lnTo>
                  <a:pt x="753" y="1502"/>
                </a:lnTo>
                <a:lnTo>
                  <a:pt x="754" y="1502"/>
                </a:lnTo>
                <a:close/>
                <a:moveTo>
                  <a:pt x="716" y="1469"/>
                </a:moveTo>
                <a:lnTo>
                  <a:pt x="715" y="1471"/>
                </a:lnTo>
                <a:lnTo>
                  <a:pt x="713" y="1474"/>
                </a:lnTo>
                <a:lnTo>
                  <a:pt x="715" y="1471"/>
                </a:lnTo>
                <a:lnTo>
                  <a:pt x="716" y="1469"/>
                </a:lnTo>
                <a:close/>
                <a:moveTo>
                  <a:pt x="709" y="1523"/>
                </a:moveTo>
                <a:lnTo>
                  <a:pt x="709" y="1524"/>
                </a:lnTo>
                <a:lnTo>
                  <a:pt x="708" y="1525"/>
                </a:lnTo>
                <a:lnTo>
                  <a:pt x="709" y="1524"/>
                </a:lnTo>
                <a:lnTo>
                  <a:pt x="709" y="1523"/>
                </a:lnTo>
                <a:lnTo>
                  <a:pt x="711" y="1523"/>
                </a:lnTo>
                <a:lnTo>
                  <a:pt x="712" y="1523"/>
                </a:lnTo>
                <a:lnTo>
                  <a:pt x="711" y="1523"/>
                </a:lnTo>
                <a:lnTo>
                  <a:pt x="709" y="1523"/>
                </a:lnTo>
                <a:close/>
                <a:moveTo>
                  <a:pt x="696" y="1476"/>
                </a:moveTo>
                <a:lnTo>
                  <a:pt x="694" y="1478"/>
                </a:lnTo>
                <a:lnTo>
                  <a:pt x="691" y="1480"/>
                </a:lnTo>
                <a:lnTo>
                  <a:pt x="689" y="1481"/>
                </a:lnTo>
                <a:lnTo>
                  <a:pt x="687" y="1481"/>
                </a:lnTo>
                <a:lnTo>
                  <a:pt x="689" y="1481"/>
                </a:lnTo>
                <a:lnTo>
                  <a:pt x="691" y="1480"/>
                </a:lnTo>
                <a:lnTo>
                  <a:pt x="694" y="1478"/>
                </a:lnTo>
                <a:lnTo>
                  <a:pt x="696" y="1476"/>
                </a:lnTo>
                <a:lnTo>
                  <a:pt x="702" y="1475"/>
                </a:lnTo>
                <a:lnTo>
                  <a:pt x="708" y="1471"/>
                </a:lnTo>
                <a:lnTo>
                  <a:pt x="702" y="1475"/>
                </a:lnTo>
                <a:lnTo>
                  <a:pt x="696" y="1476"/>
                </a:lnTo>
                <a:close/>
                <a:moveTo>
                  <a:pt x="701" y="1495"/>
                </a:moveTo>
                <a:lnTo>
                  <a:pt x="698" y="1496"/>
                </a:lnTo>
                <a:lnTo>
                  <a:pt x="696" y="1497"/>
                </a:lnTo>
                <a:lnTo>
                  <a:pt x="695" y="1499"/>
                </a:lnTo>
                <a:lnTo>
                  <a:pt x="695" y="1502"/>
                </a:lnTo>
                <a:lnTo>
                  <a:pt x="695" y="1499"/>
                </a:lnTo>
                <a:lnTo>
                  <a:pt x="696" y="1497"/>
                </a:lnTo>
                <a:lnTo>
                  <a:pt x="698" y="1496"/>
                </a:lnTo>
                <a:lnTo>
                  <a:pt x="701" y="1495"/>
                </a:lnTo>
                <a:lnTo>
                  <a:pt x="702" y="1494"/>
                </a:lnTo>
                <a:lnTo>
                  <a:pt x="702" y="1491"/>
                </a:lnTo>
                <a:lnTo>
                  <a:pt x="702" y="1494"/>
                </a:lnTo>
                <a:lnTo>
                  <a:pt x="701" y="1495"/>
                </a:lnTo>
                <a:close/>
                <a:moveTo>
                  <a:pt x="668" y="1478"/>
                </a:moveTo>
                <a:lnTo>
                  <a:pt x="669" y="1474"/>
                </a:lnTo>
                <a:lnTo>
                  <a:pt x="670" y="1469"/>
                </a:lnTo>
                <a:lnTo>
                  <a:pt x="671" y="1466"/>
                </a:lnTo>
                <a:lnTo>
                  <a:pt x="674" y="1462"/>
                </a:lnTo>
                <a:lnTo>
                  <a:pt x="671" y="1466"/>
                </a:lnTo>
                <a:lnTo>
                  <a:pt x="670" y="1469"/>
                </a:lnTo>
                <a:lnTo>
                  <a:pt x="669" y="1474"/>
                </a:lnTo>
                <a:lnTo>
                  <a:pt x="668" y="1478"/>
                </a:lnTo>
                <a:close/>
                <a:moveTo>
                  <a:pt x="608" y="678"/>
                </a:moveTo>
                <a:lnTo>
                  <a:pt x="611" y="683"/>
                </a:lnTo>
                <a:lnTo>
                  <a:pt x="612" y="688"/>
                </a:lnTo>
                <a:lnTo>
                  <a:pt x="611" y="683"/>
                </a:lnTo>
                <a:lnTo>
                  <a:pt x="608" y="678"/>
                </a:lnTo>
                <a:close/>
                <a:moveTo>
                  <a:pt x="588" y="631"/>
                </a:moveTo>
                <a:lnTo>
                  <a:pt x="595" y="616"/>
                </a:lnTo>
                <a:lnTo>
                  <a:pt x="601" y="601"/>
                </a:lnTo>
                <a:lnTo>
                  <a:pt x="595" y="616"/>
                </a:lnTo>
                <a:lnTo>
                  <a:pt x="588" y="631"/>
                </a:lnTo>
                <a:close/>
                <a:moveTo>
                  <a:pt x="578" y="884"/>
                </a:moveTo>
                <a:lnTo>
                  <a:pt x="572" y="888"/>
                </a:lnTo>
                <a:lnTo>
                  <a:pt x="566" y="890"/>
                </a:lnTo>
                <a:lnTo>
                  <a:pt x="572" y="888"/>
                </a:lnTo>
                <a:lnTo>
                  <a:pt x="578" y="884"/>
                </a:lnTo>
                <a:lnTo>
                  <a:pt x="584" y="881"/>
                </a:lnTo>
                <a:lnTo>
                  <a:pt x="591" y="880"/>
                </a:lnTo>
                <a:lnTo>
                  <a:pt x="584" y="881"/>
                </a:lnTo>
                <a:lnTo>
                  <a:pt x="578" y="884"/>
                </a:lnTo>
                <a:close/>
                <a:moveTo>
                  <a:pt x="572" y="251"/>
                </a:moveTo>
                <a:lnTo>
                  <a:pt x="570" y="250"/>
                </a:lnTo>
                <a:lnTo>
                  <a:pt x="566" y="250"/>
                </a:lnTo>
                <a:lnTo>
                  <a:pt x="570" y="250"/>
                </a:lnTo>
                <a:lnTo>
                  <a:pt x="572" y="251"/>
                </a:lnTo>
                <a:close/>
                <a:moveTo>
                  <a:pt x="578" y="659"/>
                </a:moveTo>
                <a:lnTo>
                  <a:pt x="577" y="657"/>
                </a:lnTo>
                <a:lnTo>
                  <a:pt x="578" y="655"/>
                </a:lnTo>
                <a:lnTo>
                  <a:pt x="577" y="657"/>
                </a:lnTo>
                <a:lnTo>
                  <a:pt x="578" y="659"/>
                </a:lnTo>
                <a:close/>
                <a:moveTo>
                  <a:pt x="579" y="238"/>
                </a:moveTo>
                <a:lnTo>
                  <a:pt x="577" y="245"/>
                </a:lnTo>
                <a:lnTo>
                  <a:pt x="574" y="252"/>
                </a:lnTo>
                <a:lnTo>
                  <a:pt x="577" y="245"/>
                </a:lnTo>
                <a:lnTo>
                  <a:pt x="579" y="238"/>
                </a:lnTo>
                <a:close/>
                <a:moveTo>
                  <a:pt x="586" y="374"/>
                </a:moveTo>
                <a:lnTo>
                  <a:pt x="582" y="371"/>
                </a:lnTo>
                <a:lnTo>
                  <a:pt x="580" y="367"/>
                </a:lnTo>
                <a:lnTo>
                  <a:pt x="582" y="371"/>
                </a:lnTo>
                <a:lnTo>
                  <a:pt x="586" y="374"/>
                </a:lnTo>
                <a:close/>
                <a:moveTo>
                  <a:pt x="588" y="239"/>
                </a:moveTo>
                <a:lnTo>
                  <a:pt x="591" y="243"/>
                </a:lnTo>
                <a:lnTo>
                  <a:pt x="592" y="246"/>
                </a:lnTo>
                <a:lnTo>
                  <a:pt x="591" y="243"/>
                </a:lnTo>
                <a:lnTo>
                  <a:pt x="588" y="239"/>
                </a:lnTo>
                <a:lnTo>
                  <a:pt x="587" y="238"/>
                </a:lnTo>
                <a:lnTo>
                  <a:pt x="586" y="238"/>
                </a:lnTo>
                <a:lnTo>
                  <a:pt x="587" y="238"/>
                </a:lnTo>
                <a:lnTo>
                  <a:pt x="588" y="239"/>
                </a:lnTo>
                <a:close/>
                <a:moveTo>
                  <a:pt x="599" y="266"/>
                </a:moveTo>
                <a:lnTo>
                  <a:pt x="598" y="262"/>
                </a:lnTo>
                <a:lnTo>
                  <a:pt x="597" y="259"/>
                </a:lnTo>
                <a:lnTo>
                  <a:pt x="594" y="257"/>
                </a:lnTo>
                <a:lnTo>
                  <a:pt x="592" y="254"/>
                </a:lnTo>
                <a:lnTo>
                  <a:pt x="594" y="257"/>
                </a:lnTo>
                <a:lnTo>
                  <a:pt x="597" y="259"/>
                </a:lnTo>
                <a:lnTo>
                  <a:pt x="598" y="262"/>
                </a:lnTo>
                <a:lnTo>
                  <a:pt x="599" y="266"/>
                </a:lnTo>
                <a:close/>
                <a:moveTo>
                  <a:pt x="598" y="253"/>
                </a:moveTo>
                <a:lnTo>
                  <a:pt x="595" y="252"/>
                </a:lnTo>
                <a:lnTo>
                  <a:pt x="593" y="250"/>
                </a:lnTo>
                <a:lnTo>
                  <a:pt x="592" y="248"/>
                </a:lnTo>
                <a:lnTo>
                  <a:pt x="592" y="247"/>
                </a:lnTo>
                <a:lnTo>
                  <a:pt x="592" y="248"/>
                </a:lnTo>
                <a:lnTo>
                  <a:pt x="593" y="250"/>
                </a:lnTo>
                <a:lnTo>
                  <a:pt x="595" y="252"/>
                </a:lnTo>
                <a:lnTo>
                  <a:pt x="598" y="253"/>
                </a:lnTo>
                <a:close/>
                <a:moveTo>
                  <a:pt x="554" y="884"/>
                </a:moveTo>
                <a:lnTo>
                  <a:pt x="550" y="886"/>
                </a:lnTo>
                <a:lnTo>
                  <a:pt x="546" y="887"/>
                </a:lnTo>
                <a:lnTo>
                  <a:pt x="542" y="888"/>
                </a:lnTo>
                <a:lnTo>
                  <a:pt x="539" y="891"/>
                </a:lnTo>
                <a:lnTo>
                  <a:pt x="535" y="897"/>
                </a:lnTo>
                <a:lnTo>
                  <a:pt x="529" y="901"/>
                </a:lnTo>
                <a:lnTo>
                  <a:pt x="523" y="901"/>
                </a:lnTo>
                <a:lnTo>
                  <a:pt x="517" y="901"/>
                </a:lnTo>
                <a:lnTo>
                  <a:pt x="513" y="901"/>
                </a:lnTo>
                <a:lnTo>
                  <a:pt x="511" y="903"/>
                </a:lnTo>
                <a:lnTo>
                  <a:pt x="511" y="902"/>
                </a:lnTo>
                <a:lnTo>
                  <a:pt x="510" y="901"/>
                </a:lnTo>
                <a:lnTo>
                  <a:pt x="512" y="895"/>
                </a:lnTo>
                <a:lnTo>
                  <a:pt x="515" y="889"/>
                </a:lnTo>
                <a:lnTo>
                  <a:pt x="517" y="884"/>
                </a:lnTo>
                <a:lnTo>
                  <a:pt x="522" y="880"/>
                </a:lnTo>
                <a:lnTo>
                  <a:pt x="528" y="876"/>
                </a:lnTo>
                <a:lnTo>
                  <a:pt x="533" y="875"/>
                </a:lnTo>
                <a:lnTo>
                  <a:pt x="538" y="875"/>
                </a:lnTo>
                <a:lnTo>
                  <a:pt x="544" y="876"/>
                </a:lnTo>
                <a:lnTo>
                  <a:pt x="543" y="876"/>
                </a:lnTo>
                <a:lnTo>
                  <a:pt x="542" y="876"/>
                </a:lnTo>
                <a:lnTo>
                  <a:pt x="542" y="877"/>
                </a:lnTo>
                <a:lnTo>
                  <a:pt x="540" y="880"/>
                </a:lnTo>
                <a:lnTo>
                  <a:pt x="543" y="881"/>
                </a:lnTo>
                <a:lnTo>
                  <a:pt x="545" y="882"/>
                </a:lnTo>
                <a:lnTo>
                  <a:pt x="547" y="882"/>
                </a:lnTo>
                <a:lnTo>
                  <a:pt x="550" y="882"/>
                </a:lnTo>
                <a:lnTo>
                  <a:pt x="553" y="882"/>
                </a:lnTo>
                <a:lnTo>
                  <a:pt x="554" y="884"/>
                </a:lnTo>
                <a:lnTo>
                  <a:pt x="557" y="884"/>
                </a:lnTo>
                <a:lnTo>
                  <a:pt x="559" y="886"/>
                </a:lnTo>
                <a:lnTo>
                  <a:pt x="557" y="884"/>
                </a:lnTo>
                <a:lnTo>
                  <a:pt x="554" y="884"/>
                </a:lnTo>
                <a:close/>
                <a:moveTo>
                  <a:pt x="530" y="903"/>
                </a:moveTo>
                <a:lnTo>
                  <a:pt x="538" y="903"/>
                </a:lnTo>
                <a:lnTo>
                  <a:pt x="547" y="905"/>
                </a:lnTo>
                <a:lnTo>
                  <a:pt x="538" y="903"/>
                </a:lnTo>
                <a:lnTo>
                  <a:pt x="530" y="903"/>
                </a:lnTo>
                <a:close/>
                <a:moveTo>
                  <a:pt x="513" y="907"/>
                </a:moveTo>
                <a:lnTo>
                  <a:pt x="516" y="905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7" y="903"/>
                </a:lnTo>
                <a:lnTo>
                  <a:pt x="516" y="905"/>
                </a:lnTo>
                <a:lnTo>
                  <a:pt x="513" y="907"/>
                </a:lnTo>
                <a:close/>
                <a:moveTo>
                  <a:pt x="521" y="928"/>
                </a:moveTo>
                <a:lnTo>
                  <a:pt x="519" y="931"/>
                </a:lnTo>
                <a:lnTo>
                  <a:pt x="518" y="936"/>
                </a:lnTo>
                <a:lnTo>
                  <a:pt x="515" y="936"/>
                </a:lnTo>
                <a:lnTo>
                  <a:pt x="512" y="938"/>
                </a:lnTo>
                <a:lnTo>
                  <a:pt x="510" y="940"/>
                </a:lnTo>
                <a:lnTo>
                  <a:pt x="509" y="944"/>
                </a:lnTo>
                <a:lnTo>
                  <a:pt x="511" y="944"/>
                </a:lnTo>
                <a:lnTo>
                  <a:pt x="512" y="944"/>
                </a:lnTo>
                <a:lnTo>
                  <a:pt x="512" y="951"/>
                </a:lnTo>
                <a:lnTo>
                  <a:pt x="512" y="958"/>
                </a:lnTo>
                <a:lnTo>
                  <a:pt x="512" y="951"/>
                </a:lnTo>
                <a:lnTo>
                  <a:pt x="512" y="944"/>
                </a:lnTo>
                <a:lnTo>
                  <a:pt x="511" y="944"/>
                </a:lnTo>
                <a:lnTo>
                  <a:pt x="509" y="944"/>
                </a:lnTo>
                <a:lnTo>
                  <a:pt x="509" y="944"/>
                </a:lnTo>
                <a:lnTo>
                  <a:pt x="508" y="944"/>
                </a:lnTo>
                <a:lnTo>
                  <a:pt x="508" y="944"/>
                </a:lnTo>
                <a:lnTo>
                  <a:pt x="505" y="945"/>
                </a:lnTo>
                <a:lnTo>
                  <a:pt x="504" y="945"/>
                </a:lnTo>
                <a:lnTo>
                  <a:pt x="504" y="947"/>
                </a:lnTo>
                <a:lnTo>
                  <a:pt x="504" y="949"/>
                </a:lnTo>
                <a:lnTo>
                  <a:pt x="503" y="950"/>
                </a:lnTo>
                <a:lnTo>
                  <a:pt x="503" y="950"/>
                </a:lnTo>
                <a:lnTo>
                  <a:pt x="501" y="949"/>
                </a:lnTo>
                <a:lnTo>
                  <a:pt x="497" y="949"/>
                </a:lnTo>
                <a:lnTo>
                  <a:pt x="499" y="940"/>
                </a:lnTo>
                <a:lnTo>
                  <a:pt x="503" y="933"/>
                </a:lnTo>
                <a:lnTo>
                  <a:pt x="509" y="931"/>
                </a:lnTo>
                <a:lnTo>
                  <a:pt x="513" y="926"/>
                </a:lnTo>
                <a:lnTo>
                  <a:pt x="516" y="924"/>
                </a:lnTo>
                <a:lnTo>
                  <a:pt x="518" y="924"/>
                </a:lnTo>
                <a:lnTo>
                  <a:pt x="519" y="925"/>
                </a:lnTo>
                <a:lnTo>
                  <a:pt x="521" y="928"/>
                </a:lnTo>
                <a:lnTo>
                  <a:pt x="521" y="928"/>
                </a:lnTo>
                <a:close/>
                <a:moveTo>
                  <a:pt x="501" y="956"/>
                </a:moveTo>
                <a:lnTo>
                  <a:pt x="502" y="953"/>
                </a:lnTo>
                <a:lnTo>
                  <a:pt x="503" y="951"/>
                </a:lnTo>
                <a:lnTo>
                  <a:pt x="502" y="953"/>
                </a:lnTo>
                <a:lnTo>
                  <a:pt x="501" y="956"/>
                </a:lnTo>
                <a:close/>
                <a:moveTo>
                  <a:pt x="535" y="227"/>
                </a:moveTo>
                <a:lnTo>
                  <a:pt x="533" y="229"/>
                </a:lnTo>
                <a:lnTo>
                  <a:pt x="533" y="230"/>
                </a:lnTo>
                <a:lnTo>
                  <a:pt x="533" y="229"/>
                </a:lnTo>
                <a:lnTo>
                  <a:pt x="535" y="227"/>
                </a:lnTo>
                <a:close/>
                <a:moveTo>
                  <a:pt x="549" y="540"/>
                </a:moveTo>
                <a:lnTo>
                  <a:pt x="550" y="544"/>
                </a:lnTo>
                <a:lnTo>
                  <a:pt x="550" y="547"/>
                </a:lnTo>
                <a:lnTo>
                  <a:pt x="550" y="551"/>
                </a:lnTo>
                <a:lnTo>
                  <a:pt x="549" y="554"/>
                </a:lnTo>
                <a:lnTo>
                  <a:pt x="547" y="558"/>
                </a:lnTo>
                <a:lnTo>
                  <a:pt x="545" y="560"/>
                </a:lnTo>
                <a:lnTo>
                  <a:pt x="547" y="558"/>
                </a:lnTo>
                <a:lnTo>
                  <a:pt x="549" y="554"/>
                </a:lnTo>
                <a:lnTo>
                  <a:pt x="550" y="551"/>
                </a:lnTo>
                <a:lnTo>
                  <a:pt x="550" y="547"/>
                </a:lnTo>
                <a:lnTo>
                  <a:pt x="550" y="544"/>
                </a:lnTo>
                <a:lnTo>
                  <a:pt x="549" y="540"/>
                </a:lnTo>
                <a:close/>
                <a:moveTo>
                  <a:pt x="554" y="220"/>
                </a:moveTo>
                <a:lnTo>
                  <a:pt x="556" y="219"/>
                </a:lnTo>
                <a:lnTo>
                  <a:pt x="557" y="218"/>
                </a:lnTo>
                <a:lnTo>
                  <a:pt x="556" y="219"/>
                </a:lnTo>
                <a:lnTo>
                  <a:pt x="554" y="220"/>
                </a:lnTo>
                <a:lnTo>
                  <a:pt x="553" y="220"/>
                </a:lnTo>
                <a:lnTo>
                  <a:pt x="552" y="218"/>
                </a:lnTo>
                <a:lnTo>
                  <a:pt x="553" y="219"/>
                </a:lnTo>
                <a:lnTo>
                  <a:pt x="554" y="220"/>
                </a:lnTo>
                <a:close/>
                <a:moveTo>
                  <a:pt x="329" y="1035"/>
                </a:moveTo>
                <a:lnTo>
                  <a:pt x="330" y="1031"/>
                </a:lnTo>
                <a:lnTo>
                  <a:pt x="332" y="1027"/>
                </a:lnTo>
                <a:lnTo>
                  <a:pt x="330" y="1031"/>
                </a:lnTo>
                <a:lnTo>
                  <a:pt x="329" y="1035"/>
                </a:lnTo>
                <a:close/>
                <a:moveTo>
                  <a:pt x="364" y="1186"/>
                </a:moveTo>
                <a:lnTo>
                  <a:pt x="361" y="1187"/>
                </a:lnTo>
                <a:lnTo>
                  <a:pt x="358" y="1187"/>
                </a:lnTo>
                <a:lnTo>
                  <a:pt x="361" y="1187"/>
                </a:lnTo>
                <a:lnTo>
                  <a:pt x="364" y="1186"/>
                </a:lnTo>
                <a:close/>
                <a:moveTo>
                  <a:pt x="379" y="1043"/>
                </a:moveTo>
                <a:lnTo>
                  <a:pt x="381" y="1044"/>
                </a:lnTo>
                <a:lnTo>
                  <a:pt x="384" y="1044"/>
                </a:lnTo>
                <a:lnTo>
                  <a:pt x="381" y="1044"/>
                </a:lnTo>
                <a:lnTo>
                  <a:pt x="379" y="1043"/>
                </a:lnTo>
                <a:close/>
                <a:moveTo>
                  <a:pt x="406" y="1345"/>
                </a:moveTo>
                <a:lnTo>
                  <a:pt x="401" y="1350"/>
                </a:lnTo>
                <a:lnTo>
                  <a:pt x="397" y="1352"/>
                </a:lnTo>
                <a:lnTo>
                  <a:pt x="401" y="1350"/>
                </a:lnTo>
                <a:lnTo>
                  <a:pt x="406" y="1345"/>
                </a:lnTo>
                <a:close/>
                <a:moveTo>
                  <a:pt x="466" y="197"/>
                </a:moveTo>
                <a:lnTo>
                  <a:pt x="467" y="199"/>
                </a:lnTo>
                <a:lnTo>
                  <a:pt x="467" y="203"/>
                </a:lnTo>
                <a:lnTo>
                  <a:pt x="467" y="199"/>
                </a:lnTo>
                <a:lnTo>
                  <a:pt x="466" y="197"/>
                </a:lnTo>
                <a:close/>
                <a:moveTo>
                  <a:pt x="455" y="302"/>
                </a:moveTo>
                <a:lnTo>
                  <a:pt x="454" y="307"/>
                </a:lnTo>
                <a:lnTo>
                  <a:pt x="450" y="311"/>
                </a:lnTo>
                <a:lnTo>
                  <a:pt x="447" y="316"/>
                </a:lnTo>
                <a:lnTo>
                  <a:pt x="443" y="320"/>
                </a:lnTo>
                <a:lnTo>
                  <a:pt x="447" y="316"/>
                </a:lnTo>
                <a:lnTo>
                  <a:pt x="450" y="311"/>
                </a:lnTo>
                <a:lnTo>
                  <a:pt x="454" y="307"/>
                </a:lnTo>
                <a:lnTo>
                  <a:pt x="455" y="302"/>
                </a:lnTo>
                <a:lnTo>
                  <a:pt x="459" y="300"/>
                </a:lnTo>
                <a:lnTo>
                  <a:pt x="461" y="296"/>
                </a:lnTo>
                <a:lnTo>
                  <a:pt x="459" y="300"/>
                </a:lnTo>
                <a:lnTo>
                  <a:pt x="455" y="302"/>
                </a:lnTo>
                <a:close/>
                <a:moveTo>
                  <a:pt x="447" y="280"/>
                </a:moveTo>
                <a:lnTo>
                  <a:pt x="448" y="278"/>
                </a:lnTo>
                <a:lnTo>
                  <a:pt x="448" y="275"/>
                </a:lnTo>
                <a:lnTo>
                  <a:pt x="449" y="274"/>
                </a:lnTo>
                <a:lnTo>
                  <a:pt x="450" y="273"/>
                </a:lnTo>
                <a:lnTo>
                  <a:pt x="449" y="274"/>
                </a:lnTo>
                <a:lnTo>
                  <a:pt x="448" y="275"/>
                </a:lnTo>
                <a:lnTo>
                  <a:pt x="448" y="278"/>
                </a:lnTo>
                <a:lnTo>
                  <a:pt x="447" y="280"/>
                </a:lnTo>
                <a:lnTo>
                  <a:pt x="443" y="286"/>
                </a:lnTo>
                <a:lnTo>
                  <a:pt x="440" y="292"/>
                </a:lnTo>
                <a:lnTo>
                  <a:pt x="443" y="286"/>
                </a:lnTo>
                <a:lnTo>
                  <a:pt x="447" y="280"/>
                </a:lnTo>
                <a:close/>
                <a:moveTo>
                  <a:pt x="430" y="268"/>
                </a:moveTo>
                <a:lnTo>
                  <a:pt x="434" y="262"/>
                </a:lnTo>
                <a:lnTo>
                  <a:pt x="440" y="259"/>
                </a:lnTo>
                <a:lnTo>
                  <a:pt x="442" y="250"/>
                </a:lnTo>
                <a:lnTo>
                  <a:pt x="447" y="241"/>
                </a:lnTo>
                <a:lnTo>
                  <a:pt x="442" y="250"/>
                </a:lnTo>
                <a:lnTo>
                  <a:pt x="440" y="259"/>
                </a:lnTo>
                <a:lnTo>
                  <a:pt x="434" y="262"/>
                </a:lnTo>
                <a:lnTo>
                  <a:pt x="430" y="268"/>
                </a:lnTo>
                <a:close/>
                <a:moveTo>
                  <a:pt x="441" y="173"/>
                </a:moveTo>
                <a:lnTo>
                  <a:pt x="440" y="176"/>
                </a:lnTo>
                <a:lnTo>
                  <a:pt x="437" y="178"/>
                </a:lnTo>
                <a:lnTo>
                  <a:pt x="434" y="180"/>
                </a:lnTo>
                <a:lnTo>
                  <a:pt x="429" y="181"/>
                </a:lnTo>
                <a:lnTo>
                  <a:pt x="433" y="184"/>
                </a:lnTo>
                <a:lnTo>
                  <a:pt x="436" y="187"/>
                </a:lnTo>
                <a:lnTo>
                  <a:pt x="433" y="184"/>
                </a:lnTo>
                <a:lnTo>
                  <a:pt x="429" y="181"/>
                </a:lnTo>
                <a:lnTo>
                  <a:pt x="434" y="180"/>
                </a:lnTo>
                <a:lnTo>
                  <a:pt x="437" y="178"/>
                </a:lnTo>
                <a:lnTo>
                  <a:pt x="440" y="176"/>
                </a:lnTo>
                <a:lnTo>
                  <a:pt x="441" y="173"/>
                </a:lnTo>
                <a:close/>
                <a:moveTo>
                  <a:pt x="429" y="156"/>
                </a:moveTo>
                <a:lnTo>
                  <a:pt x="429" y="155"/>
                </a:lnTo>
                <a:lnTo>
                  <a:pt x="429" y="154"/>
                </a:lnTo>
                <a:lnTo>
                  <a:pt x="429" y="155"/>
                </a:lnTo>
                <a:lnTo>
                  <a:pt x="429" y="156"/>
                </a:lnTo>
                <a:lnTo>
                  <a:pt x="429" y="156"/>
                </a:lnTo>
                <a:close/>
                <a:moveTo>
                  <a:pt x="443" y="216"/>
                </a:moveTo>
                <a:lnTo>
                  <a:pt x="441" y="222"/>
                </a:lnTo>
                <a:lnTo>
                  <a:pt x="437" y="227"/>
                </a:lnTo>
                <a:lnTo>
                  <a:pt x="437" y="227"/>
                </a:lnTo>
                <a:lnTo>
                  <a:pt x="441" y="222"/>
                </a:lnTo>
                <a:lnTo>
                  <a:pt x="443" y="216"/>
                </a:lnTo>
                <a:close/>
                <a:moveTo>
                  <a:pt x="416" y="199"/>
                </a:moveTo>
                <a:lnTo>
                  <a:pt x="416" y="203"/>
                </a:lnTo>
                <a:lnTo>
                  <a:pt x="416" y="205"/>
                </a:lnTo>
                <a:lnTo>
                  <a:pt x="414" y="208"/>
                </a:lnTo>
                <a:lnTo>
                  <a:pt x="413" y="210"/>
                </a:lnTo>
                <a:lnTo>
                  <a:pt x="413" y="212"/>
                </a:lnTo>
                <a:lnTo>
                  <a:pt x="414" y="213"/>
                </a:lnTo>
                <a:lnTo>
                  <a:pt x="416" y="217"/>
                </a:lnTo>
                <a:lnTo>
                  <a:pt x="418" y="220"/>
                </a:lnTo>
                <a:lnTo>
                  <a:pt x="418" y="224"/>
                </a:lnTo>
                <a:lnTo>
                  <a:pt x="416" y="227"/>
                </a:lnTo>
                <a:lnTo>
                  <a:pt x="414" y="229"/>
                </a:lnTo>
                <a:lnTo>
                  <a:pt x="413" y="231"/>
                </a:lnTo>
                <a:lnTo>
                  <a:pt x="412" y="231"/>
                </a:lnTo>
                <a:lnTo>
                  <a:pt x="411" y="232"/>
                </a:lnTo>
                <a:lnTo>
                  <a:pt x="406" y="226"/>
                </a:lnTo>
                <a:lnTo>
                  <a:pt x="404" y="219"/>
                </a:lnTo>
                <a:lnTo>
                  <a:pt x="400" y="206"/>
                </a:lnTo>
                <a:lnTo>
                  <a:pt x="397" y="192"/>
                </a:lnTo>
                <a:lnTo>
                  <a:pt x="395" y="189"/>
                </a:lnTo>
                <a:lnTo>
                  <a:pt x="397" y="184"/>
                </a:lnTo>
                <a:lnTo>
                  <a:pt x="399" y="182"/>
                </a:lnTo>
                <a:lnTo>
                  <a:pt x="402" y="180"/>
                </a:lnTo>
                <a:lnTo>
                  <a:pt x="402" y="181"/>
                </a:lnTo>
                <a:lnTo>
                  <a:pt x="404" y="183"/>
                </a:lnTo>
                <a:lnTo>
                  <a:pt x="402" y="184"/>
                </a:lnTo>
                <a:lnTo>
                  <a:pt x="404" y="184"/>
                </a:lnTo>
                <a:lnTo>
                  <a:pt x="404" y="184"/>
                </a:lnTo>
                <a:lnTo>
                  <a:pt x="406" y="185"/>
                </a:lnTo>
                <a:lnTo>
                  <a:pt x="408" y="187"/>
                </a:lnTo>
                <a:lnTo>
                  <a:pt x="409" y="187"/>
                </a:lnTo>
                <a:lnTo>
                  <a:pt x="411" y="187"/>
                </a:lnTo>
                <a:lnTo>
                  <a:pt x="409" y="187"/>
                </a:lnTo>
                <a:lnTo>
                  <a:pt x="408" y="187"/>
                </a:lnTo>
                <a:lnTo>
                  <a:pt x="409" y="189"/>
                </a:lnTo>
                <a:lnTo>
                  <a:pt x="411" y="190"/>
                </a:lnTo>
                <a:lnTo>
                  <a:pt x="412" y="189"/>
                </a:lnTo>
                <a:lnTo>
                  <a:pt x="414" y="189"/>
                </a:lnTo>
                <a:lnTo>
                  <a:pt x="415" y="189"/>
                </a:lnTo>
                <a:lnTo>
                  <a:pt x="418" y="190"/>
                </a:lnTo>
                <a:lnTo>
                  <a:pt x="418" y="190"/>
                </a:lnTo>
                <a:lnTo>
                  <a:pt x="419" y="191"/>
                </a:lnTo>
                <a:lnTo>
                  <a:pt x="419" y="191"/>
                </a:lnTo>
                <a:lnTo>
                  <a:pt x="419" y="191"/>
                </a:lnTo>
                <a:lnTo>
                  <a:pt x="416" y="194"/>
                </a:lnTo>
                <a:lnTo>
                  <a:pt x="415" y="195"/>
                </a:lnTo>
                <a:lnTo>
                  <a:pt x="415" y="197"/>
                </a:lnTo>
                <a:lnTo>
                  <a:pt x="416" y="199"/>
                </a:lnTo>
                <a:close/>
                <a:moveTo>
                  <a:pt x="413" y="246"/>
                </a:moveTo>
                <a:lnTo>
                  <a:pt x="413" y="247"/>
                </a:lnTo>
                <a:lnTo>
                  <a:pt x="412" y="247"/>
                </a:lnTo>
                <a:lnTo>
                  <a:pt x="413" y="247"/>
                </a:lnTo>
                <a:lnTo>
                  <a:pt x="413" y="246"/>
                </a:lnTo>
                <a:lnTo>
                  <a:pt x="414" y="245"/>
                </a:lnTo>
                <a:lnTo>
                  <a:pt x="415" y="244"/>
                </a:lnTo>
                <a:lnTo>
                  <a:pt x="414" y="245"/>
                </a:lnTo>
                <a:lnTo>
                  <a:pt x="413" y="246"/>
                </a:lnTo>
                <a:close/>
                <a:moveTo>
                  <a:pt x="414" y="260"/>
                </a:moveTo>
                <a:lnTo>
                  <a:pt x="412" y="257"/>
                </a:lnTo>
                <a:lnTo>
                  <a:pt x="411" y="255"/>
                </a:lnTo>
                <a:lnTo>
                  <a:pt x="407" y="255"/>
                </a:lnTo>
                <a:lnTo>
                  <a:pt x="405" y="255"/>
                </a:lnTo>
                <a:lnTo>
                  <a:pt x="407" y="255"/>
                </a:lnTo>
                <a:lnTo>
                  <a:pt x="411" y="255"/>
                </a:lnTo>
                <a:lnTo>
                  <a:pt x="412" y="257"/>
                </a:lnTo>
                <a:lnTo>
                  <a:pt x="414" y="260"/>
                </a:lnTo>
                <a:close/>
                <a:moveTo>
                  <a:pt x="394" y="233"/>
                </a:moveTo>
                <a:lnTo>
                  <a:pt x="388" y="232"/>
                </a:lnTo>
                <a:lnTo>
                  <a:pt x="384" y="230"/>
                </a:lnTo>
                <a:lnTo>
                  <a:pt x="388" y="232"/>
                </a:lnTo>
                <a:lnTo>
                  <a:pt x="394" y="233"/>
                </a:lnTo>
                <a:lnTo>
                  <a:pt x="399" y="236"/>
                </a:lnTo>
                <a:lnTo>
                  <a:pt x="402" y="237"/>
                </a:lnTo>
                <a:lnTo>
                  <a:pt x="407" y="236"/>
                </a:lnTo>
                <a:lnTo>
                  <a:pt x="412" y="233"/>
                </a:lnTo>
                <a:lnTo>
                  <a:pt x="407" y="236"/>
                </a:lnTo>
                <a:lnTo>
                  <a:pt x="402" y="237"/>
                </a:lnTo>
                <a:lnTo>
                  <a:pt x="399" y="236"/>
                </a:lnTo>
                <a:lnTo>
                  <a:pt x="394" y="233"/>
                </a:lnTo>
                <a:close/>
                <a:moveTo>
                  <a:pt x="391" y="315"/>
                </a:moveTo>
                <a:lnTo>
                  <a:pt x="386" y="313"/>
                </a:lnTo>
                <a:lnTo>
                  <a:pt x="384" y="309"/>
                </a:lnTo>
                <a:lnTo>
                  <a:pt x="380" y="306"/>
                </a:lnTo>
                <a:lnTo>
                  <a:pt x="378" y="301"/>
                </a:lnTo>
                <a:lnTo>
                  <a:pt x="372" y="296"/>
                </a:lnTo>
                <a:lnTo>
                  <a:pt x="365" y="290"/>
                </a:lnTo>
                <a:lnTo>
                  <a:pt x="372" y="296"/>
                </a:lnTo>
                <a:lnTo>
                  <a:pt x="378" y="301"/>
                </a:lnTo>
                <a:lnTo>
                  <a:pt x="380" y="306"/>
                </a:lnTo>
                <a:lnTo>
                  <a:pt x="384" y="309"/>
                </a:lnTo>
                <a:lnTo>
                  <a:pt x="386" y="313"/>
                </a:lnTo>
                <a:lnTo>
                  <a:pt x="391" y="315"/>
                </a:lnTo>
                <a:lnTo>
                  <a:pt x="391" y="315"/>
                </a:lnTo>
                <a:lnTo>
                  <a:pt x="392" y="315"/>
                </a:lnTo>
                <a:lnTo>
                  <a:pt x="391" y="315"/>
                </a:lnTo>
                <a:lnTo>
                  <a:pt x="391" y="315"/>
                </a:lnTo>
                <a:close/>
                <a:moveTo>
                  <a:pt x="402" y="180"/>
                </a:moveTo>
                <a:lnTo>
                  <a:pt x="404" y="177"/>
                </a:lnTo>
                <a:lnTo>
                  <a:pt x="404" y="176"/>
                </a:lnTo>
                <a:lnTo>
                  <a:pt x="404" y="177"/>
                </a:lnTo>
                <a:lnTo>
                  <a:pt x="402" y="180"/>
                </a:lnTo>
                <a:lnTo>
                  <a:pt x="405" y="180"/>
                </a:lnTo>
                <a:lnTo>
                  <a:pt x="406" y="181"/>
                </a:lnTo>
                <a:lnTo>
                  <a:pt x="405" y="180"/>
                </a:lnTo>
                <a:lnTo>
                  <a:pt x="402" y="180"/>
                </a:lnTo>
                <a:lnTo>
                  <a:pt x="402" y="180"/>
                </a:lnTo>
                <a:close/>
                <a:moveTo>
                  <a:pt x="397" y="119"/>
                </a:moveTo>
                <a:lnTo>
                  <a:pt x="401" y="126"/>
                </a:lnTo>
                <a:lnTo>
                  <a:pt x="407" y="131"/>
                </a:lnTo>
                <a:lnTo>
                  <a:pt x="401" y="126"/>
                </a:lnTo>
                <a:lnTo>
                  <a:pt x="397" y="119"/>
                </a:lnTo>
                <a:lnTo>
                  <a:pt x="395" y="118"/>
                </a:lnTo>
                <a:lnTo>
                  <a:pt x="394" y="117"/>
                </a:lnTo>
                <a:lnTo>
                  <a:pt x="395" y="118"/>
                </a:lnTo>
                <a:lnTo>
                  <a:pt x="397" y="119"/>
                </a:lnTo>
                <a:close/>
                <a:moveTo>
                  <a:pt x="423" y="30"/>
                </a:moveTo>
                <a:lnTo>
                  <a:pt x="413" y="23"/>
                </a:lnTo>
                <a:lnTo>
                  <a:pt x="402" y="16"/>
                </a:lnTo>
                <a:lnTo>
                  <a:pt x="413" y="23"/>
                </a:lnTo>
                <a:lnTo>
                  <a:pt x="423" y="30"/>
                </a:lnTo>
                <a:close/>
                <a:moveTo>
                  <a:pt x="356" y="286"/>
                </a:moveTo>
                <a:lnTo>
                  <a:pt x="356" y="286"/>
                </a:lnTo>
                <a:lnTo>
                  <a:pt x="356" y="286"/>
                </a:lnTo>
                <a:lnTo>
                  <a:pt x="354" y="285"/>
                </a:lnTo>
                <a:lnTo>
                  <a:pt x="354" y="285"/>
                </a:lnTo>
                <a:lnTo>
                  <a:pt x="354" y="285"/>
                </a:lnTo>
                <a:lnTo>
                  <a:pt x="356" y="286"/>
                </a:lnTo>
                <a:lnTo>
                  <a:pt x="356" y="286"/>
                </a:lnTo>
                <a:lnTo>
                  <a:pt x="356" y="286"/>
                </a:lnTo>
                <a:close/>
                <a:moveTo>
                  <a:pt x="282" y="376"/>
                </a:moveTo>
                <a:lnTo>
                  <a:pt x="285" y="386"/>
                </a:lnTo>
                <a:lnTo>
                  <a:pt x="288" y="397"/>
                </a:lnTo>
                <a:lnTo>
                  <a:pt x="291" y="406"/>
                </a:lnTo>
                <a:lnTo>
                  <a:pt x="296" y="415"/>
                </a:lnTo>
                <a:lnTo>
                  <a:pt x="291" y="406"/>
                </a:lnTo>
                <a:lnTo>
                  <a:pt x="288" y="397"/>
                </a:lnTo>
                <a:lnTo>
                  <a:pt x="285" y="386"/>
                </a:lnTo>
                <a:lnTo>
                  <a:pt x="282" y="376"/>
                </a:lnTo>
                <a:close/>
                <a:moveTo>
                  <a:pt x="277" y="373"/>
                </a:moveTo>
                <a:lnTo>
                  <a:pt x="278" y="376"/>
                </a:lnTo>
                <a:lnTo>
                  <a:pt x="281" y="376"/>
                </a:lnTo>
                <a:lnTo>
                  <a:pt x="278" y="376"/>
                </a:lnTo>
                <a:lnTo>
                  <a:pt x="277" y="373"/>
                </a:lnTo>
                <a:close/>
                <a:moveTo>
                  <a:pt x="273" y="508"/>
                </a:moveTo>
                <a:lnTo>
                  <a:pt x="273" y="508"/>
                </a:lnTo>
                <a:lnTo>
                  <a:pt x="273" y="509"/>
                </a:lnTo>
                <a:lnTo>
                  <a:pt x="273" y="508"/>
                </a:lnTo>
                <a:lnTo>
                  <a:pt x="273" y="508"/>
                </a:lnTo>
                <a:lnTo>
                  <a:pt x="274" y="505"/>
                </a:lnTo>
                <a:lnTo>
                  <a:pt x="275" y="503"/>
                </a:lnTo>
                <a:lnTo>
                  <a:pt x="274" y="505"/>
                </a:lnTo>
                <a:lnTo>
                  <a:pt x="273" y="508"/>
                </a:lnTo>
                <a:close/>
                <a:moveTo>
                  <a:pt x="209" y="802"/>
                </a:moveTo>
                <a:lnTo>
                  <a:pt x="211" y="800"/>
                </a:lnTo>
                <a:lnTo>
                  <a:pt x="212" y="798"/>
                </a:lnTo>
                <a:lnTo>
                  <a:pt x="211" y="800"/>
                </a:lnTo>
                <a:lnTo>
                  <a:pt x="209" y="802"/>
                </a:lnTo>
                <a:close/>
                <a:moveTo>
                  <a:pt x="167" y="908"/>
                </a:moveTo>
                <a:lnTo>
                  <a:pt x="169" y="910"/>
                </a:lnTo>
                <a:lnTo>
                  <a:pt x="171" y="911"/>
                </a:lnTo>
                <a:lnTo>
                  <a:pt x="173" y="911"/>
                </a:lnTo>
                <a:lnTo>
                  <a:pt x="176" y="912"/>
                </a:lnTo>
                <a:lnTo>
                  <a:pt x="173" y="911"/>
                </a:lnTo>
                <a:lnTo>
                  <a:pt x="171" y="911"/>
                </a:lnTo>
                <a:lnTo>
                  <a:pt x="169" y="910"/>
                </a:lnTo>
                <a:lnTo>
                  <a:pt x="167" y="908"/>
                </a:lnTo>
                <a:close/>
                <a:moveTo>
                  <a:pt x="157" y="922"/>
                </a:moveTo>
                <a:lnTo>
                  <a:pt x="157" y="922"/>
                </a:lnTo>
                <a:lnTo>
                  <a:pt x="159" y="923"/>
                </a:lnTo>
                <a:lnTo>
                  <a:pt x="162" y="924"/>
                </a:lnTo>
                <a:lnTo>
                  <a:pt x="159" y="923"/>
                </a:lnTo>
                <a:lnTo>
                  <a:pt x="157" y="922"/>
                </a:lnTo>
                <a:close/>
                <a:moveTo>
                  <a:pt x="140" y="965"/>
                </a:moveTo>
                <a:lnTo>
                  <a:pt x="138" y="972"/>
                </a:lnTo>
                <a:lnTo>
                  <a:pt x="136" y="979"/>
                </a:lnTo>
                <a:lnTo>
                  <a:pt x="136" y="981"/>
                </a:lnTo>
                <a:lnTo>
                  <a:pt x="136" y="982"/>
                </a:lnTo>
                <a:lnTo>
                  <a:pt x="133" y="978"/>
                </a:lnTo>
                <a:lnTo>
                  <a:pt x="133" y="972"/>
                </a:lnTo>
                <a:lnTo>
                  <a:pt x="135" y="966"/>
                </a:lnTo>
                <a:lnTo>
                  <a:pt x="136" y="961"/>
                </a:lnTo>
                <a:lnTo>
                  <a:pt x="137" y="959"/>
                </a:lnTo>
                <a:lnTo>
                  <a:pt x="139" y="960"/>
                </a:lnTo>
                <a:lnTo>
                  <a:pt x="140" y="961"/>
                </a:lnTo>
                <a:lnTo>
                  <a:pt x="140" y="965"/>
                </a:lnTo>
                <a:close/>
                <a:moveTo>
                  <a:pt x="270" y="360"/>
                </a:moveTo>
                <a:lnTo>
                  <a:pt x="270" y="359"/>
                </a:lnTo>
                <a:lnTo>
                  <a:pt x="269" y="358"/>
                </a:lnTo>
                <a:lnTo>
                  <a:pt x="269" y="356"/>
                </a:lnTo>
                <a:lnTo>
                  <a:pt x="269" y="353"/>
                </a:lnTo>
                <a:lnTo>
                  <a:pt x="269" y="356"/>
                </a:lnTo>
                <a:lnTo>
                  <a:pt x="269" y="358"/>
                </a:lnTo>
                <a:lnTo>
                  <a:pt x="270" y="359"/>
                </a:lnTo>
                <a:lnTo>
                  <a:pt x="270" y="360"/>
                </a:lnTo>
                <a:close/>
                <a:moveTo>
                  <a:pt x="268" y="389"/>
                </a:moveTo>
                <a:lnTo>
                  <a:pt x="267" y="380"/>
                </a:lnTo>
                <a:lnTo>
                  <a:pt x="267" y="372"/>
                </a:lnTo>
                <a:lnTo>
                  <a:pt x="267" y="380"/>
                </a:lnTo>
                <a:lnTo>
                  <a:pt x="268" y="389"/>
                </a:lnTo>
                <a:close/>
                <a:moveTo>
                  <a:pt x="331" y="201"/>
                </a:moveTo>
                <a:lnTo>
                  <a:pt x="330" y="202"/>
                </a:lnTo>
                <a:lnTo>
                  <a:pt x="330" y="204"/>
                </a:lnTo>
                <a:lnTo>
                  <a:pt x="329" y="206"/>
                </a:lnTo>
                <a:lnTo>
                  <a:pt x="330" y="209"/>
                </a:lnTo>
                <a:lnTo>
                  <a:pt x="330" y="211"/>
                </a:lnTo>
                <a:lnTo>
                  <a:pt x="329" y="212"/>
                </a:lnTo>
                <a:lnTo>
                  <a:pt x="328" y="212"/>
                </a:lnTo>
                <a:lnTo>
                  <a:pt x="325" y="212"/>
                </a:lnTo>
                <a:lnTo>
                  <a:pt x="317" y="196"/>
                </a:lnTo>
                <a:lnTo>
                  <a:pt x="310" y="178"/>
                </a:lnTo>
                <a:lnTo>
                  <a:pt x="310" y="178"/>
                </a:lnTo>
                <a:lnTo>
                  <a:pt x="311" y="175"/>
                </a:lnTo>
                <a:lnTo>
                  <a:pt x="309" y="171"/>
                </a:lnTo>
                <a:lnTo>
                  <a:pt x="308" y="168"/>
                </a:lnTo>
                <a:lnTo>
                  <a:pt x="308" y="166"/>
                </a:lnTo>
                <a:lnTo>
                  <a:pt x="308" y="164"/>
                </a:lnTo>
                <a:lnTo>
                  <a:pt x="307" y="164"/>
                </a:lnTo>
                <a:lnTo>
                  <a:pt x="308" y="164"/>
                </a:lnTo>
                <a:lnTo>
                  <a:pt x="308" y="166"/>
                </a:lnTo>
                <a:lnTo>
                  <a:pt x="308" y="164"/>
                </a:lnTo>
                <a:lnTo>
                  <a:pt x="308" y="164"/>
                </a:lnTo>
                <a:lnTo>
                  <a:pt x="308" y="164"/>
                </a:lnTo>
                <a:lnTo>
                  <a:pt x="308" y="163"/>
                </a:lnTo>
                <a:lnTo>
                  <a:pt x="308" y="162"/>
                </a:lnTo>
                <a:lnTo>
                  <a:pt x="307" y="161"/>
                </a:lnTo>
                <a:lnTo>
                  <a:pt x="305" y="157"/>
                </a:lnTo>
                <a:lnTo>
                  <a:pt x="305" y="154"/>
                </a:lnTo>
                <a:lnTo>
                  <a:pt x="305" y="157"/>
                </a:lnTo>
                <a:lnTo>
                  <a:pt x="307" y="161"/>
                </a:lnTo>
                <a:lnTo>
                  <a:pt x="309" y="159"/>
                </a:lnTo>
                <a:lnTo>
                  <a:pt x="309" y="155"/>
                </a:lnTo>
                <a:lnTo>
                  <a:pt x="312" y="154"/>
                </a:lnTo>
                <a:lnTo>
                  <a:pt x="316" y="154"/>
                </a:lnTo>
                <a:lnTo>
                  <a:pt x="315" y="152"/>
                </a:lnTo>
                <a:lnTo>
                  <a:pt x="314" y="149"/>
                </a:lnTo>
                <a:lnTo>
                  <a:pt x="312" y="146"/>
                </a:lnTo>
                <a:lnTo>
                  <a:pt x="312" y="142"/>
                </a:lnTo>
                <a:lnTo>
                  <a:pt x="312" y="146"/>
                </a:lnTo>
                <a:lnTo>
                  <a:pt x="314" y="149"/>
                </a:lnTo>
                <a:lnTo>
                  <a:pt x="315" y="152"/>
                </a:lnTo>
                <a:lnTo>
                  <a:pt x="316" y="154"/>
                </a:lnTo>
                <a:lnTo>
                  <a:pt x="316" y="154"/>
                </a:lnTo>
                <a:lnTo>
                  <a:pt x="319" y="156"/>
                </a:lnTo>
                <a:lnTo>
                  <a:pt x="322" y="159"/>
                </a:lnTo>
                <a:lnTo>
                  <a:pt x="324" y="161"/>
                </a:lnTo>
                <a:lnTo>
                  <a:pt x="324" y="163"/>
                </a:lnTo>
                <a:lnTo>
                  <a:pt x="324" y="161"/>
                </a:lnTo>
                <a:lnTo>
                  <a:pt x="322" y="159"/>
                </a:lnTo>
                <a:lnTo>
                  <a:pt x="319" y="156"/>
                </a:lnTo>
                <a:lnTo>
                  <a:pt x="316" y="154"/>
                </a:lnTo>
                <a:lnTo>
                  <a:pt x="317" y="159"/>
                </a:lnTo>
                <a:lnTo>
                  <a:pt x="318" y="163"/>
                </a:lnTo>
                <a:lnTo>
                  <a:pt x="321" y="166"/>
                </a:lnTo>
                <a:lnTo>
                  <a:pt x="325" y="168"/>
                </a:lnTo>
                <a:lnTo>
                  <a:pt x="325" y="168"/>
                </a:lnTo>
                <a:lnTo>
                  <a:pt x="328" y="169"/>
                </a:lnTo>
                <a:lnTo>
                  <a:pt x="328" y="170"/>
                </a:lnTo>
                <a:lnTo>
                  <a:pt x="328" y="169"/>
                </a:lnTo>
                <a:lnTo>
                  <a:pt x="325" y="168"/>
                </a:lnTo>
                <a:lnTo>
                  <a:pt x="323" y="173"/>
                </a:lnTo>
                <a:lnTo>
                  <a:pt x="321" y="177"/>
                </a:lnTo>
                <a:lnTo>
                  <a:pt x="319" y="180"/>
                </a:lnTo>
                <a:lnTo>
                  <a:pt x="321" y="182"/>
                </a:lnTo>
                <a:lnTo>
                  <a:pt x="322" y="184"/>
                </a:lnTo>
                <a:lnTo>
                  <a:pt x="324" y="187"/>
                </a:lnTo>
                <a:lnTo>
                  <a:pt x="325" y="187"/>
                </a:lnTo>
                <a:lnTo>
                  <a:pt x="325" y="188"/>
                </a:lnTo>
                <a:lnTo>
                  <a:pt x="326" y="190"/>
                </a:lnTo>
                <a:lnTo>
                  <a:pt x="328" y="194"/>
                </a:lnTo>
                <a:lnTo>
                  <a:pt x="328" y="195"/>
                </a:lnTo>
                <a:lnTo>
                  <a:pt x="329" y="196"/>
                </a:lnTo>
                <a:lnTo>
                  <a:pt x="330" y="198"/>
                </a:lnTo>
                <a:lnTo>
                  <a:pt x="331" y="201"/>
                </a:lnTo>
                <a:lnTo>
                  <a:pt x="332" y="201"/>
                </a:lnTo>
                <a:lnTo>
                  <a:pt x="333" y="201"/>
                </a:lnTo>
                <a:lnTo>
                  <a:pt x="332" y="201"/>
                </a:lnTo>
                <a:lnTo>
                  <a:pt x="331" y="201"/>
                </a:lnTo>
                <a:close/>
                <a:moveTo>
                  <a:pt x="309" y="191"/>
                </a:moveTo>
                <a:lnTo>
                  <a:pt x="309" y="189"/>
                </a:lnTo>
                <a:lnTo>
                  <a:pt x="308" y="187"/>
                </a:lnTo>
                <a:lnTo>
                  <a:pt x="307" y="185"/>
                </a:lnTo>
                <a:lnTo>
                  <a:pt x="307" y="183"/>
                </a:lnTo>
                <a:lnTo>
                  <a:pt x="307" y="185"/>
                </a:lnTo>
                <a:lnTo>
                  <a:pt x="308" y="187"/>
                </a:lnTo>
                <a:lnTo>
                  <a:pt x="309" y="185"/>
                </a:lnTo>
                <a:lnTo>
                  <a:pt x="309" y="185"/>
                </a:lnTo>
                <a:lnTo>
                  <a:pt x="310" y="183"/>
                </a:lnTo>
                <a:lnTo>
                  <a:pt x="310" y="181"/>
                </a:lnTo>
                <a:lnTo>
                  <a:pt x="310" y="183"/>
                </a:lnTo>
                <a:lnTo>
                  <a:pt x="309" y="185"/>
                </a:lnTo>
                <a:lnTo>
                  <a:pt x="309" y="185"/>
                </a:lnTo>
                <a:lnTo>
                  <a:pt x="308" y="187"/>
                </a:lnTo>
                <a:lnTo>
                  <a:pt x="309" y="189"/>
                </a:lnTo>
                <a:lnTo>
                  <a:pt x="309" y="191"/>
                </a:lnTo>
                <a:close/>
                <a:moveTo>
                  <a:pt x="307" y="149"/>
                </a:moveTo>
                <a:lnTo>
                  <a:pt x="305" y="152"/>
                </a:lnTo>
                <a:lnTo>
                  <a:pt x="305" y="153"/>
                </a:lnTo>
                <a:lnTo>
                  <a:pt x="305" y="153"/>
                </a:lnTo>
                <a:lnTo>
                  <a:pt x="305" y="152"/>
                </a:lnTo>
                <a:lnTo>
                  <a:pt x="307" y="149"/>
                </a:lnTo>
                <a:close/>
                <a:moveTo>
                  <a:pt x="288" y="142"/>
                </a:moveTo>
                <a:lnTo>
                  <a:pt x="288" y="142"/>
                </a:lnTo>
                <a:lnTo>
                  <a:pt x="288" y="143"/>
                </a:lnTo>
                <a:lnTo>
                  <a:pt x="288" y="142"/>
                </a:lnTo>
                <a:lnTo>
                  <a:pt x="289" y="143"/>
                </a:lnTo>
                <a:lnTo>
                  <a:pt x="291" y="146"/>
                </a:lnTo>
                <a:lnTo>
                  <a:pt x="289" y="147"/>
                </a:lnTo>
                <a:lnTo>
                  <a:pt x="288" y="146"/>
                </a:lnTo>
                <a:lnTo>
                  <a:pt x="288" y="145"/>
                </a:lnTo>
                <a:lnTo>
                  <a:pt x="288" y="14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en-US" sz="960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4CAFB36-E9FB-8342-BC80-905A354E653E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8DAD44E2-90DC-BA44-819D-EDEE8F449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7683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37E65D4A-8F7D-5E49-8086-FF57467869AF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0681419" y="954138"/>
            <a:ext cx="12889432" cy="12763450"/>
          </a:xfrm>
          <a:custGeom>
            <a:avLst/>
            <a:gdLst>
              <a:gd name="T0" fmla="*/ 1488 w 1562"/>
              <a:gd name="T1" fmla="*/ 995 h 1609"/>
              <a:gd name="T2" fmla="*/ 1423 w 1562"/>
              <a:gd name="T3" fmla="*/ 1455 h 1609"/>
              <a:gd name="T4" fmla="*/ 1366 w 1562"/>
              <a:gd name="T5" fmla="*/ 1007 h 1609"/>
              <a:gd name="T6" fmla="*/ 1320 w 1562"/>
              <a:gd name="T7" fmla="*/ 1173 h 1609"/>
              <a:gd name="T8" fmla="*/ 1256 w 1562"/>
              <a:gd name="T9" fmla="*/ 1019 h 1609"/>
              <a:gd name="T10" fmla="*/ 1205 w 1562"/>
              <a:gd name="T11" fmla="*/ 995 h 1609"/>
              <a:gd name="T12" fmla="*/ 1113 w 1562"/>
              <a:gd name="T13" fmla="*/ 1223 h 1609"/>
              <a:gd name="T14" fmla="*/ 1060 w 1562"/>
              <a:gd name="T15" fmla="*/ 1001 h 1609"/>
              <a:gd name="T16" fmla="*/ 969 w 1562"/>
              <a:gd name="T17" fmla="*/ 1122 h 1609"/>
              <a:gd name="T18" fmla="*/ 800 w 1562"/>
              <a:gd name="T19" fmla="*/ 1414 h 1609"/>
              <a:gd name="T20" fmla="*/ 703 w 1562"/>
              <a:gd name="T21" fmla="*/ 836 h 1609"/>
              <a:gd name="T22" fmla="*/ 681 w 1562"/>
              <a:gd name="T23" fmla="*/ 980 h 1609"/>
              <a:gd name="T24" fmla="*/ 645 w 1562"/>
              <a:gd name="T25" fmla="*/ 1015 h 1609"/>
              <a:gd name="T26" fmla="*/ 656 w 1562"/>
              <a:gd name="T27" fmla="*/ 984 h 1609"/>
              <a:gd name="T28" fmla="*/ 477 w 1562"/>
              <a:gd name="T29" fmla="*/ 1227 h 1609"/>
              <a:gd name="T30" fmla="*/ 362 w 1562"/>
              <a:gd name="T31" fmla="*/ 1155 h 1609"/>
              <a:gd name="T32" fmla="*/ 315 w 1562"/>
              <a:gd name="T33" fmla="*/ 1105 h 1609"/>
              <a:gd name="T34" fmla="*/ 172 w 1562"/>
              <a:gd name="T35" fmla="*/ 908 h 1609"/>
              <a:gd name="T36" fmla="*/ 324 w 1562"/>
              <a:gd name="T37" fmla="*/ 822 h 1609"/>
              <a:gd name="T38" fmla="*/ 852 w 1562"/>
              <a:gd name="T39" fmla="*/ 421 h 1609"/>
              <a:gd name="T40" fmla="*/ 490 w 1562"/>
              <a:gd name="T41" fmla="*/ 633 h 1609"/>
              <a:gd name="T42" fmla="*/ 1529 w 1562"/>
              <a:gd name="T43" fmla="*/ 1053 h 1609"/>
              <a:gd name="T44" fmla="*/ 1263 w 1562"/>
              <a:gd name="T45" fmla="*/ 895 h 1609"/>
              <a:gd name="T46" fmla="*/ 918 w 1562"/>
              <a:gd name="T47" fmla="*/ 830 h 1609"/>
              <a:gd name="T48" fmla="*/ 1155 w 1562"/>
              <a:gd name="T49" fmla="*/ 822 h 1609"/>
              <a:gd name="T50" fmla="*/ 1079 w 1562"/>
              <a:gd name="T51" fmla="*/ 708 h 1609"/>
              <a:gd name="T52" fmla="*/ 943 w 1562"/>
              <a:gd name="T53" fmla="*/ 612 h 1609"/>
              <a:gd name="T54" fmla="*/ 912 w 1562"/>
              <a:gd name="T55" fmla="*/ 369 h 1609"/>
              <a:gd name="T56" fmla="*/ 1377 w 1562"/>
              <a:gd name="T57" fmla="*/ 36 h 1609"/>
              <a:gd name="T58" fmla="*/ 479 w 1562"/>
              <a:gd name="T59" fmla="*/ 665 h 1609"/>
              <a:gd name="T60" fmla="*/ 938 w 1562"/>
              <a:gd name="T61" fmla="*/ 655 h 1609"/>
              <a:gd name="T62" fmla="*/ 543 w 1562"/>
              <a:gd name="T63" fmla="*/ 679 h 1609"/>
              <a:gd name="T64" fmla="*/ 338 w 1562"/>
              <a:gd name="T65" fmla="*/ 599 h 1609"/>
              <a:gd name="T66" fmla="*/ 285 w 1562"/>
              <a:gd name="T67" fmla="*/ 707 h 1609"/>
              <a:gd name="T68" fmla="*/ 169 w 1562"/>
              <a:gd name="T69" fmla="*/ 817 h 1609"/>
              <a:gd name="T70" fmla="*/ 32 w 1562"/>
              <a:gd name="T71" fmla="*/ 694 h 1609"/>
              <a:gd name="T72" fmla="*/ 130 w 1562"/>
              <a:gd name="T73" fmla="*/ 805 h 1609"/>
              <a:gd name="T74" fmla="*/ 73 w 1562"/>
              <a:gd name="T75" fmla="*/ 864 h 1609"/>
              <a:gd name="T76" fmla="*/ 8 w 1562"/>
              <a:gd name="T77" fmla="*/ 878 h 1609"/>
              <a:gd name="T78" fmla="*/ 291 w 1562"/>
              <a:gd name="T79" fmla="*/ 1105 h 1609"/>
              <a:gd name="T80" fmla="*/ 1417 w 1562"/>
              <a:gd name="T81" fmla="*/ 1545 h 1609"/>
              <a:gd name="T82" fmla="*/ 984 w 1562"/>
              <a:gd name="T83" fmla="*/ 551 h 1609"/>
              <a:gd name="T84" fmla="*/ 1328 w 1562"/>
              <a:gd name="T85" fmla="*/ 742 h 1609"/>
              <a:gd name="T86" fmla="*/ 1344 w 1562"/>
              <a:gd name="T87" fmla="*/ 416 h 1609"/>
              <a:gd name="T88" fmla="*/ 1346 w 1562"/>
              <a:gd name="T89" fmla="*/ 686 h 1609"/>
              <a:gd name="T90" fmla="*/ 1202 w 1562"/>
              <a:gd name="T91" fmla="*/ 542 h 1609"/>
              <a:gd name="T92" fmla="*/ 1174 w 1562"/>
              <a:gd name="T93" fmla="*/ 757 h 1609"/>
              <a:gd name="T94" fmla="*/ 1314 w 1562"/>
              <a:gd name="T95" fmla="*/ 711 h 1609"/>
              <a:gd name="T96" fmla="*/ 1128 w 1562"/>
              <a:gd name="T97" fmla="*/ 360 h 1609"/>
              <a:gd name="T98" fmla="*/ 1142 w 1562"/>
              <a:gd name="T99" fmla="*/ 329 h 1609"/>
              <a:gd name="T100" fmla="*/ 1104 w 1562"/>
              <a:gd name="T101" fmla="*/ 332 h 1609"/>
              <a:gd name="T102" fmla="*/ 1330 w 1562"/>
              <a:gd name="T103" fmla="*/ 218 h 1609"/>
              <a:gd name="T104" fmla="*/ 984 w 1562"/>
              <a:gd name="T105" fmla="*/ 335 h 1609"/>
              <a:gd name="T106" fmla="*/ 1128 w 1562"/>
              <a:gd name="T107" fmla="*/ 505 h 1609"/>
              <a:gd name="T108" fmla="*/ 1374 w 1562"/>
              <a:gd name="T109" fmla="*/ 431 h 1609"/>
              <a:gd name="T110" fmla="*/ 1254 w 1562"/>
              <a:gd name="T111" fmla="*/ 342 h 1609"/>
              <a:gd name="T112" fmla="*/ 1363 w 1562"/>
              <a:gd name="T113" fmla="*/ 268 h 1609"/>
              <a:gd name="T114" fmla="*/ 1388 w 1562"/>
              <a:gd name="T115" fmla="*/ 731 h 1609"/>
              <a:gd name="T116" fmla="*/ 1377 w 1562"/>
              <a:gd name="T117" fmla="*/ 876 h 1609"/>
              <a:gd name="T118" fmla="*/ 1420 w 1562"/>
              <a:gd name="T119" fmla="*/ 623 h 1609"/>
              <a:gd name="T120" fmla="*/ 304 w 1562"/>
              <a:gd name="T121" fmla="*/ 677 h 1609"/>
              <a:gd name="T122" fmla="*/ 334 w 1562"/>
              <a:gd name="T123" fmla="*/ 648 h 1609"/>
              <a:gd name="T124" fmla="*/ 1408 w 1562"/>
              <a:gd name="T125" fmla="*/ 687 h 1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2" h="1609">
                <a:moveTo>
                  <a:pt x="1422" y="403"/>
                </a:moveTo>
                <a:lnTo>
                  <a:pt x="1422" y="410"/>
                </a:lnTo>
                <a:lnTo>
                  <a:pt x="1423" y="416"/>
                </a:lnTo>
                <a:lnTo>
                  <a:pt x="1424" y="418"/>
                </a:lnTo>
                <a:lnTo>
                  <a:pt x="1426" y="420"/>
                </a:lnTo>
                <a:lnTo>
                  <a:pt x="1430" y="421"/>
                </a:lnTo>
                <a:lnTo>
                  <a:pt x="1435" y="423"/>
                </a:lnTo>
                <a:lnTo>
                  <a:pt x="1439" y="425"/>
                </a:lnTo>
                <a:lnTo>
                  <a:pt x="1443" y="428"/>
                </a:lnTo>
                <a:lnTo>
                  <a:pt x="1446" y="431"/>
                </a:lnTo>
                <a:lnTo>
                  <a:pt x="1450" y="430"/>
                </a:lnTo>
                <a:lnTo>
                  <a:pt x="1451" y="426"/>
                </a:lnTo>
                <a:lnTo>
                  <a:pt x="1451" y="421"/>
                </a:lnTo>
                <a:lnTo>
                  <a:pt x="1451" y="398"/>
                </a:lnTo>
                <a:lnTo>
                  <a:pt x="1449" y="376"/>
                </a:lnTo>
                <a:lnTo>
                  <a:pt x="1446" y="354"/>
                </a:lnTo>
                <a:lnTo>
                  <a:pt x="1442" y="332"/>
                </a:lnTo>
                <a:lnTo>
                  <a:pt x="1438" y="319"/>
                </a:lnTo>
                <a:lnTo>
                  <a:pt x="1436" y="307"/>
                </a:lnTo>
                <a:lnTo>
                  <a:pt x="1431" y="296"/>
                </a:lnTo>
                <a:lnTo>
                  <a:pt x="1425" y="285"/>
                </a:lnTo>
                <a:lnTo>
                  <a:pt x="1428" y="295"/>
                </a:lnTo>
                <a:lnTo>
                  <a:pt x="1429" y="305"/>
                </a:lnTo>
                <a:lnTo>
                  <a:pt x="1428" y="311"/>
                </a:lnTo>
                <a:lnTo>
                  <a:pt x="1426" y="316"/>
                </a:lnTo>
                <a:lnTo>
                  <a:pt x="1426" y="322"/>
                </a:lnTo>
                <a:lnTo>
                  <a:pt x="1428" y="328"/>
                </a:lnTo>
                <a:lnTo>
                  <a:pt x="1428" y="335"/>
                </a:lnTo>
                <a:lnTo>
                  <a:pt x="1428" y="341"/>
                </a:lnTo>
                <a:lnTo>
                  <a:pt x="1426" y="347"/>
                </a:lnTo>
                <a:lnTo>
                  <a:pt x="1425" y="353"/>
                </a:lnTo>
                <a:lnTo>
                  <a:pt x="1423" y="358"/>
                </a:lnTo>
                <a:lnTo>
                  <a:pt x="1422" y="365"/>
                </a:lnTo>
                <a:lnTo>
                  <a:pt x="1422" y="371"/>
                </a:lnTo>
                <a:lnTo>
                  <a:pt x="1422" y="377"/>
                </a:lnTo>
                <a:lnTo>
                  <a:pt x="1422" y="390"/>
                </a:lnTo>
                <a:lnTo>
                  <a:pt x="1422" y="403"/>
                </a:lnTo>
                <a:close/>
                <a:moveTo>
                  <a:pt x="1499" y="1129"/>
                </a:moveTo>
                <a:lnTo>
                  <a:pt x="1500" y="1129"/>
                </a:lnTo>
                <a:lnTo>
                  <a:pt x="1500" y="1129"/>
                </a:lnTo>
                <a:lnTo>
                  <a:pt x="1500" y="1129"/>
                </a:lnTo>
                <a:lnTo>
                  <a:pt x="1499" y="1129"/>
                </a:lnTo>
                <a:close/>
                <a:moveTo>
                  <a:pt x="1482" y="1228"/>
                </a:moveTo>
                <a:lnTo>
                  <a:pt x="1480" y="1230"/>
                </a:lnTo>
                <a:lnTo>
                  <a:pt x="1479" y="1231"/>
                </a:lnTo>
                <a:lnTo>
                  <a:pt x="1480" y="1230"/>
                </a:lnTo>
                <a:lnTo>
                  <a:pt x="1482" y="1228"/>
                </a:lnTo>
                <a:lnTo>
                  <a:pt x="1491" y="1218"/>
                </a:lnTo>
                <a:lnTo>
                  <a:pt x="1499" y="1209"/>
                </a:lnTo>
                <a:lnTo>
                  <a:pt x="1491" y="1218"/>
                </a:lnTo>
                <a:lnTo>
                  <a:pt x="1482" y="1228"/>
                </a:lnTo>
                <a:close/>
                <a:moveTo>
                  <a:pt x="1491" y="1274"/>
                </a:moveTo>
                <a:lnTo>
                  <a:pt x="1491" y="1274"/>
                </a:lnTo>
                <a:lnTo>
                  <a:pt x="1491" y="1274"/>
                </a:lnTo>
                <a:lnTo>
                  <a:pt x="1492" y="1273"/>
                </a:lnTo>
                <a:lnTo>
                  <a:pt x="1493" y="1272"/>
                </a:lnTo>
                <a:lnTo>
                  <a:pt x="1492" y="1273"/>
                </a:lnTo>
                <a:lnTo>
                  <a:pt x="1491" y="1274"/>
                </a:lnTo>
                <a:close/>
                <a:moveTo>
                  <a:pt x="1485" y="1280"/>
                </a:moveTo>
                <a:lnTo>
                  <a:pt x="1485" y="1280"/>
                </a:lnTo>
                <a:lnTo>
                  <a:pt x="1484" y="1281"/>
                </a:lnTo>
                <a:lnTo>
                  <a:pt x="1485" y="1280"/>
                </a:lnTo>
                <a:lnTo>
                  <a:pt x="1485" y="1280"/>
                </a:lnTo>
                <a:lnTo>
                  <a:pt x="1486" y="1277"/>
                </a:lnTo>
                <a:lnTo>
                  <a:pt x="1488" y="1276"/>
                </a:lnTo>
                <a:lnTo>
                  <a:pt x="1486" y="1277"/>
                </a:lnTo>
                <a:lnTo>
                  <a:pt x="1485" y="1280"/>
                </a:lnTo>
                <a:close/>
                <a:moveTo>
                  <a:pt x="1491" y="995"/>
                </a:moveTo>
                <a:lnTo>
                  <a:pt x="1489" y="995"/>
                </a:lnTo>
                <a:lnTo>
                  <a:pt x="1488" y="995"/>
                </a:lnTo>
                <a:lnTo>
                  <a:pt x="1489" y="995"/>
                </a:lnTo>
                <a:lnTo>
                  <a:pt x="1491" y="995"/>
                </a:lnTo>
                <a:close/>
                <a:moveTo>
                  <a:pt x="1474" y="1232"/>
                </a:moveTo>
                <a:lnTo>
                  <a:pt x="1470" y="1237"/>
                </a:lnTo>
                <a:lnTo>
                  <a:pt x="1464" y="1242"/>
                </a:lnTo>
                <a:lnTo>
                  <a:pt x="1459" y="1245"/>
                </a:lnTo>
                <a:lnTo>
                  <a:pt x="1452" y="1249"/>
                </a:lnTo>
                <a:lnTo>
                  <a:pt x="1459" y="1245"/>
                </a:lnTo>
                <a:lnTo>
                  <a:pt x="1464" y="1242"/>
                </a:lnTo>
                <a:lnTo>
                  <a:pt x="1470" y="1237"/>
                </a:lnTo>
                <a:lnTo>
                  <a:pt x="1474" y="1232"/>
                </a:lnTo>
                <a:lnTo>
                  <a:pt x="1475" y="1232"/>
                </a:lnTo>
                <a:lnTo>
                  <a:pt x="1477" y="1231"/>
                </a:lnTo>
                <a:lnTo>
                  <a:pt x="1475" y="1232"/>
                </a:lnTo>
                <a:lnTo>
                  <a:pt x="1474" y="1232"/>
                </a:lnTo>
                <a:close/>
                <a:moveTo>
                  <a:pt x="1471" y="1304"/>
                </a:moveTo>
                <a:lnTo>
                  <a:pt x="1473" y="1304"/>
                </a:lnTo>
                <a:lnTo>
                  <a:pt x="1474" y="1304"/>
                </a:lnTo>
                <a:lnTo>
                  <a:pt x="1473" y="1304"/>
                </a:lnTo>
                <a:lnTo>
                  <a:pt x="1471" y="1304"/>
                </a:lnTo>
                <a:close/>
                <a:moveTo>
                  <a:pt x="1471" y="1300"/>
                </a:move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lnTo>
                  <a:pt x="1471" y="1300"/>
                </a:lnTo>
                <a:close/>
                <a:moveTo>
                  <a:pt x="1459" y="1330"/>
                </a:moveTo>
                <a:lnTo>
                  <a:pt x="1461" y="1332"/>
                </a:lnTo>
                <a:lnTo>
                  <a:pt x="1464" y="1332"/>
                </a:lnTo>
                <a:lnTo>
                  <a:pt x="1461" y="1332"/>
                </a:lnTo>
                <a:lnTo>
                  <a:pt x="1459" y="1330"/>
                </a:lnTo>
                <a:close/>
                <a:moveTo>
                  <a:pt x="1453" y="1315"/>
                </a:moveTo>
                <a:lnTo>
                  <a:pt x="1452" y="1318"/>
                </a:lnTo>
                <a:lnTo>
                  <a:pt x="1451" y="1319"/>
                </a:lnTo>
                <a:lnTo>
                  <a:pt x="1452" y="1318"/>
                </a:lnTo>
                <a:lnTo>
                  <a:pt x="1453" y="1315"/>
                </a:lnTo>
                <a:close/>
                <a:moveTo>
                  <a:pt x="1461" y="1016"/>
                </a:moveTo>
                <a:lnTo>
                  <a:pt x="1463" y="1018"/>
                </a:lnTo>
                <a:lnTo>
                  <a:pt x="1463" y="1019"/>
                </a:lnTo>
                <a:lnTo>
                  <a:pt x="1463" y="1018"/>
                </a:lnTo>
                <a:lnTo>
                  <a:pt x="1461" y="1016"/>
                </a:lnTo>
                <a:lnTo>
                  <a:pt x="1461" y="1014"/>
                </a:lnTo>
                <a:lnTo>
                  <a:pt x="1460" y="1012"/>
                </a:lnTo>
                <a:lnTo>
                  <a:pt x="1461" y="1014"/>
                </a:lnTo>
                <a:lnTo>
                  <a:pt x="1461" y="1016"/>
                </a:lnTo>
                <a:close/>
                <a:moveTo>
                  <a:pt x="1463" y="987"/>
                </a:moveTo>
                <a:lnTo>
                  <a:pt x="1463" y="991"/>
                </a:lnTo>
                <a:lnTo>
                  <a:pt x="1463" y="994"/>
                </a:lnTo>
                <a:lnTo>
                  <a:pt x="1463" y="991"/>
                </a:lnTo>
                <a:lnTo>
                  <a:pt x="1463" y="987"/>
                </a:lnTo>
                <a:close/>
                <a:moveTo>
                  <a:pt x="1471" y="962"/>
                </a:moveTo>
                <a:lnTo>
                  <a:pt x="1471" y="962"/>
                </a:lnTo>
                <a:lnTo>
                  <a:pt x="1470" y="963"/>
                </a:lnTo>
                <a:lnTo>
                  <a:pt x="1471" y="962"/>
                </a:lnTo>
                <a:lnTo>
                  <a:pt x="1471" y="962"/>
                </a:lnTo>
                <a:close/>
                <a:moveTo>
                  <a:pt x="1444" y="964"/>
                </a:moveTo>
                <a:lnTo>
                  <a:pt x="1445" y="964"/>
                </a:lnTo>
                <a:lnTo>
                  <a:pt x="1445" y="964"/>
                </a:lnTo>
                <a:lnTo>
                  <a:pt x="1445" y="964"/>
                </a:lnTo>
                <a:lnTo>
                  <a:pt x="1444" y="964"/>
                </a:lnTo>
                <a:close/>
                <a:moveTo>
                  <a:pt x="1409" y="1018"/>
                </a:moveTo>
                <a:lnTo>
                  <a:pt x="1410" y="1014"/>
                </a:lnTo>
                <a:lnTo>
                  <a:pt x="1411" y="1009"/>
                </a:lnTo>
                <a:lnTo>
                  <a:pt x="1410" y="1014"/>
                </a:lnTo>
                <a:lnTo>
                  <a:pt x="1409" y="1018"/>
                </a:lnTo>
                <a:lnTo>
                  <a:pt x="1422" y="1020"/>
                </a:lnTo>
                <a:lnTo>
                  <a:pt x="1432" y="1024"/>
                </a:lnTo>
                <a:lnTo>
                  <a:pt x="1422" y="1020"/>
                </a:lnTo>
                <a:lnTo>
                  <a:pt x="1409" y="1018"/>
                </a:lnTo>
                <a:close/>
                <a:moveTo>
                  <a:pt x="1423" y="1459"/>
                </a:moveTo>
                <a:lnTo>
                  <a:pt x="1423" y="1455"/>
                </a:lnTo>
                <a:lnTo>
                  <a:pt x="1424" y="1452"/>
                </a:lnTo>
                <a:lnTo>
                  <a:pt x="1423" y="1455"/>
                </a:lnTo>
                <a:lnTo>
                  <a:pt x="1423" y="1459"/>
                </a:lnTo>
                <a:close/>
                <a:moveTo>
                  <a:pt x="1394" y="1050"/>
                </a:moveTo>
                <a:lnTo>
                  <a:pt x="1403" y="1055"/>
                </a:lnTo>
                <a:lnTo>
                  <a:pt x="1411" y="1060"/>
                </a:lnTo>
                <a:lnTo>
                  <a:pt x="1403" y="1055"/>
                </a:lnTo>
                <a:lnTo>
                  <a:pt x="1394" y="1050"/>
                </a:lnTo>
                <a:close/>
                <a:moveTo>
                  <a:pt x="1402" y="1094"/>
                </a:moveTo>
                <a:lnTo>
                  <a:pt x="1401" y="1094"/>
                </a:lnTo>
                <a:lnTo>
                  <a:pt x="1398" y="1092"/>
                </a:lnTo>
                <a:lnTo>
                  <a:pt x="1401" y="1094"/>
                </a:lnTo>
                <a:lnTo>
                  <a:pt x="1402" y="1094"/>
                </a:lnTo>
                <a:lnTo>
                  <a:pt x="1405" y="1095"/>
                </a:lnTo>
                <a:lnTo>
                  <a:pt x="1409" y="1095"/>
                </a:lnTo>
                <a:lnTo>
                  <a:pt x="1405" y="1095"/>
                </a:lnTo>
                <a:lnTo>
                  <a:pt x="1402" y="1094"/>
                </a:lnTo>
                <a:close/>
                <a:moveTo>
                  <a:pt x="1395" y="1036"/>
                </a:moveTo>
                <a:lnTo>
                  <a:pt x="1396" y="1036"/>
                </a:lnTo>
                <a:lnTo>
                  <a:pt x="1396" y="1036"/>
                </a:lnTo>
                <a:lnTo>
                  <a:pt x="1396" y="1036"/>
                </a:lnTo>
                <a:lnTo>
                  <a:pt x="1395" y="1036"/>
                </a:lnTo>
                <a:lnTo>
                  <a:pt x="1394" y="1041"/>
                </a:lnTo>
                <a:lnTo>
                  <a:pt x="1391" y="1045"/>
                </a:lnTo>
                <a:lnTo>
                  <a:pt x="1394" y="1041"/>
                </a:lnTo>
                <a:lnTo>
                  <a:pt x="1395" y="1036"/>
                </a:lnTo>
                <a:close/>
                <a:moveTo>
                  <a:pt x="1389" y="1047"/>
                </a:moveTo>
                <a:lnTo>
                  <a:pt x="1378" y="1046"/>
                </a:lnTo>
                <a:lnTo>
                  <a:pt x="1369" y="1043"/>
                </a:lnTo>
                <a:lnTo>
                  <a:pt x="1378" y="1046"/>
                </a:lnTo>
                <a:lnTo>
                  <a:pt x="1389" y="1047"/>
                </a:lnTo>
                <a:close/>
                <a:moveTo>
                  <a:pt x="1383" y="1061"/>
                </a:moveTo>
                <a:lnTo>
                  <a:pt x="1373" y="1061"/>
                </a:lnTo>
                <a:lnTo>
                  <a:pt x="1363" y="1060"/>
                </a:lnTo>
                <a:lnTo>
                  <a:pt x="1373" y="1061"/>
                </a:lnTo>
                <a:lnTo>
                  <a:pt x="1383" y="1061"/>
                </a:lnTo>
                <a:lnTo>
                  <a:pt x="1383" y="1061"/>
                </a:lnTo>
                <a:close/>
                <a:moveTo>
                  <a:pt x="1370" y="1088"/>
                </a:moveTo>
                <a:lnTo>
                  <a:pt x="1371" y="1088"/>
                </a:lnTo>
                <a:lnTo>
                  <a:pt x="1371" y="1088"/>
                </a:lnTo>
                <a:lnTo>
                  <a:pt x="1371" y="1088"/>
                </a:lnTo>
                <a:lnTo>
                  <a:pt x="1370" y="1088"/>
                </a:lnTo>
                <a:lnTo>
                  <a:pt x="1369" y="1087"/>
                </a:lnTo>
                <a:lnTo>
                  <a:pt x="1370" y="1085"/>
                </a:lnTo>
                <a:lnTo>
                  <a:pt x="1369" y="1087"/>
                </a:lnTo>
                <a:lnTo>
                  <a:pt x="1370" y="1088"/>
                </a:lnTo>
                <a:close/>
                <a:moveTo>
                  <a:pt x="1367" y="1549"/>
                </a:moveTo>
                <a:lnTo>
                  <a:pt x="1362" y="1545"/>
                </a:lnTo>
                <a:lnTo>
                  <a:pt x="1360" y="1539"/>
                </a:lnTo>
                <a:lnTo>
                  <a:pt x="1362" y="1545"/>
                </a:lnTo>
                <a:lnTo>
                  <a:pt x="1367" y="1549"/>
                </a:lnTo>
                <a:lnTo>
                  <a:pt x="1373" y="1560"/>
                </a:lnTo>
                <a:lnTo>
                  <a:pt x="1380" y="1572"/>
                </a:lnTo>
                <a:lnTo>
                  <a:pt x="1373" y="1560"/>
                </a:lnTo>
                <a:lnTo>
                  <a:pt x="1367" y="1549"/>
                </a:lnTo>
                <a:close/>
                <a:moveTo>
                  <a:pt x="1354" y="1553"/>
                </a:moveTo>
                <a:lnTo>
                  <a:pt x="1356" y="1556"/>
                </a:lnTo>
                <a:lnTo>
                  <a:pt x="1359" y="1558"/>
                </a:lnTo>
                <a:lnTo>
                  <a:pt x="1359" y="1558"/>
                </a:lnTo>
                <a:lnTo>
                  <a:pt x="1360" y="1558"/>
                </a:lnTo>
                <a:lnTo>
                  <a:pt x="1359" y="1558"/>
                </a:lnTo>
                <a:lnTo>
                  <a:pt x="1359" y="1558"/>
                </a:lnTo>
                <a:lnTo>
                  <a:pt x="1356" y="1556"/>
                </a:lnTo>
                <a:lnTo>
                  <a:pt x="1354" y="1553"/>
                </a:lnTo>
                <a:close/>
                <a:moveTo>
                  <a:pt x="1353" y="1000"/>
                </a:moveTo>
                <a:lnTo>
                  <a:pt x="1353" y="1002"/>
                </a:lnTo>
                <a:lnTo>
                  <a:pt x="1353" y="1006"/>
                </a:lnTo>
                <a:lnTo>
                  <a:pt x="1366" y="1007"/>
                </a:lnTo>
                <a:lnTo>
                  <a:pt x="1378" y="1008"/>
                </a:lnTo>
                <a:lnTo>
                  <a:pt x="1366" y="1007"/>
                </a:lnTo>
                <a:lnTo>
                  <a:pt x="1353" y="1006"/>
                </a:lnTo>
                <a:lnTo>
                  <a:pt x="1353" y="1002"/>
                </a:lnTo>
                <a:lnTo>
                  <a:pt x="1353" y="1000"/>
                </a:lnTo>
                <a:close/>
                <a:moveTo>
                  <a:pt x="1357" y="994"/>
                </a:moveTo>
                <a:lnTo>
                  <a:pt x="1355" y="993"/>
                </a:lnTo>
                <a:lnTo>
                  <a:pt x="1354" y="993"/>
                </a:lnTo>
                <a:lnTo>
                  <a:pt x="1355" y="993"/>
                </a:lnTo>
                <a:lnTo>
                  <a:pt x="1357" y="994"/>
                </a:lnTo>
                <a:close/>
                <a:moveTo>
                  <a:pt x="1404" y="1038"/>
                </a:moveTo>
                <a:lnTo>
                  <a:pt x="1404" y="1036"/>
                </a:lnTo>
                <a:lnTo>
                  <a:pt x="1404" y="1036"/>
                </a:lnTo>
                <a:lnTo>
                  <a:pt x="1404" y="1036"/>
                </a:lnTo>
                <a:lnTo>
                  <a:pt x="1404" y="1038"/>
                </a:lnTo>
                <a:lnTo>
                  <a:pt x="1401" y="1040"/>
                </a:lnTo>
                <a:lnTo>
                  <a:pt x="1399" y="1043"/>
                </a:lnTo>
                <a:lnTo>
                  <a:pt x="1401" y="1040"/>
                </a:lnTo>
                <a:lnTo>
                  <a:pt x="1404" y="1038"/>
                </a:lnTo>
                <a:close/>
                <a:moveTo>
                  <a:pt x="1404" y="1034"/>
                </a:moveTo>
                <a:lnTo>
                  <a:pt x="1402" y="1033"/>
                </a:lnTo>
                <a:lnTo>
                  <a:pt x="1401" y="1032"/>
                </a:lnTo>
                <a:lnTo>
                  <a:pt x="1402" y="1033"/>
                </a:lnTo>
                <a:lnTo>
                  <a:pt x="1404" y="1034"/>
                </a:lnTo>
                <a:close/>
                <a:moveTo>
                  <a:pt x="1405" y="1027"/>
                </a:moveTo>
                <a:lnTo>
                  <a:pt x="1405" y="1027"/>
                </a:lnTo>
                <a:lnTo>
                  <a:pt x="1405" y="1026"/>
                </a:lnTo>
                <a:lnTo>
                  <a:pt x="1405" y="1027"/>
                </a:lnTo>
                <a:lnTo>
                  <a:pt x="1405" y="1027"/>
                </a:lnTo>
                <a:close/>
                <a:moveTo>
                  <a:pt x="1413" y="964"/>
                </a:moveTo>
                <a:lnTo>
                  <a:pt x="1413" y="962"/>
                </a:lnTo>
                <a:lnTo>
                  <a:pt x="1415" y="962"/>
                </a:lnTo>
                <a:lnTo>
                  <a:pt x="1413" y="962"/>
                </a:lnTo>
                <a:lnTo>
                  <a:pt x="1413" y="964"/>
                </a:lnTo>
                <a:lnTo>
                  <a:pt x="1410" y="963"/>
                </a:lnTo>
                <a:lnTo>
                  <a:pt x="1406" y="963"/>
                </a:lnTo>
                <a:lnTo>
                  <a:pt x="1410" y="963"/>
                </a:lnTo>
                <a:lnTo>
                  <a:pt x="1413" y="964"/>
                </a:lnTo>
                <a:close/>
                <a:moveTo>
                  <a:pt x="1418" y="965"/>
                </a:moveTo>
                <a:lnTo>
                  <a:pt x="1418" y="967"/>
                </a:lnTo>
                <a:lnTo>
                  <a:pt x="1417" y="970"/>
                </a:lnTo>
                <a:lnTo>
                  <a:pt x="1418" y="967"/>
                </a:lnTo>
                <a:lnTo>
                  <a:pt x="1418" y="965"/>
                </a:lnTo>
                <a:close/>
                <a:moveTo>
                  <a:pt x="1418" y="918"/>
                </a:moveTo>
                <a:lnTo>
                  <a:pt x="1417" y="916"/>
                </a:lnTo>
                <a:lnTo>
                  <a:pt x="1415" y="915"/>
                </a:lnTo>
                <a:lnTo>
                  <a:pt x="1417" y="916"/>
                </a:lnTo>
                <a:lnTo>
                  <a:pt x="1418" y="918"/>
                </a:lnTo>
                <a:close/>
                <a:moveTo>
                  <a:pt x="1336" y="1033"/>
                </a:moveTo>
                <a:lnTo>
                  <a:pt x="1332" y="1038"/>
                </a:lnTo>
                <a:lnTo>
                  <a:pt x="1328" y="1042"/>
                </a:lnTo>
                <a:lnTo>
                  <a:pt x="1332" y="1038"/>
                </a:lnTo>
                <a:lnTo>
                  <a:pt x="1336" y="1033"/>
                </a:lnTo>
                <a:lnTo>
                  <a:pt x="1337" y="1029"/>
                </a:lnTo>
                <a:lnTo>
                  <a:pt x="1340" y="1027"/>
                </a:lnTo>
                <a:lnTo>
                  <a:pt x="1337" y="1029"/>
                </a:lnTo>
                <a:lnTo>
                  <a:pt x="1336" y="1033"/>
                </a:lnTo>
                <a:close/>
                <a:moveTo>
                  <a:pt x="1326" y="1120"/>
                </a:moveTo>
                <a:lnTo>
                  <a:pt x="1332" y="1125"/>
                </a:lnTo>
                <a:lnTo>
                  <a:pt x="1337" y="1129"/>
                </a:lnTo>
                <a:lnTo>
                  <a:pt x="1332" y="1125"/>
                </a:lnTo>
                <a:lnTo>
                  <a:pt x="1326" y="1120"/>
                </a:lnTo>
                <a:close/>
                <a:moveTo>
                  <a:pt x="1335" y="1383"/>
                </a:moveTo>
                <a:lnTo>
                  <a:pt x="1336" y="1382"/>
                </a:lnTo>
                <a:lnTo>
                  <a:pt x="1337" y="1379"/>
                </a:lnTo>
                <a:lnTo>
                  <a:pt x="1336" y="1382"/>
                </a:lnTo>
                <a:lnTo>
                  <a:pt x="1335" y="1383"/>
                </a:lnTo>
                <a:close/>
                <a:moveTo>
                  <a:pt x="1320" y="1173"/>
                </a:move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lnTo>
                  <a:pt x="1320" y="1173"/>
                </a:lnTo>
                <a:close/>
                <a:moveTo>
                  <a:pt x="1304" y="1127"/>
                </a:moveTo>
                <a:lnTo>
                  <a:pt x="1299" y="1131"/>
                </a:lnTo>
                <a:lnTo>
                  <a:pt x="1294" y="1133"/>
                </a:lnTo>
                <a:lnTo>
                  <a:pt x="1299" y="1131"/>
                </a:lnTo>
                <a:lnTo>
                  <a:pt x="1304" y="1127"/>
                </a:lnTo>
                <a:lnTo>
                  <a:pt x="1311" y="1124"/>
                </a:lnTo>
                <a:lnTo>
                  <a:pt x="1319" y="1119"/>
                </a:lnTo>
                <a:lnTo>
                  <a:pt x="1311" y="1124"/>
                </a:lnTo>
                <a:lnTo>
                  <a:pt x="1304" y="1127"/>
                </a:lnTo>
                <a:close/>
                <a:moveTo>
                  <a:pt x="1314" y="1126"/>
                </a:moveTo>
                <a:lnTo>
                  <a:pt x="1314" y="1126"/>
                </a:lnTo>
                <a:lnTo>
                  <a:pt x="1315" y="1125"/>
                </a:lnTo>
                <a:lnTo>
                  <a:pt x="1314" y="1126"/>
                </a:lnTo>
                <a:lnTo>
                  <a:pt x="1314" y="1126"/>
                </a:lnTo>
                <a:close/>
                <a:moveTo>
                  <a:pt x="1311" y="1202"/>
                </a:moveTo>
                <a:lnTo>
                  <a:pt x="1312" y="1203"/>
                </a:lnTo>
                <a:lnTo>
                  <a:pt x="1313" y="1203"/>
                </a:lnTo>
                <a:lnTo>
                  <a:pt x="1312" y="1203"/>
                </a:lnTo>
                <a:lnTo>
                  <a:pt x="1311" y="1202"/>
                </a:lnTo>
                <a:close/>
                <a:moveTo>
                  <a:pt x="1298" y="1196"/>
                </a:moveTo>
                <a:lnTo>
                  <a:pt x="1299" y="1196"/>
                </a:lnTo>
                <a:lnTo>
                  <a:pt x="1299" y="1197"/>
                </a:lnTo>
                <a:lnTo>
                  <a:pt x="1299" y="1196"/>
                </a:lnTo>
                <a:lnTo>
                  <a:pt x="1298" y="1196"/>
                </a:lnTo>
                <a:close/>
                <a:moveTo>
                  <a:pt x="1298" y="1519"/>
                </a:moveTo>
                <a:lnTo>
                  <a:pt x="1302" y="1525"/>
                </a:lnTo>
                <a:lnTo>
                  <a:pt x="1306" y="1532"/>
                </a:lnTo>
                <a:lnTo>
                  <a:pt x="1302" y="1525"/>
                </a:lnTo>
                <a:lnTo>
                  <a:pt x="1298" y="1519"/>
                </a:lnTo>
                <a:close/>
                <a:moveTo>
                  <a:pt x="1286" y="1145"/>
                </a:moveTo>
                <a:lnTo>
                  <a:pt x="1283" y="1146"/>
                </a:lnTo>
                <a:lnTo>
                  <a:pt x="1280" y="1147"/>
                </a:lnTo>
                <a:lnTo>
                  <a:pt x="1283" y="1146"/>
                </a:lnTo>
                <a:lnTo>
                  <a:pt x="1286" y="1145"/>
                </a:lnTo>
                <a:lnTo>
                  <a:pt x="1287" y="1147"/>
                </a:lnTo>
                <a:lnTo>
                  <a:pt x="1288" y="1150"/>
                </a:lnTo>
                <a:lnTo>
                  <a:pt x="1291" y="1151"/>
                </a:lnTo>
                <a:lnTo>
                  <a:pt x="1293" y="1152"/>
                </a:lnTo>
                <a:lnTo>
                  <a:pt x="1291" y="1151"/>
                </a:lnTo>
                <a:lnTo>
                  <a:pt x="1288" y="1150"/>
                </a:lnTo>
                <a:lnTo>
                  <a:pt x="1287" y="1147"/>
                </a:lnTo>
                <a:lnTo>
                  <a:pt x="1286" y="1145"/>
                </a:lnTo>
                <a:close/>
                <a:moveTo>
                  <a:pt x="1290" y="1195"/>
                </a:moveTo>
                <a:lnTo>
                  <a:pt x="1287" y="1195"/>
                </a:lnTo>
                <a:lnTo>
                  <a:pt x="1286" y="1195"/>
                </a:lnTo>
                <a:lnTo>
                  <a:pt x="1283" y="1195"/>
                </a:lnTo>
                <a:lnTo>
                  <a:pt x="1279" y="1197"/>
                </a:lnTo>
                <a:lnTo>
                  <a:pt x="1283" y="1195"/>
                </a:lnTo>
                <a:lnTo>
                  <a:pt x="1286" y="1195"/>
                </a:lnTo>
                <a:lnTo>
                  <a:pt x="1287" y="1193"/>
                </a:lnTo>
                <a:lnTo>
                  <a:pt x="1288" y="1193"/>
                </a:lnTo>
                <a:lnTo>
                  <a:pt x="1287" y="1193"/>
                </a:lnTo>
                <a:lnTo>
                  <a:pt x="1286" y="1195"/>
                </a:lnTo>
                <a:lnTo>
                  <a:pt x="1287" y="1195"/>
                </a:lnTo>
                <a:lnTo>
                  <a:pt x="1290" y="1195"/>
                </a:lnTo>
                <a:lnTo>
                  <a:pt x="1291" y="1195"/>
                </a:lnTo>
                <a:lnTo>
                  <a:pt x="1292" y="1195"/>
                </a:lnTo>
                <a:lnTo>
                  <a:pt x="1291" y="1195"/>
                </a:lnTo>
                <a:lnTo>
                  <a:pt x="1290" y="1195"/>
                </a:lnTo>
                <a:close/>
                <a:moveTo>
                  <a:pt x="1273" y="1202"/>
                </a:moveTo>
                <a:lnTo>
                  <a:pt x="1273" y="1201"/>
                </a:lnTo>
                <a:lnTo>
                  <a:pt x="1274" y="1201"/>
                </a:lnTo>
                <a:lnTo>
                  <a:pt x="1273" y="1201"/>
                </a:lnTo>
                <a:lnTo>
                  <a:pt x="1273" y="1202"/>
                </a:lnTo>
                <a:close/>
                <a:moveTo>
                  <a:pt x="1265" y="1020"/>
                </a:moveTo>
                <a:lnTo>
                  <a:pt x="1264" y="1022"/>
                </a:lnTo>
                <a:lnTo>
                  <a:pt x="1264" y="1024"/>
                </a:lnTo>
                <a:lnTo>
                  <a:pt x="1264" y="1022"/>
                </a:lnTo>
                <a:lnTo>
                  <a:pt x="1265" y="1020"/>
                </a:lnTo>
                <a:lnTo>
                  <a:pt x="1256" y="1019"/>
                </a:lnTo>
                <a:lnTo>
                  <a:pt x="1247" y="1019"/>
                </a:lnTo>
                <a:lnTo>
                  <a:pt x="1244" y="1020"/>
                </a:lnTo>
                <a:lnTo>
                  <a:pt x="1240" y="1022"/>
                </a:lnTo>
                <a:lnTo>
                  <a:pt x="1237" y="1025"/>
                </a:lnTo>
                <a:lnTo>
                  <a:pt x="1233" y="1028"/>
                </a:lnTo>
                <a:lnTo>
                  <a:pt x="1228" y="1032"/>
                </a:lnTo>
                <a:lnTo>
                  <a:pt x="1222" y="1034"/>
                </a:lnTo>
                <a:lnTo>
                  <a:pt x="1218" y="1034"/>
                </a:lnTo>
                <a:lnTo>
                  <a:pt x="1217" y="1038"/>
                </a:lnTo>
                <a:lnTo>
                  <a:pt x="1224" y="1038"/>
                </a:lnTo>
                <a:lnTo>
                  <a:pt x="1230" y="1038"/>
                </a:lnTo>
                <a:lnTo>
                  <a:pt x="1224" y="1038"/>
                </a:lnTo>
                <a:lnTo>
                  <a:pt x="1217" y="1038"/>
                </a:lnTo>
                <a:lnTo>
                  <a:pt x="1215" y="1038"/>
                </a:lnTo>
                <a:lnTo>
                  <a:pt x="1212" y="1038"/>
                </a:lnTo>
                <a:lnTo>
                  <a:pt x="1209" y="1036"/>
                </a:lnTo>
                <a:lnTo>
                  <a:pt x="1207" y="1035"/>
                </a:lnTo>
                <a:lnTo>
                  <a:pt x="1209" y="1031"/>
                </a:lnTo>
                <a:lnTo>
                  <a:pt x="1211" y="1026"/>
                </a:lnTo>
                <a:lnTo>
                  <a:pt x="1216" y="1024"/>
                </a:lnTo>
                <a:lnTo>
                  <a:pt x="1222" y="1020"/>
                </a:lnTo>
                <a:lnTo>
                  <a:pt x="1228" y="1020"/>
                </a:lnTo>
                <a:lnTo>
                  <a:pt x="1235" y="1019"/>
                </a:lnTo>
                <a:lnTo>
                  <a:pt x="1236" y="1016"/>
                </a:lnTo>
                <a:lnTo>
                  <a:pt x="1238" y="1015"/>
                </a:lnTo>
                <a:lnTo>
                  <a:pt x="1236" y="1016"/>
                </a:lnTo>
                <a:lnTo>
                  <a:pt x="1235" y="1019"/>
                </a:lnTo>
                <a:lnTo>
                  <a:pt x="1237" y="1019"/>
                </a:lnTo>
                <a:lnTo>
                  <a:pt x="1239" y="1019"/>
                </a:lnTo>
                <a:lnTo>
                  <a:pt x="1240" y="1018"/>
                </a:lnTo>
                <a:lnTo>
                  <a:pt x="1243" y="1015"/>
                </a:lnTo>
                <a:lnTo>
                  <a:pt x="1249" y="1015"/>
                </a:lnTo>
                <a:lnTo>
                  <a:pt x="1256" y="1015"/>
                </a:lnTo>
                <a:lnTo>
                  <a:pt x="1260" y="1016"/>
                </a:lnTo>
                <a:lnTo>
                  <a:pt x="1265" y="1019"/>
                </a:lnTo>
                <a:lnTo>
                  <a:pt x="1265" y="1020"/>
                </a:lnTo>
                <a:lnTo>
                  <a:pt x="1265" y="1020"/>
                </a:lnTo>
                <a:close/>
                <a:moveTo>
                  <a:pt x="1264" y="1440"/>
                </a:moveTo>
                <a:lnTo>
                  <a:pt x="1263" y="1440"/>
                </a:lnTo>
                <a:lnTo>
                  <a:pt x="1263" y="1439"/>
                </a:lnTo>
                <a:lnTo>
                  <a:pt x="1263" y="1440"/>
                </a:lnTo>
                <a:lnTo>
                  <a:pt x="1264" y="1440"/>
                </a:lnTo>
                <a:close/>
                <a:moveTo>
                  <a:pt x="1261" y="1599"/>
                </a:move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lnTo>
                  <a:pt x="1261" y="1599"/>
                </a:lnTo>
                <a:close/>
                <a:moveTo>
                  <a:pt x="1240" y="1140"/>
                </a:moveTo>
                <a:lnTo>
                  <a:pt x="1236" y="1144"/>
                </a:lnTo>
                <a:lnTo>
                  <a:pt x="1229" y="1146"/>
                </a:lnTo>
                <a:lnTo>
                  <a:pt x="1236" y="1144"/>
                </a:lnTo>
                <a:lnTo>
                  <a:pt x="1240" y="1140"/>
                </a:lnTo>
                <a:lnTo>
                  <a:pt x="1244" y="1139"/>
                </a:lnTo>
                <a:lnTo>
                  <a:pt x="1247" y="1139"/>
                </a:lnTo>
                <a:lnTo>
                  <a:pt x="1244" y="1139"/>
                </a:lnTo>
                <a:lnTo>
                  <a:pt x="1240" y="1140"/>
                </a:lnTo>
                <a:close/>
                <a:moveTo>
                  <a:pt x="1216" y="1057"/>
                </a:moveTo>
                <a:lnTo>
                  <a:pt x="1216" y="1057"/>
                </a:lnTo>
                <a:lnTo>
                  <a:pt x="1216" y="1056"/>
                </a:lnTo>
                <a:lnTo>
                  <a:pt x="1216" y="1057"/>
                </a:lnTo>
                <a:lnTo>
                  <a:pt x="1216" y="1057"/>
                </a:lnTo>
                <a:close/>
                <a:moveTo>
                  <a:pt x="1205" y="995"/>
                </a:moveTo>
                <a:lnTo>
                  <a:pt x="1207" y="995"/>
                </a:lnTo>
                <a:lnTo>
                  <a:pt x="1208" y="995"/>
                </a:lnTo>
                <a:lnTo>
                  <a:pt x="1211" y="993"/>
                </a:lnTo>
                <a:lnTo>
                  <a:pt x="1215" y="991"/>
                </a:lnTo>
                <a:lnTo>
                  <a:pt x="1211" y="993"/>
                </a:lnTo>
                <a:lnTo>
                  <a:pt x="1208" y="995"/>
                </a:lnTo>
                <a:lnTo>
                  <a:pt x="1207" y="995"/>
                </a:lnTo>
                <a:lnTo>
                  <a:pt x="1205" y="995"/>
                </a:lnTo>
                <a:close/>
                <a:moveTo>
                  <a:pt x="1205" y="1036"/>
                </a:move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lnTo>
                  <a:pt x="1205" y="1036"/>
                </a:lnTo>
                <a:close/>
                <a:moveTo>
                  <a:pt x="1236" y="985"/>
                </a:moveTo>
                <a:lnTo>
                  <a:pt x="1236" y="983"/>
                </a:lnTo>
                <a:lnTo>
                  <a:pt x="1237" y="980"/>
                </a:lnTo>
                <a:lnTo>
                  <a:pt x="1236" y="983"/>
                </a:lnTo>
                <a:lnTo>
                  <a:pt x="1236" y="985"/>
                </a:lnTo>
                <a:lnTo>
                  <a:pt x="1233" y="986"/>
                </a:lnTo>
                <a:lnTo>
                  <a:pt x="1231" y="986"/>
                </a:lnTo>
                <a:lnTo>
                  <a:pt x="1233" y="986"/>
                </a:lnTo>
                <a:lnTo>
                  <a:pt x="1236" y="985"/>
                </a:lnTo>
                <a:close/>
                <a:moveTo>
                  <a:pt x="1290" y="1071"/>
                </a:moveTo>
                <a:lnTo>
                  <a:pt x="1288" y="1073"/>
                </a:lnTo>
                <a:lnTo>
                  <a:pt x="1286" y="1073"/>
                </a:lnTo>
                <a:lnTo>
                  <a:pt x="1284" y="1075"/>
                </a:lnTo>
                <a:lnTo>
                  <a:pt x="1281" y="1076"/>
                </a:lnTo>
                <a:lnTo>
                  <a:pt x="1284" y="1075"/>
                </a:lnTo>
                <a:lnTo>
                  <a:pt x="1286" y="1073"/>
                </a:lnTo>
                <a:lnTo>
                  <a:pt x="1288" y="1073"/>
                </a:lnTo>
                <a:lnTo>
                  <a:pt x="1290" y="1071"/>
                </a:lnTo>
                <a:close/>
                <a:moveTo>
                  <a:pt x="1297" y="967"/>
                </a:moveTo>
                <a:lnTo>
                  <a:pt x="1285" y="970"/>
                </a:lnTo>
                <a:lnTo>
                  <a:pt x="1273" y="973"/>
                </a:lnTo>
                <a:lnTo>
                  <a:pt x="1261" y="977"/>
                </a:lnTo>
                <a:lnTo>
                  <a:pt x="1250" y="980"/>
                </a:lnTo>
                <a:lnTo>
                  <a:pt x="1261" y="977"/>
                </a:lnTo>
                <a:lnTo>
                  <a:pt x="1273" y="973"/>
                </a:lnTo>
                <a:lnTo>
                  <a:pt x="1285" y="970"/>
                </a:lnTo>
                <a:lnTo>
                  <a:pt x="1297" y="967"/>
                </a:lnTo>
                <a:close/>
                <a:moveTo>
                  <a:pt x="1260" y="918"/>
                </a:moveTo>
                <a:lnTo>
                  <a:pt x="1259" y="914"/>
                </a:lnTo>
                <a:lnTo>
                  <a:pt x="1256" y="910"/>
                </a:lnTo>
                <a:lnTo>
                  <a:pt x="1259" y="914"/>
                </a:lnTo>
                <a:lnTo>
                  <a:pt x="1260" y="918"/>
                </a:lnTo>
                <a:close/>
                <a:moveTo>
                  <a:pt x="1263" y="930"/>
                </a:moveTo>
                <a:lnTo>
                  <a:pt x="1263" y="930"/>
                </a:lnTo>
                <a:lnTo>
                  <a:pt x="1260" y="930"/>
                </a:lnTo>
                <a:lnTo>
                  <a:pt x="1259" y="930"/>
                </a:lnTo>
                <a:lnTo>
                  <a:pt x="1260" y="930"/>
                </a:lnTo>
                <a:lnTo>
                  <a:pt x="1263" y="930"/>
                </a:lnTo>
                <a:close/>
                <a:moveTo>
                  <a:pt x="1267" y="942"/>
                </a:moveTo>
                <a:lnTo>
                  <a:pt x="1265" y="938"/>
                </a:lnTo>
                <a:lnTo>
                  <a:pt x="1264" y="934"/>
                </a:lnTo>
                <a:lnTo>
                  <a:pt x="1265" y="938"/>
                </a:lnTo>
                <a:lnTo>
                  <a:pt x="1267" y="942"/>
                </a:lnTo>
                <a:close/>
                <a:moveTo>
                  <a:pt x="1268" y="928"/>
                </a:moveTo>
                <a:lnTo>
                  <a:pt x="1283" y="928"/>
                </a:lnTo>
                <a:lnTo>
                  <a:pt x="1298" y="927"/>
                </a:lnTo>
                <a:lnTo>
                  <a:pt x="1283" y="928"/>
                </a:lnTo>
                <a:lnTo>
                  <a:pt x="1268" y="928"/>
                </a:lnTo>
                <a:close/>
                <a:moveTo>
                  <a:pt x="1318" y="1057"/>
                </a:moveTo>
                <a:lnTo>
                  <a:pt x="1315" y="1061"/>
                </a:lnTo>
                <a:lnTo>
                  <a:pt x="1314" y="1064"/>
                </a:lnTo>
                <a:lnTo>
                  <a:pt x="1315" y="1061"/>
                </a:lnTo>
                <a:lnTo>
                  <a:pt x="1318" y="1057"/>
                </a:lnTo>
                <a:close/>
                <a:moveTo>
                  <a:pt x="1190" y="1185"/>
                </a:moveTo>
                <a:lnTo>
                  <a:pt x="1188" y="1185"/>
                </a:lnTo>
                <a:lnTo>
                  <a:pt x="1185" y="1183"/>
                </a:lnTo>
                <a:lnTo>
                  <a:pt x="1188" y="1185"/>
                </a:lnTo>
                <a:lnTo>
                  <a:pt x="1190" y="1185"/>
                </a:lnTo>
                <a:lnTo>
                  <a:pt x="1190" y="1185"/>
                </a:lnTo>
                <a:lnTo>
                  <a:pt x="1190" y="1185"/>
                </a:lnTo>
                <a:close/>
                <a:moveTo>
                  <a:pt x="1146" y="1204"/>
                </a:moveTo>
                <a:lnTo>
                  <a:pt x="1129" y="1214"/>
                </a:lnTo>
                <a:lnTo>
                  <a:pt x="1113" y="1223"/>
                </a:lnTo>
                <a:lnTo>
                  <a:pt x="1097" y="1234"/>
                </a:lnTo>
                <a:lnTo>
                  <a:pt x="1081" y="1244"/>
                </a:lnTo>
                <a:lnTo>
                  <a:pt x="1097" y="1234"/>
                </a:lnTo>
                <a:lnTo>
                  <a:pt x="1113" y="1223"/>
                </a:lnTo>
                <a:lnTo>
                  <a:pt x="1129" y="1214"/>
                </a:lnTo>
                <a:lnTo>
                  <a:pt x="1146" y="1204"/>
                </a:lnTo>
                <a:lnTo>
                  <a:pt x="1146" y="1204"/>
                </a:lnTo>
                <a:lnTo>
                  <a:pt x="1155" y="1200"/>
                </a:lnTo>
                <a:lnTo>
                  <a:pt x="1164" y="1195"/>
                </a:lnTo>
                <a:lnTo>
                  <a:pt x="1174" y="1189"/>
                </a:lnTo>
                <a:lnTo>
                  <a:pt x="1184" y="1185"/>
                </a:lnTo>
                <a:lnTo>
                  <a:pt x="1174" y="1189"/>
                </a:lnTo>
                <a:lnTo>
                  <a:pt x="1164" y="1195"/>
                </a:lnTo>
                <a:lnTo>
                  <a:pt x="1155" y="1200"/>
                </a:lnTo>
                <a:lnTo>
                  <a:pt x="1146" y="1204"/>
                </a:lnTo>
                <a:close/>
                <a:moveTo>
                  <a:pt x="1162" y="1203"/>
                </a:moveTo>
                <a:lnTo>
                  <a:pt x="1160" y="1204"/>
                </a:lnTo>
                <a:lnTo>
                  <a:pt x="1157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6" y="1207"/>
                </a:lnTo>
                <a:lnTo>
                  <a:pt x="1157" y="1207"/>
                </a:lnTo>
                <a:lnTo>
                  <a:pt x="1160" y="1204"/>
                </a:lnTo>
                <a:lnTo>
                  <a:pt x="1162" y="1203"/>
                </a:lnTo>
                <a:lnTo>
                  <a:pt x="1164" y="1201"/>
                </a:lnTo>
                <a:lnTo>
                  <a:pt x="1167" y="1200"/>
                </a:lnTo>
                <a:lnTo>
                  <a:pt x="1164" y="1201"/>
                </a:lnTo>
                <a:lnTo>
                  <a:pt x="1162" y="1203"/>
                </a:lnTo>
                <a:close/>
                <a:moveTo>
                  <a:pt x="1161" y="1497"/>
                </a:moveTo>
                <a:lnTo>
                  <a:pt x="1163" y="1493"/>
                </a:lnTo>
                <a:lnTo>
                  <a:pt x="1166" y="1489"/>
                </a:lnTo>
                <a:lnTo>
                  <a:pt x="1163" y="1493"/>
                </a:lnTo>
                <a:lnTo>
                  <a:pt x="1161" y="1497"/>
                </a:lnTo>
                <a:close/>
                <a:moveTo>
                  <a:pt x="1160" y="1497"/>
                </a:moveTo>
                <a:lnTo>
                  <a:pt x="1160" y="1497"/>
                </a:lnTo>
                <a:lnTo>
                  <a:pt x="1160" y="1496"/>
                </a:lnTo>
                <a:lnTo>
                  <a:pt x="1160" y="1497"/>
                </a:lnTo>
                <a:lnTo>
                  <a:pt x="1160" y="1497"/>
                </a:lnTo>
                <a:lnTo>
                  <a:pt x="1160" y="1497"/>
                </a:lnTo>
                <a:close/>
                <a:moveTo>
                  <a:pt x="1080" y="984"/>
                </a:moveTo>
                <a:lnTo>
                  <a:pt x="1080" y="985"/>
                </a:lnTo>
                <a:lnTo>
                  <a:pt x="1080" y="984"/>
                </a:lnTo>
                <a:close/>
                <a:moveTo>
                  <a:pt x="1074" y="990"/>
                </a:moveTo>
                <a:lnTo>
                  <a:pt x="1074" y="990"/>
                </a:lnTo>
                <a:lnTo>
                  <a:pt x="1074" y="990"/>
                </a:lnTo>
                <a:lnTo>
                  <a:pt x="1074" y="990"/>
                </a:lnTo>
                <a:lnTo>
                  <a:pt x="1076" y="987"/>
                </a:lnTo>
                <a:lnTo>
                  <a:pt x="1077" y="985"/>
                </a:lnTo>
                <a:lnTo>
                  <a:pt x="1076" y="987"/>
                </a:lnTo>
                <a:lnTo>
                  <a:pt x="1074" y="990"/>
                </a:lnTo>
                <a:close/>
                <a:moveTo>
                  <a:pt x="1069" y="995"/>
                </a:moveTo>
                <a:lnTo>
                  <a:pt x="1069" y="995"/>
                </a:lnTo>
                <a:lnTo>
                  <a:pt x="1069" y="995"/>
                </a:lnTo>
                <a:lnTo>
                  <a:pt x="1069" y="995"/>
                </a:lnTo>
                <a:lnTo>
                  <a:pt x="1070" y="992"/>
                </a:lnTo>
                <a:lnTo>
                  <a:pt x="1072" y="990"/>
                </a:lnTo>
                <a:lnTo>
                  <a:pt x="1070" y="992"/>
                </a:lnTo>
                <a:lnTo>
                  <a:pt x="1069" y="995"/>
                </a:lnTo>
                <a:close/>
                <a:moveTo>
                  <a:pt x="1061" y="1001"/>
                </a:moveTo>
                <a:lnTo>
                  <a:pt x="1061" y="1001"/>
                </a:lnTo>
                <a:lnTo>
                  <a:pt x="1061" y="1001"/>
                </a:lnTo>
                <a:lnTo>
                  <a:pt x="1061" y="1001"/>
                </a:lnTo>
                <a:close/>
                <a:moveTo>
                  <a:pt x="1057" y="1006"/>
                </a:moveTo>
                <a:lnTo>
                  <a:pt x="1057" y="1006"/>
                </a:lnTo>
                <a:lnTo>
                  <a:pt x="1057" y="1007"/>
                </a:lnTo>
                <a:lnTo>
                  <a:pt x="1057" y="1006"/>
                </a:lnTo>
                <a:lnTo>
                  <a:pt x="1057" y="1005"/>
                </a:lnTo>
                <a:lnTo>
                  <a:pt x="1057" y="1002"/>
                </a:lnTo>
                <a:lnTo>
                  <a:pt x="1058" y="1002"/>
                </a:lnTo>
                <a:lnTo>
                  <a:pt x="1060" y="1001"/>
                </a:lnTo>
                <a:lnTo>
                  <a:pt x="1058" y="1002"/>
                </a:lnTo>
                <a:lnTo>
                  <a:pt x="1057" y="1002"/>
                </a:lnTo>
                <a:lnTo>
                  <a:pt x="1057" y="1005"/>
                </a:lnTo>
                <a:lnTo>
                  <a:pt x="1057" y="1006"/>
                </a:lnTo>
                <a:close/>
                <a:moveTo>
                  <a:pt x="1087" y="978"/>
                </a:moveTo>
                <a:lnTo>
                  <a:pt x="1088" y="976"/>
                </a:lnTo>
                <a:lnTo>
                  <a:pt x="1090" y="974"/>
                </a:lnTo>
                <a:lnTo>
                  <a:pt x="1088" y="976"/>
                </a:lnTo>
                <a:lnTo>
                  <a:pt x="1087" y="978"/>
                </a:lnTo>
                <a:lnTo>
                  <a:pt x="1086" y="979"/>
                </a:lnTo>
                <a:lnTo>
                  <a:pt x="1085" y="980"/>
                </a:lnTo>
                <a:lnTo>
                  <a:pt x="1086" y="979"/>
                </a:lnTo>
                <a:lnTo>
                  <a:pt x="1087" y="978"/>
                </a:lnTo>
                <a:close/>
                <a:moveTo>
                  <a:pt x="1109" y="1059"/>
                </a:moveTo>
                <a:lnTo>
                  <a:pt x="1107" y="1062"/>
                </a:lnTo>
                <a:lnTo>
                  <a:pt x="1105" y="1064"/>
                </a:lnTo>
                <a:lnTo>
                  <a:pt x="1107" y="1062"/>
                </a:lnTo>
                <a:lnTo>
                  <a:pt x="1109" y="1059"/>
                </a:lnTo>
                <a:close/>
                <a:moveTo>
                  <a:pt x="1109" y="962"/>
                </a:moveTo>
                <a:lnTo>
                  <a:pt x="1107" y="960"/>
                </a:lnTo>
                <a:lnTo>
                  <a:pt x="1106" y="959"/>
                </a:lnTo>
                <a:lnTo>
                  <a:pt x="1107" y="960"/>
                </a:lnTo>
                <a:lnTo>
                  <a:pt x="1109" y="962"/>
                </a:lnTo>
                <a:close/>
                <a:moveTo>
                  <a:pt x="1119" y="1049"/>
                </a:moveTo>
                <a:lnTo>
                  <a:pt x="1116" y="1053"/>
                </a:lnTo>
                <a:lnTo>
                  <a:pt x="1113" y="1056"/>
                </a:lnTo>
                <a:lnTo>
                  <a:pt x="1116" y="1053"/>
                </a:lnTo>
                <a:lnTo>
                  <a:pt x="1119" y="1049"/>
                </a:lnTo>
                <a:close/>
                <a:moveTo>
                  <a:pt x="1134" y="944"/>
                </a:moveTo>
                <a:lnTo>
                  <a:pt x="1133" y="944"/>
                </a:lnTo>
                <a:lnTo>
                  <a:pt x="1133" y="945"/>
                </a:lnTo>
                <a:lnTo>
                  <a:pt x="1133" y="944"/>
                </a:lnTo>
                <a:lnTo>
                  <a:pt x="1134" y="944"/>
                </a:lnTo>
                <a:close/>
                <a:moveTo>
                  <a:pt x="1012" y="1050"/>
                </a:moveTo>
                <a:lnTo>
                  <a:pt x="1012" y="1049"/>
                </a:lnTo>
                <a:lnTo>
                  <a:pt x="1012" y="1047"/>
                </a:lnTo>
                <a:lnTo>
                  <a:pt x="1012" y="1049"/>
                </a:lnTo>
                <a:lnTo>
                  <a:pt x="1012" y="1050"/>
                </a:lnTo>
                <a:lnTo>
                  <a:pt x="1025" y="1035"/>
                </a:lnTo>
                <a:lnTo>
                  <a:pt x="1039" y="1021"/>
                </a:lnTo>
                <a:lnTo>
                  <a:pt x="1025" y="1035"/>
                </a:lnTo>
                <a:lnTo>
                  <a:pt x="1012" y="1050"/>
                </a:lnTo>
                <a:close/>
                <a:moveTo>
                  <a:pt x="1035" y="1053"/>
                </a:moveTo>
                <a:lnTo>
                  <a:pt x="1030" y="1059"/>
                </a:lnTo>
                <a:lnTo>
                  <a:pt x="1026" y="1064"/>
                </a:lnTo>
                <a:lnTo>
                  <a:pt x="1024" y="1070"/>
                </a:lnTo>
                <a:lnTo>
                  <a:pt x="1021" y="1076"/>
                </a:lnTo>
                <a:lnTo>
                  <a:pt x="1024" y="1070"/>
                </a:lnTo>
                <a:lnTo>
                  <a:pt x="1026" y="1064"/>
                </a:lnTo>
                <a:lnTo>
                  <a:pt x="1030" y="1059"/>
                </a:lnTo>
                <a:lnTo>
                  <a:pt x="1035" y="1053"/>
                </a:lnTo>
                <a:close/>
                <a:moveTo>
                  <a:pt x="985" y="1092"/>
                </a:moveTo>
                <a:lnTo>
                  <a:pt x="985" y="1092"/>
                </a:lnTo>
                <a:lnTo>
                  <a:pt x="984" y="1092"/>
                </a:lnTo>
                <a:lnTo>
                  <a:pt x="985" y="1092"/>
                </a:lnTo>
                <a:lnTo>
                  <a:pt x="985" y="1089"/>
                </a:lnTo>
                <a:lnTo>
                  <a:pt x="987" y="1088"/>
                </a:lnTo>
                <a:lnTo>
                  <a:pt x="985" y="1089"/>
                </a:lnTo>
                <a:lnTo>
                  <a:pt x="985" y="1092"/>
                </a:lnTo>
                <a:close/>
                <a:moveTo>
                  <a:pt x="973" y="1130"/>
                </a:moveTo>
                <a:lnTo>
                  <a:pt x="971" y="1132"/>
                </a:lnTo>
                <a:lnTo>
                  <a:pt x="969" y="1133"/>
                </a:lnTo>
                <a:lnTo>
                  <a:pt x="971" y="1132"/>
                </a:lnTo>
                <a:lnTo>
                  <a:pt x="973" y="1130"/>
                </a:lnTo>
                <a:lnTo>
                  <a:pt x="976" y="1129"/>
                </a:lnTo>
                <a:lnTo>
                  <a:pt x="980" y="1129"/>
                </a:lnTo>
                <a:lnTo>
                  <a:pt x="976" y="1129"/>
                </a:lnTo>
                <a:lnTo>
                  <a:pt x="973" y="1130"/>
                </a:lnTo>
                <a:close/>
                <a:moveTo>
                  <a:pt x="969" y="1123"/>
                </a:moveTo>
                <a:lnTo>
                  <a:pt x="969" y="1122"/>
                </a:lnTo>
                <a:lnTo>
                  <a:pt x="969" y="1122"/>
                </a:lnTo>
                <a:lnTo>
                  <a:pt x="970" y="1122"/>
                </a:lnTo>
                <a:lnTo>
                  <a:pt x="970" y="1120"/>
                </a:lnTo>
                <a:lnTo>
                  <a:pt x="970" y="1122"/>
                </a:lnTo>
                <a:lnTo>
                  <a:pt x="969" y="1122"/>
                </a:lnTo>
                <a:lnTo>
                  <a:pt x="969" y="1122"/>
                </a:lnTo>
                <a:lnTo>
                  <a:pt x="969" y="1123"/>
                </a:lnTo>
                <a:close/>
                <a:moveTo>
                  <a:pt x="971" y="1117"/>
                </a:moveTo>
                <a:lnTo>
                  <a:pt x="975" y="1109"/>
                </a:lnTo>
                <a:lnTo>
                  <a:pt x="978" y="1101"/>
                </a:lnTo>
                <a:lnTo>
                  <a:pt x="975" y="1109"/>
                </a:lnTo>
                <a:lnTo>
                  <a:pt x="971" y="1117"/>
                </a:lnTo>
                <a:lnTo>
                  <a:pt x="971" y="1119"/>
                </a:lnTo>
                <a:lnTo>
                  <a:pt x="970" y="1120"/>
                </a:lnTo>
                <a:lnTo>
                  <a:pt x="971" y="1119"/>
                </a:lnTo>
                <a:lnTo>
                  <a:pt x="971" y="1117"/>
                </a:lnTo>
                <a:close/>
                <a:moveTo>
                  <a:pt x="945" y="1495"/>
                </a:moveTo>
                <a:lnTo>
                  <a:pt x="945" y="1495"/>
                </a:lnTo>
                <a:lnTo>
                  <a:pt x="946" y="1482"/>
                </a:lnTo>
                <a:lnTo>
                  <a:pt x="945" y="1469"/>
                </a:lnTo>
                <a:lnTo>
                  <a:pt x="946" y="1482"/>
                </a:lnTo>
                <a:lnTo>
                  <a:pt x="945" y="1495"/>
                </a:lnTo>
                <a:close/>
                <a:moveTo>
                  <a:pt x="909" y="1141"/>
                </a:moveTo>
                <a:lnTo>
                  <a:pt x="916" y="1139"/>
                </a:lnTo>
                <a:lnTo>
                  <a:pt x="924" y="1139"/>
                </a:lnTo>
                <a:lnTo>
                  <a:pt x="916" y="1139"/>
                </a:lnTo>
                <a:lnTo>
                  <a:pt x="909" y="1141"/>
                </a:lnTo>
                <a:close/>
                <a:moveTo>
                  <a:pt x="881" y="1145"/>
                </a:moveTo>
                <a:lnTo>
                  <a:pt x="881" y="1145"/>
                </a:lnTo>
                <a:lnTo>
                  <a:pt x="881" y="1145"/>
                </a:lnTo>
                <a:lnTo>
                  <a:pt x="881" y="1145"/>
                </a:lnTo>
                <a:lnTo>
                  <a:pt x="887" y="1144"/>
                </a:lnTo>
                <a:lnTo>
                  <a:pt x="893" y="1145"/>
                </a:lnTo>
                <a:lnTo>
                  <a:pt x="887" y="1144"/>
                </a:lnTo>
                <a:lnTo>
                  <a:pt x="881" y="1145"/>
                </a:lnTo>
                <a:close/>
                <a:moveTo>
                  <a:pt x="879" y="1145"/>
                </a:moveTo>
                <a:lnTo>
                  <a:pt x="878" y="1145"/>
                </a:lnTo>
                <a:lnTo>
                  <a:pt x="877" y="1145"/>
                </a:lnTo>
                <a:lnTo>
                  <a:pt x="878" y="1145"/>
                </a:lnTo>
                <a:lnTo>
                  <a:pt x="879" y="1145"/>
                </a:lnTo>
                <a:lnTo>
                  <a:pt x="879" y="1145"/>
                </a:lnTo>
                <a:lnTo>
                  <a:pt x="880" y="1145"/>
                </a:lnTo>
                <a:lnTo>
                  <a:pt x="879" y="1145"/>
                </a:lnTo>
                <a:lnTo>
                  <a:pt x="879" y="1145"/>
                </a:lnTo>
                <a:close/>
                <a:moveTo>
                  <a:pt x="823" y="1353"/>
                </a:moveTo>
                <a:lnTo>
                  <a:pt x="825" y="1348"/>
                </a:lnTo>
                <a:lnTo>
                  <a:pt x="828" y="1342"/>
                </a:lnTo>
                <a:lnTo>
                  <a:pt x="825" y="1348"/>
                </a:lnTo>
                <a:lnTo>
                  <a:pt x="823" y="1353"/>
                </a:lnTo>
                <a:close/>
                <a:moveTo>
                  <a:pt x="818" y="1410"/>
                </a:moveTo>
                <a:lnTo>
                  <a:pt x="818" y="1409"/>
                </a:lnTo>
                <a:lnTo>
                  <a:pt x="819" y="1407"/>
                </a:lnTo>
                <a:lnTo>
                  <a:pt x="818" y="1409"/>
                </a:lnTo>
                <a:lnTo>
                  <a:pt x="818" y="1410"/>
                </a:lnTo>
                <a:close/>
                <a:moveTo>
                  <a:pt x="801" y="780"/>
                </a:moveTo>
                <a:lnTo>
                  <a:pt x="798" y="780"/>
                </a:lnTo>
                <a:lnTo>
                  <a:pt x="797" y="780"/>
                </a:lnTo>
                <a:lnTo>
                  <a:pt x="798" y="780"/>
                </a:lnTo>
                <a:lnTo>
                  <a:pt x="801" y="780"/>
                </a:lnTo>
                <a:lnTo>
                  <a:pt x="804" y="782"/>
                </a:lnTo>
                <a:lnTo>
                  <a:pt x="807" y="784"/>
                </a:lnTo>
                <a:lnTo>
                  <a:pt x="810" y="784"/>
                </a:lnTo>
                <a:lnTo>
                  <a:pt x="815" y="784"/>
                </a:lnTo>
                <a:lnTo>
                  <a:pt x="810" y="784"/>
                </a:lnTo>
                <a:lnTo>
                  <a:pt x="807" y="784"/>
                </a:lnTo>
                <a:lnTo>
                  <a:pt x="804" y="782"/>
                </a:lnTo>
                <a:lnTo>
                  <a:pt x="801" y="780"/>
                </a:lnTo>
                <a:close/>
                <a:moveTo>
                  <a:pt x="805" y="1416"/>
                </a:moveTo>
                <a:lnTo>
                  <a:pt x="802" y="1414"/>
                </a:lnTo>
                <a:lnTo>
                  <a:pt x="800" y="1414"/>
                </a:lnTo>
                <a:lnTo>
                  <a:pt x="802" y="1414"/>
                </a:lnTo>
                <a:lnTo>
                  <a:pt x="805" y="1416"/>
                </a:lnTo>
                <a:lnTo>
                  <a:pt x="807" y="1416"/>
                </a:lnTo>
                <a:lnTo>
                  <a:pt x="809" y="1414"/>
                </a:lnTo>
                <a:lnTo>
                  <a:pt x="807" y="1416"/>
                </a:lnTo>
                <a:lnTo>
                  <a:pt x="805" y="1416"/>
                </a:lnTo>
                <a:close/>
                <a:moveTo>
                  <a:pt x="797" y="1431"/>
                </a:move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lnTo>
                  <a:pt x="797" y="1431"/>
                </a:lnTo>
                <a:close/>
                <a:moveTo>
                  <a:pt x="795" y="759"/>
                </a:moveTo>
                <a:lnTo>
                  <a:pt x="795" y="763"/>
                </a:lnTo>
                <a:lnTo>
                  <a:pt x="794" y="767"/>
                </a:lnTo>
                <a:lnTo>
                  <a:pt x="795" y="770"/>
                </a:lnTo>
                <a:lnTo>
                  <a:pt x="796" y="774"/>
                </a:lnTo>
                <a:lnTo>
                  <a:pt x="800" y="775"/>
                </a:lnTo>
                <a:lnTo>
                  <a:pt x="801" y="778"/>
                </a:lnTo>
                <a:lnTo>
                  <a:pt x="800" y="775"/>
                </a:lnTo>
                <a:lnTo>
                  <a:pt x="796" y="774"/>
                </a:lnTo>
                <a:lnTo>
                  <a:pt x="795" y="770"/>
                </a:lnTo>
                <a:lnTo>
                  <a:pt x="794" y="767"/>
                </a:lnTo>
                <a:lnTo>
                  <a:pt x="795" y="763"/>
                </a:lnTo>
                <a:lnTo>
                  <a:pt x="795" y="759"/>
                </a:lnTo>
                <a:close/>
                <a:moveTo>
                  <a:pt x="801" y="780"/>
                </a:moveTo>
                <a:lnTo>
                  <a:pt x="802" y="780"/>
                </a:lnTo>
                <a:lnTo>
                  <a:pt x="803" y="780"/>
                </a:lnTo>
                <a:lnTo>
                  <a:pt x="802" y="780"/>
                </a:lnTo>
                <a:lnTo>
                  <a:pt x="801" y="780"/>
                </a:lnTo>
                <a:close/>
                <a:moveTo>
                  <a:pt x="756" y="1465"/>
                </a:moveTo>
                <a:lnTo>
                  <a:pt x="756" y="1463"/>
                </a:lnTo>
                <a:lnTo>
                  <a:pt x="755" y="1463"/>
                </a:lnTo>
                <a:lnTo>
                  <a:pt x="756" y="1463"/>
                </a:lnTo>
                <a:lnTo>
                  <a:pt x="756" y="1465"/>
                </a:lnTo>
                <a:close/>
                <a:moveTo>
                  <a:pt x="734" y="1567"/>
                </a:move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4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5" y="1567"/>
                </a:lnTo>
                <a:lnTo>
                  <a:pt x="734" y="1567"/>
                </a:lnTo>
                <a:close/>
                <a:moveTo>
                  <a:pt x="728" y="1567"/>
                </a:move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lnTo>
                  <a:pt x="728" y="1567"/>
                </a:lnTo>
                <a:close/>
                <a:moveTo>
                  <a:pt x="717" y="1402"/>
                </a:moveTo>
                <a:lnTo>
                  <a:pt x="713" y="1423"/>
                </a:lnTo>
                <a:lnTo>
                  <a:pt x="711" y="1444"/>
                </a:lnTo>
                <a:lnTo>
                  <a:pt x="710" y="1465"/>
                </a:lnTo>
                <a:lnTo>
                  <a:pt x="710" y="1486"/>
                </a:lnTo>
                <a:lnTo>
                  <a:pt x="710" y="1486"/>
                </a:lnTo>
                <a:lnTo>
                  <a:pt x="708" y="1486"/>
                </a:lnTo>
                <a:lnTo>
                  <a:pt x="710" y="1486"/>
                </a:lnTo>
                <a:lnTo>
                  <a:pt x="710" y="1486"/>
                </a:lnTo>
                <a:lnTo>
                  <a:pt x="710" y="1465"/>
                </a:lnTo>
                <a:lnTo>
                  <a:pt x="711" y="1444"/>
                </a:lnTo>
                <a:lnTo>
                  <a:pt x="713" y="1423"/>
                </a:lnTo>
                <a:lnTo>
                  <a:pt x="717" y="1402"/>
                </a:lnTo>
                <a:lnTo>
                  <a:pt x="718" y="1399"/>
                </a:lnTo>
                <a:lnTo>
                  <a:pt x="718" y="1397"/>
                </a:lnTo>
                <a:lnTo>
                  <a:pt x="718" y="1399"/>
                </a:lnTo>
                <a:lnTo>
                  <a:pt x="717" y="1402"/>
                </a:lnTo>
                <a:close/>
                <a:moveTo>
                  <a:pt x="703" y="836"/>
                </a:moveTo>
                <a:lnTo>
                  <a:pt x="705" y="834"/>
                </a:lnTo>
                <a:lnTo>
                  <a:pt x="706" y="831"/>
                </a:lnTo>
                <a:lnTo>
                  <a:pt x="707" y="830"/>
                </a:lnTo>
                <a:lnTo>
                  <a:pt x="710" y="830"/>
                </a:lnTo>
                <a:lnTo>
                  <a:pt x="707" y="830"/>
                </a:lnTo>
                <a:lnTo>
                  <a:pt x="706" y="831"/>
                </a:lnTo>
                <a:lnTo>
                  <a:pt x="705" y="834"/>
                </a:lnTo>
                <a:lnTo>
                  <a:pt x="703" y="836"/>
                </a:lnTo>
                <a:close/>
                <a:moveTo>
                  <a:pt x="699" y="794"/>
                </a:moveTo>
                <a:lnTo>
                  <a:pt x="700" y="792"/>
                </a:lnTo>
                <a:lnTo>
                  <a:pt x="703" y="791"/>
                </a:lnTo>
                <a:lnTo>
                  <a:pt x="700" y="792"/>
                </a:lnTo>
                <a:lnTo>
                  <a:pt x="699" y="794"/>
                </a:lnTo>
                <a:close/>
                <a:moveTo>
                  <a:pt x="698" y="719"/>
                </a:moveTo>
                <a:lnTo>
                  <a:pt x="698" y="719"/>
                </a:lnTo>
                <a:lnTo>
                  <a:pt x="699" y="718"/>
                </a:lnTo>
                <a:lnTo>
                  <a:pt x="698" y="719"/>
                </a:lnTo>
                <a:lnTo>
                  <a:pt x="698" y="719"/>
                </a:lnTo>
                <a:close/>
                <a:moveTo>
                  <a:pt x="692" y="1582"/>
                </a:moveTo>
                <a:lnTo>
                  <a:pt x="691" y="1585"/>
                </a:lnTo>
                <a:lnTo>
                  <a:pt x="691" y="1587"/>
                </a:lnTo>
                <a:lnTo>
                  <a:pt x="691" y="1585"/>
                </a:lnTo>
                <a:lnTo>
                  <a:pt x="692" y="1582"/>
                </a:lnTo>
                <a:lnTo>
                  <a:pt x="694" y="1589"/>
                </a:lnTo>
                <a:lnTo>
                  <a:pt x="697" y="1595"/>
                </a:lnTo>
                <a:lnTo>
                  <a:pt x="694" y="1589"/>
                </a:lnTo>
                <a:lnTo>
                  <a:pt x="692" y="1582"/>
                </a:lnTo>
                <a:close/>
                <a:moveTo>
                  <a:pt x="687" y="951"/>
                </a:moveTo>
                <a:lnTo>
                  <a:pt x="687" y="958"/>
                </a:lnTo>
                <a:lnTo>
                  <a:pt x="686" y="966"/>
                </a:lnTo>
                <a:lnTo>
                  <a:pt x="687" y="958"/>
                </a:lnTo>
                <a:lnTo>
                  <a:pt x="687" y="951"/>
                </a:lnTo>
                <a:lnTo>
                  <a:pt x="687" y="948"/>
                </a:lnTo>
                <a:lnTo>
                  <a:pt x="688" y="945"/>
                </a:lnTo>
                <a:lnTo>
                  <a:pt x="688" y="945"/>
                </a:lnTo>
                <a:lnTo>
                  <a:pt x="690" y="944"/>
                </a:lnTo>
                <a:lnTo>
                  <a:pt x="688" y="945"/>
                </a:lnTo>
                <a:lnTo>
                  <a:pt x="688" y="945"/>
                </a:lnTo>
                <a:lnTo>
                  <a:pt x="687" y="948"/>
                </a:lnTo>
                <a:lnTo>
                  <a:pt x="687" y="951"/>
                </a:lnTo>
                <a:close/>
                <a:moveTo>
                  <a:pt x="678" y="1509"/>
                </a:moveTo>
                <a:lnTo>
                  <a:pt x="683" y="1493"/>
                </a:lnTo>
                <a:lnTo>
                  <a:pt x="687" y="1477"/>
                </a:lnTo>
                <a:lnTo>
                  <a:pt x="683" y="1493"/>
                </a:lnTo>
                <a:lnTo>
                  <a:pt x="678" y="1509"/>
                </a:lnTo>
                <a:close/>
                <a:moveTo>
                  <a:pt x="677" y="1005"/>
                </a:moveTo>
                <a:lnTo>
                  <a:pt x="677" y="1004"/>
                </a:lnTo>
                <a:lnTo>
                  <a:pt x="676" y="1002"/>
                </a:lnTo>
                <a:lnTo>
                  <a:pt x="677" y="1001"/>
                </a:lnTo>
                <a:lnTo>
                  <a:pt x="677" y="999"/>
                </a:lnTo>
                <a:lnTo>
                  <a:pt x="677" y="1001"/>
                </a:lnTo>
                <a:lnTo>
                  <a:pt x="676" y="1002"/>
                </a:lnTo>
                <a:lnTo>
                  <a:pt x="677" y="1004"/>
                </a:lnTo>
                <a:lnTo>
                  <a:pt x="677" y="1005"/>
                </a:lnTo>
                <a:close/>
                <a:moveTo>
                  <a:pt x="677" y="1543"/>
                </a:moveTo>
                <a:lnTo>
                  <a:pt x="676" y="1543"/>
                </a:lnTo>
                <a:lnTo>
                  <a:pt x="676" y="1543"/>
                </a:lnTo>
                <a:lnTo>
                  <a:pt x="676" y="1543"/>
                </a:lnTo>
                <a:lnTo>
                  <a:pt x="677" y="1543"/>
                </a:lnTo>
                <a:close/>
                <a:moveTo>
                  <a:pt x="676" y="1009"/>
                </a:moveTo>
                <a:lnTo>
                  <a:pt x="676" y="1007"/>
                </a:lnTo>
                <a:lnTo>
                  <a:pt x="676" y="1006"/>
                </a:lnTo>
                <a:lnTo>
                  <a:pt x="676" y="1007"/>
                </a:lnTo>
                <a:lnTo>
                  <a:pt x="676" y="1009"/>
                </a:lnTo>
                <a:close/>
                <a:moveTo>
                  <a:pt x="670" y="1067"/>
                </a:moveTo>
                <a:lnTo>
                  <a:pt x="671" y="1067"/>
                </a:lnTo>
                <a:lnTo>
                  <a:pt x="671" y="1066"/>
                </a:lnTo>
                <a:lnTo>
                  <a:pt x="671" y="1067"/>
                </a:lnTo>
                <a:lnTo>
                  <a:pt x="670" y="1067"/>
                </a:lnTo>
                <a:close/>
                <a:moveTo>
                  <a:pt x="681" y="980"/>
                </a:moveTo>
                <a:lnTo>
                  <a:pt x="681" y="977"/>
                </a:lnTo>
                <a:lnTo>
                  <a:pt x="681" y="973"/>
                </a:lnTo>
                <a:lnTo>
                  <a:pt x="681" y="977"/>
                </a:lnTo>
                <a:lnTo>
                  <a:pt x="681" y="980"/>
                </a:lnTo>
                <a:lnTo>
                  <a:pt x="681" y="980"/>
                </a:lnTo>
                <a:close/>
                <a:moveTo>
                  <a:pt x="693" y="924"/>
                </a:moveTo>
                <a:lnTo>
                  <a:pt x="694" y="924"/>
                </a:lnTo>
                <a:lnTo>
                  <a:pt x="694" y="924"/>
                </a:lnTo>
                <a:lnTo>
                  <a:pt x="694" y="924"/>
                </a:lnTo>
                <a:lnTo>
                  <a:pt x="693" y="924"/>
                </a:lnTo>
                <a:lnTo>
                  <a:pt x="693" y="929"/>
                </a:lnTo>
                <a:lnTo>
                  <a:pt x="692" y="932"/>
                </a:lnTo>
                <a:lnTo>
                  <a:pt x="693" y="929"/>
                </a:lnTo>
                <a:lnTo>
                  <a:pt x="693" y="924"/>
                </a:lnTo>
                <a:close/>
                <a:moveTo>
                  <a:pt x="715" y="784"/>
                </a:moveTo>
                <a:lnTo>
                  <a:pt x="715" y="783"/>
                </a:lnTo>
                <a:lnTo>
                  <a:pt x="715" y="781"/>
                </a:lnTo>
                <a:lnTo>
                  <a:pt x="714" y="780"/>
                </a:lnTo>
                <a:lnTo>
                  <a:pt x="713" y="780"/>
                </a:lnTo>
                <a:lnTo>
                  <a:pt x="714" y="780"/>
                </a:lnTo>
                <a:lnTo>
                  <a:pt x="715" y="781"/>
                </a:lnTo>
                <a:lnTo>
                  <a:pt x="715" y="781"/>
                </a:lnTo>
                <a:lnTo>
                  <a:pt x="715" y="783"/>
                </a:lnTo>
                <a:lnTo>
                  <a:pt x="715" y="784"/>
                </a:lnTo>
                <a:lnTo>
                  <a:pt x="712" y="784"/>
                </a:lnTo>
                <a:lnTo>
                  <a:pt x="708" y="785"/>
                </a:lnTo>
                <a:lnTo>
                  <a:pt x="706" y="787"/>
                </a:lnTo>
                <a:lnTo>
                  <a:pt x="704" y="789"/>
                </a:lnTo>
                <a:lnTo>
                  <a:pt x="706" y="787"/>
                </a:lnTo>
                <a:lnTo>
                  <a:pt x="708" y="785"/>
                </a:lnTo>
                <a:lnTo>
                  <a:pt x="712" y="784"/>
                </a:lnTo>
                <a:lnTo>
                  <a:pt x="715" y="784"/>
                </a:lnTo>
                <a:close/>
                <a:moveTo>
                  <a:pt x="666" y="1090"/>
                </a:moveTo>
                <a:lnTo>
                  <a:pt x="659" y="1089"/>
                </a:lnTo>
                <a:lnTo>
                  <a:pt x="652" y="1087"/>
                </a:lnTo>
                <a:lnTo>
                  <a:pt x="659" y="1089"/>
                </a:lnTo>
                <a:lnTo>
                  <a:pt x="666" y="1090"/>
                </a:lnTo>
                <a:lnTo>
                  <a:pt x="666" y="1087"/>
                </a:lnTo>
                <a:lnTo>
                  <a:pt x="667" y="1083"/>
                </a:lnTo>
                <a:lnTo>
                  <a:pt x="666" y="1087"/>
                </a:lnTo>
                <a:lnTo>
                  <a:pt x="666" y="1090"/>
                </a:lnTo>
                <a:close/>
                <a:moveTo>
                  <a:pt x="664" y="1420"/>
                </a:moveTo>
                <a:lnTo>
                  <a:pt x="664" y="1418"/>
                </a:lnTo>
                <a:lnTo>
                  <a:pt x="663" y="1416"/>
                </a:lnTo>
                <a:lnTo>
                  <a:pt x="664" y="1418"/>
                </a:lnTo>
                <a:lnTo>
                  <a:pt x="664" y="1420"/>
                </a:lnTo>
                <a:close/>
                <a:moveTo>
                  <a:pt x="662" y="1414"/>
                </a:moveTo>
                <a:lnTo>
                  <a:pt x="659" y="1407"/>
                </a:lnTo>
                <a:lnTo>
                  <a:pt x="657" y="1402"/>
                </a:lnTo>
                <a:lnTo>
                  <a:pt x="659" y="1407"/>
                </a:lnTo>
                <a:lnTo>
                  <a:pt x="662" y="1414"/>
                </a:lnTo>
                <a:close/>
                <a:moveTo>
                  <a:pt x="652" y="1577"/>
                </a:moveTo>
                <a:lnTo>
                  <a:pt x="651" y="1575"/>
                </a:lnTo>
                <a:lnTo>
                  <a:pt x="650" y="1574"/>
                </a:lnTo>
                <a:lnTo>
                  <a:pt x="651" y="1575"/>
                </a:lnTo>
                <a:lnTo>
                  <a:pt x="652" y="1577"/>
                </a:lnTo>
                <a:close/>
                <a:moveTo>
                  <a:pt x="648" y="1008"/>
                </a:moveTo>
                <a:lnTo>
                  <a:pt x="648" y="1005"/>
                </a:lnTo>
                <a:lnTo>
                  <a:pt x="650" y="1001"/>
                </a:lnTo>
                <a:lnTo>
                  <a:pt x="648" y="1005"/>
                </a:lnTo>
                <a:lnTo>
                  <a:pt x="648" y="1008"/>
                </a:lnTo>
                <a:close/>
                <a:moveTo>
                  <a:pt x="648" y="1588"/>
                </a:moveTo>
                <a:lnTo>
                  <a:pt x="648" y="1585"/>
                </a:lnTo>
                <a:lnTo>
                  <a:pt x="646" y="1582"/>
                </a:lnTo>
                <a:lnTo>
                  <a:pt x="649" y="1584"/>
                </a:lnTo>
                <a:lnTo>
                  <a:pt x="649" y="1585"/>
                </a:lnTo>
                <a:lnTo>
                  <a:pt x="648" y="1586"/>
                </a:lnTo>
                <a:lnTo>
                  <a:pt x="648" y="1588"/>
                </a:lnTo>
                <a:close/>
                <a:moveTo>
                  <a:pt x="646" y="1014"/>
                </a:moveTo>
                <a:lnTo>
                  <a:pt x="645" y="1015"/>
                </a:lnTo>
                <a:lnTo>
                  <a:pt x="644" y="1016"/>
                </a:lnTo>
                <a:lnTo>
                  <a:pt x="645" y="1015"/>
                </a:lnTo>
                <a:lnTo>
                  <a:pt x="646" y="1014"/>
                </a:lnTo>
                <a:lnTo>
                  <a:pt x="646" y="1014"/>
                </a:lnTo>
                <a:lnTo>
                  <a:pt x="646" y="1013"/>
                </a:lnTo>
                <a:lnTo>
                  <a:pt x="646" y="1014"/>
                </a:lnTo>
                <a:lnTo>
                  <a:pt x="646" y="1014"/>
                </a:lnTo>
                <a:close/>
                <a:moveTo>
                  <a:pt x="639" y="1488"/>
                </a:moveTo>
                <a:lnTo>
                  <a:pt x="638" y="1487"/>
                </a:lnTo>
                <a:lnTo>
                  <a:pt x="638" y="1486"/>
                </a:lnTo>
                <a:lnTo>
                  <a:pt x="638" y="1487"/>
                </a:lnTo>
                <a:lnTo>
                  <a:pt x="639" y="1488"/>
                </a:lnTo>
                <a:lnTo>
                  <a:pt x="643" y="1486"/>
                </a:lnTo>
                <a:lnTo>
                  <a:pt x="644" y="1482"/>
                </a:lnTo>
                <a:lnTo>
                  <a:pt x="643" y="1486"/>
                </a:lnTo>
                <a:lnTo>
                  <a:pt x="639" y="1488"/>
                </a:lnTo>
                <a:close/>
                <a:moveTo>
                  <a:pt x="641" y="1551"/>
                </a:moveTo>
                <a:lnTo>
                  <a:pt x="639" y="1546"/>
                </a:lnTo>
                <a:lnTo>
                  <a:pt x="639" y="1543"/>
                </a:lnTo>
                <a:lnTo>
                  <a:pt x="639" y="1546"/>
                </a:lnTo>
                <a:lnTo>
                  <a:pt x="641" y="1551"/>
                </a:lnTo>
                <a:lnTo>
                  <a:pt x="641" y="1556"/>
                </a:lnTo>
                <a:lnTo>
                  <a:pt x="641" y="1559"/>
                </a:lnTo>
                <a:lnTo>
                  <a:pt x="641" y="1556"/>
                </a:lnTo>
                <a:lnTo>
                  <a:pt x="641" y="1551"/>
                </a:lnTo>
                <a:close/>
                <a:moveTo>
                  <a:pt x="632" y="883"/>
                </a:moveTo>
                <a:lnTo>
                  <a:pt x="631" y="887"/>
                </a:lnTo>
                <a:lnTo>
                  <a:pt x="630" y="890"/>
                </a:lnTo>
                <a:lnTo>
                  <a:pt x="631" y="887"/>
                </a:lnTo>
                <a:lnTo>
                  <a:pt x="632" y="883"/>
                </a:lnTo>
                <a:lnTo>
                  <a:pt x="634" y="883"/>
                </a:lnTo>
                <a:lnTo>
                  <a:pt x="635" y="883"/>
                </a:lnTo>
                <a:lnTo>
                  <a:pt x="634" y="883"/>
                </a:lnTo>
                <a:lnTo>
                  <a:pt x="632" y="883"/>
                </a:lnTo>
                <a:close/>
                <a:moveTo>
                  <a:pt x="629" y="893"/>
                </a:moveTo>
                <a:lnTo>
                  <a:pt x="629" y="894"/>
                </a:lnTo>
                <a:lnTo>
                  <a:pt x="628" y="894"/>
                </a:lnTo>
                <a:lnTo>
                  <a:pt x="629" y="894"/>
                </a:lnTo>
                <a:lnTo>
                  <a:pt x="629" y="893"/>
                </a:lnTo>
                <a:lnTo>
                  <a:pt x="630" y="895"/>
                </a:lnTo>
                <a:lnTo>
                  <a:pt x="630" y="896"/>
                </a:lnTo>
                <a:lnTo>
                  <a:pt x="630" y="895"/>
                </a:lnTo>
                <a:lnTo>
                  <a:pt x="629" y="893"/>
                </a:lnTo>
                <a:close/>
                <a:moveTo>
                  <a:pt x="619" y="788"/>
                </a:moveTo>
                <a:lnTo>
                  <a:pt x="615" y="784"/>
                </a:lnTo>
                <a:lnTo>
                  <a:pt x="609" y="781"/>
                </a:lnTo>
                <a:lnTo>
                  <a:pt x="615" y="784"/>
                </a:lnTo>
                <a:lnTo>
                  <a:pt x="619" y="788"/>
                </a:lnTo>
                <a:lnTo>
                  <a:pt x="624" y="791"/>
                </a:lnTo>
                <a:lnTo>
                  <a:pt x="630" y="792"/>
                </a:lnTo>
                <a:lnTo>
                  <a:pt x="624" y="791"/>
                </a:lnTo>
                <a:lnTo>
                  <a:pt x="619" y="788"/>
                </a:lnTo>
                <a:close/>
                <a:moveTo>
                  <a:pt x="616" y="881"/>
                </a:moveTo>
                <a:lnTo>
                  <a:pt x="614" y="881"/>
                </a:lnTo>
                <a:lnTo>
                  <a:pt x="611" y="880"/>
                </a:lnTo>
                <a:lnTo>
                  <a:pt x="614" y="881"/>
                </a:lnTo>
                <a:lnTo>
                  <a:pt x="616" y="881"/>
                </a:lnTo>
                <a:close/>
                <a:moveTo>
                  <a:pt x="638" y="1493"/>
                </a:moveTo>
                <a:lnTo>
                  <a:pt x="637" y="1494"/>
                </a:lnTo>
                <a:lnTo>
                  <a:pt x="638" y="1496"/>
                </a:lnTo>
                <a:lnTo>
                  <a:pt x="638" y="1500"/>
                </a:lnTo>
                <a:lnTo>
                  <a:pt x="639" y="1503"/>
                </a:lnTo>
                <a:lnTo>
                  <a:pt x="638" y="1500"/>
                </a:lnTo>
                <a:lnTo>
                  <a:pt x="638" y="1496"/>
                </a:lnTo>
                <a:lnTo>
                  <a:pt x="637" y="1494"/>
                </a:lnTo>
                <a:lnTo>
                  <a:pt x="638" y="1493"/>
                </a:lnTo>
                <a:close/>
                <a:moveTo>
                  <a:pt x="659" y="970"/>
                </a:moveTo>
                <a:lnTo>
                  <a:pt x="656" y="984"/>
                </a:lnTo>
                <a:lnTo>
                  <a:pt x="651" y="999"/>
                </a:lnTo>
                <a:lnTo>
                  <a:pt x="656" y="984"/>
                </a:lnTo>
                <a:lnTo>
                  <a:pt x="659" y="970"/>
                </a:lnTo>
                <a:close/>
                <a:moveTo>
                  <a:pt x="588" y="930"/>
                </a:moveTo>
                <a:lnTo>
                  <a:pt x="588" y="929"/>
                </a:lnTo>
                <a:lnTo>
                  <a:pt x="587" y="929"/>
                </a:lnTo>
                <a:lnTo>
                  <a:pt x="588" y="929"/>
                </a:lnTo>
                <a:lnTo>
                  <a:pt x="588" y="930"/>
                </a:lnTo>
                <a:close/>
                <a:moveTo>
                  <a:pt x="574" y="825"/>
                </a:moveTo>
                <a:lnTo>
                  <a:pt x="575" y="824"/>
                </a:lnTo>
                <a:lnTo>
                  <a:pt x="575" y="824"/>
                </a:lnTo>
                <a:lnTo>
                  <a:pt x="575" y="824"/>
                </a:lnTo>
                <a:lnTo>
                  <a:pt x="574" y="825"/>
                </a:lnTo>
                <a:close/>
                <a:moveTo>
                  <a:pt x="561" y="822"/>
                </a:moveTo>
                <a:lnTo>
                  <a:pt x="559" y="822"/>
                </a:lnTo>
                <a:lnTo>
                  <a:pt x="557" y="822"/>
                </a:lnTo>
                <a:lnTo>
                  <a:pt x="559" y="822"/>
                </a:lnTo>
                <a:lnTo>
                  <a:pt x="561" y="822"/>
                </a:lnTo>
                <a:lnTo>
                  <a:pt x="562" y="823"/>
                </a:lnTo>
                <a:lnTo>
                  <a:pt x="563" y="823"/>
                </a:lnTo>
                <a:lnTo>
                  <a:pt x="562" y="823"/>
                </a:lnTo>
                <a:lnTo>
                  <a:pt x="561" y="822"/>
                </a:lnTo>
                <a:close/>
                <a:moveTo>
                  <a:pt x="556" y="1061"/>
                </a:moveTo>
                <a:lnTo>
                  <a:pt x="555" y="1061"/>
                </a:lnTo>
                <a:lnTo>
                  <a:pt x="554" y="1061"/>
                </a:lnTo>
                <a:lnTo>
                  <a:pt x="555" y="1061"/>
                </a:lnTo>
                <a:lnTo>
                  <a:pt x="556" y="1061"/>
                </a:lnTo>
                <a:close/>
                <a:moveTo>
                  <a:pt x="526" y="871"/>
                </a:moveTo>
                <a:lnTo>
                  <a:pt x="520" y="871"/>
                </a:lnTo>
                <a:lnTo>
                  <a:pt x="514" y="871"/>
                </a:lnTo>
                <a:lnTo>
                  <a:pt x="512" y="869"/>
                </a:lnTo>
                <a:lnTo>
                  <a:pt x="511" y="868"/>
                </a:lnTo>
                <a:lnTo>
                  <a:pt x="512" y="869"/>
                </a:lnTo>
                <a:lnTo>
                  <a:pt x="514" y="871"/>
                </a:lnTo>
                <a:lnTo>
                  <a:pt x="520" y="871"/>
                </a:lnTo>
                <a:lnTo>
                  <a:pt x="526" y="871"/>
                </a:lnTo>
                <a:lnTo>
                  <a:pt x="533" y="873"/>
                </a:lnTo>
                <a:lnTo>
                  <a:pt x="539" y="873"/>
                </a:lnTo>
                <a:lnTo>
                  <a:pt x="533" y="873"/>
                </a:lnTo>
                <a:lnTo>
                  <a:pt x="526" y="871"/>
                </a:lnTo>
                <a:close/>
                <a:moveTo>
                  <a:pt x="527" y="998"/>
                </a:moveTo>
                <a:lnTo>
                  <a:pt x="528" y="999"/>
                </a:lnTo>
                <a:lnTo>
                  <a:pt x="531" y="1001"/>
                </a:lnTo>
                <a:lnTo>
                  <a:pt x="528" y="999"/>
                </a:lnTo>
                <a:lnTo>
                  <a:pt x="527" y="998"/>
                </a:lnTo>
                <a:close/>
                <a:moveTo>
                  <a:pt x="510" y="964"/>
                </a:moveTo>
                <a:lnTo>
                  <a:pt x="510" y="964"/>
                </a:lnTo>
                <a:lnTo>
                  <a:pt x="511" y="964"/>
                </a:lnTo>
                <a:lnTo>
                  <a:pt x="510" y="964"/>
                </a:lnTo>
                <a:lnTo>
                  <a:pt x="510" y="964"/>
                </a:lnTo>
                <a:close/>
                <a:moveTo>
                  <a:pt x="506" y="861"/>
                </a:moveTo>
                <a:lnTo>
                  <a:pt x="507" y="860"/>
                </a:lnTo>
                <a:lnTo>
                  <a:pt x="510" y="859"/>
                </a:lnTo>
                <a:lnTo>
                  <a:pt x="510" y="860"/>
                </a:lnTo>
                <a:lnTo>
                  <a:pt x="510" y="861"/>
                </a:lnTo>
                <a:lnTo>
                  <a:pt x="510" y="860"/>
                </a:lnTo>
                <a:lnTo>
                  <a:pt x="510" y="859"/>
                </a:lnTo>
                <a:lnTo>
                  <a:pt x="507" y="860"/>
                </a:lnTo>
                <a:lnTo>
                  <a:pt x="506" y="861"/>
                </a:lnTo>
                <a:close/>
                <a:moveTo>
                  <a:pt x="496" y="788"/>
                </a:moveTo>
                <a:lnTo>
                  <a:pt x="496" y="783"/>
                </a:lnTo>
                <a:lnTo>
                  <a:pt x="494" y="780"/>
                </a:lnTo>
                <a:lnTo>
                  <a:pt x="496" y="783"/>
                </a:lnTo>
                <a:lnTo>
                  <a:pt x="496" y="788"/>
                </a:lnTo>
                <a:close/>
                <a:moveTo>
                  <a:pt x="477" y="1230"/>
                </a:moveTo>
                <a:lnTo>
                  <a:pt x="477" y="1227"/>
                </a:lnTo>
                <a:lnTo>
                  <a:pt x="477" y="1224"/>
                </a:lnTo>
                <a:lnTo>
                  <a:pt x="476" y="1223"/>
                </a:lnTo>
                <a:lnTo>
                  <a:pt x="473" y="1222"/>
                </a:lnTo>
                <a:lnTo>
                  <a:pt x="476" y="1223"/>
                </a:lnTo>
                <a:lnTo>
                  <a:pt x="477" y="1224"/>
                </a:lnTo>
                <a:lnTo>
                  <a:pt x="477" y="1227"/>
                </a:lnTo>
                <a:lnTo>
                  <a:pt x="477" y="1230"/>
                </a:lnTo>
                <a:close/>
                <a:moveTo>
                  <a:pt x="471" y="735"/>
                </a:moveTo>
                <a:lnTo>
                  <a:pt x="467" y="736"/>
                </a:lnTo>
                <a:lnTo>
                  <a:pt x="465" y="738"/>
                </a:lnTo>
                <a:lnTo>
                  <a:pt x="463" y="740"/>
                </a:lnTo>
                <a:lnTo>
                  <a:pt x="460" y="741"/>
                </a:lnTo>
                <a:lnTo>
                  <a:pt x="460" y="743"/>
                </a:lnTo>
                <a:lnTo>
                  <a:pt x="459" y="745"/>
                </a:lnTo>
                <a:lnTo>
                  <a:pt x="458" y="746"/>
                </a:lnTo>
                <a:lnTo>
                  <a:pt x="457" y="746"/>
                </a:lnTo>
                <a:lnTo>
                  <a:pt x="458" y="746"/>
                </a:lnTo>
                <a:lnTo>
                  <a:pt x="459" y="745"/>
                </a:lnTo>
                <a:lnTo>
                  <a:pt x="460" y="743"/>
                </a:lnTo>
                <a:lnTo>
                  <a:pt x="460" y="741"/>
                </a:lnTo>
                <a:lnTo>
                  <a:pt x="463" y="740"/>
                </a:lnTo>
                <a:lnTo>
                  <a:pt x="465" y="738"/>
                </a:lnTo>
                <a:lnTo>
                  <a:pt x="467" y="736"/>
                </a:lnTo>
                <a:lnTo>
                  <a:pt x="471" y="735"/>
                </a:lnTo>
                <a:close/>
                <a:moveTo>
                  <a:pt x="448" y="757"/>
                </a:moveTo>
                <a:lnTo>
                  <a:pt x="446" y="763"/>
                </a:lnTo>
                <a:lnTo>
                  <a:pt x="446" y="769"/>
                </a:lnTo>
                <a:lnTo>
                  <a:pt x="446" y="763"/>
                </a:lnTo>
                <a:lnTo>
                  <a:pt x="448" y="757"/>
                </a:lnTo>
                <a:lnTo>
                  <a:pt x="453" y="756"/>
                </a:lnTo>
                <a:lnTo>
                  <a:pt x="458" y="754"/>
                </a:lnTo>
                <a:lnTo>
                  <a:pt x="453" y="756"/>
                </a:lnTo>
                <a:lnTo>
                  <a:pt x="448" y="757"/>
                </a:lnTo>
                <a:close/>
                <a:moveTo>
                  <a:pt x="441" y="1192"/>
                </a:moveTo>
                <a:lnTo>
                  <a:pt x="434" y="1189"/>
                </a:lnTo>
                <a:lnTo>
                  <a:pt x="428" y="1187"/>
                </a:lnTo>
                <a:lnTo>
                  <a:pt x="422" y="1182"/>
                </a:lnTo>
                <a:lnTo>
                  <a:pt x="416" y="1178"/>
                </a:lnTo>
                <a:lnTo>
                  <a:pt x="422" y="1182"/>
                </a:lnTo>
                <a:lnTo>
                  <a:pt x="428" y="1187"/>
                </a:lnTo>
                <a:lnTo>
                  <a:pt x="434" y="1189"/>
                </a:lnTo>
                <a:lnTo>
                  <a:pt x="441" y="1192"/>
                </a:lnTo>
                <a:lnTo>
                  <a:pt x="442" y="1195"/>
                </a:lnTo>
                <a:lnTo>
                  <a:pt x="444" y="1199"/>
                </a:lnTo>
                <a:lnTo>
                  <a:pt x="442" y="1195"/>
                </a:lnTo>
                <a:lnTo>
                  <a:pt x="441" y="1192"/>
                </a:lnTo>
                <a:close/>
                <a:moveTo>
                  <a:pt x="391" y="787"/>
                </a:moveTo>
                <a:lnTo>
                  <a:pt x="389" y="788"/>
                </a:lnTo>
                <a:lnTo>
                  <a:pt x="388" y="788"/>
                </a:lnTo>
                <a:lnTo>
                  <a:pt x="389" y="788"/>
                </a:lnTo>
                <a:lnTo>
                  <a:pt x="391" y="787"/>
                </a:lnTo>
                <a:lnTo>
                  <a:pt x="401" y="780"/>
                </a:lnTo>
                <a:lnTo>
                  <a:pt x="410" y="773"/>
                </a:lnTo>
                <a:lnTo>
                  <a:pt x="401" y="780"/>
                </a:lnTo>
                <a:lnTo>
                  <a:pt x="391" y="787"/>
                </a:lnTo>
                <a:close/>
                <a:moveTo>
                  <a:pt x="404" y="1022"/>
                </a:moveTo>
                <a:lnTo>
                  <a:pt x="405" y="1020"/>
                </a:lnTo>
                <a:lnTo>
                  <a:pt x="405" y="1016"/>
                </a:lnTo>
                <a:lnTo>
                  <a:pt x="405" y="1020"/>
                </a:lnTo>
                <a:lnTo>
                  <a:pt x="404" y="1022"/>
                </a:lnTo>
                <a:close/>
                <a:moveTo>
                  <a:pt x="398" y="1020"/>
                </a:moveTo>
                <a:lnTo>
                  <a:pt x="398" y="1020"/>
                </a:lnTo>
                <a:lnTo>
                  <a:pt x="400" y="1020"/>
                </a:lnTo>
                <a:lnTo>
                  <a:pt x="398" y="1020"/>
                </a:lnTo>
                <a:lnTo>
                  <a:pt x="398" y="1020"/>
                </a:lnTo>
                <a:close/>
                <a:moveTo>
                  <a:pt x="347" y="845"/>
                </a:moveTo>
                <a:lnTo>
                  <a:pt x="346" y="846"/>
                </a:lnTo>
                <a:lnTo>
                  <a:pt x="345" y="847"/>
                </a:lnTo>
                <a:lnTo>
                  <a:pt x="346" y="846"/>
                </a:lnTo>
                <a:lnTo>
                  <a:pt x="347" y="845"/>
                </a:lnTo>
                <a:lnTo>
                  <a:pt x="362" y="844"/>
                </a:lnTo>
                <a:lnTo>
                  <a:pt x="379" y="844"/>
                </a:lnTo>
                <a:lnTo>
                  <a:pt x="362" y="844"/>
                </a:lnTo>
                <a:lnTo>
                  <a:pt x="347" y="845"/>
                </a:lnTo>
                <a:close/>
                <a:moveTo>
                  <a:pt x="361" y="1155"/>
                </a:moveTo>
                <a:lnTo>
                  <a:pt x="362" y="1155"/>
                </a:lnTo>
                <a:lnTo>
                  <a:pt x="363" y="1155"/>
                </a:lnTo>
                <a:lnTo>
                  <a:pt x="362" y="1155"/>
                </a:lnTo>
                <a:lnTo>
                  <a:pt x="361" y="1155"/>
                </a:lnTo>
                <a:close/>
                <a:moveTo>
                  <a:pt x="354" y="1148"/>
                </a:moveTo>
                <a:lnTo>
                  <a:pt x="356" y="1150"/>
                </a:lnTo>
                <a:lnTo>
                  <a:pt x="359" y="1152"/>
                </a:lnTo>
                <a:lnTo>
                  <a:pt x="356" y="1150"/>
                </a:lnTo>
                <a:lnTo>
                  <a:pt x="354" y="1148"/>
                </a:lnTo>
                <a:close/>
                <a:moveTo>
                  <a:pt x="348" y="1143"/>
                </a:moveTo>
                <a:lnTo>
                  <a:pt x="352" y="1145"/>
                </a:lnTo>
                <a:lnTo>
                  <a:pt x="354" y="1147"/>
                </a:lnTo>
                <a:lnTo>
                  <a:pt x="352" y="1145"/>
                </a:lnTo>
                <a:lnTo>
                  <a:pt x="348" y="1143"/>
                </a:lnTo>
                <a:close/>
                <a:moveTo>
                  <a:pt x="348" y="736"/>
                </a:moveTo>
                <a:lnTo>
                  <a:pt x="346" y="736"/>
                </a:lnTo>
                <a:lnTo>
                  <a:pt x="345" y="736"/>
                </a:lnTo>
                <a:lnTo>
                  <a:pt x="346" y="736"/>
                </a:lnTo>
                <a:lnTo>
                  <a:pt x="348" y="736"/>
                </a:lnTo>
                <a:close/>
                <a:moveTo>
                  <a:pt x="351" y="764"/>
                </a:moveTo>
                <a:lnTo>
                  <a:pt x="352" y="763"/>
                </a:lnTo>
                <a:lnTo>
                  <a:pt x="353" y="762"/>
                </a:lnTo>
                <a:lnTo>
                  <a:pt x="354" y="759"/>
                </a:lnTo>
                <a:lnTo>
                  <a:pt x="355" y="756"/>
                </a:lnTo>
                <a:lnTo>
                  <a:pt x="354" y="759"/>
                </a:lnTo>
                <a:lnTo>
                  <a:pt x="353" y="762"/>
                </a:lnTo>
                <a:lnTo>
                  <a:pt x="352" y="763"/>
                </a:lnTo>
                <a:lnTo>
                  <a:pt x="351" y="764"/>
                </a:lnTo>
                <a:close/>
                <a:moveTo>
                  <a:pt x="355" y="755"/>
                </a:moveTo>
                <a:lnTo>
                  <a:pt x="358" y="755"/>
                </a:lnTo>
                <a:lnTo>
                  <a:pt x="359" y="755"/>
                </a:lnTo>
                <a:lnTo>
                  <a:pt x="358" y="755"/>
                </a:lnTo>
                <a:lnTo>
                  <a:pt x="355" y="755"/>
                </a:lnTo>
                <a:lnTo>
                  <a:pt x="355" y="755"/>
                </a:lnTo>
                <a:close/>
                <a:moveTo>
                  <a:pt x="358" y="749"/>
                </a:moveTo>
                <a:lnTo>
                  <a:pt x="358" y="745"/>
                </a:lnTo>
                <a:lnTo>
                  <a:pt x="358" y="741"/>
                </a:lnTo>
                <a:lnTo>
                  <a:pt x="358" y="745"/>
                </a:lnTo>
                <a:lnTo>
                  <a:pt x="358" y="749"/>
                </a:lnTo>
                <a:lnTo>
                  <a:pt x="358" y="752"/>
                </a:lnTo>
                <a:lnTo>
                  <a:pt x="356" y="753"/>
                </a:lnTo>
                <a:lnTo>
                  <a:pt x="358" y="752"/>
                </a:lnTo>
                <a:lnTo>
                  <a:pt x="358" y="749"/>
                </a:lnTo>
                <a:close/>
                <a:moveTo>
                  <a:pt x="335" y="1122"/>
                </a:moveTo>
                <a:lnTo>
                  <a:pt x="336" y="1122"/>
                </a:lnTo>
                <a:lnTo>
                  <a:pt x="338" y="1122"/>
                </a:lnTo>
                <a:lnTo>
                  <a:pt x="336" y="1122"/>
                </a:lnTo>
                <a:lnTo>
                  <a:pt x="335" y="1122"/>
                </a:lnTo>
                <a:close/>
                <a:moveTo>
                  <a:pt x="334" y="1120"/>
                </a:move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lnTo>
                  <a:pt x="334" y="1120"/>
                </a:lnTo>
                <a:close/>
                <a:moveTo>
                  <a:pt x="332" y="1116"/>
                </a:moveTo>
                <a:lnTo>
                  <a:pt x="332" y="1117"/>
                </a:lnTo>
                <a:lnTo>
                  <a:pt x="333" y="1118"/>
                </a:lnTo>
                <a:lnTo>
                  <a:pt x="332" y="1117"/>
                </a:lnTo>
                <a:lnTo>
                  <a:pt x="332" y="1116"/>
                </a:lnTo>
                <a:close/>
                <a:moveTo>
                  <a:pt x="319" y="1111"/>
                </a:moveTo>
                <a:lnTo>
                  <a:pt x="324" y="1115"/>
                </a:lnTo>
                <a:lnTo>
                  <a:pt x="328" y="1116"/>
                </a:lnTo>
                <a:lnTo>
                  <a:pt x="324" y="1115"/>
                </a:lnTo>
                <a:lnTo>
                  <a:pt x="319" y="1111"/>
                </a:lnTo>
                <a:close/>
                <a:moveTo>
                  <a:pt x="314" y="1104"/>
                </a:moveTo>
                <a:lnTo>
                  <a:pt x="300" y="1097"/>
                </a:lnTo>
                <a:lnTo>
                  <a:pt x="286" y="1088"/>
                </a:lnTo>
                <a:lnTo>
                  <a:pt x="300" y="1097"/>
                </a:lnTo>
                <a:lnTo>
                  <a:pt x="314" y="1104"/>
                </a:lnTo>
                <a:lnTo>
                  <a:pt x="315" y="1105"/>
                </a:lnTo>
                <a:lnTo>
                  <a:pt x="315" y="1105"/>
                </a:lnTo>
                <a:lnTo>
                  <a:pt x="315" y="1105"/>
                </a:lnTo>
                <a:lnTo>
                  <a:pt x="314" y="1104"/>
                </a:lnTo>
                <a:close/>
                <a:moveTo>
                  <a:pt x="286" y="806"/>
                </a:moveTo>
                <a:lnTo>
                  <a:pt x="287" y="808"/>
                </a:lnTo>
                <a:lnTo>
                  <a:pt x="290" y="809"/>
                </a:lnTo>
                <a:lnTo>
                  <a:pt x="290" y="809"/>
                </a:lnTo>
                <a:lnTo>
                  <a:pt x="287" y="808"/>
                </a:lnTo>
                <a:lnTo>
                  <a:pt x="286" y="806"/>
                </a:lnTo>
                <a:close/>
                <a:moveTo>
                  <a:pt x="284" y="798"/>
                </a:moveTo>
                <a:lnTo>
                  <a:pt x="285" y="799"/>
                </a:lnTo>
                <a:lnTo>
                  <a:pt x="286" y="801"/>
                </a:lnTo>
                <a:lnTo>
                  <a:pt x="286" y="803"/>
                </a:lnTo>
                <a:lnTo>
                  <a:pt x="286" y="804"/>
                </a:lnTo>
                <a:lnTo>
                  <a:pt x="286" y="803"/>
                </a:lnTo>
                <a:lnTo>
                  <a:pt x="286" y="801"/>
                </a:lnTo>
                <a:lnTo>
                  <a:pt x="285" y="799"/>
                </a:lnTo>
                <a:lnTo>
                  <a:pt x="284" y="798"/>
                </a:lnTo>
                <a:close/>
                <a:moveTo>
                  <a:pt x="282" y="808"/>
                </a:moveTo>
                <a:lnTo>
                  <a:pt x="283" y="809"/>
                </a:lnTo>
                <a:lnTo>
                  <a:pt x="283" y="810"/>
                </a:lnTo>
                <a:lnTo>
                  <a:pt x="283" y="809"/>
                </a:lnTo>
                <a:lnTo>
                  <a:pt x="282" y="808"/>
                </a:lnTo>
                <a:close/>
                <a:moveTo>
                  <a:pt x="276" y="1081"/>
                </a:moveTo>
                <a:lnTo>
                  <a:pt x="279" y="1085"/>
                </a:lnTo>
                <a:lnTo>
                  <a:pt x="283" y="1090"/>
                </a:lnTo>
                <a:lnTo>
                  <a:pt x="279" y="1085"/>
                </a:lnTo>
                <a:lnTo>
                  <a:pt x="276" y="1081"/>
                </a:lnTo>
                <a:close/>
                <a:moveTo>
                  <a:pt x="266" y="1077"/>
                </a:moveTo>
                <a:lnTo>
                  <a:pt x="269" y="1080"/>
                </a:lnTo>
                <a:lnTo>
                  <a:pt x="272" y="1081"/>
                </a:lnTo>
                <a:lnTo>
                  <a:pt x="269" y="1080"/>
                </a:lnTo>
                <a:lnTo>
                  <a:pt x="266" y="1077"/>
                </a:lnTo>
                <a:close/>
                <a:moveTo>
                  <a:pt x="263" y="985"/>
                </a:moveTo>
                <a:lnTo>
                  <a:pt x="263" y="985"/>
                </a:lnTo>
                <a:lnTo>
                  <a:pt x="263" y="984"/>
                </a:lnTo>
                <a:lnTo>
                  <a:pt x="263" y="984"/>
                </a:lnTo>
                <a:lnTo>
                  <a:pt x="263" y="984"/>
                </a:lnTo>
                <a:lnTo>
                  <a:pt x="263" y="985"/>
                </a:lnTo>
                <a:lnTo>
                  <a:pt x="263" y="985"/>
                </a:lnTo>
                <a:lnTo>
                  <a:pt x="263" y="985"/>
                </a:lnTo>
                <a:close/>
                <a:moveTo>
                  <a:pt x="236" y="903"/>
                </a:moveTo>
                <a:lnTo>
                  <a:pt x="225" y="910"/>
                </a:lnTo>
                <a:lnTo>
                  <a:pt x="215" y="917"/>
                </a:lnTo>
                <a:lnTo>
                  <a:pt x="206" y="924"/>
                </a:lnTo>
                <a:lnTo>
                  <a:pt x="196" y="934"/>
                </a:lnTo>
                <a:lnTo>
                  <a:pt x="196" y="927"/>
                </a:lnTo>
                <a:lnTo>
                  <a:pt x="197" y="920"/>
                </a:lnTo>
                <a:lnTo>
                  <a:pt x="200" y="913"/>
                </a:lnTo>
                <a:lnTo>
                  <a:pt x="202" y="906"/>
                </a:lnTo>
                <a:lnTo>
                  <a:pt x="199" y="907"/>
                </a:lnTo>
                <a:lnTo>
                  <a:pt x="195" y="908"/>
                </a:lnTo>
                <a:lnTo>
                  <a:pt x="193" y="910"/>
                </a:lnTo>
                <a:lnTo>
                  <a:pt x="191" y="913"/>
                </a:lnTo>
                <a:lnTo>
                  <a:pt x="190" y="920"/>
                </a:lnTo>
                <a:lnTo>
                  <a:pt x="188" y="925"/>
                </a:lnTo>
                <a:lnTo>
                  <a:pt x="186" y="932"/>
                </a:lnTo>
                <a:lnTo>
                  <a:pt x="182" y="938"/>
                </a:lnTo>
                <a:lnTo>
                  <a:pt x="177" y="943"/>
                </a:lnTo>
                <a:lnTo>
                  <a:pt x="173" y="946"/>
                </a:lnTo>
                <a:lnTo>
                  <a:pt x="170" y="948"/>
                </a:lnTo>
                <a:lnTo>
                  <a:pt x="168" y="949"/>
                </a:lnTo>
                <a:lnTo>
                  <a:pt x="168" y="948"/>
                </a:lnTo>
                <a:lnTo>
                  <a:pt x="167" y="944"/>
                </a:lnTo>
                <a:lnTo>
                  <a:pt x="170" y="941"/>
                </a:lnTo>
                <a:lnTo>
                  <a:pt x="173" y="937"/>
                </a:lnTo>
                <a:lnTo>
                  <a:pt x="173" y="932"/>
                </a:lnTo>
                <a:lnTo>
                  <a:pt x="172" y="928"/>
                </a:lnTo>
                <a:lnTo>
                  <a:pt x="169" y="921"/>
                </a:lnTo>
                <a:lnTo>
                  <a:pt x="169" y="914"/>
                </a:lnTo>
                <a:lnTo>
                  <a:pt x="169" y="911"/>
                </a:lnTo>
                <a:lnTo>
                  <a:pt x="172" y="908"/>
                </a:lnTo>
                <a:lnTo>
                  <a:pt x="174" y="906"/>
                </a:lnTo>
                <a:lnTo>
                  <a:pt x="177" y="903"/>
                </a:lnTo>
                <a:lnTo>
                  <a:pt x="177" y="902"/>
                </a:lnTo>
                <a:lnTo>
                  <a:pt x="176" y="900"/>
                </a:lnTo>
                <a:lnTo>
                  <a:pt x="181" y="895"/>
                </a:lnTo>
                <a:lnTo>
                  <a:pt x="187" y="893"/>
                </a:lnTo>
                <a:lnTo>
                  <a:pt x="188" y="894"/>
                </a:lnTo>
                <a:lnTo>
                  <a:pt x="189" y="893"/>
                </a:lnTo>
                <a:lnTo>
                  <a:pt x="189" y="893"/>
                </a:lnTo>
                <a:lnTo>
                  <a:pt x="189" y="890"/>
                </a:lnTo>
                <a:lnTo>
                  <a:pt x="191" y="890"/>
                </a:lnTo>
                <a:lnTo>
                  <a:pt x="194" y="889"/>
                </a:lnTo>
                <a:lnTo>
                  <a:pt x="197" y="887"/>
                </a:lnTo>
                <a:lnTo>
                  <a:pt x="201" y="886"/>
                </a:lnTo>
                <a:lnTo>
                  <a:pt x="197" y="887"/>
                </a:lnTo>
                <a:lnTo>
                  <a:pt x="194" y="889"/>
                </a:lnTo>
                <a:lnTo>
                  <a:pt x="195" y="896"/>
                </a:lnTo>
                <a:lnTo>
                  <a:pt x="195" y="904"/>
                </a:lnTo>
                <a:lnTo>
                  <a:pt x="199" y="901"/>
                </a:lnTo>
                <a:lnTo>
                  <a:pt x="202" y="897"/>
                </a:lnTo>
                <a:lnTo>
                  <a:pt x="204" y="894"/>
                </a:lnTo>
                <a:lnTo>
                  <a:pt x="207" y="890"/>
                </a:lnTo>
                <a:lnTo>
                  <a:pt x="210" y="889"/>
                </a:lnTo>
                <a:lnTo>
                  <a:pt x="216" y="889"/>
                </a:lnTo>
                <a:lnTo>
                  <a:pt x="220" y="888"/>
                </a:lnTo>
                <a:lnTo>
                  <a:pt x="224" y="887"/>
                </a:lnTo>
                <a:lnTo>
                  <a:pt x="228" y="883"/>
                </a:lnTo>
                <a:lnTo>
                  <a:pt x="230" y="878"/>
                </a:lnTo>
                <a:lnTo>
                  <a:pt x="231" y="878"/>
                </a:lnTo>
                <a:lnTo>
                  <a:pt x="232" y="878"/>
                </a:lnTo>
                <a:lnTo>
                  <a:pt x="232" y="879"/>
                </a:lnTo>
                <a:lnTo>
                  <a:pt x="234" y="879"/>
                </a:lnTo>
                <a:lnTo>
                  <a:pt x="235" y="879"/>
                </a:lnTo>
                <a:lnTo>
                  <a:pt x="236" y="876"/>
                </a:lnTo>
                <a:lnTo>
                  <a:pt x="245" y="876"/>
                </a:lnTo>
                <a:lnTo>
                  <a:pt x="255" y="876"/>
                </a:lnTo>
                <a:lnTo>
                  <a:pt x="259" y="883"/>
                </a:lnTo>
                <a:lnTo>
                  <a:pt x="264" y="889"/>
                </a:lnTo>
                <a:lnTo>
                  <a:pt x="256" y="892"/>
                </a:lnTo>
                <a:lnTo>
                  <a:pt x="250" y="895"/>
                </a:lnTo>
                <a:lnTo>
                  <a:pt x="243" y="899"/>
                </a:lnTo>
                <a:lnTo>
                  <a:pt x="236" y="903"/>
                </a:lnTo>
                <a:close/>
                <a:moveTo>
                  <a:pt x="266" y="759"/>
                </a:moveTo>
                <a:lnTo>
                  <a:pt x="269" y="764"/>
                </a:lnTo>
                <a:lnTo>
                  <a:pt x="270" y="770"/>
                </a:lnTo>
                <a:lnTo>
                  <a:pt x="269" y="764"/>
                </a:lnTo>
                <a:lnTo>
                  <a:pt x="266" y="759"/>
                </a:lnTo>
                <a:lnTo>
                  <a:pt x="265" y="755"/>
                </a:lnTo>
                <a:lnTo>
                  <a:pt x="264" y="750"/>
                </a:lnTo>
                <a:lnTo>
                  <a:pt x="265" y="755"/>
                </a:lnTo>
                <a:lnTo>
                  <a:pt x="266" y="759"/>
                </a:lnTo>
                <a:close/>
                <a:moveTo>
                  <a:pt x="278" y="777"/>
                </a:moveTo>
                <a:lnTo>
                  <a:pt x="277" y="778"/>
                </a:lnTo>
                <a:lnTo>
                  <a:pt x="276" y="780"/>
                </a:lnTo>
                <a:lnTo>
                  <a:pt x="277" y="778"/>
                </a:lnTo>
                <a:lnTo>
                  <a:pt x="278" y="777"/>
                </a:lnTo>
                <a:close/>
                <a:moveTo>
                  <a:pt x="299" y="805"/>
                </a:moveTo>
                <a:lnTo>
                  <a:pt x="299" y="805"/>
                </a:lnTo>
                <a:lnTo>
                  <a:pt x="299" y="804"/>
                </a:lnTo>
                <a:lnTo>
                  <a:pt x="299" y="805"/>
                </a:lnTo>
                <a:lnTo>
                  <a:pt x="298" y="806"/>
                </a:lnTo>
                <a:lnTo>
                  <a:pt x="297" y="808"/>
                </a:lnTo>
                <a:lnTo>
                  <a:pt x="296" y="809"/>
                </a:lnTo>
                <a:lnTo>
                  <a:pt x="293" y="809"/>
                </a:lnTo>
                <a:lnTo>
                  <a:pt x="296" y="809"/>
                </a:lnTo>
                <a:lnTo>
                  <a:pt x="297" y="808"/>
                </a:lnTo>
                <a:lnTo>
                  <a:pt x="298" y="806"/>
                </a:lnTo>
                <a:lnTo>
                  <a:pt x="299" y="805"/>
                </a:lnTo>
                <a:close/>
                <a:moveTo>
                  <a:pt x="325" y="822"/>
                </a:moveTo>
                <a:lnTo>
                  <a:pt x="324" y="822"/>
                </a:lnTo>
                <a:lnTo>
                  <a:pt x="322" y="824"/>
                </a:lnTo>
                <a:lnTo>
                  <a:pt x="322" y="825"/>
                </a:lnTo>
                <a:lnTo>
                  <a:pt x="322" y="825"/>
                </a:lnTo>
                <a:lnTo>
                  <a:pt x="322" y="824"/>
                </a:lnTo>
                <a:lnTo>
                  <a:pt x="324" y="822"/>
                </a:lnTo>
                <a:lnTo>
                  <a:pt x="325" y="822"/>
                </a:lnTo>
                <a:close/>
                <a:moveTo>
                  <a:pt x="324" y="764"/>
                </a:moveTo>
                <a:lnTo>
                  <a:pt x="321" y="766"/>
                </a:lnTo>
                <a:lnTo>
                  <a:pt x="320" y="768"/>
                </a:lnTo>
                <a:lnTo>
                  <a:pt x="321" y="766"/>
                </a:lnTo>
                <a:lnTo>
                  <a:pt x="324" y="764"/>
                </a:lnTo>
                <a:close/>
                <a:moveTo>
                  <a:pt x="118" y="920"/>
                </a:moveTo>
                <a:lnTo>
                  <a:pt x="120" y="918"/>
                </a:lnTo>
                <a:lnTo>
                  <a:pt x="121" y="917"/>
                </a:lnTo>
                <a:lnTo>
                  <a:pt x="122" y="917"/>
                </a:lnTo>
                <a:lnTo>
                  <a:pt x="125" y="918"/>
                </a:lnTo>
                <a:lnTo>
                  <a:pt x="122" y="917"/>
                </a:lnTo>
                <a:lnTo>
                  <a:pt x="121" y="917"/>
                </a:lnTo>
                <a:lnTo>
                  <a:pt x="120" y="918"/>
                </a:lnTo>
                <a:lnTo>
                  <a:pt x="118" y="920"/>
                </a:lnTo>
                <a:close/>
                <a:moveTo>
                  <a:pt x="55" y="843"/>
                </a:moveTo>
                <a:lnTo>
                  <a:pt x="48" y="844"/>
                </a:lnTo>
                <a:lnTo>
                  <a:pt x="39" y="844"/>
                </a:lnTo>
                <a:lnTo>
                  <a:pt x="48" y="844"/>
                </a:lnTo>
                <a:lnTo>
                  <a:pt x="55" y="843"/>
                </a:lnTo>
                <a:close/>
                <a:moveTo>
                  <a:pt x="25" y="854"/>
                </a:moveTo>
                <a:lnTo>
                  <a:pt x="23" y="857"/>
                </a:lnTo>
                <a:lnTo>
                  <a:pt x="22" y="859"/>
                </a:lnTo>
                <a:lnTo>
                  <a:pt x="21" y="860"/>
                </a:lnTo>
                <a:lnTo>
                  <a:pt x="20" y="860"/>
                </a:lnTo>
                <a:lnTo>
                  <a:pt x="21" y="860"/>
                </a:lnTo>
                <a:lnTo>
                  <a:pt x="22" y="859"/>
                </a:lnTo>
                <a:lnTo>
                  <a:pt x="23" y="857"/>
                </a:lnTo>
                <a:lnTo>
                  <a:pt x="25" y="854"/>
                </a:lnTo>
                <a:close/>
                <a:moveTo>
                  <a:pt x="152" y="719"/>
                </a:moveTo>
                <a:lnTo>
                  <a:pt x="165" y="720"/>
                </a:lnTo>
                <a:lnTo>
                  <a:pt x="177" y="721"/>
                </a:lnTo>
                <a:lnTo>
                  <a:pt x="165" y="720"/>
                </a:lnTo>
                <a:lnTo>
                  <a:pt x="152" y="719"/>
                </a:lnTo>
                <a:close/>
                <a:moveTo>
                  <a:pt x="964" y="691"/>
                </a:moveTo>
                <a:lnTo>
                  <a:pt x="964" y="689"/>
                </a:lnTo>
                <a:lnTo>
                  <a:pt x="964" y="687"/>
                </a:lnTo>
                <a:lnTo>
                  <a:pt x="964" y="689"/>
                </a:lnTo>
                <a:lnTo>
                  <a:pt x="964" y="691"/>
                </a:lnTo>
                <a:close/>
                <a:moveTo>
                  <a:pt x="924" y="546"/>
                </a:moveTo>
                <a:lnTo>
                  <a:pt x="921" y="552"/>
                </a:lnTo>
                <a:lnTo>
                  <a:pt x="920" y="558"/>
                </a:lnTo>
                <a:lnTo>
                  <a:pt x="921" y="565"/>
                </a:lnTo>
                <a:lnTo>
                  <a:pt x="921" y="572"/>
                </a:lnTo>
                <a:lnTo>
                  <a:pt x="921" y="579"/>
                </a:lnTo>
                <a:lnTo>
                  <a:pt x="920" y="588"/>
                </a:lnTo>
                <a:lnTo>
                  <a:pt x="914" y="581"/>
                </a:lnTo>
                <a:lnTo>
                  <a:pt x="909" y="574"/>
                </a:lnTo>
                <a:lnTo>
                  <a:pt x="908" y="571"/>
                </a:lnTo>
                <a:lnTo>
                  <a:pt x="907" y="567"/>
                </a:lnTo>
                <a:lnTo>
                  <a:pt x="906" y="564"/>
                </a:lnTo>
                <a:lnTo>
                  <a:pt x="906" y="559"/>
                </a:lnTo>
                <a:lnTo>
                  <a:pt x="905" y="550"/>
                </a:lnTo>
                <a:lnTo>
                  <a:pt x="905" y="539"/>
                </a:lnTo>
                <a:lnTo>
                  <a:pt x="906" y="537"/>
                </a:lnTo>
                <a:lnTo>
                  <a:pt x="907" y="535"/>
                </a:lnTo>
                <a:lnTo>
                  <a:pt x="908" y="535"/>
                </a:lnTo>
                <a:lnTo>
                  <a:pt x="911" y="535"/>
                </a:lnTo>
                <a:lnTo>
                  <a:pt x="915" y="538"/>
                </a:lnTo>
                <a:lnTo>
                  <a:pt x="920" y="540"/>
                </a:lnTo>
                <a:lnTo>
                  <a:pt x="922" y="540"/>
                </a:lnTo>
                <a:lnTo>
                  <a:pt x="925" y="542"/>
                </a:lnTo>
                <a:lnTo>
                  <a:pt x="925" y="543"/>
                </a:lnTo>
                <a:lnTo>
                  <a:pt x="924" y="546"/>
                </a:lnTo>
                <a:close/>
                <a:moveTo>
                  <a:pt x="852" y="421"/>
                </a:moveTo>
                <a:lnTo>
                  <a:pt x="862" y="416"/>
                </a:lnTo>
                <a:lnTo>
                  <a:pt x="871" y="410"/>
                </a:lnTo>
                <a:lnTo>
                  <a:pt x="862" y="416"/>
                </a:lnTo>
                <a:lnTo>
                  <a:pt x="852" y="421"/>
                </a:lnTo>
                <a:close/>
                <a:moveTo>
                  <a:pt x="852" y="412"/>
                </a:moveTo>
                <a:lnTo>
                  <a:pt x="856" y="406"/>
                </a:lnTo>
                <a:lnTo>
                  <a:pt x="859" y="403"/>
                </a:lnTo>
                <a:lnTo>
                  <a:pt x="865" y="399"/>
                </a:lnTo>
                <a:lnTo>
                  <a:pt x="870" y="396"/>
                </a:lnTo>
                <a:lnTo>
                  <a:pt x="865" y="399"/>
                </a:lnTo>
                <a:lnTo>
                  <a:pt x="859" y="403"/>
                </a:lnTo>
                <a:lnTo>
                  <a:pt x="856" y="406"/>
                </a:lnTo>
                <a:lnTo>
                  <a:pt x="852" y="412"/>
                </a:lnTo>
                <a:close/>
                <a:moveTo>
                  <a:pt x="840" y="423"/>
                </a:moveTo>
                <a:lnTo>
                  <a:pt x="842" y="419"/>
                </a:lnTo>
                <a:lnTo>
                  <a:pt x="843" y="417"/>
                </a:lnTo>
                <a:lnTo>
                  <a:pt x="842" y="419"/>
                </a:lnTo>
                <a:lnTo>
                  <a:pt x="840" y="423"/>
                </a:lnTo>
                <a:close/>
                <a:moveTo>
                  <a:pt x="837" y="428"/>
                </a:moveTo>
                <a:lnTo>
                  <a:pt x="837" y="428"/>
                </a:lnTo>
                <a:lnTo>
                  <a:pt x="837" y="428"/>
                </a:lnTo>
                <a:lnTo>
                  <a:pt x="837" y="428"/>
                </a:lnTo>
                <a:lnTo>
                  <a:pt x="838" y="428"/>
                </a:lnTo>
                <a:lnTo>
                  <a:pt x="840" y="428"/>
                </a:lnTo>
                <a:lnTo>
                  <a:pt x="838" y="428"/>
                </a:lnTo>
                <a:lnTo>
                  <a:pt x="837" y="428"/>
                </a:lnTo>
                <a:close/>
                <a:moveTo>
                  <a:pt x="746" y="484"/>
                </a:moveTo>
                <a:lnTo>
                  <a:pt x="745" y="488"/>
                </a:lnTo>
                <a:lnTo>
                  <a:pt x="743" y="491"/>
                </a:lnTo>
                <a:lnTo>
                  <a:pt x="745" y="488"/>
                </a:lnTo>
                <a:lnTo>
                  <a:pt x="746" y="484"/>
                </a:lnTo>
                <a:lnTo>
                  <a:pt x="747" y="483"/>
                </a:lnTo>
                <a:lnTo>
                  <a:pt x="748" y="482"/>
                </a:lnTo>
                <a:lnTo>
                  <a:pt x="747" y="483"/>
                </a:lnTo>
                <a:lnTo>
                  <a:pt x="746" y="484"/>
                </a:lnTo>
                <a:close/>
                <a:moveTo>
                  <a:pt x="514" y="626"/>
                </a:moveTo>
                <a:lnTo>
                  <a:pt x="519" y="626"/>
                </a:lnTo>
                <a:lnTo>
                  <a:pt x="522" y="624"/>
                </a:lnTo>
                <a:lnTo>
                  <a:pt x="525" y="624"/>
                </a:lnTo>
                <a:lnTo>
                  <a:pt x="527" y="622"/>
                </a:lnTo>
                <a:lnTo>
                  <a:pt x="528" y="621"/>
                </a:lnTo>
                <a:lnTo>
                  <a:pt x="529" y="617"/>
                </a:lnTo>
                <a:lnTo>
                  <a:pt x="529" y="615"/>
                </a:lnTo>
                <a:lnTo>
                  <a:pt x="528" y="612"/>
                </a:lnTo>
                <a:lnTo>
                  <a:pt x="539" y="606"/>
                </a:lnTo>
                <a:lnTo>
                  <a:pt x="549" y="600"/>
                </a:lnTo>
                <a:lnTo>
                  <a:pt x="560" y="594"/>
                </a:lnTo>
                <a:lnTo>
                  <a:pt x="570" y="588"/>
                </a:lnTo>
                <a:lnTo>
                  <a:pt x="560" y="594"/>
                </a:lnTo>
                <a:lnTo>
                  <a:pt x="549" y="600"/>
                </a:lnTo>
                <a:lnTo>
                  <a:pt x="539" y="606"/>
                </a:lnTo>
                <a:lnTo>
                  <a:pt x="528" y="612"/>
                </a:lnTo>
                <a:lnTo>
                  <a:pt x="529" y="615"/>
                </a:lnTo>
                <a:lnTo>
                  <a:pt x="529" y="617"/>
                </a:lnTo>
                <a:lnTo>
                  <a:pt x="528" y="621"/>
                </a:lnTo>
                <a:lnTo>
                  <a:pt x="527" y="622"/>
                </a:lnTo>
                <a:lnTo>
                  <a:pt x="525" y="624"/>
                </a:lnTo>
                <a:lnTo>
                  <a:pt x="522" y="624"/>
                </a:lnTo>
                <a:lnTo>
                  <a:pt x="519" y="626"/>
                </a:lnTo>
                <a:lnTo>
                  <a:pt x="514" y="626"/>
                </a:lnTo>
                <a:close/>
                <a:moveTo>
                  <a:pt x="510" y="624"/>
                </a:moveTo>
                <a:lnTo>
                  <a:pt x="510" y="624"/>
                </a:lnTo>
                <a:lnTo>
                  <a:pt x="511" y="624"/>
                </a:lnTo>
                <a:lnTo>
                  <a:pt x="510" y="624"/>
                </a:lnTo>
                <a:lnTo>
                  <a:pt x="510" y="624"/>
                </a:lnTo>
                <a:close/>
                <a:moveTo>
                  <a:pt x="490" y="633"/>
                </a:moveTo>
                <a:lnTo>
                  <a:pt x="489" y="631"/>
                </a:lnTo>
                <a:lnTo>
                  <a:pt x="489" y="631"/>
                </a:lnTo>
                <a:lnTo>
                  <a:pt x="489" y="631"/>
                </a:lnTo>
                <a:lnTo>
                  <a:pt x="490" y="633"/>
                </a:lnTo>
                <a:lnTo>
                  <a:pt x="490" y="633"/>
                </a:lnTo>
                <a:close/>
                <a:moveTo>
                  <a:pt x="479" y="633"/>
                </a:move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lnTo>
                  <a:pt x="479" y="633"/>
                </a:lnTo>
                <a:close/>
                <a:moveTo>
                  <a:pt x="460" y="645"/>
                </a:moveTo>
                <a:lnTo>
                  <a:pt x="462" y="641"/>
                </a:lnTo>
                <a:lnTo>
                  <a:pt x="464" y="637"/>
                </a:lnTo>
                <a:lnTo>
                  <a:pt x="467" y="634"/>
                </a:lnTo>
                <a:lnTo>
                  <a:pt x="471" y="631"/>
                </a:lnTo>
                <a:lnTo>
                  <a:pt x="467" y="634"/>
                </a:lnTo>
                <a:lnTo>
                  <a:pt x="464" y="637"/>
                </a:lnTo>
                <a:lnTo>
                  <a:pt x="462" y="641"/>
                </a:lnTo>
                <a:lnTo>
                  <a:pt x="460" y="645"/>
                </a:lnTo>
                <a:close/>
                <a:moveTo>
                  <a:pt x="1194" y="117"/>
                </a:moveTo>
                <a:lnTo>
                  <a:pt x="1194" y="117"/>
                </a:lnTo>
                <a:lnTo>
                  <a:pt x="1194" y="116"/>
                </a:lnTo>
                <a:lnTo>
                  <a:pt x="1192" y="116"/>
                </a:lnTo>
                <a:lnTo>
                  <a:pt x="1194" y="116"/>
                </a:lnTo>
                <a:lnTo>
                  <a:pt x="1194" y="117"/>
                </a:lnTo>
                <a:close/>
                <a:moveTo>
                  <a:pt x="989" y="655"/>
                </a:moveTo>
                <a:lnTo>
                  <a:pt x="989" y="655"/>
                </a:lnTo>
                <a:lnTo>
                  <a:pt x="983" y="649"/>
                </a:lnTo>
                <a:lnTo>
                  <a:pt x="975" y="644"/>
                </a:lnTo>
                <a:lnTo>
                  <a:pt x="983" y="649"/>
                </a:lnTo>
                <a:lnTo>
                  <a:pt x="989" y="655"/>
                </a:lnTo>
                <a:close/>
                <a:moveTo>
                  <a:pt x="1021" y="694"/>
                </a:moveTo>
                <a:lnTo>
                  <a:pt x="1021" y="696"/>
                </a:lnTo>
                <a:lnTo>
                  <a:pt x="1021" y="697"/>
                </a:lnTo>
                <a:lnTo>
                  <a:pt x="1021" y="698"/>
                </a:lnTo>
                <a:lnTo>
                  <a:pt x="1021" y="699"/>
                </a:lnTo>
                <a:lnTo>
                  <a:pt x="1021" y="698"/>
                </a:lnTo>
                <a:lnTo>
                  <a:pt x="1021" y="697"/>
                </a:lnTo>
                <a:lnTo>
                  <a:pt x="1021" y="696"/>
                </a:lnTo>
                <a:lnTo>
                  <a:pt x="1021" y="694"/>
                </a:lnTo>
                <a:close/>
                <a:moveTo>
                  <a:pt x="1033" y="713"/>
                </a:moveTo>
                <a:lnTo>
                  <a:pt x="1030" y="711"/>
                </a:lnTo>
                <a:lnTo>
                  <a:pt x="1026" y="710"/>
                </a:lnTo>
                <a:lnTo>
                  <a:pt x="1030" y="711"/>
                </a:lnTo>
                <a:lnTo>
                  <a:pt x="1033" y="713"/>
                </a:lnTo>
                <a:close/>
                <a:moveTo>
                  <a:pt x="1031" y="701"/>
                </a:moveTo>
                <a:lnTo>
                  <a:pt x="1030" y="701"/>
                </a:lnTo>
                <a:lnTo>
                  <a:pt x="1029" y="701"/>
                </a:lnTo>
                <a:lnTo>
                  <a:pt x="1029" y="701"/>
                </a:lnTo>
                <a:lnTo>
                  <a:pt x="1030" y="701"/>
                </a:lnTo>
                <a:lnTo>
                  <a:pt x="1031" y="701"/>
                </a:lnTo>
                <a:close/>
                <a:moveTo>
                  <a:pt x="1536" y="1214"/>
                </a:moveTo>
                <a:lnTo>
                  <a:pt x="1536" y="1208"/>
                </a:lnTo>
                <a:lnTo>
                  <a:pt x="1536" y="1202"/>
                </a:lnTo>
                <a:lnTo>
                  <a:pt x="1536" y="1196"/>
                </a:lnTo>
                <a:lnTo>
                  <a:pt x="1535" y="1190"/>
                </a:lnTo>
                <a:lnTo>
                  <a:pt x="1530" y="1181"/>
                </a:lnTo>
                <a:lnTo>
                  <a:pt x="1525" y="1171"/>
                </a:lnTo>
                <a:lnTo>
                  <a:pt x="1525" y="1169"/>
                </a:lnTo>
                <a:lnTo>
                  <a:pt x="1525" y="1167"/>
                </a:lnTo>
                <a:lnTo>
                  <a:pt x="1525" y="1166"/>
                </a:lnTo>
                <a:lnTo>
                  <a:pt x="1526" y="1165"/>
                </a:lnTo>
                <a:lnTo>
                  <a:pt x="1526" y="1158"/>
                </a:lnTo>
                <a:lnTo>
                  <a:pt x="1527" y="1152"/>
                </a:lnTo>
                <a:lnTo>
                  <a:pt x="1527" y="1147"/>
                </a:lnTo>
                <a:lnTo>
                  <a:pt x="1528" y="1143"/>
                </a:lnTo>
                <a:lnTo>
                  <a:pt x="1530" y="1136"/>
                </a:lnTo>
                <a:lnTo>
                  <a:pt x="1532" y="1129"/>
                </a:lnTo>
                <a:lnTo>
                  <a:pt x="1532" y="1120"/>
                </a:lnTo>
                <a:lnTo>
                  <a:pt x="1533" y="1112"/>
                </a:lnTo>
                <a:lnTo>
                  <a:pt x="1534" y="1098"/>
                </a:lnTo>
                <a:lnTo>
                  <a:pt x="1534" y="1083"/>
                </a:lnTo>
                <a:lnTo>
                  <a:pt x="1533" y="1068"/>
                </a:lnTo>
                <a:lnTo>
                  <a:pt x="1529" y="1053"/>
                </a:lnTo>
                <a:lnTo>
                  <a:pt x="1526" y="1039"/>
                </a:lnTo>
                <a:lnTo>
                  <a:pt x="1521" y="1026"/>
                </a:lnTo>
                <a:lnTo>
                  <a:pt x="1515" y="1013"/>
                </a:lnTo>
                <a:lnTo>
                  <a:pt x="1509" y="1000"/>
                </a:lnTo>
                <a:lnTo>
                  <a:pt x="1501" y="988"/>
                </a:lnTo>
                <a:lnTo>
                  <a:pt x="1493" y="977"/>
                </a:lnTo>
                <a:lnTo>
                  <a:pt x="1484" y="966"/>
                </a:lnTo>
                <a:lnTo>
                  <a:pt x="1473" y="956"/>
                </a:lnTo>
                <a:lnTo>
                  <a:pt x="1471" y="953"/>
                </a:lnTo>
                <a:lnTo>
                  <a:pt x="1466" y="952"/>
                </a:lnTo>
                <a:lnTo>
                  <a:pt x="1465" y="949"/>
                </a:lnTo>
                <a:lnTo>
                  <a:pt x="1463" y="946"/>
                </a:lnTo>
                <a:lnTo>
                  <a:pt x="1459" y="944"/>
                </a:lnTo>
                <a:lnTo>
                  <a:pt x="1457" y="943"/>
                </a:lnTo>
                <a:lnTo>
                  <a:pt x="1457" y="945"/>
                </a:lnTo>
                <a:lnTo>
                  <a:pt x="1457" y="946"/>
                </a:lnTo>
                <a:lnTo>
                  <a:pt x="1457" y="945"/>
                </a:lnTo>
                <a:lnTo>
                  <a:pt x="1457" y="943"/>
                </a:lnTo>
                <a:lnTo>
                  <a:pt x="1440" y="925"/>
                </a:lnTo>
                <a:lnTo>
                  <a:pt x="1423" y="910"/>
                </a:lnTo>
                <a:lnTo>
                  <a:pt x="1417" y="902"/>
                </a:lnTo>
                <a:lnTo>
                  <a:pt x="1412" y="895"/>
                </a:lnTo>
                <a:lnTo>
                  <a:pt x="1411" y="892"/>
                </a:lnTo>
                <a:lnTo>
                  <a:pt x="1410" y="888"/>
                </a:lnTo>
                <a:lnTo>
                  <a:pt x="1409" y="886"/>
                </a:lnTo>
                <a:lnTo>
                  <a:pt x="1406" y="883"/>
                </a:lnTo>
                <a:lnTo>
                  <a:pt x="1406" y="888"/>
                </a:lnTo>
                <a:lnTo>
                  <a:pt x="1406" y="892"/>
                </a:lnTo>
                <a:lnTo>
                  <a:pt x="1406" y="894"/>
                </a:lnTo>
                <a:lnTo>
                  <a:pt x="1405" y="896"/>
                </a:lnTo>
                <a:lnTo>
                  <a:pt x="1403" y="897"/>
                </a:lnTo>
                <a:lnTo>
                  <a:pt x="1401" y="899"/>
                </a:lnTo>
                <a:lnTo>
                  <a:pt x="1396" y="899"/>
                </a:lnTo>
                <a:lnTo>
                  <a:pt x="1391" y="899"/>
                </a:lnTo>
                <a:lnTo>
                  <a:pt x="1384" y="899"/>
                </a:lnTo>
                <a:lnTo>
                  <a:pt x="1376" y="899"/>
                </a:lnTo>
                <a:lnTo>
                  <a:pt x="1373" y="899"/>
                </a:lnTo>
                <a:lnTo>
                  <a:pt x="1371" y="900"/>
                </a:lnTo>
                <a:lnTo>
                  <a:pt x="1370" y="902"/>
                </a:lnTo>
                <a:lnTo>
                  <a:pt x="1371" y="904"/>
                </a:lnTo>
                <a:lnTo>
                  <a:pt x="1371" y="910"/>
                </a:lnTo>
                <a:lnTo>
                  <a:pt x="1373" y="916"/>
                </a:lnTo>
                <a:lnTo>
                  <a:pt x="1371" y="922"/>
                </a:lnTo>
                <a:lnTo>
                  <a:pt x="1369" y="928"/>
                </a:lnTo>
                <a:lnTo>
                  <a:pt x="1369" y="928"/>
                </a:lnTo>
                <a:lnTo>
                  <a:pt x="1368" y="918"/>
                </a:lnTo>
                <a:lnTo>
                  <a:pt x="1368" y="910"/>
                </a:lnTo>
                <a:lnTo>
                  <a:pt x="1367" y="907"/>
                </a:lnTo>
                <a:lnTo>
                  <a:pt x="1367" y="903"/>
                </a:lnTo>
                <a:lnTo>
                  <a:pt x="1366" y="901"/>
                </a:lnTo>
                <a:lnTo>
                  <a:pt x="1362" y="899"/>
                </a:lnTo>
                <a:lnTo>
                  <a:pt x="1349" y="899"/>
                </a:lnTo>
                <a:lnTo>
                  <a:pt x="1335" y="899"/>
                </a:lnTo>
                <a:lnTo>
                  <a:pt x="1334" y="899"/>
                </a:lnTo>
                <a:lnTo>
                  <a:pt x="1332" y="899"/>
                </a:lnTo>
                <a:lnTo>
                  <a:pt x="1328" y="895"/>
                </a:lnTo>
                <a:lnTo>
                  <a:pt x="1323" y="895"/>
                </a:lnTo>
                <a:lnTo>
                  <a:pt x="1320" y="895"/>
                </a:lnTo>
                <a:lnTo>
                  <a:pt x="1315" y="897"/>
                </a:lnTo>
                <a:lnTo>
                  <a:pt x="1315" y="897"/>
                </a:lnTo>
                <a:lnTo>
                  <a:pt x="1314" y="899"/>
                </a:lnTo>
                <a:lnTo>
                  <a:pt x="1305" y="897"/>
                </a:lnTo>
                <a:lnTo>
                  <a:pt x="1294" y="899"/>
                </a:lnTo>
                <a:lnTo>
                  <a:pt x="1285" y="900"/>
                </a:lnTo>
                <a:lnTo>
                  <a:pt x="1274" y="901"/>
                </a:lnTo>
                <a:lnTo>
                  <a:pt x="1270" y="901"/>
                </a:lnTo>
                <a:lnTo>
                  <a:pt x="1266" y="900"/>
                </a:lnTo>
                <a:lnTo>
                  <a:pt x="1265" y="899"/>
                </a:lnTo>
                <a:lnTo>
                  <a:pt x="1264" y="897"/>
                </a:lnTo>
                <a:lnTo>
                  <a:pt x="1263" y="895"/>
                </a:lnTo>
                <a:lnTo>
                  <a:pt x="1263" y="892"/>
                </a:lnTo>
                <a:lnTo>
                  <a:pt x="1263" y="889"/>
                </a:lnTo>
                <a:lnTo>
                  <a:pt x="1260" y="888"/>
                </a:lnTo>
                <a:lnTo>
                  <a:pt x="1258" y="887"/>
                </a:lnTo>
                <a:lnTo>
                  <a:pt x="1256" y="888"/>
                </a:lnTo>
                <a:lnTo>
                  <a:pt x="1250" y="890"/>
                </a:lnTo>
                <a:lnTo>
                  <a:pt x="1244" y="894"/>
                </a:lnTo>
                <a:lnTo>
                  <a:pt x="1239" y="897"/>
                </a:lnTo>
                <a:lnTo>
                  <a:pt x="1235" y="903"/>
                </a:lnTo>
                <a:lnTo>
                  <a:pt x="1226" y="909"/>
                </a:lnTo>
                <a:lnTo>
                  <a:pt x="1218" y="916"/>
                </a:lnTo>
                <a:lnTo>
                  <a:pt x="1209" y="922"/>
                </a:lnTo>
                <a:lnTo>
                  <a:pt x="1199" y="925"/>
                </a:lnTo>
                <a:lnTo>
                  <a:pt x="1189" y="934"/>
                </a:lnTo>
                <a:lnTo>
                  <a:pt x="1177" y="941"/>
                </a:lnTo>
                <a:lnTo>
                  <a:pt x="1176" y="939"/>
                </a:lnTo>
                <a:lnTo>
                  <a:pt x="1175" y="938"/>
                </a:lnTo>
                <a:lnTo>
                  <a:pt x="1182" y="930"/>
                </a:lnTo>
                <a:lnTo>
                  <a:pt x="1189" y="921"/>
                </a:lnTo>
                <a:lnTo>
                  <a:pt x="1194" y="915"/>
                </a:lnTo>
                <a:lnTo>
                  <a:pt x="1198" y="910"/>
                </a:lnTo>
                <a:lnTo>
                  <a:pt x="1201" y="909"/>
                </a:lnTo>
                <a:lnTo>
                  <a:pt x="1202" y="908"/>
                </a:lnTo>
                <a:lnTo>
                  <a:pt x="1203" y="907"/>
                </a:lnTo>
                <a:lnTo>
                  <a:pt x="1202" y="904"/>
                </a:lnTo>
                <a:lnTo>
                  <a:pt x="1199" y="902"/>
                </a:lnTo>
                <a:lnTo>
                  <a:pt x="1197" y="902"/>
                </a:lnTo>
                <a:lnTo>
                  <a:pt x="1195" y="902"/>
                </a:lnTo>
                <a:lnTo>
                  <a:pt x="1194" y="903"/>
                </a:lnTo>
                <a:lnTo>
                  <a:pt x="1187" y="910"/>
                </a:lnTo>
                <a:lnTo>
                  <a:pt x="1180" y="916"/>
                </a:lnTo>
                <a:lnTo>
                  <a:pt x="1182" y="910"/>
                </a:lnTo>
                <a:lnTo>
                  <a:pt x="1183" y="904"/>
                </a:lnTo>
                <a:lnTo>
                  <a:pt x="1166" y="911"/>
                </a:lnTo>
                <a:lnTo>
                  <a:pt x="1148" y="918"/>
                </a:lnTo>
                <a:lnTo>
                  <a:pt x="1130" y="927"/>
                </a:lnTo>
                <a:lnTo>
                  <a:pt x="1113" y="935"/>
                </a:lnTo>
                <a:lnTo>
                  <a:pt x="1078" y="951"/>
                </a:lnTo>
                <a:lnTo>
                  <a:pt x="1044" y="970"/>
                </a:lnTo>
                <a:lnTo>
                  <a:pt x="1040" y="971"/>
                </a:lnTo>
                <a:lnTo>
                  <a:pt x="1037" y="973"/>
                </a:lnTo>
                <a:lnTo>
                  <a:pt x="1021" y="980"/>
                </a:lnTo>
                <a:lnTo>
                  <a:pt x="1004" y="987"/>
                </a:lnTo>
                <a:lnTo>
                  <a:pt x="988" y="995"/>
                </a:lnTo>
                <a:lnTo>
                  <a:pt x="971" y="1004"/>
                </a:lnTo>
                <a:lnTo>
                  <a:pt x="969" y="1004"/>
                </a:lnTo>
                <a:lnTo>
                  <a:pt x="967" y="1004"/>
                </a:lnTo>
                <a:lnTo>
                  <a:pt x="964" y="1009"/>
                </a:lnTo>
                <a:lnTo>
                  <a:pt x="963" y="1016"/>
                </a:lnTo>
                <a:lnTo>
                  <a:pt x="964" y="1009"/>
                </a:lnTo>
                <a:lnTo>
                  <a:pt x="967" y="1004"/>
                </a:lnTo>
                <a:lnTo>
                  <a:pt x="960" y="991"/>
                </a:lnTo>
                <a:lnTo>
                  <a:pt x="954" y="979"/>
                </a:lnTo>
                <a:lnTo>
                  <a:pt x="950" y="970"/>
                </a:lnTo>
                <a:lnTo>
                  <a:pt x="947" y="959"/>
                </a:lnTo>
                <a:lnTo>
                  <a:pt x="942" y="949"/>
                </a:lnTo>
                <a:lnTo>
                  <a:pt x="940" y="938"/>
                </a:lnTo>
                <a:lnTo>
                  <a:pt x="940" y="936"/>
                </a:lnTo>
                <a:lnTo>
                  <a:pt x="939" y="934"/>
                </a:lnTo>
                <a:lnTo>
                  <a:pt x="934" y="916"/>
                </a:lnTo>
                <a:lnTo>
                  <a:pt x="929" y="900"/>
                </a:lnTo>
                <a:lnTo>
                  <a:pt x="928" y="892"/>
                </a:lnTo>
                <a:lnTo>
                  <a:pt x="926" y="882"/>
                </a:lnTo>
                <a:lnTo>
                  <a:pt x="925" y="873"/>
                </a:lnTo>
                <a:lnTo>
                  <a:pt x="922" y="865"/>
                </a:lnTo>
                <a:lnTo>
                  <a:pt x="921" y="855"/>
                </a:lnTo>
                <a:lnTo>
                  <a:pt x="920" y="847"/>
                </a:lnTo>
                <a:lnTo>
                  <a:pt x="920" y="841"/>
                </a:lnTo>
                <a:lnTo>
                  <a:pt x="918" y="838"/>
                </a:lnTo>
                <a:lnTo>
                  <a:pt x="918" y="830"/>
                </a:lnTo>
                <a:lnTo>
                  <a:pt x="918" y="823"/>
                </a:lnTo>
                <a:lnTo>
                  <a:pt x="918" y="817"/>
                </a:lnTo>
                <a:lnTo>
                  <a:pt x="918" y="810"/>
                </a:lnTo>
                <a:lnTo>
                  <a:pt x="919" y="806"/>
                </a:lnTo>
                <a:lnTo>
                  <a:pt x="918" y="802"/>
                </a:lnTo>
                <a:lnTo>
                  <a:pt x="918" y="801"/>
                </a:lnTo>
                <a:lnTo>
                  <a:pt x="918" y="798"/>
                </a:lnTo>
                <a:lnTo>
                  <a:pt x="920" y="790"/>
                </a:lnTo>
                <a:lnTo>
                  <a:pt x="920" y="782"/>
                </a:lnTo>
                <a:lnTo>
                  <a:pt x="924" y="768"/>
                </a:lnTo>
                <a:lnTo>
                  <a:pt x="926" y="755"/>
                </a:lnTo>
                <a:lnTo>
                  <a:pt x="928" y="749"/>
                </a:lnTo>
                <a:lnTo>
                  <a:pt x="931" y="743"/>
                </a:lnTo>
                <a:lnTo>
                  <a:pt x="934" y="738"/>
                </a:lnTo>
                <a:lnTo>
                  <a:pt x="938" y="732"/>
                </a:lnTo>
                <a:lnTo>
                  <a:pt x="943" y="726"/>
                </a:lnTo>
                <a:lnTo>
                  <a:pt x="950" y="720"/>
                </a:lnTo>
                <a:lnTo>
                  <a:pt x="957" y="714"/>
                </a:lnTo>
                <a:lnTo>
                  <a:pt x="964" y="710"/>
                </a:lnTo>
                <a:lnTo>
                  <a:pt x="966" y="712"/>
                </a:lnTo>
                <a:lnTo>
                  <a:pt x="964" y="715"/>
                </a:lnTo>
                <a:lnTo>
                  <a:pt x="960" y="724"/>
                </a:lnTo>
                <a:lnTo>
                  <a:pt x="956" y="732"/>
                </a:lnTo>
                <a:lnTo>
                  <a:pt x="954" y="740"/>
                </a:lnTo>
                <a:lnTo>
                  <a:pt x="952" y="749"/>
                </a:lnTo>
                <a:lnTo>
                  <a:pt x="950" y="755"/>
                </a:lnTo>
                <a:lnTo>
                  <a:pt x="949" y="761"/>
                </a:lnTo>
                <a:lnTo>
                  <a:pt x="949" y="767"/>
                </a:lnTo>
                <a:lnTo>
                  <a:pt x="950" y="771"/>
                </a:lnTo>
                <a:lnTo>
                  <a:pt x="953" y="782"/>
                </a:lnTo>
                <a:lnTo>
                  <a:pt x="959" y="792"/>
                </a:lnTo>
                <a:lnTo>
                  <a:pt x="967" y="808"/>
                </a:lnTo>
                <a:lnTo>
                  <a:pt x="977" y="823"/>
                </a:lnTo>
                <a:lnTo>
                  <a:pt x="987" y="838"/>
                </a:lnTo>
                <a:lnTo>
                  <a:pt x="996" y="854"/>
                </a:lnTo>
                <a:lnTo>
                  <a:pt x="1001" y="860"/>
                </a:lnTo>
                <a:lnTo>
                  <a:pt x="1004" y="867"/>
                </a:lnTo>
                <a:lnTo>
                  <a:pt x="1010" y="872"/>
                </a:lnTo>
                <a:lnTo>
                  <a:pt x="1016" y="876"/>
                </a:lnTo>
                <a:lnTo>
                  <a:pt x="1026" y="881"/>
                </a:lnTo>
                <a:lnTo>
                  <a:pt x="1036" y="885"/>
                </a:lnTo>
                <a:lnTo>
                  <a:pt x="1046" y="888"/>
                </a:lnTo>
                <a:lnTo>
                  <a:pt x="1056" y="890"/>
                </a:lnTo>
                <a:lnTo>
                  <a:pt x="1066" y="892"/>
                </a:lnTo>
                <a:lnTo>
                  <a:pt x="1077" y="893"/>
                </a:lnTo>
                <a:lnTo>
                  <a:pt x="1087" y="893"/>
                </a:lnTo>
                <a:lnTo>
                  <a:pt x="1098" y="893"/>
                </a:lnTo>
                <a:lnTo>
                  <a:pt x="1102" y="894"/>
                </a:lnTo>
                <a:lnTo>
                  <a:pt x="1107" y="894"/>
                </a:lnTo>
                <a:lnTo>
                  <a:pt x="1112" y="892"/>
                </a:lnTo>
                <a:lnTo>
                  <a:pt x="1115" y="890"/>
                </a:lnTo>
                <a:lnTo>
                  <a:pt x="1122" y="885"/>
                </a:lnTo>
                <a:lnTo>
                  <a:pt x="1129" y="880"/>
                </a:lnTo>
                <a:lnTo>
                  <a:pt x="1135" y="875"/>
                </a:lnTo>
                <a:lnTo>
                  <a:pt x="1139" y="871"/>
                </a:lnTo>
                <a:lnTo>
                  <a:pt x="1141" y="865"/>
                </a:lnTo>
                <a:lnTo>
                  <a:pt x="1142" y="860"/>
                </a:lnTo>
                <a:lnTo>
                  <a:pt x="1148" y="847"/>
                </a:lnTo>
                <a:lnTo>
                  <a:pt x="1154" y="837"/>
                </a:lnTo>
                <a:lnTo>
                  <a:pt x="1156" y="833"/>
                </a:lnTo>
                <a:lnTo>
                  <a:pt x="1159" y="830"/>
                </a:lnTo>
                <a:lnTo>
                  <a:pt x="1159" y="829"/>
                </a:lnTo>
                <a:lnTo>
                  <a:pt x="1159" y="827"/>
                </a:lnTo>
                <a:lnTo>
                  <a:pt x="1156" y="825"/>
                </a:lnTo>
                <a:lnTo>
                  <a:pt x="1154" y="824"/>
                </a:lnTo>
                <a:lnTo>
                  <a:pt x="1153" y="823"/>
                </a:lnTo>
                <a:lnTo>
                  <a:pt x="1152" y="822"/>
                </a:lnTo>
                <a:lnTo>
                  <a:pt x="1150" y="820"/>
                </a:lnTo>
                <a:lnTo>
                  <a:pt x="1150" y="818"/>
                </a:lnTo>
                <a:lnTo>
                  <a:pt x="1155" y="822"/>
                </a:lnTo>
                <a:lnTo>
                  <a:pt x="1160" y="824"/>
                </a:lnTo>
                <a:lnTo>
                  <a:pt x="1161" y="818"/>
                </a:lnTo>
                <a:lnTo>
                  <a:pt x="1161" y="816"/>
                </a:lnTo>
                <a:lnTo>
                  <a:pt x="1157" y="813"/>
                </a:lnTo>
                <a:lnTo>
                  <a:pt x="1153" y="813"/>
                </a:lnTo>
                <a:lnTo>
                  <a:pt x="1149" y="813"/>
                </a:lnTo>
                <a:lnTo>
                  <a:pt x="1147" y="813"/>
                </a:lnTo>
                <a:lnTo>
                  <a:pt x="1146" y="813"/>
                </a:lnTo>
                <a:lnTo>
                  <a:pt x="1145" y="812"/>
                </a:lnTo>
                <a:lnTo>
                  <a:pt x="1143" y="811"/>
                </a:lnTo>
                <a:lnTo>
                  <a:pt x="1143" y="809"/>
                </a:lnTo>
                <a:lnTo>
                  <a:pt x="1143" y="803"/>
                </a:lnTo>
                <a:lnTo>
                  <a:pt x="1143" y="798"/>
                </a:lnTo>
                <a:lnTo>
                  <a:pt x="1143" y="796"/>
                </a:lnTo>
                <a:lnTo>
                  <a:pt x="1145" y="795"/>
                </a:lnTo>
                <a:lnTo>
                  <a:pt x="1147" y="792"/>
                </a:lnTo>
                <a:lnTo>
                  <a:pt x="1149" y="792"/>
                </a:lnTo>
                <a:lnTo>
                  <a:pt x="1154" y="790"/>
                </a:lnTo>
                <a:lnTo>
                  <a:pt x="1159" y="787"/>
                </a:lnTo>
                <a:lnTo>
                  <a:pt x="1161" y="787"/>
                </a:lnTo>
                <a:lnTo>
                  <a:pt x="1163" y="785"/>
                </a:lnTo>
                <a:lnTo>
                  <a:pt x="1167" y="785"/>
                </a:lnTo>
                <a:lnTo>
                  <a:pt x="1169" y="787"/>
                </a:lnTo>
                <a:lnTo>
                  <a:pt x="1171" y="782"/>
                </a:lnTo>
                <a:lnTo>
                  <a:pt x="1175" y="777"/>
                </a:lnTo>
                <a:lnTo>
                  <a:pt x="1173" y="776"/>
                </a:lnTo>
                <a:lnTo>
                  <a:pt x="1171" y="774"/>
                </a:lnTo>
                <a:lnTo>
                  <a:pt x="1171" y="771"/>
                </a:lnTo>
                <a:lnTo>
                  <a:pt x="1171" y="769"/>
                </a:lnTo>
                <a:lnTo>
                  <a:pt x="1171" y="767"/>
                </a:lnTo>
                <a:lnTo>
                  <a:pt x="1171" y="764"/>
                </a:lnTo>
                <a:lnTo>
                  <a:pt x="1169" y="763"/>
                </a:lnTo>
                <a:lnTo>
                  <a:pt x="1166" y="762"/>
                </a:lnTo>
                <a:lnTo>
                  <a:pt x="1166" y="762"/>
                </a:lnTo>
                <a:lnTo>
                  <a:pt x="1162" y="759"/>
                </a:lnTo>
                <a:lnTo>
                  <a:pt x="1157" y="755"/>
                </a:lnTo>
                <a:lnTo>
                  <a:pt x="1153" y="753"/>
                </a:lnTo>
                <a:lnTo>
                  <a:pt x="1148" y="752"/>
                </a:lnTo>
                <a:lnTo>
                  <a:pt x="1143" y="750"/>
                </a:lnTo>
                <a:lnTo>
                  <a:pt x="1140" y="747"/>
                </a:lnTo>
                <a:lnTo>
                  <a:pt x="1138" y="743"/>
                </a:lnTo>
                <a:lnTo>
                  <a:pt x="1136" y="740"/>
                </a:lnTo>
                <a:lnTo>
                  <a:pt x="1134" y="735"/>
                </a:lnTo>
                <a:lnTo>
                  <a:pt x="1132" y="732"/>
                </a:lnTo>
                <a:lnTo>
                  <a:pt x="1128" y="731"/>
                </a:lnTo>
                <a:lnTo>
                  <a:pt x="1125" y="729"/>
                </a:lnTo>
                <a:lnTo>
                  <a:pt x="1121" y="728"/>
                </a:lnTo>
                <a:lnTo>
                  <a:pt x="1119" y="728"/>
                </a:lnTo>
                <a:lnTo>
                  <a:pt x="1118" y="729"/>
                </a:lnTo>
                <a:lnTo>
                  <a:pt x="1118" y="731"/>
                </a:lnTo>
                <a:lnTo>
                  <a:pt x="1118" y="733"/>
                </a:lnTo>
                <a:lnTo>
                  <a:pt x="1119" y="734"/>
                </a:lnTo>
                <a:lnTo>
                  <a:pt x="1120" y="736"/>
                </a:lnTo>
                <a:lnTo>
                  <a:pt x="1119" y="739"/>
                </a:lnTo>
                <a:lnTo>
                  <a:pt x="1118" y="739"/>
                </a:lnTo>
                <a:lnTo>
                  <a:pt x="1115" y="739"/>
                </a:lnTo>
                <a:lnTo>
                  <a:pt x="1108" y="734"/>
                </a:lnTo>
                <a:lnTo>
                  <a:pt x="1104" y="728"/>
                </a:lnTo>
                <a:lnTo>
                  <a:pt x="1102" y="725"/>
                </a:lnTo>
                <a:lnTo>
                  <a:pt x="1099" y="722"/>
                </a:lnTo>
                <a:lnTo>
                  <a:pt x="1097" y="722"/>
                </a:lnTo>
                <a:lnTo>
                  <a:pt x="1093" y="722"/>
                </a:lnTo>
                <a:lnTo>
                  <a:pt x="1088" y="724"/>
                </a:lnTo>
                <a:lnTo>
                  <a:pt x="1086" y="722"/>
                </a:lnTo>
                <a:lnTo>
                  <a:pt x="1084" y="720"/>
                </a:lnTo>
                <a:lnTo>
                  <a:pt x="1083" y="717"/>
                </a:lnTo>
                <a:lnTo>
                  <a:pt x="1083" y="714"/>
                </a:lnTo>
                <a:lnTo>
                  <a:pt x="1083" y="712"/>
                </a:lnTo>
                <a:lnTo>
                  <a:pt x="1081" y="710"/>
                </a:lnTo>
                <a:lnTo>
                  <a:pt x="1079" y="708"/>
                </a:lnTo>
                <a:lnTo>
                  <a:pt x="1077" y="712"/>
                </a:lnTo>
                <a:lnTo>
                  <a:pt x="1074" y="715"/>
                </a:lnTo>
                <a:lnTo>
                  <a:pt x="1072" y="712"/>
                </a:lnTo>
                <a:lnTo>
                  <a:pt x="1069" y="708"/>
                </a:lnTo>
                <a:lnTo>
                  <a:pt x="1064" y="706"/>
                </a:lnTo>
                <a:lnTo>
                  <a:pt x="1059" y="705"/>
                </a:lnTo>
                <a:lnTo>
                  <a:pt x="1059" y="703"/>
                </a:lnTo>
                <a:lnTo>
                  <a:pt x="1058" y="700"/>
                </a:lnTo>
                <a:lnTo>
                  <a:pt x="1057" y="699"/>
                </a:lnTo>
                <a:lnTo>
                  <a:pt x="1056" y="699"/>
                </a:lnTo>
                <a:lnTo>
                  <a:pt x="1052" y="699"/>
                </a:lnTo>
                <a:lnTo>
                  <a:pt x="1049" y="700"/>
                </a:lnTo>
                <a:lnTo>
                  <a:pt x="1040" y="698"/>
                </a:lnTo>
                <a:lnTo>
                  <a:pt x="1031" y="696"/>
                </a:lnTo>
                <a:lnTo>
                  <a:pt x="1031" y="692"/>
                </a:lnTo>
                <a:lnTo>
                  <a:pt x="1032" y="689"/>
                </a:lnTo>
                <a:lnTo>
                  <a:pt x="1036" y="687"/>
                </a:lnTo>
                <a:lnTo>
                  <a:pt x="1039" y="686"/>
                </a:lnTo>
                <a:lnTo>
                  <a:pt x="1042" y="686"/>
                </a:lnTo>
                <a:lnTo>
                  <a:pt x="1043" y="685"/>
                </a:lnTo>
                <a:lnTo>
                  <a:pt x="1044" y="683"/>
                </a:lnTo>
                <a:lnTo>
                  <a:pt x="1044" y="680"/>
                </a:lnTo>
                <a:lnTo>
                  <a:pt x="1044" y="678"/>
                </a:lnTo>
                <a:lnTo>
                  <a:pt x="1042" y="677"/>
                </a:lnTo>
                <a:lnTo>
                  <a:pt x="1039" y="677"/>
                </a:lnTo>
                <a:lnTo>
                  <a:pt x="1038" y="677"/>
                </a:lnTo>
                <a:lnTo>
                  <a:pt x="1035" y="678"/>
                </a:lnTo>
                <a:lnTo>
                  <a:pt x="1031" y="678"/>
                </a:lnTo>
                <a:lnTo>
                  <a:pt x="1029" y="679"/>
                </a:lnTo>
                <a:lnTo>
                  <a:pt x="1025" y="682"/>
                </a:lnTo>
                <a:lnTo>
                  <a:pt x="1019" y="678"/>
                </a:lnTo>
                <a:lnTo>
                  <a:pt x="1014" y="673"/>
                </a:lnTo>
                <a:lnTo>
                  <a:pt x="1010" y="668"/>
                </a:lnTo>
                <a:lnTo>
                  <a:pt x="1007" y="662"/>
                </a:lnTo>
                <a:lnTo>
                  <a:pt x="1010" y="662"/>
                </a:lnTo>
                <a:lnTo>
                  <a:pt x="1015" y="663"/>
                </a:lnTo>
                <a:lnTo>
                  <a:pt x="1023" y="666"/>
                </a:lnTo>
                <a:lnTo>
                  <a:pt x="1032" y="669"/>
                </a:lnTo>
                <a:lnTo>
                  <a:pt x="1040" y="671"/>
                </a:lnTo>
                <a:lnTo>
                  <a:pt x="1050" y="672"/>
                </a:lnTo>
                <a:lnTo>
                  <a:pt x="1067" y="673"/>
                </a:lnTo>
                <a:lnTo>
                  <a:pt x="1086" y="673"/>
                </a:lnTo>
                <a:lnTo>
                  <a:pt x="1090" y="673"/>
                </a:lnTo>
                <a:lnTo>
                  <a:pt x="1093" y="672"/>
                </a:lnTo>
                <a:lnTo>
                  <a:pt x="1097" y="671"/>
                </a:lnTo>
                <a:lnTo>
                  <a:pt x="1100" y="669"/>
                </a:lnTo>
                <a:lnTo>
                  <a:pt x="1095" y="668"/>
                </a:lnTo>
                <a:lnTo>
                  <a:pt x="1091" y="668"/>
                </a:lnTo>
                <a:lnTo>
                  <a:pt x="1086" y="668"/>
                </a:lnTo>
                <a:lnTo>
                  <a:pt x="1083" y="669"/>
                </a:lnTo>
                <a:lnTo>
                  <a:pt x="1078" y="671"/>
                </a:lnTo>
                <a:lnTo>
                  <a:pt x="1073" y="671"/>
                </a:lnTo>
                <a:lnTo>
                  <a:pt x="1069" y="671"/>
                </a:lnTo>
                <a:lnTo>
                  <a:pt x="1064" y="671"/>
                </a:lnTo>
                <a:lnTo>
                  <a:pt x="1051" y="669"/>
                </a:lnTo>
                <a:lnTo>
                  <a:pt x="1038" y="665"/>
                </a:lnTo>
                <a:lnTo>
                  <a:pt x="1025" y="662"/>
                </a:lnTo>
                <a:lnTo>
                  <a:pt x="1014" y="658"/>
                </a:lnTo>
                <a:lnTo>
                  <a:pt x="1002" y="652"/>
                </a:lnTo>
                <a:lnTo>
                  <a:pt x="990" y="648"/>
                </a:lnTo>
                <a:lnTo>
                  <a:pt x="978" y="641"/>
                </a:lnTo>
                <a:lnTo>
                  <a:pt x="968" y="634"/>
                </a:lnTo>
                <a:lnTo>
                  <a:pt x="963" y="630"/>
                </a:lnTo>
                <a:lnTo>
                  <a:pt x="960" y="627"/>
                </a:lnTo>
                <a:lnTo>
                  <a:pt x="955" y="623"/>
                </a:lnTo>
                <a:lnTo>
                  <a:pt x="949" y="622"/>
                </a:lnTo>
                <a:lnTo>
                  <a:pt x="949" y="622"/>
                </a:lnTo>
                <a:lnTo>
                  <a:pt x="949" y="619"/>
                </a:lnTo>
                <a:lnTo>
                  <a:pt x="948" y="616"/>
                </a:lnTo>
                <a:lnTo>
                  <a:pt x="943" y="612"/>
                </a:lnTo>
                <a:lnTo>
                  <a:pt x="941" y="608"/>
                </a:lnTo>
                <a:lnTo>
                  <a:pt x="939" y="603"/>
                </a:lnTo>
                <a:lnTo>
                  <a:pt x="938" y="599"/>
                </a:lnTo>
                <a:lnTo>
                  <a:pt x="938" y="595"/>
                </a:lnTo>
                <a:lnTo>
                  <a:pt x="939" y="591"/>
                </a:lnTo>
                <a:lnTo>
                  <a:pt x="940" y="585"/>
                </a:lnTo>
                <a:lnTo>
                  <a:pt x="943" y="580"/>
                </a:lnTo>
                <a:lnTo>
                  <a:pt x="945" y="574"/>
                </a:lnTo>
                <a:lnTo>
                  <a:pt x="945" y="567"/>
                </a:lnTo>
                <a:lnTo>
                  <a:pt x="946" y="565"/>
                </a:lnTo>
                <a:lnTo>
                  <a:pt x="947" y="563"/>
                </a:lnTo>
                <a:lnTo>
                  <a:pt x="948" y="560"/>
                </a:lnTo>
                <a:lnTo>
                  <a:pt x="952" y="558"/>
                </a:lnTo>
                <a:lnTo>
                  <a:pt x="952" y="557"/>
                </a:lnTo>
                <a:lnTo>
                  <a:pt x="950" y="556"/>
                </a:lnTo>
                <a:lnTo>
                  <a:pt x="943" y="550"/>
                </a:lnTo>
                <a:lnTo>
                  <a:pt x="938" y="543"/>
                </a:lnTo>
                <a:lnTo>
                  <a:pt x="934" y="539"/>
                </a:lnTo>
                <a:lnTo>
                  <a:pt x="931" y="537"/>
                </a:lnTo>
                <a:lnTo>
                  <a:pt x="926" y="536"/>
                </a:lnTo>
                <a:lnTo>
                  <a:pt x="921" y="535"/>
                </a:lnTo>
                <a:lnTo>
                  <a:pt x="914" y="529"/>
                </a:lnTo>
                <a:lnTo>
                  <a:pt x="907" y="523"/>
                </a:lnTo>
                <a:lnTo>
                  <a:pt x="906" y="521"/>
                </a:lnTo>
                <a:lnTo>
                  <a:pt x="905" y="519"/>
                </a:lnTo>
                <a:lnTo>
                  <a:pt x="902" y="516"/>
                </a:lnTo>
                <a:lnTo>
                  <a:pt x="902" y="512"/>
                </a:lnTo>
                <a:lnTo>
                  <a:pt x="919" y="523"/>
                </a:lnTo>
                <a:lnTo>
                  <a:pt x="935" y="532"/>
                </a:lnTo>
                <a:lnTo>
                  <a:pt x="953" y="540"/>
                </a:lnTo>
                <a:lnTo>
                  <a:pt x="970" y="547"/>
                </a:lnTo>
                <a:lnTo>
                  <a:pt x="967" y="542"/>
                </a:lnTo>
                <a:lnTo>
                  <a:pt x="962" y="537"/>
                </a:lnTo>
                <a:lnTo>
                  <a:pt x="954" y="530"/>
                </a:lnTo>
                <a:lnTo>
                  <a:pt x="947" y="522"/>
                </a:lnTo>
                <a:lnTo>
                  <a:pt x="941" y="514"/>
                </a:lnTo>
                <a:lnTo>
                  <a:pt x="936" y="505"/>
                </a:lnTo>
                <a:lnTo>
                  <a:pt x="928" y="487"/>
                </a:lnTo>
                <a:lnTo>
                  <a:pt x="924" y="467"/>
                </a:lnTo>
                <a:lnTo>
                  <a:pt x="922" y="462"/>
                </a:lnTo>
                <a:lnTo>
                  <a:pt x="924" y="459"/>
                </a:lnTo>
                <a:lnTo>
                  <a:pt x="927" y="458"/>
                </a:lnTo>
                <a:lnTo>
                  <a:pt x="932" y="456"/>
                </a:lnTo>
                <a:lnTo>
                  <a:pt x="938" y="460"/>
                </a:lnTo>
                <a:lnTo>
                  <a:pt x="942" y="463"/>
                </a:lnTo>
                <a:lnTo>
                  <a:pt x="948" y="468"/>
                </a:lnTo>
                <a:lnTo>
                  <a:pt x="955" y="470"/>
                </a:lnTo>
                <a:lnTo>
                  <a:pt x="961" y="473"/>
                </a:lnTo>
                <a:lnTo>
                  <a:pt x="968" y="474"/>
                </a:lnTo>
                <a:lnTo>
                  <a:pt x="970" y="474"/>
                </a:lnTo>
                <a:lnTo>
                  <a:pt x="971" y="473"/>
                </a:lnTo>
                <a:lnTo>
                  <a:pt x="971" y="470"/>
                </a:lnTo>
                <a:lnTo>
                  <a:pt x="970" y="469"/>
                </a:lnTo>
                <a:lnTo>
                  <a:pt x="963" y="463"/>
                </a:lnTo>
                <a:lnTo>
                  <a:pt x="957" y="458"/>
                </a:lnTo>
                <a:lnTo>
                  <a:pt x="950" y="453"/>
                </a:lnTo>
                <a:lnTo>
                  <a:pt x="941" y="449"/>
                </a:lnTo>
                <a:lnTo>
                  <a:pt x="938" y="447"/>
                </a:lnTo>
                <a:lnTo>
                  <a:pt x="934" y="444"/>
                </a:lnTo>
                <a:lnTo>
                  <a:pt x="925" y="437"/>
                </a:lnTo>
                <a:lnTo>
                  <a:pt x="915" y="428"/>
                </a:lnTo>
                <a:lnTo>
                  <a:pt x="912" y="425"/>
                </a:lnTo>
                <a:lnTo>
                  <a:pt x="908" y="420"/>
                </a:lnTo>
                <a:lnTo>
                  <a:pt x="905" y="414"/>
                </a:lnTo>
                <a:lnTo>
                  <a:pt x="904" y="409"/>
                </a:lnTo>
                <a:lnTo>
                  <a:pt x="904" y="404"/>
                </a:lnTo>
                <a:lnTo>
                  <a:pt x="904" y="399"/>
                </a:lnTo>
                <a:lnTo>
                  <a:pt x="904" y="399"/>
                </a:lnTo>
                <a:lnTo>
                  <a:pt x="908" y="385"/>
                </a:lnTo>
                <a:lnTo>
                  <a:pt x="912" y="369"/>
                </a:lnTo>
                <a:lnTo>
                  <a:pt x="914" y="354"/>
                </a:lnTo>
                <a:lnTo>
                  <a:pt x="918" y="339"/>
                </a:lnTo>
                <a:lnTo>
                  <a:pt x="924" y="322"/>
                </a:lnTo>
                <a:lnTo>
                  <a:pt x="929" y="307"/>
                </a:lnTo>
                <a:lnTo>
                  <a:pt x="936" y="292"/>
                </a:lnTo>
                <a:lnTo>
                  <a:pt x="943" y="277"/>
                </a:lnTo>
                <a:lnTo>
                  <a:pt x="953" y="263"/>
                </a:lnTo>
                <a:lnTo>
                  <a:pt x="963" y="249"/>
                </a:lnTo>
                <a:lnTo>
                  <a:pt x="975" y="236"/>
                </a:lnTo>
                <a:lnTo>
                  <a:pt x="987" y="224"/>
                </a:lnTo>
                <a:lnTo>
                  <a:pt x="1000" y="214"/>
                </a:lnTo>
                <a:lnTo>
                  <a:pt x="1014" y="204"/>
                </a:lnTo>
                <a:lnTo>
                  <a:pt x="1029" y="196"/>
                </a:lnTo>
                <a:lnTo>
                  <a:pt x="1045" y="188"/>
                </a:lnTo>
                <a:lnTo>
                  <a:pt x="1054" y="184"/>
                </a:lnTo>
                <a:lnTo>
                  <a:pt x="1064" y="181"/>
                </a:lnTo>
                <a:lnTo>
                  <a:pt x="1072" y="177"/>
                </a:lnTo>
                <a:lnTo>
                  <a:pt x="1081" y="173"/>
                </a:lnTo>
                <a:lnTo>
                  <a:pt x="1099" y="169"/>
                </a:lnTo>
                <a:lnTo>
                  <a:pt x="1115" y="166"/>
                </a:lnTo>
                <a:lnTo>
                  <a:pt x="1136" y="163"/>
                </a:lnTo>
                <a:lnTo>
                  <a:pt x="1157" y="161"/>
                </a:lnTo>
                <a:lnTo>
                  <a:pt x="1177" y="161"/>
                </a:lnTo>
                <a:lnTo>
                  <a:pt x="1198" y="161"/>
                </a:lnTo>
                <a:lnTo>
                  <a:pt x="1210" y="161"/>
                </a:lnTo>
                <a:lnTo>
                  <a:pt x="1221" y="163"/>
                </a:lnTo>
                <a:lnTo>
                  <a:pt x="1231" y="166"/>
                </a:lnTo>
                <a:lnTo>
                  <a:pt x="1242" y="167"/>
                </a:lnTo>
                <a:lnTo>
                  <a:pt x="1252" y="168"/>
                </a:lnTo>
                <a:lnTo>
                  <a:pt x="1264" y="170"/>
                </a:lnTo>
                <a:lnTo>
                  <a:pt x="1264" y="167"/>
                </a:lnTo>
                <a:lnTo>
                  <a:pt x="1265" y="166"/>
                </a:lnTo>
                <a:lnTo>
                  <a:pt x="1266" y="163"/>
                </a:lnTo>
                <a:lnTo>
                  <a:pt x="1268" y="162"/>
                </a:lnTo>
                <a:lnTo>
                  <a:pt x="1272" y="160"/>
                </a:lnTo>
                <a:lnTo>
                  <a:pt x="1275" y="159"/>
                </a:lnTo>
                <a:lnTo>
                  <a:pt x="1278" y="159"/>
                </a:lnTo>
                <a:lnTo>
                  <a:pt x="1279" y="158"/>
                </a:lnTo>
                <a:lnTo>
                  <a:pt x="1280" y="156"/>
                </a:lnTo>
                <a:lnTo>
                  <a:pt x="1280" y="155"/>
                </a:lnTo>
                <a:lnTo>
                  <a:pt x="1281" y="154"/>
                </a:lnTo>
                <a:lnTo>
                  <a:pt x="1283" y="153"/>
                </a:lnTo>
                <a:lnTo>
                  <a:pt x="1284" y="153"/>
                </a:lnTo>
                <a:lnTo>
                  <a:pt x="1285" y="153"/>
                </a:lnTo>
                <a:lnTo>
                  <a:pt x="1286" y="152"/>
                </a:lnTo>
                <a:lnTo>
                  <a:pt x="1286" y="149"/>
                </a:lnTo>
                <a:lnTo>
                  <a:pt x="1301" y="141"/>
                </a:lnTo>
                <a:lnTo>
                  <a:pt x="1315" y="131"/>
                </a:lnTo>
                <a:lnTo>
                  <a:pt x="1329" y="121"/>
                </a:lnTo>
                <a:lnTo>
                  <a:pt x="1344" y="112"/>
                </a:lnTo>
                <a:lnTo>
                  <a:pt x="1355" y="104"/>
                </a:lnTo>
                <a:lnTo>
                  <a:pt x="1367" y="97"/>
                </a:lnTo>
                <a:lnTo>
                  <a:pt x="1373" y="92"/>
                </a:lnTo>
                <a:lnTo>
                  <a:pt x="1376" y="88"/>
                </a:lnTo>
                <a:lnTo>
                  <a:pt x="1378" y="85"/>
                </a:lnTo>
                <a:lnTo>
                  <a:pt x="1381" y="83"/>
                </a:lnTo>
                <a:lnTo>
                  <a:pt x="1384" y="82"/>
                </a:lnTo>
                <a:lnTo>
                  <a:pt x="1388" y="82"/>
                </a:lnTo>
                <a:lnTo>
                  <a:pt x="1388" y="81"/>
                </a:lnTo>
                <a:lnTo>
                  <a:pt x="1389" y="79"/>
                </a:lnTo>
                <a:lnTo>
                  <a:pt x="1389" y="72"/>
                </a:lnTo>
                <a:lnTo>
                  <a:pt x="1389" y="65"/>
                </a:lnTo>
                <a:lnTo>
                  <a:pt x="1388" y="62"/>
                </a:lnTo>
                <a:lnTo>
                  <a:pt x="1387" y="58"/>
                </a:lnTo>
                <a:lnTo>
                  <a:pt x="1385" y="55"/>
                </a:lnTo>
                <a:lnTo>
                  <a:pt x="1383" y="51"/>
                </a:lnTo>
                <a:lnTo>
                  <a:pt x="1383" y="49"/>
                </a:lnTo>
                <a:lnTo>
                  <a:pt x="1383" y="47"/>
                </a:lnTo>
                <a:lnTo>
                  <a:pt x="1381" y="41"/>
                </a:lnTo>
                <a:lnTo>
                  <a:pt x="1377" y="36"/>
                </a:lnTo>
                <a:lnTo>
                  <a:pt x="1371" y="28"/>
                </a:lnTo>
                <a:lnTo>
                  <a:pt x="1366" y="21"/>
                </a:lnTo>
                <a:lnTo>
                  <a:pt x="1357" y="14"/>
                </a:lnTo>
                <a:lnTo>
                  <a:pt x="1348" y="8"/>
                </a:lnTo>
                <a:lnTo>
                  <a:pt x="1339" y="4"/>
                </a:lnTo>
                <a:lnTo>
                  <a:pt x="1328" y="0"/>
                </a:lnTo>
                <a:lnTo>
                  <a:pt x="1318" y="0"/>
                </a:lnTo>
                <a:lnTo>
                  <a:pt x="1307" y="1"/>
                </a:lnTo>
                <a:lnTo>
                  <a:pt x="1298" y="5"/>
                </a:lnTo>
                <a:lnTo>
                  <a:pt x="1290" y="9"/>
                </a:lnTo>
                <a:lnTo>
                  <a:pt x="1283" y="14"/>
                </a:lnTo>
                <a:lnTo>
                  <a:pt x="1274" y="20"/>
                </a:lnTo>
                <a:lnTo>
                  <a:pt x="1247" y="37"/>
                </a:lnTo>
                <a:lnTo>
                  <a:pt x="1221" y="55"/>
                </a:lnTo>
                <a:lnTo>
                  <a:pt x="1194" y="74"/>
                </a:lnTo>
                <a:lnTo>
                  <a:pt x="1167" y="92"/>
                </a:lnTo>
                <a:lnTo>
                  <a:pt x="1135" y="114"/>
                </a:lnTo>
                <a:lnTo>
                  <a:pt x="1102" y="135"/>
                </a:lnTo>
                <a:lnTo>
                  <a:pt x="1071" y="158"/>
                </a:lnTo>
                <a:lnTo>
                  <a:pt x="1039" y="180"/>
                </a:lnTo>
                <a:lnTo>
                  <a:pt x="1024" y="191"/>
                </a:lnTo>
                <a:lnTo>
                  <a:pt x="1009" y="202"/>
                </a:lnTo>
                <a:lnTo>
                  <a:pt x="994" y="212"/>
                </a:lnTo>
                <a:lnTo>
                  <a:pt x="978" y="223"/>
                </a:lnTo>
                <a:lnTo>
                  <a:pt x="952" y="243"/>
                </a:lnTo>
                <a:lnTo>
                  <a:pt x="926" y="264"/>
                </a:lnTo>
                <a:lnTo>
                  <a:pt x="899" y="284"/>
                </a:lnTo>
                <a:lnTo>
                  <a:pt x="872" y="305"/>
                </a:lnTo>
                <a:lnTo>
                  <a:pt x="851" y="322"/>
                </a:lnTo>
                <a:lnTo>
                  <a:pt x="830" y="339"/>
                </a:lnTo>
                <a:lnTo>
                  <a:pt x="808" y="356"/>
                </a:lnTo>
                <a:lnTo>
                  <a:pt x="786" y="372"/>
                </a:lnTo>
                <a:lnTo>
                  <a:pt x="766" y="388"/>
                </a:lnTo>
                <a:lnTo>
                  <a:pt x="746" y="402"/>
                </a:lnTo>
                <a:lnTo>
                  <a:pt x="727" y="417"/>
                </a:lnTo>
                <a:lnTo>
                  <a:pt x="707" y="432"/>
                </a:lnTo>
                <a:lnTo>
                  <a:pt x="700" y="437"/>
                </a:lnTo>
                <a:lnTo>
                  <a:pt x="693" y="440"/>
                </a:lnTo>
                <a:lnTo>
                  <a:pt x="663" y="463"/>
                </a:lnTo>
                <a:lnTo>
                  <a:pt x="631" y="487"/>
                </a:lnTo>
                <a:lnTo>
                  <a:pt x="600" y="509"/>
                </a:lnTo>
                <a:lnTo>
                  <a:pt x="568" y="531"/>
                </a:lnTo>
                <a:lnTo>
                  <a:pt x="532" y="557"/>
                </a:lnTo>
                <a:lnTo>
                  <a:pt x="496" y="581"/>
                </a:lnTo>
                <a:lnTo>
                  <a:pt x="459" y="607"/>
                </a:lnTo>
                <a:lnTo>
                  <a:pt x="422" y="631"/>
                </a:lnTo>
                <a:lnTo>
                  <a:pt x="417" y="635"/>
                </a:lnTo>
                <a:lnTo>
                  <a:pt x="415" y="638"/>
                </a:lnTo>
                <a:lnTo>
                  <a:pt x="417" y="641"/>
                </a:lnTo>
                <a:lnTo>
                  <a:pt x="422" y="644"/>
                </a:lnTo>
                <a:lnTo>
                  <a:pt x="423" y="647"/>
                </a:lnTo>
                <a:lnTo>
                  <a:pt x="424" y="649"/>
                </a:lnTo>
                <a:lnTo>
                  <a:pt x="424" y="650"/>
                </a:lnTo>
                <a:lnTo>
                  <a:pt x="424" y="650"/>
                </a:lnTo>
                <a:lnTo>
                  <a:pt x="427" y="654"/>
                </a:lnTo>
                <a:lnTo>
                  <a:pt x="429" y="657"/>
                </a:lnTo>
                <a:lnTo>
                  <a:pt x="435" y="668"/>
                </a:lnTo>
                <a:lnTo>
                  <a:pt x="441" y="678"/>
                </a:lnTo>
                <a:lnTo>
                  <a:pt x="443" y="683"/>
                </a:lnTo>
                <a:lnTo>
                  <a:pt x="445" y="685"/>
                </a:lnTo>
                <a:lnTo>
                  <a:pt x="448" y="685"/>
                </a:lnTo>
                <a:lnTo>
                  <a:pt x="450" y="685"/>
                </a:lnTo>
                <a:lnTo>
                  <a:pt x="451" y="684"/>
                </a:lnTo>
                <a:lnTo>
                  <a:pt x="455" y="683"/>
                </a:lnTo>
                <a:lnTo>
                  <a:pt x="463" y="678"/>
                </a:lnTo>
                <a:lnTo>
                  <a:pt x="470" y="671"/>
                </a:lnTo>
                <a:lnTo>
                  <a:pt x="471" y="671"/>
                </a:lnTo>
                <a:lnTo>
                  <a:pt x="471" y="671"/>
                </a:lnTo>
                <a:lnTo>
                  <a:pt x="476" y="669"/>
                </a:lnTo>
                <a:lnTo>
                  <a:pt x="479" y="665"/>
                </a:lnTo>
                <a:lnTo>
                  <a:pt x="480" y="665"/>
                </a:lnTo>
                <a:lnTo>
                  <a:pt x="480" y="665"/>
                </a:lnTo>
                <a:lnTo>
                  <a:pt x="483" y="665"/>
                </a:lnTo>
                <a:lnTo>
                  <a:pt x="484" y="664"/>
                </a:lnTo>
                <a:lnTo>
                  <a:pt x="485" y="663"/>
                </a:lnTo>
                <a:lnTo>
                  <a:pt x="485" y="662"/>
                </a:lnTo>
                <a:lnTo>
                  <a:pt x="487" y="659"/>
                </a:lnTo>
                <a:lnTo>
                  <a:pt x="489" y="656"/>
                </a:lnTo>
                <a:lnTo>
                  <a:pt x="492" y="656"/>
                </a:lnTo>
                <a:lnTo>
                  <a:pt x="494" y="655"/>
                </a:lnTo>
                <a:lnTo>
                  <a:pt x="507" y="647"/>
                </a:lnTo>
                <a:lnTo>
                  <a:pt x="520" y="638"/>
                </a:lnTo>
                <a:lnTo>
                  <a:pt x="549" y="620"/>
                </a:lnTo>
                <a:lnTo>
                  <a:pt x="577" y="601"/>
                </a:lnTo>
                <a:lnTo>
                  <a:pt x="607" y="584"/>
                </a:lnTo>
                <a:lnTo>
                  <a:pt x="635" y="565"/>
                </a:lnTo>
                <a:lnTo>
                  <a:pt x="637" y="564"/>
                </a:lnTo>
                <a:lnTo>
                  <a:pt x="638" y="564"/>
                </a:lnTo>
                <a:lnTo>
                  <a:pt x="667" y="546"/>
                </a:lnTo>
                <a:lnTo>
                  <a:pt x="695" y="529"/>
                </a:lnTo>
                <a:lnTo>
                  <a:pt x="725" y="511"/>
                </a:lnTo>
                <a:lnTo>
                  <a:pt x="753" y="494"/>
                </a:lnTo>
                <a:lnTo>
                  <a:pt x="788" y="473"/>
                </a:lnTo>
                <a:lnTo>
                  <a:pt x="823" y="453"/>
                </a:lnTo>
                <a:lnTo>
                  <a:pt x="858" y="433"/>
                </a:lnTo>
                <a:lnTo>
                  <a:pt x="893" y="413"/>
                </a:lnTo>
                <a:lnTo>
                  <a:pt x="895" y="412"/>
                </a:lnTo>
                <a:lnTo>
                  <a:pt x="897" y="412"/>
                </a:lnTo>
                <a:lnTo>
                  <a:pt x="898" y="413"/>
                </a:lnTo>
                <a:lnTo>
                  <a:pt x="899" y="416"/>
                </a:lnTo>
                <a:lnTo>
                  <a:pt x="900" y="423"/>
                </a:lnTo>
                <a:lnTo>
                  <a:pt x="901" y="431"/>
                </a:lnTo>
                <a:lnTo>
                  <a:pt x="901" y="440"/>
                </a:lnTo>
                <a:lnTo>
                  <a:pt x="900" y="448"/>
                </a:lnTo>
                <a:lnTo>
                  <a:pt x="900" y="451"/>
                </a:lnTo>
                <a:lnTo>
                  <a:pt x="900" y="452"/>
                </a:lnTo>
                <a:lnTo>
                  <a:pt x="900" y="456"/>
                </a:lnTo>
                <a:lnTo>
                  <a:pt x="900" y="460"/>
                </a:lnTo>
                <a:lnTo>
                  <a:pt x="900" y="462"/>
                </a:lnTo>
                <a:lnTo>
                  <a:pt x="900" y="463"/>
                </a:lnTo>
                <a:lnTo>
                  <a:pt x="900" y="474"/>
                </a:lnTo>
                <a:lnTo>
                  <a:pt x="900" y="484"/>
                </a:lnTo>
                <a:lnTo>
                  <a:pt x="900" y="490"/>
                </a:lnTo>
                <a:lnTo>
                  <a:pt x="899" y="495"/>
                </a:lnTo>
                <a:lnTo>
                  <a:pt x="897" y="501"/>
                </a:lnTo>
                <a:lnTo>
                  <a:pt x="894" y="505"/>
                </a:lnTo>
                <a:lnTo>
                  <a:pt x="893" y="508"/>
                </a:lnTo>
                <a:lnTo>
                  <a:pt x="894" y="511"/>
                </a:lnTo>
                <a:lnTo>
                  <a:pt x="895" y="516"/>
                </a:lnTo>
                <a:lnTo>
                  <a:pt x="895" y="522"/>
                </a:lnTo>
                <a:lnTo>
                  <a:pt x="895" y="526"/>
                </a:lnTo>
                <a:lnTo>
                  <a:pt x="894" y="531"/>
                </a:lnTo>
                <a:lnTo>
                  <a:pt x="893" y="538"/>
                </a:lnTo>
                <a:lnTo>
                  <a:pt x="894" y="545"/>
                </a:lnTo>
                <a:lnTo>
                  <a:pt x="895" y="552"/>
                </a:lnTo>
                <a:lnTo>
                  <a:pt x="897" y="558"/>
                </a:lnTo>
                <a:lnTo>
                  <a:pt x="904" y="571"/>
                </a:lnTo>
                <a:lnTo>
                  <a:pt x="911" y="582"/>
                </a:lnTo>
                <a:lnTo>
                  <a:pt x="921" y="598"/>
                </a:lnTo>
                <a:lnTo>
                  <a:pt x="932" y="614"/>
                </a:lnTo>
                <a:lnTo>
                  <a:pt x="936" y="616"/>
                </a:lnTo>
                <a:lnTo>
                  <a:pt x="939" y="619"/>
                </a:lnTo>
                <a:lnTo>
                  <a:pt x="936" y="616"/>
                </a:lnTo>
                <a:lnTo>
                  <a:pt x="932" y="614"/>
                </a:lnTo>
                <a:lnTo>
                  <a:pt x="932" y="627"/>
                </a:lnTo>
                <a:lnTo>
                  <a:pt x="931" y="641"/>
                </a:lnTo>
                <a:lnTo>
                  <a:pt x="931" y="644"/>
                </a:lnTo>
                <a:lnTo>
                  <a:pt x="932" y="649"/>
                </a:lnTo>
                <a:lnTo>
                  <a:pt x="934" y="651"/>
                </a:lnTo>
                <a:lnTo>
                  <a:pt x="938" y="655"/>
                </a:lnTo>
                <a:lnTo>
                  <a:pt x="938" y="656"/>
                </a:lnTo>
                <a:lnTo>
                  <a:pt x="939" y="658"/>
                </a:lnTo>
                <a:lnTo>
                  <a:pt x="939" y="659"/>
                </a:lnTo>
                <a:lnTo>
                  <a:pt x="940" y="659"/>
                </a:lnTo>
                <a:lnTo>
                  <a:pt x="947" y="664"/>
                </a:lnTo>
                <a:lnTo>
                  <a:pt x="953" y="670"/>
                </a:lnTo>
                <a:lnTo>
                  <a:pt x="956" y="672"/>
                </a:lnTo>
                <a:lnTo>
                  <a:pt x="959" y="676"/>
                </a:lnTo>
                <a:lnTo>
                  <a:pt x="960" y="679"/>
                </a:lnTo>
                <a:lnTo>
                  <a:pt x="961" y="684"/>
                </a:lnTo>
                <a:lnTo>
                  <a:pt x="961" y="687"/>
                </a:lnTo>
                <a:lnTo>
                  <a:pt x="961" y="690"/>
                </a:lnTo>
                <a:lnTo>
                  <a:pt x="959" y="692"/>
                </a:lnTo>
                <a:lnTo>
                  <a:pt x="955" y="692"/>
                </a:lnTo>
                <a:lnTo>
                  <a:pt x="943" y="693"/>
                </a:lnTo>
                <a:lnTo>
                  <a:pt x="932" y="693"/>
                </a:lnTo>
                <a:lnTo>
                  <a:pt x="920" y="693"/>
                </a:lnTo>
                <a:lnTo>
                  <a:pt x="909" y="691"/>
                </a:lnTo>
                <a:lnTo>
                  <a:pt x="901" y="690"/>
                </a:lnTo>
                <a:lnTo>
                  <a:pt x="893" y="689"/>
                </a:lnTo>
                <a:lnTo>
                  <a:pt x="888" y="687"/>
                </a:lnTo>
                <a:lnTo>
                  <a:pt x="885" y="689"/>
                </a:lnTo>
                <a:lnTo>
                  <a:pt x="880" y="689"/>
                </a:lnTo>
                <a:lnTo>
                  <a:pt x="877" y="691"/>
                </a:lnTo>
                <a:lnTo>
                  <a:pt x="871" y="693"/>
                </a:lnTo>
                <a:lnTo>
                  <a:pt x="865" y="694"/>
                </a:lnTo>
                <a:lnTo>
                  <a:pt x="860" y="694"/>
                </a:lnTo>
                <a:lnTo>
                  <a:pt x="855" y="696"/>
                </a:lnTo>
                <a:lnTo>
                  <a:pt x="846" y="696"/>
                </a:lnTo>
                <a:lnTo>
                  <a:pt x="838" y="696"/>
                </a:lnTo>
                <a:lnTo>
                  <a:pt x="831" y="694"/>
                </a:lnTo>
                <a:lnTo>
                  <a:pt x="823" y="691"/>
                </a:lnTo>
                <a:lnTo>
                  <a:pt x="819" y="691"/>
                </a:lnTo>
                <a:lnTo>
                  <a:pt x="816" y="691"/>
                </a:lnTo>
                <a:lnTo>
                  <a:pt x="808" y="691"/>
                </a:lnTo>
                <a:lnTo>
                  <a:pt x="801" y="693"/>
                </a:lnTo>
                <a:lnTo>
                  <a:pt x="793" y="696"/>
                </a:lnTo>
                <a:lnTo>
                  <a:pt x="786" y="699"/>
                </a:lnTo>
                <a:lnTo>
                  <a:pt x="781" y="703"/>
                </a:lnTo>
                <a:lnTo>
                  <a:pt x="776" y="705"/>
                </a:lnTo>
                <a:lnTo>
                  <a:pt x="771" y="707"/>
                </a:lnTo>
                <a:lnTo>
                  <a:pt x="766" y="708"/>
                </a:lnTo>
                <a:lnTo>
                  <a:pt x="766" y="708"/>
                </a:lnTo>
                <a:lnTo>
                  <a:pt x="761" y="707"/>
                </a:lnTo>
                <a:lnTo>
                  <a:pt x="756" y="707"/>
                </a:lnTo>
                <a:lnTo>
                  <a:pt x="753" y="707"/>
                </a:lnTo>
                <a:lnTo>
                  <a:pt x="748" y="708"/>
                </a:lnTo>
                <a:lnTo>
                  <a:pt x="739" y="711"/>
                </a:lnTo>
                <a:lnTo>
                  <a:pt x="731" y="713"/>
                </a:lnTo>
                <a:lnTo>
                  <a:pt x="722" y="712"/>
                </a:lnTo>
                <a:lnTo>
                  <a:pt x="713" y="711"/>
                </a:lnTo>
                <a:lnTo>
                  <a:pt x="710" y="708"/>
                </a:lnTo>
                <a:lnTo>
                  <a:pt x="706" y="707"/>
                </a:lnTo>
                <a:lnTo>
                  <a:pt x="697" y="704"/>
                </a:lnTo>
                <a:lnTo>
                  <a:pt x="687" y="701"/>
                </a:lnTo>
                <a:lnTo>
                  <a:pt x="679" y="701"/>
                </a:lnTo>
                <a:lnTo>
                  <a:pt x="670" y="701"/>
                </a:lnTo>
                <a:lnTo>
                  <a:pt x="653" y="698"/>
                </a:lnTo>
                <a:lnTo>
                  <a:pt x="638" y="697"/>
                </a:lnTo>
                <a:lnTo>
                  <a:pt x="625" y="696"/>
                </a:lnTo>
                <a:lnTo>
                  <a:pt x="612" y="694"/>
                </a:lnTo>
                <a:lnTo>
                  <a:pt x="600" y="694"/>
                </a:lnTo>
                <a:lnTo>
                  <a:pt x="588" y="694"/>
                </a:lnTo>
                <a:lnTo>
                  <a:pt x="579" y="693"/>
                </a:lnTo>
                <a:lnTo>
                  <a:pt x="572" y="691"/>
                </a:lnTo>
                <a:lnTo>
                  <a:pt x="563" y="689"/>
                </a:lnTo>
                <a:lnTo>
                  <a:pt x="556" y="684"/>
                </a:lnTo>
                <a:lnTo>
                  <a:pt x="552" y="682"/>
                </a:lnTo>
                <a:lnTo>
                  <a:pt x="547" y="679"/>
                </a:lnTo>
                <a:lnTo>
                  <a:pt x="543" y="679"/>
                </a:lnTo>
                <a:lnTo>
                  <a:pt x="539" y="679"/>
                </a:lnTo>
                <a:lnTo>
                  <a:pt x="535" y="679"/>
                </a:lnTo>
                <a:lnTo>
                  <a:pt x="531" y="682"/>
                </a:lnTo>
                <a:lnTo>
                  <a:pt x="527" y="684"/>
                </a:lnTo>
                <a:lnTo>
                  <a:pt x="522" y="687"/>
                </a:lnTo>
                <a:lnTo>
                  <a:pt x="519" y="689"/>
                </a:lnTo>
                <a:lnTo>
                  <a:pt x="515" y="691"/>
                </a:lnTo>
                <a:lnTo>
                  <a:pt x="500" y="691"/>
                </a:lnTo>
                <a:lnTo>
                  <a:pt x="485" y="694"/>
                </a:lnTo>
                <a:lnTo>
                  <a:pt x="478" y="694"/>
                </a:lnTo>
                <a:lnTo>
                  <a:pt x="472" y="694"/>
                </a:lnTo>
                <a:lnTo>
                  <a:pt x="469" y="696"/>
                </a:lnTo>
                <a:lnTo>
                  <a:pt x="466" y="698"/>
                </a:lnTo>
                <a:lnTo>
                  <a:pt x="465" y="700"/>
                </a:lnTo>
                <a:lnTo>
                  <a:pt x="466" y="705"/>
                </a:lnTo>
                <a:lnTo>
                  <a:pt x="467" y="710"/>
                </a:lnTo>
                <a:lnTo>
                  <a:pt x="470" y="717"/>
                </a:lnTo>
                <a:lnTo>
                  <a:pt x="471" y="718"/>
                </a:lnTo>
                <a:lnTo>
                  <a:pt x="473" y="719"/>
                </a:lnTo>
                <a:lnTo>
                  <a:pt x="471" y="718"/>
                </a:lnTo>
                <a:lnTo>
                  <a:pt x="470" y="717"/>
                </a:lnTo>
                <a:lnTo>
                  <a:pt x="467" y="720"/>
                </a:lnTo>
                <a:lnTo>
                  <a:pt x="469" y="724"/>
                </a:lnTo>
                <a:lnTo>
                  <a:pt x="470" y="727"/>
                </a:lnTo>
                <a:lnTo>
                  <a:pt x="470" y="729"/>
                </a:lnTo>
                <a:lnTo>
                  <a:pt x="469" y="731"/>
                </a:lnTo>
                <a:lnTo>
                  <a:pt x="467" y="731"/>
                </a:lnTo>
                <a:lnTo>
                  <a:pt x="466" y="731"/>
                </a:lnTo>
                <a:lnTo>
                  <a:pt x="464" y="731"/>
                </a:lnTo>
                <a:lnTo>
                  <a:pt x="459" y="731"/>
                </a:lnTo>
                <a:lnTo>
                  <a:pt x="453" y="731"/>
                </a:lnTo>
                <a:lnTo>
                  <a:pt x="449" y="731"/>
                </a:lnTo>
                <a:lnTo>
                  <a:pt x="443" y="733"/>
                </a:lnTo>
                <a:lnTo>
                  <a:pt x="439" y="734"/>
                </a:lnTo>
                <a:lnTo>
                  <a:pt x="435" y="735"/>
                </a:lnTo>
                <a:lnTo>
                  <a:pt x="429" y="735"/>
                </a:lnTo>
                <a:lnTo>
                  <a:pt x="424" y="734"/>
                </a:lnTo>
                <a:lnTo>
                  <a:pt x="424" y="729"/>
                </a:lnTo>
                <a:lnTo>
                  <a:pt x="423" y="726"/>
                </a:lnTo>
                <a:lnTo>
                  <a:pt x="428" y="714"/>
                </a:lnTo>
                <a:lnTo>
                  <a:pt x="434" y="701"/>
                </a:lnTo>
                <a:lnTo>
                  <a:pt x="434" y="701"/>
                </a:lnTo>
                <a:lnTo>
                  <a:pt x="435" y="700"/>
                </a:lnTo>
                <a:lnTo>
                  <a:pt x="436" y="699"/>
                </a:lnTo>
                <a:lnTo>
                  <a:pt x="436" y="698"/>
                </a:lnTo>
                <a:lnTo>
                  <a:pt x="436" y="696"/>
                </a:lnTo>
                <a:lnTo>
                  <a:pt x="436" y="690"/>
                </a:lnTo>
                <a:lnTo>
                  <a:pt x="436" y="684"/>
                </a:lnTo>
                <a:lnTo>
                  <a:pt x="434" y="679"/>
                </a:lnTo>
                <a:lnTo>
                  <a:pt x="430" y="675"/>
                </a:lnTo>
                <a:lnTo>
                  <a:pt x="430" y="672"/>
                </a:lnTo>
                <a:lnTo>
                  <a:pt x="430" y="669"/>
                </a:lnTo>
                <a:lnTo>
                  <a:pt x="429" y="666"/>
                </a:lnTo>
                <a:lnTo>
                  <a:pt x="427" y="665"/>
                </a:lnTo>
                <a:lnTo>
                  <a:pt x="427" y="665"/>
                </a:lnTo>
                <a:lnTo>
                  <a:pt x="427" y="663"/>
                </a:lnTo>
                <a:lnTo>
                  <a:pt x="424" y="662"/>
                </a:lnTo>
                <a:lnTo>
                  <a:pt x="414" y="648"/>
                </a:lnTo>
                <a:lnTo>
                  <a:pt x="402" y="634"/>
                </a:lnTo>
                <a:lnTo>
                  <a:pt x="390" y="620"/>
                </a:lnTo>
                <a:lnTo>
                  <a:pt x="379" y="606"/>
                </a:lnTo>
                <a:lnTo>
                  <a:pt x="375" y="601"/>
                </a:lnTo>
                <a:lnTo>
                  <a:pt x="372" y="598"/>
                </a:lnTo>
                <a:lnTo>
                  <a:pt x="368" y="596"/>
                </a:lnTo>
                <a:lnTo>
                  <a:pt x="365" y="594"/>
                </a:lnTo>
                <a:lnTo>
                  <a:pt x="360" y="594"/>
                </a:lnTo>
                <a:lnTo>
                  <a:pt x="356" y="594"/>
                </a:lnTo>
                <a:lnTo>
                  <a:pt x="352" y="594"/>
                </a:lnTo>
                <a:lnTo>
                  <a:pt x="346" y="596"/>
                </a:lnTo>
                <a:lnTo>
                  <a:pt x="338" y="599"/>
                </a:lnTo>
                <a:lnTo>
                  <a:pt x="328" y="601"/>
                </a:lnTo>
                <a:lnTo>
                  <a:pt x="319" y="602"/>
                </a:lnTo>
                <a:lnTo>
                  <a:pt x="310" y="603"/>
                </a:lnTo>
                <a:lnTo>
                  <a:pt x="300" y="605"/>
                </a:lnTo>
                <a:lnTo>
                  <a:pt x="291" y="607"/>
                </a:lnTo>
                <a:lnTo>
                  <a:pt x="284" y="612"/>
                </a:lnTo>
                <a:lnTo>
                  <a:pt x="277" y="619"/>
                </a:lnTo>
                <a:lnTo>
                  <a:pt x="271" y="624"/>
                </a:lnTo>
                <a:lnTo>
                  <a:pt x="267" y="631"/>
                </a:lnTo>
                <a:lnTo>
                  <a:pt x="271" y="630"/>
                </a:lnTo>
                <a:lnTo>
                  <a:pt x="276" y="629"/>
                </a:lnTo>
                <a:lnTo>
                  <a:pt x="279" y="626"/>
                </a:lnTo>
                <a:lnTo>
                  <a:pt x="282" y="623"/>
                </a:lnTo>
                <a:lnTo>
                  <a:pt x="289" y="619"/>
                </a:lnTo>
                <a:lnTo>
                  <a:pt x="296" y="614"/>
                </a:lnTo>
                <a:lnTo>
                  <a:pt x="304" y="612"/>
                </a:lnTo>
                <a:lnTo>
                  <a:pt x="311" y="609"/>
                </a:lnTo>
                <a:lnTo>
                  <a:pt x="319" y="608"/>
                </a:lnTo>
                <a:lnTo>
                  <a:pt x="327" y="608"/>
                </a:lnTo>
                <a:lnTo>
                  <a:pt x="335" y="609"/>
                </a:lnTo>
                <a:lnTo>
                  <a:pt x="344" y="610"/>
                </a:lnTo>
                <a:lnTo>
                  <a:pt x="347" y="612"/>
                </a:lnTo>
                <a:lnTo>
                  <a:pt x="351" y="614"/>
                </a:lnTo>
                <a:lnTo>
                  <a:pt x="353" y="616"/>
                </a:lnTo>
                <a:lnTo>
                  <a:pt x="352" y="619"/>
                </a:lnTo>
                <a:lnTo>
                  <a:pt x="351" y="623"/>
                </a:lnTo>
                <a:lnTo>
                  <a:pt x="351" y="627"/>
                </a:lnTo>
                <a:lnTo>
                  <a:pt x="352" y="630"/>
                </a:lnTo>
                <a:lnTo>
                  <a:pt x="354" y="634"/>
                </a:lnTo>
                <a:lnTo>
                  <a:pt x="361" y="648"/>
                </a:lnTo>
                <a:lnTo>
                  <a:pt x="370" y="661"/>
                </a:lnTo>
                <a:lnTo>
                  <a:pt x="379" y="675"/>
                </a:lnTo>
                <a:lnTo>
                  <a:pt x="386" y="689"/>
                </a:lnTo>
                <a:lnTo>
                  <a:pt x="386" y="692"/>
                </a:lnTo>
                <a:lnTo>
                  <a:pt x="386" y="696"/>
                </a:lnTo>
                <a:lnTo>
                  <a:pt x="387" y="696"/>
                </a:lnTo>
                <a:lnTo>
                  <a:pt x="387" y="697"/>
                </a:lnTo>
                <a:lnTo>
                  <a:pt x="387" y="696"/>
                </a:lnTo>
                <a:lnTo>
                  <a:pt x="386" y="696"/>
                </a:lnTo>
                <a:lnTo>
                  <a:pt x="384" y="698"/>
                </a:lnTo>
                <a:lnTo>
                  <a:pt x="382" y="699"/>
                </a:lnTo>
                <a:lnTo>
                  <a:pt x="366" y="699"/>
                </a:lnTo>
                <a:lnTo>
                  <a:pt x="351" y="700"/>
                </a:lnTo>
                <a:lnTo>
                  <a:pt x="347" y="698"/>
                </a:lnTo>
                <a:lnTo>
                  <a:pt x="346" y="696"/>
                </a:lnTo>
                <a:lnTo>
                  <a:pt x="340" y="684"/>
                </a:lnTo>
                <a:lnTo>
                  <a:pt x="334" y="673"/>
                </a:lnTo>
                <a:lnTo>
                  <a:pt x="327" y="663"/>
                </a:lnTo>
                <a:lnTo>
                  <a:pt x="320" y="652"/>
                </a:lnTo>
                <a:lnTo>
                  <a:pt x="318" y="650"/>
                </a:lnTo>
                <a:lnTo>
                  <a:pt x="315" y="649"/>
                </a:lnTo>
                <a:lnTo>
                  <a:pt x="312" y="649"/>
                </a:lnTo>
                <a:lnTo>
                  <a:pt x="308" y="650"/>
                </a:lnTo>
                <a:lnTo>
                  <a:pt x="306" y="652"/>
                </a:lnTo>
                <a:lnTo>
                  <a:pt x="306" y="655"/>
                </a:lnTo>
                <a:lnTo>
                  <a:pt x="306" y="658"/>
                </a:lnTo>
                <a:lnTo>
                  <a:pt x="307" y="661"/>
                </a:lnTo>
                <a:lnTo>
                  <a:pt x="311" y="666"/>
                </a:lnTo>
                <a:lnTo>
                  <a:pt x="314" y="672"/>
                </a:lnTo>
                <a:lnTo>
                  <a:pt x="320" y="683"/>
                </a:lnTo>
                <a:lnTo>
                  <a:pt x="326" y="692"/>
                </a:lnTo>
                <a:lnTo>
                  <a:pt x="332" y="703"/>
                </a:lnTo>
                <a:lnTo>
                  <a:pt x="339" y="713"/>
                </a:lnTo>
                <a:lnTo>
                  <a:pt x="328" y="714"/>
                </a:lnTo>
                <a:lnTo>
                  <a:pt x="320" y="717"/>
                </a:lnTo>
                <a:lnTo>
                  <a:pt x="311" y="719"/>
                </a:lnTo>
                <a:lnTo>
                  <a:pt x="301" y="720"/>
                </a:lnTo>
                <a:lnTo>
                  <a:pt x="296" y="719"/>
                </a:lnTo>
                <a:lnTo>
                  <a:pt x="292" y="717"/>
                </a:lnTo>
                <a:lnTo>
                  <a:pt x="285" y="707"/>
                </a:lnTo>
                <a:lnTo>
                  <a:pt x="279" y="698"/>
                </a:lnTo>
                <a:lnTo>
                  <a:pt x="272" y="690"/>
                </a:lnTo>
                <a:lnTo>
                  <a:pt x="264" y="682"/>
                </a:lnTo>
                <a:lnTo>
                  <a:pt x="262" y="679"/>
                </a:lnTo>
                <a:lnTo>
                  <a:pt x="258" y="678"/>
                </a:lnTo>
                <a:lnTo>
                  <a:pt x="256" y="679"/>
                </a:lnTo>
                <a:lnTo>
                  <a:pt x="252" y="680"/>
                </a:lnTo>
                <a:lnTo>
                  <a:pt x="250" y="682"/>
                </a:lnTo>
                <a:lnTo>
                  <a:pt x="249" y="685"/>
                </a:lnTo>
                <a:lnTo>
                  <a:pt x="249" y="687"/>
                </a:lnTo>
                <a:lnTo>
                  <a:pt x="250" y="691"/>
                </a:lnTo>
                <a:lnTo>
                  <a:pt x="252" y="697"/>
                </a:lnTo>
                <a:lnTo>
                  <a:pt x="256" y="701"/>
                </a:lnTo>
                <a:lnTo>
                  <a:pt x="264" y="710"/>
                </a:lnTo>
                <a:lnTo>
                  <a:pt x="272" y="719"/>
                </a:lnTo>
                <a:lnTo>
                  <a:pt x="280" y="728"/>
                </a:lnTo>
                <a:lnTo>
                  <a:pt x="287" y="739"/>
                </a:lnTo>
                <a:lnTo>
                  <a:pt x="283" y="739"/>
                </a:lnTo>
                <a:lnTo>
                  <a:pt x="279" y="740"/>
                </a:lnTo>
                <a:lnTo>
                  <a:pt x="276" y="739"/>
                </a:lnTo>
                <a:lnTo>
                  <a:pt x="272" y="738"/>
                </a:lnTo>
                <a:lnTo>
                  <a:pt x="265" y="735"/>
                </a:lnTo>
                <a:lnTo>
                  <a:pt x="257" y="734"/>
                </a:lnTo>
                <a:lnTo>
                  <a:pt x="258" y="736"/>
                </a:lnTo>
                <a:lnTo>
                  <a:pt x="258" y="740"/>
                </a:lnTo>
                <a:lnTo>
                  <a:pt x="259" y="741"/>
                </a:lnTo>
                <a:lnTo>
                  <a:pt x="260" y="741"/>
                </a:lnTo>
                <a:lnTo>
                  <a:pt x="262" y="745"/>
                </a:lnTo>
                <a:lnTo>
                  <a:pt x="262" y="747"/>
                </a:lnTo>
                <a:lnTo>
                  <a:pt x="258" y="750"/>
                </a:lnTo>
                <a:lnTo>
                  <a:pt x="257" y="755"/>
                </a:lnTo>
                <a:lnTo>
                  <a:pt x="256" y="760"/>
                </a:lnTo>
                <a:lnTo>
                  <a:pt x="255" y="766"/>
                </a:lnTo>
                <a:lnTo>
                  <a:pt x="253" y="780"/>
                </a:lnTo>
                <a:lnTo>
                  <a:pt x="252" y="795"/>
                </a:lnTo>
                <a:lnTo>
                  <a:pt x="251" y="802"/>
                </a:lnTo>
                <a:lnTo>
                  <a:pt x="249" y="809"/>
                </a:lnTo>
                <a:lnTo>
                  <a:pt x="246" y="816"/>
                </a:lnTo>
                <a:lnTo>
                  <a:pt x="243" y="823"/>
                </a:lnTo>
                <a:lnTo>
                  <a:pt x="242" y="827"/>
                </a:lnTo>
                <a:lnTo>
                  <a:pt x="241" y="832"/>
                </a:lnTo>
                <a:lnTo>
                  <a:pt x="241" y="837"/>
                </a:lnTo>
                <a:lnTo>
                  <a:pt x="242" y="841"/>
                </a:lnTo>
                <a:lnTo>
                  <a:pt x="244" y="851"/>
                </a:lnTo>
                <a:lnTo>
                  <a:pt x="246" y="859"/>
                </a:lnTo>
                <a:lnTo>
                  <a:pt x="248" y="860"/>
                </a:lnTo>
                <a:lnTo>
                  <a:pt x="250" y="861"/>
                </a:lnTo>
                <a:lnTo>
                  <a:pt x="252" y="864"/>
                </a:lnTo>
                <a:lnTo>
                  <a:pt x="253" y="866"/>
                </a:lnTo>
                <a:lnTo>
                  <a:pt x="245" y="866"/>
                </a:lnTo>
                <a:lnTo>
                  <a:pt x="238" y="865"/>
                </a:lnTo>
                <a:lnTo>
                  <a:pt x="234" y="861"/>
                </a:lnTo>
                <a:lnTo>
                  <a:pt x="228" y="860"/>
                </a:lnTo>
                <a:lnTo>
                  <a:pt x="223" y="861"/>
                </a:lnTo>
                <a:lnTo>
                  <a:pt x="218" y="865"/>
                </a:lnTo>
                <a:lnTo>
                  <a:pt x="207" y="866"/>
                </a:lnTo>
                <a:lnTo>
                  <a:pt x="195" y="869"/>
                </a:lnTo>
                <a:lnTo>
                  <a:pt x="190" y="871"/>
                </a:lnTo>
                <a:lnTo>
                  <a:pt x="186" y="869"/>
                </a:lnTo>
                <a:lnTo>
                  <a:pt x="182" y="867"/>
                </a:lnTo>
                <a:lnTo>
                  <a:pt x="179" y="864"/>
                </a:lnTo>
                <a:lnTo>
                  <a:pt x="176" y="855"/>
                </a:lnTo>
                <a:lnTo>
                  <a:pt x="173" y="847"/>
                </a:lnTo>
                <a:lnTo>
                  <a:pt x="172" y="839"/>
                </a:lnTo>
                <a:lnTo>
                  <a:pt x="169" y="831"/>
                </a:lnTo>
                <a:lnTo>
                  <a:pt x="170" y="826"/>
                </a:lnTo>
                <a:lnTo>
                  <a:pt x="172" y="823"/>
                </a:lnTo>
                <a:lnTo>
                  <a:pt x="172" y="820"/>
                </a:lnTo>
                <a:lnTo>
                  <a:pt x="170" y="819"/>
                </a:lnTo>
                <a:lnTo>
                  <a:pt x="169" y="817"/>
                </a:lnTo>
                <a:lnTo>
                  <a:pt x="167" y="816"/>
                </a:lnTo>
                <a:lnTo>
                  <a:pt x="163" y="799"/>
                </a:lnTo>
                <a:lnTo>
                  <a:pt x="162" y="784"/>
                </a:lnTo>
                <a:lnTo>
                  <a:pt x="162" y="780"/>
                </a:lnTo>
                <a:lnTo>
                  <a:pt x="163" y="775"/>
                </a:lnTo>
                <a:lnTo>
                  <a:pt x="165" y="771"/>
                </a:lnTo>
                <a:lnTo>
                  <a:pt x="167" y="768"/>
                </a:lnTo>
                <a:lnTo>
                  <a:pt x="183" y="752"/>
                </a:lnTo>
                <a:lnTo>
                  <a:pt x="201" y="736"/>
                </a:lnTo>
                <a:lnTo>
                  <a:pt x="203" y="734"/>
                </a:lnTo>
                <a:lnTo>
                  <a:pt x="208" y="734"/>
                </a:lnTo>
                <a:lnTo>
                  <a:pt x="217" y="732"/>
                </a:lnTo>
                <a:lnTo>
                  <a:pt x="227" y="728"/>
                </a:lnTo>
                <a:lnTo>
                  <a:pt x="230" y="727"/>
                </a:lnTo>
                <a:lnTo>
                  <a:pt x="230" y="725"/>
                </a:lnTo>
                <a:lnTo>
                  <a:pt x="230" y="724"/>
                </a:lnTo>
                <a:lnTo>
                  <a:pt x="229" y="722"/>
                </a:lnTo>
                <a:lnTo>
                  <a:pt x="227" y="722"/>
                </a:lnTo>
                <a:lnTo>
                  <a:pt x="225" y="724"/>
                </a:lnTo>
                <a:lnTo>
                  <a:pt x="216" y="724"/>
                </a:lnTo>
                <a:lnTo>
                  <a:pt x="206" y="724"/>
                </a:lnTo>
                <a:lnTo>
                  <a:pt x="196" y="722"/>
                </a:lnTo>
                <a:lnTo>
                  <a:pt x="186" y="721"/>
                </a:lnTo>
                <a:lnTo>
                  <a:pt x="186" y="719"/>
                </a:lnTo>
                <a:lnTo>
                  <a:pt x="184" y="715"/>
                </a:lnTo>
                <a:lnTo>
                  <a:pt x="188" y="712"/>
                </a:lnTo>
                <a:lnTo>
                  <a:pt x="188" y="708"/>
                </a:lnTo>
                <a:lnTo>
                  <a:pt x="195" y="697"/>
                </a:lnTo>
                <a:lnTo>
                  <a:pt x="202" y="685"/>
                </a:lnTo>
                <a:lnTo>
                  <a:pt x="204" y="684"/>
                </a:lnTo>
                <a:lnTo>
                  <a:pt x="207" y="682"/>
                </a:lnTo>
                <a:lnTo>
                  <a:pt x="208" y="679"/>
                </a:lnTo>
                <a:lnTo>
                  <a:pt x="209" y="677"/>
                </a:lnTo>
                <a:lnTo>
                  <a:pt x="208" y="675"/>
                </a:lnTo>
                <a:lnTo>
                  <a:pt x="206" y="672"/>
                </a:lnTo>
                <a:lnTo>
                  <a:pt x="203" y="671"/>
                </a:lnTo>
                <a:lnTo>
                  <a:pt x="201" y="670"/>
                </a:lnTo>
                <a:lnTo>
                  <a:pt x="195" y="668"/>
                </a:lnTo>
                <a:lnTo>
                  <a:pt x="190" y="664"/>
                </a:lnTo>
                <a:lnTo>
                  <a:pt x="176" y="658"/>
                </a:lnTo>
                <a:lnTo>
                  <a:pt x="161" y="655"/>
                </a:lnTo>
                <a:lnTo>
                  <a:pt x="152" y="654"/>
                </a:lnTo>
                <a:lnTo>
                  <a:pt x="141" y="655"/>
                </a:lnTo>
                <a:lnTo>
                  <a:pt x="132" y="657"/>
                </a:lnTo>
                <a:lnTo>
                  <a:pt x="122" y="657"/>
                </a:lnTo>
                <a:lnTo>
                  <a:pt x="120" y="657"/>
                </a:lnTo>
                <a:lnTo>
                  <a:pt x="118" y="658"/>
                </a:lnTo>
                <a:lnTo>
                  <a:pt x="117" y="659"/>
                </a:lnTo>
                <a:lnTo>
                  <a:pt x="115" y="662"/>
                </a:lnTo>
                <a:lnTo>
                  <a:pt x="112" y="662"/>
                </a:lnTo>
                <a:lnTo>
                  <a:pt x="108" y="662"/>
                </a:lnTo>
                <a:lnTo>
                  <a:pt x="107" y="662"/>
                </a:lnTo>
                <a:lnTo>
                  <a:pt x="105" y="661"/>
                </a:lnTo>
                <a:lnTo>
                  <a:pt x="104" y="659"/>
                </a:lnTo>
                <a:lnTo>
                  <a:pt x="103" y="657"/>
                </a:lnTo>
                <a:lnTo>
                  <a:pt x="101" y="657"/>
                </a:lnTo>
                <a:lnTo>
                  <a:pt x="100" y="658"/>
                </a:lnTo>
                <a:lnTo>
                  <a:pt x="96" y="663"/>
                </a:lnTo>
                <a:lnTo>
                  <a:pt x="92" y="666"/>
                </a:lnTo>
                <a:lnTo>
                  <a:pt x="87" y="669"/>
                </a:lnTo>
                <a:lnTo>
                  <a:pt x="82" y="671"/>
                </a:lnTo>
                <a:lnTo>
                  <a:pt x="72" y="675"/>
                </a:lnTo>
                <a:lnTo>
                  <a:pt x="63" y="679"/>
                </a:lnTo>
                <a:lnTo>
                  <a:pt x="56" y="683"/>
                </a:lnTo>
                <a:lnTo>
                  <a:pt x="49" y="685"/>
                </a:lnTo>
                <a:lnTo>
                  <a:pt x="45" y="686"/>
                </a:lnTo>
                <a:lnTo>
                  <a:pt x="42" y="687"/>
                </a:lnTo>
                <a:lnTo>
                  <a:pt x="38" y="690"/>
                </a:lnTo>
                <a:lnTo>
                  <a:pt x="36" y="693"/>
                </a:lnTo>
                <a:lnTo>
                  <a:pt x="32" y="694"/>
                </a:lnTo>
                <a:lnTo>
                  <a:pt x="28" y="697"/>
                </a:lnTo>
                <a:lnTo>
                  <a:pt x="17" y="711"/>
                </a:lnTo>
                <a:lnTo>
                  <a:pt x="8" y="725"/>
                </a:lnTo>
                <a:lnTo>
                  <a:pt x="4" y="729"/>
                </a:lnTo>
                <a:lnTo>
                  <a:pt x="2" y="735"/>
                </a:lnTo>
                <a:lnTo>
                  <a:pt x="2" y="742"/>
                </a:lnTo>
                <a:lnTo>
                  <a:pt x="0" y="748"/>
                </a:lnTo>
                <a:lnTo>
                  <a:pt x="1" y="750"/>
                </a:lnTo>
                <a:lnTo>
                  <a:pt x="3" y="753"/>
                </a:lnTo>
                <a:lnTo>
                  <a:pt x="6" y="752"/>
                </a:lnTo>
                <a:lnTo>
                  <a:pt x="7" y="748"/>
                </a:lnTo>
                <a:lnTo>
                  <a:pt x="7" y="745"/>
                </a:lnTo>
                <a:lnTo>
                  <a:pt x="10" y="742"/>
                </a:lnTo>
                <a:lnTo>
                  <a:pt x="15" y="745"/>
                </a:lnTo>
                <a:lnTo>
                  <a:pt x="21" y="749"/>
                </a:lnTo>
                <a:lnTo>
                  <a:pt x="23" y="752"/>
                </a:lnTo>
                <a:lnTo>
                  <a:pt x="25" y="755"/>
                </a:lnTo>
                <a:lnTo>
                  <a:pt x="27" y="757"/>
                </a:lnTo>
                <a:lnTo>
                  <a:pt x="27" y="760"/>
                </a:lnTo>
                <a:lnTo>
                  <a:pt x="25" y="763"/>
                </a:lnTo>
                <a:lnTo>
                  <a:pt x="25" y="766"/>
                </a:lnTo>
                <a:lnTo>
                  <a:pt x="25" y="768"/>
                </a:lnTo>
                <a:lnTo>
                  <a:pt x="27" y="769"/>
                </a:lnTo>
                <a:lnTo>
                  <a:pt x="31" y="770"/>
                </a:lnTo>
                <a:lnTo>
                  <a:pt x="36" y="770"/>
                </a:lnTo>
                <a:lnTo>
                  <a:pt x="42" y="770"/>
                </a:lnTo>
                <a:lnTo>
                  <a:pt x="48" y="770"/>
                </a:lnTo>
                <a:lnTo>
                  <a:pt x="48" y="773"/>
                </a:lnTo>
                <a:lnTo>
                  <a:pt x="46" y="775"/>
                </a:lnTo>
                <a:lnTo>
                  <a:pt x="45" y="776"/>
                </a:lnTo>
                <a:lnTo>
                  <a:pt x="44" y="776"/>
                </a:lnTo>
                <a:lnTo>
                  <a:pt x="44" y="777"/>
                </a:lnTo>
                <a:lnTo>
                  <a:pt x="43" y="780"/>
                </a:lnTo>
                <a:lnTo>
                  <a:pt x="42" y="783"/>
                </a:lnTo>
                <a:lnTo>
                  <a:pt x="42" y="787"/>
                </a:lnTo>
                <a:lnTo>
                  <a:pt x="46" y="788"/>
                </a:lnTo>
                <a:lnTo>
                  <a:pt x="51" y="788"/>
                </a:lnTo>
                <a:lnTo>
                  <a:pt x="56" y="788"/>
                </a:lnTo>
                <a:lnTo>
                  <a:pt x="61" y="787"/>
                </a:lnTo>
                <a:lnTo>
                  <a:pt x="68" y="781"/>
                </a:lnTo>
                <a:lnTo>
                  <a:pt x="76" y="776"/>
                </a:lnTo>
                <a:lnTo>
                  <a:pt x="83" y="769"/>
                </a:lnTo>
                <a:lnTo>
                  <a:pt x="90" y="761"/>
                </a:lnTo>
                <a:lnTo>
                  <a:pt x="98" y="754"/>
                </a:lnTo>
                <a:lnTo>
                  <a:pt x="106" y="749"/>
                </a:lnTo>
                <a:lnTo>
                  <a:pt x="108" y="748"/>
                </a:lnTo>
                <a:lnTo>
                  <a:pt x="111" y="747"/>
                </a:lnTo>
                <a:lnTo>
                  <a:pt x="114" y="746"/>
                </a:lnTo>
                <a:lnTo>
                  <a:pt x="117" y="747"/>
                </a:lnTo>
                <a:lnTo>
                  <a:pt x="120" y="747"/>
                </a:lnTo>
                <a:lnTo>
                  <a:pt x="121" y="746"/>
                </a:lnTo>
                <a:lnTo>
                  <a:pt x="121" y="745"/>
                </a:lnTo>
                <a:lnTo>
                  <a:pt x="121" y="741"/>
                </a:lnTo>
                <a:lnTo>
                  <a:pt x="127" y="739"/>
                </a:lnTo>
                <a:lnTo>
                  <a:pt x="133" y="736"/>
                </a:lnTo>
                <a:lnTo>
                  <a:pt x="139" y="735"/>
                </a:lnTo>
                <a:lnTo>
                  <a:pt x="146" y="734"/>
                </a:lnTo>
                <a:lnTo>
                  <a:pt x="158" y="733"/>
                </a:lnTo>
                <a:lnTo>
                  <a:pt x="170" y="732"/>
                </a:lnTo>
                <a:lnTo>
                  <a:pt x="175" y="731"/>
                </a:lnTo>
                <a:lnTo>
                  <a:pt x="180" y="731"/>
                </a:lnTo>
                <a:lnTo>
                  <a:pt x="174" y="740"/>
                </a:lnTo>
                <a:lnTo>
                  <a:pt x="168" y="748"/>
                </a:lnTo>
                <a:lnTo>
                  <a:pt x="161" y="755"/>
                </a:lnTo>
                <a:lnTo>
                  <a:pt x="153" y="762"/>
                </a:lnTo>
                <a:lnTo>
                  <a:pt x="142" y="775"/>
                </a:lnTo>
                <a:lnTo>
                  <a:pt x="133" y="789"/>
                </a:lnTo>
                <a:lnTo>
                  <a:pt x="131" y="795"/>
                </a:lnTo>
                <a:lnTo>
                  <a:pt x="130" y="801"/>
                </a:lnTo>
                <a:lnTo>
                  <a:pt x="130" y="805"/>
                </a:lnTo>
                <a:lnTo>
                  <a:pt x="131" y="812"/>
                </a:lnTo>
                <a:lnTo>
                  <a:pt x="134" y="823"/>
                </a:lnTo>
                <a:lnTo>
                  <a:pt x="137" y="834"/>
                </a:lnTo>
                <a:lnTo>
                  <a:pt x="133" y="840"/>
                </a:lnTo>
                <a:lnTo>
                  <a:pt x="128" y="846"/>
                </a:lnTo>
                <a:lnTo>
                  <a:pt x="122" y="857"/>
                </a:lnTo>
                <a:lnTo>
                  <a:pt x="118" y="868"/>
                </a:lnTo>
                <a:lnTo>
                  <a:pt x="117" y="872"/>
                </a:lnTo>
                <a:lnTo>
                  <a:pt x="114" y="875"/>
                </a:lnTo>
                <a:lnTo>
                  <a:pt x="113" y="880"/>
                </a:lnTo>
                <a:lnTo>
                  <a:pt x="113" y="886"/>
                </a:lnTo>
                <a:lnTo>
                  <a:pt x="119" y="875"/>
                </a:lnTo>
                <a:lnTo>
                  <a:pt x="125" y="866"/>
                </a:lnTo>
                <a:lnTo>
                  <a:pt x="130" y="858"/>
                </a:lnTo>
                <a:lnTo>
                  <a:pt x="133" y="847"/>
                </a:lnTo>
                <a:lnTo>
                  <a:pt x="135" y="845"/>
                </a:lnTo>
                <a:lnTo>
                  <a:pt x="139" y="844"/>
                </a:lnTo>
                <a:lnTo>
                  <a:pt x="139" y="851"/>
                </a:lnTo>
                <a:lnTo>
                  <a:pt x="141" y="857"/>
                </a:lnTo>
                <a:lnTo>
                  <a:pt x="147" y="867"/>
                </a:lnTo>
                <a:lnTo>
                  <a:pt x="153" y="878"/>
                </a:lnTo>
                <a:lnTo>
                  <a:pt x="159" y="888"/>
                </a:lnTo>
                <a:lnTo>
                  <a:pt x="165" y="899"/>
                </a:lnTo>
                <a:lnTo>
                  <a:pt x="166" y="900"/>
                </a:lnTo>
                <a:lnTo>
                  <a:pt x="167" y="900"/>
                </a:lnTo>
                <a:lnTo>
                  <a:pt x="166" y="900"/>
                </a:lnTo>
                <a:lnTo>
                  <a:pt x="165" y="899"/>
                </a:lnTo>
                <a:lnTo>
                  <a:pt x="161" y="899"/>
                </a:lnTo>
                <a:lnTo>
                  <a:pt x="159" y="900"/>
                </a:lnTo>
                <a:lnTo>
                  <a:pt x="156" y="901"/>
                </a:lnTo>
                <a:lnTo>
                  <a:pt x="155" y="904"/>
                </a:lnTo>
                <a:lnTo>
                  <a:pt x="153" y="908"/>
                </a:lnTo>
                <a:lnTo>
                  <a:pt x="149" y="911"/>
                </a:lnTo>
                <a:lnTo>
                  <a:pt x="144" y="908"/>
                </a:lnTo>
                <a:lnTo>
                  <a:pt x="138" y="903"/>
                </a:lnTo>
                <a:lnTo>
                  <a:pt x="133" y="900"/>
                </a:lnTo>
                <a:lnTo>
                  <a:pt x="127" y="899"/>
                </a:lnTo>
                <a:lnTo>
                  <a:pt x="122" y="897"/>
                </a:lnTo>
                <a:lnTo>
                  <a:pt x="118" y="899"/>
                </a:lnTo>
                <a:lnTo>
                  <a:pt x="113" y="901"/>
                </a:lnTo>
                <a:lnTo>
                  <a:pt x="110" y="903"/>
                </a:lnTo>
                <a:lnTo>
                  <a:pt x="106" y="907"/>
                </a:lnTo>
                <a:lnTo>
                  <a:pt x="103" y="910"/>
                </a:lnTo>
                <a:lnTo>
                  <a:pt x="103" y="909"/>
                </a:lnTo>
                <a:lnTo>
                  <a:pt x="101" y="908"/>
                </a:lnTo>
                <a:lnTo>
                  <a:pt x="101" y="907"/>
                </a:lnTo>
                <a:lnTo>
                  <a:pt x="99" y="907"/>
                </a:lnTo>
                <a:lnTo>
                  <a:pt x="99" y="906"/>
                </a:lnTo>
                <a:lnTo>
                  <a:pt x="99" y="904"/>
                </a:lnTo>
                <a:lnTo>
                  <a:pt x="94" y="896"/>
                </a:lnTo>
                <a:lnTo>
                  <a:pt x="87" y="889"/>
                </a:lnTo>
                <a:lnTo>
                  <a:pt x="87" y="886"/>
                </a:lnTo>
                <a:lnTo>
                  <a:pt x="86" y="883"/>
                </a:lnTo>
                <a:lnTo>
                  <a:pt x="85" y="880"/>
                </a:lnTo>
                <a:lnTo>
                  <a:pt x="82" y="878"/>
                </a:lnTo>
                <a:lnTo>
                  <a:pt x="82" y="876"/>
                </a:lnTo>
                <a:lnTo>
                  <a:pt x="82" y="874"/>
                </a:lnTo>
                <a:lnTo>
                  <a:pt x="80" y="873"/>
                </a:lnTo>
                <a:lnTo>
                  <a:pt x="78" y="872"/>
                </a:lnTo>
                <a:lnTo>
                  <a:pt x="76" y="868"/>
                </a:lnTo>
                <a:lnTo>
                  <a:pt x="73" y="864"/>
                </a:lnTo>
                <a:lnTo>
                  <a:pt x="71" y="865"/>
                </a:lnTo>
                <a:lnTo>
                  <a:pt x="70" y="866"/>
                </a:lnTo>
                <a:lnTo>
                  <a:pt x="70" y="871"/>
                </a:lnTo>
                <a:lnTo>
                  <a:pt x="71" y="875"/>
                </a:lnTo>
                <a:lnTo>
                  <a:pt x="70" y="871"/>
                </a:lnTo>
                <a:lnTo>
                  <a:pt x="70" y="866"/>
                </a:lnTo>
                <a:lnTo>
                  <a:pt x="70" y="866"/>
                </a:lnTo>
                <a:lnTo>
                  <a:pt x="71" y="865"/>
                </a:lnTo>
                <a:lnTo>
                  <a:pt x="73" y="864"/>
                </a:lnTo>
                <a:lnTo>
                  <a:pt x="71" y="859"/>
                </a:lnTo>
                <a:lnTo>
                  <a:pt x="70" y="853"/>
                </a:lnTo>
                <a:lnTo>
                  <a:pt x="70" y="850"/>
                </a:lnTo>
                <a:lnTo>
                  <a:pt x="70" y="846"/>
                </a:lnTo>
                <a:lnTo>
                  <a:pt x="70" y="845"/>
                </a:lnTo>
                <a:lnTo>
                  <a:pt x="69" y="844"/>
                </a:lnTo>
                <a:lnTo>
                  <a:pt x="68" y="843"/>
                </a:lnTo>
                <a:lnTo>
                  <a:pt x="65" y="843"/>
                </a:lnTo>
                <a:lnTo>
                  <a:pt x="65" y="841"/>
                </a:lnTo>
                <a:lnTo>
                  <a:pt x="64" y="840"/>
                </a:lnTo>
                <a:lnTo>
                  <a:pt x="63" y="838"/>
                </a:lnTo>
                <a:lnTo>
                  <a:pt x="62" y="838"/>
                </a:lnTo>
                <a:lnTo>
                  <a:pt x="61" y="838"/>
                </a:lnTo>
                <a:lnTo>
                  <a:pt x="58" y="839"/>
                </a:lnTo>
                <a:lnTo>
                  <a:pt x="55" y="839"/>
                </a:lnTo>
                <a:lnTo>
                  <a:pt x="49" y="824"/>
                </a:lnTo>
                <a:lnTo>
                  <a:pt x="42" y="810"/>
                </a:lnTo>
                <a:lnTo>
                  <a:pt x="38" y="812"/>
                </a:lnTo>
                <a:lnTo>
                  <a:pt x="35" y="815"/>
                </a:lnTo>
                <a:lnTo>
                  <a:pt x="38" y="812"/>
                </a:lnTo>
                <a:lnTo>
                  <a:pt x="42" y="810"/>
                </a:lnTo>
                <a:lnTo>
                  <a:pt x="43" y="806"/>
                </a:lnTo>
                <a:lnTo>
                  <a:pt x="44" y="803"/>
                </a:lnTo>
                <a:lnTo>
                  <a:pt x="53" y="802"/>
                </a:lnTo>
                <a:lnTo>
                  <a:pt x="63" y="799"/>
                </a:lnTo>
                <a:lnTo>
                  <a:pt x="72" y="796"/>
                </a:lnTo>
                <a:lnTo>
                  <a:pt x="82" y="795"/>
                </a:lnTo>
                <a:lnTo>
                  <a:pt x="87" y="794"/>
                </a:lnTo>
                <a:lnTo>
                  <a:pt x="94" y="791"/>
                </a:lnTo>
                <a:lnTo>
                  <a:pt x="96" y="790"/>
                </a:lnTo>
                <a:lnTo>
                  <a:pt x="97" y="787"/>
                </a:lnTo>
                <a:lnTo>
                  <a:pt x="96" y="785"/>
                </a:lnTo>
                <a:lnTo>
                  <a:pt x="93" y="785"/>
                </a:lnTo>
                <a:lnTo>
                  <a:pt x="85" y="785"/>
                </a:lnTo>
                <a:lnTo>
                  <a:pt x="77" y="785"/>
                </a:lnTo>
                <a:lnTo>
                  <a:pt x="70" y="788"/>
                </a:lnTo>
                <a:lnTo>
                  <a:pt x="63" y="790"/>
                </a:lnTo>
                <a:lnTo>
                  <a:pt x="62" y="788"/>
                </a:lnTo>
                <a:lnTo>
                  <a:pt x="61" y="787"/>
                </a:lnTo>
                <a:lnTo>
                  <a:pt x="56" y="788"/>
                </a:lnTo>
                <a:lnTo>
                  <a:pt x="51" y="788"/>
                </a:lnTo>
                <a:lnTo>
                  <a:pt x="46" y="788"/>
                </a:lnTo>
                <a:lnTo>
                  <a:pt x="42" y="787"/>
                </a:lnTo>
                <a:lnTo>
                  <a:pt x="38" y="788"/>
                </a:lnTo>
                <a:lnTo>
                  <a:pt x="37" y="789"/>
                </a:lnTo>
                <a:lnTo>
                  <a:pt x="35" y="791"/>
                </a:lnTo>
                <a:lnTo>
                  <a:pt x="34" y="794"/>
                </a:lnTo>
                <a:lnTo>
                  <a:pt x="31" y="801"/>
                </a:lnTo>
                <a:lnTo>
                  <a:pt x="29" y="806"/>
                </a:lnTo>
                <a:lnTo>
                  <a:pt x="28" y="815"/>
                </a:lnTo>
                <a:lnTo>
                  <a:pt x="27" y="822"/>
                </a:lnTo>
                <a:lnTo>
                  <a:pt x="21" y="827"/>
                </a:lnTo>
                <a:lnTo>
                  <a:pt x="16" y="833"/>
                </a:lnTo>
                <a:lnTo>
                  <a:pt x="15" y="836"/>
                </a:lnTo>
                <a:lnTo>
                  <a:pt x="13" y="840"/>
                </a:lnTo>
                <a:lnTo>
                  <a:pt x="13" y="844"/>
                </a:lnTo>
                <a:lnTo>
                  <a:pt x="13" y="847"/>
                </a:lnTo>
                <a:lnTo>
                  <a:pt x="11" y="850"/>
                </a:lnTo>
                <a:lnTo>
                  <a:pt x="10" y="851"/>
                </a:lnTo>
                <a:lnTo>
                  <a:pt x="11" y="852"/>
                </a:lnTo>
                <a:lnTo>
                  <a:pt x="13" y="853"/>
                </a:lnTo>
                <a:lnTo>
                  <a:pt x="13" y="854"/>
                </a:lnTo>
                <a:lnTo>
                  <a:pt x="13" y="855"/>
                </a:lnTo>
                <a:lnTo>
                  <a:pt x="10" y="857"/>
                </a:lnTo>
                <a:lnTo>
                  <a:pt x="9" y="859"/>
                </a:lnTo>
                <a:lnTo>
                  <a:pt x="9" y="861"/>
                </a:lnTo>
                <a:lnTo>
                  <a:pt x="9" y="862"/>
                </a:lnTo>
                <a:lnTo>
                  <a:pt x="10" y="867"/>
                </a:lnTo>
                <a:lnTo>
                  <a:pt x="11" y="871"/>
                </a:lnTo>
                <a:lnTo>
                  <a:pt x="8" y="878"/>
                </a:lnTo>
                <a:lnTo>
                  <a:pt x="6" y="886"/>
                </a:lnTo>
                <a:lnTo>
                  <a:pt x="4" y="889"/>
                </a:lnTo>
                <a:lnTo>
                  <a:pt x="4" y="893"/>
                </a:lnTo>
                <a:lnTo>
                  <a:pt x="6" y="897"/>
                </a:lnTo>
                <a:lnTo>
                  <a:pt x="7" y="901"/>
                </a:lnTo>
                <a:lnTo>
                  <a:pt x="10" y="911"/>
                </a:lnTo>
                <a:lnTo>
                  <a:pt x="14" y="922"/>
                </a:lnTo>
                <a:lnTo>
                  <a:pt x="18" y="931"/>
                </a:lnTo>
                <a:lnTo>
                  <a:pt x="24" y="941"/>
                </a:lnTo>
                <a:lnTo>
                  <a:pt x="34" y="950"/>
                </a:lnTo>
                <a:lnTo>
                  <a:pt x="43" y="958"/>
                </a:lnTo>
                <a:lnTo>
                  <a:pt x="48" y="962"/>
                </a:lnTo>
                <a:lnTo>
                  <a:pt x="53" y="964"/>
                </a:lnTo>
                <a:lnTo>
                  <a:pt x="59" y="966"/>
                </a:lnTo>
                <a:lnTo>
                  <a:pt x="66" y="967"/>
                </a:lnTo>
                <a:lnTo>
                  <a:pt x="72" y="967"/>
                </a:lnTo>
                <a:lnTo>
                  <a:pt x="78" y="967"/>
                </a:lnTo>
                <a:lnTo>
                  <a:pt x="84" y="965"/>
                </a:lnTo>
                <a:lnTo>
                  <a:pt x="90" y="962"/>
                </a:lnTo>
                <a:lnTo>
                  <a:pt x="91" y="962"/>
                </a:lnTo>
                <a:lnTo>
                  <a:pt x="93" y="960"/>
                </a:lnTo>
                <a:lnTo>
                  <a:pt x="98" y="956"/>
                </a:lnTo>
                <a:lnTo>
                  <a:pt x="101" y="955"/>
                </a:lnTo>
                <a:lnTo>
                  <a:pt x="103" y="957"/>
                </a:lnTo>
                <a:lnTo>
                  <a:pt x="105" y="964"/>
                </a:lnTo>
                <a:lnTo>
                  <a:pt x="106" y="969"/>
                </a:lnTo>
                <a:lnTo>
                  <a:pt x="108" y="973"/>
                </a:lnTo>
                <a:lnTo>
                  <a:pt x="111" y="977"/>
                </a:lnTo>
                <a:lnTo>
                  <a:pt x="114" y="980"/>
                </a:lnTo>
                <a:lnTo>
                  <a:pt x="118" y="983"/>
                </a:lnTo>
                <a:lnTo>
                  <a:pt x="122" y="985"/>
                </a:lnTo>
                <a:lnTo>
                  <a:pt x="128" y="985"/>
                </a:lnTo>
                <a:lnTo>
                  <a:pt x="134" y="985"/>
                </a:lnTo>
                <a:lnTo>
                  <a:pt x="140" y="985"/>
                </a:lnTo>
                <a:lnTo>
                  <a:pt x="146" y="987"/>
                </a:lnTo>
                <a:lnTo>
                  <a:pt x="154" y="995"/>
                </a:lnTo>
                <a:lnTo>
                  <a:pt x="161" y="1004"/>
                </a:lnTo>
                <a:lnTo>
                  <a:pt x="167" y="1008"/>
                </a:lnTo>
                <a:lnTo>
                  <a:pt x="172" y="1012"/>
                </a:lnTo>
                <a:lnTo>
                  <a:pt x="176" y="1018"/>
                </a:lnTo>
                <a:lnTo>
                  <a:pt x="181" y="1022"/>
                </a:lnTo>
                <a:lnTo>
                  <a:pt x="188" y="1033"/>
                </a:lnTo>
                <a:lnTo>
                  <a:pt x="196" y="1043"/>
                </a:lnTo>
                <a:lnTo>
                  <a:pt x="200" y="1049"/>
                </a:lnTo>
                <a:lnTo>
                  <a:pt x="204" y="1050"/>
                </a:lnTo>
                <a:lnTo>
                  <a:pt x="208" y="1050"/>
                </a:lnTo>
                <a:lnTo>
                  <a:pt x="214" y="1047"/>
                </a:lnTo>
                <a:lnTo>
                  <a:pt x="216" y="1043"/>
                </a:lnTo>
                <a:lnTo>
                  <a:pt x="220" y="1040"/>
                </a:lnTo>
                <a:lnTo>
                  <a:pt x="221" y="1039"/>
                </a:lnTo>
                <a:lnTo>
                  <a:pt x="222" y="1039"/>
                </a:lnTo>
                <a:lnTo>
                  <a:pt x="223" y="1040"/>
                </a:lnTo>
                <a:lnTo>
                  <a:pt x="224" y="1041"/>
                </a:lnTo>
                <a:lnTo>
                  <a:pt x="228" y="1049"/>
                </a:lnTo>
                <a:lnTo>
                  <a:pt x="231" y="1055"/>
                </a:lnTo>
                <a:lnTo>
                  <a:pt x="234" y="1056"/>
                </a:lnTo>
                <a:lnTo>
                  <a:pt x="236" y="1057"/>
                </a:lnTo>
                <a:lnTo>
                  <a:pt x="239" y="1059"/>
                </a:lnTo>
                <a:lnTo>
                  <a:pt x="242" y="1059"/>
                </a:lnTo>
                <a:lnTo>
                  <a:pt x="243" y="1059"/>
                </a:lnTo>
                <a:lnTo>
                  <a:pt x="243" y="1059"/>
                </a:lnTo>
                <a:lnTo>
                  <a:pt x="243" y="1061"/>
                </a:lnTo>
                <a:lnTo>
                  <a:pt x="244" y="1062"/>
                </a:lnTo>
                <a:lnTo>
                  <a:pt x="245" y="1063"/>
                </a:lnTo>
                <a:lnTo>
                  <a:pt x="248" y="1064"/>
                </a:lnTo>
                <a:lnTo>
                  <a:pt x="253" y="1074"/>
                </a:lnTo>
                <a:lnTo>
                  <a:pt x="262" y="1081"/>
                </a:lnTo>
                <a:lnTo>
                  <a:pt x="270" y="1088"/>
                </a:lnTo>
                <a:lnTo>
                  <a:pt x="279" y="1095"/>
                </a:lnTo>
                <a:lnTo>
                  <a:pt x="291" y="1105"/>
                </a:lnTo>
                <a:lnTo>
                  <a:pt x="303" y="1117"/>
                </a:lnTo>
                <a:lnTo>
                  <a:pt x="314" y="1129"/>
                </a:lnTo>
                <a:lnTo>
                  <a:pt x="327" y="1138"/>
                </a:lnTo>
                <a:lnTo>
                  <a:pt x="344" y="1151"/>
                </a:lnTo>
                <a:lnTo>
                  <a:pt x="361" y="1164"/>
                </a:lnTo>
                <a:lnTo>
                  <a:pt x="361" y="1164"/>
                </a:lnTo>
                <a:lnTo>
                  <a:pt x="369" y="1172"/>
                </a:lnTo>
                <a:lnTo>
                  <a:pt x="379" y="1180"/>
                </a:lnTo>
                <a:lnTo>
                  <a:pt x="388" y="1187"/>
                </a:lnTo>
                <a:lnTo>
                  <a:pt x="397" y="1195"/>
                </a:lnTo>
                <a:lnTo>
                  <a:pt x="402" y="1199"/>
                </a:lnTo>
                <a:lnTo>
                  <a:pt x="407" y="1203"/>
                </a:lnTo>
                <a:lnTo>
                  <a:pt x="412" y="1207"/>
                </a:lnTo>
                <a:lnTo>
                  <a:pt x="418" y="1209"/>
                </a:lnTo>
                <a:lnTo>
                  <a:pt x="420" y="1207"/>
                </a:lnTo>
                <a:lnTo>
                  <a:pt x="422" y="1204"/>
                </a:lnTo>
                <a:lnTo>
                  <a:pt x="420" y="1207"/>
                </a:lnTo>
                <a:lnTo>
                  <a:pt x="418" y="1209"/>
                </a:lnTo>
                <a:lnTo>
                  <a:pt x="429" y="1220"/>
                </a:lnTo>
                <a:lnTo>
                  <a:pt x="438" y="1229"/>
                </a:lnTo>
                <a:lnTo>
                  <a:pt x="450" y="1238"/>
                </a:lnTo>
                <a:lnTo>
                  <a:pt x="462" y="1246"/>
                </a:lnTo>
                <a:lnTo>
                  <a:pt x="481" y="1262"/>
                </a:lnTo>
                <a:lnTo>
                  <a:pt x="501" y="1277"/>
                </a:lnTo>
                <a:lnTo>
                  <a:pt x="521" y="1292"/>
                </a:lnTo>
                <a:lnTo>
                  <a:pt x="542" y="1306"/>
                </a:lnTo>
                <a:lnTo>
                  <a:pt x="554" y="1313"/>
                </a:lnTo>
                <a:lnTo>
                  <a:pt x="566" y="1321"/>
                </a:lnTo>
                <a:lnTo>
                  <a:pt x="577" y="1329"/>
                </a:lnTo>
                <a:lnTo>
                  <a:pt x="589" y="1339"/>
                </a:lnTo>
                <a:lnTo>
                  <a:pt x="607" y="1347"/>
                </a:lnTo>
                <a:lnTo>
                  <a:pt x="624" y="1355"/>
                </a:lnTo>
                <a:lnTo>
                  <a:pt x="628" y="1360"/>
                </a:lnTo>
                <a:lnTo>
                  <a:pt x="630" y="1364"/>
                </a:lnTo>
                <a:lnTo>
                  <a:pt x="630" y="1388"/>
                </a:lnTo>
                <a:lnTo>
                  <a:pt x="629" y="1411"/>
                </a:lnTo>
                <a:lnTo>
                  <a:pt x="626" y="1434"/>
                </a:lnTo>
                <a:lnTo>
                  <a:pt x="623" y="1456"/>
                </a:lnTo>
                <a:lnTo>
                  <a:pt x="619" y="1481"/>
                </a:lnTo>
                <a:lnTo>
                  <a:pt x="617" y="1505"/>
                </a:lnTo>
                <a:lnTo>
                  <a:pt x="615" y="1530"/>
                </a:lnTo>
                <a:lnTo>
                  <a:pt x="614" y="1554"/>
                </a:lnTo>
                <a:lnTo>
                  <a:pt x="612" y="1568"/>
                </a:lnTo>
                <a:lnTo>
                  <a:pt x="612" y="1581"/>
                </a:lnTo>
                <a:lnTo>
                  <a:pt x="612" y="1595"/>
                </a:lnTo>
                <a:lnTo>
                  <a:pt x="612" y="1609"/>
                </a:lnTo>
                <a:lnTo>
                  <a:pt x="651" y="1609"/>
                </a:lnTo>
                <a:lnTo>
                  <a:pt x="651" y="1609"/>
                </a:lnTo>
                <a:lnTo>
                  <a:pt x="650" y="1608"/>
                </a:lnTo>
                <a:lnTo>
                  <a:pt x="650" y="1603"/>
                </a:lnTo>
                <a:lnTo>
                  <a:pt x="650" y="1600"/>
                </a:lnTo>
                <a:lnTo>
                  <a:pt x="648" y="1598"/>
                </a:lnTo>
                <a:lnTo>
                  <a:pt x="648" y="1596"/>
                </a:lnTo>
                <a:lnTo>
                  <a:pt x="648" y="1598"/>
                </a:lnTo>
                <a:lnTo>
                  <a:pt x="650" y="1600"/>
                </a:lnTo>
                <a:lnTo>
                  <a:pt x="651" y="1595"/>
                </a:lnTo>
                <a:lnTo>
                  <a:pt x="651" y="1589"/>
                </a:lnTo>
                <a:lnTo>
                  <a:pt x="653" y="1600"/>
                </a:lnTo>
                <a:lnTo>
                  <a:pt x="657" y="1609"/>
                </a:lnTo>
                <a:lnTo>
                  <a:pt x="1349" y="1609"/>
                </a:lnTo>
                <a:lnTo>
                  <a:pt x="1399" y="1609"/>
                </a:lnTo>
                <a:lnTo>
                  <a:pt x="1399" y="1603"/>
                </a:lnTo>
                <a:lnTo>
                  <a:pt x="1398" y="1596"/>
                </a:lnTo>
                <a:lnTo>
                  <a:pt x="1397" y="1588"/>
                </a:lnTo>
                <a:lnTo>
                  <a:pt x="1396" y="1581"/>
                </a:lnTo>
                <a:lnTo>
                  <a:pt x="1397" y="1573"/>
                </a:lnTo>
                <a:lnTo>
                  <a:pt x="1398" y="1565"/>
                </a:lnTo>
                <a:lnTo>
                  <a:pt x="1405" y="1559"/>
                </a:lnTo>
                <a:lnTo>
                  <a:pt x="1411" y="1552"/>
                </a:lnTo>
                <a:lnTo>
                  <a:pt x="1417" y="1545"/>
                </a:lnTo>
                <a:lnTo>
                  <a:pt x="1423" y="1537"/>
                </a:lnTo>
                <a:lnTo>
                  <a:pt x="1426" y="1533"/>
                </a:lnTo>
                <a:lnTo>
                  <a:pt x="1428" y="1529"/>
                </a:lnTo>
                <a:lnTo>
                  <a:pt x="1429" y="1523"/>
                </a:lnTo>
                <a:lnTo>
                  <a:pt x="1428" y="1518"/>
                </a:lnTo>
                <a:lnTo>
                  <a:pt x="1426" y="1512"/>
                </a:lnTo>
                <a:lnTo>
                  <a:pt x="1426" y="1507"/>
                </a:lnTo>
                <a:lnTo>
                  <a:pt x="1426" y="1501"/>
                </a:lnTo>
                <a:lnTo>
                  <a:pt x="1428" y="1495"/>
                </a:lnTo>
                <a:lnTo>
                  <a:pt x="1432" y="1480"/>
                </a:lnTo>
                <a:lnTo>
                  <a:pt x="1437" y="1465"/>
                </a:lnTo>
                <a:lnTo>
                  <a:pt x="1443" y="1451"/>
                </a:lnTo>
                <a:lnTo>
                  <a:pt x="1447" y="1435"/>
                </a:lnTo>
                <a:lnTo>
                  <a:pt x="1451" y="1424"/>
                </a:lnTo>
                <a:lnTo>
                  <a:pt x="1456" y="1412"/>
                </a:lnTo>
                <a:lnTo>
                  <a:pt x="1459" y="1402"/>
                </a:lnTo>
                <a:lnTo>
                  <a:pt x="1463" y="1390"/>
                </a:lnTo>
                <a:lnTo>
                  <a:pt x="1465" y="1377"/>
                </a:lnTo>
                <a:lnTo>
                  <a:pt x="1470" y="1365"/>
                </a:lnTo>
                <a:lnTo>
                  <a:pt x="1473" y="1354"/>
                </a:lnTo>
                <a:lnTo>
                  <a:pt x="1477" y="1342"/>
                </a:lnTo>
                <a:lnTo>
                  <a:pt x="1481" y="1329"/>
                </a:lnTo>
                <a:lnTo>
                  <a:pt x="1486" y="1318"/>
                </a:lnTo>
                <a:lnTo>
                  <a:pt x="1489" y="1305"/>
                </a:lnTo>
                <a:lnTo>
                  <a:pt x="1491" y="1291"/>
                </a:lnTo>
                <a:lnTo>
                  <a:pt x="1492" y="1287"/>
                </a:lnTo>
                <a:lnTo>
                  <a:pt x="1494" y="1284"/>
                </a:lnTo>
                <a:lnTo>
                  <a:pt x="1509" y="1267"/>
                </a:lnTo>
                <a:lnTo>
                  <a:pt x="1525" y="1252"/>
                </a:lnTo>
                <a:lnTo>
                  <a:pt x="1529" y="1249"/>
                </a:lnTo>
                <a:lnTo>
                  <a:pt x="1533" y="1245"/>
                </a:lnTo>
                <a:lnTo>
                  <a:pt x="1536" y="1241"/>
                </a:lnTo>
                <a:lnTo>
                  <a:pt x="1536" y="1235"/>
                </a:lnTo>
                <a:lnTo>
                  <a:pt x="1537" y="1224"/>
                </a:lnTo>
                <a:lnTo>
                  <a:pt x="1536" y="1214"/>
                </a:lnTo>
                <a:close/>
                <a:moveTo>
                  <a:pt x="106" y="761"/>
                </a:moveTo>
                <a:lnTo>
                  <a:pt x="120" y="756"/>
                </a:lnTo>
                <a:lnTo>
                  <a:pt x="134" y="752"/>
                </a:lnTo>
                <a:lnTo>
                  <a:pt x="126" y="750"/>
                </a:lnTo>
                <a:lnTo>
                  <a:pt x="119" y="752"/>
                </a:lnTo>
                <a:lnTo>
                  <a:pt x="112" y="754"/>
                </a:lnTo>
                <a:lnTo>
                  <a:pt x="105" y="756"/>
                </a:lnTo>
                <a:lnTo>
                  <a:pt x="103" y="759"/>
                </a:lnTo>
                <a:lnTo>
                  <a:pt x="103" y="761"/>
                </a:lnTo>
                <a:lnTo>
                  <a:pt x="104" y="762"/>
                </a:lnTo>
                <a:lnTo>
                  <a:pt x="106" y="761"/>
                </a:lnTo>
                <a:close/>
                <a:moveTo>
                  <a:pt x="1028" y="589"/>
                </a:move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19" y="585"/>
                </a:lnTo>
                <a:lnTo>
                  <a:pt x="1012" y="579"/>
                </a:lnTo>
                <a:lnTo>
                  <a:pt x="1010" y="574"/>
                </a:lnTo>
                <a:lnTo>
                  <a:pt x="1007" y="570"/>
                </a:lnTo>
                <a:lnTo>
                  <a:pt x="996" y="557"/>
                </a:lnTo>
                <a:lnTo>
                  <a:pt x="985" y="544"/>
                </a:lnTo>
                <a:lnTo>
                  <a:pt x="975" y="531"/>
                </a:lnTo>
                <a:lnTo>
                  <a:pt x="966" y="517"/>
                </a:lnTo>
                <a:lnTo>
                  <a:pt x="962" y="509"/>
                </a:lnTo>
                <a:lnTo>
                  <a:pt x="957" y="502"/>
                </a:lnTo>
                <a:lnTo>
                  <a:pt x="956" y="508"/>
                </a:lnTo>
                <a:lnTo>
                  <a:pt x="957" y="514"/>
                </a:lnTo>
                <a:lnTo>
                  <a:pt x="960" y="517"/>
                </a:lnTo>
                <a:lnTo>
                  <a:pt x="963" y="522"/>
                </a:lnTo>
                <a:lnTo>
                  <a:pt x="973" y="537"/>
                </a:lnTo>
                <a:lnTo>
                  <a:pt x="984" y="551"/>
                </a:lnTo>
                <a:lnTo>
                  <a:pt x="997" y="566"/>
                </a:lnTo>
                <a:lnTo>
                  <a:pt x="1011" y="581"/>
                </a:lnTo>
                <a:lnTo>
                  <a:pt x="1016" y="587"/>
                </a:lnTo>
                <a:lnTo>
                  <a:pt x="1021" y="593"/>
                </a:lnTo>
                <a:lnTo>
                  <a:pt x="1026" y="598"/>
                </a:lnTo>
                <a:lnTo>
                  <a:pt x="1033" y="600"/>
                </a:lnTo>
                <a:lnTo>
                  <a:pt x="1036" y="601"/>
                </a:lnTo>
                <a:lnTo>
                  <a:pt x="1037" y="601"/>
                </a:lnTo>
                <a:lnTo>
                  <a:pt x="1038" y="601"/>
                </a:lnTo>
                <a:lnTo>
                  <a:pt x="1039" y="600"/>
                </a:lnTo>
                <a:lnTo>
                  <a:pt x="1039" y="598"/>
                </a:lnTo>
                <a:lnTo>
                  <a:pt x="1038" y="596"/>
                </a:lnTo>
                <a:lnTo>
                  <a:pt x="1037" y="596"/>
                </a:lnTo>
                <a:lnTo>
                  <a:pt x="1036" y="595"/>
                </a:lnTo>
                <a:lnTo>
                  <a:pt x="1033" y="594"/>
                </a:lnTo>
                <a:lnTo>
                  <a:pt x="1031" y="594"/>
                </a:lnTo>
                <a:lnTo>
                  <a:pt x="1029" y="593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lnTo>
                  <a:pt x="1028" y="589"/>
                </a:lnTo>
                <a:close/>
                <a:moveTo>
                  <a:pt x="1360" y="219"/>
                </a:moveTo>
                <a:lnTo>
                  <a:pt x="1360" y="218"/>
                </a:lnTo>
                <a:lnTo>
                  <a:pt x="1360" y="217"/>
                </a:lnTo>
                <a:lnTo>
                  <a:pt x="1360" y="217"/>
                </a:lnTo>
                <a:lnTo>
                  <a:pt x="1360" y="218"/>
                </a:lnTo>
                <a:lnTo>
                  <a:pt x="1359" y="219"/>
                </a:lnTo>
                <a:lnTo>
                  <a:pt x="1360" y="219"/>
                </a:lnTo>
                <a:lnTo>
                  <a:pt x="1360" y="219"/>
                </a:lnTo>
                <a:close/>
                <a:moveTo>
                  <a:pt x="1018" y="649"/>
                </a:moveTo>
                <a:lnTo>
                  <a:pt x="1021" y="650"/>
                </a:lnTo>
                <a:lnTo>
                  <a:pt x="1022" y="651"/>
                </a:lnTo>
                <a:lnTo>
                  <a:pt x="1024" y="650"/>
                </a:lnTo>
                <a:lnTo>
                  <a:pt x="1026" y="650"/>
                </a:lnTo>
                <a:lnTo>
                  <a:pt x="1029" y="649"/>
                </a:lnTo>
                <a:lnTo>
                  <a:pt x="1032" y="648"/>
                </a:lnTo>
                <a:lnTo>
                  <a:pt x="1036" y="645"/>
                </a:lnTo>
                <a:lnTo>
                  <a:pt x="1037" y="641"/>
                </a:lnTo>
                <a:lnTo>
                  <a:pt x="1035" y="642"/>
                </a:lnTo>
                <a:lnTo>
                  <a:pt x="1032" y="644"/>
                </a:lnTo>
                <a:lnTo>
                  <a:pt x="1031" y="644"/>
                </a:lnTo>
                <a:lnTo>
                  <a:pt x="1028" y="643"/>
                </a:lnTo>
                <a:lnTo>
                  <a:pt x="1026" y="642"/>
                </a:lnTo>
                <a:lnTo>
                  <a:pt x="1025" y="641"/>
                </a:lnTo>
                <a:lnTo>
                  <a:pt x="1024" y="641"/>
                </a:lnTo>
                <a:lnTo>
                  <a:pt x="1023" y="642"/>
                </a:lnTo>
                <a:lnTo>
                  <a:pt x="1021" y="644"/>
                </a:lnTo>
                <a:lnTo>
                  <a:pt x="1018" y="645"/>
                </a:lnTo>
                <a:lnTo>
                  <a:pt x="1017" y="647"/>
                </a:lnTo>
                <a:lnTo>
                  <a:pt x="1018" y="649"/>
                </a:lnTo>
                <a:close/>
                <a:moveTo>
                  <a:pt x="1321" y="763"/>
                </a:moveTo>
                <a:lnTo>
                  <a:pt x="1326" y="764"/>
                </a:lnTo>
                <a:lnTo>
                  <a:pt x="1334" y="763"/>
                </a:lnTo>
                <a:lnTo>
                  <a:pt x="1341" y="762"/>
                </a:lnTo>
                <a:lnTo>
                  <a:pt x="1347" y="759"/>
                </a:lnTo>
                <a:lnTo>
                  <a:pt x="1349" y="759"/>
                </a:lnTo>
                <a:lnTo>
                  <a:pt x="1352" y="756"/>
                </a:lnTo>
                <a:lnTo>
                  <a:pt x="1353" y="753"/>
                </a:lnTo>
                <a:lnTo>
                  <a:pt x="1355" y="750"/>
                </a:lnTo>
                <a:lnTo>
                  <a:pt x="1361" y="747"/>
                </a:lnTo>
                <a:lnTo>
                  <a:pt x="1367" y="743"/>
                </a:lnTo>
                <a:lnTo>
                  <a:pt x="1370" y="741"/>
                </a:lnTo>
                <a:lnTo>
                  <a:pt x="1371" y="739"/>
                </a:lnTo>
                <a:lnTo>
                  <a:pt x="1369" y="736"/>
                </a:lnTo>
                <a:lnTo>
                  <a:pt x="1366" y="735"/>
                </a:lnTo>
                <a:lnTo>
                  <a:pt x="1352" y="735"/>
                </a:lnTo>
                <a:lnTo>
                  <a:pt x="1337" y="735"/>
                </a:lnTo>
                <a:lnTo>
                  <a:pt x="1337" y="736"/>
                </a:lnTo>
                <a:lnTo>
                  <a:pt x="1337" y="739"/>
                </a:lnTo>
                <a:lnTo>
                  <a:pt x="1328" y="742"/>
                </a:lnTo>
                <a:lnTo>
                  <a:pt x="1323" y="747"/>
                </a:lnTo>
                <a:lnTo>
                  <a:pt x="1322" y="749"/>
                </a:lnTo>
                <a:lnTo>
                  <a:pt x="1321" y="752"/>
                </a:lnTo>
                <a:lnTo>
                  <a:pt x="1321" y="755"/>
                </a:lnTo>
                <a:lnTo>
                  <a:pt x="1321" y="759"/>
                </a:lnTo>
                <a:lnTo>
                  <a:pt x="1320" y="761"/>
                </a:lnTo>
                <a:lnTo>
                  <a:pt x="1321" y="763"/>
                </a:lnTo>
                <a:close/>
                <a:moveTo>
                  <a:pt x="1023" y="635"/>
                </a:moveTo>
                <a:lnTo>
                  <a:pt x="1026" y="634"/>
                </a:lnTo>
                <a:lnTo>
                  <a:pt x="1029" y="633"/>
                </a:lnTo>
                <a:lnTo>
                  <a:pt x="1031" y="630"/>
                </a:lnTo>
                <a:lnTo>
                  <a:pt x="1032" y="627"/>
                </a:lnTo>
                <a:lnTo>
                  <a:pt x="1032" y="624"/>
                </a:lnTo>
                <a:lnTo>
                  <a:pt x="1030" y="623"/>
                </a:lnTo>
                <a:lnTo>
                  <a:pt x="1029" y="623"/>
                </a:lnTo>
                <a:lnTo>
                  <a:pt x="1026" y="623"/>
                </a:lnTo>
                <a:lnTo>
                  <a:pt x="1024" y="624"/>
                </a:lnTo>
                <a:lnTo>
                  <a:pt x="1021" y="626"/>
                </a:lnTo>
                <a:lnTo>
                  <a:pt x="1019" y="628"/>
                </a:lnTo>
                <a:lnTo>
                  <a:pt x="1018" y="631"/>
                </a:lnTo>
                <a:lnTo>
                  <a:pt x="1021" y="634"/>
                </a:lnTo>
                <a:lnTo>
                  <a:pt x="1023" y="635"/>
                </a:lnTo>
                <a:close/>
                <a:moveTo>
                  <a:pt x="1056" y="550"/>
                </a:moveTo>
                <a:lnTo>
                  <a:pt x="1056" y="546"/>
                </a:lnTo>
                <a:lnTo>
                  <a:pt x="1056" y="543"/>
                </a:lnTo>
                <a:lnTo>
                  <a:pt x="1052" y="542"/>
                </a:lnTo>
                <a:lnTo>
                  <a:pt x="1047" y="542"/>
                </a:lnTo>
                <a:lnTo>
                  <a:pt x="1045" y="543"/>
                </a:lnTo>
                <a:lnTo>
                  <a:pt x="1043" y="544"/>
                </a:lnTo>
                <a:lnTo>
                  <a:pt x="1040" y="545"/>
                </a:lnTo>
                <a:lnTo>
                  <a:pt x="1039" y="546"/>
                </a:lnTo>
                <a:lnTo>
                  <a:pt x="1038" y="551"/>
                </a:lnTo>
                <a:lnTo>
                  <a:pt x="1037" y="554"/>
                </a:lnTo>
                <a:lnTo>
                  <a:pt x="1037" y="556"/>
                </a:lnTo>
                <a:lnTo>
                  <a:pt x="1037" y="557"/>
                </a:lnTo>
                <a:lnTo>
                  <a:pt x="1033" y="556"/>
                </a:lnTo>
                <a:lnTo>
                  <a:pt x="1031" y="553"/>
                </a:lnTo>
                <a:lnTo>
                  <a:pt x="1030" y="551"/>
                </a:lnTo>
                <a:lnTo>
                  <a:pt x="1029" y="547"/>
                </a:lnTo>
                <a:lnTo>
                  <a:pt x="1029" y="538"/>
                </a:lnTo>
                <a:lnTo>
                  <a:pt x="1029" y="528"/>
                </a:lnTo>
                <a:lnTo>
                  <a:pt x="1026" y="532"/>
                </a:lnTo>
                <a:lnTo>
                  <a:pt x="1024" y="538"/>
                </a:lnTo>
                <a:lnTo>
                  <a:pt x="1024" y="545"/>
                </a:lnTo>
                <a:lnTo>
                  <a:pt x="1024" y="553"/>
                </a:lnTo>
                <a:lnTo>
                  <a:pt x="1026" y="560"/>
                </a:lnTo>
                <a:lnTo>
                  <a:pt x="1029" y="568"/>
                </a:lnTo>
                <a:lnTo>
                  <a:pt x="1032" y="574"/>
                </a:lnTo>
                <a:lnTo>
                  <a:pt x="1037" y="580"/>
                </a:lnTo>
                <a:lnTo>
                  <a:pt x="1038" y="581"/>
                </a:lnTo>
                <a:lnTo>
                  <a:pt x="1040" y="582"/>
                </a:lnTo>
                <a:lnTo>
                  <a:pt x="1042" y="585"/>
                </a:lnTo>
                <a:lnTo>
                  <a:pt x="1043" y="587"/>
                </a:lnTo>
                <a:lnTo>
                  <a:pt x="1045" y="589"/>
                </a:lnTo>
                <a:lnTo>
                  <a:pt x="1047" y="589"/>
                </a:lnTo>
                <a:lnTo>
                  <a:pt x="1050" y="587"/>
                </a:lnTo>
                <a:lnTo>
                  <a:pt x="1052" y="585"/>
                </a:lnTo>
                <a:lnTo>
                  <a:pt x="1053" y="582"/>
                </a:lnTo>
                <a:lnTo>
                  <a:pt x="1052" y="578"/>
                </a:lnTo>
                <a:lnTo>
                  <a:pt x="1052" y="577"/>
                </a:lnTo>
                <a:lnTo>
                  <a:pt x="1052" y="575"/>
                </a:lnTo>
                <a:lnTo>
                  <a:pt x="1052" y="567"/>
                </a:lnTo>
                <a:lnTo>
                  <a:pt x="1052" y="559"/>
                </a:lnTo>
                <a:lnTo>
                  <a:pt x="1054" y="556"/>
                </a:lnTo>
                <a:lnTo>
                  <a:pt x="1056" y="550"/>
                </a:lnTo>
                <a:close/>
                <a:moveTo>
                  <a:pt x="1340" y="423"/>
                </a:moveTo>
                <a:lnTo>
                  <a:pt x="1343" y="421"/>
                </a:lnTo>
                <a:lnTo>
                  <a:pt x="1344" y="420"/>
                </a:lnTo>
                <a:lnTo>
                  <a:pt x="1344" y="418"/>
                </a:lnTo>
                <a:lnTo>
                  <a:pt x="1344" y="416"/>
                </a:lnTo>
                <a:lnTo>
                  <a:pt x="1346" y="411"/>
                </a:lnTo>
                <a:lnTo>
                  <a:pt x="1347" y="409"/>
                </a:lnTo>
                <a:lnTo>
                  <a:pt x="1350" y="407"/>
                </a:lnTo>
                <a:lnTo>
                  <a:pt x="1355" y="407"/>
                </a:lnTo>
                <a:lnTo>
                  <a:pt x="1356" y="406"/>
                </a:lnTo>
                <a:lnTo>
                  <a:pt x="1359" y="405"/>
                </a:lnTo>
                <a:lnTo>
                  <a:pt x="1360" y="404"/>
                </a:lnTo>
                <a:lnTo>
                  <a:pt x="1360" y="402"/>
                </a:lnTo>
                <a:lnTo>
                  <a:pt x="1359" y="399"/>
                </a:lnTo>
                <a:lnTo>
                  <a:pt x="1357" y="398"/>
                </a:lnTo>
                <a:lnTo>
                  <a:pt x="1356" y="398"/>
                </a:lnTo>
                <a:lnTo>
                  <a:pt x="1354" y="398"/>
                </a:lnTo>
                <a:lnTo>
                  <a:pt x="1349" y="398"/>
                </a:lnTo>
                <a:lnTo>
                  <a:pt x="1346" y="399"/>
                </a:lnTo>
                <a:lnTo>
                  <a:pt x="1343" y="400"/>
                </a:lnTo>
                <a:lnTo>
                  <a:pt x="1341" y="402"/>
                </a:lnTo>
                <a:lnTo>
                  <a:pt x="1339" y="404"/>
                </a:lnTo>
                <a:lnTo>
                  <a:pt x="1336" y="407"/>
                </a:lnTo>
                <a:lnTo>
                  <a:pt x="1336" y="411"/>
                </a:lnTo>
                <a:lnTo>
                  <a:pt x="1335" y="416"/>
                </a:lnTo>
                <a:lnTo>
                  <a:pt x="1336" y="417"/>
                </a:lnTo>
                <a:lnTo>
                  <a:pt x="1336" y="419"/>
                </a:lnTo>
                <a:lnTo>
                  <a:pt x="1336" y="421"/>
                </a:lnTo>
                <a:lnTo>
                  <a:pt x="1340" y="423"/>
                </a:lnTo>
                <a:close/>
                <a:moveTo>
                  <a:pt x="1080" y="547"/>
                </a:moveTo>
                <a:lnTo>
                  <a:pt x="1090" y="546"/>
                </a:lnTo>
                <a:lnTo>
                  <a:pt x="1100" y="546"/>
                </a:lnTo>
                <a:lnTo>
                  <a:pt x="1109" y="546"/>
                </a:lnTo>
                <a:lnTo>
                  <a:pt x="1119" y="547"/>
                </a:lnTo>
                <a:lnTo>
                  <a:pt x="1122" y="547"/>
                </a:lnTo>
                <a:lnTo>
                  <a:pt x="1123" y="545"/>
                </a:lnTo>
                <a:lnTo>
                  <a:pt x="1123" y="542"/>
                </a:lnTo>
                <a:lnTo>
                  <a:pt x="1121" y="537"/>
                </a:lnTo>
                <a:lnTo>
                  <a:pt x="1118" y="533"/>
                </a:lnTo>
                <a:lnTo>
                  <a:pt x="1114" y="531"/>
                </a:lnTo>
                <a:lnTo>
                  <a:pt x="1101" y="528"/>
                </a:lnTo>
                <a:lnTo>
                  <a:pt x="1088" y="523"/>
                </a:lnTo>
                <a:lnTo>
                  <a:pt x="1076" y="519"/>
                </a:lnTo>
                <a:lnTo>
                  <a:pt x="1063" y="515"/>
                </a:lnTo>
                <a:lnTo>
                  <a:pt x="1054" y="512"/>
                </a:lnTo>
                <a:lnTo>
                  <a:pt x="1045" y="510"/>
                </a:lnTo>
                <a:lnTo>
                  <a:pt x="1036" y="509"/>
                </a:lnTo>
                <a:lnTo>
                  <a:pt x="1028" y="509"/>
                </a:lnTo>
                <a:lnTo>
                  <a:pt x="1022" y="509"/>
                </a:lnTo>
                <a:lnTo>
                  <a:pt x="1016" y="508"/>
                </a:lnTo>
                <a:lnTo>
                  <a:pt x="1011" y="507"/>
                </a:lnTo>
                <a:lnTo>
                  <a:pt x="1007" y="505"/>
                </a:lnTo>
                <a:lnTo>
                  <a:pt x="993" y="500"/>
                </a:lnTo>
                <a:lnTo>
                  <a:pt x="980" y="491"/>
                </a:lnTo>
                <a:lnTo>
                  <a:pt x="977" y="490"/>
                </a:lnTo>
                <a:lnTo>
                  <a:pt x="974" y="489"/>
                </a:lnTo>
                <a:lnTo>
                  <a:pt x="970" y="489"/>
                </a:lnTo>
                <a:lnTo>
                  <a:pt x="966" y="490"/>
                </a:lnTo>
                <a:lnTo>
                  <a:pt x="980" y="498"/>
                </a:lnTo>
                <a:lnTo>
                  <a:pt x="994" y="507"/>
                </a:lnTo>
                <a:lnTo>
                  <a:pt x="1008" y="514"/>
                </a:lnTo>
                <a:lnTo>
                  <a:pt x="1023" y="519"/>
                </a:lnTo>
                <a:lnTo>
                  <a:pt x="1026" y="523"/>
                </a:lnTo>
                <a:lnTo>
                  <a:pt x="1031" y="525"/>
                </a:lnTo>
                <a:lnTo>
                  <a:pt x="1047" y="532"/>
                </a:lnTo>
                <a:lnTo>
                  <a:pt x="1063" y="542"/>
                </a:lnTo>
                <a:lnTo>
                  <a:pt x="1066" y="546"/>
                </a:lnTo>
                <a:lnTo>
                  <a:pt x="1071" y="547"/>
                </a:lnTo>
                <a:lnTo>
                  <a:pt x="1076" y="549"/>
                </a:lnTo>
                <a:lnTo>
                  <a:pt x="1080" y="547"/>
                </a:lnTo>
                <a:close/>
                <a:moveTo>
                  <a:pt x="1332" y="696"/>
                </a:moveTo>
                <a:lnTo>
                  <a:pt x="1334" y="694"/>
                </a:lnTo>
                <a:lnTo>
                  <a:pt x="1336" y="693"/>
                </a:lnTo>
                <a:lnTo>
                  <a:pt x="1341" y="690"/>
                </a:lnTo>
                <a:lnTo>
                  <a:pt x="1346" y="686"/>
                </a:lnTo>
                <a:lnTo>
                  <a:pt x="1349" y="685"/>
                </a:lnTo>
                <a:lnTo>
                  <a:pt x="1352" y="685"/>
                </a:lnTo>
                <a:lnTo>
                  <a:pt x="1355" y="686"/>
                </a:lnTo>
                <a:lnTo>
                  <a:pt x="1359" y="687"/>
                </a:lnTo>
                <a:lnTo>
                  <a:pt x="1360" y="687"/>
                </a:lnTo>
                <a:lnTo>
                  <a:pt x="1362" y="685"/>
                </a:lnTo>
                <a:lnTo>
                  <a:pt x="1364" y="682"/>
                </a:lnTo>
                <a:lnTo>
                  <a:pt x="1368" y="677"/>
                </a:lnTo>
                <a:lnTo>
                  <a:pt x="1369" y="676"/>
                </a:lnTo>
                <a:lnTo>
                  <a:pt x="1371" y="675"/>
                </a:lnTo>
                <a:lnTo>
                  <a:pt x="1374" y="673"/>
                </a:lnTo>
                <a:lnTo>
                  <a:pt x="1377" y="673"/>
                </a:lnTo>
                <a:lnTo>
                  <a:pt x="1375" y="670"/>
                </a:lnTo>
                <a:lnTo>
                  <a:pt x="1370" y="668"/>
                </a:lnTo>
                <a:lnTo>
                  <a:pt x="1363" y="666"/>
                </a:lnTo>
                <a:lnTo>
                  <a:pt x="1357" y="665"/>
                </a:lnTo>
                <a:lnTo>
                  <a:pt x="1352" y="666"/>
                </a:lnTo>
                <a:lnTo>
                  <a:pt x="1347" y="668"/>
                </a:lnTo>
                <a:lnTo>
                  <a:pt x="1342" y="669"/>
                </a:lnTo>
                <a:lnTo>
                  <a:pt x="1337" y="672"/>
                </a:lnTo>
                <a:lnTo>
                  <a:pt x="1333" y="677"/>
                </a:lnTo>
                <a:lnTo>
                  <a:pt x="1328" y="682"/>
                </a:lnTo>
                <a:lnTo>
                  <a:pt x="1328" y="683"/>
                </a:lnTo>
                <a:lnTo>
                  <a:pt x="1327" y="683"/>
                </a:lnTo>
                <a:lnTo>
                  <a:pt x="1325" y="680"/>
                </a:lnTo>
                <a:lnTo>
                  <a:pt x="1322" y="678"/>
                </a:lnTo>
                <a:lnTo>
                  <a:pt x="1322" y="676"/>
                </a:lnTo>
                <a:lnTo>
                  <a:pt x="1321" y="673"/>
                </a:lnTo>
                <a:lnTo>
                  <a:pt x="1322" y="669"/>
                </a:lnTo>
                <a:lnTo>
                  <a:pt x="1322" y="663"/>
                </a:lnTo>
                <a:lnTo>
                  <a:pt x="1321" y="655"/>
                </a:lnTo>
                <a:lnTo>
                  <a:pt x="1319" y="647"/>
                </a:lnTo>
                <a:lnTo>
                  <a:pt x="1318" y="642"/>
                </a:lnTo>
                <a:lnTo>
                  <a:pt x="1315" y="640"/>
                </a:lnTo>
                <a:lnTo>
                  <a:pt x="1312" y="636"/>
                </a:lnTo>
                <a:lnTo>
                  <a:pt x="1307" y="634"/>
                </a:lnTo>
                <a:lnTo>
                  <a:pt x="1302" y="631"/>
                </a:lnTo>
                <a:lnTo>
                  <a:pt x="1299" y="628"/>
                </a:lnTo>
                <a:lnTo>
                  <a:pt x="1295" y="623"/>
                </a:lnTo>
                <a:lnTo>
                  <a:pt x="1292" y="620"/>
                </a:lnTo>
                <a:lnTo>
                  <a:pt x="1290" y="616"/>
                </a:lnTo>
                <a:lnTo>
                  <a:pt x="1290" y="613"/>
                </a:lnTo>
                <a:lnTo>
                  <a:pt x="1290" y="610"/>
                </a:lnTo>
                <a:lnTo>
                  <a:pt x="1292" y="607"/>
                </a:lnTo>
                <a:lnTo>
                  <a:pt x="1295" y="603"/>
                </a:lnTo>
                <a:lnTo>
                  <a:pt x="1298" y="598"/>
                </a:lnTo>
                <a:lnTo>
                  <a:pt x="1298" y="593"/>
                </a:lnTo>
                <a:lnTo>
                  <a:pt x="1298" y="587"/>
                </a:lnTo>
                <a:lnTo>
                  <a:pt x="1294" y="578"/>
                </a:lnTo>
                <a:lnTo>
                  <a:pt x="1288" y="568"/>
                </a:lnTo>
                <a:lnTo>
                  <a:pt x="1287" y="566"/>
                </a:lnTo>
                <a:lnTo>
                  <a:pt x="1285" y="565"/>
                </a:lnTo>
                <a:lnTo>
                  <a:pt x="1283" y="564"/>
                </a:lnTo>
                <a:lnTo>
                  <a:pt x="1279" y="564"/>
                </a:lnTo>
                <a:lnTo>
                  <a:pt x="1274" y="564"/>
                </a:lnTo>
                <a:lnTo>
                  <a:pt x="1270" y="564"/>
                </a:lnTo>
                <a:lnTo>
                  <a:pt x="1265" y="563"/>
                </a:lnTo>
                <a:lnTo>
                  <a:pt x="1261" y="560"/>
                </a:lnTo>
                <a:lnTo>
                  <a:pt x="1254" y="554"/>
                </a:lnTo>
                <a:lnTo>
                  <a:pt x="1249" y="549"/>
                </a:lnTo>
                <a:lnTo>
                  <a:pt x="1243" y="543"/>
                </a:lnTo>
                <a:lnTo>
                  <a:pt x="1235" y="539"/>
                </a:lnTo>
                <a:lnTo>
                  <a:pt x="1226" y="536"/>
                </a:lnTo>
                <a:lnTo>
                  <a:pt x="1218" y="535"/>
                </a:lnTo>
                <a:lnTo>
                  <a:pt x="1214" y="535"/>
                </a:lnTo>
                <a:lnTo>
                  <a:pt x="1209" y="536"/>
                </a:lnTo>
                <a:lnTo>
                  <a:pt x="1207" y="536"/>
                </a:lnTo>
                <a:lnTo>
                  <a:pt x="1205" y="537"/>
                </a:lnTo>
                <a:lnTo>
                  <a:pt x="1203" y="539"/>
                </a:lnTo>
                <a:lnTo>
                  <a:pt x="1202" y="542"/>
                </a:lnTo>
                <a:lnTo>
                  <a:pt x="1199" y="545"/>
                </a:lnTo>
                <a:lnTo>
                  <a:pt x="1196" y="547"/>
                </a:lnTo>
                <a:lnTo>
                  <a:pt x="1194" y="549"/>
                </a:lnTo>
                <a:lnTo>
                  <a:pt x="1192" y="551"/>
                </a:lnTo>
                <a:lnTo>
                  <a:pt x="1190" y="561"/>
                </a:lnTo>
                <a:lnTo>
                  <a:pt x="1188" y="571"/>
                </a:lnTo>
                <a:lnTo>
                  <a:pt x="1187" y="581"/>
                </a:lnTo>
                <a:lnTo>
                  <a:pt x="1188" y="591"/>
                </a:lnTo>
                <a:lnTo>
                  <a:pt x="1191" y="606"/>
                </a:lnTo>
                <a:lnTo>
                  <a:pt x="1194" y="620"/>
                </a:lnTo>
                <a:lnTo>
                  <a:pt x="1195" y="634"/>
                </a:lnTo>
                <a:lnTo>
                  <a:pt x="1195" y="649"/>
                </a:lnTo>
                <a:lnTo>
                  <a:pt x="1195" y="654"/>
                </a:lnTo>
                <a:lnTo>
                  <a:pt x="1195" y="659"/>
                </a:lnTo>
                <a:lnTo>
                  <a:pt x="1194" y="664"/>
                </a:lnTo>
                <a:lnTo>
                  <a:pt x="1194" y="668"/>
                </a:lnTo>
                <a:lnTo>
                  <a:pt x="1194" y="672"/>
                </a:lnTo>
                <a:lnTo>
                  <a:pt x="1194" y="675"/>
                </a:lnTo>
                <a:lnTo>
                  <a:pt x="1191" y="676"/>
                </a:lnTo>
                <a:lnTo>
                  <a:pt x="1188" y="678"/>
                </a:lnTo>
                <a:lnTo>
                  <a:pt x="1180" y="683"/>
                </a:lnTo>
                <a:lnTo>
                  <a:pt x="1171" y="685"/>
                </a:lnTo>
                <a:lnTo>
                  <a:pt x="1170" y="689"/>
                </a:lnTo>
                <a:lnTo>
                  <a:pt x="1169" y="691"/>
                </a:lnTo>
                <a:lnTo>
                  <a:pt x="1168" y="693"/>
                </a:lnTo>
                <a:lnTo>
                  <a:pt x="1166" y="694"/>
                </a:lnTo>
                <a:lnTo>
                  <a:pt x="1161" y="696"/>
                </a:lnTo>
                <a:lnTo>
                  <a:pt x="1156" y="698"/>
                </a:lnTo>
                <a:lnTo>
                  <a:pt x="1153" y="700"/>
                </a:lnTo>
                <a:lnTo>
                  <a:pt x="1150" y="704"/>
                </a:lnTo>
                <a:lnTo>
                  <a:pt x="1149" y="706"/>
                </a:lnTo>
                <a:lnTo>
                  <a:pt x="1149" y="708"/>
                </a:lnTo>
                <a:lnTo>
                  <a:pt x="1149" y="712"/>
                </a:lnTo>
                <a:lnTo>
                  <a:pt x="1148" y="714"/>
                </a:lnTo>
                <a:lnTo>
                  <a:pt x="1147" y="717"/>
                </a:lnTo>
                <a:lnTo>
                  <a:pt x="1146" y="718"/>
                </a:lnTo>
                <a:lnTo>
                  <a:pt x="1141" y="718"/>
                </a:lnTo>
                <a:lnTo>
                  <a:pt x="1136" y="717"/>
                </a:lnTo>
                <a:lnTo>
                  <a:pt x="1136" y="719"/>
                </a:lnTo>
                <a:lnTo>
                  <a:pt x="1138" y="721"/>
                </a:lnTo>
                <a:lnTo>
                  <a:pt x="1139" y="724"/>
                </a:lnTo>
                <a:lnTo>
                  <a:pt x="1141" y="725"/>
                </a:lnTo>
                <a:lnTo>
                  <a:pt x="1143" y="725"/>
                </a:lnTo>
                <a:lnTo>
                  <a:pt x="1146" y="725"/>
                </a:lnTo>
                <a:lnTo>
                  <a:pt x="1148" y="726"/>
                </a:lnTo>
                <a:lnTo>
                  <a:pt x="1148" y="728"/>
                </a:lnTo>
                <a:lnTo>
                  <a:pt x="1147" y="729"/>
                </a:lnTo>
                <a:lnTo>
                  <a:pt x="1145" y="731"/>
                </a:lnTo>
                <a:lnTo>
                  <a:pt x="1141" y="729"/>
                </a:lnTo>
                <a:lnTo>
                  <a:pt x="1139" y="728"/>
                </a:lnTo>
                <a:lnTo>
                  <a:pt x="1138" y="728"/>
                </a:lnTo>
                <a:lnTo>
                  <a:pt x="1135" y="728"/>
                </a:lnTo>
                <a:lnTo>
                  <a:pt x="1139" y="733"/>
                </a:lnTo>
                <a:lnTo>
                  <a:pt x="1143" y="738"/>
                </a:lnTo>
                <a:lnTo>
                  <a:pt x="1143" y="741"/>
                </a:lnTo>
                <a:lnTo>
                  <a:pt x="1145" y="743"/>
                </a:lnTo>
                <a:lnTo>
                  <a:pt x="1146" y="745"/>
                </a:lnTo>
                <a:lnTo>
                  <a:pt x="1147" y="746"/>
                </a:lnTo>
                <a:lnTo>
                  <a:pt x="1150" y="745"/>
                </a:lnTo>
                <a:lnTo>
                  <a:pt x="1155" y="743"/>
                </a:lnTo>
                <a:lnTo>
                  <a:pt x="1160" y="742"/>
                </a:lnTo>
                <a:lnTo>
                  <a:pt x="1163" y="742"/>
                </a:lnTo>
                <a:lnTo>
                  <a:pt x="1166" y="743"/>
                </a:lnTo>
                <a:lnTo>
                  <a:pt x="1167" y="745"/>
                </a:lnTo>
                <a:lnTo>
                  <a:pt x="1167" y="747"/>
                </a:lnTo>
                <a:lnTo>
                  <a:pt x="1167" y="750"/>
                </a:lnTo>
                <a:lnTo>
                  <a:pt x="1168" y="754"/>
                </a:lnTo>
                <a:lnTo>
                  <a:pt x="1169" y="755"/>
                </a:lnTo>
                <a:lnTo>
                  <a:pt x="1170" y="756"/>
                </a:lnTo>
                <a:lnTo>
                  <a:pt x="1174" y="757"/>
                </a:lnTo>
                <a:lnTo>
                  <a:pt x="1180" y="757"/>
                </a:lnTo>
                <a:lnTo>
                  <a:pt x="1183" y="760"/>
                </a:lnTo>
                <a:lnTo>
                  <a:pt x="1185" y="761"/>
                </a:lnTo>
                <a:lnTo>
                  <a:pt x="1187" y="763"/>
                </a:lnTo>
                <a:lnTo>
                  <a:pt x="1188" y="766"/>
                </a:lnTo>
                <a:lnTo>
                  <a:pt x="1188" y="769"/>
                </a:lnTo>
                <a:lnTo>
                  <a:pt x="1189" y="771"/>
                </a:lnTo>
                <a:lnTo>
                  <a:pt x="1190" y="774"/>
                </a:lnTo>
                <a:lnTo>
                  <a:pt x="1192" y="775"/>
                </a:lnTo>
                <a:lnTo>
                  <a:pt x="1195" y="776"/>
                </a:lnTo>
                <a:lnTo>
                  <a:pt x="1199" y="777"/>
                </a:lnTo>
                <a:lnTo>
                  <a:pt x="1204" y="778"/>
                </a:lnTo>
                <a:lnTo>
                  <a:pt x="1209" y="781"/>
                </a:lnTo>
                <a:lnTo>
                  <a:pt x="1212" y="782"/>
                </a:lnTo>
                <a:lnTo>
                  <a:pt x="1216" y="782"/>
                </a:lnTo>
                <a:lnTo>
                  <a:pt x="1218" y="781"/>
                </a:lnTo>
                <a:lnTo>
                  <a:pt x="1221" y="778"/>
                </a:lnTo>
                <a:lnTo>
                  <a:pt x="1223" y="776"/>
                </a:lnTo>
                <a:lnTo>
                  <a:pt x="1225" y="773"/>
                </a:lnTo>
                <a:lnTo>
                  <a:pt x="1228" y="769"/>
                </a:lnTo>
                <a:lnTo>
                  <a:pt x="1230" y="764"/>
                </a:lnTo>
                <a:lnTo>
                  <a:pt x="1232" y="762"/>
                </a:lnTo>
                <a:lnTo>
                  <a:pt x="1233" y="761"/>
                </a:lnTo>
                <a:lnTo>
                  <a:pt x="1236" y="760"/>
                </a:lnTo>
                <a:lnTo>
                  <a:pt x="1238" y="760"/>
                </a:lnTo>
                <a:lnTo>
                  <a:pt x="1240" y="761"/>
                </a:lnTo>
                <a:lnTo>
                  <a:pt x="1244" y="763"/>
                </a:lnTo>
                <a:lnTo>
                  <a:pt x="1246" y="767"/>
                </a:lnTo>
                <a:lnTo>
                  <a:pt x="1249" y="768"/>
                </a:lnTo>
                <a:lnTo>
                  <a:pt x="1250" y="768"/>
                </a:lnTo>
                <a:lnTo>
                  <a:pt x="1252" y="768"/>
                </a:lnTo>
                <a:lnTo>
                  <a:pt x="1253" y="767"/>
                </a:lnTo>
                <a:lnTo>
                  <a:pt x="1254" y="764"/>
                </a:lnTo>
                <a:lnTo>
                  <a:pt x="1257" y="763"/>
                </a:lnTo>
                <a:lnTo>
                  <a:pt x="1258" y="764"/>
                </a:lnTo>
                <a:lnTo>
                  <a:pt x="1260" y="767"/>
                </a:lnTo>
                <a:lnTo>
                  <a:pt x="1261" y="768"/>
                </a:lnTo>
                <a:lnTo>
                  <a:pt x="1263" y="768"/>
                </a:lnTo>
                <a:lnTo>
                  <a:pt x="1265" y="768"/>
                </a:lnTo>
                <a:lnTo>
                  <a:pt x="1266" y="767"/>
                </a:lnTo>
                <a:lnTo>
                  <a:pt x="1266" y="766"/>
                </a:lnTo>
                <a:lnTo>
                  <a:pt x="1266" y="764"/>
                </a:lnTo>
                <a:lnTo>
                  <a:pt x="1265" y="763"/>
                </a:lnTo>
                <a:lnTo>
                  <a:pt x="1264" y="762"/>
                </a:lnTo>
                <a:lnTo>
                  <a:pt x="1261" y="760"/>
                </a:lnTo>
                <a:lnTo>
                  <a:pt x="1259" y="757"/>
                </a:lnTo>
                <a:lnTo>
                  <a:pt x="1257" y="755"/>
                </a:lnTo>
                <a:lnTo>
                  <a:pt x="1256" y="752"/>
                </a:lnTo>
                <a:lnTo>
                  <a:pt x="1261" y="750"/>
                </a:lnTo>
                <a:lnTo>
                  <a:pt x="1267" y="750"/>
                </a:lnTo>
                <a:lnTo>
                  <a:pt x="1273" y="752"/>
                </a:lnTo>
                <a:lnTo>
                  <a:pt x="1279" y="754"/>
                </a:lnTo>
                <a:lnTo>
                  <a:pt x="1283" y="754"/>
                </a:lnTo>
                <a:lnTo>
                  <a:pt x="1286" y="755"/>
                </a:lnTo>
                <a:lnTo>
                  <a:pt x="1290" y="754"/>
                </a:lnTo>
                <a:lnTo>
                  <a:pt x="1291" y="754"/>
                </a:lnTo>
                <a:lnTo>
                  <a:pt x="1292" y="750"/>
                </a:lnTo>
                <a:lnTo>
                  <a:pt x="1294" y="747"/>
                </a:lnTo>
                <a:lnTo>
                  <a:pt x="1297" y="745"/>
                </a:lnTo>
                <a:lnTo>
                  <a:pt x="1300" y="742"/>
                </a:lnTo>
                <a:lnTo>
                  <a:pt x="1302" y="740"/>
                </a:lnTo>
                <a:lnTo>
                  <a:pt x="1305" y="736"/>
                </a:lnTo>
                <a:lnTo>
                  <a:pt x="1305" y="733"/>
                </a:lnTo>
                <a:lnTo>
                  <a:pt x="1304" y="728"/>
                </a:lnTo>
                <a:lnTo>
                  <a:pt x="1306" y="727"/>
                </a:lnTo>
                <a:lnTo>
                  <a:pt x="1308" y="726"/>
                </a:lnTo>
                <a:lnTo>
                  <a:pt x="1309" y="724"/>
                </a:lnTo>
                <a:lnTo>
                  <a:pt x="1311" y="721"/>
                </a:lnTo>
                <a:lnTo>
                  <a:pt x="1312" y="715"/>
                </a:lnTo>
                <a:lnTo>
                  <a:pt x="1314" y="711"/>
                </a:lnTo>
                <a:lnTo>
                  <a:pt x="1316" y="712"/>
                </a:lnTo>
                <a:lnTo>
                  <a:pt x="1319" y="712"/>
                </a:lnTo>
                <a:lnTo>
                  <a:pt x="1320" y="710"/>
                </a:lnTo>
                <a:lnTo>
                  <a:pt x="1319" y="707"/>
                </a:lnTo>
                <a:lnTo>
                  <a:pt x="1319" y="706"/>
                </a:lnTo>
                <a:lnTo>
                  <a:pt x="1320" y="705"/>
                </a:lnTo>
                <a:lnTo>
                  <a:pt x="1325" y="706"/>
                </a:lnTo>
                <a:lnTo>
                  <a:pt x="1329" y="705"/>
                </a:lnTo>
                <a:lnTo>
                  <a:pt x="1330" y="701"/>
                </a:lnTo>
                <a:lnTo>
                  <a:pt x="1332" y="696"/>
                </a:lnTo>
                <a:close/>
                <a:moveTo>
                  <a:pt x="1152" y="252"/>
                </a:moveTo>
                <a:lnTo>
                  <a:pt x="1161" y="253"/>
                </a:lnTo>
                <a:lnTo>
                  <a:pt x="1170" y="257"/>
                </a:lnTo>
                <a:lnTo>
                  <a:pt x="1178" y="259"/>
                </a:lnTo>
                <a:lnTo>
                  <a:pt x="1188" y="264"/>
                </a:lnTo>
                <a:lnTo>
                  <a:pt x="1204" y="273"/>
                </a:lnTo>
                <a:lnTo>
                  <a:pt x="1219" y="285"/>
                </a:lnTo>
                <a:lnTo>
                  <a:pt x="1210" y="282"/>
                </a:lnTo>
                <a:lnTo>
                  <a:pt x="1201" y="280"/>
                </a:lnTo>
                <a:lnTo>
                  <a:pt x="1191" y="277"/>
                </a:lnTo>
                <a:lnTo>
                  <a:pt x="1183" y="272"/>
                </a:lnTo>
                <a:lnTo>
                  <a:pt x="1168" y="263"/>
                </a:lnTo>
                <a:lnTo>
                  <a:pt x="1152" y="252"/>
                </a:lnTo>
                <a:close/>
                <a:moveTo>
                  <a:pt x="1214" y="490"/>
                </a:moveTo>
                <a:lnTo>
                  <a:pt x="1212" y="490"/>
                </a:lnTo>
                <a:lnTo>
                  <a:pt x="1211" y="491"/>
                </a:lnTo>
                <a:lnTo>
                  <a:pt x="1198" y="490"/>
                </a:lnTo>
                <a:lnTo>
                  <a:pt x="1185" y="488"/>
                </a:lnTo>
                <a:lnTo>
                  <a:pt x="1173" y="487"/>
                </a:lnTo>
                <a:lnTo>
                  <a:pt x="1160" y="484"/>
                </a:lnTo>
                <a:lnTo>
                  <a:pt x="1162" y="481"/>
                </a:lnTo>
                <a:lnTo>
                  <a:pt x="1166" y="479"/>
                </a:lnTo>
                <a:lnTo>
                  <a:pt x="1170" y="476"/>
                </a:lnTo>
                <a:lnTo>
                  <a:pt x="1175" y="475"/>
                </a:lnTo>
                <a:lnTo>
                  <a:pt x="1180" y="474"/>
                </a:lnTo>
                <a:lnTo>
                  <a:pt x="1185" y="475"/>
                </a:lnTo>
                <a:lnTo>
                  <a:pt x="1190" y="476"/>
                </a:lnTo>
                <a:lnTo>
                  <a:pt x="1194" y="477"/>
                </a:lnTo>
                <a:lnTo>
                  <a:pt x="1203" y="484"/>
                </a:lnTo>
                <a:lnTo>
                  <a:pt x="1214" y="490"/>
                </a:lnTo>
                <a:close/>
                <a:moveTo>
                  <a:pt x="1235" y="502"/>
                </a:moveTo>
                <a:lnTo>
                  <a:pt x="1233" y="501"/>
                </a:lnTo>
                <a:lnTo>
                  <a:pt x="1231" y="501"/>
                </a:lnTo>
                <a:lnTo>
                  <a:pt x="1233" y="501"/>
                </a:lnTo>
                <a:lnTo>
                  <a:pt x="1235" y="502"/>
                </a:lnTo>
                <a:close/>
                <a:moveTo>
                  <a:pt x="1150" y="375"/>
                </a:moveTo>
                <a:lnTo>
                  <a:pt x="1133" y="375"/>
                </a:lnTo>
                <a:lnTo>
                  <a:pt x="1114" y="375"/>
                </a:lnTo>
                <a:lnTo>
                  <a:pt x="1097" y="375"/>
                </a:lnTo>
                <a:lnTo>
                  <a:pt x="1079" y="375"/>
                </a:lnTo>
                <a:lnTo>
                  <a:pt x="1079" y="374"/>
                </a:lnTo>
                <a:lnTo>
                  <a:pt x="1078" y="374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2"/>
                </a:lnTo>
                <a:lnTo>
                  <a:pt x="1078" y="371"/>
                </a:lnTo>
                <a:lnTo>
                  <a:pt x="1078" y="371"/>
                </a:lnTo>
                <a:lnTo>
                  <a:pt x="1077" y="372"/>
                </a:lnTo>
                <a:lnTo>
                  <a:pt x="1074" y="367"/>
                </a:lnTo>
                <a:lnTo>
                  <a:pt x="1070" y="361"/>
                </a:lnTo>
                <a:lnTo>
                  <a:pt x="1065" y="357"/>
                </a:lnTo>
                <a:lnTo>
                  <a:pt x="1058" y="355"/>
                </a:lnTo>
                <a:lnTo>
                  <a:pt x="1059" y="354"/>
                </a:lnTo>
                <a:lnTo>
                  <a:pt x="1059" y="353"/>
                </a:lnTo>
                <a:lnTo>
                  <a:pt x="1070" y="353"/>
                </a:lnTo>
                <a:lnTo>
                  <a:pt x="1080" y="354"/>
                </a:lnTo>
                <a:lnTo>
                  <a:pt x="1092" y="354"/>
                </a:lnTo>
                <a:lnTo>
                  <a:pt x="1102" y="356"/>
                </a:lnTo>
                <a:lnTo>
                  <a:pt x="1115" y="357"/>
                </a:lnTo>
                <a:lnTo>
                  <a:pt x="1128" y="360"/>
                </a:lnTo>
                <a:lnTo>
                  <a:pt x="1142" y="361"/>
                </a:lnTo>
                <a:lnTo>
                  <a:pt x="1155" y="362"/>
                </a:lnTo>
                <a:lnTo>
                  <a:pt x="1157" y="363"/>
                </a:lnTo>
                <a:lnTo>
                  <a:pt x="1160" y="364"/>
                </a:lnTo>
                <a:lnTo>
                  <a:pt x="1161" y="368"/>
                </a:lnTo>
                <a:lnTo>
                  <a:pt x="1161" y="370"/>
                </a:lnTo>
                <a:lnTo>
                  <a:pt x="1160" y="372"/>
                </a:lnTo>
                <a:lnTo>
                  <a:pt x="1159" y="374"/>
                </a:lnTo>
                <a:lnTo>
                  <a:pt x="1155" y="375"/>
                </a:lnTo>
                <a:lnTo>
                  <a:pt x="1150" y="375"/>
                </a:lnTo>
                <a:close/>
                <a:moveTo>
                  <a:pt x="1122" y="480"/>
                </a:moveTo>
                <a:lnTo>
                  <a:pt x="1121" y="483"/>
                </a:lnTo>
                <a:lnTo>
                  <a:pt x="1122" y="487"/>
                </a:lnTo>
                <a:lnTo>
                  <a:pt x="1125" y="489"/>
                </a:lnTo>
                <a:lnTo>
                  <a:pt x="1129" y="490"/>
                </a:lnTo>
                <a:lnTo>
                  <a:pt x="1129" y="493"/>
                </a:lnTo>
                <a:lnTo>
                  <a:pt x="1128" y="495"/>
                </a:lnTo>
                <a:lnTo>
                  <a:pt x="1126" y="496"/>
                </a:lnTo>
                <a:lnTo>
                  <a:pt x="1123" y="496"/>
                </a:lnTo>
                <a:lnTo>
                  <a:pt x="1120" y="494"/>
                </a:lnTo>
                <a:lnTo>
                  <a:pt x="1116" y="493"/>
                </a:lnTo>
                <a:lnTo>
                  <a:pt x="1113" y="491"/>
                </a:lnTo>
                <a:lnTo>
                  <a:pt x="1108" y="490"/>
                </a:lnTo>
                <a:lnTo>
                  <a:pt x="1099" y="489"/>
                </a:lnTo>
                <a:lnTo>
                  <a:pt x="1090" y="488"/>
                </a:lnTo>
                <a:lnTo>
                  <a:pt x="1080" y="487"/>
                </a:lnTo>
                <a:lnTo>
                  <a:pt x="1071" y="486"/>
                </a:lnTo>
                <a:lnTo>
                  <a:pt x="1067" y="483"/>
                </a:lnTo>
                <a:lnTo>
                  <a:pt x="1064" y="480"/>
                </a:lnTo>
                <a:lnTo>
                  <a:pt x="1058" y="473"/>
                </a:lnTo>
                <a:lnTo>
                  <a:pt x="1053" y="465"/>
                </a:lnTo>
                <a:lnTo>
                  <a:pt x="1050" y="456"/>
                </a:lnTo>
                <a:lnTo>
                  <a:pt x="1049" y="447"/>
                </a:lnTo>
                <a:lnTo>
                  <a:pt x="1052" y="445"/>
                </a:lnTo>
                <a:lnTo>
                  <a:pt x="1053" y="441"/>
                </a:lnTo>
                <a:lnTo>
                  <a:pt x="1054" y="435"/>
                </a:lnTo>
                <a:lnTo>
                  <a:pt x="1057" y="431"/>
                </a:lnTo>
                <a:lnTo>
                  <a:pt x="1061" y="426"/>
                </a:lnTo>
                <a:lnTo>
                  <a:pt x="1065" y="423"/>
                </a:lnTo>
                <a:lnTo>
                  <a:pt x="1071" y="420"/>
                </a:lnTo>
                <a:lnTo>
                  <a:pt x="1077" y="419"/>
                </a:lnTo>
                <a:lnTo>
                  <a:pt x="1081" y="419"/>
                </a:lnTo>
                <a:lnTo>
                  <a:pt x="1087" y="420"/>
                </a:lnTo>
                <a:lnTo>
                  <a:pt x="1104" y="424"/>
                </a:lnTo>
                <a:lnTo>
                  <a:pt x="1119" y="428"/>
                </a:lnTo>
                <a:lnTo>
                  <a:pt x="1135" y="432"/>
                </a:lnTo>
                <a:lnTo>
                  <a:pt x="1150" y="437"/>
                </a:lnTo>
                <a:lnTo>
                  <a:pt x="1153" y="438"/>
                </a:lnTo>
                <a:lnTo>
                  <a:pt x="1156" y="439"/>
                </a:lnTo>
                <a:lnTo>
                  <a:pt x="1149" y="441"/>
                </a:lnTo>
                <a:lnTo>
                  <a:pt x="1142" y="445"/>
                </a:lnTo>
                <a:lnTo>
                  <a:pt x="1138" y="449"/>
                </a:lnTo>
                <a:lnTo>
                  <a:pt x="1133" y="454"/>
                </a:lnTo>
                <a:lnTo>
                  <a:pt x="1129" y="460"/>
                </a:lnTo>
                <a:lnTo>
                  <a:pt x="1126" y="466"/>
                </a:lnTo>
                <a:lnTo>
                  <a:pt x="1123" y="473"/>
                </a:lnTo>
                <a:lnTo>
                  <a:pt x="1122" y="480"/>
                </a:lnTo>
                <a:close/>
                <a:moveTo>
                  <a:pt x="1135" y="339"/>
                </a:moveTo>
                <a:lnTo>
                  <a:pt x="1135" y="337"/>
                </a:lnTo>
                <a:lnTo>
                  <a:pt x="1135" y="337"/>
                </a:lnTo>
                <a:lnTo>
                  <a:pt x="1135" y="337"/>
                </a:lnTo>
                <a:lnTo>
                  <a:pt x="1135" y="339"/>
                </a:lnTo>
                <a:close/>
                <a:moveTo>
                  <a:pt x="1135" y="336"/>
                </a:moveTo>
                <a:lnTo>
                  <a:pt x="1136" y="335"/>
                </a:lnTo>
                <a:lnTo>
                  <a:pt x="1138" y="334"/>
                </a:lnTo>
                <a:lnTo>
                  <a:pt x="1136" y="335"/>
                </a:lnTo>
                <a:lnTo>
                  <a:pt x="1135" y="336"/>
                </a:lnTo>
                <a:close/>
                <a:moveTo>
                  <a:pt x="1141" y="332"/>
                </a:moveTo>
                <a:lnTo>
                  <a:pt x="1141" y="330"/>
                </a:lnTo>
                <a:lnTo>
                  <a:pt x="1142" y="329"/>
                </a:lnTo>
                <a:lnTo>
                  <a:pt x="1143" y="328"/>
                </a:lnTo>
                <a:lnTo>
                  <a:pt x="1143" y="327"/>
                </a:lnTo>
                <a:lnTo>
                  <a:pt x="1143" y="328"/>
                </a:lnTo>
                <a:lnTo>
                  <a:pt x="1142" y="329"/>
                </a:lnTo>
                <a:lnTo>
                  <a:pt x="1141" y="330"/>
                </a:lnTo>
                <a:lnTo>
                  <a:pt x="1141" y="332"/>
                </a:lnTo>
                <a:close/>
                <a:moveTo>
                  <a:pt x="1146" y="332"/>
                </a:moveTo>
                <a:lnTo>
                  <a:pt x="1143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0" y="332"/>
                </a:lnTo>
                <a:lnTo>
                  <a:pt x="1143" y="332"/>
                </a:lnTo>
                <a:lnTo>
                  <a:pt x="1146" y="332"/>
                </a:lnTo>
                <a:close/>
                <a:moveTo>
                  <a:pt x="1159" y="316"/>
                </a:moveTo>
                <a:lnTo>
                  <a:pt x="1157" y="318"/>
                </a:lnTo>
                <a:lnTo>
                  <a:pt x="1157" y="318"/>
                </a:lnTo>
                <a:lnTo>
                  <a:pt x="1157" y="318"/>
                </a:lnTo>
                <a:lnTo>
                  <a:pt x="1159" y="316"/>
                </a:lnTo>
                <a:close/>
                <a:moveTo>
                  <a:pt x="1071" y="301"/>
                </a:moveTo>
                <a:lnTo>
                  <a:pt x="1073" y="301"/>
                </a:lnTo>
                <a:lnTo>
                  <a:pt x="1074" y="299"/>
                </a:lnTo>
                <a:lnTo>
                  <a:pt x="1074" y="299"/>
                </a:lnTo>
                <a:lnTo>
                  <a:pt x="1076" y="298"/>
                </a:lnTo>
                <a:lnTo>
                  <a:pt x="1076" y="296"/>
                </a:lnTo>
                <a:lnTo>
                  <a:pt x="1077" y="296"/>
                </a:lnTo>
                <a:lnTo>
                  <a:pt x="1076" y="296"/>
                </a:lnTo>
                <a:lnTo>
                  <a:pt x="1076" y="295"/>
                </a:lnTo>
                <a:lnTo>
                  <a:pt x="1074" y="291"/>
                </a:lnTo>
                <a:lnTo>
                  <a:pt x="1076" y="286"/>
                </a:lnTo>
                <a:lnTo>
                  <a:pt x="1077" y="286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5"/>
                </a:lnTo>
                <a:lnTo>
                  <a:pt x="1077" y="282"/>
                </a:lnTo>
                <a:lnTo>
                  <a:pt x="1077" y="279"/>
                </a:lnTo>
                <a:lnTo>
                  <a:pt x="1080" y="277"/>
                </a:lnTo>
                <a:lnTo>
                  <a:pt x="1085" y="274"/>
                </a:lnTo>
                <a:lnTo>
                  <a:pt x="1090" y="272"/>
                </a:lnTo>
                <a:lnTo>
                  <a:pt x="1094" y="271"/>
                </a:lnTo>
                <a:lnTo>
                  <a:pt x="1104" y="271"/>
                </a:lnTo>
                <a:lnTo>
                  <a:pt x="1113" y="271"/>
                </a:lnTo>
                <a:lnTo>
                  <a:pt x="1122" y="270"/>
                </a:lnTo>
                <a:lnTo>
                  <a:pt x="1132" y="271"/>
                </a:lnTo>
                <a:lnTo>
                  <a:pt x="1141" y="271"/>
                </a:lnTo>
                <a:lnTo>
                  <a:pt x="1150" y="273"/>
                </a:lnTo>
                <a:lnTo>
                  <a:pt x="1153" y="273"/>
                </a:lnTo>
                <a:lnTo>
                  <a:pt x="1156" y="272"/>
                </a:lnTo>
                <a:lnTo>
                  <a:pt x="1159" y="273"/>
                </a:lnTo>
                <a:lnTo>
                  <a:pt x="1160" y="275"/>
                </a:lnTo>
                <a:lnTo>
                  <a:pt x="1160" y="278"/>
                </a:lnTo>
                <a:lnTo>
                  <a:pt x="1160" y="280"/>
                </a:lnTo>
                <a:lnTo>
                  <a:pt x="1159" y="284"/>
                </a:lnTo>
                <a:lnTo>
                  <a:pt x="1156" y="286"/>
                </a:lnTo>
                <a:lnTo>
                  <a:pt x="1154" y="289"/>
                </a:lnTo>
                <a:lnTo>
                  <a:pt x="1150" y="293"/>
                </a:lnTo>
                <a:lnTo>
                  <a:pt x="1148" y="298"/>
                </a:lnTo>
                <a:lnTo>
                  <a:pt x="1147" y="302"/>
                </a:lnTo>
                <a:lnTo>
                  <a:pt x="1146" y="302"/>
                </a:lnTo>
                <a:lnTo>
                  <a:pt x="1146" y="304"/>
                </a:lnTo>
                <a:lnTo>
                  <a:pt x="1145" y="304"/>
                </a:lnTo>
                <a:lnTo>
                  <a:pt x="1143" y="304"/>
                </a:lnTo>
                <a:lnTo>
                  <a:pt x="1143" y="305"/>
                </a:lnTo>
                <a:lnTo>
                  <a:pt x="1143" y="306"/>
                </a:lnTo>
                <a:lnTo>
                  <a:pt x="1138" y="312"/>
                </a:lnTo>
                <a:lnTo>
                  <a:pt x="1132" y="316"/>
                </a:lnTo>
                <a:lnTo>
                  <a:pt x="1125" y="321"/>
                </a:lnTo>
                <a:lnTo>
                  <a:pt x="1118" y="325"/>
                </a:lnTo>
                <a:lnTo>
                  <a:pt x="1104" y="332"/>
                </a:lnTo>
                <a:lnTo>
                  <a:pt x="1088" y="339"/>
                </a:lnTo>
                <a:lnTo>
                  <a:pt x="1102" y="342"/>
                </a:lnTo>
                <a:lnTo>
                  <a:pt x="1116" y="344"/>
                </a:lnTo>
                <a:lnTo>
                  <a:pt x="1116" y="344"/>
                </a:lnTo>
                <a:lnTo>
                  <a:pt x="1116" y="344"/>
                </a:lnTo>
                <a:lnTo>
                  <a:pt x="1121" y="347"/>
                </a:lnTo>
                <a:lnTo>
                  <a:pt x="1127" y="348"/>
                </a:lnTo>
                <a:lnTo>
                  <a:pt x="1119" y="349"/>
                </a:lnTo>
                <a:lnTo>
                  <a:pt x="1112" y="349"/>
                </a:lnTo>
                <a:lnTo>
                  <a:pt x="1095" y="348"/>
                </a:lnTo>
                <a:lnTo>
                  <a:pt x="1080" y="347"/>
                </a:lnTo>
                <a:lnTo>
                  <a:pt x="1077" y="344"/>
                </a:lnTo>
                <a:lnTo>
                  <a:pt x="1074" y="342"/>
                </a:lnTo>
                <a:lnTo>
                  <a:pt x="1072" y="340"/>
                </a:lnTo>
                <a:lnTo>
                  <a:pt x="1072" y="336"/>
                </a:lnTo>
                <a:lnTo>
                  <a:pt x="1074" y="339"/>
                </a:lnTo>
                <a:lnTo>
                  <a:pt x="1078" y="340"/>
                </a:lnTo>
                <a:lnTo>
                  <a:pt x="1080" y="339"/>
                </a:lnTo>
                <a:lnTo>
                  <a:pt x="1080" y="336"/>
                </a:lnTo>
                <a:lnTo>
                  <a:pt x="1079" y="335"/>
                </a:lnTo>
                <a:lnTo>
                  <a:pt x="1078" y="333"/>
                </a:lnTo>
                <a:lnTo>
                  <a:pt x="1076" y="325"/>
                </a:lnTo>
                <a:lnTo>
                  <a:pt x="1076" y="316"/>
                </a:lnTo>
                <a:lnTo>
                  <a:pt x="1076" y="313"/>
                </a:lnTo>
                <a:lnTo>
                  <a:pt x="1074" y="308"/>
                </a:lnTo>
                <a:lnTo>
                  <a:pt x="1073" y="305"/>
                </a:lnTo>
                <a:lnTo>
                  <a:pt x="1071" y="301"/>
                </a:lnTo>
                <a:lnTo>
                  <a:pt x="1067" y="301"/>
                </a:lnTo>
                <a:lnTo>
                  <a:pt x="1065" y="300"/>
                </a:lnTo>
                <a:lnTo>
                  <a:pt x="1064" y="298"/>
                </a:lnTo>
                <a:lnTo>
                  <a:pt x="1064" y="294"/>
                </a:lnTo>
                <a:lnTo>
                  <a:pt x="1064" y="298"/>
                </a:lnTo>
                <a:lnTo>
                  <a:pt x="1065" y="300"/>
                </a:lnTo>
                <a:lnTo>
                  <a:pt x="1067" y="301"/>
                </a:lnTo>
                <a:lnTo>
                  <a:pt x="1071" y="301"/>
                </a:lnTo>
                <a:close/>
                <a:moveTo>
                  <a:pt x="1259" y="508"/>
                </a:moveTo>
                <a:lnTo>
                  <a:pt x="1253" y="505"/>
                </a:lnTo>
                <a:lnTo>
                  <a:pt x="1247" y="504"/>
                </a:lnTo>
                <a:lnTo>
                  <a:pt x="1253" y="505"/>
                </a:lnTo>
                <a:lnTo>
                  <a:pt x="1259" y="508"/>
                </a:lnTo>
                <a:close/>
                <a:moveTo>
                  <a:pt x="1343" y="263"/>
                </a:moveTo>
                <a:lnTo>
                  <a:pt x="1332" y="258"/>
                </a:lnTo>
                <a:lnTo>
                  <a:pt x="1319" y="256"/>
                </a:lnTo>
                <a:lnTo>
                  <a:pt x="1316" y="254"/>
                </a:lnTo>
                <a:lnTo>
                  <a:pt x="1314" y="252"/>
                </a:lnTo>
                <a:lnTo>
                  <a:pt x="1312" y="252"/>
                </a:lnTo>
                <a:lnTo>
                  <a:pt x="1311" y="251"/>
                </a:lnTo>
                <a:lnTo>
                  <a:pt x="1309" y="250"/>
                </a:lnTo>
                <a:lnTo>
                  <a:pt x="1309" y="247"/>
                </a:lnTo>
                <a:lnTo>
                  <a:pt x="1309" y="245"/>
                </a:lnTo>
                <a:lnTo>
                  <a:pt x="1312" y="244"/>
                </a:lnTo>
                <a:lnTo>
                  <a:pt x="1314" y="243"/>
                </a:lnTo>
                <a:lnTo>
                  <a:pt x="1315" y="243"/>
                </a:lnTo>
                <a:lnTo>
                  <a:pt x="1319" y="243"/>
                </a:lnTo>
                <a:lnTo>
                  <a:pt x="1321" y="243"/>
                </a:lnTo>
                <a:lnTo>
                  <a:pt x="1333" y="244"/>
                </a:lnTo>
                <a:lnTo>
                  <a:pt x="1344" y="244"/>
                </a:lnTo>
                <a:lnTo>
                  <a:pt x="1356" y="244"/>
                </a:lnTo>
                <a:lnTo>
                  <a:pt x="1368" y="244"/>
                </a:lnTo>
                <a:lnTo>
                  <a:pt x="1371" y="243"/>
                </a:lnTo>
                <a:lnTo>
                  <a:pt x="1374" y="240"/>
                </a:lnTo>
                <a:lnTo>
                  <a:pt x="1375" y="237"/>
                </a:lnTo>
                <a:lnTo>
                  <a:pt x="1373" y="233"/>
                </a:lnTo>
                <a:lnTo>
                  <a:pt x="1369" y="230"/>
                </a:lnTo>
                <a:lnTo>
                  <a:pt x="1367" y="225"/>
                </a:lnTo>
                <a:lnTo>
                  <a:pt x="1362" y="223"/>
                </a:lnTo>
                <a:lnTo>
                  <a:pt x="1357" y="222"/>
                </a:lnTo>
                <a:lnTo>
                  <a:pt x="1350" y="223"/>
                </a:lnTo>
                <a:lnTo>
                  <a:pt x="1343" y="222"/>
                </a:lnTo>
                <a:lnTo>
                  <a:pt x="1330" y="218"/>
                </a:lnTo>
                <a:lnTo>
                  <a:pt x="1318" y="215"/>
                </a:lnTo>
                <a:lnTo>
                  <a:pt x="1305" y="212"/>
                </a:lnTo>
                <a:lnTo>
                  <a:pt x="1292" y="210"/>
                </a:lnTo>
                <a:lnTo>
                  <a:pt x="1288" y="209"/>
                </a:lnTo>
                <a:lnTo>
                  <a:pt x="1286" y="207"/>
                </a:lnTo>
                <a:lnTo>
                  <a:pt x="1285" y="205"/>
                </a:lnTo>
                <a:lnTo>
                  <a:pt x="1285" y="204"/>
                </a:lnTo>
                <a:lnTo>
                  <a:pt x="1286" y="203"/>
                </a:lnTo>
                <a:lnTo>
                  <a:pt x="1288" y="203"/>
                </a:lnTo>
                <a:lnTo>
                  <a:pt x="1298" y="204"/>
                </a:lnTo>
                <a:lnTo>
                  <a:pt x="1308" y="205"/>
                </a:lnTo>
                <a:lnTo>
                  <a:pt x="1319" y="205"/>
                </a:lnTo>
                <a:lnTo>
                  <a:pt x="1329" y="205"/>
                </a:lnTo>
                <a:lnTo>
                  <a:pt x="1332" y="205"/>
                </a:lnTo>
                <a:lnTo>
                  <a:pt x="1334" y="204"/>
                </a:lnTo>
                <a:lnTo>
                  <a:pt x="1335" y="202"/>
                </a:lnTo>
                <a:lnTo>
                  <a:pt x="1336" y="200"/>
                </a:lnTo>
                <a:lnTo>
                  <a:pt x="1336" y="200"/>
                </a:lnTo>
                <a:lnTo>
                  <a:pt x="1336" y="200"/>
                </a:lnTo>
                <a:lnTo>
                  <a:pt x="1334" y="200"/>
                </a:lnTo>
                <a:lnTo>
                  <a:pt x="1332" y="200"/>
                </a:lnTo>
                <a:lnTo>
                  <a:pt x="1330" y="198"/>
                </a:lnTo>
                <a:lnTo>
                  <a:pt x="1328" y="197"/>
                </a:lnTo>
                <a:lnTo>
                  <a:pt x="1321" y="193"/>
                </a:lnTo>
                <a:lnTo>
                  <a:pt x="1314" y="189"/>
                </a:lnTo>
                <a:lnTo>
                  <a:pt x="1300" y="184"/>
                </a:lnTo>
                <a:lnTo>
                  <a:pt x="1285" y="181"/>
                </a:lnTo>
                <a:lnTo>
                  <a:pt x="1266" y="177"/>
                </a:lnTo>
                <a:lnTo>
                  <a:pt x="1249" y="174"/>
                </a:lnTo>
                <a:lnTo>
                  <a:pt x="1230" y="172"/>
                </a:lnTo>
                <a:lnTo>
                  <a:pt x="1211" y="170"/>
                </a:lnTo>
                <a:lnTo>
                  <a:pt x="1191" y="170"/>
                </a:lnTo>
                <a:lnTo>
                  <a:pt x="1171" y="170"/>
                </a:lnTo>
                <a:lnTo>
                  <a:pt x="1152" y="170"/>
                </a:lnTo>
                <a:lnTo>
                  <a:pt x="1132" y="172"/>
                </a:lnTo>
                <a:lnTo>
                  <a:pt x="1119" y="173"/>
                </a:lnTo>
                <a:lnTo>
                  <a:pt x="1107" y="176"/>
                </a:lnTo>
                <a:lnTo>
                  <a:pt x="1095" y="179"/>
                </a:lnTo>
                <a:lnTo>
                  <a:pt x="1085" y="183"/>
                </a:lnTo>
                <a:lnTo>
                  <a:pt x="1073" y="189"/>
                </a:lnTo>
                <a:lnTo>
                  <a:pt x="1061" y="195"/>
                </a:lnTo>
                <a:lnTo>
                  <a:pt x="1050" y="200"/>
                </a:lnTo>
                <a:lnTo>
                  <a:pt x="1038" y="207"/>
                </a:lnTo>
                <a:lnTo>
                  <a:pt x="1032" y="211"/>
                </a:lnTo>
                <a:lnTo>
                  <a:pt x="1026" y="216"/>
                </a:lnTo>
                <a:lnTo>
                  <a:pt x="1022" y="222"/>
                </a:lnTo>
                <a:lnTo>
                  <a:pt x="1018" y="229"/>
                </a:lnTo>
                <a:lnTo>
                  <a:pt x="1015" y="235"/>
                </a:lnTo>
                <a:lnTo>
                  <a:pt x="1014" y="242"/>
                </a:lnTo>
                <a:lnTo>
                  <a:pt x="1014" y="249"/>
                </a:lnTo>
                <a:lnTo>
                  <a:pt x="1015" y="256"/>
                </a:lnTo>
                <a:lnTo>
                  <a:pt x="1016" y="265"/>
                </a:lnTo>
                <a:lnTo>
                  <a:pt x="1016" y="273"/>
                </a:lnTo>
                <a:lnTo>
                  <a:pt x="1016" y="282"/>
                </a:lnTo>
                <a:lnTo>
                  <a:pt x="1016" y="291"/>
                </a:lnTo>
                <a:lnTo>
                  <a:pt x="1016" y="299"/>
                </a:lnTo>
                <a:lnTo>
                  <a:pt x="1015" y="308"/>
                </a:lnTo>
                <a:lnTo>
                  <a:pt x="1014" y="312"/>
                </a:lnTo>
                <a:lnTo>
                  <a:pt x="1014" y="316"/>
                </a:lnTo>
                <a:lnTo>
                  <a:pt x="1015" y="320"/>
                </a:lnTo>
                <a:lnTo>
                  <a:pt x="1017" y="325"/>
                </a:lnTo>
                <a:lnTo>
                  <a:pt x="1017" y="326"/>
                </a:lnTo>
                <a:lnTo>
                  <a:pt x="1017" y="328"/>
                </a:lnTo>
                <a:lnTo>
                  <a:pt x="1016" y="329"/>
                </a:lnTo>
                <a:lnTo>
                  <a:pt x="1014" y="330"/>
                </a:lnTo>
                <a:lnTo>
                  <a:pt x="1005" y="333"/>
                </a:lnTo>
                <a:lnTo>
                  <a:pt x="997" y="335"/>
                </a:lnTo>
                <a:lnTo>
                  <a:pt x="993" y="335"/>
                </a:lnTo>
                <a:lnTo>
                  <a:pt x="988" y="335"/>
                </a:lnTo>
                <a:lnTo>
                  <a:pt x="984" y="335"/>
                </a:lnTo>
                <a:lnTo>
                  <a:pt x="980" y="333"/>
                </a:lnTo>
                <a:lnTo>
                  <a:pt x="976" y="332"/>
                </a:lnTo>
                <a:lnTo>
                  <a:pt x="973" y="332"/>
                </a:lnTo>
                <a:lnTo>
                  <a:pt x="969" y="332"/>
                </a:lnTo>
                <a:lnTo>
                  <a:pt x="966" y="333"/>
                </a:lnTo>
                <a:lnTo>
                  <a:pt x="967" y="335"/>
                </a:lnTo>
                <a:lnTo>
                  <a:pt x="969" y="337"/>
                </a:lnTo>
                <a:lnTo>
                  <a:pt x="971" y="337"/>
                </a:lnTo>
                <a:lnTo>
                  <a:pt x="973" y="339"/>
                </a:lnTo>
                <a:lnTo>
                  <a:pt x="985" y="341"/>
                </a:lnTo>
                <a:lnTo>
                  <a:pt x="997" y="346"/>
                </a:lnTo>
                <a:lnTo>
                  <a:pt x="1003" y="349"/>
                </a:lnTo>
                <a:lnTo>
                  <a:pt x="1008" y="353"/>
                </a:lnTo>
                <a:lnTo>
                  <a:pt x="1012" y="357"/>
                </a:lnTo>
                <a:lnTo>
                  <a:pt x="1016" y="363"/>
                </a:lnTo>
                <a:lnTo>
                  <a:pt x="1019" y="367"/>
                </a:lnTo>
                <a:lnTo>
                  <a:pt x="1024" y="370"/>
                </a:lnTo>
                <a:lnTo>
                  <a:pt x="1028" y="372"/>
                </a:lnTo>
                <a:lnTo>
                  <a:pt x="1030" y="376"/>
                </a:lnTo>
                <a:lnTo>
                  <a:pt x="1032" y="381"/>
                </a:lnTo>
                <a:lnTo>
                  <a:pt x="1033" y="384"/>
                </a:lnTo>
                <a:lnTo>
                  <a:pt x="1036" y="389"/>
                </a:lnTo>
                <a:lnTo>
                  <a:pt x="1036" y="392"/>
                </a:lnTo>
                <a:lnTo>
                  <a:pt x="1036" y="396"/>
                </a:lnTo>
                <a:lnTo>
                  <a:pt x="1035" y="398"/>
                </a:lnTo>
                <a:lnTo>
                  <a:pt x="1032" y="399"/>
                </a:lnTo>
                <a:lnTo>
                  <a:pt x="1030" y="402"/>
                </a:lnTo>
                <a:lnTo>
                  <a:pt x="1026" y="402"/>
                </a:lnTo>
                <a:lnTo>
                  <a:pt x="1022" y="402"/>
                </a:lnTo>
                <a:lnTo>
                  <a:pt x="1011" y="400"/>
                </a:lnTo>
                <a:lnTo>
                  <a:pt x="1000" y="402"/>
                </a:lnTo>
                <a:lnTo>
                  <a:pt x="989" y="404"/>
                </a:lnTo>
                <a:lnTo>
                  <a:pt x="977" y="406"/>
                </a:lnTo>
                <a:lnTo>
                  <a:pt x="974" y="406"/>
                </a:lnTo>
                <a:lnTo>
                  <a:pt x="970" y="409"/>
                </a:lnTo>
                <a:lnTo>
                  <a:pt x="967" y="411"/>
                </a:lnTo>
                <a:lnTo>
                  <a:pt x="963" y="413"/>
                </a:lnTo>
                <a:lnTo>
                  <a:pt x="961" y="417"/>
                </a:lnTo>
                <a:lnTo>
                  <a:pt x="960" y="420"/>
                </a:lnTo>
                <a:lnTo>
                  <a:pt x="960" y="424"/>
                </a:lnTo>
                <a:lnTo>
                  <a:pt x="960" y="427"/>
                </a:lnTo>
                <a:lnTo>
                  <a:pt x="963" y="427"/>
                </a:lnTo>
                <a:lnTo>
                  <a:pt x="966" y="428"/>
                </a:lnTo>
                <a:lnTo>
                  <a:pt x="967" y="430"/>
                </a:lnTo>
                <a:lnTo>
                  <a:pt x="967" y="431"/>
                </a:lnTo>
                <a:lnTo>
                  <a:pt x="967" y="434"/>
                </a:lnTo>
                <a:lnTo>
                  <a:pt x="966" y="438"/>
                </a:lnTo>
                <a:lnTo>
                  <a:pt x="967" y="440"/>
                </a:lnTo>
                <a:lnTo>
                  <a:pt x="967" y="444"/>
                </a:lnTo>
                <a:lnTo>
                  <a:pt x="969" y="445"/>
                </a:lnTo>
                <a:lnTo>
                  <a:pt x="973" y="446"/>
                </a:lnTo>
                <a:lnTo>
                  <a:pt x="975" y="448"/>
                </a:lnTo>
                <a:lnTo>
                  <a:pt x="976" y="451"/>
                </a:lnTo>
                <a:lnTo>
                  <a:pt x="982" y="458"/>
                </a:lnTo>
                <a:lnTo>
                  <a:pt x="990" y="463"/>
                </a:lnTo>
                <a:lnTo>
                  <a:pt x="997" y="468"/>
                </a:lnTo>
                <a:lnTo>
                  <a:pt x="1005" y="472"/>
                </a:lnTo>
                <a:lnTo>
                  <a:pt x="1015" y="475"/>
                </a:lnTo>
                <a:lnTo>
                  <a:pt x="1024" y="480"/>
                </a:lnTo>
                <a:lnTo>
                  <a:pt x="1033" y="483"/>
                </a:lnTo>
                <a:lnTo>
                  <a:pt x="1043" y="487"/>
                </a:lnTo>
                <a:lnTo>
                  <a:pt x="1060" y="494"/>
                </a:lnTo>
                <a:lnTo>
                  <a:pt x="1078" y="501"/>
                </a:lnTo>
                <a:lnTo>
                  <a:pt x="1087" y="504"/>
                </a:lnTo>
                <a:lnTo>
                  <a:pt x="1097" y="507"/>
                </a:lnTo>
                <a:lnTo>
                  <a:pt x="1106" y="508"/>
                </a:lnTo>
                <a:lnTo>
                  <a:pt x="1115" y="509"/>
                </a:lnTo>
                <a:lnTo>
                  <a:pt x="1121" y="509"/>
                </a:lnTo>
                <a:lnTo>
                  <a:pt x="1125" y="508"/>
                </a:lnTo>
                <a:lnTo>
                  <a:pt x="1128" y="505"/>
                </a:lnTo>
                <a:lnTo>
                  <a:pt x="1130" y="501"/>
                </a:lnTo>
                <a:lnTo>
                  <a:pt x="1133" y="498"/>
                </a:lnTo>
                <a:lnTo>
                  <a:pt x="1135" y="495"/>
                </a:lnTo>
                <a:lnTo>
                  <a:pt x="1139" y="494"/>
                </a:lnTo>
                <a:lnTo>
                  <a:pt x="1142" y="493"/>
                </a:lnTo>
                <a:lnTo>
                  <a:pt x="1146" y="491"/>
                </a:lnTo>
                <a:lnTo>
                  <a:pt x="1149" y="491"/>
                </a:lnTo>
                <a:lnTo>
                  <a:pt x="1150" y="490"/>
                </a:lnTo>
                <a:lnTo>
                  <a:pt x="1153" y="489"/>
                </a:lnTo>
                <a:lnTo>
                  <a:pt x="1150" y="490"/>
                </a:lnTo>
                <a:lnTo>
                  <a:pt x="1149" y="491"/>
                </a:lnTo>
                <a:lnTo>
                  <a:pt x="1161" y="493"/>
                </a:lnTo>
                <a:lnTo>
                  <a:pt x="1174" y="495"/>
                </a:lnTo>
                <a:lnTo>
                  <a:pt x="1185" y="497"/>
                </a:lnTo>
                <a:lnTo>
                  <a:pt x="1197" y="500"/>
                </a:lnTo>
                <a:lnTo>
                  <a:pt x="1208" y="501"/>
                </a:lnTo>
                <a:lnTo>
                  <a:pt x="1217" y="503"/>
                </a:lnTo>
                <a:lnTo>
                  <a:pt x="1226" y="504"/>
                </a:lnTo>
                <a:lnTo>
                  <a:pt x="1236" y="507"/>
                </a:lnTo>
                <a:lnTo>
                  <a:pt x="1249" y="510"/>
                </a:lnTo>
                <a:lnTo>
                  <a:pt x="1261" y="514"/>
                </a:lnTo>
                <a:lnTo>
                  <a:pt x="1275" y="516"/>
                </a:lnTo>
                <a:lnTo>
                  <a:pt x="1288" y="517"/>
                </a:lnTo>
                <a:lnTo>
                  <a:pt x="1292" y="519"/>
                </a:lnTo>
                <a:lnTo>
                  <a:pt x="1295" y="519"/>
                </a:lnTo>
                <a:lnTo>
                  <a:pt x="1299" y="519"/>
                </a:lnTo>
                <a:lnTo>
                  <a:pt x="1301" y="519"/>
                </a:lnTo>
                <a:lnTo>
                  <a:pt x="1302" y="521"/>
                </a:lnTo>
                <a:lnTo>
                  <a:pt x="1305" y="522"/>
                </a:lnTo>
                <a:lnTo>
                  <a:pt x="1322" y="524"/>
                </a:lnTo>
                <a:lnTo>
                  <a:pt x="1340" y="525"/>
                </a:lnTo>
                <a:lnTo>
                  <a:pt x="1359" y="524"/>
                </a:lnTo>
                <a:lnTo>
                  <a:pt x="1376" y="522"/>
                </a:lnTo>
                <a:lnTo>
                  <a:pt x="1394" y="521"/>
                </a:lnTo>
                <a:lnTo>
                  <a:pt x="1412" y="519"/>
                </a:lnTo>
                <a:lnTo>
                  <a:pt x="1420" y="519"/>
                </a:lnTo>
                <a:lnTo>
                  <a:pt x="1430" y="518"/>
                </a:lnTo>
                <a:lnTo>
                  <a:pt x="1439" y="517"/>
                </a:lnTo>
                <a:lnTo>
                  <a:pt x="1449" y="515"/>
                </a:lnTo>
                <a:lnTo>
                  <a:pt x="1463" y="511"/>
                </a:lnTo>
                <a:lnTo>
                  <a:pt x="1478" y="509"/>
                </a:lnTo>
                <a:lnTo>
                  <a:pt x="1493" y="508"/>
                </a:lnTo>
                <a:lnTo>
                  <a:pt x="1508" y="508"/>
                </a:lnTo>
                <a:lnTo>
                  <a:pt x="1513" y="508"/>
                </a:lnTo>
                <a:lnTo>
                  <a:pt x="1516" y="505"/>
                </a:lnTo>
                <a:lnTo>
                  <a:pt x="1518" y="504"/>
                </a:lnTo>
                <a:lnTo>
                  <a:pt x="1519" y="503"/>
                </a:lnTo>
                <a:lnTo>
                  <a:pt x="1519" y="502"/>
                </a:lnTo>
                <a:lnTo>
                  <a:pt x="1516" y="500"/>
                </a:lnTo>
                <a:lnTo>
                  <a:pt x="1502" y="489"/>
                </a:lnTo>
                <a:lnTo>
                  <a:pt x="1487" y="480"/>
                </a:lnTo>
                <a:lnTo>
                  <a:pt x="1479" y="473"/>
                </a:lnTo>
                <a:lnTo>
                  <a:pt x="1471" y="467"/>
                </a:lnTo>
                <a:lnTo>
                  <a:pt x="1461" y="462"/>
                </a:lnTo>
                <a:lnTo>
                  <a:pt x="1452" y="458"/>
                </a:lnTo>
                <a:lnTo>
                  <a:pt x="1444" y="452"/>
                </a:lnTo>
                <a:lnTo>
                  <a:pt x="1436" y="445"/>
                </a:lnTo>
                <a:lnTo>
                  <a:pt x="1430" y="441"/>
                </a:lnTo>
                <a:lnTo>
                  <a:pt x="1424" y="438"/>
                </a:lnTo>
                <a:lnTo>
                  <a:pt x="1418" y="435"/>
                </a:lnTo>
                <a:lnTo>
                  <a:pt x="1412" y="434"/>
                </a:lnTo>
                <a:lnTo>
                  <a:pt x="1406" y="434"/>
                </a:lnTo>
                <a:lnTo>
                  <a:pt x="1401" y="434"/>
                </a:lnTo>
                <a:lnTo>
                  <a:pt x="1394" y="435"/>
                </a:lnTo>
                <a:lnTo>
                  <a:pt x="1388" y="437"/>
                </a:lnTo>
                <a:lnTo>
                  <a:pt x="1380" y="439"/>
                </a:lnTo>
                <a:lnTo>
                  <a:pt x="1374" y="439"/>
                </a:lnTo>
                <a:lnTo>
                  <a:pt x="1373" y="438"/>
                </a:lnTo>
                <a:lnTo>
                  <a:pt x="1373" y="434"/>
                </a:lnTo>
                <a:lnTo>
                  <a:pt x="1374" y="431"/>
                </a:lnTo>
                <a:lnTo>
                  <a:pt x="1375" y="427"/>
                </a:lnTo>
                <a:lnTo>
                  <a:pt x="1375" y="426"/>
                </a:lnTo>
                <a:lnTo>
                  <a:pt x="1375" y="424"/>
                </a:lnTo>
                <a:lnTo>
                  <a:pt x="1375" y="421"/>
                </a:lnTo>
                <a:lnTo>
                  <a:pt x="1373" y="419"/>
                </a:lnTo>
                <a:lnTo>
                  <a:pt x="1369" y="419"/>
                </a:lnTo>
                <a:lnTo>
                  <a:pt x="1367" y="420"/>
                </a:lnTo>
                <a:lnTo>
                  <a:pt x="1367" y="424"/>
                </a:lnTo>
                <a:lnTo>
                  <a:pt x="1366" y="427"/>
                </a:lnTo>
                <a:lnTo>
                  <a:pt x="1363" y="430"/>
                </a:lnTo>
                <a:lnTo>
                  <a:pt x="1361" y="432"/>
                </a:lnTo>
                <a:lnTo>
                  <a:pt x="1356" y="434"/>
                </a:lnTo>
                <a:lnTo>
                  <a:pt x="1352" y="439"/>
                </a:lnTo>
                <a:lnTo>
                  <a:pt x="1349" y="442"/>
                </a:lnTo>
                <a:lnTo>
                  <a:pt x="1347" y="444"/>
                </a:lnTo>
                <a:lnTo>
                  <a:pt x="1343" y="445"/>
                </a:lnTo>
                <a:lnTo>
                  <a:pt x="1341" y="446"/>
                </a:lnTo>
                <a:lnTo>
                  <a:pt x="1335" y="446"/>
                </a:lnTo>
                <a:lnTo>
                  <a:pt x="1332" y="447"/>
                </a:lnTo>
                <a:lnTo>
                  <a:pt x="1321" y="451"/>
                </a:lnTo>
                <a:lnTo>
                  <a:pt x="1312" y="452"/>
                </a:lnTo>
                <a:lnTo>
                  <a:pt x="1301" y="453"/>
                </a:lnTo>
                <a:lnTo>
                  <a:pt x="1292" y="455"/>
                </a:lnTo>
                <a:lnTo>
                  <a:pt x="1281" y="456"/>
                </a:lnTo>
                <a:lnTo>
                  <a:pt x="1270" y="458"/>
                </a:lnTo>
                <a:lnTo>
                  <a:pt x="1258" y="458"/>
                </a:lnTo>
                <a:lnTo>
                  <a:pt x="1246" y="456"/>
                </a:lnTo>
                <a:lnTo>
                  <a:pt x="1239" y="456"/>
                </a:lnTo>
                <a:lnTo>
                  <a:pt x="1233" y="455"/>
                </a:lnTo>
                <a:lnTo>
                  <a:pt x="1228" y="453"/>
                </a:lnTo>
                <a:lnTo>
                  <a:pt x="1222" y="451"/>
                </a:lnTo>
                <a:lnTo>
                  <a:pt x="1216" y="448"/>
                </a:lnTo>
                <a:lnTo>
                  <a:pt x="1210" y="444"/>
                </a:lnTo>
                <a:lnTo>
                  <a:pt x="1207" y="439"/>
                </a:lnTo>
                <a:lnTo>
                  <a:pt x="1202" y="433"/>
                </a:lnTo>
                <a:lnTo>
                  <a:pt x="1199" y="428"/>
                </a:lnTo>
                <a:lnTo>
                  <a:pt x="1198" y="425"/>
                </a:lnTo>
                <a:lnTo>
                  <a:pt x="1197" y="421"/>
                </a:lnTo>
                <a:lnTo>
                  <a:pt x="1197" y="419"/>
                </a:lnTo>
                <a:lnTo>
                  <a:pt x="1198" y="417"/>
                </a:lnTo>
                <a:lnTo>
                  <a:pt x="1201" y="414"/>
                </a:lnTo>
                <a:lnTo>
                  <a:pt x="1204" y="411"/>
                </a:lnTo>
                <a:lnTo>
                  <a:pt x="1209" y="409"/>
                </a:lnTo>
                <a:lnTo>
                  <a:pt x="1212" y="407"/>
                </a:lnTo>
                <a:lnTo>
                  <a:pt x="1215" y="405"/>
                </a:lnTo>
                <a:lnTo>
                  <a:pt x="1217" y="402"/>
                </a:lnTo>
                <a:lnTo>
                  <a:pt x="1218" y="398"/>
                </a:lnTo>
                <a:lnTo>
                  <a:pt x="1221" y="391"/>
                </a:lnTo>
                <a:lnTo>
                  <a:pt x="1223" y="384"/>
                </a:lnTo>
                <a:lnTo>
                  <a:pt x="1228" y="378"/>
                </a:lnTo>
                <a:lnTo>
                  <a:pt x="1233" y="372"/>
                </a:lnTo>
                <a:lnTo>
                  <a:pt x="1244" y="365"/>
                </a:lnTo>
                <a:lnTo>
                  <a:pt x="1254" y="360"/>
                </a:lnTo>
                <a:lnTo>
                  <a:pt x="1272" y="348"/>
                </a:lnTo>
                <a:lnTo>
                  <a:pt x="1290" y="334"/>
                </a:lnTo>
                <a:lnTo>
                  <a:pt x="1291" y="333"/>
                </a:lnTo>
                <a:lnTo>
                  <a:pt x="1293" y="330"/>
                </a:lnTo>
                <a:lnTo>
                  <a:pt x="1293" y="328"/>
                </a:lnTo>
                <a:lnTo>
                  <a:pt x="1293" y="326"/>
                </a:lnTo>
                <a:lnTo>
                  <a:pt x="1292" y="325"/>
                </a:lnTo>
                <a:lnTo>
                  <a:pt x="1290" y="325"/>
                </a:lnTo>
                <a:lnTo>
                  <a:pt x="1284" y="326"/>
                </a:lnTo>
                <a:lnTo>
                  <a:pt x="1279" y="327"/>
                </a:lnTo>
                <a:lnTo>
                  <a:pt x="1274" y="327"/>
                </a:lnTo>
                <a:lnTo>
                  <a:pt x="1270" y="325"/>
                </a:lnTo>
                <a:lnTo>
                  <a:pt x="1267" y="326"/>
                </a:lnTo>
                <a:lnTo>
                  <a:pt x="1267" y="327"/>
                </a:lnTo>
                <a:lnTo>
                  <a:pt x="1265" y="332"/>
                </a:lnTo>
                <a:lnTo>
                  <a:pt x="1261" y="335"/>
                </a:lnTo>
                <a:lnTo>
                  <a:pt x="1254" y="342"/>
                </a:lnTo>
                <a:lnTo>
                  <a:pt x="1246" y="347"/>
                </a:lnTo>
                <a:lnTo>
                  <a:pt x="1238" y="353"/>
                </a:lnTo>
                <a:lnTo>
                  <a:pt x="1230" y="357"/>
                </a:lnTo>
                <a:lnTo>
                  <a:pt x="1228" y="358"/>
                </a:lnTo>
                <a:lnTo>
                  <a:pt x="1226" y="358"/>
                </a:lnTo>
                <a:lnTo>
                  <a:pt x="1224" y="357"/>
                </a:lnTo>
                <a:lnTo>
                  <a:pt x="1224" y="355"/>
                </a:lnTo>
                <a:lnTo>
                  <a:pt x="1223" y="355"/>
                </a:lnTo>
                <a:lnTo>
                  <a:pt x="1223" y="354"/>
                </a:lnTo>
                <a:lnTo>
                  <a:pt x="1223" y="355"/>
                </a:lnTo>
                <a:lnTo>
                  <a:pt x="1224" y="355"/>
                </a:lnTo>
                <a:lnTo>
                  <a:pt x="1230" y="351"/>
                </a:lnTo>
                <a:lnTo>
                  <a:pt x="1237" y="348"/>
                </a:lnTo>
                <a:lnTo>
                  <a:pt x="1243" y="343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47" y="337"/>
                </a:lnTo>
                <a:lnTo>
                  <a:pt x="1252" y="336"/>
                </a:lnTo>
                <a:lnTo>
                  <a:pt x="1254" y="335"/>
                </a:lnTo>
                <a:lnTo>
                  <a:pt x="1257" y="333"/>
                </a:lnTo>
                <a:lnTo>
                  <a:pt x="1258" y="330"/>
                </a:lnTo>
                <a:lnTo>
                  <a:pt x="1259" y="323"/>
                </a:lnTo>
                <a:lnTo>
                  <a:pt x="1263" y="318"/>
                </a:lnTo>
                <a:lnTo>
                  <a:pt x="1264" y="315"/>
                </a:lnTo>
                <a:lnTo>
                  <a:pt x="1265" y="312"/>
                </a:lnTo>
                <a:lnTo>
                  <a:pt x="1265" y="308"/>
                </a:lnTo>
                <a:lnTo>
                  <a:pt x="1264" y="305"/>
                </a:lnTo>
                <a:lnTo>
                  <a:pt x="1263" y="301"/>
                </a:lnTo>
                <a:lnTo>
                  <a:pt x="1263" y="298"/>
                </a:lnTo>
                <a:lnTo>
                  <a:pt x="1264" y="295"/>
                </a:lnTo>
                <a:lnTo>
                  <a:pt x="1266" y="293"/>
                </a:lnTo>
                <a:lnTo>
                  <a:pt x="1270" y="289"/>
                </a:lnTo>
                <a:lnTo>
                  <a:pt x="1273" y="287"/>
                </a:lnTo>
                <a:lnTo>
                  <a:pt x="1275" y="285"/>
                </a:lnTo>
                <a:lnTo>
                  <a:pt x="1279" y="285"/>
                </a:lnTo>
                <a:lnTo>
                  <a:pt x="1283" y="286"/>
                </a:lnTo>
                <a:lnTo>
                  <a:pt x="1287" y="286"/>
                </a:lnTo>
                <a:lnTo>
                  <a:pt x="1291" y="285"/>
                </a:lnTo>
                <a:lnTo>
                  <a:pt x="1294" y="285"/>
                </a:lnTo>
                <a:lnTo>
                  <a:pt x="1307" y="282"/>
                </a:lnTo>
                <a:lnTo>
                  <a:pt x="1321" y="280"/>
                </a:lnTo>
                <a:lnTo>
                  <a:pt x="1330" y="279"/>
                </a:lnTo>
                <a:lnTo>
                  <a:pt x="1339" y="279"/>
                </a:lnTo>
                <a:lnTo>
                  <a:pt x="1348" y="278"/>
                </a:lnTo>
                <a:lnTo>
                  <a:pt x="1357" y="275"/>
                </a:lnTo>
                <a:lnTo>
                  <a:pt x="1362" y="274"/>
                </a:lnTo>
                <a:lnTo>
                  <a:pt x="1368" y="273"/>
                </a:lnTo>
                <a:lnTo>
                  <a:pt x="1373" y="273"/>
                </a:lnTo>
                <a:lnTo>
                  <a:pt x="1378" y="273"/>
                </a:lnTo>
                <a:lnTo>
                  <a:pt x="1389" y="274"/>
                </a:lnTo>
                <a:lnTo>
                  <a:pt x="1399" y="278"/>
                </a:lnTo>
                <a:lnTo>
                  <a:pt x="1403" y="278"/>
                </a:lnTo>
                <a:lnTo>
                  <a:pt x="1406" y="277"/>
                </a:lnTo>
                <a:lnTo>
                  <a:pt x="1409" y="274"/>
                </a:lnTo>
                <a:lnTo>
                  <a:pt x="1411" y="271"/>
                </a:lnTo>
                <a:lnTo>
                  <a:pt x="1411" y="267"/>
                </a:lnTo>
                <a:lnTo>
                  <a:pt x="1409" y="265"/>
                </a:lnTo>
                <a:lnTo>
                  <a:pt x="1406" y="265"/>
                </a:lnTo>
                <a:lnTo>
                  <a:pt x="1405" y="265"/>
                </a:lnTo>
                <a:lnTo>
                  <a:pt x="1405" y="266"/>
                </a:lnTo>
                <a:lnTo>
                  <a:pt x="1404" y="267"/>
                </a:lnTo>
                <a:lnTo>
                  <a:pt x="1402" y="271"/>
                </a:lnTo>
                <a:lnTo>
                  <a:pt x="1398" y="272"/>
                </a:lnTo>
                <a:lnTo>
                  <a:pt x="1395" y="273"/>
                </a:lnTo>
                <a:lnTo>
                  <a:pt x="1391" y="273"/>
                </a:lnTo>
                <a:lnTo>
                  <a:pt x="1381" y="271"/>
                </a:lnTo>
                <a:lnTo>
                  <a:pt x="1369" y="268"/>
                </a:lnTo>
                <a:lnTo>
                  <a:pt x="1363" y="268"/>
                </a:lnTo>
                <a:lnTo>
                  <a:pt x="1356" y="267"/>
                </a:lnTo>
                <a:lnTo>
                  <a:pt x="1349" y="265"/>
                </a:lnTo>
                <a:lnTo>
                  <a:pt x="1343" y="263"/>
                </a:lnTo>
                <a:close/>
                <a:moveTo>
                  <a:pt x="1411" y="259"/>
                </a:moveTo>
                <a:lnTo>
                  <a:pt x="1410" y="257"/>
                </a:lnTo>
                <a:lnTo>
                  <a:pt x="1408" y="257"/>
                </a:lnTo>
                <a:lnTo>
                  <a:pt x="1409" y="258"/>
                </a:lnTo>
                <a:lnTo>
                  <a:pt x="1411" y="259"/>
                </a:lnTo>
                <a:close/>
                <a:moveTo>
                  <a:pt x="1389" y="728"/>
                </a:moveTo>
                <a:lnTo>
                  <a:pt x="1389" y="726"/>
                </a:lnTo>
                <a:lnTo>
                  <a:pt x="1390" y="725"/>
                </a:lnTo>
                <a:lnTo>
                  <a:pt x="1388" y="726"/>
                </a:lnTo>
                <a:lnTo>
                  <a:pt x="1389" y="728"/>
                </a:lnTo>
                <a:close/>
                <a:moveTo>
                  <a:pt x="1384" y="93"/>
                </a:moveTo>
                <a:lnTo>
                  <a:pt x="1383" y="95"/>
                </a:lnTo>
                <a:lnTo>
                  <a:pt x="1382" y="97"/>
                </a:lnTo>
                <a:lnTo>
                  <a:pt x="1361" y="112"/>
                </a:lnTo>
                <a:lnTo>
                  <a:pt x="1339" y="127"/>
                </a:lnTo>
                <a:lnTo>
                  <a:pt x="1316" y="141"/>
                </a:lnTo>
                <a:lnTo>
                  <a:pt x="1295" y="156"/>
                </a:lnTo>
                <a:lnTo>
                  <a:pt x="1290" y="160"/>
                </a:lnTo>
                <a:lnTo>
                  <a:pt x="1284" y="162"/>
                </a:lnTo>
                <a:lnTo>
                  <a:pt x="1278" y="166"/>
                </a:lnTo>
                <a:lnTo>
                  <a:pt x="1274" y="172"/>
                </a:lnTo>
                <a:lnTo>
                  <a:pt x="1278" y="174"/>
                </a:lnTo>
                <a:lnTo>
                  <a:pt x="1283" y="176"/>
                </a:lnTo>
                <a:lnTo>
                  <a:pt x="1287" y="176"/>
                </a:lnTo>
                <a:lnTo>
                  <a:pt x="1292" y="177"/>
                </a:lnTo>
                <a:lnTo>
                  <a:pt x="1291" y="175"/>
                </a:lnTo>
                <a:lnTo>
                  <a:pt x="1290" y="174"/>
                </a:lnTo>
                <a:lnTo>
                  <a:pt x="1290" y="172"/>
                </a:lnTo>
                <a:lnTo>
                  <a:pt x="1292" y="169"/>
                </a:lnTo>
                <a:lnTo>
                  <a:pt x="1311" y="158"/>
                </a:lnTo>
                <a:lnTo>
                  <a:pt x="1329" y="145"/>
                </a:lnTo>
                <a:lnTo>
                  <a:pt x="1348" y="133"/>
                </a:lnTo>
                <a:lnTo>
                  <a:pt x="1367" y="120"/>
                </a:lnTo>
                <a:lnTo>
                  <a:pt x="1373" y="116"/>
                </a:lnTo>
                <a:lnTo>
                  <a:pt x="1377" y="111"/>
                </a:lnTo>
                <a:lnTo>
                  <a:pt x="1382" y="105"/>
                </a:lnTo>
                <a:lnTo>
                  <a:pt x="1383" y="98"/>
                </a:lnTo>
                <a:lnTo>
                  <a:pt x="1385" y="96"/>
                </a:lnTo>
                <a:lnTo>
                  <a:pt x="1384" y="93"/>
                </a:lnTo>
                <a:close/>
                <a:moveTo>
                  <a:pt x="1494" y="518"/>
                </a:moveTo>
                <a:lnTo>
                  <a:pt x="1489" y="517"/>
                </a:lnTo>
                <a:lnTo>
                  <a:pt x="1485" y="519"/>
                </a:lnTo>
                <a:lnTo>
                  <a:pt x="1489" y="519"/>
                </a:lnTo>
                <a:lnTo>
                  <a:pt x="1494" y="518"/>
                </a:lnTo>
                <a:close/>
                <a:moveTo>
                  <a:pt x="1399" y="871"/>
                </a:moveTo>
                <a:lnTo>
                  <a:pt x="1399" y="868"/>
                </a:lnTo>
                <a:lnTo>
                  <a:pt x="1398" y="867"/>
                </a:lnTo>
                <a:lnTo>
                  <a:pt x="1397" y="866"/>
                </a:lnTo>
                <a:lnTo>
                  <a:pt x="1395" y="865"/>
                </a:lnTo>
                <a:lnTo>
                  <a:pt x="1394" y="861"/>
                </a:lnTo>
                <a:lnTo>
                  <a:pt x="1392" y="859"/>
                </a:lnTo>
                <a:lnTo>
                  <a:pt x="1390" y="857"/>
                </a:lnTo>
                <a:lnTo>
                  <a:pt x="1388" y="854"/>
                </a:lnTo>
                <a:lnTo>
                  <a:pt x="1382" y="848"/>
                </a:lnTo>
                <a:lnTo>
                  <a:pt x="1377" y="840"/>
                </a:lnTo>
                <a:lnTo>
                  <a:pt x="1375" y="826"/>
                </a:lnTo>
                <a:lnTo>
                  <a:pt x="1374" y="812"/>
                </a:lnTo>
                <a:lnTo>
                  <a:pt x="1376" y="798"/>
                </a:lnTo>
                <a:lnTo>
                  <a:pt x="1378" y="784"/>
                </a:lnTo>
                <a:lnTo>
                  <a:pt x="1382" y="775"/>
                </a:lnTo>
                <a:lnTo>
                  <a:pt x="1385" y="764"/>
                </a:lnTo>
                <a:lnTo>
                  <a:pt x="1388" y="755"/>
                </a:lnTo>
                <a:lnTo>
                  <a:pt x="1391" y="745"/>
                </a:lnTo>
                <a:lnTo>
                  <a:pt x="1391" y="741"/>
                </a:lnTo>
                <a:lnTo>
                  <a:pt x="1391" y="738"/>
                </a:lnTo>
                <a:lnTo>
                  <a:pt x="1390" y="734"/>
                </a:lnTo>
                <a:lnTo>
                  <a:pt x="1388" y="731"/>
                </a:lnTo>
                <a:lnTo>
                  <a:pt x="1388" y="735"/>
                </a:lnTo>
                <a:lnTo>
                  <a:pt x="1388" y="740"/>
                </a:lnTo>
                <a:lnTo>
                  <a:pt x="1388" y="743"/>
                </a:lnTo>
                <a:lnTo>
                  <a:pt x="1388" y="746"/>
                </a:lnTo>
                <a:lnTo>
                  <a:pt x="1385" y="748"/>
                </a:lnTo>
                <a:lnTo>
                  <a:pt x="1383" y="749"/>
                </a:lnTo>
                <a:lnTo>
                  <a:pt x="1383" y="747"/>
                </a:lnTo>
                <a:lnTo>
                  <a:pt x="1382" y="745"/>
                </a:lnTo>
                <a:lnTo>
                  <a:pt x="1381" y="743"/>
                </a:lnTo>
                <a:lnTo>
                  <a:pt x="1377" y="743"/>
                </a:lnTo>
                <a:lnTo>
                  <a:pt x="1380" y="753"/>
                </a:lnTo>
                <a:lnTo>
                  <a:pt x="1378" y="760"/>
                </a:lnTo>
                <a:lnTo>
                  <a:pt x="1374" y="764"/>
                </a:lnTo>
                <a:lnTo>
                  <a:pt x="1363" y="770"/>
                </a:lnTo>
                <a:lnTo>
                  <a:pt x="1360" y="771"/>
                </a:lnTo>
                <a:lnTo>
                  <a:pt x="1356" y="774"/>
                </a:lnTo>
                <a:lnTo>
                  <a:pt x="1352" y="776"/>
                </a:lnTo>
                <a:lnTo>
                  <a:pt x="1349" y="781"/>
                </a:lnTo>
                <a:lnTo>
                  <a:pt x="1353" y="781"/>
                </a:lnTo>
                <a:lnTo>
                  <a:pt x="1356" y="781"/>
                </a:lnTo>
                <a:lnTo>
                  <a:pt x="1359" y="782"/>
                </a:lnTo>
                <a:lnTo>
                  <a:pt x="1360" y="784"/>
                </a:lnTo>
                <a:lnTo>
                  <a:pt x="1362" y="789"/>
                </a:lnTo>
                <a:lnTo>
                  <a:pt x="1363" y="794"/>
                </a:lnTo>
                <a:lnTo>
                  <a:pt x="1367" y="806"/>
                </a:lnTo>
                <a:lnTo>
                  <a:pt x="1367" y="818"/>
                </a:lnTo>
                <a:lnTo>
                  <a:pt x="1367" y="824"/>
                </a:lnTo>
                <a:lnTo>
                  <a:pt x="1364" y="830"/>
                </a:lnTo>
                <a:lnTo>
                  <a:pt x="1362" y="834"/>
                </a:lnTo>
                <a:lnTo>
                  <a:pt x="1357" y="840"/>
                </a:lnTo>
                <a:lnTo>
                  <a:pt x="1355" y="843"/>
                </a:lnTo>
                <a:lnTo>
                  <a:pt x="1354" y="844"/>
                </a:lnTo>
                <a:lnTo>
                  <a:pt x="1352" y="845"/>
                </a:lnTo>
                <a:lnTo>
                  <a:pt x="1349" y="844"/>
                </a:lnTo>
                <a:lnTo>
                  <a:pt x="1348" y="841"/>
                </a:lnTo>
                <a:lnTo>
                  <a:pt x="1348" y="839"/>
                </a:lnTo>
                <a:lnTo>
                  <a:pt x="1349" y="837"/>
                </a:lnTo>
                <a:lnTo>
                  <a:pt x="1349" y="834"/>
                </a:lnTo>
                <a:lnTo>
                  <a:pt x="1354" y="825"/>
                </a:lnTo>
                <a:lnTo>
                  <a:pt x="1359" y="815"/>
                </a:lnTo>
                <a:lnTo>
                  <a:pt x="1357" y="813"/>
                </a:lnTo>
                <a:lnTo>
                  <a:pt x="1356" y="813"/>
                </a:lnTo>
                <a:lnTo>
                  <a:pt x="1349" y="824"/>
                </a:lnTo>
                <a:lnTo>
                  <a:pt x="1344" y="837"/>
                </a:lnTo>
                <a:lnTo>
                  <a:pt x="1341" y="843"/>
                </a:lnTo>
                <a:lnTo>
                  <a:pt x="1339" y="848"/>
                </a:lnTo>
                <a:lnTo>
                  <a:pt x="1335" y="854"/>
                </a:lnTo>
                <a:lnTo>
                  <a:pt x="1330" y="859"/>
                </a:lnTo>
                <a:lnTo>
                  <a:pt x="1337" y="860"/>
                </a:lnTo>
                <a:lnTo>
                  <a:pt x="1344" y="859"/>
                </a:lnTo>
                <a:lnTo>
                  <a:pt x="1350" y="855"/>
                </a:lnTo>
                <a:lnTo>
                  <a:pt x="1354" y="852"/>
                </a:lnTo>
                <a:lnTo>
                  <a:pt x="1357" y="850"/>
                </a:lnTo>
                <a:lnTo>
                  <a:pt x="1360" y="848"/>
                </a:lnTo>
                <a:lnTo>
                  <a:pt x="1362" y="847"/>
                </a:lnTo>
                <a:lnTo>
                  <a:pt x="1364" y="847"/>
                </a:lnTo>
                <a:lnTo>
                  <a:pt x="1368" y="848"/>
                </a:lnTo>
                <a:lnTo>
                  <a:pt x="1373" y="851"/>
                </a:lnTo>
                <a:lnTo>
                  <a:pt x="1377" y="852"/>
                </a:lnTo>
                <a:lnTo>
                  <a:pt x="1378" y="853"/>
                </a:lnTo>
                <a:lnTo>
                  <a:pt x="1378" y="855"/>
                </a:lnTo>
                <a:lnTo>
                  <a:pt x="1377" y="859"/>
                </a:lnTo>
                <a:lnTo>
                  <a:pt x="1375" y="862"/>
                </a:lnTo>
                <a:lnTo>
                  <a:pt x="1373" y="866"/>
                </a:lnTo>
                <a:lnTo>
                  <a:pt x="1371" y="868"/>
                </a:lnTo>
                <a:lnTo>
                  <a:pt x="1371" y="871"/>
                </a:lnTo>
                <a:lnTo>
                  <a:pt x="1371" y="873"/>
                </a:lnTo>
                <a:lnTo>
                  <a:pt x="1373" y="875"/>
                </a:lnTo>
                <a:lnTo>
                  <a:pt x="1375" y="876"/>
                </a:lnTo>
                <a:lnTo>
                  <a:pt x="1377" y="876"/>
                </a:lnTo>
                <a:lnTo>
                  <a:pt x="1380" y="875"/>
                </a:lnTo>
                <a:lnTo>
                  <a:pt x="1382" y="873"/>
                </a:lnTo>
                <a:lnTo>
                  <a:pt x="1384" y="871"/>
                </a:lnTo>
                <a:lnTo>
                  <a:pt x="1388" y="868"/>
                </a:lnTo>
                <a:lnTo>
                  <a:pt x="1390" y="866"/>
                </a:lnTo>
                <a:lnTo>
                  <a:pt x="1395" y="865"/>
                </a:lnTo>
                <a:lnTo>
                  <a:pt x="1395" y="867"/>
                </a:lnTo>
                <a:lnTo>
                  <a:pt x="1396" y="869"/>
                </a:lnTo>
                <a:lnTo>
                  <a:pt x="1397" y="871"/>
                </a:lnTo>
                <a:lnTo>
                  <a:pt x="1399" y="871"/>
                </a:lnTo>
                <a:close/>
                <a:moveTo>
                  <a:pt x="1405" y="882"/>
                </a:moveTo>
                <a:lnTo>
                  <a:pt x="1405" y="879"/>
                </a:lnTo>
                <a:lnTo>
                  <a:pt x="1404" y="876"/>
                </a:lnTo>
                <a:lnTo>
                  <a:pt x="1402" y="874"/>
                </a:lnTo>
                <a:lnTo>
                  <a:pt x="1401" y="872"/>
                </a:lnTo>
                <a:lnTo>
                  <a:pt x="1401" y="875"/>
                </a:lnTo>
                <a:lnTo>
                  <a:pt x="1401" y="878"/>
                </a:lnTo>
                <a:lnTo>
                  <a:pt x="1403" y="880"/>
                </a:lnTo>
                <a:lnTo>
                  <a:pt x="1405" y="882"/>
                </a:lnTo>
                <a:close/>
                <a:moveTo>
                  <a:pt x="1418" y="578"/>
                </a:moveTo>
                <a:lnTo>
                  <a:pt x="1418" y="582"/>
                </a:lnTo>
                <a:lnTo>
                  <a:pt x="1418" y="586"/>
                </a:lnTo>
                <a:lnTo>
                  <a:pt x="1419" y="591"/>
                </a:lnTo>
                <a:lnTo>
                  <a:pt x="1423" y="594"/>
                </a:lnTo>
                <a:lnTo>
                  <a:pt x="1422" y="589"/>
                </a:lnTo>
                <a:lnTo>
                  <a:pt x="1422" y="585"/>
                </a:lnTo>
                <a:lnTo>
                  <a:pt x="1419" y="581"/>
                </a:lnTo>
                <a:lnTo>
                  <a:pt x="1418" y="578"/>
                </a:lnTo>
                <a:close/>
                <a:moveTo>
                  <a:pt x="1417" y="577"/>
                </a:moveTo>
                <a:lnTo>
                  <a:pt x="1417" y="571"/>
                </a:lnTo>
                <a:lnTo>
                  <a:pt x="1416" y="566"/>
                </a:lnTo>
                <a:lnTo>
                  <a:pt x="1413" y="561"/>
                </a:lnTo>
                <a:lnTo>
                  <a:pt x="1411" y="558"/>
                </a:lnTo>
                <a:lnTo>
                  <a:pt x="1411" y="563"/>
                </a:lnTo>
                <a:lnTo>
                  <a:pt x="1412" y="567"/>
                </a:lnTo>
                <a:lnTo>
                  <a:pt x="1413" y="572"/>
                </a:lnTo>
                <a:lnTo>
                  <a:pt x="1417" y="577"/>
                </a:lnTo>
                <a:close/>
                <a:moveTo>
                  <a:pt x="456" y="720"/>
                </a:moveTo>
                <a:lnTo>
                  <a:pt x="458" y="719"/>
                </a:lnTo>
                <a:lnTo>
                  <a:pt x="460" y="719"/>
                </a:lnTo>
                <a:lnTo>
                  <a:pt x="463" y="719"/>
                </a:lnTo>
                <a:lnTo>
                  <a:pt x="464" y="717"/>
                </a:lnTo>
                <a:lnTo>
                  <a:pt x="463" y="714"/>
                </a:lnTo>
                <a:lnTo>
                  <a:pt x="460" y="713"/>
                </a:lnTo>
                <a:lnTo>
                  <a:pt x="458" y="713"/>
                </a:lnTo>
                <a:lnTo>
                  <a:pt x="456" y="713"/>
                </a:lnTo>
                <a:lnTo>
                  <a:pt x="455" y="713"/>
                </a:lnTo>
                <a:lnTo>
                  <a:pt x="452" y="713"/>
                </a:lnTo>
                <a:lnTo>
                  <a:pt x="451" y="713"/>
                </a:lnTo>
                <a:lnTo>
                  <a:pt x="450" y="715"/>
                </a:lnTo>
                <a:lnTo>
                  <a:pt x="450" y="718"/>
                </a:lnTo>
                <a:lnTo>
                  <a:pt x="451" y="719"/>
                </a:lnTo>
                <a:lnTo>
                  <a:pt x="453" y="720"/>
                </a:lnTo>
                <a:lnTo>
                  <a:pt x="456" y="720"/>
                </a:lnTo>
                <a:close/>
                <a:moveTo>
                  <a:pt x="1419" y="662"/>
                </a:moveTo>
                <a:lnTo>
                  <a:pt x="1424" y="661"/>
                </a:lnTo>
                <a:lnTo>
                  <a:pt x="1426" y="658"/>
                </a:lnTo>
                <a:lnTo>
                  <a:pt x="1429" y="656"/>
                </a:lnTo>
                <a:lnTo>
                  <a:pt x="1430" y="654"/>
                </a:lnTo>
                <a:lnTo>
                  <a:pt x="1432" y="647"/>
                </a:lnTo>
                <a:lnTo>
                  <a:pt x="1435" y="640"/>
                </a:lnTo>
                <a:lnTo>
                  <a:pt x="1431" y="643"/>
                </a:lnTo>
                <a:lnTo>
                  <a:pt x="1429" y="648"/>
                </a:lnTo>
                <a:lnTo>
                  <a:pt x="1426" y="651"/>
                </a:lnTo>
                <a:lnTo>
                  <a:pt x="1422" y="654"/>
                </a:lnTo>
                <a:lnTo>
                  <a:pt x="1423" y="647"/>
                </a:lnTo>
                <a:lnTo>
                  <a:pt x="1423" y="641"/>
                </a:lnTo>
                <a:lnTo>
                  <a:pt x="1423" y="635"/>
                </a:lnTo>
                <a:lnTo>
                  <a:pt x="1422" y="629"/>
                </a:lnTo>
                <a:lnTo>
                  <a:pt x="1420" y="623"/>
                </a:lnTo>
                <a:lnTo>
                  <a:pt x="1418" y="617"/>
                </a:lnTo>
                <a:lnTo>
                  <a:pt x="1413" y="613"/>
                </a:lnTo>
                <a:lnTo>
                  <a:pt x="1410" y="607"/>
                </a:lnTo>
                <a:lnTo>
                  <a:pt x="1406" y="605"/>
                </a:lnTo>
                <a:lnTo>
                  <a:pt x="1404" y="603"/>
                </a:lnTo>
                <a:lnTo>
                  <a:pt x="1401" y="602"/>
                </a:lnTo>
                <a:lnTo>
                  <a:pt x="1398" y="603"/>
                </a:lnTo>
                <a:lnTo>
                  <a:pt x="1392" y="605"/>
                </a:lnTo>
                <a:lnTo>
                  <a:pt x="1389" y="603"/>
                </a:lnTo>
                <a:lnTo>
                  <a:pt x="1385" y="601"/>
                </a:lnTo>
                <a:lnTo>
                  <a:pt x="1383" y="596"/>
                </a:lnTo>
                <a:lnTo>
                  <a:pt x="1380" y="593"/>
                </a:lnTo>
                <a:lnTo>
                  <a:pt x="1377" y="592"/>
                </a:lnTo>
                <a:lnTo>
                  <a:pt x="1373" y="592"/>
                </a:lnTo>
                <a:lnTo>
                  <a:pt x="1369" y="593"/>
                </a:lnTo>
                <a:lnTo>
                  <a:pt x="1364" y="596"/>
                </a:lnTo>
                <a:lnTo>
                  <a:pt x="1361" y="600"/>
                </a:lnTo>
                <a:lnTo>
                  <a:pt x="1357" y="603"/>
                </a:lnTo>
                <a:lnTo>
                  <a:pt x="1356" y="607"/>
                </a:lnTo>
                <a:lnTo>
                  <a:pt x="1354" y="612"/>
                </a:lnTo>
                <a:lnTo>
                  <a:pt x="1354" y="615"/>
                </a:lnTo>
                <a:lnTo>
                  <a:pt x="1354" y="621"/>
                </a:lnTo>
                <a:lnTo>
                  <a:pt x="1355" y="627"/>
                </a:lnTo>
                <a:lnTo>
                  <a:pt x="1355" y="627"/>
                </a:lnTo>
                <a:lnTo>
                  <a:pt x="1353" y="634"/>
                </a:lnTo>
                <a:lnTo>
                  <a:pt x="1350" y="642"/>
                </a:lnTo>
                <a:lnTo>
                  <a:pt x="1350" y="645"/>
                </a:lnTo>
                <a:lnTo>
                  <a:pt x="1352" y="649"/>
                </a:lnTo>
                <a:lnTo>
                  <a:pt x="1353" y="652"/>
                </a:lnTo>
                <a:lnTo>
                  <a:pt x="1355" y="657"/>
                </a:lnTo>
                <a:lnTo>
                  <a:pt x="1355" y="658"/>
                </a:lnTo>
                <a:lnTo>
                  <a:pt x="1357" y="659"/>
                </a:lnTo>
                <a:lnTo>
                  <a:pt x="1359" y="659"/>
                </a:lnTo>
                <a:lnTo>
                  <a:pt x="1360" y="657"/>
                </a:lnTo>
                <a:lnTo>
                  <a:pt x="1362" y="656"/>
                </a:lnTo>
                <a:lnTo>
                  <a:pt x="1363" y="656"/>
                </a:lnTo>
                <a:lnTo>
                  <a:pt x="1366" y="655"/>
                </a:lnTo>
                <a:lnTo>
                  <a:pt x="1367" y="652"/>
                </a:lnTo>
                <a:lnTo>
                  <a:pt x="1367" y="652"/>
                </a:lnTo>
                <a:lnTo>
                  <a:pt x="1368" y="652"/>
                </a:lnTo>
                <a:lnTo>
                  <a:pt x="1373" y="649"/>
                </a:lnTo>
                <a:lnTo>
                  <a:pt x="1377" y="647"/>
                </a:lnTo>
                <a:lnTo>
                  <a:pt x="1382" y="645"/>
                </a:lnTo>
                <a:lnTo>
                  <a:pt x="1385" y="644"/>
                </a:lnTo>
                <a:lnTo>
                  <a:pt x="1390" y="645"/>
                </a:lnTo>
                <a:lnTo>
                  <a:pt x="1395" y="647"/>
                </a:lnTo>
                <a:lnTo>
                  <a:pt x="1399" y="650"/>
                </a:lnTo>
                <a:lnTo>
                  <a:pt x="1403" y="654"/>
                </a:lnTo>
                <a:lnTo>
                  <a:pt x="1403" y="657"/>
                </a:lnTo>
                <a:lnTo>
                  <a:pt x="1403" y="659"/>
                </a:lnTo>
                <a:lnTo>
                  <a:pt x="1399" y="661"/>
                </a:lnTo>
                <a:lnTo>
                  <a:pt x="1398" y="663"/>
                </a:lnTo>
                <a:lnTo>
                  <a:pt x="1399" y="665"/>
                </a:lnTo>
                <a:lnTo>
                  <a:pt x="1402" y="668"/>
                </a:lnTo>
                <a:lnTo>
                  <a:pt x="1411" y="665"/>
                </a:lnTo>
                <a:lnTo>
                  <a:pt x="1419" y="662"/>
                </a:lnTo>
                <a:close/>
                <a:moveTo>
                  <a:pt x="300" y="677"/>
                </a:moveTo>
                <a:lnTo>
                  <a:pt x="297" y="678"/>
                </a:lnTo>
                <a:lnTo>
                  <a:pt x="293" y="680"/>
                </a:lnTo>
                <a:lnTo>
                  <a:pt x="290" y="683"/>
                </a:lnTo>
                <a:lnTo>
                  <a:pt x="286" y="686"/>
                </a:lnTo>
                <a:lnTo>
                  <a:pt x="286" y="687"/>
                </a:lnTo>
                <a:lnTo>
                  <a:pt x="287" y="687"/>
                </a:lnTo>
                <a:lnTo>
                  <a:pt x="289" y="689"/>
                </a:lnTo>
                <a:lnTo>
                  <a:pt x="290" y="689"/>
                </a:lnTo>
                <a:lnTo>
                  <a:pt x="293" y="687"/>
                </a:lnTo>
                <a:lnTo>
                  <a:pt x="299" y="684"/>
                </a:lnTo>
                <a:lnTo>
                  <a:pt x="303" y="680"/>
                </a:lnTo>
                <a:lnTo>
                  <a:pt x="305" y="679"/>
                </a:lnTo>
                <a:lnTo>
                  <a:pt x="304" y="677"/>
                </a:lnTo>
                <a:lnTo>
                  <a:pt x="300" y="677"/>
                </a:lnTo>
                <a:close/>
                <a:moveTo>
                  <a:pt x="356" y="656"/>
                </a:moveTo>
                <a:lnTo>
                  <a:pt x="354" y="656"/>
                </a:lnTo>
                <a:lnTo>
                  <a:pt x="352" y="656"/>
                </a:lnTo>
                <a:lnTo>
                  <a:pt x="349" y="657"/>
                </a:lnTo>
                <a:lnTo>
                  <a:pt x="346" y="657"/>
                </a:lnTo>
                <a:lnTo>
                  <a:pt x="344" y="659"/>
                </a:lnTo>
                <a:lnTo>
                  <a:pt x="344" y="661"/>
                </a:lnTo>
                <a:lnTo>
                  <a:pt x="344" y="662"/>
                </a:lnTo>
                <a:lnTo>
                  <a:pt x="345" y="663"/>
                </a:lnTo>
                <a:lnTo>
                  <a:pt x="346" y="663"/>
                </a:lnTo>
                <a:lnTo>
                  <a:pt x="347" y="663"/>
                </a:lnTo>
                <a:lnTo>
                  <a:pt x="349" y="662"/>
                </a:lnTo>
                <a:lnTo>
                  <a:pt x="353" y="662"/>
                </a:lnTo>
                <a:lnTo>
                  <a:pt x="354" y="662"/>
                </a:lnTo>
                <a:lnTo>
                  <a:pt x="356" y="661"/>
                </a:lnTo>
                <a:lnTo>
                  <a:pt x="358" y="661"/>
                </a:lnTo>
                <a:lnTo>
                  <a:pt x="360" y="661"/>
                </a:lnTo>
                <a:lnTo>
                  <a:pt x="361" y="661"/>
                </a:lnTo>
                <a:lnTo>
                  <a:pt x="362" y="658"/>
                </a:lnTo>
                <a:lnTo>
                  <a:pt x="361" y="656"/>
                </a:lnTo>
                <a:lnTo>
                  <a:pt x="360" y="656"/>
                </a:lnTo>
                <a:lnTo>
                  <a:pt x="358" y="656"/>
                </a:lnTo>
                <a:lnTo>
                  <a:pt x="356" y="656"/>
                </a:lnTo>
                <a:close/>
                <a:moveTo>
                  <a:pt x="355" y="680"/>
                </a:moveTo>
                <a:lnTo>
                  <a:pt x="358" y="683"/>
                </a:lnTo>
                <a:lnTo>
                  <a:pt x="359" y="683"/>
                </a:lnTo>
                <a:lnTo>
                  <a:pt x="361" y="683"/>
                </a:lnTo>
                <a:lnTo>
                  <a:pt x="363" y="683"/>
                </a:lnTo>
                <a:lnTo>
                  <a:pt x="366" y="683"/>
                </a:lnTo>
                <a:lnTo>
                  <a:pt x="368" y="683"/>
                </a:lnTo>
                <a:lnTo>
                  <a:pt x="370" y="683"/>
                </a:lnTo>
                <a:lnTo>
                  <a:pt x="373" y="682"/>
                </a:lnTo>
                <a:lnTo>
                  <a:pt x="374" y="680"/>
                </a:lnTo>
                <a:lnTo>
                  <a:pt x="374" y="678"/>
                </a:lnTo>
                <a:lnTo>
                  <a:pt x="374" y="675"/>
                </a:lnTo>
                <a:lnTo>
                  <a:pt x="372" y="673"/>
                </a:lnTo>
                <a:lnTo>
                  <a:pt x="369" y="673"/>
                </a:lnTo>
                <a:lnTo>
                  <a:pt x="367" y="673"/>
                </a:lnTo>
                <a:lnTo>
                  <a:pt x="365" y="675"/>
                </a:lnTo>
                <a:lnTo>
                  <a:pt x="362" y="676"/>
                </a:lnTo>
                <a:lnTo>
                  <a:pt x="360" y="676"/>
                </a:lnTo>
                <a:lnTo>
                  <a:pt x="358" y="677"/>
                </a:lnTo>
                <a:lnTo>
                  <a:pt x="356" y="677"/>
                </a:lnTo>
                <a:lnTo>
                  <a:pt x="355" y="678"/>
                </a:lnTo>
                <a:lnTo>
                  <a:pt x="355" y="679"/>
                </a:lnTo>
                <a:lnTo>
                  <a:pt x="355" y="680"/>
                </a:lnTo>
                <a:close/>
                <a:moveTo>
                  <a:pt x="317" y="703"/>
                </a:moveTo>
                <a:lnTo>
                  <a:pt x="319" y="701"/>
                </a:lnTo>
                <a:lnTo>
                  <a:pt x="320" y="700"/>
                </a:lnTo>
                <a:lnTo>
                  <a:pt x="320" y="699"/>
                </a:lnTo>
                <a:lnTo>
                  <a:pt x="320" y="698"/>
                </a:lnTo>
                <a:lnTo>
                  <a:pt x="319" y="697"/>
                </a:lnTo>
                <a:lnTo>
                  <a:pt x="318" y="696"/>
                </a:lnTo>
                <a:lnTo>
                  <a:pt x="315" y="696"/>
                </a:lnTo>
                <a:lnTo>
                  <a:pt x="314" y="696"/>
                </a:lnTo>
                <a:lnTo>
                  <a:pt x="307" y="699"/>
                </a:lnTo>
                <a:lnTo>
                  <a:pt x="298" y="704"/>
                </a:lnTo>
                <a:lnTo>
                  <a:pt x="304" y="705"/>
                </a:lnTo>
                <a:lnTo>
                  <a:pt x="308" y="706"/>
                </a:lnTo>
                <a:lnTo>
                  <a:pt x="313" y="705"/>
                </a:lnTo>
                <a:lnTo>
                  <a:pt x="317" y="703"/>
                </a:lnTo>
                <a:close/>
                <a:moveTo>
                  <a:pt x="345" y="638"/>
                </a:moveTo>
                <a:lnTo>
                  <a:pt x="340" y="638"/>
                </a:lnTo>
                <a:lnTo>
                  <a:pt x="335" y="640"/>
                </a:lnTo>
                <a:lnTo>
                  <a:pt x="332" y="641"/>
                </a:lnTo>
                <a:lnTo>
                  <a:pt x="327" y="644"/>
                </a:lnTo>
                <a:lnTo>
                  <a:pt x="329" y="647"/>
                </a:lnTo>
                <a:lnTo>
                  <a:pt x="332" y="648"/>
                </a:lnTo>
                <a:lnTo>
                  <a:pt x="334" y="648"/>
                </a:lnTo>
                <a:lnTo>
                  <a:pt x="336" y="648"/>
                </a:lnTo>
                <a:lnTo>
                  <a:pt x="341" y="645"/>
                </a:lnTo>
                <a:lnTo>
                  <a:pt x="346" y="645"/>
                </a:lnTo>
                <a:lnTo>
                  <a:pt x="347" y="645"/>
                </a:lnTo>
                <a:lnTo>
                  <a:pt x="348" y="644"/>
                </a:lnTo>
                <a:lnTo>
                  <a:pt x="349" y="643"/>
                </a:lnTo>
                <a:lnTo>
                  <a:pt x="349" y="642"/>
                </a:lnTo>
                <a:lnTo>
                  <a:pt x="348" y="640"/>
                </a:lnTo>
                <a:lnTo>
                  <a:pt x="345" y="638"/>
                </a:lnTo>
                <a:close/>
                <a:moveTo>
                  <a:pt x="285" y="659"/>
                </a:moveTo>
                <a:lnTo>
                  <a:pt x="280" y="662"/>
                </a:lnTo>
                <a:lnTo>
                  <a:pt x="275" y="664"/>
                </a:lnTo>
                <a:lnTo>
                  <a:pt x="271" y="668"/>
                </a:lnTo>
                <a:lnTo>
                  <a:pt x="266" y="673"/>
                </a:lnTo>
                <a:lnTo>
                  <a:pt x="270" y="673"/>
                </a:lnTo>
                <a:lnTo>
                  <a:pt x="273" y="673"/>
                </a:lnTo>
                <a:lnTo>
                  <a:pt x="276" y="672"/>
                </a:lnTo>
                <a:lnTo>
                  <a:pt x="279" y="670"/>
                </a:lnTo>
                <a:lnTo>
                  <a:pt x="284" y="668"/>
                </a:lnTo>
                <a:lnTo>
                  <a:pt x="290" y="665"/>
                </a:lnTo>
                <a:lnTo>
                  <a:pt x="290" y="663"/>
                </a:lnTo>
                <a:lnTo>
                  <a:pt x="290" y="662"/>
                </a:lnTo>
                <a:lnTo>
                  <a:pt x="289" y="659"/>
                </a:lnTo>
                <a:lnTo>
                  <a:pt x="285" y="659"/>
                </a:lnTo>
                <a:close/>
                <a:moveTo>
                  <a:pt x="1408" y="256"/>
                </a:moveTo>
                <a:lnTo>
                  <a:pt x="1404" y="251"/>
                </a:lnTo>
                <a:lnTo>
                  <a:pt x="1401" y="247"/>
                </a:lnTo>
                <a:lnTo>
                  <a:pt x="1397" y="244"/>
                </a:lnTo>
                <a:lnTo>
                  <a:pt x="1392" y="240"/>
                </a:lnTo>
                <a:lnTo>
                  <a:pt x="1394" y="249"/>
                </a:lnTo>
                <a:lnTo>
                  <a:pt x="1397" y="256"/>
                </a:lnTo>
                <a:lnTo>
                  <a:pt x="1399" y="259"/>
                </a:lnTo>
                <a:lnTo>
                  <a:pt x="1402" y="260"/>
                </a:lnTo>
                <a:lnTo>
                  <a:pt x="1405" y="259"/>
                </a:lnTo>
                <a:lnTo>
                  <a:pt x="1408" y="256"/>
                </a:lnTo>
                <a:close/>
                <a:moveTo>
                  <a:pt x="1558" y="507"/>
                </a:moveTo>
                <a:lnTo>
                  <a:pt x="1555" y="505"/>
                </a:lnTo>
                <a:lnTo>
                  <a:pt x="1551" y="505"/>
                </a:lnTo>
                <a:lnTo>
                  <a:pt x="1547" y="507"/>
                </a:lnTo>
                <a:lnTo>
                  <a:pt x="1541" y="508"/>
                </a:lnTo>
                <a:lnTo>
                  <a:pt x="1532" y="510"/>
                </a:lnTo>
                <a:lnTo>
                  <a:pt x="1522" y="512"/>
                </a:lnTo>
                <a:lnTo>
                  <a:pt x="1512" y="515"/>
                </a:lnTo>
                <a:lnTo>
                  <a:pt x="1502" y="517"/>
                </a:lnTo>
                <a:lnTo>
                  <a:pt x="1516" y="517"/>
                </a:lnTo>
                <a:lnTo>
                  <a:pt x="1529" y="515"/>
                </a:lnTo>
                <a:lnTo>
                  <a:pt x="1542" y="514"/>
                </a:lnTo>
                <a:lnTo>
                  <a:pt x="1556" y="515"/>
                </a:lnTo>
                <a:lnTo>
                  <a:pt x="1557" y="515"/>
                </a:lnTo>
                <a:lnTo>
                  <a:pt x="1558" y="514"/>
                </a:lnTo>
                <a:lnTo>
                  <a:pt x="1560" y="514"/>
                </a:lnTo>
                <a:lnTo>
                  <a:pt x="1561" y="514"/>
                </a:lnTo>
                <a:lnTo>
                  <a:pt x="1562" y="512"/>
                </a:lnTo>
                <a:lnTo>
                  <a:pt x="1562" y="511"/>
                </a:lnTo>
                <a:lnTo>
                  <a:pt x="1561" y="508"/>
                </a:lnTo>
                <a:lnTo>
                  <a:pt x="1558" y="507"/>
                </a:lnTo>
                <a:close/>
                <a:moveTo>
                  <a:pt x="1402" y="671"/>
                </a:moveTo>
                <a:lnTo>
                  <a:pt x="1399" y="685"/>
                </a:lnTo>
                <a:lnTo>
                  <a:pt x="1401" y="700"/>
                </a:lnTo>
                <a:lnTo>
                  <a:pt x="1399" y="706"/>
                </a:lnTo>
                <a:lnTo>
                  <a:pt x="1398" y="708"/>
                </a:lnTo>
                <a:lnTo>
                  <a:pt x="1395" y="708"/>
                </a:lnTo>
                <a:lnTo>
                  <a:pt x="1389" y="706"/>
                </a:lnTo>
                <a:lnTo>
                  <a:pt x="1390" y="715"/>
                </a:lnTo>
                <a:lnTo>
                  <a:pt x="1391" y="724"/>
                </a:lnTo>
                <a:lnTo>
                  <a:pt x="1397" y="717"/>
                </a:lnTo>
                <a:lnTo>
                  <a:pt x="1402" y="710"/>
                </a:lnTo>
                <a:lnTo>
                  <a:pt x="1405" y="701"/>
                </a:lnTo>
                <a:lnTo>
                  <a:pt x="1408" y="693"/>
                </a:lnTo>
                <a:lnTo>
                  <a:pt x="1408" y="687"/>
                </a:lnTo>
                <a:lnTo>
                  <a:pt x="1408" y="682"/>
                </a:lnTo>
                <a:lnTo>
                  <a:pt x="1408" y="679"/>
                </a:lnTo>
                <a:lnTo>
                  <a:pt x="1406" y="676"/>
                </a:lnTo>
                <a:lnTo>
                  <a:pt x="1404" y="673"/>
                </a:lnTo>
                <a:lnTo>
                  <a:pt x="1402" y="671"/>
                </a:lnTo>
                <a:close/>
                <a:moveTo>
                  <a:pt x="1348" y="848"/>
                </a:move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lnTo>
                  <a:pt x="1348" y="848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/>
            </a:lvl1pPr>
          </a:lstStyle>
          <a:p>
            <a:pPr lvl="0" algn="ctr"/>
            <a:endParaRPr lang="en-US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F79242-CB09-0146-8A29-7C893398EE6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337EDB8B-1B3A-2F46-AE3A-E5E59CFB4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4668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2">
            <a:extLst>
              <a:ext uri="{FF2B5EF4-FFF2-40B4-BE49-F238E27FC236}">
                <a16:creationId xmlns:a16="http://schemas.microsoft.com/office/drawing/2014/main" id="{42BA67AF-A436-8342-BF77-C7AC7D6A8D69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816323" y="378074"/>
            <a:ext cx="12097344" cy="12964020"/>
          </a:xfrm>
          <a:custGeom>
            <a:avLst/>
            <a:gdLst>
              <a:gd name="T0" fmla="*/ 857 w 979"/>
              <a:gd name="T1" fmla="*/ 522 h 840"/>
              <a:gd name="T2" fmla="*/ 763 w 979"/>
              <a:gd name="T3" fmla="*/ 607 h 840"/>
              <a:gd name="T4" fmla="*/ 513 w 979"/>
              <a:gd name="T5" fmla="*/ 498 h 840"/>
              <a:gd name="T6" fmla="*/ 529 w 979"/>
              <a:gd name="T7" fmla="*/ 418 h 840"/>
              <a:gd name="T8" fmla="*/ 564 w 979"/>
              <a:gd name="T9" fmla="*/ 398 h 840"/>
              <a:gd name="T10" fmla="*/ 566 w 979"/>
              <a:gd name="T11" fmla="*/ 381 h 840"/>
              <a:gd name="T12" fmla="*/ 589 w 979"/>
              <a:gd name="T13" fmla="*/ 339 h 840"/>
              <a:gd name="T14" fmla="*/ 609 w 979"/>
              <a:gd name="T15" fmla="*/ 294 h 840"/>
              <a:gd name="T16" fmla="*/ 502 w 979"/>
              <a:gd name="T17" fmla="*/ 262 h 840"/>
              <a:gd name="T18" fmla="*/ 462 w 979"/>
              <a:gd name="T19" fmla="*/ 283 h 840"/>
              <a:gd name="T20" fmla="*/ 458 w 979"/>
              <a:gd name="T21" fmla="*/ 269 h 840"/>
              <a:gd name="T22" fmla="*/ 409 w 979"/>
              <a:gd name="T23" fmla="*/ 222 h 840"/>
              <a:gd name="T24" fmla="*/ 231 w 979"/>
              <a:gd name="T25" fmla="*/ 42 h 840"/>
              <a:gd name="T26" fmla="*/ 149 w 979"/>
              <a:gd name="T27" fmla="*/ 27 h 840"/>
              <a:gd name="T28" fmla="*/ 174 w 979"/>
              <a:gd name="T29" fmla="*/ 76 h 840"/>
              <a:gd name="T30" fmla="*/ 121 w 979"/>
              <a:gd name="T31" fmla="*/ 92 h 840"/>
              <a:gd name="T32" fmla="*/ 318 w 979"/>
              <a:gd name="T33" fmla="*/ 197 h 840"/>
              <a:gd name="T34" fmla="*/ 395 w 979"/>
              <a:gd name="T35" fmla="*/ 298 h 840"/>
              <a:gd name="T36" fmla="*/ 383 w 979"/>
              <a:gd name="T37" fmla="*/ 359 h 840"/>
              <a:gd name="T38" fmla="*/ 384 w 979"/>
              <a:gd name="T39" fmla="*/ 359 h 840"/>
              <a:gd name="T40" fmla="*/ 420 w 979"/>
              <a:gd name="T41" fmla="*/ 358 h 840"/>
              <a:gd name="T42" fmla="*/ 405 w 979"/>
              <a:gd name="T43" fmla="*/ 407 h 840"/>
              <a:gd name="T44" fmla="*/ 382 w 979"/>
              <a:gd name="T45" fmla="*/ 404 h 840"/>
              <a:gd name="T46" fmla="*/ 367 w 979"/>
              <a:gd name="T47" fmla="*/ 405 h 840"/>
              <a:gd name="T48" fmla="*/ 356 w 979"/>
              <a:gd name="T49" fmla="*/ 423 h 840"/>
              <a:gd name="T50" fmla="*/ 359 w 979"/>
              <a:gd name="T51" fmla="*/ 448 h 840"/>
              <a:gd name="T52" fmla="*/ 328 w 979"/>
              <a:gd name="T53" fmla="*/ 627 h 840"/>
              <a:gd name="T54" fmla="*/ 318 w 979"/>
              <a:gd name="T55" fmla="*/ 715 h 840"/>
              <a:gd name="T56" fmla="*/ 260 w 979"/>
              <a:gd name="T57" fmla="*/ 721 h 840"/>
              <a:gd name="T58" fmla="*/ 182 w 979"/>
              <a:gd name="T59" fmla="*/ 705 h 840"/>
              <a:gd name="T60" fmla="*/ 21 w 979"/>
              <a:gd name="T61" fmla="*/ 723 h 840"/>
              <a:gd name="T62" fmla="*/ 252 w 979"/>
              <a:gd name="T63" fmla="*/ 796 h 840"/>
              <a:gd name="T64" fmla="*/ 418 w 979"/>
              <a:gd name="T65" fmla="*/ 677 h 840"/>
              <a:gd name="T66" fmla="*/ 732 w 979"/>
              <a:gd name="T67" fmla="*/ 669 h 840"/>
              <a:gd name="T68" fmla="*/ 875 w 979"/>
              <a:gd name="T69" fmla="*/ 494 h 840"/>
              <a:gd name="T70" fmla="*/ 562 w 979"/>
              <a:gd name="T71" fmla="*/ 374 h 840"/>
              <a:gd name="T72" fmla="*/ 543 w 979"/>
              <a:gd name="T73" fmla="*/ 407 h 840"/>
              <a:gd name="T74" fmla="*/ 462 w 979"/>
              <a:gd name="T75" fmla="*/ 274 h 840"/>
              <a:gd name="T76" fmla="*/ 190 w 979"/>
              <a:gd name="T77" fmla="*/ 93 h 840"/>
              <a:gd name="T78" fmla="*/ 332 w 979"/>
              <a:gd name="T79" fmla="*/ 201 h 840"/>
              <a:gd name="T80" fmla="*/ 399 w 979"/>
              <a:gd name="T81" fmla="*/ 227 h 840"/>
              <a:gd name="T82" fmla="*/ 370 w 979"/>
              <a:gd name="T83" fmla="*/ 429 h 840"/>
              <a:gd name="T84" fmla="*/ 201 w 979"/>
              <a:gd name="T85" fmla="*/ 737 h 840"/>
              <a:gd name="T86" fmla="*/ 352 w 979"/>
              <a:gd name="T87" fmla="*/ 470 h 840"/>
              <a:gd name="T88" fmla="*/ 363 w 979"/>
              <a:gd name="T89" fmla="*/ 488 h 840"/>
              <a:gd name="T90" fmla="*/ 413 w 979"/>
              <a:gd name="T91" fmla="*/ 472 h 840"/>
              <a:gd name="T92" fmla="*/ 400 w 979"/>
              <a:gd name="T93" fmla="*/ 459 h 840"/>
              <a:gd name="T94" fmla="*/ 403 w 979"/>
              <a:gd name="T95" fmla="*/ 475 h 840"/>
              <a:gd name="T96" fmla="*/ 442 w 979"/>
              <a:gd name="T97" fmla="*/ 260 h 840"/>
              <a:gd name="T98" fmla="*/ 422 w 979"/>
              <a:gd name="T99" fmla="*/ 454 h 840"/>
              <a:gd name="T100" fmla="*/ 435 w 979"/>
              <a:gd name="T101" fmla="*/ 483 h 840"/>
              <a:gd name="T102" fmla="*/ 454 w 979"/>
              <a:gd name="T103" fmla="*/ 465 h 840"/>
              <a:gd name="T104" fmla="*/ 472 w 979"/>
              <a:gd name="T105" fmla="*/ 472 h 840"/>
              <a:gd name="T106" fmla="*/ 490 w 979"/>
              <a:gd name="T107" fmla="*/ 332 h 840"/>
              <a:gd name="T108" fmla="*/ 563 w 979"/>
              <a:gd name="T109" fmla="*/ 558 h 840"/>
              <a:gd name="T110" fmla="*/ 564 w 979"/>
              <a:gd name="T111" fmla="*/ 558 h 840"/>
              <a:gd name="T112" fmla="*/ 895 w 979"/>
              <a:gd name="T113" fmla="*/ 617 h 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79" h="840">
                <a:moveTo>
                  <a:pt x="976" y="522"/>
                </a:moveTo>
                <a:cubicBezTo>
                  <a:pt x="969" y="520"/>
                  <a:pt x="971" y="508"/>
                  <a:pt x="968" y="502"/>
                </a:cubicBezTo>
                <a:cubicBezTo>
                  <a:pt x="964" y="494"/>
                  <a:pt x="954" y="486"/>
                  <a:pt x="946" y="483"/>
                </a:cubicBezTo>
                <a:cubicBezTo>
                  <a:pt x="936" y="479"/>
                  <a:pt x="910" y="473"/>
                  <a:pt x="901" y="482"/>
                </a:cubicBezTo>
                <a:cubicBezTo>
                  <a:pt x="898" y="473"/>
                  <a:pt x="882" y="481"/>
                  <a:pt x="877" y="485"/>
                </a:cubicBezTo>
                <a:cubicBezTo>
                  <a:pt x="868" y="493"/>
                  <a:pt x="861" y="504"/>
                  <a:pt x="862" y="516"/>
                </a:cubicBezTo>
                <a:cubicBezTo>
                  <a:pt x="856" y="516"/>
                  <a:pt x="856" y="520"/>
                  <a:pt x="859" y="522"/>
                </a:cubicBezTo>
                <a:cubicBezTo>
                  <a:pt x="858" y="522"/>
                  <a:pt x="857" y="522"/>
                  <a:pt x="857" y="522"/>
                </a:cubicBezTo>
                <a:cubicBezTo>
                  <a:pt x="856" y="531"/>
                  <a:pt x="851" y="540"/>
                  <a:pt x="856" y="549"/>
                </a:cubicBezTo>
                <a:cubicBezTo>
                  <a:pt x="862" y="563"/>
                  <a:pt x="867" y="575"/>
                  <a:pt x="879" y="584"/>
                </a:cubicBezTo>
                <a:cubicBezTo>
                  <a:pt x="883" y="587"/>
                  <a:pt x="888" y="590"/>
                  <a:pt x="892" y="592"/>
                </a:cubicBezTo>
                <a:cubicBezTo>
                  <a:pt x="883" y="593"/>
                  <a:pt x="871" y="598"/>
                  <a:pt x="866" y="600"/>
                </a:cubicBezTo>
                <a:cubicBezTo>
                  <a:pt x="847" y="605"/>
                  <a:pt x="826" y="606"/>
                  <a:pt x="808" y="602"/>
                </a:cubicBezTo>
                <a:cubicBezTo>
                  <a:pt x="800" y="600"/>
                  <a:pt x="793" y="596"/>
                  <a:pt x="784" y="597"/>
                </a:cubicBezTo>
                <a:cubicBezTo>
                  <a:pt x="780" y="598"/>
                  <a:pt x="777" y="600"/>
                  <a:pt x="774" y="602"/>
                </a:cubicBezTo>
                <a:cubicBezTo>
                  <a:pt x="769" y="605"/>
                  <a:pt x="771" y="607"/>
                  <a:pt x="763" y="607"/>
                </a:cubicBezTo>
                <a:cubicBezTo>
                  <a:pt x="747" y="607"/>
                  <a:pt x="727" y="602"/>
                  <a:pt x="711" y="597"/>
                </a:cubicBezTo>
                <a:cubicBezTo>
                  <a:pt x="692" y="592"/>
                  <a:pt x="674" y="585"/>
                  <a:pt x="657" y="577"/>
                </a:cubicBezTo>
                <a:cubicBezTo>
                  <a:pt x="652" y="575"/>
                  <a:pt x="644" y="569"/>
                  <a:pt x="637" y="566"/>
                </a:cubicBezTo>
                <a:cubicBezTo>
                  <a:pt x="628" y="562"/>
                  <a:pt x="618" y="558"/>
                  <a:pt x="608" y="555"/>
                </a:cubicBezTo>
                <a:cubicBezTo>
                  <a:pt x="597" y="551"/>
                  <a:pt x="589" y="549"/>
                  <a:pt x="580" y="541"/>
                </a:cubicBezTo>
                <a:cubicBezTo>
                  <a:pt x="572" y="535"/>
                  <a:pt x="566" y="526"/>
                  <a:pt x="558" y="521"/>
                </a:cubicBezTo>
                <a:cubicBezTo>
                  <a:pt x="543" y="512"/>
                  <a:pt x="522" y="518"/>
                  <a:pt x="509" y="507"/>
                </a:cubicBezTo>
                <a:cubicBezTo>
                  <a:pt x="504" y="503"/>
                  <a:pt x="507" y="502"/>
                  <a:pt x="513" y="498"/>
                </a:cubicBezTo>
                <a:cubicBezTo>
                  <a:pt x="522" y="492"/>
                  <a:pt x="533" y="487"/>
                  <a:pt x="540" y="479"/>
                </a:cubicBezTo>
                <a:cubicBezTo>
                  <a:pt x="545" y="474"/>
                  <a:pt x="547" y="466"/>
                  <a:pt x="554" y="464"/>
                </a:cubicBezTo>
                <a:cubicBezTo>
                  <a:pt x="553" y="464"/>
                  <a:pt x="553" y="464"/>
                  <a:pt x="553" y="463"/>
                </a:cubicBezTo>
                <a:cubicBezTo>
                  <a:pt x="569" y="465"/>
                  <a:pt x="563" y="444"/>
                  <a:pt x="553" y="439"/>
                </a:cubicBezTo>
                <a:cubicBezTo>
                  <a:pt x="551" y="438"/>
                  <a:pt x="546" y="440"/>
                  <a:pt x="544" y="438"/>
                </a:cubicBezTo>
                <a:cubicBezTo>
                  <a:pt x="542" y="436"/>
                  <a:pt x="544" y="432"/>
                  <a:pt x="544" y="430"/>
                </a:cubicBezTo>
                <a:cubicBezTo>
                  <a:pt x="541" y="422"/>
                  <a:pt x="542" y="426"/>
                  <a:pt x="536" y="423"/>
                </a:cubicBezTo>
                <a:cubicBezTo>
                  <a:pt x="532" y="422"/>
                  <a:pt x="530" y="424"/>
                  <a:pt x="529" y="418"/>
                </a:cubicBezTo>
                <a:cubicBezTo>
                  <a:pt x="534" y="418"/>
                  <a:pt x="542" y="416"/>
                  <a:pt x="546" y="413"/>
                </a:cubicBezTo>
                <a:cubicBezTo>
                  <a:pt x="549" y="412"/>
                  <a:pt x="550" y="408"/>
                  <a:pt x="551" y="407"/>
                </a:cubicBezTo>
                <a:cubicBezTo>
                  <a:pt x="554" y="407"/>
                  <a:pt x="556" y="407"/>
                  <a:pt x="558" y="407"/>
                </a:cubicBezTo>
                <a:cubicBezTo>
                  <a:pt x="556" y="406"/>
                  <a:pt x="554" y="405"/>
                  <a:pt x="553" y="403"/>
                </a:cubicBezTo>
                <a:cubicBezTo>
                  <a:pt x="568" y="402"/>
                  <a:pt x="594" y="421"/>
                  <a:pt x="585" y="438"/>
                </a:cubicBezTo>
                <a:cubicBezTo>
                  <a:pt x="595" y="440"/>
                  <a:pt x="586" y="420"/>
                  <a:pt x="583" y="416"/>
                </a:cubicBezTo>
                <a:cubicBezTo>
                  <a:pt x="576" y="406"/>
                  <a:pt x="568" y="404"/>
                  <a:pt x="558" y="400"/>
                </a:cubicBezTo>
                <a:cubicBezTo>
                  <a:pt x="549" y="396"/>
                  <a:pt x="558" y="396"/>
                  <a:pt x="564" y="398"/>
                </a:cubicBezTo>
                <a:cubicBezTo>
                  <a:pt x="574" y="401"/>
                  <a:pt x="586" y="410"/>
                  <a:pt x="591" y="420"/>
                </a:cubicBezTo>
                <a:cubicBezTo>
                  <a:pt x="592" y="410"/>
                  <a:pt x="580" y="404"/>
                  <a:pt x="575" y="399"/>
                </a:cubicBezTo>
                <a:cubicBezTo>
                  <a:pt x="582" y="399"/>
                  <a:pt x="584" y="406"/>
                  <a:pt x="591" y="407"/>
                </a:cubicBezTo>
                <a:cubicBezTo>
                  <a:pt x="590" y="406"/>
                  <a:pt x="589" y="404"/>
                  <a:pt x="588" y="402"/>
                </a:cubicBezTo>
                <a:cubicBezTo>
                  <a:pt x="589" y="403"/>
                  <a:pt x="591" y="404"/>
                  <a:pt x="593" y="405"/>
                </a:cubicBezTo>
                <a:cubicBezTo>
                  <a:pt x="590" y="399"/>
                  <a:pt x="585" y="394"/>
                  <a:pt x="582" y="389"/>
                </a:cubicBezTo>
                <a:cubicBezTo>
                  <a:pt x="588" y="389"/>
                  <a:pt x="592" y="395"/>
                  <a:pt x="598" y="397"/>
                </a:cubicBezTo>
                <a:cubicBezTo>
                  <a:pt x="593" y="384"/>
                  <a:pt x="573" y="388"/>
                  <a:pt x="566" y="381"/>
                </a:cubicBezTo>
                <a:cubicBezTo>
                  <a:pt x="566" y="373"/>
                  <a:pt x="574" y="382"/>
                  <a:pt x="578" y="381"/>
                </a:cubicBezTo>
                <a:cubicBezTo>
                  <a:pt x="583" y="379"/>
                  <a:pt x="569" y="377"/>
                  <a:pt x="570" y="374"/>
                </a:cubicBezTo>
                <a:cubicBezTo>
                  <a:pt x="570" y="374"/>
                  <a:pt x="571" y="375"/>
                  <a:pt x="572" y="375"/>
                </a:cubicBezTo>
                <a:cubicBezTo>
                  <a:pt x="573" y="374"/>
                  <a:pt x="575" y="372"/>
                  <a:pt x="576" y="370"/>
                </a:cubicBezTo>
                <a:cubicBezTo>
                  <a:pt x="574" y="371"/>
                  <a:pt x="573" y="370"/>
                  <a:pt x="572" y="370"/>
                </a:cubicBezTo>
                <a:cubicBezTo>
                  <a:pt x="573" y="365"/>
                  <a:pt x="584" y="354"/>
                  <a:pt x="581" y="349"/>
                </a:cubicBezTo>
                <a:cubicBezTo>
                  <a:pt x="586" y="347"/>
                  <a:pt x="589" y="343"/>
                  <a:pt x="590" y="338"/>
                </a:cubicBezTo>
                <a:cubicBezTo>
                  <a:pt x="589" y="338"/>
                  <a:pt x="589" y="339"/>
                  <a:pt x="589" y="339"/>
                </a:cubicBezTo>
                <a:cubicBezTo>
                  <a:pt x="588" y="340"/>
                  <a:pt x="587" y="340"/>
                  <a:pt x="586" y="341"/>
                </a:cubicBezTo>
                <a:cubicBezTo>
                  <a:pt x="587" y="340"/>
                  <a:pt x="588" y="339"/>
                  <a:pt x="589" y="339"/>
                </a:cubicBezTo>
                <a:cubicBezTo>
                  <a:pt x="590" y="336"/>
                  <a:pt x="589" y="332"/>
                  <a:pt x="591" y="328"/>
                </a:cubicBezTo>
                <a:cubicBezTo>
                  <a:pt x="594" y="324"/>
                  <a:pt x="597" y="324"/>
                  <a:pt x="600" y="320"/>
                </a:cubicBezTo>
                <a:cubicBezTo>
                  <a:pt x="601" y="318"/>
                  <a:pt x="601" y="316"/>
                  <a:pt x="602" y="314"/>
                </a:cubicBezTo>
                <a:cubicBezTo>
                  <a:pt x="603" y="313"/>
                  <a:pt x="605" y="314"/>
                  <a:pt x="606" y="312"/>
                </a:cubicBezTo>
                <a:cubicBezTo>
                  <a:pt x="608" y="308"/>
                  <a:pt x="606" y="303"/>
                  <a:pt x="610" y="302"/>
                </a:cubicBezTo>
                <a:cubicBezTo>
                  <a:pt x="604" y="296"/>
                  <a:pt x="610" y="296"/>
                  <a:pt x="609" y="294"/>
                </a:cubicBezTo>
                <a:cubicBezTo>
                  <a:pt x="608" y="290"/>
                  <a:pt x="597" y="284"/>
                  <a:pt x="608" y="284"/>
                </a:cubicBezTo>
                <a:cubicBezTo>
                  <a:pt x="606" y="281"/>
                  <a:pt x="606" y="282"/>
                  <a:pt x="607" y="279"/>
                </a:cubicBezTo>
                <a:cubicBezTo>
                  <a:pt x="596" y="275"/>
                  <a:pt x="599" y="264"/>
                  <a:pt x="585" y="261"/>
                </a:cubicBezTo>
                <a:cubicBezTo>
                  <a:pt x="590" y="254"/>
                  <a:pt x="584" y="255"/>
                  <a:pt x="581" y="254"/>
                </a:cubicBezTo>
                <a:cubicBezTo>
                  <a:pt x="577" y="252"/>
                  <a:pt x="574" y="249"/>
                  <a:pt x="570" y="246"/>
                </a:cubicBezTo>
                <a:cubicBezTo>
                  <a:pt x="557" y="240"/>
                  <a:pt x="538" y="241"/>
                  <a:pt x="526" y="244"/>
                </a:cubicBezTo>
                <a:cubicBezTo>
                  <a:pt x="520" y="246"/>
                  <a:pt x="516" y="248"/>
                  <a:pt x="511" y="250"/>
                </a:cubicBezTo>
                <a:cubicBezTo>
                  <a:pt x="503" y="254"/>
                  <a:pt x="504" y="254"/>
                  <a:pt x="502" y="262"/>
                </a:cubicBezTo>
                <a:cubicBezTo>
                  <a:pt x="500" y="269"/>
                  <a:pt x="498" y="276"/>
                  <a:pt x="495" y="283"/>
                </a:cubicBezTo>
                <a:cubicBezTo>
                  <a:pt x="494" y="285"/>
                  <a:pt x="492" y="292"/>
                  <a:pt x="490" y="292"/>
                </a:cubicBezTo>
                <a:cubicBezTo>
                  <a:pt x="483" y="295"/>
                  <a:pt x="486" y="288"/>
                  <a:pt x="482" y="287"/>
                </a:cubicBezTo>
                <a:cubicBezTo>
                  <a:pt x="481" y="286"/>
                  <a:pt x="477" y="295"/>
                  <a:pt x="478" y="285"/>
                </a:cubicBezTo>
                <a:cubicBezTo>
                  <a:pt x="472" y="290"/>
                  <a:pt x="470" y="290"/>
                  <a:pt x="467" y="281"/>
                </a:cubicBezTo>
                <a:cubicBezTo>
                  <a:pt x="466" y="280"/>
                  <a:pt x="468" y="274"/>
                  <a:pt x="466" y="274"/>
                </a:cubicBezTo>
                <a:cubicBezTo>
                  <a:pt x="463" y="275"/>
                  <a:pt x="466" y="277"/>
                  <a:pt x="464" y="278"/>
                </a:cubicBezTo>
                <a:cubicBezTo>
                  <a:pt x="463" y="280"/>
                  <a:pt x="463" y="282"/>
                  <a:pt x="462" y="283"/>
                </a:cubicBezTo>
                <a:cubicBezTo>
                  <a:pt x="462" y="283"/>
                  <a:pt x="462" y="284"/>
                  <a:pt x="462" y="284"/>
                </a:cubicBezTo>
                <a:cubicBezTo>
                  <a:pt x="462" y="284"/>
                  <a:pt x="462" y="284"/>
                  <a:pt x="461" y="284"/>
                </a:cubicBezTo>
                <a:cubicBezTo>
                  <a:pt x="460" y="284"/>
                  <a:pt x="459" y="284"/>
                  <a:pt x="457" y="281"/>
                </a:cubicBezTo>
                <a:cubicBezTo>
                  <a:pt x="458" y="282"/>
                  <a:pt x="460" y="283"/>
                  <a:pt x="461" y="284"/>
                </a:cubicBezTo>
                <a:cubicBezTo>
                  <a:pt x="461" y="283"/>
                  <a:pt x="462" y="283"/>
                  <a:pt x="462" y="283"/>
                </a:cubicBezTo>
                <a:cubicBezTo>
                  <a:pt x="461" y="278"/>
                  <a:pt x="466" y="272"/>
                  <a:pt x="461" y="269"/>
                </a:cubicBezTo>
                <a:cubicBezTo>
                  <a:pt x="459" y="272"/>
                  <a:pt x="457" y="281"/>
                  <a:pt x="452" y="280"/>
                </a:cubicBezTo>
                <a:cubicBezTo>
                  <a:pt x="447" y="279"/>
                  <a:pt x="457" y="271"/>
                  <a:pt x="458" y="269"/>
                </a:cubicBezTo>
                <a:cubicBezTo>
                  <a:pt x="456" y="270"/>
                  <a:pt x="448" y="278"/>
                  <a:pt x="448" y="271"/>
                </a:cubicBezTo>
                <a:cubicBezTo>
                  <a:pt x="448" y="268"/>
                  <a:pt x="456" y="270"/>
                  <a:pt x="453" y="264"/>
                </a:cubicBezTo>
                <a:cubicBezTo>
                  <a:pt x="448" y="269"/>
                  <a:pt x="449" y="261"/>
                  <a:pt x="447" y="258"/>
                </a:cubicBezTo>
                <a:cubicBezTo>
                  <a:pt x="446" y="256"/>
                  <a:pt x="439" y="248"/>
                  <a:pt x="438" y="248"/>
                </a:cubicBezTo>
                <a:cubicBezTo>
                  <a:pt x="442" y="241"/>
                  <a:pt x="431" y="239"/>
                  <a:pt x="426" y="242"/>
                </a:cubicBezTo>
                <a:cubicBezTo>
                  <a:pt x="431" y="235"/>
                  <a:pt x="417" y="231"/>
                  <a:pt x="413" y="237"/>
                </a:cubicBezTo>
                <a:cubicBezTo>
                  <a:pt x="418" y="231"/>
                  <a:pt x="411" y="228"/>
                  <a:pt x="407" y="223"/>
                </a:cubicBezTo>
                <a:cubicBezTo>
                  <a:pt x="408" y="223"/>
                  <a:pt x="408" y="222"/>
                  <a:pt x="409" y="222"/>
                </a:cubicBezTo>
                <a:cubicBezTo>
                  <a:pt x="402" y="219"/>
                  <a:pt x="396" y="209"/>
                  <a:pt x="391" y="204"/>
                </a:cubicBezTo>
                <a:cubicBezTo>
                  <a:pt x="384" y="197"/>
                  <a:pt x="376" y="190"/>
                  <a:pt x="369" y="184"/>
                </a:cubicBezTo>
                <a:cubicBezTo>
                  <a:pt x="357" y="174"/>
                  <a:pt x="348" y="164"/>
                  <a:pt x="339" y="154"/>
                </a:cubicBezTo>
                <a:cubicBezTo>
                  <a:pt x="326" y="141"/>
                  <a:pt x="311" y="131"/>
                  <a:pt x="296" y="121"/>
                </a:cubicBezTo>
                <a:cubicBezTo>
                  <a:pt x="287" y="116"/>
                  <a:pt x="278" y="109"/>
                  <a:pt x="269" y="104"/>
                </a:cubicBezTo>
                <a:cubicBezTo>
                  <a:pt x="265" y="102"/>
                  <a:pt x="253" y="95"/>
                  <a:pt x="253" y="96"/>
                </a:cubicBezTo>
                <a:cubicBezTo>
                  <a:pt x="241" y="91"/>
                  <a:pt x="213" y="77"/>
                  <a:pt x="218" y="61"/>
                </a:cubicBezTo>
                <a:cubicBezTo>
                  <a:pt x="220" y="54"/>
                  <a:pt x="232" y="51"/>
                  <a:pt x="231" y="42"/>
                </a:cubicBezTo>
                <a:cubicBezTo>
                  <a:pt x="230" y="36"/>
                  <a:pt x="229" y="38"/>
                  <a:pt x="224" y="40"/>
                </a:cubicBezTo>
                <a:cubicBezTo>
                  <a:pt x="217" y="45"/>
                  <a:pt x="201" y="68"/>
                  <a:pt x="203" y="45"/>
                </a:cubicBezTo>
                <a:cubicBezTo>
                  <a:pt x="204" y="37"/>
                  <a:pt x="211" y="24"/>
                  <a:pt x="209" y="16"/>
                </a:cubicBezTo>
                <a:cubicBezTo>
                  <a:pt x="207" y="9"/>
                  <a:pt x="202" y="13"/>
                  <a:pt x="200" y="19"/>
                </a:cubicBezTo>
                <a:cubicBezTo>
                  <a:pt x="199" y="25"/>
                  <a:pt x="196" y="52"/>
                  <a:pt x="188" y="49"/>
                </a:cubicBezTo>
                <a:cubicBezTo>
                  <a:pt x="178" y="46"/>
                  <a:pt x="184" y="0"/>
                  <a:pt x="172" y="0"/>
                </a:cubicBezTo>
                <a:cubicBezTo>
                  <a:pt x="165" y="0"/>
                  <a:pt x="175" y="35"/>
                  <a:pt x="175" y="40"/>
                </a:cubicBezTo>
                <a:cubicBezTo>
                  <a:pt x="175" y="68"/>
                  <a:pt x="155" y="36"/>
                  <a:pt x="149" y="27"/>
                </a:cubicBezTo>
                <a:cubicBezTo>
                  <a:pt x="147" y="24"/>
                  <a:pt x="143" y="12"/>
                  <a:pt x="138" y="17"/>
                </a:cubicBezTo>
                <a:cubicBezTo>
                  <a:pt x="134" y="22"/>
                  <a:pt x="145" y="33"/>
                  <a:pt x="147" y="37"/>
                </a:cubicBezTo>
                <a:cubicBezTo>
                  <a:pt x="154" y="46"/>
                  <a:pt x="159" y="56"/>
                  <a:pt x="169" y="68"/>
                </a:cubicBezTo>
                <a:cubicBezTo>
                  <a:pt x="172" y="64"/>
                  <a:pt x="166" y="61"/>
                  <a:pt x="165" y="57"/>
                </a:cubicBezTo>
                <a:cubicBezTo>
                  <a:pt x="167" y="60"/>
                  <a:pt x="168" y="59"/>
                  <a:pt x="171" y="60"/>
                </a:cubicBezTo>
                <a:cubicBezTo>
                  <a:pt x="171" y="53"/>
                  <a:pt x="174" y="55"/>
                  <a:pt x="175" y="62"/>
                </a:cubicBezTo>
                <a:cubicBezTo>
                  <a:pt x="175" y="66"/>
                  <a:pt x="176" y="74"/>
                  <a:pt x="171" y="72"/>
                </a:cubicBezTo>
                <a:cubicBezTo>
                  <a:pt x="172" y="75"/>
                  <a:pt x="171" y="75"/>
                  <a:pt x="174" y="76"/>
                </a:cubicBezTo>
                <a:cubicBezTo>
                  <a:pt x="173" y="78"/>
                  <a:pt x="176" y="78"/>
                  <a:pt x="176" y="81"/>
                </a:cubicBezTo>
                <a:cubicBezTo>
                  <a:pt x="177" y="87"/>
                  <a:pt x="174" y="81"/>
                  <a:pt x="174" y="81"/>
                </a:cubicBezTo>
                <a:cubicBezTo>
                  <a:pt x="172" y="80"/>
                  <a:pt x="171" y="75"/>
                  <a:pt x="168" y="76"/>
                </a:cubicBezTo>
                <a:cubicBezTo>
                  <a:pt x="166" y="77"/>
                  <a:pt x="167" y="81"/>
                  <a:pt x="165" y="82"/>
                </a:cubicBezTo>
                <a:cubicBezTo>
                  <a:pt x="161" y="86"/>
                  <a:pt x="151" y="89"/>
                  <a:pt x="144" y="87"/>
                </a:cubicBezTo>
                <a:cubicBezTo>
                  <a:pt x="139" y="86"/>
                  <a:pt x="131" y="81"/>
                  <a:pt x="127" y="87"/>
                </a:cubicBezTo>
                <a:cubicBezTo>
                  <a:pt x="128" y="85"/>
                  <a:pt x="128" y="85"/>
                  <a:pt x="130" y="84"/>
                </a:cubicBezTo>
                <a:cubicBezTo>
                  <a:pt x="124" y="83"/>
                  <a:pt x="120" y="87"/>
                  <a:pt x="121" y="92"/>
                </a:cubicBezTo>
                <a:cubicBezTo>
                  <a:pt x="122" y="97"/>
                  <a:pt x="128" y="98"/>
                  <a:pt x="133" y="99"/>
                </a:cubicBezTo>
                <a:cubicBezTo>
                  <a:pt x="139" y="100"/>
                  <a:pt x="145" y="98"/>
                  <a:pt x="150" y="99"/>
                </a:cubicBezTo>
                <a:cubicBezTo>
                  <a:pt x="155" y="100"/>
                  <a:pt x="160" y="103"/>
                  <a:pt x="166" y="103"/>
                </a:cubicBezTo>
                <a:cubicBezTo>
                  <a:pt x="175" y="104"/>
                  <a:pt x="185" y="101"/>
                  <a:pt x="194" y="102"/>
                </a:cubicBezTo>
                <a:cubicBezTo>
                  <a:pt x="205" y="103"/>
                  <a:pt x="217" y="115"/>
                  <a:pt x="225" y="121"/>
                </a:cubicBezTo>
                <a:cubicBezTo>
                  <a:pt x="244" y="135"/>
                  <a:pt x="258" y="151"/>
                  <a:pt x="279" y="165"/>
                </a:cubicBezTo>
                <a:cubicBezTo>
                  <a:pt x="289" y="171"/>
                  <a:pt x="297" y="176"/>
                  <a:pt x="305" y="184"/>
                </a:cubicBezTo>
                <a:cubicBezTo>
                  <a:pt x="309" y="188"/>
                  <a:pt x="314" y="194"/>
                  <a:pt x="318" y="197"/>
                </a:cubicBezTo>
                <a:cubicBezTo>
                  <a:pt x="323" y="200"/>
                  <a:pt x="322" y="197"/>
                  <a:pt x="325" y="202"/>
                </a:cubicBezTo>
                <a:cubicBezTo>
                  <a:pt x="330" y="209"/>
                  <a:pt x="332" y="217"/>
                  <a:pt x="337" y="224"/>
                </a:cubicBezTo>
                <a:cubicBezTo>
                  <a:pt x="341" y="230"/>
                  <a:pt x="346" y="236"/>
                  <a:pt x="351" y="242"/>
                </a:cubicBezTo>
                <a:cubicBezTo>
                  <a:pt x="357" y="249"/>
                  <a:pt x="371" y="260"/>
                  <a:pt x="372" y="268"/>
                </a:cubicBezTo>
                <a:cubicBezTo>
                  <a:pt x="372" y="267"/>
                  <a:pt x="372" y="267"/>
                  <a:pt x="371" y="266"/>
                </a:cubicBezTo>
                <a:cubicBezTo>
                  <a:pt x="374" y="268"/>
                  <a:pt x="379" y="271"/>
                  <a:pt x="381" y="273"/>
                </a:cubicBezTo>
                <a:cubicBezTo>
                  <a:pt x="381" y="275"/>
                  <a:pt x="381" y="277"/>
                  <a:pt x="382" y="279"/>
                </a:cubicBezTo>
                <a:cubicBezTo>
                  <a:pt x="386" y="286"/>
                  <a:pt x="392" y="289"/>
                  <a:pt x="395" y="298"/>
                </a:cubicBezTo>
                <a:cubicBezTo>
                  <a:pt x="395" y="297"/>
                  <a:pt x="396" y="296"/>
                  <a:pt x="396" y="296"/>
                </a:cubicBezTo>
                <a:cubicBezTo>
                  <a:pt x="397" y="293"/>
                  <a:pt x="398" y="290"/>
                  <a:pt x="400" y="288"/>
                </a:cubicBezTo>
                <a:cubicBezTo>
                  <a:pt x="398" y="290"/>
                  <a:pt x="397" y="293"/>
                  <a:pt x="396" y="296"/>
                </a:cubicBezTo>
                <a:cubicBezTo>
                  <a:pt x="395" y="298"/>
                  <a:pt x="395" y="300"/>
                  <a:pt x="396" y="302"/>
                </a:cubicBezTo>
                <a:cubicBezTo>
                  <a:pt x="396" y="301"/>
                  <a:pt x="397" y="301"/>
                  <a:pt x="397" y="300"/>
                </a:cubicBezTo>
                <a:cubicBezTo>
                  <a:pt x="398" y="304"/>
                  <a:pt x="399" y="310"/>
                  <a:pt x="401" y="313"/>
                </a:cubicBezTo>
                <a:cubicBezTo>
                  <a:pt x="399" y="321"/>
                  <a:pt x="398" y="333"/>
                  <a:pt x="394" y="340"/>
                </a:cubicBezTo>
                <a:cubicBezTo>
                  <a:pt x="390" y="346"/>
                  <a:pt x="385" y="352"/>
                  <a:pt x="383" y="359"/>
                </a:cubicBezTo>
                <a:cubicBezTo>
                  <a:pt x="378" y="364"/>
                  <a:pt x="372" y="376"/>
                  <a:pt x="368" y="383"/>
                </a:cubicBezTo>
                <a:cubicBezTo>
                  <a:pt x="363" y="389"/>
                  <a:pt x="360" y="394"/>
                  <a:pt x="365" y="402"/>
                </a:cubicBezTo>
                <a:cubicBezTo>
                  <a:pt x="365" y="400"/>
                  <a:pt x="366" y="398"/>
                  <a:pt x="366" y="396"/>
                </a:cubicBezTo>
                <a:cubicBezTo>
                  <a:pt x="367" y="396"/>
                  <a:pt x="368" y="397"/>
                  <a:pt x="368" y="398"/>
                </a:cubicBezTo>
                <a:cubicBezTo>
                  <a:pt x="368" y="395"/>
                  <a:pt x="369" y="394"/>
                  <a:pt x="370" y="391"/>
                </a:cubicBezTo>
                <a:cubicBezTo>
                  <a:pt x="371" y="392"/>
                  <a:pt x="371" y="393"/>
                  <a:pt x="372" y="394"/>
                </a:cubicBezTo>
                <a:cubicBezTo>
                  <a:pt x="373" y="387"/>
                  <a:pt x="374" y="380"/>
                  <a:pt x="377" y="373"/>
                </a:cubicBezTo>
                <a:cubicBezTo>
                  <a:pt x="378" y="369"/>
                  <a:pt x="383" y="363"/>
                  <a:pt x="384" y="359"/>
                </a:cubicBezTo>
                <a:cubicBezTo>
                  <a:pt x="392" y="358"/>
                  <a:pt x="404" y="324"/>
                  <a:pt x="401" y="314"/>
                </a:cubicBezTo>
                <a:cubicBezTo>
                  <a:pt x="401" y="311"/>
                  <a:pt x="399" y="303"/>
                  <a:pt x="397" y="299"/>
                </a:cubicBezTo>
                <a:cubicBezTo>
                  <a:pt x="398" y="296"/>
                  <a:pt x="398" y="294"/>
                  <a:pt x="400" y="292"/>
                </a:cubicBezTo>
                <a:cubicBezTo>
                  <a:pt x="400" y="294"/>
                  <a:pt x="401" y="296"/>
                  <a:pt x="401" y="298"/>
                </a:cubicBezTo>
                <a:cubicBezTo>
                  <a:pt x="405" y="292"/>
                  <a:pt x="409" y="315"/>
                  <a:pt x="407" y="319"/>
                </a:cubicBezTo>
                <a:cubicBezTo>
                  <a:pt x="415" y="319"/>
                  <a:pt x="412" y="335"/>
                  <a:pt x="413" y="340"/>
                </a:cubicBezTo>
                <a:cubicBezTo>
                  <a:pt x="414" y="346"/>
                  <a:pt x="417" y="350"/>
                  <a:pt x="419" y="355"/>
                </a:cubicBezTo>
                <a:cubicBezTo>
                  <a:pt x="419" y="355"/>
                  <a:pt x="420" y="356"/>
                  <a:pt x="420" y="358"/>
                </a:cubicBezTo>
                <a:cubicBezTo>
                  <a:pt x="420" y="357"/>
                  <a:pt x="419" y="356"/>
                  <a:pt x="419" y="355"/>
                </a:cubicBezTo>
                <a:cubicBezTo>
                  <a:pt x="418" y="354"/>
                  <a:pt x="416" y="355"/>
                  <a:pt x="415" y="358"/>
                </a:cubicBezTo>
                <a:cubicBezTo>
                  <a:pt x="413" y="363"/>
                  <a:pt x="416" y="373"/>
                  <a:pt x="415" y="379"/>
                </a:cubicBezTo>
                <a:cubicBezTo>
                  <a:pt x="414" y="383"/>
                  <a:pt x="410" y="410"/>
                  <a:pt x="404" y="402"/>
                </a:cubicBezTo>
                <a:cubicBezTo>
                  <a:pt x="404" y="404"/>
                  <a:pt x="405" y="405"/>
                  <a:pt x="405" y="407"/>
                </a:cubicBezTo>
                <a:cubicBezTo>
                  <a:pt x="405" y="407"/>
                  <a:pt x="405" y="407"/>
                  <a:pt x="405" y="407"/>
                </a:cubicBezTo>
                <a:cubicBezTo>
                  <a:pt x="405" y="408"/>
                  <a:pt x="405" y="409"/>
                  <a:pt x="404" y="411"/>
                </a:cubicBezTo>
                <a:cubicBezTo>
                  <a:pt x="405" y="409"/>
                  <a:pt x="405" y="408"/>
                  <a:pt x="405" y="407"/>
                </a:cubicBezTo>
                <a:cubicBezTo>
                  <a:pt x="405" y="407"/>
                  <a:pt x="404" y="406"/>
                  <a:pt x="404" y="406"/>
                </a:cubicBezTo>
                <a:cubicBezTo>
                  <a:pt x="403" y="408"/>
                  <a:pt x="402" y="408"/>
                  <a:pt x="401" y="411"/>
                </a:cubicBezTo>
                <a:cubicBezTo>
                  <a:pt x="393" y="410"/>
                  <a:pt x="392" y="391"/>
                  <a:pt x="392" y="384"/>
                </a:cubicBezTo>
                <a:cubicBezTo>
                  <a:pt x="391" y="392"/>
                  <a:pt x="391" y="399"/>
                  <a:pt x="393" y="407"/>
                </a:cubicBezTo>
                <a:cubicBezTo>
                  <a:pt x="394" y="412"/>
                  <a:pt x="397" y="417"/>
                  <a:pt x="394" y="421"/>
                </a:cubicBezTo>
                <a:cubicBezTo>
                  <a:pt x="391" y="416"/>
                  <a:pt x="389" y="410"/>
                  <a:pt x="386" y="405"/>
                </a:cubicBezTo>
                <a:cubicBezTo>
                  <a:pt x="386" y="408"/>
                  <a:pt x="386" y="411"/>
                  <a:pt x="387" y="414"/>
                </a:cubicBezTo>
                <a:cubicBezTo>
                  <a:pt x="385" y="410"/>
                  <a:pt x="383" y="408"/>
                  <a:pt x="382" y="404"/>
                </a:cubicBezTo>
                <a:cubicBezTo>
                  <a:pt x="382" y="405"/>
                  <a:pt x="382" y="407"/>
                  <a:pt x="382" y="408"/>
                </a:cubicBezTo>
                <a:cubicBezTo>
                  <a:pt x="380" y="405"/>
                  <a:pt x="379" y="402"/>
                  <a:pt x="378" y="399"/>
                </a:cubicBezTo>
                <a:cubicBezTo>
                  <a:pt x="378" y="407"/>
                  <a:pt x="384" y="416"/>
                  <a:pt x="383" y="423"/>
                </a:cubicBezTo>
                <a:cubicBezTo>
                  <a:pt x="380" y="421"/>
                  <a:pt x="380" y="417"/>
                  <a:pt x="378" y="414"/>
                </a:cubicBezTo>
                <a:cubicBezTo>
                  <a:pt x="376" y="411"/>
                  <a:pt x="373" y="411"/>
                  <a:pt x="372" y="406"/>
                </a:cubicBezTo>
                <a:cubicBezTo>
                  <a:pt x="372" y="408"/>
                  <a:pt x="371" y="410"/>
                  <a:pt x="372" y="412"/>
                </a:cubicBezTo>
                <a:cubicBezTo>
                  <a:pt x="371" y="412"/>
                  <a:pt x="371" y="412"/>
                  <a:pt x="370" y="412"/>
                </a:cubicBezTo>
                <a:cubicBezTo>
                  <a:pt x="369" y="410"/>
                  <a:pt x="367" y="408"/>
                  <a:pt x="367" y="405"/>
                </a:cubicBezTo>
                <a:cubicBezTo>
                  <a:pt x="368" y="414"/>
                  <a:pt x="373" y="421"/>
                  <a:pt x="375" y="430"/>
                </a:cubicBezTo>
                <a:cubicBezTo>
                  <a:pt x="367" y="422"/>
                  <a:pt x="369" y="415"/>
                  <a:pt x="363" y="407"/>
                </a:cubicBezTo>
                <a:cubicBezTo>
                  <a:pt x="358" y="400"/>
                  <a:pt x="360" y="406"/>
                  <a:pt x="362" y="411"/>
                </a:cubicBezTo>
                <a:cubicBezTo>
                  <a:pt x="362" y="410"/>
                  <a:pt x="363" y="409"/>
                  <a:pt x="363" y="408"/>
                </a:cubicBezTo>
                <a:cubicBezTo>
                  <a:pt x="364" y="415"/>
                  <a:pt x="365" y="420"/>
                  <a:pt x="368" y="425"/>
                </a:cubicBezTo>
                <a:cubicBezTo>
                  <a:pt x="365" y="424"/>
                  <a:pt x="363" y="422"/>
                  <a:pt x="363" y="419"/>
                </a:cubicBezTo>
                <a:cubicBezTo>
                  <a:pt x="362" y="425"/>
                  <a:pt x="370" y="435"/>
                  <a:pt x="374" y="441"/>
                </a:cubicBezTo>
                <a:cubicBezTo>
                  <a:pt x="365" y="436"/>
                  <a:pt x="362" y="430"/>
                  <a:pt x="356" y="423"/>
                </a:cubicBezTo>
                <a:cubicBezTo>
                  <a:pt x="358" y="432"/>
                  <a:pt x="366" y="438"/>
                  <a:pt x="371" y="445"/>
                </a:cubicBezTo>
                <a:cubicBezTo>
                  <a:pt x="369" y="442"/>
                  <a:pt x="352" y="426"/>
                  <a:pt x="351" y="426"/>
                </a:cubicBezTo>
                <a:cubicBezTo>
                  <a:pt x="350" y="430"/>
                  <a:pt x="365" y="443"/>
                  <a:pt x="368" y="445"/>
                </a:cubicBezTo>
                <a:cubicBezTo>
                  <a:pt x="368" y="447"/>
                  <a:pt x="369" y="449"/>
                  <a:pt x="371" y="451"/>
                </a:cubicBezTo>
                <a:cubicBezTo>
                  <a:pt x="363" y="448"/>
                  <a:pt x="359" y="437"/>
                  <a:pt x="352" y="433"/>
                </a:cubicBezTo>
                <a:cubicBezTo>
                  <a:pt x="353" y="436"/>
                  <a:pt x="355" y="437"/>
                  <a:pt x="356" y="440"/>
                </a:cubicBezTo>
                <a:cubicBezTo>
                  <a:pt x="356" y="441"/>
                  <a:pt x="355" y="442"/>
                  <a:pt x="355" y="444"/>
                </a:cubicBezTo>
                <a:cubicBezTo>
                  <a:pt x="356" y="446"/>
                  <a:pt x="359" y="446"/>
                  <a:pt x="359" y="448"/>
                </a:cubicBezTo>
                <a:cubicBezTo>
                  <a:pt x="359" y="447"/>
                  <a:pt x="359" y="457"/>
                  <a:pt x="359" y="457"/>
                </a:cubicBezTo>
                <a:cubicBezTo>
                  <a:pt x="356" y="462"/>
                  <a:pt x="350" y="460"/>
                  <a:pt x="345" y="458"/>
                </a:cubicBezTo>
                <a:cubicBezTo>
                  <a:pt x="345" y="461"/>
                  <a:pt x="344" y="462"/>
                  <a:pt x="345" y="465"/>
                </a:cubicBezTo>
                <a:cubicBezTo>
                  <a:pt x="333" y="463"/>
                  <a:pt x="324" y="467"/>
                  <a:pt x="316" y="477"/>
                </a:cubicBezTo>
                <a:cubicBezTo>
                  <a:pt x="311" y="484"/>
                  <a:pt x="294" y="508"/>
                  <a:pt x="296" y="514"/>
                </a:cubicBezTo>
                <a:cubicBezTo>
                  <a:pt x="287" y="523"/>
                  <a:pt x="293" y="541"/>
                  <a:pt x="295" y="552"/>
                </a:cubicBezTo>
                <a:cubicBezTo>
                  <a:pt x="297" y="565"/>
                  <a:pt x="299" y="575"/>
                  <a:pt x="305" y="585"/>
                </a:cubicBezTo>
                <a:cubicBezTo>
                  <a:pt x="314" y="600"/>
                  <a:pt x="328" y="608"/>
                  <a:pt x="328" y="627"/>
                </a:cubicBezTo>
                <a:cubicBezTo>
                  <a:pt x="327" y="644"/>
                  <a:pt x="317" y="660"/>
                  <a:pt x="318" y="676"/>
                </a:cubicBezTo>
                <a:cubicBezTo>
                  <a:pt x="321" y="671"/>
                  <a:pt x="333" y="662"/>
                  <a:pt x="340" y="660"/>
                </a:cubicBezTo>
                <a:cubicBezTo>
                  <a:pt x="339" y="664"/>
                  <a:pt x="338" y="673"/>
                  <a:pt x="336" y="676"/>
                </a:cubicBezTo>
                <a:cubicBezTo>
                  <a:pt x="332" y="682"/>
                  <a:pt x="335" y="677"/>
                  <a:pt x="332" y="675"/>
                </a:cubicBezTo>
                <a:cubicBezTo>
                  <a:pt x="330" y="674"/>
                  <a:pt x="332" y="669"/>
                  <a:pt x="326" y="673"/>
                </a:cubicBezTo>
                <a:cubicBezTo>
                  <a:pt x="321" y="676"/>
                  <a:pt x="323" y="685"/>
                  <a:pt x="321" y="690"/>
                </a:cubicBezTo>
                <a:cubicBezTo>
                  <a:pt x="320" y="693"/>
                  <a:pt x="317" y="695"/>
                  <a:pt x="317" y="700"/>
                </a:cubicBezTo>
                <a:cubicBezTo>
                  <a:pt x="316" y="705"/>
                  <a:pt x="319" y="710"/>
                  <a:pt x="318" y="715"/>
                </a:cubicBezTo>
                <a:cubicBezTo>
                  <a:pt x="318" y="716"/>
                  <a:pt x="319" y="718"/>
                  <a:pt x="319" y="719"/>
                </a:cubicBezTo>
                <a:cubicBezTo>
                  <a:pt x="319" y="720"/>
                  <a:pt x="317" y="721"/>
                  <a:pt x="317" y="722"/>
                </a:cubicBezTo>
                <a:cubicBezTo>
                  <a:pt x="317" y="725"/>
                  <a:pt x="318" y="727"/>
                  <a:pt x="318" y="730"/>
                </a:cubicBezTo>
                <a:cubicBezTo>
                  <a:pt x="319" y="729"/>
                  <a:pt x="320" y="729"/>
                  <a:pt x="321" y="729"/>
                </a:cubicBezTo>
                <a:cubicBezTo>
                  <a:pt x="324" y="741"/>
                  <a:pt x="310" y="756"/>
                  <a:pt x="302" y="764"/>
                </a:cubicBezTo>
                <a:cubicBezTo>
                  <a:pt x="301" y="758"/>
                  <a:pt x="306" y="753"/>
                  <a:pt x="306" y="749"/>
                </a:cubicBezTo>
                <a:cubicBezTo>
                  <a:pt x="306" y="741"/>
                  <a:pt x="296" y="736"/>
                  <a:pt x="288" y="732"/>
                </a:cubicBezTo>
                <a:cubicBezTo>
                  <a:pt x="279" y="727"/>
                  <a:pt x="270" y="722"/>
                  <a:pt x="260" y="721"/>
                </a:cubicBezTo>
                <a:cubicBezTo>
                  <a:pt x="255" y="720"/>
                  <a:pt x="249" y="718"/>
                  <a:pt x="244" y="720"/>
                </a:cubicBezTo>
                <a:cubicBezTo>
                  <a:pt x="238" y="722"/>
                  <a:pt x="237" y="728"/>
                  <a:pt x="233" y="731"/>
                </a:cubicBezTo>
                <a:cubicBezTo>
                  <a:pt x="224" y="736"/>
                  <a:pt x="223" y="728"/>
                  <a:pt x="230" y="723"/>
                </a:cubicBezTo>
                <a:cubicBezTo>
                  <a:pt x="232" y="722"/>
                  <a:pt x="239" y="721"/>
                  <a:pt x="238" y="719"/>
                </a:cubicBezTo>
                <a:cubicBezTo>
                  <a:pt x="238" y="718"/>
                  <a:pt x="229" y="717"/>
                  <a:pt x="228" y="717"/>
                </a:cubicBezTo>
                <a:cubicBezTo>
                  <a:pt x="224" y="717"/>
                  <a:pt x="219" y="719"/>
                  <a:pt x="215" y="718"/>
                </a:cubicBezTo>
                <a:cubicBezTo>
                  <a:pt x="211" y="717"/>
                  <a:pt x="207" y="712"/>
                  <a:pt x="202" y="710"/>
                </a:cubicBezTo>
                <a:cubicBezTo>
                  <a:pt x="196" y="708"/>
                  <a:pt x="187" y="706"/>
                  <a:pt x="182" y="705"/>
                </a:cubicBezTo>
                <a:cubicBezTo>
                  <a:pt x="179" y="705"/>
                  <a:pt x="171" y="703"/>
                  <a:pt x="168" y="701"/>
                </a:cubicBezTo>
                <a:cubicBezTo>
                  <a:pt x="164" y="698"/>
                  <a:pt x="164" y="692"/>
                  <a:pt x="164" y="686"/>
                </a:cubicBezTo>
                <a:cubicBezTo>
                  <a:pt x="163" y="675"/>
                  <a:pt x="160" y="664"/>
                  <a:pt x="150" y="658"/>
                </a:cubicBezTo>
                <a:cubicBezTo>
                  <a:pt x="132" y="648"/>
                  <a:pt x="109" y="669"/>
                  <a:pt x="93" y="676"/>
                </a:cubicBezTo>
                <a:cubicBezTo>
                  <a:pt x="82" y="682"/>
                  <a:pt x="69" y="679"/>
                  <a:pt x="56" y="682"/>
                </a:cubicBezTo>
                <a:cubicBezTo>
                  <a:pt x="45" y="684"/>
                  <a:pt x="32" y="689"/>
                  <a:pt x="22" y="694"/>
                </a:cubicBezTo>
                <a:cubicBezTo>
                  <a:pt x="14" y="698"/>
                  <a:pt x="0" y="704"/>
                  <a:pt x="2" y="714"/>
                </a:cubicBezTo>
                <a:cubicBezTo>
                  <a:pt x="3" y="724"/>
                  <a:pt x="13" y="724"/>
                  <a:pt x="21" y="723"/>
                </a:cubicBezTo>
                <a:cubicBezTo>
                  <a:pt x="34" y="723"/>
                  <a:pt x="46" y="721"/>
                  <a:pt x="59" y="724"/>
                </a:cubicBezTo>
                <a:cubicBezTo>
                  <a:pt x="72" y="726"/>
                  <a:pt x="83" y="733"/>
                  <a:pt x="96" y="734"/>
                </a:cubicBezTo>
                <a:cubicBezTo>
                  <a:pt x="101" y="735"/>
                  <a:pt x="106" y="736"/>
                  <a:pt x="109" y="735"/>
                </a:cubicBezTo>
                <a:cubicBezTo>
                  <a:pt x="111" y="735"/>
                  <a:pt x="112" y="732"/>
                  <a:pt x="116" y="731"/>
                </a:cubicBezTo>
                <a:cubicBezTo>
                  <a:pt x="128" y="730"/>
                  <a:pt x="142" y="744"/>
                  <a:pt x="153" y="742"/>
                </a:cubicBezTo>
                <a:cubicBezTo>
                  <a:pt x="155" y="744"/>
                  <a:pt x="165" y="747"/>
                  <a:pt x="168" y="749"/>
                </a:cubicBezTo>
                <a:cubicBezTo>
                  <a:pt x="179" y="753"/>
                  <a:pt x="188" y="756"/>
                  <a:pt x="198" y="762"/>
                </a:cubicBezTo>
                <a:cubicBezTo>
                  <a:pt x="216" y="773"/>
                  <a:pt x="233" y="786"/>
                  <a:pt x="252" y="796"/>
                </a:cubicBezTo>
                <a:cubicBezTo>
                  <a:pt x="261" y="800"/>
                  <a:pt x="271" y="803"/>
                  <a:pt x="281" y="809"/>
                </a:cubicBezTo>
                <a:cubicBezTo>
                  <a:pt x="290" y="814"/>
                  <a:pt x="298" y="821"/>
                  <a:pt x="307" y="826"/>
                </a:cubicBezTo>
                <a:cubicBezTo>
                  <a:pt x="326" y="838"/>
                  <a:pt x="340" y="840"/>
                  <a:pt x="356" y="823"/>
                </a:cubicBezTo>
                <a:cubicBezTo>
                  <a:pt x="372" y="805"/>
                  <a:pt x="382" y="784"/>
                  <a:pt x="394" y="763"/>
                </a:cubicBezTo>
                <a:cubicBezTo>
                  <a:pt x="392" y="764"/>
                  <a:pt x="391" y="764"/>
                  <a:pt x="389" y="765"/>
                </a:cubicBezTo>
                <a:cubicBezTo>
                  <a:pt x="403" y="760"/>
                  <a:pt x="413" y="731"/>
                  <a:pt x="415" y="717"/>
                </a:cubicBezTo>
                <a:cubicBezTo>
                  <a:pt x="416" y="711"/>
                  <a:pt x="424" y="683"/>
                  <a:pt x="415" y="685"/>
                </a:cubicBezTo>
                <a:cubicBezTo>
                  <a:pt x="416" y="680"/>
                  <a:pt x="414" y="675"/>
                  <a:pt x="418" y="677"/>
                </a:cubicBezTo>
                <a:cubicBezTo>
                  <a:pt x="424" y="678"/>
                  <a:pt x="423" y="691"/>
                  <a:pt x="427" y="693"/>
                </a:cubicBezTo>
                <a:cubicBezTo>
                  <a:pt x="432" y="673"/>
                  <a:pt x="440" y="652"/>
                  <a:pt x="444" y="631"/>
                </a:cubicBezTo>
                <a:cubicBezTo>
                  <a:pt x="449" y="612"/>
                  <a:pt x="456" y="597"/>
                  <a:pt x="476" y="594"/>
                </a:cubicBezTo>
                <a:cubicBezTo>
                  <a:pt x="493" y="592"/>
                  <a:pt x="518" y="584"/>
                  <a:pt x="532" y="593"/>
                </a:cubicBezTo>
                <a:cubicBezTo>
                  <a:pt x="551" y="605"/>
                  <a:pt x="567" y="620"/>
                  <a:pt x="588" y="627"/>
                </a:cubicBezTo>
                <a:cubicBezTo>
                  <a:pt x="601" y="632"/>
                  <a:pt x="613" y="633"/>
                  <a:pt x="626" y="634"/>
                </a:cubicBezTo>
                <a:cubicBezTo>
                  <a:pt x="645" y="634"/>
                  <a:pt x="665" y="638"/>
                  <a:pt x="683" y="642"/>
                </a:cubicBezTo>
                <a:cubicBezTo>
                  <a:pt x="702" y="646"/>
                  <a:pt x="724" y="649"/>
                  <a:pt x="732" y="669"/>
                </a:cubicBezTo>
                <a:cubicBezTo>
                  <a:pt x="740" y="689"/>
                  <a:pt x="754" y="706"/>
                  <a:pt x="776" y="694"/>
                </a:cubicBezTo>
                <a:cubicBezTo>
                  <a:pt x="796" y="684"/>
                  <a:pt x="809" y="663"/>
                  <a:pt x="830" y="655"/>
                </a:cubicBezTo>
                <a:cubicBezTo>
                  <a:pt x="848" y="649"/>
                  <a:pt x="864" y="646"/>
                  <a:pt x="880" y="635"/>
                </a:cubicBezTo>
                <a:cubicBezTo>
                  <a:pt x="890" y="628"/>
                  <a:pt x="910" y="614"/>
                  <a:pt x="908" y="601"/>
                </a:cubicBezTo>
                <a:cubicBezTo>
                  <a:pt x="908" y="599"/>
                  <a:pt x="907" y="597"/>
                  <a:pt x="906" y="596"/>
                </a:cubicBezTo>
                <a:cubicBezTo>
                  <a:pt x="929" y="600"/>
                  <a:pt x="954" y="591"/>
                  <a:pt x="967" y="569"/>
                </a:cubicBezTo>
                <a:cubicBezTo>
                  <a:pt x="975" y="556"/>
                  <a:pt x="979" y="536"/>
                  <a:pt x="976" y="522"/>
                </a:cubicBezTo>
                <a:close/>
                <a:moveTo>
                  <a:pt x="875" y="494"/>
                </a:moveTo>
                <a:cubicBezTo>
                  <a:pt x="875" y="495"/>
                  <a:pt x="875" y="495"/>
                  <a:pt x="875" y="496"/>
                </a:cubicBezTo>
                <a:cubicBezTo>
                  <a:pt x="870" y="499"/>
                  <a:pt x="867" y="503"/>
                  <a:pt x="866" y="510"/>
                </a:cubicBezTo>
                <a:cubicBezTo>
                  <a:pt x="866" y="504"/>
                  <a:pt x="870" y="497"/>
                  <a:pt x="875" y="494"/>
                </a:cubicBezTo>
                <a:cubicBezTo>
                  <a:pt x="876" y="494"/>
                  <a:pt x="876" y="494"/>
                  <a:pt x="877" y="493"/>
                </a:cubicBezTo>
                <a:cubicBezTo>
                  <a:pt x="876" y="493"/>
                  <a:pt x="876" y="494"/>
                  <a:pt x="875" y="494"/>
                </a:cubicBezTo>
                <a:close/>
                <a:moveTo>
                  <a:pt x="564" y="377"/>
                </a:moveTo>
                <a:cubicBezTo>
                  <a:pt x="565" y="378"/>
                  <a:pt x="563" y="377"/>
                  <a:pt x="563" y="377"/>
                </a:cubicBezTo>
                <a:cubicBezTo>
                  <a:pt x="563" y="376"/>
                  <a:pt x="562" y="375"/>
                  <a:pt x="562" y="374"/>
                </a:cubicBezTo>
                <a:cubicBezTo>
                  <a:pt x="562" y="375"/>
                  <a:pt x="563" y="376"/>
                  <a:pt x="564" y="377"/>
                </a:cubicBezTo>
                <a:close/>
                <a:moveTo>
                  <a:pt x="555" y="378"/>
                </a:moveTo>
                <a:cubicBezTo>
                  <a:pt x="556" y="378"/>
                  <a:pt x="557" y="378"/>
                  <a:pt x="557" y="377"/>
                </a:cubicBezTo>
                <a:cubicBezTo>
                  <a:pt x="556" y="378"/>
                  <a:pt x="555" y="379"/>
                  <a:pt x="553" y="380"/>
                </a:cubicBezTo>
                <a:cubicBezTo>
                  <a:pt x="554" y="379"/>
                  <a:pt x="555" y="379"/>
                  <a:pt x="555" y="378"/>
                </a:cubicBezTo>
                <a:close/>
                <a:moveTo>
                  <a:pt x="543" y="407"/>
                </a:moveTo>
                <a:cubicBezTo>
                  <a:pt x="539" y="407"/>
                  <a:pt x="536" y="408"/>
                  <a:pt x="533" y="410"/>
                </a:cubicBezTo>
                <a:cubicBezTo>
                  <a:pt x="536" y="408"/>
                  <a:pt x="539" y="407"/>
                  <a:pt x="543" y="407"/>
                </a:cubicBezTo>
                <a:close/>
                <a:moveTo>
                  <a:pt x="527" y="332"/>
                </a:moveTo>
                <a:cubicBezTo>
                  <a:pt x="528" y="331"/>
                  <a:pt x="529" y="331"/>
                  <a:pt x="529" y="330"/>
                </a:cubicBezTo>
                <a:cubicBezTo>
                  <a:pt x="528" y="332"/>
                  <a:pt x="528" y="332"/>
                  <a:pt x="527" y="334"/>
                </a:cubicBezTo>
                <a:cubicBezTo>
                  <a:pt x="527" y="334"/>
                  <a:pt x="527" y="332"/>
                  <a:pt x="527" y="332"/>
                </a:cubicBezTo>
                <a:close/>
                <a:moveTo>
                  <a:pt x="518" y="344"/>
                </a:moveTo>
                <a:cubicBezTo>
                  <a:pt x="517" y="342"/>
                  <a:pt x="517" y="341"/>
                  <a:pt x="517" y="339"/>
                </a:cubicBezTo>
                <a:cubicBezTo>
                  <a:pt x="517" y="341"/>
                  <a:pt x="517" y="342"/>
                  <a:pt x="518" y="344"/>
                </a:cubicBezTo>
                <a:close/>
                <a:moveTo>
                  <a:pt x="462" y="274"/>
                </a:moveTo>
                <a:cubicBezTo>
                  <a:pt x="462" y="277"/>
                  <a:pt x="460" y="279"/>
                  <a:pt x="457" y="281"/>
                </a:cubicBezTo>
                <a:cubicBezTo>
                  <a:pt x="457" y="277"/>
                  <a:pt x="458" y="275"/>
                  <a:pt x="462" y="274"/>
                </a:cubicBezTo>
                <a:close/>
                <a:moveTo>
                  <a:pt x="190" y="93"/>
                </a:moveTo>
                <a:cubicBezTo>
                  <a:pt x="189" y="91"/>
                  <a:pt x="189" y="90"/>
                  <a:pt x="187" y="90"/>
                </a:cubicBezTo>
                <a:cubicBezTo>
                  <a:pt x="186" y="90"/>
                  <a:pt x="185" y="90"/>
                  <a:pt x="184" y="90"/>
                </a:cubicBezTo>
                <a:cubicBezTo>
                  <a:pt x="186" y="90"/>
                  <a:pt x="187" y="90"/>
                  <a:pt x="187" y="90"/>
                </a:cubicBezTo>
                <a:cubicBezTo>
                  <a:pt x="188" y="90"/>
                  <a:pt x="189" y="90"/>
                  <a:pt x="189" y="90"/>
                </a:cubicBezTo>
                <a:cubicBezTo>
                  <a:pt x="190" y="91"/>
                  <a:pt x="190" y="92"/>
                  <a:pt x="190" y="93"/>
                </a:cubicBezTo>
                <a:close/>
                <a:moveTo>
                  <a:pt x="264" y="150"/>
                </a:moveTo>
                <a:cubicBezTo>
                  <a:pt x="263" y="149"/>
                  <a:pt x="262" y="149"/>
                  <a:pt x="261" y="148"/>
                </a:cubicBezTo>
                <a:cubicBezTo>
                  <a:pt x="261" y="148"/>
                  <a:pt x="262" y="148"/>
                  <a:pt x="263" y="149"/>
                </a:cubicBezTo>
                <a:cubicBezTo>
                  <a:pt x="263" y="149"/>
                  <a:pt x="264" y="149"/>
                  <a:pt x="264" y="150"/>
                </a:cubicBezTo>
                <a:cubicBezTo>
                  <a:pt x="270" y="153"/>
                  <a:pt x="276" y="158"/>
                  <a:pt x="281" y="161"/>
                </a:cubicBezTo>
                <a:cubicBezTo>
                  <a:pt x="275" y="157"/>
                  <a:pt x="270" y="154"/>
                  <a:pt x="264" y="150"/>
                </a:cubicBezTo>
                <a:close/>
                <a:moveTo>
                  <a:pt x="334" y="203"/>
                </a:moveTo>
                <a:cubicBezTo>
                  <a:pt x="334" y="203"/>
                  <a:pt x="333" y="202"/>
                  <a:pt x="332" y="201"/>
                </a:cubicBezTo>
                <a:cubicBezTo>
                  <a:pt x="334" y="202"/>
                  <a:pt x="335" y="204"/>
                  <a:pt x="337" y="206"/>
                </a:cubicBezTo>
                <a:cubicBezTo>
                  <a:pt x="336" y="205"/>
                  <a:pt x="335" y="204"/>
                  <a:pt x="334" y="203"/>
                </a:cubicBezTo>
                <a:close/>
                <a:moveTo>
                  <a:pt x="397" y="228"/>
                </a:moveTo>
                <a:cubicBezTo>
                  <a:pt x="398" y="228"/>
                  <a:pt x="398" y="228"/>
                  <a:pt x="399" y="228"/>
                </a:cubicBezTo>
                <a:cubicBezTo>
                  <a:pt x="398" y="228"/>
                  <a:pt x="398" y="229"/>
                  <a:pt x="397" y="228"/>
                </a:cubicBezTo>
                <a:close/>
                <a:moveTo>
                  <a:pt x="399" y="227"/>
                </a:moveTo>
                <a:cubicBezTo>
                  <a:pt x="400" y="226"/>
                  <a:pt x="399" y="224"/>
                  <a:pt x="399" y="223"/>
                </a:cubicBezTo>
                <a:cubicBezTo>
                  <a:pt x="400" y="224"/>
                  <a:pt x="400" y="226"/>
                  <a:pt x="399" y="227"/>
                </a:cubicBezTo>
                <a:close/>
                <a:moveTo>
                  <a:pt x="409" y="315"/>
                </a:moveTo>
                <a:cubicBezTo>
                  <a:pt x="409" y="316"/>
                  <a:pt x="412" y="315"/>
                  <a:pt x="409" y="315"/>
                </a:cubicBezTo>
                <a:close/>
                <a:moveTo>
                  <a:pt x="410" y="242"/>
                </a:moveTo>
                <a:cubicBezTo>
                  <a:pt x="411" y="241"/>
                  <a:pt x="412" y="241"/>
                  <a:pt x="412" y="240"/>
                </a:cubicBezTo>
                <a:cubicBezTo>
                  <a:pt x="413" y="239"/>
                  <a:pt x="412" y="241"/>
                  <a:pt x="410" y="242"/>
                </a:cubicBezTo>
                <a:close/>
                <a:moveTo>
                  <a:pt x="370" y="429"/>
                </a:moveTo>
                <a:cubicBezTo>
                  <a:pt x="368" y="428"/>
                  <a:pt x="368" y="427"/>
                  <a:pt x="368" y="426"/>
                </a:cubicBezTo>
                <a:cubicBezTo>
                  <a:pt x="368" y="427"/>
                  <a:pt x="370" y="427"/>
                  <a:pt x="370" y="429"/>
                </a:cubicBezTo>
                <a:cubicBezTo>
                  <a:pt x="371" y="430"/>
                  <a:pt x="371" y="431"/>
                  <a:pt x="372" y="432"/>
                </a:cubicBezTo>
                <a:cubicBezTo>
                  <a:pt x="371" y="431"/>
                  <a:pt x="370" y="431"/>
                  <a:pt x="370" y="429"/>
                </a:cubicBezTo>
                <a:close/>
                <a:moveTo>
                  <a:pt x="197" y="738"/>
                </a:moveTo>
                <a:cubicBezTo>
                  <a:pt x="198" y="738"/>
                  <a:pt x="199" y="738"/>
                  <a:pt x="200" y="737"/>
                </a:cubicBezTo>
                <a:cubicBezTo>
                  <a:pt x="199" y="738"/>
                  <a:pt x="198" y="738"/>
                  <a:pt x="197" y="738"/>
                </a:cubicBezTo>
                <a:close/>
                <a:moveTo>
                  <a:pt x="201" y="737"/>
                </a:moveTo>
                <a:cubicBezTo>
                  <a:pt x="201" y="737"/>
                  <a:pt x="202" y="736"/>
                  <a:pt x="203" y="735"/>
                </a:cubicBezTo>
                <a:cubicBezTo>
                  <a:pt x="205" y="735"/>
                  <a:pt x="203" y="736"/>
                  <a:pt x="201" y="737"/>
                </a:cubicBezTo>
                <a:close/>
                <a:moveTo>
                  <a:pt x="328" y="721"/>
                </a:moveTo>
                <a:cubicBezTo>
                  <a:pt x="328" y="721"/>
                  <a:pt x="328" y="721"/>
                  <a:pt x="327" y="721"/>
                </a:cubicBezTo>
                <a:cubicBezTo>
                  <a:pt x="327" y="721"/>
                  <a:pt x="327" y="721"/>
                  <a:pt x="327" y="721"/>
                </a:cubicBezTo>
                <a:cubicBezTo>
                  <a:pt x="326" y="722"/>
                  <a:pt x="327" y="722"/>
                  <a:pt x="327" y="721"/>
                </a:cubicBezTo>
                <a:cubicBezTo>
                  <a:pt x="329" y="720"/>
                  <a:pt x="328" y="720"/>
                  <a:pt x="328" y="718"/>
                </a:cubicBezTo>
                <a:cubicBezTo>
                  <a:pt x="328" y="719"/>
                  <a:pt x="328" y="720"/>
                  <a:pt x="328" y="721"/>
                </a:cubicBezTo>
                <a:close/>
                <a:moveTo>
                  <a:pt x="352" y="470"/>
                </a:moveTo>
                <a:cubicBezTo>
                  <a:pt x="352" y="469"/>
                  <a:pt x="352" y="469"/>
                  <a:pt x="352" y="470"/>
                </a:cubicBezTo>
                <a:close/>
                <a:moveTo>
                  <a:pt x="357" y="469"/>
                </a:moveTo>
                <a:cubicBezTo>
                  <a:pt x="356" y="469"/>
                  <a:pt x="357" y="467"/>
                  <a:pt x="357" y="469"/>
                </a:cubicBezTo>
                <a:close/>
                <a:moveTo>
                  <a:pt x="359" y="450"/>
                </a:moveTo>
                <a:cubicBezTo>
                  <a:pt x="361" y="451"/>
                  <a:pt x="362" y="450"/>
                  <a:pt x="363" y="452"/>
                </a:cubicBezTo>
                <a:cubicBezTo>
                  <a:pt x="360" y="453"/>
                  <a:pt x="361" y="451"/>
                  <a:pt x="359" y="450"/>
                </a:cubicBezTo>
                <a:close/>
                <a:moveTo>
                  <a:pt x="363" y="488"/>
                </a:moveTo>
                <a:cubicBezTo>
                  <a:pt x="366" y="486"/>
                  <a:pt x="370" y="486"/>
                  <a:pt x="374" y="486"/>
                </a:cubicBezTo>
                <a:cubicBezTo>
                  <a:pt x="370" y="486"/>
                  <a:pt x="366" y="486"/>
                  <a:pt x="363" y="488"/>
                </a:cubicBezTo>
                <a:close/>
                <a:moveTo>
                  <a:pt x="383" y="408"/>
                </a:moveTo>
                <a:cubicBezTo>
                  <a:pt x="383" y="409"/>
                  <a:pt x="383" y="410"/>
                  <a:pt x="383" y="411"/>
                </a:cubicBezTo>
                <a:cubicBezTo>
                  <a:pt x="383" y="410"/>
                  <a:pt x="382" y="409"/>
                  <a:pt x="383" y="408"/>
                </a:cubicBezTo>
                <a:close/>
                <a:moveTo>
                  <a:pt x="383" y="473"/>
                </a:moveTo>
                <a:cubicBezTo>
                  <a:pt x="382" y="471"/>
                  <a:pt x="383" y="473"/>
                  <a:pt x="383" y="473"/>
                </a:cubicBezTo>
                <a:cubicBezTo>
                  <a:pt x="385" y="474"/>
                  <a:pt x="388" y="475"/>
                  <a:pt x="390" y="475"/>
                </a:cubicBezTo>
                <a:cubicBezTo>
                  <a:pt x="388" y="475"/>
                  <a:pt x="385" y="474"/>
                  <a:pt x="383" y="473"/>
                </a:cubicBezTo>
                <a:close/>
                <a:moveTo>
                  <a:pt x="413" y="472"/>
                </a:moveTo>
                <a:cubicBezTo>
                  <a:pt x="413" y="472"/>
                  <a:pt x="412" y="472"/>
                  <a:pt x="411" y="472"/>
                </a:cubicBezTo>
                <a:cubicBezTo>
                  <a:pt x="409" y="473"/>
                  <a:pt x="408" y="474"/>
                  <a:pt x="406" y="474"/>
                </a:cubicBezTo>
                <a:cubicBezTo>
                  <a:pt x="407" y="474"/>
                  <a:pt x="409" y="473"/>
                  <a:pt x="411" y="472"/>
                </a:cubicBezTo>
                <a:cubicBezTo>
                  <a:pt x="412" y="471"/>
                  <a:pt x="413" y="470"/>
                  <a:pt x="412" y="468"/>
                </a:cubicBezTo>
                <a:cubicBezTo>
                  <a:pt x="413" y="470"/>
                  <a:pt x="411" y="470"/>
                  <a:pt x="413" y="472"/>
                </a:cubicBezTo>
                <a:close/>
                <a:moveTo>
                  <a:pt x="412" y="453"/>
                </a:moveTo>
                <a:cubicBezTo>
                  <a:pt x="411" y="454"/>
                  <a:pt x="410" y="455"/>
                  <a:pt x="409" y="455"/>
                </a:cubicBezTo>
                <a:cubicBezTo>
                  <a:pt x="406" y="456"/>
                  <a:pt x="403" y="457"/>
                  <a:pt x="400" y="459"/>
                </a:cubicBezTo>
                <a:cubicBezTo>
                  <a:pt x="404" y="457"/>
                  <a:pt x="408" y="455"/>
                  <a:pt x="412" y="453"/>
                </a:cubicBezTo>
                <a:close/>
                <a:moveTo>
                  <a:pt x="409" y="465"/>
                </a:moveTo>
                <a:cubicBezTo>
                  <a:pt x="409" y="465"/>
                  <a:pt x="408" y="465"/>
                  <a:pt x="407" y="466"/>
                </a:cubicBezTo>
                <a:cubicBezTo>
                  <a:pt x="403" y="465"/>
                  <a:pt x="399" y="465"/>
                  <a:pt x="396" y="464"/>
                </a:cubicBezTo>
                <a:cubicBezTo>
                  <a:pt x="401" y="465"/>
                  <a:pt x="405" y="465"/>
                  <a:pt x="409" y="465"/>
                </a:cubicBezTo>
                <a:close/>
                <a:moveTo>
                  <a:pt x="403" y="475"/>
                </a:moveTo>
                <a:cubicBezTo>
                  <a:pt x="404" y="478"/>
                  <a:pt x="405" y="479"/>
                  <a:pt x="407" y="480"/>
                </a:cubicBezTo>
                <a:cubicBezTo>
                  <a:pt x="406" y="479"/>
                  <a:pt x="404" y="478"/>
                  <a:pt x="403" y="475"/>
                </a:cubicBezTo>
                <a:close/>
                <a:moveTo>
                  <a:pt x="409" y="670"/>
                </a:moveTo>
                <a:cubicBezTo>
                  <a:pt x="409" y="669"/>
                  <a:pt x="410" y="670"/>
                  <a:pt x="410" y="671"/>
                </a:cubicBezTo>
                <a:cubicBezTo>
                  <a:pt x="412" y="671"/>
                  <a:pt x="413" y="672"/>
                  <a:pt x="415" y="673"/>
                </a:cubicBezTo>
                <a:cubicBezTo>
                  <a:pt x="413" y="672"/>
                  <a:pt x="411" y="671"/>
                  <a:pt x="409" y="670"/>
                </a:cubicBezTo>
                <a:close/>
                <a:moveTo>
                  <a:pt x="442" y="260"/>
                </a:moveTo>
                <a:cubicBezTo>
                  <a:pt x="443" y="258"/>
                  <a:pt x="442" y="261"/>
                  <a:pt x="441" y="261"/>
                </a:cubicBezTo>
                <a:cubicBezTo>
                  <a:pt x="440" y="262"/>
                  <a:pt x="439" y="261"/>
                  <a:pt x="438" y="263"/>
                </a:cubicBezTo>
                <a:cubicBezTo>
                  <a:pt x="439" y="262"/>
                  <a:pt x="441" y="261"/>
                  <a:pt x="442" y="260"/>
                </a:cubicBezTo>
                <a:close/>
                <a:moveTo>
                  <a:pt x="423" y="252"/>
                </a:moveTo>
                <a:cubicBezTo>
                  <a:pt x="423" y="253"/>
                  <a:pt x="423" y="254"/>
                  <a:pt x="422" y="255"/>
                </a:cubicBezTo>
                <a:cubicBezTo>
                  <a:pt x="422" y="255"/>
                  <a:pt x="421" y="255"/>
                  <a:pt x="421" y="256"/>
                </a:cubicBezTo>
                <a:cubicBezTo>
                  <a:pt x="422" y="255"/>
                  <a:pt x="423" y="254"/>
                  <a:pt x="423" y="252"/>
                </a:cubicBezTo>
                <a:close/>
                <a:moveTo>
                  <a:pt x="422" y="454"/>
                </a:moveTo>
                <a:cubicBezTo>
                  <a:pt x="422" y="454"/>
                  <a:pt x="421" y="454"/>
                  <a:pt x="420" y="454"/>
                </a:cubicBezTo>
                <a:cubicBezTo>
                  <a:pt x="422" y="454"/>
                  <a:pt x="423" y="453"/>
                  <a:pt x="424" y="452"/>
                </a:cubicBezTo>
                <a:cubicBezTo>
                  <a:pt x="423" y="453"/>
                  <a:pt x="423" y="454"/>
                  <a:pt x="422" y="454"/>
                </a:cubicBezTo>
                <a:close/>
                <a:moveTo>
                  <a:pt x="426" y="467"/>
                </a:moveTo>
                <a:cubicBezTo>
                  <a:pt x="427" y="465"/>
                  <a:pt x="427" y="465"/>
                  <a:pt x="426" y="467"/>
                </a:cubicBezTo>
                <a:close/>
                <a:moveTo>
                  <a:pt x="433" y="363"/>
                </a:moveTo>
                <a:cubicBezTo>
                  <a:pt x="430" y="356"/>
                  <a:pt x="424" y="346"/>
                  <a:pt x="424" y="338"/>
                </a:cubicBezTo>
                <a:cubicBezTo>
                  <a:pt x="428" y="343"/>
                  <a:pt x="435" y="357"/>
                  <a:pt x="433" y="363"/>
                </a:cubicBezTo>
                <a:close/>
                <a:moveTo>
                  <a:pt x="447" y="475"/>
                </a:moveTo>
                <a:cubicBezTo>
                  <a:pt x="446" y="475"/>
                  <a:pt x="446" y="476"/>
                  <a:pt x="445" y="476"/>
                </a:cubicBezTo>
                <a:cubicBezTo>
                  <a:pt x="442" y="479"/>
                  <a:pt x="438" y="482"/>
                  <a:pt x="435" y="483"/>
                </a:cubicBezTo>
                <a:cubicBezTo>
                  <a:pt x="439" y="482"/>
                  <a:pt x="442" y="479"/>
                  <a:pt x="445" y="476"/>
                </a:cubicBezTo>
                <a:cubicBezTo>
                  <a:pt x="447" y="474"/>
                  <a:pt x="449" y="472"/>
                  <a:pt x="449" y="469"/>
                </a:cubicBezTo>
                <a:cubicBezTo>
                  <a:pt x="449" y="472"/>
                  <a:pt x="448" y="473"/>
                  <a:pt x="447" y="475"/>
                </a:cubicBezTo>
                <a:close/>
                <a:moveTo>
                  <a:pt x="450" y="467"/>
                </a:moveTo>
                <a:cubicBezTo>
                  <a:pt x="451" y="466"/>
                  <a:pt x="451" y="466"/>
                  <a:pt x="452" y="466"/>
                </a:cubicBezTo>
                <a:cubicBezTo>
                  <a:pt x="451" y="466"/>
                  <a:pt x="451" y="467"/>
                  <a:pt x="450" y="467"/>
                </a:cubicBezTo>
                <a:close/>
                <a:moveTo>
                  <a:pt x="455" y="465"/>
                </a:moveTo>
                <a:cubicBezTo>
                  <a:pt x="455" y="465"/>
                  <a:pt x="454" y="465"/>
                  <a:pt x="454" y="465"/>
                </a:cubicBezTo>
                <a:cubicBezTo>
                  <a:pt x="454" y="465"/>
                  <a:pt x="454" y="465"/>
                  <a:pt x="454" y="465"/>
                </a:cubicBezTo>
                <a:cubicBezTo>
                  <a:pt x="454" y="465"/>
                  <a:pt x="456" y="466"/>
                  <a:pt x="455" y="465"/>
                </a:cubicBezTo>
                <a:close/>
                <a:moveTo>
                  <a:pt x="472" y="472"/>
                </a:moveTo>
                <a:cubicBezTo>
                  <a:pt x="474" y="472"/>
                  <a:pt x="474" y="471"/>
                  <a:pt x="474" y="470"/>
                </a:cubicBezTo>
                <a:cubicBezTo>
                  <a:pt x="474" y="468"/>
                  <a:pt x="474" y="466"/>
                  <a:pt x="472" y="464"/>
                </a:cubicBezTo>
                <a:cubicBezTo>
                  <a:pt x="474" y="466"/>
                  <a:pt x="475" y="469"/>
                  <a:pt x="474" y="470"/>
                </a:cubicBezTo>
                <a:cubicBezTo>
                  <a:pt x="474" y="471"/>
                  <a:pt x="475" y="471"/>
                  <a:pt x="475" y="472"/>
                </a:cubicBezTo>
                <a:cubicBezTo>
                  <a:pt x="474" y="472"/>
                  <a:pt x="473" y="472"/>
                  <a:pt x="472" y="472"/>
                </a:cubicBezTo>
                <a:close/>
                <a:moveTo>
                  <a:pt x="480" y="504"/>
                </a:moveTo>
                <a:cubicBezTo>
                  <a:pt x="480" y="503"/>
                  <a:pt x="479" y="504"/>
                  <a:pt x="480" y="503"/>
                </a:cubicBezTo>
                <a:cubicBezTo>
                  <a:pt x="481" y="502"/>
                  <a:pt x="480" y="503"/>
                  <a:pt x="480" y="504"/>
                </a:cubicBezTo>
                <a:close/>
                <a:moveTo>
                  <a:pt x="483" y="501"/>
                </a:moveTo>
                <a:cubicBezTo>
                  <a:pt x="483" y="501"/>
                  <a:pt x="483" y="501"/>
                  <a:pt x="484" y="501"/>
                </a:cubicBezTo>
                <a:cubicBezTo>
                  <a:pt x="483" y="502"/>
                  <a:pt x="483" y="503"/>
                  <a:pt x="483" y="501"/>
                </a:cubicBezTo>
                <a:close/>
                <a:moveTo>
                  <a:pt x="490" y="332"/>
                </a:moveTo>
                <a:cubicBezTo>
                  <a:pt x="491" y="331"/>
                  <a:pt x="491" y="330"/>
                  <a:pt x="490" y="332"/>
                </a:cubicBezTo>
                <a:close/>
                <a:moveTo>
                  <a:pt x="524" y="581"/>
                </a:moveTo>
                <a:cubicBezTo>
                  <a:pt x="525" y="582"/>
                  <a:pt x="525" y="583"/>
                  <a:pt x="524" y="581"/>
                </a:cubicBezTo>
                <a:close/>
                <a:moveTo>
                  <a:pt x="560" y="568"/>
                </a:moveTo>
                <a:cubicBezTo>
                  <a:pt x="561" y="566"/>
                  <a:pt x="561" y="565"/>
                  <a:pt x="562" y="564"/>
                </a:cubicBezTo>
                <a:cubicBezTo>
                  <a:pt x="562" y="563"/>
                  <a:pt x="561" y="567"/>
                  <a:pt x="560" y="568"/>
                </a:cubicBezTo>
                <a:close/>
                <a:moveTo>
                  <a:pt x="563" y="558"/>
                </a:moveTo>
                <a:cubicBezTo>
                  <a:pt x="561" y="557"/>
                  <a:pt x="560" y="556"/>
                  <a:pt x="559" y="555"/>
                </a:cubicBezTo>
                <a:cubicBezTo>
                  <a:pt x="560" y="556"/>
                  <a:pt x="565" y="559"/>
                  <a:pt x="563" y="558"/>
                </a:cubicBezTo>
                <a:close/>
                <a:moveTo>
                  <a:pt x="563" y="540"/>
                </a:moveTo>
                <a:cubicBezTo>
                  <a:pt x="563" y="539"/>
                  <a:pt x="564" y="538"/>
                  <a:pt x="564" y="538"/>
                </a:cubicBezTo>
                <a:cubicBezTo>
                  <a:pt x="564" y="537"/>
                  <a:pt x="564" y="537"/>
                  <a:pt x="564" y="537"/>
                </a:cubicBezTo>
                <a:cubicBezTo>
                  <a:pt x="564" y="537"/>
                  <a:pt x="564" y="538"/>
                  <a:pt x="564" y="538"/>
                </a:cubicBezTo>
                <a:cubicBezTo>
                  <a:pt x="564" y="538"/>
                  <a:pt x="563" y="540"/>
                  <a:pt x="563" y="540"/>
                </a:cubicBezTo>
                <a:close/>
                <a:moveTo>
                  <a:pt x="564" y="558"/>
                </a:moveTo>
                <a:cubicBezTo>
                  <a:pt x="565" y="558"/>
                  <a:pt x="564" y="557"/>
                  <a:pt x="565" y="558"/>
                </a:cubicBezTo>
                <a:cubicBezTo>
                  <a:pt x="566" y="559"/>
                  <a:pt x="565" y="558"/>
                  <a:pt x="564" y="558"/>
                </a:cubicBezTo>
                <a:close/>
                <a:moveTo>
                  <a:pt x="609" y="566"/>
                </a:moveTo>
                <a:cubicBezTo>
                  <a:pt x="609" y="564"/>
                  <a:pt x="610" y="563"/>
                  <a:pt x="608" y="564"/>
                </a:cubicBezTo>
                <a:cubicBezTo>
                  <a:pt x="611" y="563"/>
                  <a:pt x="609" y="564"/>
                  <a:pt x="609" y="566"/>
                </a:cubicBezTo>
                <a:close/>
                <a:moveTo>
                  <a:pt x="740" y="612"/>
                </a:moveTo>
                <a:cubicBezTo>
                  <a:pt x="740" y="610"/>
                  <a:pt x="741" y="610"/>
                  <a:pt x="742" y="609"/>
                </a:cubicBezTo>
                <a:cubicBezTo>
                  <a:pt x="743" y="608"/>
                  <a:pt x="744" y="609"/>
                  <a:pt x="746" y="609"/>
                </a:cubicBezTo>
                <a:cubicBezTo>
                  <a:pt x="742" y="608"/>
                  <a:pt x="742" y="609"/>
                  <a:pt x="740" y="612"/>
                </a:cubicBezTo>
                <a:close/>
                <a:moveTo>
                  <a:pt x="895" y="617"/>
                </a:moveTo>
                <a:cubicBezTo>
                  <a:pt x="894" y="617"/>
                  <a:pt x="894" y="617"/>
                  <a:pt x="894" y="617"/>
                </a:cubicBezTo>
                <a:cubicBezTo>
                  <a:pt x="894" y="617"/>
                  <a:pt x="893" y="617"/>
                  <a:pt x="893" y="617"/>
                </a:cubicBezTo>
                <a:cubicBezTo>
                  <a:pt x="894" y="617"/>
                  <a:pt x="893" y="615"/>
                  <a:pt x="894" y="617"/>
                </a:cubicBezTo>
                <a:cubicBezTo>
                  <a:pt x="895" y="617"/>
                  <a:pt x="895" y="617"/>
                  <a:pt x="895" y="61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 dirty="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55971CA-8DCD-9F49-8B2C-127ACC08DA5A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CE50042-4F10-CA4A-876D-E4F12528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605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4">
            <a:extLst>
              <a:ext uri="{FF2B5EF4-FFF2-40B4-BE49-F238E27FC236}">
                <a16:creationId xmlns:a16="http://schemas.microsoft.com/office/drawing/2014/main" id="{1176C3B8-EFCC-C449-8CF0-2BE598A2F51B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1329491" y="1242170"/>
            <a:ext cx="12313368" cy="12475418"/>
          </a:xfrm>
          <a:custGeom>
            <a:avLst/>
            <a:gdLst>
              <a:gd name="T0" fmla="*/ 718 w 745"/>
              <a:gd name="T1" fmla="*/ 154 h 705"/>
              <a:gd name="T2" fmla="*/ 661 w 745"/>
              <a:gd name="T3" fmla="*/ 190 h 705"/>
              <a:gd name="T4" fmla="*/ 547 w 745"/>
              <a:gd name="T5" fmla="*/ 230 h 705"/>
              <a:gd name="T6" fmla="*/ 654 w 745"/>
              <a:gd name="T7" fmla="*/ 146 h 705"/>
              <a:gd name="T8" fmla="*/ 693 w 745"/>
              <a:gd name="T9" fmla="*/ 90 h 705"/>
              <a:gd name="T10" fmla="*/ 585 w 745"/>
              <a:gd name="T11" fmla="*/ 41 h 705"/>
              <a:gd name="T12" fmla="*/ 439 w 745"/>
              <a:gd name="T13" fmla="*/ 63 h 705"/>
              <a:gd name="T14" fmla="*/ 224 w 745"/>
              <a:gd name="T15" fmla="*/ 56 h 705"/>
              <a:gd name="T16" fmla="*/ 102 w 745"/>
              <a:gd name="T17" fmla="*/ 54 h 705"/>
              <a:gd name="T18" fmla="*/ 69 w 745"/>
              <a:gd name="T19" fmla="*/ 71 h 705"/>
              <a:gd name="T20" fmla="*/ 68 w 745"/>
              <a:gd name="T21" fmla="*/ 106 h 705"/>
              <a:gd name="T22" fmla="*/ 157 w 745"/>
              <a:gd name="T23" fmla="*/ 115 h 705"/>
              <a:gd name="T24" fmla="*/ 249 w 745"/>
              <a:gd name="T25" fmla="*/ 166 h 705"/>
              <a:gd name="T26" fmla="*/ 182 w 745"/>
              <a:gd name="T27" fmla="*/ 416 h 705"/>
              <a:gd name="T28" fmla="*/ 280 w 745"/>
              <a:gd name="T29" fmla="*/ 405 h 705"/>
              <a:gd name="T30" fmla="*/ 423 w 745"/>
              <a:gd name="T31" fmla="*/ 393 h 705"/>
              <a:gd name="T32" fmla="*/ 337 w 745"/>
              <a:gd name="T33" fmla="*/ 421 h 705"/>
              <a:gd name="T34" fmla="*/ 209 w 745"/>
              <a:gd name="T35" fmla="*/ 426 h 705"/>
              <a:gd name="T36" fmla="*/ 146 w 745"/>
              <a:gd name="T37" fmla="*/ 436 h 705"/>
              <a:gd name="T38" fmla="*/ 139 w 745"/>
              <a:gd name="T39" fmla="*/ 488 h 705"/>
              <a:gd name="T40" fmla="*/ 31 w 745"/>
              <a:gd name="T41" fmla="*/ 612 h 705"/>
              <a:gd name="T42" fmla="*/ 57 w 745"/>
              <a:gd name="T43" fmla="*/ 669 h 705"/>
              <a:gd name="T44" fmla="*/ 83 w 745"/>
              <a:gd name="T45" fmla="*/ 695 h 705"/>
              <a:gd name="T46" fmla="*/ 93 w 745"/>
              <a:gd name="T47" fmla="*/ 705 h 705"/>
              <a:gd name="T48" fmla="*/ 160 w 745"/>
              <a:gd name="T49" fmla="*/ 671 h 705"/>
              <a:gd name="T50" fmla="*/ 127 w 745"/>
              <a:gd name="T51" fmla="*/ 636 h 705"/>
              <a:gd name="T52" fmla="*/ 177 w 745"/>
              <a:gd name="T53" fmla="*/ 580 h 705"/>
              <a:gd name="T54" fmla="*/ 256 w 745"/>
              <a:gd name="T55" fmla="*/ 538 h 705"/>
              <a:gd name="T56" fmla="*/ 453 w 745"/>
              <a:gd name="T57" fmla="*/ 462 h 705"/>
              <a:gd name="T58" fmla="*/ 388 w 745"/>
              <a:gd name="T59" fmla="*/ 285 h 705"/>
              <a:gd name="T60" fmla="*/ 422 w 745"/>
              <a:gd name="T61" fmla="*/ 224 h 705"/>
              <a:gd name="T62" fmla="*/ 577 w 745"/>
              <a:gd name="T63" fmla="*/ 337 h 705"/>
              <a:gd name="T64" fmla="*/ 682 w 745"/>
              <a:gd name="T65" fmla="*/ 54 h 705"/>
              <a:gd name="T66" fmla="*/ 671 w 745"/>
              <a:gd name="T67" fmla="*/ 107 h 705"/>
              <a:gd name="T68" fmla="*/ 612 w 745"/>
              <a:gd name="T69" fmla="*/ 68 h 705"/>
              <a:gd name="T70" fmla="*/ 612 w 745"/>
              <a:gd name="T71" fmla="*/ 68 h 705"/>
              <a:gd name="T72" fmla="*/ 610 w 745"/>
              <a:gd name="T73" fmla="*/ 57 h 705"/>
              <a:gd name="T74" fmla="*/ 204 w 745"/>
              <a:gd name="T75" fmla="*/ 332 h 705"/>
              <a:gd name="T76" fmla="*/ 82 w 745"/>
              <a:gd name="T77" fmla="*/ 667 h 705"/>
              <a:gd name="T78" fmla="*/ 95 w 745"/>
              <a:gd name="T79" fmla="*/ 634 h 705"/>
              <a:gd name="T80" fmla="*/ 125 w 745"/>
              <a:gd name="T81" fmla="*/ 661 h 705"/>
              <a:gd name="T82" fmla="*/ 121 w 745"/>
              <a:gd name="T83" fmla="*/ 666 h 705"/>
              <a:gd name="T84" fmla="*/ 135 w 745"/>
              <a:gd name="T85" fmla="*/ 672 h 705"/>
              <a:gd name="T86" fmla="*/ 106 w 745"/>
              <a:gd name="T87" fmla="*/ 674 h 705"/>
              <a:gd name="T88" fmla="*/ 160 w 745"/>
              <a:gd name="T89" fmla="*/ 565 h 705"/>
              <a:gd name="T90" fmla="*/ 259 w 745"/>
              <a:gd name="T91" fmla="*/ 524 h 705"/>
              <a:gd name="T92" fmla="*/ 377 w 745"/>
              <a:gd name="T93" fmla="*/ 471 h 705"/>
              <a:gd name="T94" fmla="*/ 382 w 745"/>
              <a:gd name="T95" fmla="*/ 358 h 705"/>
              <a:gd name="T96" fmla="*/ 261 w 745"/>
              <a:gd name="T97" fmla="*/ 239 h 705"/>
              <a:gd name="T98" fmla="*/ 278 w 745"/>
              <a:gd name="T99" fmla="*/ 265 h 705"/>
              <a:gd name="T100" fmla="*/ 289 w 745"/>
              <a:gd name="T101" fmla="*/ 280 h 705"/>
              <a:gd name="T102" fmla="*/ 315 w 745"/>
              <a:gd name="T103" fmla="*/ 239 h 705"/>
              <a:gd name="T104" fmla="*/ 350 w 745"/>
              <a:gd name="T105" fmla="*/ 321 h 705"/>
              <a:gd name="T106" fmla="*/ 463 w 745"/>
              <a:gd name="T107" fmla="*/ 169 h 705"/>
              <a:gd name="T108" fmla="*/ 402 w 745"/>
              <a:gd name="T109" fmla="*/ 177 h 705"/>
              <a:gd name="T110" fmla="*/ 344 w 745"/>
              <a:gd name="T111" fmla="*/ 175 h 705"/>
              <a:gd name="T112" fmla="*/ 276 w 745"/>
              <a:gd name="T113" fmla="*/ 177 h 705"/>
              <a:gd name="T114" fmla="*/ 301 w 745"/>
              <a:gd name="T115" fmla="*/ 155 h 705"/>
              <a:gd name="T116" fmla="*/ 463 w 745"/>
              <a:gd name="T117" fmla="*/ 169 h 7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45" h="705">
                <a:moveTo>
                  <a:pt x="740" y="177"/>
                </a:moveTo>
                <a:cubicBezTo>
                  <a:pt x="732" y="174"/>
                  <a:pt x="721" y="195"/>
                  <a:pt x="715" y="199"/>
                </a:cubicBezTo>
                <a:cubicBezTo>
                  <a:pt x="712" y="193"/>
                  <a:pt x="722" y="184"/>
                  <a:pt x="724" y="178"/>
                </a:cubicBezTo>
                <a:cubicBezTo>
                  <a:pt x="726" y="174"/>
                  <a:pt x="735" y="158"/>
                  <a:pt x="732" y="154"/>
                </a:cubicBezTo>
                <a:cubicBezTo>
                  <a:pt x="725" y="144"/>
                  <a:pt x="710" y="181"/>
                  <a:pt x="706" y="186"/>
                </a:cubicBezTo>
                <a:cubicBezTo>
                  <a:pt x="706" y="185"/>
                  <a:pt x="705" y="185"/>
                  <a:pt x="705" y="185"/>
                </a:cubicBezTo>
                <a:cubicBezTo>
                  <a:pt x="708" y="174"/>
                  <a:pt x="714" y="164"/>
                  <a:pt x="718" y="154"/>
                </a:cubicBezTo>
                <a:cubicBezTo>
                  <a:pt x="719" y="149"/>
                  <a:pt x="725" y="133"/>
                  <a:pt x="713" y="140"/>
                </a:cubicBezTo>
                <a:cubicBezTo>
                  <a:pt x="712" y="141"/>
                  <a:pt x="711" y="145"/>
                  <a:pt x="709" y="147"/>
                </a:cubicBezTo>
                <a:cubicBezTo>
                  <a:pt x="706" y="149"/>
                  <a:pt x="701" y="151"/>
                  <a:pt x="698" y="154"/>
                </a:cubicBezTo>
                <a:cubicBezTo>
                  <a:pt x="688" y="162"/>
                  <a:pt x="682" y="175"/>
                  <a:pt x="676" y="187"/>
                </a:cubicBezTo>
                <a:cubicBezTo>
                  <a:pt x="676" y="182"/>
                  <a:pt x="667" y="161"/>
                  <a:pt x="659" y="165"/>
                </a:cubicBezTo>
                <a:cubicBezTo>
                  <a:pt x="654" y="168"/>
                  <a:pt x="660" y="172"/>
                  <a:pt x="661" y="174"/>
                </a:cubicBezTo>
                <a:cubicBezTo>
                  <a:pt x="663" y="181"/>
                  <a:pt x="663" y="184"/>
                  <a:pt x="661" y="190"/>
                </a:cubicBezTo>
                <a:cubicBezTo>
                  <a:pt x="658" y="202"/>
                  <a:pt x="658" y="206"/>
                  <a:pt x="660" y="217"/>
                </a:cubicBezTo>
                <a:cubicBezTo>
                  <a:pt x="661" y="224"/>
                  <a:pt x="662" y="228"/>
                  <a:pt x="657" y="233"/>
                </a:cubicBezTo>
                <a:cubicBezTo>
                  <a:pt x="651" y="241"/>
                  <a:pt x="640" y="246"/>
                  <a:pt x="632" y="252"/>
                </a:cubicBezTo>
                <a:cubicBezTo>
                  <a:pt x="622" y="259"/>
                  <a:pt x="613" y="264"/>
                  <a:pt x="601" y="268"/>
                </a:cubicBezTo>
                <a:cubicBezTo>
                  <a:pt x="593" y="270"/>
                  <a:pt x="577" y="279"/>
                  <a:pt x="570" y="276"/>
                </a:cubicBezTo>
                <a:cubicBezTo>
                  <a:pt x="564" y="274"/>
                  <a:pt x="565" y="265"/>
                  <a:pt x="563" y="259"/>
                </a:cubicBezTo>
                <a:cubicBezTo>
                  <a:pt x="558" y="250"/>
                  <a:pt x="551" y="240"/>
                  <a:pt x="547" y="230"/>
                </a:cubicBezTo>
                <a:cubicBezTo>
                  <a:pt x="543" y="219"/>
                  <a:pt x="549" y="207"/>
                  <a:pt x="548" y="196"/>
                </a:cubicBezTo>
                <a:cubicBezTo>
                  <a:pt x="548" y="182"/>
                  <a:pt x="541" y="170"/>
                  <a:pt x="539" y="156"/>
                </a:cubicBezTo>
                <a:cubicBezTo>
                  <a:pt x="538" y="145"/>
                  <a:pt x="546" y="142"/>
                  <a:pt x="556" y="140"/>
                </a:cubicBezTo>
                <a:cubicBezTo>
                  <a:pt x="568" y="137"/>
                  <a:pt x="579" y="142"/>
                  <a:pt x="591" y="139"/>
                </a:cubicBezTo>
                <a:cubicBezTo>
                  <a:pt x="602" y="136"/>
                  <a:pt x="608" y="140"/>
                  <a:pt x="617" y="147"/>
                </a:cubicBezTo>
                <a:cubicBezTo>
                  <a:pt x="628" y="155"/>
                  <a:pt x="630" y="161"/>
                  <a:pt x="642" y="152"/>
                </a:cubicBezTo>
                <a:cubicBezTo>
                  <a:pt x="648" y="147"/>
                  <a:pt x="649" y="151"/>
                  <a:pt x="654" y="146"/>
                </a:cubicBezTo>
                <a:cubicBezTo>
                  <a:pt x="655" y="144"/>
                  <a:pt x="654" y="141"/>
                  <a:pt x="655" y="140"/>
                </a:cubicBezTo>
                <a:cubicBezTo>
                  <a:pt x="656" y="139"/>
                  <a:pt x="658" y="140"/>
                  <a:pt x="658" y="140"/>
                </a:cubicBezTo>
                <a:cubicBezTo>
                  <a:pt x="659" y="139"/>
                  <a:pt x="663" y="139"/>
                  <a:pt x="664" y="138"/>
                </a:cubicBezTo>
                <a:cubicBezTo>
                  <a:pt x="665" y="137"/>
                  <a:pt x="664" y="134"/>
                  <a:pt x="667" y="132"/>
                </a:cubicBezTo>
                <a:cubicBezTo>
                  <a:pt x="669" y="130"/>
                  <a:pt x="674" y="134"/>
                  <a:pt x="677" y="131"/>
                </a:cubicBezTo>
                <a:cubicBezTo>
                  <a:pt x="680" y="128"/>
                  <a:pt x="678" y="117"/>
                  <a:pt x="679" y="113"/>
                </a:cubicBezTo>
                <a:cubicBezTo>
                  <a:pt x="681" y="103"/>
                  <a:pt x="689" y="100"/>
                  <a:pt x="693" y="90"/>
                </a:cubicBezTo>
                <a:cubicBezTo>
                  <a:pt x="695" y="86"/>
                  <a:pt x="697" y="81"/>
                  <a:pt x="698" y="77"/>
                </a:cubicBezTo>
                <a:cubicBezTo>
                  <a:pt x="699" y="72"/>
                  <a:pt x="697" y="68"/>
                  <a:pt x="700" y="64"/>
                </a:cubicBezTo>
                <a:cubicBezTo>
                  <a:pt x="699" y="64"/>
                  <a:pt x="699" y="64"/>
                  <a:pt x="698" y="64"/>
                </a:cubicBezTo>
                <a:cubicBezTo>
                  <a:pt x="707" y="59"/>
                  <a:pt x="685" y="29"/>
                  <a:pt x="680" y="24"/>
                </a:cubicBezTo>
                <a:cubicBezTo>
                  <a:pt x="668" y="12"/>
                  <a:pt x="653" y="4"/>
                  <a:pt x="639" y="2"/>
                </a:cubicBezTo>
                <a:cubicBezTo>
                  <a:pt x="624" y="0"/>
                  <a:pt x="614" y="7"/>
                  <a:pt x="603" y="16"/>
                </a:cubicBezTo>
                <a:cubicBezTo>
                  <a:pt x="594" y="23"/>
                  <a:pt x="589" y="30"/>
                  <a:pt x="585" y="41"/>
                </a:cubicBezTo>
                <a:cubicBezTo>
                  <a:pt x="582" y="48"/>
                  <a:pt x="579" y="53"/>
                  <a:pt x="576" y="59"/>
                </a:cubicBezTo>
                <a:cubicBezTo>
                  <a:pt x="576" y="60"/>
                  <a:pt x="573" y="66"/>
                  <a:pt x="572" y="67"/>
                </a:cubicBezTo>
                <a:cubicBezTo>
                  <a:pt x="571" y="67"/>
                  <a:pt x="565" y="69"/>
                  <a:pt x="563" y="70"/>
                </a:cubicBezTo>
                <a:cubicBezTo>
                  <a:pt x="550" y="75"/>
                  <a:pt x="544" y="78"/>
                  <a:pt x="531" y="72"/>
                </a:cubicBezTo>
                <a:cubicBezTo>
                  <a:pt x="520" y="68"/>
                  <a:pt x="511" y="68"/>
                  <a:pt x="500" y="66"/>
                </a:cubicBezTo>
                <a:cubicBezTo>
                  <a:pt x="491" y="65"/>
                  <a:pt x="482" y="62"/>
                  <a:pt x="472" y="63"/>
                </a:cubicBezTo>
                <a:cubicBezTo>
                  <a:pt x="461" y="63"/>
                  <a:pt x="450" y="62"/>
                  <a:pt x="439" y="63"/>
                </a:cubicBezTo>
                <a:cubicBezTo>
                  <a:pt x="434" y="63"/>
                  <a:pt x="430" y="66"/>
                  <a:pt x="426" y="67"/>
                </a:cubicBezTo>
                <a:cubicBezTo>
                  <a:pt x="421" y="68"/>
                  <a:pt x="415" y="67"/>
                  <a:pt x="410" y="66"/>
                </a:cubicBezTo>
                <a:cubicBezTo>
                  <a:pt x="399" y="64"/>
                  <a:pt x="389" y="63"/>
                  <a:pt x="378" y="64"/>
                </a:cubicBezTo>
                <a:cubicBezTo>
                  <a:pt x="365" y="65"/>
                  <a:pt x="354" y="65"/>
                  <a:pt x="341" y="62"/>
                </a:cubicBezTo>
                <a:cubicBezTo>
                  <a:pt x="328" y="59"/>
                  <a:pt x="319" y="53"/>
                  <a:pt x="306" y="54"/>
                </a:cubicBezTo>
                <a:cubicBezTo>
                  <a:pt x="292" y="54"/>
                  <a:pt x="278" y="54"/>
                  <a:pt x="265" y="55"/>
                </a:cubicBezTo>
                <a:cubicBezTo>
                  <a:pt x="251" y="56"/>
                  <a:pt x="238" y="57"/>
                  <a:pt x="224" y="56"/>
                </a:cubicBezTo>
                <a:cubicBezTo>
                  <a:pt x="214" y="55"/>
                  <a:pt x="208" y="61"/>
                  <a:pt x="197" y="63"/>
                </a:cubicBezTo>
                <a:cubicBezTo>
                  <a:pt x="197" y="64"/>
                  <a:pt x="197" y="64"/>
                  <a:pt x="197" y="64"/>
                </a:cubicBezTo>
                <a:cubicBezTo>
                  <a:pt x="198" y="66"/>
                  <a:pt x="197" y="64"/>
                  <a:pt x="197" y="63"/>
                </a:cubicBezTo>
                <a:cubicBezTo>
                  <a:pt x="184" y="68"/>
                  <a:pt x="171" y="74"/>
                  <a:pt x="159" y="77"/>
                </a:cubicBezTo>
                <a:cubicBezTo>
                  <a:pt x="145" y="81"/>
                  <a:pt x="139" y="74"/>
                  <a:pt x="128" y="68"/>
                </a:cubicBezTo>
                <a:cubicBezTo>
                  <a:pt x="123" y="66"/>
                  <a:pt x="117" y="64"/>
                  <a:pt x="112" y="62"/>
                </a:cubicBezTo>
                <a:cubicBezTo>
                  <a:pt x="105" y="60"/>
                  <a:pt x="106" y="58"/>
                  <a:pt x="102" y="54"/>
                </a:cubicBezTo>
                <a:cubicBezTo>
                  <a:pt x="98" y="50"/>
                  <a:pt x="85" y="34"/>
                  <a:pt x="78" y="40"/>
                </a:cubicBezTo>
                <a:cubicBezTo>
                  <a:pt x="82" y="45"/>
                  <a:pt x="96" y="57"/>
                  <a:pt x="95" y="64"/>
                </a:cubicBezTo>
                <a:cubicBezTo>
                  <a:pt x="94" y="75"/>
                  <a:pt x="80" y="58"/>
                  <a:pt x="74" y="55"/>
                </a:cubicBezTo>
                <a:cubicBezTo>
                  <a:pt x="70" y="53"/>
                  <a:pt x="42" y="41"/>
                  <a:pt x="52" y="55"/>
                </a:cubicBezTo>
                <a:cubicBezTo>
                  <a:pt x="55" y="59"/>
                  <a:pt x="65" y="61"/>
                  <a:pt x="69" y="64"/>
                </a:cubicBezTo>
                <a:cubicBezTo>
                  <a:pt x="74" y="67"/>
                  <a:pt x="81" y="73"/>
                  <a:pt x="83" y="77"/>
                </a:cubicBezTo>
                <a:cubicBezTo>
                  <a:pt x="80" y="79"/>
                  <a:pt x="73" y="73"/>
                  <a:pt x="69" y="71"/>
                </a:cubicBezTo>
                <a:cubicBezTo>
                  <a:pt x="62" y="67"/>
                  <a:pt x="52" y="60"/>
                  <a:pt x="43" y="59"/>
                </a:cubicBezTo>
                <a:cubicBezTo>
                  <a:pt x="39" y="58"/>
                  <a:pt x="34" y="58"/>
                  <a:pt x="37" y="65"/>
                </a:cubicBezTo>
                <a:cubicBezTo>
                  <a:pt x="39" y="71"/>
                  <a:pt x="54" y="76"/>
                  <a:pt x="59" y="79"/>
                </a:cubicBezTo>
                <a:cubicBezTo>
                  <a:pt x="62" y="81"/>
                  <a:pt x="76" y="87"/>
                  <a:pt x="76" y="91"/>
                </a:cubicBezTo>
                <a:cubicBezTo>
                  <a:pt x="77" y="97"/>
                  <a:pt x="62" y="92"/>
                  <a:pt x="59" y="91"/>
                </a:cubicBezTo>
                <a:cubicBezTo>
                  <a:pt x="52" y="89"/>
                  <a:pt x="20" y="82"/>
                  <a:pt x="38" y="96"/>
                </a:cubicBezTo>
                <a:cubicBezTo>
                  <a:pt x="46" y="102"/>
                  <a:pt x="58" y="104"/>
                  <a:pt x="68" y="106"/>
                </a:cubicBezTo>
                <a:cubicBezTo>
                  <a:pt x="78" y="108"/>
                  <a:pt x="87" y="112"/>
                  <a:pt x="97" y="117"/>
                </a:cubicBezTo>
                <a:cubicBezTo>
                  <a:pt x="97" y="115"/>
                  <a:pt x="97" y="115"/>
                  <a:pt x="98" y="114"/>
                </a:cubicBezTo>
                <a:cubicBezTo>
                  <a:pt x="97" y="117"/>
                  <a:pt x="103" y="123"/>
                  <a:pt x="102" y="129"/>
                </a:cubicBezTo>
                <a:cubicBezTo>
                  <a:pt x="99" y="138"/>
                  <a:pt x="95" y="144"/>
                  <a:pt x="102" y="153"/>
                </a:cubicBezTo>
                <a:cubicBezTo>
                  <a:pt x="109" y="161"/>
                  <a:pt x="110" y="157"/>
                  <a:pt x="110" y="150"/>
                </a:cubicBezTo>
                <a:cubicBezTo>
                  <a:pt x="111" y="135"/>
                  <a:pt x="116" y="134"/>
                  <a:pt x="127" y="125"/>
                </a:cubicBezTo>
                <a:cubicBezTo>
                  <a:pt x="138" y="116"/>
                  <a:pt x="143" y="117"/>
                  <a:pt x="157" y="115"/>
                </a:cubicBezTo>
                <a:cubicBezTo>
                  <a:pt x="172" y="113"/>
                  <a:pt x="186" y="112"/>
                  <a:pt x="200" y="111"/>
                </a:cubicBezTo>
                <a:cubicBezTo>
                  <a:pt x="222" y="109"/>
                  <a:pt x="242" y="114"/>
                  <a:pt x="261" y="115"/>
                </a:cubicBezTo>
                <a:cubicBezTo>
                  <a:pt x="273" y="115"/>
                  <a:pt x="282" y="113"/>
                  <a:pt x="293" y="112"/>
                </a:cubicBezTo>
                <a:cubicBezTo>
                  <a:pt x="311" y="110"/>
                  <a:pt x="321" y="110"/>
                  <a:pt x="337" y="120"/>
                </a:cubicBezTo>
                <a:cubicBezTo>
                  <a:pt x="321" y="128"/>
                  <a:pt x="307" y="138"/>
                  <a:pt x="292" y="148"/>
                </a:cubicBezTo>
                <a:cubicBezTo>
                  <a:pt x="285" y="153"/>
                  <a:pt x="277" y="160"/>
                  <a:pt x="268" y="162"/>
                </a:cubicBezTo>
                <a:cubicBezTo>
                  <a:pt x="261" y="163"/>
                  <a:pt x="257" y="162"/>
                  <a:pt x="249" y="166"/>
                </a:cubicBezTo>
                <a:cubicBezTo>
                  <a:pt x="232" y="174"/>
                  <a:pt x="216" y="181"/>
                  <a:pt x="203" y="195"/>
                </a:cubicBezTo>
                <a:cubicBezTo>
                  <a:pt x="190" y="208"/>
                  <a:pt x="185" y="228"/>
                  <a:pt x="184" y="246"/>
                </a:cubicBezTo>
                <a:cubicBezTo>
                  <a:pt x="184" y="262"/>
                  <a:pt x="189" y="276"/>
                  <a:pt x="187" y="292"/>
                </a:cubicBezTo>
                <a:cubicBezTo>
                  <a:pt x="185" y="311"/>
                  <a:pt x="183" y="330"/>
                  <a:pt x="179" y="349"/>
                </a:cubicBezTo>
                <a:cubicBezTo>
                  <a:pt x="177" y="362"/>
                  <a:pt x="178" y="379"/>
                  <a:pt x="178" y="393"/>
                </a:cubicBezTo>
                <a:cubicBezTo>
                  <a:pt x="178" y="398"/>
                  <a:pt x="178" y="403"/>
                  <a:pt x="178" y="407"/>
                </a:cubicBezTo>
                <a:cubicBezTo>
                  <a:pt x="178" y="414"/>
                  <a:pt x="177" y="415"/>
                  <a:pt x="182" y="416"/>
                </a:cubicBezTo>
                <a:cubicBezTo>
                  <a:pt x="187" y="418"/>
                  <a:pt x="200" y="414"/>
                  <a:pt x="205" y="412"/>
                </a:cubicBezTo>
                <a:cubicBezTo>
                  <a:pt x="215" y="407"/>
                  <a:pt x="208" y="404"/>
                  <a:pt x="206" y="395"/>
                </a:cubicBezTo>
                <a:cubicBezTo>
                  <a:pt x="204" y="391"/>
                  <a:pt x="204" y="384"/>
                  <a:pt x="205" y="379"/>
                </a:cubicBezTo>
                <a:cubicBezTo>
                  <a:pt x="205" y="368"/>
                  <a:pt x="208" y="357"/>
                  <a:pt x="213" y="348"/>
                </a:cubicBezTo>
                <a:cubicBezTo>
                  <a:pt x="218" y="340"/>
                  <a:pt x="225" y="336"/>
                  <a:pt x="231" y="330"/>
                </a:cubicBezTo>
                <a:cubicBezTo>
                  <a:pt x="241" y="347"/>
                  <a:pt x="253" y="364"/>
                  <a:pt x="265" y="382"/>
                </a:cubicBezTo>
                <a:cubicBezTo>
                  <a:pt x="269" y="389"/>
                  <a:pt x="274" y="400"/>
                  <a:pt x="280" y="405"/>
                </a:cubicBezTo>
                <a:cubicBezTo>
                  <a:pt x="287" y="409"/>
                  <a:pt x="294" y="406"/>
                  <a:pt x="302" y="405"/>
                </a:cubicBezTo>
                <a:cubicBezTo>
                  <a:pt x="318" y="401"/>
                  <a:pt x="332" y="397"/>
                  <a:pt x="348" y="395"/>
                </a:cubicBezTo>
                <a:cubicBezTo>
                  <a:pt x="363" y="393"/>
                  <a:pt x="387" y="399"/>
                  <a:pt x="386" y="376"/>
                </a:cubicBezTo>
                <a:cubicBezTo>
                  <a:pt x="386" y="366"/>
                  <a:pt x="383" y="365"/>
                  <a:pt x="392" y="368"/>
                </a:cubicBezTo>
                <a:cubicBezTo>
                  <a:pt x="399" y="371"/>
                  <a:pt x="405" y="374"/>
                  <a:pt x="412" y="372"/>
                </a:cubicBezTo>
                <a:cubicBezTo>
                  <a:pt x="417" y="370"/>
                  <a:pt x="428" y="359"/>
                  <a:pt x="434" y="350"/>
                </a:cubicBezTo>
                <a:cubicBezTo>
                  <a:pt x="430" y="365"/>
                  <a:pt x="432" y="386"/>
                  <a:pt x="423" y="393"/>
                </a:cubicBezTo>
                <a:cubicBezTo>
                  <a:pt x="418" y="396"/>
                  <a:pt x="410" y="398"/>
                  <a:pt x="413" y="404"/>
                </a:cubicBezTo>
                <a:cubicBezTo>
                  <a:pt x="415" y="409"/>
                  <a:pt x="426" y="409"/>
                  <a:pt x="426" y="417"/>
                </a:cubicBezTo>
                <a:cubicBezTo>
                  <a:pt x="418" y="418"/>
                  <a:pt x="413" y="411"/>
                  <a:pt x="406" y="408"/>
                </a:cubicBezTo>
                <a:cubicBezTo>
                  <a:pt x="398" y="404"/>
                  <a:pt x="388" y="403"/>
                  <a:pt x="380" y="404"/>
                </a:cubicBezTo>
                <a:cubicBezTo>
                  <a:pt x="372" y="405"/>
                  <a:pt x="371" y="411"/>
                  <a:pt x="363" y="413"/>
                </a:cubicBezTo>
                <a:cubicBezTo>
                  <a:pt x="359" y="415"/>
                  <a:pt x="354" y="415"/>
                  <a:pt x="350" y="416"/>
                </a:cubicBezTo>
                <a:cubicBezTo>
                  <a:pt x="346" y="418"/>
                  <a:pt x="342" y="420"/>
                  <a:pt x="337" y="421"/>
                </a:cubicBezTo>
                <a:cubicBezTo>
                  <a:pt x="328" y="424"/>
                  <a:pt x="319" y="424"/>
                  <a:pt x="308" y="425"/>
                </a:cubicBezTo>
                <a:cubicBezTo>
                  <a:pt x="299" y="426"/>
                  <a:pt x="291" y="428"/>
                  <a:pt x="281" y="427"/>
                </a:cubicBezTo>
                <a:cubicBezTo>
                  <a:pt x="271" y="427"/>
                  <a:pt x="262" y="429"/>
                  <a:pt x="252" y="431"/>
                </a:cubicBezTo>
                <a:cubicBezTo>
                  <a:pt x="245" y="433"/>
                  <a:pt x="231" y="434"/>
                  <a:pt x="226" y="438"/>
                </a:cubicBezTo>
                <a:cubicBezTo>
                  <a:pt x="227" y="438"/>
                  <a:pt x="229" y="438"/>
                  <a:pt x="231" y="438"/>
                </a:cubicBezTo>
                <a:cubicBezTo>
                  <a:pt x="221" y="442"/>
                  <a:pt x="226" y="434"/>
                  <a:pt x="222" y="429"/>
                </a:cubicBezTo>
                <a:cubicBezTo>
                  <a:pt x="220" y="426"/>
                  <a:pt x="213" y="426"/>
                  <a:pt x="209" y="426"/>
                </a:cubicBezTo>
                <a:cubicBezTo>
                  <a:pt x="204" y="426"/>
                  <a:pt x="199" y="427"/>
                  <a:pt x="194" y="428"/>
                </a:cubicBezTo>
                <a:cubicBezTo>
                  <a:pt x="188" y="429"/>
                  <a:pt x="187" y="427"/>
                  <a:pt x="182" y="431"/>
                </a:cubicBezTo>
                <a:cubicBezTo>
                  <a:pt x="183" y="427"/>
                  <a:pt x="178" y="425"/>
                  <a:pt x="177" y="422"/>
                </a:cubicBezTo>
                <a:cubicBezTo>
                  <a:pt x="174" y="430"/>
                  <a:pt x="168" y="424"/>
                  <a:pt x="160" y="429"/>
                </a:cubicBezTo>
                <a:cubicBezTo>
                  <a:pt x="153" y="435"/>
                  <a:pt x="152" y="445"/>
                  <a:pt x="152" y="453"/>
                </a:cubicBezTo>
                <a:cubicBezTo>
                  <a:pt x="151" y="449"/>
                  <a:pt x="151" y="444"/>
                  <a:pt x="149" y="441"/>
                </a:cubicBezTo>
                <a:cubicBezTo>
                  <a:pt x="149" y="440"/>
                  <a:pt x="146" y="439"/>
                  <a:pt x="146" y="436"/>
                </a:cubicBezTo>
                <a:cubicBezTo>
                  <a:pt x="143" y="441"/>
                  <a:pt x="143" y="445"/>
                  <a:pt x="142" y="450"/>
                </a:cubicBezTo>
                <a:cubicBezTo>
                  <a:pt x="141" y="445"/>
                  <a:pt x="141" y="440"/>
                  <a:pt x="142" y="435"/>
                </a:cubicBezTo>
                <a:cubicBezTo>
                  <a:pt x="139" y="441"/>
                  <a:pt x="137" y="449"/>
                  <a:pt x="138" y="455"/>
                </a:cubicBezTo>
                <a:cubicBezTo>
                  <a:pt x="138" y="451"/>
                  <a:pt x="137" y="448"/>
                  <a:pt x="136" y="444"/>
                </a:cubicBezTo>
                <a:cubicBezTo>
                  <a:pt x="134" y="447"/>
                  <a:pt x="133" y="451"/>
                  <a:pt x="134" y="455"/>
                </a:cubicBezTo>
                <a:cubicBezTo>
                  <a:pt x="130" y="455"/>
                  <a:pt x="133" y="448"/>
                  <a:pt x="132" y="444"/>
                </a:cubicBezTo>
                <a:cubicBezTo>
                  <a:pt x="122" y="447"/>
                  <a:pt x="135" y="482"/>
                  <a:pt x="139" y="488"/>
                </a:cubicBezTo>
                <a:cubicBezTo>
                  <a:pt x="141" y="492"/>
                  <a:pt x="146" y="495"/>
                  <a:pt x="147" y="501"/>
                </a:cubicBezTo>
                <a:cubicBezTo>
                  <a:pt x="148" y="508"/>
                  <a:pt x="145" y="517"/>
                  <a:pt x="145" y="525"/>
                </a:cubicBezTo>
                <a:cubicBezTo>
                  <a:pt x="145" y="535"/>
                  <a:pt x="145" y="534"/>
                  <a:pt x="138" y="541"/>
                </a:cubicBezTo>
                <a:cubicBezTo>
                  <a:pt x="130" y="548"/>
                  <a:pt x="121" y="554"/>
                  <a:pt x="113" y="561"/>
                </a:cubicBezTo>
                <a:cubicBezTo>
                  <a:pt x="96" y="574"/>
                  <a:pt x="80" y="587"/>
                  <a:pt x="64" y="600"/>
                </a:cubicBezTo>
                <a:cubicBezTo>
                  <a:pt x="58" y="605"/>
                  <a:pt x="49" y="615"/>
                  <a:pt x="41" y="615"/>
                </a:cubicBezTo>
                <a:cubicBezTo>
                  <a:pt x="37" y="615"/>
                  <a:pt x="37" y="610"/>
                  <a:pt x="31" y="612"/>
                </a:cubicBezTo>
                <a:cubicBezTo>
                  <a:pt x="34" y="615"/>
                  <a:pt x="36" y="619"/>
                  <a:pt x="34" y="623"/>
                </a:cubicBezTo>
                <a:cubicBezTo>
                  <a:pt x="34" y="622"/>
                  <a:pt x="33" y="622"/>
                  <a:pt x="33" y="621"/>
                </a:cubicBezTo>
                <a:cubicBezTo>
                  <a:pt x="31" y="625"/>
                  <a:pt x="26" y="627"/>
                  <a:pt x="30" y="631"/>
                </a:cubicBezTo>
                <a:cubicBezTo>
                  <a:pt x="28" y="634"/>
                  <a:pt x="25" y="634"/>
                  <a:pt x="21" y="631"/>
                </a:cubicBezTo>
                <a:cubicBezTo>
                  <a:pt x="27" y="639"/>
                  <a:pt x="33" y="647"/>
                  <a:pt x="40" y="654"/>
                </a:cubicBezTo>
                <a:cubicBezTo>
                  <a:pt x="44" y="658"/>
                  <a:pt x="55" y="664"/>
                  <a:pt x="55" y="669"/>
                </a:cubicBezTo>
                <a:cubicBezTo>
                  <a:pt x="55" y="669"/>
                  <a:pt x="57" y="669"/>
                  <a:pt x="57" y="669"/>
                </a:cubicBezTo>
                <a:cubicBezTo>
                  <a:pt x="57" y="669"/>
                  <a:pt x="57" y="670"/>
                  <a:pt x="57" y="669"/>
                </a:cubicBezTo>
                <a:cubicBezTo>
                  <a:pt x="56" y="670"/>
                  <a:pt x="54" y="671"/>
                  <a:pt x="52" y="671"/>
                </a:cubicBezTo>
                <a:cubicBezTo>
                  <a:pt x="57" y="675"/>
                  <a:pt x="66" y="676"/>
                  <a:pt x="70" y="681"/>
                </a:cubicBezTo>
                <a:cubicBezTo>
                  <a:pt x="72" y="683"/>
                  <a:pt x="71" y="686"/>
                  <a:pt x="73" y="688"/>
                </a:cubicBezTo>
                <a:cubicBezTo>
                  <a:pt x="74" y="689"/>
                  <a:pt x="79" y="690"/>
                  <a:pt x="80" y="691"/>
                </a:cubicBezTo>
                <a:cubicBezTo>
                  <a:pt x="83" y="692"/>
                  <a:pt x="84" y="695"/>
                  <a:pt x="87" y="695"/>
                </a:cubicBezTo>
                <a:cubicBezTo>
                  <a:pt x="85" y="695"/>
                  <a:pt x="84" y="696"/>
                  <a:pt x="83" y="695"/>
                </a:cubicBezTo>
                <a:cubicBezTo>
                  <a:pt x="84" y="698"/>
                  <a:pt x="84" y="699"/>
                  <a:pt x="85" y="701"/>
                </a:cubicBezTo>
                <a:cubicBezTo>
                  <a:pt x="78" y="697"/>
                  <a:pt x="49" y="683"/>
                  <a:pt x="31" y="662"/>
                </a:cubicBezTo>
                <a:cubicBezTo>
                  <a:pt x="11" y="638"/>
                  <a:pt x="26" y="651"/>
                  <a:pt x="34" y="661"/>
                </a:cubicBezTo>
                <a:cubicBezTo>
                  <a:pt x="42" y="671"/>
                  <a:pt x="37" y="655"/>
                  <a:pt x="25" y="646"/>
                </a:cubicBezTo>
                <a:cubicBezTo>
                  <a:pt x="12" y="636"/>
                  <a:pt x="15" y="633"/>
                  <a:pt x="15" y="633"/>
                </a:cubicBezTo>
                <a:cubicBezTo>
                  <a:pt x="15" y="633"/>
                  <a:pt x="0" y="641"/>
                  <a:pt x="25" y="664"/>
                </a:cubicBezTo>
                <a:cubicBezTo>
                  <a:pt x="50" y="688"/>
                  <a:pt x="72" y="703"/>
                  <a:pt x="93" y="705"/>
                </a:cubicBezTo>
                <a:cubicBezTo>
                  <a:pt x="92" y="705"/>
                  <a:pt x="92" y="705"/>
                  <a:pt x="92" y="705"/>
                </a:cubicBezTo>
                <a:cubicBezTo>
                  <a:pt x="96" y="705"/>
                  <a:pt x="101" y="705"/>
                  <a:pt x="105" y="705"/>
                </a:cubicBezTo>
                <a:cubicBezTo>
                  <a:pt x="121" y="705"/>
                  <a:pt x="137" y="705"/>
                  <a:pt x="153" y="703"/>
                </a:cubicBezTo>
                <a:cubicBezTo>
                  <a:pt x="152" y="703"/>
                  <a:pt x="157" y="703"/>
                  <a:pt x="160" y="702"/>
                </a:cubicBezTo>
                <a:cubicBezTo>
                  <a:pt x="160" y="702"/>
                  <a:pt x="160" y="702"/>
                  <a:pt x="160" y="702"/>
                </a:cubicBezTo>
                <a:cubicBezTo>
                  <a:pt x="160" y="702"/>
                  <a:pt x="177" y="701"/>
                  <a:pt x="180" y="699"/>
                </a:cubicBezTo>
                <a:cubicBezTo>
                  <a:pt x="184" y="697"/>
                  <a:pt x="182" y="675"/>
                  <a:pt x="160" y="671"/>
                </a:cubicBezTo>
                <a:cubicBezTo>
                  <a:pt x="143" y="668"/>
                  <a:pt x="131" y="659"/>
                  <a:pt x="127" y="656"/>
                </a:cubicBezTo>
                <a:cubicBezTo>
                  <a:pt x="127" y="655"/>
                  <a:pt x="126" y="655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6" y="654"/>
                  <a:pt x="126" y="654"/>
                  <a:pt x="126" y="654"/>
                </a:cubicBezTo>
                <a:cubicBezTo>
                  <a:pt x="125" y="654"/>
                  <a:pt x="125" y="654"/>
                  <a:pt x="125" y="653"/>
                </a:cubicBezTo>
                <a:cubicBezTo>
                  <a:pt x="120" y="650"/>
                  <a:pt x="112" y="650"/>
                  <a:pt x="110" y="645"/>
                </a:cubicBezTo>
                <a:cubicBezTo>
                  <a:pt x="103" y="632"/>
                  <a:pt x="119" y="632"/>
                  <a:pt x="127" y="636"/>
                </a:cubicBezTo>
                <a:cubicBezTo>
                  <a:pt x="124" y="632"/>
                  <a:pt x="118" y="631"/>
                  <a:pt x="113" y="631"/>
                </a:cubicBezTo>
                <a:cubicBezTo>
                  <a:pt x="114" y="630"/>
                  <a:pt x="114" y="629"/>
                  <a:pt x="115" y="628"/>
                </a:cubicBezTo>
                <a:cubicBezTo>
                  <a:pt x="114" y="629"/>
                  <a:pt x="112" y="629"/>
                  <a:pt x="110" y="629"/>
                </a:cubicBezTo>
                <a:cubicBezTo>
                  <a:pt x="100" y="630"/>
                  <a:pt x="110" y="619"/>
                  <a:pt x="115" y="616"/>
                </a:cubicBezTo>
                <a:cubicBezTo>
                  <a:pt x="126" y="606"/>
                  <a:pt x="142" y="600"/>
                  <a:pt x="156" y="594"/>
                </a:cubicBezTo>
                <a:cubicBezTo>
                  <a:pt x="161" y="592"/>
                  <a:pt x="167" y="590"/>
                  <a:pt x="171" y="587"/>
                </a:cubicBezTo>
                <a:cubicBezTo>
                  <a:pt x="173" y="586"/>
                  <a:pt x="175" y="582"/>
                  <a:pt x="177" y="580"/>
                </a:cubicBezTo>
                <a:cubicBezTo>
                  <a:pt x="176" y="580"/>
                  <a:pt x="176" y="580"/>
                  <a:pt x="176" y="579"/>
                </a:cubicBezTo>
                <a:cubicBezTo>
                  <a:pt x="182" y="578"/>
                  <a:pt x="173" y="576"/>
                  <a:pt x="175" y="572"/>
                </a:cubicBezTo>
                <a:cubicBezTo>
                  <a:pt x="177" y="568"/>
                  <a:pt x="180" y="570"/>
                  <a:pt x="181" y="574"/>
                </a:cubicBezTo>
                <a:cubicBezTo>
                  <a:pt x="185" y="569"/>
                  <a:pt x="185" y="564"/>
                  <a:pt x="188" y="561"/>
                </a:cubicBezTo>
                <a:cubicBezTo>
                  <a:pt x="187" y="562"/>
                  <a:pt x="193" y="560"/>
                  <a:pt x="193" y="560"/>
                </a:cubicBezTo>
                <a:cubicBezTo>
                  <a:pt x="196" y="558"/>
                  <a:pt x="200" y="555"/>
                  <a:pt x="203" y="554"/>
                </a:cubicBezTo>
                <a:cubicBezTo>
                  <a:pt x="220" y="547"/>
                  <a:pt x="239" y="545"/>
                  <a:pt x="256" y="538"/>
                </a:cubicBezTo>
                <a:cubicBezTo>
                  <a:pt x="268" y="533"/>
                  <a:pt x="292" y="525"/>
                  <a:pt x="300" y="516"/>
                </a:cubicBezTo>
                <a:cubicBezTo>
                  <a:pt x="307" y="508"/>
                  <a:pt x="303" y="495"/>
                  <a:pt x="309" y="489"/>
                </a:cubicBezTo>
                <a:cubicBezTo>
                  <a:pt x="307" y="487"/>
                  <a:pt x="307" y="481"/>
                  <a:pt x="310" y="479"/>
                </a:cubicBezTo>
                <a:cubicBezTo>
                  <a:pt x="315" y="475"/>
                  <a:pt x="330" y="478"/>
                  <a:pt x="336" y="478"/>
                </a:cubicBezTo>
                <a:cubicBezTo>
                  <a:pt x="351" y="478"/>
                  <a:pt x="361" y="477"/>
                  <a:pt x="375" y="476"/>
                </a:cubicBezTo>
                <a:cubicBezTo>
                  <a:pt x="393" y="474"/>
                  <a:pt x="410" y="468"/>
                  <a:pt x="427" y="466"/>
                </a:cubicBezTo>
                <a:cubicBezTo>
                  <a:pt x="434" y="465"/>
                  <a:pt x="446" y="466"/>
                  <a:pt x="453" y="462"/>
                </a:cubicBezTo>
                <a:cubicBezTo>
                  <a:pt x="452" y="462"/>
                  <a:pt x="451" y="461"/>
                  <a:pt x="450" y="461"/>
                </a:cubicBezTo>
                <a:cubicBezTo>
                  <a:pt x="456" y="465"/>
                  <a:pt x="471" y="452"/>
                  <a:pt x="475" y="448"/>
                </a:cubicBezTo>
                <a:cubicBezTo>
                  <a:pt x="483" y="440"/>
                  <a:pt x="486" y="432"/>
                  <a:pt x="487" y="421"/>
                </a:cubicBezTo>
                <a:cubicBezTo>
                  <a:pt x="490" y="398"/>
                  <a:pt x="452" y="357"/>
                  <a:pt x="438" y="340"/>
                </a:cubicBezTo>
                <a:cubicBezTo>
                  <a:pt x="438" y="340"/>
                  <a:pt x="438" y="340"/>
                  <a:pt x="438" y="341"/>
                </a:cubicBezTo>
                <a:cubicBezTo>
                  <a:pt x="437" y="333"/>
                  <a:pt x="427" y="327"/>
                  <a:pt x="421" y="320"/>
                </a:cubicBezTo>
                <a:cubicBezTo>
                  <a:pt x="410" y="308"/>
                  <a:pt x="400" y="293"/>
                  <a:pt x="388" y="285"/>
                </a:cubicBezTo>
                <a:cubicBezTo>
                  <a:pt x="381" y="280"/>
                  <a:pt x="382" y="273"/>
                  <a:pt x="378" y="267"/>
                </a:cubicBezTo>
                <a:cubicBezTo>
                  <a:pt x="372" y="259"/>
                  <a:pt x="365" y="263"/>
                  <a:pt x="359" y="259"/>
                </a:cubicBezTo>
                <a:cubicBezTo>
                  <a:pt x="356" y="256"/>
                  <a:pt x="356" y="252"/>
                  <a:pt x="354" y="249"/>
                </a:cubicBezTo>
                <a:cubicBezTo>
                  <a:pt x="352" y="245"/>
                  <a:pt x="345" y="245"/>
                  <a:pt x="349" y="239"/>
                </a:cubicBezTo>
                <a:cubicBezTo>
                  <a:pt x="351" y="236"/>
                  <a:pt x="373" y="230"/>
                  <a:pt x="374" y="230"/>
                </a:cubicBezTo>
                <a:cubicBezTo>
                  <a:pt x="376" y="228"/>
                  <a:pt x="392" y="229"/>
                  <a:pt x="397" y="228"/>
                </a:cubicBezTo>
                <a:cubicBezTo>
                  <a:pt x="405" y="227"/>
                  <a:pt x="414" y="225"/>
                  <a:pt x="422" y="224"/>
                </a:cubicBezTo>
                <a:cubicBezTo>
                  <a:pt x="429" y="222"/>
                  <a:pt x="434" y="219"/>
                  <a:pt x="441" y="215"/>
                </a:cubicBezTo>
                <a:cubicBezTo>
                  <a:pt x="449" y="210"/>
                  <a:pt x="458" y="213"/>
                  <a:pt x="468" y="212"/>
                </a:cubicBezTo>
                <a:cubicBezTo>
                  <a:pt x="480" y="210"/>
                  <a:pt x="483" y="205"/>
                  <a:pt x="486" y="219"/>
                </a:cubicBezTo>
                <a:cubicBezTo>
                  <a:pt x="490" y="239"/>
                  <a:pt x="494" y="259"/>
                  <a:pt x="503" y="278"/>
                </a:cubicBezTo>
                <a:cubicBezTo>
                  <a:pt x="511" y="295"/>
                  <a:pt x="520" y="313"/>
                  <a:pt x="530" y="329"/>
                </a:cubicBezTo>
                <a:cubicBezTo>
                  <a:pt x="535" y="336"/>
                  <a:pt x="542" y="346"/>
                  <a:pt x="551" y="348"/>
                </a:cubicBezTo>
                <a:cubicBezTo>
                  <a:pt x="562" y="351"/>
                  <a:pt x="569" y="341"/>
                  <a:pt x="577" y="337"/>
                </a:cubicBezTo>
                <a:cubicBezTo>
                  <a:pt x="593" y="328"/>
                  <a:pt x="610" y="322"/>
                  <a:pt x="624" y="311"/>
                </a:cubicBezTo>
                <a:cubicBezTo>
                  <a:pt x="641" y="299"/>
                  <a:pt x="655" y="283"/>
                  <a:pt x="669" y="268"/>
                </a:cubicBezTo>
                <a:cubicBezTo>
                  <a:pt x="683" y="252"/>
                  <a:pt x="703" y="243"/>
                  <a:pt x="713" y="225"/>
                </a:cubicBezTo>
                <a:cubicBezTo>
                  <a:pt x="718" y="214"/>
                  <a:pt x="723" y="208"/>
                  <a:pt x="730" y="200"/>
                </a:cubicBezTo>
                <a:cubicBezTo>
                  <a:pt x="734" y="196"/>
                  <a:pt x="745" y="181"/>
                  <a:pt x="740" y="177"/>
                </a:cubicBezTo>
                <a:close/>
                <a:moveTo>
                  <a:pt x="685" y="56"/>
                </a:moveTo>
                <a:cubicBezTo>
                  <a:pt x="684" y="55"/>
                  <a:pt x="683" y="55"/>
                  <a:pt x="682" y="54"/>
                </a:cubicBezTo>
                <a:cubicBezTo>
                  <a:pt x="682" y="54"/>
                  <a:pt x="684" y="55"/>
                  <a:pt x="685" y="56"/>
                </a:cubicBezTo>
                <a:close/>
                <a:moveTo>
                  <a:pt x="671" y="107"/>
                </a:moveTo>
                <a:cubicBezTo>
                  <a:pt x="671" y="106"/>
                  <a:pt x="671" y="106"/>
                  <a:pt x="671" y="106"/>
                </a:cubicBezTo>
                <a:cubicBezTo>
                  <a:pt x="673" y="105"/>
                  <a:pt x="673" y="104"/>
                  <a:pt x="675" y="104"/>
                </a:cubicBezTo>
                <a:cubicBezTo>
                  <a:pt x="673" y="105"/>
                  <a:pt x="672" y="106"/>
                  <a:pt x="671" y="107"/>
                </a:cubicBezTo>
                <a:cubicBezTo>
                  <a:pt x="671" y="107"/>
                  <a:pt x="671" y="108"/>
                  <a:pt x="670" y="108"/>
                </a:cubicBezTo>
                <a:cubicBezTo>
                  <a:pt x="671" y="107"/>
                  <a:pt x="671" y="107"/>
                  <a:pt x="671" y="107"/>
                </a:cubicBezTo>
                <a:close/>
                <a:moveTo>
                  <a:pt x="621" y="71"/>
                </a:moveTo>
                <a:cubicBezTo>
                  <a:pt x="620" y="72"/>
                  <a:pt x="620" y="72"/>
                  <a:pt x="620" y="73"/>
                </a:cubicBezTo>
                <a:cubicBezTo>
                  <a:pt x="621" y="72"/>
                  <a:pt x="622" y="70"/>
                  <a:pt x="621" y="71"/>
                </a:cubicBezTo>
                <a:close/>
                <a:moveTo>
                  <a:pt x="621" y="65"/>
                </a:moveTo>
                <a:cubicBezTo>
                  <a:pt x="621" y="64"/>
                  <a:pt x="621" y="63"/>
                  <a:pt x="620" y="63"/>
                </a:cubicBezTo>
                <a:cubicBezTo>
                  <a:pt x="621" y="63"/>
                  <a:pt x="621" y="64"/>
                  <a:pt x="621" y="65"/>
                </a:cubicBezTo>
                <a:close/>
                <a:moveTo>
                  <a:pt x="612" y="68"/>
                </a:moveTo>
                <a:cubicBezTo>
                  <a:pt x="613" y="68"/>
                  <a:pt x="613" y="67"/>
                  <a:pt x="614" y="67"/>
                </a:cubicBezTo>
                <a:cubicBezTo>
                  <a:pt x="615" y="66"/>
                  <a:pt x="615" y="66"/>
                  <a:pt x="617" y="66"/>
                </a:cubicBezTo>
                <a:cubicBezTo>
                  <a:pt x="616" y="66"/>
                  <a:pt x="615" y="67"/>
                  <a:pt x="614" y="67"/>
                </a:cubicBezTo>
                <a:cubicBezTo>
                  <a:pt x="614" y="67"/>
                  <a:pt x="614" y="67"/>
                  <a:pt x="613" y="68"/>
                </a:cubicBezTo>
                <a:cubicBezTo>
                  <a:pt x="613" y="68"/>
                  <a:pt x="612" y="68"/>
                  <a:pt x="612" y="68"/>
                </a:cubicBezTo>
                <a:cubicBezTo>
                  <a:pt x="611" y="69"/>
                  <a:pt x="610" y="70"/>
                  <a:pt x="610" y="70"/>
                </a:cubicBezTo>
                <a:cubicBezTo>
                  <a:pt x="610" y="69"/>
                  <a:pt x="611" y="69"/>
                  <a:pt x="612" y="68"/>
                </a:cubicBezTo>
                <a:close/>
                <a:moveTo>
                  <a:pt x="608" y="52"/>
                </a:moveTo>
                <a:cubicBezTo>
                  <a:pt x="607" y="53"/>
                  <a:pt x="607" y="54"/>
                  <a:pt x="607" y="55"/>
                </a:cubicBezTo>
                <a:cubicBezTo>
                  <a:pt x="607" y="54"/>
                  <a:pt x="607" y="53"/>
                  <a:pt x="608" y="52"/>
                </a:cubicBezTo>
                <a:cubicBezTo>
                  <a:pt x="607" y="52"/>
                  <a:pt x="604" y="52"/>
                  <a:pt x="608" y="52"/>
                </a:cubicBezTo>
                <a:close/>
                <a:moveTo>
                  <a:pt x="610" y="57"/>
                </a:moveTo>
                <a:cubicBezTo>
                  <a:pt x="607" y="58"/>
                  <a:pt x="603" y="59"/>
                  <a:pt x="601" y="61"/>
                </a:cubicBezTo>
                <a:cubicBezTo>
                  <a:pt x="603" y="59"/>
                  <a:pt x="607" y="58"/>
                  <a:pt x="610" y="57"/>
                </a:cubicBezTo>
                <a:close/>
                <a:moveTo>
                  <a:pt x="99" y="113"/>
                </a:moveTo>
                <a:cubicBezTo>
                  <a:pt x="100" y="112"/>
                  <a:pt x="101" y="112"/>
                  <a:pt x="103" y="111"/>
                </a:cubicBezTo>
                <a:cubicBezTo>
                  <a:pt x="101" y="112"/>
                  <a:pt x="100" y="112"/>
                  <a:pt x="99" y="113"/>
                </a:cubicBezTo>
                <a:close/>
                <a:moveTo>
                  <a:pt x="143" y="86"/>
                </a:moveTo>
                <a:cubicBezTo>
                  <a:pt x="146" y="87"/>
                  <a:pt x="147" y="90"/>
                  <a:pt x="149" y="93"/>
                </a:cubicBezTo>
                <a:cubicBezTo>
                  <a:pt x="147" y="90"/>
                  <a:pt x="146" y="87"/>
                  <a:pt x="143" y="86"/>
                </a:cubicBezTo>
                <a:close/>
                <a:moveTo>
                  <a:pt x="204" y="332"/>
                </a:moveTo>
                <a:cubicBezTo>
                  <a:pt x="203" y="334"/>
                  <a:pt x="203" y="333"/>
                  <a:pt x="204" y="332"/>
                </a:cubicBezTo>
                <a:close/>
                <a:moveTo>
                  <a:pt x="81" y="649"/>
                </a:moveTo>
                <a:cubicBezTo>
                  <a:pt x="80" y="649"/>
                  <a:pt x="79" y="649"/>
                  <a:pt x="81" y="649"/>
                </a:cubicBezTo>
                <a:close/>
                <a:moveTo>
                  <a:pt x="82" y="667"/>
                </a:moveTo>
                <a:cubicBezTo>
                  <a:pt x="83" y="667"/>
                  <a:pt x="83" y="666"/>
                  <a:pt x="84" y="665"/>
                </a:cubicBezTo>
                <a:cubicBezTo>
                  <a:pt x="85" y="665"/>
                  <a:pt x="86" y="665"/>
                  <a:pt x="87" y="664"/>
                </a:cubicBezTo>
                <a:cubicBezTo>
                  <a:pt x="85" y="665"/>
                  <a:pt x="84" y="666"/>
                  <a:pt x="82" y="667"/>
                </a:cubicBezTo>
                <a:close/>
                <a:moveTo>
                  <a:pt x="102" y="635"/>
                </a:moveTo>
                <a:cubicBezTo>
                  <a:pt x="101" y="636"/>
                  <a:pt x="100" y="637"/>
                  <a:pt x="98" y="636"/>
                </a:cubicBezTo>
                <a:cubicBezTo>
                  <a:pt x="100" y="637"/>
                  <a:pt x="101" y="636"/>
                  <a:pt x="102" y="635"/>
                </a:cubicBezTo>
                <a:close/>
                <a:moveTo>
                  <a:pt x="95" y="634"/>
                </a:moveTo>
                <a:cubicBezTo>
                  <a:pt x="97" y="638"/>
                  <a:pt x="95" y="636"/>
                  <a:pt x="98" y="638"/>
                </a:cubicBezTo>
                <a:cubicBezTo>
                  <a:pt x="97" y="638"/>
                  <a:pt x="96" y="638"/>
                  <a:pt x="95" y="637"/>
                </a:cubicBezTo>
                <a:cubicBezTo>
                  <a:pt x="95" y="637"/>
                  <a:pt x="95" y="635"/>
                  <a:pt x="95" y="634"/>
                </a:cubicBezTo>
                <a:close/>
                <a:moveTo>
                  <a:pt x="95" y="691"/>
                </a:moveTo>
                <a:cubicBezTo>
                  <a:pt x="97" y="691"/>
                  <a:pt x="98" y="691"/>
                  <a:pt x="100" y="691"/>
                </a:cubicBezTo>
                <a:cubicBezTo>
                  <a:pt x="97" y="691"/>
                  <a:pt x="95" y="691"/>
                  <a:pt x="93" y="691"/>
                </a:cubicBezTo>
                <a:cubicBezTo>
                  <a:pt x="94" y="691"/>
                  <a:pt x="94" y="691"/>
                  <a:pt x="95" y="691"/>
                </a:cubicBezTo>
                <a:close/>
                <a:moveTo>
                  <a:pt x="123" y="662"/>
                </a:moveTo>
                <a:cubicBezTo>
                  <a:pt x="123" y="662"/>
                  <a:pt x="124" y="661"/>
                  <a:pt x="124" y="661"/>
                </a:cubicBezTo>
                <a:cubicBezTo>
                  <a:pt x="124" y="661"/>
                  <a:pt x="125" y="661"/>
                  <a:pt x="125" y="661"/>
                </a:cubicBezTo>
                <a:cubicBezTo>
                  <a:pt x="125" y="661"/>
                  <a:pt x="126" y="661"/>
                  <a:pt x="126" y="661"/>
                </a:cubicBezTo>
                <a:cubicBezTo>
                  <a:pt x="125" y="661"/>
                  <a:pt x="124" y="661"/>
                  <a:pt x="124" y="661"/>
                </a:cubicBezTo>
                <a:cubicBezTo>
                  <a:pt x="123" y="662"/>
                  <a:pt x="122" y="663"/>
                  <a:pt x="123" y="665"/>
                </a:cubicBezTo>
                <a:cubicBezTo>
                  <a:pt x="123" y="664"/>
                  <a:pt x="122" y="663"/>
                  <a:pt x="123" y="662"/>
                </a:cubicBezTo>
                <a:close/>
                <a:moveTo>
                  <a:pt x="121" y="666"/>
                </a:moveTo>
                <a:cubicBezTo>
                  <a:pt x="121" y="666"/>
                  <a:pt x="113" y="674"/>
                  <a:pt x="110" y="677"/>
                </a:cubicBezTo>
                <a:cubicBezTo>
                  <a:pt x="114" y="673"/>
                  <a:pt x="117" y="669"/>
                  <a:pt x="121" y="666"/>
                </a:cubicBezTo>
                <a:close/>
                <a:moveTo>
                  <a:pt x="129" y="693"/>
                </a:moveTo>
                <a:cubicBezTo>
                  <a:pt x="127" y="693"/>
                  <a:pt x="122" y="692"/>
                  <a:pt x="122" y="692"/>
                </a:cubicBezTo>
                <a:cubicBezTo>
                  <a:pt x="121" y="691"/>
                  <a:pt x="121" y="688"/>
                  <a:pt x="121" y="688"/>
                </a:cubicBezTo>
                <a:cubicBezTo>
                  <a:pt x="118" y="687"/>
                  <a:pt x="119" y="684"/>
                  <a:pt x="115" y="686"/>
                </a:cubicBezTo>
                <a:cubicBezTo>
                  <a:pt x="115" y="680"/>
                  <a:pt x="120" y="676"/>
                  <a:pt x="123" y="670"/>
                </a:cubicBezTo>
                <a:cubicBezTo>
                  <a:pt x="124" y="678"/>
                  <a:pt x="118" y="683"/>
                  <a:pt x="130" y="676"/>
                </a:cubicBezTo>
                <a:cubicBezTo>
                  <a:pt x="133" y="674"/>
                  <a:pt x="134" y="673"/>
                  <a:pt x="135" y="672"/>
                </a:cubicBezTo>
                <a:cubicBezTo>
                  <a:pt x="138" y="673"/>
                  <a:pt x="141" y="675"/>
                  <a:pt x="144" y="676"/>
                </a:cubicBezTo>
                <a:cubicBezTo>
                  <a:pt x="169" y="683"/>
                  <a:pt x="172" y="676"/>
                  <a:pt x="176" y="686"/>
                </a:cubicBezTo>
                <a:cubicBezTo>
                  <a:pt x="180" y="694"/>
                  <a:pt x="160" y="699"/>
                  <a:pt x="141" y="702"/>
                </a:cubicBezTo>
                <a:cubicBezTo>
                  <a:pt x="127" y="702"/>
                  <a:pt x="113" y="703"/>
                  <a:pt x="98" y="699"/>
                </a:cubicBezTo>
                <a:cubicBezTo>
                  <a:pt x="106" y="700"/>
                  <a:pt x="102" y="694"/>
                  <a:pt x="105" y="692"/>
                </a:cubicBezTo>
                <a:cubicBezTo>
                  <a:pt x="109" y="689"/>
                  <a:pt x="124" y="693"/>
                  <a:pt x="129" y="693"/>
                </a:cubicBezTo>
                <a:close/>
                <a:moveTo>
                  <a:pt x="106" y="674"/>
                </a:moveTo>
                <a:cubicBezTo>
                  <a:pt x="105" y="675"/>
                  <a:pt x="106" y="676"/>
                  <a:pt x="105" y="676"/>
                </a:cubicBezTo>
                <a:cubicBezTo>
                  <a:pt x="104" y="677"/>
                  <a:pt x="103" y="676"/>
                  <a:pt x="102" y="677"/>
                </a:cubicBezTo>
                <a:cubicBezTo>
                  <a:pt x="104" y="675"/>
                  <a:pt x="104" y="676"/>
                  <a:pt x="106" y="674"/>
                </a:cubicBezTo>
                <a:close/>
                <a:moveTo>
                  <a:pt x="160" y="565"/>
                </a:moveTo>
                <a:cubicBezTo>
                  <a:pt x="158" y="560"/>
                  <a:pt x="155" y="555"/>
                  <a:pt x="153" y="551"/>
                </a:cubicBezTo>
                <a:cubicBezTo>
                  <a:pt x="158" y="561"/>
                  <a:pt x="163" y="567"/>
                  <a:pt x="171" y="576"/>
                </a:cubicBezTo>
                <a:cubicBezTo>
                  <a:pt x="167" y="572"/>
                  <a:pt x="164" y="568"/>
                  <a:pt x="160" y="565"/>
                </a:cubicBezTo>
                <a:close/>
                <a:moveTo>
                  <a:pt x="261" y="517"/>
                </a:moveTo>
                <a:cubicBezTo>
                  <a:pt x="260" y="518"/>
                  <a:pt x="259" y="518"/>
                  <a:pt x="259" y="519"/>
                </a:cubicBezTo>
                <a:cubicBezTo>
                  <a:pt x="259" y="518"/>
                  <a:pt x="259" y="518"/>
                  <a:pt x="261" y="517"/>
                </a:cubicBezTo>
                <a:close/>
                <a:moveTo>
                  <a:pt x="259" y="524"/>
                </a:moveTo>
                <a:cubicBezTo>
                  <a:pt x="258" y="523"/>
                  <a:pt x="258" y="523"/>
                  <a:pt x="258" y="522"/>
                </a:cubicBezTo>
                <a:cubicBezTo>
                  <a:pt x="258" y="522"/>
                  <a:pt x="258" y="521"/>
                  <a:pt x="258" y="521"/>
                </a:cubicBezTo>
                <a:cubicBezTo>
                  <a:pt x="258" y="522"/>
                  <a:pt x="258" y="523"/>
                  <a:pt x="259" y="524"/>
                </a:cubicBezTo>
                <a:cubicBezTo>
                  <a:pt x="259" y="526"/>
                  <a:pt x="260" y="527"/>
                  <a:pt x="262" y="528"/>
                </a:cubicBezTo>
                <a:cubicBezTo>
                  <a:pt x="260" y="527"/>
                  <a:pt x="259" y="526"/>
                  <a:pt x="259" y="524"/>
                </a:cubicBezTo>
                <a:close/>
                <a:moveTo>
                  <a:pt x="372" y="473"/>
                </a:moveTo>
                <a:cubicBezTo>
                  <a:pt x="372" y="473"/>
                  <a:pt x="371" y="474"/>
                  <a:pt x="369" y="473"/>
                </a:cubicBezTo>
                <a:cubicBezTo>
                  <a:pt x="370" y="473"/>
                  <a:pt x="371" y="473"/>
                  <a:pt x="372" y="473"/>
                </a:cubicBezTo>
                <a:cubicBezTo>
                  <a:pt x="373" y="472"/>
                  <a:pt x="374" y="472"/>
                  <a:pt x="374" y="471"/>
                </a:cubicBezTo>
                <a:cubicBezTo>
                  <a:pt x="375" y="471"/>
                  <a:pt x="376" y="471"/>
                  <a:pt x="377" y="471"/>
                </a:cubicBezTo>
                <a:cubicBezTo>
                  <a:pt x="375" y="472"/>
                  <a:pt x="374" y="472"/>
                  <a:pt x="372" y="473"/>
                </a:cubicBezTo>
                <a:close/>
                <a:moveTo>
                  <a:pt x="386" y="359"/>
                </a:moveTo>
                <a:cubicBezTo>
                  <a:pt x="385" y="360"/>
                  <a:pt x="384" y="359"/>
                  <a:pt x="383" y="360"/>
                </a:cubicBezTo>
                <a:cubicBezTo>
                  <a:pt x="384" y="359"/>
                  <a:pt x="385" y="359"/>
                  <a:pt x="386" y="359"/>
                </a:cubicBezTo>
                <a:close/>
                <a:moveTo>
                  <a:pt x="380" y="357"/>
                </a:moveTo>
                <a:cubicBezTo>
                  <a:pt x="380" y="357"/>
                  <a:pt x="380" y="357"/>
                  <a:pt x="380" y="357"/>
                </a:cubicBezTo>
                <a:cubicBezTo>
                  <a:pt x="381" y="358"/>
                  <a:pt x="382" y="357"/>
                  <a:pt x="382" y="358"/>
                </a:cubicBezTo>
                <a:cubicBezTo>
                  <a:pt x="381" y="358"/>
                  <a:pt x="381" y="357"/>
                  <a:pt x="380" y="357"/>
                </a:cubicBezTo>
                <a:cubicBezTo>
                  <a:pt x="378" y="356"/>
                  <a:pt x="377" y="356"/>
                  <a:pt x="376" y="355"/>
                </a:cubicBezTo>
                <a:cubicBezTo>
                  <a:pt x="377" y="355"/>
                  <a:pt x="378" y="356"/>
                  <a:pt x="380" y="357"/>
                </a:cubicBezTo>
                <a:close/>
                <a:moveTo>
                  <a:pt x="261" y="239"/>
                </a:moveTo>
                <a:cubicBezTo>
                  <a:pt x="260" y="238"/>
                  <a:pt x="260" y="237"/>
                  <a:pt x="259" y="236"/>
                </a:cubicBezTo>
                <a:cubicBezTo>
                  <a:pt x="260" y="238"/>
                  <a:pt x="261" y="239"/>
                  <a:pt x="262" y="240"/>
                </a:cubicBezTo>
                <a:cubicBezTo>
                  <a:pt x="262" y="240"/>
                  <a:pt x="261" y="239"/>
                  <a:pt x="261" y="239"/>
                </a:cubicBezTo>
                <a:close/>
                <a:moveTo>
                  <a:pt x="276" y="276"/>
                </a:moveTo>
                <a:cubicBezTo>
                  <a:pt x="275" y="276"/>
                  <a:pt x="276" y="276"/>
                  <a:pt x="276" y="276"/>
                </a:cubicBezTo>
                <a:close/>
                <a:moveTo>
                  <a:pt x="272" y="239"/>
                </a:moveTo>
                <a:cubicBezTo>
                  <a:pt x="273" y="240"/>
                  <a:pt x="275" y="242"/>
                  <a:pt x="276" y="243"/>
                </a:cubicBezTo>
                <a:cubicBezTo>
                  <a:pt x="276" y="244"/>
                  <a:pt x="276" y="244"/>
                  <a:pt x="277" y="245"/>
                </a:cubicBezTo>
                <a:cubicBezTo>
                  <a:pt x="275" y="243"/>
                  <a:pt x="274" y="240"/>
                  <a:pt x="272" y="239"/>
                </a:cubicBezTo>
                <a:close/>
                <a:moveTo>
                  <a:pt x="278" y="265"/>
                </a:moveTo>
                <a:cubicBezTo>
                  <a:pt x="280" y="266"/>
                  <a:pt x="279" y="267"/>
                  <a:pt x="280" y="268"/>
                </a:cubicBezTo>
                <a:cubicBezTo>
                  <a:pt x="279" y="267"/>
                  <a:pt x="279" y="266"/>
                  <a:pt x="278" y="265"/>
                </a:cubicBezTo>
                <a:close/>
                <a:moveTo>
                  <a:pt x="285" y="279"/>
                </a:moveTo>
                <a:cubicBezTo>
                  <a:pt x="284" y="280"/>
                  <a:pt x="283" y="280"/>
                  <a:pt x="281" y="280"/>
                </a:cubicBezTo>
                <a:cubicBezTo>
                  <a:pt x="283" y="279"/>
                  <a:pt x="284" y="279"/>
                  <a:pt x="285" y="279"/>
                </a:cubicBezTo>
                <a:cubicBezTo>
                  <a:pt x="286" y="279"/>
                  <a:pt x="286" y="279"/>
                  <a:pt x="287" y="278"/>
                </a:cubicBezTo>
                <a:cubicBezTo>
                  <a:pt x="287" y="279"/>
                  <a:pt x="288" y="280"/>
                  <a:pt x="289" y="280"/>
                </a:cubicBezTo>
                <a:cubicBezTo>
                  <a:pt x="288" y="279"/>
                  <a:pt x="287" y="279"/>
                  <a:pt x="285" y="279"/>
                </a:cubicBezTo>
                <a:close/>
                <a:moveTo>
                  <a:pt x="287" y="213"/>
                </a:moveTo>
                <a:cubicBezTo>
                  <a:pt x="287" y="214"/>
                  <a:pt x="287" y="215"/>
                  <a:pt x="288" y="216"/>
                </a:cubicBezTo>
                <a:cubicBezTo>
                  <a:pt x="289" y="217"/>
                  <a:pt x="288" y="219"/>
                  <a:pt x="288" y="220"/>
                </a:cubicBezTo>
                <a:cubicBezTo>
                  <a:pt x="288" y="217"/>
                  <a:pt x="287" y="215"/>
                  <a:pt x="287" y="213"/>
                </a:cubicBezTo>
                <a:close/>
                <a:moveTo>
                  <a:pt x="316" y="242"/>
                </a:moveTo>
                <a:cubicBezTo>
                  <a:pt x="315" y="240"/>
                  <a:pt x="314" y="236"/>
                  <a:pt x="315" y="239"/>
                </a:cubicBezTo>
                <a:cubicBezTo>
                  <a:pt x="315" y="240"/>
                  <a:pt x="315" y="241"/>
                  <a:pt x="316" y="242"/>
                </a:cubicBezTo>
                <a:cubicBezTo>
                  <a:pt x="316" y="242"/>
                  <a:pt x="316" y="242"/>
                  <a:pt x="316" y="242"/>
                </a:cubicBezTo>
                <a:cubicBezTo>
                  <a:pt x="316" y="243"/>
                  <a:pt x="316" y="243"/>
                  <a:pt x="316" y="244"/>
                </a:cubicBezTo>
                <a:cubicBezTo>
                  <a:pt x="316" y="243"/>
                  <a:pt x="316" y="243"/>
                  <a:pt x="316" y="242"/>
                </a:cubicBezTo>
                <a:close/>
                <a:moveTo>
                  <a:pt x="328" y="291"/>
                </a:moveTo>
                <a:cubicBezTo>
                  <a:pt x="327" y="294"/>
                  <a:pt x="328" y="290"/>
                  <a:pt x="328" y="291"/>
                </a:cubicBezTo>
                <a:close/>
                <a:moveTo>
                  <a:pt x="350" y="321"/>
                </a:moveTo>
                <a:cubicBezTo>
                  <a:pt x="352" y="322"/>
                  <a:pt x="348" y="321"/>
                  <a:pt x="347" y="321"/>
                </a:cubicBezTo>
                <a:cubicBezTo>
                  <a:pt x="348" y="321"/>
                  <a:pt x="349" y="321"/>
                  <a:pt x="350" y="321"/>
                </a:cubicBezTo>
                <a:close/>
                <a:moveTo>
                  <a:pt x="420" y="221"/>
                </a:moveTo>
                <a:cubicBezTo>
                  <a:pt x="420" y="221"/>
                  <a:pt x="419" y="221"/>
                  <a:pt x="419" y="221"/>
                </a:cubicBezTo>
                <a:cubicBezTo>
                  <a:pt x="420" y="221"/>
                  <a:pt x="421" y="220"/>
                  <a:pt x="422" y="219"/>
                </a:cubicBezTo>
                <a:cubicBezTo>
                  <a:pt x="421" y="220"/>
                  <a:pt x="421" y="221"/>
                  <a:pt x="420" y="221"/>
                </a:cubicBezTo>
                <a:close/>
                <a:moveTo>
                  <a:pt x="463" y="169"/>
                </a:moveTo>
                <a:cubicBezTo>
                  <a:pt x="460" y="170"/>
                  <a:pt x="467" y="181"/>
                  <a:pt x="456" y="180"/>
                </a:cubicBezTo>
                <a:cubicBezTo>
                  <a:pt x="452" y="180"/>
                  <a:pt x="451" y="173"/>
                  <a:pt x="445" y="176"/>
                </a:cubicBezTo>
                <a:cubicBezTo>
                  <a:pt x="442" y="178"/>
                  <a:pt x="441" y="187"/>
                  <a:pt x="438" y="187"/>
                </a:cubicBezTo>
                <a:cubicBezTo>
                  <a:pt x="432" y="187"/>
                  <a:pt x="436" y="172"/>
                  <a:pt x="425" y="172"/>
                </a:cubicBezTo>
                <a:cubicBezTo>
                  <a:pt x="423" y="172"/>
                  <a:pt x="418" y="174"/>
                  <a:pt x="416" y="174"/>
                </a:cubicBezTo>
                <a:cubicBezTo>
                  <a:pt x="415" y="175"/>
                  <a:pt x="408" y="181"/>
                  <a:pt x="409" y="180"/>
                </a:cubicBezTo>
                <a:cubicBezTo>
                  <a:pt x="406" y="181"/>
                  <a:pt x="405" y="177"/>
                  <a:pt x="402" y="177"/>
                </a:cubicBezTo>
                <a:cubicBezTo>
                  <a:pt x="398" y="178"/>
                  <a:pt x="399" y="183"/>
                  <a:pt x="397" y="184"/>
                </a:cubicBezTo>
                <a:cubicBezTo>
                  <a:pt x="391" y="187"/>
                  <a:pt x="385" y="174"/>
                  <a:pt x="380" y="172"/>
                </a:cubicBezTo>
                <a:cubicBezTo>
                  <a:pt x="377" y="171"/>
                  <a:pt x="374" y="174"/>
                  <a:pt x="370" y="173"/>
                </a:cubicBezTo>
                <a:cubicBezTo>
                  <a:pt x="367" y="172"/>
                  <a:pt x="369" y="167"/>
                  <a:pt x="363" y="169"/>
                </a:cubicBezTo>
                <a:cubicBezTo>
                  <a:pt x="360" y="171"/>
                  <a:pt x="363" y="177"/>
                  <a:pt x="357" y="176"/>
                </a:cubicBezTo>
                <a:cubicBezTo>
                  <a:pt x="354" y="176"/>
                  <a:pt x="354" y="170"/>
                  <a:pt x="349" y="171"/>
                </a:cubicBezTo>
                <a:cubicBezTo>
                  <a:pt x="348" y="171"/>
                  <a:pt x="346" y="175"/>
                  <a:pt x="344" y="175"/>
                </a:cubicBezTo>
                <a:cubicBezTo>
                  <a:pt x="343" y="176"/>
                  <a:pt x="339" y="174"/>
                  <a:pt x="337" y="174"/>
                </a:cubicBezTo>
                <a:cubicBezTo>
                  <a:pt x="331" y="175"/>
                  <a:pt x="327" y="177"/>
                  <a:pt x="324" y="183"/>
                </a:cubicBezTo>
                <a:cubicBezTo>
                  <a:pt x="318" y="193"/>
                  <a:pt x="325" y="198"/>
                  <a:pt x="330" y="206"/>
                </a:cubicBezTo>
                <a:cubicBezTo>
                  <a:pt x="325" y="199"/>
                  <a:pt x="316" y="208"/>
                  <a:pt x="311" y="212"/>
                </a:cubicBezTo>
                <a:cubicBezTo>
                  <a:pt x="314" y="203"/>
                  <a:pt x="327" y="205"/>
                  <a:pt x="318" y="194"/>
                </a:cubicBezTo>
                <a:cubicBezTo>
                  <a:pt x="314" y="188"/>
                  <a:pt x="302" y="179"/>
                  <a:pt x="296" y="177"/>
                </a:cubicBezTo>
                <a:cubicBezTo>
                  <a:pt x="292" y="176"/>
                  <a:pt x="280" y="176"/>
                  <a:pt x="276" y="177"/>
                </a:cubicBezTo>
                <a:cubicBezTo>
                  <a:pt x="271" y="178"/>
                  <a:pt x="271" y="180"/>
                  <a:pt x="265" y="179"/>
                </a:cubicBezTo>
                <a:cubicBezTo>
                  <a:pt x="262" y="179"/>
                  <a:pt x="258" y="176"/>
                  <a:pt x="255" y="177"/>
                </a:cubicBezTo>
                <a:cubicBezTo>
                  <a:pt x="258" y="181"/>
                  <a:pt x="253" y="178"/>
                  <a:pt x="250" y="180"/>
                </a:cubicBezTo>
                <a:cubicBezTo>
                  <a:pt x="248" y="181"/>
                  <a:pt x="242" y="188"/>
                  <a:pt x="239" y="184"/>
                </a:cubicBezTo>
                <a:cubicBezTo>
                  <a:pt x="237" y="182"/>
                  <a:pt x="258" y="173"/>
                  <a:pt x="245" y="174"/>
                </a:cubicBezTo>
                <a:cubicBezTo>
                  <a:pt x="248" y="169"/>
                  <a:pt x="265" y="169"/>
                  <a:pt x="258" y="165"/>
                </a:cubicBezTo>
                <a:cubicBezTo>
                  <a:pt x="275" y="166"/>
                  <a:pt x="286" y="163"/>
                  <a:pt x="301" y="155"/>
                </a:cubicBezTo>
                <a:cubicBezTo>
                  <a:pt x="306" y="153"/>
                  <a:pt x="311" y="149"/>
                  <a:pt x="316" y="148"/>
                </a:cubicBezTo>
                <a:cubicBezTo>
                  <a:pt x="324" y="145"/>
                  <a:pt x="328" y="145"/>
                  <a:pt x="336" y="139"/>
                </a:cubicBezTo>
                <a:cubicBezTo>
                  <a:pt x="341" y="135"/>
                  <a:pt x="346" y="128"/>
                  <a:pt x="353" y="126"/>
                </a:cubicBezTo>
                <a:cubicBezTo>
                  <a:pt x="359" y="124"/>
                  <a:pt x="368" y="128"/>
                  <a:pt x="374" y="130"/>
                </a:cubicBezTo>
                <a:cubicBezTo>
                  <a:pt x="390" y="134"/>
                  <a:pt x="406" y="136"/>
                  <a:pt x="421" y="140"/>
                </a:cubicBezTo>
                <a:cubicBezTo>
                  <a:pt x="438" y="144"/>
                  <a:pt x="449" y="162"/>
                  <a:pt x="464" y="168"/>
                </a:cubicBezTo>
                <a:cubicBezTo>
                  <a:pt x="464" y="170"/>
                  <a:pt x="464" y="169"/>
                  <a:pt x="463" y="169"/>
                </a:cubicBezTo>
                <a:close/>
                <a:moveTo>
                  <a:pt x="513" y="81"/>
                </a:moveTo>
                <a:cubicBezTo>
                  <a:pt x="516" y="78"/>
                  <a:pt x="517" y="74"/>
                  <a:pt x="514" y="71"/>
                </a:cubicBezTo>
                <a:cubicBezTo>
                  <a:pt x="517" y="74"/>
                  <a:pt x="516" y="78"/>
                  <a:pt x="513" y="81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7EE096E-3AF0-964A-A138-E348A6137430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D96DD735-2888-C344-B11F-89C2735BC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46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2">
            <a:extLst>
              <a:ext uri="{FF2B5EF4-FFF2-40B4-BE49-F238E27FC236}">
                <a16:creationId xmlns:a16="http://schemas.microsoft.com/office/drawing/2014/main" id="{660C24A8-D3DD-B24B-AB13-0A6C854AEAAA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 flipH="1">
            <a:off x="13890" y="1602210"/>
            <a:ext cx="14195920" cy="12115378"/>
          </a:xfrm>
          <a:custGeom>
            <a:avLst/>
            <a:gdLst>
              <a:gd name="T0" fmla="*/ 32250 w 33125"/>
              <a:gd name="T1" fmla="*/ 12469 h 29406"/>
              <a:gd name="T2" fmla="*/ 31875 w 33125"/>
              <a:gd name="T3" fmla="*/ 11469 h 29406"/>
              <a:gd name="T4" fmla="*/ 28281 w 33125"/>
              <a:gd name="T5" fmla="*/ 7375 h 29406"/>
              <a:gd name="T6" fmla="*/ 26844 w 33125"/>
              <a:gd name="T7" fmla="*/ 5875 h 29406"/>
              <a:gd name="T8" fmla="*/ 23000 w 33125"/>
              <a:gd name="T9" fmla="*/ 3688 h 29406"/>
              <a:gd name="T10" fmla="*/ 23406 w 33125"/>
              <a:gd name="T11" fmla="*/ 6406 h 29406"/>
              <a:gd name="T12" fmla="*/ 26875 w 33125"/>
              <a:gd name="T13" fmla="*/ 9156 h 29406"/>
              <a:gd name="T14" fmla="*/ 24687 w 33125"/>
              <a:gd name="T15" fmla="*/ 10438 h 29406"/>
              <a:gd name="T16" fmla="*/ 21375 w 33125"/>
              <a:gd name="T17" fmla="*/ 10719 h 29406"/>
              <a:gd name="T18" fmla="*/ 21281 w 33125"/>
              <a:gd name="T19" fmla="*/ 10250 h 29406"/>
              <a:gd name="T20" fmla="*/ 20281 w 33125"/>
              <a:gd name="T21" fmla="*/ 9625 h 29406"/>
              <a:gd name="T22" fmla="*/ 19281 w 33125"/>
              <a:gd name="T23" fmla="*/ 9625 h 29406"/>
              <a:gd name="T24" fmla="*/ 18187 w 33125"/>
              <a:gd name="T25" fmla="*/ 7531 h 29406"/>
              <a:gd name="T26" fmla="*/ 17594 w 33125"/>
              <a:gd name="T27" fmla="*/ 5938 h 29406"/>
              <a:gd name="T28" fmla="*/ 18937 w 33125"/>
              <a:gd name="T29" fmla="*/ 8688 h 29406"/>
              <a:gd name="T30" fmla="*/ 20594 w 33125"/>
              <a:gd name="T31" fmla="*/ 6938 h 29406"/>
              <a:gd name="T32" fmla="*/ 20625 w 33125"/>
              <a:gd name="T33" fmla="*/ 3625 h 29406"/>
              <a:gd name="T34" fmla="*/ 20250 w 33125"/>
              <a:gd name="T35" fmla="*/ 3000 h 29406"/>
              <a:gd name="T36" fmla="*/ 18812 w 33125"/>
              <a:gd name="T37" fmla="*/ 1406 h 29406"/>
              <a:gd name="T38" fmla="*/ 16437 w 33125"/>
              <a:gd name="T39" fmla="*/ 1250 h 29406"/>
              <a:gd name="T40" fmla="*/ 14250 w 33125"/>
              <a:gd name="T41" fmla="*/ 1844 h 29406"/>
              <a:gd name="T42" fmla="*/ 13312 w 33125"/>
              <a:gd name="T43" fmla="*/ 2344 h 29406"/>
              <a:gd name="T44" fmla="*/ 13000 w 33125"/>
              <a:gd name="T45" fmla="*/ 2656 h 29406"/>
              <a:gd name="T46" fmla="*/ 13219 w 33125"/>
              <a:gd name="T47" fmla="*/ 5531 h 29406"/>
              <a:gd name="T48" fmla="*/ 13406 w 33125"/>
              <a:gd name="T49" fmla="*/ 8656 h 29406"/>
              <a:gd name="T50" fmla="*/ 14250 w 33125"/>
              <a:gd name="T51" fmla="*/ 10313 h 29406"/>
              <a:gd name="T52" fmla="*/ 13187 w 33125"/>
              <a:gd name="T53" fmla="*/ 10781 h 29406"/>
              <a:gd name="T54" fmla="*/ 9594 w 33125"/>
              <a:gd name="T55" fmla="*/ 9594 h 29406"/>
              <a:gd name="T56" fmla="*/ 9531 w 33125"/>
              <a:gd name="T57" fmla="*/ 9375 h 29406"/>
              <a:gd name="T58" fmla="*/ 4437 w 33125"/>
              <a:gd name="T59" fmla="*/ 4406 h 29406"/>
              <a:gd name="T60" fmla="*/ 1250 w 33125"/>
              <a:gd name="T61" fmla="*/ 125 h 29406"/>
              <a:gd name="T62" fmla="*/ 125 w 33125"/>
              <a:gd name="T63" fmla="*/ 1906 h 29406"/>
              <a:gd name="T64" fmla="*/ 2812 w 33125"/>
              <a:gd name="T65" fmla="*/ 5500 h 29406"/>
              <a:gd name="T66" fmla="*/ 5281 w 33125"/>
              <a:gd name="T67" fmla="*/ 9688 h 29406"/>
              <a:gd name="T68" fmla="*/ 8312 w 33125"/>
              <a:gd name="T69" fmla="*/ 12188 h 29406"/>
              <a:gd name="T70" fmla="*/ 12687 w 33125"/>
              <a:gd name="T71" fmla="*/ 14750 h 29406"/>
              <a:gd name="T72" fmla="*/ 14562 w 33125"/>
              <a:gd name="T73" fmla="*/ 15625 h 29406"/>
              <a:gd name="T74" fmla="*/ 15906 w 33125"/>
              <a:gd name="T75" fmla="*/ 19563 h 29406"/>
              <a:gd name="T76" fmla="*/ 17219 w 33125"/>
              <a:gd name="T77" fmla="*/ 24781 h 29406"/>
              <a:gd name="T78" fmla="*/ 25844 w 33125"/>
              <a:gd name="T79" fmla="*/ 29063 h 29406"/>
              <a:gd name="T80" fmla="*/ 26781 w 33125"/>
              <a:gd name="T81" fmla="*/ 21594 h 29406"/>
              <a:gd name="T82" fmla="*/ 26812 w 33125"/>
              <a:gd name="T83" fmla="*/ 19344 h 29406"/>
              <a:gd name="T84" fmla="*/ 27000 w 33125"/>
              <a:gd name="T85" fmla="*/ 16094 h 29406"/>
              <a:gd name="T86" fmla="*/ 30125 w 33125"/>
              <a:gd name="T87" fmla="*/ 16250 h 29406"/>
              <a:gd name="T88" fmla="*/ 26812 w 33125"/>
              <a:gd name="T89" fmla="*/ 8875 h 29406"/>
              <a:gd name="T90" fmla="*/ 17656 w 33125"/>
              <a:gd name="T91" fmla="*/ 5781 h 29406"/>
              <a:gd name="T92" fmla="*/ 1031 w 33125"/>
              <a:gd name="T93" fmla="*/ 781 h 29406"/>
              <a:gd name="T94" fmla="*/ 6375 w 33125"/>
              <a:gd name="T95" fmla="*/ 6563 h 29406"/>
              <a:gd name="T96" fmla="*/ 11594 w 33125"/>
              <a:gd name="T97" fmla="*/ 14313 h 29406"/>
              <a:gd name="T98" fmla="*/ 15812 w 33125"/>
              <a:gd name="T99" fmla="*/ 18344 h 29406"/>
              <a:gd name="T100" fmla="*/ 26437 w 33125"/>
              <a:gd name="T101" fmla="*/ 17250 h 29406"/>
              <a:gd name="T102" fmla="*/ 24969 w 33125"/>
              <a:gd name="T103" fmla="*/ 16563 h 29406"/>
              <a:gd name="T104" fmla="*/ 21719 w 33125"/>
              <a:gd name="T105" fmla="*/ 10813 h 29406"/>
              <a:gd name="T106" fmla="*/ 17031 w 33125"/>
              <a:gd name="T107" fmla="*/ 9344 h 29406"/>
              <a:gd name="T108" fmla="*/ 16500 w 33125"/>
              <a:gd name="T109" fmla="*/ 7813 h 29406"/>
              <a:gd name="T110" fmla="*/ 16219 w 33125"/>
              <a:gd name="T111" fmla="*/ 6938 h 29406"/>
              <a:gd name="T112" fmla="*/ 14094 w 33125"/>
              <a:gd name="T113" fmla="*/ 11438 h 29406"/>
              <a:gd name="T114" fmla="*/ 13937 w 33125"/>
              <a:gd name="T115" fmla="*/ 14750 h 29406"/>
              <a:gd name="T116" fmla="*/ 29031 w 33125"/>
              <a:gd name="T117" fmla="*/ 15000 h 29406"/>
              <a:gd name="T118" fmla="*/ 31656 w 33125"/>
              <a:gd name="T119" fmla="*/ 11531 h 29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125" h="29406">
                <a:moveTo>
                  <a:pt x="33000" y="14531"/>
                </a:moveTo>
                <a:cubicBezTo>
                  <a:pt x="32937" y="14406"/>
                  <a:pt x="32844" y="14406"/>
                  <a:pt x="32719" y="14375"/>
                </a:cubicBezTo>
                <a:cubicBezTo>
                  <a:pt x="32687" y="14375"/>
                  <a:pt x="32656" y="14313"/>
                  <a:pt x="32656" y="14281"/>
                </a:cubicBezTo>
                <a:cubicBezTo>
                  <a:pt x="32594" y="14156"/>
                  <a:pt x="32562" y="14000"/>
                  <a:pt x="32562" y="13844"/>
                </a:cubicBezTo>
                <a:cubicBezTo>
                  <a:pt x="32594" y="13750"/>
                  <a:pt x="32625" y="13688"/>
                  <a:pt x="32531" y="13625"/>
                </a:cubicBezTo>
                <a:cubicBezTo>
                  <a:pt x="32594" y="13563"/>
                  <a:pt x="32437" y="13469"/>
                  <a:pt x="32562" y="13438"/>
                </a:cubicBezTo>
                <a:cubicBezTo>
                  <a:pt x="32594" y="13406"/>
                  <a:pt x="32562" y="13344"/>
                  <a:pt x="32562" y="13281"/>
                </a:cubicBezTo>
                <a:cubicBezTo>
                  <a:pt x="32469" y="13094"/>
                  <a:pt x="32312" y="12938"/>
                  <a:pt x="32312" y="12719"/>
                </a:cubicBezTo>
                <a:cubicBezTo>
                  <a:pt x="32312" y="12625"/>
                  <a:pt x="32281" y="12531"/>
                  <a:pt x="32250" y="12469"/>
                </a:cubicBezTo>
                <a:cubicBezTo>
                  <a:pt x="32344" y="12438"/>
                  <a:pt x="32312" y="12563"/>
                  <a:pt x="32406" y="12563"/>
                </a:cubicBezTo>
                <a:cubicBezTo>
                  <a:pt x="32406" y="12500"/>
                  <a:pt x="32406" y="12406"/>
                  <a:pt x="32437" y="12375"/>
                </a:cubicBezTo>
                <a:cubicBezTo>
                  <a:pt x="32531" y="12344"/>
                  <a:pt x="32469" y="12281"/>
                  <a:pt x="32469" y="12250"/>
                </a:cubicBezTo>
                <a:cubicBezTo>
                  <a:pt x="32437" y="12188"/>
                  <a:pt x="32375" y="12156"/>
                  <a:pt x="32312" y="12125"/>
                </a:cubicBezTo>
                <a:cubicBezTo>
                  <a:pt x="32312" y="12188"/>
                  <a:pt x="32219" y="12188"/>
                  <a:pt x="32219" y="12281"/>
                </a:cubicBezTo>
                <a:cubicBezTo>
                  <a:pt x="32219" y="12281"/>
                  <a:pt x="32219" y="12313"/>
                  <a:pt x="32187" y="12313"/>
                </a:cubicBezTo>
                <a:cubicBezTo>
                  <a:pt x="32062" y="12156"/>
                  <a:pt x="32125" y="11969"/>
                  <a:pt x="32031" y="11781"/>
                </a:cubicBezTo>
                <a:cubicBezTo>
                  <a:pt x="31969" y="11719"/>
                  <a:pt x="31906" y="11656"/>
                  <a:pt x="31906" y="11563"/>
                </a:cubicBezTo>
                <a:cubicBezTo>
                  <a:pt x="31906" y="11531"/>
                  <a:pt x="31781" y="11500"/>
                  <a:pt x="31875" y="11469"/>
                </a:cubicBezTo>
                <a:cubicBezTo>
                  <a:pt x="31969" y="11406"/>
                  <a:pt x="32000" y="11500"/>
                  <a:pt x="32000" y="11531"/>
                </a:cubicBezTo>
                <a:cubicBezTo>
                  <a:pt x="32000" y="11656"/>
                  <a:pt x="32094" y="11688"/>
                  <a:pt x="32156" y="11750"/>
                </a:cubicBezTo>
                <a:cubicBezTo>
                  <a:pt x="32187" y="11656"/>
                  <a:pt x="32125" y="11625"/>
                  <a:pt x="32094" y="11563"/>
                </a:cubicBezTo>
                <a:cubicBezTo>
                  <a:pt x="31875" y="11125"/>
                  <a:pt x="31656" y="10688"/>
                  <a:pt x="31375" y="10281"/>
                </a:cubicBezTo>
                <a:cubicBezTo>
                  <a:pt x="31219" y="10031"/>
                  <a:pt x="31031" y="9813"/>
                  <a:pt x="30844" y="9594"/>
                </a:cubicBezTo>
                <a:cubicBezTo>
                  <a:pt x="30719" y="9469"/>
                  <a:pt x="30625" y="9344"/>
                  <a:pt x="30500" y="9219"/>
                </a:cubicBezTo>
                <a:cubicBezTo>
                  <a:pt x="29969" y="8719"/>
                  <a:pt x="29406" y="8188"/>
                  <a:pt x="28812" y="7719"/>
                </a:cubicBezTo>
                <a:cubicBezTo>
                  <a:pt x="28656" y="7625"/>
                  <a:pt x="28531" y="7406"/>
                  <a:pt x="28312" y="7406"/>
                </a:cubicBezTo>
                <a:cubicBezTo>
                  <a:pt x="28281" y="7406"/>
                  <a:pt x="28250" y="7375"/>
                  <a:pt x="28281" y="7375"/>
                </a:cubicBezTo>
                <a:cubicBezTo>
                  <a:pt x="28281" y="7250"/>
                  <a:pt x="28219" y="7250"/>
                  <a:pt x="28156" y="7188"/>
                </a:cubicBezTo>
                <a:cubicBezTo>
                  <a:pt x="28031" y="7063"/>
                  <a:pt x="27875" y="6969"/>
                  <a:pt x="27750" y="6844"/>
                </a:cubicBezTo>
                <a:cubicBezTo>
                  <a:pt x="27687" y="6813"/>
                  <a:pt x="27625" y="6750"/>
                  <a:pt x="27625" y="6656"/>
                </a:cubicBezTo>
                <a:cubicBezTo>
                  <a:pt x="27625" y="6656"/>
                  <a:pt x="27625" y="6656"/>
                  <a:pt x="27625" y="6656"/>
                </a:cubicBezTo>
                <a:cubicBezTo>
                  <a:pt x="27625" y="6625"/>
                  <a:pt x="27625" y="6625"/>
                  <a:pt x="27625" y="6625"/>
                </a:cubicBezTo>
                <a:cubicBezTo>
                  <a:pt x="27625" y="6625"/>
                  <a:pt x="27625" y="6625"/>
                  <a:pt x="27625" y="6594"/>
                </a:cubicBezTo>
                <a:cubicBezTo>
                  <a:pt x="27625" y="6594"/>
                  <a:pt x="27594" y="6594"/>
                  <a:pt x="27594" y="6563"/>
                </a:cubicBezTo>
                <a:cubicBezTo>
                  <a:pt x="27594" y="6563"/>
                  <a:pt x="27562" y="6594"/>
                  <a:pt x="27562" y="6563"/>
                </a:cubicBezTo>
                <a:cubicBezTo>
                  <a:pt x="27281" y="6375"/>
                  <a:pt x="27094" y="6094"/>
                  <a:pt x="26844" y="5875"/>
                </a:cubicBezTo>
                <a:cubicBezTo>
                  <a:pt x="26687" y="5719"/>
                  <a:pt x="26531" y="5531"/>
                  <a:pt x="26344" y="5344"/>
                </a:cubicBezTo>
                <a:cubicBezTo>
                  <a:pt x="26219" y="5219"/>
                  <a:pt x="26031" y="5125"/>
                  <a:pt x="25875" y="5031"/>
                </a:cubicBezTo>
                <a:cubicBezTo>
                  <a:pt x="25750" y="4875"/>
                  <a:pt x="25625" y="4719"/>
                  <a:pt x="25531" y="4563"/>
                </a:cubicBezTo>
                <a:cubicBezTo>
                  <a:pt x="25219" y="4156"/>
                  <a:pt x="24781" y="3906"/>
                  <a:pt x="24437" y="3563"/>
                </a:cubicBezTo>
                <a:cubicBezTo>
                  <a:pt x="24375" y="3500"/>
                  <a:pt x="24312" y="3469"/>
                  <a:pt x="24250" y="3438"/>
                </a:cubicBezTo>
                <a:cubicBezTo>
                  <a:pt x="24156" y="3344"/>
                  <a:pt x="23906" y="3344"/>
                  <a:pt x="23844" y="3406"/>
                </a:cubicBezTo>
                <a:cubicBezTo>
                  <a:pt x="23750" y="3500"/>
                  <a:pt x="23687" y="3469"/>
                  <a:pt x="23625" y="3438"/>
                </a:cubicBezTo>
                <a:cubicBezTo>
                  <a:pt x="23500" y="3344"/>
                  <a:pt x="23344" y="3281"/>
                  <a:pt x="23219" y="3375"/>
                </a:cubicBezTo>
                <a:cubicBezTo>
                  <a:pt x="23094" y="3438"/>
                  <a:pt x="23031" y="3531"/>
                  <a:pt x="23000" y="3688"/>
                </a:cubicBezTo>
                <a:cubicBezTo>
                  <a:pt x="22937" y="3750"/>
                  <a:pt x="22812" y="3719"/>
                  <a:pt x="22781" y="3844"/>
                </a:cubicBezTo>
                <a:cubicBezTo>
                  <a:pt x="22625" y="3875"/>
                  <a:pt x="22625" y="4000"/>
                  <a:pt x="22594" y="4125"/>
                </a:cubicBezTo>
                <a:cubicBezTo>
                  <a:pt x="22531" y="4188"/>
                  <a:pt x="22500" y="4313"/>
                  <a:pt x="22406" y="4375"/>
                </a:cubicBezTo>
                <a:cubicBezTo>
                  <a:pt x="22344" y="4469"/>
                  <a:pt x="22281" y="4500"/>
                  <a:pt x="22281" y="4594"/>
                </a:cubicBezTo>
                <a:cubicBezTo>
                  <a:pt x="22250" y="5094"/>
                  <a:pt x="22125" y="5594"/>
                  <a:pt x="22250" y="6094"/>
                </a:cubicBezTo>
                <a:cubicBezTo>
                  <a:pt x="22281" y="6188"/>
                  <a:pt x="22344" y="6250"/>
                  <a:pt x="22406" y="6281"/>
                </a:cubicBezTo>
                <a:cubicBezTo>
                  <a:pt x="22562" y="6375"/>
                  <a:pt x="22781" y="6375"/>
                  <a:pt x="22937" y="6500"/>
                </a:cubicBezTo>
                <a:cubicBezTo>
                  <a:pt x="23000" y="6531"/>
                  <a:pt x="23062" y="6531"/>
                  <a:pt x="23125" y="6469"/>
                </a:cubicBezTo>
                <a:cubicBezTo>
                  <a:pt x="23219" y="6406"/>
                  <a:pt x="23312" y="6375"/>
                  <a:pt x="23406" y="6406"/>
                </a:cubicBezTo>
                <a:cubicBezTo>
                  <a:pt x="23437" y="6406"/>
                  <a:pt x="23500" y="6438"/>
                  <a:pt x="23531" y="6375"/>
                </a:cubicBezTo>
                <a:cubicBezTo>
                  <a:pt x="23625" y="6281"/>
                  <a:pt x="23750" y="6281"/>
                  <a:pt x="23844" y="6188"/>
                </a:cubicBezTo>
                <a:cubicBezTo>
                  <a:pt x="23937" y="6281"/>
                  <a:pt x="24094" y="6344"/>
                  <a:pt x="24219" y="6406"/>
                </a:cubicBezTo>
                <a:cubicBezTo>
                  <a:pt x="24312" y="6438"/>
                  <a:pt x="24375" y="6469"/>
                  <a:pt x="24469" y="6438"/>
                </a:cubicBezTo>
                <a:cubicBezTo>
                  <a:pt x="24531" y="6469"/>
                  <a:pt x="24594" y="6500"/>
                  <a:pt x="24656" y="6500"/>
                </a:cubicBezTo>
                <a:cubicBezTo>
                  <a:pt x="24875" y="6500"/>
                  <a:pt x="25062" y="6625"/>
                  <a:pt x="25219" y="6719"/>
                </a:cubicBezTo>
                <a:cubicBezTo>
                  <a:pt x="25406" y="6875"/>
                  <a:pt x="25531" y="7094"/>
                  <a:pt x="25687" y="7219"/>
                </a:cubicBezTo>
                <a:cubicBezTo>
                  <a:pt x="25687" y="7250"/>
                  <a:pt x="25687" y="7281"/>
                  <a:pt x="25687" y="7281"/>
                </a:cubicBezTo>
                <a:cubicBezTo>
                  <a:pt x="26094" y="7906"/>
                  <a:pt x="26469" y="8531"/>
                  <a:pt x="26875" y="9156"/>
                </a:cubicBezTo>
                <a:cubicBezTo>
                  <a:pt x="27062" y="9469"/>
                  <a:pt x="27156" y="9813"/>
                  <a:pt x="27312" y="10125"/>
                </a:cubicBezTo>
                <a:cubicBezTo>
                  <a:pt x="27437" y="10344"/>
                  <a:pt x="27531" y="10563"/>
                  <a:pt x="27625" y="10781"/>
                </a:cubicBezTo>
                <a:cubicBezTo>
                  <a:pt x="27656" y="10813"/>
                  <a:pt x="27687" y="10875"/>
                  <a:pt x="27625" y="10875"/>
                </a:cubicBezTo>
                <a:cubicBezTo>
                  <a:pt x="27469" y="10875"/>
                  <a:pt x="27344" y="10906"/>
                  <a:pt x="27219" y="10875"/>
                </a:cubicBezTo>
                <a:cubicBezTo>
                  <a:pt x="27000" y="10781"/>
                  <a:pt x="26750" y="10719"/>
                  <a:pt x="26500" y="10563"/>
                </a:cubicBezTo>
                <a:cubicBezTo>
                  <a:pt x="26312" y="10469"/>
                  <a:pt x="26094" y="10375"/>
                  <a:pt x="25875" y="10500"/>
                </a:cubicBezTo>
                <a:cubicBezTo>
                  <a:pt x="25812" y="10531"/>
                  <a:pt x="25719" y="10531"/>
                  <a:pt x="25656" y="10531"/>
                </a:cubicBezTo>
                <a:cubicBezTo>
                  <a:pt x="25469" y="10500"/>
                  <a:pt x="25281" y="10438"/>
                  <a:pt x="25094" y="10438"/>
                </a:cubicBezTo>
                <a:cubicBezTo>
                  <a:pt x="24969" y="10438"/>
                  <a:pt x="24812" y="10438"/>
                  <a:pt x="24687" y="10438"/>
                </a:cubicBezTo>
                <a:cubicBezTo>
                  <a:pt x="24625" y="10438"/>
                  <a:pt x="24594" y="10406"/>
                  <a:pt x="24562" y="10375"/>
                </a:cubicBezTo>
                <a:cubicBezTo>
                  <a:pt x="24375" y="10188"/>
                  <a:pt x="24156" y="10031"/>
                  <a:pt x="23875" y="10000"/>
                </a:cubicBezTo>
                <a:cubicBezTo>
                  <a:pt x="23562" y="9969"/>
                  <a:pt x="23219" y="9969"/>
                  <a:pt x="22969" y="10250"/>
                </a:cubicBezTo>
                <a:cubicBezTo>
                  <a:pt x="22875" y="10344"/>
                  <a:pt x="22750" y="10344"/>
                  <a:pt x="22625" y="10219"/>
                </a:cubicBezTo>
                <a:cubicBezTo>
                  <a:pt x="22594" y="10188"/>
                  <a:pt x="22531" y="10125"/>
                  <a:pt x="22469" y="10063"/>
                </a:cubicBezTo>
                <a:cubicBezTo>
                  <a:pt x="22406" y="9969"/>
                  <a:pt x="22312" y="9969"/>
                  <a:pt x="22250" y="10031"/>
                </a:cubicBezTo>
                <a:cubicBezTo>
                  <a:pt x="21937" y="10250"/>
                  <a:pt x="21687" y="10531"/>
                  <a:pt x="21500" y="10875"/>
                </a:cubicBezTo>
                <a:cubicBezTo>
                  <a:pt x="21344" y="11031"/>
                  <a:pt x="21187" y="11219"/>
                  <a:pt x="21000" y="11375"/>
                </a:cubicBezTo>
                <a:cubicBezTo>
                  <a:pt x="21125" y="11156"/>
                  <a:pt x="21250" y="10938"/>
                  <a:pt x="21375" y="10719"/>
                </a:cubicBezTo>
                <a:cubicBezTo>
                  <a:pt x="21406" y="10688"/>
                  <a:pt x="21437" y="10625"/>
                  <a:pt x="21469" y="10563"/>
                </a:cubicBezTo>
                <a:cubicBezTo>
                  <a:pt x="21469" y="10563"/>
                  <a:pt x="21469" y="10563"/>
                  <a:pt x="21469" y="10563"/>
                </a:cubicBezTo>
                <a:cubicBezTo>
                  <a:pt x="21562" y="10531"/>
                  <a:pt x="21562" y="10406"/>
                  <a:pt x="21625" y="10344"/>
                </a:cubicBezTo>
                <a:cubicBezTo>
                  <a:pt x="21750" y="10250"/>
                  <a:pt x="21844" y="10094"/>
                  <a:pt x="21969" y="9969"/>
                </a:cubicBezTo>
                <a:cubicBezTo>
                  <a:pt x="22000" y="9938"/>
                  <a:pt x="22031" y="9906"/>
                  <a:pt x="22000" y="9875"/>
                </a:cubicBezTo>
                <a:cubicBezTo>
                  <a:pt x="21969" y="9844"/>
                  <a:pt x="21937" y="9875"/>
                  <a:pt x="21906" y="9875"/>
                </a:cubicBezTo>
                <a:cubicBezTo>
                  <a:pt x="21875" y="9906"/>
                  <a:pt x="21844" y="9906"/>
                  <a:pt x="21844" y="9906"/>
                </a:cubicBezTo>
                <a:cubicBezTo>
                  <a:pt x="21687" y="10031"/>
                  <a:pt x="21531" y="10125"/>
                  <a:pt x="21344" y="10156"/>
                </a:cubicBezTo>
                <a:cubicBezTo>
                  <a:pt x="21281" y="10188"/>
                  <a:pt x="21250" y="10188"/>
                  <a:pt x="21281" y="10250"/>
                </a:cubicBezTo>
                <a:cubicBezTo>
                  <a:pt x="21281" y="10250"/>
                  <a:pt x="21281" y="10250"/>
                  <a:pt x="21281" y="10250"/>
                </a:cubicBezTo>
                <a:cubicBezTo>
                  <a:pt x="21187" y="10375"/>
                  <a:pt x="21062" y="10469"/>
                  <a:pt x="20969" y="10563"/>
                </a:cubicBezTo>
                <a:cubicBezTo>
                  <a:pt x="21062" y="10469"/>
                  <a:pt x="21187" y="10375"/>
                  <a:pt x="21281" y="10250"/>
                </a:cubicBezTo>
                <a:cubicBezTo>
                  <a:pt x="21250" y="10250"/>
                  <a:pt x="21219" y="10250"/>
                  <a:pt x="21187" y="10219"/>
                </a:cubicBezTo>
                <a:cubicBezTo>
                  <a:pt x="21094" y="10125"/>
                  <a:pt x="21062" y="9938"/>
                  <a:pt x="20875" y="9969"/>
                </a:cubicBezTo>
                <a:cubicBezTo>
                  <a:pt x="20875" y="9844"/>
                  <a:pt x="20719" y="9938"/>
                  <a:pt x="20687" y="9875"/>
                </a:cubicBezTo>
                <a:cubicBezTo>
                  <a:pt x="20625" y="9688"/>
                  <a:pt x="20500" y="9625"/>
                  <a:pt x="20344" y="9563"/>
                </a:cubicBezTo>
                <a:cubicBezTo>
                  <a:pt x="20344" y="9531"/>
                  <a:pt x="20312" y="9531"/>
                  <a:pt x="20281" y="9531"/>
                </a:cubicBezTo>
                <a:cubicBezTo>
                  <a:pt x="20250" y="9563"/>
                  <a:pt x="20281" y="9594"/>
                  <a:pt x="20281" y="9625"/>
                </a:cubicBezTo>
                <a:cubicBezTo>
                  <a:pt x="20281" y="9656"/>
                  <a:pt x="20281" y="9688"/>
                  <a:pt x="20312" y="9719"/>
                </a:cubicBezTo>
                <a:cubicBezTo>
                  <a:pt x="20375" y="9781"/>
                  <a:pt x="20281" y="9813"/>
                  <a:pt x="20250" y="9844"/>
                </a:cubicBezTo>
                <a:cubicBezTo>
                  <a:pt x="20219" y="9875"/>
                  <a:pt x="20156" y="9875"/>
                  <a:pt x="20125" y="9813"/>
                </a:cubicBezTo>
                <a:cubicBezTo>
                  <a:pt x="20094" y="9688"/>
                  <a:pt x="20031" y="9688"/>
                  <a:pt x="19906" y="9781"/>
                </a:cubicBezTo>
                <a:cubicBezTo>
                  <a:pt x="19844" y="9813"/>
                  <a:pt x="19750" y="9750"/>
                  <a:pt x="19719" y="9875"/>
                </a:cubicBezTo>
                <a:cubicBezTo>
                  <a:pt x="19719" y="9906"/>
                  <a:pt x="19687" y="9875"/>
                  <a:pt x="19656" y="9844"/>
                </a:cubicBezTo>
                <a:cubicBezTo>
                  <a:pt x="19656" y="9813"/>
                  <a:pt x="19625" y="9813"/>
                  <a:pt x="19594" y="9813"/>
                </a:cubicBezTo>
                <a:cubicBezTo>
                  <a:pt x="19500" y="9781"/>
                  <a:pt x="19406" y="9781"/>
                  <a:pt x="19375" y="9656"/>
                </a:cubicBezTo>
                <a:cubicBezTo>
                  <a:pt x="19375" y="9594"/>
                  <a:pt x="19344" y="9594"/>
                  <a:pt x="19281" y="9625"/>
                </a:cubicBezTo>
                <a:cubicBezTo>
                  <a:pt x="19125" y="9688"/>
                  <a:pt x="18969" y="9688"/>
                  <a:pt x="18812" y="9750"/>
                </a:cubicBezTo>
                <a:cubicBezTo>
                  <a:pt x="18719" y="9813"/>
                  <a:pt x="18625" y="9750"/>
                  <a:pt x="18625" y="9625"/>
                </a:cubicBezTo>
                <a:cubicBezTo>
                  <a:pt x="18625" y="9531"/>
                  <a:pt x="18625" y="9406"/>
                  <a:pt x="18562" y="9313"/>
                </a:cubicBezTo>
                <a:cubicBezTo>
                  <a:pt x="18469" y="9188"/>
                  <a:pt x="18375" y="9063"/>
                  <a:pt x="18281" y="8906"/>
                </a:cubicBezTo>
                <a:cubicBezTo>
                  <a:pt x="18156" y="8688"/>
                  <a:pt x="18125" y="8438"/>
                  <a:pt x="18062" y="8219"/>
                </a:cubicBezTo>
                <a:cubicBezTo>
                  <a:pt x="18031" y="8063"/>
                  <a:pt x="18094" y="7906"/>
                  <a:pt x="18125" y="7781"/>
                </a:cubicBezTo>
                <a:cubicBezTo>
                  <a:pt x="18125" y="7750"/>
                  <a:pt x="18156" y="7719"/>
                  <a:pt x="18094" y="7688"/>
                </a:cubicBezTo>
                <a:cubicBezTo>
                  <a:pt x="18031" y="7656"/>
                  <a:pt x="18031" y="7625"/>
                  <a:pt x="18125" y="7594"/>
                </a:cubicBezTo>
                <a:cubicBezTo>
                  <a:pt x="18156" y="7594"/>
                  <a:pt x="18187" y="7563"/>
                  <a:pt x="18187" y="7531"/>
                </a:cubicBezTo>
                <a:cubicBezTo>
                  <a:pt x="18125" y="7406"/>
                  <a:pt x="18219" y="7281"/>
                  <a:pt x="18156" y="7156"/>
                </a:cubicBezTo>
                <a:cubicBezTo>
                  <a:pt x="18031" y="7344"/>
                  <a:pt x="17969" y="7563"/>
                  <a:pt x="17781" y="7688"/>
                </a:cubicBezTo>
                <a:cubicBezTo>
                  <a:pt x="17875" y="7469"/>
                  <a:pt x="18000" y="7281"/>
                  <a:pt x="18125" y="7063"/>
                </a:cubicBezTo>
                <a:cubicBezTo>
                  <a:pt x="18281" y="6844"/>
                  <a:pt x="18250" y="6594"/>
                  <a:pt x="18156" y="6344"/>
                </a:cubicBezTo>
                <a:cubicBezTo>
                  <a:pt x="18156" y="6281"/>
                  <a:pt x="18156" y="6188"/>
                  <a:pt x="18062" y="6188"/>
                </a:cubicBezTo>
                <a:cubicBezTo>
                  <a:pt x="18062" y="6188"/>
                  <a:pt x="18062" y="6188"/>
                  <a:pt x="18062" y="6188"/>
                </a:cubicBezTo>
                <a:cubicBezTo>
                  <a:pt x="18062" y="6094"/>
                  <a:pt x="18000" y="6094"/>
                  <a:pt x="17937" y="6094"/>
                </a:cubicBezTo>
                <a:cubicBezTo>
                  <a:pt x="17937" y="6063"/>
                  <a:pt x="17906" y="6063"/>
                  <a:pt x="17875" y="6063"/>
                </a:cubicBezTo>
                <a:cubicBezTo>
                  <a:pt x="17812" y="5938"/>
                  <a:pt x="17719" y="5938"/>
                  <a:pt x="17594" y="5938"/>
                </a:cubicBezTo>
                <a:cubicBezTo>
                  <a:pt x="17625" y="5906"/>
                  <a:pt x="17687" y="5906"/>
                  <a:pt x="17687" y="5875"/>
                </a:cubicBezTo>
                <a:cubicBezTo>
                  <a:pt x="17750" y="5875"/>
                  <a:pt x="17844" y="5844"/>
                  <a:pt x="17906" y="5906"/>
                </a:cubicBezTo>
                <a:cubicBezTo>
                  <a:pt x="18219" y="6031"/>
                  <a:pt x="18406" y="6375"/>
                  <a:pt x="18312" y="6719"/>
                </a:cubicBezTo>
                <a:cubicBezTo>
                  <a:pt x="18281" y="6875"/>
                  <a:pt x="18312" y="7000"/>
                  <a:pt x="18375" y="7125"/>
                </a:cubicBezTo>
                <a:cubicBezTo>
                  <a:pt x="18375" y="7219"/>
                  <a:pt x="18406" y="7281"/>
                  <a:pt x="18406" y="7375"/>
                </a:cubicBezTo>
                <a:cubicBezTo>
                  <a:pt x="18437" y="7531"/>
                  <a:pt x="18437" y="7688"/>
                  <a:pt x="18500" y="7844"/>
                </a:cubicBezTo>
                <a:cubicBezTo>
                  <a:pt x="18531" y="7938"/>
                  <a:pt x="18531" y="8063"/>
                  <a:pt x="18625" y="8156"/>
                </a:cubicBezTo>
                <a:cubicBezTo>
                  <a:pt x="18719" y="8219"/>
                  <a:pt x="18719" y="8344"/>
                  <a:pt x="18719" y="8438"/>
                </a:cubicBezTo>
                <a:cubicBezTo>
                  <a:pt x="18719" y="8531"/>
                  <a:pt x="18812" y="8688"/>
                  <a:pt x="18937" y="8688"/>
                </a:cubicBezTo>
                <a:cubicBezTo>
                  <a:pt x="19062" y="8656"/>
                  <a:pt x="19125" y="8750"/>
                  <a:pt x="19219" y="8813"/>
                </a:cubicBezTo>
                <a:cubicBezTo>
                  <a:pt x="19250" y="8844"/>
                  <a:pt x="19281" y="8938"/>
                  <a:pt x="19344" y="8938"/>
                </a:cubicBezTo>
                <a:cubicBezTo>
                  <a:pt x="19594" y="8938"/>
                  <a:pt x="19719" y="9219"/>
                  <a:pt x="19969" y="9188"/>
                </a:cubicBezTo>
                <a:cubicBezTo>
                  <a:pt x="19969" y="9188"/>
                  <a:pt x="20000" y="9219"/>
                  <a:pt x="20031" y="9250"/>
                </a:cubicBezTo>
                <a:cubicBezTo>
                  <a:pt x="20125" y="9281"/>
                  <a:pt x="20219" y="9281"/>
                  <a:pt x="20281" y="9125"/>
                </a:cubicBezTo>
                <a:cubicBezTo>
                  <a:pt x="20406" y="9125"/>
                  <a:pt x="20344" y="8969"/>
                  <a:pt x="20375" y="8969"/>
                </a:cubicBezTo>
                <a:cubicBezTo>
                  <a:pt x="20562" y="8875"/>
                  <a:pt x="20406" y="8781"/>
                  <a:pt x="20406" y="8688"/>
                </a:cubicBezTo>
                <a:cubicBezTo>
                  <a:pt x="20375" y="8500"/>
                  <a:pt x="20312" y="8344"/>
                  <a:pt x="20312" y="8156"/>
                </a:cubicBezTo>
                <a:cubicBezTo>
                  <a:pt x="20344" y="7719"/>
                  <a:pt x="20437" y="7344"/>
                  <a:pt x="20594" y="6938"/>
                </a:cubicBezTo>
                <a:cubicBezTo>
                  <a:pt x="20687" y="6719"/>
                  <a:pt x="20750" y="6500"/>
                  <a:pt x="20781" y="6250"/>
                </a:cubicBezTo>
                <a:cubicBezTo>
                  <a:pt x="20812" y="6000"/>
                  <a:pt x="20750" y="5781"/>
                  <a:pt x="20781" y="5531"/>
                </a:cubicBezTo>
                <a:cubicBezTo>
                  <a:pt x="20812" y="5375"/>
                  <a:pt x="20844" y="5219"/>
                  <a:pt x="20781" y="5094"/>
                </a:cubicBezTo>
                <a:cubicBezTo>
                  <a:pt x="20750" y="4938"/>
                  <a:pt x="20687" y="4813"/>
                  <a:pt x="20625" y="4656"/>
                </a:cubicBezTo>
                <a:cubicBezTo>
                  <a:pt x="20625" y="4656"/>
                  <a:pt x="20625" y="4625"/>
                  <a:pt x="20625" y="4594"/>
                </a:cubicBezTo>
                <a:cubicBezTo>
                  <a:pt x="20625" y="4563"/>
                  <a:pt x="20625" y="4531"/>
                  <a:pt x="20625" y="4500"/>
                </a:cubicBezTo>
                <a:cubicBezTo>
                  <a:pt x="20625" y="4375"/>
                  <a:pt x="20531" y="4250"/>
                  <a:pt x="20594" y="4125"/>
                </a:cubicBezTo>
                <a:cubicBezTo>
                  <a:pt x="20625" y="4063"/>
                  <a:pt x="20625" y="3969"/>
                  <a:pt x="20594" y="3906"/>
                </a:cubicBezTo>
                <a:cubicBezTo>
                  <a:pt x="20562" y="3813"/>
                  <a:pt x="20562" y="3719"/>
                  <a:pt x="20625" y="3625"/>
                </a:cubicBezTo>
                <a:cubicBezTo>
                  <a:pt x="20656" y="3563"/>
                  <a:pt x="20656" y="3469"/>
                  <a:pt x="20594" y="3438"/>
                </a:cubicBezTo>
                <a:cubicBezTo>
                  <a:pt x="20562" y="3406"/>
                  <a:pt x="20500" y="3406"/>
                  <a:pt x="20437" y="3469"/>
                </a:cubicBezTo>
                <a:cubicBezTo>
                  <a:pt x="20406" y="3500"/>
                  <a:pt x="20312" y="3500"/>
                  <a:pt x="20250" y="3469"/>
                </a:cubicBezTo>
                <a:cubicBezTo>
                  <a:pt x="20250" y="3344"/>
                  <a:pt x="20250" y="3250"/>
                  <a:pt x="20344" y="3188"/>
                </a:cubicBezTo>
                <a:cubicBezTo>
                  <a:pt x="20312" y="3125"/>
                  <a:pt x="20187" y="3219"/>
                  <a:pt x="20219" y="3094"/>
                </a:cubicBezTo>
                <a:cubicBezTo>
                  <a:pt x="20281" y="3063"/>
                  <a:pt x="20250" y="3031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312" y="3000"/>
                  <a:pt x="20375" y="3000"/>
                  <a:pt x="20344" y="2906"/>
                </a:cubicBezTo>
                <a:cubicBezTo>
                  <a:pt x="20312" y="2938"/>
                  <a:pt x="20281" y="2969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250" y="3000"/>
                  <a:pt x="20250" y="3000"/>
                  <a:pt x="20250" y="3000"/>
                </a:cubicBezTo>
                <a:cubicBezTo>
                  <a:pt x="20125" y="3000"/>
                  <a:pt x="20156" y="2906"/>
                  <a:pt x="20125" y="2813"/>
                </a:cubicBezTo>
                <a:cubicBezTo>
                  <a:pt x="20031" y="2844"/>
                  <a:pt x="20031" y="2750"/>
                  <a:pt x="20000" y="2719"/>
                </a:cubicBezTo>
                <a:cubicBezTo>
                  <a:pt x="19937" y="2531"/>
                  <a:pt x="19812" y="2406"/>
                  <a:pt x="19625" y="2313"/>
                </a:cubicBezTo>
                <a:cubicBezTo>
                  <a:pt x="19469" y="2250"/>
                  <a:pt x="19281" y="2156"/>
                  <a:pt x="19250" y="1938"/>
                </a:cubicBezTo>
                <a:cubicBezTo>
                  <a:pt x="19219" y="1844"/>
                  <a:pt x="19187" y="1750"/>
                  <a:pt x="19094" y="1719"/>
                </a:cubicBezTo>
                <a:cubicBezTo>
                  <a:pt x="18937" y="1531"/>
                  <a:pt x="18875" y="1500"/>
                  <a:pt x="18781" y="1594"/>
                </a:cubicBezTo>
                <a:cubicBezTo>
                  <a:pt x="18781" y="1531"/>
                  <a:pt x="18781" y="1469"/>
                  <a:pt x="18812" y="1406"/>
                </a:cubicBezTo>
                <a:cubicBezTo>
                  <a:pt x="18844" y="1313"/>
                  <a:pt x="18812" y="1250"/>
                  <a:pt x="18687" y="1281"/>
                </a:cubicBezTo>
                <a:cubicBezTo>
                  <a:pt x="18594" y="1188"/>
                  <a:pt x="18437" y="1219"/>
                  <a:pt x="18344" y="1156"/>
                </a:cubicBezTo>
                <a:cubicBezTo>
                  <a:pt x="18312" y="1125"/>
                  <a:pt x="18281" y="1094"/>
                  <a:pt x="18219" y="1125"/>
                </a:cubicBezTo>
                <a:cubicBezTo>
                  <a:pt x="18000" y="1125"/>
                  <a:pt x="17812" y="1188"/>
                  <a:pt x="17625" y="1250"/>
                </a:cubicBezTo>
                <a:cubicBezTo>
                  <a:pt x="17594" y="1219"/>
                  <a:pt x="17687" y="1156"/>
                  <a:pt x="17625" y="1156"/>
                </a:cubicBezTo>
                <a:cubicBezTo>
                  <a:pt x="17469" y="1125"/>
                  <a:pt x="17312" y="1031"/>
                  <a:pt x="17156" y="1094"/>
                </a:cubicBezTo>
                <a:cubicBezTo>
                  <a:pt x="16969" y="1156"/>
                  <a:pt x="16750" y="1250"/>
                  <a:pt x="16531" y="1188"/>
                </a:cubicBezTo>
                <a:cubicBezTo>
                  <a:pt x="16469" y="1188"/>
                  <a:pt x="16469" y="1219"/>
                  <a:pt x="16469" y="1250"/>
                </a:cubicBezTo>
                <a:cubicBezTo>
                  <a:pt x="16469" y="1250"/>
                  <a:pt x="16437" y="1250"/>
                  <a:pt x="16437" y="1250"/>
                </a:cubicBezTo>
                <a:cubicBezTo>
                  <a:pt x="16375" y="1250"/>
                  <a:pt x="16312" y="1281"/>
                  <a:pt x="16250" y="1281"/>
                </a:cubicBezTo>
                <a:cubicBezTo>
                  <a:pt x="16250" y="1250"/>
                  <a:pt x="16219" y="1250"/>
                  <a:pt x="16219" y="1250"/>
                </a:cubicBezTo>
                <a:cubicBezTo>
                  <a:pt x="16219" y="1219"/>
                  <a:pt x="16219" y="1156"/>
                  <a:pt x="16187" y="1219"/>
                </a:cubicBezTo>
                <a:cubicBezTo>
                  <a:pt x="16125" y="1313"/>
                  <a:pt x="16062" y="1344"/>
                  <a:pt x="15969" y="1344"/>
                </a:cubicBezTo>
                <a:cubicBezTo>
                  <a:pt x="15844" y="1406"/>
                  <a:pt x="15719" y="1313"/>
                  <a:pt x="15625" y="1344"/>
                </a:cubicBezTo>
                <a:cubicBezTo>
                  <a:pt x="15437" y="1406"/>
                  <a:pt x="15219" y="1344"/>
                  <a:pt x="15062" y="1500"/>
                </a:cubicBezTo>
                <a:cubicBezTo>
                  <a:pt x="15062" y="1500"/>
                  <a:pt x="15031" y="1500"/>
                  <a:pt x="15000" y="1500"/>
                </a:cubicBezTo>
                <a:cubicBezTo>
                  <a:pt x="14812" y="1531"/>
                  <a:pt x="14625" y="1563"/>
                  <a:pt x="14500" y="1719"/>
                </a:cubicBezTo>
                <a:cubicBezTo>
                  <a:pt x="14437" y="1813"/>
                  <a:pt x="14344" y="1813"/>
                  <a:pt x="14250" y="1844"/>
                </a:cubicBezTo>
                <a:cubicBezTo>
                  <a:pt x="14125" y="1844"/>
                  <a:pt x="14000" y="1875"/>
                  <a:pt x="13906" y="1969"/>
                </a:cubicBezTo>
                <a:cubicBezTo>
                  <a:pt x="13906" y="1969"/>
                  <a:pt x="13906" y="1969"/>
                  <a:pt x="13906" y="1969"/>
                </a:cubicBezTo>
                <a:cubicBezTo>
                  <a:pt x="13781" y="1938"/>
                  <a:pt x="13750" y="2031"/>
                  <a:pt x="13719" y="2125"/>
                </a:cubicBezTo>
                <a:cubicBezTo>
                  <a:pt x="13719" y="2156"/>
                  <a:pt x="13719" y="2156"/>
                  <a:pt x="13719" y="2188"/>
                </a:cubicBezTo>
                <a:cubicBezTo>
                  <a:pt x="13562" y="2219"/>
                  <a:pt x="13687" y="2094"/>
                  <a:pt x="13625" y="2063"/>
                </a:cubicBezTo>
                <a:cubicBezTo>
                  <a:pt x="13594" y="2063"/>
                  <a:pt x="13562" y="2094"/>
                  <a:pt x="13531" y="2094"/>
                </a:cubicBezTo>
                <a:cubicBezTo>
                  <a:pt x="13437" y="2156"/>
                  <a:pt x="13469" y="2313"/>
                  <a:pt x="13312" y="2313"/>
                </a:cubicBezTo>
                <a:cubicBezTo>
                  <a:pt x="13312" y="2313"/>
                  <a:pt x="13312" y="2344"/>
                  <a:pt x="13344" y="2344"/>
                </a:cubicBezTo>
                <a:cubicBezTo>
                  <a:pt x="13312" y="2344"/>
                  <a:pt x="13312" y="2344"/>
                  <a:pt x="13312" y="2344"/>
                </a:cubicBezTo>
                <a:cubicBezTo>
                  <a:pt x="13281" y="2375"/>
                  <a:pt x="13281" y="2375"/>
                  <a:pt x="13281" y="2406"/>
                </a:cubicBezTo>
                <a:cubicBezTo>
                  <a:pt x="13281" y="2469"/>
                  <a:pt x="13281" y="2531"/>
                  <a:pt x="13281" y="2563"/>
                </a:cubicBezTo>
                <a:cubicBezTo>
                  <a:pt x="13281" y="2625"/>
                  <a:pt x="13281" y="2656"/>
                  <a:pt x="13344" y="2656"/>
                </a:cubicBezTo>
                <a:cubicBezTo>
                  <a:pt x="13344" y="2656"/>
                  <a:pt x="13344" y="2656"/>
                  <a:pt x="13344" y="2656"/>
                </a:cubicBezTo>
                <a:cubicBezTo>
                  <a:pt x="13406" y="2781"/>
                  <a:pt x="13344" y="2906"/>
                  <a:pt x="13344" y="3031"/>
                </a:cubicBezTo>
                <a:cubicBezTo>
                  <a:pt x="13312" y="3031"/>
                  <a:pt x="13281" y="2969"/>
                  <a:pt x="13250" y="2969"/>
                </a:cubicBezTo>
                <a:cubicBezTo>
                  <a:pt x="13281" y="2781"/>
                  <a:pt x="13156" y="2656"/>
                  <a:pt x="13187" y="2500"/>
                </a:cubicBezTo>
                <a:cubicBezTo>
                  <a:pt x="13094" y="2531"/>
                  <a:pt x="13094" y="2656"/>
                  <a:pt x="13094" y="2719"/>
                </a:cubicBezTo>
                <a:cubicBezTo>
                  <a:pt x="13062" y="2719"/>
                  <a:pt x="13031" y="2688"/>
                  <a:pt x="13000" y="2656"/>
                </a:cubicBezTo>
                <a:cubicBezTo>
                  <a:pt x="13031" y="2813"/>
                  <a:pt x="13094" y="2938"/>
                  <a:pt x="13094" y="3094"/>
                </a:cubicBezTo>
                <a:cubicBezTo>
                  <a:pt x="13094" y="3344"/>
                  <a:pt x="13000" y="3219"/>
                  <a:pt x="12969" y="3188"/>
                </a:cubicBezTo>
                <a:cubicBezTo>
                  <a:pt x="13000" y="3250"/>
                  <a:pt x="13125" y="3250"/>
                  <a:pt x="13187" y="3344"/>
                </a:cubicBezTo>
                <a:cubicBezTo>
                  <a:pt x="13281" y="3500"/>
                  <a:pt x="13437" y="3594"/>
                  <a:pt x="13625" y="3594"/>
                </a:cubicBezTo>
                <a:cubicBezTo>
                  <a:pt x="13625" y="3625"/>
                  <a:pt x="13656" y="3656"/>
                  <a:pt x="13687" y="3625"/>
                </a:cubicBezTo>
                <a:cubicBezTo>
                  <a:pt x="13719" y="3656"/>
                  <a:pt x="13781" y="3688"/>
                  <a:pt x="13812" y="3719"/>
                </a:cubicBezTo>
                <a:cubicBezTo>
                  <a:pt x="13875" y="3781"/>
                  <a:pt x="14094" y="3750"/>
                  <a:pt x="14000" y="3906"/>
                </a:cubicBezTo>
                <a:cubicBezTo>
                  <a:pt x="13844" y="4188"/>
                  <a:pt x="13719" y="4469"/>
                  <a:pt x="13594" y="4750"/>
                </a:cubicBezTo>
                <a:cubicBezTo>
                  <a:pt x="13469" y="5031"/>
                  <a:pt x="13312" y="5250"/>
                  <a:pt x="13219" y="5531"/>
                </a:cubicBezTo>
                <a:cubicBezTo>
                  <a:pt x="13125" y="5719"/>
                  <a:pt x="13094" y="5906"/>
                  <a:pt x="13219" y="6125"/>
                </a:cubicBezTo>
                <a:cubicBezTo>
                  <a:pt x="13281" y="6219"/>
                  <a:pt x="13312" y="6375"/>
                  <a:pt x="13219" y="6469"/>
                </a:cubicBezTo>
                <a:cubicBezTo>
                  <a:pt x="13000" y="6719"/>
                  <a:pt x="12875" y="7031"/>
                  <a:pt x="12656" y="7313"/>
                </a:cubicBezTo>
                <a:cubicBezTo>
                  <a:pt x="12469" y="7563"/>
                  <a:pt x="12562" y="7875"/>
                  <a:pt x="12875" y="7969"/>
                </a:cubicBezTo>
                <a:cubicBezTo>
                  <a:pt x="13031" y="8031"/>
                  <a:pt x="13156" y="8063"/>
                  <a:pt x="13156" y="8250"/>
                </a:cubicBezTo>
                <a:cubicBezTo>
                  <a:pt x="13156" y="8250"/>
                  <a:pt x="13156" y="8250"/>
                  <a:pt x="13187" y="8281"/>
                </a:cubicBezTo>
                <a:cubicBezTo>
                  <a:pt x="13187" y="8313"/>
                  <a:pt x="13187" y="8344"/>
                  <a:pt x="13187" y="8406"/>
                </a:cubicBezTo>
                <a:cubicBezTo>
                  <a:pt x="13187" y="8500"/>
                  <a:pt x="13219" y="8594"/>
                  <a:pt x="13344" y="8594"/>
                </a:cubicBezTo>
                <a:cubicBezTo>
                  <a:pt x="13375" y="8625"/>
                  <a:pt x="13375" y="8656"/>
                  <a:pt x="13406" y="8656"/>
                </a:cubicBezTo>
                <a:cubicBezTo>
                  <a:pt x="13500" y="8750"/>
                  <a:pt x="13437" y="8844"/>
                  <a:pt x="13437" y="8938"/>
                </a:cubicBezTo>
                <a:cubicBezTo>
                  <a:pt x="13437" y="9000"/>
                  <a:pt x="13500" y="9031"/>
                  <a:pt x="13531" y="9000"/>
                </a:cubicBezTo>
                <a:cubicBezTo>
                  <a:pt x="13687" y="8938"/>
                  <a:pt x="13781" y="9000"/>
                  <a:pt x="13906" y="9031"/>
                </a:cubicBezTo>
                <a:cubicBezTo>
                  <a:pt x="14156" y="9219"/>
                  <a:pt x="14312" y="9469"/>
                  <a:pt x="14375" y="9750"/>
                </a:cubicBezTo>
                <a:cubicBezTo>
                  <a:pt x="14375" y="9781"/>
                  <a:pt x="14375" y="9813"/>
                  <a:pt x="14437" y="9813"/>
                </a:cubicBezTo>
                <a:cubicBezTo>
                  <a:pt x="14437" y="9813"/>
                  <a:pt x="14437" y="9844"/>
                  <a:pt x="14437" y="9844"/>
                </a:cubicBezTo>
                <a:cubicBezTo>
                  <a:pt x="14437" y="9844"/>
                  <a:pt x="14437" y="9844"/>
                  <a:pt x="14437" y="9844"/>
                </a:cubicBezTo>
                <a:cubicBezTo>
                  <a:pt x="14406" y="9906"/>
                  <a:pt x="14375" y="9969"/>
                  <a:pt x="14375" y="10063"/>
                </a:cubicBezTo>
                <a:cubicBezTo>
                  <a:pt x="14344" y="10156"/>
                  <a:pt x="14312" y="10250"/>
                  <a:pt x="14250" y="10313"/>
                </a:cubicBezTo>
                <a:cubicBezTo>
                  <a:pt x="14250" y="10313"/>
                  <a:pt x="14250" y="10313"/>
                  <a:pt x="14219" y="10313"/>
                </a:cubicBezTo>
                <a:cubicBezTo>
                  <a:pt x="14250" y="10313"/>
                  <a:pt x="14250" y="10313"/>
                  <a:pt x="14250" y="10344"/>
                </a:cubicBezTo>
                <a:cubicBezTo>
                  <a:pt x="14250" y="10344"/>
                  <a:pt x="14250" y="10375"/>
                  <a:pt x="14250" y="10375"/>
                </a:cubicBezTo>
                <a:cubicBezTo>
                  <a:pt x="14187" y="10563"/>
                  <a:pt x="14125" y="10719"/>
                  <a:pt x="14344" y="10813"/>
                </a:cubicBezTo>
                <a:cubicBezTo>
                  <a:pt x="14375" y="10844"/>
                  <a:pt x="14406" y="10875"/>
                  <a:pt x="14406" y="10938"/>
                </a:cubicBezTo>
                <a:cubicBezTo>
                  <a:pt x="14406" y="10969"/>
                  <a:pt x="14344" y="11000"/>
                  <a:pt x="14312" y="10969"/>
                </a:cubicBezTo>
                <a:cubicBezTo>
                  <a:pt x="14156" y="10688"/>
                  <a:pt x="13937" y="10781"/>
                  <a:pt x="13687" y="10813"/>
                </a:cubicBezTo>
                <a:cubicBezTo>
                  <a:pt x="13562" y="10813"/>
                  <a:pt x="13406" y="10906"/>
                  <a:pt x="13281" y="10781"/>
                </a:cubicBezTo>
                <a:cubicBezTo>
                  <a:pt x="13250" y="10781"/>
                  <a:pt x="13219" y="10781"/>
                  <a:pt x="13187" y="10781"/>
                </a:cubicBezTo>
                <a:cubicBezTo>
                  <a:pt x="13031" y="10781"/>
                  <a:pt x="12875" y="10750"/>
                  <a:pt x="12781" y="10594"/>
                </a:cubicBezTo>
                <a:cubicBezTo>
                  <a:pt x="12687" y="10500"/>
                  <a:pt x="12562" y="10469"/>
                  <a:pt x="12437" y="10531"/>
                </a:cubicBezTo>
                <a:cubicBezTo>
                  <a:pt x="12344" y="10531"/>
                  <a:pt x="12312" y="10594"/>
                  <a:pt x="12281" y="10625"/>
                </a:cubicBezTo>
                <a:cubicBezTo>
                  <a:pt x="12187" y="10469"/>
                  <a:pt x="12156" y="10281"/>
                  <a:pt x="11906" y="10313"/>
                </a:cubicBezTo>
                <a:cubicBezTo>
                  <a:pt x="11906" y="10313"/>
                  <a:pt x="11906" y="10281"/>
                  <a:pt x="11906" y="10281"/>
                </a:cubicBezTo>
                <a:cubicBezTo>
                  <a:pt x="11719" y="10094"/>
                  <a:pt x="11469" y="10000"/>
                  <a:pt x="11219" y="9906"/>
                </a:cubicBezTo>
                <a:cubicBezTo>
                  <a:pt x="10969" y="9781"/>
                  <a:pt x="10719" y="9688"/>
                  <a:pt x="10437" y="9594"/>
                </a:cubicBezTo>
                <a:cubicBezTo>
                  <a:pt x="10219" y="9531"/>
                  <a:pt x="10031" y="9469"/>
                  <a:pt x="9812" y="9531"/>
                </a:cubicBezTo>
                <a:cubicBezTo>
                  <a:pt x="9750" y="9563"/>
                  <a:pt x="9656" y="9594"/>
                  <a:pt x="9594" y="9594"/>
                </a:cubicBezTo>
                <a:cubicBezTo>
                  <a:pt x="9375" y="9656"/>
                  <a:pt x="9125" y="9594"/>
                  <a:pt x="8906" y="9688"/>
                </a:cubicBezTo>
                <a:cubicBezTo>
                  <a:pt x="8812" y="9719"/>
                  <a:pt x="8719" y="9688"/>
                  <a:pt x="8625" y="9656"/>
                </a:cubicBezTo>
                <a:cubicBezTo>
                  <a:pt x="8469" y="9594"/>
                  <a:pt x="8344" y="9563"/>
                  <a:pt x="8219" y="9531"/>
                </a:cubicBezTo>
                <a:cubicBezTo>
                  <a:pt x="8187" y="9531"/>
                  <a:pt x="8125" y="9531"/>
                  <a:pt x="8125" y="9500"/>
                </a:cubicBezTo>
                <a:cubicBezTo>
                  <a:pt x="8187" y="9438"/>
                  <a:pt x="8094" y="9375"/>
                  <a:pt x="8156" y="9344"/>
                </a:cubicBezTo>
                <a:cubicBezTo>
                  <a:pt x="8187" y="9313"/>
                  <a:pt x="8250" y="9313"/>
                  <a:pt x="8281" y="9375"/>
                </a:cubicBezTo>
                <a:cubicBezTo>
                  <a:pt x="8344" y="9469"/>
                  <a:pt x="8469" y="9469"/>
                  <a:pt x="8562" y="9500"/>
                </a:cubicBezTo>
                <a:cubicBezTo>
                  <a:pt x="8875" y="9563"/>
                  <a:pt x="9156" y="9500"/>
                  <a:pt x="9469" y="9438"/>
                </a:cubicBezTo>
                <a:cubicBezTo>
                  <a:pt x="9500" y="9438"/>
                  <a:pt x="9531" y="9438"/>
                  <a:pt x="9531" y="9375"/>
                </a:cubicBezTo>
                <a:cubicBezTo>
                  <a:pt x="9531" y="9344"/>
                  <a:pt x="9469" y="9375"/>
                  <a:pt x="9437" y="9344"/>
                </a:cubicBezTo>
                <a:cubicBezTo>
                  <a:pt x="9500" y="9313"/>
                  <a:pt x="9562" y="9344"/>
                  <a:pt x="9625" y="9281"/>
                </a:cubicBezTo>
                <a:cubicBezTo>
                  <a:pt x="9500" y="9188"/>
                  <a:pt x="9406" y="9094"/>
                  <a:pt x="9312" y="9000"/>
                </a:cubicBezTo>
                <a:cubicBezTo>
                  <a:pt x="9062" y="8750"/>
                  <a:pt x="8875" y="8469"/>
                  <a:pt x="8625" y="8219"/>
                </a:cubicBezTo>
                <a:cubicBezTo>
                  <a:pt x="8219" y="7844"/>
                  <a:pt x="7781" y="7500"/>
                  <a:pt x="7344" y="7125"/>
                </a:cubicBezTo>
                <a:cubicBezTo>
                  <a:pt x="6969" y="6813"/>
                  <a:pt x="6594" y="6469"/>
                  <a:pt x="6187" y="6188"/>
                </a:cubicBezTo>
                <a:cubicBezTo>
                  <a:pt x="6031" y="6063"/>
                  <a:pt x="5844" y="5938"/>
                  <a:pt x="5687" y="5813"/>
                </a:cubicBezTo>
                <a:cubicBezTo>
                  <a:pt x="5500" y="5625"/>
                  <a:pt x="5344" y="5438"/>
                  <a:pt x="5156" y="5250"/>
                </a:cubicBezTo>
                <a:cubicBezTo>
                  <a:pt x="4906" y="4969"/>
                  <a:pt x="4719" y="4656"/>
                  <a:pt x="4437" y="4406"/>
                </a:cubicBezTo>
                <a:cubicBezTo>
                  <a:pt x="4156" y="4156"/>
                  <a:pt x="3969" y="3844"/>
                  <a:pt x="3719" y="3594"/>
                </a:cubicBezTo>
                <a:cubicBezTo>
                  <a:pt x="3437" y="3313"/>
                  <a:pt x="3219" y="3000"/>
                  <a:pt x="3000" y="2656"/>
                </a:cubicBezTo>
                <a:cubicBezTo>
                  <a:pt x="2969" y="2594"/>
                  <a:pt x="2969" y="2563"/>
                  <a:pt x="2969" y="2500"/>
                </a:cubicBezTo>
                <a:cubicBezTo>
                  <a:pt x="2969" y="2156"/>
                  <a:pt x="2969" y="1813"/>
                  <a:pt x="3000" y="1469"/>
                </a:cubicBezTo>
                <a:cubicBezTo>
                  <a:pt x="3031" y="1313"/>
                  <a:pt x="3000" y="1156"/>
                  <a:pt x="2812" y="1063"/>
                </a:cubicBezTo>
                <a:cubicBezTo>
                  <a:pt x="2719" y="1000"/>
                  <a:pt x="2594" y="906"/>
                  <a:pt x="2625" y="781"/>
                </a:cubicBezTo>
                <a:cubicBezTo>
                  <a:pt x="2687" y="531"/>
                  <a:pt x="2469" y="406"/>
                  <a:pt x="2344" y="250"/>
                </a:cubicBezTo>
                <a:cubicBezTo>
                  <a:pt x="2312" y="219"/>
                  <a:pt x="2250" y="188"/>
                  <a:pt x="2219" y="188"/>
                </a:cubicBezTo>
                <a:cubicBezTo>
                  <a:pt x="1906" y="125"/>
                  <a:pt x="1594" y="0"/>
                  <a:pt x="1250" y="125"/>
                </a:cubicBezTo>
                <a:cubicBezTo>
                  <a:pt x="1219" y="125"/>
                  <a:pt x="1125" y="156"/>
                  <a:pt x="1094" y="219"/>
                </a:cubicBezTo>
                <a:cubicBezTo>
                  <a:pt x="1031" y="219"/>
                  <a:pt x="1031" y="281"/>
                  <a:pt x="1000" y="344"/>
                </a:cubicBezTo>
                <a:cubicBezTo>
                  <a:pt x="937" y="375"/>
                  <a:pt x="875" y="406"/>
                  <a:pt x="781" y="438"/>
                </a:cubicBezTo>
                <a:cubicBezTo>
                  <a:pt x="594" y="500"/>
                  <a:pt x="500" y="594"/>
                  <a:pt x="500" y="781"/>
                </a:cubicBezTo>
                <a:cubicBezTo>
                  <a:pt x="500" y="781"/>
                  <a:pt x="500" y="813"/>
                  <a:pt x="500" y="844"/>
                </a:cubicBezTo>
                <a:cubicBezTo>
                  <a:pt x="469" y="906"/>
                  <a:pt x="562" y="1000"/>
                  <a:pt x="500" y="1063"/>
                </a:cubicBezTo>
                <a:cubicBezTo>
                  <a:pt x="312" y="1188"/>
                  <a:pt x="156" y="1313"/>
                  <a:pt x="219" y="1563"/>
                </a:cubicBezTo>
                <a:cubicBezTo>
                  <a:pt x="250" y="1656"/>
                  <a:pt x="250" y="1719"/>
                  <a:pt x="156" y="1781"/>
                </a:cubicBezTo>
                <a:cubicBezTo>
                  <a:pt x="125" y="1813"/>
                  <a:pt x="125" y="1844"/>
                  <a:pt x="125" y="1906"/>
                </a:cubicBezTo>
                <a:cubicBezTo>
                  <a:pt x="125" y="1906"/>
                  <a:pt x="94" y="1906"/>
                  <a:pt x="94" y="1906"/>
                </a:cubicBezTo>
                <a:cubicBezTo>
                  <a:pt x="62" y="1938"/>
                  <a:pt x="31" y="1969"/>
                  <a:pt x="31" y="2031"/>
                </a:cubicBezTo>
                <a:cubicBezTo>
                  <a:pt x="0" y="2219"/>
                  <a:pt x="62" y="2375"/>
                  <a:pt x="219" y="2500"/>
                </a:cubicBezTo>
                <a:cubicBezTo>
                  <a:pt x="219" y="2625"/>
                  <a:pt x="312" y="2719"/>
                  <a:pt x="437" y="2781"/>
                </a:cubicBezTo>
                <a:cubicBezTo>
                  <a:pt x="500" y="2844"/>
                  <a:pt x="500" y="2938"/>
                  <a:pt x="562" y="3000"/>
                </a:cubicBezTo>
                <a:cubicBezTo>
                  <a:pt x="687" y="3219"/>
                  <a:pt x="906" y="3375"/>
                  <a:pt x="1094" y="3563"/>
                </a:cubicBezTo>
                <a:cubicBezTo>
                  <a:pt x="1281" y="3781"/>
                  <a:pt x="1500" y="4000"/>
                  <a:pt x="1781" y="4125"/>
                </a:cubicBezTo>
                <a:cubicBezTo>
                  <a:pt x="1875" y="4156"/>
                  <a:pt x="1969" y="4250"/>
                  <a:pt x="2031" y="4344"/>
                </a:cubicBezTo>
                <a:cubicBezTo>
                  <a:pt x="2344" y="4719"/>
                  <a:pt x="2594" y="5094"/>
                  <a:pt x="2812" y="5500"/>
                </a:cubicBezTo>
                <a:cubicBezTo>
                  <a:pt x="2812" y="5531"/>
                  <a:pt x="2844" y="5594"/>
                  <a:pt x="2875" y="5625"/>
                </a:cubicBezTo>
                <a:cubicBezTo>
                  <a:pt x="2875" y="5625"/>
                  <a:pt x="2875" y="5625"/>
                  <a:pt x="2875" y="5625"/>
                </a:cubicBezTo>
                <a:cubicBezTo>
                  <a:pt x="2875" y="5656"/>
                  <a:pt x="2906" y="5719"/>
                  <a:pt x="2937" y="5750"/>
                </a:cubicBezTo>
                <a:cubicBezTo>
                  <a:pt x="2937" y="5750"/>
                  <a:pt x="2969" y="5750"/>
                  <a:pt x="2969" y="5781"/>
                </a:cubicBezTo>
                <a:cubicBezTo>
                  <a:pt x="2969" y="5813"/>
                  <a:pt x="2969" y="5844"/>
                  <a:pt x="3000" y="5844"/>
                </a:cubicBezTo>
                <a:cubicBezTo>
                  <a:pt x="3000" y="5844"/>
                  <a:pt x="3000" y="5844"/>
                  <a:pt x="3000" y="5844"/>
                </a:cubicBezTo>
                <a:cubicBezTo>
                  <a:pt x="3031" y="5938"/>
                  <a:pt x="3062" y="6000"/>
                  <a:pt x="3125" y="6063"/>
                </a:cubicBezTo>
                <a:cubicBezTo>
                  <a:pt x="3469" y="6625"/>
                  <a:pt x="3781" y="7188"/>
                  <a:pt x="4062" y="7781"/>
                </a:cubicBezTo>
                <a:cubicBezTo>
                  <a:pt x="4375" y="8469"/>
                  <a:pt x="4750" y="9125"/>
                  <a:pt x="5281" y="9688"/>
                </a:cubicBezTo>
                <a:cubicBezTo>
                  <a:pt x="5562" y="10000"/>
                  <a:pt x="5844" y="1037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19" y="10625"/>
                  <a:pt x="6219" y="10625"/>
                  <a:pt x="6219" y="10625"/>
                </a:cubicBezTo>
                <a:cubicBezTo>
                  <a:pt x="6250" y="10656"/>
                  <a:pt x="6250" y="10719"/>
                  <a:pt x="6312" y="10719"/>
                </a:cubicBezTo>
                <a:cubicBezTo>
                  <a:pt x="6312" y="10719"/>
                  <a:pt x="6312" y="10719"/>
                  <a:pt x="6312" y="10719"/>
                </a:cubicBezTo>
                <a:cubicBezTo>
                  <a:pt x="6500" y="10938"/>
                  <a:pt x="6687" y="11094"/>
                  <a:pt x="6937" y="11188"/>
                </a:cubicBezTo>
                <a:cubicBezTo>
                  <a:pt x="7094" y="11281"/>
                  <a:pt x="7281" y="11406"/>
                  <a:pt x="7469" y="11500"/>
                </a:cubicBezTo>
                <a:cubicBezTo>
                  <a:pt x="7719" y="11688"/>
                  <a:pt x="7969" y="11875"/>
                  <a:pt x="8219" y="12094"/>
                </a:cubicBezTo>
                <a:cubicBezTo>
                  <a:pt x="8219" y="12156"/>
                  <a:pt x="8250" y="12188"/>
                  <a:pt x="8312" y="12188"/>
                </a:cubicBezTo>
                <a:cubicBezTo>
                  <a:pt x="8312" y="12219"/>
                  <a:pt x="8312" y="12250"/>
                  <a:pt x="8344" y="12250"/>
                </a:cubicBezTo>
                <a:cubicBezTo>
                  <a:pt x="8562" y="12406"/>
                  <a:pt x="8750" y="12563"/>
                  <a:pt x="8969" y="12719"/>
                </a:cubicBezTo>
                <a:cubicBezTo>
                  <a:pt x="9187" y="12844"/>
                  <a:pt x="9375" y="13031"/>
                  <a:pt x="9594" y="13125"/>
                </a:cubicBezTo>
                <a:cubicBezTo>
                  <a:pt x="9781" y="13281"/>
                  <a:pt x="9969" y="13375"/>
                  <a:pt x="10156" y="13500"/>
                </a:cubicBezTo>
                <a:cubicBezTo>
                  <a:pt x="10531" y="13781"/>
                  <a:pt x="10937" y="14031"/>
                  <a:pt x="11344" y="14219"/>
                </a:cubicBezTo>
                <a:cubicBezTo>
                  <a:pt x="11406" y="14281"/>
                  <a:pt x="11500" y="14313"/>
                  <a:pt x="11594" y="14313"/>
                </a:cubicBezTo>
                <a:cubicBezTo>
                  <a:pt x="11594" y="14313"/>
                  <a:pt x="11594" y="14344"/>
                  <a:pt x="11625" y="14344"/>
                </a:cubicBezTo>
                <a:cubicBezTo>
                  <a:pt x="11969" y="14500"/>
                  <a:pt x="12312" y="14656"/>
                  <a:pt x="12687" y="14750"/>
                </a:cubicBezTo>
                <a:cubicBezTo>
                  <a:pt x="12687" y="14750"/>
                  <a:pt x="12687" y="14750"/>
                  <a:pt x="12687" y="14750"/>
                </a:cubicBezTo>
                <a:cubicBezTo>
                  <a:pt x="12719" y="14750"/>
                  <a:pt x="12719" y="14781"/>
                  <a:pt x="12750" y="14781"/>
                </a:cubicBezTo>
                <a:cubicBezTo>
                  <a:pt x="12750" y="14781"/>
                  <a:pt x="12750" y="14781"/>
                  <a:pt x="12750" y="14781"/>
                </a:cubicBezTo>
                <a:cubicBezTo>
                  <a:pt x="12781" y="14875"/>
                  <a:pt x="12906" y="14813"/>
                  <a:pt x="12906" y="14906"/>
                </a:cubicBezTo>
                <a:cubicBezTo>
                  <a:pt x="12875" y="15031"/>
                  <a:pt x="12906" y="15063"/>
                  <a:pt x="13000" y="15063"/>
                </a:cubicBezTo>
                <a:cubicBezTo>
                  <a:pt x="13094" y="15031"/>
                  <a:pt x="13187" y="15031"/>
                  <a:pt x="13250" y="15000"/>
                </a:cubicBezTo>
                <a:cubicBezTo>
                  <a:pt x="13500" y="15031"/>
                  <a:pt x="13719" y="15031"/>
                  <a:pt x="13937" y="15125"/>
                </a:cubicBezTo>
                <a:cubicBezTo>
                  <a:pt x="14062" y="15219"/>
                  <a:pt x="14219" y="15250"/>
                  <a:pt x="14375" y="15281"/>
                </a:cubicBezTo>
                <a:cubicBezTo>
                  <a:pt x="14437" y="15313"/>
                  <a:pt x="14469" y="15344"/>
                  <a:pt x="14500" y="15438"/>
                </a:cubicBezTo>
                <a:cubicBezTo>
                  <a:pt x="14500" y="15500"/>
                  <a:pt x="14500" y="15563"/>
                  <a:pt x="14562" y="15625"/>
                </a:cubicBezTo>
                <a:cubicBezTo>
                  <a:pt x="14562" y="15688"/>
                  <a:pt x="14562" y="15750"/>
                  <a:pt x="14594" y="15781"/>
                </a:cubicBezTo>
                <a:cubicBezTo>
                  <a:pt x="14656" y="16031"/>
                  <a:pt x="14750" y="16250"/>
                  <a:pt x="14812" y="16500"/>
                </a:cubicBezTo>
                <a:cubicBezTo>
                  <a:pt x="14937" y="16875"/>
                  <a:pt x="15094" y="17250"/>
                  <a:pt x="15281" y="17594"/>
                </a:cubicBezTo>
                <a:cubicBezTo>
                  <a:pt x="15375" y="17750"/>
                  <a:pt x="15437" y="17906"/>
                  <a:pt x="15562" y="18063"/>
                </a:cubicBezTo>
                <a:cubicBezTo>
                  <a:pt x="15562" y="18063"/>
                  <a:pt x="15562" y="18063"/>
                  <a:pt x="15562" y="18063"/>
                </a:cubicBezTo>
                <a:cubicBezTo>
                  <a:pt x="15562" y="18125"/>
                  <a:pt x="15625" y="18188"/>
                  <a:pt x="15625" y="18250"/>
                </a:cubicBezTo>
                <a:cubicBezTo>
                  <a:pt x="15656" y="18438"/>
                  <a:pt x="15656" y="18625"/>
                  <a:pt x="15750" y="18781"/>
                </a:cubicBezTo>
                <a:cubicBezTo>
                  <a:pt x="15750" y="18813"/>
                  <a:pt x="15750" y="18813"/>
                  <a:pt x="15750" y="18844"/>
                </a:cubicBezTo>
                <a:cubicBezTo>
                  <a:pt x="15781" y="19094"/>
                  <a:pt x="15844" y="19313"/>
                  <a:pt x="15906" y="19563"/>
                </a:cubicBezTo>
                <a:cubicBezTo>
                  <a:pt x="15937" y="19719"/>
                  <a:pt x="15937" y="19875"/>
                  <a:pt x="16031" y="20000"/>
                </a:cubicBezTo>
                <a:cubicBezTo>
                  <a:pt x="16031" y="20000"/>
                  <a:pt x="16031" y="20000"/>
                  <a:pt x="16031" y="20000"/>
                </a:cubicBezTo>
                <a:cubicBezTo>
                  <a:pt x="16062" y="20281"/>
                  <a:pt x="16125" y="20563"/>
                  <a:pt x="16219" y="20813"/>
                </a:cubicBezTo>
                <a:cubicBezTo>
                  <a:pt x="16219" y="20813"/>
                  <a:pt x="16219" y="20813"/>
                  <a:pt x="16219" y="20813"/>
                </a:cubicBezTo>
                <a:cubicBezTo>
                  <a:pt x="16219" y="21063"/>
                  <a:pt x="16312" y="21281"/>
                  <a:pt x="16344" y="21500"/>
                </a:cubicBezTo>
                <a:cubicBezTo>
                  <a:pt x="16437" y="21875"/>
                  <a:pt x="16500" y="22281"/>
                  <a:pt x="16594" y="22656"/>
                </a:cubicBezTo>
                <a:cubicBezTo>
                  <a:pt x="16719" y="23094"/>
                  <a:pt x="16812" y="23500"/>
                  <a:pt x="16937" y="23938"/>
                </a:cubicBezTo>
                <a:cubicBezTo>
                  <a:pt x="17031" y="24219"/>
                  <a:pt x="17094" y="24531"/>
                  <a:pt x="17219" y="24781"/>
                </a:cubicBezTo>
                <a:cubicBezTo>
                  <a:pt x="17219" y="24781"/>
                  <a:pt x="17219" y="24781"/>
                  <a:pt x="17219" y="24781"/>
                </a:cubicBezTo>
                <a:cubicBezTo>
                  <a:pt x="17219" y="24844"/>
                  <a:pt x="17219" y="24906"/>
                  <a:pt x="17250" y="24969"/>
                </a:cubicBezTo>
                <a:cubicBezTo>
                  <a:pt x="17281" y="25313"/>
                  <a:pt x="17344" y="25656"/>
                  <a:pt x="17406" y="26000"/>
                </a:cubicBezTo>
                <a:cubicBezTo>
                  <a:pt x="17469" y="26531"/>
                  <a:pt x="17531" y="27063"/>
                  <a:pt x="17594" y="27594"/>
                </a:cubicBezTo>
                <a:cubicBezTo>
                  <a:pt x="17656" y="28094"/>
                  <a:pt x="17719" y="28594"/>
                  <a:pt x="17781" y="29063"/>
                </a:cubicBezTo>
                <a:cubicBezTo>
                  <a:pt x="17844" y="29063"/>
                  <a:pt x="17906" y="29063"/>
                  <a:pt x="17969" y="29063"/>
                </a:cubicBezTo>
                <a:cubicBezTo>
                  <a:pt x="18031" y="29063"/>
                  <a:pt x="18094" y="29063"/>
                  <a:pt x="18125" y="29063"/>
                </a:cubicBezTo>
                <a:cubicBezTo>
                  <a:pt x="18125" y="29063"/>
                  <a:pt x="18125" y="29063"/>
                  <a:pt x="18125" y="29063"/>
                </a:cubicBezTo>
                <a:cubicBezTo>
                  <a:pt x="18156" y="29063"/>
                  <a:pt x="18156" y="29063"/>
                  <a:pt x="18156" y="29063"/>
                </a:cubicBezTo>
                <a:cubicBezTo>
                  <a:pt x="18344" y="29406"/>
                  <a:pt x="23250" y="29219"/>
                  <a:pt x="25844" y="29063"/>
                </a:cubicBezTo>
                <a:cubicBezTo>
                  <a:pt x="26656" y="29063"/>
                  <a:pt x="27469" y="29063"/>
                  <a:pt x="28250" y="29063"/>
                </a:cubicBezTo>
                <a:cubicBezTo>
                  <a:pt x="28187" y="28719"/>
                  <a:pt x="28031" y="28406"/>
                  <a:pt x="27937" y="28063"/>
                </a:cubicBezTo>
                <a:cubicBezTo>
                  <a:pt x="27875" y="27906"/>
                  <a:pt x="27750" y="27781"/>
                  <a:pt x="27781" y="27594"/>
                </a:cubicBezTo>
                <a:cubicBezTo>
                  <a:pt x="27906" y="27031"/>
                  <a:pt x="27875" y="26438"/>
                  <a:pt x="27781" y="25875"/>
                </a:cubicBezTo>
                <a:cubicBezTo>
                  <a:pt x="27625" y="25063"/>
                  <a:pt x="27437" y="24219"/>
                  <a:pt x="27187" y="23438"/>
                </a:cubicBezTo>
                <a:cubicBezTo>
                  <a:pt x="27094" y="23188"/>
                  <a:pt x="27031" y="22938"/>
                  <a:pt x="27031" y="22688"/>
                </a:cubicBezTo>
                <a:cubicBezTo>
                  <a:pt x="27031" y="22500"/>
                  <a:pt x="27000" y="22313"/>
                  <a:pt x="26844" y="22188"/>
                </a:cubicBezTo>
                <a:cubicBezTo>
                  <a:pt x="26687" y="22031"/>
                  <a:pt x="26625" y="21813"/>
                  <a:pt x="26594" y="21594"/>
                </a:cubicBezTo>
                <a:cubicBezTo>
                  <a:pt x="26656" y="21656"/>
                  <a:pt x="26719" y="21656"/>
                  <a:pt x="26781" y="21594"/>
                </a:cubicBezTo>
                <a:cubicBezTo>
                  <a:pt x="26844" y="21563"/>
                  <a:pt x="26875" y="21594"/>
                  <a:pt x="26906" y="21625"/>
                </a:cubicBezTo>
                <a:cubicBezTo>
                  <a:pt x="26937" y="21656"/>
                  <a:pt x="26937" y="21688"/>
                  <a:pt x="26906" y="21719"/>
                </a:cubicBezTo>
                <a:cubicBezTo>
                  <a:pt x="26750" y="21813"/>
                  <a:pt x="26812" y="21875"/>
                  <a:pt x="26875" y="21969"/>
                </a:cubicBezTo>
                <a:cubicBezTo>
                  <a:pt x="26937" y="22031"/>
                  <a:pt x="27000" y="22094"/>
                  <a:pt x="27062" y="22156"/>
                </a:cubicBezTo>
                <a:cubicBezTo>
                  <a:pt x="27125" y="22219"/>
                  <a:pt x="27125" y="22281"/>
                  <a:pt x="27125" y="22344"/>
                </a:cubicBezTo>
                <a:cubicBezTo>
                  <a:pt x="27062" y="22594"/>
                  <a:pt x="27156" y="22844"/>
                  <a:pt x="27156" y="23094"/>
                </a:cubicBezTo>
                <a:cubicBezTo>
                  <a:pt x="27187" y="23094"/>
                  <a:pt x="27187" y="23063"/>
                  <a:pt x="27219" y="23031"/>
                </a:cubicBezTo>
                <a:cubicBezTo>
                  <a:pt x="27406" y="22438"/>
                  <a:pt x="27406" y="21813"/>
                  <a:pt x="27312" y="21188"/>
                </a:cubicBezTo>
                <a:cubicBezTo>
                  <a:pt x="27219" y="20563"/>
                  <a:pt x="27000" y="19969"/>
                  <a:pt x="26812" y="19344"/>
                </a:cubicBezTo>
                <a:cubicBezTo>
                  <a:pt x="26750" y="19219"/>
                  <a:pt x="26687" y="19094"/>
                  <a:pt x="26687" y="18938"/>
                </a:cubicBezTo>
                <a:cubicBezTo>
                  <a:pt x="26812" y="19094"/>
                  <a:pt x="26875" y="19313"/>
                  <a:pt x="26937" y="19531"/>
                </a:cubicBezTo>
                <a:cubicBezTo>
                  <a:pt x="26969" y="19375"/>
                  <a:pt x="27031" y="19250"/>
                  <a:pt x="27031" y="19094"/>
                </a:cubicBezTo>
                <a:cubicBezTo>
                  <a:pt x="27031" y="18688"/>
                  <a:pt x="27031" y="18250"/>
                  <a:pt x="26906" y="17875"/>
                </a:cubicBezTo>
                <a:cubicBezTo>
                  <a:pt x="26875" y="17781"/>
                  <a:pt x="26844" y="17719"/>
                  <a:pt x="26875" y="17625"/>
                </a:cubicBezTo>
                <a:cubicBezTo>
                  <a:pt x="26937" y="17375"/>
                  <a:pt x="26906" y="17094"/>
                  <a:pt x="26906" y="16844"/>
                </a:cubicBezTo>
                <a:cubicBezTo>
                  <a:pt x="26906" y="16781"/>
                  <a:pt x="26906" y="16719"/>
                  <a:pt x="26937" y="16688"/>
                </a:cubicBezTo>
                <a:cubicBezTo>
                  <a:pt x="27125" y="16563"/>
                  <a:pt x="27125" y="16375"/>
                  <a:pt x="27000" y="16219"/>
                </a:cubicBezTo>
                <a:cubicBezTo>
                  <a:pt x="27000" y="16156"/>
                  <a:pt x="26969" y="16125"/>
                  <a:pt x="27000" y="16094"/>
                </a:cubicBezTo>
                <a:cubicBezTo>
                  <a:pt x="27062" y="16031"/>
                  <a:pt x="27094" y="16125"/>
                  <a:pt x="27125" y="16125"/>
                </a:cubicBezTo>
                <a:cubicBezTo>
                  <a:pt x="27156" y="16125"/>
                  <a:pt x="27187" y="16156"/>
                  <a:pt x="27187" y="16156"/>
                </a:cubicBezTo>
                <a:cubicBezTo>
                  <a:pt x="27219" y="16156"/>
                  <a:pt x="27250" y="16156"/>
                  <a:pt x="27281" y="16156"/>
                </a:cubicBezTo>
                <a:cubicBezTo>
                  <a:pt x="27250" y="16156"/>
                  <a:pt x="27219" y="16156"/>
                  <a:pt x="27187" y="16156"/>
                </a:cubicBezTo>
                <a:cubicBezTo>
                  <a:pt x="27219" y="16219"/>
                  <a:pt x="27250" y="16219"/>
                  <a:pt x="27281" y="16219"/>
                </a:cubicBezTo>
                <a:cubicBezTo>
                  <a:pt x="27500" y="16188"/>
                  <a:pt x="27656" y="16344"/>
                  <a:pt x="27812" y="16438"/>
                </a:cubicBezTo>
                <a:cubicBezTo>
                  <a:pt x="28125" y="16688"/>
                  <a:pt x="28469" y="16688"/>
                  <a:pt x="28812" y="16531"/>
                </a:cubicBezTo>
                <a:cubicBezTo>
                  <a:pt x="28969" y="16500"/>
                  <a:pt x="29125" y="16375"/>
                  <a:pt x="29312" y="16344"/>
                </a:cubicBezTo>
                <a:cubicBezTo>
                  <a:pt x="29594" y="16313"/>
                  <a:pt x="29844" y="16313"/>
                  <a:pt x="30125" y="16250"/>
                </a:cubicBezTo>
                <a:cubicBezTo>
                  <a:pt x="30344" y="16156"/>
                  <a:pt x="30594" y="16063"/>
                  <a:pt x="30844" y="16031"/>
                </a:cubicBezTo>
                <a:cubicBezTo>
                  <a:pt x="31156" y="15969"/>
                  <a:pt x="31406" y="15844"/>
                  <a:pt x="31687" y="15688"/>
                </a:cubicBezTo>
                <a:cubicBezTo>
                  <a:pt x="32062" y="15531"/>
                  <a:pt x="32344" y="15281"/>
                  <a:pt x="32687" y="15094"/>
                </a:cubicBezTo>
                <a:cubicBezTo>
                  <a:pt x="32875" y="14969"/>
                  <a:pt x="33000" y="14781"/>
                  <a:pt x="33125" y="14563"/>
                </a:cubicBezTo>
                <a:cubicBezTo>
                  <a:pt x="33062" y="14563"/>
                  <a:pt x="33000" y="14594"/>
                  <a:pt x="33000" y="14531"/>
                </a:cubicBezTo>
                <a:close/>
                <a:moveTo>
                  <a:pt x="22687" y="4875"/>
                </a:moveTo>
                <a:cubicBezTo>
                  <a:pt x="22687" y="4844"/>
                  <a:pt x="22687" y="4813"/>
                  <a:pt x="22656" y="4813"/>
                </a:cubicBezTo>
                <a:cubicBezTo>
                  <a:pt x="22687" y="4813"/>
                  <a:pt x="22687" y="4844"/>
                  <a:pt x="22687" y="4875"/>
                </a:cubicBezTo>
                <a:close/>
                <a:moveTo>
                  <a:pt x="26812" y="8875"/>
                </a:moveTo>
                <a:cubicBezTo>
                  <a:pt x="26875" y="8938"/>
                  <a:pt x="26906" y="8969"/>
                  <a:pt x="26969" y="9000"/>
                </a:cubicBezTo>
                <a:cubicBezTo>
                  <a:pt x="26906" y="8969"/>
                  <a:pt x="26875" y="8938"/>
                  <a:pt x="26812" y="8875"/>
                </a:cubicBezTo>
                <a:close/>
                <a:moveTo>
                  <a:pt x="19812" y="2594"/>
                </a:moveTo>
                <a:cubicBezTo>
                  <a:pt x="19812" y="2594"/>
                  <a:pt x="19844" y="2563"/>
                  <a:pt x="19875" y="2594"/>
                </a:cubicBezTo>
                <a:cubicBezTo>
                  <a:pt x="19844" y="2563"/>
                  <a:pt x="19812" y="2594"/>
                  <a:pt x="19812" y="2594"/>
                </a:cubicBezTo>
                <a:cubicBezTo>
                  <a:pt x="19719" y="2625"/>
                  <a:pt x="19719" y="2563"/>
                  <a:pt x="19687" y="2531"/>
                </a:cubicBezTo>
                <a:cubicBezTo>
                  <a:pt x="19719" y="2563"/>
                  <a:pt x="19719" y="2625"/>
                  <a:pt x="19812" y="2594"/>
                </a:cubicBezTo>
                <a:close/>
                <a:moveTo>
                  <a:pt x="17687" y="5875"/>
                </a:moveTo>
                <a:cubicBezTo>
                  <a:pt x="17687" y="5844"/>
                  <a:pt x="17687" y="5813"/>
                  <a:pt x="17656" y="5781"/>
                </a:cubicBezTo>
                <a:cubicBezTo>
                  <a:pt x="17687" y="5813"/>
                  <a:pt x="17687" y="5844"/>
                  <a:pt x="17687" y="5875"/>
                </a:cubicBezTo>
                <a:cubicBezTo>
                  <a:pt x="17687" y="5875"/>
                  <a:pt x="17687" y="5875"/>
                  <a:pt x="17687" y="5875"/>
                </a:cubicBezTo>
                <a:close/>
                <a:moveTo>
                  <a:pt x="13469" y="8625"/>
                </a:moveTo>
                <a:cubicBezTo>
                  <a:pt x="13469" y="8625"/>
                  <a:pt x="13469" y="8625"/>
                  <a:pt x="13469" y="8625"/>
                </a:cubicBezTo>
                <a:cubicBezTo>
                  <a:pt x="13500" y="8625"/>
                  <a:pt x="13531" y="8625"/>
                  <a:pt x="13562" y="8656"/>
                </a:cubicBezTo>
                <a:cubicBezTo>
                  <a:pt x="13531" y="8625"/>
                  <a:pt x="13500" y="8625"/>
                  <a:pt x="13469" y="8625"/>
                </a:cubicBezTo>
                <a:close/>
                <a:moveTo>
                  <a:pt x="1031" y="781"/>
                </a:moveTo>
                <a:cubicBezTo>
                  <a:pt x="1031" y="781"/>
                  <a:pt x="1062" y="750"/>
                  <a:pt x="1031" y="719"/>
                </a:cubicBezTo>
                <a:cubicBezTo>
                  <a:pt x="1062" y="750"/>
                  <a:pt x="1031" y="781"/>
                  <a:pt x="1031" y="781"/>
                </a:cubicBezTo>
                <a:close/>
                <a:moveTo>
                  <a:pt x="3719" y="6469"/>
                </a:moveTo>
                <a:cubicBezTo>
                  <a:pt x="3719" y="6438"/>
                  <a:pt x="3719" y="6438"/>
                  <a:pt x="3719" y="6406"/>
                </a:cubicBezTo>
                <a:cubicBezTo>
                  <a:pt x="3719" y="6438"/>
                  <a:pt x="3719" y="6438"/>
                  <a:pt x="3719" y="6469"/>
                </a:cubicBezTo>
                <a:close/>
                <a:moveTo>
                  <a:pt x="3875" y="7031"/>
                </a:moveTo>
                <a:cubicBezTo>
                  <a:pt x="3875" y="7000"/>
                  <a:pt x="3875" y="7000"/>
                  <a:pt x="3875" y="7000"/>
                </a:cubicBezTo>
                <a:cubicBezTo>
                  <a:pt x="3875" y="7000"/>
                  <a:pt x="3875" y="7000"/>
                  <a:pt x="3875" y="7031"/>
                </a:cubicBezTo>
                <a:close/>
                <a:moveTo>
                  <a:pt x="6406" y="6563"/>
                </a:moveTo>
                <a:cubicBezTo>
                  <a:pt x="6406" y="6563"/>
                  <a:pt x="6406" y="6563"/>
                  <a:pt x="6406" y="6563"/>
                </a:cubicBezTo>
                <a:cubicBezTo>
                  <a:pt x="6375" y="6563"/>
                  <a:pt x="6375" y="6563"/>
                  <a:pt x="6375" y="6563"/>
                </a:cubicBezTo>
                <a:cubicBezTo>
                  <a:pt x="6375" y="6563"/>
                  <a:pt x="6375" y="6563"/>
                  <a:pt x="6406" y="6563"/>
                </a:cubicBezTo>
                <a:close/>
                <a:moveTo>
                  <a:pt x="6906" y="8750"/>
                </a:moveTo>
                <a:cubicBezTo>
                  <a:pt x="6906" y="8781"/>
                  <a:pt x="6906" y="8844"/>
                  <a:pt x="6937" y="8875"/>
                </a:cubicBezTo>
                <a:cubicBezTo>
                  <a:pt x="6906" y="8844"/>
                  <a:pt x="6906" y="8781"/>
                  <a:pt x="6906" y="8750"/>
                </a:cubicBezTo>
                <a:close/>
                <a:moveTo>
                  <a:pt x="11594" y="14313"/>
                </a:move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ubicBezTo>
                  <a:pt x="11594" y="14313"/>
                  <a:pt x="11594" y="14313"/>
                  <a:pt x="11594" y="14313"/>
                </a:cubicBezTo>
                <a:close/>
                <a:moveTo>
                  <a:pt x="15812" y="18594"/>
                </a:moveTo>
                <a:cubicBezTo>
                  <a:pt x="15812" y="18594"/>
                  <a:pt x="15812" y="18594"/>
                  <a:pt x="15812" y="18594"/>
                </a:cubicBezTo>
                <a:cubicBezTo>
                  <a:pt x="15844" y="18594"/>
                  <a:pt x="15844" y="18625"/>
                  <a:pt x="15875" y="18625"/>
                </a:cubicBezTo>
                <a:cubicBezTo>
                  <a:pt x="15844" y="18625"/>
                  <a:pt x="15844" y="18594"/>
                  <a:pt x="15812" y="18594"/>
                </a:cubicBezTo>
                <a:close/>
                <a:moveTo>
                  <a:pt x="15812" y="18344"/>
                </a:moveTo>
                <a:cubicBezTo>
                  <a:pt x="15906" y="18469"/>
                  <a:pt x="16000" y="18594"/>
                  <a:pt x="16094" y="18688"/>
                </a:cubicBezTo>
                <a:cubicBezTo>
                  <a:pt x="16000" y="18594"/>
                  <a:pt x="15906" y="18469"/>
                  <a:pt x="15812" y="18344"/>
                </a:cubicBezTo>
                <a:close/>
                <a:moveTo>
                  <a:pt x="25844" y="11313"/>
                </a:moveTo>
                <a:cubicBezTo>
                  <a:pt x="25875" y="11313"/>
                  <a:pt x="25875" y="11281"/>
                  <a:pt x="25906" y="11281"/>
                </a:cubicBezTo>
                <a:cubicBezTo>
                  <a:pt x="25875" y="11281"/>
                  <a:pt x="25875" y="11313"/>
                  <a:pt x="25844" y="11313"/>
                </a:cubicBezTo>
                <a:close/>
                <a:moveTo>
                  <a:pt x="25844" y="17750"/>
                </a:moveTo>
                <a:cubicBezTo>
                  <a:pt x="25844" y="17750"/>
                  <a:pt x="25844" y="17750"/>
                  <a:pt x="25844" y="17750"/>
                </a:cubicBezTo>
                <a:cubicBezTo>
                  <a:pt x="25844" y="17781"/>
                  <a:pt x="25844" y="17813"/>
                  <a:pt x="25812" y="17844"/>
                </a:cubicBezTo>
                <a:cubicBezTo>
                  <a:pt x="25844" y="17813"/>
                  <a:pt x="25844" y="17781"/>
                  <a:pt x="25844" y="17750"/>
                </a:cubicBezTo>
                <a:close/>
                <a:moveTo>
                  <a:pt x="26469" y="17438"/>
                </a:moveTo>
                <a:cubicBezTo>
                  <a:pt x="26437" y="17375"/>
                  <a:pt x="26437" y="17313"/>
                  <a:pt x="26437" y="17250"/>
                </a:cubicBezTo>
                <a:cubicBezTo>
                  <a:pt x="26437" y="17313"/>
                  <a:pt x="26437" y="17375"/>
                  <a:pt x="26469" y="17438"/>
                </a:cubicBezTo>
                <a:close/>
                <a:moveTo>
                  <a:pt x="25469" y="10906"/>
                </a:move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ubicBezTo>
                  <a:pt x="25469" y="10906"/>
                  <a:pt x="25469" y="10906"/>
                  <a:pt x="25469" y="10906"/>
                </a:cubicBezTo>
                <a:close/>
                <a:moveTo>
                  <a:pt x="24969" y="16563"/>
                </a:moveTo>
                <a:cubicBezTo>
                  <a:pt x="24969" y="16563"/>
                  <a:pt x="24969" y="16563"/>
                  <a:pt x="24969" y="16563"/>
                </a:cubicBezTo>
                <a:cubicBezTo>
                  <a:pt x="24969" y="16563"/>
                  <a:pt x="24969" y="16563"/>
                  <a:pt x="24937" y="16594"/>
                </a:cubicBezTo>
                <a:cubicBezTo>
                  <a:pt x="24969" y="16563"/>
                  <a:pt x="24969" y="16563"/>
                  <a:pt x="24969" y="16563"/>
                </a:cubicBezTo>
                <a:close/>
                <a:moveTo>
                  <a:pt x="24969" y="16813"/>
                </a:moveTo>
                <a:cubicBezTo>
                  <a:pt x="24969" y="16813"/>
                  <a:pt x="24969" y="16844"/>
                  <a:pt x="24937" y="16844"/>
                </a:cubicBezTo>
                <a:cubicBezTo>
                  <a:pt x="24969" y="16844"/>
                  <a:pt x="24969" y="16813"/>
                  <a:pt x="24969" y="16813"/>
                </a:cubicBezTo>
                <a:close/>
                <a:moveTo>
                  <a:pt x="22906" y="10500"/>
                </a:move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ubicBezTo>
                  <a:pt x="22906" y="10500"/>
                  <a:pt x="22906" y="10500"/>
                  <a:pt x="22906" y="10500"/>
                </a:cubicBezTo>
                <a:close/>
                <a:moveTo>
                  <a:pt x="21844" y="10750"/>
                </a:moveTo>
                <a:cubicBezTo>
                  <a:pt x="21781" y="10750"/>
                  <a:pt x="21750" y="10781"/>
                  <a:pt x="21719" y="10813"/>
                </a:cubicBezTo>
                <a:cubicBezTo>
                  <a:pt x="21750" y="10781"/>
                  <a:pt x="21781" y="10750"/>
                  <a:pt x="21844" y="10750"/>
                </a:cubicBezTo>
                <a:close/>
                <a:moveTo>
                  <a:pt x="18000" y="10000"/>
                </a:moveTo>
                <a:cubicBezTo>
                  <a:pt x="17969" y="9969"/>
                  <a:pt x="17937" y="9969"/>
                  <a:pt x="17906" y="9938"/>
                </a:cubicBezTo>
                <a:cubicBezTo>
                  <a:pt x="17937" y="9969"/>
                  <a:pt x="17969" y="9969"/>
                  <a:pt x="18000" y="10000"/>
                </a:cubicBezTo>
                <a:close/>
                <a:moveTo>
                  <a:pt x="17031" y="9344"/>
                </a:moveTo>
                <a:cubicBezTo>
                  <a:pt x="17031" y="9406"/>
                  <a:pt x="17031" y="9469"/>
                  <a:pt x="17031" y="9531"/>
                </a:cubicBezTo>
                <a:cubicBezTo>
                  <a:pt x="17031" y="9469"/>
                  <a:pt x="17031" y="9406"/>
                  <a:pt x="17031" y="9344"/>
                </a:cubicBezTo>
                <a:cubicBezTo>
                  <a:pt x="17031" y="9313"/>
                  <a:pt x="17031" y="9281"/>
                  <a:pt x="17031" y="9250"/>
                </a:cubicBezTo>
                <a:cubicBezTo>
                  <a:pt x="17031" y="9281"/>
                  <a:pt x="17031" y="9313"/>
                  <a:pt x="17031" y="9344"/>
                </a:cubicBezTo>
                <a:close/>
                <a:moveTo>
                  <a:pt x="16500" y="7719"/>
                </a:moveTo>
                <a:cubicBezTo>
                  <a:pt x="16500" y="7719"/>
                  <a:pt x="16500" y="7719"/>
                  <a:pt x="16500" y="7719"/>
                </a:cubicBezTo>
                <a:cubicBezTo>
                  <a:pt x="16500" y="7688"/>
                  <a:pt x="16469" y="7688"/>
                  <a:pt x="16469" y="7656"/>
                </a:cubicBezTo>
                <a:cubicBezTo>
                  <a:pt x="16469" y="7688"/>
                  <a:pt x="16500" y="7688"/>
                  <a:pt x="16500" y="7719"/>
                </a:cubicBezTo>
                <a:close/>
                <a:moveTo>
                  <a:pt x="16500" y="7813"/>
                </a:moveTo>
                <a:cubicBezTo>
                  <a:pt x="16500" y="7781"/>
                  <a:pt x="16500" y="7750"/>
                  <a:pt x="16500" y="7719"/>
                </a:cubicBezTo>
                <a:cubicBezTo>
                  <a:pt x="16500" y="7750"/>
                  <a:pt x="16500" y="7781"/>
                  <a:pt x="16500" y="7813"/>
                </a:cubicBezTo>
                <a:cubicBezTo>
                  <a:pt x="16500" y="7844"/>
                  <a:pt x="16469" y="7875"/>
                  <a:pt x="16469" y="7906"/>
                </a:cubicBezTo>
                <a:cubicBezTo>
                  <a:pt x="16469" y="7875"/>
                  <a:pt x="16500" y="7844"/>
                  <a:pt x="16500" y="7813"/>
                </a:cubicBezTo>
                <a:close/>
                <a:moveTo>
                  <a:pt x="16281" y="7125"/>
                </a:moveTo>
                <a:cubicBezTo>
                  <a:pt x="16281" y="7125"/>
                  <a:pt x="16281" y="7094"/>
                  <a:pt x="16281" y="7094"/>
                </a:cubicBezTo>
                <a:cubicBezTo>
                  <a:pt x="16281" y="7094"/>
                  <a:pt x="16281" y="7125"/>
                  <a:pt x="16281" y="7125"/>
                </a:cubicBezTo>
                <a:close/>
                <a:moveTo>
                  <a:pt x="16219" y="6625"/>
                </a:moveTo>
                <a:cubicBezTo>
                  <a:pt x="16219" y="6656"/>
                  <a:pt x="16219" y="6688"/>
                  <a:pt x="16219" y="6688"/>
                </a:cubicBezTo>
                <a:cubicBezTo>
                  <a:pt x="16219" y="6688"/>
                  <a:pt x="16219" y="6656"/>
                  <a:pt x="16219" y="6625"/>
                </a:cubicBezTo>
                <a:cubicBezTo>
                  <a:pt x="16219" y="6625"/>
                  <a:pt x="16219" y="6625"/>
                  <a:pt x="16219" y="6625"/>
                </a:cubicBezTo>
                <a:close/>
                <a:moveTo>
                  <a:pt x="16250" y="6938"/>
                </a:moveTo>
                <a:cubicBezTo>
                  <a:pt x="16250" y="6938"/>
                  <a:pt x="16219" y="6938"/>
                  <a:pt x="16219" y="6938"/>
                </a:cubicBezTo>
                <a:cubicBezTo>
                  <a:pt x="16219" y="6938"/>
                  <a:pt x="16250" y="6938"/>
                  <a:pt x="16250" y="6938"/>
                </a:cubicBezTo>
                <a:close/>
                <a:moveTo>
                  <a:pt x="14437" y="9750"/>
                </a:moveTo>
                <a:cubicBezTo>
                  <a:pt x="14562" y="9750"/>
                  <a:pt x="14500" y="9875"/>
                  <a:pt x="14531" y="9906"/>
                </a:cubicBezTo>
                <a:cubicBezTo>
                  <a:pt x="14500" y="9875"/>
                  <a:pt x="14562" y="9750"/>
                  <a:pt x="14437" y="9750"/>
                </a:cubicBezTo>
                <a:cubicBezTo>
                  <a:pt x="14437" y="9750"/>
                  <a:pt x="14437" y="9750"/>
                  <a:pt x="14437" y="9750"/>
                </a:cubicBezTo>
                <a:close/>
                <a:moveTo>
                  <a:pt x="14094" y="11438"/>
                </a:moveTo>
                <a:cubicBezTo>
                  <a:pt x="14094" y="11438"/>
                  <a:pt x="14094" y="11469"/>
                  <a:pt x="14094" y="11469"/>
                </a:cubicBezTo>
                <a:cubicBezTo>
                  <a:pt x="14094" y="11469"/>
                  <a:pt x="14094" y="11469"/>
                  <a:pt x="14094" y="11469"/>
                </a:cubicBezTo>
                <a:cubicBezTo>
                  <a:pt x="14094" y="11469"/>
                  <a:pt x="14094" y="11438"/>
                  <a:pt x="14094" y="11438"/>
                </a:cubicBezTo>
                <a:cubicBezTo>
                  <a:pt x="14062" y="11406"/>
                  <a:pt x="14031" y="11375"/>
                  <a:pt x="13969" y="11375"/>
                </a:cubicBezTo>
                <a:cubicBezTo>
                  <a:pt x="14031" y="11375"/>
                  <a:pt x="14062" y="11406"/>
                  <a:pt x="14094" y="11438"/>
                </a:cubicBezTo>
                <a:close/>
                <a:moveTo>
                  <a:pt x="13812" y="11031"/>
                </a:moveTo>
                <a:cubicBezTo>
                  <a:pt x="13781" y="11094"/>
                  <a:pt x="13750" y="11156"/>
                  <a:pt x="13750" y="11188"/>
                </a:cubicBezTo>
                <a:cubicBezTo>
                  <a:pt x="13750" y="11156"/>
                  <a:pt x="13781" y="11094"/>
                  <a:pt x="13812" y="11031"/>
                </a:cubicBezTo>
                <a:close/>
                <a:moveTo>
                  <a:pt x="13937" y="14750"/>
                </a:moveTo>
                <a:cubicBezTo>
                  <a:pt x="13937" y="14750"/>
                  <a:pt x="13937" y="14750"/>
                  <a:pt x="13937" y="14750"/>
                </a:cubicBezTo>
                <a:cubicBezTo>
                  <a:pt x="13937" y="14750"/>
                  <a:pt x="13937" y="14781"/>
                  <a:pt x="13937" y="14781"/>
                </a:cubicBezTo>
                <a:cubicBezTo>
                  <a:pt x="13937" y="14781"/>
                  <a:pt x="13937" y="14750"/>
                  <a:pt x="13937" y="14750"/>
                </a:cubicBezTo>
                <a:close/>
                <a:moveTo>
                  <a:pt x="16187" y="18250"/>
                </a:moveTo>
                <a:cubicBezTo>
                  <a:pt x="16219" y="18281"/>
                  <a:pt x="16250" y="18281"/>
                  <a:pt x="16281" y="18313"/>
                </a:cubicBezTo>
                <a:cubicBezTo>
                  <a:pt x="16250" y="18281"/>
                  <a:pt x="16219" y="18281"/>
                  <a:pt x="16187" y="18250"/>
                </a:cubicBezTo>
                <a:close/>
                <a:moveTo>
                  <a:pt x="26875" y="15531"/>
                </a:moveTo>
                <a:cubicBezTo>
                  <a:pt x="26906" y="15563"/>
                  <a:pt x="26906" y="15594"/>
                  <a:pt x="26937" y="15625"/>
                </a:cubicBezTo>
                <a:cubicBezTo>
                  <a:pt x="26906" y="15594"/>
                  <a:pt x="26906" y="15563"/>
                  <a:pt x="26875" y="15531"/>
                </a:cubicBezTo>
                <a:close/>
                <a:moveTo>
                  <a:pt x="29031" y="15000"/>
                </a:moveTo>
                <a:cubicBezTo>
                  <a:pt x="29062" y="15063"/>
                  <a:pt x="29094" y="15094"/>
                  <a:pt x="29125" y="15156"/>
                </a:cubicBezTo>
                <a:cubicBezTo>
                  <a:pt x="29094" y="15094"/>
                  <a:pt x="29062" y="15063"/>
                  <a:pt x="29031" y="15000"/>
                </a:cubicBezTo>
                <a:close/>
                <a:moveTo>
                  <a:pt x="31656" y="11531"/>
                </a:moveTo>
                <a:cubicBezTo>
                  <a:pt x="31656" y="11531"/>
                  <a:pt x="31656" y="11531"/>
                  <a:pt x="31656" y="11563"/>
                </a:cubicBezTo>
                <a:cubicBezTo>
                  <a:pt x="31656" y="11531"/>
                  <a:pt x="31656" y="11531"/>
                  <a:pt x="31656" y="11531"/>
                </a:cubicBezTo>
                <a:close/>
                <a:moveTo>
                  <a:pt x="30875" y="10406"/>
                </a:moveTo>
                <a:cubicBezTo>
                  <a:pt x="30781" y="10375"/>
                  <a:pt x="30719" y="10406"/>
                  <a:pt x="30656" y="10375"/>
                </a:cubicBezTo>
                <a:cubicBezTo>
                  <a:pt x="30656" y="10375"/>
                  <a:pt x="30656" y="10375"/>
                  <a:pt x="30656" y="10375"/>
                </a:cubicBezTo>
                <a:cubicBezTo>
                  <a:pt x="30719" y="10406"/>
                  <a:pt x="30781" y="10375"/>
                  <a:pt x="30875" y="10406"/>
                </a:cubicBezTo>
                <a:close/>
                <a:moveTo>
                  <a:pt x="31531" y="11406"/>
                </a:moveTo>
                <a:cubicBezTo>
                  <a:pt x="31531" y="11469"/>
                  <a:pt x="31562" y="11500"/>
                  <a:pt x="31656" y="11531"/>
                </a:cubicBezTo>
                <a:cubicBezTo>
                  <a:pt x="31656" y="11531"/>
                  <a:pt x="31656" y="11531"/>
                  <a:pt x="31656" y="11531"/>
                </a:cubicBezTo>
                <a:cubicBezTo>
                  <a:pt x="31562" y="11500"/>
                  <a:pt x="31531" y="11469"/>
                  <a:pt x="31531" y="11406"/>
                </a:cubicBezTo>
                <a:close/>
                <a:moveTo>
                  <a:pt x="31812" y="11875"/>
                </a:moveTo>
                <a:cubicBezTo>
                  <a:pt x="31812" y="11875"/>
                  <a:pt x="31812" y="11875"/>
                  <a:pt x="31812" y="11875"/>
                </a:cubicBezTo>
                <a:cubicBezTo>
                  <a:pt x="31844" y="11906"/>
                  <a:pt x="31875" y="11938"/>
                  <a:pt x="31937" y="11969"/>
                </a:cubicBezTo>
                <a:cubicBezTo>
                  <a:pt x="31875" y="11938"/>
                  <a:pt x="31844" y="11906"/>
                  <a:pt x="31812" y="11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36EBED6-2DD8-144F-8883-FFDF68F656C6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898FCDC5-0EFE-6245-963B-64B45F3B89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87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6">
            <a:extLst>
              <a:ext uri="{FF2B5EF4-FFF2-40B4-BE49-F238E27FC236}">
                <a16:creationId xmlns:a16="http://schemas.microsoft.com/office/drawing/2014/main" id="{D0D51A30-7EAF-734C-B1B2-E160BA292562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 flipH="1">
            <a:off x="10177363" y="2538314"/>
            <a:ext cx="13417723" cy="11179274"/>
          </a:xfrm>
          <a:custGeom>
            <a:avLst/>
            <a:gdLst>
              <a:gd name="T0" fmla="*/ 10906 w 30687"/>
              <a:gd name="T1" fmla="*/ 24313 h 25813"/>
              <a:gd name="T2" fmla="*/ 29500 w 30687"/>
              <a:gd name="T3" fmla="*/ 22938 h 25813"/>
              <a:gd name="T4" fmla="*/ 29125 w 30687"/>
              <a:gd name="T5" fmla="*/ 21438 h 25813"/>
              <a:gd name="T6" fmla="*/ 28906 w 30687"/>
              <a:gd name="T7" fmla="*/ 20344 h 25813"/>
              <a:gd name="T8" fmla="*/ 28750 w 30687"/>
              <a:gd name="T9" fmla="*/ 19563 h 25813"/>
              <a:gd name="T10" fmla="*/ 27812 w 30687"/>
              <a:gd name="T11" fmla="*/ 16750 h 25813"/>
              <a:gd name="T12" fmla="*/ 23781 w 30687"/>
              <a:gd name="T13" fmla="*/ 14000 h 25813"/>
              <a:gd name="T14" fmla="*/ 21687 w 30687"/>
              <a:gd name="T15" fmla="*/ 11750 h 25813"/>
              <a:gd name="T16" fmla="*/ 22469 w 30687"/>
              <a:gd name="T17" fmla="*/ 10313 h 25813"/>
              <a:gd name="T18" fmla="*/ 23437 w 30687"/>
              <a:gd name="T19" fmla="*/ 9250 h 25813"/>
              <a:gd name="T20" fmla="*/ 24094 w 30687"/>
              <a:gd name="T21" fmla="*/ 4031 h 25813"/>
              <a:gd name="T22" fmla="*/ 22969 w 30687"/>
              <a:gd name="T23" fmla="*/ 875 h 25813"/>
              <a:gd name="T24" fmla="*/ 17906 w 30687"/>
              <a:gd name="T25" fmla="*/ 3781 h 25813"/>
              <a:gd name="T26" fmla="*/ 15812 w 30687"/>
              <a:gd name="T27" fmla="*/ 7344 h 25813"/>
              <a:gd name="T28" fmla="*/ 16687 w 30687"/>
              <a:gd name="T29" fmla="*/ 8344 h 25813"/>
              <a:gd name="T30" fmla="*/ 12687 w 30687"/>
              <a:gd name="T31" fmla="*/ 5906 h 25813"/>
              <a:gd name="T32" fmla="*/ 10031 w 30687"/>
              <a:gd name="T33" fmla="*/ 5375 h 25813"/>
              <a:gd name="T34" fmla="*/ 9594 w 30687"/>
              <a:gd name="T35" fmla="*/ 5531 h 25813"/>
              <a:gd name="T36" fmla="*/ 2312 w 30687"/>
              <a:gd name="T37" fmla="*/ 375 h 25813"/>
              <a:gd name="T38" fmla="*/ 2219 w 30687"/>
              <a:gd name="T39" fmla="*/ 3063 h 25813"/>
              <a:gd name="T40" fmla="*/ 1656 w 30687"/>
              <a:gd name="T41" fmla="*/ 344 h 25813"/>
              <a:gd name="T42" fmla="*/ 5656 w 30687"/>
              <a:gd name="T43" fmla="*/ 5156 h 25813"/>
              <a:gd name="T44" fmla="*/ 9094 w 30687"/>
              <a:gd name="T45" fmla="*/ 7406 h 25813"/>
              <a:gd name="T46" fmla="*/ 9375 w 30687"/>
              <a:gd name="T47" fmla="*/ 8125 h 25813"/>
              <a:gd name="T48" fmla="*/ 9500 w 30687"/>
              <a:gd name="T49" fmla="*/ 9000 h 25813"/>
              <a:gd name="T50" fmla="*/ 7750 w 30687"/>
              <a:gd name="T51" fmla="*/ 13219 h 25813"/>
              <a:gd name="T52" fmla="*/ 7156 w 30687"/>
              <a:gd name="T53" fmla="*/ 14875 h 25813"/>
              <a:gd name="T54" fmla="*/ 6750 w 30687"/>
              <a:gd name="T55" fmla="*/ 14250 h 25813"/>
              <a:gd name="T56" fmla="*/ 8281 w 30687"/>
              <a:gd name="T57" fmla="*/ 10531 h 25813"/>
              <a:gd name="T58" fmla="*/ 6125 w 30687"/>
              <a:gd name="T59" fmla="*/ 13969 h 25813"/>
              <a:gd name="T60" fmla="*/ 5969 w 30687"/>
              <a:gd name="T61" fmla="*/ 14719 h 25813"/>
              <a:gd name="T62" fmla="*/ 7281 w 30687"/>
              <a:gd name="T63" fmla="*/ 19500 h 25813"/>
              <a:gd name="T64" fmla="*/ 11344 w 30687"/>
              <a:gd name="T65" fmla="*/ 21219 h 25813"/>
              <a:gd name="T66" fmla="*/ 11219 w 30687"/>
              <a:gd name="T67" fmla="*/ 23344 h 25813"/>
              <a:gd name="T68" fmla="*/ 11281 w 30687"/>
              <a:gd name="T69" fmla="*/ 25813 h 25813"/>
              <a:gd name="T70" fmla="*/ 22969 w 30687"/>
              <a:gd name="T71" fmla="*/ 25469 h 25813"/>
              <a:gd name="T72" fmla="*/ 23531 w 30687"/>
              <a:gd name="T73" fmla="*/ 24344 h 25813"/>
              <a:gd name="T74" fmla="*/ 23875 w 30687"/>
              <a:gd name="T75" fmla="*/ 23688 h 25813"/>
              <a:gd name="T76" fmla="*/ 24094 w 30687"/>
              <a:gd name="T77" fmla="*/ 23094 h 25813"/>
              <a:gd name="T78" fmla="*/ 25594 w 30687"/>
              <a:gd name="T79" fmla="*/ 22125 h 25813"/>
              <a:gd name="T80" fmla="*/ 27594 w 30687"/>
              <a:gd name="T81" fmla="*/ 25594 h 25813"/>
              <a:gd name="T82" fmla="*/ 23094 w 30687"/>
              <a:gd name="T83" fmla="*/ 5469 h 25813"/>
              <a:gd name="T84" fmla="*/ 16719 w 30687"/>
              <a:gd name="T85" fmla="*/ 6969 h 25813"/>
              <a:gd name="T86" fmla="*/ 17437 w 30687"/>
              <a:gd name="T87" fmla="*/ 6719 h 25813"/>
              <a:gd name="T88" fmla="*/ 17062 w 30687"/>
              <a:gd name="T89" fmla="*/ 6688 h 25813"/>
              <a:gd name="T90" fmla="*/ 17000 w 30687"/>
              <a:gd name="T91" fmla="*/ 6500 h 25813"/>
              <a:gd name="T92" fmla="*/ 11594 w 30687"/>
              <a:gd name="T93" fmla="*/ 16781 h 25813"/>
              <a:gd name="T94" fmla="*/ 13312 w 30687"/>
              <a:gd name="T95" fmla="*/ 24938 h 25813"/>
              <a:gd name="T96" fmla="*/ 17906 w 30687"/>
              <a:gd name="T97" fmla="*/ 12156 h 25813"/>
              <a:gd name="T98" fmla="*/ 16625 w 30687"/>
              <a:gd name="T99" fmla="*/ 13281 h 25813"/>
              <a:gd name="T100" fmla="*/ 12594 w 30687"/>
              <a:gd name="T101" fmla="*/ 13875 h 25813"/>
              <a:gd name="T102" fmla="*/ 9750 w 30687"/>
              <a:gd name="T103" fmla="*/ 15188 h 25813"/>
              <a:gd name="T104" fmla="*/ 11844 w 30687"/>
              <a:gd name="T105" fmla="*/ 8563 h 25813"/>
              <a:gd name="T106" fmla="*/ 16562 w 30687"/>
              <a:gd name="T107" fmla="*/ 9844 h 25813"/>
              <a:gd name="T108" fmla="*/ 16719 w 30687"/>
              <a:gd name="T109" fmla="*/ 11188 h 25813"/>
              <a:gd name="T110" fmla="*/ 17250 w 30687"/>
              <a:gd name="T111" fmla="*/ 11563 h 25813"/>
              <a:gd name="T112" fmla="*/ 18344 w 30687"/>
              <a:gd name="T113" fmla="*/ 9469 h 25813"/>
              <a:gd name="T114" fmla="*/ 18625 w 30687"/>
              <a:gd name="T115" fmla="*/ 18469 h 25813"/>
              <a:gd name="T116" fmla="*/ 18687 w 30687"/>
              <a:gd name="T117" fmla="*/ 20125 h 25813"/>
              <a:gd name="T118" fmla="*/ 20500 w 30687"/>
              <a:gd name="T119" fmla="*/ 17531 h 25813"/>
              <a:gd name="T120" fmla="*/ 23219 w 30687"/>
              <a:gd name="T121" fmla="*/ 24781 h 25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687" h="25813">
                <a:moveTo>
                  <a:pt x="10906" y="22469"/>
                </a:moveTo>
                <a:cubicBezTo>
                  <a:pt x="10812" y="22906"/>
                  <a:pt x="10687" y="23344"/>
                  <a:pt x="10594" y="23781"/>
                </a:cubicBezTo>
                <a:cubicBezTo>
                  <a:pt x="10531" y="24031"/>
                  <a:pt x="10469" y="24281"/>
                  <a:pt x="10437" y="24531"/>
                </a:cubicBezTo>
                <a:cubicBezTo>
                  <a:pt x="10344" y="24719"/>
                  <a:pt x="10312" y="24906"/>
                  <a:pt x="10281" y="25125"/>
                </a:cubicBezTo>
                <a:cubicBezTo>
                  <a:pt x="10250" y="25188"/>
                  <a:pt x="10250" y="25250"/>
                  <a:pt x="10219" y="25313"/>
                </a:cubicBezTo>
                <a:cubicBezTo>
                  <a:pt x="10187" y="25469"/>
                  <a:pt x="10125" y="25656"/>
                  <a:pt x="10094" y="25813"/>
                </a:cubicBezTo>
                <a:cubicBezTo>
                  <a:pt x="10906" y="25813"/>
                  <a:pt x="10906" y="25813"/>
                  <a:pt x="10906" y="25813"/>
                </a:cubicBezTo>
                <a:cubicBezTo>
                  <a:pt x="10875" y="25438"/>
                  <a:pt x="10875" y="25031"/>
                  <a:pt x="10906" y="24656"/>
                </a:cubicBezTo>
                <a:cubicBezTo>
                  <a:pt x="10906" y="24531"/>
                  <a:pt x="10906" y="24406"/>
                  <a:pt x="10906" y="24313"/>
                </a:cubicBezTo>
                <a:cubicBezTo>
                  <a:pt x="11031" y="23656"/>
                  <a:pt x="10969" y="23000"/>
                  <a:pt x="11000" y="22375"/>
                </a:cubicBezTo>
                <a:cubicBezTo>
                  <a:pt x="11031" y="22188"/>
                  <a:pt x="11125" y="22031"/>
                  <a:pt x="11094" y="21875"/>
                </a:cubicBezTo>
                <a:cubicBezTo>
                  <a:pt x="11000" y="22063"/>
                  <a:pt x="10937" y="22250"/>
                  <a:pt x="10906" y="22469"/>
                </a:cubicBezTo>
                <a:close/>
                <a:moveTo>
                  <a:pt x="30437" y="25344"/>
                </a:moveTo>
                <a:cubicBezTo>
                  <a:pt x="30406" y="25281"/>
                  <a:pt x="30406" y="25250"/>
                  <a:pt x="30344" y="25219"/>
                </a:cubicBezTo>
                <a:cubicBezTo>
                  <a:pt x="30250" y="25063"/>
                  <a:pt x="30187" y="24906"/>
                  <a:pt x="30094" y="24719"/>
                </a:cubicBezTo>
                <a:cubicBezTo>
                  <a:pt x="29937" y="24438"/>
                  <a:pt x="29844" y="24094"/>
                  <a:pt x="29719" y="23750"/>
                </a:cubicBezTo>
                <a:cubicBezTo>
                  <a:pt x="29750" y="23719"/>
                  <a:pt x="29719" y="23656"/>
                  <a:pt x="29687" y="23625"/>
                </a:cubicBezTo>
                <a:cubicBezTo>
                  <a:pt x="29625" y="23375"/>
                  <a:pt x="29531" y="23156"/>
                  <a:pt x="29500" y="22938"/>
                </a:cubicBezTo>
                <a:cubicBezTo>
                  <a:pt x="29469" y="22688"/>
                  <a:pt x="29500" y="22469"/>
                  <a:pt x="29375" y="22250"/>
                </a:cubicBezTo>
                <a:cubicBezTo>
                  <a:pt x="29250" y="22063"/>
                  <a:pt x="29250" y="21844"/>
                  <a:pt x="29187" y="21656"/>
                </a:cubicBezTo>
                <a:cubicBezTo>
                  <a:pt x="29187" y="21625"/>
                  <a:pt x="29156" y="21594"/>
                  <a:pt x="29156" y="21594"/>
                </a:cubicBezTo>
                <a:cubicBezTo>
                  <a:pt x="29125" y="21594"/>
                  <a:pt x="29062" y="21594"/>
                  <a:pt x="29062" y="21656"/>
                </a:cubicBezTo>
                <a:cubicBezTo>
                  <a:pt x="29062" y="21656"/>
                  <a:pt x="29062" y="21656"/>
                  <a:pt x="29062" y="21656"/>
                </a:cubicBezTo>
                <a:cubicBezTo>
                  <a:pt x="29031" y="21656"/>
                  <a:pt x="29000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8969" y="21656"/>
                  <a:pt x="28969" y="21656"/>
                  <a:pt x="28969" y="21656"/>
                </a:cubicBezTo>
                <a:cubicBezTo>
                  <a:pt x="29000" y="21563"/>
                  <a:pt x="29094" y="21500"/>
                  <a:pt x="29125" y="21438"/>
                </a:cubicBezTo>
                <a:cubicBezTo>
                  <a:pt x="29219" y="21313"/>
                  <a:pt x="29156" y="21219"/>
                  <a:pt x="29031" y="21188"/>
                </a:cubicBezTo>
                <a:cubicBezTo>
                  <a:pt x="28937" y="21188"/>
                  <a:pt x="28969" y="21156"/>
                  <a:pt x="29000" y="21094"/>
                </a:cubicBezTo>
                <a:cubicBezTo>
                  <a:pt x="29094" y="20938"/>
                  <a:pt x="29094" y="20906"/>
                  <a:pt x="28906" y="20781"/>
                </a:cubicBezTo>
                <a:cubicBezTo>
                  <a:pt x="28937" y="20750"/>
                  <a:pt x="28969" y="20719"/>
                  <a:pt x="29000" y="20656"/>
                </a:cubicBezTo>
                <a:cubicBezTo>
                  <a:pt x="29031" y="20594"/>
                  <a:pt x="29094" y="20563"/>
                  <a:pt x="29000" y="20500"/>
                </a:cubicBezTo>
                <a:cubicBezTo>
                  <a:pt x="28906" y="20500"/>
                  <a:pt x="28937" y="20406"/>
                  <a:pt x="28906" y="20375"/>
                </a:cubicBezTo>
                <a:cubicBezTo>
                  <a:pt x="28906" y="20375"/>
                  <a:pt x="28906" y="20375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906" y="20344"/>
                  <a:pt x="28906" y="20344"/>
                  <a:pt x="28906" y="20344"/>
                </a:cubicBezTo>
                <a:cubicBezTo>
                  <a:pt x="28875" y="20188"/>
                  <a:pt x="28844" y="20063"/>
                  <a:pt x="28687" y="20031"/>
                </a:cubicBezTo>
                <a:cubicBezTo>
                  <a:pt x="28687" y="20000"/>
                  <a:pt x="28687" y="19969"/>
                  <a:pt x="28625" y="19938"/>
                </a:cubicBezTo>
                <a:cubicBezTo>
                  <a:pt x="28531" y="19875"/>
                  <a:pt x="28469" y="19781"/>
                  <a:pt x="28406" y="19656"/>
                </a:cubicBezTo>
                <a:cubicBezTo>
                  <a:pt x="28406" y="19625"/>
                  <a:pt x="28406" y="19594"/>
                  <a:pt x="28375" y="19563"/>
                </a:cubicBezTo>
                <a:cubicBezTo>
                  <a:pt x="28469" y="19469"/>
                  <a:pt x="28500" y="19625"/>
                  <a:pt x="28562" y="19625"/>
                </a:cubicBezTo>
                <a:cubicBezTo>
                  <a:pt x="28594" y="19688"/>
                  <a:pt x="28625" y="19781"/>
                  <a:pt x="28687" y="19813"/>
                </a:cubicBezTo>
                <a:cubicBezTo>
                  <a:pt x="28750" y="19875"/>
                  <a:pt x="28812" y="19938"/>
                  <a:pt x="28844" y="19906"/>
                </a:cubicBezTo>
                <a:cubicBezTo>
                  <a:pt x="28906" y="19844"/>
                  <a:pt x="28875" y="19750"/>
                  <a:pt x="28844" y="19688"/>
                </a:cubicBezTo>
                <a:cubicBezTo>
                  <a:pt x="28812" y="19656"/>
                  <a:pt x="28750" y="19594"/>
                  <a:pt x="28750" y="19563"/>
                </a:cubicBezTo>
                <a:cubicBezTo>
                  <a:pt x="28625" y="19219"/>
                  <a:pt x="28437" y="18906"/>
                  <a:pt x="28250" y="18625"/>
                </a:cubicBezTo>
                <a:cubicBezTo>
                  <a:pt x="28219" y="18563"/>
                  <a:pt x="28219" y="18531"/>
                  <a:pt x="28219" y="18500"/>
                </a:cubicBezTo>
                <a:cubicBezTo>
                  <a:pt x="28375" y="18563"/>
                  <a:pt x="28250" y="18375"/>
                  <a:pt x="28375" y="18406"/>
                </a:cubicBezTo>
                <a:cubicBezTo>
                  <a:pt x="28375" y="18406"/>
                  <a:pt x="28375" y="18469"/>
                  <a:pt x="28469" y="18531"/>
                </a:cubicBezTo>
                <a:cubicBezTo>
                  <a:pt x="28406" y="18375"/>
                  <a:pt x="28375" y="18219"/>
                  <a:pt x="28312" y="18125"/>
                </a:cubicBezTo>
                <a:cubicBezTo>
                  <a:pt x="28187" y="17938"/>
                  <a:pt x="28250" y="17688"/>
                  <a:pt x="28094" y="17500"/>
                </a:cubicBezTo>
                <a:cubicBezTo>
                  <a:pt x="28094" y="17469"/>
                  <a:pt x="28094" y="17406"/>
                  <a:pt x="28125" y="17406"/>
                </a:cubicBezTo>
                <a:cubicBezTo>
                  <a:pt x="28219" y="17438"/>
                  <a:pt x="28187" y="17406"/>
                  <a:pt x="28156" y="17375"/>
                </a:cubicBezTo>
                <a:cubicBezTo>
                  <a:pt x="28031" y="17156"/>
                  <a:pt x="27937" y="16938"/>
                  <a:pt x="27812" y="16750"/>
                </a:cubicBezTo>
                <a:cubicBezTo>
                  <a:pt x="27500" y="16219"/>
                  <a:pt x="27125" y="15781"/>
                  <a:pt x="26656" y="15406"/>
                </a:cubicBezTo>
                <a:cubicBezTo>
                  <a:pt x="26625" y="15375"/>
                  <a:pt x="26625" y="15375"/>
                  <a:pt x="26625" y="15344"/>
                </a:cubicBezTo>
                <a:cubicBezTo>
                  <a:pt x="26625" y="15188"/>
                  <a:pt x="26500" y="15156"/>
                  <a:pt x="26375" y="15125"/>
                </a:cubicBezTo>
                <a:cubicBezTo>
                  <a:pt x="26250" y="15094"/>
                  <a:pt x="26094" y="15063"/>
                  <a:pt x="25969" y="15031"/>
                </a:cubicBezTo>
                <a:cubicBezTo>
                  <a:pt x="25844" y="14969"/>
                  <a:pt x="25656" y="14969"/>
                  <a:pt x="25625" y="14844"/>
                </a:cubicBezTo>
                <a:cubicBezTo>
                  <a:pt x="25594" y="14719"/>
                  <a:pt x="25500" y="14656"/>
                  <a:pt x="25406" y="14688"/>
                </a:cubicBezTo>
                <a:cubicBezTo>
                  <a:pt x="25125" y="14688"/>
                  <a:pt x="24906" y="14500"/>
                  <a:pt x="24656" y="14406"/>
                </a:cubicBezTo>
                <a:cubicBezTo>
                  <a:pt x="24500" y="14344"/>
                  <a:pt x="24406" y="14188"/>
                  <a:pt x="24219" y="14188"/>
                </a:cubicBezTo>
                <a:cubicBezTo>
                  <a:pt x="24062" y="14156"/>
                  <a:pt x="23937" y="14094"/>
                  <a:pt x="23781" y="14000"/>
                </a:cubicBezTo>
                <a:cubicBezTo>
                  <a:pt x="23562" y="13906"/>
                  <a:pt x="23375" y="13688"/>
                  <a:pt x="23094" y="13656"/>
                </a:cubicBezTo>
                <a:cubicBezTo>
                  <a:pt x="23062" y="13656"/>
                  <a:pt x="23031" y="13625"/>
                  <a:pt x="23031" y="13594"/>
                </a:cubicBezTo>
                <a:cubicBezTo>
                  <a:pt x="22937" y="13375"/>
                  <a:pt x="22750" y="13250"/>
                  <a:pt x="22625" y="13063"/>
                </a:cubicBezTo>
                <a:cubicBezTo>
                  <a:pt x="22500" y="12906"/>
                  <a:pt x="22406" y="12719"/>
                  <a:pt x="22250" y="12625"/>
                </a:cubicBezTo>
                <a:cubicBezTo>
                  <a:pt x="22250" y="12594"/>
                  <a:pt x="22219" y="12563"/>
                  <a:pt x="22219" y="12563"/>
                </a:cubicBezTo>
                <a:cubicBezTo>
                  <a:pt x="22031" y="12563"/>
                  <a:pt x="22000" y="12438"/>
                  <a:pt x="21969" y="12313"/>
                </a:cubicBezTo>
                <a:cubicBezTo>
                  <a:pt x="21937" y="12250"/>
                  <a:pt x="21937" y="12188"/>
                  <a:pt x="21906" y="12125"/>
                </a:cubicBezTo>
                <a:cubicBezTo>
                  <a:pt x="21875" y="12063"/>
                  <a:pt x="21906" y="11938"/>
                  <a:pt x="21781" y="11875"/>
                </a:cubicBezTo>
                <a:cubicBezTo>
                  <a:pt x="21781" y="11813"/>
                  <a:pt x="21719" y="11781"/>
                  <a:pt x="21687" y="11750"/>
                </a:cubicBezTo>
                <a:cubicBezTo>
                  <a:pt x="21656" y="11688"/>
                  <a:pt x="21562" y="11688"/>
                  <a:pt x="21594" y="11594"/>
                </a:cubicBezTo>
                <a:cubicBezTo>
                  <a:pt x="21625" y="11594"/>
                  <a:pt x="21656" y="11594"/>
                  <a:pt x="21687" y="11563"/>
                </a:cubicBezTo>
                <a:cubicBezTo>
                  <a:pt x="21719" y="11531"/>
                  <a:pt x="21750" y="11406"/>
                  <a:pt x="21844" y="11469"/>
                </a:cubicBezTo>
                <a:cubicBezTo>
                  <a:pt x="21844" y="11469"/>
                  <a:pt x="21937" y="11406"/>
                  <a:pt x="21937" y="11344"/>
                </a:cubicBezTo>
                <a:cubicBezTo>
                  <a:pt x="21969" y="11281"/>
                  <a:pt x="21906" y="11313"/>
                  <a:pt x="21875" y="11313"/>
                </a:cubicBezTo>
                <a:cubicBezTo>
                  <a:pt x="21875" y="11281"/>
                  <a:pt x="21906" y="11250"/>
                  <a:pt x="21906" y="11250"/>
                </a:cubicBezTo>
                <a:cubicBezTo>
                  <a:pt x="21781" y="11125"/>
                  <a:pt x="21937" y="11063"/>
                  <a:pt x="21969" y="10969"/>
                </a:cubicBezTo>
                <a:cubicBezTo>
                  <a:pt x="22125" y="10906"/>
                  <a:pt x="22219" y="10781"/>
                  <a:pt x="22250" y="10625"/>
                </a:cubicBezTo>
                <a:cubicBezTo>
                  <a:pt x="22281" y="10500"/>
                  <a:pt x="22375" y="10438"/>
                  <a:pt x="22469" y="10313"/>
                </a:cubicBezTo>
                <a:cubicBezTo>
                  <a:pt x="22500" y="10406"/>
                  <a:pt x="22375" y="10469"/>
                  <a:pt x="22437" y="10563"/>
                </a:cubicBezTo>
                <a:cubicBezTo>
                  <a:pt x="22344" y="10625"/>
                  <a:pt x="22312" y="10719"/>
                  <a:pt x="22281" y="10813"/>
                </a:cubicBezTo>
                <a:cubicBezTo>
                  <a:pt x="22281" y="10844"/>
                  <a:pt x="22281" y="10844"/>
                  <a:pt x="22281" y="10844"/>
                </a:cubicBezTo>
                <a:cubicBezTo>
                  <a:pt x="22406" y="10813"/>
                  <a:pt x="22437" y="10719"/>
                  <a:pt x="22469" y="10594"/>
                </a:cubicBezTo>
                <a:cubicBezTo>
                  <a:pt x="22500" y="10656"/>
                  <a:pt x="22500" y="10500"/>
                  <a:pt x="22531" y="10594"/>
                </a:cubicBezTo>
                <a:cubicBezTo>
                  <a:pt x="22500" y="10719"/>
                  <a:pt x="22375" y="10813"/>
                  <a:pt x="22312" y="10969"/>
                </a:cubicBezTo>
                <a:cubicBezTo>
                  <a:pt x="22531" y="10969"/>
                  <a:pt x="22687" y="10875"/>
                  <a:pt x="22844" y="10781"/>
                </a:cubicBezTo>
                <a:cubicBezTo>
                  <a:pt x="23062" y="10688"/>
                  <a:pt x="23250" y="10531"/>
                  <a:pt x="23312" y="10250"/>
                </a:cubicBezTo>
                <a:cubicBezTo>
                  <a:pt x="23375" y="9906"/>
                  <a:pt x="23406" y="9563"/>
                  <a:pt x="23437" y="9250"/>
                </a:cubicBezTo>
                <a:cubicBezTo>
                  <a:pt x="23469" y="8844"/>
                  <a:pt x="23469" y="8469"/>
                  <a:pt x="23250" y="8125"/>
                </a:cubicBezTo>
                <a:cubicBezTo>
                  <a:pt x="23219" y="8063"/>
                  <a:pt x="23125" y="7969"/>
                  <a:pt x="23219" y="7844"/>
                </a:cubicBezTo>
                <a:cubicBezTo>
                  <a:pt x="23375" y="7594"/>
                  <a:pt x="23281" y="7594"/>
                  <a:pt x="23125" y="7438"/>
                </a:cubicBezTo>
                <a:cubicBezTo>
                  <a:pt x="23094" y="7281"/>
                  <a:pt x="23125" y="7125"/>
                  <a:pt x="23187" y="7000"/>
                </a:cubicBezTo>
                <a:cubicBezTo>
                  <a:pt x="23406" y="6375"/>
                  <a:pt x="23594" y="5781"/>
                  <a:pt x="23812" y="5156"/>
                </a:cubicBezTo>
                <a:cubicBezTo>
                  <a:pt x="23844" y="5031"/>
                  <a:pt x="23875" y="4875"/>
                  <a:pt x="23937" y="4750"/>
                </a:cubicBezTo>
                <a:cubicBezTo>
                  <a:pt x="24031" y="4656"/>
                  <a:pt x="23969" y="4531"/>
                  <a:pt x="23875" y="4438"/>
                </a:cubicBezTo>
                <a:cubicBezTo>
                  <a:pt x="23844" y="4406"/>
                  <a:pt x="23844" y="4375"/>
                  <a:pt x="23844" y="4313"/>
                </a:cubicBezTo>
                <a:cubicBezTo>
                  <a:pt x="23875" y="4188"/>
                  <a:pt x="24000" y="4125"/>
                  <a:pt x="24094" y="4031"/>
                </a:cubicBezTo>
                <a:cubicBezTo>
                  <a:pt x="24156" y="3938"/>
                  <a:pt x="24219" y="3875"/>
                  <a:pt x="24094" y="3813"/>
                </a:cubicBezTo>
                <a:cubicBezTo>
                  <a:pt x="24094" y="3719"/>
                  <a:pt x="24062" y="3625"/>
                  <a:pt x="24156" y="3594"/>
                </a:cubicBezTo>
                <a:cubicBezTo>
                  <a:pt x="24219" y="3656"/>
                  <a:pt x="24250" y="3781"/>
                  <a:pt x="24375" y="3750"/>
                </a:cubicBezTo>
                <a:cubicBezTo>
                  <a:pt x="24469" y="3750"/>
                  <a:pt x="24469" y="3625"/>
                  <a:pt x="24500" y="3531"/>
                </a:cubicBezTo>
                <a:cubicBezTo>
                  <a:pt x="24594" y="3250"/>
                  <a:pt x="24531" y="2969"/>
                  <a:pt x="24469" y="2688"/>
                </a:cubicBezTo>
                <a:cubicBezTo>
                  <a:pt x="24469" y="2500"/>
                  <a:pt x="24312" y="2406"/>
                  <a:pt x="24250" y="2219"/>
                </a:cubicBezTo>
                <a:cubicBezTo>
                  <a:pt x="24250" y="2156"/>
                  <a:pt x="24219" y="2063"/>
                  <a:pt x="24187" y="2000"/>
                </a:cubicBezTo>
                <a:cubicBezTo>
                  <a:pt x="24000" y="1719"/>
                  <a:pt x="23781" y="1469"/>
                  <a:pt x="23562" y="1250"/>
                </a:cubicBezTo>
                <a:cubicBezTo>
                  <a:pt x="23406" y="1063"/>
                  <a:pt x="23219" y="938"/>
                  <a:pt x="22969" y="875"/>
                </a:cubicBezTo>
                <a:cubicBezTo>
                  <a:pt x="22750" y="844"/>
                  <a:pt x="22531" y="875"/>
                  <a:pt x="22344" y="781"/>
                </a:cubicBezTo>
                <a:cubicBezTo>
                  <a:pt x="22312" y="750"/>
                  <a:pt x="22250" y="719"/>
                  <a:pt x="22219" y="688"/>
                </a:cubicBezTo>
                <a:cubicBezTo>
                  <a:pt x="21937" y="469"/>
                  <a:pt x="21687" y="188"/>
                  <a:pt x="21281" y="94"/>
                </a:cubicBezTo>
                <a:cubicBezTo>
                  <a:pt x="21062" y="31"/>
                  <a:pt x="20781" y="0"/>
                  <a:pt x="20562" y="94"/>
                </a:cubicBezTo>
                <a:cubicBezTo>
                  <a:pt x="20375" y="219"/>
                  <a:pt x="20125" y="250"/>
                  <a:pt x="19937" y="344"/>
                </a:cubicBezTo>
                <a:cubicBezTo>
                  <a:pt x="19625" y="406"/>
                  <a:pt x="19344" y="500"/>
                  <a:pt x="19219" y="813"/>
                </a:cubicBezTo>
                <a:cubicBezTo>
                  <a:pt x="19125" y="1063"/>
                  <a:pt x="18969" y="1281"/>
                  <a:pt x="18844" y="1500"/>
                </a:cubicBezTo>
                <a:cubicBezTo>
                  <a:pt x="18562" y="1938"/>
                  <a:pt x="18375" y="2438"/>
                  <a:pt x="18219" y="2938"/>
                </a:cubicBezTo>
                <a:cubicBezTo>
                  <a:pt x="18125" y="3219"/>
                  <a:pt x="18094" y="3531"/>
                  <a:pt x="17906" y="3781"/>
                </a:cubicBezTo>
                <a:cubicBezTo>
                  <a:pt x="17781" y="4000"/>
                  <a:pt x="17625" y="4188"/>
                  <a:pt x="17500" y="4406"/>
                </a:cubicBezTo>
                <a:cubicBezTo>
                  <a:pt x="17344" y="4438"/>
                  <a:pt x="17156" y="4469"/>
                  <a:pt x="17000" y="4438"/>
                </a:cubicBezTo>
                <a:cubicBezTo>
                  <a:pt x="16812" y="4406"/>
                  <a:pt x="16625" y="4313"/>
                  <a:pt x="16437" y="4250"/>
                </a:cubicBezTo>
                <a:cubicBezTo>
                  <a:pt x="16281" y="4188"/>
                  <a:pt x="16219" y="4219"/>
                  <a:pt x="16125" y="4344"/>
                </a:cubicBezTo>
                <a:cubicBezTo>
                  <a:pt x="16094" y="4438"/>
                  <a:pt x="16031" y="4531"/>
                  <a:pt x="15969" y="4625"/>
                </a:cubicBezTo>
                <a:cubicBezTo>
                  <a:pt x="15719" y="4938"/>
                  <a:pt x="15594" y="5344"/>
                  <a:pt x="15531" y="5719"/>
                </a:cubicBezTo>
                <a:cubicBezTo>
                  <a:pt x="15469" y="6000"/>
                  <a:pt x="15531" y="6281"/>
                  <a:pt x="15500" y="6594"/>
                </a:cubicBezTo>
                <a:cubicBezTo>
                  <a:pt x="15500" y="6750"/>
                  <a:pt x="15562" y="6938"/>
                  <a:pt x="15687" y="7063"/>
                </a:cubicBezTo>
                <a:cubicBezTo>
                  <a:pt x="15750" y="7125"/>
                  <a:pt x="15812" y="7219"/>
                  <a:pt x="15812" y="7344"/>
                </a:cubicBezTo>
                <a:cubicBezTo>
                  <a:pt x="15812" y="7406"/>
                  <a:pt x="15812" y="7438"/>
                  <a:pt x="15875" y="7500"/>
                </a:cubicBezTo>
                <a:cubicBezTo>
                  <a:pt x="15937" y="7563"/>
                  <a:pt x="15937" y="7625"/>
                  <a:pt x="15969" y="7719"/>
                </a:cubicBezTo>
                <a:cubicBezTo>
                  <a:pt x="16000" y="8031"/>
                  <a:pt x="16187" y="8250"/>
                  <a:pt x="16469" y="8375"/>
                </a:cubicBezTo>
                <a:cubicBezTo>
                  <a:pt x="16562" y="8188"/>
                  <a:pt x="16500" y="8000"/>
                  <a:pt x="16594" y="7813"/>
                </a:cubicBezTo>
                <a:cubicBezTo>
                  <a:pt x="16562" y="7938"/>
                  <a:pt x="16531" y="8063"/>
                  <a:pt x="16719" y="8094"/>
                </a:cubicBezTo>
                <a:cubicBezTo>
                  <a:pt x="16750" y="8094"/>
                  <a:pt x="16750" y="8125"/>
                  <a:pt x="16781" y="8188"/>
                </a:cubicBezTo>
                <a:cubicBezTo>
                  <a:pt x="16781" y="8250"/>
                  <a:pt x="16781" y="8281"/>
                  <a:pt x="16844" y="8344"/>
                </a:cubicBezTo>
                <a:cubicBezTo>
                  <a:pt x="16875" y="8406"/>
                  <a:pt x="16875" y="8469"/>
                  <a:pt x="16781" y="8500"/>
                </a:cubicBezTo>
                <a:cubicBezTo>
                  <a:pt x="16781" y="8406"/>
                  <a:pt x="16750" y="8344"/>
                  <a:pt x="16687" y="8344"/>
                </a:cubicBezTo>
                <a:cubicBezTo>
                  <a:pt x="16625" y="8313"/>
                  <a:pt x="16594" y="8406"/>
                  <a:pt x="16562" y="8438"/>
                </a:cubicBezTo>
                <a:cubicBezTo>
                  <a:pt x="16562" y="8469"/>
                  <a:pt x="16562" y="8500"/>
                  <a:pt x="16531" y="8500"/>
                </a:cubicBezTo>
                <a:cubicBezTo>
                  <a:pt x="16469" y="8688"/>
                  <a:pt x="16250" y="8781"/>
                  <a:pt x="16094" y="8688"/>
                </a:cubicBezTo>
                <a:cubicBezTo>
                  <a:pt x="16031" y="8656"/>
                  <a:pt x="15969" y="8625"/>
                  <a:pt x="15937" y="8625"/>
                </a:cubicBezTo>
                <a:cubicBezTo>
                  <a:pt x="15594" y="8500"/>
                  <a:pt x="15281" y="8406"/>
                  <a:pt x="14969" y="8281"/>
                </a:cubicBezTo>
                <a:cubicBezTo>
                  <a:pt x="14469" y="8063"/>
                  <a:pt x="13937" y="7875"/>
                  <a:pt x="13437" y="7656"/>
                </a:cubicBezTo>
                <a:cubicBezTo>
                  <a:pt x="13094" y="7500"/>
                  <a:pt x="12750" y="7375"/>
                  <a:pt x="12437" y="7156"/>
                </a:cubicBezTo>
                <a:cubicBezTo>
                  <a:pt x="12500" y="6844"/>
                  <a:pt x="12594" y="6500"/>
                  <a:pt x="12781" y="6219"/>
                </a:cubicBezTo>
                <a:cubicBezTo>
                  <a:pt x="12906" y="6063"/>
                  <a:pt x="12875" y="5969"/>
                  <a:pt x="12687" y="5906"/>
                </a:cubicBezTo>
                <a:cubicBezTo>
                  <a:pt x="12687" y="5844"/>
                  <a:pt x="12625" y="5844"/>
                  <a:pt x="12594" y="5844"/>
                </a:cubicBezTo>
                <a:cubicBezTo>
                  <a:pt x="12406" y="5906"/>
                  <a:pt x="12219" y="5969"/>
                  <a:pt x="12062" y="6125"/>
                </a:cubicBezTo>
                <a:cubicBezTo>
                  <a:pt x="12000" y="6125"/>
                  <a:pt x="12000" y="6094"/>
                  <a:pt x="11969" y="6031"/>
                </a:cubicBezTo>
                <a:cubicBezTo>
                  <a:pt x="11969" y="5938"/>
                  <a:pt x="11875" y="5875"/>
                  <a:pt x="11812" y="5844"/>
                </a:cubicBezTo>
                <a:cubicBezTo>
                  <a:pt x="11594" y="5813"/>
                  <a:pt x="11406" y="5656"/>
                  <a:pt x="11187" y="5531"/>
                </a:cubicBezTo>
                <a:cubicBezTo>
                  <a:pt x="11062" y="5469"/>
                  <a:pt x="10969" y="5531"/>
                  <a:pt x="10844" y="5531"/>
                </a:cubicBezTo>
                <a:cubicBezTo>
                  <a:pt x="10812" y="5469"/>
                  <a:pt x="10781" y="5438"/>
                  <a:pt x="10719" y="5406"/>
                </a:cubicBezTo>
                <a:cubicBezTo>
                  <a:pt x="10594" y="5281"/>
                  <a:pt x="10437" y="5344"/>
                  <a:pt x="10312" y="5406"/>
                </a:cubicBezTo>
                <a:cubicBezTo>
                  <a:pt x="10219" y="5438"/>
                  <a:pt x="10125" y="5469"/>
                  <a:pt x="10031" y="5375"/>
                </a:cubicBezTo>
                <a:cubicBezTo>
                  <a:pt x="10000" y="5313"/>
                  <a:pt x="9906" y="5344"/>
                  <a:pt x="9844" y="5313"/>
                </a:cubicBezTo>
                <a:cubicBezTo>
                  <a:pt x="9812" y="5281"/>
                  <a:pt x="9781" y="5313"/>
                  <a:pt x="9781" y="5344"/>
                </a:cubicBezTo>
                <a:cubicBezTo>
                  <a:pt x="9750" y="5375"/>
                  <a:pt x="9781" y="5375"/>
                  <a:pt x="9812" y="5406"/>
                </a:cubicBezTo>
                <a:cubicBezTo>
                  <a:pt x="9906" y="5438"/>
                  <a:pt x="10000" y="5469"/>
                  <a:pt x="10094" y="5500"/>
                </a:cubicBezTo>
                <a:cubicBezTo>
                  <a:pt x="10156" y="5563"/>
                  <a:pt x="10187" y="5656"/>
                  <a:pt x="10094" y="5688"/>
                </a:cubicBezTo>
                <a:cubicBezTo>
                  <a:pt x="10000" y="5719"/>
                  <a:pt x="9969" y="5781"/>
                  <a:pt x="9937" y="5875"/>
                </a:cubicBezTo>
                <a:cubicBezTo>
                  <a:pt x="9906" y="5781"/>
                  <a:pt x="9844" y="5688"/>
                  <a:pt x="9750" y="5750"/>
                </a:cubicBezTo>
                <a:cubicBezTo>
                  <a:pt x="9750" y="5750"/>
                  <a:pt x="9750" y="5750"/>
                  <a:pt x="9750" y="5750"/>
                </a:cubicBezTo>
                <a:cubicBezTo>
                  <a:pt x="9781" y="5594"/>
                  <a:pt x="9656" y="5563"/>
                  <a:pt x="9594" y="5531"/>
                </a:cubicBezTo>
                <a:cubicBezTo>
                  <a:pt x="9531" y="5531"/>
                  <a:pt x="9469" y="5563"/>
                  <a:pt x="9469" y="5625"/>
                </a:cubicBezTo>
                <a:cubicBezTo>
                  <a:pt x="9250" y="5594"/>
                  <a:pt x="9062" y="5500"/>
                  <a:pt x="8875" y="5375"/>
                </a:cubicBezTo>
                <a:cubicBezTo>
                  <a:pt x="8312" y="5094"/>
                  <a:pt x="7781" y="4781"/>
                  <a:pt x="7219" y="4469"/>
                </a:cubicBezTo>
                <a:cubicBezTo>
                  <a:pt x="6812" y="4219"/>
                  <a:pt x="6406" y="3969"/>
                  <a:pt x="6000" y="3750"/>
                </a:cubicBezTo>
                <a:cubicBezTo>
                  <a:pt x="5562" y="3500"/>
                  <a:pt x="5187" y="3156"/>
                  <a:pt x="4781" y="2844"/>
                </a:cubicBezTo>
                <a:cubicBezTo>
                  <a:pt x="4062" y="2313"/>
                  <a:pt x="3469" y="1688"/>
                  <a:pt x="3031" y="906"/>
                </a:cubicBezTo>
                <a:cubicBezTo>
                  <a:pt x="2875" y="688"/>
                  <a:pt x="2781" y="438"/>
                  <a:pt x="2531" y="344"/>
                </a:cubicBezTo>
                <a:cubicBezTo>
                  <a:pt x="2500" y="344"/>
                  <a:pt x="2469" y="344"/>
                  <a:pt x="2437" y="344"/>
                </a:cubicBezTo>
                <a:cubicBezTo>
                  <a:pt x="2406" y="344"/>
                  <a:pt x="2344" y="313"/>
                  <a:pt x="2312" y="375"/>
                </a:cubicBezTo>
                <a:cubicBezTo>
                  <a:pt x="2281" y="438"/>
                  <a:pt x="2344" y="500"/>
                  <a:pt x="2375" y="531"/>
                </a:cubicBezTo>
                <a:cubicBezTo>
                  <a:pt x="2469" y="625"/>
                  <a:pt x="2469" y="750"/>
                  <a:pt x="2500" y="844"/>
                </a:cubicBezTo>
                <a:cubicBezTo>
                  <a:pt x="2594" y="1094"/>
                  <a:pt x="2594" y="1344"/>
                  <a:pt x="2656" y="1563"/>
                </a:cubicBezTo>
                <a:cubicBezTo>
                  <a:pt x="2687" y="1656"/>
                  <a:pt x="2687" y="1781"/>
                  <a:pt x="2656" y="1875"/>
                </a:cubicBezTo>
                <a:cubicBezTo>
                  <a:pt x="2594" y="2156"/>
                  <a:pt x="2531" y="2406"/>
                  <a:pt x="2437" y="2688"/>
                </a:cubicBezTo>
                <a:cubicBezTo>
                  <a:pt x="2437" y="2719"/>
                  <a:pt x="2406" y="2750"/>
                  <a:pt x="2375" y="2750"/>
                </a:cubicBezTo>
                <a:cubicBezTo>
                  <a:pt x="2375" y="2781"/>
                  <a:pt x="2344" y="2813"/>
                  <a:pt x="2344" y="2844"/>
                </a:cubicBezTo>
                <a:cubicBezTo>
                  <a:pt x="2281" y="2844"/>
                  <a:pt x="2250" y="2875"/>
                  <a:pt x="2281" y="2938"/>
                </a:cubicBezTo>
                <a:cubicBezTo>
                  <a:pt x="2281" y="2969"/>
                  <a:pt x="2250" y="3031"/>
                  <a:pt x="2219" y="3063"/>
                </a:cubicBezTo>
                <a:cubicBezTo>
                  <a:pt x="2187" y="3250"/>
                  <a:pt x="2031" y="3344"/>
                  <a:pt x="1937" y="3469"/>
                </a:cubicBezTo>
                <a:cubicBezTo>
                  <a:pt x="1844" y="3594"/>
                  <a:pt x="1719" y="3719"/>
                  <a:pt x="1562" y="3750"/>
                </a:cubicBezTo>
                <a:cubicBezTo>
                  <a:pt x="1469" y="3781"/>
                  <a:pt x="1375" y="3813"/>
                  <a:pt x="1312" y="3750"/>
                </a:cubicBezTo>
                <a:cubicBezTo>
                  <a:pt x="1219" y="3656"/>
                  <a:pt x="1281" y="3563"/>
                  <a:pt x="1344" y="3500"/>
                </a:cubicBezTo>
                <a:cubicBezTo>
                  <a:pt x="1594" y="3219"/>
                  <a:pt x="1844" y="2938"/>
                  <a:pt x="2031" y="2594"/>
                </a:cubicBezTo>
                <a:cubicBezTo>
                  <a:pt x="2250" y="2125"/>
                  <a:pt x="2406" y="1656"/>
                  <a:pt x="2312" y="1125"/>
                </a:cubicBezTo>
                <a:cubicBezTo>
                  <a:pt x="2281" y="875"/>
                  <a:pt x="2344" y="594"/>
                  <a:pt x="2094" y="438"/>
                </a:cubicBezTo>
                <a:cubicBezTo>
                  <a:pt x="2062" y="406"/>
                  <a:pt x="2062" y="406"/>
                  <a:pt x="2062" y="375"/>
                </a:cubicBezTo>
                <a:cubicBezTo>
                  <a:pt x="1906" y="469"/>
                  <a:pt x="1812" y="250"/>
                  <a:pt x="1656" y="344"/>
                </a:cubicBezTo>
                <a:cubicBezTo>
                  <a:pt x="1625" y="375"/>
                  <a:pt x="1562" y="406"/>
                  <a:pt x="1531" y="344"/>
                </a:cubicBezTo>
                <a:cubicBezTo>
                  <a:pt x="1281" y="438"/>
                  <a:pt x="1094" y="594"/>
                  <a:pt x="906" y="813"/>
                </a:cubicBezTo>
                <a:cubicBezTo>
                  <a:pt x="500" y="1313"/>
                  <a:pt x="250" y="1875"/>
                  <a:pt x="94" y="2500"/>
                </a:cubicBezTo>
                <a:cubicBezTo>
                  <a:pt x="0" y="2875"/>
                  <a:pt x="0" y="3281"/>
                  <a:pt x="156" y="3656"/>
                </a:cubicBezTo>
                <a:cubicBezTo>
                  <a:pt x="219" y="3875"/>
                  <a:pt x="312" y="4063"/>
                  <a:pt x="531" y="4125"/>
                </a:cubicBezTo>
                <a:cubicBezTo>
                  <a:pt x="687" y="4188"/>
                  <a:pt x="812" y="4250"/>
                  <a:pt x="969" y="4344"/>
                </a:cubicBezTo>
                <a:cubicBezTo>
                  <a:pt x="1062" y="4375"/>
                  <a:pt x="1156" y="4375"/>
                  <a:pt x="1219" y="4375"/>
                </a:cubicBezTo>
                <a:cubicBezTo>
                  <a:pt x="2062" y="4313"/>
                  <a:pt x="2844" y="4281"/>
                  <a:pt x="3656" y="4531"/>
                </a:cubicBezTo>
                <a:cubicBezTo>
                  <a:pt x="4312" y="4719"/>
                  <a:pt x="5000" y="4875"/>
                  <a:pt x="5656" y="5156"/>
                </a:cubicBezTo>
                <a:cubicBezTo>
                  <a:pt x="6125" y="5375"/>
                  <a:pt x="6625" y="5563"/>
                  <a:pt x="7094" y="5781"/>
                </a:cubicBezTo>
                <a:cubicBezTo>
                  <a:pt x="7625" y="6000"/>
                  <a:pt x="8125" y="6219"/>
                  <a:pt x="8656" y="6406"/>
                </a:cubicBezTo>
                <a:cubicBezTo>
                  <a:pt x="8656" y="6438"/>
                  <a:pt x="8656" y="6438"/>
                  <a:pt x="8656" y="6438"/>
                </a:cubicBezTo>
                <a:cubicBezTo>
                  <a:pt x="8844" y="6500"/>
                  <a:pt x="8875" y="6594"/>
                  <a:pt x="8812" y="6750"/>
                </a:cubicBezTo>
                <a:cubicBezTo>
                  <a:pt x="8781" y="6813"/>
                  <a:pt x="8781" y="6875"/>
                  <a:pt x="8844" y="6875"/>
                </a:cubicBezTo>
                <a:cubicBezTo>
                  <a:pt x="8875" y="6906"/>
                  <a:pt x="8937" y="6906"/>
                  <a:pt x="8906" y="6938"/>
                </a:cubicBezTo>
                <a:cubicBezTo>
                  <a:pt x="8812" y="7094"/>
                  <a:pt x="9062" y="7219"/>
                  <a:pt x="9000" y="7375"/>
                </a:cubicBezTo>
                <a:cubicBezTo>
                  <a:pt x="8969" y="7406"/>
                  <a:pt x="9000" y="7438"/>
                  <a:pt x="9000" y="7438"/>
                </a:cubicBezTo>
                <a:cubicBezTo>
                  <a:pt x="9062" y="7469"/>
                  <a:pt x="9062" y="7438"/>
                  <a:pt x="9094" y="7406"/>
                </a:cubicBezTo>
                <a:cubicBezTo>
                  <a:pt x="9094" y="7344"/>
                  <a:pt x="9187" y="7344"/>
                  <a:pt x="9156" y="7281"/>
                </a:cubicBezTo>
                <a:cubicBezTo>
                  <a:pt x="9156" y="7156"/>
                  <a:pt x="9250" y="7156"/>
                  <a:pt x="9344" y="7156"/>
                </a:cubicBezTo>
                <a:cubicBezTo>
                  <a:pt x="9406" y="7156"/>
                  <a:pt x="9437" y="7219"/>
                  <a:pt x="9469" y="7313"/>
                </a:cubicBezTo>
                <a:cubicBezTo>
                  <a:pt x="9469" y="7406"/>
                  <a:pt x="9531" y="7500"/>
                  <a:pt x="9469" y="7594"/>
                </a:cubicBezTo>
                <a:cubicBezTo>
                  <a:pt x="9437" y="7656"/>
                  <a:pt x="9500" y="7719"/>
                  <a:pt x="9562" y="7719"/>
                </a:cubicBezTo>
                <a:cubicBezTo>
                  <a:pt x="9594" y="7719"/>
                  <a:pt x="9656" y="7750"/>
                  <a:pt x="9719" y="7750"/>
                </a:cubicBezTo>
                <a:cubicBezTo>
                  <a:pt x="9719" y="7781"/>
                  <a:pt x="9719" y="7813"/>
                  <a:pt x="9719" y="7844"/>
                </a:cubicBezTo>
                <a:cubicBezTo>
                  <a:pt x="9562" y="7844"/>
                  <a:pt x="9469" y="7875"/>
                  <a:pt x="9469" y="8031"/>
                </a:cubicBezTo>
                <a:cubicBezTo>
                  <a:pt x="9469" y="8094"/>
                  <a:pt x="9406" y="8125"/>
                  <a:pt x="9375" y="8125"/>
                </a:cubicBezTo>
                <a:cubicBezTo>
                  <a:pt x="9281" y="8125"/>
                  <a:pt x="9312" y="8063"/>
                  <a:pt x="9312" y="8031"/>
                </a:cubicBezTo>
                <a:cubicBezTo>
                  <a:pt x="9312" y="8000"/>
                  <a:pt x="9312" y="7969"/>
                  <a:pt x="9312" y="7938"/>
                </a:cubicBezTo>
                <a:cubicBezTo>
                  <a:pt x="9281" y="7969"/>
                  <a:pt x="9281" y="8031"/>
                  <a:pt x="9250" y="8031"/>
                </a:cubicBezTo>
                <a:cubicBezTo>
                  <a:pt x="9031" y="8063"/>
                  <a:pt x="9156" y="8281"/>
                  <a:pt x="9187" y="8281"/>
                </a:cubicBezTo>
                <a:cubicBezTo>
                  <a:pt x="9344" y="8438"/>
                  <a:pt x="9219" y="8531"/>
                  <a:pt x="9125" y="8594"/>
                </a:cubicBezTo>
                <a:cubicBezTo>
                  <a:pt x="9125" y="8625"/>
                  <a:pt x="9062" y="8656"/>
                  <a:pt x="9125" y="8656"/>
                </a:cubicBezTo>
                <a:cubicBezTo>
                  <a:pt x="9187" y="8719"/>
                  <a:pt x="9187" y="8750"/>
                  <a:pt x="9187" y="8813"/>
                </a:cubicBezTo>
                <a:cubicBezTo>
                  <a:pt x="9187" y="8875"/>
                  <a:pt x="9219" y="8875"/>
                  <a:pt x="9281" y="8875"/>
                </a:cubicBezTo>
                <a:cubicBezTo>
                  <a:pt x="9406" y="8844"/>
                  <a:pt x="9531" y="8906"/>
                  <a:pt x="9500" y="9000"/>
                </a:cubicBezTo>
                <a:cubicBezTo>
                  <a:pt x="9469" y="9313"/>
                  <a:pt x="9344" y="9563"/>
                  <a:pt x="9156" y="9813"/>
                </a:cubicBezTo>
                <a:cubicBezTo>
                  <a:pt x="9094" y="9906"/>
                  <a:pt x="8937" y="9938"/>
                  <a:pt x="8906" y="10063"/>
                </a:cubicBezTo>
                <a:cubicBezTo>
                  <a:pt x="8781" y="10281"/>
                  <a:pt x="8687" y="10531"/>
                  <a:pt x="8625" y="10781"/>
                </a:cubicBezTo>
                <a:cubicBezTo>
                  <a:pt x="8562" y="10906"/>
                  <a:pt x="8500" y="11031"/>
                  <a:pt x="8437" y="11125"/>
                </a:cubicBezTo>
                <a:cubicBezTo>
                  <a:pt x="8344" y="11313"/>
                  <a:pt x="8281" y="11531"/>
                  <a:pt x="8219" y="11719"/>
                </a:cubicBezTo>
                <a:cubicBezTo>
                  <a:pt x="8156" y="11906"/>
                  <a:pt x="8094" y="12125"/>
                  <a:pt x="8000" y="12313"/>
                </a:cubicBezTo>
                <a:cubicBezTo>
                  <a:pt x="7906" y="12500"/>
                  <a:pt x="7812" y="12688"/>
                  <a:pt x="7844" y="12938"/>
                </a:cubicBezTo>
                <a:cubicBezTo>
                  <a:pt x="7875" y="12969"/>
                  <a:pt x="7844" y="13031"/>
                  <a:pt x="7844" y="13094"/>
                </a:cubicBezTo>
                <a:cubicBezTo>
                  <a:pt x="7812" y="13156"/>
                  <a:pt x="7719" y="13125"/>
                  <a:pt x="7750" y="13219"/>
                </a:cubicBezTo>
                <a:cubicBezTo>
                  <a:pt x="7750" y="13344"/>
                  <a:pt x="7687" y="13438"/>
                  <a:pt x="7562" y="13469"/>
                </a:cubicBezTo>
                <a:cubicBezTo>
                  <a:pt x="7687" y="13594"/>
                  <a:pt x="7687" y="13656"/>
                  <a:pt x="7531" y="13781"/>
                </a:cubicBezTo>
                <a:cubicBezTo>
                  <a:pt x="7500" y="13781"/>
                  <a:pt x="7469" y="13813"/>
                  <a:pt x="7500" y="13813"/>
                </a:cubicBezTo>
                <a:cubicBezTo>
                  <a:pt x="7594" y="13938"/>
                  <a:pt x="7500" y="13969"/>
                  <a:pt x="7437" y="14000"/>
                </a:cubicBezTo>
                <a:cubicBezTo>
                  <a:pt x="7344" y="14063"/>
                  <a:pt x="7344" y="14125"/>
                  <a:pt x="7344" y="14219"/>
                </a:cubicBezTo>
                <a:cubicBezTo>
                  <a:pt x="7375" y="14375"/>
                  <a:pt x="7312" y="14469"/>
                  <a:pt x="7250" y="14594"/>
                </a:cubicBezTo>
                <a:cubicBezTo>
                  <a:pt x="7219" y="14656"/>
                  <a:pt x="7156" y="14719"/>
                  <a:pt x="7125" y="14719"/>
                </a:cubicBezTo>
                <a:cubicBezTo>
                  <a:pt x="6969" y="14656"/>
                  <a:pt x="7000" y="14813"/>
                  <a:pt x="6937" y="14844"/>
                </a:cubicBezTo>
                <a:cubicBezTo>
                  <a:pt x="7031" y="14875"/>
                  <a:pt x="7094" y="14844"/>
                  <a:pt x="7156" y="14875"/>
                </a:cubicBezTo>
                <a:cubicBezTo>
                  <a:pt x="7125" y="15000"/>
                  <a:pt x="7000" y="15031"/>
                  <a:pt x="6937" y="15094"/>
                </a:cubicBezTo>
                <a:cubicBezTo>
                  <a:pt x="6906" y="15063"/>
                  <a:pt x="6969" y="15000"/>
                  <a:pt x="6906" y="14969"/>
                </a:cubicBezTo>
                <a:cubicBezTo>
                  <a:pt x="6844" y="15063"/>
                  <a:pt x="6687" y="15031"/>
                  <a:pt x="6656" y="15188"/>
                </a:cubicBezTo>
                <a:cubicBezTo>
                  <a:pt x="6562" y="15156"/>
                  <a:pt x="6562" y="15313"/>
                  <a:pt x="6469" y="15219"/>
                </a:cubicBezTo>
                <a:cubicBezTo>
                  <a:pt x="6406" y="15156"/>
                  <a:pt x="6469" y="15094"/>
                  <a:pt x="6562" y="15063"/>
                </a:cubicBezTo>
                <a:cubicBezTo>
                  <a:pt x="6625" y="15031"/>
                  <a:pt x="6594" y="15000"/>
                  <a:pt x="6594" y="14969"/>
                </a:cubicBezTo>
                <a:cubicBezTo>
                  <a:pt x="6625" y="14844"/>
                  <a:pt x="6562" y="14688"/>
                  <a:pt x="6750" y="14625"/>
                </a:cubicBezTo>
                <a:cubicBezTo>
                  <a:pt x="6812" y="14594"/>
                  <a:pt x="6844" y="14500"/>
                  <a:pt x="6844" y="14438"/>
                </a:cubicBezTo>
                <a:cubicBezTo>
                  <a:pt x="6687" y="14438"/>
                  <a:pt x="6781" y="14313"/>
                  <a:pt x="6750" y="14250"/>
                </a:cubicBezTo>
                <a:cubicBezTo>
                  <a:pt x="6750" y="14156"/>
                  <a:pt x="6812" y="14063"/>
                  <a:pt x="6719" y="14000"/>
                </a:cubicBezTo>
                <a:cubicBezTo>
                  <a:pt x="6937" y="13969"/>
                  <a:pt x="7031" y="13844"/>
                  <a:pt x="6969" y="13656"/>
                </a:cubicBezTo>
                <a:cubicBezTo>
                  <a:pt x="6937" y="13594"/>
                  <a:pt x="6906" y="13563"/>
                  <a:pt x="6969" y="13500"/>
                </a:cubicBezTo>
                <a:cubicBezTo>
                  <a:pt x="7031" y="13438"/>
                  <a:pt x="7062" y="13375"/>
                  <a:pt x="7094" y="13281"/>
                </a:cubicBezTo>
                <a:cubicBezTo>
                  <a:pt x="7187" y="13125"/>
                  <a:pt x="7219" y="12906"/>
                  <a:pt x="7375" y="12750"/>
                </a:cubicBezTo>
                <a:cubicBezTo>
                  <a:pt x="7406" y="12688"/>
                  <a:pt x="7437" y="12656"/>
                  <a:pt x="7437" y="12594"/>
                </a:cubicBezTo>
                <a:cubicBezTo>
                  <a:pt x="7469" y="12438"/>
                  <a:pt x="7406" y="12250"/>
                  <a:pt x="7500" y="12125"/>
                </a:cubicBezTo>
                <a:cubicBezTo>
                  <a:pt x="7625" y="11906"/>
                  <a:pt x="7656" y="11688"/>
                  <a:pt x="7750" y="11438"/>
                </a:cubicBezTo>
                <a:cubicBezTo>
                  <a:pt x="7906" y="11125"/>
                  <a:pt x="8062" y="10813"/>
                  <a:pt x="8281" y="10531"/>
                </a:cubicBezTo>
                <a:cubicBezTo>
                  <a:pt x="8344" y="10406"/>
                  <a:pt x="8250" y="10375"/>
                  <a:pt x="8250" y="10313"/>
                </a:cubicBezTo>
                <a:cubicBezTo>
                  <a:pt x="8250" y="10281"/>
                  <a:pt x="8250" y="10250"/>
                  <a:pt x="8219" y="10250"/>
                </a:cubicBezTo>
                <a:cubicBezTo>
                  <a:pt x="8156" y="10281"/>
                  <a:pt x="8125" y="10344"/>
                  <a:pt x="8094" y="10406"/>
                </a:cubicBezTo>
                <a:cubicBezTo>
                  <a:pt x="8062" y="10469"/>
                  <a:pt x="8062" y="10594"/>
                  <a:pt x="8000" y="10625"/>
                </a:cubicBezTo>
                <a:cubicBezTo>
                  <a:pt x="7906" y="10656"/>
                  <a:pt x="7875" y="10688"/>
                  <a:pt x="7844" y="10781"/>
                </a:cubicBezTo>
                <a:cubicBezTo>
                  <a:pt x="7719" y="11031"/>
                  <a:pt x="7594" y="11313"/>
                  <a:pt x="7437" y="11563"/>
                </a:cubicBezTo>
                <a:cubicBezTo>
                  <a:pt x="7312" y="11813"/>
                  <a:pt x="7187" y="12094"/>
                  <a:pt x="7031" y="12313"/>
                </a:cubicBezTo>
                <a:cubicBezTo>
                  <a:pt x="6781" y="12719"/>
                  <a:pt x="6562" y="13125"/>
                  <a:pt x="6312" y="13531"/>
                </a:cubicBezTo>
                <a:cubicBezTo>
                  <a:pt x="6250" y="13656"/>
                  <a:pt x="6187" y="13813"/>
                  <a:pt x="6125" y="13969"/>
                </a:cubicBezTo>
                <a:cubicBezTo>
                  <a:pt x="6094" y="14063"/>
                  <a:pt x="6125" y="14219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94" y="14313"/>
                  <a:pt x="6094" y="14313"/>
                </a:cubicBezTo>
                <a:cubicBezTo>
                  <a:pt x="6094" y="14313"/>
                  <a:pt x="6062" y="14344"/>
                  <a:pt x="6062" y="14344"/>
                </a:cubicBezTo>
                <a:cubicBezTo>
                  <a:pt x="6062" y="14344"/>
                  <a:pt x="6094" y="14344"/>
                  <a:pt x="6094" y="14344"/>
                </a:cubicBezTo>
                <a:cubicBezTo>
                  <a:pt x="6062" y="14406"/>
                  <a:pt x="6031" y="14438"/>
                  <a:pt x="6000" y="14500"/>
                </a:cubicBezTo>
                <a:cubicBezTo>
                  <a:pt x="6000" y="14500"/>
                  <a:pt x="6000" y="14531"/>
                  <a:pt x="6000" y="14531"/>
                </a:cubicBezTo>
                <a:cubicBezTo>
                  <a:pt x="6062" y="14594"/>
                  <a:pt x="6000" y="14656"/>
                  <a:pt x="5969" y="14719"/>
                </a:cubicBezTo>
                <a:cubicBezTo>
                  <a:pt x="5781" y="15094"/>
                  <a:pt x="5687" y="15500"/>
                  <a:pt x="5531" y="15906"/>
                </a:cubicBezTo>
                <a:cubicBezTo>
                  <a:pt x="5500" y="16031"/>
                  <a:pt x="5500" y="16156"/>
                  <a:pt x="5437" y="16250"/>
                </a:cubicBezTo>
                <a:cubicBezTo>
                  <a:pt x="5375" y="16344"/>
                  <a:pt x="5312" y="16438"/>
                  <a:pt x="5344" y="16563"/>
                </a:cubicBezTo>
                <a:cubicBezTo>
                  <a:pt x="5344" y="16719"/>
                  <a:pt x="5312" y="16875"/>
                  <a:pt x="5281" y="17031"/>
                </a:cubicBezTo>
                <a:cubicBezTo>
                  <a:pt x="5156" y="17531"/>
                  <a:pt x="5219" y="18031"/>
                  <a:pt x="5250" y="18531"/>
                </a:cubicBezTo>
                <a:cubicBezTo>
                  <a:pt x="5281" y="18688"/>
                  <a:pt x="5281" y="18844"/>
                  <a:pt x="5406" y="18938"/>
                </a:cubicBezTo>
                <a:cubicBezTo>
                  <a:pt x="5500" y="19031"/>
                  <a:pt x="5562" y="19156"/>
                  <a:pt x="5719" y="19219"/>
                </a:cubicBezTo>
                <a:cubicBezTo>
                  <a:pt x="5937" y="19313"/>
                  <a:pt x="6156" y="19406"/>
                  <a:pt x="6406" y="19438"/>
                </a:cubicBezTo>
                <a:cubicBezTo>
                  <a:pt x="6687" y="19469"/>
                  <a:pt x="7000" y="19500"/>
                  <a:pt x="7281" y="19500"/>
                </a:cubicBezTo>
                <a:cubicBezTo>
                  <a:pt x="8250" y="19469"/>
                  <a:pt x="9187" y="19531"/>
                  <a:pt x="10156" y="19438"/>
                </a:cubicBezTo>
                <a:cubicBezTo>
                  <a:pt x="10281" y="19438"/>
                  <a:pt x="10406" y="19438"/>
                  <a:pt x="10500" y="19531"/>
                </a:cubicBezTo>
                <a:cubicBezTo>
                  <a:pt x="10562" y="19594"/>
                  <a:pt x="10625" y="19625"/>
                  <a:pt x="10719" y="19656"/>
                </a:cubicBezTo>
                <a:cubicBezTo>
                  <a:pt x="11062" y="19750"/>
                  <a:pt x="11312" y="19563"/>
                  <a:pt x="11562" y="19344"/>
                </a:cubicBezTo>
                <a:cubicBezTo>
                  <a:pt x="11625" y="19375"/>
                  <a:pt x="11625" y="19438"/>
                  <a:pt x="11594" y="19500"/>
                </a:cubicBezTo>
                <a:cubicBezTo>
                  <a:pt x="11594" y="19625"/>
                  <a:pt x="11562" y="19750"/>
                  <a:pt x="11562" y="19875"/>
                </a:cubicBezTo>
                <a:cubicBezTo>
                  <a:pt x="11531" y="19906"/>
                  <a:pt x="11500" y="19938"/>
                  <a:pt x="11500" y="19969"/>
                </a:cubicBezTo>
                <a:cubicBezTo>
                  <a:pt x="11500" y="20344"/>
                  <a:pt x="11375" y="20688"/>
                  <a:pt x="11344" y="21063"/>
                </a:cubicBezTo>
                <a:cubicBezTo>
                  <a:pt x="11375" y="21125"/>
                  <a:pt x="11281" y="21156"/>
                  <a:pt x="11344" y="21219"/>
                </a:cubicBezTo>
                <a:cubicBezTo>
                  <a:pt x="11344" y="21219"/>
                  <a:pt x="11344" y="21219"/>
                  <a:pt x="11344" y="21219"/>
                </a:cubicBezTo>
                <a:cubicBezTo>
                  <a:pt x="11281" y="21344"/>
                  <a:pt x="11281" y="21500"/>
                  <a:pt x="11281" y="21625"/>
                </a:cubicBezTo>
                <a:cubicBezTo>
                  <a:pt x="11312" y="21813"/>
                  <a:pt x="11250" y="21969"/>
                  <a:pt x="11250" y="22125"/>
                </a:cubicBezTo>
                <a:cubicBezTo>
                  <a:pt x="11281" y="22219"/>
                  <a:pt x="11125" y="22313"/>
                  <a:pt x="11187" y="22375"/>
                </a:cubicBezTo>
                <a:cubicBezTo>
                  <a:pt x="11312" y="22531"/>
                  <a:pt x="11219" y="22625"/>
                  <a:pt x="11219" y="22750"/>
                </a:cubicBezTo>
                <a:cubicBezTo>
                  <a:pt x="11187" y="22875"/>
                  <a:pt x="11187" y="22969"/>
                  <a:pt x="11219" y="23063"/>
                </a:cubicBezTo>
                <a:cubicBezTo>
                  <a:pt x="11219" y="23063"/>
                  <a:pt x="11219" y="23063"/>
                  <a:pt x="11219" y="23063"/>
                </a:cubicBezTo>
                <a:cubicBezTo>
                  <a:pt x="11156" y="23125"/>
                  <a:pt x="11156" y="23188"/>
                  <a:pt x="11187" y="23250"/>
                </a:cubicBezTo>
                <a:cubicBezTo>
                  <a:pt x="11187" y="23313"/>
                  <a:pt x="11187" y="23313"/>
                  <a:pt x="11219" y="23344"/>
                </a:cubicBezTo>
                <a:cubicBezTo>
                  <a:pt x="11187" y="23500"/>
                  <a:pt x="11219" y="23656"/>
                  <a:pt x="11219" y="23813"/>
                </a:cubicBezTo>
                <a:cubicBezTo>
                  <a:pt x="11219" y="24000"/>
                  <a:pt x="11250" y="24219"/>
                  <a:pt x="11250" y="24406"/>
                </a:cubicBezTo>
                <a:cubicBezTo>
                  <a:pt x="11250" y="24563"/>
                  <a:pt x="11219" y="24688"/>
                  <a:pt x="11312" y="24813"/>
                </a:cubicBezTo>
                <a:cubicBezTo>
                  <a:pt x="11375" y="24875"/>
                  <a:pt x="11344" y="24969"/>
                  <a:pt x="11344" y="25031"/>
                </a:cubicBezTo>
                <a:cubicBezTo>
                  <a:pt x="11312" y="25125"/>
                  <a:pt x="11281" y="25250"/>
                  <a:pt x="11344" y="25344"/>
                </a:cubicBezTo>
                <a:cubicBezTo>
                  <a:pt x="11281" y="25469"/>
                  <a:pt x="11281" y="25563"/>
                  <a:pt x="11281" y="25688"/>
                </a:cubicBezTo>
                <a:cubicBezTo>
                  <a:pt x="11500" y="25750"/>
                  <a:pt x="11687" y="25781"/>
                  <a:pt x="11906" y="25813"/>
                </a:cubicBezTo>
                <a:cubicBezTo>
                  <a:pt x="11687" y="25781"/>
                  <a:pt x="11500" y="25750"/>
                  <a:pt x="11281" y="25688"/>
                </a:cubicBezTo>
                <a:cubicBezTo>
                  <a:pt x="11281" y="25719"/>
                  <a:pt x="11281" y="25781"/>
                  <a:pt x="11281" y="25813"/>
                </a:cubicBezTo>
                <a:cubicBezTo>
                  <a:pt x="22812" y="25813"/>
                  <a:pt x="22812" y="25813"/>
                  <a:pt x="22812" y="25813"/>
                </a:cubicBezTo>
                <a:cubicBezTo>
                  <a:pt x="22844" y="25781"/>
                  <a:pt x="22844" y="25750"/>
                  <a:pt x="22875" y="25719"/>
                </a:cubicBezTo>
                <a:cubicBezTo>
                  <a:pt x="22844" y="25750"/>
                  <a:pt x="22844" y="25781"/>
                  <a:pt x="22812" y="25813"/>
                </a:cubicBezTo>
                <a:cubicBezTo>
                  <a:pt x="23281" y="25813"/>
                  <a:pt x="23281" y="25813"/>
                  <a:pt x="23281" y="25813"/>
                </a:cubicBezTo>
                <a:cubicBezTo>
                  <a:pt x="23250" y="25813"/>
                  <a:pt x="23250" y="25781"/>
                  <a:pt x="23250" y="25781"/>
                </a:cubicBezTo>
                <a:cubicBezTo>
                  <a:pt x="23187" y="25750"/>
                  <a:pt x="23156" y="25688"/>
                  <a:pt x="23187" y="25625"/>
                </a:cubicBezTo>
                <a:cubicBezTo>
                  <a:pt x="23219" y="25563"/>
                  <a:pt x="23250" y="25469"/>
                  <a:pt x="23187" y="25406"/>
                </a:cubicBezTo>
                <a:cubicBezTo>
                  <a:pt x="23125" y="25375"/>
                  <a:pt x="23062" y="25469"/>
                  <a:pt x="23000" y="25531"/>
                </a:cubicBezTo>
                <a:cubicBezTo>
                  <a:pt x="22969" y="25531"/>
                  <a:pt x="23000" y="25500"/>
                  <a:pt x="22969" y="25469"/>
                </a:cubicBezTo>
                <a:cubicBezTo>
                  <a:pt x="23187" y="25313"/>
                  <a:pt x="23312" y="25094"/>
                  <a:pt x="23437" y="24875"/>
                </a:cubicBezTo>
                <a:cubicBezTo>
                  <a:pt x="23469" y="24844"/>
                  <a:pt x="23531" y="24781"/>
                  <a:pt x="23469" y="24781"/>
                </a:cubicBezTo>
                <a:cubicBezTo>
                  <a:pt x="23406" y="24750"/>
                  <a:pt x="23437" y="24594"/>
                  <a:pt x="23281" y="24656"/>
                </a:cubicBezTo>
                <a:cubicBezTo>
                  <a:pt x="23281" y="24656"/>
                  <a:pt x="23281" y="24656"/>
                  <a:pt x="23281" y="24656"/>
                </a:cubicBezTo>
                <a:cubicBezTo>
                  <a:pt x="23281" y="24594"/>
                  <a:pt x="23312" y="24531"/>
                  <a:pt x="23344" y="24469"/>
                </a:cubicBezTo>
                <a:cubicBezTo>
                  <a:pt x="23375" y="24438"/>
                  <a:pt x="23406" y="24375"/>
                  <a:pt x="23437" y="24469"/>
                </a:cubicBezTo>
                <a:cubicBezTo>
                  <a:pt x="23469" y="24531"/>
                  <a:pt x="23500" y="24531"/>
                  <a:pt x="23562" y="24531"/>
                </a:cubicBezTo>
                <a:cubicBezTo>
                  <a:pt x="23594" y="24531"/>
                  <a:pt x="23594" y="24500"/>
                  <a:pt x="23594" y="24469"/>
                </a:cubicBezTo>
                <a:cubicBezTo>
                  <a:pt x="23594" y="24406"/>
                  <a:pt x="23594" y="24344"/>
                  <a:pt x="23531" y="24344"/>
                </a:cubicBezTo>
                <a:cubicBezTo>
                  <a:pt x="23469" y="24344"/>
                  <a:pt x="23469" y="24344"/>
                  <a:pt x="23469" y="24313"/>
                </a:cubicBezTo>
                <a:cubicBezTo>
                  <a:pt x="23500" y="24250"/>
                  <a:pt x="23500" y="24188"/>
                  <a:pt x="23562" y="24156"/>
                </a:cubicBezTo>
                <a:cubicBezTo>
                  <a:pt x="23625" y="24125"/>
                  <a:pt x="23625" y="24156"/>
                  <a:pt x="23625" y="24188"/>
                </a:cubicBezTo>
                <a:cubicBezTo>
                  <a:pt x="23687" y="24250"/>
                  <a:pt x="23719" y="24219"/>
                  <a:pt x="23750" y="24156"/>
                </a:cubicBezTo>
                <a:cubicBezTo>
                  <a:pt x="23812" y="24094"/>
                  <a:pt x="23844" y="24031"/>
                  <a:pt x="23875" y="23969"/>
                </a:cubicBezTo>
                <a:cubicBezTo>
                  <a:pt x="23875" y="23906"/>
                  <a:pt x="23812" y="23906"/>
                  <a:pt x="23781" y="23875"/>
                </a:cubicBezTo>
                <a:cubicBezTo>
                  <a:pt x="23781" y="23844"/>
                  <a:pt x="23781" y="23813"/>
                  <a:pt x="23781" y="23781"/>
                </a:cubicBezTo>
                <a:cubicBezTo>
                  <a:pt x="23781" y="23781"/>
                  <a:pt x="23781" y="23781"/>
                  <a:pt x="23781" y="23781"/>
                </a:cubicBezTo>
                <a:cubicBezTo>
                  <a:pt x="23844" y="23781"/>
                  <a:pt x="23875" y="23750"/>
                  <a:pt x="23875" y="23688"/>
                </a:cubicBezTo>
                <a:cubicBezTo>
                  <a:pt x="24000" y="23656"/>
                  <a:pt x="24000" y="23563"/>
                  <a:pt x="24031" y="23469"/>
                </a:cubicBezTo>
                <a:cubicBezTo>
                  <a:pt x="24031" y="23469"/>
                  <a:pt x="24031" y="23469"/>
                  <a:pt x="24031" y="23469"/>
                </a:cubicBezTo>
                <a:cubicBezTo>
                  <a:pt x="24031" y="23406"/>
                  <a:pt x="24094" y="23344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062" y="23281"/>
                  <a:pt x="24062" y="23281"/>
                  <a:pt x="24062" y="23281"/>
                </a:cubicBezTo>
                <a:cubicBezTo>
                  <a:pt x="24219" y="23281"/>
                  <a:pt x="24156" y="23125"/>
                  <a:pt x="24250" y="23094"/>
                </a:cubicBezTo>
                <a:cubicBezTo>
                  <a:pt x="24187" y="23031"/>
                  <a:pt x="24156" y="23125"/>
                  <a:pt x="24125" y="23094"/>
                </a:cubicBezTo>
                <a:cubicBezTo>
                  <a:pt x="24125" y="23094"/>
                  <a:pt x="24125" y="23094"/>
                  <a:pt x="24094" y="23094"/>
                </a:cubicBezTo>
                <a:cubicBezTo>
                  <a:pt x="24094" y="23094"/>
                  <a:pt x="24094" y="23094"/>
                  <a:pt x="24094" y="23094"/>
                </a:cubicBezTo>
                <a:cubicBezTo>
                  <a:pt x="24156" y="22938"/>
                  <a:pt x="24250" y="22844"/>
                  <a:pt x="24344" y="22719"/>
                </a:cubicBezTo>
                <a:cubicBezTo>
                  <a:pt x="24562" y="22563"/>
                  <a:pt x="24656" y="22313"/>
                  <a:pt x="24844" y="22125"/>
                </a:cubicBezTo>
                <a:cubicBezTo>
                  <a:pt x="24937" y="22000"/>
                  <a:pt x="25062" y="21844"/>
                  <a:pt x="25187" y="21688"/>
                </a:cubicBezTo>
                <a:cubicBezTo>
                  <a:pt x="25281" y="21563"/>
                  <a:pt x="25281" y="21563"/>
                  <a:pt x="25375" y="21750"/>
                </a:cubicBezTo>
                <a:cubicBezTo>
                  <a:pt x="25375" y="21750"/>
                  <a:pt x="25375" y="21750"/>
                  <a:pt x="25375" y="21750"/>
                </a:cubicBezTo>
                <a:cubicBezTo>
                  <a:pt x="25375" y="21750"/>
                  <a:pt x="25375" y="21750"/>
                  <a:pt x="25406" y="21750"/>
                </a:cubicBezTo>
                <a:cubicBezTo>
                  <a:pt x="25406" y="21750"/>
                  <a:pt x="25406" y="21781"/>
                  <a:pt x="25437" y="21781"/>
                </a:cubicBezTo>
                <a:cubicBezTo>
                  <a:pt x="25437" y="21781"/>
                  <a:pt x="25437" y="21781"/>
                  <a:pt x="25437" y="21781"/>
                </a:cubicBezTo>
                <a:cubicBezTo>
                  <a:pt x="25469" y="21906"/>
                  <a:pt x="25500" y="22031"/>
                  <a:pt x="25594" y="22125"/>
                </a:cubicBezTo>
                <a:cubicBezTo>
                  <a:pt x="25594" y="22156"/>
                  <a:pt x="25625" y="22188"/>
                  <a:pt x="25625" y="22188"/>
                </a:cubicBezTo>
                <a:cubicBezTo>
                  <a:pt x="25687" y="22188"/>
                  <a:pt x="25687" y="22219"/>
                  <a:pt x="25687" y="22250"/>
                </a:cubicBezTo>
                <a:cubicBezTo>
                  <a:pt x="25687" y="22281"/>
                  <a:pt x="25719" y="22281"/>
                  <a:pt x="25719" y="22281"/>
                </a:cubicBezTo>
                <a:cubicBezTo>
                  <a:pt x="25719" y="22281"/>
                  <a:pt x="25719" y="22313"/>
                  <a:pt x="25719" y="22313"/>
                </a:cubicBezTo>
                <a:cubicBezTo>
                  <a:pt x="25719" y="22469"/>
                  <a:pt x="25812" y="22594"/>
                  <a:pt x="25875" y="22719"/>
                </a:cubicBezTo>
                <a:cubicBezTo>
                  <a:pt x="26094" y="23188"/>
                  <a:pt x="26250" y="23656"/>
                  <a:pt x="26469" y="24094"/>
                </a:cubicBezTo>
                <a:cubicBezTo>
                  <a:pt x="26656" y="24438"/>
                  <a:pt x="26812" y="24781"/>
                  <a:pt x="27062" y="25063"/>
                </a:cubicBezTo>
                <a:cubicBezTo>
                  <a:pt x="27062" y="25094"/>
                  <a:pt x="27062" y="25094"/>
                  <a:pt x="27094" y="25125"/>
                </a:cubicBezTo>
                <a:cubicBezTo>
                  <a:pt x="27281" y="25281"/>
                  <a:pt x="27469" y="25375"/>
                  <a:pt x="27594" y="25594"/>
                </a:cubicBezTo>
                <a:cubicBezTo>
                  <a:pt x="27625" y="25656"/>
                  <a:pt x="27594" y="25781"/>
                  <a:pt x="27687" y="25813"/>
                </a:cubicBezTo>
                <a:cubicBezTo>
                  <a:pt x="27687" y="25813"/>
                  <a:pt x="27687" y="25813"/>
                  <a:pt x="27687" y="25813"/>
                </a:cubicBezTo>
                <a:cubicBezTo>
                  <a:pt x="30687" y="25813"/>
                  <a:pt x="30687" y="25813"/>
                  <a:pt x="30687" y="25813"/>
                </a:cubicBezTo>
                <a:cubicBezTo>
                  <a:pt x="30625" y="25656"/>
                  <a:pt x="30562" y="25500"/>
                  <a:pt x="30437" y="25375"/>
                </a:cubicBezTo>
                <a:cubicBezTo>
                  <a:pt x="30437" y="25344"/>
                  <a:pt x="30437" y="25344"/>
                  <a:pt x="30437" y="25344"/>
                </a:cubicBezTo>
                <a:close/>
                <a:moveTo>
                  <a:pt x="23125" y="5250"/>
                </a:moveTo>
                <a:cubicBezTo>
                  <a:pt x="23125" y="5250"/>
                  <a:pt x="23125" y="5250"/>
                  <a:pt x="23125" y="5250"/>
                </a:cubicBezTo>
                <a:cubicBezTo>
                  <a:pt x="23125" y="5250"/>
                  <a:pt x="23125" y="5250"/>
                  <a:pt x="23125" y="5250"/>
                </a:cubicBezTo>
                <a:cubicBezTo>
                  <a:pt x="23125" y="5344"/>
                  <a:pt x="23125" y="5406"/>
                  <a:pt x="23094" y="5469"/>
                </a:cubicBezTo>
                <a:cubicBezTo>
                  <a:pt x="23125" y="5406"/>
                  <a:pt x="23125" y="5344"/>
                  <a:pt x="23125" y="5250"/>
                </a:cubicBezTo>
                <a:close/>
                <a:moveTo>
                  <a:pt x="16594" y="7156"/>
                </a:moveTo>
                <a:cubicBezTo>
                  <a:pt x="16562" y="7094"/>
                  <a:pt x="16562" y="7063"/>
                  <a:pt x="16531" y="7000"/>
                </a:cubicBezTo>
                <a:cubicBezTo>
                  <a:pt x="16562" y="7063"/>
                  <a:pt x="16562" y="7094"/>
                  <a:pt x="16594" y="7156"/>
                </a:cubicBezTo>
                <a:cubicBezTo>
                  <a:pt x="16594" y="7219"/>
                  <a:pt x="16625" y="7281"/>
                  <a:pt x="16656" y="7344"/>
                </a:cubicBezTo>
                <a:cubicBezTo>
                  <a:pt x="16625" y="7281"/>
                  <a:pt x="16594" y="7219"/>
                  <a:pt x="16594" y="7156"/>
                </a:cubicBezTo>
                <a:close/>
                <a:moveTo>
                  <a:pt x="16719" y="6969"/>
                </a:moveTo>
                <a:cubicBezTo>
                  <a:pt x="16656" y="6813"/>
                  <a:pt x="16656" y="6781"/>
                  <a:pt x="16594" y="6781"/>
                </a:cubicBezTo>
                <a:cubicBezTo>
                  <a:pt x="16656" y="6781"/>
                  <a:pt x="16656" y="6813"/>
                  <a:pt x="16719" y="6969"/>
                </a:cubicBezTo>
                <a:cubicBezTo>
                  <a:pt x="16719" y="6969"/>
                  <a:pt x="16719" y="6969"/>
                  <a:pt x="16719" y="6969"/>
                </a:cubicBezTo>
                <a:close/>
                <a:moveTo>
                  <a:pt x="2312" y="2938"/>
                </a:moveTo>
                <a:cubicBezTo>
                  <a:pt x="2312" y="2938"/>
                  <a:pt x="2344" y="2906"/>
                  <a:pt x="2344" y="2906"/>
                </a:cubicBezTo>
                <a:cubicBezTo>
                  <a:pt x="2344" y="2906"/>
                  <a:pt x="2312" y="2938"/>
                  <a:pt x="2312" y="2938"/>
                </a:cubicBezTo>
                <a:close/>
                <a:moveTo>
                  <a:pt x="4531" y="3625"/>
                </a:moveTo>
                <a:cubicBezTo>
                  <a:pt x="4562" y="3594"/>
                  <a:pt x="4562" y="3563"/>
                  <a:pt x="4594" y="3531"/>
                </a:cubicBezTo>
                <a:cubicBezTo>
                  <a:pt x="4562" y="3563"/>
                  <a:pt x="4562" y="3594"/>
                  <a:pt x="4531" y="3625"/>
                </a:cubicBezTo>
                <a:close/>
                <a:moveTo>
                  <a:pt x="17437" y="6469"/>
                </a:moveTo>
                <a:cubicBezTo>
                  <a:pt x="17469" y="6563"/>
                  <a:pt x="17469" y="6656"/>
                  <a:pt x="17437" y="6719"/>
                </a:cubicBezTo>
                <a:cubicBezTo>
                  <a:pt x="17469" y="6656"/>
                  <a:pt x="17469" y="6563"/>
                  <a:pt x="17437" y="6469"/>
                </a:cubicBezTo>
                <a:cubicBezTo>
                  <a:pt x="17375" y="6500"/>
                  <a:pt x="17344" y="6531"/>
                  <a:pt x="17312" y="6563"/>
                </a:cubicBezTo>
                <a:cubicBezTo>
                  <a:pt x="17344" y="6531"/>
                  <a:pt x="17375" y="6500"/>
                  <a:pt x="17437" y="6469"/>
                </a:cubicBezTo>
                <a:close/>
                <a:moveTo>
                  <a:pt x="17219" y="6719"/>
                </a:moveTo>
                <a:cubicBezTo>
                  <a:pt x="17187" y="6750"/>
                  <a:pt x="17156" y="6719"/>
                  <a:pt x="17094" y="6719"/>
                </a:cubicBezTo>
                <a:cubicBezTo>
                  <a:pt x="17062" y="6844"/>
                  <a:pt x="16969" y="6938"/>
                  <a:pt x="16937" y="7094"/>
                </a:cubicBezTo>
                <a:cubicBezTo>
                  <a:pt x="16969" y="6938"/>
                  <a:pt x="17062" y="6844"/>
                  <a:pt x="17094" y="6719"/>
                </a:cubicBezTo>
                <a:cubicBezTo>
                  <a:pt x="17094" y="6688"/>
                  <a:pt x="17062" y="6688"/>
                  <a:pt x="17062" y="6688"/>
                </a:cubicBezTo>
                <a:cubicBezTo>
                  <a:pt x="17062" y="6688"/>
                  <a:pt x="17062" y="6688"/>
                  <a:pt x="17062" y="6688"/>
                </a:cubicBezTo>
                <a:cubicBezTo>
                  <a:pt x="17062" y="6688"/>
                  <a:pt x="17094" y="6688"/>
                  <a:pt x="17094" y="6719"/>
                </a:cubicBezTo>
                <a:cubicBezTo>
                  <a:pt x="17156" y="6719"/>
                  <a:pt x="17187" y="6750"/>
                  <a:pt x="17219" y="6719"/>
                </a:cubicBezTo>
                <a:close/>
                <a:moveTo>
                  <a:pt x="17156" y="11313"/>
                </a:moveTo>
                <a:cubicBezTo>
                  <a:pt x="17125" y="11313"/>
                  <a:pt x="17125" y="11281"/>
                  <a:pt x="17125" y="11281"/>
                </a:cubicBezTo>
                <a:cubicBezTo>
                  <a:pt x="17125" y="11281"/>
                  <a:pt x="17125" y="11313"/>
                  <a:pt x="17156" y="11313"/>
                </a:cubicBezTo>
                <a:close/>
                <a:moveTo>
                  <a:pt x="17062" y="6500"/>
                </a:moveTo>
                <a:cubicBezTo>
                  <a:pt x="17062" y="6500"/>
                  <a:pt x="17062" y="6500"/>
                  <a:pt x="17062" y="6500"/>
                </a:cubicBezTo>
                <a:cubicBezTo>
                  <a:pt x="17062" y="6500"/>
                  <a:pt x="17062" y="6500"/>
                  <a:pt x="17062" y="6500"/>
                </a:cubicBezTo>
                <a:cubicBezTo>
                  <a:pt x="17031" y="6500"/>
                  <a:pt x="17031" y="6500"/>
                  <a:pt x="17000" y="6500"/>
                </a:cubicBezTo>
                <a:cubicBezTo>
                  <a:pt x="17031" y="6500"/>
                  <a:pt x="17031" y="6500"/>
                  <a:pt x="17062" y="6500"/>
                </a:cubicBezTo>
                <a:close/>
                <a:moveTo>
                  <a:pt x="17031" y="6750"/>
                </a:moveTo>
                <a:cubicBezTo>
                  <a:pt x="16969" y="6750"/>
                  <a:pt x="16906" y="6750"/>
                  <a:pt x="16875" y="6781"/>
                </a:cubicBezTo>
                <a:cubicBezTo>
                  <a:pt x="16906" y="6750"/>
                  <a:pt x="16969" y="6750"/>
                  <a:pt x="17031" y="6750"/>
                </a:cubicBezTo>
                <a:close/>
                <a:moveTo>
                  <a:pt x="11594" y="16781"/>
                </a:moveTo>
                <a:cubicBezTo>
                  <a:pt x="11531" y="16750"/>
                  <a:pt x="11500" y="16719"/>
                  <a:pt x="11500" y="16688"/>
                </a:cubicBezTo>
                <a:cubicBezTo>
                  <a:pt x="11469" y="16656"/>
                  <a:pt x="11469" y="16594"/>
                  <a:pt x="11437" y="16563"/>
                </a:cubicBezTo>
                <a:cubicBezTo>
                  <a:pt x="11469" y="16594"/>
                  <a:pt x="11469" y="16656"/>
                  <a:pt x="11500" y="16688"/>
                </a:cubicBezTo>
                <a:cubicBezTo>
                  <a:pt x="11500" y="16719"/>
                  <a:pt x="11531" y="16750"/>
                  <a:pt x="11594" y="16781"/>
                </a:cubicBezTo>
                <a:close/>
                <a:moveTo>
                  <a:pt x="12531" y="16500"/>
                </a:moveTo>
                <a:cubicBezTo>
                  <a:pt x="12531" y="16500"/>
                  <a:pt x="12500" y="16531"/>
                  <a:pt x="12437" y="16563"/>
                </a:cubicBezTo>
                <a:cubicBezTo>
                  <a:pt x="12500" y="16531"/>
                  <a:pt x="12531" y="16500"/>
                  <a:pt x="12531" y="16500"/>
                </a:cubicBezTo>
                <a:cubicBezTo>
                  <a:pt x="12625" y="16500"/>
                  <a:pt x="12687" y="16531"/>
                  <a:pt x="12719" y="16594"/>
                </a:cubicBezTo>
                <a:cubicBezTo>
                  <a:pt x="12687" y="16531"/>
                  <a:pt x="12625" y="16500"/>
                  <a:pt x="12531" y="16500"/>
                </a:cubicBezTo>
                <a:close/>
                <a:moveTo>
                  <a:pt x="12406" y="16594"/>
                </a:moveTo>
                <a:cubicBezTo>
                  <a:pt x="12437" y="16594"/>
                  <a:pt x="12437" y="16594"/>
                  <a:pt x="12437" y="16563"/>
                </a:cubicBezTo>
                <a:cubicBezTo>
                  <a:pt x="12437" y="16594"/>
                  <a:pt x="12437" y="16594"/>
                  <a:pt x="12406" y="16594"/>
                </a:cubicBezTo>
                <a:close/>
                <a:moveTo>
                  <a:pt x="13312" y="24938"/>
                </a:moveTo>
                <a:cubicBezTo>
                  <a:pt x="13312" y="24938"/>
                  <a:pt x="13312" y="24938"/>
                  <a:pt x="13312" y="24938"/>
                </a:cubicBezTo>
                <a:cubicBezTo>
                  <a:pt x="13312" y="24844"/>
                  <a:pt x="13312" y="24781"/>
                  <a:pt x="13344" y="24688"/>
                </a:cubicBezTo>
                <a:cubicBezTo>
                  <a:pt x="13312" y="24781"/>
                  <a:pt x="13312" y="24844"/>
                  <a:pt x="13312" y="24938"/>
                </a:cubicBezTo>
                <a:close/>
                <a:moveTo>
                  <a:pt x="17656" y="12469"/>
                </a:moveTo>
                <a:cubicBezTo>
                  <a:pt x="17719" y="12438"/>
                  <a:pt x="17781" y="12406"/>
                  <a:pt x="17812" y="12344"/>
                </a:cubicBezTo>
                <a:cubicBezTo>
                  <a:pt x="17781" y="12406"/>
                  <a:pt x="17719" y="12438"/>
                  <a:pt x="17656" y="12469"/>
                </a:cubicBezTo>
                <a:close/>
                <a:moveTo>
                  <a:pt x="18187" y="12000"/>
                </a:moveTo>
                <a:cubicBezTo>
                  <a:pt x="18156" y="12094"/>
                  <a:pt x="18062" y="12156"/>
                  <a:pt x="17969" y="12156"/>
                </a:cubicBezTo>
                <a:cubicBezTo>
                  <a:pt x="17937" y="12156"/>
                  <a:pt x="17906" y="12156"/>
                  <a:pt x="17906" y="12156"/>
                </a:cubicBezTo>
                <a:cubicBezTo>
                  <a:pt x="17844" y="12156"/>
                  <a:pt x="17844" y="12188"/>
                  <a:pt x="17875" y="12219"/>
                </a:cubicBezTo>
                <a:cubicBezTo>
                  <a:pt x="17844" y="12219"/>
                  <a:pt x="17844" y="12250"/>
                  <a:pt x="17844" y="12250"/>
                </a:cubicBezTo>
                <a:cubicBezTo>
                  <a:pt x="17719" y="12281"/>
                  <a:pt x="17656" y="12375"/>
                  <a:pt x="17594" y="12500"/>
                </a:cubicBezTo>
                <a:cubicBezTo>
                  <a:pt x="17562" y="12500"/>
                  <a:pt x="17531" y="12500"/>
                  <a:pt x="17531" y="12531"/>
                </a:cubicBezTo>
                <a:cubicBezTo>
                  <a:pt x="17562" y="12594"/>
                  <a:pt x="17562" y="12625"/>
                  <a:pt x="17531" y="12656"/>
                </a:cubicBezTo>
                <a:cubicBezTo>
                  <a:pt x="17562" y="12625"/>
                  <a:pt x="17562" y="12594"/>
                  <a:pt x="17531" y="12531"/>
                </a:cubicBezTo>
                <a:cubicBezTo>
                  <a:pt x="17469" y="12594"/>
                  <a:pt x="17375" y="12625"/>
                  <a:pt x="17344" y="12719"/>
                </a:cubicBezTo>
                <a:cubicBezTo>
                  <a:pt x="17187" y="12781"/>
                  <a:pt x="17125" y="12938"/>
                  <a:pt x="17000" y="13031"/>
                </a:cubicBezTo>
                <a:cubicBezTo>
                  <a:pt x="16875" y="13125"/>
                  <a:pt x="16750" y="13219"/>
                  <a:pt x="16625" y="13281"/>
                </a:cubicBezTo>
                <a:cubicBezTo>
                  <a:pt x="16187" y="13438"/>
                  <a:pt x="15750" y="13469"/>
                  <a:pt x="15375" y="13656"/>
                </a:cubicBezTo>
                <a:cubicBezTo>
                  <a:pt x="15281" y="13719"/>
                  <a:pt x="15156" y="13688"/>
                  <a:pt x="15062" y="13688"/>
                </a:cubicBezTo>
                <a:cubicBezTo>
                  <a:pt x="14906" y="13656"/>
                  <a:pt x="14719" y="13688"/>
                  <a:pt x="14562" y="13781"/>
                </a:cubicBezTo>
                <a:cubicBezTo>
                  <a:pt x="14406" y="13938"/>
                  <a:pt x="14219" y="13813"/>
                  <a:pt x="14094" y="13750"/>
                </a:cubicBezTo>
                <a:cubicBezTo>
                  <a:pt x="13969" y="13719"/>
                  <a:pt x="13875" y="13688"/>
                  <a:pt x="13781" y="13781"/>
                </a:cubicBezTo>
                <a:cubicBezTo>
                  <a:pt x="13656" y="13844"/>
                  <a:pt x="13531" y="13844"/>
                  <a:pt x="13406" y="13813"/>
                </a:cubicBezTo>
                <a:cubicBezTo>
                  <a:pt x="13312" y="13781"/>
                  <a:pt x="13219" y="13781"/>
                  <a:pt x="13125" y="13844"/>
                </a:cubicBezTo>
                <a:cubicBezTo>
                  <a:pt x="13062" y="13906"/>
                  <a:pt x="12937" y="13875"/>
                  <a:pt x="12875" y="13844"/>
                </a:cubicBezTo>
                <a:cubicBezTo>
                  <a:pt x="12750" y="13781"/>
                  <a:pt x="12687" y="13781"/>
                  <a:pt x="12594" y="13875"/>
                </a:cubicBezTo>
                <a:cubicBezTo>
                  <a:pt x="12562" y="13938"/>
                  <a:pt x="12531" y="13969"/>
                  <a:pt x="12469" y="13906"/>
                </a:cubicBezTo>
                <a:cubicBezTo>
                  <a:pt x="12437" y="13875"/>
                  <a:pt x="12375" y="13906"/>
                  <a:pt x="12344" y="13938"/>
                </a:cubicBezTo>
                <a:cubicBezTo>
                  <a:pt x="12219" y="14063"/>
                  <a:pt x="12062" y="14063"/>
                  <a:pt x="11875" y="14063"/>
                </a:cubicBezTo>
                <a:cubicBezTo>
                  <a:pt x="11531" y="14125"/>
                  <a:pt x="11219" y="14219"/>
                  <a:pt x="10906" y="14406"/>
                </a:cubicBezTo>
                <a:cubicBezTo>
                  <a:pt x="10844" y="14469"/>
                  <a:pt x="10750" y="14469"/>
                  <a:pt x="10687" y="14500"/>
                </a:cubicBezTo>
                <a:cubicBezTo>
                  <a:pt x="10531" y="14594"/>
                  <a:pt x="10500" y="14719"/>
                  <a:pt x="10344" y="14813"/>
                </a:cubicBezTo>
                <a:cubicBezTo>
                  <a:pt x="10250" y="14875"/>
                  <a:pt x="10094" y="14844"/>
                  <a:pt x="10031" y="14938"/>
                </a:cubicBezTo>
                <a:cubicBezTo>
                  <a:pt x="10062" y="14969"/>
                  <a:pt x="10094" y="14969"/>
                  <a:pt x="10125" y="15000"/>
                </a:cubicBezTo>
                <a:cubicBezTo>
                  <a:pt x="10031" y="15125"/>
                  <a:pt x="9875" y="15125"/>
                  <a:pt x="9750" y="15188"/>
                </a:cubicBezTo>
                <a:cubicBezTo>
                  <a:pt x="9750" y="15188"/>
                  <a:pt x="9750" y="15188"/>
                  <a:pt x="9750" y="15188"/>
                </a:cubicBezTo>
                <a:cubicBezTo>
                  <a:pt x="9562" y="15344"/>
                  <a:pt x="9344" y="15438"/>
                  <a:pt x="9094" y="15438"/>
                </a:cubicBezTo>
                <a:cubicBezTo>
                  <a:pt x="9062" y="15188"/>
                  <a:pt x="9156" y="14969"/>
                  <a:pt x="9187" y="14750"/>
                </a:cubicBezTo>
                <a:cubicBezTo>
                  <a:pt x="9312" y="14156"/>
                  <a:pt x="9437" y="13563"/>
                  <a:pt x="9562" y="12969"/>
                </a:cubicBezTo>
                <a:cubicBezTo>
                  <a:pt x="9625" y="12656"/>
                  <a:pt x="9719" y="12375"/>
                  <a:pt x="9812" y="12094"/>
                </a:cubicBezTo>
                <a:cubicBezTo>
                  <a:pt x="9937" y="11594"/>
                  <a:pt x="10062" y="11125"/>
                  <a:pt x="10250" y="10656"/>
                </a:cubicBezTo>
                <a:cubicBezTo>
                  <a:pt x="10406" y="10250"/>
                  <a:pt x="10562" y="9813"/>
                  <a:pt x="10844" y="9438"/>
                </a:cubicBezTo>
                <a:cubicBezTo>
                  <a:pt x="10937" y="9281"/>
                  <a:pt x="11125" y="9188"/>
                  <a:pt x="11281" y="9063"/>
                </a:cubicBezTo>
                <a:cubicBezTo>
                  <a:pt x="11469" y="8906"/>
                  <a:pt x="11656" y="8750"/>
                  <a:pt x="11844" y="8563"/>
                </a:cubicBezTo>
                <a:cubicBezTo>
                  <a:pt x="11875" y="8500"/>
                  <a:pt x="11937" y="8500"/>
                  <a:pt x="12000" y="8469"/>
                </a:cubicBezTo>
                <a:cubicBezTo>
                  <a:pt x="12187" y="8313"/>
                  <a:pt x="12281" y="8156"/>
                  <a:pt x="12250" y="7969"/>
                </a:cubicBezTo>
                <a:cubicBezTo>
                  <a:pt x="12469" y="8000"/>
                  <a:pt x="12656" y="8094"/>
                  <a:pt x="12844" y="8156"/>
                </a:cubicBezTo>
                <a:cubicBezTo>
                  <a:pt x="13156" y="8250"/>
                  <a:pt x="13437" y="8375"/>
                  <a:pt x="13750" y="8500"/>
                </a:cubicBezTo>
                <a:cubicBezTo>
                  <a:pt x="14094" y="8625"/>
                  <a:pt x="14406" y="8750"/>
                  <a:pt x="14750" y="8875"/>
                </a:cubicBezTo>
                <a:cubicBezTo>
                  <a:pt x="15156" y="8969"/>
                  <a:pt x="15531" y="9125"/>
                  <a:pt x="15906" y="9188"/>
                </a:cubicBezTo>
                <a:cubicBezTo>
                  <a:pt x="16094" y="9219"/>
                  <a:pt x="16344" y="9469"/>
                  <a:pt x="16375" y="9625"/>
                </a:cubicBezTo>
                <a:cubicBezTo>
                  <a:pt x="16406" y="9750"/>
                  <a:pt x="16437" y="9781"/>
                  <a:pt x="16594" y="9781"/>
                </a:cubicBezTo>
                <a:cubicBezTo>
                  <a:pt x="16625" y="9844"/>
                  <a:pt x="16594" y="9844"/>
                  <a:pt x="16562" y="9844"/>
                </a:cubicBezTo>
                <a:cubicBezTo>
                  <a:pt x="16531" y="9844"/>
                  <a:pt x="16500" y="9875"/>
                  <a:pt x="16469" y="9875"/>
                </a:cubicBezTo>
                <a:cubicBezTo>
                  <a:pt x="16656" y="10000"/>
                  <a:pt x="16687" y="10125"/>
                  <a:pt x="16594" y="10313"/>
                </a:cubicBezTo>
                <a:cubicBezTo>
                  <a:pt x="16531" y="10219"/>
                  <a:pt x="16625" y="10094"/>
                  <a:pt x="16500" y="10031"/>
                </a:cubicBezTo>
                <a:cubicBezTo>
                  <a:pt x="16437" y="10406"/>
                  <a:pt x="16531" y="10750"/>
                  <a:pt x="16594" y="11094"/>
                </a:cubicBezTo>
                <a:cubicBezTo>
                  <a:pt x="16594" y="11125"/>
                  <a:pt x="16625" y="11188"/>
                  <a:pt x="16687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56" y="11250"/>
                  <a:pt x="16687" y="11313"/>
                  <a:pt x="16781" y="11375"/>
                </a:cubicBezTo>
                <a:cubicBezTo>
                  <a:pt x="16781" y="11281"/>
                  <a:pt x="16687" y="11250"/>
                  <a:pt x="16719" y="11188"/>
                </a:cubicBezTo>
                <a:cubicBezTo>
                  <a:pt x="16719" y="11188"/>
                  <a:pt x="16719" y="11188"/>
                  <a:pt x="16719" y="11188"/>
                </a:cubicBezTo>
                <a:cubicBezTo>
                  <a:pt x="16687" y="11188"/>
                  <a:pt x="16687" y="11188"/>
                  <a:pt x="16687" y="11188"/>
                </a:cubicBezTo>
                <a:cubicBezTo>
                  <a:pt x="16687" y="11125"/>
                  <a:pt x="16719" y="11125"/>
                  <a:pt x="16750" y="11125"/>
                </a:cubicBezTo>
                <a:cubicBezTo>
                  <a:pt x="16781" y="11094"/>
                  <a:pt x="16844" y="11063"/>
                  <a:pt x="16781" y="11000"/>
                </a:cubicBezTo>
                <a:cubicBezTo>
                  <a:pt x="16781" y="11000"/>
                  <a:pt x="16781" y="10906"/>
                  <a:pt x="16781" y="10906"/>
                </a:cubicBezTo>
                <a:cubicBezTo>
                  <a:pt x="16844" y="10906"/>
                  <a:pt x="16844" y="10938"/>
                  <a:pt x="16875" y="11000"/>
                </a:cubicBezTo>
                <a:cubicBezTo>
                  <a:pt x="16875" y="11156"/>
                  <a:pt x="17000" y="11250"/>
                  <a:pt x="17094" y="11406"/>
                </a:cubicBezTo>
                <a:cubicBezTo>
                  <a:pt x="17094" y="11406"/>
                  <a:pt x="17125" y="11406"/>
                  <a:pt x="17156" y="11406"/>
                </a:cubicBezTo>
                <a:cubicBezTo>
                  <a:pt x="17125" y="11469"/>
                  <a:pt x="17219" y="11500"/>
                  <a:pt x="17250" y="11563"/>
                </a:cubicBezTo>
                <a:cubicBezTo>
                  <a:pt x="17250" y="11563"/>
                  <a:pt x="17250" y="11563"/>
                  <a:pt x="17250" y="11563"/>
                </a:cubicBezTo>
                <a:cubicBezTo>
                  <a:pt x="17281" y="11656"/>
                  <a:pt x="17375" y="11688"/>
                  <a:pt x="17437" y="11719"/>
                </a:cubicBezTo>
                <a:cubicBezTo>
                  <a:pt x="17437" y="11781"/>
                  <a:pt x="17375" y="11719"/>
                  <a:pt x="17375" y="11781"/>
                </a:cubicBezTo>
                <a:cubicBezTo>
                  <a:pt x="17594" y="11750"/>
                  <a:pt x="17781" y="11844"/>
                  <a:pt x="17969" y="11875"/>
                </a:cubicBezTo>
                <a:cubicBezTo>
                  <a:pt x="18062" y="11875"/>
                  <a:pt x="18187" y="11938"/>
                  <a:pt x="18187" y="12000"/>
                </a:cubicBezTo>
                <a:close/>
                <a:moveTo>
                  <a:pt x="18312" y="9438"/>
                </a:moveTo>
                <a:cubicBezTo>
                  <a:pt x="18312" y="9438"/>
                  <a:pt x="18281" y="9469"/>
                  <a:pt x="18281" y="9469"/>
                </a:cubicBezTo>
                <a:cubicBezTo>
                  <a:pt x="18281" y="9469"/>
                  <a:pt x="18312" y="9438"/>
                  <a:pt x="18312" y="9438"/>
                </a:cubicBezTo>
                <a:cubicBezTo>
                  <a:pt x="18312" y="9438"/>
                  <a:pt x="18312" y="9438"/>
                  <a:pt x="18312" y="9438"/>
                </a:cubicBezTo>
                <a:cubicBezTo>
                  <a:pt x="18312" y="9469"/>
                  <a:pt x="18312" y="9469"/>
                  <a:pt x="18344" y="9469"/>
                </a:cubicBezTo>
                <a:cubicBezTo>
                  <a:pt x="18312" y="9469"/>
                  <a:pt x="18312" y="9469"/>
                  <a:pt x="18312" y="9438"/>
                </a:cubicBezTo>
                <a:close/>
                <a:moveTo>
                  <a:pt x="18500" y="18469"/>
                </a:moveTo>
                <a:cubicBezTo>
                  <a:pt x="18531" y="18375"/>
                  <a:pt x="18594" y="18281"/>
                  <a:pt x="18656" y="18188"/>
                </a:cubicBezTo>
                <a:cubicBezTo>
                  <a:pt x="18594" y="18281"/>
                  <a:pt x="18531" y="18375"/>
                  <a:pt x="18500" y="18469"/>
                </a:cubicBezTo>
                <a:cubicBezTo>
                  <a:pt x="18500" y="18469"/>
                  <a:pt x="18500" y="18469"/>
                  <a:pt x="18500" y="18469"/>
                </a:cubicBezTo>
                <a:close/>
                <a:moveTo>
                  <a:pt x="18687" y="18500"/>
                </a:moveTo>
                <a:cubicBezTo>
                  <a:pt x="18687" y="18500"/>
                  <a:pt x="18656" y="18469"/>
                  <a:pt x="18656" y="18469"/>
                </a:cubicBezTo>
                <a:cubicBezTo>
                  <a:pt x="18656" y="18469"/>
                  <a:pt x="18687" y="18500"/>
                  <a:pt x="18687" y="18500"/>
                </a:cubicBezTo>
                <a:close/>
                <a:moveTo>
                  <a:pt x="18625" y="18469"/>
                </a:moveTo>
                <a:cubicBezTo>
                  <a:pt x="18594" y="18469"/>
                  <a:pt x="18594" y="18469"/>
                  <a:pt x="18594" y="18469"/>
                </a:cubicBezTo>
                <a:cubicBezTo>
                  <a:pt x="18594" y="18469"/>
                  <a:pt x="18594" y="18469"/>
                  <a:pt x="18625" y="18469"/>
                </a:cubicBezTo>
                <a:close/>
                <a:moveTo>
                  <a:pt x="18687" y="20125"/>
                </a:moveTo>
                <a:cubicBezTo>
                  <a:pt x="18687" y="20156"/>
                  <a:pt x="18656" y="20188"/>
                  <a:pt x="18656" y="20219"/>
                </a:cubicBezTo>
                <a:cubicBezTo>
                  <a:pt x="18625" y="20281"/>
                  <a:pt x="18594" y="20313"/>
                  <a:pt x="18562" y="20375"/>
                </a:cubicBezTo>
                <a:cubicBezTo>
                  <a:pt x="18594" y="20313"/>
                  <a:pt x="18625" y="20281"/>
                  <a:pt x="18656" y="20219"/>
                </a:cubicBezTo>
                <a:cubicBezTo>
                  <a:pt x="18656" y="20188"/>
                  <a:pt x="18687" y="20156"/>
                  <a:pt x="18687" y="20125"/>
                </a:cubicBezTo>
                <a:cubicBezTo>
                  <a:pt x="18719" y="20063"/>
                  <a:pt x="18719" y="20031"/>
                  <a:pt x="18719" y="20000"/>
                </a:cubicBezTo>
                <a:cubicBezTo>
                  <a:pt x="18719" y="20031"/>
                  <a:pt x="18719" y="20063"/>
                  <a:pt x="18687" y="20125"/>
                </a:cubicBezTo>
                <a:close/>
                <a:moveTo>
                  <a:pt x="18750" y="19938"/>
                </a:moveTo>
                <a:cubicBezTo>
                  <a:pt x="18750" y="19906"/>
                  <a:pt x="18750" y="19875"/>
                  <a:pt x="18750" y="19813"/>
                </a:cubicBezTo>
                <a:cubicBezTo>
                  <a:pt x="18750" y="19875"/>
                  <a:pt x="18750" y="19906"/>
                  <a:pt x="18750" y="19938"/>
                </a:cubicBezTo>
                <a:close/>
                <a:moveTo>
                  <a:pt x="19875" y="17625"/>
                </a:moveTo>
                <a:cubicBezTo>
                  <a:pt x="19844" y="17688"/>
                  <a:pt x="19844" y="17750"/>
                  <a:pt x="19844" y="17813"/>
                </a:cubicBezTo>
                <a:cubicBezTo>
                  <a:pt x="19844" y="17813"/>
                  <a:pt x="19844" y="17813"/>
                  <a:pt x="19844" y="17813"/>
                </a:cubicBezTo>
                <a:cubicBezTo>
                  <a:pt x="19844" y="17750"/>
                  <a:pt x="19844" y="17688"/>
                  <a:pt x="19875" y="17625"/>
                </a:cubicBezTo>
                <a:close/>
                <a:moveTo>
                  <a:pt x="20531" y="17531"/>
                </a:moveTo>
                <a:cubicBezTo>
                  <a:pt x="20500" y="17531"/>
                  <a:pt x="20500" y="17531"/>
                  <a:pt x="20500" y="17531"/>
                </a:cubicBezTo>
                <a:cubicBezTo>
                  <a:pt x="20500" y="17531"/>
                  <a:pt x="20500" y="17531"/>
                  <a:pt x="20531" y="17531"/>
                </a:cubicBezTo>
                <a:cubicBezTo>
                  <a:pt x="20531" y="17531"/>
                  <a:pt x="20531" y="17531"/>
                  <a:pt x="20531" y="17531"/>
                </a:cubicBezTo>
                <a:close/>
                <a:moveTo>
                  <a:pt x="23250" y="24750"/>
                </a:moveTo>
                <a:cubicBezTo>
                  <a:pt x="23250" y="24719"/>
                  <a:pt x="23281" y="24688"/>
                  <a:pt x="23281" y="24688"/>
                </a:cubicBezTo>
                <a:cubicBezTo>
                  <a:pt x="23281" y="24688"/>
                  <a:pt x="23250" y="24719"/>
                  <a:pt x="23250" y="24750"/>
                </a:cubicBezTo>
                <a:close/>
                <a:moveTo>
                  <a:pt x="23187" y="24844"/>
                </a:moveTo>
                <a:cubicBezTo>
                  <a:pt x="23219" y="24813"/>
                  <a:pt x="23219" y="24813"/>
                  <a:pt x="23219" y="24781"/>
                </a:cubicBezTo>
                <a:cubicBezTo>
                  <a:pt x="23219" y="24813"/>
                  <a:pt x="23219" y="24813"/>
                  <a:pt x="23187" y="24844"/>
                </a:cubicBezTo>
                <a:close/>
                <a:moveTo>
                  <a:pt x="23219" y="24781"/>
                </a:moveTo>
                <a:cubicBezTo>
                  <a:pt x="23219" y="24781"/>
                  <a:pt x="23219" y="24781"/>
                  <a:pt x="23219" y="24781"/>
                </a:cubicBezTo>
                <a:cubicBezTo>
                  <a:pt x="23219" y="24781"/>
                  <a:pt x="23219" y="24781"/>
                  <a:pt x="23219" y="24781"/>
                </a:cubicBezTo>
                <a:close/>
                <a:moveTo>
                  <a:pt x="23250" y="24750"/>
                </a:moveTo>
                <a:cubicBezTo>
                  <a:pt x="23250" y="24750"/>
                  <a:pt x="23250" y="24750"/>
                  <a:pt x="23250" y="24750"/>
                </a:cubicBezTo>
                <a:cubicBezTo>
                  <a:pt x="23250" y="24750"/>
                  <a:pt x="23250" y="24750"/>
                  <a:pt x="23250" y="24750"/>
                </a:cubicBezTo>
                <a:close/>
                <a:moveTo>
                  <a:pt x="28625" y="20500"/>
                </a:moveTo>
                <a:cubicBezTo>
                  <a:pt x="28625" y="20469"/>
                  <a:pt x="28625" y="20438"/>
                  <a:pt x="28656" y="20438"/>
                </a:cubicBezTo>
                <a:cubicBezTo>
                  <a:pt x="28625" y="20438"/>
                  <a:pt x="28625" y="20469"/>
                  <a:pt x="28625" y="20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5E5E78F-4781-884A-84D9-70CEBEA6FB0F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32008D6-AC00-4E4A-A037-23F8B5206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58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0">
            <a:extLst>
              <a:ext uri="{FF2B5EF4-FFF2-40B4-BE49-F238E27FC236}">
                <a16:creationId xmlns:a16="http://schemas.microsoft.com/office/drawing/2014/main" id="{DC72D5E0-E818-5B4E-B6CD-953BF3707667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>
            <a:off x="456283" y="590747"/>
            <a:ext cx="12522333" cy="13126841"/>
          </a:xfrm>
          <a:custGeom>
            <a:avLst/>
            <a:gdLst>
              <a:gd name="T0" fmla="*/ 1323 w 1482"/>
              <a:gd name="T1" fmla="*/ 1334 h 1662"/>
              <a:gd name="T2" fmla="*/ 365 w 1482"/>
              <a:gd name="T3" fmla="*/ 689 h 1662"/>
              <a:gd name="T4" fmla="*/ 131 w 1482"/>
              <a:gd name="T5" fmla="*/ 971 h 1662"/>
              <a:gd name="T6" fmla="*/ 1365 w 1482"/>
              <a:gd name="T7" fmla="*/ 1155 h 1662"/>
              <a:gd name="T8" fmla="*/ 1206 w 1482"/>
              <a:gd name="T9" fmla="*/ 641 h 1662"/>
              <a:gd name="T10" fmla="*/ 921 w 1482"/>
              <a:gd name="T11" fmla="*/ 359 h 1662"/>
              <a:gd name="T12" fmla="*/ 692 w 1482"/>
              <a:gd name="T13" fmla="*/ 354 h 1662"/>
              <a:gd name="T14" fmla="*/ 1359 w 1482"/>
              <a:gd name="T15" fmla="*/ 1399 h 1662"/>
              <a:gd name="T16" fmla="*/ 1260 w 1482"/>
              <a:gd name="T17" fmla="*/ 1085 h 1662"/>
              <a:gd name="T18" fmla="*/ 1240 w 1482"/>
              <a:gd name="T19" fmla="*/ 899 h 1662"/>
              <a:gd name="T20" fmla="*/ 1206 w 1482"/>
              <a:gd name="T21" fmla="*/ 958 h 1662"/>
              <a:gd name="T22" fmla="*/ 1075 w 1482"/>
              <a:gd name="T23" fmla="*/ 1427 h 1662"/>
              <a:gd name="T24" fmla="*/ 957 w 1482"/>
              <a:gd name="T25" fmla="*/ 1061 h 1662"/>
              <a:gd name="T26" fmla="*/ 989 w 1482"/>
              <a:gd name="T27" fmla="*/ 1138 h 1662"/>
              <a:gd name="T28" fmla="*/ 813 w 1482"/>
              <a:gd name="T29" fmla="*/ 1438 h 1662"/>
              <a:gd name="T30" fmla="*/ 647 w 1482"/>
              <a:gd name="T31" fmla="*/ 1238 h 1662"/>
              <a:gd name="T32" fmla="*/ 499 w 1482"/>
              <a:gd name="T33" fmla="*/ 1276 h 1662"/>
              <a:gd name="T34" fmla="*/ 356 w 1482"/>
              <a:gd name="T35" fmla="*/ 1329 h 1662"/>
              <a:gd name="T36" fmla="*/ 580 w 1482"/>
              <a:gd name="T37" fmla="*/ 1244 h 1662"/>
              <a:gd name="T38" fmla="*/ 930 w 1482"/>
              <a:gd name="T39" fmla="*/ 1142 h 1662"/>
              <a:gd name="T40" fmla="*/ 262 w 1482"/>
              <a:gd name="T41" fmla="*/ 1062 h 1662"/>
              <a:gd name="T42" fmla="*/ 219 w 1482"/>
              <a:gd name="T43" fmla="*/ 1277 h 1662"/>
              <a:gd name="T44" fmla="*/ 246 w 1482"/>
              <a:gd name="T45" fmla="*/ 1046 h 1662"/>
              <a:gd name="T46" fmla="*/ 380 w 1482"/>
              <a:gd name="T47" fmla="*/ 824 h 1662"/>
              <a:gd name="T48" fmla="*/ 624 w 1482"/>
              <a:gd name="T49" fmla="*/ 729 h 1662"/>
              <a:gd name="T50" fmla="*/ 967 w 1482"/>
              <a:gd name="T51" fmla="*/ 622 h 1662"/>
              <a:gd name="T52" fmla="*/ 462 w 1482"/>
              <a:gd name="T53" fmla="*/ 657 h 1662"/>
              <a:gd name="T54" fmla="*/ 587 w 1482"/>
              <a:gd name="T55" fmla="*/ 552 h 1662"/>
              <a:gd name="T56" fmla="*/ 674 w 1482"/>
              <a:gd name="T57" fmla="*/ 460 h 1662"/>
              <a:gd name="T58" fmla="*/ 732 w 1482"/>
              <a:gd name="T59" fmla="*/ 343 h 1662"/>
              <a:gd name="T60" fmla="*/ 787 w 1482"/>
              <a:gd name="T61" fmla="*/ 672 h 1662"/>
              <a:gd name="T62" fmla="*/ 653 w 1482"/>
              <a:gd name="T63" fmla="*/ 711 h 1662"/>
              <a:gd name="T64" fmla="*/ 800 w 1482"/>
              <a:gd name="T65" fmla="*/ 323 h 1662"/>
              <a:gd name="T66" fmla="*/ 849 w 1482"/>
              <a:gd name="T67" fmla="*/ 303 h 1662"/>
              <a:gd name="T68" fmla="*/ 944 w 1482"/>
              <a:gd name="T69" fmla="*/ 433 h 1662"/>
              <a:gd name="T70" fmla="*/ 866 w 1482"/>
              <a:gd name="T71" fmla="*/ 567 h 1662"/>
              <a:gd name="T72" fmla="*/ 966 w 1482"/>
              <a:gd name="T73" fmla="*/ 495 h 1662"/>
              <a:gd name="T74" fmla="*/ 990 w 1482"/>
              <a:gd name="T75" fmla="*/ 601 h 1662"/>
              <a:gd name="T76" fmla="*/ 957 w 1482"/>
              <a:gd name="T77" fmla="*/ 852 h 1662"/>
              <a:gd name="T78" fmla="*/ 766 w 1482"/>
              <a:gd name="T79" fmla="*/ 722 h 1662"/>
              <a:gd name="T80" fmla="*/ 558 w 1482"/>
              <a:gd name="T81" fmla="*/ 788 h 1662"/>
              <a:gd name="T82" fmla="*/ 543 w 1482"/>
              <a:gd name="T83" fmla="*/ 817 h 1662"/>
              <a:gd name="T84" fmla="*/ 965 w 1482"/>
              <a:gd name="T85" fmla="*/ 903 h 1662"/>
              <a:gd name="T86" fmla="*/ 137 w 1482"/>
              <a:gd name="T87" fmla="*/ 928 h 1662"/>
              <a:gd name="T88" fmla="*/ 370 w 1482"/>
              <a:gd name="T89" fmla="*/ 916 h 1662"/>
              <a:gd name="T90" fmla="*/ 612 w 1482"/>
              <a:gd name="T91" fmla="*/ 474 h 1662"/>
              <a:gd name="T92" fmla="*/ 917 w 1482"/>
              <a:gd name="T93" fmla="*/ 771 h 1662"/>
              <a:gd name="T94" fmla="*/ 455 w 1482"/>
              <a:gd name="T95" fmla="*/ 1220 h 1662"/>
              <a:gd name="T96" fmla="*/ 344 w 1482"/>
              <a:gd name="T97" fmla="*/ 923 h 1662"/>
              <a:gd name="T98" fmla="*/ 307 w 1482"/>
              <a:gd name="T99" fmla="*/ 1231 h 1662"/>
              <a:gd name="T100" fmla="*/ 378 w 1482"/>
              <a:gd name="T101" fmla="*/ 1023 h 1662"/>
              <a:gd name="T102" fmla="*/ 647 w 1482"/>
              <a:gd name="T103" fmla="*/ 894 h 1662"/>
              <a:gd name="T104" fmla="*/ 825 w 1482"/>
              <a:gd name="T105" fmla="*/ 1054 h 1662"/>
              <a:gd name="T106" fmla="*/ 708 w 1482"/>
              <a:gd name="T107" fmla="*/ 1148 h 1662"/>
              <a:gd name="T108" fmla="*/ 675 w 1482"/>
              <a:gd name="T109" fmla="*/ 1004 h 1662"/>
              <a:gd name="T110" fmla="*/ 598 w 1482"/>
              <a:gd name="T111" fmla="*/ 1196 h 1662"/>
              <a:gd name="T112" fmla="*/ 349 w 1482"/>
              <a:gd name="T113" fmla="*/ 1105 h 1662"/>
              <a:gd name="T114" fmla="*/ 434 w 1482"/>
              <a:gd name="T115" fmla="*/ 1125 h 1662"/>
              <a:gd name="T116" fmla="*/ 647 w 1482"/>
              <a:gd name="T117" fmla="*/ 1008 h 1662"/>
              <a:gd name="T118" fmla="*/ 854 w 1482"/>
              <a:gd name="T119" fmla="*/ 920 h 1662"/>
              <a:gd name="T120" fmla="*/ 860 w 1482"/>
              <a:gd name="T121" fmla="*/ 1123 h 1662"/>
              <a:gd name="T122" fmla="*/ 824 w 1482"/>
              <a:gd name="T123" fmla="*/ 7 h 1662"/>
              <a:gd name="T124" fmla="*/ 566 w 1482"/>
              <a:gd name="T125" fmla="*/ 473 h 1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82" h="1662">
                <a:moveTo>
                  <a:pt x="1447" y="1507"/>
                </a:moveTo>
                <a:lnTo>
                  <a:pt x="1447" y="1504"/>
                </a:lnTo>
                <a:lnTo>
                  <a:pt x="1446" y="1504"/>
                </a:lnTo>
                <a:lnTo>
                  <a:pt x="1447" y="1504"/>
                </a:lnTo>
                <a:lnTo>
                  <a:pt x="1447" y="1507"/>
                </a:lnTo>
                <a:lnTo>
                  <a:pt x="1448" y="1508"/>
                </a:lnTo>
                <a:lnTo>
                  <a:pt x="1448" y="1509"/>
                </a:lnTo>
                <a:lnTo>
                  <a:pt x="1448" y="1508"/>
                </a:lnTo>
                <a:lnTo>
                  <a:pt x="1447" y="1507"/>
                </a:lnTo>
                <a:close/>
                <a:moveTo>
                  <a:pt x="1314" y="1316"/>
                </a:moveTo>
                <a:lnTo>
                  <a:pt x="1314" y="1316"/>
                </a:lnTo>
                <a:lnTo>
                  <a:pt x="1314" y="1315"/>
                </a:lnTo>
                <a:lnTo>
                  <a:pt x="1314" y="1315"/>
                </a:lnTo>
                <a:lnTo>
                  <a:pt x="1312" y="1316"/>
                </a:lnTo>
                <a:lnTo>
                  <a:pt x="1312" y="1316"/>
                </a:lnTo>
                <a:lnTo>
                  <a:pt x="1308" y="1305"/>
                </a:lnTo>
                <a:lnTo>
                  <a:pt x="1308" y="1293"/>
                </a:lnTo>
                <a:lnTo>
                  <a:pt x="1308" y="1291"/>
                </a:lnTo>
                <a:lnTo>
                  <a:pt x="1308" y="1288"/>
                </a:lnTo>
                <a:lnTo>
                  <a:pt x="1307" y="1287"/>
                </a:lnTo>
                <a:lnTo>
                  <a:pt x="1305" y="1286"/>
                </a:lnTo>
                <a:lnTo>
                  <a:pt x="1307" y="1287"/>
                </a:lnTo>
                <a:lnTo>
                  <a:pt x="1308" y="1288"/>
                </a:lnTo>
                <a:lnTo>
                  <a:pt x="1311" y="1284"/>
                </a:lnTo>
                <a:lnTo>
                  <a:pt x="1315" y="1280"/>
                </a:lnTo>
                <a:lnTo>
                  <a:pt x="1315" y="1279"/>
                </a:lnTo>
                <a:lnTo>
                  <a:pt x="1314" y="1278"/>
                </a:lnTo>
                <a:lnTo>
                  <a:pt x="1309" y="1274"/>
                </a:lnTo>
                <a:lnTo>
                  <a:pt x="1305" y="1273"/>
                </a:lnTo>
                <a:lnTo>
                  <a:pt x="1301" y="1274"/>
                </a:lnTo>
                <a:lnTo>
                  <a:pt x="1296" y="1274"/>
                </a:lnTo>
                <a:lnTo>
                  <a:pt x="1290" y="1271"/>
                </a:lnTo>
                <a:lnTo>
                  <a:pt x="1286" y="1264"/>
                </a:lnTo>
                <a:lnTo>
                  <a:pt x="1286" y="1263"/>
                </a:lnTo>
                <a:lnTo>
                  <a:pt x="1287" y="1262"/>
                </a:lnTo>
                <a:lnTo>
                  <a:pt x="1289" y="1262"/>
                </a:lnTo>
                <a:lnTo>
                  <a:pt x="1290" y="1264"/>
                </a:lnTo>
                <a:lnTo>
                  <a:pt x="1295" y="1265"/>
                </a:lnTo>
                <a:lnTo>
                  <a:pt x="1300" y="1263"/>
                </a:lnTo>
                <a:lnTo>
                  <a:pt x="1298" y="1260"/>
                </a:lnTo>
                <a:lnTo>
                  <a:pt x="1295" y="1259"/>
                </a:lnTo>
                <a:lnTo>
                  <a:pt x="1289" y="1256"/>
                </a:lnTo>
                <a:lnTo>
                  <a:pt x="1284" y="1251"/>
                </a:lnTo>
                <a:lnTo>
                  <a:pt x="1284" y="1251"/>
                </a:lnTo>
                <a:lnTo>
                  <a:pt x="1286" y="1251"/>
                </a:lnTo>
                <a:lnTo>
                  <a:pt x="1286" y="1249"/>
                </a:lnTo>
                <a:lnTo>
                  <a:pt x="1284" y="1249"/>
                </a:lnTo>
                <a:lnTo>
                  <a:pt x="1284" y="1246"/>
                </a:lnTo>
                <a:lnTo>
                  <a:pt x="1284" y="1245"/>
                </a:lnTo>
                <a:lnTo>
                  <a:pt x="1287" y="1245"/>
                </a:lnTo>
                <a:lnTo>
                  <a:pt x="1288" y="1246"/>
                </a:lnTo>
                <a:lnTo>
                  <a:pt x="1293" y="1249"/>
                </a:lnTo>
                <a:lnTo>
                  <a:pt x="1297" y="1249"/>
                </a:lnTo>
                <a:lnTo>
                  <a:pt x="1298" y="1246"/>
                </a:lnTo>
                <a:lnTo>
                  <a:pt x="1298" y="1244"/>
                </a:lnTo>
                <a:lnTo>
                  <a:pt x="1296" y="1241"/>
                </a:lnTo>
                <a:lnTo>
                  <a:pt x="1293" y="1239"/>
                </a:lnTo>
                <a:lnTo>
                  <a:pt x="1288" y="1238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4" y="1237"/>
                </a:lnTo>
                <a:lnTo>
                  <a:pt x="1283" y="1237"/>
                </a:lnTo>
                <a:lnTo>
                  <a:pt x="1283" y="1237"/>
                </a:lnTo>
                <a:lnTo>
                  <a:pt x="1283" y="1231"/>
                </a:lnTo>
                <a:lnTo>
                  <a:pt x="1282" y="1227"/>
                </a:lnTo>
                <a:lnTo>
                  <a:pt x="1280" y="1225"/>
                </a:lnTo>
                <a:lnTo>
                  <a:pt x="1276" y="1225"/>
                </a:lnTo>
                <a:lnTo>
                  <a:pt x="1273" y="1228"/>
                </a:lnTo>
                <a:lnTo>
                  <a:pt x="1268" y="1228"/>
                </a:lnTo>
                <a:lnTo>
                  <a:pt x="1267" y="1224"/>
                </a:lnTo>
                <a:lnTo>
                  <a:pt x="1268" y="1221"/>
                </a:lnTo>
                <a:lnTo>
                  <a:pt x="1269" y="1218"/>
                </a:lnTo>
                <a:lnTo>
                  <a:pt x="1273" y="1218"/>
                </a:lnTo>
                <a:lnTo>
                  <a:pt x="1274" y="1222"/>
                </a:lnTo>
                <a:lnTo>
                  <a:pt x="1276" y="1225"/>
                </a:lnTo>
                <a:lnTo>
                  <a:pt x="1280" y="1225"/>
                </a:lnTo>
                <a:lnTo>
                  <a:pt x="1282" y="1227"/>
                </a:lnTo>
                <a:lnTo>
                  <a:pt x="1283" y="1225"/>
                </a:lnTo>
                <a:lnTo>
                  <a:pt x="1284" y="1224"/>
                </a:lnTo>
                <a:lnTo>
                  <a:pt x="1286" y="1225"/>
                </a:lnTo>
                <a:lnTo>
                  <a:pt x="1287" y="1227"/>
                </a:lnTo>
                <a:lnTo>
                  <a:pt x="1289" y="1229"/>
                </a:lnTo>
                <a:lnTo>
                  <a:pt x="1293" y="1229"/>
                </a:lnTo>
                <a:lnTo>
                  <a:pt x="1295" y="1228"/>
                </a:lnTo>
                <a:lnTo>
                  <a:pt x="1296" y="1225"/>
                </a:lnTo>
                <a:lnTo>
                  <a:pt x="1295" y="1222"/>
                </a:lnTo>
                <a:lnTo>
                  <a:pt x="1291" y="1220"/>
                </a:lnTo>
                <a:lnTo>
                  <a:pt x="1288" y="1218"/>
                </a:lnTo>
                <a:lnTo>
                  <a:pt x="1283" y="1217"/>
                </a:lnTo>
                <a:lnTo>
                  <a:pt x="1282" y="1215"/>
                </a:lnTo>
                <a:lnTo>
                  <a:pt x="1281" y="1213"/>
                </a:lnTo>
                <a:lnTo>
                  <a:pt x="1281" y="1211"/>
                </a:lnTo>
                <a:lnTo>
                  <a:pt x="1280" y="1209"/>
                </a:lnTo>
                <a:lnTo>
                  <a:pt x="1280" y="1207"/>
                </a:lnTo>
                <a:lnTo>
                  <a:pt x="1280" y="1205"/>
                </a:lnTo>
                <a:lnTo>
                  <a:pt x="1282" y="1205"/>
                </a:lnTo>
                <a:lnTo>
                  <a:pt x="1283" y="1207"/>
                </a:lnTo>
                <a:lnTo>
                  <a:pt x="1288" y="1210"/>
                </a:lnTo>
                <a:lnTo>
                  <a:pt x="1293" y="1208"/>
                </a:lnTo>
                <a:lnTo>
                  <a:pt x="1293" y="1203"/>
                </a:lnTo>
                <a:lnTo>
                  <a:pt x="1288" y="1200"/>
                </a:lnTo>
                <a:lnTo>
                  <a:pt x="1281" y="1195"/>
                </a:lnTo>
                <a:lnTo>
                  <a:pt x="1280" y="1187"/>
                </a:lnTo>
                <a:lnTo>
                  <a:pt x="1281" y="1188"/>
                </a:lnTo>
                <a:lnTo>
                  <a:pt x="1282" y="1188"/>
                </a:lnTo>
                <a:lnTo>
                  <a:pt x="1286" y="1191"/>
                </a:lnTo>
                <a:lnTo>
                  <a:pt x="1290" y="1189"/>
                </a:lnTo>
                <a:lnTo>
                  <a:pt x="1291" y="1186"/>
                </a:lnTo>
                <a:lnTo>
                  <a:pt x="1288" y="1181"/>
                </a:lnTo>
                <a:lnTo>
                  <a:pt x="1283" y="1179"/>
                </a:lnTo>
                <a:lnTo>
                  <a:pt x="1277" y="1177"/>
                </a:lnTo>
                <a:lnTo>
                  <a:pt x="1277" y="1172"/>
                </a:lnTo>
                <a:lnTo>
                  <a:pt x="1277" y="1167"/>
                </a:lnTo>
                <a:lnTo>
                  <a:pt x="1275" y="1167"/>
                </a:lnTo>
                <a:lnTo>
                  <a:pt x="1274" y="1167"/>
                </a:lnTo>
                <a:lnTo>
                  <a:pt x="1272" y="1167"/>
                </a:lnTo>
                <a:lnTo>
                  <a:pt x="1269" y="1168"/>
                </a:lnTo>
                <a:lnTo>
                  <a:pt x="1266" y="1169"/>
                </a:lnTo>
                <a:lnTo>
                  <a:pt x="1263" y="1166"/>
                </a:lnTo>
                <a:lnTo>
                  <a:pt x="1262" y="1161"/>
                </a:lnTo>
                <a:lnTo>
                  <a:pt x="1267" y="1159"/>
                </a:lnTo>
                <a:lnTo>
                  <a:pt x="1269" y="1163"/>
                </a:lnTo>
                <a:lnTo>
                  <a:pt x="1274" y="1167"/>
                </a:lnTo>
                <a:lnTo>
                  <a:pt x="1275" y="1167"/>
                </a:lnTo>
                <a:lnTo>
                  <a:pt x="1277" y="1167"/>
                </a:lnTo>
                <a:lnTo>
                  <a:pt x="1279" y="1167"/>
                </a:lnTo>
                <a:lnTo>
                  <a:pt x="1280" y="1167"/>
                </a:lnTo>
                <a:lnTo>
                  <a:pt x="1280" y="1167"/>
                </a:lnTo>
                <a:lnTo>
                  <a:pt x="1283" y="1170"/>
                </a:lnTo>
                <a:lnTo>
                  <a:pt x="1288" y="1169"/>
                </a:lnTo>
                <a:lnTo>
                  <a:pt x="1289" y="1163"/>
                </a:lnTo>
                <a:lnTo>
                  <a:pt x="1283" y="1161"/>
                </a:lnTo>
                <a:lnTo>
                  <a:pt x="1282" y="1160"/>
                </a:lnTo>
                <a:lnTo>
                  <a:pt x="1280" y="1159"/>
                </a:lnTo>
                <a:lnTo>
                  <a:pt x="1277" y="1156"/>
                </a:lnTo>
                <a:lnTo>
                  <a:pt x="1276" y="1153"/>
                </a:lnTo>
                <a:lnTo>
                  <a:pt x="1276" y="1153"/>
                </a:lnTo>
                <a:lnTo>
                  <a:pt x="1276" y="1152"/>
                </a:lnTo>
                <a:lnTo>
                  <a:pt x="1276" y="1152"/>
                </a:lnTo>
                <a:lnTo>
                  <a:pt x="1276" y="1151"/>
                </a:lnTo>
                <a:lnTo>
                  <a:pt x="1276" y="1151"/>
                </a:lnTo>
                <a:lnTo>
                  <a:pt x="1276" y="1149"/>
                </a:lnTo>
                <a:lnTo>
                  <a:pt x="1275" y="1148"/>
                </a:lnTo>
                <a:lnTo>
                  <a:pt x="1275" y="1147"/>
                </a:lnTo>
                <a:lnTo>
                  <a:pt x="1275" y="1147"/>
                </a:lnTo>
                <a:lnTo>
                  <a:pt x="1274" y="1147"/>
                </a:lnTo>
                <a:lnTo>
                  <a:pt x="1274" y="1147"/>
                </a:lnTo>
                <a:lnTo>
                  <a:pt x="1276" y="1147"/>
                </a:lnTo>
                <a:lnTo>
                  <a:pt x="1279" y="1147"/>
                </a:lnTo>
                <a:lnTo>
                  <a:pt x="1283" y="1152"/>
                </a:lnTo>
                <a:lnTo>
                  <a:pt x="1288" y="1149"/>
                </a:lnTo>
                <a:lnTo>
                  <a:pt x="1287" y="1145"/>
                </a:lnTo>
                <a:lnTo>
                  <a:pt x="1282" y="1141"/>
                </a:lnTo>
                <a:lnTo>
                  <a:pt x="1281" y="1140"/>
                </a:lnTo>
                <a:lnTo>
                  <a:pt x="1280" y="1140"/>
                </a:lnTo>
                <a:lnTo>
                  <a:pt x="1275" y="1135"/>
                </a:lnTo>
                <a:lnTo>
                  <a:pt x="1276" y="1130"/>
                </a:lnTo>
                <a:lnTo>
                  <a:pt x="1283" y="1133"/>
                </a:lnTo>
                <a:lnTo>
                  <a:pt x="1290" y="1132"/>
                </a:lnTo>
                <a:lnTo>
                  <a:pt x="1290" y="1133"/>
                </a:lnTo>
                <a:lnTo>
                  <a:pt x="1290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1" y="1133"/>
                </a:lnTo>
                <a:lnTo>
                  <a:pt x="1290" y="1133"/>
                </a:lnTo>
                <a:lnTo>
                  <a:pt x="1290" y="1138"/>
                </a:lnTo>
                <a:lnTo>
                  <a:pt x="1291" y="1141"/>
                </a:lnTo>
                <a:lnTo>
                  <a:pt x="1294" y="1156"/>
                </a:lnTo>
                <a:lnTo>
                  <a:pt x="1297" y="1170"/>
                </a:lnTo>
                <a:lnTo>
                  <a:pt x="1297" y="1182"/>
                </a:lnTo>
                <a:lnTo>
                  <a:pt x="1296" y="1194"/>
                </a:lnTo>
                <a:lnTo>
                  <a:pt x="1296" y="1196"/>
                </a:lnTo>
                <a:lnTo>
                  <a:pt x="1297" y="1198"/>
                </a:lnTo>
                <a:lnTo>
                  <a:pt x="1308" y="1218"/>
                </a:lnTo>
                <a:lnTo>
                  <a:pt x="1308" y="1239"/>
                </a:lnTo>
                <a:lnTo>
                  <a:pt x="1309" y="1251"/>
                </a:lnTo>
                <a:lnTo>
                  <a:pt x="1314" y="1262"/>
                </a:lnTo>
                <a:lnTo>
                  <a:pt x="1315" y="1270"/>
                </a:lnTo>
                <a:lnTo>
                  <a:pt x="1314" y="1278"/>
                </a:lnTo>
                <a:lnTo>
                  <a:pt x="1315" y="1279"/>
                </a:lnTo>
                <a:lnTo>
                  <a:pt x="1315" y="1280"/>
                </a:lnTo>
                <a:lnTo>
                  <a:pt x="1316" y="1281"/>
                </a:lnTo>
                <a:lnTo>
                  <a:pt x="1316" y="1281"/>
                </a:lnTo>
                <a:lnTo>
                  <a:pt x="1317" y="1283"/>
                </a:lnTo>
                <a:lnTo>
                  <a:pt x="1318" y="1283"/>
                </a:lnTo>
                <a:lnTo>
                  <a:pt x="1317" y="1283"/>
                </a:lnTo>
                <a:lnTo>
                  <a:pt x="1316" y="1281"/>
                </a:lnTo>
                <a:lnTo>
                  <a:pt x="1316" y="1284"/>
                </a:lnTo>
                <a:lnTo>
                  <a:pt x="1317" y="1286"/>
                </a:lnTo>
                <a:lnTo>
                  <a:pt x="1318" y="1286"/>
                </a:lnTo>
                <a:lnTo>
                  <a:pt x="1318" y="1284"/>
                </a:lnTo>
                <a:lnTo>
                  <a:pt x="1319" y="1285"/>
                </a:lnTo>
                <a:lnTo>
                  <a:pt x="1321" y="1286"/>
                </a:lnTo>
                <a:lnTo>
                  <a:pt x="1321" y="1288"/>
                </a:lnTo>
                <a:lnTo>
                  <a:pt x="1319" y="1290"/>
                </a:lnTo>
                <a:lnTo>
                  <a:pt x="1314" y="1295"/>
                </a:lnTo>
                <a:lnTo>
                  <a:pt x="1318" y="1301"/>
                </a:lnTo>
                <a:lnTo>
                  <a:pt x="1318" y="1304"/>
                </a:lnTo>
                <a:lnTo>
                  <a:pt x="1318" y="1306"/>
                </a:lnTo>
                <a:lnTo>
                  <a:pt x="1319" y="1308"/>
                </a:lnTo>
                <a:lnTo>
                  <a:pt x="1321" y="1312"/>
                </a:lnTo>
                <a:lnTo>
                  <a:pt x="1321" y="1313"/>
                </a:lnTo>
                <a:lnTo>
                  <a:pt x="1321" y="1315"/>
                </a:lnTo>
                <a:lnTo>
                  <a:pt x="1318" y="1314"/>
                </a:lnTo>
                <a:lnTo>
                  <a:pt x="1321" y="1312"/>
                </a:lnTo>
                <a:lnTo>
                  <a:pt x="1319" y="1308"/>
                </a:lnTo>
                <a:lnTo>
                  <a:pt x="1318" y="1306"/>
                </a:lnTo>
                <a:lnTo>
                  <a:pt x="1315" y="1306"/>
                </a:lnTo>
                <a:lnTo>
                  <a:pt x="1314" y="1308"/>
                </a:lnTo>
                <a:lnTo>
                  <a:pt x="1314" y="1312"/>
                </a:lnTo>
                <a:lnTo>
                  <a:pt x="1314" y="1316"/>
                </a:lnTo>
                <a:close/>
                <a:moveTo>
                  <a:pt x="1312" y="1316"/>
                </a:move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4" y="1316"/>
                </a:lnTo>
                <a:lnTo>
                  <a:pt x="1318" y="1321"/>
                </a:lnTo>
                <a:lnTo>
                  <a:pt x="1323" y="1325"/>
                </a:lnTo>
                <a:lnTo>
                  <a:pt x="1323" y="1323"/>
                </a:lnTo>
                <a:lnTo>
                  <a:pt x="1323" y="1321"/>
                </a:lnTo>
                <a:lnTo>
                  <a:pt x="1323" y="1323"/>
                </a:lnTo>
                <a:lnTo>
                  <a:pt x="1323" y="1325"/>
                </a:lnTo>
                <a:lnTo>
                  <a:pt x="1325" y="1327"/>
                </a:lnTo>
                <a:lnTo>
                  <a:pt x="1326" y="1329"/>
                </a:lnTo>
                <a:lnTo>
                  <a:pt x="1328" y="1330"/>
                </a:lnTo>
                <a:lnTo>
                  <a:pt x="1329" y="1333"/>
                </a:lnTo>
                <a:lnTo>
                  <a:pt x="1328" y="1334"/>
                </a:lnTo>
                <a:lnTo>
                  <a:pt x="1326" y="1334"/>
                </a:lnTo>
                <a:lnTo>
                  <a:pt x="1323" y="1334"/>
                </a:lnTo>
                <a:lnTo>
                  <a:pt x="1321" y="1332"/>
                </a:lnTo>
                <a:lnTo>
                  <a:pt x="1321" y="1330"/>
                </a:lnTo>
                <a:lnTo>
                  <a:pt x="1321" y="1328"/>
                </a:lnTo>
                <a:lnTo>
                  <a:pt x="1318" y="1334"/>
                </a:lnTo>
                <a:lnTo>
                  <a:pt x="1317" y="1340"/>
                </a:lnTo>
                <a:lnTo>
                  <a:pt x="1315" y="1327"/>
                </a:lnTo>
                <a:lnTo>
                  <a:pt x="1312" y="1316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1" y="334"/>
                </a:lnTo>
                <a:lnTo>
                  <a:pt x="676" y="336"/>
                </a:lnTo>
                <a:lnTo>
                  <a:pt x="669" y="343"/>
                </a:lnTo>
                <a:lnTo>
                  <a:pt x="661" y="349"/>
                </a:lnTo>
                <a:lnTo>
                  <a:pt x="647" y="357"/>
                </a:lnTo>
                <a:lnTo>
                  <a:pt x="635" y="368"/>
                </a:lnTo>
                <a:lnTo>
                  <a:pt x="634" y="369"/>
                </a:lnTo>
                <a:lnTo>
                  <a:pt x="633" y="369"/>
                </a:lnTo>
                <a:lnTo>
                  <a:pt x="627" y="372"/>
                </a:lnTo>
                <a:lnTo>
                  <a:pt x="627" y="365"/>
                </a:lnTo>
                <a:lnTo>
                  <a:pt x="626" y="362"/>
                </a:lnTo>
                <a:lnTo>
                  <a:pt x="624" y="359"/>
                </a:lnTo>
                <a:lnTo>
                  <a:pt x="617" y="361"/>
                </a:lnTo>
                <a:lnTo>
                  <a:pt x="607" y="359"/>
                </a:lnTo>
                <a:lnTo>
                  <a:pt x="617" y="365"/>
                </a:lnTo>
                <a:lnTo>
                  <a:pt x="621" y="375"/>
                </a:lnTo>
                <a:lnTo>
                  <a:pt x="621" y="375"/>
                </a:lnTo>
                <a:lnTo>
                  <a:pt x="619" y="376"/>
                </a:lnTo>
                <a:lnTo>
                  <a:pt x="619" y="377"/>
                </a:lnTo>
                <a:lnTo>
                  <a:pt x="618" y="378"/>
                </a:lnTo>
                <a:lnTo>
                  <a:pt x="617" y="378"/>
                </a:lnTo>
                <a:lnTo>
                  <a:pt x="614" y="378"/>
                </a:lnTo>
                <a:lnTo>
                  <a:pt x="614" y="379"/>
                </a:lnTo>
                <a:lnTo>
                  <a:pt x="598" y="379"/>
                </a:lnTo>
                <a:lnTo>
                  <a:pt x="594" y="386"/>
                </a:lnTo>
                <a:lnTo>
                  <a:pt x="599" y="384"/>
                </a:lnTo>
                <a:lnTo>
                  <a:pt x="605" y="384"/>
                </a:lnTo>
                <a:lnTo>
                  <a:pt x="605" y="386"/>
                </a:lnTo>
                <a:lnTo>
                  <a:pt x="604" y="387"/>
                </a:lnTo>
                <a:lnTo>
                  <a:pt x="604" y="387"/>
                </a:lnTo>
                <a:lnTo>
                  <a:pt x="594" y="391"/>
                </a:lnTo>
                <a:lnTo>
                  <a:pt x="586" y="393"/>
                </a:lnTo>
                <a:lnTo>
                  <a:pt x="580" y="394"/>
                </a:lnTo>
                <a:lnTo>
                  <a:pt x="575" y="391"/>
                </a:lnTo>
                <a:lnTo>
                  <a:pt x="584" y="389"/>
                </a:lnTo>
                <a:lnTo>
                  <a:pt x="591" y="384"/>
                </a:lnTo>
                <a:lnTo>
                  <a:pt x="587" y="384"/>
                </a:lnTo>
                <a:lnTo>
                  <a:pt x="583" y="385"/>
                </a:lnTo>
                <a:lnTo>
                  <a:pt x="576" y="387"/>
                </a:lnTo>
                <a:lnTo>
                  <a:pt x="573" y="380"/>
                </a:lnTo>
                <a:lnTo>
                  <a:pt x="573" y="378"/>
                </a:lnTo>
                <a:lnTo>
                  <a:pt x="571" y="377"/>
                </a:lnTo>
                <a:lnTo>
                  <a:pt x="570" y="378"/>
                </a:lnTo>
                <a:lnTo>
                  <a:pt x="569" y="379"/>
                </a:lnTo>
                <a:lnTo>
                  <a:pt x="568" y="389"/>
                </a:lnTo>
                <a:lnTo>
                  <a:pt x="573" y="398"/>
                </a:lnTo>
                <a:lnTo>
                  <a:pt x="576" y="401"/>
                </a:lnTo>
                <a:lnTo>
                  <a:pt x="577" y="406"/>
                </a:lnTo>
                <a:lnTo>
                  <a:pt x="573" y="404"/>
                </a:lnTo>
                <a:lnTo>
                  <a:pt x="570" y="400"/>
                </a:lnTo>
                <a:lnTo>
                  <a:pt x="568" y="398"/>
                </a:lnTo>
                <a:lnTo>
                  <a:pt x="564" y="399"/>
                </a:lnTo>
                <a:lnTo>
                  <a:pt x="558" y="406"/>
                </a:lnTo>
                <a:lnTo>
                  <a:pt x="556" y="415"/>
                </a:lnTo>
                <a:lnTo>
                  <a:pt x="559" y="424"/>
                </a:lnTo>
                <a:lnTo>
                  <a:pt x="566" y="431"/>
                </a:lnTo>
                <a:lnTo>
                  <a:pt x="564" y="434"/>
                </a:lnTo>
                <a:lnTo>
                  <a:pt x="568" y="435"/>
                </a:lnTo>
                <a:lnTo>
                  <a:pt x="568" y="435"/>
                </a:lnTo>
                <a:lnTo>
                  <a:pt x="568" y="441"/>
                </a:lnTo>
                <a:lnTo>
                  <a:pt x="572" y="446"/>
                </a:lnTo>
                <a:lnTo>
                  <a:pt x="578" y="450"/>
                </a:lnTo>
                <a:lnTo>
                  <a:pt x="582" y="443"/>
                </a:lnTo>
                <a:lnTo>
                  <a:pt x="583" y="440"/>
                </a:lnTo>
                <a:lnTo>
                  <a:pt x="584" y="435"/>
                </a:lnTo>
                <a:lnTo>
                  <a:pt x="586" y="447"/>
                </a:lnTo>
                <a:lnTo>
                  <a:pt x="591" y="460"/>
                </a:lnTo>
                <a:lnTo>
                  <a:pt x="592" y="447"/>
                </a:lnTo>
                <a:lnTo>
                  <a:pt x="593" y="435"/>
                </a:lnTo>
                <a:lnTo>
                  <a:pt x="598" y="434"/>
                </a:lnTo>
                <a:lnTo>
                  <a:pt x="599" y="438"/>
                </a:lnTo>
                <a:lnTo>
                  <a:pt x="599" y="446"/>
                </a:lnTo>
                <a:lnTo>
                  <a:pt x="598" y="454"/>
                </a:lnTo>
                <a:lnTo>
                  <a:pt x="597" y="464"/>
                </a:lnTo>
                <a:lnTo>
                  <a:pt x="597" y="475"/>
                </a:lnTo>
                <a:lnTo>
                  <a:pt x="598" y="476"/>
                </a:lnTo>
                <a:lnTo>
                  <a:pt x="600" y="476"/>
                </a:lnTo>
                <a:lnTo>
                  <a:pt x="603" y="476"/>
                </a:lnTo>
                <a:lnTo>
                  <a:pt x="604" y="478"/>
                </a:lnTo>
                <a:lnTo>
                  <a:pt x="601" y="481"/>
                </a:lnTo>
                <a:lnTo>
                  <a:pt x="599" y="481"/>
                </a:lnTo>
                <a:lnTo>
                  <a:pt x="594" y="480"/>
                </a:lnTo>
                <a:lnTo>
                  <a:pt x="594" y="484"/>
                </a:lnTo>
                <a:lnTo>
                  <a:pt x="594" y="491"/>
                </a:lnTo>
                <a:lnTo>
                  <a:pt x="593" y="497"/>
                </a:lnTo>
                <a:lnTo>
                  <a:pt x="593" y="505"/>
                </a:lnTo>
                <a:lnTo>
                  <a:pt x="587" y="510"/>
                </a:lnTo>
                <a:lnTo>
                  <a:pt x="587" y="511"/>
                </a:lnTo>
                <a:lnTo>
                  <a:pt x="587" y="511"/>
                </a:lnTo>
                <a:lnTo>
                  <a:pt x="591" y="511"/>
                </a:lnTo>
                <a:lnTo>
                  <a:pt x="593" y="516"/>
                </a:lnTo>
                <a:lnTo>
                  <a:pt x="593" y="518"/>
                </a:lnTo>
                <a:lnTo>
                  <a:pt x="596" y="519"/>
                </a:lnTo>
                <a:lnTo>
                  <a:pt x="598" y="518"/>
                </a:lnTo>
                <a:lnTo>
                  <a:pt x="598" y="515"/>
                </a:lnTo>
                <a:lnTo>
                  <a:pt x="599" y="514"/>
                </a:lnTo>
                <a:lnTo>
                  <a:pt x="600" y="512"/>
                </a:lnTo>
                <a:lnTo>
                  <a:pt x="601" y="521"/>
                </a:lnTo>
                <a:lnTo>
                  <a:pt x="597" y="526"/>
                </a:lnTo>
                <a:lnTo>
                  <a:pt x="591" y="530"/>
                </a:lnTo>
                <a:lnTo>
                  <a:pt x="584" y="524"/>
                </a:lnTo>
                <a:lnTo>
                  <a:pt x="579" y="533"/>
                </a:lnTo>
                <a:lnTo>
                  <a:pt x="570" y="535"/>
                </a:lnTo>
                <a:lnTo>
                  <a:pt x="559" y="538"/>
                </a:lnTo>
                <a:lnTo>
                  <a:pt x="548" y="540"/>
                </a:lnTo>
                <a:lnTo>
                  <a:pt x="555" y="525"/>
                </a:lnTo>
                <a:lnTo>
                  <a:pt x="570" y="517"/>
                </a:lnTo>
                <a:lnTo>
                  <a:pt x="579" y="516"/>
                </a:lnTo>
                <a:lnTo>
                  <a:pt x="587" y="511"/>
                </a:lnTo>
                <a:lnTo>
                  <a:pt x="587" y="511"/>
                </a:lnTo>
                <a:lnTo>
                  <a:pt x="587" y="510"/>
                </a:lnTo>
                <a:lnTo>
                  <a:pt x="571" y="514"/>
                </a:lnTo>
                <a:lnTo>
                  <a:pt x="555" y="518"/>
                </a:lnTo>
                <a:lnTo>
                  <a:pt x="552" y="518"/>
                </a:lnTo>
                <a:lnTo>
                  <a:pt x="551" y="517"/>
                </a:lnTo>
                <a:lnTo>
                  <a:pt x="548" y="514"/>
                </a:lnTo>
                <a:lnTo>
                  <a:pt x="545" y="518"/>
                </a:lnTo>
                <a:lnTo>
                  <a:pt x="539" y="523"/>
                </a:lnTo>
                <a:lnTo>
                  <a:pt x="532" y="523"/>
                </a:lnTo>
                <a:lnTo>
                  <a:pt x="531" y="521"/>
                </a:lnTo>
                <a:lnTo>
                  <a:pt x="532" y="515"/>
                </a:lnTo>
                <a:lnTo>
                  <a:pt x="531" y="512"/>
                </a:lnTo>
                <a:lnTo>
                  <a:pt x="531" y="509"/>
                </a:lnTo>
                <a:lnTo>
                  <a:pt x="531" y="507"/>
                </a:lnTo>
                <a:lnTo>
                  <a:pt x="529" y="505"/>
                </a:lnTo>
                <a:lnTo>
                  <a:pt x="528" y="507"/>
                </a:lnTo>
                <a:lnTo>
                  <a:pt x="527" y="509"/>
                </a:lnTo>
                <a:lnTo>
                  <a:pt x="523" y="517"/>
                </a:lnTo>
                <a:lnTo>
                  <a:pt x="522" y="528"/>
                </a:lnTo>
                <a:lnTo>
                  <a:pt x="520" y="528"/>
                </a:lnTo>
                <a:lnTo>
                  <a:pt x="520" y="529"/>
                </a:lnTo>
                <a:lnTo>
                  <a:pt x="521" y="529"/>
                </a:lnTo>
                <a:lnTo>
                  <a:pt x="522" y="530"/>
                </a:lnTo>
                <a:lnTo>
                  <a:pt x="523" y="544"/>
                </a:lnTo>
                <a:lnTo>
                  <a:pt x="518" y="558"/>
                </a:lnTo>
                <a:lnTo>
                  <a:pt x="514" y="560"/>
                </a:lnTo>
                <a:lnTo>
                  <a:pt x="510" y="564"/>
                </a:lnTo>
                <a:lnTo>
                  <a:pt x="514" y="561"/>
                </a:lnTo>
                <a:lnTo>
                  <a:pt x="517" y="564"/>
                </a:lnTo>
                <a:lnTo>
                  <a:pt x="518" y="568"/>
                </a:lnTo>
                <a:lnTo>
                  <a:pt x="518" y="572"/>
                </a:lnTo>
                <a:lnTo>
                  <a:pt x="520" y="573"/>
                </a:lnTo>
                <a:lnTo>
                  <a:pt x="518" y="574"/>
                </a:lnTo>
                <a:lnTo>
                  <a:pt x="517" y="574"/>
                </a:lnTo>
                <a:lnTo>
                  <a:pt x="517" y="573"/>
                </a:lnTo>
                <a:lnTo>
                  <a:pt x="513" y="575"/>
                </a:lnTo>
                <a:lnTo>
                  <a:pt x="516" y="578"/>
                </a:lnTo>
                <a:lnTo>
                  <a:pt x="524" y="585"/>
                </a:lnTo>
                <a:lnTo>
                  <a:pt x="529" y="594"/>
                </a:lnTo>
                <a:lnTo>
                  <a:pt x="530" y="596"/>
                </a:lnTo>
                <a:lnTo>
                  <a:pt x="528" y="599"/>
                </a:lnTo>
                <a:lnTo>
                  <a:pt x="527" y="599"/>
                </a:lnTo>
                <a:lnTo>
                  <a:pt x="525" y="596"/>
                </a:lnTo>
                <a:lnTo>
                  <a:pt x="523" y="595"/>
                </a:lnTo>
                <a:lnTo>
                  <a:pt x="522" y="596"/>
                </a:lnTo>
                <a:lnTo>
                  <a:pt x="520" y="599"/>
                </a:lnTo>
                <a:lnTo>
                  <a:pt x="521" y="601"/>
                </a:lnTo>
                <a:lnTo>
                  <a:pt x="523" y="601"/>
                </a:lnTo>
                <a:lnTo>
                  <a:pt x="524" y="602"/>
                </a:lnTo>
                <a:lnTo>
                  <a:pt x="524" y="603"/>
                </a:lnTo>
                <a:lnTo>
                  <a:pt x="524" y="605"/>
                </a:lnTo>
                <a:lnTo>
                  <a:pt x="523" y="606"/>
                </a:lnTo>
                <a:lnTo>
                  <a:pt x="522" y="608"/>
                </a:lnTo>
                <a:lnTo>
                  <a:pt x="523" y="609"/>
                </a:lnTo>
                <a:lnTo>
                  <a:pt x="524" y="610"/>
                </a:lnTo>
                <a:lnTo>
                  <a:pt x="523" y="609"/>
                </a:lnTo>
                <a:lnTo>
                  <a:pt x="522" y="608"/>
                </a:lnTo>
                <a:lnTo>
                  <a:pt x="518" y="612"/>
                </a:lnTo>
                <a:lnTo>
                  <a:pt x="515" y="615"/>
                </a:lnTo>
                <a:lnTo>
                  <a:pt x="504" y="623"/>
                </a:lnTo>
                <a:lnTo>
                  <a:pt x="496" y="634"/>
                </a:lnTo>
                <a:lnTo>
                  <a:pt x="496" y="635"/>
                </a:lnTo>
                <a:lnTo>
                  <a:pt x="496" y="635"/>
                </a:lnTo>
                <a:lnTo>
                  <a:pt x="495" y="635"/>
                </a:lnTo>
                <a:lnTo>
                  <a:pt x="493" y="635"/>
                </a:lnTo>
                <a:lnTo>
                  <a:pt x="476" y="637"/>
                </a:lnTo>
                <a:lnTo>
                  <a:pt x="461" y="629"/>
                </a:lnTo>
                <a:lnTo>
                  <a:pt x="461" y="629"/>
                </a:lnTo>
                <a:lnTo>
                  <a:pt x="461" y="629"/>
                </a:lnTo>
                <a:lnTo>
                  <a:pt x="466" y="626"/>
                </a:lnTo>
                <a:lnTo>
                  <a:pt x="469" y="621"/>
                </a:lnTo>
                <a:lnTo>
                  <a:pt x="466" y="617"/>
                </a:lnTo>
                <a:lnTo>
                  <a:pt x="462" y="615"/>
                </a:lnTo>
                <a:lnTo>
                  <a:pt x="459" y="617"/>
                </a:lnTo>
                <a:lnTo>
                  <a:pt x="456" y="621"/>
                </a:lnTo>
                <a:lnTo>
                  <a:pt x="456" y="623"/>
                </a:lnTo>
                <a:lnTo>
                  <a:pt x="456" y="623"/>
                </a:lnTo>
                <a:lnTo>
                  <a:pt x="461" y="624"/>
                </a:lnTo>
                <a:lnTo>
                  <a:pt x="461" y="629"/>
                </a:lnTo>
                <a:lnTo>
                  <a:pt x="458" y="629"/>
                </a:lnTo>
                <a:lnTo>
                  <a:pt x="456" y="633"/>
                </a:lnTo>
                <a:lnTo>
                  <a:pt x="444" y="643"/>
                </a:lnTo>
                <a:lnTo>
                  <a:pt x="432" y="654"/>
                </a:lnTo>
                <a:lnTo>
                  <a:pt x="438" y="652"/>
                </a:lnTo>
                <a:lnTo>
                  <a:pt x="444" y="655"/>
                </a:lnTo>
                <a:lnTo>
                  <a:pt x="434" y="661"/>
                </a:lnTo>
                <a:lnTo>
                  <a:pt x="432" y="672"/>
                </a:lnTo>
                <a:lnTo>
                  <a:pt x="426" y="675"/>
                </a:lnTo>
                <a:lnTo>
                  <a:pt x="420" y="675"/>
                </a:lnTo>
                <a:lnTo>
                  <a:pt x="417" y="673"/>
                </a:lnTo>
                <a:lnTo>
                  <a:pt x="414" y="670"/>
                </a:lnTo>
                <a:lnTo>
                  <a:pt x="406" y="679"/>
                </a:lnTo>
                <a:lnTo>
                  <a:pt x="394" y="676"/>
                </a:lnTo>
                <a:lnTo>
                  <a:pt x="393" y="676"/>
                </a:lnTo>
                <a:lnTo>
                  <a:pt x="393" y="677"/>
                </a:lnTo>
                <a:lnTo>
                  <a:pt x="390" y="679"/>
                </a:lnTo>
                <a:lnTo>
                  <a:pt x="387" y="683"/>
                </a:lnTo>
                <a:lnTo>
                  <a:pt x="380" y="685"/>
                </a:lnTo>
                <a:lnTo>
                  <a:pt x="375" y="685"/>
                </a:lnTo>
                <a:lnTo>
                  <a:pt x="373" y="677"/>
                </a:lnTo>
                <a:lnTo>
                  <a:pt x="378" y="669"/>
                </a:lnTo>
                <a:lnTo>
                  <a:pt x="378" y="666"/>
                </a:lnTo>
                <a:lnTo>
                  <a:pt x="377" y="664"/>
                </a:lnTo>
                <a:lnTo>
                  <a:pt x="375" y="663"/>
                </a:lnTo>
                <a:lnTo>
                  <a:pt x="372" y="664"/>
                </a:lnTo>
                <a:lnTo>
                  <a:pt x="371" y="665"/>
                </a:lnTo>
                <a:lnTo>
                  <a:pt x="371" y="668"/>
                </a:lnTo>
                <a:lnTo>
                  <a:pt x="371" y="678"/>
                </a:lnTo>
                <a:lnTo>
                  <a:pt x="368" y="687"/>
                </a:lnTo>
                <a:lnTo>
                  <a:pt x="365" y="689"/>
                </a:lnTo>
                <a:lnTo>
                  <a:pt x="364" y="690"/>
                </a:lnTo>
                <a:lnTo>
                  <a:pt x="361" y="690"/>
                </a:lnTo>
                <a:lnTo>
                  <a:pt x="357" y="690"/>
                </a:lnTo>
                <a:lnTo>
                  <a:pt x="354" y="687"/>
                </a:lnTo>
                <a:lnTo>
                  <a:pt x="352" y="683"/>
                </a:lnTo>
                <a:lnTo>
                  <a:pt x="349" y="687"/>
                </a:lnTo>
                <a:lnTo>
                  <a:pt x="347" y="693"/>
                </a:lnTo>
                <a:lnTo>
                  <a:pt x="341" y="694"/>
                </a:lnTo>
                <a:lnTo>
                  <a:pt x="335" y="696"/>
                </a:lnTo>
                <a:lnTo>
                  <a:pt x="333" y="694"/>
                </a:lnTo>
                <a:lnTo>
                  <a:pt x="331" y="693"/>
                </a:lnTo>
                <a:lnTo>
                  <a:pt x="331" y="686"/>
                </a:lnTo>
                <a:lnTo>
                  <a:pt x="334" y="680"/>
                </a:lnTo>
                <a:lnTo>
                  <a:pt x="336" y="677"/>
                </a:lnTo>
                <a:lnTo>
                  <a:pt x="335" y="675"/>
                </a:lnTo>
                <a:lnTo>
                  <a:pt x="333" y="673"/>
                </a:lnTo>
                <a:lnTo>
                  <a:pt x="330" y="675"/>
                </a:lnTo>
                <a:lnTo>
                  <a:pt x="328" y="677"/>
                </a:lnTo>
                <a:lnTo>
                  <a:pt x="329" y="679"/>
                </a:lnTo>
                <a:lnTo>
                  <a:pt x="329" y="690"/>
                </a:lnTo>
                <a:lnTo>
                  <a:pt x="324" y="698"/>
                </a:lnTo>
                <a:lnTo>
                  <a:pt x="316" y="693"/>
                </a:lnTo>
                <a:lnTo>
                  <a:pt x="308" y="691"/>
                </a:lnTo>
                <a:lnTo>
                  <a:pt x="302" y="687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4"/>
                </a:lnTo>
                <a:lnTo>
                  <a:pt x="297" y="683"/>
                </a:lnTo>
                <a:lnTo>
                  <a:pt x="297" y="683"/>
                </a:lnTo>
                <a:lnTo>
                  <a:pt x="302" y="678"/>
                </a:lnTo>
                <a:lnTo>
                  <a:pt x="297" y="673"/>
                </a:lnTo>
                <a:lnTo>
                  <a:pt x="295" y="672"/>
                </a:lnTo>
                <a:lnTo>
                  <a:pt x="295" y="669"/>
                </a:lnTo>
                <a:lnTo>
                  <a:pt x="297" y="655"/>
                </a:lnTo>
                <a:lnTo>
                  <a:pt x="304" y="642"/>
                </a:lnTo>
                <a:lnTo>
                  <a:pt x="306" y="641"/>
                </a:lnTo>
                <a:lnTo>
                  <a:pt x="306" y="638"/>
                </a:lnTo>
                <a:lnTo>
                  <a:pt x="306" y="620"/>
                </a:lnTo>
                <a:lnTo>
                  <a:pt x="308" y="600"/>
                </a:lnTo>
                <a:lnTo>
                  <a:pt x="308" y="598"/>
                </a:lnTo>
                <a:lnTo>
                  <a:pt x="306" y="596"/>
                </a:lnTo>
                <a:lnTo>
                  <a:pt x="303" y="596"/>
                </a:lnTo>
                <a:lnTo>
                  <a:pt x="303" y="600"/>
                </a:lnTo>
                <a:lnTo>
                  <a:pt x="299" y="615"/>
                </a:lnTo>
                <a:lnTo>
                  <a:pt x="297" y="630"/>
                </a:lnTo>
                <a:lnTo>
                  <a:pt x="297" y="633"/>
                </a:lnTo>
                <a:lnTo>
                  <a:pt x="295" y="634"/>
                </a:lnTo>
                <a:lnTo>
                  <a:pt x="292" y="636"/>
                </a:lnTo>
                <a:lnTo>
                  <a:pt x="293" y="641"/>
                </a:lnTo>
                <a:lnTo>
                  <a:pt x="293" y="656"/>
                </a:lnTo>
                <a:lnTo>
                  <a:pt x="287" y="670"/>
                </a:lnTo>
                <a:lnTo>
                  <a:pt x="283" y="678"/>
                </a:lnTo>
                <a:lnTo>
                  <a:pt x="287" y="685"/>
                </a:lnTo>
                <a:lnTo>
                  <a:pt x="285" y="687"/>
                </a:lnTo>
                <a:lnTo>
                  <a:pt x="285" y="691"/>
                </a:lnTo>
                <a:lnTo>
                  <a:pt x="286" y="692"/>
                </a:lnTo>
                <a:lnTo>
                  <a:pt x="288" y="693"/>
                </a:lnTo>
                <a:lnTo>
                  <a:pt x="292" y="690"/>
                </a:lnTo>
                <a:lnTo>
                  <a:pt x="292" y="685"/>
                </a:lnTo>
                <a:lnTo>
                  <a:pt x="293" y="683"/>
                </a:lnTo>
                <a:lnTo>
                  <a:pt x="292" y="680"/>
                </a:lnTo>
                <a:lnTo>
                  <a:pt x="288" y="679"/>
                </a:lnTo>
                <a:lnTo>
                  <a:pt x="288" y="676"/>
                </a:lnTo>
                <a:lnTo>
                  <a:pt x="292" y="676"/>
                </a:lnTo>
                <a:lnTo>
                  <a:pt x="296" y="679"/>
                </a:lnTo>
                <a:lnTo>
                  <a:pt x="297" y="680"/>
                </a:lnTo>
                <a:lnTo>
                  <a:pt x="297" y="683"/>
                </a:lnTo>
                <a:lnTo>
                  <a:pt x="297" y="683"/>
                </a:lnTo>
                <a:lnTo>
                  <a:pt x="297" y="683"/>
                </a:lnTo>
                <a:lnTo>
                  <a:pt x="297" y="684"/>
                </a:lnTo>
                <a:lnTo>
                  <a:pt x="297" y="684"/>
                </a:lnTo>
                <a:lnTo>
                  <a:pt x="295" y="690"/>
                </a:lnTo>
                <a:lnTo>
                  <a:pt x="301" y="692"/>
                </a:lnTo>
                <a:lnTo>
                  <a:pt x="306" y="693"/>
                </a:lnTo>
                <a:lnTo>
                  <a:pt x="308" y="697"/>
                </a:lnTo>
                <a:lnTo>
                  <a:pt x="306" y="703"/>
                </a:lnTo>
                <a:lnTo>
                  <a:pt x="299" y="705"/>
                </a:lnTo>
                <a:lnTo>
                  <a:pt x="292" y="706"/>
                </a:lnTo>
                <a:lnTo>
                  <a:pt x="288" y="701"/>
                </a:lnTo>
                <a:lnTo>
                  <a:pt x="276" y="711"/>
                </a:lnTo>
                <a:lnTo>
                  <a:pt x="262" y="713"/>
                </a:lnTo>
                <a:lnTo>
                  <a:pt x="262" y="706"/>
                </a:lnTo>
                <a:lnTo>
                  <a:pt x="265" y="699"/>
                </a:lnTo>
                <a:lnTo>
                  <a:pt x="267" y="696"/>
                </a:lnTo>
                <a:lnTo>
                  <a:pt x="266" y="693"/>
                </a:lnTo>
                <a:lnTo>
                  <a:pt x="264" y="691"/>
                </a:lnTo>
                <a:lnTo>
                  <a:pt x="262" y="690"/>
                </a:lnTo>
                <a:lnTo>
                  <a:pt x="256" y="693"/>
                </a:lnTo>
                <a:lnTo>
                  <a:pt x="253" y="699"/>
                </a:lnTo>
                <a:lnTo>
                  <a:pt x="251" y="712"/>
                </a:lnTo>
                <a:lnTo>
                  <a:pt x="251" y="726"/>
                </a:lnTo>
                <a:lnTo>
                  <a:pt x="253" y="732"/>
                </a:lnTo>
                <a:lnTo>
                  <a:pt x="258" y="734"/>
                </a:lnTo>
                <a:lnTo>
                  <a:pt x="261" y="731"/>
                </a:lnTo>
                <a:lnTo>
                  <a:pt x="260" y="725"/>
                </a:lnTo>
                <a:lnTo>
                  <a:pt x="259" y="721"/>
                </a:lnTo>
                <a:lnTo>
                  <a:pt x="259" y="718"/>
                </a:lnTo>
                <a:lnTo>
                  <a:pt x="282" y="713"/>
                </a:lnTo>
                <a:lnTo>
                  <a:pt x="304" y="707"/>
                </a:lnTo>
                <a:lnTo>
                  <a:pt x="307" y="714"/>
                </a:lnTo>
                <a:lnTo>
                  <a:pt x="313" y="718"/>
                </a:lnTo>
                <a:lnTo>
                  <a:pt x="308" y="722"/>
                </a:lnTo>
                <a:lnTo>
                  <a:pt x="302" y="727"/>
                </a:lnTo>
                <a:lnTo>
                  <a:pt x="285" y="732"/>
                </a:lnTo>
                <a:lnTo>
                  <a:pt x="267" y="736"/>
                </a:lnTo>
                <a:lnTo>
                  <a:pt x="260" y="740"/>
                </a:lnTo>
                <a:lnTo>
                  <a:pt x="264" y="746"/>
                </a:lnTo>
                <a:lnTo>
                  <a:pt x="267" y="755"/>
                </a:lnTo>
                <a:lnTo>
                  <a:pt x="266" y="764"/>
                </a:lnTo>
                <a:lnTo>
                  <a:pt x="266" y="767"/>
                </a:lnTo>
                <a:lnTo>
                  <a:pt x="265" y="770"/>
                </a:lnTo>
                <a:lnTo>
                  <a:pt x="266" y="767"/>
                </a:lnTo>
                <a:lnTo>
                  <a:pt x="266" y="764"/>
                </a:lnTo>
                <a:lnTo>
                  <a:pt x="265" y="763"/>
                </a:lnTo>
                <a:lnTo>
                  <a:pt x="265" y="762"/>
                </a:lnTo>
                <a:lnTo>
                  <a:pt x="261" y="750"/>
                </a:lnTo>
                <a:lnTo>
                  <a:pt x="253" y="740"/>
                </a:lnTo>
                <a:lnTo>
                  <a:pt x="251" y="735"/>
                </a:lnTo>
                <a:lnTo>
                  <a:pt x="247" y="735"/>
                </a:lnTo>
                <a:lnTo>
                  <a:pt x="240" y="739"/>
                </a:lnTo>
                <a:lnTo>
                  <a:pt x="235" y="746"/>
                </a:lnTo>
                <a:lnTo>
                  <a:pt x="238" y="754"/>
                </a:lnTo>
                <a:lnTo>
                  <a:pt x="235" y="762"/>
                </a:lnTo>
                <a:lnTo>
                  <a:pt x="235" y="766"/>
                </a:lnTo>
                <a:lnTo>
                  <a:pt x="239" y="768"/>
                </a:lnTo>
                <a:lnTo>
                  <a:pt x="241" y="770"/>
                </a:lnTo>
                <a:lnTo>
                  <a:pt x="245" y="771"/>
                </a:lnTo>
                <a:lnTo>
                  <a:pt x="253" y="778"/>
                </a:lnTo>
                <a:lnTo>
                  <a:pt x="264" y="776"/>
                </a:lnTo>
                <a:lnTo>
                  <a:pt x="260" y="782"/>
                </a:lnTo>
                <a:lnTo>
                  <a:pt x="256" y="785"/>
                </a:lnTo>
                <a:lnTo>
                  <a:pt x="253" y="789"/>
                </a:lnTo>
                <a:lnTo>
                  <a:pt x="255" y="792"/>
                </a:lnTo>
                <a:lnTo>
                  <a:pt x="255" y="792"/>
                </a:lnTo>
                <a:lnTo>
                  <a:pt x="256" y="801"/>
                </a:lnTo>
                <a:lnTo>
                  <a:pt x="259" y="809"/>
                </a:lnTo>
                <a:lnTo>
                  <a:pt x="258" y="812"/>
                </a:lnTo>
                <a:lnTo>
                  <a:pt x="254" y="812"/>
                </a:lnTo>
                <a:lnTo>
                  <a:pt x="245" y="811"/>
                </a:lnTo>
                <a:lnTo>
                  <a:pt x="238" y="817"/>
                </a:lnTo>
                <a:lnTo>
                  <a:pt x="234" y="819"/>
                </a:lnTo>
                <a:lnTo>
                  <a:pt x="234" y="824"/>
                </a:lnTo>
                <a:lnTo>
                  <a:pt x="238" y="827"/>
                </a:lnTo>
                <a:lnTo>
                  <a:pt x="234" y="830"/>
                </a:lnTo>
                <a:lnTo>
                  <a:pt x="217" y="834"/>
                </a:lnTo>
                <a:lnTo>
                  <a:pt x="199" y="839"/>
                </a:lnTo>
                <a:lnTo>
                  <a:pt x="196" y="839"/>
                </a:lnTo>
                <a:lnTo>
                  <a:pt x="195" y="834"/>
                </a:lnTo>
                <a:lnTo>
                  <a:pt x="197" y="823"/>
                </a:lnTo>
                <a:lnTo>
                  <a:pt x="199" y="812"/>
                </a:lnTo>
                <a:lnTo>
                  <a:pt x="199" y="812"/>
                </a:lnTo>
                <a:lnTo>
                  <a:pt x="204" y="806"/>
                </a:lnTo>
                <a:lnTo>
                  <a:pt x="206" y="799"/>
                </a:lnTo>
                <a:lnTo>
                  <a:pt x="205" y="792"/>
                </a:lnTo>
                <a:lnTo>
                  <a:pt x="203" y="785"/>
                </a:lnTo>
                <a:lnTo>
                  <a:pt x="205" y="784"/>
                </a:lnTo>
                <a:lnTo>
                  <a:pt x="205" y="783"/>
                </a:lnTo>
                <a:lnTo>
                  <a:pt x="206" y="778"/>
                </a:lnTo>
                <a:lnTo>
                  <a:pt x="205" y="774"/>
                </a:lnTo>
                <a:lnTo>
                  <a:pt x="206" y="759"/>
                </a:lnTo>
                <a:lnTo>
                  <a:pt x="205" y="745"/>
                </a:lnTo>
                <a:lnTo>
                  <a:pt x="205" y="742"/>
                </a:lnTo>
                <a:lnTo>
                  <a:pt x="203" y="741"/>
                </a:lnTo>
                <a:lnTo>
                  <a:pt x="199" y="741"/>
                </a:lnTo>
                <a:lnTo>
                  <a:pt x="197" y="742"/>
                </a:lnTo>
                <a:lnTo>
                  <a:pt x="186" y="761"/>
                </a:lnTo>
                <a:lnTo>
                  <a:pt x="180" y="782"/>
                </a:lnTo>
                <a:lnTo>
                  <a:pt x="176" y="794"/>
                </a:lnTo>
                <a:lnTo>
                  <a:pt x="176" y="805"/>
                </a:lnTo>
                <a:lnTo>
                  <a:pt x="176" y="810"/>
                </a:lnTo>
                <a:lnTo>
                  <a:pt x="176" y="816"/>
                </a:lnTo>
                <a:lnTo>
                  <a:pt x="172" y="832"/>
                </a:lnTo>
                <a:lnTo>
                  <a:pt x="170" y="848"/>
                </a:lnTo>
                <a:lnTo>
                  <a:pt x="168" y="851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3"/>
                </a:lnTo>
                <a:lnTo>
                  <a:pt x="164" y="853"/>
                </a:lnTo>
                <a:lnTo>
                  <a:pt x="164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5" y="853"/>
                </a:lnTo>
                <a:lnTo>
                  <a:pt x="164" y="854"/>
                </a:lnTo>
                <a:lnTo>
                  <a:pt x="164" y="855"/>
                </a:lnTo>
                <a:lnTo>
                  <a:pt x="163" y="861"/>
                </a:lnTo>
                <a:lnTo>
                  <a:pt x="163" y="866"/>
                </a:lnTo>
                <a:lnTo>
                  <a:pt x="162" y="878"/>
                </a:lnTo>
                <a:lnTo>
                  <a:pt x="155" y="885"/>
                </a:lnTo>
                <a:lnTo>
                  <a:pt x="150" y="888"/>
                </a:lnTo>
                <a:lnTo>
                  <a:pt x="147" y="893"/>
                </a:lnTo>
                <a:lnTo>
                  <a:pt x="147" y="896"/>
                </a:lnTo>
                <a:lnTo>
                  <a:pt x="148" y="900"/>
                </a:lnTo>
                <a:lnTo>
                  <a:pt x="159" y="896"/>
                </a:lnTo>
                <a:lnTo>
                  <a:pt x="171" y="894"/>
                </a:lnTo>
                <a:lnTo>
                  <a:pt x="159" y="896"/>
                </a:lnTo>
                <a:lnTo>
                  <a:pt x="148" y="900"/>
                </a:lnTo>
                <a:lnTo>
                  <a:pt x="149" y="903"/>
                </a:lnTo>
                <a:lnTo>
                  <a:pt x="148" y="906"/>
                </a:lnTo>
                <a:lnTo>
                  <a:pt x="137" y="904"/>
                </a:lnTo>
                <a:lnTo>
                  <a:pt x="127" y="901"/>
                </a:lnTo>
                <a:lnTo>
                  <a:pt x="121" y="900"/>
                </a:lnTo>
                <a:lnTo>
                  <a:pt x="114" y="902"/>
                </a:lnTo>
                <a:lnTo>
                  <a:pt x="114" y="904"/>
                </a:lnTo>
                <a:lnTo>
                  <a:pt x="116" y="909"/>
                </a:lnTo>
                <a:lnTo>
                  <a:pt x="116" y="911"/>
                </a:lnTo>
                <a:lnTo>
                  <a:pt x="115" y="913"/>
                </a:lnTo>
                <a:lnTo>
                  <a:pt x="104" y="908"/>
                </a:lnTo>
                <a:lnTo>
                  <a:pt x="97" y="900"/>
                </a:lnTo>
                <a:lnTo>
                  <a:pt x="94" y="897"/>
                </a:lnTo>
                <a:lnTo>
                  <a:pt x="89" y="897"/>
                </a:lnTo>
                <a:lnTo>
                  <a:pt x="83" y="901"/>
                </a:lnTo>
                <a:lnTo>
                  <a:pt x="78" y="903"/>
                </a:lnTo>
                <a:lnTo>
                  <a:pt x="72" y="910"/>
                </a:lnTo>
                <a:lnTo>
                  <a:pt x="69" y="917"/>
                </a:lnTo>
                <a:lnTo>
                  <a:pt x="72" y="923"/>
                </a:lnTo>
                <a:lnTo>
                  <a:pt x="80" y="927"/>
                </a:lnTo>
                <a:lnTo>
                  <a:pt x="85" y="927"/>
                </a:lnTo>
                <a:lnTo>
                  <a:pt x="89" y="927"/>
                </a:lnTo>
                <a:lnTo>
                  <a:pt x="95" y="925"/>
                </a:lnTo>
                <a:lnTo>
                  <a:pt x="96" y="932"/>
                </a:lnTo>
                <a:lnTo>
                  <a:pt x="97" y="935"/>
                </a:lnTo>
                <a:lnTo>
                  <a:pt x="100" y="937"/>
                </a:lnTo>
                <a:lnTo>
                  <a:pt x="109" y="945"/>
                </a:lnTo>
                <a:lnTo>
                  <a:pt x="119" y="955"/>
                </a:lnTo>
                <a:lnTo>
                  <a:pt x="123" y="962"/>
                </a:lnTo>
                <a:lnTo>
                  <a:pt x="129" y="967"/>
                </a:lnTo>
                <a:lnTo>
                  <a:pt x="131" y="971"/>
                </a:lnTo>
                <a:lnTo>
                  <a:pt x="134" y="976"/>
                </a:lnTo>
                <a:lnTo>
                  <a:pt x="134" y="984"/>
                </a:lnTo>
                <a:lnTo>
                  <a:pt x="130" y="992"/>
                </a:lnTo>
                <a:lnTo>
                  <a:pt x="129" y="1012"/>
                </a:lnTo>
                <a:lnTo>
                  <a:pt x="126" y="1030"/>
                </a:lnTo>
                <a:lnTo>
                  <a:pt x="123" y="1046"/>
                </a:lnTo>
                <a:lnTo>
                  <a:pt x="138" y="1047"/>
                </a:lnTo>
                <a:lnTo>
                  <a:pt x="140" y="1051"/>
                </a:lnTo>
                <a:lnTo>
                  <a:pt x="138" y="1056"/>
                </a:lnTo>
                <a:lnTo>
                  <a:pt x="133" y="1055"/>
                </a:lnTo>
                <a:lnTo>
                  <a:pt x="129" y="1060"/>
                </a:lnTo>
                <a:lnTo>
                  <a:pt x="128" y="1067"/>
                </a:lnTo>
                <a:lnTo>
                  <a:pt x="121" y="1068"/>
                </a:lnTo>
                <a:lnTo>
                  <a:pt x="120" y="1070"/>
                </a:lnTo>
                <a:lnTo>
                  <a:pt x="119" y="1072"/>
                </a:lnTo>
                <a:lnTo>
                  <a:pt x="114" y="1097"/>
                </a:lnTo>
                <a:lnTo>
                  <a:pt x="108" y="1121"/>
                </a:lnTo>
                <a:lnTo>
                  <a:pt x="97" y="1173"/>
                </a:lnTo>
                <a:lnTo>
                  <a:pt x="87" y="1225"/>
                </a:lnTo>
                <a:lnTo>
                  <a:pt x="74" y="1293"/>
                </a:lnTo>
                <a:lnTo>
                  <a:pt x="61" y="1360"/>
                </a:lnTo>
                <a:lnTo>
                  <a:pt x="58" y="1369"/>
                </a:lnTo>
                <a:lnTo>
                  <a:pt x="46" y="1369"/>
                </a:lnTo>
                <a:lnTo>
                  <a:pt x="51" y="1376"/>
                </a:lnTo>
                <a:lnTo>
                  <a:pt x="50" y="1383"/>
                </a:lnTo>
                <a:lnTo>
                  <a:pt x="45" y="1386"/>
                </a:lnTo>
                <a:lnTo>
                  <a:pt x="40" y="1389"/>
                </a:lnTo>
                <a:lnTo>
                  <a:pt x="33" y="1382"/>
                </a:lnTo>
                <a:lnTo>
                  <a:pt x="24" y="1378"/>
                </a:lnTo>
                <a:lnTo>
                  <a:pt x="18" y="1381"/>
                </a:lnTo>
                <a:lnTo>
                  <a:pt x="20" y="1386"/>
                </a:lnTo>
                <a:lnTo>
                  <a:pt x="23" y="1391"/>
                </a:lnTo>
                <a:lnTo>
                  <a:pt x="23" y="1398"/>
                </a:lnTo>
                <a:lnTo>
                  <a:pt x="24" y="1409"/>
                </a:lnTo>
                <a:lnTo>
                  <a:pt x="25" y="1420"/>
                </a:lnTo>
                <a:lnTo>
                  <a:pt x="32" y="1434"/>
                </a:lnTo>
                <a:lnTo>
                  <a:pt x="40" y="1447"/>
                </a:lnTo>
                <a:lnTo>
                  <a:pt x="41" y="1451"/>
                </a:lnTo>
                <a:lnTo>
                  <a:pt x="41" y="1454"/>
                </a:lnTo>
                <a:lnTo>
                  <a:pt x="38" y="1475"/>
                </a:lnTo>
                <a:lnTo>
                  <a:pt x="33" y="1496"/>
                </a:lnTo>
                <a:lnTo>
                  <a:pt x="26" y="1526"/>
                </a:lnTo>
                <a:lnTo>
                  <a:pt x="21" y="1556"/>
                </a:lnTo>
                <a:lnTo>
                  <a:pt x="19" y="1564"/>
                </a:lnTo>
                <a:lnTo>
                  <a:pt x="18" y="1572"/>
                </a:lnTo>
                <a:lnTo>
                  <a:pt x="16" y="1579"/>
                </a:lnTo>
                <a:lnTo>
                  <a:pt x="9" y="1582"/>
                </a:lnTo>
                <a:lnTo>
                  <a:pt x="4" y="1587"/>
                </a:lnTo>
                <a:lnTo>
                  <a:pt x="3" y="1594"/>
                </a:lnTo>
                <a:lnTo>
                  <a:pt x="3" y="1595"/>
                </a:lnTo>
                <a:lnTo>
                  <a:pt x="3" y="1598"/>
                </a:lnTo>
                <a:lnTo>
                  <a:pt x="0" y="1606"/>
                </a:lnTo>
                <a:lnTo>
                  <a:pt x="4" y="1612"/>
                </a:lnTo>
                <a:lnTo>
                  <a:pt x="10" y="1616"/>
                </a:lnTo>
                <a:lnTo>
                  <a:pt x="12" y="1623"/>
                </a:lnTo>
                <a:lnTo>
                  <a:pt x="13" y="1624"/>
                </a:lnTo>
                <a:lnTo>
                  <a:pt x="13" y="1626"/>
                </a:lnTo>
                <a:lnTo>
                  <a:pt x="24" y="1637"/>
                </a:lnTo>
                <a:lnTo>
                  <a:pt x="27" y="1652"/>
                </a:lnTo>
                <a:lnTo>
                  <a:pt x="27" y="1655"/>
                </a:lnTo>
                <a:lnTo>
                  <a:pt x="28" y="1656"/>
                </a:lnTo>
                <a:lnTo>
                  <a:pt x="31" y="1661"/>
                </a:lnTo>
                <a:lnTo>
                  <a:pt x="25" y="1661"/>
                </a:lnTo>
                <a:lnTo>
                  <a:pt x="16" y="1661"/>
                </a:lnTo>
                <a:lnTo>
                  <a:pt x="5" y="1661"/>
                </a:lnTo>
                <a:lnTo>
                  <a:pt x="154" y="1661"/>
                </a:lnTo>
                <a:lnTo>
                  <a:pt x="156" y="1662"/>
                </a:lnTo>
                <a:lnTo>
                  <a:pt x="158" y="1661"/>
                </a:lnTo>
                <a:lnTo>
                  <a:pt x="200" y="1661"/>
                </a:lnTo>
                <a:lnTo>
                  <a:pt x="202" y="1662"/>
                </a:lnTo>
                <a:lnTo>
                  <a:pt x="203" y="1661"/>
                </a:lnTo>
                <a:lnTo>
                  <a:pt x="1029" y="1661"/>
                </a:lnTo>
                <a:lnTo>
                  <a:pt x="1031" y="1662"/>
                </a:lnTo>
                <a:lnTo>
                  <a:pt x="1032" y="1661"/>
                </a:lnTo>
                <a:lnTo>
                  <a:pt x="1032" y="1661"/>
                </a:lnTo>
                <a:lnTo>
                  <a:pt x="1032" y="1661"/>
                </a:lnTo>
                <a:lnTo>
                  <a:pt x="1419" y="1661"/>
                </a:lnTo>
                <a:lnTo>
                  <a:pt x="1425" y="1662"/>
                </a:lnTo>
                <a:lnTo>
                  <a:pt x="1431" y="1662"/>
                </a:lnTo>
                <a:lnTo>
                  <a:pt x="1433" y="1662"/>
                </a:lnTo>
                <a:lnTo>
                  <a:pt x="1434" y="1661"/>
                </a:lnTo>
                <a:lnTo>
                  <a:pt x="1469" y="1661"/>
                </a:lnTo>
                <a:lnTo>
                  <a:pt x="1464" y="1661"/>
                </a:lnTo>
                <a:lnTo>
                  <a:pt x="1462" y="1657"/>
                </a:lnTo>
                <a:lnTo>
                  <a:pt x="1460" y="1654"/>
                </a:lnTo>
                <a:lnTo>
                  <a:pt x="1455" y="1652"/>
                </a:lnTo>
                <a:lnTo>
                  <a:pt x="1462" y="1648"/>
                </a:lnTo>
                <a:lnTo>
                  <a:pt x="1461" y="1641"/>
                </a:lnTo>
                <a:lnTo>
                  <a:pt x="1461" y="1636"/>
                </a:lnTo>
                <a:lnTo>
                  <a:pt x="1461" y="1630"/>
                </a:lnTo>
                <a:lnTo>
                  <a:pt x="1463" y="1617"/>
                </a:lnTo>
                <a:lnTo>
                  <a:pt x="1461" y="1605"/>
                </a:lnTo>
                <a:lnTo>
                  <a:pt x="1460" y="1600"/>
                </a:lnTo>
                <a:lnTo>
                  <a:pt x="1456" y="1595"/>
                </a:lnTo>
                <a:lnTo>
                  <a:pt x="1456" y="1593"/>
                </a:lnTo>
                <a:lnTo>
                  <a:pt x="1456" y="1589"/>
                </a:lnTo>
                <a:lnTo>
                  <a:pt x="1455" y="1584"/>
                </a:lnTo>
                <a:lnTo>
                  <a:pt x="1454" y="1577"/>
                </a:lnTo>
                <a:lnTo>
                  <a:pt x="1454" y="1574"/>
                </a:lnTo>
                <a:lnTo>
                  <a:pt x="1453" y="1573"/>
                </a:lnTo>
                <a:lnTo>
                  <a:pt x="1453" y="1566"/>
                </a:lnTo>
                <a:lnTo>
                  <a:pt x="1450" y="1559"/>
                </a:lnTo>
                <a:lnTo>
                  <a:pt x="1450" y="1556"/>
                </a:lnTo>
                <a:lnTo>
                  <a:pt x="1450" y="1552"/>
                </a:lnTo>
                <a:lnTo>
                  <a:pt x="1449" y="1538"/>
                </a:lnTo>
                <a:lnTo>
                  <a:pt x="1447" y="1523"/>
                </a:lnTo>
                <a:lnTo>
                  <a:pt x="1456" y="1524"/>
                </a:lnTo>
                <a:lnTo>
                  <a:pt x="1462" y="1531"/>
                </a:lnTo>
                <a:lnTo>
                  <a:pt x="1470" y="1537"/>
                </a:lnTo>
                <a:lnTo>
                  <a:pt x="1480" y="1536"/>
                </a:lnTo>
                <a:lnTo>
                  <a:pt x="1482" y="1529"/>
                </a:lnTo>
                <a:lnTo>
                  <a:pt x="1478" y="1519"/>
                </a:lnTo>
                <a:lnTo>
                  <a:pt x="1476" y="1515"/>
                </a:lnTo>
                <a:lnTo>
                  <a:pt x="1476" y="1511"/>
                </a:lnTo>
                <a:lnTo>
                  <a:pt x="1476" y="1507"/>
                </a:lnTo>
                <a:lnTo>
                  <a:pt x="1474" y="1504"/>
                </a:lnTo>
                <a:lnTo>
                  <a:pt x="1471" y="1504"/>
                </a:lnTo>
                <a:lnTo>
                  <a:pt x="1469" y="1507"/>
                </a:lnTo>
                <a:lnTo>
                  <a:pt x="1462" y="1507"/>
                </a:lnTo>
                <a:lnTo>
                  <a:pt x="1456" y="1503"/>
                </a:lnTo>
                <a:lnTo>
                  <a:pt x="1456" y="1501"/>
                </a:lnTo>
                <a:lnTo>
                  <a:pt x="1459" y="1498"/>
                </a:lnTo>
                <a:lnTo>
                  <a:pt x="1463" y="1493"/>
                </a:lnTo>
                <a:lnTo>
                  <a:pt x="1457" y="1488"/>
                </a:lnTo>
                <a:lnTo>
                  <a:pt x="1449" y="1483"/>
                </a:lnTo>
                <a:lnTo>
                  <a:pt x="1442" y="1479"/>
                </a:lnTo>
                <a:lnTo>
                  <a:pt x="1441" y="1473"/>
                </a:lnTo>
                <a:lnTo>
                  <a:pt x="1441" y="1468"/>
                </a:lnTo>
                <a:lnTo>
                  <a:pt x="1441" y="1465"/>
                </a:lnTo>
                <a:lnTo>
                  <a:pt x="1441" y="1462"/>
                </a:lnTo>
                <a:lnTo>
                  <a:pt x="1441" y="1455"/>
                </a:lnTo>
                <a:lnTo>
                  <a:pt x="1440" y="1448"/>
                </a:lnTo>
                <a:lnTo>
                  <a:pt x="1439" y="1432"/>
                </a:lnTo>
                <a:lnTo>
                  <a:pt x="1435" y="1417"/>
                </a:lnTo>
                <a:lnTo>
                  <a:pt x="1435" y="1410"/>
                </a:lnTo>
                <a:lnTo>
                  <a:pt x="1429" y="1406"/>
                </a:lnTo>
                <a:lnTo>
                  <a:pt x="1425" y="1403"/>
                </a:lnTo>
                <a:lnTo>
                  <a:pt x="1425" y="1397"/>
                </a:lnTo>
                <a:lnTo>
                  <a:pt x="1433" y="1400"/>
                </a:lnTo>
                <a:lnTo>
                  <a:pt x="1441" y="1396"/>
                </a:lnTo>
                <a:lnTo>
                  <a:pt x="1442" y="1395"/>
                </a:lnTo>
                <a:lnTo>
                  <a:pt x="1441" y="1393"/>
                </a:lnTo>
                <a:lnTo>
                  <a:pt x="1439" y="1391"/>
                </a:lnTo>
                <a:lnTo>
                  <a:pt x="1438" y="1389"/>
                </a:lnTo>
                <a:lnTo>
                  <a:pt x="1436" y="1386"/>
                </a:lnTo>
                <a:lnTo>
                  <a:pt x="1435" y="1384"/>
                </a:lnTo>
                <a:lnTo>
                  <a:pt x="1436" y="1386"/>
                </a:lnTo>
                <a:lnTo>
                  <a:pt x="1438" y="1389"/>
                </a:lnTo>
                <a:lnTo>
                  <a:pt x="1438" y="1381"/>
                </a:lnTo>
                <a:lnTo>
                  <a:pt x="1433" y="1376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34" y="1375"/>
                </a:lnTo>
                <a:lnTo>
                  <a:pt x="1440" y="1365"/>
                </a:lnTo>
                <a:lnTo>
                  <a:pt x="1438" y="1355"/>
                </a:lnTo>
                <a:lnTo>
                  <a:pt x="1438" y="1355"/>
                </a:lnTo>
                <a:lnTo>
                  <a:pt x="1438" y="1354"/>
                </a:lnTo>
                <a:lnTo>
                  <a:pt x="1429" y="1342"/>
                </a:lnTo>
                <a:lnTo>
                  <a:pt x="1422" y="1330"/>
                </a:lnTo>
                <a:lnTo>
                  <a:pt x="1421" y="1328"/>
                </a:lnTo>
                <a:lnTo>
                  <a:pt x="1420" y="1326"/>
                </a:lnTo>
                <a:lnTo>
                  <a:pt x="1419" y="1322"/>
                </a:lnTo>
                <a:lnTo>
                  <a:pt x="1421" y="1321"/>
                </a:lnTo>
                <a:lnTo>
                  <a:pt x="1427" y="1321"/>
                </a:lnTo>
                <a:lnTo>
                  <a:pt x="1426" y="1316"/>
                </a:lnTo>
                <a:lnTo>
                  <a:pt x="1426" y="1313"/>
                </a:lnTo>
                <a:lnTo>
                  <a:pt x="1425" y="1311"/>
                </a:lnTo>
                <a:lnTo>
                  <a:pt x="1422" y="1302"/>
                </a:lnTo>
                <a:lnTo>
                  <a:pt x="1419" y="1294"/>
                </a:lnTo>
                <a:lnTo>
                  <a:pt x="1417" y="1290"/>
                </a:lnTo>
                <a:lnTo>
                  <a:pt x="1412" y="1286"/>
                </a:lnTo>
                <a:lnTo>
                  <a:pt x="1408" y="1284"/>
                </a:lnTo>
                <a:lnTo>
                  <a:pt x="1408" y="1280"/>
                </a:lnTo>
                <a:lnTo>
                  <a:pt x="1411" y="1279"/>
                </a:lnTo>
                <a:lnTo>
                  <a:pt x="1414" y="1280"/>
                </a:lnTo>
                <a:lnTo>
                  <a:pt x="1419" y="1281"/>
                </a:lnTo>
                <a:lnTo>
                  <a:pt x="1422" y="1279"/>
                </a:lnTo>
                <a:lnTo>
                  <a:pt x="1424" y="1278"/>
                </a:lnTo>
                <a:lnTo>
                  <a:pt x="1425" y="1278"/>
                </a:lnTo>
                <a:lnTo>
                  <a:pt x="1427" y="1267"/>
                </a:lnTo>
                <a:lnTo>
                  <a:pt x="1425" y="1257"/>
                </a:lnTo>
                <a:lnTo>
                  <a:pt x="1424" y="1256"/>
                </a:lnTo>
                <a:lnTo>
                  <a:pt x="1425" y="1255"/>
                </a:lnTo>
                <a:lnTo>
                  <a:pt x="1425" y="1249"/>
                </a:lnTo>
                <a:lnTo>
                  <a:pt x="1420" y="1246"/>
                </a:lnTo>
                <a:lnTo>
                  <a:pt x="1414" y="1245"/>
                </a:lnTo>
                <a:lnTo>
                  <a:pt x="1409" y="1245"/>
                </a:lnTo>
                <a:lnTo>
                  <a:pt x="1404" y="1239"/>
                </a:lnTo>
                <a:lnTo>
                  <a:pt x="1398" y="1243"/>
                </a:lnTo>
                <a:lnTo>
                  <a:pt x="1393" y="1245"/>
                </a:lnTo>
                <a:lnTo>
                  <a:pt x="1391" y="1241"/>
                </a:lnTo>
                <a:lnTo>
                  <a:pt x="1391" y="1238"/>
                </a:lnTo>
                <a:lnTo>
                  <a:pt x="1388" y="1237"/>
                </a:lnTo>
                <a:lnTo>
                  <a:pt x="1388" y="1237"/>
                </a:lnTo>
                <a:lnTo>
                  <a:pt x="1385" y="1235"/>
                </a:lnTo>
                <a:lnTo>
                  <a:pt x="1381" y="1231"/>
                </a:lnTo>
                <a:lnTo>
                  <a:pt x="1378" y="1235"/>
                </a:lnTo>
                <a:lnTo>
                  <a:pt x="1374" y="1239"/>
                </a:lnTo>
                <a:lnTo>
                  <a:pt x="1369" y="1218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3" y="1197"/>
                </a:lnTo>
                <a:lnTo>
                  <a:pt x="1366" y="1200"/>
                </a:lnTo>
                <a:lnTo>
                  <a:pt x="1367" y="1203"/>
                </a:lnTo>
                <a:lnTo>
                  <a:pt x="1370" y="1211"/>
                </a:lnTo>
                <a:lnTo>
                  <a:pt x="1372" y="1221"/>
                </a:lnTo>
                <a:lnTo>
                  <a:pt x="1373" y="1222"/>
                </a:lnTo>
                <a:lnTo>
                  <a:pt x="1374" y="1221"/>
                </a:lnTo>
                <a:lnTo>
                  <a:pt x="1374" y="1221"/>
                </a:lnTo>
                <a:lnTo>
                  <a:pt x="1374" y="1220"/>
                </a:lnTo>
                <a:lnTo>
                  <a:pt x="1383" y="1222"/>
                </a:lnTo>
                <a:lnTo>
                  <a:pt x="1384" y="1214"/>
                </a:lnTo>
                <a:lnTo>
                  <a:pt x="1380" y="1215"/>
                </a:lnTo>
                <a:lnTo>
                  <a:pt x="1377" y="1213"/>
                </a:lnTo>
                <a:lnTo>
                  <a:pt x="1377" y="1213"/>
                </a:lnTo>
                <a:lnTo>
                  <a:pt x="1377" y="1196"/>
                </a:lnTo>
                <a:lnTo>
                  <a:pt x="1372" y="1180"/>
                </a:lnTo>
                <a:lnTo>
                  <a:pt x="1370" y="1174"/>
                </a:lnTo>
                <a:lnTo>
                  <a:pt x="1370" y="1167"/>
                </a:lnTo>
                <a:lnTo>
                  <a:pt x="1369" y="1166"/>
                </a:lnTo>
                <a:lnTo>
                  <a:pt x="1369" y="1165"/>
                </a:lnTo>
                <a:lnTo>
                  <a:pt x="1367" y="1162"/>
                </a:lnTo>
                <a:lnTo>
                  <a:pt x="1366" y="1159"/>
                </a:lnTo>
                <a:lnTo>
                  <a:pt x="1364" y="1160"/>
                </a:lnTo>
                <a:lnTo>
                  <a:pt x="1363" y="1162"/>
                </a:lnTo>
                <a:lnTo>
                  <a:pt x="1364" y="1160"/>
                </a:lnTo>
                <a:lnTo>
                  <a:pt x="1366" y="1159"/>
                </a:lnTo>
                <a:lnTo>
                  <a:pt x="1365" y="1155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3"/>
                </a:lnTo>
                <a:lnTo>
                  <a:pt x="1363" y="1155"/>
                </a:lnTo>
                <a:lnTo>
                  <a:pt x="1359" y="1156"/>
                </a:lnTo>
                <a:lnTo>
                  <a:pt x="1359" y="1146"/>
                </a:lnTo>
                <a:lnTo>
                  <a:pt x="1358" y="1135"/>
                </a:lnTo>
                <a:lnTo>
                  <a:pt x="1358" y="1138"/>
                </a:lnTo>
                <a:lnTo>
                  <a:pt x="1355" y="1140"/>
                </a:lnTo>
                <a:lnTo>
                  <a:pt x="1353" y="1133"/>
                </a:lnTo>
                <a:lnTo>
                  <a:pt x="1355" y="1126"/>
                </a:lnTo>
                <a:lnTo>
                  <a:pt x="1348" y="1104"/>
                </a:lnTo>
                <a:lnTo>
                  <a:pt x="1341" y="1082"/>
                </a:lnTo>
                <a:lnTo>
                  <a:pt x="1336" y="1091"/>
                </a:lnTo>
                <a:lnTo>
                  <a:pt x="1336" y="1102"/>
                </a:lnTo>
                <a:lnTo>
                  <a:pt x="1341" y="1120"/>
                </a:lnTo>
                <a:lnTo>
                  <a:pt x="1348" y="1139"/>
                </a:lnTo>
                <a:lnTo>
                  <a:pt x="1349" y="1141"/>
                </a:lnTo>
                <a:lnTo>
                  <a:pt x="1351" y="1142"/>
                </a:lnTo>
                <a:lnTo>
                  <a:pt x="1356" y="1148"/>
                </a:lnTo>
                <a:lnTo>
                  <a:pt x="1356" y="1155"/>
                </a:lnTo>
                <a:lnTo>
                  <a:pt x="1353" y="1160"/>
                </a:lnTo>
                <a:lnTo>
                  <a:pt x="1359" y="1162"/>
                </a:lnTo>
                <a:lnTo>
                  <a:pt x="1360" y="1163"/>
                </a:lnTo>
                <a:lnTo>
                  <a:pt x="1362" y="1166"/>
                </a:lnTo>
                <a:lnTo>
                  <a:pt x="1362" y="1167"/>
                </a:lnTo>
                <a:lnTo>
                  <a:pt x="1362" y="1168"/>
                </a:lnTo>
                <a:lnTo>
                  <a:pt x="1362" y="1169"/>
                </a:lnTo>
                <a:lnTo>
                  <a:pt x="1362" y="1170"/>
                </a:lnTo>
                <a:lnTo>
                  <a:pt x="1357" y="1175"/>
                </a:lnTo>
                <a:lnTo>
                  <a:pt x="1353" y="1169"/>
                </a:lnTo>
                <a:lnTo>
                  <a:pt x="1350" y="1158"/>
                </a:lnTo>
                <a:lnTo>
                  <a:pt x="1345" y="1147"/>
                </a:lnTo>
                <a:lnTo>
                  <a:pt x="1332" y="1106"/>
                </a:lnTo>
                <a:lnTo>
                  <a:pt x="1321" y="1065"/>
                </a:lnTo>
                <a:lnTo>
                  <a:pt x="1314" y="1047"/>
                </a:lnTo>
                <a:lnTo>
                  <a:pt x="1308" y="1026"/>
                </a:lnTo>
                <a:lnTo>
                  <a:pt x="1296" y="988"/>
                </a:lnTo>
                <a:lnTo>
                  <a:pt x="1283" y="951"/>
                </a:lnTo>
                <a:lnTo>
                  <a:pt x="1281" y="942"/>
                </a:lnTo>
                <a:lnTo>
                  <a:pt x="1279" y="932"/>
                </a:lnTo>
                <a:lnTo>
                  <a:pt x="1279" y="928"/>
                </a:lnTo>
                <a:lnTo>
                  <a:pt x="1283" y="924"/>
                </a:lnTo>
                <a:lnTo>
                  <a:pt x="1286" y="927"/>
                </a:lnTo>
                <a:lnTo>
                  <a:pt x="1286" y="931"/>
                </a:lnTo>
                <a:lnTo>
                  <a:pt x="1286" y="935"/>
                </a:lnTo>
                <a:lnTo>
                  <a:pt x="1284" y="938"/>
                </a:lnTo>
                <a:lnTo>
                  <a:pt x="1291" y="962"/>
                </a:lnTo>
                <a:lnTo>
                  <a:pt x="1300" y="985"/>
                </a:lnTo>
                <a:lnTo>
                  <a:pt x="1304" y="973"/>
                </a:lnTo>
                <a:lnTo>
                  <a:pt x="1303" y="960"/>
                </a:lnTo>
                <a:lnTo>
                  <a:pt x="1300" y="951"/>
                </a:lnTo>
                <a:lnTo>
                  <a:pt x="1297" y="942"/>
                </a:lnTo>
                <a:lnTo>
                  <a:pt x="1294" y="931"/>
                </a:lnTo>
                <a:lnTo>
                  <a:pt x="1288" y="923"/>
                </a:lnTo>
                <a:lnTo>
                  <a:pt x="1283" y="917"/>
                </a:lnTo>
                <a:lnTo>
                  <a:pt x="1284" y="909"/>
                </a:lnTo>
                <a:lnTo>
                  <a:pt x="1284" y="904"/>
                </a:lnTo>
                <a:lnTo>
                  <a:pt x="1281" y="903"/>
                </a:lnTo>
                <a:lnTo>
                  <a:pt x="1279" y="902"/>
                </a:lnTo>
                <a:lnTo>
                  <a:pt x="1277" y="900"/>
                </a:lnTo>
                <a:lnTo>
                  <a:pt x="1279" y="889"/>
                </a:lnTo>
                <a:lnTo>
                  <a:pt x="1277" y="879"/>
                </a:lnTo>
                <a:lnTo>
                  <a:pt x="1276" y="873"/>
                </a:lnTo>
                <a:lnTo>
                  <a:pt x="1273" y="868"/>
                </a:lnTo>
                <a:lnTo>
                  <a:pt x="1270" y="855"/>
                </a:lnTo>
                <a:lnTo>
                  <a:pt x="1267" y="844"/>
                </a:lnTo>
                <a:lnTo>
                  <a:pt x="1264" y="843"/>
                </a:lnTo>
                <a:lnTo>
                  <a:pt x="1262" y="843"/>
                </a:lnTo>
                <a:lnTo>
                  <a:pt x="1254" y="839"/>
                </a:lnTo>
                <a:lnTo>
                  <a:pt x="1249" y="832"/>
                </a:lnTo>
                <a:lnTo>
                  <a:pt x="1248" y="833"/>
                </a:lnTo>
                <a:lnTo>
                  <a:pt x="1248" y="833"/>
                </a:lnTo>
                <a:lnTo>
                  <a:pt x="1248" y="833"/>
                </a:lnTo>
                <a:lnTo>
                  <a:pt x="1249" y="832"/>
                </a:lnTo>
                <a:lnTo>
                  <a:pt x="1249" y="830"/>
                </a:lnTo>
                <a:lnTo>
                  <a:pt x="1252" y="827"/>
                </a:lnTo>
                <a:lnTo>
                  <a:pt x="1256" y="830"/>
                </a:lnTo>
                <a:lnTo>
                  <a:pt x="1260" y="831"/>
                </a:lnTo>
                <a:lnTo>
                  <a:pt x="1260" y="837"/>
                </a:lnTo>
                <a:lnTo>
                  <a:pt x="1263" y="841"/>
                </a:lnTo>
                <a:lnTo>
                  <a:pt x="1268" y="840"/>
                </a:lnTo>
                <a:lnTo>
                  <a:pt x="1270" y="836"/>
                </a:lnTo>
                <a:lnTo>
                  <a:pt x="1272" y="834"/>
                </a:lnTo>
                <a:lnTo>
                  <a:pt x="1273" y="832"/>
                </a:lnTo>
                <a:lnTo>
                  <a:pt x="1272" y="829"/>
                </a:lnTo>
                <a:lnTo>
                  <a:pt x="1269" y="825"/>
                </a:lnTo>
                <a:lnTo>
                  <a:pt x="1269" y="822"/>
                </a:lnTo>
                <a:lnTo>
                  <a:pt x="1268" y="817"/>
                </a:lnTo>
                <a:lnTo>
                  <a:pt x="1268" y="815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2"/>
                </a:lnTo>
                <a:lnTo>
                  <a:pt x="1268" y="811"/>
                </a:lnTo>
                <a:lnTo>
                  <a:pt x="1267" y="811"/>
                </a:lnTo>
                <a:lnTo>
                  <a:pt x="1260" y="809"/>
                </a:lnTo>
                <a:lnTo>
                  <a:pt x="1254" y="805"/>
                </a:lnTo>
                <a:lnTo>
                  <a:pt x="1253" y="805"/>
                </a:lnTo>
                <a:lnTo>
                  <a:pt x="1252" y="804"/>
                </a:lnTo>
                <a:lnTo>
                  <a:pt x="1252" y="803"/>
                </a:lnTo>
                <a:lnTo>
                  <a:pt x="1252" y="802"/>
                </a:lnTo>
                <a:lnTo>
                  <a:pt x="1248" y="802"/>
                </a:lnTo>
                <a:lnTo>
                  <a:pt x="1246" y="802"/>
                </a:lnTo>
                <a:lnTo>
                  <a:pt x="1248" y="802"/>
                </a:lnTo>
                <a:lnTo>
                  <a:pt x="1252" y="802"/>
                </a:lnTo>
                <a:lnTo>
                  <a:pt x="1255" y="802"/>
                </a:lnTo>
                <a:lnTo>
                  <a:pt x="1256" y="799"/>
                </a:lnTo>
                <a:lnTo>
                  <a:pt x="1256" y="797"/>
                </a:lnTo>
                <a:lnTo>
                  <a:pt x="1254" y="795"/>
                </a:lnTo>
                <a:lnTo>
                  <a:pt x="1248" y="792"/>
                </a:lnTo>
                <a:lnTo>
                  <a:pt x="1243" y="788"/>
                </a:lnTo>
                <a:lnTo>
                  <a:pt x="1243" y="787"/>
                </a:lnTo>
                <a:lnTo>
                  <a:pt x="1243" y="785"/>
                </a:lnTo>
                <a:lnTo>
                  <a:pt x="1246" y="784"/>
                </a:lnTo>
                <a:lnTo>
                  <a:pt x="1247" y="783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2"/>
                </a:lnTo>
                <a:lnTo>
                  <a:pt x="1247" y="783"/>
                </a:lnTo>
                <a:lnTo>
                  <a:pt x="1253" y="787"/>
                </a:lnTo>
                <a:lnTo>
                  <a:pt x="1257" y="790"/>
                </a:lnTo>
                <a:lnTo>
                  <a:pt x="1259" y="791"/>
                </a:lnTo>
                <a:lnTo>
                  <a:pt x="1261" y="790"/>
                </a:lnTo>
                <a:lnTo>
                  <a:pt x="1261" y="789"/>
                </a:lnTo>
                <a:lnTo>
                  <a:pt x="1261" y="787"/>
                </a:lnTo>
                <a:lnTo>
                  <a:pt x="1254" y="776"/>
                </a:lnTo>
                <a:lnTo>
                  <a:pt x="1242" y="770"/>
                </a:lnTo>
                <a:lnTo>
                  <a:pt x="1242" y="770"/>
                </a:lnTo>
                <a:lnTo>
                  <a:pt x="1241" y="766"/>
                </a:lnTo>
                <a:lnTo>
                  <a:pt x="1242" y="762"/>
                </a:lnTo>
                <a:lnTo>
                  <a:pt x="1247" y="764"/>
                </a:lnTo>
                <a:lnTo>
                  <a:pt x="1252" y="766"/>
                </a:lnTo>
                <a:lnTo>
                  <a:pt x="1252" y="759"/>
                </a:lnTo>
                <a:lnTo>
                  <a:pt x="1246" y="755"/>
                </a:lnTo>
                <a:lnTo>
                  <a:pt x="1241" y="752"/>
                </a:lnTo>
                <a:lnTo>
                  <a:pt x="1240" y="746"/>
                </a:lnTo>
                <a:lnTo>
                  <a:pt x="1235" y="747"/>
                </a:lnTo>
                <a:lnTo>
                  <a:pt x="1231" y="749"/>
                </a:lnTo>
                <a:lnTo>
                  <a:pt x="1229" y="752"/>
                </a:lnTo>
                <a:lnTo>
                  <a:pt x="1227" y="754"/>
                </a:lnTo>
                <a:lnTo>
                  <a:pt x="1229" y="752"/>
                </a:lnTo>
                <a:lnTo>
                  <a:pt x="1231" y="749"/>
                </a:lnTo>
                <a:lnTo>
                  <a:pt x="1231" y="745"/>
                </a:lnTo>
                <a:lnTo>
                  <a:pt x="1235" y="742"/>
                </a:lnTo>
                <a:lnTo>
                  <a:pt x="1239" y="742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0" y="746"/>
                </a:lnTo>
                <a:lnTo>
                  <a:pt x="1246" y="748"/>
                </a:lnTo>
                <a:lnTo>
                  <a:pt x="1250" y="750"/>
                </a:lnTo>
                <a:lnTo>
                  <a:pt x="1255" y="753"/>
                </a:lnTo>
                <a:lnTo>
                  <a:pt x="1257" y="748"/>
                </a:lnTo>
                <a:lnTo>
                  <a:pt x="1256" y="739"/>
                </a:lnTo>
                <a:lnTo>
                  <a:pt x="1250" y="731"/>
                </a:lnTo>
                <a:lnTo>
                  <a:pt x="1255" y="726"/>
                </a:lnTo>
                <a:lnTo>
                  <a:pt x="1260" y="721"/>
                </a:lnTo>
                <a:lnTo>
                  <a:pt x="1253" y="721"/>
                </a:lnTo>
                <a:lnTo>
                  <a:pt x="1247" y="722"/>
                </a:lnTo>
                <a:lnTo>
                  <a:pt x="1242" y="721"/>
                </a:lnTo>
                <a:lnTo>
                  <a:pt x="1242" y="726"/>
                </a:lnTo>
                <a:lnTo>
                  <a:pt x="1235" y="727"/>
                </a:lnTo>
                <a:lnTo>
                  <a:pt x="1229" y="728"/>
                </a:lnTo>
                <a:lnTo>
                  <a:pt x="1227" y="728"/>
                </a:lnTo>
                <a:lnTo>
                  <a:pt x="1225" y="728"/>
                </a:lnTo>
                <a:lnTo>
                  <a:pt x="1222" y="726"/>
                </a:lnTo>
                <a:lnTo>
                  <a:pt x="1222" y="724"/>
                </a:lnTo>
                <a:lnTo>
                  <a:pt x="1222" y="721"/>
                </a:lnTo>
                <a:lnTo>
                  <a:pt x="1224" y="721"/>
                </a:lnTo>
                <a:lnTo>
                  <a:pt x="1228" y="724"/>
                </a:lnTo>
                <a:lnTo>
                  <a:pt x="1231" y="719"/>
                </a:lnTo>
                <a:lnTo>
                  <a:pt x="1232" y="719"/>
                </a:lnTo>
                <a:lnTo>
                  <a:pt x="1233" y="719"/>
                </a:lnTo>
                <a:lnTo>
                  <a:pt x="1236" y="718"/>
                </a:lnTo>
                <a:lnTo>
                  <a:pt x="1239" y="715"/>
                </a:lnTo>
                <a:lnTo>
                  <a:pt x="1241" y="714"/>
                </a:lnTo>
                <a:lnTo>
                  <a:pt x="1241" y="711"/>
                </a:lnTo>
                <a:lnTo>
                  <a:pt x="1240" y="708"/>
                </a:lnTo>
                <a:lnTo>
                  <a:pt x="1239" y="707"/>
                </a:lnTo>
                <a:lnTo>
                  <a:pt x="1235" y="707"/>
                </a:lnTo>
                <a:lnTo>
                  <a:pt x="1234" y="711"/>
                </a:lnTo>
                <a:lnTo>
                  <a:pt x="1232" y="714"/>
                </a:lnTo>
                <a:lnTo>
                  <a:pt x="1228" y="715"/>
                </a:lnTo>
                <a:lnTo>
                  <a:pt x="1220" y="715"/>
                </a:lnTo>
                <a:lnTo>
                  <a:pt x="1217" y="724"/>
                </a:lnTo>
                <a:lnTo>
                  <a:pt x="1210" y="731"/>
                </a:lnTo>
                <a:lnTo>
                  <a:pt x="1212" y="742"/>
                </a:lnTo>
                <a:lnTo>
                  <a:pt x="1213" y="743"/>
                </a:lnTo>
                <a:lnTo>
                  <a:pt x="1213" y="745"/>
                </a:lnTo>
                <a:lnTo>
                  <a:pt x="1213" y="749"/>
                </a:lnTo>
                <a:lnTo>
                  <a:pt x="1218" y="753"/>
                </a:lnTo>
                <a:lnTo>
                  <a:pt x="1219" y="755"/>
                </a:lnTo>
                <a:lnTo>
                  <a:pt x="1221" y="756"/>
                </a:lnTo>
                <a:lnTo>
                  <a:pt x="1225" y="763"/>
                </a:lnTo>
                <a:lnTo>
                  <a:pt x="1225" y="771"/>
                </a:lnTo>
                <a:lnTo>
                  <a:pt x="1225" y="773"/>
                </a:lnTo>
                <a:lnTo>
                  <a:pt x="1225" y="774"/>
                </a:lnTo>
                <a:lnTo>
                  <a:pt x="1222" y="777"/>
                </a:lnTo>
                <a:lnTo>
                  <a:pt x="1221" y="781"/>
                </a:lnTo>
                <a:lnTo>
                  <a:pt x="1214" y="783"/>
                </a:lnTo>
                <a:lnTo>
                  <a:pt x="1207" y="782"/>
                </a:lnTo>
                <a:lnTo>
                  <a:pt x="1207" y="781"/>
                </a:lnTo>
                <a:lnTo>
                  <a:pt x="1206" y="781"/>
                </a:lnTo>
                <a:lnTo>
                  <a:pt x="1206" y="780"/>
                </a:lnTo>
                <a:lnTo>
                  <a:pt x="1206" y="777"/>
                </a:lnTo>
                <a:lnTo>
                  <a:pt x="1201" y="767"/>
                </a:lnTo>
                <a:lnTo>
                  <a:pt x="1197" y="755"/>
                </a:lnTo>
                <a:lnTo>
                  <a:pt x="1192" y="739"/>
                </a:lnTo>
                <a:lnTo>
                  <a:pt x="1187" y="721"/>
                </a:lnTo>
                <a:lnTo>
                  <a:pt x="1187" y="711"/>
                </a:lnTo>
                <a:lnTo>
                  <a:pt x="1188" y="700"/>
                </a:lnTo>
                <a:lnTo>
                  <a:pt x="1194" y="684"/>
                </a:lnTo>
                <a:lnTo>
                  <a:pt x="1201" y="666"/>
                </a:lnTo>
                <a:lnTo>
                  <a:pt x="1201" y="663"/>
                </a:lnTo>
                <a:lnTo>
                  <a:pt x="1200" y="661"/>
                </a:lnTo>
                <a:lnTo>
                  <a:pt x="1198" y="661"/>
                </a:lnTo>
                <a:lnTo>
                  <a:pt x="1196" y="663"/>
                </a:lnTo>
                <a:lnTo>
                  <a:pt x="1191" y="669"/>
                </a:lnTo>
                <a:lnTo>
                  <a:pt x="1186" y="673"/>
                </a:lnTo>
                <a:lnTo>
                  <a:pt x="1185" y="675"/>
                </a:lnTo>
                <a:lnTo>
                  <a:pt x="1184" y="673"/>
                </a:lnTo>
                <a:lnTo>
                  <a:pt x="1185" y="673"/>
                </a:lnTo>
                <a:lnTo>
                  <a:pt x="1185" y="672"/>
                </a:lnTo>
                <a:lnTo>
                  <a:pt x="1188" y="661"/>
                </a:lnTo>
                <a:lnTo>
                  <a:pt x="1197" y="652"/>
                </a:lnTo>
                <a:lnTo>
                  <a:pt x="1203" y="647"/>
                </a:lnTo>
                <a:lnTo>
                  <a:pt x="1206" y="641"/>
                </a:lnTo>
                <a:lnTo>
                  <a:pt x="1206" y="637"/>
                </a:lnTo>
                <a:lnTo>
                  <a:pt x="1205" y="635"/>
                </a:lnTo>
                <a:lnTo>
                  <a:pt x="1197" y="630"/>
                </a:lnTo>
                <a:lnTo>
                  <a:pt x="1186" y="631"/>
                </a:lnTo>
                <a:lnTo>
                  <a:pt x="1185" y="633"/>
                </a:lnTo>
                <a:lnTo>
                  <a:pt x="1183" y="631"/>
                </a:lnTo>
                <a:lnTo>
                  <a:pt x="1179" y="630"/>
                </a:lnTo>
                <a:lnTo>
                  <a:pt x="1177" y="633"/>
                </a:lnTo>
                <a:lnTo>
                  <a:pt x="1177" y="635"/>
                </a:lnTo>
                <a:lnTo>
                  <a:pt x="1179" y="637"/>
                </a:lnTo>
                <a:lnTo>
                  <a:pt x="1181" y="638"/>
                </a:lnTo>
                <a:lnTo>
                  <a:pt x="1180" y="642"/>
                </a:lnTo>
                <a:lnTo>
                  <a:pt x="1176" y="649"/>
                </a:lnTo>
                <a:lnTo>
                  <a:pt x="1171" y="657"/>
                </a:lnTo>
                <a:lnTo>
                  <a:pt x="1169" y="658"/>
                </a:lnTo>
                <a:lnTo>
                  <a:pt x="1166" y="658"/>
                </a:lnTo>
                <a:lnTo>
                  <a:pt x="1165" y="657"/>
                </a:lnTo>
                <a:lnTo>
                  <a:pt x="1164" y="655"/>
                </a:lnTo>
                <a:lnTo>
                  <a:pt x="1165" y="650"/>
                </a:lnTo>
                <a:lnTo>
                  <a:pt x="1165" y="645"/>
                </a:lnTo>
                <a:lnTo>
                  <a:pt x="1160" y="627"/>
                </a:lnTo>
                <a:lnTo>
                  <a:pt x="1152" y="609"/>
                </a:lnTo>
                <a:lnTo>
                  <a:pt x="1152" y="600"/>
                </a:lnTo>
                <a:lnTo>
                  <a:pt x="1151" y="591"/>
                </a:lnTo>
                <a:lnTo>
                  <a:pt x="1150" y="581"/>
                </a:lnTo>
                <a:lnTo>
                  <a:pt x="1151" y="571"/>
                </a:lnTo>
                <a:lnTo>
                  <a:pt x="1151" y="571"/>
                </a:lnTo>
                <a:lnTo>
                  <a:pt x="1156" y="564"/>
                </a:lnTo>
                <a:lnTo>
                  <a:pt x="1153" y="557"/>
                </a:lnTo>
                <a:lnTo>
                  <a:pt x="1151" y="549"/>
                </a:lnTo>
                <a:lnTo>
                  <a:pt x="1150" y="540"/>
                </a:lnTo>
                <a:lnTo>
                  <a:pt x="1150" y="538"/>
                </a:lnTo>
                <a:lnTo>
                  <a:pt x="1149" y="537"/>
                </a:lnTo>
                <a:lnTo>
                  <a:pt x="1149" y="537"/>
                </a:lnTo>
                <a:lnTo>
                  <a:pt x="1148" y="537"/>
                </a:lnTo>
                <a:lnTo>
                  <a:pt x="1148" y="536"/>
                </a:lnTo>
                <a:lnTo>
                  <a:pt x="1144" y="521"/>
                </a:lnTo>
                <a:lnTo>
                  <a:pt x="1138" y="507"/>
                </a:lnTo>
                <a:lnTo>
                  <a:pt x="1134" y="504"/>
                </a:lnTo>
                <a:lnTo>
                  <a:pt x="1131" y="507"/>
                </a:lnTo>
                <a:lnTo>
                  <a:pt x="1128" y="515"/>
                </a:lnTo>
                <a:lnTo>
                  <a:pt x="1128" y="523"/>
                </a:lnTo>
                <a:lnTo>
                  <a:pt x="1128" y="528"/>
                </a:lnTo>
                <a:lnTo>
                  <a:pt x="1121" y="529"/>
                </a:lnTo>
                <a:lnTo>
                  <a:pt x="1118" y="524"/>
                </a:lnTo>
                <a:lnTo>
                  <a:pt x="1116" y="521"/>
                </a:lnTo>
                <a:lnTo>
                  <a:pt x="1112" y="521"/>
                </a:lnTo>
                <a:lnTo>
                  <a:pt x="1109" y="521"/>
                </a:lnTo>
                <a:lnTo>
                  <a:pt x="1107" y="521"/>
                </a:lnTo>
                <a:lnTo>
                  <a:pt x="1103" y="519"/>
                </a:lnTo>
                <a:lnTo>
                  <a:pt x="1096" y="518"/>
                </a:lnTo>
                <a:lnTo>
                  <a:pt x="1094" y="525"/>
                </a:lnTo>
                <a:lnTo>
                  <a:pt x="1093" y="529"/>
                </a:lnTo>
                <a:lnTo>
                  <a:pt x="1090" y="533"/>
                </a:lnTo>
                <a:lnTo>
                  <a:pt x="1090" y="535"/>
                </a:lnTo>
                <a:lnTo>
                  <a:pt x="1090" y="536"/>
                </a:lnTo>
                <a:lnTo>
                  <a:pt x="1090" y="535"/>
                </a:lnTo>
                <a:lnTo>
                  <a:pt x="1090" y="533"/>
                </a:lnTo>
                <a:lnTo>
                  <a:pt x="1089" y="532"/>
                </a:lnTo>
                <a:lnTo>
                  <a:pt x="1089" y="532"/>
                </a:lnTo>
                <a:lnTo>
                  <a:pt x="1087" y="530"/>
                </a:lnTo>
                <a:lnTo>
                  <a:pt x="1083" y="530"/>
                </a:lnTo>
                <a:lnTo>
                  <a:pt x="1081" y="531"/>
                </a:lnTo>
                <a:lnTo>
                  <a:pt x="1077" y="532"/>
                </a:lnTo>
                <a:lnTo>
                  <a:pt x="1081" y="531"/>
                </a:lnTo>
                <a:lnTo>
                  <a:pt x="1083" y="530"/>
                </a:lnTo>
                <a:lnTo>
                  <a:pt x="1081" y="525"/>
                </a:lnTo>
                <a:lnTo>
                  <a:pt x="1084" y="522"/>
                </a:lnTo>
                <a:lnTo>
                  <a:pt x="1088" y="521"/>
                </a:lnTo>
                <a:lnTo>
                  <a:pt x="1091" y="516"/>
                </a:lnTo>
                <a:lnTo>
                  <a:pt x="1083" y="517"/>
                </a:lnTo>
                <a:lnTo>
                  <a:pt x="1083" y="510"/>
                </a:lnTo>
                <a:lnTo>
                  <a:pt x="1093" y="507"/>
                </a:lnTo>
                <a:lnTo>
                  <a:pt x="1102" y="505"/>
                </a:lnTo>
                <a:lnTo>
                  <a:pt x="1103" y="512"/>
                </a:lnTo>
                <a:lnTo>
                  <a:pt x="1103" y="519"/>
                </a:lnTo>
                <a:lnTo>
                  <a:pt x="1107" y="521"/>
                </a:lnTo>
                <a:lnTo>
                  <a:pt x="1109" y="521"/>
                </a:lnTo>
                <a:lnTo>
                  <a:pt x="1112" y="521"/>
                </a:lnTo>
                <a:lnTo>
                  <a:pt x="1116" y="521"/>
                </a:lnTo>
                <a:lnTo>
                  <a:pt x="1115" y="515"/>
                </a:lnTo>
                <a:lnTo>
                  <a:pt x="1116" y="509"/>
                </a:lnTo>
                <a:lnTo>
                  <a:pt x="1117" y="508"/>
                </a:lnTo>
                <a:lnTo>
                  <a:pt x="1116" y="507"/>
                </a:lnTo>
                <a:lnTo>
                  <a:pt x="1110" y="496"/>
                </a:lnTo>
                <a:lnTo>
                  <a:pt x="1111" y="484"/>
                </a:lnTo>
                <a:lnTo>
                  <a:pt x="1110" y="481"/>
                </a:lnTo>
                <a:lnTo>
                  <a:pt x="1107" y="480"/>
                </a:lnTo>
                <a:lnTo>
                  <a:pt x="1102" y="481"/>
                </a:lnTo>
                <a:lnTo>
                  <a:pt x="1101" y="485"/>
                </a:lnTo>
                <a:lnTo>
                  <a:pt x="1102" y="494"/>
                </a:lnTo>
                <a:lnTo>
                  <a:pt x="1100" y="501"/>
                </a:lnTo>
                <a:lnTo>
                  <a:pt x="1097" y="502"/>
                </a:lnTo>
                <a:lnTo>
                  <a:pt x="1094" y="503"/>
                </a:lnTo>
                <a:lnTo>
                  <a:pt x="1084" y="507"/>
                </a:lnTo>
                <a:lnTo>
                  <a:pt x="1074" y="505"/>
                </a:lnTo>
                <a:lnTo>
                  <a:pt x="1076" y="504"/>
                </a:lnTo>
                <a:lnTo>
                  <a:pt x="1077" y="502"/>
                </a:lnTo>
                <a:lnTo>
                  <a:pt x="1081" y="497"/>
                </a:lnTo>
                <a:lnTo>
                  <a:pt x="1083" y="490"/>
                </a:lnTo>
                <a:lnTo>
                  <a:pt x="1080" y="493"/>
                </a:lnTo>
                <a:lnTo>
                  <a:pt x="1077" y="497"/>
                </a:lnTo>
                <a:lnTo>
                  <a:pt x="1073" y="495"/>
                </a:lnTo>
                <a:lnTo>
                  <a:pt x="1075" y="491"/>
                </a:lnTo>
                <a:lnTo>
                  <a:pt x="1076" y="488"/>
                </a:lnTo>
                <a:lnTo>
                  <a:pt x="1075" y="485"/>
                </a:lnTo>
                <a:lnTo>
                  <a:pt x="1073" y="484"/>
                </a:lnTo>
                <a:lnTo>
                  <a:pt x="1070" y="485"/>
                </a:lnTo>
                <a:lnTo>
                  <a:pt x="1069" y="488"/>
                </a:lnTo>
                <a:lnTo>
                  <a:pt x="1070" y="490"/>
                </a:lnTo>
                <a:lnTo>
                  <a:pt x="1073" y="501"/>
                </a:lnTo>
                <a:lnTo>
                  <a:pt x="1068" y="510"/>
                </a:lnTo>
                <a:lnTo>
                  <a:pt x="1062" y="511"/>
                </a:lnTo>
                <a:lnTo>
                  <a:pt x="1056" y="512"/>
                </a:lnTo>
                <a:lnTo>
                  <a:pt x="1054" y="507"/>
                </a:lnTo>
                <a:lnTo>
                  <a:pt x="1060" y="502"/>
                </a:lnTo>
                <a:lnTo>
                  <a:pt x="1048" y="503"/>
                </a:lnTo>
                <a:lnTo>
                  <a:pt x="1049" y="514"/>
                </a:lnTo>
                <a:lnTo>
                  <a:pt x="1049" y="514"/>
                </a:lnTo>
                <a:lnTo>
                  <a:pt x="1049" y="515"/>
                </a:lnTo>
                <a:lnTo>
                  <a:pt x="1043" y="516"/>
                </a:lnTo>
                <a:lnTo>
                  <a:pt x="1038" y="517"/>
                </a:lnTo>
                <a:lnTo>
                  <a:pt x="1035" y="515"/>
                </a:lnTo>
                <a:lnTo>
                  <a:pt x="1035" y="512"/>
                </a:lnTo>
                <a:lnTo>
                  <a:pt x="1031" y="509"/>
                </a:lnTo>
                <a:lnTo>
                  <a:pt x="1028" y="505"/>
                </a:lnTo>
                <a:lnTo>
                  <a:pt x="1032" y="500"/>
                </a:lnTo>
                <a:lnTo>
                  <a:pt x="1038" y="495"/>
                </a:lnTo>
                <a:lnTo>
                  <a:pt x="1036" y="488"/>
                </a:lnTo>
                <a:lnTo>
                  <a:pt x="1033" y="481"/>
                </a:lnTo>
                <a:lnTo>
                  <a:pt x="1033" y="485"/>
                </a:lnTo>
                <a:lnTo>
                  <a:pt x="1029" y="488"/>
                </a:lnTo>
                <a:lnTo>
                  <a:pt x="1027" y="489"/>
                </a:lnTo>
                <a:lnTo>
                  <a:pt x="1027" y="491"/>
                </a:lnTo>
                <a:lnTo>
                  <a:pt x="1022" y="488"/>
                </a:lnTo>
                <a:lnTo>
                  <a:pt x="1017" y="488"/>
                </a:lnTo>
                <a:lnTo>
                  <a:pt x="1015" y="480"/>
                </a:lnTo>
                <a:lnTo>
                  <a:pt x="1012" y="470"/>
                </a:lnTo>
                <a:lnTo>
                  <a:pt x="1014" y="460"/>
                </a:lnTo>
                <a:lnTo>
                  <a:pt x="1011" y="448"/>
                </a:lnTo>
                <a:lnTo>
                  <a:pt x="1008" y="442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1001" y="439"/>
                </a:lnTo>
                <a:lnTo>
                  <a:pt x="999" y="431"/>
                </a:lnTo>
                <a:lnTo>
                  <a:pt x="997" y="424"/>
                </a:lnTo>
                <a:lnTo>
                  <a:pt x="997" y="421"/>
                </a:lnTo>
                <a:lnTo>
                  <a:pt x="997" y="419"/>
                </a:lnTo>
                <a:lnTo>
                  <a:pt x="997" y="419"/>
                </a:lnTo>
                <a:lnTo>
                  <a:pt x="998" y="418"/>
                </a:lnTo>
                <a:lnTo>
                  <a:pt x="1000" y="413"/>
                </a:lnTo>
                <a:lnTo>
                  <a:pt x="997" y="410"/>
                </a:lnTo>
                <a:lnTo>
                  <a:pt x="997" y="408"/>
                </a:lnTo>
                <a:lnTo>
                  <a:pt x="997" y="408"/>
                </a:lnTo>
                <a:lnTo>
                  <a:pt x="997" y="403"/>
                </a:lnTo>
                <a:lnTo>
                  <a:pt x="993" y="399"/>
                </a:lnTo>
                <a:lnTo>
                  <a:pt x="993" y="398"/>
                </a:lnTo>
                <a:lnTo>
                  <a:pt x="993" y="398"/>
                </a:lnTo>
                <a:lnTo>
                  <a:pt x="993" y="397"/>
                </a:lnTo>
                <a:lnTo>
                  <a:pt x="992" y="396"/>
                </a:lnTo>
                <a:lnTo>
                  <a:pt x="992" y="394"/>
                </a:lnTo>
                <a:lnTo>
                  <a:pt x="992" y="393"/>
                </a:lnTo>
                <a:lnTo>
                  <a:pt x="986" y="396"/>
                </a:lnTo>
                <a:lnTo>
                  <a:pt x="983" y="399"/>
                </a:lnTo>
                <a:lnTo>
                  <a:pt x="986" y="396"/>
                </a:lnTo>
                <a:lnTo>
                  <a:pt x="992" y="393"/>
                </a:lnTo>
                <a:lnTo>
                  <a:pt x="990" y="391"/>
                </a:lnTo>
                <a:lnTo>
                  <a:pt x="986" y="391"/>
                </a:lnTo>
                <a:lnTo>
                  <a:pt x="983" y="384"/>
                </a:lnTo>
                <a:lnTo>
                  <a:pt x="982" y="376"/>
                </a:lnTo>
                <a:lnTo>
                  <a:pt x="982" y="366"/>
                </a:lnTo>
                <a:lnTo>
                  <a:pt x="982" y="357"/>
                </a:lnTo>
                <a:lnTo>
                  <a:pt x="980" y="355"/>
                </a:lnTo>
                <a:lnTo>
                  <a:pt x="978" y="354"/>
                </a:lnTo>
                <a:lnTo>
                  <a:pt x="965" y="358"/>
                </a:lnTo>
                <a:lnTo>
                  <a:pt x="959" y="370"/>
                </a:lnTo>
                <a:lnTo>
                  <a:pt x="957" y="372"/>
                </a:lnTo>
                <a:lnTo>
                  <a:pt x="955" y="373"/>
                </a:lnTo>
                <a:lnTo>
                  <a:pt x="957" y="377"/>
                </a:lnTo>
                <a:lnTo>
                  <a:pt x="960" y="378"/>
                </a:lnTo>
                <a:lnTo>
                  <a:pt x="962" y="378"/>
                </a:lnTo>
                <a:lnTo>
                  <a:pt x="964" y="379"/>
                </a:lnTo>
                <a:lnTo>
                  <a:pt x="964" y="380"/>
                </a:lnTo>
                <a:lnTo>
                  <a:pt x="964" y="382"/>
                </a:lnTo>
                <a:lnTo>
                  <a:pt x="966" y="383"/>
                </a:lnTo>
                <a:lnTo>
                  <a:pt x="967" y="384"/>
                </a:lnTo>
                <a:lnTo>
                  <a:pt x="962" y="385"/>
                </a:lnTo>
                <a:lnTo>
                  <a:pt x="962" y="391"/>
                </a:lnTo>
                <a:lnTo>
                  <a:pt x="962" y="400"/>
                </a:lnTo>
                <a:lnTo>
                  <a:pt x="962" y="410"/>
                </a:lnTo>
                <a:lnTo>
                  <a:pt x="962" y="413"/>
                </a:lnTo>
                <a:lnTo>
                  <a:pt x="958" y="415"/>
                </a:lnTo>
                <a:lnTo>
                  <a:pt x="952" y="415"/>
                </a:lnTo>
                <a:lnTo>
                  <a:pt x="948" y="413"/>
                </a:lnTo>
                <a:lnTo>
                  <a:pt x="945" y="412"/>
                </a:lnTo>
                <a:lnTo>
                  <a:pt x="944" y="413"/>
                </a:lnTo>
                <a:lnTo>
                  <a:pt x="938" y="420"/>
                </a:lnTo>
                <a:lnTo>
                  <a:pt x="930" y="422"/>
                </a:lnTo>
                <a:lnTo>
                  <a:pt x="925" y="422"/>
                </a:lnTo>
                <a:lnTo>
                  <a:pt x="923" y="418"/>
                </a:lnTo>
                <a:lnTo>
                  <a:pt x="923" y="417"/>
                </a:lnTo>
                <a:lnTo>
                  <a:pt x="923" y="415"/>
                </a:lnTo>
                <a:lnTo>
                  <a:pt x="924" y="410"/>
                </a:lnTo>
                <a:lnTo>
                  <a:pt x="925" y="405"/>
                </a:lnTo>
                <a:lnTo>
                  <a:pt x="925" y="403"/>
                </a:lnTo>
                <a:lnTo>
                  <a:pt x="924" y="399"/>
                </a:lnTo>
                <a:lnTo>
                  <a:pt x="918" y="398"/>
                </a:lnTo>
                <a:lnTo>
                  <a:pt x="913" y="394"/>
                </a:lnTo>
                <a:lnTo>
                  <a:pt x="913" y="394"/>
                </a:lnTo>
                <a:lnTo>
                  <a:pt x="910" y="392"/>
                </a:lnTo>
                <a:lnTo>
                  <a:pt x="909" y="390"/>
                </a:lnTo>
                <a:lnTo>
                  <a:pt x="910" y="387"/>
                </a:lnTo>
                <a:lnTo>
                  <a:pt x="910" y="386"/>
                </a:lnTo>
                <a:lnTo>
                  <a:pt x="909" y="385"/>
                </a:lnTo>
                <a:lnTo>
                  <a:pt x="908" y="386"/>
                </a:lnTo>
                <a:lnTo>
                  <a:pt x="907" y="385"/>
                </a:lnTo>
                <a:lnTo>
                  <a:pt x="907" y="385"/>
                </a:lnTo>
                <a:lnTo>
                  <a:pt x="910" y="379"/>
                </a:lnTo>
                <a:lnTo>
                  <a:pt x="917" y="378"/>
                </a:lnTo>
                <a:lnTo>
                  <a:pt x="920" y="379"/>
                </a:lnTo>
                <a:lnTo>
                  <a:pt x="920" y="383"/>
                </a:lnTo>
                <a:lnTo>
                  <a:pt x="920" y="384"/>
                </a:lnTo>
                <a:lnTo>
                  <a:pt x="921" y="384"/>
                </a:lnTo>
                <a:lnTo>
                  <a:pt x="923" y="384"/>
                </a:lnTo>
                <a:lnTo>
                  <a:pt x="923" y="383"/>
                </a:lnTo>
                <a:lnTo>
                  <a:pt x="924" y="373"/>
                </a:lnTo>
                <a:lnTo>
                  <a:pt x="921" y="364"/>
                </a:lnTo>
                <a:lnTo>
                  <a:pt x="921" y="364"/>
                </a:lnTo>
                <a:lnTo>
                  <a:pt x="921" y="359"/>
                </a:lnTo>
                <a:lnTo>
                  <a:pt x="920" y="356"/>
                </a:lnTo>
                <a:lnTo>
                  <a:pt x="921" y="350"/>
                </a:lnTo>
                <a:lnTo>
                  <a:pt x="924" y="345"/>
                </a:lnTo>
                <a:lnTo>
                  <a:pt x="927" y="345"/>
                </a:lnTo>
                <a:lnTo>
                  <a:pt x="928" y="348"/>
                </a:lnTo>
                <a:lnTo>
                  <a:pt x="930" y="351"/>
                </a:lnTo>
                <a:lnTo>
                  <a:pt x="934" y="354"/>
                </a:lnTo>
                <a:lnTo>
                  <a:pt x="936" y="354"/>
                </a:lnTo>
                <a:lnTo>
                  <a:pt x="936" y="351"/>
                </a:lnTo>
                <a:lnTo>
                  <a:pt x="936" y="349"/>
                </a:lnTo>
                <a:lnTo>
                  <a:pt x="936" y="347"/>
                </a:lnTo>
                <a:lnTo>
                  <a:pt x="939" y="348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49"/>
                </a:lnTo>
                <a:lnTo>
                  <a:pt x="944" y="354"/>
                </a:lnTo>
                <a:lnTo>
                  <a:pt x="945" y="357"/>
                </a:lnTo>
                <a:lnTo>
                  <a:pt x="946" y="358"/>
                </a:lnTo>
                <a:lnTo>
                  <a:pt x="949" y="357"/>
                </a:lnTo>
                <a:lnTo>
                  <a:pt x="949" y="351"/>
                </a:lnTo>
                <a:lnTo>
                  <a:pt x="944" y="349"/>
                </a:lnTo>
                <a:lnTo>
                  <a:pt x="945" y="348"/>
                </a:lnTo>
                <a:lnTo>
                  <a:pt x="945" y="347"/>
                </a:lnTo>
                <a:lnTo>
                  <a:pt x="944" y="335"/>
                </a:lnTo>
                <a:lnTo>
                  <a:pt x="949" y="323"/>
                </a:lnTo>
                <a:lnTo>
                  <a:pt x="949" y="320"/>
                </a:lnTo>
                <a:lnTo>
                  <a:pt x="945" y="317"/>
                </a:lnTo>
                <a:lnTo>
                  <a:pt x="951" y="312"/>
                </a:lnTo>
                <a:lnTo>
                  <a:pt x="959" y="309"/>
                </a:lnTo>
                <a:lnTo>
                  <a:pt x="960" y="303"/>
                </a:lnTo>
                <a:lnTo>
                  <a:pt x="958" y="299"/>
                </a:lnTo>
                <a:lnTo>
                  <a:pt x="952" y="292"/>
                </a:lnTo>
                <a:lnTo>
                  <a:pt x="952" y="282"/>
                </a:lnTo>
                <a:lnTo>
                  <a:pt x="951" y="279"/>
                </a:lnTo>
                <a:lnTo>
                  <a:pt x="949" y="278"/>
                </a:lnTo>
                <a:lnTo>
                  <a:pt x="946" y="280"/>
                </a:lnTo>
                <a:lnTo>
                  <a:pt x="946" y="282"/>
                </a:lnTo>
                <a:lnTo>
                  <a:pt x="948" y="287"/>
                </a:lnTo>
                <a:lnTo>
                  <a:pt x="944" y="291"/>
                </a:lnTo>
                <a:lnTo>
                  <a:pt x="937" y="292"/>
                </a:lnTo>
                <a:lnTo>
                  <a:pt x="931" y="294"/>
                </a:lnTo>
                <a:lnTo>
                  <a:pt x="928" y="296"/>
                </a:lnTo>
                <a:lnTo>
                  <a:pt x="924" y="295"/>
                </a:lnTo>
                <a:lnTo>
                  <a:pt x="922" y="292"/>
                </a:lnTo>
                <a:lnTo>
                  <a:pt x="923" y="288"/>
                </a:lnTo>
                <a:lnTo>
                  <a:pt x="924" y="286"/>
                </a:lnTo>
                <a:lnTo>
                  <a:pt x="922" y="285"/>
                </a:lnTo>
                <a:lnTo>
                  <a:pt x="921" y="289"/>
                </a:lnTo>
                <a:lnTo>
                  <a:pt x="920" y="294"/>
                </a:lnTo>
                <a:lnTo>
                  <a:pt x="915" y="296"/>
                </a:lnTo>
                <a:lnTo>
                  <a:pt x="910" y="293"/>
                </a:lnTo>
                <a:lnTo>
                  <a:pt x="910" y="292"/>
                </a:lnTo>
                <a:lnTo>
                  <a:pt x="909" y="292"/>
                </a:lnTo>
                <a:lnTo>
                  <a:pt x="909" y="292"/>
                </a:lnTo>
                <a:lnTo>
                  <a:pt x="908" y="293"/>
                </a:lnTo>
                <a:lnTo>
                  <a:pt x="908" y="294"/>
                </a:lnTo>
                <a:lnTo>
                  <a:pt x="907" y="296"/>
                </a:lnTo>
                <a:lnTo>
                  <a:pt x="905" y="296"/>
                </a:lnTo>
                <a:lnTo>
                  <a:pt x="905" y="298"/>
                </a:lnTo>
                <a:lnTo>
                  <a:pt x="903" y="299"/>
                </a:lnTo>
                <a:lnTo>
                  <a:pt x="902" y="300"/>
                </a:lnTo>
                <a:lnTo>
                  <a:pt x="898" y="298"/>
                </a:lnTo>
                <a:lnTo>
                  <a:pt x="898" y="293"/>
                </a:lnTo>
                <a:lnTo>
                  <a:pt x="900" y="292"/>
                </a:lnTo>
                <a:lnTo>
                  <a:pt x="901" y="291"/>
                </a:lnTo>
                <a:lnTo>
                  <a:pt x="905" y="288"/>
                </a:lnTo>
                <a:lnTo>
                  <a:pt x="902" y="285"/>
                </a:lnTo>
                <a:lnTo>
                  <a:pt x="893" y="277"/>
                </a:lnTo>
                <a:lnTo>
                  <a:pt x="883" y="267"/>
                </a:lnTo>
                <a:lnTo>
                  <a:pt x="876" y="260"/>
                </a:lnTo>
                <a:lnTo>
                  <a:pt x="874" y="253"/>
                </a:lnTo>
                <a:lnTo>
                  <a:pt x="874" y="245"/>
                </a:lnTo>
                <a:lnTo>
                  <a:pt x="869" y="238"/>
                </a:lnTo>
                <a:lnTo>
                  <a:pt x="867" y="236"/>
                </a:lnTo>
                <a:lnTo>
                  <a:pt x="865" y="236"/>
                </a:lnTo>
                <a:lnTo>
                  <a:pt x="860" y="235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29"/>
                </a:lnTo>
                <a:lnTo>
                  <a:pt x="861" y="229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61" y="230"/>
                </a:lnTo>
                <a:lnTo>
                  <a:pt x="855" y="226"/>
                </a:lnTo>
                <a:lnTo>
                  <a:pt x="858" y="219"/>
                </a:lnTo>
                <a:lnTo>
                  <a:pt x="860" y="217"/>
                </a:lnTo>
                <a:lnTo>
                  <a:pt x="858" y="215"/>
                </a:lnTo>
                <a:lnTo>
                  <a:pt x="853" y="212"/>
                </a:lnTo>
                <a:lnTo>
                  <a:pt x="854" y="208"/>
                </a:lnTo>
                <a:lnTo>
                  <a:pt x="851" y="205"/>
                </a:lnTo>
                <a:lnTo>
                  <a:pt x="847" y="201"/>
                </a:lnTo>
                <a:lnTo>
                  <a:pt x="848" y="198"/>
                </a:lnTo>
                <a:lnTo>
                  <a:pt x="849" y="196"/>
                </a:lnTo>
                <a:lnTo>
                  <a:pt x="854" y="193"/>
                </a:lnTo>
                <a:lnTo>
                  <a:pt x="853" y="187"/>
                </a:lnTo>
                <a:lnTo>
                  <a:pt x="854" y="183"/>
                </a:lnTo>
                <a:lnTo>
                  <a:pt x="853" y="179"/>
                </a:lnTo>
                <a:lnTo>
                  <a:pt x="847" y="181"/>
                </a:lnTo>
                <a:lnTo>
                  <a:pt x="846" y="187"/>
                </a:lnTo>
                <a:lnTo>
                  <a:pt x="845" y="190"/>
                </a:lnTo>
                <a:lnTo>
                  <a:pt x="842" y="189"/>
                </a:lnTo>
                <a:lnTo>
                  <a:pt x="840" y="188"/>
                </a:lnTo>
                <a:lnTo>
                  <a:pt x="841" y="186"/>
                </a:lnTo>
                <a:lnTo>
                  <a:pt x="845" y="179"/>
                </a:lnTo>
                <a:lnTo>
                  <a:pt x="839" y="174"/>
                </a:lnTo>
                <a:lnTo>
                  <a:pt x="838" y="173"/>
                </a:lnTo>
                <a:lnTo>
                  <a:pt x="838" y="170"/>
                </a:lnTo>
                <a:lnTo>
                  <a:pt x="844" y="169"/>
                </a:lnTo>
                <a:lnTo>
                  <a:pt x="842" y="163"/>
                </a:lnTo>
                <a:lnTo>
                  <a:pt x="841" y="158"/>
                </a:lnTo>
                <a:lnTo>
                  <a:pt x="847" y="154"/>
                </a:lnTo>
                <a:lnTo>
                  <a:pt x="839" y="147"/>
                </a:lnTo>
                <a:lnTo>
                  <a:pt x="838" y="144"/>
                </a:lnTo>
                <a:lnTo>
                  <a:pt x="841" y="133"/>
                </a:lnTo>
                <a:lnTo>
                  <a:pt x="853" y="130"/>
                </a:lnTo>
                <a:lnTo>
                  <a:pt x="856" y="130"/>
                </a:lnTo>
                <a:lnTo>
                  <a:pt x="858" y="128"/>
                </a:lnTo>
                <a:lnTo>
                  <a:pt x="860" y="123"/>
                </a:lnTo>
                <a:lnTo>
                  <a:pt x="866" y="119"/>
                </a:lnTo>
                <a:lnTo>
                  <a:pt x="858" y="118"/>
                </a:lnTo>
                <a:lnTo>
                  <a:pt x="859" y="111"/>
                </a:lnTo>
                <a:lnTo>
                  <a:pt x="860" y="106"/>
                </a:lnTo>
                <a:lnTo>
                  <a:pt x="855" y="104"/>
                </a:lnTo>
                <a:lnTo>
                  <a:pt x="855" y="105"/>
                </a:lnTo>
                <a:lnTo>
                  <a:pt x="855" y="105"/>
                </a:lnTo>
                <a:lnTo>
                  <a:pt x="854" y="107"/>
                </a:lnTo>
                <a:lnTo>
                  <a:pt x="852" y="107"/>
                </a:lnTo>
                <a:lnTo>
                  <a:pt x="851" y="105"/>
                </a:lnTo>
                <a:lnTo>
                  <a:pt x="851" y="104"/>
                </a:lnTo>
                <a:lnTo>
                  <a:pt x="851" y="103"/>
                </a:lnTo>
                <a:lnTo>
                  <a:pt x="849" y="102"/>
                </a:lnTo>
                <a:lnTo>
                  <a:pt x="851" y="103"/>
                </a:lnTo>
                <a:lnTo>
                  <a:pt x="851" y="104"/>
                </a:lnTo>
                <a:lnTo>
                  <a:pt x="852" y="103"/>
                </a:lnTo>
                <a:lnTo>
                  <a:pt x="853" y="102"/>
                </a:lnTo>
                <a:lnTo>
                  <a:pt x="854" y="102"/>
                </a:lnTo>
                <a:lnTo>
                  <a:pt x="855" y="103"/>
                </a:lnTo>
                <a:lnTo>
                  <a:pt x="854" y="104"/>
                </a:lnTo>
                <a:lnTo>
                  <a:pt x="853" y="104"/>
                </a:lnTo>
                <a:lnTo>
                  <a:pt x="854" y="104"/>
                </a:lnTo>
                <a:lnTo>
                  <a:pt x="855" y="104"/>
                </a:lnTo>
                <a:lnTo>
                  <a:pt x="855" y="104"/>
                </a:lnTo>
                <a:lnTo>
                  <a:pt x="855" y="103"/>
                </a:lnTo>
                <a:lnTo>
                  <a:pt x="858" y="102"/>
                </a:lnTo>
                <a:lnTo>
                  <a:pt x="860" y="100"/>
                </a:lnTo>
                <a:lnTo>
                  <a:pt x="863" y="97"/>
                </a:lnTo>
                <a:lnTo>
                  <a:pt x="865" y="92"/>
                </a:lnTo>
                <a:lnTo>
                  <a:pt x="861" y="89"/>
                </a:lnTo>
                <a:lnTo>
                  <a:pt x="856" y="90"/>
                </a:lnTo>
                <a:lnTo>
                  <a:pt x="853" y="91"/>
                </a:lnTo>
                <a:lnTo>
                  <a:pt x="849" y="93"/>
                </a:lnTo>
                <a:lnTo>
                  <a:pt x="849" y="96"/>
                </a:lnTo>
                <a:lnTo>
                  <a:pt x="849" y="98"/>
                </a:lnTo>
                <a:lnTo>
                  <a:pt x="849" y="96"/>
                </a:lnTo>
                <a:lnTo>
                  <a:pt x="849" y="93"/>
                </a:lnTo>
                <a:lnTo>
                  <a:pt x="838" y="83"/>
                </a:lnTo>
                <a:lnTo>
                  <a:pt x="824" y="82"/>
                </a:lnTo>
                <a:lnTo>
                  <a:pt x="814" y="86"/>
                </a:lnTo>
                <a:lnTo>
                  <a:pt x="805" y="90"/>
                </a:lnTo>
                <a:lnTo>
                  <a:pt x="797" y="93"/>
                </a:lnTo>
                <a:lnTo>
                  <a:pt x="796" y="103"/>
                </a:lnTo>
                <a:lnTo>
                  <a:pt x="799" y="116"/>
                </a:lnTo>
                <a:lnTo>
                  <a:pt x="801" y="130"/>
                </a:lnTo>
                <a:lnTo>
                  <a:pt x="803" y="133"/>
                </a:lnTo>
                <a:lnTo>
                  <a:pt x="806" y="133"/>
                </a:lnTo>
                <a:lnTo>
                  <a:pt x="808" y="134"/>
                </a:lnTo>
                <a:lnTo>
                  <a:pt x="808" y="137"/>
                </a:lnTo>
                <a:lnTo>
                  <a:pt x="807" y="144"/>
                </a:lnTo>
                <a:lnTo>
                  <a:pt x="806" y="151"/>
                </a:lnTo>
                <a:lnTo>
                  <a:pt x="800" y="169"/>
                </a:lnTo>
                <a:lnTo>
                  <a:pt x="793" y="187"/>
                </a:lnTo>
                <a:lnTo>
                  <a:pt x="785" y="209"/>
                </a:lnTo>
                <a:lnTo>
                  <a:pt x="775" y="229"/>
                </a:lnTo>
                <a:lnTo>
                  <a:pt x="759" y="252"/>
                </a:lnTo>
                <a:lnTo>
                  <a:pt x="742" y="274"/>
                </a:lnTo>
                <a:lnTo>
                  <a:pt x="735" y="282"/>
                </a:lnTo>
                <a:lnTo>
                  <a:pt x="728" y="291"/>
                </a:lnTo>
                <a:lnTo>
                  <a:pt x="713" y="305"/>
                </a:lnTo>
                <a:lnTo>
                  <a:pt x="697" y="319"/>
                </a:lnTo>
                <a:lnTo>
                  <a:pt x="704" y="322"/>
                </a:lnTo>
                <a:lnTo>
                  <a:pt x="707" y="324"/>
                </a:lnTo>
                <a:lnTo>
                  <a:pt x="709" y="330"/>
                </a:lnTo>
                <a:lnTo>
                  <a:pt x="714" y="329"/>
                </a:lnTo>
                <a:lnTo>
                  <a:pt x="718" y="328"/>
                </a:lnTo>
                <a:lnTo>
                  <a:pt x="724" y="328"/>
                </a:lnTo>
                <a:lnTo>
                  <a:pt x="721" y="330"/>
                </a:lnTo>
                <a:lnTo>
                  <a:pt x="718" y="331"/>
                </a:lnTo>
                <a:lnTo>
                  <a:pt x="715" y="333"/>
                </a:lnTo>
                <a:lnTo>
                  <a:pt x="714" y="335"/>
                </a:lnTo>
                <a:lnTo>
                  <a:pt x="715" y="337"/>
                </a:lnTo>
                <a:lnTo>
                  <a:pt x="718" y="338"/>
                </a:lnTo>
                <a:lnTo>
                  <a:pt x="725" y="341"/>
                </a:lnTo>
                <a:lnTo>
                  <a:pt x="730" y="345"/>
                </a:lnTo>
                <a:lnTo>
                  <a:pt x="721" y="349"/>
                </a:lnTo>
                <a:lnTo>
                  <a:pt x="711" y="352"/>
                </a:lnTo>
                <a:lnTo>
                  <a:pt x="709" y="352"/>
                </a:lnTo>
                <a:lnTo>
                  <a:pt x="707" y="350"/>
                </a:lnTo>
                <a:lnTo>
                  <a:pt x="707" y="348"/>
                </a:lnTo>
                <a:lnTo>
                  <a:pt x="709" y="347"/>
                </a:lnTo>
                <a:lnTo>
                  <a:pt x="711" y="344"/>
                </a:lnTo>
                <a:lnTo>
                  <a:pt x="710" y="342"/>
                </a:lnTo>
                <a:lnTo>
                  <a:pt x="710" y="336"/>
                </a:lnTo>
                <a:lnTo>
                  <a:pt x="706" y="334"/>
                </a:lnTo>
                <a:lnTo>
                  <a:pt x="703" y="333"/>
                </a:lnTo>
                <a:lnTo>
                  <a:pt x="701" y="330"/>
                </a:lnTo>
                <a:lnTo>
                  <a:pt x="696" y="327"/>
                </a:lnTo>
                <a:lnTo>
                  <a:pt x="693" y="331"/>
                </a:lnTo>
                <a:lnTo>
                  <a:pt x="690" y="336"/>
                </a:lnTo>
                <a:lnTo>
                  <a:pt x="686" y="337"/>
                </a:lnTo>
                <a:close/>
                <a:moveTo>
                  <a:pt x="686" y="337"/>
                </a:move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37"/>
                </a:lnTo>
                <a:lnTo>
                  <a:pt x="686" y="341"/>
                </a:lnTo>
                <a:lnTo>
                  <a:pt x="687" y="345"/>
                </a:lnTo>
                <a:lnTo>
                  <a:pt x="687" y="348"/>
                </a:lnTo>
                <a:lnTo>
                  <a:pt x="690" y="348"/>
                </a:lnTo>
                <a:lnTo>
                  <a:pt x="694" y="347"/>
                </a:lnTo>
                <a:lnTo>
                  <a:pt x="699" y="348"/>
                </a:lnTo>
                <a:lnTo>
                  <a:pt x="702" y="349"/>
                </a:lnTo>
                <a:lnTo>
                  <a:pt x="703" y="352"/>
                </a:lnTo>
                <a:lnTo>
                  <a:pt x="701" y="355"/>
                </a:lnTo>
                <a:lnTo>
                  <a:pt x="696" y="355"/>
                </a:lnTo>
                <a:lnTo>
                  <a:pt x="692" y="354"/>
                </a:lnTo>
                <a:lnTo>
                  <a:pt x="689" y="356"/>
                </a:lnTo>
                <a:lnTo>
                  <a:pt x="680" y="359"/>
                </a:lnTo>
                <a:lnTo>
                  <a:pt x="669" y="362"/>
                </a:lnTo>
                <a:lnTo>
                  <a:pt x="662" y="363"/>
                </a:lnTo>
                <a:lnTo>
                  <a:pt x="656" y="366"/>
                </a:lnTo>
                <a:lnTo>
                  <a:pt x="655" y="366"/>
                </a:lnTo>
                <a:lnTo>
                  <a:pt x="654" y="368"/>
                </a:lnTo>
                <a:lnTo>
                  <a:pt x="655" y="366"/>
                </a:lnTo>
                <a:lnTo>
                  <a:pt x="656" y="366"/>
                </a:lnTo>
                <a:lnTo>
                  <a:pt x="654" y="365"/>
                </a:lnTo>
                <a:lnTo>
                  <a:pt x="652" y="365"/>
                </a:lnTo>
                <a:lnTo>
                  <a:pt x="652" y="365"/>
                </a:lnTo>
                <a:lnTo>
                  <a:pt x="652" y="365"/>
                </a:lnTo>
                <a:lnTo>
                  <a:pt x="659" y="356"/>
                </a:lnTo>
                <a:lnTo>
                  <a:pt x="670" y="352"/>
                </a:lnTo>
                <a:lnTo>
                  <a:pt x="677" y="355"/>
                </a:lnTo>
                <a:lnTo>
                  <a:pt x="686" y="352"/>
                </a:lnTo>
                <a:lnTo>
                  <a:pt x="681" y="348"/>
                </a:lnTo>
                <a:lnTo>
                  <a:pt x="680" y="342"/>
                </a:lnTo>
                <a:lnTo>
                  <a:pt x="682" y="340"/>
                </a:lnTo>
                <a:lnTo>
                  <a:pt x="686" y="337"/>
                </a:lnTo>
                <a:close/>
                <a:moveTo>
                  <a:pt x="1448" y="1551"/>
                </a:moveTo>
                <a:lnTo>
                  <a:pt x="1447" y="1550"/>
                </a:lnTo>
                <a:lnTo>
                  <a:pt x="1445" y="1550"/>
                </a:lnTo>
                <a:lnTo>
                  <a:pt x="1443" y="1550"/>
                </a:lnTo>
                <a:lnTo>
                  <a:pt x="1442" y="1550"/>
                </a:lnTo>
                <a:lnTo>
                  <a:pt x="1443" y="1550"/>
                </a:lnTo>
                <a:lnTo>
                  <a:pt x="1445" y="1550"/>
                </a:lnTo>
                <a:lnTo>
                  <a:pt x="1447" y="1550"/>
                </a:lnTo>
                <a:lnTo>
                  <a:pt x="1448" y="1551"/>
                </a:lnTo>
                <a:close/>
                <a:moveTo>
                  <a:pt x="1450" y="1570"/>
                </a:moveTo>
                <a:lnTo>
                  <a:pt x="1449" y="1570"/>
                </a:lnTo>
                <a:lnTo>
                  <a:pt x="1448" y="1570"/>
                </a:lnTo>
                <a:lnTo>
                  <a:pt x="1446" y="1570"/>
                </a:lnTo>
                <a:lnTo>
                  <a:pt x="1443" y="1568"/>
                </a:lnTo>
                <a:lnTo>
                  <a:pt x="1446" y="1570"/>
                </a:lnTo>
                <a:lnTo>
                  <a:pt x="1448" y="1570"/>
                </a:lnTo>
                <a:lnTo>
                  <a:pt x="1449" y="1570"/>
                </a:lnTo>
                <a:lnTo>
                  <a:pt x="1450" y="1570"/>
                </a:lnTo>
                <a:close/>
                <a:moveTo>
                  <a:pt x="1449" y="1627"/>
                </a:moveTo>
                <a:lnTo>
                  <a:pt x="1449" y="1630"/>
                </a:lnTo>
                <a:lnTo>
                  <a:pt x="1449" y="1633"/>
                </a:lnTo>
                <a:lnTo>
                  <a:pt x="1449" y="1630"/>
                </a:lnTo>
                <a:lnTo>
                  <a:pt x="1449" y="1627"/>
                </a:lnTo>
                <a:close/>
                <a:moveTo>
                  <a:pt x="1446" y="1596"/>
                </a:moveTo>
                <a:lnTo>
                  <a:pt x="1446" y="1598"/>
                </a:lnTo>
                <a:lnTo>
                  <a:pt x="1446" y="1598"/>
                </a:lnTo>
                <a:lnTo>
                  <a:pt x="1446" y="1598"/>
                </a:lnTo>
                <a:lnTo>
                  <a:pt x="1446" y="1596"/>
                </a:lnTo>
                <a:close/>
                <a:moveTo>
                  <a:pt x="1440" y="1659"/>
                </a:moveTo>
                <a:lnTo>
                  <a:pt x="1440" y="1658"/>
                </a:lnTo>
                <a:lnTo>
                  <a:pt x="1440" y="1658"/>
                </a:lnTo>
                <a:lnTo>
                  <a:pt x="1440" y="1658"/>
                </a:lnTo>
                <a:lnTo>
                  <a:pt x="1440" y="1659"/>
                </a:lnTo>
                <a:lnTo>
                  <a:pt x="1440" y="1659"/>
                </a:lnTo>
                <a:close/>
                <a:moveTo>
                  <a:pt x="1443" y="1497"/>
                </a:moveTo>
                <a:lnTo>
                  <a:pt x="1442" y="1497"/>
                </a:lnTo>
                <a:lnTo>
                  <a:pt x="1440" y="1496"/>
                </a:lnTo>
                <a:lnTo>
                  <a:pt x="1442" y="1497"/>
                </a:lnTo>
                <a:lnTo>
                  <a:pt x="1443" y="1497"/>
                </a:lnTo>
                <a:close/>
                <a:moveTo>
                  <a:pt x="1452" y="1656"/>
                </a:moveTo>
                <a:lnTo>
                  <a:pt x="1452" y="1652"/>
                </a:lnTo>
                <a:lnTo>
                  <a:pt x="1452" y="1648"/>
                </a:lnTo>
                <a:lnTo>
                  <a:pt x="1454" y="1651"/>
                </a:lnTo>
                <a:lnTo>
                  <a:pt x="1452" y="1656"/>
                </a:lnTo>
                <a:close/>
                <a:moveTo>
                  <a:pt x="1434" y="1444"/>
                </a:moveTo>
                <a:lnTo>
                  <a:pt x="1435" y="1445"/>
                </a:lnTo>
                <a:lnTo>
                  <a:pt x="1436" y="1445"/>
                </a:lnTo>
                <a:lnTo>
                  <a:pt x="1435" y="1445"/>
                </a:lnTo>
                <a:lnTo>
                  <a:pt x="1434" y="1444"/>
                </a:lnTo>
                <a:close/>
                <a:moveTo>
                  <a:pt x="1432" y="1490"/>
                </a:moveTo>
                <a:lnTo>
                  <a:pt x="1433" y="1491"/>
                </a:lnTo>
                <a:lnTo>
                  <a:pt x="1434" y="1493"/>
                </a:lnTo>
                <a:lnTo>
                  <a:pt x="1433" y="1491"/>
                </a:lnTo>
                <a:lnTo>
                  <a:pt x="1432" y="1490"/>
                </a:lnTo>
                <a:close/>
                <a:moveTo>
                  <a:pt x="1429" y="1456"/>
                </a:moveTo>
                <a:lnTo>
                  <a:pt x="1429" y="1458"/>
                </a:lnTo>
                <a:lnTo>
                  <a:pt x="1431" y="1458"/>
                </a:lnTo>
                <a:lnTo>
                  <a:pt x="1429" y="1458"/>
                </a:lnTo>
                <a:lnTo>
                  <a:pt x="1429" y="1456"/>
                </a:lnTo>
                <a:close/>
                <a:moveTo>
                  <a:pt x="1411" y="1308"/>
                </a:moveTo>
                <a:lnTo>
                  <a:pt x="1409" y="1309"/>
                </a:lnTo>
                <a:lnTo>
                  <a:pt x="1408" y="1311"/>
                </a:lnTo>
                <a:lnTo>
                  <a:pt x="1406" y="130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4" y="1292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1" y="1291"/>
                </a:lnTo>
                <a:lnTo>
                  <a:pt x="1400" y="1285"/>
                </a:lnTo>
                <a:lnTo>
                  <a:pt x="1401" y="1280"/>
                </a:lnTo>
                <a:lnTo>
                  <a:pt x="1402" y="1279"/>
                </a:lnTo>
                <a:lnTo>
                  <a:pt x="1404" y="1279"/>
                </a:lnTo>
                <a:lnTo>
                  <a:pt x="1406" y="1284"/>
                </a:lnTo>
                <a:lnTo>
                  <a:pt x="1406" y="1290"/>
                </a:lnTo>
                <a:lnTo>
                  <a:pt x="1406" y="1292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5" y="1293"/>
                </a:lnTo>
                <a:lnTo>
                  <a:pt x="1407" y="1295"/>
                </a:lnTo>
                <a:lnTo>
                  <a:pt x="1409" y="1297"/>
                </a:lnTo>
                <a:lnTo>
                  <a:pt x="1411" y="1302"/>
                </a:lnTo>
                <a:lnTo>
                  <a:pt x="1411" y="1308"/>
                </a:lnTo>
                <a:lnTo>
                  <a:pt x="1417" y="1307"/>
                </a:lnTo>
                <a:lnTo>
                  <a:pt x="1421" y="1311"/>
                </a:lnTo>
                <a:lnTo>
                  <a:pt x="1417" y="1307"/>
                </a:lnTo>
                <a:lnTo>
                  <a:pt x="1411" y="1308"/>
                </a:lnTo>
                <a:close/>
                <a:moveTo>
                  <a:pt x="1417" y="1452"/>
                </a:moveTo>
                <a:lnTo>
                  <a:pt x="1417" y="1446"/>
                </a:lnTo>
                <a:lnTo>
                  <a:pt x="1417" y="1441"/>
                </a:lnTo>
                <a:lnTo>
                  <a:pt x="1417" y="1446"/>
                </a:lnTo>
                <a:lnTo>
                  <a:pt x="1417" y="1452"/>
                </a:lnTo>
                <a:close/>
                <a:moveTo>
                  <a:pt x="1415" y="1473"/>
                </a:moveTo>
                <a:lnTo>
                  <a:pt x="1415" y="1476"/>
                </a:lnTo>
                <a:lnTo>
                  <a:pt x="1417" y="1479"/>
                </a:lnTo>
                <a:lnTo>
                  <a:pt x="1415" y="1476"/>
                </a:lnTo>
                <a:lnTo>
                  <a:pt x="1415" y="1473"/>
                </a:lnTo>
                <a:close/>
                <a:moveTo>
                  <a:pt x="1411" y="1393"/>
                </a:moveTo>
                <a:lnTo>
                  <a:pt x="1412" y="1397"/>
                </a:lnTo>
                <a:lnTo>
                  <a:pt x="1413" y="1400"/>
                </a:lnTo>
                <a:lnTo>
                  <a:pt x="1412" y="1397"/>
                </a:lnTo>
                <a:lnTo>
                  <a:pt x="1411" y="1393"/>
                </a:lnTo>
                <a:close/>
                <a:moveTo>
                  <a:pt x="1405" y="1396"/>
                </a:moveTo>
                <a:lnTo>
                  <a:pt x="1399" y="1383"/>
                </a:lnTo>
                <a:lnTo>
                  <a:pt x="1394" y="1370"/>
                </a:lnTo>
                <a:lnTo>
                  <a:pt x="1394" y="1365"/>
                </a:lnTo>
                <a:lnTo>
                  <a:pt x="1398" y="1363"/>
                </a:lnTo>
                <a:lnTo>
                  <a:pt x="1398" y="1363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9" y="1364"/>
                </a:lnTo>
                <a:lnTo>
                  <a:pt x="1398" y="1364"/>
                </a:lnTo>
                <a:lnTo>
                  <a:pt x="1398" y="1364"/>
                </a:lnTo>
                <a:lnTo>
                  <a:pt x="1398" y="1365"/>
                </a:lnTo>
                <a:lnTo>
                  <a:pt x="1400" y="1367"/>
                </a:lnTo>
                <a:lnTo>
                  <a:pt x="1404" y="1381"/>
                </a:lnTo>
                <a:lnTo>
                  <a:pt x="1405" y="1396"/>
                </a:lnTo>
                <a:close/>
                <a:moveTo>
                  <a:pt x="1394" y="1607"/>
                </a:moveTo>
                <a:lnTo>
                  <a:pt x="1394" y="1608"/>
                </a:lnTo>
                <a:lnTo>
                  <a:pt x="1394" y="1609"/>
                </a:lnTo>
                <a:lnTo>
                  <a:pt x="1394" y="1608"/>
                </a:lnTo>
                <a:lnTo>
                  <a:pt x="1394" y="1607"/>
                </a:lnTo>
                <a:close/>
                <a:moveTo>
                  <a:pt x="1397" y="1342"/>
                </a:moveTo>
                <a:lnTo>
                  <a:pt x="1397" y="1341"/>
                </a:lnTo>
                <a:lnTo>
                  <a:pt x="1397" y="1339"/>
                </a:lnTo>
                <a:lnTo>
                  <a:pt x="1397" y="1341"/>
                </a:lnTo>
                <a:lnTo>
                  <a:pt x="1397" y="1342"/>
                </a:lnTo>
                <a:close/>
                <a:moveTo>
                  <a:pt x="1391" y="1320"/>
                </a:moveTo>
                <a:lnTo>
                  <a:pt x="1390" y="1323"/>
                </a:lnTo>
                <a:lnTo>
                  <a:pt x="1391" y="1327"/>
                </a:lnTo>
                <a:lnTo>
                  <a:pt x="1390" y="1323"/>
                </a:lnTo>
                <a:lnTo>
                  <a:pt x="1391" y="1320"/>
                </a:lnTo>
                <a:close/>
                <a:moveTo>
                  <a:pt x="1388" y="1552"/>
                </a:moveTo>
                <a:lnTo>
                  <a:pt x="1387" y="1533"/>
                </a:lnTo>
                <a:lnTo>
                  <a:pt x="1383" y="1515"/>
                </a:lnTo>
                <a:lnTo>
                  <a:pt x="1387" y="1533"/>
                </a:lnTo>
                <a:lnTo>
                  <a:pt x="1388" y="1552"/>
                </a:lnTo>
                <a:lnTo>
                  <a:pt x="1388" y="1552"/>
                </a:lnTo>
                <a:close/>
                <a:moveTo>
                  <a:pt x="1381" y="1570"/>
                </a:moveTo>
                <a:lnTo>
                  <a:pt x="1381" y="1570"/>
                </a:lnTo>
                <a:lnTo>
                  <a:pt x="1381" y="1568"/>
                </a:lnTo>
                <a:lnTo>
                  <a:pt x="1381" y="1570"/>
                </a:lnTo>
                <a:lnTo>
                  <a:pt x="1381" y="1570"/>
                </a:lnTo>
                <a:close/>
                <a:moveTo>
                  <a:pt x="1374" y="1543"/>
                </a:moveTo>
                <a:lnTo>
                  <a:pt x="1374" y="1540"/>
                </a:lnTo>
                <a:lnTo>
                  <a:pt x="1376" y="1538"/>
                </a:lnTo>
                <a:lnTo>
                  <a:pt x="1374" y="1540"/>
                </a:lnTo>
                <a:lnTo>
                  <a:pt x="1374" y="1543"/>
                </a:lnTo>
                <a:lnTo>
                  <a:pt x="1374" y="1543"/>
                </a:lnTo>
                <a:close/>
                <a:moveTo>
                  <a:pt x="1373" y="1532"/>
                </a:moveTo>
                <a:lnTo>
                  <a:pt x="1373" y="1533"/>
                </a:lnTo>
                <a:lnTo>
                  <a:pt x="1373" y="1535"/>
                </a:lnTo>
                <a:lnTo>
                  <a:pt x="1373" y="1533"/>
                </a:lnTo>
                <a:lnTo>
                  <a:pt x="1373" y="1532"/>
                </a:lnTo>
                <a:close/>
                <a:moveTo>
                  <a:pt x="1369" y="1433"/>
                </a:moveTo>
                <a:lnTo>
                  <a:pt x="1370" y="1434"/>
                </a:lnTo>
                <a:lnTo>
                  <a:pt x="1372" y="1435"/>
                </a:lnTo>
                <a:lnTo>
                  <a:pt x="1370" y="1434"/>
                </a:lnTo>
                <a:lnTo>
                  <a:pt x="1369" y="1433"/>
                </a:lnTo>
                <a:close/>
                <a:moveTo>
                  <a:pt x="1362" y="1497"/>
                </a:moveTo>
                <a:lnTo>
                  <a:pt x="1364" y="1501"/>
                </a:lnTo>
                <a:lnTo>
                  <a:pt x="1366" y="1504"/>
                </a:lnTo>
                <a:lnTo>
                  <a:pt x="1364" y="1501"/>
                </a:lnTo>
                <a:lnTo>
                  <a:pt x="1362" y="1497"/>
                </a:lnTo>
                <a:close/>
                <a:moveTo>
                  <a:pt x="1362" y="1515"/>
                </a:moveTo>
                <a:lnTo>
                  <a:pt x="1363" y="1516"/>
                </a:lnTo>
                <a:lnTo>
                  <a:pt x="1363" y="1516"/>
                </a:lnTo>
                <a:lnTo>
                  <a:pt x="1363" y="1516"/>
                </a:lnTo>
                <a:lnTo>
                  <a:pt x="1362" y="1515"/>
                </a:lnTo>
                <a:close/>
                <a:moveTo>
                  <a:pt x="1363" y="1389"/>
                </a:moveTo>
                <a:lnTo>
                  <a:pt x="1363" y="1389"/>
                </a:lnTo>
                <a:lnTo>
                  <a:pt x="1364" y="1390"/>
                </a:lnTo>
                <a:lnTo>
                  <a:pt x="1363" y="1389"/>
                </a:lnTo>
                <a:lnTo>
                  <a:pt x="1363" y="1389"/>
                </a:lnTo>
                <a:close/>
                <a:moveTo>
                  <a:pt x="1383" y="1316"/>
                </a:moveTo>
                <a:lnTo>
                  <a:pt x="1379" y="1301"/>
                </a:lnTo>
                <a:lnTo>
                  <a:pt x="1376" y="1286"/>
                </a:lnTo>
                <a:lnTo>
                  <a:pt x="1379" y="1301"/>
                </a:lnTo>
                <a:lnTo>
                  <a:pt x="1383" y="1316"/>
                </a:lnTo>
                <a:close/>
                <a:moveTo>
                  <a:pt x="1380" y="1239"/>
                </a:move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1" y="1239"/>
                </a:lnTo>
                <a:lnTo>
                  <a:pt x="1380" y="1239"/>
                </a:lnTo>
                <a:lnTo>
                  <a:pt x="1380" y="1239"/>
                </a:lnTo>
                <a:lnTo>
                  <a:pt x="1380" y="1239"/>
                </a:lnTo>
                <a:close/>
                <a:moveTo>
                  <a:pt x="1385" y="1242"/>
                </a:moveTo>
                <a:lnTo>
                  <a:pt x="1385" y="1246"/>
                </a:lnTo>
                <a:lnTo>
                  <a:pt x="1385" y="1250"/>
                </a:lnTo>
                <a:lnTo>
                  <a:pt x="1381" y="1248"/>
                </a:lnTo>
                <a:lnTo>
                  <a:pt x="1380" y="1243"/>
                </a:lnTo>
                <a:lnTo>
                  <a:pt x="1383" y="1241"/>
                </a:lnTo>
                <a:lnTo>
                  <a:pt x="1385" y="1242"/>
                </a:lnTo>
                <a:close/>
                <a:moveTo>
                  <a:pt x="1353" y="1414"/>
                </a:moveTo>
                <a:lnTo>
                  <a:pt x="1351" y="1414"/>
                </a:lnTo>
                <a:lnTo>
                  <a:pt x="1349" y="1412"/>
                </a:lnTo>
                <a:lnTo>
                  <a:pt x="1350" y="1410"/>
                </a:lnTo>
                <a:lnTo>
                  <a:pt x="1352" y="1409"/>
                </a:lnTo>
                <a:lnTo>
                  <a:pt x="1356" y="1409"/>
                </a:lnTo>
                <a:lnTo>
                  <a:pt x="1359" y="1407"/>
                </a:lnTo>
                <a:lnTo>
                  <a:pt x="1359" y="1399"/>
                </a:lnTo>
                <a:lnTo>
                  <a:pt x="1357" y="1392"/>
                </a:lnTo>
                <a:lnTo>
                  <a:pt x="1359" y="1399"/>
                </a:lnTo>
                <a:lnTo>
                  <a:pt x="1359" y="1407"/>
                </a:lnTo>
                <a:lnTo>
                  <a:pt x="1359" y="1410"/>
                </a:lnTo>
                <a:lnTo>
                  <a:pt x="1359" y="1411"/>
                </a:lnTo>
                <a:lnTo>
                  <a:pt x="1357" y="1413"/>
                </a:lnTo>
                <a:lnTo>
                  <a:pt x="1353" y="1414"/>
                </a:lnTo>
                <a:lnTo>
                  <a:pt x="1353" y="1414"/>
                </a:lnTo>
                <a:close/>
                <a:moveTo>
                  <a:pt x="1356" y="1497"/>
                </a:moveTo>
                <a:lnTo>
                  <a:pt x="1357" y="1500"/>
                </a:lnTo>
                <a:lnTo>
                  <a:pt x="1358" y="1501"/>
                </a:lnTo>
                <a:lnTo>
                  <a:pt x="1357" y="1500"/>
                </a:lnTo>
                <a:lnTo>
                  <a:pt x="1356" y="1497"/>
                </a:lnTo>
                <a:close/>
                <a:moveTo>
                  <a:pt x="1351" y="1475"/>
                </a:moveTo>
                <a:lnTo>
                  <a:pt x="1351" y="1476"/>
                </a:lnTo>
                <a:lnTo>
                  <a:pt x="1351" y="1476"/>
                </a:lnTo>
                <a:lnTo>
                  <a:pt x="1351" y="1476"/>
                </a:lnTo>
                <a:lnTo>
                  <a:pt x="1351" y="1475"/>
                </a:lnTo>
                <a:lnTo>
                  <a:pt x="1352" y="1474"/>
                </a:lnTo>
                <a:lnTo>
                  <a:pt x="1352" y="1474"/>
                </a:lnTo>
                <a:lnTo>
                  <a:pt x="1352" y="1474"/>
                </a:lnTo>
                <a:lnTo>
                  <a:pt x="1351" y="1475"/>
                </a:lnTo>
                <a:close/>
                <a:moveTo>
                  <a:pt x="1349" y="1424"/>
                </a:moveTo>
                <a:lnTo>
                  <a:pt x="1349" y="1426"/>
                </a:lnTo>
                <a:lnTo>
                  <a:pt x="1348" y="1428"/>
                </a:lnTo>
                <a:lnTo>
                  <a:pt x="1345" y="1437"/>
                </a:lnTo>
                <a:lnTo>
                  <a:pt x="1346" y="1445"/>
                </a:lnTo>
                <a:lnTo>
                  <a:pt x="1346" y="1448"/>
                </a:lnTo>
                <a:lnTo>
                  <a:pt x="1344" y="1451"/>
                </a:lnTo>
                <a:lnTo>
                  <a:pt x="1342" y="1437"/>
                </a:lnTo>
                <a:lnTo>
                  <a:pt x="1338" y="1424"/>
                </a:lnTo>
                <a:lnTo>
                  <a:pt x="1339" y="1421"/>
                </a:lnTo>
                <a:lnTo>
                  <a:pt x="1342" y="1420"/>
                </a:lnTo>
                <a:lnTo>
                  <a:pt x="1344" y="1417"/>
                </a:lnTo>
                <a:lnTo>
                  <a:pt x="1346" y="1416"/>
                </a:lnTo>
                <a:lnTo>
                  <a:pt x="1350" y="1419"/>
                </a:lnTo>
                <a:lnTo>
                  <a:pt x="1349" y="1424"/>
                </a:lnTo>
                <a:close/>
                <a:moveTo>
                  <a:pt x="1337" y="1421"/>
                </a:moveTo>
                <a:lnTo>
                  <a:pt x="1337" y="1421"/>
                </a:lnTo>
                <a:lnTo>
                  <a:pt x="1337" y="1420"/>
                </a:lnTo>
                <a:lnTo>
                  <a:pt x="1333" y="1409"/>
                </a:lnTo>
                <a:lnTo>
                  <a:pt x="1331" y="1397"/>
                </a:lnTo>
                <a:lnTo>
                  <a:pt x="1332" y="1395"/>
                </a:lnTo>
                <a:lnTo>
                  <a:pt x="1333" y="1393"/>
                </a:lnTo>
                <a:lnTo>
                  <a:pt x="1336" y="1402"/>
                </a:lnTo>
                <a:lnTo>
                  <a:pt x="1339" y="1410"/>
                </a:lnTo>
                <a:lnTo>
                  <a:pt x="1339" y="1410"/>
                </a:lnTo>
                <a:lnTo>
                  <a:pt x="1339" y="1414"/>
                </a:lnTo>
                <a:lnTo>
                  <a:pt x="1337" y="1420"/>
                </a:lnTo>
                <a:lnTo>
                  <a:pt x="1337" y="1421"/>
                </a:lnTo>
                <a:lnTo>
                  <a:pt x="1337" y="1421"/>
                </a:lnTo>
                <a:close/>
                <a:moveTo>
                  <a:pt x="1324" y="1357"/>
                </a:moveTo>
                <a:lnTo>
                  <a:pt x="1326" y="1360"/>
                </a:lnTo>
                <a:lnTo>
                  <a:pt x="1328" y="1362"/>
                </a:lnTo>
                <a:lnTo>
                  <a:pt x="1326" y="1360"/>
                </a:lnTo>
                <a:lnTo>
                  <a:pt x="1324" y="1357"/>
                </a:lnTo>
                <a:close/>
                <a:moveTo>
                  <a:pt x="1288" y="1294"/>
                </a:moveTo>
                <a:lnTo>
                  <a:pt x="1287" y="1294"/>
                </a:lnTo>
                <a:lnTo>
                  <a:pt x="1284" y="1295"/>
                </a:lnTo>
                <a:lnTo>
                  <a:pt x="1287" y="1294"/>
                </a:lnTo>
                <a:lnTo>
                  <a:pt x="1288" y="1294"/>
                </a:lnTo>
                <a:lnTo>
                  <a:pt x="1289" y="1290"/>
                </a:lnTo>
                <a:lnTo>
                  <a:pt x="1291" y="1286"/>
                </a:lnTo>
                <a:lnTo>
                  <a:pt x="1293" y="1288"/>
                </a:lnTo>
                <a:lnTo>
                  <a:pt x="1294" y="1288"/>
                </a:lnTo>
                <a:lnTo>
                  <a:pt x="1302" y="1294"/>
                </a:lnTo>
                <a:lnTo>
                  <a:pt x="1304" y="1305"/>
                </a:lnTo>
                <a:lnTo>
                  <a:pt x="1297" y="1299"/>
                </a:lnTo>
                <a:lnTo>
                  <a:pt x="1288" y="1294"/>
                </a:lnTo>
                <a:close/>
                <a:moveTo>
                  <a:pt x="1298" y="1334"/>
                </a:moveTo>
                <a:lnTo>
                  <a:pt x="1298" y="1333"/>
                </a:lnTo>
                <a:lnTo>
                  <a:pt x="1300" y="1332"/>
                </a:lnTo>
                <a:lnTo>
                  <a:pt x="1298" y="1333"/>
                </a:lnTo>
                <a:lnTo>
                  <a:pt x="1298" y="1334"/>
                </a:lnTo>
                <a:close/>
                <a:moveTo>
                  <a:pt x="1282" y="1239"/>
                </a:moveTo>
                <a:lnTo>
                  <a:pt x="1282" y="1238"/>
                </a:lnTo>
                <a:lnTo>
                  <a:pt x="1283" y="1237"/>
                </a:lnTo>
                <a:lnTo>
                  <a:pt x="1282" y="1238"/>
                </a:lnTo>
                <a:lnTo>
                  <a:pt x="1282" y="1239"/>
                </a:lnTo>
                <a:close/>
                <a:moveTo>
                  <a:pt x="1280" y="1295"/>
                </a:moveTo>
                <a:lnTo>
                  <a:pt x="1276" y="1297"/>
                </a:lnTo>
                <a:lnTo>
                  <a:pt x="1273" y="1295"/>
                </a:lnTo>
                <a:lnTo>
                  <a:pt x="1274" y="1291"/>
                </a:lnTo>
                <a:lnTo>
                  <a:pt x="1277" y="1286"/>
                </a:lnTo>
                <a:lnTo>
                  <a:pt x="1280" y="1291"/>
                </a:lnTo>
                <a:lnTo>
                  <a:pt x="1280" y="1295"/>
                </a:lnTo>
                <a:lnTo>
                  <a:pt x="1281" y="1295"/>
                </a:lnTo>
                <a:lnTo>
                  <a:pt x="1282" y="1295"/>
                </a:lnTo>
                <a:lnTo>
                  <a:pt x="1281" y="1295"/>
                </a:lnTo>
                <a:lnTo>
                  <a:pt x="1280" y="1295"/>
                </a:lnTo>
                <a:close/>
                <a:moveTo>
                  <a:pt x="1272" y="1264"/>
                </a:moveTo>
                <a:lnTo>
                  <a:pt x="1270" y="1260"/>
                </a:lnTo>
                <a:lnTo>
                  <a:pt x="1270" y="1257"/>
                </a:lnTo>
                <a:lnTo>
                  <a:pt x="1273" y="1255"/>
                </a:lnTo>
                <a:lnTo>
                  <a:pt x="1277" y="1256"/>
                </a:lnTo>
                <a:lnTo>
                  <a:pt x="1279" y="1259"/>
                </a:lnTo>
                <a:lnTo>
                  <a:pt x="1277" y="1264"/>
                </a:lnTo>
                <a:lnTo>
                  <a:pt x="1274" y="1265"/>
                </a:lnTo>
                <a:lnTo>
                  <a:pt x="1272" y="1264"/>
                </a:lnTo>
                <a:close/>
                <a:moveTo>
                  <a:pt x="1269" y="1248"/>
                </a:moveTo>
                <a:lnTo>
                  <a:pt x="1269" y="1243"/>
                </a:lnTo>
                <a:lnTo>
                  <a:pt x="1268" y="1239"/>
                </a:lnTo>
                <a:lnTo>
                  <a:pt x="1270" y="1238"/>
                </a:lnTo>
                <a:lnTo>
                  <a:pt x="1274" y="1238"/>
                </a:lnTo>
                <a:lnTo>
                  <a:pt x="1275" y="1238"/>
                </a:lnTo>
                <a:lnTo>
                  <a:pt x="1277" y="1238"/>
                </a:lnTo>
                <a:lnTo>
                  <a:pt x="1279" y="1238"/>
                </a:lnTo>
                <a:lnTo>
                  <a:pt x="1280" y="1237"/>
                </a:lnTo>
                <a:lnTo>
                  <a:pt x="1279" y="1238"/>
                </a:lnTo>
                <a:lnTo>
                  <a:pt x="1277" y="1238"/>
                </a:lnTo>
                <a:lnTo>
                  <a:pt x="1276" y="1242"/>
                </a:lnTo>
                <a:lnTo>
                  <a:pt x="1279" y="1245"/>
                </a:lnTo>
                <a:lnTo>
                  <a:pt x="1280" y="1244"/>
                </a:lnTo>
                <a:lnTo>
                  <a:pt x="1281" y="1243"/>
                </a:lnTo>
                <a:lnTo>
                  <a:pt x="1280" y="1244"/>
                </a:lnTo>
                <a:lnTo>
                  <a:pt x="1279" y="1245"/>
                </a:lnTo>
                <a:lnTo>
                  <a:pt x="1279" y="1245"/>
                </a:lnTo>
                <a:lnTo>
                  <a:pt x="1277" y="1245"/>
                </a:lnTo>
                <a:lnTo>
                  <a:pt x="1276" y="1246"/>
                </a:lnTo>
                <a:lnTo>
                  <a:pt x="1277" y="1245"/>
                </a:lnTo>
                <a:lnTo>
                  <a:pt x="1275" y="1245"/>
                </a:lnTo>
                <a:lnTo>
                  <a:pt x="1275" y="1248"/>
                </a:lnTo>
                <a:lnTo>
                  <a:pt x="1272" y="1249"/>
                </a:lnTo>
                <a:lnTo>
                  <a:pt x="1269" y="1248"/>
                </a:lnTo>
                <a:close/>
                <a:moveTo>
                  <a:pt x="1267" y="1198"/>
                </a:moveTo>
                <a:lnTo>
                  <a:pt x="1273" y="1198"/>
                </a:lnTo>
                <a:lnTo>
                  <a:pt x="1277" y="1204"/>
                </a:lnTo>
                <a:lnTo>
                  <a:pt x="1272" y="1207"/>
                </a:lnTo>
                <a:lnTo>
                  <a:pt x="1266" y="1207"/>
                </a:lnTo>
                <a:lnTo>
                  <a:pt x="1266" y="1202"/>
                </a:lnTo>
                <a:lnTo>
                  <a:pt x="1267" y="1198"/>
                </a:lnTo>
                <a:close/>
                <a:moveTo>
                  <a:pt x="1264" y="1188"/>
                </a:moveTo>
                <a:lnTo>
                  <a:pt x="1263" y="1183"/>
                </a:lnTo>
                <a:lnTo>
                  <a:pt x="1263" y="1180"/>
                </a:lnTo>
                <a:lnTo>
                  <a:pt x="1266" y="1179"/>
                </a:lnTo>
                <a:lnTo>
                  <a:pt x="1270" y="1180"/>
                </a:lnTo>
                <a:lnTo>
                  <a:pt x="1270" y="1183"/>
                </a:lnTo>
                <a:lnTo>
                  <a:pt x="1270" y="1187"/>
                </a:lnTo>
                <a:lnTo>
                  <a:pt x="1268" y="1189"/>
                </a:lnTo>
                <a:lnTo>
                  <a:pt x="1264" y="1188"/>
                </a:lnTo>
                <a:close/>
                <a:moveTo>
                  <a:pt x="1263" y="1140"/>
                </a:moveTo>
                <a:lnTo>
                  <a:pt x="1266" y="1140"/>
                </a:lnTo>
                <a:lnTo>
                  <a:pt x="1267" y="1140"/>
                </a:lnTo>
                <a:lnTo>
                  <a:pt x="1267" y="1145"/>
                </a:lnTo>
                <a:lnTo>
                  <a:pt x="1268" y="1148"/>
                </a:lnTo>
                <a:lnTo>
                  <a:pt x="1266" y="1151"/>
                </a:lnTo>
                <a:lnTo>
                  <a:pt x="1263" y="1151"/>
                </a:lnTo>
                <a:lnTo>
                  <a:pt x="1261" y="1147"/>
                </a:lnTo>
                <a:lnTo>
                  <a:pt x="1260" y="1142"/>
                </a:lnTo>
                <a:lnTo>
                  <a:pt x="1261" y="1141"/>
                </a:lnTo>
                <a:lnTo>
                  <a:pt x="1263" y="1140"/>
                </a:lnTo>
                <a:close/>
                <a:moveTo>
                  <a:pt x="1273" y="1134"/>
                </a:moveTo>
                <a:lnTo>
                  <a:pt x="1273" y="1134"/>
                </a:lnTo>
                <a:lnTo>
                  <a:pt x="1273" y="1135"/>
                </a:lnTo>
                <a:lnTo>
                  <a:pt x="1273" y="1134"/>
                </a:lnTo>
                <a:lnTo>
                  <a:pt x="1273" y="1134"/>
                </a:lnTo>
                <a:close/>
                <a:moveTo>
                  <a:pt x="1260" y="1125"/>
                </a:moveTo>
                <a:lnTo>
                  <a:pt x="1262" y="1121"/>
                </a:lnTo>
                <a:lnTo>
                  <a:pt x="1267" y="1121"/>
                </a:lnTo>
                <a:lnTo>
                  <a:pt x="1268" y="1125"/>
                </a:lnTo>
                <a:lnTo>
                  <a:pt x="1269" y="1128"/>
                </a:lnTo>
                <a:lnTo>
                  <a:pt x="1273" y="1131"/>
                </a:lnTo>
                <a:lnTo>
                  <a:pt x="1273" y="1134"/>
                </a:lnTo>
                <a:lnTo>
                  <a:pt x="1273" y="1131"/>
                </a:lnTo>
                <a:lnTo>
                  <a:pt x="1269" y="1128"/>
                </a:lnTo>
                <a:lnTo>
                  <a:pt x="1266" y="1131"/>
                </a:lnTo>
                <a:lnTo>
                  <a:pt x="1261" y="1131"/>
                </a:lnTo>
                <a:lnTo>
                  <a:pt x="1259" y="1128"/>
                </a:lnTo>
                <a:lnTo>
                  <a:pt x="1260" y="1125"/>
                </a:lnTo>
                <a:close/>
                <a:moveTo>
                  <a:pt x="1270" y="1120"/>
                </a:moveTo>
                <a:lnTo>
                  <a:pt x="1270" y="1120"/>
                </a:lnTo>
                <a:lnTo>
                  <a:pt x="1269" y="1120"/>
                </a:lnTo>
                <a:lnTo>
                  <a:pt x="1270" y="1120"/>
                </a:lnTo>
                <a:lnTo>
                  <a:pt x="1270" y="1120"/>
                </a:lnTo>
                <a:close/>
                <a:moveTo>
                  <a:pt x="1257" y="1104"/>
                </a:moveTo>
                <a:lnTo>
                  <a:pt x="1260" y="1103"/>
                </a:lnTo>
                <a:lnTo>
                  <a:pt x="1263" y="1103"/>
                </a:lnTo>
                <a:lnTo>
                  <a:pt x="1266" y="1103"/>
                </a:lnTo>
                <a:lnTo>
                  <a:pt x="1268" y="1103"/>
                </a:lnTo>
                <a:lnTo>
                  <a:pt x="1268" y="1106"/>
                </a:lnTo>
                <a:lnTo>
                  <a:pt x="1269" y="1111"/>
                </a:lnTo>
                <a:lnTo>
                  <a:pt x="1270" y="1111"/>
                </a:lnTo>
                <a:lnTo>
                  <a:pt x="1273" y="1111"/>
                </a:lnTo>
                <a:lnTo>
                  <a:pt x="1280" y="1113"/>
                </a:lnTo>
                <a:lnTo>
                  <a:pt x="1288" y="1113"/>
                </a:lnTo>
                <a:lnTo>
                  <a:pt x="1288" y="1116"/>
                </a:lnTo>
                <a:lnTo>
                  <a:pt x="1288" y="1119"/>
                </a:lnTo>
                <a:lnTo>
                  <a:pt x="1288" y="1123"/>
                </a:lnTo>
                <a:lnTo>
                  <a:pt x="1287" y="1126"/>
                </a:lnTo>
                <a:lnTo>
                  <a:pt x="1281" y="1121"/>
                </a:lnTo>
                <a:lnTo>
                  <a:pt x="1274" y="1120"/>
                </a:lnTo>
                <a:lnTo>
                  <a:pt x="1272" y="1120"/>
                </a:lnTo>
                <a:lnTo>
                  <a:pt x="1270" y="1120"/>
                </a:lnTo>
                <a:lnTo>
                  <a:pt x="1272" y="1120"/>
                </a:lnTo>
                <a:lnTo>
                  <a:pt x="1274" y="1120"/>
                </a:lnTo>
                <a:lnTo>
                  <a:pt x="1273" y="1116"/>
                </a:lnTo>
                <a:lnTo>
                  <a:pt x="1273" y="1111"/>
                </a:lnTo>
                <a:lnTo>
                  <a:pt x="1270" y="1111"/>
                </a:lnTo>
                <a:lnTo>
                  <a:pt x="1269" y="1111"/>
                </a:lnTo>
                <a:lnTo>
                  <a:pt x="1267" y="1111"/>
                </a:lnTo>
                <a:lnTo>
                  <a:pt x="1264" y="1111"/>
                </a:lnTo>
                <a:lnTo>
                  <a:pt x="1261" y="1112"/>
                </a:lnTo>
                <a:lnTo>
                  <a:pt x="1259" y="1112"/>
                </a:lnTo>
                <a:lnTo>
                  <a:pt x="1257" y="1109"/>
                </a:lnTo>
                <a:lnTo>
                  <a:pt x="1257" y="1104"/>
                </a:lnTo>
                <a:close/>
                <a:moveTo>
                  <a:pt x="1264" y="1085"/>
                </a:moveTo>
                <a:lnTo>
                  <a:pt x="1264" y="1084"/>
                </a:lnTo>
                <a:lnTo>
                  <a:pt x="1267" y="1083"/>
                </a:lnTo>
                <a:lnTo>
                  <a:pt x="1264" y="1084"/>
                </a:lnTo>
                <a:lnTo>
                  <a:pt x="1264" y="1085"/>
                </a:lnTo>
                <a:lnTo>
                  <a:pt x="1267" y="1088"/>
                </a:lnTo>
                <a:lnTo>
                  <a:pt x="1269" y="1088"/>
                </a:lnTo>
                <a:lnTo>
                  <a:pt x="1268" y="1089"/>
                </a:lnTo>
                <a:lnTo>
                  <a:pt x="1267" y="1092"/>
                </a:lnTo>
                <a:lnTo>
                  <a:pt x="1269" y="1092"/>
                </a:lnTo>
                <a:lnTo>
                  <a:pt x="1272" y="1092"/>
                </a:lnTo>
                <a:lnTo>
                  <a:pt x="1275" y="1095"/>
                </a:lnTo>
                <a:lnTo>
                  <a:pt x="1279" y="1097"/>
                </a:lnTo>
                <a:lnTo>
                  <a:pt x="1286" y="1099"/>
                </a:lnTo>
                <a:lnTo>
                  <a:pt x="1287" y="1107"/>
                </a:lnTo>
                <a:lnTo>
                  <a:pt x="1277" y="1104"/>
                </a:lnTo>
                <a:lnTo>
                  <a:pt x="1272" y="1098"/>
                </a:lnTo>
                <a:lnTo>
                  <a:pt x="1272" y="1095"/>
                </a:lnTo>
                <a:lnTo>
                  <a:pt x="1272" y="1092"/>
                </a:lnTo>
                <a:lnTo>
                  <a:pt x="1269" y="1092"/>
                </a:lnTo>
                <a:lnTo>
                  <a:pt x="1267" y="1092"/>
                </a:lnTo>
                <a:lnTo>
                  <a:pt x="1262" y="1092"/>
                </a:lnTo>
                <a:lnTo>
                  <a:pt x="1257" y="1095"/>
                </a:lnTo>
                <a:lnTo>
                  <a:pt x="1256" y="1090"/>
                </a:lnTo>
                <a:lnTo>
                  <a:pt x="1256" y="1085"/>
                </a:lnTo>
                <a:lnTo>
                  <a:pt x="1260" y="1085"/>
                </a:lnTo>
                <a:lnTo>
                  <a:pt x="1264" y="1085"/>
                </a:lnTo>
                <a:close/>
                <a:moveTo>
                  <a:pt x="1255" y="1067"/>
                </a:moveTo>
                <a:lnTo>
                  <a:pt x="1260" y="1067"/>
                </a:lnTo>
                <a:lnTo>
                  <a:pt x="1264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6" y="1067"/>
                </a:lnTo>
                <a:lnTo>
                  <a:pt x="1264" y="1067"/>
                </a:lnTo>
                <a:lnTo>
                  <a:pt x="1266" y="1069"/>
                </a:lnTo>
                <a:lnTo>
                  <a:pt x="1266" y="1070"/>
                </a:lnTo>
                <a:lnTo>
                  <a:pt x="1267" y="1070"/>
                </a:lnTo>
                <a:lnTo>
                  <a:pt x="1267" y="1071"/>
                </a:lnTo>
                <a:lnTo>
                  <a:pt x="1267" y="1070"/>
                </a:lnTo>
                <a:lnTo>
                  <a:pt x="1266" y="1070"/>
                </a:lnTo>
                <a:lnTo>
                  <a:pt x="1266" y="1071"/>
                </a:lnTo>
                <a:lnTo>
                  <a:pt x="1266" y="1072"/>
                </a:lnTo>
                <a:lnTo>
                  <a:pt x="1266" y="1072"/>
                </a:lnTo>
                <a:lnTo>
                  <a:pt x="1261" y="1071"/>
                </a:lnTo>
                <a:lnTo>
                  <a:pt x="1261" y="1075"/>
                </a:lnTo>
                <a:lnTo>
                  <a:pt x="1255" y="1072"/>
                </a:lnTo>
                <a:lnTo>
                  <a:pt x="1255" y="1067"/>
                </a:lnTo>
                <a:close/>
                <a:moveTo>
                  <a:pt x="1281" y="1088"/>
                </a:moveTo>
                <a:lnTo>
                  <a:pt x="1275" y="1085"/>
                </a:lnTo>
                <a:lnTo>
                  <a:pt x="1270" y="1086"/>
                </a:lnTo>
                <a:lnTo>
                  <a:pt x="1270" y="1084"/>
                </a:lnTo>
                <a:lnTo>
                  <a:pt x="1269" y="1082"/>
                </a:lnTo>
                <a:lnTo>
                  <a:pt x="1269" y="1078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69" y="1075"/>
                </a:lnTo>
                <a:lnTo>
                  <a:pt x="1272" y="1075"/>
                </a:lnTo>
                <a:lnTo>
                  <a:pt x="1273" y="1075"/>
                </a:lnTo>
                <a:lnTo>
                  <a:pt x="1277" y="1077"/>
                </a:lnTo>
                <a:lnTo>
                  <a:pt x="1283" y="1077"/>
                </a:lnTo>
                <a:lnTo>
                  <a:pt x="1284" y="1079"/>
                </a:lnTo>
                <a:lnTo>
                  <a:pt x="1286" y="1083"/>
                </a:lnTo>
                <a:lnTo>
                  <a:pt x="1286" y="1084"/>
                </a:lnTo>
                <a:lnTo>
                  <a:pt x="1284" y="1085"/>
                </a:lnTo>
                <a:lnTo>
                  <a:pt x="1284" y="1089"/>
                </a:lnTo>
                <a:lnTo>
                  <a:pt x="1281" y="1088"/>
                </a:lnTo>
                <a:close/>
                <a:moveTo>
                  <a:pt x="1291" y="1085"/>
                </a:moveTo>
                <a:lnTo>
                  <a:pt x="1293" y="1088"/>
                </a:lnTo>
                <a:lnTo>
                  <a:pt x="1293" y="1089"/>
                </a:lnTo>
                <a:lnTo>
                  <a:pt x="1297" y="1098"/>
                </a:lnTo>
                <a:lnTo>
                  <a:pt x="1302" y="1107"/>
                </a:lnTo>
                <a:lnTo>
                  <a:pt x="1297" y="1098"/>
                </a:lnTo>
                <a:lnTo>
                  <a:pt x="1293" y="1089"/>
                </a:lnTo>
                <a:lnTo>
                  <a:pt x="1293" y="1088"/>
                </a:lnTo>
                <a:lnTo>
                  <a:pt x="1291" y="1085"/>
                </a:lnTo>
                <a:close/>
                <a:moveTo>
                  <a:pt x="1314" y="1193"/>
                </a:moveTo>
                <a:lnTo>
                  <a:pt x="1309" y="1182"/>
                </a:lnTo>
                <a:lnTo>
                  <a:pt x="1304" y="1172"/>
                </a:lnTo>
                <a:lnTo>
                  <a:pt x="1304" y="1172"/>
                </a:lnTo>
                <a:lnTo>
                  <a:pt x="1309" y="1182"/>
                </a:lnTo>
                <a:lnTo>
                  <a:pt x="1314" y="1193"/>
                </a:lnTo>
                <a:close/>
                <a:moveTo>
                  <a:pt x="1318" y="1217"/>
                </a:moveTo>
                <a:lnTo>
                  <a:pt x="1318" y="1220"/>
                </a:lnTo>
                <a:lnTo>
                  <a:pt x="1318" y="1222"/>
                </a:lnTo>
                <a:lnTo>
                  <a:pt x="1318" y="1222"/>
                </a:lnTo>
                <a:lnTo>
                  <a:pt x="1318" y="1220"/>
                </a:lnTo>
                <a:lnTo>
                  <a:pt x="1318" y="1217"/>
                </a:lnTo>
                <a:close/>
                <a:moveTo>
                  <a:pt x="1249" y="1026"/>
                </a:moveTo>
                <a:lnTo>
                  <a:pt x="1250" y="1022"/>
                </a:lnTo>
                <a:lnTo>
                  <a:pt x="1249" y="1019"/>
                </a:lnTo>
                <a:lnTo>
                  <a:pt x="1252" y="1016"/>
                </a:lnTo>
                <a:lnTo>
                  <a:pt x="1255" y="1016"/>
                </a:lnTo>
                <a:lnTo>
                  <a:pt x="1256" y="1020"/>
                </a:lnTo>
                <a:lnTo>
                  <a:pt x="1257" y="1025"/>
                </a:lnTo>
                <a:lnTo>
                  <a:pt x="1261" y="1025"/>
                </a:lnTo>
                <a:lnTo>
                  <a:pt x="1264" y="1025"/>
                </a:lnTo>
                <a:lnTo>
                  <a:pt x="1267" y="1025"/>
                </a:lnTo>
                <a:lnTo>
                  <a:pt x="1269" y="1026"/>
                </a:lnTo>
                <a:lnTo>
                  <a:pt x="1273" y="1028"/>
                </a:lnTo>
                <a:lnTo>
                  <a:pt x="1276" y="1026"/>
                </a:lnTo>
                <a:lnTo>
                  <a:pt x="1277" y="1021"/>
                </a:lnTo>
                <a:lnTo>
                  <a:pt x="1273" y="1018"/>
                </a:lnTo>
                <a:lnTo>
                  <a:pt x="1267" y="1014"/>
                </a:lnTo>
                <a:lnTo>
                  <a:pt x="1263" y="1008"/>
                </a:lnTo>
                <a:lnTo>
                  <a:pt x="1262" y="1007"/>
                </a:lnTo>
                <a:lnTo>
                  <a:pt x="1262" y="1006"/>
                </a:lnTo>
                <a:lnTo>
                  <a:pt x="1262" y="1006"/>
                </a:lnTo>
                <a:lnTo>
                  <a:pt x="1262" y="1005"/>
                </a:lnTo>
                <a:lnTo>
                  <a:pt x="1259" y="1006"/>
                </a:lnTo>
                <a:lnTo>
                  <a:pt x="1255" y="1007"/>
                </a:lnTo>
                <a:lnTo>
                  <a:pt x="1253" y="1009"/>
                </a:lnTo>
                <a:lnTo>
                  <a:pt x="1250" y="1008"/>
                </a:lnTo>
                <a:lnTo>
                  <a:pt x="1248" y="1005"/>
                </a:lnTo>
                <a:lnTo>
                  <a:pt x="1249" y="1001"/>
                </a:lnTo>
                <a:lnTo>
                  <a:pt x="1252" y="999"/>
                </a:lnTo>
                <a:lnTo>
                  <a:pt x="1254" y="1000"/>
                </a:lnTo>
                <a:lnTo>
                  <a:pt x="1257" y="1000"/>
                </a:lnTo>
                <a:lnTo>
                  <a:pt x="1260" y="999"/>
                </a:lnTo>
                <a:lnTo>
                  <a:pt x="1259" y="1002"/>
                </a:lnTo>
                <a:lnTo>
                  <a:pt x="1262" y="1005"/>
                </a:lnTo>
                <a:lnTo>
                  <a:pt x="1262" y="1006"/>
                </a:lnTo>
                <a:lnTo>
                  <a:pt x="1262" y="1006"/>
                </a:lnTo>
                <a:lnTo>
                  <a:pt x="1268" y="1008"/>
                </a:lnTo>
                <a:lnTo>
                  <a:pt x="1275" y="1011"/>
                </a:lnTo>
                <a:lnTo>
                  <a:pt x="1280" y="1012"/>
                </a:lnTo>
                <a:lnTo>
                  <a:pt x="1281" y="1016"/>
                </a:lnTo>
                <a:lnTo>
                  <a:pt x="1283" y="1028"/>
                </a:lnTo>
                <a:lnTo>
                  <a:pt x="1293" y="1036"/>
                </a:lnTo>
                <a:lnTo>
                  <a:pt x="1295" y="1043"/>
                </a:lnTo>
                <a:lnTo>
                  <a:pt x="1298" y="1050"/>
                </a:lnTo>
                <a:lnTo>
                  <a:pt x="1301" y="1055"/>
                </a:lnTo>
                <a:lnTo>
                  <a:pt x="1303" y="1060"/>
                </a:lnTo>
                <a:lnTo>
                  <a:pt x="1305" y="1062"/>
                </a:lnTo>
                <a:lnTo>
                  <a:pt x="1308" y="1062"/>
                </a:lnTo>
                <a:lnTo>
                  <a:pt x="1308" y="1058"/>
                </a:lnTo>
                <a:lnTo>
                  <a:pt x="1308" y="1055"/>
                </a:lnTo>
                <a:lnTo>
                  <a:pt x="1308" y="1058"/>
                </a:lnTo>
                <a:lnTo>
                  <a:pt x="1308" y="1062"/>
                </a:lnTo>
                <a:lnTo>
                  <a:pt x="1321" y="1098"/>
                </a:lnTo>
                <a:lnTo>
                  <a:pt x="1331" y="1134"/>
                </a:lnTo>
                <a:lnTo>
                  <a:pt x="1330" y="1135"/>
                </a:lnTo>
                <a:lnTo>
                  <a:pt x="1329" y="1137"/>
                </a:lnTo>
                <a:lnTo>
                  <a:pt x="1331" y="1148"/>
                </a:lnTo>
                <a:lnTo>
                  <a:pt x="1335" y="1160"/>
                </a:lnTo>
                <a:lnTo>
                  <a:pt x="1336" y="1165"/>
                </a:lnTo>
                <a:lnTo>
                  <a:pt x="1335" y="1168"/>
                </a:lnTo>
                <a:lnTo>
                  <a:pt x="1329" y="1152"/>
                </a:lnTo>
                <a:lnTo>
                  <a:pt x="1323" y="1135"/>
                </a:lnTo>
                <a:lnTo>
                  <a:pt x="1315" y="1110"/>
                </a:lnTo>
                <a:lnTo>
                  <a:pt x="1303" y="1084"/>
                </a:lnTo>
                <a:lnTo>
                  <a:pt x="1301" y="1079"/>
                </a:lnTo>
                <a:lnTo>
                  <a:pt x="1298" y="1075"/>
                </a:lnTo>
                <a:lnTo>
                  <a:pt x="1297" y="1075"/>
                </a:lnTo>
                <a:lnTo>
                  <a:pt x="1296" y="1075"/>
                </a:lnTo>
                <a:lnTo>
                  <a:pt x="1297" y="1075"/>
                </a:lnTo>
                <a:lnTo>
                  <a:pt x="1298" y="1075"/>
                </a:lnTo>
                <a:lnTo>
                  <a:pt x="1293" y="1062"/>
                </a:lnTo>
                <a:lnTo>
                  <a:pt x="1282" y="1051"/>
                </a:lnTo>
                <a:lnTo>
                  <a:pt x="1280" y="1051"/>
                </a:lnTo>
                <a:lnTo>
                  <a:pt x="1276" y="1050"/>
                </a:lnTo>
                <a:lnTo>
                  <a:pt x="1272" y="1048"/>
                </a:lnTo>
                <a:lnTo>
                  <a:pt x="1268" y="1044"/>
                </a:lnTo>
                <a:lnTo>
                  <a:pt x="1269" y="1041"/>
                </a:lnTo>
                <a:lnTo>
                  <a:pt x="1273" y="1043"/>
                </a:lnTo>
                <a:lnTo>
                  <a:pt x="1276" y="1046"/>
                </a:lnTo>
                <a:lnTo>
                  <a:pt x="1280" y="1044"/>
                </a:lnTo>
                <a:lnTo>
                  <a:pt x="1280" y="1041"/>
                </a:lnTo>
                <a:lnTo>
                  <a:pt x="1275" y="1039"/>
                </a:lnTo>
                <a:lnTo>
                  <a:pt x="1267" y="1034"/>
                </a:lnTo>
                <a:lnTo>
                  <a:pt x="1264" y="1025"/>
                </a:lnTo>
                <a:lnTo>
                  <a:pt x="1261" y="1025"/>
                </a:lnTo>
                <a:lnTo>
                  <a:pt x="1257" y="1025"/>
                </a:lnTo>
                <a:lnTo>
                  <a:pt x="1254" y="1026"/>
                </a:lnTo>
                <a:lnTo>
                  <a:pt x="1249" y="1026"/>
                </a:lnTo>
                <a:close/>
                <a:moveTo>
                  <a:pt x="1248" y="1047"/>
                </a:moveTo>
                <a:lnTo>
                  <a:pt x="1248" y="1048"/>
                </a:lnTo>
                <a:lnTo>
                  <a:pt x="1249" y="1049"/>
                </a:lnTo>
                <a:lnTo>
                  <a:pt x="1248" y="1048"/>
                </a:lnTo>
                <a:lnTo>
                  <a:pt x="1248" y="1047"/>
                </a:lnTo>
                <a:close/>
                <a:moveTo>
                  <a:pt x="1246" y="967"/>
                </a:moveTo>
                <a:lnTo>
                  <a:pt x="1248" y="965"/>
                </a:lnTo>
                <a:lnTo>
                  <a:pt x="1252" y="965"/>
                </a:lnTo>
                <a:lnTo>
                  <a:pt x="1252" y="970"/>
                </a:lnTo>
                <a:lnTo>
                  <a:pt x="1252" y="973"/>
                </a:lnTo>
                <a:lnTo>
                  <a:pt x="1247" y="973"/>
                </a:lnTo>
                <a:lnTo>
                  <a:pt x="1246" y="967"/>
                </a:lnTo>
                <a:close/>
                <a:moveTo>
                  <a:pt x="1245" y="949"/>
                </a:moveTo>
                <a:lnTo>
                  <a:pt x="1248" y="948"/>
                </a:lnTo>
                <a:lnTo>
                  <a:pt x="1252" y="949"/>
                </a:lnTo>
                <a:lnTo>
                  <a:pt x="1252" y="952"/>
                </a:lnTo>
                <a:lnTo>
                  <a:pt x="1252" y="955"/>
                </a:lnTo>
                <a:lnTo>
                  <a:pt x="1255" y="955"/>
                </a:lnTo>
                <a:lnTo>
                  <a:pt x="1259" y="955"/>
                </a:lnTo>
                <a:lnTo>
                  <a:pt x="1260" y="955"/>
                </a:lnTo>
                <a:lnTo>
                  <a:pt x="1260" y="956"/>
                </a:lnTo>
                <a:lnTo>
                  <a:pt x="1264" y="958"/>
                </a:lnTo>
                <a:lnTo>
                  <a:pt x="1269" y="958"/>
                </a:lnTo>
                <a:lnTo>
                  <a:pt x="1270" y="956"/>
                </a:lnTo>
                <a:lnTo>
                  <a:pt x="1270" y="955"/>
                </a:lnTo>
                <a:lnTo>
                  <a:pt x="1267" y="950"/>
                </a:lnTo>
                <a:lnTo>
                  <a:pt x="1262" y="948"/>
                </a:lnTo>
                <a:lnTo>
                  <a:pt x="1260" y="948"/>
                </a:lnTo>
                <a:lnTo>
                  <a:pt x="1257" y="948"/>
                </a:lnTo>
                <a:lnTo>
                  <a:pt x="1257" y="943"/>
                </a:lnTo>
                <a:lnTo>
                  <a:pt x="1257" y="938"/>
                </a:lnTo>
                <a:lnTo>
                  <a:pt x="1254" y="937"/>
                </a:lnTo>
                <a:lnTo>
                  <a:pt x="1250" y="937"/>
                </a:lnTo>
                <a:lnTo>
                  <a:pt x="1247" y="939"/>
                </a:lnTo>
                <a:lnTo>
                  <a:pt x="1245" y="938"/>
                </a:lnTo>
                <a:lnTo>
                  <a:pt x="1242" y="935"/>
                </a:lnTo>
                <a:lnTo>
                  <a:pt x="1242" y="932"/>
                </a:lnTo>
                <a:lnTo>
                  <a:pt x="1246" y="931"/>
                </a:lnTo>
                <a:lnTo>
                  <a:pt x="1250" y="932"/>
                </a:lnTo>
                <a:lnTo>
                  <a:pt x="1250" y="935"/>
                </a:lnTo>
                <a:lnTo>
                  <a:pt x="1250" y="937"/>
                </a:lnTo>
                <a:lnTo>
                  <a:pt x="1254" y="937"/>
                </a:lnTo>
                <a:lnTo>
                  <a:pt x="1257" y="938"/>
                </a:lnTo>
                <a:lnTo>
                  <a:pt x="1263" y="939"/>
                </a:lnTo>
                <a:lnTo>
                  <a:pt x="1269" y="941"/>
                </a:lnTo>
                <a:lnTo>
                  <a:pt x="1272" y="941"/>
                </a:lnTo>
                <a:lnTo>
                  <a:pt x="1272" y="942"/>
                </a:lnTo>
                <a:lnTo>
                  <a:pt x="1274" y="952"/>
                </a:lnTo>
                <a:lnTo>
                  <a:pt x="1275" y="963"/>
                </a:lnTo>
                <a:lnTo>
                  <a:pt x="1274" y="967"/>
                </a:lnTo>
                <a:lnTo>
                  <a:pt x="1268" y="967"/>
                </a:lnTo>
                <a:lnTo>
                  <a:pt x="1262" y="965"/>
                </a:lnTo>
                <a:lnTo>
                  <a:pt x="1259" y="960"/>
                </a:lnTo>
                <a:lnTo>
                  <a:pt x="1259" y="958"/>
                </a:lnTo>
                <a:lnTo>
                  <a:pt x="1259" y="955"/>
                </a:lnTo>
                <a:lnTo>
                  <a:pt x="1255" y="955"/>
                </a:lnTo>
                <a:lnTo>
                  <a:pt x="1252" y="955"/>
                </a:lnTo>
                <a:lnTo>
                  <a:pt x="1249" y="957"/>
                </a:lnTo>
                <a:lnTo>
                  <a:pt x="1246" y="957"/>
                </a:lnTo>
                <a:lnTo>
                  <a:pt x="1245" y="953"/>
                </a:lnTo>
                <a:lnTo>
                  <a:pt x="1245" y="949"/>
                </a:lnTo>
                <a:close/>
                <a:moveTo>
                  <a:pt x="1249" y="922"/>
                </a:moveTo>
                <a:lnTo>
                  <a:pt x="1253" y="922"/>
                </a:lnTo>
                <a:lnTo>
                  <a:pt x="1256" y="923"/>
                </a:lnTo>
                <a:lnTo>
                  <a:pt x="1257" y="922"/>
                </a:lnTo>
                <a:lnTo>
                  <a:pt x="1260" y="923"/>
                </a:lnTo>
                <a:lnTo>
                  <a:pt x="1263" y="924"/>
                </a:lnTo>
                <a:lnTo>
                  <a:pt x="1267" y="922"/>
                </a:lnTo>
                <a:lnTo>
                  <a:pt x="1267" y="917"/>
                </a:lnTo>
                <a:lnTo>
                  <a:pt x="1262" y="916"/>
                </a:lnTo>
                <a:lnTo>
                  <a:pt x="1256" y="913"/>
                </a:lnTo>
                <a:lnTo>
                  <a:pt x="1255" y="907"/>
                </a:lnTo>
                <a:lnTo>
                  <a:pt x="1255" y="906"/>
                </a:lnTo>
                <a:lnTo>
                  <a:pt x="1255" y="904"/>
                </a:lnTo>
                <a:lnTo>
                  <a:pt x="1250" y="904"/>
                </a:lnTo>
                <a:lnTo>
                  <a:pt x="1247" y="906"/>
                </a:lnTo>
                <a:lnTo>
                  <a:pt x="1242" y="907"/>
                </a:lnTo>
                <a:lnTo>
                  <a:pt x="1241" y="902"/>
                </a:lnTo>
                <a:lnTo>
                  <a:pt x="1241" y="900"/>
                </a:lnTo>
                <a:lnTo>
                  <a:pt x="1241" y="899"/>
                </a:lnTo>
                <a:lnTo>
                  <a:pt x="1240" y="899"/>
                </a:lnTo>
                <a:lnTo>
                  <a:pt x="1239" y="899"/>
                </a:lnTo>
                <a:lnTo>
                  <a:pt x="1240" y="899"/>
                </a:lnTo>
                <a:lnTo>
                  <a:pt x="1241" y="899"/>
                </a:lnTo>
                <a:lnTo>
                  <a:pt x="1243" y="897"/>
                </a:lnTo>
                <a:lnTo>
                  <a:pt x="1246" y="899"/>
                </a:lnTo>
                <a:lnTo>
                  <a:pt x="1247" y="902"/>
                </a:lnTo>
                <a:lnTo>
                  <a:pt x="1247" y="906"/>
                </a:lnTo>
                <a:lnTo>
                  <a:pt x="1250" y="904"/>
                </a:lnTo>
                <a:lnTo>
                  <a:pt x="1255" y="904"/>
                </a:lnTo>
                <a:lnTo>
                  <a:pt x="1255" y="904"/>
                </a:lnTo>
                <a:lnTo>
                  <a:pt x="1256" y="904"/>
                </a:lnTo>
                <a:lnTo>
                  <a:pt x="1262" y="908"/>
                </a:lnTo>
                <a:lnTo>
                  <a:pt x="1267" y="906"/>
                </a:lnTo>
                <a:lnTo>
                  <a:pt x="1264" y="901"/>
                </a:lnTo>
                <a:lnTo>
                  <a:pt x="1259" y="899"/>
                </a:lnTo>
                <a:lnTo>
                  <a:pt x="1259" y="897"/>
                </a:lnTo>
                <a:lnTo>
                  <a:pt x="1259" y="897"/>
                </a:lnTo>
                <a:lnTo>
                  <a:pt x="1254" y="895"/>
                </a:lnTo>
                <a:lnTo>
                  <a:pt x="1255" y="889"/>
                </a:lnTo>
                <a:lnTo>
                  <a:pt x="1259" y="892"/>
                </a:lnTo>
                <a:lnTo>
                  <a:pt x="1262" y="892"/>
                </a:lnTo>
                <a:lnTo>
                  <a:pt x="1264" y="890"/>
                </a:lnTo>
                <a:lnTo>
                  <a:pt x="1264" y="888"/>
                </a:lnTo>
                <a:lnTo>
                  <a:pt x="1262" y="885"/>
                </a:lnTo>
                <a:lnTo>
                  <a:pt x="1259" y="882"/>
                </a:lnTo>
                <a:lnTo>
                  <a:pt x="1256" y="881"/>
                </a:lnTo>
                <a:lnTo>
                  <a:pt x="1253" y="881"/>
                </a:lnTo>
                <a:lnTo>
                  <a:pt x="1253" y="880"/>
                </a:lnTo>
                <a:lnTo>
                  <a:pt x="1252" y="879"/>
                </a:lnTo>
                <a:lnTo>
                  <a:pt x="1250" y="875"/>
                </a:lnTo>
                <a:lnTo>
                  <a:pt x="1252" y="873"/>
                </a:lnTo>
                <a:lnTo>
                  <a:pt x="1255" y="872"/>
                </a:lnTo>
                <a:lnTo>
                  <a:pt x="1257" y="874"/>
                </a:lnTo>
                <a:lnTo>
                  <a:pt x="1260" y="875"/>
                </a:lnTo>
                <a:lnTo>
                  <a:pt x="1262" y="874"/>
                </a:lnTo>
                <a:lnTo>
                  <a:pt x="1262" y="871"/>
                </a:lnTo>
                <a:lnTo>
                  <a:pt x="1260" y="868"/>
                </a:lnTo>
                <a:lnTo>
                  <a:pt x="1254" y="866"/>
                </a:lnTo>
                <a:lnTo>
                  <a:pt x="1248" y="869"/>
                </a:lnTo>
                <a:lnTo>
                  <a:pt x="1250" y="862"/>
                </a:lnTo>
                <a:lnTo>
                  <a:pt x="1250" y="857"/>
                </a:lnTo>
                <a:lnTo>
                  <a:pt x="1256" y="858"/>
                </a:lnTo>
                <a:lnTo>
                  <a:pt x="1262" y="860"/>
                </a:lnTo>
                <a:lnTo>
                  <a:pt x="1264" y="862"/>
                </a:lnTo>
                <a:lnTo>
                  <a:pt x="1267" y="866"/>
                </a:lnTo>
                <a:lnTo>
                  <a:pt x="1270" y="867"/>
                </a:lnTo>
                <a:lnTo>
                  <a:pt x="1273" y="868"/>
                </a:lnTo>
                <a:lnTo>
                  <a:pt x="1270" y="867"/>
                </a:lnTo>
                <a:lnTo>
                  <a:pt x="1267" y="866"/>
                </a:lnTo>
                <a:lnTo>
                  <a:pt x="1267" y="885"/>
                </a:lnTo>
                <a:lnTo>
                  <a:pt x="1272" y="901"/>
                </a:lnTo>
                <a:lnTo>
                  <a:pt x="1274" y="904"/>
                </a:lnTo>
                <a:lnTo>
                  <a:pt x="1277" y="903"/>
                </a:lnTo>
                <a:lnTo>
                  <a:pt x="1281" y="915"/>
                </a:lnTo>
                <a:lnTo>
                  <a:pt x="1276" y="925"/>
                </a:lnTo>
                <a:lnTo>
                  <a:pt x="1274" y="920"/>
                </a:lnTo>
                <a:lnTo>
                  <a:pt x="1272" y="913"/>
                </a:lnTo>
                <a:lnTo>
                  <a:pt x="1270" y="924"/>
                </a:lnTo>
                <a:lnTo>
                  <a:pt x="1272" y="936"/>
                </a:lnTo>
                <a:lnTo>
                  <a:pt x="1263" y="932"/>
                </a:lnTo>
                <a:lnTo>
                  <a:pt x="1256" y="925"/>
                </a:lnTo>
                <a:lnTo>
                  <a:pt x="1256" y="924"/>
                </a:lnTo>
                <a:lnTo>
                  <a:pt x="1256" y="923"/>
                </a:lnTo>
                <a:lnTo>
                  <a:pt x="1253" y="922"/>
                </a:lnTo>
                <a:lnTo>
                  <a:pt x="1249" y="922"/>
                </a:lnTo>
                <a:lnTo>
                  <a:pt x="1246" y="923"/>
                </a:lnTo>
                <a:lnTo>
                  <a:pt x="1243" y="922"/>
                </a:lnTo>
                <a:lnTo>
                  <a:pt x="1242" y="918"/>
                </a:lnTo>
                <a:lnTo>
                  <a:pt x="1242" y="915"/>
                </a:lnTo>
                <a:lnTo>
                  <a:pt x="1245" y="914"/>
                </a:lnTo>
                <a:lnTo>
                  <a:pt x="1248" y="915"/>
                </a:lnTo>
                <a:lnTo>
                  <a:pt x="1250" y="915"/>
                </a:lnTo>
                <a:lnTo>
                  <a:pt x="1252" y="915"/>
                </a:lnTo>
                <a:lnTo>
                  <a:pt x="1250" y="918"/>
                </a:lnTo>
                <a:lnTo>
                  <a:pt x="1249" y="922"/>
                </a:lnTo>
                <a:close/>
                <a:moveTo>
                  <a:pt x="1239" y="885"/>
                </a:moveTo>
                <a:lnTo>
                  <a:pt x="1243" y="881"/>
                </a:lnTo>
                <a:lnTo>
                  <a:pt x="1248" y="882"/>
                </a:lnTo>
                <a:lnTo>
                  <a:pt x="1248" y="885"/>
                </a:lnTo>
                <a:lnTo>
                  <a:pt x="1248" y="888"/>
                </a:lnTo>
                <a:lnTo>
                  <a:pt x="1249" y="888"/>
                </a:lnTo>
                <a:lnTo>
                  <a:pt x="1252" y="889"/>
                </a:lnTo>
                <a:lnTo>
                  <a:pt x="1249" y="888"/>
                </a:lnTo>
                <a:lnTo>
                  <a:pt x="1248" y="888"/>
                </a:lnTo>
                <a:lnTo>
                  <a:pt x="1245" y="890"/>
                </a:lnTo>
                <a:lnTo>
                  <a:pt x="1240" y="890"/>
                </a:lnTo>
                <a:lnTo>
                  <a:pt x="1239" y="888"/>
                </a:lnTo>
                <a:lnTo>
                  <a:pt x="1239" y="885"/>
                </a:lnTo>
                <a:close/>
                <a:moveTo>
                  <a:pt x="1238" y="855"/>
                </a:moveTo>
                <a:lnTo>
                  <a:pt x="1238" y="853"/>
                </a:lnTo>
                <a:lnTo>
                  <a:pt x="1240" y="851"/>
                </a:lnTo>
                <a:lnTo>
                  <a:pt x="1246" y="852"/>
                </a:lnTo>
                <a:lnTo>
                  <a:pt x="1250" y="857"/>
                </a:lnTo>
                <a:lnTo>
                  <a:pt x="1246" y="857"/>
                </a:lnTo>
                <a:lnTo>
                  <a:pt x="1241" y="858"/>
                </a:lnTo>
                <a:lnTo>
                  <a:pt x="1239" y="859"/>
                </a:lnTo>
                <a:lnTo>
                  <a:pt x="1238" y="855"/>
                </a:lnTo>
                <a:close/>
                <a:moveTo>
                  <a:pt x="1242" y="827"/>
                </a:moveTo>
                <a:lnTo>
                  <a:pt x="1245" y="830"/>
                </a:lnTo>
                <a:lnTo>
                  <a:pt x="1247" y="832"/>
                </a:lnTo>
                <a:lnTo>
                  <a:pt x="1241" y="834"/>
                </a:lnTo>
                <a:lnTo>
                  <a:pt x="1234" y="833"/>
                </a:lnTo>
                <a:lnTo>
                  <a:pt x="1235" y="827"/>
                </a:lnTo>
                <a:lnTo>
                  <a:pt x="1242" y="827"/>
                </a:lnTo>
                <a:close/>
                <a:moveTo>
                  <a:pt x="1232" y="820"/>
                </a:moveTo>
                <a:lnTo>
                  <a:pt x="1232" y="820"/>
                </a:lnTo>
                <a:lnTo>
                  <a:pt x="1233" y="822"/>
                </a:lnTo>
                <a:lnTo>
                  <a:pt x="1232" y="820"/>
                </a:lnTo>
                <a:lnTo>
                  <a:pt x="1232" y="820"/>
                </a:lnTo>
                <a:close/>
                <a:moveTo>
                  <a:pt x="1232" y="794"/>
                </a:moveTo>
                <a:lnTo>
                  <a:pt x="1236" y="791"/>
                </a:lnTo>
                <a:lnTo>
                  <a:pt x="1242" y="791"/>
                </a:lnTo>
                <a:lnTo>
                  <a:pt x="1243" y="796"/>
                </a:lnTo>
                <a:lnTo>
                  <a:pt x="1242" y="799"/>
                </a:lnTo>
                <a:lnTo>
                  <a:pt x="1233" y="799"/>
                </a:lnTo>
                <a:lnTo>
                  <a:pt x="1232" y="794"/>
                </a:lnTo>
                <a:close/>
                <a:moveTo>
                  <a:pt x="1233" y="777"/>
                </a:moveTo>
                <a:lnTo>
                  <a:pt x="1238" y="777"/>
                </a:lnTo>
                <a:lnTo>
                  <a:pt x="1242" y="780"/>
                </a:lnTo>
                <a:lnTo>
                  <a:pt x="1242" y="782"/>
                </a:lnTo>
                <a:lnTo>
                  <a:pt x="1241" y="784"/>
                </a:lnTo>
                <a:lnTo>
                  <a:pt x="1240" y="784"/>
                </a:lnTo>
                <a:lnTo>
                  <a:pt x="1239" y="784"/>
                </a:lnTo>
                <a:lnTo>
                  <a:pt x="1235" y="785"/>
                </a:lnTo>
                <a:lnTo>
                  <a:pt x="1231" y="783"/>
                </a:lnTo>
                <a:lnTo>
                  <a:pt x="1231" y="780"/>
                </a:lnTo>
                <a:lnTo>
                  <a:pt x="1233" y="777"/>
                </a:lnTo>
                <a:close/>
                <a:moveTo>
                  <a:pt x="1282" y="1009"/>
                </a:moveTo>
                <a:lnTo>
                  <a:pt x="1273" y="1002"/>
                </a:lnTo>
                <a:lnTo>
                  <a:pt x="1262" y="999"/>
                </a:lnTo>
                <a:lnTo>
                  <a:pt x="1262" y="994"/>
                </a:lnTo>
                <a:lnTo>
                  <a:pt x="1262" y="991"/>
                </a:lnTo>
                <a:lnTo>
                  <a:pt x="1259" y="990"/>
                </a:lnTo>
                <a:lnTo>
                  <a:pt x="1256" y="990"/>
                </a:lnTo>
                <a:lnTo>
                  <a:pt x="1259" y="990"/>
                </a:lnTo>
                <a:lnTo>
                  <a:pt x="1262" y="991"/>
                </a:lnTo>
                <a:lnTo>
                  <a:pt x="1264" y="990"/>
                </a:lnTo>
                <a:lnTo>
                  <a:pt x="1267" y="991"/>
                </a:lnTo>
                <a:lnTo>
                  <a:pt x="1269" y="994"/>
                </a:lnTo>
                <a:lnTo>
                  <a:pt x="1273" y="992"/>
                </a:lnTo>
                <a:lnTo>
                  <a:pt x="1274" y="988"/>
                </a:lnTo>
                <a:lnTo>
                  <a:pt x="1270" y="985"/>
                </a:lnTo>
                <a:lnTo>
                  <a:pt x="1264" y="983"/>
                </a:lnTo>
                <a:lnTo>
                  <a:pt x="1260" y="980"/>
                </a:lnTo>
                <a:lnTo>
                  <a:pt x="1261" y="976"/>
                </a:lnTo>
                <a:lnTo>
                  <a:pt x="1260" y="972"/>
                </a:lnTo>
                <a:lnTo>
                  <a:pt x="1267" y="974"/>
                </a:lnTo>
                <a:lnTo>
                  <a:pt x="1275" y="976"/>
                </a:lnTo>
                <a:lnTo>
                  <a:pt x="1275" y="974"/>
                </a:lnTo>
                <a:lnTo>
                  <a:pt x="1276" y="972"/>
                </a:lnTo>
                <a:lnTo>
                  <a:pt x="1275" y="974"/>
                </a:lnTo>
                <a:lnTo>
                  <a:pt x="1275" y="976"/>
                </a:lnTo>
                <a:lnTo>
                  <a:pt x="1275" y="978"/>
                </a:lnTo>
                <a:lnTo>
                  <a:pt x="1277" y="979"/>
                </a:lnTo>
                <a:lnTo>
                  <a:pt x="1279" y="994"/>
                </a:lnTo>
                <a:lnTo>
                  <a:pt x="1282" y="1009"/>
                </a:lnTo>
                <a:lnTo>
                  <a:pt x="1282" y="1009"/>
                </a:lnTo>
                <a:close/>
                <a:moveTo>
                  <a:pt x="1329" y="1251"/>
                </a:moveTo>
                <a:lnTo>
                  <a:pt x="1329" y="1250"/>
                </a:lnTo>
                <a:lnTo>
                  <a:pt x="1329" y="1248"/>
                </a:lnTo>
                <a:lnTo>
                  <a:pt x="1329" y="1250"/>
                </a:lnTo>
                <a:lnTo>
                  <a:pt x="1329" y="1251"/>
                </a:lnTo>
                <a:close/>
                <a:moveTo>
                  <a:pt x="1323" y="1291"/>
                </a:moveTo>
                <a:lnTo>
                  <a:pt x="1322" y="1290"/>
                </a:lnTo>
                <a:lnTo>
                  <a:pt x="1322" y="1287"/>
                </a:lnTo>
                <a:lnTo>
                  <a:pt x="1322" y="1290"/>
                </a:lnTo>
                <a:lnTo>
                  <a:pt x="1323" y="1291"/>
                </a:lnTo>
                <a:close/>
                <a:moveTo>
                  <a:pt x="1322" y="1264"/>
                </a:moveTo>
                <a:lnTo>
                  <a:pt x="1323" y="1270"/>
                </a:lnTo>
                <a:lnTo>
                  <a:pt x="1324" y="1276"/>
                </a:lnTo>
                <a:lnTo>
                  <a:pt x="1326" y="1276"/>
                </a:lnTo>
                <a:lnTo>
                  <a:pt x="1329" y="1274"/>
                </a:lnTo>
                <a:lnTo>
                  <a:pt x="1333" y="1298"/>
                </a:lnTo>
                <a:lnTo>
                  <a:pt x="1341" y="1320"/>
                </a:lnTo>
                <a:lnTo>
                  <a:pt x="1341" y="1325"/>
                </a:lnTo>
                <a:lnTo>
                  <a:pt x="1343" y="1329"/>
                </a:lnTo>
                <a:lnTo>
                  <a:pt x="1344" y="1333"/>
                </a:lnTo>
                <a:lnTo>
                  <a:pt x="1343" y="1336"/>
                </a:lnTo>
                <a:lnTo>
                  <a:pt x="1341" y="1336"/>
                </a:lnTo>
                <a:lnTo>
                  <a:pt x="1337" y="1336"/>
                </a:lnTo>
                <a:lnTo>
                  <a:pt x="1335" y="1335"/>
                </a:lnTo>
                <a:lnTo>
                  <a:pt x="1333" y="1332"/>
                </a:lnTo>
                <a:lnTo>
                  <a:pt x="1331" y="1315"/>
                </a:lnTo>
                <a:lnTo>
                  <a:pt x="1329" y="1299"/>
                </a:lnTo>
                <a:lnTo>
                  <a:pt x="1328" y="1294"/>
                </a:lnTo>
                <a:lnTo>
                  <a:pt x="1324" y="1291"/>
                </a:lnTo>
                <a:lnTo>
                  <a:pt x="1324" y="1284"/>
                </a:lnTo>
                <a:lnTo>
                  <a:pt x="1324" y="1276"/>
                </a:lnTo>
                <a:lnTo>
                  <a:pt x="1323" y="1270"/>
                </a:lnTo>
                <a:lnTo>
                  <a:pt x="1322" y="1264"/>
                </a:lnTo>
                <a:close/>
                <a:moveTo>
                  <a:pt x="1348" y="1396"/>
                </a:moveTo>
                <a:lnTo>
                  <a:pt x="1346" y="1393"/>
                </a:lnTo>
                <a:lnTo>
                  <a:pt x="1348" y="1391"/>
                </a:lnTo>
                <a:lnTo>
                  <a:pt x="1345" y="1385"/>
                </a:lnTo>
                <a:lnTo>
                  <a:pt x="1344" y="1378"/>
                </a:lnTo>
                <a:lnTo>
                  <a:pt x="1348" y="1382"/>
                </a:lnTo>
                <a:lnTo>
                  <a:pt x="1350" y="1386"/>
                </a:lnTo>
                <a:lnTo>
                  <a:pt x="1350" y="1390"/>
                </a:lnTo>
                <a:lnTo>
                  <a:pt x="1348" y="1391"/>
                </a:lnTo>
                <a:lnTo>
                  <a:pt x="1346" y="1393"/>
                </a:lnTo>
                <a:lnTo>
                  <a:pt x="1348" y="1396"/>
                </a:lnTo>
                <a:close/>
                <a:moveTo>
                  <a:pt x="1352" y="1232"/>
                </a:moveTo>
                <a:lnTo>
                  <a:pt x="1346" y="1210"/>
                </a:lnTo>
                <a:lnTo>
                  <a:pt x="1339" y="1188"/>
                </a:lnTo>
                <a:lnTo>
                  <a:pt x="1346" y="1210"/>
                </a:lnTo>
                <a:lnTo>
                  <a:pt x="1352" y="1232"/>
                </a:lnTo>
                <a:close/>
                <a:moveTo>
                  <a:pt x="1221" y="782"/>
                </a:moveTo>
                <a:lnTo>
                  <a:pt x="1222" y="781"/>
                </a:lnTo>
                <a:lnTo>
                  <a:pt x="1222" y="780"/>
                </a:lnTo>
                <a:lnTo>
                  <a:pt x="1222" y="781"/>
                </a:lnTo>
                <a:lnTo>
                  <a:pt x="1221" y="782"/>
                </a:lnTo>
                <a:lnTo>
                  <a:pt x="1221" y="782"/>
                </a:lnTo>
                <a:close/>
                <a:moveTo>
                  <a:pt x="1218" y="1209"/>
                </a:moveTo>
                <a:lnTo>
                  <a:pt x="1219" y="1207"/>
                </a:lnTo>
                <a:lnTo>
                  <a:pt x="1219" y="1204"/>
                </a:lnTo>
                <a:lnTo>
                  <a:pt x="1219" y="1207"/>
                </a:lnTo>
                <a:lnTo>
                  <a:pt x="1218" y="1209"/>
                </a:lnTo>
                <a:lnTo>
                  <a:pt x="1218" y="1209"/>
                </a:lnTo>
                <a:close/>
                <a:moveTo>
                  <a:pt x="1215" y="1174"/>
                </a:moveTo>
                <a:lnTo>
                  <a:pt x="1217" y="1177"/>
                </a:lnTo>
                <a:lnTo>
                  <a:pt x="1217" y="1182"/>
                </a:lnTo>
                <a:lnTo>
                  <a:pt x="1217" y="1177"/>
                </a:lnTo>
                <a:lnTo>
                  <a:pt x="1215" y="1174"/>
                </a:lnTo>
                <a:close/>
                <a:moveTo>
                  <a:pt x="1208" y="1112"/>
                </a:moveTo>
                <a:lnTo>
                  <a:pt x="1210" y="1111"/>
                </a:lnTo>
                <a:lnTo>
                  <a:pt x="1211" y="1111"/>
                </a:lnTo>
                <a:lnTo>
                  <a:pt x="1210" y="1111"/>
                </a:lnTo>
                <a:lnTo>
                  <a:pt x="1208" y="1112"/>
                </a:lnTo>
                <a:close/>
                <a:moveTo>
                  <a:pt x="1206" y="959"/>
                </a:moveTo>
                <a:lnTo>
                  <a:pt x="1206" y="958"/>
                </a:lnTo>
                <a:lnTo>
                  <a:pt x="1206" y="958"/>
                </a:lnTo>
                <a:lnTo>
                  <a:pt x="1206" y="958"/>
                </a:lnTo>
                <a:lnTo>
                  <a:pt x="1206" y="959"/>
                </a:lnTo>
                <a:close/>
                <a:moveTo>
                  <a:pt x="1201" y="806"/>
                </a:moveTo>
                <a:lnTo>
                  <a:pt x="1203" y="804"/>
                </a:lnTo>
                <a:lnTo>
                  <a:pt x="1203" y="801"/>
                </a:lnTo>
                <a:lnTo>
                  <a:pt x="1203" y="804"/>
                </a:lnTo>
                <a:lnTo>
                  <a:pt x="1201" y="806"/>
                </a:lnTo>
                <a:close/>
                <a:moveTo>
                  <a:pt x="1199" y="1222"/>
                </a:moveTo>
                <a:lnTo>
                  <a:pt x="1200" y="1221"/>
                </a:lnTo>
                <a:lnTo>
                  <a:pt x="1200" y="1220"/>
                </a:lnTo>
                <a:lnTo>
                  <a:pt x="1200" y="1221"/>
                </a:lnTo>
                <a:lnTo>
                  <a:pt x="1199" y="1222"/>
                </a:lnTo>
                <a:close/>
                <a:moveTo>
                  <a:pt x="1192" y="1642"/>
                </a:moveTo>
                <a:lnTo>
                  <a:pt x="1192" y="1648"/>
                </a:lnTo>
                <a:lnTo>
                  <a:pt x="1192" y="1654"/>
                </a:lnTo>
                <a:lnTo>
                  <a:pt x="1192" y="1648"/>
                </a:lnTo>
                <a:lnTo>
                  <a:pt x="1192" y="1642"/>
                </a:lnTo>
                <a:close/>
                <a:moveTo>
                  <a:pt x="1188" y="1661"/>
                </a:moveTo>
                <a:lnTo>
                  <a:pt x="1191" y="1659"/>
                </a:lnTo>
                <a:lnTo>
                  <a:pt x="1192" y="1658"/>
                </a:lnTo>
                <a:lnTo>
                  <a:pt x="1191" y="1659"/>
                </a:lnTo>
                <a:lnTo>
                  <a:pt x="1188" y="1661"/>
                </a:lnTo>
                <a:close/>
                <a:moveTo>
                  <a:pt x="1191" y="1584"/>
                </a:moveTo>
                <a:lnTo>
                  <a:pt x="1191" y="1573"/>
                </a:lnTo>
                <a:lnTo>
                  <a:pt x="1191" y="1563"/>
                </a:lnTo>
                <a:lnTo>
                  <a:pt x="1191" y="1573"/>
                </a:lnTo>
                <a:lnTo>
                  <a:pt x="1191" y="1584"/>
                </a:lnTo>
                <a:close/>
                <a:moveTo>
                  <a:pt x="1180" y="796"/>
                </a:moveTo>
                <a:lnTo>
                  <a:pt x="1180" y="788"/>
                </a:lnTo>
                <a:lnTo>
                  <a:pt x="1180" y="781"/>
                </a:lnTo>
                <a:lnTo>
                  <a:pt x="1180" y="788"/>
                </a:lnTo>
                <a:lnTo>
                  <a:pt x="1180" y="796"/>
                </a:lnTo>
                <a:close/>
                <a:moveTo>
                  <a:pt x="1184" y="813"/>
                </a:moveTo>
                <a:lnTo>
                  <a:pt x="1184" y="812"/>
                </a:lnTo>
                <a:lnTo>
                  <a:pt x="1183" y="812"/>
                </a:lnTo>
                <a:lnTo>
                  <a:pt x="1184" y="812"/>
                </a:lnTo>
                <a:lnTo>
                  <a:pt x="1184" y="813"/>
                </a:lnTo>
                <a:close/>
                <a:moveTo>
                  <a:pt x="1170" y="762"/>
                </a:moveTo>
                <a:lnTo>
                  <a:pt x="1170" y="761"/>
                </a:lnTo>
                <a:lnTo>
                  <a:pt x="1170" y="760"/>
                </a:lnTo>
                <a:lnTo>
                  <a:pt x="1170" y="761"/>
                </a:lnTo>
                <a:lnTo>
                  <a:pt x="1170" y="762"/>
                </a:lnTo>
                <a:close/>
                <a:moveTo>
                  <a:pt x="1159" y="1308"/>
                </a:moveTo>
                <a:lnTo>
                  <a:pt x="1160" y="1307"/>
                </a:lnTo>
                <a:lnTo>
                  <a:pt x="1163" y="1307"/>
                </a:lnTo>
                <a:lnTo>
                  <a:pt x="1160" y="1307"/>
                </a:lnTo>
                <a:lnTo>
                  <a:pt x="1159" y="1308"/>
                </a:lnTo>
                <a:close/>
                <a:moveTo>
                  <a:pt x="1150" y="1229"/>
                </a:moveTo>
                <a:lnTo>
                  <a:pt x="1150" y="1230"/>
                </a:lnTo>
                <a:lnTo>
                  <a:pt x="1151" y="1231"/>
                </a:lnTo>
                <a:lnTo>
                  <a:pt x="1150" y="1230"/>
                </a:lnTo>
                <a:lnTo>
                  <a:pt x="1150" y="1229"/>
                </a:lnTo>
                <a:lnTo>
                  <a:pt x="1150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9" y="1229"/>
                </a:lnTo>
                <a:lnTo>
                  <a:pt x="1148" y="1228"/>
                </a:lnTo>
                <a:lnTo>
                  <a:pt x="1148" y="1228"/>
                </a:lnTo>
                <a:lnTo>
                  <a:pt x="1148" y="1228"/>
                </a:lnTo>
                <a:lnTo>
                  <a:pt x="1151" y="1227"/>
                </a:lnTo>
                <a:lnTo>
                  <a:pt x="1155" y="1224"/>
                </a:lnTo>
                <a:lnTo>
                  <a:pt x="1152" y="1227"/>
                </a:lnTo>
                <a:lnTo>
                  <a:pt x="1150" y="1229"/>
                </a:lnTo>
                <a:close/>
                <a:moveTo>
                  <a:pt x="1151" y="1298"/>
                </a:moveTo>
                <a:lnTo>
                  <a:pt x="1152" y="1297"/>
                </a:lnTo>
                <a:lnTo>
                  <a:pt x="1153" y="1297"/>
                </a:lnTo>
                <a:lnTo>
                  <a:pt x="1152" y="1297"/>
                </a:lnTo>
                <a:lnTo>
                  <a:pt x="1151" y="1298"/>
                </a:lnTo>
                <a:close/>
                <a:moveTo>
                  <a:pt x="1152" y="1656"/>
                </a:moveTo>
                <a:lnTo>
                  <a:pt x="1152" y="1657"/>
                </a:lnTo>
                <a:lnTo>
                  <a:pt x="1153" y="1659"/>
                </a:lnTo>
                <a:lnTo>
                  <a:pt x="1152" y="1657"/>
                </a:lnTo>
                <a:lnTo>
                  <a:pt x="1152" y="1656"/>
                </a:lnTo>
                <a:close/>
                <a:moveTo>
                  <a:pt x="1148" y="1330"/>
                </a:moveTo>
                <a:lnTo>
                  <a:pt x="1148" y="1330"/>
                </a:lnTo>
                <a:lnTo>
                  <a:pt x="1146" y="1332"/>
                </a:lnTo>
                <a:lnTo>
                  <a:pt x="1148" y="1330"/>
                </a:lnTo>
                <a:lnTo>
                  <a:pt x="1148" y="1330"/>
                </a:lnTo>
                <a:lnTo>
                  <a:pt x="1149" y="1328"/>
                </a:lnTo>
                <a:lnTo>
                  <a:pt x="1149" y="1326"/>
                </a:lnTo>
                <a:lnTo>
                  <a:pt x="1149" y="1328"/>
                </a:lnTo>
                <a:lnTo>
                  <a:pt x="1148" y="1330"/>
                </a:lnTo>
                <a:close/>
                <a:moveTo>
                  <a:pt x="1146" y="752"/>
                </a:moveTo>
                <a:lnTo>
                  <a:pt x="1146" y="749"/>
                </a:lnTo>
                <a:lnTo>
                  <a:pt x="1146" y="748"/>
                </a:lnTo>
                <a:lnTo>
                  <a:pt x="1146" y="749"/>
                </a:lnTo>
                <a:lnTo>
                  <a:pt x="1146" y="752"/>
                </a:lnTo>
                <a:close/>
                <a:moveTo>
                  <a:pt x="1146" y="823"/>
                </a:moveTo>
                <a:lnTo>
                  <a:pt x="1145" y="825"/>
                </a:lnTo>
                <a:lnTo>
                  <a:pt x="1143" y="826"/>
                </a:lnTo>
                <a:lnTo>
                  <a:pt x="1141" y="825"/>
                </a:lnTo>
                <a:lnTo>
                  <a:pt x="1141" y="824"/>
                </a:lnTo>
                <a:lnTo>
                  <a:pt x="1139" y="812"/>
                </a:lnTo>
                <a:lnTo>
                  <a:pt x="1141" y="801"/>
                </a:lnTo>
                <a:lnTo>
                  <a:pt x="1141" y="798"/>
                </a:lnTo>
                <a:lnTo>
                  <a:pt x="1143" y="797"/>
                </a:lnTo>
                <a:lnTo>
                  <a:pt x="1144" y="798"/>
                </a:lnTo>
                <a:lnTo>
                  <a:pt x="1145" y="799"/>
                </a:lnTo>
                <a:lnTo>
                  <a:pt x="1146" y="806"/>
                </a:lnTo>
                <a:lnTo>
                  <a:pt x="1146" y="811"/>
                </a:lnTo>
                <a:lnTo>
                  <a:pt x="1146" y="818"/>
                </a:lnTo>
                <a:lnTo>
                  <a:pt x="1146" y="823"/>
                </a:lnTo>
                <a:lnTo>
                  <a:pt x="1146" y="823"/>
                </a:lnTo>
                <a:close/>
                <a:moveTo>
                  <a:pt x="1144" y="1321"/>
                </a:move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lnTo>
                  <a:pt x="1144" y="1321"/>
                </a:lnTo>
                <a:close/>
                <a:moveTo>
                  <a:pt x="1144" y="1323"/>
                </a:moveTo>
                <a:lnTo>
                  <a:pt x="1144" y="1322"/>
                </a:lnTo>
                <a:lnTo>
                  <a:pt x="1145" y="1321"/>
                </a:lnTo>
                <a:lnTo>
                  <a:pt x="1144" y="1322"/>
                </a:lnTo>
                <a:lnTo>
                  <a:pt x="1144" y="1323"/>
                </a:lnTo>
                <a:close/>
                <a:moveTo>
                  <a:pt x="1144" y="1606"/>
                </a:moveTo>
                <a:lnTo>
                  <a:pt x="1144" y="1607"/>
                </a:lnTo>
                <a:lnTo>
                  <a:pt x="1144" y="1608"/>
                </a:lnTo>
                <a:lnTo>
                  <a:pt x="1144" y="1607"/>
                </a:lnTo>
                <a:lnTo>
                  <a:pt x="1144" y="1606"/>
                </a:lnTo>
                <a:close/>
                <a:moveTo>
                  <a:pt x="1142" y="1475"/>
                </a:moveTo>
                <a:lnTo>
                  <a:pt x="1142" y="1475"/>
                </a:lnTo>
                <a:lnTo>
                  <a:pt x="1142" y="1474"/>
                </a:lnTo>
                <a:lnTo>
                  <a:pt x="1142" y="1475"/>
                </a:lnTo>
                <a:lnTo>
                  <a:pt x="1142" y="1475"/>
                </a:lnTo>
                <a:close/>
                <a:moveTo>
                  <a:pt x="1139" y="1661"/>
                </a:moveTo>
                <a:lnTo>
                  <a:pt x="1141" y="1661"/>
                </a:lnTo>
                <a:lnTo>
                  <a:pt x="1142" y="1661"/>
                </a:lnTo>
                <a:lnTo>
                  <a:pt x="1141" y="1661"/>
                </a:lnTo>
                <a:lnTo>
                  <a:pt x="1139" y="1661"/>
                </a:lnTo>
                <a:close/>
                <a:moveTo>
                  <a:pt x="1139" y="699"/>
                </a:moveTo>
                <a:lnTo>
                  <a:pt x="1139" y="699"/>
                </a:lnTo>
                <a:lnTo>
                  <a:pt x="1138" y="699"/>
                </a:lnTo>
                <a:lnTo>
                  <a:pt x="1139" y="699"/>
                </a:lnTo>
                <a:lnTo>
                  <a:pt x="1139" y="699"/>
                </a:lnTo>
                <a:close/>
                <a:moveTo>
                  <a:pt x="1144" y="622"/>
                </a:moveTo>
                <a:lnTo>
                  <a:pt x="1143" y="622"/>
                </a:lnTo>
                <a:lnTo>
                  <a:pt x="1141" y="622"/>
                </a:lnTo>
                <a:lnTo>
                  <a:pt x="1143" y="622"/>
                </a:lnTo>
                <a:lnTo>
                  <a:pt x="1144" y="622"/>
                </a:lnTo>
                <a:close/>
                <a:moveTo>
                  <a:pt x="1150" y="1141"/>
                </a:moveTo>
                <a:lnTo>
                  <a:pt x="1150" y="1142"/>
                </a:lnTo>
                <a:lnTo>
                  <a:pt x="1150" y="1144"/>
                </a:lnTo>
                <a:lnTo>
                  <a:pt x="1150" y="1142"/>
                </a:lnTo>
                <a:lnTo>
                  <a:pt x="1150" y="1141"/>
                </a:lnTo>
                <a:close/>
                <a:moveTo>
                  <a:pt x="1131" y="1600"/>
                </a:moveTo>
                <a:lnTo>
                  <a:pt x="1131" y="1601"/>
                </a:lnTo>
                <a:lnTo>
                  <a:pt x="1130" y="1601"/>
                </a:lnTo>
                <a:lnTo>
                  <a:pt x="1131" y="1601"/>
                </a:lnTo>
                <a:lnTo>
                  <a:pt x="1131" y="1600"/>
                </a:lnTo>
                <a:close/>
                <a:moveTo>
                  <a:pt x="1123" y="531"/>
                </a:moveTo>
                <a:lnTo>
                  <a:pt x="1124" y="532"/>
                </a:lnTo>
                <a:lnTo>
                  <a:pt x="1125" y="532"/>
                </a:lnTo>
                <a:lnTo>
                  <a:pt x="1124" y="532"/>
                </a:lnTo>
                <a:lnTo>
                  <a:pt x="1123" y="531"/>
                </a:lnTo>
                <a:close/>
                <a:moveTo>
                  <a:pt x="1124" y="1431"/>
                </a:moveTo>
                <a:lnTo>
                  <a:pt x="1124" y="1431"/>
                </a:lnTo>
                <a:lnTo>
                  <a:pt x="1124" y="1430"/>
                </a:lnTo>
                <a:lnTo>
                  <a:pt x="1124" y="1431"/>
                </a:lnTo>
                <a:lnTo>
                  <a:pt x="1124" y="1431"/>
                </a:lnTo>
                <a:close/>
                <a:moveTo>
                  <a:pt x="1128" y="746"/>
                </a:moveTo>
                <a:lnTo>
                  <a:pt x="1128" y="748"/>
                </a:lnTo>
                <a:lnTo>
                  <a:pt x="1127" y="749"/>
                </a:lnTo>
                <a:lnTo>
                  <a:pt x="1128" y="748"/>
                </a:lnTo>
                <a:lnTo>
                  <a:pt x="1128" y="746"/>
                </a:lnTo>
                <a:close/>
                <a:moveTo>
                  <a:pt x="1130" y="732"/>
                </a:moveTo>
                <a:lnTo>
                  <a:pt x="1130" y="733"/>
                </a:lnTo>
                <a:lnTo>
                  <a:pt x="1130" y="734"/>
                </a:lnTo>
                <a:lnTo>
                  <a:pt x="1130" y="733"/>
                </a:lnTo>
                <a:lnTo>
                  <a:pt x="1130" y="732"/>
                </a:lnTo>
                <a:close/>
                <a:moveTo>
                  <a:pt x="1117" y="1237"/>
                </a:moveTo>
                <a:lnTo>
                  <a:pt x="1119" y="1236"/>
                </a:lnTo>
                <a:lnTo>
                  <a:pt x="1121" y="1236"/>
                </a:lnTo>
                <a:lnTo>
                  <a:pt x="1119" y="1236"/>
                </a:lnTo>
                <a:lnTo>
                  <a:pt x="1117" y="1237"/>
                </a:lnTo>
                <a:close/>
                <a:moveTo>
                  <a:pt x="1109" y="1180"/>
                </a:moveTo>
                <a:lnTo>
                  <a:pt x="1109" y="1181"/>
                </a:lnTo>
                <a:lnTo>
                  <a:pt x="1109" y="1181"/>
                </a:lnTo>
                <a:lnTo>
                  <a:pt x="1108" y="1180"/>
                </a:lnTo>
                <a:lnTo>
                  <a:pt x="1108" y="1180"/>
                </a:lnTo>
                <a:lnTo>
                  <a:pt x="1109" y="1179"/>
                </a:lnTo>
                <a:lnTo>
                  <a:pt x="1110" y="1179"/>
                </a:lnTo>
                <a:lnTo>
                  <a:pt x="1109" y="1179"/>
                </a:lnTo>
                <a:lnTo>
                  <a:pt x="1109" y="1180"/>
                </a:lnTo>
                <a:close/>
                <a:moveTo>
                  <a:pt x="1102" y="1335"/>
                </a:moveTo>
                <a:lnTo>
                  <a:pt x="1103" y="1335"/>
                </a:lnTo>
                <a:lnTo>
                  <a:pt x="1104" y="1334"/>
                </a:lnTo>
                <a:lnTo>
                  <a:pt x="1103" y="1335"/>
                </a:lnTo>
                <a:lnTo>
                  <a:pt x="1102" y="1335"/>
                </a:lnTo>
                <a:close/>
                <a:moveTo>
                  <a:pt x="1088" y="760"/>
                </a:moveTo>
                <a:lnTo>
                  <a:pt x="1098" y="760"/>
                </a:lnTo>
                <a:lnTo>
                  <a:pt x="1109" y="753"/>
                </a:lnTo>
                <a:lnTo>
                  <a:pt x="1098" y="760"/>
                </a:lnTo>
                <a:lnTo>
                  <a:pt x="1088" y="760"/>
                </a:lnTo>
                <a:close/>
                <a:moveTo>
                  <a:pt x="1088" y="1304"/>
                </a:moveTo>
                <a:lnTo>
                  <a:pt x="1088" y="1306"/>
                </a:lnTo>
                <a:lnTo>
                  <a:pt x="1089" y="1307"/>
                </a:lnTo>
                <a:lnTo>
                  <a:pt x="1088" y="1306"/>
                </a:lnTo>
                <a:lnTo>
                  <a:pt x="1088" y="1304"/>
                </a:lnTo>
                <a:close/>
                <a:moveTo>
                  <a:pt x="1087" y="1580"/>
                </a:moveTo>
                <a:lnTo>
                  <a:pt x="1088" y="1581"/>
                </a:lnTo>
                <a:lnTo>
                  <a:pt x="1088" y="1581"/>
                </a:lnTo>
                <a:lnTo>
                  <a:pt x="1088" y="1581"/>
                </a:lnTo>
                <a:lnTo>
                  <a:pt x="1087" y="1580"/>
                </a:lnTo>
                <a:close/>
                <a:moveTo>
                  <a:pt x="1084" y="759"/>
                </a:moveTo>
                <a:lnTo>
                  <a:pt x="1086" y="759"/>
                </a:lnTo>
                <a:lnTo>
                  <a:pt x="1087" y="760"/>
                </a:lnTo>
                <a:lnTo>
                  <a:pt x="1086" y="759"/>
                </a:lnTo>
                <a:lnTo>
                  <a:pt x="1084" y="759"/>
                </a:lnTo>
                <a:close/>
                <a:moveTo>
                  <a:pt x="1082" y="656"/>
                </a:moveTo>
                <a:lnTo>
                  <a:pt x="1083" y="657"/>
                </a:lnTo>
                <a:lnTo>
                  <a:pt x="1084" y="657"/>
                </a:lnTo>
                <a:lnTo>
                  <a:pt x="1083" y="657"/>
                </a:lnTo>
                <a:lnTo>
                  <a:pt x="1082" y="656"/>
                </a:lnTo>
                <a:close/>
                <a:moveTo>
                  <a:pt x="1079" y="899"/>
                </a:moveTo>
                <a:lnTo>
                  <a:pt x="1077" y="899"/>
                </a:lnTo>
                <a:lnTo>
                  <a:pt x="1076" y="897"/>
                </a:lnTo>
                <a:lnTo>
                  <a:pt x="1077" y="899"/>
                </a:lnTo>
                <a:lnTo>
                  <a:pt x="1079" y="899"/>
                </a:lnTo>
                <a:lnTo>
                  <a:pt x="1079" y="899"/>
                </a:lnTo>
                <a:close/>
                <a:moveTo>
                  <a:pt x="1074" y="1339"/>
                </a:moveTo>
                <a:lnTo>
                  <a:pt x="1075" y="1337"/>
                </a:lnTo>
                <a:lnTo>
                  <a:pt x="1076" y="1335"/>
                </a:lnTo>
                <a:lnTo>
                  <a:pt x="1075" y="1337"/>
                </a:lnTo>
                <a:lnTo>
                  <a:pt x="1074" y="1339"/>
                </a:lnTo>
                <a:close/>
                <a:moveTo>
                  <a:pt x="1075" y="1437"/>
                </a:moveTo>
                <a:lnTo>
                  <a:pt x="1075" y="1427"/>
                </a:lnTo>
                <a:lnTo>
                  <a:pt x="1074" y="1419"/>
                </a:lnTo>
                <a:lnTo>
                  <a:pt x="1075" y="1427"/>
                </a:lnTo>
                <a:lnTo>
                  <a:pt x="1075" y="1437"/>
                </a:lnTo>
                <a:close/>
                <a:moveTo>
                  <a:pt x="1074" y="1650"/>
                </a:moveTo>
                <a:lnTo>
                  <a:pt x="1074" y="1644"/>
                </a:lnTo>
                <a:lnTo>
                  <a:pt x="1074" y="1638"/>
                </a:lnTo>
                <a:lnTo>
                  <a:pt x="1074" y="1644"/>
                </a:lnTo>
                <a:lnTo>
                  <a:pt x="1074" y="1650"/>
                </a:lnTo>
                <a:close/>
                <a:moveTo>
                  <a:pt x="1069" y="1480"/>
                </a:moveTo>
                <a:lnTo>
                  <a:pt x="1072" y="1475"/>
                </a:lnTo>
                <a:lnTo>
                  <a:pt x="1073" y="1470"/>
                </a:lnTo>
                <a:lnTo>
                  <a:pt x="1072" y="1475"/>
                </a:lnTo>
                <a:lnTo>
                  <a:pt x="1069" y="1480"/>
                </a:lnTo>
                <a:close/>
                <a:moveTo>
                  <a:pt x="1068" y="1483"/>
                </a:moveTo>
                <a:lnTo>
                  <a:pt x="1068" y="1484"/>
                </a:lnTo>
                <a:lnTo>
                  <a:pt x="1067" y="1487"/>
                </a:lnTo>
                <a:lnTo>
                  <a:pt x="1068" y="1484"/>
                </a:lnTo>
                <a:lnTo>
                  <a:pt x="1068" y="1483"/>
                </a:lnTo>
                <a:close/>
                <a:moveTo>
                  <a:pt x="1063" y="984"/>
                </a:moveTo>
                <a:lnTo>
                  <a:pt x="1063" y="960"/>
                </a:lnTo>
                <a:lnTo>
                  <a:pt x="1062" y="937"/>
                </a:lnTo>
                <a:lnTo>
                  <a:pt x="1061" y="934"/>
                </a:lnTo>
                <a:lnTo>
                  <a:pt x="1059" y="929"/>
                </a:lnTo>
                <a:lnTo>
                  <a:pt x="1055" y="931"/>
                </a:lnTo>
                <a:lnTo>
                  <a:pt x="1053" y="931"/>
                </a:lnTo>
                <a:lnTo>
                  <a:pt x="1055" y="931"/>
                </a:lnTo>
                <a:lnTo>
                  <a:pt x="1059" y="929"/>
                </a:lnTo>
                <a:lnTo>
                  <a:pt x="1059" y="927"/>
                </a:lnTo>
                <a:lnTo>
                  <a:pt x="1059" y="925"/>
                </a:lnTo>
                <a:lnTo>
                  <a:pt x="1062" y="920"/>
                </a:lnTo>
                <a:lnTo>
                  <a:pt x="1063" y="913"/>
                </a:lnTo>
                <a:lnTo>
                  <a:pt x="1066" y="921"/>
                </a:lnTo>
                <a:lnTo>
                  <a:pt x="1066" y="929"/>
                </a:lnTo>
                <a:lnTo>
                  <a:pt x="1067" y="957"/>
                </a:lnTo>
                <a:lnTo>
                  <a:pt x="1068" y="984"/>
                </a:lnTo>
                <a:lnTo>
                  <a:pt x="1068" y="990"/>
                </a:lnTo>
                <a:lnTo>
                  <a:pt x="1066" y="992"/>
                </a:lnTo>
                <a:lnTo>
                  <a:pt x="1063" y="990"/>
                </a:lnTo>
                <a:lnTo>
                  <a:pt x="1063" y="984"/>
                </a:lnTo>
                <a:lnTo>
                  <a:pt x="1063" y="984"/>
                </a:lnTo>
                <a:close/>
                <a:moveTo>
                  <a:pt x="1056" y="1026"/>
                </a:moveTo>
                <a:lnTo>
                  <a:pt x="1056" y="1026"/>
                </a:lnTo>
                <a:lnTo>
                  <a:pt x="1056" y="1026"/>
                </a:lnTo>
                <a:lnTo>
                  <a:pt x="1056" y="1026"/>
                </a:lnTo>
                <a:close/>
                <a:moveTo>
                  <a:pt x="1043" y="1652"/>
                </a:moveTo>
                <a:lnTo>
                  <a:pt x="1046" y="1648"/>
                </a:lnTo>
                <a:lnTo>
                  <a:pt x="1046" y="1644"/>
                </a:lnTo>
                <a:lnTo>
                  <a:pt x="1046" y="1648"/>
                </a:lnTo>
                <a:lnTo>
                  <a:pt x="1043" y="1652"/>
                </a:lnTo>
                <a:close/>
                <a:moveTo>
                  <a:pt x="1042" y="1197"/>
                </a:moveTo>
                <a:lnTo>
                  <a:pt x="1042" y="1196"/>
                </a:lnTo>
                <a:lnTo>
                  <a:pt x="1042" y="1196"/>
                </a:lnTo>
                <a:lnTo>
                  <a:pt x="1042" y="1196"/>
                </a:lnTo>
                <a:lnTo>
                  <a:pt x="1042" y="1197"/>
                </a:lnTo>
                <a:close/>
                <a:moveTo>
                  <a:pt x="1031" y="531"/>
                </a:moveTo>
                <a:lnTo>
                  <a:pt x="1031" y="528"/>
                </a:lnTo>
                <a:lnTo>
                  <a:pt x="1033" y="524"/>
                </a:lnTo>
                <a:lnTo>
                  <a:pt x="1040" y="522"/>
                </a:lnTo>
                <a:lnTo>
                  <a:pt x="1046" y="519"/>
                </a:lnTo>
                <a:lnTo>
                  <a:pt x="1051" y="523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8"/>
                </a:lnTo>
                <a:lnTo>
                  <a:pt x="1048" y="526"/>
                </a:lnTo>
                <a:lnTo>
                  <a:pt x="1048" y="526"/>
                </a:lnTo>
                <a:lnTo>
                  <a:pt x="1048" y="526"/>
                </a:lnTo>
                <a:lnTo>
                  <a:pt x="1051" y="526"/>
                </a:lnTo>
                <a:lnTo>
                  <a:pt x="1053" y="526"/>
                </a:lnTo>
                <a:lnTo>
                  <a:pt x="1053" y="530"/>
                </a:lnTo>
                <a:lnTo>
                  <a:pt x="1052" y="532"/>
                </a:lnTo>
                <a:lnTo>
                  <a:pt x="1048" y="536"/>
                </a:lnTo>
                <a:lnTo>
                  <a:pt x="1043" y="536"/>
                </a:lnTo>
                <a:lnTo>
                  <a:pt x="1038" y="531"/>
                </a:lnTo>
                <a:lnTo>
                  <a:pt x="1031" y="531"/>
                </a:lnTo>
                <a:close/>
                <a:moveTo>
                  <a:pt x="1033" y="1197"/>
                </a:moveTo>
                <a:lnTo>
                  <a:pt x="1035" y="1195"/>
                </a:lnTo>
                <a:lnTo>
                  <a:pt x="1036" y="1194"/>
                </a:lnTo>
                <a:lnTo>
                  <a:pt x="1035" y="1195"/>
                </a:lnTo>
                <a:lnTo>
                  <a:pt x="1033" y="1197"/>
                </a:lnTo>
                <a:close/>
                <a:moveTo>
                  <a:pt x="1028" y="1298"/>
                </a:moveTo>
                <a:lnTo>
                  <a:pt x="1027" y="1295"/>
                </a:lnTo>
                <a:lnTo>
                  <a:pt x="1027" y="1294"/>
                </a:lnTo>
                <a:lnTo>
                  <a:pt x="1027" y="1294"/>
                </a:lnTo>
                <a:lnTo>
                  <a:pt x="1027" y="1294"/>
                </a:lnTo>
                <a:lnTo>
                  <a:pt x="1031" y="1292"/>
                </a:lnTo>
                <a:lnTo>
                  <a:pt x="1034" y="1290"/>
                </a:lnTo>
                <a:lnTo>
                  <a:pt x="1032" y="1293"/>
                </a:lnTo>
                <a:lnTo>
                  <a:pt x="1028" y="1298"/>
                </a:lnTo>
                <a:close/>
                <a:moveTo>
                  <a:pt x="1027" y="1356"/>
                </a:moveTo>
                <a:lnTo>
                  <a:pt x="1028" y="1356"/>
                </a:lnTo>
                <a:lnTo>
                  <a:pt x="1031" y="1356"/>
                </a:lnTo>
                <a:lnTo>
                  <a:pt x="1028" y="1356"/>
                </a:lnTo>
                <a:lnTo>
                  <a:pt x="1027" y="1356"/>
                </a:lnTo>
                <a:close/>
                <a:moveTo>
                  <a:pt x="1022" y="1423"/>
                </a:moveTo>
                <a:lnTo>
                  <a:pt x="1025" y="1423"/>
                </a:lnTo>
                <a:lnTo>
                  <a:pt x="1027" y="1421"/>
                </a:lnTo>
                <a:lnTo>
                  <a:pt x="1025" y="1423"/>
                </a:lnTo>
                <a:lnTo>
                  <a:pt x="1022" y="1423"/>
                </a:lnTo>
                <a:close/>
                <a:moveTo>
                  <a:pt x="1019" y="1327"/>
                </a:moveTo>
                <a:lnTo>
                  <a:pt x="1021" y="1326"/>
                </a:lnTo>
                <a:lnTo>
                  <a:pt x="1024" y="1326"/>
                </a:lnTo>
                <a:lnTo>
                  <a:pt x="1021" y="1326"/>
                </a:lnTo>
                <a:lnTo>
                  <a:pt x="1019" y="1327"/>
                </a:lnTo>
                <a:close/>
                <a:moveTo>
                  <a:pt x="1018" y="1308"/>
                </a:moveTo>
                <a:lnTo>
                  <a:pt x="1017" y="1308"/>
                </a:lnTo>
                <a:lnTo>
                  <a:pt x="1014" y="1308"/>
                </a:lnTo>
                <a:lnTo>
                  <a:pt x="1018" y="1307"/>
                </a:lnTo>
                <a:lnTo>
                  <a:pt x="1021" y="1305"/>
                </a:lnTo>
                <a:lnTo>
                  <a:pt x="1020" y="1306"/>
                </a:lnTo>
                <a:lnTo>
                  <a:pt x="1019" y="1307"/>
                </a:lnTo>
                <a:lnTo>
                  <a:pt x="1019" y="1308"/>
                </a:lnTo>
                <a:lnTo>
                  <a:pt x="1018" y="1308"/>
                </a:lnTo>
                <a:close/>
                <a:moveTo>
                  <a:pt x="1011" y="1009"/>
                </a:moveTo>
                <a:lnTo>
                  <a:pt x="1012" y="1009"/>
                </a:lnTo>
                <a:lnTo>
                  <a:pt x="1014" y="1009"/>
                </a:lnTo>
                <a:lnTo>
                  <a:pt x="1017" y="1008"/>
                </a:lnTo>
                <a:lnTo>
                  <a:pt x="1019" y="1008"/>
                </a:lnTo>
                <a:lnTo>
                  <a:pt x="1017" y="1008"/>
                </a:lnTo>
                <a:lnTo>
                  <a:pt x="1014" y="1009"/>
                </a:lnTo>
                <a:lnTo>
                  <a:pt x="1012" y="1009"/>
                </a:lnTo>
                <a:lnTo>
                  <a:pt x="1011" y="1009"/>
                </a:lnTo>
                <a:close/>
                <a:moveTo>
                  <a:pt x="997" y="764"/>
                </a:move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997" y="764"/>
                </a:lnTo>
                <a:lnTo>
                  <a:pt x="1004" y="763"/>
                </a:lnTo>
                <a:lnTo>
                  <a:pt x="1011" y="762"/>
                </a:lnTo>
                <a:lnTo>
                  <a:pt x="1004" y="763"/>
                </a:lnTo>
                <a:lnTo>
                  <a:pt x="997" y="764"/>
                </a:lnTo>
                <a:close/>
                <a:moveTo>
                  <a:pt x="996" y="838"/>
                </a:moveTo>
                <a:lnTo>
                  <a:pt x="992" y="838"/>
                </a:lnTo>
                <a:lnTo>
                  <a:pt x="990" y="834"/>
                </a:lnTo>
                <a:lnTo>
                  <a:pt x="991" y="830"/>
                </a:lnTo>
                <a:lnTo>
                  <a:pt x="994" y="829"/>
                </a:lnTo>
                <a:lnTo>
                  <a:pt x="1000" y="827"/>
                </a:lnTo>
                <a:lnTo>
                  <a:pt x="1000" y="822"/>
                </a:lnTo>
                <a:lnTo>
                  <a:pt x="1000" y="818"/>
                </a:lnTo>
                <a:lnTo>
                  <a:pt x="1004" y="816"/>
                </a:lnTo>
                <a:lnTo>
                  <a:pt x="1007" y="817"/>
                </a:lnTo>
                <a:lnTo>
                  <a:pt x="1008" y="820"/>
                </a:lnTo>
                <a:lnTo>
                  <a:pt x="1007" y="833"/>
                </a:lnTo>
                <a:lnTo>
                  <a:pt x="996" y="838"/>
                </a:lnTo>
                <a:close/>
                <a:moveTo>
                  <a:pt x="1007" y="1439"/>
                </a:move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lnTo>
                  <a:pt x="1007" y="1439"/>
                </a:lnTo>
                <a:close/>
                <a:moveTo>
                  <a:pt x="1007" y="1439"/>
                </a:moveTo>
                <a:lnTo>
                  <a:pt x="1007" y="1454"/>
                </a:lnTo>
                <a:lnTo>
                  <a:pt x="1008" y="1469"/>
                </a:lnTo>
                <a:lnTo>
                  <a:pt x="1007" y="1454"/>
                </a:lnTo>
                <a:lnTo>
                  <a:pt x="1007" y="1439"/>
                </a:lnTo>
                <a:close/>
                <a:moveTo>
                  <a:pt x="989" y="1161"/>
                </a:moveTo>
                <a:lnTo>
                  <a:pt x="971" y="1158"/>
                </a:lnTo>
                <a:lnTo>
                  <a:pt x="959" y="1167"/>
                </a:lnTo>
                <a:lnTo>
                  <a:pt x="958" y="1168"/>
                </a:lnTo>
                <a:lnTo>
                  <a:pt x="957" y="1170"/>
                </a:lnTo>
                <a:lnTo>
                  <a:pt x="958" y="1159"/>
                </a:lnTo>
                <a:lnTo>
                  <a:pt x="964" y="1149"/>
                </a:lnTo>
                <a:lnTo>
                  <a:pt x="973" y="1148"/>
                </a:lnTo>
                <a:lnTo>
                  <a:pt x="984" y="1149"/>
                </a:lnTo>
                <a:lnTo>
                  <a:pt x="990" y="1153"/>
                </a:lnTo>
                <a:lnTo>
                  <a:pt x="992" y="1159"/>
                </a:lnTo>
                <a:lnTo>
                  <a:pt x="991" y="1161"/>
                </a:lnTo>
                <a:lnTo>
                  <a:pt x="989" y="1161"/>
                </a:lnTo>
                <a:close/>
                <a:moveTo>
                  <a:pt x="974" y="1170"/>
                </a:moveTo>
                <a:lnTo>
                  <a:pt x="977" y="1170"/>
                </a:lnTo>
                <a:lnTo>
                  <a:pt x="978" y="1172"/>
                </a:lnTo>
                <a:lnTo>
                  <a:pt x="977" y="1170"/>
                </a:lnTo>
                <a:lnTo>
                  <a:pt x="974" y="1170"/>
                </a:lnTo>
                <a:lnTo>
                  <a:pt x="974" y="1170"/>
                </a:lnTo>
                <a:close/>
                <a:moveTo>
                  <a:pt x="973" y="1446"/>
                </a:moveTo>
                <a:lnTo>
                  <a:pt x="974" y="1447"/>
                </a:lnTo>
                <a:lnTo>
                  <a:pt x="974" y="1447"/>
                </a:lnTo>
                <a:lnTo>
                  <a:pt x="974" y="1447"/>
                </a:lnTo>
                <a:lnTo>
                  <a:pt x="973" y="1446"/>
                </a:lnTo>
                <a:close/>
                <a:moveTo>
                  <a:pt x="965" y="1183"/>
                </a:moveTo>
                <a:lnTo>
                  <a:pt x="967" y="1181"/>
                </a:lnTo>
                <a:lnTo>
                  <a:pt x="971" y="1180"/>
                </a:lnTo>
                <a:lnTo>
                  <a:pt x="967" y="1181"/>
                </a:lnTo>
                <a:lnTo>
                  <a:pt x="965" y="1183"/>
                </a:lnTo>
                <a:close/>
                <a:moveTo>
                  <a:pt x="964" y="1191"/>
                </a:moveTo>
                <a:lnTo>
                  <a:pt x="965" y="1190"/>
                </a:lnTo>
                <a:lnTo>
                  <a:pt x="966" y="1189"/>
                </a:lnTo>
                <a:lnTo>
                  <a:pt x="965" y="1190"/>
                </a:lnTo>
                <a:lnTo>
                  <a:pt x="964" y="1191"/>
                </a:lnTo>
                <a:close/>
                <a:moveTo>
                  <a:pt x="960" y="1188"/>
                </a:moveTo>
                <a:lnTo>
                  <a:pt x="962" y="1191"/>
                </a:lnTo>
                <a:lnTo>
                  <a:pt x="964" y="1194"/>
                </a:lnTo>
                <a:lnTo>
                  <a:pt x="962" y="1191"/>
                </a:lnTo>
                <a:lnTo>
                  <a:pt x="960" y="1188"/>
                </a:lnTo>
                <a:close/>
                <a:moveTo>
                  <a:pt x="977" y="1106"/>
                </a:moveTo>
                <a:lnTo>
                  <a:pt x="974" y="1106"/>
                </a:lnTo>
                <a:lnTo>
                  <a:pt x="972" y="1106"/>
                </a:lnTo>
                <a:lnTo>
                  <a:pt x="966" y="1107"/>
                </a:lnTo>
                <a:lnTo>
                  <a:pt x="963" y="1103"/>
                </a:lnTo>
                <a:lnTo>
                  <a:pt x="962" y="1102"/>
                </a:lnTo>
                <a:lnTo>
                  <a:pt x="959" y="1100"/>
                </a:lnTo>
                <a:lnTo>
                  <a:pt x="964" y="1098"/>
                </a:lnTo>
                <a:lnTo>
                  <a:pt x="969" y="1098"/>
                </a:lnTo>
                <a:lnTo>
                  <a:pt x="973" y="1097"/>
                </a:lnTo>
                <a:lnTo>
                  <a:pt x="978" y="1093"/>
                </a:lnTo>
                <a:lnTo>
                  <a:pt x="978" y="1091"/>
                </a:lnTo>
                <a:lnTo>
                  <a:pt x="977" y="1089"/>
                </a:lnTo>
                <a:lnTo>
                  <a:pt x="972" y="1088"/>
                </a:lnTo>
                <a:lnTo>
                  <a:pt x="969" y="1090"/>
                </a:lnTo>
                <a:lnTo>
                  <a:pt x="963" y="1091"/>
                </a:lnTo>
                <a:lnTo>
                  <a:pt x="957" y="1090"/>
                </a:lnTo>
                <a:lnTo>
                  <a:pt x="955" y="1084"/>
                </a:lnTo>
                <a:lnTo>
                  <a:pt x="957" y="1078"/>
                </a:lnTo>
                <a:lnTo>
                  <a:pt x="960" y="1079"/>
                </a:lnTo>
                <a:lnTo>
                  <a:pt x="965" y="1079"/>
                </a:lnTo>
                <a:lnTo>
                  <a:pt x="972" y="1079"/>
                </a:lnTo>
                <a:lnTo>
                  <a:pt x="978" y="1075"/>
                </a:lnTo>
                <a:lnTo>
                  <a:pt x="978" y="1074"/>
                </a:lnTo>
                <a:lnTo>
                  <a:pt x="977" y="1071"/>
                </a:lnTo>
                <a:lnTo>
                  <a:pt x="971" y="1070"/>
                </a:lnTo>
                <a:lnTo>
                  <a:pt x="965" y="1071"/>
                </a:lnTo>
                <a:lnTo>
                  <a:pt x="960" y="1070"/>
                </a:lnTo>
                <a:lnTo>
                  <a:pt x="956" y="1071"/>
                </a:lnTo>
                <a:lnTo>
                  <a:pt x="955" y="1071"/>
                </a:lnTo>
                <a:lnTo>
                  <a:pt x="955" y="1070"/>
                </a:lnTo>
                <a:lnTo>
                  <a:pt x="953" y="1068"/>
                </a:lnTo>
                <a:lnTo>
                  <a:pt x="952" y="1065"/>
                </a:lnTo>
                <a:lnTo>
                  <a:pt x="953" y="1068"/>
                </a:lnTo>
                <a:lnTo>
                  <a:pt x="955" y="1070"/>
                </a:lnTo>
                <a:lnTo>
                  <a:pt x="956" y="1069"/>
                </a:lnTo>
                <a:lnTo>
                  <a:pt x="956" y="1068"/>
                </a:lnTo>
                <a:lnTo>
                  <a:pt x="957" y="1061"/>
                </a:lnTo>
                <a:lnTo>
                  <a:pt x="965" y="1061"/>
                </a:lnTo>
                <a:lnTo>
                  <a:pt x="971" y="1062"/>
                </a:lnTo>
                <a:lnTo>
                  <a:pt x="977" y="1057"/>
                </a:lnTo>
                <a:lnTo>
                  <a:pt x="978" y="1053"/>
                </a:lnTo>
                <a:lnTo>
                  <a:pt x="974" y="1050"/>
                </a:lnTo>
                <a:lnTo>
                  <a:pt x="965" y="1050"/>
                </a:lnTo>
                <a:lnTo>
                  <a:pt x="956" y="1053"/>
                </a:lnTo>
                <a:lnTo>
                  <a:pt x="955" y="1053"/>
                </a:lnTo>
                <a:lnTo>
                  <a:pt x="955" y="1051"/>
                </a:lnTo>
                <a:lnTo>
                  <a:pt x="956" y="1047"/>
                </a:lnTo>
                <a:lnTo>
                  <a:pt x="956" y="1041"/>
                </a:lnTo>
                <a:lnTo>
                  <a:pt x="959" y="1040"/>
                </a:lnTo>
                <a:lnTo>
                  <a:pt x="963" y="1041"/>
                </a:lnTo>
                <a:lnTo>
                  <a:pt x="973" y="1041"/>
                </a:lnTo>
                <a:lnTo>
                  <a:pt x="977" y="1032"/>
                </a:lnTo>
                <a:lnTo>
                  <a:pt x="971" y="1032"/>
                </a:lnTo>
                <a:lnTo>
                  <a:pt x="966" y="1034"/>
                </a:lnTo>
                <a:lnTo>
                  <a:pt x="964" y="1035"/>
                </a:lnTo>
                <a:lnTo>
                  <a:pt x="962" y="1033"/>
                </a:lnTo>
                <a:lnTo>
                  <a:pt x="960" y="1029"/>
                </a:lnTo>
                <a:lnTo>
                  <a:pt x="959" y="1032"/>
                </a:lnTo>
                <a:lnTo>
                  <a:pt x="957" y="1034"/>
                </a:lnTo>
                <a:lnTo>
                  <a:pt x="955" y="1034"/>
                </a:lnTo>
                <a:lnTo>
                  <a:pt x="955" y="1032"/>
                </a:lnTo>
                <a:lnTo>
                  <a:pt x="955" y="1029"/>
                </a:lnTo>
                <a:lnTo>
                  <a:pt x="957" y="1022"/>
                </a:lnTo>
                <a:lnTo>
                  <a:pt x="963" y="1023"/>
                </a:lnTo>
                <a:lnTo>
                  <a:pt x="970" y="1023"/>
                </a:lnTo>
                <a:lnTo>
                  <a:pt x="977" y="1020"/>
                </a:lnTo>
                <a:lnTo>
                  <a:pt x="977" y="1018"/>
                </a:lnTo>
                <a:lnTo>
                  <a:pt x="977" y="1015"/>
                </a:lnTo>
                <a:lnTo>
                  <a:pt x="973" y="1014"/>
                </a:lnTo>
                <a:lnTo>
                  <a:pt x="969" y="1014"/>
                </a:lnTo>
                <a:lnTo>
                  <a:pt x="964" y="1015"/>
                </a:lnTo>
                <a:lnTo>
                  <a:pt x="960" y="1011"/>
                </a:lnTo>
                <a:lnTo>
                  <a:pt x="958" y="1014"/>
                </a:lnTo>
                <a:lnTo>
                  <a:pt x="955" y="1015"/>
                </a:lnTo>
                <a:lnTo>
                  <a:pt x="955" y="1009"/>
                </a:lnTo>
                <a:lnTo>
                  <a:pt x="958" y="1002"/>
                </a:lnTo>
                <a:lnTo>
                  <a:pt x="959" y="1001"/>
                </a:lnTo>
                <a:lnTo>
                  <a:pt x="959" y="999"/>
                </a:lnTo>
                <a:lnTo>
                  <a:pt x="959" y="1000"/>
                </a:lnTo>
                <a:lnTo>
                  <a:pt x="960" y="1000"/>
                </a:lnTo>
                <a:lnTo>
                  <a:pt x="962" y="1004"/>
                </a:lnTo>
                <a:lnTo>
                  <a:pt x="966" y="1006"/>
                </a:lnTo>
                <a:lnTo>
                  <a:pt x="972" y="1005"/>
                </a:lnTo>
                <a:lnTo>
                  <a:pt x="976" y="1000"/>
                </a:lnTo>
                <a:lnTo>
                  <a:pt x="977" y="997"/>
                </a:lnTo>
                <a:lnTo>
                  <a:pt x="972" y="995"/>
                </a:lnTo>
                <a:lnTo>
                  <a:pt x="967" y="997"/>
                </a:lnTo>
                <a:lnTo>
                  <a:pt x="962" y="999"/>
                </a:lnTo>
                <a:lnTo>
                  <a:pt x="962" y="997"/>
                </a:lnTo>
                <a:lnTo>
                  <a:pt x="960" y="994"/>
                </a:lnTo>
                <a:lnTo>
                  <a:pt x="959" y="995"/>
                </a:lnTo>
                <a:lnTo>
                  <a:pt x="959" y="995"/>
                </a:lnTo>
                <a:lnTo>
                  <a:pt x="958" y="998"/>
                </a:lnTo>
                <a:lnTo>
                  <a:pt x="958" y="999"/>
                </a:lnTo>
                <a:lnTo>
                  <a:pt x="953" y="992"/>
                </a:lnTo>
                <a:lnTo>
                  <a:pt x="957" y="986"/>
                </a:lnTo>
                <a:lnTo>
                  <a:pt x="959" y="983"/>
                </a:lnTo>
                <a:lnTo>
                  <a:pt x="956" y="980"/>
                </a:lnTo>
                <a:lnTo>
                  <a:pt x="953" y="976"/>
                </a:lnTo>
                <a:lnTo>
                  <a:pt x="955" y="971"/>
                </a:lnTo>
                <a:lnTo>
                  <a:pt x="955" y="967"/>
                </a:lnTo>
                <a:lnTo>
                  <a:pt x="955" y="965"/>
                </a:lnTo>
                <a:lnTo>
                  <a:pt x="955" y="967"/>
                </a:lnTo>
                <a:lnTo>
                  <a:pt x="955" y="971"/>
                </a:lnTo>
                <a:lnTo>
                  <a:pt x="962" y="969"/>
                </a:lnTo>
                <a:lnTo>
                  <a:pt x="967" y="970"/>
                </a:lnTo>
                <a:lnTo>
                  <a:pt x="973" y="969"/>
                </a:lnTo>
                <a:lnTo>
                  <a:pt x="977" y="963"/>
                </a:lnTo>
                <a:lnTo>
                  <a:pt x="973" y="958"/>
                </a:lnTo>
                <a:lnTo>
                  <a:pt x="969" y="959"/>
                </a:lnTo>
                <a:lnTo>
                  <a:pt x="963" y="959"/>
                </a:lnTo>
                <a:lnTo>
                  <a:pt x="962" y="955"/>
                </a:lnTo>
                <a:lnTo>
                  <a:pt x="958" y="959"/>
                </a:lnTo>
                <a:lnTo>
                  <a:pt x="955" y="963"/>
                </a:lnTo>
                <a:lnTo>
                  <a:pt x="955" y="959"/>
                </a:lnTo>
                <a:lnTo>
                  <a:pt x="955" y="956"/>
                </a:lnTo>
                <a:lnTo>
                  <a:pt x="957" y="950"/>
                </a:lnTo>
                <a:lnTo>
                  <a:pt x="963" y="951"/>
                </a:lnTo>
                <a:lnTo>
                  <a:pt x="970" y="952"/>
                </a:lnTo>
                <a:lnTo>
                  <a:pt x="976" y="948"/>
                </a:lnTo>
                <a:lnTo>
                  <a:pt x="977" y="944"/>
                </a:lnTo>
                <a:lnTo>
                  <a:pt x="973" y="943"/>
                </a:lnTo>
                <a:lnTo>
                  <a:pt x="972" y="942"/>
                </a:lnTo>
                <a:lnTo>
                  <a:pt x="971" y="942"/>
                </a:lnTo>
                <a:lnTo>
                  <a:pt x="963" y="942"/>
                </a:lnTo>
                <a:lnTo>
                  <a:pt x="962" y="935"/>
                </a:lnTo>
                <a:lnTo>
                  <a:pt x="963" y="935"/>
                </a:lnTo>
                <a:lnTo>
                  <a:pt x="965" y="935"/>
                </a:lnTo>
                <a:lnTo>
                  <a:pt x="972" y="936"/>
                </a:lnTo>
                <a:lnTo>
                  <a:pt x="978" y="939"/>
                </a:lnTo>
                <a:lnTo>
                  <a:pt x="980" y="943"/>
                </a:lnTo>
                <a:lnTo>
                  <a:pt x="985" y="944"/>
                </a:lnTo>
                <a:lnTo>
                  <a:pt x="989" y="945"/>
                </a:lnTo>
                <a:lnTo>
                  <a:pt x="989" y="949"/>
                </a:lnTo>
                <a:lnTo>
                  <a:pt x="991" y="949"/>
                </a:lnTo>
                <a:lnTo>
                  <a:pt x="994" y="948"/>
                </a:lnTo>
                <a:lnTo>
                  <a:pt x="991" y="949"/>
                </a:lnTo>
                <a:lnTo>
                  <a:pt x="989" y="950"/>
                </a:lnTo>
                <a:lnTo>
                  <a:pt x="989" y="952"/>
                </a:lnTo>
                <a:lnTo>
                  <a:pt x="990" y="953"/>
                </a:lnTo>
                <a:lnTo>
                  <a:pt x="985" y="955"/>
                </a:lnTo>
                <a:lnTo>
                  <a:pt x="982" y="951"/>
                </a:lnTo>
                <a:lnTo>
                  <a:pt x="979" y="950"/>
                </a:lnTo>
                <a:lnTo>
                  <a:pt x="977" y="951"/>
                </a:lnTo>
                <a:lnTo>
                  <a:pt x="976" y="953"/>
                </a:lnTo>
                <a:lnTo>
                  <a:pt x="977" y="957"/>
                </a:lnTo>
                <a:lnTo>
                  <a:pt x="980" y="960"/>
                </a:lnTo>
                <a:lnTo>
                  <a:pt x="985" y="963"/>
                </a:lnTo>
                <a:lnTo>
                  <a:pt x="989" y="964"/>
                </a:lnTo>
                <a:lnTo>
                  <a:pt x="990" y="969"/>
                </a:lnTo>
                <a:lnTo>
                  <a:pt x="989" y="971"/>
                </a:lnTo>
                <a:lnTo>
                  <a:pt x="990" y="972"/>
                </a:lnTo>
                <a:lnTo>
                  <a:pt x="990" y="972"/>
                </a:lnTo>
                <a:lnTo>
                  <a:pt x="991" y="973"/>
                </a:lnTo>
                <a:lnTo>
                  <a:pt x="990" y="973"/>
                </a:lnTo>
                <a:lnTo>
                  <a:pt x="990" y="972"/>
                </a:lnTo>
                <a:lnTo>
                  <a:pt x="986" y="972"/>
                </a:lnTo>
                <a:lnTo>
                  <a:pt x="984" y="971"/>
                </a:lnTo>
                <a:lnTo>
                  <a:pt x="980" y="969"/>
                </a:lnTo>
                <a:lnTo>
                  <a:pt x="977" y="970"/>
                </a:lnTo>
                <a:lnTo>
                  <a:pt x="977" y="974"/>
                </a:lnTo>
                <a:lnTo>
                  <a:pt x="979" y="977"/>
                </a:lnTo>
                <a:lnTo>
                  <a:pt x="982" y="979"/>
                </a:lnTo>
                <a:lnTo>
                  <a:pt x="985" y="980"/>
                </a:lnTo>
                <a:lnTo>
                  <a:pt x="989" y="980"/>
                </a:lnTo>
                <a:lnTo>
                  <a:pt x="990" y="984"/>
                </a:lnTo>
                <a:lnTo>
                  <a:pt x="989" y="986"/>
                </a:lnTo>
                <a:lnTo>
                  <a:pt x="990" y="990"/>
                </a:lnTo>
                <a:lnTo>
                  <a:pt x="986" y="990"/>
                </a:lnTo>
                <a:lnTo>
                  <a:pt x="984" y="988"/>
                </a:lnTo>
                <a:lnTo>
                  <a:pt x="980" y="987"/>
                </a:lnTo>
                <a:lnTo>
                  <a:pt x="977" y="988"/>
                </a:lnTo>
                <a:lnTo>
                  <a:pt x="977" y="992"/>
                </a:lnTo>
                <a:lnTo>
                  <a:pt x="979" y="995"/>
                </a:lnTo>
                <a:lnTo>
                  <a:pt x="985" y="999"/>
                </a:lnTo>
                <a:lnTo>
                  <a:pt x="991" y="1000"/>
                </a:lnTo>
                <a:lnTo>
                  <a:pt x="989" y="1005"/>
                </a:lnTo>
                <a:lnTo>
                  <a:pt x="990" y="1008"/>
                </a:lnTo>
                <a:lnTo>
                  <a:pt x="986" y="1008"/>
                </a:lnTo>
                <a:lnTo>
                  <a:pt x="983" y="1006"/>
                </a:lnTo>
                <a:lnTo>
                  <a:pt x="980" y="1005"/>
                </a:lnTo>
                <a:lnTo>
                  <a:pt x="977" y="1006"/>
                </a:lnTo>
                <a:lnTo>
                  <a:pt x="976" y="1009"/>
                </a:lnTo>
                <a:lnTo>
                  <a:pt x="978" y="1013"/>
                </a:lnTo>
                <a:lnTo>
                  <a:pt x="982" y="1015"/>
                </a:lnTo>
                <a:lnTo>
                  <a:pt x="985" y="1016"/>
                </a:lnTo>
                <a:lnTo>
                  <a:pt x="989" y="1016"/>
                </a:lnTo>
                <a:lnTo>
                  <a:pt x="991" y="1020"/>
                </a:lnTo>
                <a:lnTo>
                  <a:pt x="990" y="1022"/>
                </a:lnTo>
                <a:lnTo>
                  <a:pt x="992" y="1026"/>
                </a:lnTo>
                <a:lnTo>
                  <a:pt x="989" y="1026"/>
                </a:lnTo>
                <a:lnTo>
                  <a:pt x="985" y="1026"/>
                </a:lnTo>
                <a:lnTo>
                  <a:pt x="978" y="1025"/>
                </a:lnTo>
                <a:lnTo>
                  <a:pt x="977" y="1030"/>
                </a:lnTo>
                <a:lnTo>
                  <a:pt x="984" y="1034"/>
                </a:lnTo>
                <a:lnTo>
                  <a:pt x="991" y="1036"/>
                </a:lnTo>
                <a:lnTo>
                  <a:pt x="990" y="1041"/>
                </a:lnTo>
                <a:lnTo>
                  <a:pt x="991" y="1044"/>
                </a:lnTo>
                <a:lnTo>
                  <a:pt x="991" y="1044"/>
                </a:lnTo>
                <a:lnTo>
                  <a:pt x="987" y="1047"/>
                </a:lnTo>
                <a:lnTo>
                  <a:pt x="985" y="1043"/>
                </a:lnTo>
                <a:lnTo>
                  <a:pt x="982" y="1041"/>
                </a:lnTo>
                <a:lnTo>
                  <a:pt x="978" y="1042"/>
                </a:lnTo>
                <a:lnTo>
                  <a:pt x="977" y="1046"/>
                </a:lnTo>
                <a:lnTo>
                  <a:pt x="979" y="1050"/>
                </a:lnTo>
                <a:lnTo>
                  <a:pt x="986" y="1054"/>
                </a:lnTo>
                <a:lnTo>
                  <a:pt x="992" y="1056"/>
                </a:lnTo>
                <a:lnTo>
                  <a:pt x="990" y="1057"/>
                </a:lnTo>
                <a:lnTo>
                  <a:pt x="991" y="1060"/>
                </a:lnTo>
                <a:lnTo>
                  <a:pt x="990" y="1064"/>
                </a:lnTo>
                <a:lnTo>
                  <a:pt x="985" y="1062"/>
                </a:lnTo>
                <a:lnTo>
                  <a:pt x="982" y="1060"/>
                </a:lnTo>
                <a:lnTo>
                  <a:pt x="978" y="1062"/>
                </a:lnTo>
                <a:lnTo>
                  <a:pt x="977" y="1065"/>
                </a:lnTo>
                <a:lnTo>
                  <a:pt x="980" y="1069"/>
                </a:lnTo>
                <a:lnTo>
                  <a:pt x="983" y="1071"/>
                </a:lnTo>
                <a:lnTo>
                  <a:pt x="987" y="1071"/>
                </a:lnTo>
                <a:lnTo>
                  <a:pt x="990" y="1072"/>
                </a:lnTo>
                <a:lnTo>
                  <a:pt x="992" y="1075"/>
                </a:lnTo>
                <a:lnTo>
                  <a:pt x="991" y="1076"/>
                </a:lnTo>
                <a:lnTo>
                  <a:pt x="991" y="1076"/>
                </a:lnTo>
                <a:lnTo>
                  <a:pt x="992" y="1077"/>
                </a:lnTo>
                <a:lnTo>
                  <a:pt x="992" y="1077"/>
                </a:lnTo>
                <a:lnTo>
                  <a:pt x="992" y="1077"/>
                </a:lnTo>
                <a:lnTo>
                  <a:pt x="991" y="1076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78"/>
                </a:lnTo>
                <a:lnTo>
                  <a:pt x="992" y="1079"/>
                </a:lnTo>
                <a:lnTo>
                  <a:pt x="992" y="1079"/>
                </a:lnTo>
                <a:lnTo>
                  <a:pt x="992" y="1081"/>
                </a:lnTo>
                <a:lnTo>
                  <a:pt x="991" y="1081"/>
                </a:lnTo>
                <a:lnTo>
                  <a:pt x="991" y="1082"/>
                </a:lnTo>
                <a:lnTo>
                  <a:pt x="992" y="1082"/>
                </a:lnTo>
                <a:lnTo>
                  <a:pt x="987" y="1082"/>
                </a:lnTo>
                <a:lnTo>
                  <a:pt x="983" y="1081"/>
                </a:lnTo>
                <a:lnTo>
                  <a:pt x="980" y="1079"/>
                </a:lnTo>
                <a:lnTo>
                  <a:pt x="978" y="1081"/>
                </a:lnTo>
                <a:lnTo>
                  <a:pt x="978" y="1083"/>
                </a:lnTo>
                <a:lnTo>
                  <a:pt x="979" y="1086"/>
                </a:lnTo>
                <a:lnTo>
                  <a:pt x="984" y="1091"/>
                </a:lnTo>
                <a:lnTo>
                  <a:pt x="992" y="1092"/>
                </a:lnTo>
                <a:lnTo>
                  <a:pt x="991" y="1097"/>
                </a:lnTo>
                <a:lnTo>
                  <a:pt x="992" y="1100"/>
                </a:lnTo>
                <a:lnTo>
                  <a:pt x="987" y="1102"/>
                </a:lnTo>
                <a:lnTo>
                  <a:pt x="985" y="1099"/>
                </a:lnTo>
                <a:lnTo>
                  <a:pt x="980" y="1098"/>
                </a:lnTo>
                <a:lnTo>
                  <a:pt x="978" y="1099"/>
                </a:lnTo>
                <a:lnTo>
                  <a:pt x="978" y="1103"/>
                </a:lnTo>
                <a:lnTo>
                  <a:pt x="980" y="1106"/>
                </a:lnTo>
                <a:lnTo>
                  <a:pt x="986" y="1109"/>
                </a:lnTo>
                <a:lnTo>
                  <a:pt x="992" y="1111"/>
                </a:lnTo>
                <a:lnTo>
                  <a:pt x="991" y="1114"/>
                </a:lnTo>
                <a:lnTo>
                  <a:pt x="992" y="1118"/>
                </a:lnTo>
                <a:lnTo>
                  <a:pt x="985" y="1117"/>
                </a:lnTo>
                <a:lnTo>
                  <a:pt x="978" y="1117"/>
                </a:lnTo>
                <a:lnTo>
                  <a:pt x="983" y="1125"/>
                </a:lnTo>
                <a:lnTo>
                  <a:pt x="992" y="1128"/>
                </a:lnTo>
                <a:lnTo>
                  <a:pt x="991" y="1132"/>
                </a:lnTo>
                <a:lnTo>
                  <a:pt x="992" y="1137"/>
                </a:lnTo>
                <a:lnTo>
                  <a:pt x="997" y="1144"/>
                </a:lnTo>
                <a:lnTo>
                  <a:pt x="1000" y="1152"/>
                </a:lnTo>
                <a:lnTo>
                  <a:pt x="997" y="1144"/>
                </a:lnTo>
                <a:lnTo>
                  <a:pt x="992" y="1137"/>
                </a:lnTo>
                <a:lnTo>
                  <a:pt x="990" y="1137"/>
                </a:lnTo>
                <a:lnTo>
                  <a:pt x="989" y="1137"/>
                </a:lnTo>
                <a:lnTo>
                  <a:pt x="989" y="1138"/>
                </a:lnTo>
                <a:lnTo>
                  <a:pt x="987" y="1138"/>
                </a:lnTo>
                <a:lnTo>
                  <a:pt x="989" y="1138"/>
                </a:lnTo>
                <a:lnTo>
                  <a:pt x="989" y="1137"/>
                </a:lnTo>
                <a:lnTo>
                  <a:pt x="987" y="1137"/>
                </a:lnTo>
                <a:lnTo>
                  <a:pt x="986" y="1137"/>
                </a:lnTo>
                <a:lnTo>
                  <a:pt x="985" y="1133"/>
                </a:lnTo>
                <a:lnTo>
                  <a:pt x="983" y="1132"/>
                </a:lnTo>
                <a:lnTo>
                  <a:pt x="982" y="1132"/>
                </a:lnTo>
                <a:lnTo>
                  <a:pt x="982" y="1131"/>
                </a:lnTo>
                <a:lnTo>
                  <a:pt x="980" y="1131"/>
                </a:lnTo>
                <a:lnTo>
                  <a:pt x="977" y="1125"/>
                </a:lnTo>
                <a:lnTo>
                  <a:pt x="971" y="1125"/>
                </a:lnTo>
                <a:lnTo>
                  <a:pt x="967" y="1126"/>
                </a:lnTo>
                <a:lnTo>
                  <a:pt x="963" y="1126"/>
                </a:lnTo>
                <a:lnTo>
                  <a:pt x="964" y="1123"/>
                </a:lnTo>
                <a:lnTo>
                  <a:pt x="963" y="1120"/>
                </a:lnTo>
                <a:lnTo>
                  <a:pt x="960" y="1121"/>
                </a:lnTo>
                <a:lnTo>
                  <a:pt x="959" y="1124"/>
                </a:lnTo>
                <a:lnTo>
                  <a:pt x="958" y="1126"/>
                </a:lnTo>
                <a:lnTo>
                  <a:pt x="956" y="1126"/>
                </a:lnTo>
                <a:lnTo>
                  <a:pt x="956" y="1123"/>
                </a:lnTo>
                <a:lnTo>
                  <a:pt x="956" y="1120"/>
                </a:lnTo>
                <a:lnTo>
                  <a:pt x="957" y="1114"/>
                </a:lnTo>
                <a:lnTo>
                  <a:pt x="964" y="1116"/>
                </a:lnTo>
                <a:lnTo>
                  <a:pt x="971" y="1116"/>
                </a:lnTo>
                <a:lnTo>
                  <a:pt x="978" y="1111"/>
                </a:lnTo>
                <a:lnTo>
                  <a:pt x="979" y="1109"/>
                </a:lnTo>
                <a:lnTo>
                  <a:pt x="977" y="1106"/>
                </a:lnTo>
                <a:close/>
                <a:moveTo>
                  <a:pt x="951" y="1179"/>
                </a:moveTo>
                <a:lnTo>
                  <a:pt x="950" y="1177"/>
                </a:lnTo>
                <a:lnTo>
                  <a:pt x="949" y="1177"/>
                </a:lnTo>
                <a:lnTo>
                  <a:pt x="949" y="1176"/>
                </a:lnTo>
                <a:lnTo>
                  <a:pt x="949" y="1174"/>
                </a:lnTo>
                <a:lnTo>
                  <a:pt x="949" y="1172"/>
                </a:lnTo>
                <a:lnTo>
                  <a:pt x="949" y="1169"/>
                </a:lnTo>
                <a:lnTo>
                  <a:pt x="949" y="1168"/>
                </a:lnTo>
                <a:lnTo>
                  <a:pt x="950" y="1167"/>
                </a:lnTo>
                <a:lnTo>
                  <a:pt x="952" y="1167"/>
                </a:lnTo>
                <a:lnTo>
                  <a:pt x="953" y="1168"/>
                </a:lnTo>
                <a:lnTo>
                  <a:pt x="953" y="1170"/>
                </a:lnTo>
                <a:lnTo>
                  <a:pt x="955" y="1174"/>
                </a:lnTo>
                <a:lnTo>
                  <a:pt x="953" y="1176"/>
                </a:lnTo>
                <a:lnTo>
                  <a:pt x="951" y="1179"/>
                </a:lnTo>
                <a:close/>
                <a:moveTo>
                  <a:pt x="946" y="1181"/>
                </a:moveTo>
                <a:lnTo>
                  <a:pt x="948" y="1179"/>
                </a:lnTo>
                <a:lnTo>
                  <a:pt x="949" y="1177"/>
                </a:lnTo>
                <a:lnTo>
                  <a:pt x="948" y="1179"/>
                </a:lnTo>
                <a:lnTo>
                  <a:pt x="946" y="1181"/>
                </a:lnTo>
                <a:close/>
                <a:moveTo>
                  <a:pt x="935" y="1177"/>
                </a:moveTo>
                <a:lnTo>
                  <a:pt x="934" y="1174"/>
                </a:lnTo>
                <a:lnTo>
                  <a:pt x="935" y="1170"/>
                </a:lnTo>
                <a:lnTo>
                  <a:pt x="939" y="1168"/>
                </a:lnTo>
                <a:lnTo>
                  <a:pt x="945" y="1168"/>
                </a:lnTo>
                <a:lnTo>
                  <a:pt x="946" y="1170"/>
                </a:lnTo>
                <a:lnTo>
                  <a:pt x="946" y="1175"/>
                </a:lnTo>
                <a:lnTo>
                  <a:pt x="946" y="1176"/>
                </a:lnTo>
                <a:lnTo>
                  <a:pt x="946" y="1177"/>
                </a:lnTo>
                <a:lnTo>
                  <a:pt x="946" y="1179"/>
                </a:lnTo>
                <a:lnTo>
                  <a:pt x="946" y="1181"/>
                </a:lnTo>
                <a:lnTo>
                  <a:pt x="939" y="1183"/>
                </a:lnTo>
                <a:lnTo>
                  <a:pt x="935" y="1177"/>
                </a:lnTo>
                <a:close/>
                <a:moveTo>
                  <a:pt x="937" y="1337"/>
                </a:move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37" y="1336"/>
                </a:lnTo>
                <a:lnTo>
                  <a:pt x="941" y="1334"/>
                </a:lnTo>
                <a:lnTo>
                  <a:pt x="944" y="1333"/>
                </a:lnTo>
                <a:lnTo>
                  <a:pt x="941" y="1335"/>
                </a:lnTo>
                <a:lnTo>
                  <a:pt x="937" y="1337"/>
                </a:lnTo>
                <a:close/>
                <a:moveTo>
                  <a:pt x="927" y="1180"/>
                </a:moveTo>
                <a:lnTo>
                  <a:pt x="925" y="1183"/>
                </a:lnTo>
                <a:lnTo>
                  <a:pt x="923" y="1188"/>
                </a:lnTo>
                <a:lnTo>
                  <a:pt x="923" y="1188"/>
                </a:lnTo>
                <a:lnTo>
                  <a:pt x="922" y="1189"/>
                </a:lnTo>
                <a:lnTo>
                  <a:pt x="923" y="1188"/>
                </a:lnTo>
                <a:lnTo>
                  <a:pt x="923" y="1188"/>
                </a:lnTo>
                <a:lnTo>
                  <a:pt x="921" y="1180"/>
                </a:lnTo>
                <a:lnTo>
                  <a:pt x="922" y="1173"/>
                </a:lnTo>
                <a:lnTo>
                  <a:pt x="925" y="1172"/>
                </a:lnTo>
                <a:lnTo>
                  <a:pt x="929" y="1172"/>
                </a:lnTo>
                <a:lnTo>
                  <a:pt x="931" y="1174"/>
                </a:lnTo>
                <a:lnTo>
                  <a:pt x="932" y="1177"/>
                </a:lnTo>
                <a:lnTo>
                  <a:pt x="932" y="1180"/>
                </a:lnTo>
                <a:lnTo>
                  <a:pt x="934" y="1183"/>
                </a:lnTo>
                <a:lnTo>
                  <a:pt x="929" y="1183"/>
                </a:lnTo>
                <a:lnTo>
                  <a:pt x="927" y="1180"/>
                </a:lnTo>
                <a:close/>
                <a:moveTo>
                  <a:pt x="918" y="1187"/>
                </a:moveTo>
                <a:lnTo>
                  <a:pt x="915" y="1188"/>
                </a:lnTo>
                <a:lnTo>
                  <a:pt x="913" y="1188"/>
                </a:lnTo>
                <a:lnTo>
                  <a:pt x="911" y="1188"/>
                </a:lnTo>
                <a:lnTo>
                  <a:pt x="911" y="1187"/>
                </a:lnTo>
                <a:lnTo>
                  <a:pt x="911" y="1188"/>
                </a:lnTo>
                <a:lnTo>
                  <a:pt x="913" y="1188"/>
                </a:lnTo>
                <a:lnTo>
                  <a:pt x="913" y="1186"/>
                </a:lnTo>
                <a:lnTo>
                  <a:pt x="913" y="1182"/>
                </a:lnTo>
                <a:lnTo>
                  <a:pt x="914" y="1181"/>
                </a:lnTo>
                <a:lnTo>
                  <a:pt x="913" y="1180"/>
                </a:lnTo>
                <a:lnTo>
                  <a:pt x="913" y="1176"/>
                </a:lnTo>
                <a:lnTo>
                  <a:pt x="915" y="1174"/>
                </a:lnTo>
                <a:lnTo>
                  <a:pt x="917" y="1176"/>
                </a:lnTo>
                <a:lnTo>
                  <a:pt x="917" y="1180"/>
                </a:lnTo>
                <a:lnTo>
                  <a:pt x="917" y="1183"/>
                </a:lnTo>
                <a:lnTo>
                  <a:pt x="918" y="1187"/>
                </a:lnTo>
                <a:lnTo>
                  <a:pt x="920" y="1188"/>
                </a:lnTo>
                <a:lnTo>
                  <a:pt x="920" y="1189"/>
                </a:lnTo>
                <a:lnTo>
                  <a:pt x="920" y="1188"/>
                </a:lnTo>
                <a:lnTo>
                  <a:pt x="918" y="1187"/>
                </a:lnTo>
                <a:close/>
                <a:moveTo>
                  <a:pt x="914" y="1205"/>
                </a:moveTo>
                <a:lnTo>
                  <a:pt x="915" y="1207"/>
                </a:lnTo>
                <a:lnTo>
                  <a:pt x="916" y="1208"/>
                </a:lnTo>
                <a:lnTo>
                  <a:pt x="915" y="1207"/>
                </a:lnTo>
                <a:lnTo>
                  <a:pt x="914" y="1205"/>
                </a:lnTo>
                <a:close/>
                <a:moveTo>
                  <a:pt x="909" y="1190"/>
                </a:moveTo>
                <a:lnTo>
                  <a:pt x="907" y="1189"/>
                </a:lnTo>
                <a:lnTo>
                  <a:pt x="907" y="1187"/>
                </a:lnTo>
                <a:lnTo>
                  <a:pt x="907" y="1181"/>
                </a:lnTo>
                <a:lnTo>
                  <a:pt x="907" y="1175"/>
                </a:lnTo>
                <a:lnTo>
                  <a:pt x="907" y="1175"/>
                </a:lnTo>
                <a:lnTo>
                  <a:pt x="908" y="1175"/>
                </a:lnTo>
                <a:lnTo>
                  <a:pt x="910" y="1175"/>
                </a:lnTo>
                <a:lnTo>
                  <a:pt x="910" y="1181"/>
                </a:lnTo>
                <a:lnTo>
                  <a:pt x="910" y="1187"/>
                </a:lnTo>
                <a:lnTo>
                  <a:pt x="910" y="1187"/>
                </a:lnTo>
                <a:lnTo>
                  <a:pt x="910" y="1189"/>
                </a:lnTo>
                <a:lnTo>
                  <a:pt x="909" y="1190"/>
                </a:lnTo>
                <a:close/>
                <a:moveTo>
                  <a:pt x="904" y="1399"/>
                </a:moveTo>
                <a:lnTo>
                  <a:pt x="907" y="1402"/>
                </a:lnTo>
                <a:lnTo>
                  <a:pt x="909" y="1404"/>
                </a:lnTo>
                <a:lnTo>
                  <a:pt x="907" y="1402"/>
                </a:lnTo>
                <a:lnTo>
                  <a:pt x="904" y="1399"/>
                </a:lnTo>
                <a:close/>
                <a:moveTo>
                  <a:pt x="893" y="1381"/>
                </a:moveTo>
                <a:lnTo>
                  <a:pt x="893" y="1381"/>
                </a:lnTo>
                <a:lnTo>
                  <a:pt x="891" y="1379"/>
                </a:lnTo>
                <a:lnTo>
                  <a:pt x="898" y="1376"/>
                </a:lnTo>
                <a:lnTo>
                  <a:pt x="905" y="1372"/>
                </a:lnTo>
                <a:lnTo>
                  <a:pt x="905" y="1372"/>
                </a:lnTo>
                <a:lnTo>
                  <a:pt x="905" y="1372"/>
                </a:lnTo>
                <a:lnTo>
                  <a:pt x="902" y="1376"/>
                </a:lnTo>
                <a:lnTo>
                  <a:pt x="898" y="1379"/>
                </a:lnTo>
                <a:lnTo>
                  <a:pt x="896" y="1379"/>
                </a:lnTo>
                <a:lnTo>
                  <a:pt x="893" y="1381"/>
                </a:lnTo>
                <a:close/>
                <a:moveTo>
                  <a:pt x="870" y="1467"/>
                </a:moveTo>
                <a:lnTo>
                  <a:pt x="877" y="1465"/>
                </a:lnTo>
                <a:lnTo>
                  <a:pt x="886" y="1463"/>
                </a:lnTo>
                <a:lnTo>
                  <a:pt x="879" y="1465"/>
                </a:lnTo>
                <a:lnTo>
                  <a:pt x="870" y="1467"/>
                </a:lnTo>
                <a:close/>
                <a:moveTo>
                  <a:pt x="867" y="1291"/>
                </a:moveTo>
                <a:lnTo>
                  <a:pt x="866" y="1294"/>
                </a:lnTo>
                <a:lnTo>
                  <a:pt x="865" y="1297"/>
                </a:lnTo>
                <a:lnTo>
                  <a:pt x="863" y="1299"/>
                </a:lnTo>
                <a:lnTo>
                  <a:pt x="862" y="1299"/>
                </a:lnTo>
                <a:lnTo>
                  <a:pt x="863" y="1299"/>
                </a:lnTo>
                <a:lnTo>
                  <a:pt x="865" y="1297"/>
                </a:lnTo>
                <a:lnTo>
                  <a:pt x="861" y="1297"/>
                </a:lnTo>
                <a:lnTo>
                  <a:pt x="859" y="1299"/>
                </a:lnTo>
                <a:lnTo>
                  <a:pt x="856" y="1299"/>
                </a:lnTo>
                <a:lnTo>
                  <a:pt x="854" y="1300"/>
                </a:lnTo>
                <a:lnTo>
                  <a:pt x="851" y="1300"/>
                </a:lnTo>
                <a:lnTo>
                  <a:pt x="848" y="1299"/>
                </a:lnTo>
                <a:lnTo>
                  <a:pt x="848" y="1297"/>
                </a:lnTo>
                <a:lnTo>
                  <a:pt x="851" y="1293"/>
                </a:lnTo>
                <a:lnTo>
                  <a:pt x="853" y="1284"/>
                </a:lnTo>
                <a:lnTo>
                  <a:pt x="853" y="1273"/>
                </a:lnTo>
                <a:lnTo>
                  <a:pt x="853" y="1264"/>
                </a:lnTo>
                <a:lnTo>
                  <a:pt x="858" y="1252"/>
                </a:lnTo>
                <a:lnTo>
                  <a:pt x="859" y="1266"/>
                </a:lnTo>
                <a:lnTo>
                  <a:pt x="858" y="1278"/>
                </a:lnTo>
                <a:lnTo>
                  <a:pt x="859" y="1287"/>
                </a:lnTo>
                <a:lnTo>
                  <a:pt x="867" y="1291"/>
                </a:lnTo>
                <a:lnTo>
                  <a:pt x="869" y="1286"/>
                </a:lnTo>
                <a:lnTo>
                  <a:pt x="869" y="1280"/>
                </a:lnTo>
                <a:lnTo>
                  <a:pt x="869" y="1286"/>
                </a:lnTo>
                <a:lnTo>
                  <a:pt x="867" y="1291"/>
                </a:lnTo>
                <a:close/>
                <a:moveTo>
                  <a:pt x="846" y="1466"/>
                </a:moveTo>
                <a:lnTo>
                  <a:pt x="847" y="1467"/>
                </a:lnTo>
                <a:lnTo>
                  <a:pt x="848" y="1467"/>
                </a:lnTo>
                <a:lnTo>
                  <a:pt x="847" y="1467"/>
                </a:lnTo>
                <a:lnTo>
                  <a:pt x="846" y="1466"/>
                </a:lnTo>
                <a:close/>
                <a:moveTo>
                  <a:pt x="853" y="1203"/>
                </a:moveTo>
                <a:lnTo>
                  <a:pt x="851" y="1204"/>
                </a:lnTo>
                <a:lnTo>
                  <a:pt x="847" y="1204"/>
                </a:lnTo>
                <a:lnTo>
                  <a:pt x="851" y="1204"/>
                </a:lnTo>
                <a:lnTo>
                  <a:pt x="853" y="1203"/>
                </a:lnTo>
                <a:close/>
                <a:moveTo>
                  <a:pt x="844" y="1202"/>
                </a:moveTo>
                <a:lnTo>
                  <a:pt x="844" y="1196"/>
                </a:lnTo>
                <a:lnTo>
                  <a:pt x="844" y="1189"/>
                </a:lnTo>
                <a:lnTo>
                  <a:pt x="848" y="1196"/>
                </a:lnTo>
                <a:lnTo>
                  <a:pt x="847" y="1204"/>
                </a:lnTo>
                <a:lnTo>
                  <a:pt x="845" y="1204"/>
                </a:lnTo>
                <a:lnTo>
                  <a:pt x="844" y="1202"/>
                </a:lnTo>
                <a:lnTo>
                  <a:pt x="844" y="1202"/>
                </a:lnTo>
                <a:close/>
                <a:moveTo>
                  <a:pt x="838" y="1207"/>
                </a:moveTo>
                <a:lnTo>
                  <a:pt x="835" y="1203"/>
                </a:lnTo>
                <a:lnTo>
                  <a:pt x="835" y="1198"/>
                </a:lnTo>
                <a:lnTo>
                  <a:pt x="835" y="1195"/>
                </a:lnTo>
                <a:lnTo>
                  <a:pt x="839" y="1193"/>
                </a:lnTo>
                <a:lnTo>
                  <a:pt x="841" y="1196"/>
                </a:lnTo>
                <a:lnTo>
                  <a:pt x="841" y="1201"/>
                </a:lnTo>
                <a:lnTo>
                  <a:pt x="841" y="1205"/>
                </a:lnTo>
                <a:lnTo>
                  <a:pt x="838" y="1207"/>
                </a:lnTo>
                <a:close/>
                <a:moveTo>
                  <a:pt x="834" y="1204"/>
                </a:moveTo>
                <a:lnTo>
                  <a:pt x="834" y="1207"/>
                </a:lnTo>
                <a:lnTo>
                  <a:pt x="832" y="1208"/>
                </a:lnTo>
                <a:lnTo>
                  <a:pt x="829" y="1207"/>
                </a:lnTo>
                <a:lnTo>
                  <a:pt x="829" y="1207"/>
                </a:lnTo>
                <a:lnTo>
                  <a:pt x="829" y="1198"/>
                </a:lnTo>
                <a:lnTo>
                  <a:pt x="834" y="1190"/>
                </a:lnTo>
                <a:lnTo>
                  <a:pt x="834" y="1198"/>
                </a:lnTo>
                <a:lnTo>
                  <a:pt x="834" y="1204"/>
                </a:lnTo>
                <a:close/>
                <a:moveTo>
                  <a:pt x="831" y="1424"/>
                </a:moveTo>
                <a:lnTo>
                  <a:pt x="829" y="1423"/>
                </a:lnTo>
                <a:lnTo>
                  <a:pt x="828" y="1423"/>
                </a:lnTo>
                <a:lnTo>
                  <a:pt x="829" y="1423"/>
                </a:lnTo>
                <a:lnTo>
                  <a:pt x="831" y="1424"/>
                </a:lnTo>
                <a:lnTo>
                  <a:pt x="831" y="1424"/>
                </a:lnTo>
                <a:close/>
                <a:moveTo>
                  <a:pt x="824" y="1209"/>
                </a:moveTo>
                <a:lnTo>
                  <a:pt x="821" y="1209"/>
                </a:lnTo>
                <a:lnTo>
                  <a:pt x="819" y="1204"/>
                </a:lnTo>
                <a:lnTo>
                  <a:pt x="818" y="1209"/>
                </a:lnTo>
                <a:lnTo>
                  <a:pt x="818" y="1213"/>
                </a:lnTo>
                <a:lnTo>
                  <a:pt x="814" y="1203"/>
                </a:lnTo>
                <a:lnTo>
                  <a:pt x="820" y="1195"/>
                </a:lnTo>
                <a:lnTo>
                  <a:pt x="824" y="1195"/>
                </a:lnTo>
                <a:lnTo>
                  <a:pt x="825" y="1196"/>
                </a:lnTo>
                <a:lnTo>
                  <a:pt x="826" y="1203"/>
                </a:lnTo>
                <a:lnTo>
                  <a:pt x="824" y="1209"/>
                </a:lnTo>
                <a:close/>
                <a:moveTo>
                  <a:pt x="812" y="1438"/>
                </a:moveTo>
                <a:lnTo>
                  <a:pt x="813" y="1438"/>
                </a:lnTo>
                <a:lnTo>
                  <a:pt x="814" y="1437"/>
                </a:lnTo>
                <a:lnTo>
                  <a:pt x="813" y="1438"/>
                </a:lnTo>
                <a:lnTo>
                  <a:pt x="812" y="1438"/>
                </a:lnTo>
                <a:close/>
                <a:moveTo>
                  <a:pt x="806" y="1213"/>
                </a:moveTo>
                <a:lnTo>
                  <a:pt x="806" y="1205"/>
                </a:lnTo>
                <a:lnTo>
                  <a:pt x="808" y="1198"/>
                </a:lnTo>
                <a:lnTo>
                  <a:pt x="811" y="1205"/>
                </a:lnTo>
                <a:lnTo>
                  <a:pt x="806" y="1213"/>
                </a:lnTo>
                <a:close/>
                <a:moveTo>
                  <a:pt x="808" y="1461"/>
                </a:moveTo>
                <a:lnTo>
                  <a:pt x="810" y="1461"/>
                </a:lnTo>
                <a:lnTo>
                  <a:pt x="810" y="1461"/>
                </a:lnTo>
                <a:lnTo>
                  <a:pt x="810" y="1461"/>
                </a:lnTo>
                <a:lnTo>
                  <a:pt x="808" y="1461"/>
                </a:lnTo>
                <a:close/>
                <a:moveTo>
                  <a:pt x="796" y="1215"/>
                </a:moveTo>
                <a:lnTo>
                  <a:pt x="794" y="1213"/>
                </a:lnTo>
                <a:lnTo>
                  <a:pt x="794" y="1211"/>
                </a:lnTo>
                <a:lnTo>
                  <a:pt x="794" y="1213"/>
                </a:lnTo>
                <a:lnTo>
                  <a:pt x="796" y="1215"/>
                </a:lnTo>
                <a:lnTo>
                  <a:pt x="796" y="1210"/>
                </a:lnTo>
                <a:lnTo>
                  <a:pt x="796" y="1205"/>
                </a:lnTo>
                <a:lnTo>
                  <a:pt x="796" y="1204"/>
                </a:lnTo>
                <a:lnTo>
                  <a:pt x="794" y="1203"/>
                </a:lnTo>
                <a:lnTo>
                  <a:pt x="800" y="1204"/>
                </a:lnTo>
                <a:lnTo>
                  <a:pt x="803" y="1209"/>
                </a:lnTo>
                <a:lnTo>
                  <a:pt x="800" y="1214"/>
                </a:lnTo>
                <a:lnTo>
                  <a:pt x="796" y="1215"/>
                </a:lnTo>
                <a:close/>
                <a:moveTo>
                  <a:pt x="792" y="1211"/>
                </a:moveTo>
                <a:lnTo>
                  <a:pt x="791" y="1216"/>
                </a:lnTo>
                <a:lnTo>
                  <a:pt x="787" y="1220"/>
                </a:lnTo>
                <a:lnTo>
                  <a:pt x="784" y="1218"/>
                </a:lnTo>
                <a:lnTo>
                  <a:pt x="782" y="1220"/>
                </a:lnTo>
                <a:lnTo>
                  <a:pt x="780" y="1216"/>
                </a:lnTo>
                <a:lnTo>
                  <a:pt x="777" y="1215"/>
                </a:lnTo>
                <a:lnTo>
                  <a:pt x="775" y="1217"/>
                </a:lnTo>
                <a:lnTo>
                  <a:pt x="775" y="1221"/>
                </a:lnTo>
                <a:lnTo>
                  <a:pt x="772" y="1221"/>
                </a:lnTo>
                <a:lnTo>
                  <a:pt x="770" y="1221"/>
                </a:lnTo>
                <a:lnTo>
                  <a:pt x="770" y="1221"/>
                </a:lnTo>
                <a:lnTo>
                  <a:pt x="769" y="1216"/>
                </a:lnTo>
                <a:lnTo>
                  <a:pt x="769" y="1211"/>
                </a:lnTo>
                <a:lnTo>
                  <a:pt x="770" y="1208"/>
                </a:lnTo>
                <a:lnTo>
                  <a:pt x="772" y="1207"/>
                </a:lnTo>
                <a:lnTo>
                  <a:pt x="779" y="1207"/>
                </a:lnTo>
                <a:lnTo>
                  <a:pt x="785" y="1203"/>
                </a:lnTo>
                <a:lnTo>
                  <a:pt x="791" y="1204"/>
                </a:lnTo>
                <a:lnTo>
                  <a:pt x="792" y="1211"/>
                </a:lnTo>
                <a:close/>
                <a:moveTo>
                  <a:pt x="789" y="1372"/>
                </a:moveTo>
                <a:lnTo>
                  <a:pt x="789" y="1371"/>
                </a:lnTo>
                <a:lnTo>
                  <a:pt x="789" y="1371"/>
                </a:lnTo>
                <a:lnTo>
                  <a:pt x="789" y="1371"/>
                </a:lnTo>
                <a:lnTo>
                  <a:pt x="789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90" y="1372"/>
                </a:lnTo>
                <a:lnTo>
                  <a:pt x="789" y="1372"/>
                </a:lnTo>
                <a:close/>
                <a:moveTo>
                  <a:pt x="787" y="1350"/>
                </a:moveTo>
                <a:lnTo>
                  <a:pt x="787" y="1351"/>
                </a:lnTo>
                <a:lnTo>
                  <a:pt x="789" y="1353"/>
                </a:lnTo>
                <a:lnTo>
                  <a:pt x="787" y="1351"/>
                </a:lnTo>
                <a:lnTo>
                  <a:pt x="787" y="1350"/>
                </a:lnTo>
                <a:close/>
                <a:moveTo>
                  <a:pt x="768" y="1661"/>
                </a:moveTo>
                <a:lnTo>
                  <a:pt x="770" y="1661"/>
                </a:lnTo>
                <a:lnTo>
                  <a:pt x="771" y="1658"/>
                </a:lnTo>
                <a:lnTo>
                  <a:pt x="770" y="1661"/>
                </a:lnTo>
                <a:lnTo>
                  <a:pt x="768" y="1661"/>
                </a:lnTo>
                <a:close/>
                <a:moveTo>
                  <a:pt x="764" y="1213"/>
                </a:moveTo>
                <a:lnTo>
                  <a:pt x="763" y="1217"/>
                </a:lnTo>
                <a:lnTo>
                  <a:pt x="764" y="1223"/>
                </a:lnTo>
                <a:lnTo>
                  <a:pt x="760" y="1223"/>
                </a:lnTo>
                <a:lnTo>
                  <a:pt x="758" y="1223"/>
                </a:lnTo>
                <a:lnTo>
                  <a:pt x="759" y="1217"/>
                </a:lnTo>
                <a:lnTo>
                  <a:pt x="760" y="1210"/>
                </a:lnTo>
                <a:lnTo>
                  <a:pt x="762" y="1209"/>
                </a:lnTo>
                <a:lnTo>
                  <a:pt x="764" y="1208"/>
                </a:lnTo>
                <a:lnTo>
                  <a:pt x="765" y="1210"/>
                </a:lnTo>
                <a:lnTo>
                  <a:pt x="764" y="1213"/>
                </a:lnTo>
                <a:close/>
                <a:moveTo>
                  <a:pt x="760" y="1531"/>
                </a:moveTo>
                <a:lnTo>
                  <a:pt x="763" y="1530"/>
                </a:lnTo>
                <a:lnTo>
                  <a:pt x="764" y="1530"/>
                </a:lnTo>
                <a:lnTo>
                  <a:pt x="763" y="1530"/>
                </a:lnTo>
                <a:lnTo>
                  <a:pt x="760" y="1531"/>
                </a:lnTo>
                <a:close/>
                <a:moveTo>
                  <a:pt x="753" y="1320"/>
                </a:moveTo>
                <a:lnTo>
                  <a:pt x="745" y="1322"/>
                </a:lnTo>
                <a:lnTo>
                  <a:pt x="737" y="1325"/>
                </a:lnTo>
                <a:lnTo>
                  <a:pt x="741" y="1315"/>
                </a:lnTo>
                <a:lnTo>
                  <a:pt x="742" y="1305"/>
                </a:lnTo>
                <a:lnTo>
                  <a:pt x="742" y="1301"/>
                </a:lnTo>
                <a:lnTo>
                  <a:pt x="742" y="1297"/>
                </a:lnTo>
                <a:lnTo>
                  <a:pt x="742" y="1301"/>
                </a:lnTo>
                <a:lnTo>
                  <a:pt x="742" y="1305"/>
                </a:lnTo>
                <a:lnTo>
                  <a:pt x="745" y="1302"/>
                </a:lnTo>
                <a:lnTo>
                  <a:pt x="746" y="1299"/>
                </a:lnTo>
                <a:lnTo>
                  <a:pt x="746" y="1304"/>
                </a:lnTo>
                <a:lnTo>
                  <a:pt x="746" y="1309"/>
                </a:lnTo>
                <a:lnTo>
                  <a:pt x="748" y="1314"/>
                </a:lnTo>
                <a:lnTo>
                  <a:pt x="752" y="1315"/>
                </a:lnTo>
                <a:lnTo>
                  <a:pt x="755" y="1315"/>
                </a:lnTo>
                <a:lnTo>
                  <a:pt x="756" y="1318"/>
                </a:lnTo>
                <a:lnTo>
                  <a:pt x="756" y="1320"/>
                </a:lnTo>
                <a:lnTo>
                  <a:pt x="753" y="1320"/>
                </a:lnTo>
                <a:close/>
                <a:moveTo>
                  <a:pt x="743" y="1391"/>
                </a:moveTo>
                <a:lnTo>
                  <a:pt x="743" y="1391"/>
                </a:lnTo>
                <a:lnTo>
                  <a:pt x="744" y="1391"/>
                </a:lnTo>
                <a:lnTo>
                  <a:pt x="743" y="1391"/>
                </a:lnTo>
                <a:lnTo>
                  <a:pt x="743" y="1391"/>
                </a:lnTo>
                <a:close/>
                <a:moveTo>
                  <a:pt x="743" y="1389"/>
                </a:move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lnTo>
                  <a:pt x="743" y="1389"/>
                </a:lnTo>
                <a:close/>
                <a:moveTo>
                  <a:pt x="742" y="1426"/>
                </a:moveTo>
                <a:lnTo>
                  <a:pt x="745" y="1420"/>
                </a:lnTo>
                <a:lnTo>
                  <a:pt x="741" y="1410"/>
                </a:lnTo>
                <a:lnTo>
                  <a:pt x="741" y="1410"/>
                </a:lnTo>
                <a:lnTo>
                  <a:pt x="745" y="1420"/>
                </a:lnTo>
                <a:lnTo>
                  <a:pt x="742" y="1426"/>
                </a:lnTo>
                <a:close/>
                <a:moveTo>
                  <a:pt x="731" y="1227"/>
                </a:moveTo>
                <a:lnTo>
                  <a:pt x="731" y="1221"/>
                </a:lnTo>
                <a:lnTo>
                  <a:pt x="729" y="1216"/>
                </a:lnTo>
                <a:lnTo>
                  <a:pt x="738" y="1216"/>
                </a:lnTo>
                <a:lnTo>
                  <a:pt x="742" y="1224"/>
                </a:lnTo>
                <a:lnTo>
                  <a:pt x="744" y="1225"/>
                </a:lnTo>
                <a:lnTo>
                  <a:pt x="746" y="1225"/>
                </a:lnTo>
                <a:lnTo>
                  <a:pt x="739" y="1229"/>
                </a:lnTo>
                <a:lnTo>
                  <a:pt x="731" y="1227"/>
                </a:lnTo>
                <a:close/>
                <a:moveTo>
                  <a:pt x="724" y="1238"/>
                </a:moveTo>
                <a:lnTo>
                  <a:pt x="725" y="1238"/>
                </a:lnTo>
                <a:lnTo>
                  <a:pt x="727" y="1238"/>
                </a:lnTo>
                <a:lnTo>
                  <a:pt x="725" y="1238"/>
                </a:lnTo>
                <a:lnTo>
                  <a:pt x="724" y="1238"/>
                </a:lnTo>
                <a:close/>
                <a:moveTo>
                  <a:pt x="724" y="1238"/>
                </a:moveTo>
                <a:lnTo>
                  <a:pt x="723" y="1239"/>
                </a:lnTo>
                <a:lnTo>
                  <a:pt x="722" y="1241"/>
                </a:lnTo>
                <a:lnTo>
                  <a:pt x="723" y="1239"/>
                </a:lnTo>
                <a:lnTo>
                  <a:pt x="724" y="1238"/>
                </a:lnTo>
                <a:close/>
                <a:moveTo>
                  <a:pt x="714" y="1227"/>
                </a:moveTo>
                <a:lnTo>
                  <a:pt x="714" y="1224"/>
                </a:lnTo>
                <a:lnTo>
                  <a:pt x="711" y="1223"/>
                </a:lnTo>
                <a:lnTo>
                  <a:pt x="710" y="1227"/>
                </a:lnTo>
                <a:lnTo>
                  <a:pt x="710" y="1231"/>
                </a:lnTo>
                <a:lnTo>
                  <a:pt x="707" y="1235"/>
                </a:lnTo>
                <a:lnTo>
                  <a:pt x="702" y="1237"/>
                </a:lnTo>
                <a:lnTo>
                  <a:pt x="702" y="1235"/>
                </a:lnTo>
                <a:lnTo>
                  <a:pt x="702" y="1234"/>
                </a:lnTo>
                <a:lnTo>
                  <a:pt x="706" y="1223"/>
                </a:lnTo>
                <a:lnTo>
                  <a:pt x="715" y="1218"/>
                </a:lnTo>
                <a:lnTo>
                  <a:pt x="718" y="1222"/>
                </a:lnTo>
                <a:lnTo>
                  <a:pt x="718" y="1225"/>
                </a:lnTo>
                <a:lnTo>
                  <a:pt x="718" y="1229"/>
                </a:lnTo>
                <a:lnTo>
                  <a:pt x="721" y="1231"/>
                </a:lnTo>
                <a:lnTo>
                  <a:pt x="722" y="1229"/>
                </a:lnTo>
                <a:lnTo>
                  <a:pt x="721" y="1224"/>
                </a:lnTo>
                <a:lnTo>
                  <a:pt x="721" y="1223"/>
                </a:lnTo>
                <a:lnTo>
                  <a:pt x="722" y="1222"/>
                </a:lnTo>
                <a:lnTo>
                  <a:pt x="722" y="1220"/>
                </a:lnTo>
                <a:lnTo>
                  <a:pt x="724" y="1218"/>
                </a:lnTo>
                <a:lnTo>
                  <a:pt x="725" y="1220"/>
                </a:lnTo>
                <a:lnTo>
                  <a:pt x="725" y="1222"/>
                </a:lnTo>
                <a:lnTo>
                  <a:pt x="725" y="1225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5" y="1230"/>
                </a:lnTo>
                <a:lnTo>
                  <a:pt x="724" y="1231"/>
                </a:lnTo>
                <a:lnTo>
                  <a:pt x="722" y="1232"/>
                </a:lnTo>
                <a:lnTo>
                  <a:pt x="715" y="1232"/>
                </a:lnTo>
                <a:lnTo>
                  <a:pt x="714" y="1227"/>
                </a:lnTo>
                <a:close/>
                <a:moveTo>
                  <a:pt x="711" y="1419"/>
                </a:moveTo>
                <a:lnTo>
                  <a:pt x="711" y="1418"/>
                </a:lnTo>
                <a:lnTo>
                  <a:pt x="713" y="1418"/>
                </a:lnTo>
                <a:lnTo>
                  <a:pt x="711" y="1418"/>
                </a:lnTo>
                <a:lnTo>
                  <a:pt x="711" y="1419"/>
                </a:lnTo>
                <a:close/>
                <a:moveTo>
                  <a:pt x="701" y="1423"/>
                </a:moveTo>
                <a:lnTo>
                  <a:pt x="701" y="1421"/>
                </a:lnTo>
                <a:lnTo>
                  <a:pt x="702" y="1421"/>
                </a:lnTo>
                <a:lnTo>
                  <a:pt x="701" y="1421"/>
                </a:lnTo>
                <a:lnTo>
                  <a:pt x="701" y="1423"/>
                </a:lnTo>
                <a:close/>
                <a:moveTo>
                  <a:pt x="686" y="1239"/>
                </a:moveTo>
                <a:lnTo>
                  <a:pt x="684" y="1243"/>
                </a:lnTo>
                <a:lnTo>
                  <a:pt x="683" y="1243"/>
                </a:lnTo>
                <a:lnTo>
                  <a:pt x="684" y="1243"/>
                </a:lnTo>
                <a:lnTo>
                  <a:pt x="686" y="1239"/>
                </a:lnTo>
                <a:lnTo>
                  <a:pt x="686" y="1237"/>
                </a:lnTo>
                <a:lnTo>
                  <a:pt x="686" y="1234"/>
                </a:lnTo>
                <a:lnTo>
                  <a:pt x="686" y="1231"/>
                </a:lnTo>
                <a:lnTo>
                  <a:pt x="684" y="1230"/>
                </a:lnTo>
                <a:lnTo>
                  <a:pt x="682" y="1231"/>
                </a:lnTo>
                <a:lnTo>
                  <a:pt x="682" y="1234"/>
                </a:lnTo>
                <a:lnTo>
                  <a:pt x="681" y="1238"/>
                </a:lnTo>
                <a:lnTo>
                  <a:pt x="680" y="1243"/>
                </a:lnTo>
                <a:lnTo>
                  <a:pt x="676" y="1242"/>
                </a:lnTo>
                <a:lnTo>
                  <a:pt x="675" y="1239"/>
                </a:lnTo>
                <a:lnTo>
                  <a:pt x="675" y="1235"/>
                </a:lnTo>
                <a:lnTo>
                  <a:pt x="675" y="1230"/>
                </a:lnTo>
                <a:lnTo>
                  <a:pt x="684" y="1228"/>
                </a:lnTo>
                <a:lnTo>
                  <a:pt x="694" y="1224"/>
                </a:lnTo>
                <a:lnTo>
                  <a:pt x="694" y="1224"/>
                </a:lnTo>
                <a:lnTo>
                  <a:pt x="695" y="1224"/>
                </a:lnTo>
                <a:lnTo>
                  <a:pt x="696" y="1224"/>
                </a:lnTo>
                <a:lnTo>
                  <a:pt x="696" y="1227"/>
                </a:lnTo>
                <a:lnTo>
                  <a:pt x="696" y="1228"/>
                </a:lnTo>
                <a:lnTo>
                  <a:pt x="697" y="1229"/>
                </a:lnTo>
                <a:lnTo>
                  <a:pt x="699" y="1230"/>
                </a:lnTo>
                <a:lnTo>
                  <a:pt x="697" y="1229"/>
                </a:lnTo>
                <a:lnTo>
                  <a:pt x="696" y="1228"/>
                </a:lnTo>
                <a:lnTo>
                  <a:pt x="694" y="1237"/>
                </a:lnTo>
                <a:lnTo>
                  <a:pt x="686" y="1239"/>
                </a:lnTo>
                <a:close/>
                <a:moveTo>
                  <a:pt x="672" y="1440"/>
                </a:moveTo>
                <a:lnTo>
                  <a:pt x="676" y="1439"/>
                </a:lnTo>
                <a:lnTo>
                  <a:pt x="680" y="1437"/>
                </a:lnTo>
                <a:lnTo>
                  <a:pt x="680" y="1437"/>
                </a:lnTo>
                <a:lnTo>
                  <a:pt x="676" y="1439"/>
                </a:lnTo>
                <a:lnTo>
                  <a:pt x="672" y="1440"/>
                </a:lnTo>
                <a:close/>
                <a:moveTo>
                  <a:pt x="666" y="1244"/>
                </a:moveTo>
                <a:lnTo>
                  <a:pt x="665" y="1242"/>
                </a:lnTo>
                <a:lnTo>
                  <a:pt x="665" y="1238"/>
                </a:lnTo>
                <a:lnTo>
                  <a:pt x="662" y="1241"/>
                </a:lnTo>
                <a:lnTo>
                  <a:pt x="662" y="1243"/>
                </a:lnTo>
                <a:lnTo>
                  <a:pt x="662" y="1241"/>
                </a:lnTo>
                <a:lnTo>
                  <a:pt x="665" y="1238"/>
                </a:lnTo>
                <a:lnTo>
                  <a:pt x="662" y="1235"/>
                </a:lnTo>
                <a:lnTo>
                  <a:pt x="658" y="1235"/>
                </a:lnTo>
                <a:lnTo>
                  <a:pt x="658" y="1238"/>
                </a:lnTo>
                <a:lnTo>
                  <a:pt x="660" y="1241"/>
                </a:lnTo>
                <a:lnTo>
                  <a:pt x="660" y="1243"/>
                </a:lnTo>
                <a:lnTo>
                  <a:pt x="660" y="1245"/>
                </a:lnTo>
                <a:lnTo>
                  <a:pt x="654" y="1249"/>
                </a:lnTo>
                <a:lnTo>
                  <a:pt x="647" y="1249"/>
                </a:lnTo>
                <a:lnTo>
                  <a:pt x="648" y="1246"/>
                </a:lnTo>
                <a:lnTo>
                  <a:pt x="648" y="1243"/>
                </a:lnTo>
                <a:lnTo>
                  <a:pt x="647" y="1238"/>
                </a:lnTo>
                <a:lnTo>
                  <a:pt x="649" y="1235"/>
                </a:lnTo>
                <a:lnTo>
                  <a:pt x="661" y="1232"/>
                </a:lnTo>
                <a:lnTo>
                  <a:pt x="673" y="1231"/>
                </a:lnTo>
                <a:lnTo>
                  <a:pt x="669" y="1237"/>
                </a:lnTo>
                <a:lnTo>
                  <a:pt x="668" y="1243"/>
                </a:lnTo>
                <a:lnTo>
                  <a:pt x="667" y="1244"/>
                </a:lnTo>
                <a:lnTo>
                  <a:pt x="666" y="1244"/>
                </a:lnTo>
                <a:close/>
                <a:moveTo>
                  <a:pt x="665" y="1433"/>
                </a:moveTo>
                <a:lnTo>
                  <a:pt x="665" y="1434"/>
                </a:lnTo>
                <a:lnTo>
                  <a:pt x="666" y="1435"/>
                </a:lnTo>
                <a:lnTo>
                  <a:pt x="665" y="1434"/>
                </a:lnTo>
                <a:lnTo>
                  <a:pt x="665" y="1433"/>
                </a:lnTo>
                <a:close/>
                <a:moveTo>
                  <a:pt x="652" y="1279"/>
                </a:moveTo>
                <a:lnTo>
                  <a:pt x="652" y="1280"/>
                </a:lnTo>
                <a:lnTo>
                  <a:pt x="652" y="1280"/>
                </a:lnTo>
                <a:lnTo>
                  <a:pt x="652" y="1280"/>
                </a:lnTo>
                <a:lnTo>
                  <a:pt x="652" y="1279"/>
                </a:lnTo>
                <a:lnTo>
                  <a:pt x="652" y="1279"/>
                </a:lnTo>
                <a:close/>
                <a:moveTo>
                  <a:pt x="644" y="1249"/>
                </a:moveTo>
                <a:lnTo>
                  <a:pt x="635" y="1252"/>
                </a:lnTo>
                <a:lnTo>
                  <a:pt x="633" y="1245"/>
                </a:lnTo>
                <a:lnTo>
                  <a:pt x="633" y="1245"/>
                </a:lnTo>
                <a:lnTo>
                  <a:pt x="633" y="1244"/>
                </a:lnTo>
                <a:lnTo>
                  <a:pt x="634" y="1242"/>
                </a:lnTo>
                <a:lnTo>
                  <a:pt x="634" y="1241"/>
                </a:lnTo>
                <a:lnTo>
                  <a:pt x="634" y="1238"/>
                </a:lnTo>
                <a:lnTo>
                  <a:pt x="639" y="1236"/>
                </a:lnTo>
                <a:lnTo>
                  <a:pt x="642" y="1237"/>
                </a:lnTo>
                <a:lnTo>
                  <a:pt x="645" y="1243"/>
                </a:lnTo>
                <a:lnTo>
                  <a:pt x="644" y="1249"/>
                </a:lnTo>
                <a:close/>
                <a:moveTo>
                  <a:pt x="627" y="1451"/>
                </a:moveTo>
                <a:lnTo>
                  <a:pt x="631" y="1449"/>
                </a:lnTo>
                <a:lnTo>
                  <a:pt x="634" y="1447"/>
                </a:lnTo>
                <a:lnTo>
                  <a:pt x="631" y="1449"/>
                </a:lnTo>
                <a:lnTo>
                  <a:pt x="627" y="1451"/>
                </a:lnTo>
                <a:close/>
                <a:moveTo>
                  <a:pt x="625" y="1539"/>
                </a:move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5" y="1539"/>
                </a:lnTo>
                <a:lnTo>
                  <a:pt x="627" y="1538"/>
                </a:lnTo>
                <a:lnTo>
                  <a:pt x="631" y="1538"/>
                </a:lnTo>
                <a:lnTo>
                  <a:pt x="627" y="1538"/>
                </a:lnTo>
                <a:lnTo>
                  <a:pt x="625" y="1539"/>
                </a:lnTo>
                <a:close/>
                <a:moveTo>
                  <a:pt x="624" y="1539"/>
                </a:moveTo>
                <a:lnTo>
                  <a:pt x="624" y="1539"/>
                </a:lnTo>
                <a:lnTo>
                  <a:pt x="624" y="1539"/>
                </a:lnTo>
                <a:close/>
                <a:moveTo>
                  <a:pt x="623" y="1539"/>
                </a:moveTo>
                <a:lnTo>
                  <a:pt x="621" y="1539"/>
                </a:lnTo>
                <a:lnTo>
                  <a:pt x="619" y="1539"/>
                </a:lnTo>
                <a:lnTo>
                  <a:pt x="621" y="1539"/>
                </a:lnTo>
                <a:lnTo>
                  <a:pt x="623" y="1539"/>
                </a:lnTo>
                <a:close/>
                <a:moveTo>
                  <a:pt x="619" y="1249"/>
                </a:moveTo>
                <a:lnTo>
                  <a:pt x="619" y="1244"/>
                </a:lnTo>
                <a:lnTo>
                  <a:pt x="623" y="1241"/>
                </a:lnTo>
                <a:lnTo>
                  <a:pt x="623" y="1248"/>
                </a:lnTo>
                <a:lnTo>
                  <a:pt x="623" y="1256"/>
                </a:lnTo>
                <a:lnTo>
                  <a:pt x="619" y="1252"/>
                </a:lnTo>
                <a:lnTo>
                  <a:pt x="619" y="1249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17" y="1236"/>
                </a:lnTo>
                <a:lnTo>
                  <a:pt x="615" y="1236"/>
                </a:lnTo>
                <a:lnTo>
                  <a:pt x="617" y="1236"/>
                </a:lnTo>
                <a:lnTo>
                  <a:pt x="619" y="1235"/>
                </a:lnTo>
                <a:close/>
                <a:moveTo>
                  <a:pt x="610" y="1238"/>
                </a:moveTo>
                <a:lnTo>
                  <a:pt x="610" y="1238"/>
                </a:lnTo>
                <a:lnTo>
                  <a:pt x="610" y="1238"/>
                </a:lnTo>
                <a:lnTo>
                  <a:pt x="612" y="1238"/>
                </a:lnTo>
                <a:lnTo>
                  <a:pt x="615" y="1238"/>
                </a:lnTo>
                <a:lnTo>
                  <a:pt x="612" y="1238"/>
                </a:lnTo>
                <a:lnTo>
                  <a:pt x="610" y="1238"/>
                </a:lnTo>
                <a:close/>
                <a:moveTo>
                  <a:pt x="614" y="1249"/>
                </a:moveTo>
                <a:lnTo>
                  <a:pt x="613" y="1255"/>
                </a:lnTo>
                <a:lnTo>
                  <a:pt x="610" y="1258"/>
                </a:lnTo>
                <a:lnTo>
                  <a:pt x="610" y="1253"/>
                </a:lnTo>
                <a:lnTo>
                  <a:pt x="610" y="1248"/>
                </a:lnTo>
                <a:lnTo>
                  <a:pt x="610" y="1245"/>
                </a:lnTo>
                <a:lnTo>
                  <a:pt x="613" y="1243"/>
                </a:lnTo>
                <a:lnTo>
                  <a:pt x="614" y="1245"/>
                </a:lnTo>
                <a:lnTo>
                  <a:pt x="614" y="1249"/>
                </a:lnTo>
                <a:close/>
                <a:moveTo>
                  <a:pt x="608" y="1238"/>
                </a:moveTo>
                <a:lnTo>
                  <a:pt x="608" y="1238"/>
                </a:lnTo>
                <a:lnTo>
                  <a:pt x="608" y="1238"/>
                </a:lnTo>
                <a:lnTo>
                  <a:pt x="605" y="1238"/>
                </a:lnTo>
                <a:lnTo>
                  <a:pt x="601" y="1239"/>
                </a:lnTo>
                <a:lnTo>
                  <a:pt x="605" y="1238"/>
                </a:lnTo>
                <a:lnTo>
                  <a:pt x="608" y="1238"/>
                </a:lnTo>
                <a:lnTo>
                  <a:pt x="608" y="1238"/>
                </a:lnTo>
                <a:lnTo>
                  <a:pt x="608" y="1238"/>
                </a:lnTo>
                <a:close/>
                <a:moveTo>
                  <a:pt x="594" y="1260"/>
                </a:moveTo>
                <a:lnTo>
                  <a:pt x="594" y="1253"/>
                </a:lnTo>
                <a:lnTo>
                  <a:pt x="594" y="1248"/>
                </a:lnTo>
                <a:lnTo>
                  <a:pt x="596" y="1246"/>
                </a:lnTo>
                <a:lnTo>
                  <a:pt x="598" y="1246"/>
                </a:lnTo>
                <a:lnTo>
                  <a:pt x="598" y="1251"/>
                </a:lnTo>
                <a:lnTo>
                  <a:pt x="599" y="1257"/>
                </a:lnTo>
                <a:lnTo>
                  <a:pt x="601" y="1251"/>
                </a:lnTo>
                <a:lnTo>
                  <a:pt x="601" y="1245"/>
                </a:lnTo>
                <a:lnTo>
                  <a:pt x="605" y="1246"/>
                </a:lnTo>
                <a:lnTo>
                  <a:pt x="605" y="1250"/>
                </a:lnTo>
                <a:lnTo>
                  <a:pt x="603" y="1258"/>
                </a:lnTo>
                <a:lnTo>
                  <a:pt x="594" y="1260"/>
                </a:lnTo>
                <a:close/>
                <a:moveTo>
                  <a:pt x="600" y="1377"/>
                </a:moveTo>
                <a:lnTo>
                  <a:pt x="600" y="1378"/>
                </a:lnTo>
                <a:lnTo>
                  <a:pt x="599" y="1379"/>
                </a:lnTo>
                <a:lnTo>
                  <a:pt x="600" y="1378"/>
                </a:lnTo>
                <a:lnTo>
                  <a:pt x="600" y="1377"/>
                </a:lnTo>
                <a:lnTo>
                  <a:pt x="600" y="1377"/>
                </a:lnTo>
                <a:close/>
                <a:moveTo>
                  <a:pt x="587" y="1264"/>
                </a:moveTo>
                <a:lnTo>
                  <a:pt x="586" y="1264"/>
                </a:lnTo>
                <a:lnTo>
                  <a:pt x="585" y="1265"/>
                </a:lnTo>
                <a:lnTo>
                  <a:pt x="586" y="1264"/>
                </a:lnTo>
                <a:lnTo>
                  <a:pt x="587" y="1264"/>
                </a:lnTo>
                <a:lnTo>
                  <a:pt x="586" y="1256"/>
                </a:lnTo>
                <a:lnTo>
                  <a:pt x="589" y="1249"/>
                </a:lnTo>
                <a:lnTo>
                  <a:pt x="591" y="1257"/>
                </a:lnTo>
                <a:lnTo>
                  <a:pt x="587" y="1264"/>
                </a:lnTo>
                <a:close/>
                <a:moveTo>
                  <a:pt x="582" y="1264"/>
                </a:moveTo>
                <a:lnTo>
                  <a:pt x="583" y="1265"/>
                </a:lnTo>
                <a:lnTo>
                  <a:pt x="583" y="1265"/>
                </a:lnTo>
                <a:lnTo>
                  <a:pt x="583" y="1265"/>
                </a:lnTo>
                <a:lnTo>
                  <a:pt x="582" y="1264"/>
                </a:lnTo>
                <a:lnTo>
                  <a:pt x="580" y="1264"/>
                </a:lnTo>
                <a:lnTo>
                  <a:pt x="578" y="1264"/>
                </a:lnTo>
                <a:lnTo>
                  <a:pt x="578" y="1265"/>
                </a:lnTo>
                <a:lnTo>
                  <a:pt x="577" y="1266"/>
                </a:lnTo>
                <a:lnTo>
                  <a:pt x="578" y="1265"/>
                </a:lnTo>
                <a:lnTo>
                  <a:pt x="578" y="1264"/>
                </a:lnTo>
                <a:lnTo>
                  <a:pt x="578" y="1262"/>
                </a:lnTo>
                <a:lnTo>
                  <a:pt x="577" y="1260"/>
                </a:lnTo>
                <a:lnTo>
                  <a:pt x="577" y="1263"/>
                </a:lnTo>
                <a:lnTo>
                  <a:pt x="576" y="1265"/>
                </a:lnTo>
                <a:lnTo>
                  <a:pt x="573" y="1265"/>
                </a:lnTo>
                <a:lnTo>
                  <a:pt x="570" y="1265"/>
                </a:lnTo>
                <a:lnTo>
                  <a:pt x="571" y="1258"/>
                </a:lnTo>
                <a:lnTo>
                  <a:pt x="575" y="1252"/>
                </a:lnTo>
                <a:lnTo>
                  <a:pt x="578" y="1250"/>
                </a:lnTo>
                <a:lnTo>
                  <a:pt x="582" y="1250"/>
                </a:lnTo>
                <a:lnTo>
                  <a:pt x="584" y="1253"/>
                </a:lnTo>
                <a:lnTo>
                  <a:pt x="583" y="1256"/>
                </a:lnTo>
                <a:lnTo>
                  <a:pt x="583" y="1260"/>
                </a:lnTo>
                <a:lnTo>
                  <a:pt x="582" y="1264"/>
                </a:lnTo>
                <a:close/>
                <a:moveTo>
                  <a:pt x="580" y="1245"/>
                </a:moveTo>
                <a:lnTo>
                  <a:pt x="575" y="1248"/>
                </a:lnTo>
                <a:lnTo>
                  <a:pt x="569" y="1249"/>
                </a:lnTo>
                <a:lnTo>
                  <a:pt x="575" y="1248"/>
                </a:lnTo>
                <a:lnTo>
                  <a:pt x="580" y="1245"/>
                </a:lnTo>
                <a:close/>
                <a:moveTo>
                  <a:pt x="568" y="1257"/>
                </a:moveTo>
                <a:lnTo>
                  <a:pt x="568" y="1262"/>
                </a:lnTo>
                <a:lnTo>
                  <a:pt x="568" y="1267"/>
                </a:lnTo>
                <a:lnTo>
                  <a:pt x="564" y="1269"/>
                </a:lnTo>
                <a:lnTo>
                  <a:pt x="563" y="1265"/>
                </a:lnTo>
                <a:lnTo>
                  <a:pt x="563" y="1259"/>
                </a:lnTo>
                <a:lnTo>
                  <a:pt x="563" y="1253"/>
                </a:lnTo>
                <a:lnTo>
                  <a:pt x="566" y="1253"/>
                </a:lnTo>
                <a:lnTo>
                  <a:pt x="568" y="1257"/>
                </a:lnTo>
                <a:lnTo>
                  <a:pt x="568" y="1257"/>
                </a:lnTo>
                <a:close/>
                <a:moveTo>
                  <a:pt x="565" y="1452"/>
                </a:moveTo>
                <a:lnTo>
                  <a:pt x="565" y="1452"/>
                </a:lnTo>
                <a:lnTo>
                  <a:pt x="566" y="1452"/>
                </a:lnTo>
                <a:lnTo>
                  <a:pt x="565" y="1452"/>
                </a:lnTo>
                <a:lnTo>
                  <a:pt x="565" y="1452"/>
                </a:lnTo>
                <a:close/>
                <a:moveTo>
                  <a:pt x="563" y="1433"/>
                </a:moveTo>
                <a:lnTo>
                  <a:pt x="563" y="1425"/>
                </a:lnTo>
                <a:lnTo>
                  <a:pt x="563" y="1417"/>
                </a:lnTo>
                <a:lnTo>
                  <a:pt x="563" y="1425"/>
                </a:lnTo>
                <a:lnTo>
                  <a:pt x="563" y="1433"/>
                </a:lnTo>
                <a:close/>
                <a:moveTo>
                  <a:pt x="561" y="1266"/>
                </a:moveTo>
                <a:lnTo>
                  <a:pt x="561" y="1269"/>
                </a:lnTo>
                <a:lnTo>
                  <a:pt x="558" y="1269"/>
                </a:lnTo>
                <a:lnTo>
                  <a:pt x="557" y="1267"/>
                </a:lnTo>
                <a:lnTo>
                  <a:pt x="556" y="1266"/>
                </a:lnTo>
                <a:lnTo>
                  <a:pt x="557" y="1259"/>
                </a:lnTo>
                <a:lnTo>
                  <a:pt x="559" y="1255"/>
                </a:lnTo>
                <a:lnTo>
                  <a:pt x="561" y="1260"/>
                </a:lnTo>
                <a:lnTo>
                  <a:pt x="561" y="1266"/>
                </a:lnTo>
                <a:close/>
                <a:moveTo>
                  <a:pt x="551" y="1246"/>
                </a:moveTo>
                <a:lnTo>
                  <a:pt x="554" y="1245"/>
                </a:lnTo>
                <a:lnTo>
                  <a:pt x="556" y="1244"/>
                </a:lnTo>
                <a:lnTo>
                  <a:pt x="554" y="1245"/>
                </a:lnTo>
                <a:lnTo>
                  <a:pt x="551" y="1246"/>
                </a:lnTo>
                <a:close/>
                <a:moveTo>
                  <a:pt x="548" y="1427"/>
                </a:moveTo>
                <a:lnTo>
                  <a:pt x="550" y="1426"/>
                </a:lnTo>
                <a:lnTo>
                  <a:pt x="551" y="1425"/>
                </a:lnTo>
                <a:lnTo>
                  <a:pt x="550" y="1426"/>
                </a:lnTo>
                <a:lnTo>
                  <a:pt x="548" y="1427"/>
                </a:lnTo>
                <a:close/>
                <a:moveTo>
                  <a:pt x="537" y="1253"/>
                </a:moveTo>
                <a:lnTo>
                  <a:pt x="536" y="1253"/>
                </a:lnTo>
                <a:lnTo>
                  <a:pt x="534" y="1255"/>
                </a:lnTo>
                <a:lnTo>
                  <a:pt x="536" y="1253"/>
                </a:lnTo>
                <a:lnTo>
                  <a:pt x="537" y="1253"/>
                </a:lnTo>
                <a:lnTo>
                  <a:pt x="542" y="1252"/>
                </a:lnTo>
                <a:lnTo>
                  <a:pt x="547" y="1252"/>
                </a:lnTo>
                <a:lnTo>
                  <a:pt x="542" y="1252"/>
                </a:lnTo>
                <a:lnTo>
                  <a:pt x="537" y="1253"/>
                </a:lnTo>
                <a:close/>
                <a:moveTo>
                  <a:pt x="545" y="1264"/>
                </a:moveTo>
                <a:lnTo>
                  <a:pt x="544" y="1265"/>
                </a:lnTo>
                <a:lnTo>
                  <a:pt x="544" y="1267"/>
                </a:lnTo>
                <a:lnTo>
                  <a:pt x="543" y="1273"/>
                </a:lnTo>
                <a:lnTo>
                  <a:pt x="537" y="1274"/>
                </a:lnTo>
                <a:lnTo>
                  <a:pt x="535" y="1274"/>
                </a:lnTo>
                <a:lnTo>
                  <a:pt x="532" y="1274"/>
                </a:lnTo>
                <a:lnTo>
                  <a:pt x="531" y="1277"/>
                </a:lnTo>
                <a:lnTo>
                  <a:pt x="530" y="1278"/>
                </a:lnTo>
                <a:lnTo>
                  <a:pt x="531" y="1277"/>
                </a:lnTo>
                <a:lnTo>
                  <a:pt x="532" y="1274"/>
                </a:lnTo>
                <a:lnTo>
                  <a:pt x="532" y="1269"/>
                </a:lnTo>
                <a:lnTo>
                  <a:pt x="531" y="1265"/>
                </a:lnTo>
                <a:lnTo>
                  <a:pt x="529" y="1269"/>
                </a:lnTo>
                <a:lnTo>
                  <a:pt x="528" y="1273"/>
                </a:lnTo>
                <a:lnTo>
                  <a:pt x="528" y="1276"/>
                </a:lnTo>
                <a:lnTo>
                  <a:pt x="527" y="1277"/>
                </a:lnTo>
                <a:lnTo>
                  <a:pt x="523" y="1276"/>
                </a:lnTo>
                <a:lnTo>
                  <a:pt x="520" y="1272"/>
                </a:lnTo>
                <a:lnTo>
                  <a:pt x="517" y="1278"/>
                </a:lnTo>
                <a:lnTo>
                  <a:pt x="513" y="1277"/>
                </a:lnTo>
                <a:lnTo>
                  <a:pt x="510" y="1276"/>
                </a:lnTo>
                <a:lnTo>
                  <a:pt x="509" y="1278"/>
                </a:lnTo>
                <a:lnTo>
                  <a:pt x="506" y="1281"/>
                </a:lnTo>
                <a:lnTo>
                  <a:pt x="501" y="1283"/>
                </a:lnTo>
                <a:lnTo>
                  <a:pt x="500" y="1279"/>
                </a:lnTo>
                <a:lnTo>
                  <a:pt x="500" y="1276"/>
                </a:lnTo>
                <a:lnTo>
                  <a:pt x="499" y="1276"/>
                </a:lnTo>
                <a:lnTo>
                  <a:pt x="499" y="1276"/>
                </a:lnTo>
                <a:lnTo>
                  <a:pt x="499" y="1276"/>
                </a:lnTo>
                <a:lnTo>
                  <a:pt x="500" y="1276"/>
                </a:lnTo>
                <a:lnTo>
                  <a:pt x="500" y="1272"/>
                </a:lnTo>
                <a:lnTo>
                  <a:pt x="500" y="1269"/>
                </a:lnTo>
                <a:lnTo>
                  <a:pt x="504" y="1267"/>
                </a:lnTo>
                <a:lnTo>
                  <a:pt x="508" y="1269"/>
                </a:lnTo>
                <a:lnTo>
                  <a:pt x="509" y="1271"/>
                </a:lnTo>
                <a:lnTo>
                  <a:pt x="513" y="1271"/>
                </a:lnTo>
                <a:lnTo>
                  <a:pt x="514" y="1267"/>
                </a:lnTo>
                <a:lnTo>
                  <a:pt x="513" y="1264"/>
                </a:lnTo>
                <a:lnTo>
                  <a:pt x="510" y="1264"/>
                </a:lnTo>
                <a:lnTo>
                  <a:pt x="509" y="1264"/>
                </a:lnTo>
                <a:lnTo>
                  <a:pt x="506" y="1266"/>
                </a:lnTo>
                <a:lnTo>
                  <a:pt x="501" y="1267"/>
                </a:lnTo>
                <a:lnTo>
                  <a:pt x="506" y="1266"/>
                </a:lnTo>
                <a:lnTo>
                  <a:pt x="509" y="1264"/>
                </a:lnTo>
                <a:lnTo>
                  <a:pt x="509" y="1264"/>
                </a:lnTo>
                <a:lnTo>
                  <a:pt x="510" y="1264"/>
                </a:lnTo>
                <a:lnTo>
                  <a:pt x="513" y="1264"/>
                </a:lnTo>
                <a:lnTo>
                  <a:pt x="524" y="1264"/>
                </a:lnTo>
                <a:lnTo>
                  <a:pt x="536" y="1260"/>
                </a:lnTo>
                <a:lnTo>
                  <a:pt x="539" y="1259"/>
                </a:lnTo>
                <a:lnTo>
                  <a:pt x="544" y="1259"/>
                </a:lnTo>
                <a:lnTo>
                  <a:pt x="544" y="1259"/>
                </a:lnTo>
                <a:lnTo>
                  <a:pt x="545" y="1260"/>
                </a:lnTo>
                <a:lnTo>
                  <a:pt x="545" y="1263"/>
                </a:lnTo>
                <a:lnTo>
                  <a:pt x="545" y="1264"/>
                </a:lnTo>
                <a:close/>
                <a:moveTo>
                  <a:pt x="495" y="1539"/>
                </a:moveTo>
                <a:lnTo>
                  <a:pt x="495" y="1539"/>
                </a:lnTo>
                <a:lnTo>
                  <a:pt x="496" y="1539"/>
                </a:lnTo>
                <a:lnTo>
                  <a:pt x="495" y="1539"/>
                </a:lnTo>
                <a:lnTo>
                  <a:pt x="495" y="1539"/>
                </a:lnTo>
                <a:close/>
                <a:moveTo>
                  <a:pt x="509" y="1264"/>
                </a:moveTo>
                <a:lnTo>
                  <a:pt x="509" y="1263"/>
                </a:lnTo>
                <a:lnTo>
                  <a:pt x="509" y="1263"/>
                </a:lnTo>
                <a:lnTo>
                  <a:pt x="509" y="1263"/>
                </a:lnTo>
                <a:lnTo>
                  <a:pt x="509" y="1264"/>
                </a:lnTo>
                <a:lnTo>
                  <a:pt x="501" y="1264"/>
                </a:lnTo>
                <a:lnTo>
                  <a:pt x="493" y="1265"/>
                </a:lnTo>
                <a:lnTo>
                  <a:pt x="501" y="1264"/>
                </a:lnTo>
                <a:lnTo>
                  <a:pt x="509" y="1264"/>
                </a:lnTo>
                <a:close/>
                <a:moveTo>
                  <a:pt x="500" y="1258"/>
                </a:moveTo>
                <a:lnTo>
                  <a:pt x="496" y="1258"/>
                </a:lnTo>
                <a:lnTo>
                  <a:pt x="492" y="1259"/>
                </a:lnTo>
                <a:lnTo>
                  <a:pt x="496" y="1258"/>
                </a:lnTo>
                <a:lnTo>
                  <a:pt x="500" y="1258"/>
                </a:lnTo>
                <a:close/>
                <a:moveTo>
                  <a:pt x="492" y="1259"/>
                </a:moveTo>
                <a:lnTo>
                  <a:pt x="492" y="1258"/>
                </a:lnTo>
                <a:lnTo>
                  <a:pt x="492" y="1257"/>
                </a:lnTo>
                <a:lnTo>
                  <a:pt x="492" y="1258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92" y="1259"/>
                </a:move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lnTo>
                  <a:pt x="492" y="1259"/>
                </a:lnTo>
                <a:close/>
                <a:moveTo>
                  <a:pt x="485" y="1276"/>
                </a:moveTo>
                <a:lnTo>
                  <a:pt x="482" y="1279"/>
                </a:lnTo>
                <a:lnTo>
                  <a:pt x="482" y="1284"/>
                </a:lnTo>
                <a:lnTo>
                  <a:pt x="481" y="1286"/>
                </a:lnTo>
                <a:lnTo>
                  <a:pt x="480" y="1286"/>
                </a:lnTo>
                <a:lnTo>
                  <a:pt x="479" y="1285"/>
                </a:lnTo>
                <a:lnTo>
                  <a:pt x="479" y="1283"/>
                </a:lnTo>
                <a:lnTo>
                  <a:pt x="479" y="1277"/>
                </a:lnTo>
                <a:lnTo>
                  <a:pt x="482" y="1272"/>
                </a:lnTo>
                <a:lnTo>
                  <a:pt x="485" y="1271"/>
                </a:lnTo>
                <a:lnTo>
                  <a:pt x="486" y="1272"/>
                </a:lnTo>
                <a:lnTo>
                  <a:pt x="486" y="1274"/>
                </a:lnTo>
                <a:lnTo>
                  <a:pt x="485" y="1276"/>
                </a:lnTo>
                <a:lnTo>
                  <a:pt x="485" y="1276"/>
                </a:lnTo>
                <a:close/>
                <a:moveTo>
                  <a:pt x="485" y="1285"/>
                </a:moveTo>
                <a:lnTo>
                  <a:pt x="485" y="1284"/>
                </a:lnTo>
                <a:lnTo>
                  <a:pt x="486" y="1283"/>
                </a:lnTo>
                <a:lnTo>
                  <a:pt x="485" y="1284"/>
                </a:lnTo>
                <a:lnTo>
                  <a:pt x="485" y="1285"/>
                </a:lnTo>
                <a:close/>
                <a:moveTo>
                  <a:pt x="463" y="1291"/>
                </a:moveTo>
                <a:lnTo>
                  <a:pt x="465" y="1292"/>
                </a:lnTo>
                <a:lnTo>
                  <a:pt x="465" y="1293"/>
                </a:lnTo>
                <a:lnTo>
                  <a:pt x="465" y="1292"/>
                </a:lnTo>
                <a:lnTo>
                  <a:pt x="463" y="1291"/>
                </a:lnTo>
                <a:lnTo>
                  <a:pt x="463" y="1290"/>
                </a:lnTo>
                <a:lnTo>
                  <a:pt x="462" y="1290"/>
                </a:lnTo>
                <a:lnTo>
                  <a:pt x="462" y="1284"/>
                </a:lnTo>
                <a:lnTo>
                  <a:pt x="463" y="1279"/>
                </a:lnTo>
                <a:lnTo>
                  <a:pt x="468" y="1274"/>
                </a:lnTo>
                <a:lnTo>
                  <a:pt x="474" y="1274"/>
                </a:lnTo>
                <a:lnTo>
                  <a:pt x="473" y="1285"/>
                </a:lnTo>
                <a:lnTo>
                  <a:pt x="463" y="1291"/>
                </a:lnTo>
                <a:close/>
                <a:moveTo>
                  <a:pt x="463" y="1474"/>
                </a:moveTo>
                <a:lnTo>
                  <a:pt x="463" y="1475"/>
                </a:lnTo>
                <a:lnTo>
                  <a:pt x="465" y="1476"/>
                </a:lnTo>
                <a:lnTo>
                  <a:pt x="463" y="1475"/>
                </a:lnTo>
                <a:lnTo>
                  <a:pt x="463" y="1474"/>
                </a:lnTo>
                <a:close/>
                <a:moveTo>
                  <a:pt x="461" y="1279"/>
                </a:moveTo>
                <a:lnTo>
                  <a:pt x="458" y="1286"/>
                </a:lnTo>
                <a:lnTo>
                  <a:pt x="456" y="1293"/>
                </a:lnTo>
                <a:lnTo>
                  <a:pt x="455" y="1293"/>
                </a:lnTo>
                <a:lnTo>
                  <a:pt x="455" y="1294"/>
                </a:lnTo>
                <a:lnTo>
                  <a:pt x="453" y="1293"/>
                </a:lnTo>
                <a:lnTo>
                  <a:pt x="451" y="1291"/>
                </a:lnTo>
                <a:lnTo>
                  <a:pt x="452" y="1284"/>
                </a:lnTo>
                <a:lnTo>
                  <a:pt x="456" y="1278"/>
                </a:lnTo>
                <a:lnTo>
                  <a:pt x="459" y="1278"/>
                </a:lnTo>
                <a:lnTo>
                  <a:pt x="461" y="1279"/>
                </a:lnTo>
                <a:lnTo>
                  <a:pt x="461" y="1279"/>
                </a:lnTo>
                <a:lnTo>
                  <a:pt x="462" y="1279"/>
                </a:lnTo>
                <a:lnTo>
                  <a:pt x="461" y="1279"/>
                </a:lnTo>
                <a:lnTo>
                  <a:pt x="461" y="1279"/>
                </a:lnTo>
                <a:lnTo>
                  <a:pt x="461" y="1279"/>
                </a:lnTo>
                <a:close/>
                <a:moveTo>
                  <a:pt x="417" y="1306"/>
                </a:moveTo>
                <a:lnTo>
                  <a:pt x="412" y="1306"/>
                </a:lnTo>
                <a:lnTo>
                  <a:pt x="409" y="1306"/>
                </a:lnTo>
                <a:lnTo>
                  <a:pt x="407" y="1306"/>
                </a:lnTo>
                <a:lnTo>
                  <a:pt x="405" y="1306"/>
                </a:lnTo>
                <a:lnTo>
                  <a:pt x="405" y="1306"/>
                </a:lnTo>
                <a:lnTo>
                  <a:pt x="406" y="1305"/>
                </a:lnTo>
                <a:lnTo>
                  <a:pt x="407" y="1302"/>
                </a:lnTo>
                <a:lnTo>
                  <a:pt x="406" y="1298"/>
                </a:lnTo>
                <a:lnTo>
                  <a:pt x="404" y="1301"/>
                </a:lnTo>
                <a:lnTo>
                  <a:pt x="404" y="1304"/>
                </a:lnTo>
                <a:lnTo>
                  <a:pt x="401" y="1305"/>
                </a:lnTo>
                <a:lnTo>
                  <a:pt x="400" y="1306"/>
                </a:lnTo>
                <a:lnTo>
                  <a:pt x="401" y="1307"/>
                </a:lnTo>
                <a:lnTo>
                  <a:pt x="404" y="1307"/>
                </a:lnTo>
                <a:lnTo>
                  <a:pt x="398" y="1307"/>
                </a:lnTo>
                <a:lnTo>
                  <a:pt x="393" y="1305"/>
                </a:lnTo>
                <a:lnTo>
                  <a:pt x="392" y="1306"/>
                </a:lnTo>
                <a:lnTo>
                  <a:pt x="390" y="1307"/>
                </a:lnTo>
                <a:lnTo>
                  <a:pt x="392" y="1306"/>
                </a:lnTo>
                <a:lnTo>
                  <a:pt x="393" y="1305"/>
                </a:lnTo>
                <a:lnTo>
                  <a:pt x="393" y="1302"/>
                </a:lnTo>
                <a:lnTo>
                  <a:pt x="394" y="1301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0"/>
                </a:lnTo>
                <a:lnTo>
                  <a:pt x="394" y="1301"/>
                </a:lnTo>
                <a:lnTo>
                  <a:pt x="394" y="1301"/>
                </a:lnTo>
                <a:lnTo>
                  <a:pt x="396" y="1301"/>
                </a:lnTo>
                <a:lnTo>
                  <a:pt x="396" y="1300"/>
                </a:lnTo>
                <a:lnTo>
                  <a:pt x="394" y="1299"/>
                </a:lnTo>
                <a:lnTo>
                  <a:pt x="396" y="1293"/>
                </a:lnTo>
                <a:lnTo>
                  <a:pt x="400" y="1291"/>
                </a:lnTo>
                <a:lnTo>
                  <a:pt x="410" y="1288"/>
                </a:lnTo>
                <a:lnTo>
                  <a:pt x="418" y="1287"/>
                </a:lnTo>
                <a:lnTo>
                  <a:pt x="418" y="1287"/>
                </a:lnTo>
                <a:lnTo>
                  <a:pt x="419" y="1287"/>
                </a:lnTo>
                <a:lnTo>
                  <a:pt x="419" y="1288"/>
                </a:lnTo>
                <a:lnTo>
                  <a:pt x="419" y="1290"/>
                </a:lnTo>
                <a:lnTo>
                  <a:pt x="419" y="1291"/>
                </a:lnTo>
                <a:lnTo>
                  <a:pt x="418" y="1292"/>
                </a:lnTo>
                <a:lnTo>
                  <a:pt x="418" y="1294"/>
                </a:lnTo>
                <a:lnTo>
                  <a:pt x="417" y="1301"/>
                </a:lnTo>
                <a:lnTo>
                  <a:pt x="411" y="1302"/>
                </a:lnTo>
                <a:lnTo>
                  <a:pt x="413" y="1305"/>
                </a:lnTo>
                <a:lnTo>
                  <a:pt x="417" y="1306"/>
                </a:lnTo>
                <a:lnTo>
                  <a:pt x="439" y="1301"/>
                </a:lnTo>
                <a:lnTo>
                  <a:pt x="461" y="1295"/>
                </a:lnTo>
                <a:lnTo>
                  <a:pt x="439" y="1301"/>
                </a:lnTo>
                <a:lnTo>
                  <a:pt x="417" y="1306"/>
                </a:lnTo>
                <a:close/>
                <a:moveTo>
                  <a:pt x="405" y="1306"/>
                </a:moveTo>
                <a:lnTo>
                  <a:pt x="405" y="1306"/>
                </a:lnTo>
                <a:lnTo>
                  <a:pt x="405" y="1307"/>
                </a:lnTo>
                <a:lnTo>
                  <a:pt x="405" y="1306"/>
                </a:lnTo>
                <a:lnTo>
                  <a:pt x="405" y="1306"/>
                </a:lnTo>
                <a:close/>
                <a:moveTo>
                  <a:pt x="439" y="1427"/>
                </a:moveTo>
                <a:lnTo>
                  <a:pt x="439" y="1427"/>
                </a:lnTo>
                <a:lnTo>
                  <a:pt x="440" y="1427"/>
                </a:lnTo>
                <a:lnTo>
                  <a:pt x="439" y="1427"/>
                </a:lnTo>
                <a:lnTo>
                  <a:pt x="439" y="1427"/>
                </a:lnTo>
                <a:close/>
                <a:moveTo>
                  <a:pt x="438" y="1473"/>
                </a:moveTo>
                <a:lnTo>
                  <a:pt x="439" y="1474"/>
                </a:lnTo>
                <a:lnTo>
                  <a:pt x="440" y="1476"/>
                </a:lnTo>
                <a:lnTo>
                  <a:pt x="439" y="1474"/>
                </a:lnTo>
                <a:lnTo>
                  <a:pt x="438" y="1473"/>
                </a:lnTo>
                <a:close/>
                <a:moveTo>
                  <a:pt x="431" y="1406"/>
                </a:moveTo>
                <a:lnTo>
                  <a:pt x="433" y="1406"/>
                </a:lnTo>
                <a:lnTo>
                  <a:pt x="434" y="1407"/>
                </a:lnTo>
                <a:lnTo>
                  <a:pt x="433" y="1406"/>
                </a:lnTo>
                <a:lnTo>
                  <a:pt x="431" y="1406"/>
                </a:lnTo>
                <a:close/>
                <a:moveTo>
                  <a:pt x="431" y="1592"/>
                </a:moveTo>
                <a:lnTo>
                  <a:pt x="432" y="1593"/>
                </a:lnTo>
                <a:lnTo>
                  <a:pt x="433" y="1594"/>
                </a:lnTo>
                <a:lnTo>
                  <a:pt x="432" y="1593"/>
                </a:lnTo>
                <a:lnTo>
                  <a:pt x="431" y="1592"/>
                </a:lnTo>
                <a:close/>
                <a:moveTo>
                  <a:pt x="419" y="1341"/>
                </a:moveTo>
                <a:lnTo>
                  <a:pt x="420" y="1341"/>
                </a:lnTo>
                <a:lnTo>
                  <a:pt x="420" y="1342"/>
                </a:lnTo>
                <a:lnTo>
                  <a:pt x="420" y="1341"/>
                </a:lnTo>
                <a:lnTo>
                  <a:pt x="419" y="1341"/>
                </a:lnTo>
                <a:close/>
                <a:moveTo>
                  <a:pt x="390" y="1308"/>
                </a:moveTo>
                <a:lnTo>
                  <a:pt x="387" y="1308"/>
                </a:lnTo>
                <a:lnTo>
                  <a:pt x="385" y="1308"/>
                </a:lnTo>
                <a:lnTo>
                  <a:pt x="385" y="1300"/>
                </a:lnTo>
                <a:lnTo>
                  <a:pt x="390" y="1293"/>
                </a:lnTo>
                <a:lnTo>
                  <a:pt x="390" y="1301"/>
                </a:lnTo>
                <a:lnTo>
                  <a:pt x="390" y="1308"/>
                </a:lnTo>
                <a:close/>
                <a:moveTo>
                  <a:pt x="371" y="1311"/>
                </a:moveTo>
                <a:lnTo>
                  <a:pt x="361" y="1315"/>
                </a:lnTo>
                <a:lnTo>
                  <a:pt x="349" y="1318"/>
                </a:lnTo>
                <a:lnTo>
                  <a:pt x="344" y="1315"/>
                </a:lnTo>
                <a:lnTo>
                  <a:pt x="344" y="1311"/>
                </a:lnTo>
                <a:lnTo>
                  <a:pt x="344" y="1311"/>
                </a:lnTo>
                <a:lnTo>
                  <a:pt x="347" y="1305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1" y="1305"/>
                </a:lnTo>
                <a:lnTo>
                  <a:pt x="352" y="1306"/>
                </a:lnTo>
                <a:lnTo>
                  <a:pt x="358" y="1307"/>
                </a:lnTo>
                <a:lnTo>
                  <a:pt x="364" y="1306"/>
                </a:lnTo>
                <a:lnTo>
                  <a:pt x="364" y="1302"/>
                </a:lnTo>
                <a:lnTo>
                  <a:pt x="362" y="1301"/>
                </a:lnTo>
                <a:lnTo>
                  <a:pt x="357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2" y="1301"/>
                </a:lnTo>
                <a:lnTo>
                  <a:pt x="359" y="1299"/>
                </a:lnTo>
                <a:lnTo>
                  <a:pt x="366" y="1299"/>
                </a:lnTo>
                <a:lnTo>
                  <a:pt x="369" y="1301"/>
                </a:lnTo>
                <a:lnTo>
                  <a:pt x="370" y="1307"/>
                </a:lnTo>
                <a:lnTo>
                  <a:pt x="372" y="1298"/>
                </a:lnTo>
                <a:lnTo>
                  <a:pt x="380" y="1295"/>
                </a:lnTo>
                <a:lnTo>
                  <a:pt x="380" y="1295"/>
                </a:lnTo>
                <a:lnTo>
                  <a:pt x="382" y="1297"/>
                </a:lnTo>
                <a:lnTo>
                  <a:pt x="382" y="1298"/>
                </a:lnTo>
                <a:lnTo>
                  <a:pt x="382" y="1299"/>
                </a:lnTo>
                <a:lnTo>
                  <a:pt x="379" y="1308"/>
                </a:lnTo>
                <a:lnTo>
                  <a:pt x="371" y="1311"/>
                </a:lnTo>
                <a:close/>
                <a:moveTo>
                  <a:pt x="356" y="1329"/>
                </a:move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6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7" y="1329"/>
                </a:lnTo>
                <a:lnTo>
                  <a:pt x="356" y="1329"/>
                </a:lnTo>
                <a:close/>
                <a:moveTo>
                  <a:pt x="354" y="1502"/>
                </a:moveTo>
                <a:lnTo>
                  <a:pt x="355" y="1501"/>
                </a:lnTo>
                <a:lnTo>
                  <a:pt x="355" y="1500"/>
                </a:lnTo>
                <a:lnTo>
                  <a:pt x="355" y="1501"/>
                </a:lnTo>
                <a:lnTo>
                  <a:pt x="354" y="1502"/>
                </a:lnTo>
                <a:close/>
                <a:moveTo>
                  <a:pt x="347" y="1327"/>
                </a:moveTo>
                <a:lnTo>
                  <a:pt x="347" y="1327"/>
                </a:lnTo>
                <a:lnTo>
                  <a:pt x="348" y="1327"/>
                </a:lnTo>
                <a:lnTo>
                  <a:pt x="347" y="1327"/>
                </a:lnTo>
                <a:lnTo>
                  <a:pt x="347" y="1327"/>
                </a:lnTo>
                <a:close/>
                <a:moveTo>
                  <a:pt x="347" y="1508"/>
                </a:moveTo>
                <a:lnTo>
                  <a:pt x="348" y="1508"/>
                </a:lnTo>
                <a:lnTo>
                  <a:pt x="349" y="1508"/>
                </a:lnTo>
                <a:lnTo>
                  <a:pt x="348" y="1508"/>
                </a:lnTo>
                <a:lnTo>
                  <a:pt x="347" y="1508"/>
                </a:lnTo>
                <a:close/>
                <a:moveTo>
                  <a:pt x="341" y="1316"/>
                </a:moveTo>
                <a:lnTo>
                  <a:pt x="341" y="1319"/>
                </a:lnTo>
                <a:lnTo>
                  <a:pt x="338" y="1320"/>
                </a:lnTo>
                <a:lnTo>
                  <a:pt x="336" y="1318"/>
                </a:lnTo>
                <a:lnTo>
                  <a:pt x="337" y="1315"/>
                </a:lnTo>
                <a:lnTo>
                  <a:pt x="338" y="1312"/>
                </a:lnTo>
                <a:lnTo>
                  <a:pt x="338" y="1308"/>
                </a:lnTo>
                <a:lnTo>
                  <a:pt x="340" y="1305"/>
                </a:lnTo>
                <a:lnTo>
                  <a:pt x="342" y="1305"/>
                </a:lnTo>
                <a:lnTo>
                  <a:pt x="343" y="1306"/>
                </a:lnTo>
                <a:lnTo>
                  <a:pt x="341" y="1308"/>
                </a:lnTo>
                <a:lnTo>
                  <a:pt x="342" y="1309"/>
                </a:lnTo>
                <a:lnTo>
                  <a:pt x="343" y="1311"/>
                </a:lnTo>
                <a:lnTo>
                  <a:pt x="341" y="1313"/>
                </a:lnTo>
                <a:lnTo>
                  <a:pt x="341" y="1316"/>
                </a:lnTo>
                <a:close/>
                <a:moveTo>
                  <a:pt x="333" y="1330"/>
                </a:move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5" y="1332"/>
                </a:lnTo>
                <a:lnTo>
                  <a:pt x="337" y="1333"/>
                </a:lnTo>
                <a:lnTo>
                  <a:pt x="335" y="1332"/>
                </a:lnTo>
                <a:lnTo>
                  <a:pt x="333" y="1330"/>
                </a:lnTo>
                <a:close/>
                <a:moveTo>
                  <a:pt x="335" y="1362"/>
                </a:moveTo>
                <a:lnTo>
                  <a:pt x="330" y="1360"/>
                </a:lnTo>
                <a:lnTo>
                  <a:pt x="325" y="1357"/>
                </a:lnTo>
                <a:lnTo>
                  <a:pt x="330" y="1360"/>
                </a:lnTo>
                <a:lnTo>
                  <a:pt x="334" y="1362"/>
                </a:lnTo>
                <a:lnTo>
                  <a:pt x="334" y="1362"/>
                </a:lnTo>
                <a:lnTo>
                  <a:pt x="335" y="1362"/>
                </a:lnTo>
                <a:close/>
                <a:moveTo>
                  <a:pt x="334" y="1330"/>
                </a:moveTo>
                <a:lnTo>
                  <a:pt x="333" y="1330"/>
                </a:lnTo>
                <a:lnTo>
                  <a:pt x="331" y="1330"/>
                </a:lnTo>
                <a:lnTo>
                  <a:pt x="333" y="1330"/>
                </a:lnTo>
                <a:lnTo>
                  <a:pt x="334" y="1330"/>
                </a:lnTo>
                <a:close/>
                <a:moveTo>
                  <a:pt x="323" y="1316"/>
                </a:moveTo>
                <a:lnTo>
                  <a:pt x="324" y="1312"/>
                </a:lnTo>
                <a:lnTo>
                  <a:pt x="325" y="1307"/>
                </a:lnTo>
                <a:lnTo>
                  <a:pt x="330" y="1306"/>
                </a:lnTo>
                <a:lnTo>
                  <a:pt x="334" y="1308"/>
                </a:lnTo>
                <a:lnTo>
                  <a:pt x="333" y="1315"/>
                </a:lnTo>
                <a:lnTo>
                  <a:pt x="327" y="1321"/>
                </a:lnTo>
                <a:lnTo>
                  <a:pt x="324" y="1321"/>
                </a:lnTo>
                <a:lnTo>
                  <a:pt x="323" y="1316"/>
                </a:lnTo>
                <a:close/>
                <a:moveTo>
                  <a:pt x="320" y="1322"/>
                </a:moveTo>
                <a:lnTo>
                  <a:pt x="316" y="1323"/>
                </a:lnTo>
                <a:lnTo>
                  <a:pt x="311" y="1325"/>
                </a:lnTo>
                <a:lnTo>
                  <a:pt x="310" y="1323"/>
                </a:lnTo>
                <a:lnTo>
                  <a:pt x="310" y="1320"/>
                </a:lnTo>
                <a:lnTo>
                  <a:pt x="311" y="1313"/>
                </a:lnTo>
                <a:lnTo>
                  <a:pt x="318" y="1309"/>
                </a:lnTo>
                <a:lnTo>
                  <a:pt x="318" y="1309"/>
                </a:lnTo>
                <a:lnTo>
                  <a:pt x="320" y="1309"/>
                </a:lnTo>
                <a:lnTo>
                  <a:pt x="321" y="1315"/>
                </a:lnTo>
                <a:lnTo>
                  <a:pt x="320" y="1322"/>
                </a:lnTo>
                <a:close/>
                <a:moveTo>
                  <a:pt x="313" y="1383"/>
                </a:moveTo>
                <a:lnTo>
                  <a:pt x="311" y="1382"/>
                </a:lnTo>
                <a:lnTo>
                  <a:pt x="309" y="1381"/>
                </a:lnTo>
                <a:lnTo>
                  <a:pt x="311" y="1382"/>
                </a:lnTo>
                <a:lnTo>
                  <a:pt x="313" y="1383"/>
                </a:lnTo>
                <a:close/>
                <a:moveTo>
                  <a:pt x="309" y="1381"/>
                </a:moveTo>
                <a:lnTo>
                  <a:pt x="308" y="1376"/>
                </a:lnTo>
                <a:lnTo>
                  <a:pt x="304" y="1374"/>
                </a:lnTo>
                <a:lnTo>
                  <a:pt x="308" y="1376"/>
                </a:lnTo>
                <a:lnTo>
                  <a:pt x="309" y="1381"/>
                </a:lnTo>
                <a:lnTo>
                  <a:pt x="309" y="1381"/>
                </a:lnTo>
                <a:close/>
                <a:moveTo>
                  <a:pt x="309" y="1382"/>
                </a:move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lnTo>
                  <a:pt x="309" y="1382"/>
                </a:lnTo>
                <a:close/>
                <a:moveTo>
                  <a:pt x="302" y="1323"/>
                </a:moveTo>
                <a:lnTo>
                  <a:pt x="302" y="1318"/>
                </a:lnTo>
                <a:lnTo>
                  <a:pt x="306" y="1312"/>
                </a:lnTo>
                <a:lnTo>
                  <a:pt x="307" y="1312"/>
                </a:lnTo>
                <a:lnTo>
                  <a:pt x="308" y="1313"/>
                </a:lnTo>
                <a:lnTo>
                  <a:pt x="308" y="1320"/>
                </a:lnTo>
                <a:lnTo>
                  <a:pt x="303" y="1327"/>
                </a:lnTo>
                <a:lnTo>
                  <a:pt x="302" y="1325"/>
                </a:lnTo>
                <a:lnTo>
                  <a:pt x="302" y="1323"/>
                </a:lnTo>
                <a:close/>
                <a:moveTo>
                  <a:pt x="297" y="1329"/>
                </a:moveTo>
                <a:lnTo>
                  <a:pt x="294" y="1323"/>
                </a:lnTo>
                <a:lnTo>
                  <a:pt x="293" y="1316"/>
                </a:lnTo>
                <a:lnTo>
                  <a:pt x="292" y="1327"/>
                </a:lnTo>
                <a:lnTo>
                  <a:pt x="282" y="1330"/>
                </a:lnTo>
                <a:lnTo>
                  <a:pt x="281" y="1323"/>
                </a:lnTo>
                <a:lnTo>
                  <a:pt x="285" y="1316"/>
                </a:lnTo>
                <a:lnTo>
                  <a:pt x="287" y="1319"/>
                </a:lnTo>
                <a:lnTo>
                  <a:pt x="288" y="1322"/>
                </a:lnTo>
                <a:lnTo>
                  <a:pt x="289" y="1319"/>
                </a:lnTo>
                <a:lnTo>
                  <a:pt x="292" y="1315"/>
                </a:lnTo>
                <a:lnTo>
                  <a:pt x="296" y="1314"/>
                </a:lnTo>
                <a:lnTo>
                  <a:pt x="299" y="1315"/>
                </a:lnTo>
                <a:lnTo>
                  <a:pt x="300" y="1322"/>
                </a:lnTo>
                <a:lnTo>
                  <a:pt x="297" y="1329"/>
                </a:lnTo>
                <a:close/>
                <a:moveTo>
                  <a:pt x="324" y="1306"/>
                </a:move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lnTo>
                  <a:pt x="324" y="1306"/>
                </a:lnTo>
                <a:close/>
                <a:moveTo>
                  <a:pt x="333" y="1294"/>
                </a:moveTo>
                <a:lnTo>
                  <a:pt x="330" y="1294"/>
                </a:lnTo>
                <a:lnTo>
                  <a:pt x="328" y="1294"/>
                </a:lnTo>
                <a:lnTo>
                  <a:pt x="330" y="1294"/>
                </a:lnTo>
                <a:lnTo>
                  <a:pt x="333" y="1294"/>
                </a:lnTo>
                <a:close/>
                <a:moveTo>
                  <a:pt x="334" y="1294"/>
                </a:move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lnTo>
                  <a:pt x="334" y="1294"/>
                </a:lnTo>
                <a:close/>
                <a:moveTo>
                  <a:pt x="412" y="1276"/>
                </a:move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lnTo>
                  <a:pt x="412" y="1276"/>
                </a:lnTo>
                <a:close/>
                <a:moveTo>
                  <a:pt x="424" y="1288"/>
                </a:moveTo>
                <a:lnTo>
                  <a:pt x="424" y="1286"/>
                </a:lnTo>
                <a:lnTo>
                  <a:pt x="426" y="1285"/>
                </a:lnTo>
                <a:lnTo>
                  <a:pt x="430" y="1285"/>
                </a:lnTo>
                <a:lnTo>
                  <a:pt x="432" y="1283"/>
                </a:lnTo>
                <a:lnTo>
                  <a:pt x="437" y="1283"/>
                </a:lnTo>
                <a:lnTo>
                  <a:pt x="438" y="1286"/>
                </a:lnTo>
                <a:lnTo>
                  <a:pt x="439" y="1292"/>
                </a:lnTo>
                <a:lnTo>
                  <a:pt x="435" y="1295"/>
                </a:lnTo>
                <a:lnTo>
                  <a:pt x="432" y="1297"/>
                </a:lnTo>
                <a:lnTo>
                  <a:pt x="428" y="1298"/>
                </a:lnTo>
                <a:lnTo>
                  <a:pt x="428" y="1293"/>
                </a:lnTo>
                <a:lnTo>
                  <a:pt x="424" y="1288"/>
                </a:lnTo>
                <a:close/>
                <a:moveTo>
                  <a:pt x="446" y="1269"/>
                </a:moveTo>
                <a:lnTo>
                  <a:pt x="445" y="1270"/>
                </a:lnTo>
                <a:lnTo>
                  <a:pt x="444" y="1270"/>
                </a:lnTo>
                <a:lnTo>
                  <a:pt x="445" y="1270"/>
                </a:lnTo>
                <a:lnTo>
                  <a:pt x="446" y="1269"/>
                </a:lnTo>
                <a:lnTo>
                  <a:pt x="446" y="1269"/>
                </a:lnTo>
                <a:close/>
                <a:moveTo>
                  <a:pt x="451" y="1269"/>
                </a:moveTo>
                <a:lnTo>
                  <a:pt x="448" y="1269"/>
                </a:lnTo>
                <a:lnTo>
                  <a:pt x="446" y="1269"/>
                </a:lnTo>
                <a:lnTo>
                  <a:pt x="446" y="1269"/>
                </a:lnTo>
                <a:lnTo>
                  <a:pt x="448" y="1269"/>
                </a:lnTo>
                <a:lnTo>
                  <a:pt x="451" y="1269"/>
                </a:lnTo>
                <a:close/>
                <a:moveTo>
                  <a:pt x="458" y="1265"/>
                </a:moveTo>
                <a:lnTo>
                  <a:pt x="454" y="1266"/>
                </a:lnTo>
                <a:lnTo>
                  <a:pt x="451" y="1265"/>
                </a:lnTo>
                <a:lnTo>
                  <a:pt x="454" y="1266"/>
                </a:lnTo>
                <a:lnTo>
                  <a:pt x="458" y="1265"/>
                </a:lnTo>
                <a:close/>
                <a:moveTo>
                  <a:pt x="467" y="1263"/>
                </a:moveTo>
                <a:lnTo>
                  <a:pt x="462" y="1264"/>
                </a:lnTo>
                <a:lnTo>
                  <a:pt x="458" y="1265"/>
                </a:lnTo>
                <a:lnTo>
                  <a:pt x="462" y="1264"/>
                </a:lnTo>
                <a:lnTo>
                  <a:pt x="467" y="1263"/>
                </a:lnTo>
                <a:close/>
                <a:moveTo>
                  <a:pt x="514" y="1260"/>
                </a:moveTo>
                <a:lnTo>
                  <a:pt x="511" y="1260"/>
                </a:lnTo>
                <a:lnTo>
                  <a:pt x="509" y="1262"/>
                </a:lnTo>
                <a:lnTo>
                  <a:pt x="511" y="1260"/>
                </a:lnTo>
                <a:lnTo>
                  <a:pt x="514" y="1260"/>
                </a:lnTo>
                <a:close/>
                <a:moveTo>
                  <a:pt x="503" y="1257"/>
                </a:moveTo>
                <a:lnTo>
                  <a:pt x="515" y="1255"/>
                </a:lnTo>
                <a:lnTo>
                  <a:pt x="528" y="1253"/>
                </a:lnTo>
                <a:lnTo>
                  <a:pt x="528" y="1253"/>
                </a:lnTo>
                <a:lnTo>
                  <a:pt x="515" y="1255"/>
                </a:lnTo>
                <a:lnTo>
                  <a:pt x="503" y="1257"/>
                </a:lnTo>
                <a:close/>
                <a:moveTo>
                  <a:pt x="530" y="1255"/>
                </a:moveTo>
                <a:lnTo>
                  <a:pt x="529" y="1253"/>
                </a:lnTo>
                <a:lnTo>
                  <a:pt x="528" y="1253"/>
                </a:lnTo>
                <a:lnTo>
                  <a:pt x="529" y="1253"/>
                </a:lnTo>
                <a:lnTo>
                  <a:pt x="530" y="1255"/>
                </a:lnTo>
                <a:close/>
                <a:moveTo>
                  <a:pt x="552" y="1271"/>
                </a:moveTo>
                <a:lnTo>
                  <a:pt x="550" y="1271"/>
                </a:lnTo>
                <a:lnTo>
                  <a:pt x="548" y="1271"/>
                </a:lnTo>
                <a:lnTo>
                  <a:pt x="548" y="1263"/>
                </a:lnTo>
                <a:lnTo>
                  <a:pt x="552" y="1256"/>
                </a:lnTo>
                <a:lnTo>
                  <a:pt x="552" y="1264"/>
                </a:lnTo>
                <a:lnTo>
                  <a:pt x="552" y="1271"/>
                </a:lnTo>
                <a:close/>
                <a:moveTo>
                  <a:pt x="572" y="1244"/>
                </a:moveTo>
                <a:lnTo>
                  <a:pt x="569" y="1245"/>
                </a:lnTo>
                <a:lnTo>
                  <a:pt x="565" y="1246"/>
                </a:lnTo>
                <a:lnTo>
                  <a:pt x="569" y="1245"/>
                </a:lnTo>
                <a:lnTo>
                  <a:pt x="572" y="1244"/>
                </a:lnTo>
                <a:close/>
                <a:moveTo>
                  <a:pt x="590" y="1244"/>
                </a:moveTo>
                <a:lnTo>
                  <a:pt x="592" y="1243"/>
                </a:lnTo>
                <a:lnTo>
                  <a:pt x="594" y="1243"/>
                </a:lnTo>
                <a:lnTo>
                  <a:pt x="592" y="1243"/>
                </a:lnTo>
                <a:lnTo>
                  <a:pt x="590" y="1244"/>
                </a:lnTo>
                <a:close/>
                <a:moveTo>
                  <a:pt x="589" y="1245"/>
                </a:moveTo>
                <a:lnTo>
                  <a:pt x="590" y="1245"/>
                </a:lnTo>
                <a:lnTo>
                  <a:pt x="591" y="1246"/>
                </a:lnTo>
                <a:lnTo>
                  <a:pt x="590" y="1245"/>
                </a:lnTo>
                <a:lnTo>
                  <a:pt x="589" y="1245"/>
                </a:lnTo>
                <a:close/>
                <a:moveTo>
                  <a:pt x="573" y="1244"/>
                </a:moveTo>
                <a:lnTo>
                  <a:pt x="575" y="1244"/>
                </a:lnTo>
                <a:lnTo>
                  <a:pt x="576" y="1244"/>
                </a:lnTo>
                <a:lnTo>
                  <a:pt x="575" y="1244"/>
                </a:lnTo>
                <a:lnTo>
                  <a:pt x="573" y="1244"/>
                </a:lnTo>
                <a:lnTo>
                  <a:pt x="573" y="1244"/>
                </a:lnTo>
                <a:close/>
                <a:moveTo>
                  <a:pt x="573" y="1243"/>
                </a:moveTo>
                <a:lnTo>
                  <a:pt x="575" y="1241"/>
                </a:lnTo>
                <a:lnTo>
                  <a:pt x="578" y="1239"/>
                </a:lnTo>
                <a:lnTo>
                  <a:pt x="575" y="1241"/>
                </a:lnTo>
                <a:lnTo>
                  <a:pt x="573" y="1243"/>
                </a:lnTo>
                <a:close/>
                <a:moveTo>
                  <a:pt x="586" y="1245"/>
                </a:moveTo>
                <a:lnTo>
                  <a:pt x="584" y="1245"/>
                </a:lnTo>
                <a:lnTo>
                  <a:pt x="582" y="1245"/>
                </a:lnTo>
                <a:lnTo>
                  <a:pt x="584" y="1245"/>
                </a:lnTo>
                <a:lnTo>
                  <a:pt x="586" y="1245"/>
                </a:lnTo>
                <a:close/>
                <a:moveTo>
                  <a:pt x="577" y="1244"/>
                </a:moveTo>
                <a:lnTo>
                  <a:pt x="580" y="1244"/>
                </a:lnTo>
                <a:lnTo>
                  <a:pt x="585" y="1243"/>
                </a:lnTo>
                <a:lnTo>
                  <a:pt x="580" y="1244"/>
                </a:lnTo>
                <a:lnTo>
                  <a:pt x="577" y="1244"/>
                </a:lnTo>
                <a:close/>
                <a:moveTo>
                  <a:pt x="619" y="1235"/>
                </a:moveTo>
                <a:lnTo>
                  <a:pt x="619" y="1235"/>
                </a:lnTo>
                <a:lnTo>
                  <a:pt x="619" y="1235"/>
                </a:lnTo>
                <a:lnTo>
                  <a:pt x="619" y="1235"/>
                </a:lnTo>
                <a:lnTo>
                  <a:pt x="621" y="1235"/>
                </a:lnTo>
                <a:lnTo>
                  <a:pt x="625" y="1235"/>
                </a:lnTo>
                <a:lnTo>
                  <a:pt x="621" y="1235"/>
                </a:lnTo>
                <a:lnTo>
                  <a:pt x="619" y="1235"/>
                </a:lnTo>
                <a:close/>
                <a:moveTo>
                  <a:pt x="630" y="1281"/>
                </a:moveTo>
                <a:lnTo>
                  <a:pt x="627" y="1283"/>
                </a:lnTo>
                <a:lnTo>
                  <a:pt x="626" y="1285"/>
                </a:lnTo>
                <a:lnTo>
                  <a:pt x="627" y="1283"/>
                </a:lnTo>
                <a:lnTo>
                  <a:pt x="630" y="1281"/>
                </a:lnTo>
                <a:lnTo>
                  <a:pt x="630" y="1281"/>
                </a:lnTo>
                <a:close/>
                <a:moveTo>
                  <a:pt x="628" y="1253"/>
                </a:moveTo>
                <a:lnTo>
                  <a:pt x="626" y="1253"/>
                </a:lnTo>
                <a:lnTo>
                  <a:pt x="625" y="1250"/>
                </a:lnTo>
                <a:lnTo>
                  <a:pt x="625" y="1245"/>
                </a:lnTo>
                <a:lnTo>
                  <a:pt x="625" y="1241"/>
                </a:lnTo>
                <a:lnTo>
                  <a:pt x="625" y="1241"/>
                </a:lnTo>
                <a:lnTo>
                  <a:pt x="628" y="1239"/>
                </a:lnTo>
                <a:lnTo>
                  <a:pt x="630" y="1242"/>
                </a:lnTo>
                <a:lnTo>
                  <a:pt x="630" y="1248"/>
                </a:lnTo>
                <a:lnTo>
                  <a:pt x="628" y="1253"/>
                </a:lnTo>
                <a:close/>
                <a:moveTo>
                  <a:pt x="632" y="1246"/>
                </a:moveTo>
                <a:lnTo>
                  <a:pt x="632" y="1249"/>
                </a:lnTo>
                <a:lnTo>
                  <a:pt x="631" y="1251"/>
                </a:lnTo>
                <a:lnTo>
                  <a:pt x="632" y="1249"/>
                </a:lnTo>
                <a:lnTo>
                  <a:pt x="632" y="1246"/>
                </a:lnTo>
                <a:close/>
                <a:moveTo>
                  <a:pt x="627" y="1234"/>
                </a:moveTo>
                <a:lnTo>
                  <a:pt x="630" y="1234"/>
                </a:lnTo>
                <a:lnTo>
                  <a:pt x="633" y="1234"/>
                </a:lnTo>
                <a:lnTo>
                  <a:pt x="630" y="1234"/>
                </a:lnTo>
                <a:lnTo>
                  <a:pt x="627" y="1234"/>
                </a:lnTo>
                <a:close/>
                <a:moveTo>
                  <a:pt x="633" y="1234"/>
                </a:move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lnTo>
                  <a:pt x="633" y="1234"/>
                </a:lnTo>
                <a:close/>
                <a:moveTo>
                  <a:pt x="654" y="1228"/>
                </a:moveTo>
                <a:lnTo>
                  <a:pt x="648" y="1230"/>
                </a:lnTo>
                <a:lnTo>
                  <a:pt x="642" y="1231"/>
                </a:lnTo>
                <a:lnTo>
                  <a:pt x="648" y="1230"/>
                </a:lnTo>
                <a:lnTo>
                  <a:pt x="654" y="1228"/>
                </a:lnTo>
                <a:close/>
                <a:moveTo>
                  <a:pt x="655" y="1228"/>
                </a:move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lnTo>
                  <a:pt x="655" y="1228"/>
                </a:lnTo>
                <a:close/>
                <a:moveTo>
                  <a:pt x="668" y="1224"/>
                </a:moveTo>
                <a:lnTo>
                  <a:pt x="673" y="1223"/>
                </a:lnTo>
                <a:lnTo>
                  <a:pt x="676" y="1223"/>
                </a:lnTo>
                <a:lnTo>
                  <a:pt x="673" y="1223"/>
                </a:lnTo>
                <a:lnTo>
                  <a:pt x="668" y="1224"/>
                </a:lnTo>
                <a:close/>
                <a:moveTo>
                  <a:pt x="676" y="1223"/>
                </a:moveTo>
                <a:lnTo>
                  <a:pt x="673" y="1224"/>
                </a:lnTo>
                <a:lnTo>
                  <a:pt x="669" y="1225"/>
                </a:lnTo>
                <a:lnTo>
                  <a:pt x="673" y="1224"/>
                </a:lnTo>
                <a:lnTo>
                  <a:pt x="676" y="1223"/>
                </a:lnTo>
                <a:close/>
                <a:moveTo>
                  <a:pt x="682" y="1223"/>
                </a:moveTo>
                <a:lnTo>
                  <a:pt x="680" y="1223"/>
                </a:lnTo>
                <a:lnTo>
                  <a:pt x="677" y="1223"/>
                </a:lnTo>
                <a:lnTo>
                  <a:pt x="677" y="1223"/>
                </a:lnTo>
                <a:lnTo>
                  <a:pt x="680" y="1223"/>
                </a:lnTo>
                <a:lnTo>
                  <a:pt x="682" y="1223"/>
                </a:lnTo>
                <a:close/>
                <a:moveTo>
                  <a:pt x="683" y="1221"/>
                </a:moveTo>
                <a:lnTo>
                  <a:pt x="684" y="1221"/>
                </a:lnTo>
                <a:lnTo>
                  <a:pt x="687" y="1220"/>
                </a:lnTo>
                <a:lnTo>
                  <a:pt x="684" y="1221"/>
                </a:lnTo>
                <a:lnTo>
                  <a:pt x="683" y="1221"/>
                </a:lnTo>
                <a:close/>
                <a:moveTo>
                  <a:pt x="687" y="1220"/>
                </a:move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87" y="1220"/>
                </a:lnTo>
                <a:close/>
                <a:moveTo>
                  <a:pt x="695" y="1220"/>
                </a:moveTo>
                <a:lnTo>
                  <a:pt x="692" y="1220"/>
                </a:lnTo>
                <a:lnTo>
                  <a:pt x="687" y="1220"/>
                </a:lnTo>
                <a:lnTo>
                  <a:pt x="687" y="1220"/>
                </a:lnTo>
                <a:lnTo>
                  <a:pt x="692" y="1220"/>
                </a:lnTo>
                <a:lnTo>
                  <a:pt x="695" y="1220"/>
                </a:lnTo>
                <a:close/>
                <a:moveTo>
                  <a:pt x="709" y="1215"/>
                </a:moveTo>
                <a:lnTo>
                  <a:pt x="708" y="1216"/>
                </a:lnTo>
                <a:lnTo>
                  <a:pt x="707" y="1217"/>
                </a:lnTo>
                <a:lnTo>
                  <a:pt x="708" y="1216"/>
                </a:lnTo>
                <a:lnTo>
                  <a:pt x="709" y="1215"/>
                </a:lnTo>
                <a:lnTo>
                  <a:pt x="709" y="1215"/>
                </a:lnTo>
                <a:close/>
                <a:moveTo>
                  <a:pt x="756" y="1225"/>
                </a:moveTo>
                <a:lnTo>
                  <a:pt x="752" y="1225"/>
                </a:lnTo>
                <a:lnTo>
                  <a:pt x="751" y="1223"/>
                </a:lnTo>
                <a:lnTo>
                  <a:pt x="751" y="1216"/>
                </a:lnTo>
                <a:lnTo>
                  <a:pt x="752" y="1209"/>
                </a:lnTo>
                <a:lnTo>
                  <a:pt x="755" y="1217"/>
                </a:lnTo>
                <a:lnTo>
                  <a:pt x="756" y="1225"/>
                </a:lnTo>
                <a:close/>
                <a:moveTo>
                  <a:pt x="808" y="1198"/>
                </a:moveTo>
                <a:lnTo>
                  <a:pt x="808" y="1198"/>
                </a:lnTo>
                <a:lnTo>
                  <a:pt x="808" y="1198"/>
                </a:lnTo>
                <a:close/>
                <a:moveTo>
                  <a:pt x="858" y="1202"/>
                </a:moveTo>
                <a:lnTo>
                  <a:pt x="860" y="1201"/>
                </a:lnTo>
                <a:lnTo>
                  <a:pt x="861" y="1200"/>
                </a:lnTo>
                <a:lnTo>
                  <a:pt x="860" y="1201"/>
                </a:lnTo>
                <a:lnTo>
                  <a:pt x="858" y="1202"/>
                </a:lnTo>
                <a:lnTo>
                  <a:pt x="856" y="1202"/>
                </a:lnTo>
                <a:lnTo>
                  <a:pt x="854" y="1203"/>
                </a:lnTo>
                <a:lnTo>
                  <a:pt x="854" y="1196"/>
                </a:lnTo>
                <a:lnTo>
                  <a:pt x="854" y="1190"/>
                </a:lnTo>
                <a:lnTo>
                  <a:pt x="855" y="1188"/>
                </a:lnTo>
                <a:lnTo>
                  <a:pt x="858" y="1188"/>
                </a:lnTo>
                <a:lnTo>
                  <a:pt x="859" y="1189"/>
                </a:lnTo>
                <a:lnTo>
                  <a:pt x="858" y="1190"/>
                </a:lnTo>
                <a:lnTo>
                  <a:pt x="859" y="1196"/>
                </a:lnTo>
                <a:lnTo>
                  <a:pt x="858" y="1202"/>
                </a:lnTo>
                <a:close/>
                <a:moveTo>
                  <a:pt x="884" y="1170"/>
                </a:moveTo>
                <a:lnTo>
                  <a:pt x="889" y="1169"/>
                </a:lnTo>
                <a:lnTo>
                  <a:pt x="895" y="1167"/>
                </a:lnTo>
                <a:lnTo>
                  <a:pt x="895" y="1167"/>
                </a:lnTo>
                <a:lnTo>
                  <a:pt x="889" y="1169"/>
                </a:lnTo>
                <a:lnTo>
                  <a:pt x="884" y="1170"/>
                </a:lnTo>
                <a:close/>
                <a:moveTo>
                  <a:pt x="866" y="1172"/>
                </a:moveTo>
                <a:lnTo>
                  <a:pt x="868" y="1173"/>
                </a:lnTo>
                <a:lnTo>
                  <a:pt x="870" y="1173"/>
                </a:lnTo>
                <a:lnTo>
                  <a:pt x="868" y="1173"/>
                </a:lnTo>
                <a:lnTo>
                  <a:pt x="866" y="1172"/>
                </a:lnTo>
                <a:close/>
                <a:moveTo>
                  <a:pt x="873" y="1451"/>
                </a:moveTo>
                <a:lnTo>
                  <a:pt x="872" y="1449"/>
                </a:lnTo>
                <a:lnTo>
                  <a:pt x="870" y="1448"/>
                </a:lnTo>
                <a:lnTo>
                  <a:pt x="872" y="1449"/>
                </a:lnTo>
                <a:lnTo>
                  <a:pt x="873" y="1451"/>
                </a:lnTo>
                <a:close/>
                <a:moveTo>
                  <a:pt x="868" y="1202"/>
                </a:moveTo>
                <a:lnTo>
                  <a:pt x="867" y="1202"/>
                </a:lnTo>
                <a:lnTo>
                  <a:pt x="866" y="1203"/>
                </a:lnTo>
                <a:lnTo>
                  <a:pt x="865" y="1203"/>
                </a:lnTo>
                <a:lnTo>
                  <a:pt x="862" y="1204"/>
                </a:lnTo>
                <a:lnTo>
                  <a:pt x="865" y="1203"/>
                </a:lnTo>
                <a:lnTo>
                  <a:pt x="866" y="1203"/>
                </a:lnTo>
                <a:lnTo>
                  <a:pt x="863" y="1200"/>
                </a:lnTo>
                <a:lnTo>
                  <a:pt x="862" y="1196"/>
                </a:lnTo>
                <a:lnTo>
                  <a:pt x="866" y="1187"/>
                </a:lnTo>
                <a:lnTo>
                  <a:pt x="874" y="1184"/>
                </a:lnTo>
                <a:lnTo>
                  <a:pt x="875" y="1184"/>
                </a:lnTo>
                <a:lnTo>
                  <a:pt x="875" y="1186"/>
                </a:lnTo>
                <a:lnTo>
                  <a:pt x="875" y="1187"/>
                </a:lnTo>
                <a:lnTo>
                  <a:pt x="875" y="1187"/>
                </a:lnTo>
                <a:lnTo>
                  <a:pt x="874" y="1195"/>
                </a:lnTo>
                <a:lnTo>
                  <a:pt x="868" y="1202"/>
                </a:lnTo>
                <a:lnTo>
                  <a:pt x="875" y="1202"/>
                </a:lnTo>
                <a:lnTo>
                  <a:pt x="882" y="1202"/>
                </a:lnTo>
                <a:lnTo>
                  <a:pt x="875" y="1202"/>
                </a:lnTo>
                <a:lnTo>
                  <a:pt x="868" y="1202"/>
                </a:lnTo>
                <a:close/>
                <a:moveTo>
                  <a:pt x="895" y="1190"/>
                </a:moveTo>
                <a:lnTo>
                  <a:pt x="894" y="1194"/>
                </a:lnTo>
                <a:lnTo>
                  <a:pt x="890" y="1194"/>
                </a:lnTo>
                <a:lnTo>
                  <a:pt x="889" y="1195"/>
                </a:lnTo>
                <a:lnTo>
                  <a:pt x="888" y="1196"/>
                </a:lnTo>
                <a:lnTo>
                  <a:pt x="889" y="1195"/>
                </a:lnTo>
                <a:lnTo>
                  <a:pt x="890" y="1194"/>
                </a:lnTo>
                <a:lnTo>
                  <a:pt x="890" y="1189"/>
                </a:lnTo>
                <a:lnTo>
                  <a:pt x="888" y="1183"/>
                </a:lnTo>
                <a:lnTo>
                  <a:pt x="886" y="1190"/>
                </a:lnTo>
                <a:lnTo>
                  <a:pt x="883" y="1197"/>
                </a:lnTo>
                <a:lnTo>
                  <a:pt x="880" y="1194"/>
                </a:lnTo>
                <a:lnTo>
                  <a:pt x="880" y="1189"/>
                </a:lnTo>
                <a:lnTo>
                  <a:pt x="880" y="1189"/>
                </a:lnTo>
                <a:lnTo>
                  <a:pt x="880" y="1183"/>
                </a:lnTo>
                <a:lnTo>
                  <a:pt x="886" y="1181"/>
                </a:lnTo>
                <a:lnTo>
                  <a:pt x="890" y="1181"/>
                </a:lnTo>
                <a:lnTo>
                  <a:pt x="895" y="1179"/>
                </a:lnTo>
                <a:lnTo>
                  <a:pt x="900" y="1177"/>
                </a:lnTo>
                <a:lnTo>
                  <a:pt x="904" y="1176"/>
                </a:lnTo>
                <a:lnTo>
                  <a:pt x="900" y="1177"/>
                </a:lnTo>
                <a:lnTo>
                  <a:pt x="895" y="1179"/>
                </a:lnTo>
                <a:lnTo>
                  <a:pt x="895" y="1184"/>
                </a:lnTo>
                <a:lnTo>
                  <a:pt x="895" y="1190"/>
                </a:lnTo>
                <a:close/>
                <a:moveTo>
                  <a:pt x="913" y="1162"/>
                </a:move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lnTo>
                  <a:pt x="913" y="1162"/>
                </a:lnTo>
                <a:close/>
                <a:moveTo>
                  <a:pt x="923" y="1161"/>
                </a:moveTo>
                <a:lnTo>
                  <a:pt x="922" y="1161"/>
                </a:lnTo>
                <a:lnTo>
                  <a:pt x="920" y="1161"/>
                </a:lnTo>
                <a:lnTo>
                  <a:pt x="922" y="1161"/>
                </a:lnTo>
                <a:lnTo>
                  <a:pt x="923" y="1161"/>
                </a:lnTo>
                <a:close/>
                <a:moveTo>
                  <a:pt x="265" y="1293"/>
                </a:moveTo>
                <a:lnTo>
                  <a:pt x="265" y="1286"/>
                </a:lnTo>
                <a:lnTo>
                  <a:pt x="267" y="1278"/>
                </a:lnTo>
                <a:lnTo>
                  <a:pt x="274" y="1231"/>
                </a:lnTo>
                <a:lnTo>
                  <a:pt x="281" y="1183"/>
                </a:lnTo>
                <a:lnTo>
                  <a:pt x="288" y="1140"/>
                </a:lnTo>
                <a:lnTo>
                  <a:pt x="294" y="1096"/>
                </a:lnTo>
                <a:lnTo>
                  <a:pt x="303" y="1039"/>
                </a:lnTo>
                <a:lnTo>
                  <a:pt x="311" y="981"/>
                </a:lnTo>
                <a:lnTo>
                  <a:pt x="316" y="957"/>
                </a:lnTo>
                <a:lnTo>
                  <a:pt x="320" y="931"/>
                </a:lnTo>
                <a:lnTo>
                  <a:pt x="321" y="920"/>
                </a:lnTo>
                <a:lnTo>
                  <a:pt x="323" y="908"/>
                </a:lnTo>
                <a:lnTo>
                  <a:pt x="324" y="904"/>
                </a:lnTo>
                <a:lnTo>
                  <a:pt x="328" y="902"/>
                </a:lnTo>
                <a:lnTo>
                  <a:pt x="350" y="897"/>
                </a:lnTo>
                <a:lnTo>
                  <a:pt x="372" y="892"/>
                </a:lnTo>
                <a:lnTo>
                  <a:pt x="407" y="883"/>
                </a:lnTo>
                <a:lnTo>
                  <a:pt x="444" y="874"/>
                </a:lnTo>
                <a:lnTo>
                  <a:pt x="460" y="871"/>
                </a:lnTo>
                <a:lnTo>
                  <a:pt x="476" y="867"/>
                </a:lnTo>
                <a:lnTo>
                  <a:pt x="513" y="858"/>
                </a:lnTo>
                <a:lnTo>
                  <a:pt x="550" y="848"/>
                </a:lnTo>
                <a:lnTo>
                  <a:pt x="576" y="843"/>
                </a:lnTo>
                <a:lnTo>
                  <a:pt x="601" y="836"/>
                </a:lnTo>
                <a:lnTo>
                  <a:pt x="648" y="825"/>
                </a:lnTo>
                <a:lnTo>
                  <a:pt x="695" y="813"/>
                </a:lnTo>
                <a:lnTo>
                  <a:pt x="722" y="806"/>
                </a:lnTo>
                <a:lnTo>
                  <a:pt x="749" y="801"/>
                </a:lnTo>
                <a:lnTo>
                  <a:pt x="784" y="791"/>
                </a:lnTo>
                <a:lnTo>
                  <a:pt x="820" y="782"/>
                </a:lnTo>
                <a:lnTo>
                  <a:pt x="837" y="778"/>
                </a:lnTo>
                <a:lnTo>
                  <a:pt x="853" y="775"/>
                </a:lnTo>
                <a:lnTo>
                  <a:pt x="888" y="766"/>
                </a:lnTo>
                <a:lnTo>
                  <a:pt x="921" y="756"/>
                </a:lnTo>
                <a:lnTo>
                  <a:pt x="930" y="756"/>
                </a:lnTo>
                <a:lnTo>
                  <a:pt x="932" y="764"/>
                </a:lnTo>
                <a:lnTo>
                  <a:pt x="932" y="858"/>
                </a:lnTo>
                <a:lnTo>
                  <a:pt x="932" y="950"/>
                </a:lnTo>
                <a:lnTo>
                  <a:pt x="932" y="950"/>
                </a:lnTo>
                <a:lnTo>
                  <a:pt x="934" y="950"/>
                </a:lnTo>
                <a:lnTo>
                  <a:pt x="932" y="1041"/>
                </a:lnTo>
                <a:lnTo>
                  <a:pt x="934" y="1133"/>
                </a:lnTo>
                <a:lnTo>
                  <a:pt x="930" y="1142"/>
                </a:lnTo>
                <a:lnTo>
                  <a:pt x="922" y="1146"/>
                </a:lnTo>
                <a:lnTo>
                  <a:pt x="870" y="1158"/>
                </a:lnTo>
                <a:lnTo>
                  <a:pt x="818" y="1169"/>
                </a:lnTo>
                <a:lnTo>
                  <a:pt x="773" y="1180"/>
                </a:lnTo>
                <a:lnTo>
                  <a:pt x="728" y="1189"/>
                </a:lnTo>
                <a:lnTo>
                  <a:pt x="690" y="1198"/>
                </a:lnTo>
                <a:lnTo>
                  <a:pt x="654" y="1207"/>
                </a:lnTo>
                <a:lnTo>
                  <a:pt x="626" y="1214"/>
                </a:lnTo>
                <a:lnTo>
                  <a:pt x="599" y="1220"/>
                </a:lnTo>
                <a:lnTo>
                  <a:pt x="559" y="1229"/>
                </a:lnTo>
                <a:lnTo>
                  <a:pt x="520" y="1238"/>
                </a:lnTo>
                <a:lnTo>
                  <a:pt x="492" y="1244"/>
                </a:lnTo>
                <a:lnTo>
                  <a:pt x="463" y="1250"/>
                </a:lnTo>
                <a:lnTo>
                  <a:pt x="413" y="1262"/>
                </a:lnTo>
                <a:lnTo>
                  <a:pt x="363" y="1273"/>
                </a:lnTo>
                <a:lnTo>
                  <a:pt x="322" y="1283"/>
                </a:lnTo>
                <a:lnTo>
                  <a:pt x="281" y="1291"/>
                </a:lnTo>
                <a:lnTo>
                  <a:pt x="273" y="1294"/>
                </a:lnTo>
                <a:lnTo>
                  <a:pt x="265" y="1293"/>
                </a:lnTo>
                <a:close/>
                <a:moveTo>
                  <a:pt x="274" y="1334"/>
                </a:moveTo>
                <a:lnTo>
                  <a:pt x="272" y="1335"/>
                </a:lnTo>
                <a:lnTo>
                  <a:pt x="269" y="1335"/>
                </a:lnTo>
                <a:lnTo>
                  <a:pt x="265" y="1332"/>
                </a:lnTo>
                <a:lnTo>
                  <a:pt x="260" y="1335"/>
                </a:lnTo>
                <a:lnTo>
                  <a:pt x="258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3"/>
                </a:lnTo>
                <a:lnTo>
                  <a:pt x="255" y="1332"/>
                </a:lnTo>
                <a:lnTo>
                  <a:pt x="251" y="1332"/>
                </a:lnTo>
                <a:lnTo>
                  <a:pt x="247" y="1334"/>
                </a:lnTo>
                <a:lnTo>
                  <a:pt x="247" y="1335"/>
                </a:lnTo>
                <a:lnTo>
                  <a:pt x="248" y="1337"/>
                </a:lnTo>
                <a:lnTo>
                  <a:pt x="251" y="1339"/>
                </a:lnTo>
                <a:lnTo>
                  <a:pt x="253" y="1340"/>
                </a:lnTo>
                <a:lnTo>
                  <a:pt x="244" y="1336"/>
                </a:lnTo>
                <a:lnTo>
                  <a:pt x="242" y="1327"/>
                </a:lnTo>
                <a:lnTo>
                  <a:pt x="247" y="1330"/>
                </a:lnTo>
                <a:lnTo>
                  <a:pt x="252" y="1326"/>
                </a:lnTo>
                <a:lnTo>
                  <a:pt x="254" y="1323"/>
                </a:lnTo>
                <a:lnTo>
                  <a:pt x="258" y="1322"/>
                </a:lnTo>
                <a:lnTo>
                  <a:pt x="266" y="1323"/>
                </a:lnTo>
                <a:lnTo>
                  <a:pt x="273" y="1320"/>
                </a:lnTo>
                <a:lnTo>
                  <a:pt x="276" y="1319"/>
                </a:lnTo>
                <a:lnTo>
                  <a:pt x="279" y="1320"/>
                </a:lnTo>
                <a:lnTo>
                  <a:pt x="279" y="1328"/>
                </a:lnTo>
                <a:lnTo>
                  <a:pt x="274" y="1334"/>
                </a:lnTo>
                <a:close/>
                <a:moveTo>
                  <a:pt x="256" y="1336"/>
                </a:moveTo>
                <a:lnTo>
                  <a:pt x="256" y="1336"/>
                </a:lnTo>
                <a:lnTo>
                  <a:pt x="256" y="1335"/>
                </a:lnTo>
                <a:lnTo>
                  <a:pt x="256" y="1335"/>
                </a:lnTo>
                <a:lnTo>
                  <a:pt x="256" y="1336"/>
                </a:lnTo>
                <a:lnTo>
                  <a:pt x="256" y="1336"/>
                </a:lnTo>
                <a:lnTo>
                  <a:pt x="256" y="1336"/>
                </a:lnTo>
                <a:close/>
                <a:moveTo>
                  <a:pt x="235" y="1529"/>
                </a:moveTo>
                <a:lnTo>
                  <a:pt x="241" y="1529"/>
                </a:lnTo>
                <a:lnTo>
                  <a:pt x="246" y="1529"/>
                </a:lnTo>
                <a:lnTo>
                  <a:pt x="241" y="1529"/>
                </a:lnTo>
                <a:lnTo>
                  <a:pt x="235" y="1529"/>
                </a:lnTo>
                <a:close/>
                <a:moveTo>
                  <a:pt x="234" y="1535"/>
                </a:moveTo>
                <a:lnTo>
                  <a:pt x="235" y="1535"/>
                </a:lnTo>
                <a:lnTo>
                  <a:pt x="237" y="1535"/>
                </a:lnTo>
                <a:lnTo>
                  <a:pt x="235" y="1535"/>
                </a:lnTo>
                <a:lnTo>
                  <a:pt x="234" y="1535"/>
                </a:lnTo>
                <a:close/>
                <a:moveTo>
                  <a:pt x="233" y="1326"/>
                </a:moveTo>
                <a:lnTo>
                  <a:pt x="232" y="1329"/>
                </a:lnTo>
                <a:lnTo>
                  <a:pt x="232" y="1333"/>
                </a:lnTo>
                <a:lnTo>
                  <a:pt x="228" y="1334"/>
                </a:lnTo>
                <a:lnTo>
                  <a:pt x="227" y="1332"/>
                </a:lnTo>
                <a:lnTo>
                  <a:pt x="214" y="1330"/>
                </a:lnTo>
                <a:lnTo>
                  <a:pt x="200" y="1336"/>
                </a:lnTo>
                <a:lnTo>
                  <a:pt x="198" y="1332"/>
                </a:lnTo>
                <a:lnTo>
                  <a:pt x="202" y="1328"/>
                </a:lnTo>
                <a:lnTo>
                  <a:pt x="204" y="1327"/>
                </a:lnTo>
                <a:lnTo>
                  <a:pt x="206" y="1326"/>
                </a:lnTo>
                <a:lnTo>
                  <a:pt x="207" y="1321"/>
                </a:lnTo>
                <a:lnTo>
                  <a:pt x="212" y="1321"/>
                </a:lnTo>
                <a:lnTo>
                  <a:pt x="214" y="1321"/>
                </a:lnTo>
                <a:lnTo>
                  <a:pt x="216" y="1320"/>
                </a:lnTo>
                <a:lnTo>
                  <a:pt x="218" y="1320"/>
                </a:lnTo>
                <a:lnTo>
                  <a:pt x="220" y="1318"/>
                </a:lnTo>
                <a:lnTo>
                  <a:pt x="224" y="1321"/>
                </a:lnTo>
                <a:lnTo>
                  <a:pt x="230" y="1322"/>
                </a:lnTo>
                <a:lnTo>
                  <a:pt x="232" y="1323"/>
                </a:lnTo>
                <a:lnTo>
                  <a:pt x="233" y="1326"/>
                </a:lnTo>
                <a:close/>
                <a:moveTo>
                  <a:pt x="216" y="1441"/>
                </a:moveTo>
                <a:lnTo>
                  <a:pt x="217" y="1441"/>
                </a:lnTo>
                <a:lnTo>
                  <a:pt x="219" y="1440"/>
                </a:lnTo>
                <a:lnTo>
                  <a:pt x="217" y="1441"/>
                </a:lnTo>
                <a:lnTo>
                  <a:pt x="216" y="1441"/>
                </a:lnTo>
                <a:close/>
                <a:moveTo>
                  <a:pt x="200" y="1327"/>
                </a:moveTo>
                <a:lnTo>
                  <a:pt x="199" y="1326"/>
                </a:lnTo>
                <a:lnTo>
                  <a:pt x="198" y="1325"/>
                </a:lnTo>
                <a:lnTo>
                  <a:pt x="199" y="1326"/>
                </a:lnTo>
                <a:lnTo>
                  <a:pt x="200" y="1327"/>
                </a:lnTo>
                <a:close/>
                <a:moveTo>
                  <a:pt x="195" y="1538"/>
                </a:moveTo>
                <a:lnTo>
                  <a:pt x="195" y="1538"/>
                </a:lnTo>
                <a:lnTo>
                  <a:pt x="195" y="1537"/>
                </a:lnTo>
                <a:lnTo>
                  <a:pt x="196" y="1536"/>
                </a:lnTo>
                <a:lnTo>
                  <a:pt x="195" y="1537"/>
                </a:lnTo>
                <a:lnTo>
                  <a:pt x="195" y="1538"/>
                </a:lnTo>
                <a:close/>
                <a:moveTo>
                  <a:pt x="189" y="1539"/>
                </a:moveTo>
                <a:lnTo>
                  <a:pt x="190" y="1540"/>
                </a:lnTo>
                <a:lnTo>
                  <a:pt x="190" y="1542"/>
                </a:lnTo>
                <a:lnTo>
                  <a:pt x="190" y="1540"/>
                </a:lnTo>
                <a:lnTo>
                  <a:pt x="189" y="1539"/>
                </a:lnTo>
                <a:close/>
                <a:moveTo>
                  <a:pt x="202" y="1161"/>
                </a:moveTo>
                <a:lnTo>
                  <a:pt x="200" y="1160"/>
                </a:lnTo>
                <a:lnTo>
                  <a:pt x="200" y="1159"/>
                </a:lnTo>
                <a:lnTo>
                  <a:pt x="200" y="1160"/>
                </a:lnTo>
                <a:lnTo>
                  <a:pt x="202" y="1161"/>
                </a:lnTo>
                <a:close/>
                <a:moveTo>
                  <a:pt x="176" y="1179"/>
                </a:moveTo>
                <a:lnTo>
                  <a:pt x="179" y="1160"/>
                </a:lnTo>
                <a:lnTo>
                  <a:pt x="180" y="1142"/>
                </a:lnTo>
                <a:lnTo>
                  <a:pt x="179" y="1141"/>
                </a:lnTo>
                <a:lnTo>
                  <a:pt x="179" y="1140"/>
                </a:lnTo>
                <a:lnTo>
                  <a:pt x="179" y="1141"/>
                </a:lnTo>
                <a:lnTo>
                  <a:pt x="180" y="1142"/>
                </a:lnTo>
                <a:lnTo>
                  <a:pt x="180" y="1142"/>
                </a:lnTo>
                <a:lnTo>
                  <a:pt x="184" y="1141"/>
                </a:lnTo>
                <a:lnTo>
                  <a:pt x="184" y="1138"/>
                </a:lnTo>
                <a:lnTo>
                  <a:pt x="184" y="1138"/>
                </a:lnTo>
                <a:lnTo>
                  <a:pt x="185" y="1138"/>
                </a:lnTo>
                <a:lnTo>
                  <a:pt x="186" y="1132"/>
                </a:lnTo>
                <a:lnTo>
                  <a:pt x="190" y="1130"/>
                </a:lnTo>
                <a:lnTo>
                  <a:pt x="186" y="1132"/>
                </a:lnTo>
                <a:lnTo>
                  <a:pt x="185" y="1138"/>
                </a:lnTo>
                <a:lnTo>
                  <a:pt x="193" y="1138"/>
                </a:lnTo>
                <a:lnTo>
                  <a:pt x="197" y="1131"/>
                </a:lnTo>
                <a:lnTo>
                  <a:pt x="199" y="1124"/>
                </a:lnTo>
                <a:lnTo>
                  <a:pt x="200" y="1116"/>
                </a:lnTo>
                <a:lnTo>
                  <a:pt x="203" y="1119"/>
                </a:lnTo>
                <a:lnTo>
                  <a:pt x="203" y="1123"/>
                </a:lnTo>
                <a:lnTo>
                  <a:pt x="200" y="1139"/>
                </a:lnTo>
                <a:lnTo>
                  <a:pt x="198" y="1155"/>
                </a:lnTo>
                <a:lnTo>
                  <a:pt x="199" y="1156"/>
                </a:lnTo>
                <a:lnTo>
                  <a:pt x="200" y="1159"/>
                </a:lnTo>
                <a:lnTo>
                  <a:pt x="199" y="1156"/>
                </a:lnTo>
                <a:lnTo>
                  <a:pt x="198" y="1155"/>
                </a:lnTo>
                <a:lnTo>
                  <a:pt x="198" y="1156"/>
                </a:lnTo>
                <a:lnTo>
                  <a:pt x="198" y="1156"/>
                </a:lnTo>
                <a:lnTo>
                  <a:pt x="193" y="1159"/>
                </a:lnTo>
                <a:lnTo>
                  <a:pt x="195" y="1163"/>
                </a:lnTo>
                <a:lnTo>
                  <a:pt x="195" y="1165"/>
                </a:lnTo>
                <a:lnTo>
                  <a:pt x="195" y="1167"/>
                </a:lnTo>
                <a:lnTo>
                  <a:pt x="193" y="1167"/>
                </a:lnTo>
                <a:lnTo>
                  <a:pt x="192" y="1168"/>
                </a:lnTo>
                <a:lnTo>
                  <a:pt x="186" y="1177"/>
                </a:lnTo>
                <a:lnTo>
                  <a:pt x="176" y="1179"/>
                </a:lnTo>
                <a:close/>
                <a:moveTo>
                  <a:pt x="169" y="1545"/>
                </a:moveTo>
                <a:lnTo>
                  <a:pt x="172" y="1546"/>
                </a:lnTo>
                <a:lnTo>
                  <a:pt x="178" y="1544"/>
                </a:lnTo>
                <a:lnTo>
                  <a:pt x="172" y="1546"/>
                </a:lnTo>
                <a:lnTo>
                  <a:pt x="169" y="1545"/>
                </a:lnTo>
                <a:close/>
                <a:moveTo>
                  <a:pt x="165" y="1170"/>
                </a:moveTo>
                <a:lnTo>
                  <a:pt x="165" y="1170"/>
                </a:lnTo>
                <a:lnTo>
                  <a:pt x="166" y="1173"/>
                </a:lnTo>
                <a:lnTo>
                  <a:pt x="168" y="1175"/>
                </a:lnTo>
                <a:lnTo>
                  <a:pt x="166" y="1173"/>
                </a:lnTo>
                <a:lnTo>
                  <a:pt x="165" y="1170"/>
                </a:lnTo>
                <a:close/>
                <a:moveTo>
                  <a:pt x="164" y="907"/>
                </a:moveTo>
                <a:lnTo>
                  <a:pt x="164" y="906"/>
                </a:lnTo>
                <a:lnTo>
                  <a:pt x="165" y="906"/>
                </a:lnTo>
                <a:lnTo>
                  <a:pt x="164" y="906"/>
                </a:lnTo>
                <a:lnTo>
                  <a:pt x="164" y="907"/>
                </a:lnTo>
                <a:close/>
                <a:moveTo>
                  <a:pt x="161" y="1644"/>
                </a:moveTo>
                <a:lnTo>
                  <a:pt x="159" y="1642"/>
                </a:lnTo>
                <a:lnTo>
                  <a:pt x="159" y="1640"/>
                </a:lnTo>
                <a:lnTo>
                  <a:pt x="159" y="1642"/>
                </a:lnTo>
                <a:lnTo>
                  <a:pt x="161" y="1644"/>
                </a:lnTo>
                <a:lnTo>
                  <a:pt x="161" y="1644"/>
                </a:lnTo>
                <a:close/>
                <a:moveTo>
                  <a:pt x="172" y="1355"/>
                </a:moveTo>
                <a:lnTo>
                  <a:pt x="173" y="1355"/>
                </a:lnTo>
                <a:lnTo>
                  <a:pt x="175" y="1354"/>
                </a:lnTo>
                <a:lnTo>
                  <a:pt x="173" y="1355"/>
                </a:lnTo>
                <a:lnTo>
                  <a:pt x="172" y="1355"/>
                </a:lnTo>
                <a:lnTo>
                  <a:pt x="171" y="1355"/>
                </a:lnTo>
                <a:lnTo>
                  <a:pt x="170" y="1355"/>
                </a:lnTo>
                <a:lnTo>
                  <a:pt x="171" y="1355"/>
                </a:lnTo>
                <a:lnTo>
                  <a:pt x="172" y="1355"/>
                </a:lnTo>
                <a:close/>
                <a:moveTo>
                  <a:pt x="193" y="787"/>
                </a:moveTo>
                <a:lnTo>
                  <a:pt x="191" y="787"/>
                </a:lnTo>
                <a:lnTo>
                  <a:pt x="188" y="785"/>
                </a:lnTo>
                <a:lnTo>
                  <a:pt x="191" y="787"/>
                </a:lnTo>
                <a:lnTo>
                  <a:pt x="193" y="787"/>
                </a:lnTo>
                <a:close/>
                <a:moveTo>
                  <a:pt x="195" y="907"/>
                </a:moveTo>
                <a:lnTo>
                  <a:pt x="195" y="908"/>
                </a:lnTo>
                <a:lnTo>
                  <a:pt x="193" y="909"/>
                </a:lnTo>
                <a:lnTo>
                  <a:pt x="195" y="908"/>
                </a:lnTo>
                <a:lnTo>
                  <a:pt x="195" y="907"/>
                </a:lnTo>
                <a:close/>
                <a:moveTo>
                  <a:pt x="196" y="980"/>
                </a:moveTo>
                <a:lnTo>
                  <a:pt x="196" y="980"/>
                </a:lnTo>
                <a:lnTo>
                  <a:pt x="195" y="981"/>
                </a:lnTo>
                <a:lnTo>
                  <a:pt x="196" y="980"/>
                </a:lnTo>
                <a:lnTo>
                  <a:pt x="196" y="980"/>
                </a:lnTo>
                <a:close/>
                <a:moveTo>
                  <a:pt x="199" y="1112"/>
                </a:moveTo>
                <a:lnTo>
                  <a:pt x="199" y="1111"/>
                </a:lnTo>
                <a:lnTo>
                  <a:pt x="199" y="1110"/>
                </a:lnTo>
                <a:lnTo>
                  <a:pt x="199" y="1111"/>
                </a:lnTo>
                <a:lnTo>
                  <a:pt x="199" y="1112"/>
                </a:lnTo>
                <a:close/>
                <a:moveTo>
                  <a:pt x="207" y="858"/>
                </a:moveTo>
                <a:lnTo>
                  <a:pt x="227" y="855"/>
                </a:lnTo>
                <a:lnTo>
                  <a:pt x="247" y="861"/>
                </a:lnTo>
                <a:lnTo>
                  <a:pt x="247" y="862"/>
                </a:lnTo>
                <a:lnTo>
                  <a:pt x="247" y="864"/>
                </a:lnTo>
                <a:lnTo>
                  <a:pt x="238" y="867"/>
                </a:lnTo>
                <a:lnTo>
                  <a:pt x="228" y="868"/>
                </a:lnTo>
                <a:lnTo>
                  <a:pt x="216" y="872"/>
                </a:lnTo>
                <a:lnTo>
                  <a:pt x="203" y="875"/>
                </a:lnTo>
                <a:lnTo>
                  <a:pt x="198" y="875"/>
                </a:lnTo>
                <a:lnTo>
                  <a:pt x="196" y="873"/>
                </a:lnTo>
                <a:lnTo>
                  <a:pt x="197" y="862"/>
                </a:lnTo>
                <a:lnTo>
                  <a:pt x="207" y="858"/>
                </a:lnTo>
                <a:close/>
                <a:moveTo>
                  <a:pt x="247" y="921"/>
                </a:moveTo>
                <a:lnTo>
                  <a:pt x="247" y="917"/>
                </a:lnTo>
                <a:lnTo>
                  <a:pt x="248" y="914"/>
                </a:lnTo>
                <a:lnTo>
                  <a:pt x="247" y="917"/>
                </a:lnTo>
                <a:lnTo>
                  <a:pt x="247" y="921"/>
                </a:lnTo>
                <a:close/>
                <a:moveTo>
                  <a:pt x="262" y="1062"/>
                </a:moveTo>
                <a:lnTo>
                  <a:pt x="273" y="1067"/>
                </a:lnTo>
                <a:lnTo>
                  <a:pt x="274" y="1078"/>
                </a:lnTo>
                <a:lnTo>
                  <a:pt x="268" y="1075"/>
                </a:lnTo>
                <a:lnTo>
                  <a:pt x="261" y="1072"/>
                </a:lnTo>
                <a:lnTo>
                  <a:pt x="262" y="1067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62" y="1062"/>
                </a:lnTo>
                <a:lnTo>
                  <a:pt x="258" y="1062"/>
                </a:lnTo>
                <a:lnTo>
                  <a:pt x="253" y="1064"/>
                </a:lnTo>
                <a:lnTo>
                  <a:pt x="248" y="1065"/>
                </a:lnTo>
                <a:lnTo>
                  <a:pt x="244" y="1063"/>
                </a:lnTo>
                <a:lnTo>
                  <a:pt x="244" y="1058"/>
                </a:lnTo>
                <a:lnTo>
                  <a:pt x="247" y="1054"/>
                </a:lnTo>
                <a:lnTo>
                  <a:pt x="249" y="1053"/>
                </a:lnTo>
                <a:lnTo>
                  <a:pt x="252" y="1051"/>
                </a:lnTo>
                <a:lnTo>
                  <a:pt x="254" y="1055"/>
                </a:lnTo>
                <a:lnTo>
                  <a:pt x="258" y="1055"/>
                </a:lnTo>
                <a:lnTo>
                  <a:pt x="261" y="1054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4" y="1055"/>
                </a:lnTo>
                <a:lnTo>
                  <a:pt x="262" y="1058"/>
                </a:lnTo>
                <a:lnTo>
                  <a:pt x="262" y="1062"/>
                </a:lnTo>
                <a:close/>
                <a:moveTo>
                  <a:pt x="271" y="1089"/>
                </a:moveTo>
                <a:lnTo>
                  <a:pt x="258" y="1085"/>
                </a:lnTo>
                <a:lnTo>
                  <a:pt x="245" y="1086"/>
                </a:lnTo>
                <a:lnTo>
                  <a:pt x="240" y="1089"/>
                </a:lnTo>
                <a:lnTo>
                  <a:pt x="238" y="1092"/>
                </a:lnTo>
                <a:lnTo>
                  <a:pt x="237" y="1096"/>
                </a:lnTo>
                <a:lnTo>
                  <a:pt x="234" y="1098"/>
                </a:lnTo>
                <a:lnTo>
                  <a:pt x="233" y="1099"/>
                </a:lnTo>
                <a:lnTo>
                  <a:pt x="232" y="1098"/>
                </a:lnTo>
                <a:lnTo>
                  <a:pt x="231" y="1097"/>
                </a:lnTo>
                <a:lnTo>
                  <a:pt x="231" y="1096"/>
                </a:lnTo>
                <a:lnTo>
                  <a:pt x="239" y="1084"/>
                </a:lnTo>
                <a:lnTo>
                  <a:pt x="244" y="1070"/>
                </a:lnTo>
                <a:lnTo>
                  <a:pt x="247" y="1072"/>
                </a:lnTo>
                <a:lnTo>
                  <a:pt x="247" y="1075"/>
                </a:lnTo>
                <a:lnTo>
                  <a:pt x="245" y="1077"/>
                </a:lnTo>
                <a:lnTo>
                  <a:pt x="245" y="1081"/>
                </a:lnTo>
                <a:lnTo>
                  <a:pt x="246" y="1082"/>
                </a:lnTo>
                <a:lnTo>
                  <a:pt x="248" y="1082"/>
                </a:lnTo>
                <a:lnTo>
                  <a:pt x="260" y="1079"/>
                </a:lnTo>
                <a:lnTo>
                  <a:pt x="271" y="1084"/>
                </a:lnTo>
                <a:lnTo>
                  <a:pt x="273" y="1085"/>
                </a:lnTo>
                <a:lnTo>
                  <a:pt x="276" y="1086"/>
                </a:lnTo>
                <a:lnTo>
                  <a:pt x="274" y="1090"/>
                </a:lnTo>
                <a:lnTo>
                  <a:pt x="271" y="1089"/>
                </a:lnTo>
                <a:close/>
                <a:moveTo>
                  <a:pt x="231" y="1039"/>
                </a:moveTo>
                <a:lnTo>
                  <a:pt x="231" y="1037"/>
                </a:lnTo>
                <a:lnTo>
                  <a:pt x="232" y="1035"/>
                </a:lnTo>
                <a:lnTo>
                  <a:pt x="231" y="1037"/>
                </a:lnTo>
                <a:lnTo>
                  <a:pt x="231" y="1039"/>
                </a:lnTo>
                <a:close/>
                <a:moveTo>
                  <a:pt x="231" y="1047"/>
                </a:moveTo>
                <a:lnTo>
                  <a:pt x="231" y="1046"/>
                </a:lnTo>
                <a:lnTo>
                  <a:pt x="230" y="1046"/>
                </a:lnTo>
                <a:lnTo>
                  <a:pt x="231" y="1046"/>
                </a:lnTo>
                <a:lnTo>
                  <a:pt x="231" y="1047"/>
                </a:lnTo>
                <a:close/>
                <a:moveTo>
                  <a:pt x="226" y="994"/>
                </a:moveTo>
                <a:lnTo>
                  <a:pt x="226" y="994"/>
                </a:lnTo>
                <a:lnTo>
                  <a:pt x="226" y="994"/>
                </a:lnTo>
                <a:lnTo>
                  <a:pt x="226" y="993"/>
                </a:lnTo>
                <a:lnTo>
                  <a:pt x="226" y="994"/>
                </a:lnTo>
                <a:lnTo>
                  <a:pt x="226" y="994"/>
                </a:lnTo>
                <a:close/>
                <a:moveTo>
                  <a:pt x="226" y="970"/>
                </a:moveTo>
                <a:lnTo>
                  <a:pt x="226" y="967"/>
                </a:lnTo>
                <a:lnTo>
                  <a:pt x="227" y="965"/>
                </a:lnTo>
                <a:lnTo>
                  <a:pt x="226" y="967"/>
                </a:lnTo>
                <a:lnTo>
                  <a:pt x="226" y="970"/>
                </a:lnTo>
                <a:close/>
                <a:moveTo>
                  <a:pt x="223" y="970"/>
                </a:moveTo>
                <a:lnTo>
                  <a:pt x="224" y="970"/>
                </a:lnTo>
                <a:lnTo>
                  <a:pt x="225" y="970"/>
                </a:lnTo>
                <a:lnTo>
                  <a:pt x="224" y="970"/>
                </a:lnTo>
                <a:lnTo>
                  <a:pt x="223" y="970"/>
                </a:lnTo>
                <a:close/>
                <a:moveTo>
                  <a:pt x="225" y="974"/>
                </a:moveTo>
                <a:lnTo>
                  <a:pt x="226" y="972"/>
                </a:lnTo>
                <a:lnTo>
                  <a:pt x="226" y="970"/>
                </a:lnTo>
                <a:lnTo>
                  <a:pt x="227" y="981"/>
                </a:lnTo>
                <a:lnTo>
                  <a:pt x="226" y="993"/>
                </a:lnTo>
                <a:lnTo>
                  <a:pt x="225" y="992"/>
                </a:lnTo>
                <a:lnTo>
                  <a:pt x="224" y="991"/>
                </a:lnTo>
                <a:lnTo>
                  <a:pt x="223" y="991"/>
                </a:lnTo>
                <a:lnTo>
                  <a:pt x="221" y="991"/>
                </a:lnTo>
                <a:lnTo>
                  <a:pt x="223" y="991"/>
                </a:lnTo>
                <a:lnTo>
                  <a:pt x="224" y="991"/>
                </a:lnTo>
                <a:lnTo>
                  <a:pt x="224" y="983"/>
                </a:lnTo>
                <a:lnTo>
                  <a:pt x="225" y="974"/>
                </a:lnTo>
                <a:lnTo>
                  <a:pt x="223" y="973"/>
                </a:lnTo>
                <a:lnTo>
                  <a:pt x="221" y="972"/>
                </a:lnTo>
                <a:lnTo>
                  <a:pt x="223" y="973"/>
                </a:lnTo>
                <a:lnTo>
                  <a:pt x="225" y="974"/>
                </a:lnTo>
                <a:close/>
                <a:moveTo>
                  <a:pt x="216" y="910"/>
                </a:moveTo>
                <a:lnTo>
                  <a:pt x="217" y="909"/>
                </a:lnTo>
                <a:lnTo>
                  <a:pt x="217" y="909"/>
                </a:lnTo>
                <a:lnTo>
                  <a:pt x="217" y="909"/>
                </a:lnTo>
                <a:lnTo>
                  <a:pt x="216" y="910"/>
                </a:lnTo>
                <a:close/>
                <a:moveTo>
                  <a:pt x="211" y="1110"/>
                </a:moveTo>
                <a:lnTo>
                  <a:pt x="210" y="1112"/>
                </a:lnTo>
                <a:lnTo>
                  <a:pt x="209" y="1114"/>
                </a:lnTo>
                <a:lnTo>
                  <a:pt x="210" y="1112"/>
                </a:lnTo>
                <a:lnTo>
                  <a:pt x="211" y="1110"/>
                </a:lnTo>
                <a:close/>
                <a:moveTo>
                  <a:pt x="251" y="1214"/>
                </a:moveTo>
                <a:lnTo>
                  <a:pt x="251" y="1214"/>
                </a:lnTo>
                <a:lnTo>
                  <a:pt x="252" y="1213"/>
                </a:lnTo>
                <a:lnTo>
                  <a:pt x="251" y="1214"/>
                </a:lnTo>
                <a:lnTo>
                  <a:pt x="251" y="1214"/>
                </a:lnTo>
                <a:close/>
                <a:moveTo>
                  <a:pt x="253" y="1312"/>
                </a:moveTo>
                <a:lnTo>
                  <a:pt x="252" y="1312"/>
                </a:lnTo>
                <a:lnTo>
                  <a:pt x="249" y="1312"/>
                </a:lnTo>
                <a:lnTo>
                  <a:pt x="252" y="1312"/>
                </a:lnTo>
                <a:lnTo>
                  <a:pt x="253" y="1312"/>
                </a:lnTo>
                <a:close/>
                <a:moveTo>
                  <a:pt x="254" y="1312"/>
                </a:move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lnTo>
                  <a:pt x="254" y="1312"/>
                </a:lnTo>
                <a:close/>
                <a:moveTo>
                  <a:pt x="261" y="1113"/>
                </a:moveTo>
                <a:lnTo>
                  <a:pt x="266" y="1114"/>
                </a:lnTo>
                <a:lnTo>
                  <a:pt x="267" y="1118"/>
                </a:lnTo>
                <a:lnTo>
                  <a:pt x="266" y="1123"/>
                </a:lnTo>
                <a:lnTo>
                  <a:pt x="260" y="1123"/>
                </a:lnTo>
                <a:lnTo>
                  <a:pt x="255" y="1120"/>
                </a:lnTo>
                <a:lnTo>
                  <a:pt x="253" y="1123"/>
                </a:lnTo>
                <a:lnTo>
                  <a:pt x="253" y="1127"/>
                </a:lnTo>
                <a:lnTo>
                  <a:pt x="258" y="1128"/>
                </a:lnTo>
                <a:lnTo>
                  <a:pt x="264" y="1133"/>
                </a:lnTo>
                <a:lnTo>
                  <a:pt x="262" y="1141"/>
                </a:lnTo>
                <a:lnTo>
                  <a:pt x="259" y="1139"/>
                </a:lnTo>
                <a:lnTo>
                  <a:pt x="254" y="1137"/>
                </a:lnTo>
                <a:lnTo>
                  <a:pt x="251" y="1137"/>
                </a:lnTo>
                <a:lnTo>
                  <a:pt x="249" y="1138"/>
                </a:lnTo>
                <a:lnTo>
                  <a:pt x="242" y="1145"/>
                </a:lnTo>
                <a:lnTo>
                  <a:pt x="233" y="1147"/>
                </a:lnTo>
                <a:lnTo>
                  <a:pt x="233" y="1149"/>
                </a:lnTo>
                <a:lnTo>
                  <a:pt x="233" y="1152"/>
                </a:lnTo>
                <a:lnTo>
                  <a:pt x="241" y="1153"/>
                </a:lnTo>
                <a:lnTo>
                  <a:pt x="248" y="1148"/>
                </a:lnTo>
                <a:lnTo>
                  <a:pt x="254" y="1145"/>
                </a:lnTo>
                <a:lnTo>
                  <a:pt x="260" y="1147"/>
                </a:lnTo>
                <a:lnTo>
                  <a:pt x="262" y="1149"/>
                </a:lnTo>
                <a:lnTo>
                  <a:pt x="261" y="1153"/>
                </a:lnTo>
                <a:lnTo>
                  <a:pt x="260" y="1158"/>
                </a:lnTo>
                <a:lnTo>
                  <a:pt x="255" y="1156"/>
                </a:lnTo>
                <a:lnTo>
                  <a:pt x="251" y="1154"/>
                </a:lnTo>
                <a:lnTo>
                  <a:pt x="247" y="1155"/>
                </a:lnTo>
                <a:lnTo>
                  <a:pt x="247" y="1161"/>
                </a:lnTo>
                <a:lnTo>
                  <a:pt x="252" y="1165"/>
                </a:lnTo>
                <a:lnTo>
                  <a:pt x="259" y="1169"/>
                </a:lnTo>
                <a:lnTo>
                  <a:pt x="256" y="1176"/>
                </a:lnTo>
                <a:lnTo>
                  <a:pt x="251" y="1173"/>
                </a:lnTo>
                <a:lnTo>
                  <a:pt x="245" y="1173"/>
                </a:lnTo>
                <a:lnTo>
                  <a:pt x="244" y="1174"/>
                </a:lnTo>
                <a:lnTo>
                  <a:pt x="244" y="1177"/>
                </a:lnTo>
                <a:lnTo>
                  <a:pt x="247" y="1182"/>
                </a:lnTo>
                <a:lnTo>
                  <a:pt x="253" y="1184"/>
                </a:lnTo>
                <a:lnTo>
                  <a:pt x="256" y="1186"/>
                </a:lnTo>
                <a:lnTo>
                  <a:pt x="255" y="1189"/>
                </a:lnTo>
                <a:lnTo>
                  <a:pt x="254" y="1194"/>
                </a:lnTo>
                <a:lnTo>
                  <a:pt x="249" y="1194"/>
                </a:lnTo>
                <a:lnTo>
                  <a:pt x="246" y="1191"/>
                </a:lnTo>
                <a:lnTo>
                  <a:pt x="241" y="1189"/>
                </a:lnTo>
                <a:lnTo>
                  <a:pt x="241" y="1198"/>
                </a:lnTo>
                <a:lnTo>
                  <a:pt x="249" y="1203"/>
                </a:lnTo>
                <a:lnTo>
                  <a:pt x="252" y="1207"/>
                </a:lnTo>
                <a:lnTo>
                  <a:pt x="252" y="1213"/>
                </a:lnTo>
                <a:lnTo>
                  <a:pt x="248" y="1213"/>
                </a:lnTo>
                <a:lnTo>
                  <a:pt x="247" y="1211"/>
                </a:lnTo>
                <a:lnTo>
                  <a:pt x="242" y="1209"/>
                </a:lnTo>
                <a:lnTo>
                  <a:pt x="239" y="1209"/>
                </a:lnTo>
                <a:lnTo>
                  <a:pt x="237" y="1211"/>
                </a:lnTo>
                <a:lnTo>
                  <a:pt x="237" y="1215"/>
                </a:lnTo>
                <a:lnTo>
                  <a:pt x="239" y="1220"/>
                </a:lnTo>
                <a:lnTo>
                  <a:pt x="242" y="1222"/>
                </a:lnTo>
                <a:lnTo>
                  <a:pt x="248" y="1223"/>
                </a:lnTo>
                <a:lnTo>
                  <a:pt x="249" y="1229"/>
                </a:lnTo>
                <a:lnTo>
                  <a:pt x="248" y="1231"/>
                </a:lnTo>
                <a:lnTo>
                  <a:pt x="245" y="1231"/>
                </a:lnTo>
                <a:lnTo>
                  <a:pt x="234" y="1229"/>
                </a:lnTo>
                <a:lnTo>
                  <a:pt x="233" y="1238"/>
                </a:lnTo>
                <a:lnTo>
                  <a:pt x="239" y="1239"/>
                </a:lnTo>
                <a:lnTo>
                  <a:pt x="245" y="1241"/>
                </a:lnTo>
                <a:lnTo>
                  <a:pt x="247" y="1244"/>
                </a:lnTo>
                <a:lnTo>
                  <a:pt x="246" y="1249"/>
                </a:lnTo>
                <a:lnTo>
                  <a:pt x="244" y="1251"/>
                </a:lnTo>
                <a:lnTo>
                  <a:pt x="240" y="1250"/>
                </a:lnTo>
                <a:lnTo>
                  <a:pt x="235" y="1248"/>
                </a:lnTo>
                <a:lnTo>
                  <a:pt x="231" y="1251"/>
                </a:lnTo>
                <a:lnTo>
                  <a:pt x="233" y="1257"/>
                </a:lnTo>
                <a:lnTo>
                  <a:pt x="239" y="1259"/>
                </a:lnTo>
                <a:lnTo>
                  <a:pt x="242" y="1260"/>
                </a:lnTo>
                <a:lnTo>
                  <a:pt x="244" y="1263"/>
                </a:lnTo>
                <a:lnTo>
                  <a:pt x="244" y="1266"/>
                </a:lnTo>
                <a:lnTo>
                  <a:pt x="241" y="1270"/>
                </a:lnTo>
                <a:lnTo>
                  <a:pt x="239" y="1271"/>
                </a:lnTo>
                <a:lnTo>
                  <a:pt x="237" y="1270"/>
                </a:lnTo>
                <a:lnTo>
                  <a:pt x="233" y="1267"/>
                </a:lnTo>
                <a:lnTo>
                  <a:pt x="230" y="1267"/>
                </a:lnTo>
                <a:lnTo>
                  <a:pt x="227" y="1270"/>
                </a:lnTo>
                <a:lnTo>
                  <a:pt x="227" y="1272"/>
                </a:lnTo>
                <a:lnTo>
                  <a:pt x="231" y="1277"/>
                </a:lnTo>
                <a:lnTo>
                  <a:pt x="235" y="1279"/>
                </a:lnTo>
                <a:lnTo>
                  <a:pt x="240" y="1280"/>
                </a:lnTo>
                <a:lnTo>
                  <a:pt x="240" y="1286"/>
                </a:lnTo>
                <a:lnTo>
                  <a:pt x="238" y="1290"/>
                </a:lnTo>
                <a:lnTo>
                  <a:pt x="234" y="1288"/>
                </a:lnTo>
                <a:lnTo>
                  <a:pt x="231" y="1286"/>
                </a:lnTo>
                <a:lnTo>
                  <a:pt x="226" y="1287"/>
                </a:lnTo>
                <a:lnTo>
                  <a:pt x="225" y="1290"/>
                </a:lnTo>
                <a:lnTo>
                  <a:pt x="225" y="1292"/>
                </a:lnTo>
                <a:lnTo>
                  <a:pt x="227" y="1297"/>
                </a:lnTo>
                <a:lnTo>
                  <a:pt x="232" y="1299"/>
                </a:lnTo>
                <a:lnTo>
                  <a:pt x="235" y="1299"/>
                </a:lnTo>
                <a:lnTo>
                  <a:pt x="237" y="1302"/>
                </a:lnTo>
                <a:lnTo>
                  <a:pt x="235" y="1309"/>
                </a:lnTo>
                <a:lnTo>
                  <a:pt x="228" y="1307"/>
                </a:lnTo>
                <a:lnTo>
                  <a:pt x="227" y="1306"/>
                </a:lnTo>
                <a:lnTo>
                  <a:pt x="225" y="1306"/>
                </a:lnTo>
                <a:lnTo>
                  <a:pt x="223" y="1306"/>
                </a:lnTo>
                <a:lnTo>
                  <a:pt x="219" y="1307"/>
                </a:lnTo>
                <a:lnTo>
                  <a:pt x="223" y="1306"/>
                </a:lnTo>
                <a:lnTo>
                  <a:pt x="225" y="1306"/>
                </a:lnTo>
                <a:lnTo>
                  <a:pt x="224" y="1298"/>
                </a:lnTo>
                <a:lnTo>
                  <a:pt x="218" y="1295"/>
                </a:lnTo>
                <a:lnTo>
                  <a:pt x="211" y="1297"/>
                </a:lnTo>
                <a:lnTo>
                  <a:pt x="204" y="1298"/>
                </a:lnTo>
                <a:lnTo>
                  <a:pt x="206" y="1290"/>
                </a:lnTo>
                <a:lnTo>
                  <a:pt x="213" y="1286"/>
                </a:lnTo>
                <a:lnTo>
                  <a:pt x="218" y="1286"/>
                </a:lnTo>
                <a:lnTo>
                  <a:pt x="223" y="1285"/>
                </a:lnTo>
                <a:lnTo>
                  <a:pt x="226" y="1283"/>
                </a:lnTo>
                <a:lnTo>
                  <a:pt x="226" y="1279"/>
                </a:lnTo>
                <a:lnTo>
                  <a:pt x="224" y="1276"/>
                </a:lnTo>
                <a:lnTo>
                  <a:pt x="219" y="1277"/>
                </a:lnTo>
                <a:lnTo>
                  <a:pt x="216" y="1279"/>
                </a:lnTo>
                <a:lnTo>
                  <a:pt x="212" y="1278"/>
                </a:lnTo>
                <a:lnTo>
                  <a:pt x="213" y="1278"/>
                </a:lnTo>
                <a:lnTo>
                  <a:pt x="213" y="1277"/>
                </a:lnTo>
                <a:lnTo>
                  <a:pt x="212" y="1277"/>
                </a:lnTo>
                <a:lnTo>
                  <a:pt x="212" y="1277"/>
                </a:lnTo>
                <a:lnTo>
                  <a:pt x="207" y="1276"/>
                </a:lnTo>
                <a:lnTo>
                  <a:pt x="207" y="1271"/>
                </a:lnTo>
                <a:lnTo>
                  <a:pt x="212" y="1266"/>
                </a:lnTo>
                <a:lnTo>
                  <a:pt x="219" y="1267"/>
                </a:lnTo>
                <a:lnTo>
                  <a:pt x="224" y="1266"/>
                </a:lnTo>
                <a:lnTo>
                  <a:pt x="228" y="1263"/>
                </a:lnTo>
                <a:lnTo>
                  <a:pt x="230" y="1262"/>
                </a:lnTo>
                <a:lnTo>
                  <a:pt x="230" y="1259"/>
                </a:lnTo>
                <a:lnTo>
                  <a:pt x="226" y="1258"/>
                </a:lnTo>
                <a:lnTo>
                  <a:pt x="223" y="1257"/>
                </a:lnTo>
                <a:lnTo>
                  <a:pt x="213" y="1258"/>
                </a:lnTo>
                <a:lnTo>
                  <a:pt x="211" y="1249"/>
                </a:lnTo>
                <a:lnTo>
                  <a:pt x="216" y="1248"/>
                </a:lnTo>
                <a:lnTo>
                  <a:pt x="220" y="1249"/>
                </a:lnTo>
                <a:lnTo>
                  <a:pt x="230" y="1246"/>
                </a:lnTo>
                <a:lnTo>
                  <a:pt x="233" y="1238"/>
                </a:lnTo>
                <a:lnTo>
                  <a:pt x="224" y="1238"/>
                </a:lnTo>
                <a:lnTo>
                  <a:pt x="216" y="1238"/>
                </a:lnTo>
                <a:lnTo>
                  <a:pt x="216" y="1234"/>
                </a:lnTo>
                <a:lnTo>
                  <a:pt x="216" y="1229"/>
                </a:lnTo>
                <a:lnTo>
                  <a:pt x="214" y="1225"/>
                </a:lnTo>
                <a:lnTo>
                  <a:pt x="214" y="1223"/>
                </a:lnTo>
                <a:lnTo>
                  <a:pt x="214" y="1225"/>
                </a:lnTo>
                <a:lnTo>
                  <a:pt x="216" y="1229"/>
                </a:lnTo>
                <a:lnTo>
                  <a:pt x="219" y="1228"/>
                </a:lnTo>
                <a:lnTo>
                  <a:pt x="221" y="1227"/>
                </a:lnTo>
                <a:lnTo>
                  <a:pt x="225" y="1229"/>
                </a:lnTo>
                <a:lnTo>
                  <a:pt x="230" y="1228"/>
                </a:lnTo>
                <a:lnTo>
                  <a:pt x="234" y="1225"/>
                </a:lnTo>
                <a:lnTo>
                  <a:pt x="235" y="1221"/>
                </a:lnTo>
                <a:lnTo>
                  <a:pt x="233" y="1218"/>
                </a:lnTo>
                <a:lnTo>
                  <a:pt x="228" y="1220"/>
                </a:lnTo>
                <a:lnTo>
                  <a:pt x="227" y="1221"/>
                </a:lnTo>
                <a:lnTo>
                  <a:pt x="226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5" y="1221"/>
                </a:lnTo>
                <a:lnTo>
                  <a:pt x="224" y="1221"/>
                </a:lnTo>
                <a:lnTo>
                  <a:pt x="223" y="1221"/>
                </a:lnTo>
                <a:lnTo>
                  <a:pt x="221" y="1221"/>
                </a:lnTo>
                <a:lnTo>
                  <a:pt x="219" y="1220"/>
                </a:lnTo>
                <a:lnTo>
                  <a:pt x="218" y="1218"/>
                </a:lnTo>
                <a:lnTo>
                  <a:pt x="219" y="1214"/>
                </a:lnTo>
                <a:lnTo>
                  <a:pt x="220" y="1209"/>
                </a:lnTo>
                <a:lnTo>
                  <a:pt x="223" y="1208"/>
                </a:lnTo>
                <a:lnTo>
                  <a:pt x="225" y="1208"/>
                </a:lnTo>
                <a:lnTo>
                  <a:pt x="226" y="1207"/>
                </a:lnTo>
                <a:lnTo>
                  <a:pt x="225" y="1204"/>
                </a:lnTo>
                <a:lnTo>
                  <a:pt x="226" y="1207"/>
                </a:lnTo>
                <a:lnTo>
                  <a:pt x="225" y="1208"/>
                </a:lnTo>
                <a:lnTo>
                  <a:pt x="230" y="1210"/>
                </a:lnTo>
                <a:lnTo>
                  <a:pt x="234" y="1208"/>
                </a:lnTo>
                <a:lnTo>
                  <a:pt x="238" y="1205"/>
                </a:lnTo>
                <a:lnTo>
                  <a:pt x="239" y="1203"/>
                </a:lnTo>
                <a:lnTo>
                  <a:pt x="235" y="1200"/>
                </a:lnTo>
                <a:lnTo>
                  <a:pt x="231" y="1201"/>
                </a:lnTo>
                <a:lnTo>
                  <a:pt x="227" y="1202"/>
                </a:lnTo>
                <a:lnTo>
                  <a:pt x="223" y="1203"/>
                </a:lnTo>
                <a:lnTo>
                  <a:pt x="221" y="1194"/>
                </a:lnTo>
                <a:lnTo>
                  <a:pt x="228" y="1189"/>
                </a:lnTo>
                <a:lnTo>
                  <a:pt x="234" y="1191"/>
                </a:lnTo>
                <a:lnTo>
                  <a:pt x="240" y="1188"/>
                </a:lnTo>
                <a:lnTo>
                  <a:pt x="242" y="1183"/>
                </a:lnTo>
                <a:lnTo>
                  <a:pt x="238" y="1182"/>
                </a:lnTo>
                <a:lnTo>
                  <a:pt x="232" y="1182"/>
                </a:lnTo>
                <a:lnTo>
                  <a:pt x="226" y="1182"/>
                </a:lnTo>
                <a:lnTo>
                  <a:pt x="225" y="1176"/>
                </a:lnTo>
                <a:lnTo>
                  <a:pt x="231" y="1169"/>
                </a:lnTo>
                <a:lnTo>
                  <a:pt x="235" y="1173"/>
                </a:lnTo>
                <a:lnTo>
                  <a:pt x="240" y="1170"/>
                </a:lnTo>
                <a:lnTo>
                  <a:pt x="245" y="1168"/>
                </a:lnTo>
                <a:lnTo>
                  <a:pt x="246" y="1165"/>
                </a:lnTo>
                <a:lnTo>
                  <a:pt x="241" y="1162"/>
                </a:lnTo>
                <a:lnTo>
                  <a:pt x="235" y="1163"/>
                </a:lnTo>
                <a:lnTo>
                  <a:pt x="233" y="1165"/>
                </a:lnTo>
                <a:lnTo>
                  <a:pt x="232" y="1163"/>
                </a:lnTo>
                <a:lnTo>
                  <a:pt x="228" y="1163"/>
                </a:lnTo>
                <a:lnTo>
                  <a:pt x="226" y="1161"/>
                </a:lnTo>
                <a:lnTo>
                  <a:pt x="228" y="1155"/>
                </a:lnTo>
                <a:lnTo>
                  <a:pt x="233" y="1152"/>
                </a:lnTo>
                <a:lnTo>
                  <a:pt x="233" y="1149"/>
                </a:lnTo>
                <a:lnTo>
                  <a:pt x="233" y="1147"/>
                </a:lnTo>
                <a:lnTo>
                  <a:pt x="230" y="1144"/>
                </a:lnTo>
                <a:lnTo>
                  <a:pt x="231" y="1140"/>
                </a:lnTo>
                <a:lnTo>
                  <a:pt x="233" y="1137"/>
                </a:lnTo>
                <a:lnTo>
                  <a:pt x="238" y="1137"/>
                </a:lnTo>
                <a:lnTo>
                  <a:pt x="244" y="1137"/>
                </a:lnTo>
                <a:lnTo>
                  <a:pt x="249" y="1133"/>
                </a:lnTo>
                <a:lnTo>
                  <a:pt x="251" y="1132"/>
                </a:lnTo>
                <a:lnTo>
                  <a:pt x="252" y="1130"/>
                </a:lnTo>
                <a:lnTo>
                  <a:pt x="249" y="1128"/>
                </a:lnTo>
                <a:lnTo>
                  <a:pt x="248" y="1128"/>
                </a:lnTo>
                <a:lnTo>
                  <a:pt x="245" y="1128"/>
                </a:lnTo>
                <a:lnTo>
                  <a:pt x="241" y="1131"/>
                </a:lnTo>
                <a:lnTo>
                  <a:pt x="234" y="1131"/>
                </a:lnTo>
                <a:lnTo>
                  <a:pt x="232" y="1124"/>
                </a:lnTo>
                <a:lnTo>
                  <a:pt x="227" y="1126"/>
                </a:lnTo>
                <a:lnTo>
                  <a:pt x="223" y="1131"/>
                </a:lnTo>
                <a:lnTo>
                  <a:pt x="227" y="1126"/>
                </a:lnTo>
                <a:lnTo>
                  <a:pt x="232" y="1124"/>
                </a:lnTo>
                <a:lnTo>
                  <a:pt x="235" y="1119"/>
                </a:lnTo>
                <a:lnTo>
                  <a:pt x="241" y="1120"/>
                </a:lnTo>
                <a:lnTo>
                  <a:pt x="248" y="1120"/>
                </a:lnTo>
                <a:lnTo>
                  <a:pt x="253" y="1116"/>
                </a:lnTo>
                <a:lnTo>
                  <a:pt x="253" y="1114"/>
                </a:lnTo>
                <a:lnTo>
                  <a:pt x="253" y="1113"/>
                </a:lnTo>
                <a:lnTo>
                  <a:pt x="251" y="1111"/>
                </a:lnTo>
                <a:lnTo>
                  <a:pt x="248" y="1111"/>
                </a:lnTo>
                <a:lnTo>
                  <a:pt x="242" y="1113"/>
                </a:lnTo>
                <a:lnTo>
                  <a:pt x="241" y="1107"/>
                </a:lnTo>
                <a:lnTo>
                  <a:pt x="239" y="1107"/>
                </a:lnTo>
                <a:lnTo>
                  <a:pt x="237" y="1106"/>
                </a:lnTo>
                <a:lnTo>
                  <a:pt x="239" y="1100"/>
                </a:lnTo>
                <a:lnTo>
                  <a:pt x="244" y="1097"/>
                </a:lnTo>
                <a:lnTo>
                  <a:pt x="258" y="1096"/>
                </a:lnTo>
                <a:lnTo>
                  <a:pt x="271" y="1102"/>
                </a:lnTo>
                <a:lnTo>
                  <a:pt x="267" y="1103"/>
                </a:lnTo>
                <a:lnTo>
                  <a:pt x="265" y="1102"/>
                </a:lnTo>
                <a:lnTo>
                  <a:pt x="259" y="1100"/>
                </a:lnTo>
                <a:lnTo>
                  <a:pt x="255" y="1104"/>
                </a:lnTo>
                <a:lnTo>
                  <a:pt x="256" y="1111"/>
                </a:lnTo>
                <a:lnTo>
                  <a:pt x="261" y="1113"/>
                </a:lnTo>
                <a:close/>
                <a:moveTo>
                  <a:pt x="264" y="945"/>
                </a:moveTo>
                <a:lnTo>
                  <a:pt x="264" y="942"/>
                </a:lnTo>
                <a:lnTo>
                  <a:pt x="264" y="939"/>
                </a:lnTo>
                <a:lnTo>
                  <a:pt x="266" y="938"/>
                </a:lnTo>
                <a:lnTo>
                  <a:pt x="267" y="936"/>
                </a:lnTo>
                <a:lnTo>
                  <a:pt x="267" y="934"/>
                </a:lnTo>
                <a:lnTo>
                  <a:pt x="267" y="931"/>
                </a:lnTo>
                <a:lnTo>
                  <a:pt x="267" y="934"/>
                </a:lnTo>
                <a:lnTo>
                  <a:pt x="267" y="936"/>
                </a:lnTo>
                <a:lnTo>
                  <a:pt x="279" y="938"/>
                </a:lnTo>
                <a:lnTo>
                  <a:pt x="283" y="929"/>
                </a:lnTo>
                <a:lnTo>
                  <a:pt x="290" y="931"/>
                </a:lnTo>
                <a:lnTo>
                  <a:pt x="296" y="932"/>
                </a:lnTo>
                <a:lnTo>
                  <a:pt x="295" y="937"/>
                </a:lnTo>
                <a:lnTo>
                  <a:pt x="293" y="942"/>
                </a:lnTo>
                <a:lnTo>
                  <a:pt x="292" y="942"/>
                </a:lnTo>
                <a:lnTo>
                  <a:pt x="290" y="941"/>
                </a:lnTo>
                <a:lnTo>
                  <a:pt x="287" y="938"/>
                </a:lnTo>
                <a:lnTo>
                  <a:pt x="283" y="938"/>
                </a:lnTo>
                <a:lnTo>
                  <a:pt x="282" y="939"/>
                </a:lnTo>
                <a:lnTo>
                  <a:pt x="282" y="942"/>
                </a:lnTo>
                <a:lnTo>
                  <a:pt x="285" y="946"/>
                </a:lnTo>
                <a:lnTo>
                  <a:pt x="288" y="948"/>
                </a:lnTo>
                <a:lnTo>
                  <a:pt x="292" y="949"/>
                </a:lnTo>
                <a:lnTo>
                  <a:pt x="293" y="951"/>
                </a:lnTo>
                <a:lnTo>
                  <a:pt x="293" y="955"/>
                </a:lnTo>
                <a:lnTo>
                  <a:pt x="292" y="958"/>
                </a:lnTo>
                <a:lnTo>
                  <a:pt x="289" y="958"/>
                </a:lnTo>
                <a:lnTo>
                  <a:pt x="287" y="956"/>
                </a:lnTo>
                <a:lnTo>
                  <a:pt x="283" y="955"/>
                </a:lnTo>
                <a:lnTo>
                  <a:pt x="281" y="955"/>
                </a:lnTo>
                <a:lnTo>
                  <a:pt x="280" y="957"/>
                </a:lnTo>
                <a:lnTo>
                  <a:pt x="280" y="958"/>
                </a:lnTo>
                <a:lnTo>
                  <a:pt x="281" y="963"/>
                </a:lnTo>
                <a:lnTo>
                  <a:pt x="286" y="964"/>
                </a:lnTo>
                <a:lnTo>
                  <a:pt x="290" y="966"/>
                </a:lnTo>
                <a:lnTo>
                  <a:pt x="290" y="971"/>
                </a:lnTo>
                <a:lnTo>
                  <a:pt x="288" y="974"/>
                </a:lnTo>
                <a:lnTo>
                  <a:pt x="285" y="973"/>
                </a:lnTo>
                <a:lnTo>
                  <a:pt x="281" y="971"/>
                </a:lnTo>
                <a:lnTo>
                  <a:pt x="278" y="973"/>
                </a:lnTo>
                <a:lnTo>
                  <a:pt x="278" y="978"/>
                </a:lnTo>
                <a:lnTo>
                  <a:pt x="282" y="980"/>
                </a:lnTo>
                <a:lnTo>
                  <a:pt x="286" y="980"/>
                </a:lnTo>
                <a:lnTo>
                  <a:pt x="287" y="984"/>
                </a:lnTo>
                <a:lnTo>
                  <a:pt x="285" y="987"/>
                </a:lnTo>
                <a:lnTo>
                  <a:pt x="280" y="988"/>
                </a:lnTo>
                <a:lnTo>
                  <a:pt x="276" y="988"/>
                </a:lnTo>
                <a:lnTo>
                  <a:pt x="274" y="992"/>
                </a:lnTo>
                <a:lnTo>
                  <a:pt x="275" y="997"/>
                </a:lnTo>
                <a:lnTo>
                  <a:pt x="281" y="999"/>
                </a:lnTo>
                <a:lnTo>
                  <a:pt x="283" y="999"/>
                </a:lnTo>
                <a:lnTo>
                  <a:pt x="286" y="1001"/>
                </a:lnTo>
                <a:lnTo>
                  <a:pt x="285" y="1006"/>
                </a:lnTo>
                <a:lnTo>
                  <a:pt x="283" y="1008"/>
                </a:lnTo>
                <a:lnTo>
                  <a:pt x="280" y="1008"/>
                </a:lnTo>
                <a:lnTo>
                  <a:pt x="278" y="1006"/>
                </a:lnTo>
                <a:lnTo>
                  <a:pt x="274" y="1005"/>
                </a:lnTo>
                <a:lnTo>
                  <a:pt x="272" y="1007"/>
                </a:lnTo>
                <a:lnTo>
                  <a:pt x="271" y="1009"/>
                </a:lnTo>
                <a:lnTo>
                  <a:pt x="272" y="1011"/>
                </a:lnTo>
                <a:lnTo>
                  <a:pt x="272" y="1013"/>
                </a:lnTo>
                <a:lnTo>
                  <a:pt x="273" y="1014"/>
                </a:lnTo>
                <a:lnTo>
                  <a:pt x="278" y="1015"/>
                </a:lnTo>
                <a:lnTo>
                  <a:pt x="282" y="1019"/>
                </a:lnTo>
                <a:lnTo>
                  <a:pt x="282" y="1022"/>
                </a:lnTo>
                <a:lnTo>
                  <a:pt x="281" y="1025"/>
                </a:lnTo>
                <a:lnTo>
                  <a:pt x="279" y="1026"/>
                </a:lnTo>
                <a:lnTo>
                  <a:pt x="275" y="1023"/>
                </a:lnTo>
                <a:lnTo>
                  <a:pt x="273" y="1022"/>
                </a:lnTo>
                <a:lnTo>
                  <a:pt x="269" y="1022"/>
                </a:lnTo>
                <a:lnTo>
                  <a:pt x="268" y="1025"/>
                </a:lnTo>
                <a:lnTo>
                  <a:pt x="268" y="1027"/>
                </a:lnTo>
                <a:lnTo>
                  <a:pt x="271" y="1030"/>
                </a:lnTo>
                <a:lnTo>
                  <a:pt x="274" y="1032"/>
                </a:lnTo>
                <a:lnTo>
                  <a:pt x="279" y="1033"/>
                </a:lnTo>
                <a:lnTo>
                  <a:pt x="280" y="1036"/>
                </a:lnTo>
                <a:lnTo>
                  <a:pt x="279" y="1040"/>
                </a:lnTo>
                <a:lnTo>
                  <a:pt x="278" y="1043"/>
                </a:lnTo>
                <a:lnTo>
                  <a:pt x="278" y="1043"/>
                </a:lnTo>
                <a:lnTo>
                  <a:pt x="276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5" y="1044"/>
                </a:lnTo>
                <a:lnTo>
                  <a:pt x="276" y="1044"/>
                </a:lnTo>
                <a:lnTo>
                  <a:pt x="272" y="1040"/>
                </a:lnTo>
                <a:lnTo>
                  <a:pt x="267" y="1040"/>
                </a:lnTo>
                <a:lnTo>
                  <a:pt x="266" y="1043"/>
                </a:lnTo>
                <a:lnTo>
                  <a:pt x="267" y="1047"/>
                </a:lnTo>
                <a:lnTo>
                  <a:pt x="273" y="1049"/>
                </a:lnTo>
                <a:lnTo>
                  <a:pt x="276" y="1053"/>
                </a:lnTo>
                <a:lnTo>
                  <a:pt x="273" y="1057"/>
                </a:lnTo>
                <a:lnTo>
                  <a:pt x="267" y="1055"/>
                </a:lnTo>
                <a:lnTo>
                  <a:pt x="266" y="1050"/>
                </a:lnTo>
                <a:lnTo>
                  <a:pt x="267" y="1047"/>
                </a:lnTo>
                <a:lnTo>
                  <a:pt x="261" y="1047"/>
                </a:lnTo>
                <a:lnTo>
                  <a:pt x="256" y="1049"/>
                </a:lnTo>
                <a:lnTo>
                  <a:pt x="254" y="1050"/>
                </a:lnTo>
                <a:lnTo>
                  <a:pt x="252" y="1050"/>
                </a:lnTo>
                <a:lnTo>
                  <a:pt x="248" y="1049"/>
                </a:lnTo>
                <a:lnTo>
                  <a:pt x="246" y="1046"/>
                </a:lnTo>
                <a:lnTo>
                  <a:pt x="248" y="1040"/>
                </a:lnTo>
                <a:lnTo>
                  <a:pt x="254" y="1039"/>
                </a:lnTo>
                <a:lnTo>
                  <a:pt x="258" y="1040"/>
                </a:lnTo>
                <a:lnTo>
                  <a:pt x="261" y="1039"/>
                </a:lnTo>
                <a:lnTo>
                  <a:pt x="266" y="1036"/>
                </a:lnTo>
                <a:lnTo>
                  <a:pt x="267" y="1033"/>
                </a:lnTo>
                <a:lnTo>
                  <a:pt x="264" y="1030"/>
                </a:lnTo>
                <a:lnTo>
                  <a:pt x="259" y="1032"/>
                </a:lnTo>
                <a:lnTo>
                  <a:pt x="258" y="1032"/>
                </a:lnTo>
                <a:lnTo>
                  <a:pt x="256" y="1032"/>
                </a:lnTo>
                <a:lnTo>
                  <a:pt x="254" y="1032"/>
                </a:lnTo>
                <a:lnTo>
                  <a:pt x="252" y="1032"/>
                </a:lnTo>
                <a:lnTo>
                  <a:pt x="252" y="1033"/>
                </a:lnTo>
                <a:lnTo>
                  <a:pt x="253" y="1033"/>
                </a:lnTo>
                <a:lnTo>
                  <a:pt x="252" y="1033"/>
                </a:lnTo>
                <a:lnTo>
                  <a:pt x="252" y="1032"/>
                </a:lnTo>
                <a:lnTo>
                  <a:pt x="249" y="1026"/>
                </a:lnTo>
                <a:lnTo>
                  <a:pt x="252" y="1020"/>
                </a:lnTo>
                <a:lnTo>
                  <a:pt x="252" y="1020"/>
                </a:lnTo>
                <a:lnTo>
                  <a:pt x="261" y="1021"/>
                </a:lnTo>
                <a:lnTo>
                  <a:pt x="269" y="1015"/>
                </a:lnTo>
                <a:lnTo>
                  <a:pt x="271" y="1015"/>
                </a:lnTo>
                <a:lnTo>
                  <a:pt x="272" y="1014"/>
                </a:lnTo>
                <a:lnTo>
                  <a:pt x="271" y="1014"/>
                </a:lnTo>
                <a:lnTo>
                  <a:pt x="268" y="1014"/>
                </a:lnTo>
                <a:lnTo>
                  <a:pt x="266" y="1014"/>
                </a:lnTo>
                <a:lnTo>
                  <a:pt x="264" y="1014"/>
                </a:lnTo>
                <a:lnTo>
                  <a:pt x="262" y="1013"/>
                </a:lnTo>
                <a:lnTo>
                  <a:pt x="262" y="1014"/>
                </a:lnTo>
                <a:lnTo>
                  <a:pt x="258" y="1015"/>
                </a:lnTo>
                <a:lnTo>
                  <a:pt x="254" y="1016"/>
                </a:lnTo>
                <a:lnTo>
                  <a:pt x="253" y="1008"/>
                </a:lnTo>
                <a:lnTo>
                  <a:pt x="261" y="1006"/>
                </a:lnTo>
                <a:lnTo>
                  <a:pt x="267" y="1005"/>
                </a:lnTo>
                <a:lnTo>
                  <a:pt x="272" y="1001"/>
                </a:lnTo>
                <a:lnTo>
                  <a:pt x="273" y="999"/>
                </a:lnTo>
                <a:lnTo>
                  <a:pt x="272" y="998"/>
                </a:lnTo>
                <a:lnTo>
                  <a:pt x="267" y="995"/>
                </a:lnTo>
                <a:lnTo>
                  <a:pt x="262" y="998"/>
                </a:lnTo>
                <a:lnTo>
                  <a:pt x="258" y="998"/>
                </a:lnTo>
                <a:lnTo>
                  <a:pt x="254" y="995"/>
                </a:lnTo>
                <a:lnTo>
                  <a:pt x="255" y="991"/>
                </a:lnTo>
                <a:lnTo>
                  <a:pt x="261" y="988"/>
                </a:lnTo>
                <a:lnTo>
                  <a:pt x="267" y="988"/>
                </a:lnTo>
                <a:lnTo>
                  <a:pt x="273" y="986"/>
                </a:lnTo>
                <a:lnTo>
                  <a:pt x="275" y="984"/>
                </a:lnTo>
                <a:lnTo>
                  <a:pt x="276" y="981"/>
                </a:lnTo>
                <a:lnTo>
                  <a:pt x="274" y="979"/>
                </a:lnTo>
                <a:lnTo>
                  <a:pt x="269" y="979"/>
                </a:lnTo>
                <a:lnTo>
                  <a:pt x="262" y="980"/>
                </a:lnTo>
                <a:lnTo>
                  <a:pt x="255" y="981"/>
                </a:lnTo>
                <a:lnTo>
                  <a:pt x="260" y="972"/>
                </a:lnTo>
                <a:lnTo>
                  <a:pt x="269" y="971"/>
                </a:lnTo>
                <a:lnTo>
                  <a:pt x="273" y="970"/>
                </a:lnTo>
                <a:lnTo>
                  <a:pt x="275" y="969"/>
                </a:lnTo>
                <a:lnTo>
                  <a:pt x="278" y="967"/>
                </a:lnTo>
                <a:lnTo>
                  <a:pt x="278" y="965"/>
                </a:lnTo>
                <a:lnTo>
                  <a:pt x="275" y="963"/>
                </a:lnTo>
                <a:lnTo>
                  <a:pt x="273" y="963"/>
                </a:lnTo>
                <a:lnTo>
                  <a:pt x="267" y="965"/>
                </a:lnTo>
                <a:lnTo>
                  <a:pt x="261" y="963"/>
                </a:lnTo>
                <a:lnTo>
                  <a:pt x="261" y="958"/>
                </a:lnTo>
                <a:lnTo>
                  <a:pt x="266" y="952"/>
                </a:lnTo>
                <a:lnTo>
                  <a:pt x="265" y="949"/>
                </a:lnTo>
                <a:lnTo>
                  <a:pt x="264" y="945"/>
                </a:lnTo>
                <a:lnTo>
                  <a:pt x="254" y="946"/>
                </a:lnTo>
                <a:lnTo>
                  <a:pt x="245" y="949"/>
                </a:lnTo>
                <a:lnTo>
                  <a:pt x="254" y="946"/>
                </a:lnTo>
                <a:lnTo>
                  <a:pt x="264" y="945"/>
                </a:lnTo>
                <a:close/>
                <a:moveTo>
                  <a:pt x="256" y="791"/>
                </a:moveTo>
                <a:lnTo>
                  <a:pt x="256" y="792"/>
                </a:lnTo>
                <a:lnTo>
                  <a:pt x="256" y="792"/>
                </a:lnTo>
                <a:lnTo>
                  <a:pt x="256" y="792"/>
                </a:lnTo>
                <a:lnTo>
                  <a:pt x="256" y="791"/>
                </a:lnTo>
                <a:lnTo>
                  <a:pt x="259" y="790"/>
                </a:lnTo>
                <a:lnTo>
                  <a:pt x="261" y="789"/>
                </a:lnTo>
                <a:lnTo>
                  <a:pt x="259" y="790"/>
                </a:lnTo>
                <a:lnTo>
                  <a:pt x="256" y="791"/>
                </a:lnTo>
                <a:close/>
                <a:moveTo>
                  <a:pt x="276" y="876"/>
                </a:moveTo>
                <a:lnTo>
                  <a:pt x="278" y="875"/>
                </a:lnTo>
                <a:lnTo>
                  <a:pt x="280" y="873"/>
                </a:lnTo>
                <a:lnTo>
                  <a:pt x="283" y="867"/>
                </a:lnTo>
                <a:lnTo>
                  <a:pt x="290" y="866"/>
                </a:lnTo>
                <a:lnTo>
                  <a:pt x="293" y="871"/>
                </a:lnTo>
                <a:lnTo>
                  <a:pt x="293" y="876"/>
                </a:lnTo>
                <a:lnTo>
                  <a:pt x="293" y="878"/>
                </a:lnTo>
                <a:lnTo>
                  <a:pt x="294" y="878"/>
                </a:lnTo>
                <a:lnTo>
                  <a:pt x="293" y="878"/>
                </a:lnTo>
                <a:lnTo>
                  <a:pt x="293" y="876"/>
                </a:lnTo>
                <a:lnTo>
                  <a:pt x="278" y="882"/>
                </a:lnTo>
                <a:lnTo>
                  <a:pt x="266" y="894"/>
                </a:lnTo>
                <a:lnTo>
                  <a:pt x="269" y="885"/>
                </a:lnTo>
                <a:lnTo>
                  <a:pt x="276" y="876"/>
                </a:lnTo>
                <a:close/>
                <a:moveTo>
                  <a:pt x="299" y="909"/>
                </a:moveTo>
                <a:lnTo>
                  <a:pt x="289" y="907"/>
                </a:lnTo>
                <a:lnTo>
                  <a:pt x="287" y="914"/>
                </a:lnTo>
                <a:lnTo>
                  <a:pt x="281" y="914"/>
                </a:lnTo>
                <a:lnTo>
                  <a:pt x="276" y="916"/>
                </a:lnTo>
                <a:lnTo>
                  <a:pt x="273" y="915"/>
                </a:lnTo>
                <a:lnTo>
                  <a:pt x="269" y="915"/>
                </a:lnTo>
                <a:lnTo>
                  <a:pt x="269" y="914"/>
                </a:lnTo>
                <a:lnTo>
                  <a:pt x="269" y="913"/>
                </a:lnTo>
                <a:lnTo>
                  <a:pt x="269" y="911"/>
                </a:lnTo>
                <a:lnTo>
                  <a:pt x="268" y="909"/>
                </a:lnTo>
                <a:lnTo>
                  <a:pt x="269" y="911"/>
                </a:lnTo>
                <a:lnTo>
                  <a:pt x="269" y="913"/>
                </a:lnTo>
                <a:lnTo>
                  <a:pt x="271" y="910"/>
                </a:lnTo>
                <a:lnTo>
                  <a:pt x="271" y="907"/>
                </a:lnTo>
                <a:lnTo>
                  <a:pt x="273" y="904"/>
                </a:lnTo>
                <a:lnTo>
                  <a:pt x="278" y="906"/>
                </a:lnTo>
                <a:lnTo>
                  <a:pt x="280" y="907"/>
                </a:lnTo>
                <a:lnTo>
                  <a:pt x="283" y="904"/>
                </a:lnTo>
                <a:lnTo>
                  <a:pt x="287" y="902"/>
                </a:lnTo>
                <a:lnTo>
                  <a:pt x="289" y="900"/>
                </a:lnTo>
                <a:lnTo>
                  <a:pt x="286" y="897"/>
                </a:lnTo>
                <a:lnTo>
                  <a:pt x="281" y="899"/>
                </a:lnTo>
                <a:lnTo>
                  <a:pt x="278" y="899"/>
                </a:lnTo>
                <a:lnTo>
                  <a:pt x="278" y="894"/>
                </a:lnTo>
                <a:lnTo>
                  <a:pt x="281" y="889"/>
                </a:lnTo>
                <a:lnTo>
                  <a:pt x="287" y="889"/>
                </a:lnTo>
                <a:lnTo>
                  <a:pt x="290" y="890"/>
                </a:lnTo>
                <a:lnTo>
                  <a:pt x="289" y="894"/>
                </a:lnTo>
                <a:lnTo>
                  <a:pt x="292" y="899"/>
                </a:lnTo>
                <a:lnTo>
                  <a:pt x="295" y="900"/>
                </a:lnTo>
                <a:lnTo>
                  <a:pt x="300" y="903"/>
                </a:lnTo>
                <a:lnTo>
                  <a:pt x="299" y="909"/>
                </a:lnTo>
                <a:close/>
                <a:moveTo>
                  <a:pt x="283" y="929"/>
                </a:moveTo>
                <a:lnTo>
                  <a:pt x="275" y="930"/>
                </a:lnTo>
                <a:lnTo>
                  <a:pt x="267" y="931"/>
                </a:lnTo>
                <a:lnTo>
                  <a:pt x="267" y="927"/>
                </a:lnTo>
                <a:lnTo>
                  <a:pt x="268" y="923"/>
                </a:lnTo>
                <a:lnTo>
                  <a:pt x="271" y="922"/>
                </a:lnTo>
                <a:lnTo>
                  <a:pt x="274" y="922"/>
                </a:lnTo>
                <a:lnTo>
                  <a:pt x="282" y="921"/>
                </a:lnTo>
                <a:lnTo>
                  <a:pt x="287" y="914"/>
                </a:lnTo>
                <a:lnTo>
                  <a:pt x="293" y="915"/>
                </a:lnTo>
                <a:lnTo>
                  <a:pt x="297" y="917"/>
                </a:lnTo>
                <a:lnTo>
                  <a:pt x="299" y="920"/>
                </a:lnTo>
                <a:lnTo>
                  <a:pt x="299" y="923"/>
                </a:lnTo>
                <a:lnTo>
                  <a:pt x="295" y="925"/>
                </a:lnTo>
                <a:lnTo>
                  <a:pt x="293" y="924"/>
                </a:lnTo>
                <a:lnTo>
                  <a:pt x="286" y="922"/>
                </a:lnTo>
                <a:lnTo>
                  <a:pt x="283" y="929"/>
                </a:lnTo>
                <a:lnTo>
                  <a:pt x="283" y="929"/>
                </a:lnTo>
                <a:close/>
                <a:moveTo>
                  <a:pt x="285" y="832"/>
                </a:moveTo>
                <a:lnTo>
                  <a:pt x="287" y="831"/>
                </a:lnTo>
                <a:lnTo>
                  <a:pt x="290" y="831"/>
                </a:lnTo>
                <a:lnTo>
                  <a:pt x="295" y="832"/>
                </a:lnTo>
                <a:lnTo>
                  <a:pt x="299" y="830"/>
                </a:lnTo>
                <a:lnTo>
                  <a:pt x="300" y="827"/>
                </a:lnTo>
                <a:lnTo>
                  <a:pt x="300" y="824"/>
                </a:lnTo>
                <a:lnTo>
                  <a:pt x="297" y="823"/>
                </a:lnTo>
                <a:lnTo>
                  <a:pt x="295" y="824"/>
                </a:lnTo>
                <a:lnTo>
                  <a:pt x="292" y="825"/>
                </a:lnTo>
                <a:lnTo>
                  <a:pt x="288" y="825"/>
                </a:lnTo>
                <a:lnTo>
                  <a:pt x="292" y="819"/>
                </a:lnTo>
                <a:lnTo>
                  <a:pt x="299" y="816"/>
                </a:lnTo>
                <a:lnTo>
                  <a:pt x="301" y="816"/>
                </a:lnTo>
                <a:lnTo>
                  <a:pt x="302" y="819"/>
                </a:lnTo>
                <a:lnTo>
                  <a:pt x="304" y="823"/>
                </a:lnTo>
                <a:lnTo>
                  <a:pt x="309" y="825"/>
                </a:lnTo>
                <a:lnTo>
                  <a:pt x="314" y="829"/>
                </a:lnTo>
                <a:lnTo>
                  <a:pt x="313" y="833"/>
                </a:lnTo>
                <a:lnTo>
                  <a:pt x="309" y="836"/>
                </a:lnTo>
                <a:lnTo>
                  <a:pt x="307" y="833"/>
                </a:lnTo>
                <a:lnTo>
                  <a:pt x="303" y="832"/>
                </a:lnTo>
                <a:lnTo>
                  <a:pt x="301" y="833"/>
                </a:lnTo>
                <a:lnTo>
                  <a:pt x="301" y="836"/>
                </a:lnTo>
                <a:lnTo>
                  <a:pt x="303" y="838"/>
                </a:lnTo>
                <a:lnTo>
                  <a:pt x="306" y="840"/>
                </a:lnTo>
                <a:lnTo>
                  <a:pt x="308" y="840"/>
                </a:lnTo>
                <a:lnTo>
                  <a:pt x="310" y="841"/>
                </a:lnTo>
                <a:lnTo>
                  <a:pt x="310" y="844"/>
                </a:lnTo>
                <a:lnTo>
                  <a:pt x="309" y="845"/>
                </a:lnTo>
                <a:lnTo>
                  <a:pt x="307" y="845"/>
                </a:lnTo>
                <a:lnTo>
                  <a:pt x="297" y="840"/>
                </a:lnTo>
                <a:lnTo>
                  <a:pt x="288" y="841"/>
                </a:lnTo>
                <a:lnTo>
                  <a:pt x="281" y="843"/>
                </a:lnTo>
                <a:lnTo>
                  <a:pt x="276" y="843"/>
                </a:lnTo>
                <a:lnTo>
                  <a:pt x="280" y="837"/>
                </a:lnTo>
                <a:lnTo>
                  <a:pt x="285" y="832"/>
                </a:lnTo>
                <a:close/>
                <a:moveTo>
                  <a:pt x="280" y="774"/>
                </a:moveTo>
                <a:lnTo>
                  <a:pt x="278" y="773"/>
                </a:lnTo>
                <a:lnTo>
                  <a:pt x="276" y="771"/>
                </a:lnTo>
                <a:lnTo>
                  <a:pt x="278" y="773"/>
                </a:lnTo>
                <a:lnTo>
                  <a:pt x="280" y="774"/>
                </a:lnTo>
                <a:close/>
                <a:moveTo>
                  <a:pt x="368" y="847"/>
                </a:moveTo>
                <a:lnTo>
                  <a:pt x="364" y="847"/>
                </a:lnTo>
                <a:lnTo>
                  <a:pt x="363" y="844"/>
                </a:lnTo>
                <a:lnTo>
                  <a:pt x="363" y="838"/>
                </a:lnTo>
                <a:lnTo>
                  <a:pt x="369" y="834"/>
                </a:lnTo>
                <a:lnTo>
                  <a:pt x="375" y="834"/>
                </a:lnTo>
                <a:lnTo>
                  <a:pt x="377" y="839"/>
                </a:lnTo>
                <a:lnTo>
                  <a:pt x="375" y="846"/>
                </a:lnTo>
                <a:lnTo>
                  <a:pt x="368" y="847"/>
                </a:lnTo>
                <a:close/>
                <a:moveTo>
                  <a:pt x="398" y="829"/>
                </a:moveTo>
                <a:lnTo>
                  <a:pt x="399" y="830"/>
                </a:lnTo>
                <a:lnTo>
                  <a:pt x="399" y="832"/>
                </a:lnTo>
                <a:lnTo>
                  <a:pt x="396" y="840"/>
                </a:lnTo>
                <a:lnTo>
                  <a:pt x="387" y="841"/>
                </a:lnTo>
                <a:lnTo>
                  <a:pt x="384" y="839"/>
                </a:lnTo>
                <a:lnTo>
                  <a:pt x="385" y="834"/>
                </a:lnTo>
                <a:lnTo>
                  <a:pt x="390" y="830"/>
                </a:lnTo>
                <a:lnTo>
                  <a:pt x="398" y="829"/>
                </a:lnTo>
                <a:close/>
                <a:moveTo>
                  <a:pt x="393" y="813"/>
                </a:moveTo>
                <a:lnTo>
                  <a:pt x="393" y="817"/>
                </a:lnTo>
                <a:lnTo>
                  <a:pt x="392" y="820"/>
                </a:lnTo>
                <a:lnTo>
                  <a:pt x="389" y="822"/>
                </a:lnTo>
                <a:lnTo>
                  <a:pt x="385" y="820"/>
                </a:lnTo>
                <a:lnTo>
                  <a:pt x="380" y="820"/>
                </a:lnTo>
                <a:lnTo>
                  <a:pt x="382" y="816"/>
                </a:lnTo>
                <a:lnTo>
                  <a:pt x="384" y="815"/>
                </a:lnTo>
                <a:lnTo>
                  <a:pt x="386" y="812"/>
                </a:lnTo>
                <a:lnTo>
                  <a:pt x="390" y="812"/>
                </a:lnTo>
                <a:lnTo>
                  <a:pt x="393" y="813"/>
                </a:lnTo>
                <a:close/>
                <a:moveTo>
                  <a:pt x="397" y="802"/>
                </a:moveTo>
                <a:lnTo>
                  <a:pt x="394" y="802"/>
                </a:lnTo>
                <a:lnTo>
                  <a:pt x="392" y="801"/>
                </a:lnTo>
                <a:lnTo>
                  <a:pt x="390" y="803"/>
                </a:lnTo>
                <a:lnTo>
                  <a:pt x="387" y="805"/>
                </a:lnTo>
                <a:lnTo>
                  <a:pt x="390" y="803"/>
                </a:lnTo>
                <a:lnTo>
                  <a:pt x="392" y="801"/>
                </a:lnTo>
                <a:lnTo>
                  <a:pt x="394" y="802"/>
                </a:lnTo>
                <a:lnTo>
                  <a:pt x="397" y="802"/>
                </a:lnTo>
                <a:close/>
                <a:moveTo>
                  <a:pt x="371" y="817"/>
                </a:moveTo>
                <a:lnTo>
                  <a:pt x="369" y="819"/>
                </a:lnTo>
                <a:lnTo>
                  <a:pt x="369" y="822"/>
                </a:lnTo>
                <a:lnTo>
                  <a:pt x="372" y="824"/>
                </a:lnTo>
                <a:lnTo>
                  <a:pt x="377" y="825"/>
                </a:lnTo>
                <a:lnTo>
                  <a:pt x="378" y="824"/>
                </a:lnTo>
                <a:lnTo>
                  <a:pt x="380" y="824"/>
                </a:lnTo>
                <a:lnTo>
                  <a:pt x="380" y="827"/>
                </a:lnTo>
                <a:lnTo>
                  <a:pt x="380" y="830"/>
                </a:lnTo>
                <a:lnTo>
                  <a:pt x="378" y="831"/>
                </a:lnTo>
                <a:lnTo>
                  <a:pt x="375" y="830"/>
                </a:lnTo>
                <a:lnTo>
                  <a:pt x="370" y="827"/>
                </a:lnTo>
                <a:lnTo>
                  <a:pt x="365" y="825"/>
                </a:lnTo>
                <a:lnTo>
                  <a:pt x="363" y="831"/>
                </a:lnTo>
                <a:lnTo>
                  <a:pt x="359" y="834"/>
                </a:lnTo>
                <a:lnTo>
                  <a:pt x="359" y="827"/>
                </a:lnTo>
                <a:lnTo>
                  <a:pt x="358" y="820"/>
                </a:lnTo>
                <a:lnTo>
                  <a:pt x="354" y="819"/>
                </a:lnTo>
                <a:lnTo>
                  <a:pt x="349" y="820"/>
                </a:lnTo>
                <a:lnTo>
                  <a:pt x="351" y="817"/>
                </a:lnTo>
                <a:lnTo>
                  <a:pt x="356" y="816"/>
                </a:lnTo>
                <a:lnTo>
                  <a:pt x="363" y="816"/>
                </a:lnTo>
                <a:lnTo>
                  <a:pt x="369" y="817"/>
                </a:lnTo>
                <a:lnTo>
                  <a:pt x="372" y="812"/>
                </a:lnTo>
                <a:lnTo>
                  <a:pt x="377" y="809"/>
                </a:lnTo>
                <a:lnTo>
                  <a:pt x="372" y="812"/>
                </a:lnTo>
                <a:lnTo>
                  <a:pt x="369" y="817"/>
                </a:lnTo>
                <a:lnTo>
                  <a:pt x="370" y="817"/>
                </a:lnTo>
                <a:lnTo>
                  <a:pt x="371" y="817"/>
                </a:lnTo>
                <a:close/>
                <a:moveTo>
                  <a:pt x="343" y="836"/>
                </a:moveTo>
                <a:lnTo>
                  <a:pt x="342" y="833"/>
                </a:lnTo>
                <a:lnTo>
                  <a:pt x="341" y="831"/>
                </a:lnTo>
                <a:lnTo>
                  <a:pt x="341" y="830"/>
                </a:lnTo>
                <a:lnTo>
                  <a:pt x="341" y="829"/>
                </a:lnTo>
                <a:lnTo>
                  <a:pt x="341" y="825"/>
                </a:lnTo>
                <a:lnTo>
                  <a:pt x="341" y="823"/>
                </a:lnTo>
                <a:lnTo>
                  <a:pt x="336" y="822"/>
                </a:lnTo>
                <a:lnTo>
                  <a:pt x="333" y="820"/>
                </a:lnTo>
                <a:lnTo>
                  <a:pt x="336" y="822"/>
                </a:lnTo>
                <a:lnTo>
                  <a:pt x="341" y="823"/>
                </a:lnTo>
                <a:lnTo>
                  <a:pt x="344" y="820"/>
                </a:lnTo>
                <a:lnTo>
                  <a:pt x="349" y="820"/>
                </a:lnTo>
                <a:lnTo>
                  <a:pt x="344" y="827"/>
                </a:lnTo>
                <a:lnTo>
                  <a:pt x="343" y="836"/>
                </a:lnTo>
                <a:close/>
                <a:moveTo>
                  <a:pt x="307" y="859"/>
                </a:moveTo>
                <a:lnTo>
                  <a:pt x="309" y="860"/>
                </a:lnTo>
                <a:lnTo>
                  <a:pt x="310" y="860"/>
                </a:lnTo>
                <a:lnTo>
                  <a:pt x="309" y="860"/>
                </a:lnTo>
                <a:lnTo>
                  <a:pt x="307" y="859"/>
                </a:lnTo>
                <a:close/>
                <a:moveTo>
                  <a:pt x="311" y="892"/>
                </a:move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lnTo>
                  <a:pt x="311" y="892"/>
                </a:lnTo>
                <a:close/>
                <a:moveTo>
                  <a:pt x="405" y="862"/>
                </a:moveTo>
                <a:lnTo>
                  <a:pt x="379" y="869"/>
                </a:lnTo>
                <a:lnTo>
                  <a:pt x="352" y="875"/>
                </a:lnTo>
                <a:lnTo>
                  <a:pt x="334" y="880"/>
                </a:lnTo>
                <a:lnTo>
                  <a:pt x="315" y="883"/>
                </a:lnTo>
                <a:lnTo>
                  <a:pt x="313" y="885"/>
                </a:lnTo>
                <a:lnTo>
                  <a:pt x="310" y="886"/>
                </a:lnTo>
                <a:lnTo>
                  <a:pt x="313" y="885"/>
                </a:lnTo>
                <a:lnTo>
                  <a:pt x="315" y="883"/>
                </a:lnTo>
                <a:lnTo>
                  <a:pt x="315" y="883"/>
                </a:lnTo>
                <a:lnTo>
                  <a:pt x="314" y="883"/>
                </a:lnTo>
                <a:lnTo>
                  <a:pt x="314" y="882"/>
                </a:lnTo>
                <a:lnTo>
                  <a:pt x="314" y="882"/>
                </a:lnTo>
                <a:lnTo>
                  <a:pt x="321" y="881"/>
                </a:lnTo>
                <a:lnTo>
                  <a:pt x="327" y="879"/>
                </a:lnTo>
                <a:lnTo>
                  <a:pt x="328" y="874"/>
                </a:lnTo>
                <a:lnTo>
                  <a:pt x="330" y="868"/>
                </a:lnTo>
                <a:lnTo>
                  <a:pt x="338" y="866"/>
                </a:lnTo>
                <a:lnTo>
                  <a:pt x="347" y="862"/>
                </a:lnTo>
                <a:lnTo>
                  <a:pt x="344" y="868"/>
                </a:lnTo>
                <a:lnTo>
                  <a:pt x="342" y="873"/>
                </a:lnTo>
                <a:lnTo>
                  <a:pt x="355" y="871"/>
                </a:lnTo>
                <a:lnTo>
                  <a:pt x="368" y="867"/>
                </a:lnTo>
                <a:lnTo>
                  <a:pt x="369" y="866"/>
                </a:lnTo>
                <a:lnTo>
                  <a:pt x="368" y="864"/>
                </a:lnTo>
                <a:lnTo>
                  <a:pt x="364" y="862"/>
                </a:lnTo>
                <a:lnTo>
                  <a:pt x="362" y="860"/>
                </a:lnTo>
                <a:lnTo>
                  <a:pt x="362" y="857"/>
                </a:lnTo>
                <a:lnTo>
                  <a:pt x="364" y="853"/>
                </a:lnTo>
                <a:lnTo>
                  <a:pt x="363" y="852"/>
                </a:lnTo>
                <a:lnTo>
                  <a:pt x="361" y="851"/>
                </a:lnTo>
                <a:lnTo>
                  <a:pt x="363" y="852"/>
                </a:lnTo>
                <a:lnTo>
                  <a:pt x="364" y="853"/>
                </a:lnTo>
                <a:lnTo>
                  <a:pt x="368" y="852"/>
                </a:lnTo>
                <a:lnTo>
                  <a:pt x="371" y="852"/>
                </a:lnTo>
                <a:lnTo>
                  <a:pt x="376" y="852"/>
                </a:lnTo>
                <a:lnTo>
                  <a:pt x="376" y="857"/>
                </a:lnTo>
                <a:lnTo>
                  <a:pt x="375" y="861"/>
                </a:lnTo>
                <a:lnTo>
                  <a:pt x="376" y="865"/>
                </a:lnTo>
                <a:lnTo>
                  <a:pt x="378" y="865"/>
                </a:lnTo>
                <a:lnTo>
                  <a:pt x="380" y="865"/>
                </a:lnTo>
                <a:lnTo>
                  <a:pt x="384" y="861"/>
                </a:lnTo>
                <a:lnTo>
                  <a:pt x="384" y="857"/>
                </a:lnTo>
                <a:lnTo>
                  <a:pt x="385" y="850"/>
                </a:lnTo>
                <a:lnTo>
                  <a:pt x="392" y="847"/>
                </a:lnTo>
                <a:lnTo>
                  <a:pt x="396" y="846"/>
                </a:lnTo>
                <a:lnTo>
                  <a:pt x="399" y="847"/>
                </a:lnTo>
                <a:lnTo>
                  <a:pt x="399" y="852"/>
                </a:lnTo>
                <a:lnTo>
                  <a:pt x="397" y="854"/>
                </a:lnTo>
                <a:lnTo>
                  <a:pt x="393" y="858"/>
                </a:lnTo>
                <a:lnTo>
                  <a:pt x="390" y="860"/>
                </a:lnTo>
                <a:lnTo>
                  <a:pt x="394" y="861"/>
                </a:lnTo>
                <a:lnTo>
                  <a:pt x="398" y="860"/>
                </a:lnTo>
                <a:lnTo>
                  <a:pt x="401" y="858"/>
                </a:lnTo>
                <a:lnTo>
                  <a:pt x="404" y="854"/>
                </a:lnTo>
                <a:lnTo>
                  <a:pt x="401" y="858"/>
                </a:lnTo>
                <a:lnTo>
                  <a:pt x="398" y="860"/>
                </a:lnTo>
                <a:lnTo>
                  <a:pt x="401" y="861"/>
                </a:lnTo>
                <a:lnTo>
                  <a:pt x="405" y="862"/>
                </a:lnTo>
                <a:close/>
                <a:moveTo>
                  <a:pt x="405" y="868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close/>
                <a:moveTo>
                  <a:pt x="405" y="867"/>
                </a:move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8"/>
                </a:lnTo>
                <a:lnTo>
                  <a:pt x="405" y="867"/>
                </a:lnTo>
                <a:close/>
                <a:moveTo>
                  <a:pt x="419" y="834"/>
                </a:moveTo>
                <a:lnTo>
                  <a:pt x="414" y="837"/>
                </a:lnTo>
                <a:lnTo>
                  <a:pt x="411" y="839"/>
                </a:lnTo>
                <a:lnTo>
                  <a:pt x="414" y="837"/>
                </a:lnTo>
                <a:lnTo>
                  <a:pt x="419" y="834"/>
                </a:lnTo>
                <a:close/>
                <a:moveTo>
                  <a:pt x="424" y="848"/>
                </a:moveTo>
                <a:lnTo>
                  <a:pt x="433" y="843"/>
                </a:lnTo>
                <a:lnTo>
                  <a:pt x="444" y="841"/>
                </a:lnTo>
                <a:lnTo>
                  <a:pt x="433" y="850"/>
                </a:lnTo>
                <a:lnTo>
                  <a:pt x="421" y="853"/>
                </a:lnTo>
                <a:lnTo>
                  <a:pt x="423" y="851"/>
                </a:lnTo>
                <a:lnTo>
                  <a:pt x="424" y="848"/>
                </a:lnTo>
                <a:close/>
                <a:moveTo>
                  <a:pt x="282" y="805"/>
                </a:moveTo>
                <a:lnTo>
                  <a:pt x="290" y="806"/>
                </a:lnTo>
                <a:lnTo>
                  <a:pt x="293" y="796"/>
                </a:lnTo>
                <a:lnTo>
                  <a:pt x="294" y="796"/>
                </a:lnTo>
                <a:lnTo>
                  <a:pt x="295" y="795"/>
                </a:lnTo>
                <a:lnTo>
                  <a:pt x="295" y="795"/>
                </a:lnTo>
                <a:lnTo>
                  <a:pt x="295" y="792"/>
                </a:lnTo>
                <a:lnTo>
                  <a:pt x="297" y="791"/>
                </a:lnTo>
                <a:lnTo>
                  <a:pt x="297" y="790"/>
                </a:lnTo>
                <a:lnTo>
                  <a:pt x="297" y="788"/>
                </a:lnTo>
                <a:lnTo>
                  <a:pt x="297" y="787"/>
                </a:lnTo>
                <a:lnTo>
                  <a:pt x="296" y="785"/>
                </a:lnTo>
                <a:lnTo>
                  <a:pt x="296" y="785"/>
                </a:lnTo>
                <a:lnTo>
                  <a:pt x="296" y="784"/>
                </a:lnTo>
                <a:lnTo>
                  <a:pt x="302" y="782"/>
                </a:lnTo>
                <a:lnTo>
                  <a:pt x="308" y="785"/>
                </a:lnTo>
                <a:lnTo>
                  <a:pt x="311" y="788"/>
                </a:lnTo>
                <a:lnTo>
                  <a:pt x="315" y="790"/>
                </a:lnTo>
                <a:lnTo>
                  <a:pt x="317" y="791"/>
                </a:lnTo>
                <a:lnTo>
                  <a:pt x="317" y="795"/>
                </a:lnTo>
                <a:lnTo>
                  <a:pt x="315" y="797"/>
                </a:lnTo>
                <a:lnTo>
                  <a:pt x="311" y="796"/>
                </a:lnTo>
                <a:lnTo>
                  <a:pt x="306" y="791"/>
                </a:lnTo>
                <a:lnTo>
                  <a:pt x="297" y="788"/>
                </a:lnTo>
                <a:lnTo>
                  <a:pt x="297" y="790"/>
                </a:lnTo>
                <a:lnTo>
                  <a:pt x="297" y="791"/>
                </a:lnTo>
                <a:lnTo>
                  <a:pt x="301" y="791"/>
                </a:lnTo>
                <a:lnTo>
                  <a:pt x="302" y="792"/>
                </a:lnTo>
                <a:lnTo>
                  <a:pt x="300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5"/>
                </a:lnTo>
                <a:lnTo>
                  <a:pt x="295" y="799"/>
                </a:lnTo>
                <a:lnTo>
                  <a:pt x="297" y="802"/>
                </a:lnTo>
                <a:lnTo>
                  <a:pt x="307" y="803"/>
                </a:lnTo>
                <a:lnTo>
                  <a:pt x="316" y="806"/>
                </a:lnTo>
                <a:lnTo>
                  <a:pt x="317" y="806"/>
                </a:lnTo>
                <a:lnTo>
                  <a:pt x="317" y="808"/>
                </a:lnTo>
                <a:lnTo>
                  <a:pt x="322" y="810"/>
                </a:lnTo>
                <a:lnTo>
                  <a:pt x="328" y="808"/>
                </a:lnTo>
                <a:lnTo>
                  <a:pt x="336" y="806"/>
                </a:lnTo>
                <a:lnTo>
                  <a:pt x="345" y="805"/>
                </a:lnTo>
                <a:lnTo>
                  <a:pt x="348" y="802"/>
                </a:lnTo>
                <a:lnTo>
                  <a:pt x="349" y="797"/>
                </a:lnTo>
                <a:lnTo>
                  <a:pt x="351" y="790"/>
                </a:lnTo>
                <a:lnTo>
                  <a:pt x="358" y="788"/>
                </a:lnTo>
                <a:lnTo>
                  <a:pt x="358" y="791"/>
                </a:lnTo>
                <a:lnTo>
                  <a:pt x="358" y="795"/>
                </a:lnTo>
                <a:lnTo>
                  <a:pt x="357" y="797"/>
                </a:lnTo>
                <a:lnTo>
                  <a:pt x="357" y="799"/>
                </a:lnTo>
                <a:lnTo>
                  <a:pt x="361" y="801"/>
                </a:lnTo>
                <a:lnTo>
                  <a:pt x="363" y="799"/>
                </a:lnTo>
                <a:lnTo>
                  <a:pt x="377" y="792"/>
                </a:lnTo>
                <a:lnTo>
                  <a:pt x="390" y="783"/>
                </a:lnTo>
                <a:lnTo>
                  <a:pt x="394" y="780"/>
                </a:lnTo>
                <a:lnTo>
                  <a:pt x="400" y="781"/>
                </a:lnTo>
                <a:lnTo>
                  <a:pt x="404" y="782"/>
                </a:lnTo>
                <a:lnTo>
                  <a:pt x="407" y="782"/>
                </a:lnTo>
                <a:lnTo>
                  <a:pt x="407" y="783"/>
                </a:lnTo>
                <a:lnTo>
                  <a:pt x="407" y="783"/>
                </a:lnTo>
                <a:lnTo>
                  <a:pt x="409" y="784"/>
                </a:lnTo>
                <a:lnTo>
                  <a:pt x="410" y="784"/>
                </a:lnTo>
                <a:lnTo>
                  <a:pt x="426" y="784"/>
                </a:lnTo>
                <a:lnTo>
                  <a:pt x="442" y="780"/>
                </a:lnTo>
                <a:lnTo>
                  <a:pt x="447" y="778"/>
                </a:lnTo>
                <a:lnTo>
                  <a:pt x="451" y="775"/>
                </a:lnTo>
                <a:lnTo>
                  <a:pt x="451" y="773"/>
                </a:lnTo>
                <a:lnTo>
                  <a:pt x="453" y="774"/>
                </a:lnTo>
                <a:lnTo>
                  <a:pt x="460" y="776"/>
                </a:lnTo>
                <a:lnTo>
                  <a:pt x="466" y="771"/>
                </a:lnTo>
                <a:lnTo>
                  <a:pt x="474" y="767"/>
                </a:lnTo>
                <a:lnTo>
                  <a:pt x="480" y="761"/>
                </a:lnTo>
                <a:lnTo>
                  <a:pt x="489" y="755"/>
                </a:lnTo>
                <a:lnTo>
                  <a:pt x="500" y="757"/>
                </a:lnTo>
                <a:lnTo>
                  <a:pt x="515" y="761"/>
                </a:lnTo>
                <a:lnTo>
                  <a:pt x="530" y="756"/>
                </a:lnTo>
                <a:lnTo>
                  <a:pt x="532" y="756"/>
                </a:lnTo>
                <a:lnTo>
                  <a:pt x="534" y="755"/>
                </a:lnTo>
                <a:lnTo>
                  <a:pt x="535" y="745"/>
                </a:lnTo>
                <a:lnTo>
                  <a:pt x="530" y="735"/>
                </a:lnTo>
                <a:lnTo>
                  <a:pt x="534" y="738"/>
                </a:lnTo>
                <a:lnTo>
                  <a:pt x="537" y="739"/>
                </a:lnTo>
                <a:lnTo>
                  <a:pt x="539" y="732"/>
                </a:lnTo>
                <a:lnTo>
                  <a:pt x="539" y="724"/>
                </a:lnTo>
                <a:lnTo>
                  <a:pt x="542" y="724"/>
                </a:lnTo>
                <a:lnTo>
                  <a:pt x="543" y="725"/>
                </a:lnTo>
                <a:lnTo>
                  <a:pt x="543" y="735"/>
                </a:lnTo>
                <a:lnTo>
                  <a:pt x="543" y="746"/>
                </a:lnTo>
                <a:lnTo>
                  <a:pt x="542" y="750"/>
                </a:lnTo>
                <a:lnTo>
                  <a:pt x="544" y="754"/>
                </a:lnTo>
                <a:lnTo>
                  <a:pt x="549" y="754"/>
                </a:lnTo>
                <a:lnTo>
                  <a:pt x="554" y="752"/>
                </a:lnTo>
                <a:lnTo>
                  <a:pt x="566" y="747"/>
                </a:lnTo>
                <a:lnTo>
                  <a:pt x="577" y="736"/>
                </a:lnTo>
                <a:lnTo>
                  <a:pt x="585" y="732"/>
                </a:lnTo>
                <a:lnTo>
                  <a:pt x="594" y="734"/>
                </a:lnTo>
                <a:lnTo>
                  <a:pt x="605" y="739"/>
                </a:lnTo>
                <a:lnTo>
                  <a:pt x="618" y="736"/>
                </a:lnTo>
                <a:lnTo>
                  <a:pt x="623" y="735"/>
                </a:lnTo>
                <a:lnTo>
                  <a:pt x="624" y="729"/>
                </a:lnTo>
                <a:lnTo>
                  <a:pt x="625" y="722"/>
                </a:lnTo>
                <a:lnTo>
                  <a:pt x="626" y="715"/>
                </a:lnTo>
                <a:lnTo>
                  <a:pt x="626" y="715"/>
                </a:lnTo>
                <a:lnTo>
                  <a:pt x="627" y="714"/>
                </a:lnTo>
                <a:lnTo>
                  <a:pt x="627" y="713"/>
                </a:lnTo>
                <a:lnTo>
                  <a:pt x="627" y="710"/>
                </a:lnTo>
                <a:lnTo>
                  <a:pt x="628" y="706"/>
                </a:lnTo>
                <a:lnTo>
                  <a:pt x="630" y="704"/>
                </a:lnTo>
                <a:lnTo>
                  <a:pt x="632" y="700"/>
                </a:lnTo>
                <a:lnTo>
                  <a:pt x="632" y="712"/>
                </a:lnTo>
                <a:lnTo>
                  <a:pt x="632" y="721"/>
                </a:lnTo>
                <a:lnTo>
                  <a:pt x="633" y="729"/>
                </a:lnTo>
                <a:lnTo>
                  <a:pt x="641" y="731"/>
                </a:lnTo>
                <a:lnTo>
                  <a:pt x="660" y="724"/>
                </a:lnTo>
                <a:lnTo>
                  <a:pt x="674" y="711"/>
                </a:lnTo>
                <a:lnTo>
                  <a:pt x="681" y="706"/>
                </a:lnTo>
                <a:lnTo>
                  <a:pt x="689" y="708"/>
                </a:lnTo>
                <a:lnTo>
                  <a:pt x="697" y="714"/>
                </a:lnTo>
                <a:lnTo>
                  <a:pt x="708" y="713"/>
                </a:lnTo>
                <a:lnTo>
                  <a:pt x="716" y="708"/>
                </a:lnTo>
                <a:lnTo>
                  <a:pt x="716" y="694"/>
                </a:lnTo>
                <a:lnTo>
                  <a:pt x="715" y="694"/>
                </a:lnTo>
                <a:lnTo>
                  <a:pt x="714" y="693"/>
                </a:lnTo>
                <a:lnTo>
                  <a:pt x="715" y="694"/>
                </a:lnTo>
                <a:lnTo>
                  <a:pt x="716" y="694"/>
                </a:lnTo>
                <a:lnTo>
                  <a:pt x="716" y="689"/>
                </a:lnTo>
                <a:lnTo>
                  <a:pt x="716" y="684"/>
                </a:lnTo>
                <a:lnTo>
                  <a:pt x="720" y="680"/>
                </a:lnTo>
                <a:lnTo>
                  <a:pt x="722" y="678"/>
                </a:lnTo>
                <a:lnTo>
                  <a:pt x="722" y="684"/>
                </a:lnTo>
                <a:lnTo>
                  <a:pt x="722" y="690"/>
                </a:lnTo>
                <a:lnTo>
                  <a:pt x="721" y="692"/>
                </a:lnTo>
                <a:lnTo>
                  <a:pt x="723" y="696"/>
                </a:lnTo>
                <a:lnTo>
                  <a:pt x="722" y="698"/>
                </a:lnTo>
                <a:lnTo>
                  <a:pt x="721" y="700"/>
                </a:lnTo>
                <a:lnTo>
                  <a:pt x="718" y="705"/>
                </a:lnTo>
                <a:lnTo>
                  <a:pt x="722" y="710"/>
                </a:lnTo>
                <a:lnTo>
                  <a:pt x="723" y="710"/>
                </a:lnTo>
                <a:lnTo>
                  <a:pt x="723" y="708"/>
                </a:lnTo>
                <a:lnTo>
                  <a:pt x="745" y="705"/>
                </a:lnTo>
                <a:lnTo>
                  <a:pt x="765" y="693"/>
                </a:lnTo>
                <a:lnTo>
                  <a:pt x="768" y="690"/>
                </a:lnTo>
                <a:lnTo>
                  <a:pt x="768" y="686"/>
                </a:lnTo>
                <a:lnTo>
                  <a:pt x="772" y="685"/>
                </a:lnTo>
                <a:lnTo>
                  <a:pt x="777" y="683"/>
                </a:lnTo>
                <a:lnTo>
                  <a:pt x="786" y="686"/>
                </a:lnTo>
                <a:lnTo>
                  <a:pt x="794" y="689"/>
                </a:lnTo>
                <a:lnTo>
                  <a:pt x="800" y="691"/>
                </a:lnTo>
                <a:lnTo>
                  <a:pt x="805" y="687"/>
                </a:lnTo>
                <a:lnTo>
                  <a:pt x="806" y="682"/>
                </a:lnTo>
                <a:lnTo>
                  <a:pt x="804" y="676"/>
                </a:lnTo>
                <a:lnTo>
                  <a:pt x="803" y="675"/>
                </a:lnTo>
                <a:lnTo>
                  <a:pt x="803" y="672"/>
                </a:lnTo>
                <a:lnTo>
                  <a:pt x="805" y="665"/>
                </a:lnTo>
                <a:lnTo>
                  <a:pt x="806" y="658"/>
                </a:lnTo>
                <a:lnTo>
                  <a:pt x="808" y="657"/>
                </a:lnTo>
                <a:lnTo>
                  <a:pt x="810" y="658"/>
                </a:lnTo>
                <a:lnTo>
                  <a:pt x="810" y="658"/>
                </a:lnTo>
                <a:lnTo>
                  <a:pt x="810" y="659"/>
                </a:lnTo>
                <a:lnTo>
                  <a:pt x="811" y="668"/>
                </a:lnTo>
                <a:lnTo>
                  <a:pt x="811" y="676"/>
                </a:lnTo>
                <a:lnTo>
                  <a:pt x="811" y="686"/>
                </a:lnTo>
                <a:lnTo>
                  <a:pt x="821" y="685"/>
                </a:lnTo>
                <a:lnTo>
                  <a:pt x="822" y="685"/>
                </a:lnTo>
                <a:lnTo>
                  <a:pt x="824" y="685"/>
                </a:lnTo>
                <a:lnTo>
                  <a:pt x="844" y="682"/>
                </a:lnTo>
                <a:lnTo>
                  <a:pt x="861" y="670"/>
                </a:lnTo>
                <a:lnTo>
                  <a:pt x="867" y="664"/>
                </a:lnTo>
                <a:lnTo>
                  <a:pt x="874" y="659"/>
                </a:lnTo>
                <a:lnTo>
                  <a:pt x="877" y="659"/>
                </a:lnTo>
                <a:lnTo>
                  <a:pt x="881" y="661"/>
                </a:lnTo>
                <a:lnTo>
                  <a:pt x="888" y="664"/>
                </a:lnTo>
                <a:lnTo>
                  <a:pt x="895" y="663"/>
                </a:lnTo>
                <a:lnTo>
                  <a:pt x="897" y="656"/>
                </a:lnTo>
                <a:lnTo>
                  <a:pt x="895" y="649"/>
                </a:lnTo>
                <a:lnTo>
                  <a:pt x="890" y="648"/>
                </a:lnTo>
                <a:lnTo>
                  <a:pt x="886" y="645"/>
                </a:lnTo>
                <a:lnTo>
                  <a:pt x="883" y="648"/>
                </a:lnTo>
                <a:lnTo>
                  <a:pt x="881" y="648"/>
                </a:lnTo>
                <a:lnTo>
                  <a:pt x="875" y="648"/>
                </a:lnTo>
                <a:lnTo>
                  <a:pt x="870" y="651"/>
                </a:lnTo>
                <a:lnTo>
                  <a:pt x="869" y="648"/>
                </a:lnTo>
                <a:lnTo>
                  <a:pt x="872" y="644"/>
                </a:lnTo>
                <a:lnTo>
                  <a:pt x="877" y="642"/>
                </a:lnTo>
                <a:lnTo>
                  <a:pt x="883" y="642"/>
                </a:lnTo>
                <a:lnTo>
                  <a:pt x="884" y="644"/>
                </a:lnTo>
                <a:lnTo>
                  <a:pt x="886" y="645"/>
                </a:lnTo>
                <a:lnTo>
                  <a:pt x="890" y="648"/>
                </a:lnTo>
                <a:lnTo>
                  <a:pt x="895" y="649"/>
                </a:lnTo>
                <a:lnTo>
                  <a:pt x="895" y="647"/>
                </a:lnTo>
                <a:lnTo>
                  <a:pt x="896" y="644"/>
                </a:lnTo>
                <a:lnTo>
                  <a:pt x="897" y="642"/>
                </a:lnTo>
                <a:lnTo>
                  <a:pt x="900" y="640"/>
                </a:lnTo>
                <a:lnTo>
                  <a:pt x="901" y="650"/>
                </a:lnTo>
                <a:lnTo>
                  <a:pt x="900" y="659"/>
                </a:lnTo>
                <a:lnTo>
                  <a:pt x="900" y="663"/>
                </a:lnTo>
                <a:lnTo>
                  <a:pt x="903" y="665"/>
                </a:lnTo>
                <a:lnTo>
                  <a:pt x="909" y="665"/>
                </a:lnTo>
                <a:lnTo>
                  <a:pt x="915" y="663"/>
                </a:lnTo>
                <a:lnTo>
                  <a:pt x="924" y="661"/>
                </a:lnTo>
                <a:lnTo>
                  <a:pt x="934" y="659"/>
                </a:lnTo>
                <a:lnTo>
                  <a:pt x="944" y="657"/>
                </a:lnTo>
                <a:lnTo>
                  <a:pt x="951" y="649"/>
                </a:lnTo>
                <a:lnTo>
                  <a:pt x="955" y="642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8"/>
                </a:lnTo>
                <a:lnTo>
                  <a:pt x="960" y="640"/>
                </a:lnTo>
                <a:lnTo>
                  <a:pt x="965" y="638"/>
                </a:lnTo>
                <a:lnTo>
                  <a:pt x="969" y="637"/>
                </a:lnTo>
                <a:lnTo>
                  <a:pt x="973" y="637"/>
                </a:lnTo>
                <a:lnTo>
                  <a:pt x="977" y="640"/>
                </a:lnTo>
                <a:lnTo>
                  <a:pt x="977" y="643"/>
                </a:lnTo>
                <a:lnTo>
                  <a:pt x="974" y="645"/>
                </a:lnTo>
                <a:lnTo>
                  <a:pt x="963" y="647"/>
                </a:lnTo>
                <a:lnTo>
                  <a:pt x="955" y="654"/>
                </a:lnTo>
                <a:lnTo>
                  <a:pt x="942" y="665"/>
                </a:lnTo>
                <a:lnTo>
                  <a:pt x="925" y="669"/>
                </a:lnTo>
                <a:lnTo>
                  <a:pt x="909" y="673"/>
                </a:lnTo>
                <a:lnTo>
                  <a:pt x="893" y="678"/>
                </a:lnTo>
                <a:lnTo>
                  <a:pt x="888" y="677"/>
                </a:lnTo>
                <a:lnTo>
                  <a:pt x="884" y="677"/>
                </a:lnTo>
                <a:lnTo>
                  <a:pt x="883" y="676"/>
                </a:lnTo>
                <a:lnTo>
                  <a:pt x="881" y="675"/>
                </a:lnTo>
                <a:lnTo>
                  <a:pt x="874" y="673"/>
                </a:lnTo>
                <a:lnTo>
                  <a:pt x="867" y="678"/>
                </a:lnTo>
                <a:lnTo>
                  <a:pt x="860" y="684"/>
                </a:lnTo>
                <a:lnTo>
                  <a:pt x="852" y="687"/>
                </a:lnTo>
                <a:lnTo>
                  <a:pt x="824" y="694"/>
                </a:lnTo>
                <a:lnTo>
                  <a:pt x="796" y="700"/>
                </a:lnTo>
                <a:lnTo>
                  <a:pt x="792" y="700"/>
                </a:lnTo>
                <a:lnTo>
                  <a:pt x="790" y="700"/>
                </a:lnTo>
                <a:lnTo>
                  <a:pt x="777" y="698"/>
                </a:lnTo>
                <a:lnTo>
                  <a:pt x="765" y="705"/>
                </a:lnTo>
                <a:lnTo>
                  <a:pt x="757" y="711"/>
                </a:lnTo>
                <a:lnTo>
                  <a:pt x="748" y="713"/>
                </a:lnTo>
                <a:lnTo>
                  <a:pt x="724" y="719"/>
                </a:lnTo>
                <a:lnTo>
                  <a:pt x="701" y="725"/>
                </a:lnTo>
                <a:lnTo>
                  <a:pt x="693" y="725"/>
                </a:lnTo>
                <a:lnTo>
                  <a:pt x="686" y="724"/>
                </a:lnTo>
                <a:lnTo>
                  <a:pt x="679" y="721"/>
                </a:lnTo>
                <a:lnTo>
                  <a:pt x="673" y="726"/>
                </a:lnTo>
                <a:lnTo>
                  <a:pt x="661" y="734"/>
                </a:lnTo>
                <a:lnTo>
                  <a:pt x="647" y="738"/>
                </a:lnTo>
                <a:lnTo>
                  <a:pt x="623" y="745"/>
                </a:lnTo>
                <a:lnTo>
                  <a:pt x="599" y="749"/>
                </a:lnTo>
                <a:lnTo>
                  <a:pt x="593" y="748"/>
                </a:lnTo>
                <a:lnTo>
                  <a:pt x="589" y="746"/>
                </a:lnTo>
                <a:lnTo>
                  <a:pt x="583" y="745"/>
                </a:lnTo>
                <a:lnTo>
                  <a:pt x="577" y="748"/>
                </a:lnTo>
                <a:lnTo>
                  <a:pt x="561" y="759"/>
                </a:lnTo>
                <a:lnTo>
                  <a:pt x="542" y="764"/>
                </a:lnTo>
                <a:lnTo>
                  <a:pt x="528" y="768"/>
                </a:lnTo>
                <a:lnTo>
                  <a:pt x="514" y="770"/>
                </a:lnTo>
                <a:lnTo>
                  <a:pt x="503" y="773"/>
                </a:lnTo>
                <a:lnTo>
                  <a:pt x="492" y="770"/>
                </a:lnTo>
                <a:lnTo>
                  <a:pt x="486" y="769"/>
                </a:lnTo>
                <a:lnTo>
                  <a:pt x="481" y="773"/>
                </a:lnTo>
                <a:lnTo>
                  <a:pt x="468" y="781"/>
                </a:lnTo>
                <a:lnTo>
                  <a:pt x="454" y="785"/>
                </a:lnTo>
                <a:lnTo>
                  <a:pt x="440" y="789"/>
                </a:lnTo>
                <a:lnTo>
                  <a:pt x="426" y="791"/>
                </a:lnTo>
                <a:lnTo>
                  <a:pt x="424" y="792"/>
                </a:lnTo>
                <a:lnTo>
                  <a:pt x="423" y="794"/>
                </a:lnTo>
                <a:lnTo>
                  <a:pt x="424" y="797"/>
                </a:lnTo>
                <a:lnTo>
                  <a:pt x="425" y="798"/>
                </a:lnTo>
                <a:lnTo>
                  <a:pt x="431" y="798"/>
                </a:lnTo>
                <a:lnTo>
                  <a:pt x="438" y="798"/>
                </a:lnTo>
                <a:lnTo>
                  <a:pt x="440" y="797"/>
                </a:lnTo>
                <a:lnTo>
                  <a:pt x="440" y="803"/>
                </a:lnTo>
                <a:lnTo>
                  <a:pt x="438" y="803"/>
                </a:lnTo>
                <a:lnTo>
                  <a:pt x="435" y="805"/>
                </a:lnTo>
                <a:lnTo>
                  <a:pt x="432" y="801"/>
                </a:lnTo>
                <a:lnTo>
                  <a:pt x="428" y="801"/>
                </a:lnTo>
                <a:lnTo>
                  <a:pt x="424" y="804"/>
                </a:lnTo>
                <a:lnTo>
                  <a:pt x="420" y="810"/>
                </a:lnTo>
                <a:lnTo>
                  <a:pt x="419" y="813"/>
                </a:lnTo>
                <a:lnTo>
                  <a:pt x="419" y="817"/>
                </a:lnTo>
                <a:lnTo>
                  <a:pt x="419" y="819"/>
                </a:lnTo>
                <a:lnTo>
                  <a:pt x="417" y="820"/>
                </a:lnTo>
                <a:lnTo>
                  <a:pt x="416" y="819"/>
                </a:lnTo>
                <a:lnTo>
                  <a:pt x="416" y="817"/>
                </a:lnTo>
                <a:lnTo>
                  <a:pt x="412" y="816"/>
                </a:lnTo>
                <a:lnTo>
                  <a:pt x="409" y="817"/>
                </a:lnTo>
                <a:lnTo>
                  <a:pt x="407" y="817"/>
                </a:lnTo>
                <a:lnTo>
                  <a:pt x="406" y="816"/>
                </a:lnTo>
                <a:lnTo>
                  <a:pt x="404" y="806"/>
                </a:lnTo>
                <a:lnTo>
                  <a:pt x="397" y="802"/>
                </a:lnTo>
                <a:lnTo>
                  <a:pt x="397" y="801"/>
                </a:lnTo>
                <a:lnTo>
                  <a:pt x="398" y="799"/>
                </a:lnTo>
                <a:lnTo>
                  <a:pt x="398" y="799"/>
                </a:lnTo>
                <a:lnTo>
                  <a:pt x="398" y="798"/>
                </a:lnTo>
                <a:lnTo>
                  <a:pt x="398" y="799"/>
                </a:lnTo>
                <a:lnTo>
                  <a:pt x="398" y="799"/>
                </a:lnTo>
                <a:lnTo>
                  <a:pt x="403" y="801"/>
                </a:lnTo>
                <a:lnTo>
                  <a:pt x="407" y="798"/>
                </a:lnTo>
                <a:lnTo>
                  <a:pt x="400" y="795"/>
                </a:lnTo>
                <a:lnTo>
                  <a:pt x="394" y="792"/>
                </a:lnTo>
                <a:lnTo>
                  <a:pt x="391" y="792"/>
                </a:lnTo>
                <a:lnTo>
                  <a:pt x="389" y="794"/>
                </a:lnTo>
                <a:lnTo>
                  <a:pt x="370" y="806"/>
                </a:lnTo>
                <a:lnTo>
                  <a:pt x="348" y="812"/>
                </a:lnTo>
                <a:lnTo>
                  <a:pt x="340" y="813"/>
                </a:lnTo>
                <a:lnTo>
                  <a:pt x="331" y="816"/>
                </a:lnTo>
                <a:lnTo>
                  <a:pt x="318" y="816"/>
                </a:lnTo>
                <a:lnTo>
                  <a:pt x="307" y="812"/>
                </a:lnTo>
                <a:lnTo>
                  <a:pt x="295" y="812"/>
                </a:lnTo>
                <a:lnTo>
                  <a:pt x="285" y="819"/>
                </a:lnTo>
                <a:lnTo>
                  <a:pt x="285" y="812"/>
                </a:lnTo>
                <a:lnTo>
                  <a:pt x="281" y="806"/>
                </a:lnTo>
                <a:lnTo>
                  <a:pt x="282" y="806"/>
                </a:lnTo>
                <a:lnTo>
                  <a:pt x="282" y="805"/>
                </a:lnTo>
                <a:lnTo>
                  <a:pt x="281" y="803"/>
                </a:lnTo>
                <a:lnTo>
                  <a:pt x="280" y="802"/>
                </a:lnTo>
                <a:lnTo>
                  <a:pt x="281" y="803"/>
                </a:lnTo>
                <a:lnTo>
                  <a:pt x="282" y="805"/>
                </a:lnTo>
                <a:close/>
                <a:moveTo>
                  <a:pt x="956" y="634"/>
                </a:moveTo>
                <a:lnTo>
                  <a:pt x="956" y="633"/>
                </a:lnTo>
                <a:lnTo>
                  <a:pt x="956" y="633"/>
                </a:lnTo>
                <a:lnTo>
                  <a:pt x="956" y="630"/>
                </a:lnTo>
                <a:lnTo>
                  <a:pt x="957" y="628"/>
                </a:lnTo>
                <a:lnTo>
                  <a:pt x="955" y="623"/>
                </a:lnTo>
                <a:lnTo>
                  <a:pt x="955" y="620"/>
                </a:lnTo>
                <a:lnTo>
                  <a:pt x="955" y="623"/>
                </a:lnTo>
                <a:lnTo>
                  <a:pt x="957" y="628"/>
                </a:lnTo>
                <a:lnTo>
                  <a:pt x="960" y="628"/>
                </a:lnTo>
                <a:lnTo>
                  <a:pt x="964" y="628"/>
                </a:lnTo>
                <a:lnTo>
                  <a:pt x="967" y="627"/>
                </a:lnTo>
                <a:lnTo>
                  <a:pt x="970" y="624"/>
                </a:lnTo>
                <a:lnTo>
                  <a:pt x="967" y="622"/>
                </a:lnTo>
                <a:lnTo>
                  <a:pt x="965" y="623"/>
                </a:lnTo>
                <a:lnTo>
                  <a:pt x="963" y="623"/>
                </a:lnTo>
                <a:lnTo>
                  <a:pt x="962" y="622"/>
                </a:lnTo>
                <a:lnTo>
                  <a:pt x="962" y="620"/>
                </a:lnTo>
                <a:lnTo>
                  <a:pt x="964" y="619"/>
                </a:lnTo>
                <a:lnTo>
                  <a:pt x="967" y="617"/>
                </a:lnTo>
                <a:lnTo>
                  <a:pt x="971" y="617"/>
                </a:lnTo>
                <a:lnTo>
                  <a:pt x="972" y="622"/>
                </a:lnTo>
                <a:lnTo>
                  <a:pt x="977" y="623"/>
                </a:lnTo>
                <a:lnTo>
                  <a:pt x="980" y="626"/>
                </a:lnTo>
                <a:lnTo>
                  <a:pt x="982" y="630"/>
                </a:lnTo>
                <a:lnTo>
                  <a:pt x="978" y="631"/>
                </a:lnTo>
                <a:lnTo>
                  <a:pt x="976" y="629"/>
                </a:lnTo>
                <a:lnTo>
                  <a:pt x="971" y="628"/>
                </a:lnTo>
                <a:lnTo>
                  <a:pt x="966" y="629"/>
                </a:lnTo>
                <a:lnTo>
                  <a:pt x="960" y="630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lnTo>
                  <a:pt x="956" y="634"/>
                </a:lnTo>
                <a:close/>
                <a:moveTo>
                  <a:pt x="282" y="775"/>
                </a:moveTo>
                <a:lnTo>
                  <a:pt x="287" y="766"/>
                </a:lnTo>
                <a:lnTo>
                  <a:pt x="289" y="755"/>
                </a:lnTo>
                <a:lnTo>
                  <a:pt x="289" y="755"/>
                </a:lnTo>
                <a:lnTo>
                  <a:pt x="288" y="755"/>
                </a:lnTo>
                <a:lnTo>
                  <a:pt x="289" y="755"/>
                </a:lnTo>
                <a:lnTo>
                  <a:pt x="289" y="755"/>
                </a:lnTo>
                <a:lnTo>
                  <a:pt x="295" y="752"/>
                </a:lnTo>
                <a:lnTo>
                  <a:pt x="301" y="752"/>
                </a:lnTo>
                <a:lnTo>
                  <a:pt x="302" y="754"/>
                </a:lnTo>
                <a:lnTo>
                  <a:pt x="304" y="755"/>
                </a:lnTo>
                <a:lnTo>
                  <a:pt x="307" y="755"/>
                </a:lnTo>
                <a:lnTo>
                  <a:pt x="308" y="753"/>
                </a:lnTo>
                <a:lnTo>
                  <a:pt x="307" y="749"/>
                </a:lnTo>
                <a:lnTo>
                  <a:pt x="303" y="748"/>
                </a:lnTo>
                <a:lnTo>
                  <a:pt x="308" y="746"/>
                </a:lnTo>
                <a:lnTo>
                  <a:pt x="310" y="745"/>
                </a:lnTo>
                <a:lnTo>
                  <a:pt x="313" y="754"/>
                </a:lnTo>
                <a:lnTo>
                  <a:pt x="320" y="760"/>
                </a:lnTo>
                <a:lnTo>
                  <a:pt x="321" y="762"/>
                </a:lnTo>
                <a:lnTo>
                  <a:pt x="323" y="763"/>
                </a:lnTo>
                <a:lnTo>
                  <a:pt x="328" y="768"/>
                </a:lnTo>
                <a:lnTo>
                  <a:pt x="323" y="771"/>
                </a:lnTo>
                <a:lnTo>
                  <a:pt x="323" y="773"/>
                </a:lnTo>
                <a:lnTo>
                  <a:pt x="323" y="774"/>
                </a:lnTo>
                <a:lnTo>
                  <a:pt x="323" y="773"/>
                </a:lnTo>
                <a:lnTo>
                  <a:pt x="323" y="771"/>
                </a:lnTo>
                <a:lnTo>
                  <a:pt x="316" y="769"/>
                </a:lnTo>
                <a:lnTo>
                  <a:pt x="309" y="767"/>
                </a:lnTo>
                <a:lnTo>
                  <a:pt x="295" y="771"/>
                </a:lnTo>
                <a:lnTo>
                  <a:pt x="287" y="784"/>
                </a:lnTo>
                <a:lnTo>
                  <a:pt x="286" y="780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lnTo>
                  <a:pt x="282" y="775"/>
                </a:lnTo>
                <a:close/>
                <a:moveTo>
                  <a:pt x="328" y="741"/>
                </a:moveTo>
                <a:lnTo>
                  <a:pt x="329" y="742"/>
                </a:lnTo>
                <a:lnTo>
                  <a:pt x="329" y="743"/>
                </a:lnTo>
                <a:lnTo>
                  <a:pt x="329" y="742"/>
                </a:lnTo>
                <a:lnTo>
                  <a:pt x="328" y="741"/>
                </a:lnTo>
                <a:close/>
                <a:moveTo>
                  <a:pt x="318" y="754"/>
                </a:moveTo>
                <a:lnTo>
                  <a:pt x="324" y="752"/>
                </a:lnTo>
                <a:lnTo>
                  <a:pt x="331" y="755"/>
                </a:lnTo>
                <a:lnTo>
                  <a:pt x="327" y="760"/>
                </a:lnTo>
                <a:lnTo>
                  <a:pt x="320" y="760"/>
                </a:lnTo>
                <a:lnTo>
                  <a:pt x="320" y="756"/>
                </a:lnTo>
                <a:lnTo>
                  <a:pt x="318" y="754"/>
                </a:lnTo>
                <a:close/>
                <a:moveTo>
                  <a:pt x="406" y="764"/>
                </a:moveTo>
                <a:lnTo>
                  <a:pt x="406" y="767"/>
                </a:lnTo>
                <a:lnTo>
                  <a:pt x="406" y="769"/>
                </a:lnTo>
                <a:lnTo>
                  <a:pt x="401" y="766"/>
                </a:lnTo>
                <a:lnTo>
                  <a:pt x="397" y="767"/>
                </a:lnTo>
                <a:lnTo>
                  <a:pt x="394" y="764"/>
                </a:lnTo>
                <a:lnTo>
                  <a:pt x="396" y="762"/>
                </a:lnTo>
                <a:lnTo>
                  <a:pt x="399" y="760"/>
                </a:lnTo>
                <a:lnTo>
                  <a:pt x="404" y="760"/>
                </a:lnTo>
                <a:lnTo>
                  <a:pt x="406" y="761"/>
                </a:lnTo>
                <a:lnTo>
                  <a:pt x="406" y="764"/>
                </a:lnTo>
                <a:close/>
                <a:moveTo>
                  <a:pt x="313" y="713"/>
                </a:moveTo>
                <a:lnTo>
                  <a:pt x="308" y="711"/>
                </a:lnTo>
                <a:lnTo>
                  <a:pt x="309" y="705"/>
                </a:lnTo>
                <a:lnTo>
                  <a:pt x="320" y="704"/>
                </a:lnTo>
                <a:lnTo>
                  <a:pt x="330" y="703"/>
                </a:lnTo>
                <a:lnTo>
                  <a:pt x="336" y="700"/>
                </a:lnTo>
                <a:lnTo>
                  <a:pt x="345" y="698"/>
                </a:lnTo>
                <a:lnTo>
                  <a:pt x="345" y="698"/>
                </a:lnTo>
                <a:lnTo>
                  <a:pt x="345" y="697"/>
                </a:lnTo>
                <a:lnTo>
                  <a:pt x="345" y="698"/>
                </a:lnTo>
                <a:lnTo>
                  <a:pt x="345" y="698"/>
                </a:lnTo>
                <a:lnTo>
                  <a:pt x="349" y="700"/>
                </a:lnTo>
                <a:lnTo>
                  <a:pt x="351" y="696"/>
                </a:lnTo>
                <a:lnTo>
                  <a:pt x="354" y="696"/>
                </a:lnTo>
                <a:lnTo>
                  <a:pt x="355" y="694"/>
                </a:lnTo>
                <a:lnTo>
                  <a:pt x="355" y="693"/>
                </a:lnTo>
                <a:lnTo>
                  <a:pt x="354" y="693"/>
                </a:lnTo>
                <a:lnTo>
                  <a:pt x="355" y="693"/>
                </a:lnTo>
                <a:lnTo>
                  <a:pt x="355" y="694"/>
                </a:lnTo>
                <a:lnTo>
                  <a:pt x="357" y="694"/>
                </a:lnTo>
                <a:lnTo>
                  <a:pt x="358" y="693"/>
                </a:lnTo>
                <a:lnTo>
                  <a:pt x="359" y="693"/>
                </a:lnTo>
                <a:lnTo>
                  <a:pt x="361" y="693"/>
                </a:lnTo>
                <a:lnTo>
                  <a:pt x="364" y="693"/>
                </a:lnTo>
                <a:lnTo>
                  <a:pt x="368" y="693"/>
                </a:lnTo>
                <a:lnTo>
                  <a:pt x="371" y="693"/>
                </a:lnTo>
                <a:lnTo>
                  <a:pt x="371" y="691"/>
                </a:lnTo>
                <a:lnTo>
                  <a:pt x="379" y="689"/>
                </a:lnTo>
                <a:lnTo>
                  <a:pt x="387" y="686"/>
                </a:lnTo>
                <a:lnTo>
                  <a:pt x="387" y="685"/>
                </a:lnTo>
                <a:lnTo>
                  <a:pt x="387" y="684"/>
                </a:lnTo>
                <a:lnTo>
                  <a:pt x="387" y="685"/>
                </a:lnTo>
                <a:lnTo>
                  <a:pt x="387" y="686"/>
                </a:lnTo>
                <a:lnTo>
                  <a:pt x="389" y="687"/>
                </a:lnTo>
                <a:lnTo>
                  <a:pt x="390" y="689"/>
                </a:lnTo>
                <a:lnTo>
                  <a:pt x="405" y="684"/>
                </a:lnTo>
                <a:lnTo>
                  <a:pt x="420" y="679"/>
                </a:lnTo>
                <a:lnTo>
                  <a:pt x="420" y="679"/>
                </a:lnTo>
                <a:lnTo>
                  <a:pt x="425" y="678"/>
                </a:lnTo>
                <a:lnTo>
                  <a:pt x="430" y="678"/>
                </a:lnTo>
                <a:lnTo>
                  <a:pt x="430" y="682"/>
                </a:lnTo>
                <a:lnTo>
                  <a:pt x="427" y="685"/>
                </a:lnTo>
                <a:lnTo>
                  <a:pt x="427" y="685"/>
                </a:lnTo>
                <a:lnTo>
                  <a:pt x="420" y="686"/>
                </a:lnTo>
                <a:lnTo>
                  <a:pt x="416" y="690"/>
                </a:lnTo>
                <a:lnTo>
                  <a:pt x="416" y="685"/>
                </a:lnTo>
                <a:lnTo>
                  <a:pt x="412" y="686"/>
                </a:lnTo>
                <a:lnTo>
                  <a:pt x="400" y="692"/>
                </a:lnTo>
                <a:lnTo>
                  <a:pt x="387" y="694"/>
                </a:lnTo>
                <a:lnTo>
                  <a:pt x="382" y="697"/>
                </a:lnTo>
                <a:lnTo>
                  <a:pt x="377" y="700"/>
                </a:lnTo>
                <a:lnTo>
                  <a:pt x="377" y="703"/>
                </a:lnTo>
                <a:lnTo>
                  <a:pt x="377" y="704"/>
                </a:lnTo>
                <a:lnTo>
                  <a:pt x="377" y="703"/>
                </a:lnTo>
                <a:lnTo>
                  <a:pt x="377" y="700"/>
                </a:lnTo>
                <a:lnTo>
                  <a:pt x="375" y="700"/>
                </a:lnTo>
                <a:lnTo>
                  <a:pt x="372" y="700"/>
                </a:lnTo>
                <a:lnTo>
                  <a:pt x="356" y="704"/>
                </a:lnTo>
                <a:lnTo>
                  <a:pt x="338" y="706"/>
                </a:lnTo>
                <a:lnTo>
                  <a:pt x="343" y="710"/>
                </a:lnTo>
                <a:lnTo>
                  <a:pt x="344" y="715"/>
                </a:lnTo>
                <a:lnTo>
                  <a:pt x="341" y="715"/>
                </a:lnTo>
                <a:lnTo>
                  <a:pt x="338" y="719"/>
                </a:lnTo>
                <a:lnTo>
                  <a:pt x="340" y="719"/>
                </a:lnTo>
                <a:lnTo>
                  <a:pt x="341" y="719"/>
                </a:lnTo>
                <a:lnTo>
                  <a:pt x="340" y="719"/>
                </a:lnTo>
                <a:lnTo>
                  <a:pt x="338" y="719"/>
                </a:lnTo>
                <a:lnTo>
                  <a:pt x="337" y="719"/>
                </a:lnTo>
                <a:lnTo>
                  <a:pt x="337" y="719"/>
                </a:lnTo>
                <a:lnTo>
                  <a:pt x="324" y="715"/>
                </a:lnTo>
                <a:lnTo>
                  <a:pt x="313" y="713"/>
                </a:lnTo>
                <a:close/>
                <a:moveTo>
                  <a:pt x="311" y="696"/>
                </a:moveTo>
                <a:lnTo>
                  <a:pt x="313" y="697"/>
                </a:lnTo>
                <a:lnTo>
                  <a:pt x="314" y="698"/>
                </a:lnTo>
                <a:lnTo>
                  <a:pt x="313" y="700"/>
                </a:lnTo>
                <a:lnTo>
                  <a:pt x="310" y="701"/>
                </a:lnTo>
                <a:lnTo>
                  <a:pt x="309" y="700"/>
                </a:lnTo>
                <a:lnTo>
                  <a:pt x="309" y="699"/>
                </a:lnTo>
                <a:lnTo>
                  <a:pt x="309" y="697"/>
                </a:lnTo>
                <a:lnTo>
                  <a:pt x="311" y="696"/>
                </a:lnTo>
                <a:close/>
                <a:moveTo>
                  <a:pt x="435" y="771"/>
                </a:moveTo>
                <a:lnTo>
                  <a:pt x="435" y="769"/>
                </a:lnTo>
                <a:lnTo>
                  <a:pt x="435" y="768"/>
                </a:lnTo>
                <a:lnTo>
                  <a:pt x="435" y="769"/>
                </a:lnTo>
                <a:lnTo>
                  <a:pt x="435" y="771"/>
                </a:lnTo>
                <a:close/>
                <a:moveTo>
                  <a:pt x="439" y="701"/>
                </a:moveTo>
                <a:lnTo>
                  <a:pt x="440" y="701"/>
                </a:lnTo>
                <a:lnTo>
                  <a:pt x="440" y="703"/>
                </a:lnTo>
                <a:lnTo>
                  <a:pt x="440" y="704"/>
                </a:lnTo>
                <a:lnTo>
                  <a:pt x="440" y="705"/>
                </a:lnTo>
                <a:lnTo>
                  <a:pt x="440" y="704"/>
                </a:lnTo>
                <a:lnTo>
                  <a:pt x="440" y="703"/>
                </a:lnTo>
                <a:lnTo>
                  <a:pt x="440" y="701"/>
                </a:lnTo>
                <a:lnTo>
                  <a:pt x="439" y="701"/>
                </a:lnTo>
                <a:close/>
                <a:moveTo>
                  <a:pt x="449" y="752"/>
                </a:moveTo>
                <a:lnTo>
                  <a:pt x="449" y="752"/>
                </a:lnTo>
                <a:lnTo>
                  <a:pt x="448" y="752"/>
                </a:lnTo>
                <a:lnTo>
                  <a:pt x="449" y="752"/>
                </a:lnTo>
                <a:lnTo>
                  <a:pt x="449" y="752"/>
                </a:lnTo>
                <a:close/>
                <a:moveTo>
                  <a:pt x="451" y="678"/>
                </a:moveTo>
                <a:lnTo>
                  <a:pt x="441" y="680"/>
                </a:lnTo>
                <a:lnTo>
                  <a:pt x="435" y="675"/>
                </a:lnTo>
                <a:lnTo>
                  <a:pt x="444" y="675"/>
                </a:lnTo>
                <a:lnTo>
                  <a:pt x="451" y="678"/>
                </a:lnTo>
                <a:close/>
                <a:moveTo>
                  <a:pt x="455" y="690"/>
                </a:moveTo>
                <a:lnTo>
                  <a:pt x="454" y="692"/>
                </a:lnTo>
                <a:lnTo>
                  <a:pt x="452" y="693"/>
                </a:lnTo>
                <a:lnTo>
                  <a:pt x="454" y="692"/>
                </a:lnTo>
                <a:lnTo>
                  <a:pt x="455" y="690"/>
                </a:lnTo>
                <a:close/>
                <a:moveTo>
                  <a:pt x="458" y="712"/>
                </a:moveTo>
                <a:lnTo>
                  <a:pt x="458" y="712"/>
                </a:lnTo>
                <a:lnTo>
                  <a:pt x="458" y="712"/>
                </a:lnTo>
                <a:lnTo>
                  <a:pt x="456" y="712"/>
                </a:lnTo>
                <a:lnTo>
                  <a:pt x="456" y="712"/>
                </a:lnTo>
                <a:lnTo>
                  <a:pt x="456" y="712"/>
                </a:lnTo>
                <a:lnTo>
                  <a:pt x="458" y="712"/>
                </a:lnTo>
                <a:lnTo>
                  <a:pt x="458" y="712"/>
                </a:lnTo>
                <a:lnTo>
                  <a:pt x="458" y="712"/>
                </a:lnTo>
                <a:close/>
                <a:moveTo>
                  <a:pt x="455" y="690"/>
                </a:moveTo>
                <a:lnTo>
                  <a:pt x="456" y="690"/>
                </a:lnTo>
                <a:lnTo>
                  <a:pt x="458" y="690"/>
                </a:lnTo>
                <a:lnTo>
                  <a:pt x="456" y="690"/>
                </a:lnTo>
                <a:lnTo>
                  <a:pt x="455" y="690"/>
                </a:lnTo>
                <a:lnTo>
                  <a:pt x="455" y="690"/>
                </a:lnTo>
                <a:close/>
                <a:moveTo>
                  <a:pt x="466" y="708"/>
                </a:moveTo>
                <a:lnTo>
                  <a:pt x="466" y="701"/>
                </a:lnTo>
                <a:lnTo>
                  <a:pt x="466" y="693"/>
                </a:lnTo>
                <a:lnTo>
                  <a:pt x="466" y="701"/>
                </a:lnTo>
                <a:lnTo>
                  <a:pt x="466" y="708"/>
                </a:lnTo>
                <a:close/>
                <a:moveTo>
                  <a:pt x="461" y="651"/>
                </a:moveTo>
                <a:lnTo>
                  <a:pt x="463" y="652"/>
                </a:lnTo>
                <a:lnTo>
                  <a:pt x="465" y="654"/>
                </a:lnTo>
                <a:lnTo>
                  <a:pt x="466" y="652"/>
                </a:lnTo>
                <a:lnTo>
                  <a:pt x="467" y="652"/>
                </a:lnTo>
                <a:lnTo>
                  <a:pt x="472" y="652"/>
                </a:lnTo>
                <a:lnTo>
                  <a:pt x="474" y="655"/>
                </a:lnTo>
                <a:lnTo>
                  <a:pt x="474" y="657"/>
                </a:lnTo>
                <a:lnTo>
                  <a:pt x="475" y="659"/>
                </a:lnTo>
                <a:lnTo>
                  <a:pt x="474" y="657"/>
                </a:lnTo>
                <a:lnTo>
                  <a:pt x="474" y="655"/>
                </a:lnTo>
                <a:lnTo>
                  <a:pt x="472" y="656"/>
                </a:lnTo>
                <a:lnTo>
                  <a:pt x="468" y="658"/>
                </a:lnTo>
                <a:lnTo>
                  <a:pt x="465" y="658"/>
                </a:lnTo>
                <a:lnTo>
                  <a:pt x="462" y="657"/>
                </a:lnTo>
                <a:lnTo>
                  <a:pt x="462" y="657"/>
                </a:lnTo>
                <a:lnTo>
                  <a:pt x="462" y="658"/>
                </a:lnTo>
                <a:lnTo>
                  <a:pt x="461" y="658"/>
                </a:lnTo>
                <a:lnTo>
                  <a:pt x="462" y="658"/>
                </a:lnTo>
                <a:lnTo>
                  <a:pt x="462" y="657"/>
                </a:lnTo>
                <a:lnTo>
                  <a:pt x="463" y="656"/>
                </a:lnTo>
                <a:lnTo>
                  <a:pt x="465" y="654"/>
                </a:lnTo>
                <a:lnTo>
                  <a:pt x="463" y="652"/>
                </a:lnTo>
                <a:lnTo>
                  <a:pt x="461" y="651"/>
                </a:lnTo>
                <a:close/>
                <a:moveTo>
                  <a:pt x="478" y="713"/>
                </a:moveTo>
                <a:lnTo>
                  <a:pt x="476" y="713"/>
                </a:lnTo>
                <a:lnTo>
                  <a:pt x="474" y="714"/>
                </a:lnTo>
                <a:lnTo>
                  <a:pt x="476" y="713"/>
                </a:lnTo>
                <a:lnTo>
                  <a:pt x="478" y="713"/>
                </a:lnTo>
                <a:close/>
                <a:moveTo>
                  <a:pt x="483" y="643"/>
                </a:moveTo>
                <a:lnTo>
                  <a:pt x="485" y="644"/>
                </a:lnTo>
                <a:lnTo>
                  <a:pt x="485" y="647"/>
                </a:lnTo>
                <a:lnTo>
                  <a:pt x="485" y="647"/>
                </a:lnTo>
                <a:lnTo>
                  <a:pt x="482" y="648"/>
                </a:lnTo>
                <a:lnTo>
                  <a:pt x="481" y="649"/>
                </a:lnTo>
                <a:lnTo>
                  <a:pt x="478" y="649"/>
                </a:lnTo>
                <a:lnTo>
                  <a:pt x="475" y="648"/>
                </a:lnTo>
                <a:lnTo>
                  <a:pt x="479" y="644"/>
                </a:lnTo>
                <a:lnTo>
                  <a:pt x="483" y="643"/>
                </a:lnTo>
                <a:close/>
                <a:moveTo>
                  <a:pt x="487" y="648"/>
                </a:moveTo>
                <a:lnTo>
                  <a:pt x="492" y="647"/>
                </a:lnTo>
                <a:lnTo>
                  <a:pt x="496" y="645"/>
                </a:lnTo>
                <a:lnTo>
                  <a:pt x="494" y="650"/>
                </a:lnTo>
                <a:lnTo>
                  <a:pt x="492" y="655"/>
                </a:lnTo>
                <a:lnTo>
                  <a:pt x="492" y="656"/>
                </a:lnTo>
                <a:lnTo>
                  <a:pt x="493" y="657"/>
                </a:lnTo>
                <a:lnTo>
                  <a:pt x="492" y="656"/>
                </a:lnTo>
                <a:lnTo>
                  <a:pt x="492" y="655"/>
                </a:lnTo>
                <a:lnTo>
                  <a:pt x="487" y="652"/>
                </a:lnTo>
                <a:lnTo>
                  <a:pt x="487" y="648"/>
                </a:lnTo>
                <a:close/>
                <a:moveTo>
                  <a:pt x="502" y="693"/>
                </a:moveTo>
                <a:lnTo>
                  <a:pt x="500" y="693"/>
                </a:lnTo>
                <a:lnTo>
                  <a:pt x="499" y="691"/>
                </a:lnTo>
                <a:lnTo>
                  <a:pt x="500" y="689"/>
                </a:lnTo>
                <a:lnTo>
                  <a:pt x="503" y="687"/>
                </a:lnTo>
                <a:lnTo>
                  <a:pt x="506" y="689"/>
                </a:lnTo>
                <a:lnTo>
                  <a:pt x="507" y="690"/>
                </a:lnTo>
                <a:lnTo>
                  <a:pt x="504" y="693"/>
                </a:lnTo>
                <a:lnTo>
                  <a:pt x="502" y="693"/>
                </a:lnTo>
                <a:close/>
                <a:moveTo>
                  <a:pt x="479" y="741"/>
                </a:moveTo>
                <a:lnTo>
                  <a:pt x="483" y="741"/>
                </a:lnTo>
                <a:lnTo>
                  <a:pt x="488" y="741"/>
                </a:lnTo>
                <a:lnTo>
                  <a:pt x="493" y="738"/>
                </a:lnTo>
                <a:lnTo>
                  <a:pt x="499" y="735"/>
                </a:lnTo>
                <a:lnTo>
                  <a:pt x="502" y="739"/>
                </a:lnTo>
                <a:lnTo>
                  <a:pt x="501" y="742"/>
                </a:lnTo>
                <a:lnTo>
                  <a:pt x="500" y="743"/>
                </a:lnTo>
                <a:lnTo>
                  <a:pt x="496" y="743"/>
                </a:lnTo>
                <a:lnTo>
                  <a:pt x="493" y="745"/>
                </a:lnTo>
                <a:lnTo>
                  <a:pt x="488" y="745"/>
                </a:lnTo>
                <a:lnTo>
                  <a:pt x="487" y="743"/>
                </a:lnTo>
                <a:lnTo>
                  <a:pt x="488" y="741"/>
                </a:lnTo>
                <a:lnTo>
                  <a:pt x="483" y="741"/>
                </a:lnTo>
                <a:lnTo>
                  <a:pt x="479" y="741"/>
                </a:lnTo>
                <a:close/>
                <a:moveTo>
                  <a:pt x="501" y="661"/>
                </a:moveTo>
                <a:lnTo>
                  <a:pt x="503" y="658"/>
                </a:lnTo>
                <a:lnTo>
                  <a:pt x="507" y="658"/>
                </a:lnTo>
                <a:lnTo>
                  <a:pt x="509" y="658"/>
                </a:lnTo>
                <a:lnTo>
                  <a:pt x="513" y="657"/>
                </a:lnTo>
                <a:lnTo>
                  <a:pt x="509" y="658"/>
                </a:lnTo>
                <a:lnTo>
                  <a:pt x="507" y="658"/>
                </a:lnTo>
                <a:lnTo>
                  <a:pt x="510" y="659"/>
                </a:lnTo>
                <a:lnTo>
                  <a:pt x="511" y="661"/>
                </a:lnTo>
                <a:lnTo>
                  <a:pt x="509" y="663"/>
                </a:lnTo>
                <a:lnTo>
                  <a:pt x="507" y="664"/>
                </a:lnTo>
                <a:lnTo>
                  <a:pt x="504" y="664"/>
                </a:lnTo>
                <a:lnTo>
                  <a:pt x="502" y="665"/>
                </a:lnTo>
                <a:lnTo>
                  <a:pt x="502" y="663"/>
                </a:lnTo>
                <a:lnTo>
                  <a:pt x="501" y="661"/>
                </a:lnTo>
                <a:lnTo>
                  <a:pt x="497" y="659"/>
                </a:lnTo>
                <a:lnTo>
                  <a:pt x="495" y="662"/>
                </a:lnTo>
                <a:lnTo>
                  <a:pt x="497" y="659"/>
                </a:lnTo>
                <a:lnTo>
                  <a:pt x="501" y="661"/>
                </a:lnTo>
                <a:close/>
                <a:moveTo>
                  <a:pt x="507" y="642"/>
                </a:moveTo>
                <a:lnTo>
                  <a:pt x="507" y="642"/>
                </a:lnTo>
                <a:lnTo>
                  <a:pt x="511" y="642"/>
                </a:lnTo>
                <a:lnTo>
                  <a:pt x="516" y="641"/>
                </a:lnTo>
                <a:lnTo>
                  <a:pt x="515" y="645"/>
                </a:lnTo>
                <a:lnTo>
                  <a:pt x="511" y="648"/>
                </a:lnTo>
                <a:lnTo>
                  <a:pt x="507" y="647"/>
                </a:lnTo>
                <a:lnTo>
                  <a:pt x="507" y="642"/>
                </a:lnTo>
                <a:lnTo>
                  <a:pt x="502" y="641"/>
                </a:lnTo>
                <a:lnTo>
                  <a:pt x="500" y="638"/>
                </a:lnTo>
                <a:lnTo>
                  <a:pt x="502" y="641"/>
                </a:lnTo>
                <a:lnTo>
                  <a:pt x="507" y="642"/>
                </a:lnTo>
                <a:close/>
                <a:moveTo>
                  <a:pt x="531" y="636"/>
                </a:moveTo>
                <a:lnTo>
                  <a:pt x="524" y="638"/>
                </a:lnTo>
                <a:lnTo>
                  <a:pt x="518" y="640"/>
                </a:lnTo>
                <a:lnTo>
                  <a:pt x="523" y="633"/>
                </a:lnTo>
                <a:lnTo>
                  <a:pt x="531" y="636"/>
                </a:lnTo>
                <a:close/>
                <a:moveTo>
                  <a:pt x="528" y="540"/>
                </a:moveTo>
                <a:lnTo>
                  <a:pt x="531" y="540"/>
                </a:lnTo>
                <a:lnTo>
                  <a:pt x="531" y="536"/>
                </a:lnTo>
                <a:lnTo>
                  <a:pt x="529" y="532"/>
                </a:lnTo>
                <a:lnTo>
                  <a:pt x="529" y="528"/>
                </a:lnTo>
                <a:lnTo>
                  <a:pt x="530" y="528"/>
                </a:lnTo>
                <a:lnTo>
                  <a:pt x="531" y="526"/>
                </a:lnTo>
                <a:lnTo>
                  <a:pt x="544" y="528"/>
                </a:lnTo>
                <a:lnTo>
                  <a:pt x="543" y="540"/>
                </a:lnTo>
                <a:lnTo>
                  <a:pt x="535" y="542"/>
                </a:lnTo>
                <a:lnTo>
                  <a:pt x="528" y="540"/>
                </a:lnTo>
                <a:close/>
                <a:moveTo>
                  <a:pt x="528" y="540"/>
                </a:moveTo>
                <a:lnTo>
                  <a:pt x="528" y="540"/>
                </a:lnTo>
                <a:lnTo>
                  <a:pt x="528" y="540"/>
                </a:lnTo>
                <a:lnTo>
                  <a:pt x="528" y="540"/>
                </a:lnTo>
                <a:close/>
                <a:moveTo>
                  <a:pt x="531" y="585"/>
                </a:moveTo>
                <a:lnTo>
                  <a:pt x="534" y="580"/>
                </a:lnTo>
                <a:lnTo>
                  <a:pt x="538" y="579"/>
                </a:lnTo>
                <a:lnTo>
                  <a:pt x="541" y="579"/>
                </a:lnTo>
                <a:lnTo>
                  <a:pt x="542" y="581"/>
                </a:lnTo>
                <a:lnTo>
                  <a:pt x="539" y="585"/>
                </a:lnTo>
                <a:lnTo>
                  <a:pt x="536" y="587"/>
                </a:lnTo>
                <a:lnTo>
                  <a:pt x="534" y="587"/>
                </a:lnTo>
                <a:lnTo>
                  <a:pt x="531" y="585"/>
                </a:lnTo>
                <a:close/>
                <a:moveTo>
                  <a:pt x="534" y="658"/>
                </a:moveTo>
                <a:lnTo>
                  <a:pt x="529" y="658"/>
                </a:lnTo>
                <a:lnTo>
                  <a:pt x="525" y="655"/>
                </a:lnTo>
                <a:lnTo>
                  <a:pt x="531" y="654"/>
                </a:lnTo>
                <a:lnTo>
                  <a:pt x="537" y="652"/>
                </a:lnTo>
                <a:lnTo>
                  <a:pt x="537" y="657"/>
                </a:lnTo>
                <a:lnTo>
                  <a:pt x="534" y="658"/>
                </a:lnTo>
                <a:close/>
                <a:moveTo>
                  <a:pt x="558" y="647"/>
                </a:moveTo>
                <a:lnTo>
                  <a:pt x="555" y="652"/>
                </a:lnTo>
                <a:lnTo>
                  <a:pt x="550" y="657"/>
                </a:lnTo>
                <a:lnTo>
                  <a:pt x="550" y="657"/>
                </a:lnTo>
                <a:lnTo>
                  <a:pt x="548" y="654"/>
                </a:lnTo>
                <a:lnTo>
                  <a:pt x="548" y="649"/>
                </a:lnTo>
                <a:lnTo>
                  <a:pt x="552" y="648"/>
                </a:lnTo>
                <a:lnTo>
                  <a:pt x="558" y="647"/>
                </a:lnTo>
                <a:close/>
                <a:moveTo>
                  <a:pt x="550" y="643"/>
                </a:moveTo>
                <a:lnTo>
                  <a:pt x="551" y="630"/>
                </a:lnTo>
                <a:lnTo>
                  <a:pt x="552" y="617"/>
                </a:lnTo>
                <a:lnTo>
                  <a:pt x="550" y="613"/>
                </a:lnTo>
                <a:lnTo>
                  <a:pt x="547" y="609"/>
                </a:lnTo>
                <a:lnTo>
                  <a:pt x="550" y="613"/>
                </a:lnTo>
                <a:lnTo>
                  <a:pt x="552" y="617"/>
                </a:lnTo>
                <a:lnTo>
                  <a:pt x="554" y="612"/>
                </a:lnTo>
                <a:lnTo>
                  <a:pt x="557" y="609"/>
                </a:lnTo>
                <a:lnTo>
                  <a:pt x="558" y="616"/>
                </a:lnTo>
                <a:lnTo>
                  <a:pt x="559" y="624"/>
                </a:lnTo>
                <a:lnTo>
                  <a:pt x="561" y="627"/>
                </a:lnTo>
                <a:lnTo>
                  <a:pt x="563" y="626"/>
                </a:lnTo>
                <a:lnTo>
                  <a:pt x="565" y="624"/>
                </a:lnTo>
                <a:lnTo>
                  <a:pt x="566" y="623"/>
                </a:lnTo>
                <a:lnTo>
                  <a:pt x="570" y="622"/>
                </a:lnTo>
                <a:lnTo>
                  <a:pt x="572" y="623"/>
                </a:lnTo>
                <a:lnTo>
                  <a:pt x="571" y="627"/>
                </a:lnTo>
                <a:lnTo>
                  <a:pt x="568" y="627"/>
                </a:lnTo>
                <a:lnTo>
                  <a:pt x="568" y="627"/>
                </a:lnTo>
                <a:lnTo>
                  <a:pt x="565" y="628"/>
                </a:lnTo>
                <a:lnTo>
                  <a:pt x="563" y="629"/>
                </a:lnTo>
                <a:lnTo>
                  <a:pt x="559" y="631"/>
                </a:lnTo>
                <a:lnTo>
                  <a:pt x="558" y="635"/>
                </a:lnTo>
                <a:lnTo>
                  <a:pt x="557" y="642"/>
                </a:lnTo>
                <a:lnTo>
                  <a:pt x="550" y="643"/>
                </a:lnTo>
                <a:lnTo>
                  <a:pt x="541" y="645"/>
                </a:lnTo>
                <a:lnTo>
                  <a:pt x="530" y="648"/>
                </a:lnTo>
                <a:lnTo>
                  <a:pt x="541" y="645"/>
                </a:lnTo>
                <a:lnTo>
                  <a:pt x="550" y="643"/>
                </a:lnTo>
                <a:close/>
                <a:moveTo>
                  <a:pt x="580" y="644"/>
                </a:moveTo>
                <a:lnTo>
                  <a:pt x="575" y="648"/>
                </a:lnTo>
                <a:lnTo>
                  <a:pt x="569" y="644"/>
                </a:lnTo>
                <a:lnTo>
                  <a:pt x="573" y="643"/>
                </a:lnTo>
                <a:lnTo>
                  <a:pt x="578" y="642"/>
                </a:lnTo>
                <a:lnTo>
                  <a:pt x="580" y="642"/>
                </a:lnTo>
                <a:lnTo>
                  <a:pt x="580" y="644"/>
                </a:lnTo>
                <a:close/>
                <a:moveTo>
                  <a:pt x="589" y="650"/>
                </a:moveTo>
                <a:lnTo>
                  <a:pt x="590" y="651"/>
                </a:lnTo>
                <a:lnTo>
                  <a:pt x="591" y="652"/>
                </a:lnTo>
                <a:lnTo>
                  <a:pt x="590" y="651"/>
                </a:lnTo>
                <a:lnTo>
                  <a:pt x="589" y="650"/>
                </a:lnTo>
                <a:close/>
                <a:moveTo>
                  <a:pt x="584" y="720"/>
                </a:moveTo>
                <a:lnTo>
                  <a:pt x="583" y="721"/>
                </a:lnTo>
                <a:lnTo>
                  <a:pt x="583" y="722"/>
                </a:lnTo>
                <a:lnTo>
                  <a:pt x="582" y="722"/>
                </a:lnTo>
                <a:lnTo>
                  <a:pt x="582" y="721"/>
                </a:lnTo>
                <a:lnTo>
                  <a:pt x="583" y="720"/>
                </a:lnTo>
                <a:lnTo>
                  <a:pt x="584" y="720"/>
                </a:lnTo>
                <a:close/>
                <a:moveTo>
                  <a:pt x="596" y="722"/>
                </a:moveTo>
                <a:lnTo>
                  <a:pt x="590" y="719"/>
                </a:lnTo>
                <a:lnTo>
                  <a:pt x="584" y="720"/>
                </a:lnTo>
                <a:lnTo>
                  <a:pt x="584" y="717"/>
                </a:lnTo>
                <a:lnTo>
                  <a:pt x="586" y="714"/>
                </a:lnTo>
                <a:lnTo>
                  <a:pt x="586" y="714"/>
                </a:lnTo>
                <a:lnTo>
                  <a:pt x="587" y="713"/>
                </a:lnTo>
                <a:lnTo>
                  <a:pt x="589" y="712"/>
                </a:lnTo>
                <a:lnTo>
                  <a:pt x="589" y="711"/>
                </a:lnTo>
                <a:lnTo>
                  <a:pt x="593" y="711"/>
                </a:lnTo>
                <a:lnTo>
                  <a:pt x="594" y="717"/>
                </a:lnTo>
                <a:lnTo>
                  <a:pt x="596" y="719"/>
                </a:lnTo>
                <a:lnTo>
                  <a:pt x="597" y="720"/>
                </a:lnTo>
                <a:lnTo>
                  <a:pt x="598" y="720"/>
                </a:lnTo>
                <a:lnTo>
                  <a:pt x="599" y="720"/>
                </a:lnTo>
                <a:lnTo>
                  <a:pt x="598" y="720"/>
                </a:lnTo>
                <a:lnTo>
                  <a:pt x="597" y="720"/>
                </a:lnTo>
                <a:lnTo>
                  <a:pt x="597" y="720"/>
                </a:lnTo>
                <a:lnTo>
                  <a:pt x="597" y="721"/>
                </a:lnTo>
                <a:lnTo>
                  <a:pt x="596" y="722"/>
                </a:lnTo>
                <a:lnTo>
                  <a:pt x="597" y="721"/>
                </a:lnTo>
                <a:lnTo>
                  <a:pt x="597" y="720"/>
                </a:lnTo>
                <a:lnTo>
                  <a:pt x="596" y="721"/>
                </a:lnTo>
                <a:lnTo>
                  <a:pt x="596" y="722"/>
                </a:lnTo>
                <a:close/>
                <a:moveTo>
                  <a:pt x="589" y="648"/>
                </a:moveTo>
                <a:lnTo>
                  <a:pt x="589" y="643"/>
                </a:lnTo>
                <a:lnTo>
                  <a:pt x="589" y="640"/>
                </a:lnTo>
                <a:lnTo>
                  <a:pt x="594" y="637"/>
                </a:lnTo>
                <a:lnTo>
                  <a:pt x="600" y="637"/>
                </a:lnTo>
                <a:lnTo>
                  <a:pt x="600" y="638"/>
                </a:lnTo>
                <a:lnTo>
                  <a:pt x="600" y="640"/>
                </a:lnTo>
                <a:lnTo>
                  <a:pt x="600" y="643"/>
                </a:lnTo>
                <a:lnTo>
                  <a:pt x="601" y="647"/>
                </a:lnTo>
                <a:lnTo>
                  <a:pt x="600" y="643"/>
                </a:lnTo>
                <a:lnTo>
                  <a:pt x="600" y="640"/>
                </a:lnTo>
                <a:lnTo>
                  <a:pt x="593" y="643"/>
                </a:lnTo>
                <a:lnTo>
                  <a:pt x="589" y="648"/>
                </a:lnTo>
                <a:close/>
                <a:moveTo>
                  <a:pt x="551" y="543"/>
                </a:moveTo>
                <a:lnTo>
                  <a:pt x="569" y="538"/>
                </a:lnTo>
                <a:lnTo>
                  <a:pt x="586" y="532"/>
                </a:lnTo>
                <a:lnTo>
                  <a:pt x="594" y="533"/>
                </a:lnTo>
                <a:lnTo>
                  <a:pt x="603" y="533"/>
                </a:lnTo>
                <a:lnTo>
                  <a:pt x="607" y="532"/>
                </a:lnTo>
                <a:lnTo>
                  <a:pt x="612" y="533"/>
                </a:lnTo>
                <a:lnTo>
                  <a:pt x="613" y="537"/>
                </a:lnTo>
                <a:lnTo>
                  <a:pt x="612" y="539"/>
                </a:lnTo>
                <a:lnTo>
                  <a:pt x="607" y="542"/>
                </a:lnTo>
                <a:lnTo>
                  <a:pt x="605" y="540"/>
                </a:lnTo>
                <a:lnTo>
                  <a:pt x="603" y="537"/>
                </a:lnTo>
                <a:lnTo>
                  <a:pt x="599" y="539"/>
                </a:lnTo>
                <a:lnTo>
                  <a:pt x="591" y="543"/>
                </a:lnTo>
                <a:lnTo>
                  <a:pt x="589" y="551"/>
                </a:lnTo>
                <a:lnTo>
                  <a:pt x="587" y="552"/>
                </a:lnTo>
                <a:lnTo>
                  <a:pt x="585" y="551"/>
                </a:lnTo>
                <a:lnTo>
                  <a:pt x="583" y="549"/>
                </a:lnTo>
                <a:lnTo>
                  <a:pt x="584" y="545"/>
                </a:lnTo>
                <a:lnTo>
                  <a:pt x="585" y="540"/>
                </a:lnTo>
                <a:lnTo>
                  <a:pt x="580" y="539"/>
                </a:lnTo>
                <a:lnTo>
                  <a:pt x="572" y="543"/>
                </a:lnTo>
                <a:lnTo>
                  <a:pt x="572" y="552"/>
                </a:lnTo>
                <a:lnTo>
                  <a:pt x="573" y="554"/>
                </a:lnTo>
                <a:lnTo>
                  <a:pt x="572" y="556"/>
                </a:lnTo>
                <a:lnTo>
                  <a:pt x="570" y="557"/>
                </a:lnTo>
                <a:lnTo>
                  <a:pt x="569" y="557"/>
                </a:lnTo>
                <a:lnTo>
                  <a:pt x="566" y="554"/>
                </a:lnTo>
                <a:lnTo>
                  <a:pt x="568" y="552"/>
                </a:lnTo>
                <a:lnTo>
                  <a:pt x="569" y="550"/>
                </a:lnTo>
                <a:lnTo>
                  <a:pt x="568" y="547"/>
                </a:lnTo>
                <a:lnTo>
                  <a:pt x="565" y="547"/>
                </a:lnTo>
                <a:lnTo>
                  <a:pt x="562" y="549"/>
                </a:lnTo>
                <a:lnTo>
                  <a:pt x="556" y="550"/>
                </a:lnTo>
                <a:lnTo>
                  <a:pt x="550" y="550"/>
                </a:lnTo>
                <a:lnTo>
                  <a:pt x="548" y="549"/>
                </a:lnTo>
                <a:lnTo>
                  <a:pt x="545" y="546"/>
                </a:lnTo>
                <a:lnTo>
                  <a:pt x="548" y="544"/>
                </a:lnTo>
                <a:lnTo>
                  <a:pt x="551" y="543"/>
                </a:lnTo>
                <a:close/>
                <a:moveTo>
                  <a:pt x="604" y="489"/>
                </a:moveTo>
                <a:lnTo>
                  <a:pt x="604" y="489"/>
                </a:lnTo>
                <a:lnTo>
                  <a:pt x="604" y="488"/>
                </a:lnTo>
                <a:lnTo>
                  <a:pt x="604" y="489"/>
                </a:lnTo>
                <a:lnTo>
                  <a:pt x="604" y="489"/>
                </a:lnTo>
                <a:close/>
                <a:moveTo>
                  <a:pt x="604" y="468"/>
                </a:moveTo>
                <a:lnTo>
                  <a:pt x="605" y="466"/>
                </a:lnTo>
                <a:lnTo>
                  <a:pt x="604" y="463"/>
                </a:lnTo>
                <a:lnTo>
                  <a:pt x="604" y="464"/>
                </a:lnTo>
                <a:lnTo>
                  <a:pt x="603" y="463"/>
                </a:lnTo>
                <a:lnTo>
                  <a:pt x="604" y="464"/>
                </a:lnTo>
                <a:lnTo>
                  <a:pt x="604" y="463"/>
                </a:lnTo>
                <a:lnTo>
                  <a:pt x="604" y="462"/>
                </a:lnTo>
                <a:lnTo>
                  <a:pt x="603" y="462"/>
                </a:lnTo>
                <a:lnTo>
                  <a:pt x="605" y="459"/>
                </a:lnTo>
                <a:lnTo>
                  <a:pt x="605" y="454"/>
                </a:lnTo>
                <a:lnTo>
                  <a:pt x="605" y="447"/>
                </a:lnTo>
                <a:lnTo>
                  <a:pt x="607" y="439"/>
                </a:lnTo>
                <a:lnTo>
                  <a:pt x="608" y="438"/>
                </a:lnTo>
                <a:lnTo>
                  <a:pt x="610" y="438"/>
                </a:lnTo>
                <a:lnTo>
                  <a:pt x="611" y="438"/>
                </a:lnTo>
                <a:lnTo>
                  <a:pt x="611" y="439"/>
                </a:lnTo>
                <a:lnTo>
                  <a:pt x="611" y="442"/>
                </a:lnTo>
                <a:lnTo>
                  <a:pt x="613" y="443"/>
                </a:lnTo>
                <a:lnTo>
                  <a:pt x="615" y="441"/>
                </a:lnTo>
                <a:lnTo>
                  <a:pt x="617" y="439"/>
                </a:lnTo>
                <a:lnTo>
                  <a:pt x="618" y="433"/>
                </a:lnTo>
                <a:lnTo>
                  <a:pt x="619" y="428"/>
                </a:lnTo>
                <a:lnTo>
                  <a:pt x="623" y="428"/>
                </a:lnTo>
                <a:lnTo>
                  <a:pt x="623" y="425"/>
                </a:lnTo>
                <a:lnTo>
                  <a:pt x="626" y="431"/>
                </a:lnTo>
                <a:lnTo>
                  <a:pt x="626" y="438"/>
                </a:lnTo>
                <a:lnTo>
                  <a:pt x="624" y="454"/>
                </a:lnTo>
                <a:lnTo>
                  <a:pt x="624" y="470"/>
                </a:lnTo>
                <a:lnTo>
                  <a:pt x="625" y="470"/>
                </a:lnTo>
                <a:lnTo>
                  <a:pt x="626" y="470"/>
                </a:lnTo>
                <a:lnTo>
                  <a:pt x="625" y="470"/>
                </a:lnTo>
                <a:lnTo>
                  <a:pt x="624" y="470"/>
                </a:lnTo>
                <a:lnTo>
                  <a:pt x="621" y="471"/>
                </a:lnTo>
                <a:lnTo>
                  <a:pt x="623" y="474"/>
                </a:lnTo>
                <a:lnTo>
                  <a:pt x="623" y="476"/>
                </a:lnTo>
                <a:lnTo>
                  <a:pt x="623" y="477"/>
                </a:lnTo>
                <a:lnTo>
                  <a:pt x="621" y="480"/>
                </a:lnTo>
                <a:lnTo>
                  <a:pt x="623" y="481"/>
                </a:lnTo>
                <a:lnTo>
                  <a:pt x="623" y="485"/>
                </a:lnTo>
                <a:lnTo>
                  <a:pt x="623" y="490"/>
                </a:lnTo>
                <a:lnTo>
                  <a:pt x="626" y="489"/>
                </a:lnTo>
                <a:lnTo>
                  <a:pt x="628" y="487"/>
                </a:lnTo>
                <a:lnTo>
                  <a:pt x="625" y="495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9" y="502"/>
                </a:lnTo>
                <a:lnTo>
                  <a:pt x="615" y="502"/>
                </a:lnTo>
                <a:lnTo>
                  <a:pt x="614" y="500"/>
                </a:lnTo>
                <a:lnTo>
                  <a:pt x="614" y="493"/>
                </a:lnTo>
                <a:lnTo>
                  <a:pt x="613" y="485"/>
                </a:lnTo>
                <a:lnTo>
                  <a:pt x="617" y="482"/>
                </a:lnTo>
                <a:lnTo>
                  <a:pt x="612" y="478"/>
                </a:lnTo>
                <a:lnTo>
                  <a:pt x="606" y="475"/>
                </a:lnTo>
                <a:lnTo>
                  <a:pt x="604" y="468"/>
                </a:lnTo>
                <a:close/>
                <a:moveTo>
                  <a:pt x="607" y="418"/>
                </a:moveTo>
                <a:lnTo>
                  <a:pt x="607" y="418"/>
                </a:lnTo>
                <a:lnTo>
                  <a:pt x="607" y="419"/>
                </a:lnTo>
                <a:lnTo>
                  <a:pt x="607" y="418"/>
                </a:lnTo>
                <a:lnTo>
                  <a:pt x="607" y="418"/>
                </a:lnTo>
                <a:close/>
                <a:moveTo>
                  <a:pt x="630" y="540"/>
                </a:moveTo>
                <a:lnTo>
                  <a:pt x="625" y="538"/>
                </a:lnTo>
                <a:lnTo>
                  <a:pt x="621" y="536"/>
                </a:lnTo>
                <a:lnTo>
                  <a:pt x="621" y="535"/>
                </a:lnTo>
                <a:lnTo>
                  <a:pt x="623" y="531"/>
                </a:lnTo>
                <a:lnTo>
                  <a:pt x="624" y="529"/>
                </a:lnTo>
                <a:lnTo>
                  <a:pt x="625" y="525"/>
                </a:lnTo>
                <a:lnTo>
                  <a:pt x="624" y="525"/>
                </a:lnTo>
                <a:lnTo>
                  <a:pt x="621" y="525"/>
                </a:lnTo>
                <a:lnTo>
                  <a:pt x="624" y="525"/>
                </a:lnTo>
                <a:lnTo>
                  <a:pt x="625" y="525"/>
                </a:lnTo>
                <a:lnTo>
                  <a:pt x="626" y="529"/>
                </a:lnTo>
                <a:lnTo>
                  <a:pt x="627" y="532"/>
                </a:lnTo>
                <a:lnTo>
                  <a:pt x="631" y="536"/>
                </a:lnTo>
                <a:lnTo>
                  <a:pt x="630" y="540"/>
                </a:lnTo>
                <a:close/>
                <a:moveTo>
                  <a:pt x="627" y="623"/>
                </a:moveTo>
                <a:lnTo>
                  <a:pt x="625" y="623"/>
                </a:lnTo>
                <a:lnTo>
                  <a:pt x="624" y="622"/>
                </a:lnTo>
                <a:lnTo>
                  <a:pt x="623" y="619"/>
                </a:lnTo>
                <a:lnTo>
                  <a:pt x="620" y="620"/>
                </a:lnTo>
                <a:lnTo>
                  <a:pt x="618" y="621"/>
                </a:lnTo>
                <a:lnTo>
                  <a:pt x="617" y="621"/>
                </a:lnTo>
                <a:lnTo>
                  <a:pt x="610" y="617"/>
                </a:lnTo>
                <a:lnTo>
                  <a:pt x="603" y="619"/>
                </a:lnTo>
                <a:lnTo>
                  <a:pt x="603" y="617"/>
                </a:lnTo>
                <a:lnTo>
                  <a:pt x="601" y="617"/>
                </a:lnTo>
                <a:lnTo>
                  <a:pt x="610" y="612"/>
                </a:lnTo>
                <a:lnTo>
                  <a:pt x="619" y="614"/>
                </a:lnTo>
                <a:lnTo>
                  <a:pt x="620" y="613"/>
                </a:lnTo>
                <a:lnTo>
                  <a:pt x="621" y="613"/>
                </a:lnTo>
                <a:lnTo>
                  <a:pt x="620" y="613"/>
                </a:lnTo>
                <a:lnTo>
                  <a:pt x="619" y="614"/>
                </a:lnTo>
                <a:lnTo>
                  <a:pt x="627" y="615"/>
                </a:lnTo>
                <a:lnTo>
                  <a:pt x="627" y="623"/>
                </a:lnTo>
                <a:close/>
                <a:moveTo>
                  <a:pt x="619" y="521"/>
                </a:moveTo>
                <a:lnTo>
                  <a:pt x="623" y="519"/>
                </a:lnTo>
                <a:lnTo>
                  <a:pt x="625" y="519"/>
                </a:lnTo>
                <a:lnTo>
                  <a:pt x="623" y="519"/>
                </a:lnTo>
                <a:lnTo>
                  <a:pt x="619" y="521"/>
                </a:lnTo>
                <a:lnTo>
                  <a:pt x="618" y="522"/>
                </a:lnTo>
                <a:lnTo>
                  <a:pt x="615" y="522"/>
                </a:lnTo>
                <a:lnTo>
                  <a:pt x="611" y="522"/>
                </a:lnTo>
                <a:lnTo>
                  <a:pt x="612" y="516"/>
                </a:lnTo>
                <a:lnTo>
                  <a:pt x="613" y="512"/>
                </a:lnTo>
                <a:lnTo>
                  <a:pt x="614" y="507"/>
                </a:lnTo>
                <a:lnTo>
                  <a:pt x="615" y="507"/>
                </a:lnTo>
                <a:lnTo>
                  <a:pt x="618" y="507"/>
                </a:lnTo>
                <a:lnTo>
                  <a:pt x="619" y="514"/>
                </a:lnTo>
                <a:lnTo>
                  <a:pt x="619" y="521"/>
                </a:lnTo>
                <a:lnTo>
                  <a:pt x="619" y="521"/>
                </a:lnTo>
                <a:close/>
                <a:moveTo>
                  <a:pt x="624" y="637"/>
                </a:moveTo>
                <a:lnTo>
                  <a:pt x="623" y="637"/>
                </a:lnTo>
                <a:lnTo>
                  <a:pt x="620" y="637"/>
                </a:lnTo>
                <a:lnTo>
                  <a:pt x="619" y="637"/>
                </a:lnTo>
                <a:lnTo>
                  <a:pt x="618" y="637"/>
                </a:lnTo>
                <a:lnTo>
                  <a:pt x="614" y="637"/>
                </a:lnTo>
                <a:lnTo>
                  <a:pt x="612" y="637"/>
                </a:lnTo>
                <a:lnTo>
                  <a:pt x="608" y="638"/>
                </a:lnTo>
                <a:lnTo>
                  <a:pt x="605" y="638"/>
                </a:lnTo>
                <a:lnTo>
                  <a:pt x="608" y="638"/>
                </a:lnTo>
                <a:lnTo>
                  <a:pt x="612" y="637"/>
                </a:lnTo>
                <a:lnTo>
                  <a:pt x="612" y="636"/>
                </a:lnTo>
                <a:lnTo>
                  <a:pt x="612" y="635"/>
                </a:lnTo>
                <a:lnTo>
                  <a:pt x="612" y="634"/>
                </a:lnTo>
                <a:lnTo>
                  <a:pt x="613" y="633"/>
                </a:lnTo>
                <a:lnTo>
                  <a:pt x="620" y="630"/>
                </a:lnTo>
                <a:lnTo>
                  <a:pt x="627" y="629"/>
                </a:lnTo>
                <a:lnTo>
                  <a:pt x="628" y="628"/>
                </a:lnTo>
                <a:lnTo>
                  <a:pt x="628" y="628"/>
                </a:lnTo>
                <a:lnTo>
                  <a:pt x="628" y="628"/>
                </a:lnTo>
                <a:lnTo>
                  <a:pt x="627" y="629"/>
                </a:lnTo>
                <a:lnTo>
                  <a:pt x="628" y="629"/>
                </a:lnTo>
                <a:lnTo>
                  <a:pt x="628" y="629"/>
                </a:lnTo>
                <a:lnTo>
                  <a:pt x="628" y="630"/>
                </a:lnTo>
                <a:lnTo>
                  <a:pt x="630" y="631"/>
                </a:lnTo>
                <a:lnTo>
                  <a:pt x="625" y="634"/>
                </a:lnTo>
                <a:lnTo>
                  <a:pt x="620" y="637"/>
                </a:lnTo>
                <a:lnTo>
                  <a:pt x="623" y="637"/>
                </a:lnTo>
                <a:lnTo>
                  <a:pt x="624" y="637"/>
                </a:lnTo>
                <a:close/>
                <a:moveTo>
                  <a:pt x="635" y="605"/>
                </a:moveTo>
                <a:lnTo>
                  <a:pt x="633" y="602"/>
                </a:lnTo>
                <a:lnTo>
                  <a:pt x="630" y="602"/>
                </a:lnTo>
                <a:lnTo>
                  <a:pt x="628" y="602"/>
                </a:lnTo>
                <a:lnTo>
                  <a:pt x="626" y="602"/>
                </a:lnTo>
                <a:lnTo>
                  <a:pt x="625" y="601"/>
                </a:lnTo>
                <a:lnTo>
                  <a:pt x="623" y="601"/>
                </a:lnTo>
                <a:lnTo>
                  <a:pt x="615" y="596"/>
                </a:lnTo>
                <a:lnTo>
                  <a:pt x="618" y="588"/>
                </a:lnTo>
                <a:lnTo>
                  <a:pt x="617" y="588"/>
                </a:lnTo>
                <a:lnTo>
                  <a:pt x="615" y="588"/>
                </a:lnTo>
                <a:lnTo>
                  <a:pt x="617" y="588"/>
                </a:lnTo>
                <a:lnTo>
                  <a:pt x="618" y="588"/>
                </a:lnTo>
                <a:lnTo>
                  <a:pt x="619" y="588"/>
                </a:lnTo>
                <a:lnTo>
                  <a:pt x="620" y="588"/>
                </a:lnTo>
                <a:lnTo>
                  <a:pt x="620" y="595"/>
                </a:lnTo>
                <a:lnTo>
                  <a:pt x="626" y="596"/>
                </a:lnTo>
                <a:lnTo>
                  <a:pt x="630" y="599"/>
                </a:lnTo>
                <a:lnTo>
                  <a:pt x="630" y="602"/>
                </a:lnTo>
                <a:lnTo>
                  <a:pt x="633" y="602"/>
                </a:lnTo>
                <a:lnTo>
                  <a:pt x="635" y="605"/>
                </a:lnTo>
                <a:close/>
                <a:moveTo>
                  <a:pt x="652" y="522"/>
                </a:moveTo>
                <a:lnTo>
                  <a:pt x="653" y="524"/>
                </a:lnTo>
                <a:lnTo>
                  <a:pt x="653" y="529"/>
                </a:lnTo>
                <a:lnTo>
                  <a:pt x="652" y="531"/>
                </a:lnTo>
                <a:lnTo>
                  <a:pt x="648" y="533"/>
                </a:lnTo>
                <a:lnTo>
                  <a:pt x="642" y="528"/>
                </a:lnTo>
                <a:lnTo>
                  <a:pt x="635" y="528"/>
                </a:lnTo>
                <a:lnTo>
                  <a:pt x="642" y="522"/>
                </a:lnTo>
                <a:lnTo>
                  <a:pt x="652" y="522"/>
                </a:lnTo>
                <a:close/>
                <a:moveTo>
                  <a:pt x="646" y="450"/>
                </a:moveTo>
                <a:lnTo>
                  <a:pt x="644" y="449"/>
                </a:lnTo>
                <a:lnTo>
                  <a:pt x="640" y="447"/>
                </a:lnTo>
                <a:lnTo>
                  <a:pt x="642" y="446"/>
                </a:lnTo>
                <a:lnTo>
                  <a:pt x="646" y="445"/>
                </a:lnTo>
                <a:lnTo>
                  <a:pt x="647" y="442"/>
                </a:lnTo>
                <a:lnTo>
                  <a:pt x="647" y="441"/>
                </a:lnTo>
                <a:lnTo>
                  <a:pt x="645" y="436"/>
                </a:lnTo>
                <a:lnTo>
                  <a:pt x="646" y="435"/>
                </a:lnTo>
                <a:lnTo>
                  <a:pt x="649" y="432"/>
                </a:lnTo>
                <a:lnTo>
                  <a:pt x="651" y="427"/>
                </a:lnTo>
                <a:lnTo>
                  <a:pt x="653" y="426"/>
                </a:lnTo>
                <a:lnTo>
                  <a:pt x="654" y="427"/>
                </a:lnTo>
                <a:lnTo>
                  <a:pt x="656" y="432"/>
                </a:lnTo>
                <a:lnTo>
                  <a:pt x="655" y="438"/>
                </a:lnTo>
                <a:lnTo>
                  <a:pt x="655" y="439"/>
                </a:lnTo>
                <a:lnTo>
                  <a:pt x="655" y="440"/>
                </a:lnTo>
                <a:lnTo>
                  <a:pt x="660" y="443"/>
                </a:lnTo>
                <a:lnTo>
                  <a:pt x="655" y="447"/>
                </a:lnTo>
                <a:lnTo>
                  <a:pt x="655" y="448"/>
                </a:lnTo>
                <a:lnTo>
                  <a:pt x="655" y="450"/>
                </a:lnTo>
                <a:lnTo>
                  <a:pt x="659" y="454"/>
                </a:lnTo>
                <a:lnTo>
                  <a:pt x="663" y="455"/>
                </a:lnTo>
                <a:lnTo>
                  <a:pt x="667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5"/>
                </a:lnTo>
                <a:lnTo>
                  <a:pt x="670" y="459"/>
                </a:lnTo>
                <a:lnTo>
                  <a:pt x="673" y="460"/>
                </a:lnTo>
                <a:lnTo>
                  <a:pt x="674" y="460"/>
                </a:lnTo>
                <a:lnTo>
                  <a:pt x="675" y="460"/>
                </a:lnTo>
                <a:lnTo>
                  <a:pt x="673" y="459"/>
                </a:lnTo>
                <a:lnTo>
                  <a:pt x="672" y="455"/>
                </a:lnTo>
                <a:lnTo>
                  <a:pt x="672" y="442"/>
                </a:lnTo>
                <a:lnTo>
                  <a:pt x="670" y="428"/>
                </a:lnTo>
                <a:lnTo>
                  <a:pt x="673" y="421"/>
                </a:lnTo>
                <a:lnTo>
                  <a:pt x="675" y="414"/>
                </a:lnTo>
                <a:lnTo>
                  <a:pt x="677" y="413"/>
                </a:lnTo>
                <a:lnTo>
                  <a:pt x="679" y="413"/>
                </a:lnTo>
                <a:lnTo>
                  <a:pt x="681" y="415"/>
                </a:lnTo>
                <a:lnTo>
                  <a:pt x="682" y="418"/>
                </a:lnTo>
                <a:lnTo>
                  <a:pt x="681" y="428"/>
                </a:lnTo>
                <a:lnTo>
                  <a:pt x="680" y="438"/>
                </a:lnTo>
                <a:lnTo>
                  <a:pt x="679" y="447"/>
                </a:lnTo>
                <a:lnTo>
                  <a:pt x="679" y="457"/>
                </a:lnTo>
                <a:lnTo>
                  <a:pt x="683" y="453"/>
                </a:lnTo>
                <a:lnTo>
                  <a:pt x="684" y="448"/>
                </a:lnTo>
                <a:lnTo>
                  <a:pt x="683" y="453"/>
                </a:lnTo>
                <a:lnTo>
                  <a:pt x="679" y="457"/>
                </a:lnTo>
                <a:lnTo>
                  <a:pt x="679" y="461"/>
                </a:lnTo>
                <a:lnTo>
                  <a:pt x="681" y="463"/>
                </a:lnTo>
                <a:lnTo>
                  <a:pt x="677" y="467"/>
                </a:lnTo>
                <a:lnTo>
                  <a:pt x="679" y="470"/>
                </a:lnTo>
                <a:lnTo>
                  <a:pt x="679" y="470"/>
                </a:lnTo>
                <a:lnTo>
                  <a:pt x="675" y="475"/>
                </a:lnTo>
                <a:lnTo>
                  <a:pt x="676" y="481"/>
                </a:lnTo>
                <a:lnTo>
                  <a:pt x="677" y="483"/>
                </a:lnTo>
                <a:lnTo>
                  <a:pt x="680" y="483"/>
                </a:lnTo>
                <a:lnTo>
                  <a:pt x="681" y="480"/>
                </a:lnTo>
                <a:lnTo>
                  <a:pt x="681" y="476"/>
                </a:lnTo>
                <a:lnTo>
                  <a:pt x="681" y="480"/>
                </a:lnTo>
                <a:lnTo>
                  <a:pt x="680" y="483"/>
                </a:lnTo>
                <a:lnTo>
                  <a:pt x="681" y="485"/>
                </a:lnTo>
                <a:lnTo>
                  <a:pt x="681" y="487"/>
                </a:lnTo>
                <a:lnTo>
                  <a:pt x="675" y="487"/>
                </a:lnTo>
                <a:lnTo>
                  <a:pt x="670" y="490"/>
                </a:lnTo>
                <a:lnTo>
                  <a:pt x="670" y="478"/>
                </a:lnTo>
                <a:lnTo>
                  <a:pt x="670" y="469"/>
                </a:lnTo>
                <a:lnTo>
                  <a:pt x="669" y="466"/>
                </a:lnTo>
                <a:lnTo>
                  <a:pt x="665" y="466"/>
                </a:lnTo>
                <a:lnTo>
                  <a:pt x="665" y="464"/>
                </a:lnTo>
                <a:lnTo>
                  <a:pt x="663" y="463"/>
                </a:lnTo>
                <a:lnTo>
                  <a:pt x="661" y="461"/>
                </a:lnTo>
                <a:lnTo>
                  <a:pt x="658" y="463"/>
                </a:lnTo>
                <a:lnTo>
                  <a:pt x="656" y="463"/>
                </a:lnTo>
                <a:lnTo>
                  <a:pt x="656" y="463"/>
                </a:lnTo>
                <a:lnTo>
                  <a:pt x="658" y="466"/>
                </a:lnTo>
                <a:lnTo>
                  <a:pt x="659" y="467"/>
                </a:lnTo>
                <a:lnTo>
                  <a:pt x="658" y="466"/>
                </a:lnTo>
                <a:lnTo>
                  <a:pt x="656" y="463"/>
                </a:lnTo>
                <a:lnTo>
                  <a:pt x="652" y="457"/>
                </a:lnTo>
                <a:lnTo>
                  <a:pt x="645" y="460"/>
                </a:lnTo>
                <a:lnTo>
                  <a:pt x="642" y="460"/>
                </a:lnTo>
                <a:lnTo>
                  <a:pt x="641" y="459"/>
                </a:lnTo>
                <a:lnTo>
                  <a:pt x="641" y="454"/>
                </a:lnTo>
                <a:lnTo>
                  <a:pt x="646" y="450"/>
                </a:lnTo>
                <a:lnTo>
                  <a:pt x="646" y="450"/>
                </a:lnTo>
                <a:close/>
                <a:moveTo>
                  <a:pt x="648" y="369"/>
                </a:moveTo>
                <a:lnTo>
                  <a:pt x="647" y="369"/>
                </a:lnTo>
                <a:lnTo>
                  <a:pt x="645" y="369"/>
                </a:lnTo>
                <a:lnTo>
                  <a:pt x="647" y="369"/>
                </a:lnTo>
                <a:lnTo>
                  <a:pt x="648" y="369"/>
                </a:lnTo>
                <a:close/>
                <a:moveTo>
                  <a:pt x="659" y="394"/>
                </a:moveTo>
                <a:lnTo>
                  <a:pt x="659" y="394"/>
                </a:lnTo>
                <a:lnTo>
                  <a:pt x="658" y="394"/>
                </a:lnTo>
                <a:lnTo>
                  <a:pt x="658" y="394"/>
                </a:lnTo>
                <a:lnTo>
                  <a:pt x="659" y="394"/>
                </a:lnTo>
                <a:lnTo>
                  <a:pt x="659" y="394"/>
                </a:lnTo>
                <a:close/>
                <a:moveTo>
                  <a:pt x="669" y="371"/>
                </a:moveTo>
                <a:lnTo>
                  <a:pt x="669" y="372"/>
                </a:lnTo>
                <a:lnTo>
                  <a:pt x="668" y="372"/>
                </a:lnTo>
                <a:lnTo>
                  <a:pt x="669" y="372"/>
                </a:lnTo>
                <a:lnTo>
                  <a:pt x="669" y="371"/>
                </a:lnTo>
                <a:lnTo>
                  <a:pt x="669" y="371"/>
                </a:lnTo>
                <a:lnTo>
                  <a:pt x="673" y="373"/>
                </a:lnTo>
                <a:lnTo>
                  <a:pt x="673" y="377"/>
                </a:lnTo>
                <a:lnTo>
                  <a:pt x="673" y="373"/>
                </a:lnTo>
                <a:lnTo>
                  <a:pt x="669" y="371"/>
                </a:lnTo>
                <a:close/>
                <a:moveTo>
                  <a:pt x="665" y="371"/>
                </a:moveTo>
                <a:lnTo>
                  <a:pt x="665" y="370"/>
                </a:lnTo>
                <a:lnTo>
                  <a:pt x="665" y="369"/>
                </a:lnTo>
                <a:lnTo>
                  <a:pt x="675" y="365"/>
                </a:lnTo>
                <a:lnTo>
                  <a:pt x="686" y="364"/>
                </a:lnTo>
                <a:lnTo>
                  <a:pt x="686" y="365"/>
                </a:lnTo>
                <a:lnTo>
                  <a:pt x="686" y="368"/>
                </a:lnTo>
                <a:lnTo>
                  <a:pt x="686" y="370"/>
                </a:lnTo>
                <a:lnTo>
                  <a:pt x="686" y="372"/>
                </a:lnTo>
                <a:lnTo>
                  <a:pt x="686" y="370"/>
                </a:lnTo>
                <a:lnTo>
                  <a:pt x="686" y="368"/>
                </a:lnTo>
                <a:lnTo>
                  <a:pt x="677" y="368"/>
                </a:lnTo>
                <a:lnTo>
                  <a:pt x="669" y="371"/>
                </a:lnTo>
                <a:lnTo>
                  <a:pt x="667" y="371"/>
                </a:lnTo>
                <a:lnTo>
                  <a:pt x="665" y="371"/>
                </a:lnTo>
                <a:lnTo>
                  <a:pt x="663" y="371"/>
                </a:lnTo>
                <a:lnTo>
                  <a:pt x="662" y="370"/>
                </a:lnTo>
                <a:lnTo>
                  <a:pt x="663" y="371"/>
                </a:lnTo>
                <a:lnTo>
                  <a:pt x="665" y="371"/>
                </a:lnTo>
                <a:close/>
                <a:moveTo>
                  <a:pt x="695" y="496"/>
                </a:moveTo>
                <a:lnTo>
                  <a:pt x="696" y="497"/>
                </a:lnTo>
                <a:lnTo>
                  <a:pt x="697" y="498"/>
                </a:lnTo>
                <a:lnTo>
                  <a:pt x="693" y="501"/>
                </a:lnTo>
                <a:lnTo>
                  <a:pt x="688" y="502"/>
                </a:lnTo>
                <a:lnTo>
                  <a:pt x="690" y="497"/>
                </a:lnTo>
                <a:lnTo>
                  <a:pt x="695" y="496"/>
                </a:lnTo>
                <a:close/>
                <a:moveTo>
                  <a:pt x="696" y="427"/>
                </a:moveTo>
                <a:lnTo>
                  <a:pt x="696" y="427"/>
                </a:lnTo>
                <a:lnTo>
                  <a:pt x="696" y="426"/>
                </a:lnTo>
                <a:lnTo>
                  <a:pt x="696" y="427"/>
                </a:lnTo>
                <a:lnTo>
                  <a:pt x="696" y="427"/>
                </a:lnTo>
                <a:close/>
                <a:moveTo>
                  <a:pt x="696" y="426"/>
                </a:moveTo>
                <a:lnTo>
                  <a:pt x="696" y="425"/>
                </a:lnTo>
                <a:lnTo>
                  <a:pt x="696" y="424"/>
                </a:lnTo>
                <a:lnTo>
                  <a:pt x="696" y="422"/>
                </a:lnTo>
                <a:lnTo>
                  <a:pt x="696" y="421"/>
                </a:lnTo>
                <a:lnTo>
                  <a:pt x="696" y="422"/>
                </a:lnTo>
                <a:lnTo>
                  <a:pt x="696" y="424"/>
                </a:lnTo>
                <a:lnTo>
                  <a:pt x="700" y="422"/>
                </a:lnTo>
                <a:lnTo>
                  <a:pt x="701" y="420"/>
                </a:lnTo>
                <a:lnTo>
                  <a:pt x="703" y="419"/>
                </a:lnTo>
                <a:lnTo>
                  <a:pt x="703" y="415"/>
                </a:lnTo>
                <a:lnTo>
                  <a:pt x="707" y="413"/>
                </a:lnTo>
                <a:lnTo>
                  <a:pt x="709" y="415"/>
                </a:lnTo>
                <a:lnTo>
                  <a:pt x="713" y="418"/>
                </a:lnTo>
                <a:lnTo>
                  <a:pt x="716" y="418"/>
                </a:lnTo>
                <a:lnTo>
                  <a:pt x="722" y="419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7" y="424"/>
                </a:lnTo>
                <a:lnTo>
                  <a:pt x="729" y="422"/>
                </a:lnTo>
                <a:lnTo>
                  <a:pt x="729" y="420"/>
                </a:lnTo>
                <a:lnTo>
                  <a:pt x="727" y="412"/>
                </a:lnTo>
                <a:lnTo>
                  <a:pt x="727" y="404"/>
                </a:lnTo>
                <a:lnTo>
                  <a:pt x="731" y="401"/>
                </a:lnTo>
                <a:lnTo>
                  <a:pt x="731" y="398"/>
                </a:lnTo>
                <a:lnTo>
                  <a:pt x="737" y="404"/>
                </a:lnTo>
                <a:lnTo>
                  <a:pt x="737" y="412"/>
                </a:lnTo>
                <a:lnTo>
                  <a:pt x="737" y="414"/>
                </a:lnTo>
                <a:lnTo>
                  <a:pt x="736" y="418"/>
                </a:lnTo>
                <a:lnTo>
                  <a:pt x="735" y="429"/>
                </a:lnTo>
                <a:lnTo>
                  <a:pt x="734" y="441"/>
                </a:lnTo>
                <a:lnTo>
                  <a:pt x="732" y="448"/>
                </a:lnTo>
                <a:lnTo>
                  <a:pt x="735" y="454"/>
                </a:lnTo>
                <a:lnTo>
                  <a:pt x="735" y="457"/>
                </a:lnTo>
                <a:lnTo>
                  <a:pt x="735" y="460"/>
                </a:lnTo>
                <a:lnTo>
                  <a:pt x="734" y="462"/>
                </a:lnTo>
                <a:lnTo>
                  <a:pt x="735" y="464"/>
                </a:lnTo>
                <a:lnTo>
                  <a:pt x="735" y="468"/>
                </a:lnTo>
                <a:lnTo>
                  <a:pt x="734" y="470"/>
                </a:lnTo>
                <a:lnTo>
                  <a:pt x="731" y="473"/>
                </a:lnTo>
                <a:lnTo>
                  <a:pt x="728" y="474"/>
                </a:lnTo>
                <a:lnTo>
                  <a:pt x="725" y="471"/>
                </a:lnTo>
                <a:lnTo>
                  <a:pt x="727" y="468"/>
                </a:lnTo>
                <a:lnTo>
                  <a:pt x="727" y="464"/>
                </a:lnTo>
                <a:lnTo>
                  <a:pt x="727" y="461"/>
                </a:lnTo>
                <a:lnTo>
                  <a:pt x="723" y="450"/>
                </a:lnTo>
                <a:lnTo>
                  <a:pt x="713" y="447"/>
                </a:lnTo>
                <a:lnTo>
                  <a:pt x="708" y="446"/>
                </a:lnTo>
                <a:lnTo>
                  <a:pt x="704" y="442"/>
                </a:lnTo>
                <a:lnTo>
                  <a:pt x="704" y="443"/>
                </a:lnTo>
                <a:lnTo>
                  <a:pt x="704" y="445"/>
                </a:lnTo>
                <a:lnTo>
                  <a:pt x="704" y="443"/>
                </a:lnTo>
                <a:lnTo>
                  <a:pt x="704" y="442"/>
                </a:lnTo>
                <a:lnTo>
                  <a:pt x="703" y="443"/>
                </a:lnTo>
                <a:lnTo>
                  <a:pt x="703" y="446"/>
                </a:lnTo>
                <a:lnTo>
                  <a:pt x="703" y="446"/>
                </a:lnTo>
                <a:lnTo>
                  <a:pt x="700" y="446"/>
                </a:lnTo>
                <a:lnTo>
                  <a:pt x="696" y="445"/>
                </a:lnTo>
                <a:lnTo>
                  <a:pt x="696" y="445"/>
                </a:lnTo>
                <a:lnTo>
                  <a:pt x="696" y="445"/>
                </a:lnTo>
                <a:lnTo>
                  <a:pt x="696" y="442"/>
                </a:lnTo>
                <a:lnTo>
                  <a:pt x="695" y="440"/>
                </a:lnTo>
                <a:lnTo>
                  <a:pt x="700" y="438"/>
                </a:lnTo>
                <a:lnTo>
                  <a:pt x="697" y="434"/>
                </a:lnTo>
                <a:lnTo>
                  <a:pt x="695" y="432"/>
                </a:lnTo>
                <a:lnTo>
                  <a:pt x="695" y="428"/>
                </a:lnTo>
                <a:lnTo>
                  <a:pt x="696" y="428"/>
                </a:lnTo>
                <a:lnTo>
                  <a:pt x="696" y="427"/>
                </a:lnTo>
                <a:lnTo>
                  <a:pt x="696" y="426"/>
                </a:lnTo>
                <a:close/>
                <a:moveTo>
                  <a:pt x="713" y="384"/>
                </a:moveTo>
                <a:lnTo>
                  <a:pt x="711" y="384"/>
                </a:lnTo>
                <a:lnTo>
                  <a:pt x="709" y="385"/>
                </a:lnTo>
                <a:lnTo>
                  <a:pt x="711" y="384"/>
                </a:lnTo>
                <a:lnTo>
                  <a:pt x="713" y="384"/>
                </a:lnTo>
                <a:close/>
                <a:moveTo>
                  <a:pt x="736" y="338"/>
                </a:moveTo>
                <a:lnTo>
                  <a:pt x="737" y="336"/>
                </a:lnTo>
                <a:lnTo>
                  <a:pt x="735" y="334"/>
                </a:lnTo>
                <a:lnTo>
                  <a:pt x="743" y="331"/>
                </a:lnTo>
                <a:lnTo>
                  <a:pt x="751" y="331"/>
                </a:lnTo>
                <a:lnTo>
                  <a:pt x="751" y="333"/>
                </a:lnTo>
                <a:lnTo>
                  <a:pt x="751" y="333"/>
                </a:lnTo>
                <a:lnTo>
                  <a:pt x="750" y="334"/>
                </a:lnTo>
                <a:lnTo>
                  <a:pt x="751" y="336"/>
                </a:lnTo>
                <a:lnTo>
                  <a:pt x="753" y="336"/>
                </a:lnTo>
                <a:lnTo>
                  <a:pt x="755" y="334"/>
                </a:lnTo>
                <a:lnTo>
                  <a:pt x="756" y="334"/>
                </a:lnTo>
                <a:lnTo>
                  <a:pt x="757" y="334"/>
                </a:lnTo>
                <a:lnTo>
                  <a:pt x="757" y="336"/>
                </a:lnTo>
                <a:lnTo>
                  <a:pt x="757" y="338"/>
                </a:lnTo>
                <a:lnTo>
                  <a:pt x="759" y="338"/>
                </a:lnTo>
                <a:lnTo>
                  <a:pt x="763" y="338"/>
                </a:lnTo>
                <a:lnTo>
                  <a:pt x="762" y="336"/>
                </a:lnTo>
                <a:lnTo>
                  <a:pt x="760" y="334"/>
                </a:lnTo>
                <a:lnTo>
                  <a:pt x="762" y="333"/>
                </a:lnTo>
                <a:lnTo>
                  <a:pt x="763" y="333"/>
                </a:lnTo>
                <a:lnTo>
                  <a:pt x="764" y="331"/>
                </a:lnTo>
                <a:lnTo>
                  <a:pt x="766" y="331"/>
                </a:lnTo>
                <a:lnTo>
                  <a:pt x="771" y="326"/>
                </a:lnTo>
                <a:lnTo>
                  <a:pt x="778" y="328"/>
                </a:lnTo>
                <a:lnTo>
                  <a:pt x="782" y="328"/>
                </a:lnTo>
                <a:lnTo>
                  <a:pt x="785" y="328"/>
                </a:lnTo>
                <a:lnTo>
                  <a:pt x="783" y="330"/>
                </a:lnTo>
                <a:lnTo>
                  <a:pt x="780" y="333"/>
                </a:lnTo>
                <a:lnTo>
                  <a:pt x="783" y="334"/>
                </a:lnTo>
                <a:lnTo>
                  <a:pt x="785" y="335"/>
                </a:lnTo>
                <a:lnTo>
                  <a:pt x="783" y="334"/>
                </a:lnTo>
                <a:lnTo>
                  <a:pt x="780" y="333"/>
                </a:lnTo>
                <a:lnTo>
                  <a:pt x="771" y="335"/>
                </a:lnTo>
                <a:lnTo>
                  <a:pt x="763" y="338"/>
                </a:lnTo>
                <a:lnTo>
                  <a:pt x="759" y="338"/>
                </a:lnTo>
                <a:lnTo>
                  <a:pt x="757" y="338"/>
                </a:lnTo>
                <a:lnTo>
                  <a:pt x="745" y="343"/>
                </a:lnTo>
                <a:lnTo>
                  <a:pt x="732" y="343"/>
                </a:lnTo>
                <a:lnTo>
                  <a:pt x="734" y="341"/>
                </a:lnTo>
                <a:lnTo>
                  <a:pt x="735" y="338"/>
                </a:lnTo>
                <a:lnTo>
                  <a:pt x="736" y="338"/>
                </a:lnTo>
                <a:close/>
                <a:moveTo>
                  <a:pt x="742" y="287"/>
                </a:moveTo>
                <a:lnTo>
                  <a:pt x="742" y="291"/>
                </a:lnTo>
                <a:lnTo>
                  <a:pt x="741" y="292"/>
                </a:lnTo>
                <a:lnTo>
                  <a:pt x="739" y="292"/>
                </a:lnTo>
                <a:lnTo>
                  <a:pt x="738" y="291"/>
                </a:lnTo>
                <a:lnTo>
                  <a:pt x="739" y="288"/>
                </a:lnTo>
                <a:lnTo>
                  <a:pt x="742" y="287"/>
                </a:lnTo>
                <a:close/>
                <a:moveTo>
                  <a:pt x="750" y="272"/>
                </a:moveTo>
                <a:lnTo>
                  <a:pt x="753" y="267"/>
                </a:lnTo>
                <a:lnTo>
                  <a:pt x="759" y="267"/>
                </a:lnTo>
                <a:lnTo>
                  <a:pt x="762" y="268"/>
                </a:lnTo>
                <a:lnTo>
                  <a:pt x="762" y="270"/>
                </a:lnTo>
                <a:lnTo>
                  <a:pt x="764" y="273"/>
                </a:lnTo>
                <a:lnTo>
                  <a:pt x="766" y="278"/>
                </a:lnTo>
                <a:lnTo>
                  <a:pt x="768" y="281"/>
                </a:lnTo>
                <a:lnTo>
                  <a:pt x="765" y="286"/>
                </a:lnTo>
                <a:lnTo>
                  <a:pt x="760" y="281"/>
                </a:lnTo>
                <a:lnTo>
                  <a:pt x="755" y="277"/>
                </a:lnTo>
                <a:lnTo>
                  <a:pt x="752" y="277"/>
                </a:lnTo>
                <a:lnTo>
                  <a:pt x="751" y="279"/>
                </a:lnTo>
                <a:lnTo>
                  <a:pt x="746" y="282"/>
                </a:lnTo>
                <a:lnTo>
                  <a:pt x="742" y="287"/>
                </a:lnTo>
                <a:lnTo>
                  <a:pt x="744" y="279"/>
                </a:lnTo>
                <a:lnTo>
                  <a:pt x="750" y="272"/>
                </a:lnTo>
                <a:close/>
                <a:moveTo>
                  <a:pt x="787" y="356"/>
                </a:moveTo>
                <a:lnTo>
                  <a:pt x="787" y="357"/>
                </a:lnTo>
                <a:lnTo>
                  <a:pt x="786" y="357"/>
                </a:lnTo>
                <a:lnTo>
                  <a:pt x="787" y="357"/>
                </a:lnTo>
                <a:lnTo>
                  <a:pt x="787" y="356"/>
                </a:lnTo>
                <a:close/>
                <a:moveTo>
                  <a:pt x="798" y="342"/>
                </a:moveTo>
                <a:lnTo>
                  <a:pt x="796" y="341"/>
                </a:lnTo>
                <a:lnTo>
                  <a:pt x="794" y="338"/>
                </a:lnTo>
                <a:lnTo>
                  <a:pt x="790" y="338"/>
                </a:lnTo>
                <a:lnTo>
                  <a:pt x="787" y="335"/>
                </a:lnTo>
                <a:lnTo>
                  <a:pt x="792" y="334"/>
                </a:lnTo>
                <a:lnTo>
                  <a:pt x="794" y="338"/>
                </a:lnTo>
                <a:lnTo>
                  <a:pt x="796" y="341"/>
                </a:lnTo>
                <a:lnTo>
                  <a:pt x="798" y="342"/>
                </a:lnTo>
                <a:lnTo>
                  <a:pt x="798" y="342"/>
                </a:lnTo>
                <a:close/>
                <a:moveTo>
                  <a:pt x="783" y="351"/>
                </a:moveTo>
                <a:lnTo>
                  <a:pt x="783" y="351"/>
                </a:lnTo>
                <a:lnTo>
                  <a:pt x="783" y="351"/>
                </a:lnTo>
                <a:lnTo>
                  <a:pt x="783" y="351"/>
                </a:lnTo>
                <a:close/>
                <a:moveTo>
                  <a:pt x="801" y="429"/>
                </a:moveTo>
                <a:lnTo>
                  <a:pt x="803" y="427"/>
                </a:lnTo>
                <a:lnTo>
                  <a:pt x="801" y="424"/>
                </a:lnTo>
                <a:lnTo>
                  <a:pt x="798" y="424"/>
                </a:lnTo>
                <a:lnTo>
                  <a:pt x="796" y="424"/>
                </a:lnTo>
                <a:lnTo>
                  <a:pt x="798" y="426"/>
                </a:lnTo>
                <a:lnTo>
                  <a:pt x="800" y="431"/>
                </a:lnTo>
                <a:lnTo>
                  <a:pt x="797" y="432"/>
                </a:lnTo>
                <a:lnTo>
                  <a:pt x="792" y="433"/>
                </a:lnTo>
                <a:lnTo>
                  <a:pt x="792" y="433"/>
                </a:lnTo>
                <a:lnTo>
                  <a:pt x="792" y="429"/>
                </a:lnTo>
                <a:lnTo>
                  <a:pt x="790" y="429"/>
                </a:lnTo>
                <a:lnTo>
                  <a:pt x="784" y="429"/>
                </a:lnTo>
                <a:lnTo>
                  <a:pt x="783" y="425"/>
                </a:lnTo>
                <a:lnTo>
                  <a:pt x="783" y="425"/>
                </a:lnTo>
                <a:lnTo>
                  <a:pt x="783" y="424"/>
                </a:lnTo>
                <a:lnTo>
                  <a:pt x="784" y="420"/>
                </a:lnTo>
                <a:lnTo>
                  <a:pt x="783" y="417"/>
                </a:lnTo>
                <a:lnTo>
                  <a:pt x="783" y="412"/>
                </a:lnTo>
                <a:lnTo>
                  <a:pt x="780" y="408"/>
                </a:lnTo>
                <a:lnTo>
                  <a:pt x="782" y="407"/>
                </a:lnTo>
                <a:lnTo>
                  <a:pt x="783" y="407"/>
                </a:lnTo>
                <a:lnTo>
                  <a:pt x="784" y="403"/>
                </a:lnTo>
                <a:lnTo>
                  <a:pt x="783" y="397"/>
                </a:lnTo>
                <a:lnTo>
                  <a:pt x="783" y="393"/>
                </a:lnTo>
                <a:lnTo>
                  <a:pt x="784" y="390"/>
                </a:lnTo>
                <a:lnTo>
                  <a:pt x="785" y="385"/>
                </a:lnTo>
                <a:lnTo>
                  <a:pt x="789" y="383"/>
                </a:lnTo>
                <a:lnTo>
                  <a:pt x="792" y="385"/>
                </a:lnTo>
                <a:lnTo>
                  <a:pt x="792" y="391"/>
                </a:lnTo>
                <a:lnTo>
                  <a:pt x="792" y="403"/>
                </a:lnTo>
                <a:lnTo>
                  <a:pt x="792" y="415"/>
                </a:lnTo>
                <a:lnTo>
                  <a:pt x="793" y="420"/>
                </a:lnTo>
                <a:lnTo>
                  <a:pt x="798" y="420"/>
                </a:lnTo>
                <a:lnTo>
                  <a:pt x="798" y="418"/>
                </a:lnTo>
                <a:lnTo>
                  <a:pt x="797" y="415"/>
                </a:lnTo>
                <a:lnTo>
                  <a:pt x="798" y="418"/>
                </a:lnTo>
                <a:lnTo>
                  <a:pt x="798" y="420"/>
                </a:lnTo>
                <a:lnTo>
                  <a:pt x="799" y="422"/>
                </a:lnTo>
                <a:lnTo>
                  <a:pt x="801" y="421"/>
                </a:lnTo>
                <a:lnTo>
                  <a:pt x="804" y="421"/>
                </a:lnTo>
                <a:lnTo>
                  <a:pt x="806" y="420"/>
                </a:lnTo>
                <a:lnTo>
                  <a:pt x="806" y="421"/>
                </a:lnTo>
                <a:lnTo>
                  <a:pt x="806" y="424"/>
                </a:lnTo>
                <a:lnTo>
                  <a:pt x="804" y="424"/>
                </a:lnTo>
                <a:lnTo>
                  <a:pt x="801" y="424"/>
                </a:lnTo>
                <a:lnTo>
                  <a:pt x="803" y="427"/>
                </a:lnTo>
                <a:lnTo>
                  <a:pt x="801" y="429"/>
                </a:lnTo>
                <a:close/>
                <a:moveTo>
                  <a:pt x="791" y="450"/>
                </a:moveTo>
                <a:lnTo>
                  <a:pt x="791" y="455"/>
                </a:lnTo>
                <a:lnTo>
                  <a:pt x="787" y="459"/>
                </a:lnTo>
                <a:lnTo>
                  <a:pt x="784" y="454"/>
                </a:lnTo>
                <a:lnTo>
                  <a:pt x="783" y="449"/>
                </a:lnTo>
                <a:lnTo>
                  <a:pt x="783" y="446"/>
                </a:lnTo>
                <a:lnTo>
                  <a:pt x="783" y="442"/>
                </a:lnTo>
                <a:lnTo>
                  <a:pt x="777" y="434"/>
                </a:lnTo>
                <a:lnTo>
                  <a:pt x="768" y="434"/>
                </a:lnTo>
                <a:lnTo>
                  <a:pt x="764" y="431"/>
                </a:lnTo>
                <a:lnTo>
                  <a:pt x="760" y="428"/>
                </a:lnTo>
                <a:lnTo>
                  <a:pt x="758" y="432"/>
                </a:lnTo>
                <a:lnTo>
                  <a:pt x="757" y="434"/>
                </a:lnTo>
                <a:lnTo>
                  <a:pt x="753" y="436"/>
                </a:lnTo>
                <a:lnTo>
                  <a:pt x="752" y="433"/>
                </a:lnTo>
                <a:lnTo>
                  <a:pt x="751" y="429"/>
                </a:lnTo>
                <a:lnTo>
                  <a:pt x="752" y="425"/>
                </a:lnTo>
                <a:lnTo>
                  <a:pt x="758" y="422"/>
                </a:lnTo>
                <a:lnTo>
                  <a:pt x="752" y="419"/>
                </a:lnTo>
                <a:lnTo>
                  <a:pt x="752" y="418"/>
                </a:lnTo>
                <a:lnTo>
                  <a:pt x="752" y="414"/>
                </a:lnTo>
                <a:lnTo>
                  <a:pt x="756" y="414"/>
                </a:lnTo>
                <a:lnTo>
                  <a:pt x="758" y="412"/>
                </a:lnTo>
                <a:lnTo>
                  <a:pt x="756" y="410"/>
                </a:lnTo>
                <a:lnTo>
                  <a:pt x="752" y="410"/>
                </a:lnTo>
                <a:lnTo>
                  <a:pt x="749" y="412"/>
                </a:lnTo>
                <a:lnTo>
                  <a:pt x="746" y="414"/>
                </a:lnTo>
                <a:lnTo>
                  <a:pt x="746" y="414"/>
                </a:lnTo>
                <a:lnTo>
                  <a:pt x="745" y="414"/>
                </a:lnTo>
                <a:lnTo>
                  <a:pt x="746" y="414"/>
                </a:lnTo>
                <a:lnTo>
                  <a:pt x="746" y="414"/>
                </a:lnTo>
                <a:lnTo>
                  <a:pt x="749" y="412"/>
                </a:lnTo>
                <a:lnTo>
                  <a:pt x="752" y="410"/>
                </a:lnTo>
                <a:lnTo>
                  <a:pt x="757" y="405"/>
                </a:lnTo>
                <a:lnTo>
                  <a:pt x="760" y="399"/>
                </a:lnTo>
                <a:lnTo>
                  <a:pt x="760" y="399"/>
                </a:lnTo>
                <a:lnTo>
                  <a:pt x="764" y="403"/>
                </a:lnTo>
                <a:lnTo>
                  <a:pt x="766" y="407"/>
                </a:lnTo>
                <a:lnTo>
                  <a:pt x="764" y="410"/>
                </a:lnTo>
                <a:lnTo>
                  <a:pt x="765" y="413"/>
                </a:lnTo>
                <a:lnTo>
                  <a:pt x="769" y="413"/>
                </a:lnTo>
                <a:lnTo>
                  <a:pt x="772" y="410"/>
                </a:lnTo>
                <a:lnTo>
                  <a:pt x="770" y="414"/>
                </a:lnTo>
                <a:lnTo>
                  <a:pt x="766" y="419"/>
                </a:lnTo>
                <a:lnTo>
                  <a:pt x="771" y="421"/>
                </a:lnTo>
                <a:lnTo>
                  <a:pt x="769" y="425"/>
                </a:lnTo>
                <a:lnTo>
                  <a:pt x="769" y="426"/>
                </a:lnTo>
                <a:lnTo>
                  <a:pt x="769" y="427"/>
                </a:lnTo>
                <a:lnTo>
                  <a:pt x="770" y="428"/>
                </a:lnTo>
                <a:lnTo>
                  <a:pt x="772" y="428"/>
                </a:lnTo>
                <a:lnTo>
                  <a:pt x="776" y="426"/>
                </a:lnTo>
                <a:lnTo>
                  <a:pt x="780" y="425"/>
                </a:lnTo>
                <a:lnTo>
                  <a:pt x="782" y="429"/>
                </a:lnTo>
                <a:lnTo>
                  <a:pt x="784" y="432"/>
                </a:lnTo>
                <a:lnTo>
                  <a:pt x="790" y="438"/>
                </a:lnTo>
                <a:lnTo>
                  <a:pt x="790" y="446"/>
                </a:lnTo>
                <a:lnTo>
                  <a:pt x="790" y="448"/>
                </a:lnTo>
                <a:lnTo>
                  <a:pt x="791" y="450"/>
                </a:lnTo>
                <a:close/>
                <a:moveTo>
                  <a:pt x="796" y="442"/>
                </a:moveTo>
                <a:lnTo>
                  <a:pt x="799" y="450"/>
                </a:lnTo>
                <a:lnTo>
                  <a:pt x="794" y="459"/>
                </a:lnTo>
                <a:lnTo>
                  <a:pt x="793" y="450"/>
                </a:lnTo>
                <a:lnTo>
                  <a:pt x="796" y="442"/>
                </a:lnTo>
                <a:close/>
                <a:moveTo>
                  <a:pt x="794" y="466"/>
                </a:moveTo>
                <a:lnTo>
                  <a:pt x="796" y="463"/>
                </a:lnTo>
                <a:lnTo>
                  <a:pt x="797" y="461"/>
                </a:lnTo>
                <a:lnTo>
                  <a:pt x="798" y="463"/>
                </a:lnTo>
                <a:lnTo>
                  <a:pt x="798" y="466"/>
                </a:lnTo>
                <a:lnTo>
                  <a:pt x="798" y="466"/>
                </a:lnTo>
                <a:lnTo>
                  <a:pt x="798" y="474"/>
                </a:lnTo>
                <a:lnTo>
                  <a:pt x="790" y="477"/>
                </a:lnTo>
                <a:lnTo>
                  <a:pt x="787" y="478"/>
                </a:lnTo>
                <a:lnTo>
                  <a:pt x="784" y="477"/>
                </a:lnTo>
                <a:lnTo>
                  <a:pt x="784" y="474"/>
                </a:lnTo>
                <a:lnTo>
                  <a:pt x="786" y="470"/>
                </a:lnTo>
                <a:lnTo>
                  <a:pt x="790" y="469"/>
                </a:lnTo>
                <a:lnTo>
                  <a:pt x="792" y="473"/>
                </a:lnTo>
                <a:lnTo>
                  <a:pt x="793" y="469"/>
                </a:lnTo>
                <a:lnTo>
                  <a:pt x="794" y="466"/>
                </a:lnTo>
                <a:close/>
                <a:moveTo>
                  <a:pt x="784" y="489"/>
                </a:moveTo>
                <a:lnTo>
                  <a:pt x="784" y="485"/>
                </a:lnTo>
                <a:lnTo>
                  <a:pt x="786" y="484"/>
                </a:lnTo>
                <a:lnTo>
                  <a:pt x="787" y="485"/>
                </a:lnTo>
                <a:lnTo>
                  <a:pt x="787" y="489"/>
                </a:lnTo>
                <a:lnTo>
                  <a:pt x="787" y="490"/>
                </a:lnTo>
                <a:lnTo>
                  <a:pt x="789" y="491"/>
                </a:lnTo>
                <a:lnTo>
                  <a:pt x="787" y="496"/>
                </a:lnTo>
                <a:lnTo>
                  <a:pt x="783" y="497"/>
                </a:lnTo>
                <a:lnTo>
                  <a:pt x="784" y="493"/>
                </a:lnTo>
                <a:lnTo>
                  <a:pt x="784" y="489"/>
                </a:lnTo>
                <a:close/>
                <a:moveTo>
                  <a:pt x="799" y="560"/>
                </a:moveTo>
                <a:lnTo>
                  <a:pt x="799" y="560"/>
                </a:lnTo>
                <a:lnTo>
                  <a:pt x="791" y="556"/>
                </a:lnTo>
                <a:lnTo>
                  <a:pt x="783" y="552"/>
                </a:lnTo>
                <a:lnTo>
                  <a:pt x="782" y="551"/>
                </a:lnTo>
                <a:lnTo>
                  <a:pt x="779" y="551"/>
                </a:lnTo>
                <a:lnTo>
                  <a:pt x="780" y="549"/>
                </a:lnTo>
                <a:lnTo>
                  <a:pt x="780" y="547"/>
                </a:lnTo>
                <a:lnTo>
                  <a:pt x="780" y="547"/>
                </a:lnTo>
                <a:lnTo>
                  <a:pt x="785" y="547"/>
                </a:lnTo>
                <a:lnTo>
                  <a:pt x="787" y="546"/>
                </a:lnTo>
                <a:lnTo>
                  <a:pt x="791" y="546"/>
                </a:lnTo>
                <a:lnTo>
                  <a:pt x="792" y="550"/>
                </a:lnTo>
                <a:lnTo>
                  <a:pt x="792" y="552"/>
                </a:lnTo>
                <a:lnTo>
                  <a:pt x="794" y="552"/>
                </a:lnTo>
                <a:lnTo>
                  <a:pt x="803" y="553"/>
                </a:lnTo>
                <a:lnTo>
                  <a:pt x="799" y="560"/>
                </a:lnTo>
                <a:lnTo>
                  <a:pt x="799" y="560"/>
                </a:lnTo>
                <a:close/>
                <a:moveTo>
                  <a:pt x="790" y="571"/>
                </a:moveTo>
                <a:lnTo>
                  <a:pt x="798" y="572"/>
                </a:lnTo>
                <a:lnTo>
                  <a:pt x="798" y="581"/>
                </a:lnTo>
                <a:lnTo>
                  <a:pt x="793" y="579"/>
                </a:lnTo>
                <a:lnTo>
                  <a:pt x="790" y="575"/>
                </a:lnTo>
                <a:lnTo>
                  <a:pt x="790" y="573"/>
                </a:lnTo>
                <a:lnTo>
                  <a:pt x="790" y="571"/>
                </a:lnTo>
                <a:close/>
                <a:moveTo>
                  <a:pt x="787" y="594"/>
                </a:moveTo>
                <a:lnTo>
                  <a:pt x="791" y="594"/>
                </a:lnTo>
                <a:lnTo>
                  <a:pt x="793" y="593"/>
                </a:lnTo>
                <a:lnTo>
                  <a:pt x="790" y="592"/>
                </a:lnTo>
                <a:lnTo>
                  <a:pt x="787" y="589"/>
                </a:lnTo>
                <a:lnTo>
                  <a:pt x="789" y="587"/>
                </a:lnTo>
                <a:lnTo>
                  <a:pt x="792" y="586"/>
                </a:lnTo>
                <a:lnTo>
                  <a:pt x="794" y="584"/>
                </a:lnTo>
                <a:lnTo>
                  <a:pt x="798" y="584"/>
                </a:lnTo>
                <a:lnTo>
                  <a:pt x="800" y="591"/>
                </a:lnTo>
                <a:lnTo>
                  <a:pt x="793" y="593"/>
                </a:lnTo>
                <a:lnTo>
                  <a:pt x="791" y="594"/>
                </a:lnTo>
                <a:lnTo>
                  <a:pt x="787" y="594"/>
                </a:lnTo>
                <a:close/>
                <a:moveTo>
                  <a:pt x="776" y="669"/>
                </a:moveTo>
                <a:lnTo>
                  <a:pt x="779" y="666"/>
                </a:lnTo>
                <a:lnTo>
                  <a:pt x="783" y="664"/>
                </a:lnTo>
                <a:lnTo>
                  <a:pt x="785" y="664"/>
                </a:lnTo>
                <a:lnTo>
                  <a:pt x="787" y="664"/>
                </a:lnTo>
                <a:lnTo>
                  <a:pt x="787" y="664"/>
                </a:lnTo>
                <a:lnTo>
                  <a:pt x="787" y="669"/>
                </a:lnTo>
                <a:lnTo>
                  <a:pt x="787" y="672"/>
                </a:lnTo>
                <a:lnTo>
                  <a:pt x="787" y="672"/>
                </a:lnTo>
                <a:lnTo>
                  <a:pt x="786" y="672"/>
                </a:lnTo>
                <a:lnTo>
                  <a:pt x="785" y="671"/>
                </a:lnTo>
                <a:lnTo>
                  <a:pt x="783" y="671"/>
                </a:lnTo>
                <a:lnTo>
                  <a:pt x="782" y="671"/>
                </a:lnTo>
                <a:lnTo>
                  <a:pt x="780" y="671"/>
                </a:lnTo>
                <a:lnTo>
                  <a:pt x="780" y="671"/>
                </a:lnTo>
                <a:lnTo>
                  <a:pt x="779" y="672"/>
                </a:lnTo>
                <a:lnTo>
                  <a:pt x="779" y="672"/>
                </a:lnTo>
                <a:lnTo>
                  <a:pt x="776" y="673"/>
                </a:lnTo>
                <a:lnTo>
                  <a:pt x="773" y="671"/>
                </a:lnTo>
                <a:lnTo>
                  <a:pt x="773" y="670"/>
                </a:lnTo>
                <a:lnTo>
                  <a:pt x="776" y="669"/>
                </a:lnTo>
                <a:close/>
                <a:moveTo>
                  <a:pt x="768" y="596"/>
                </a:moveTo>
                <a:lnTo>
                  <a:pt x="771" y="592"/>
                </a:lnTo>
                <a:lnTo>
                  <a:pt x="777" y="592"/>
                </a:lnTo>
                <a:lnTo>
                  <a:pt x="777" y="596"/>
                </a:lnTo>
                <a:lnTo>
                  <a:pt x="772" y="598"/>
                </a:lnTo>
                <a:lnTo>
                  <a:pt x="770" y="598"/>
                </a:lnTo>
                <a:lnTo>
                  <a:pt x="768" y="596"/>
                </a:lnTo>
                <a:close/>
                <a:moveTo>
                  <a:pt x="757" y="484"/>
                </a:moveTo>
                <a:lnTo>
                  <a:pt x="753" y="487"/>
                </a:lnTo>
                <a:lnTo>
                  <a:pt x="749" y="488"/>
                </a:lnTo>
                <a:lnTo>
                  <a:pt x="751" y="483"/>
                </a:lnTo>
                <a:lnTo>
                  <a:pt x="756" y="482"/>
                </a:lnTo>
                <a:lnTo>
                  <a:pt x="757" y="483"/>
                </a:lnTo>
                <a:lnTo>
                  <a:pt x="757" y="484"/>
                </a:lnTo>
                <a:close/>
                <a:moveTo>
                  <a:pt x="762" y="561"/>
                </a:moveTo>
                <a:lnTo>
                  <a:pt x="758" y="566"/>
                </a:lnTo>
                <a:lnTo>
                  <a:pt x="753" y="570"/>
                </a:lnTo>
                <a:lnTo>
                  <a:pt x="752" y="568"/>
                </a:lnTo>
                <a:lnTo>
                  <a:pt x="752" y="567"/>
                </a:lnTo>
                <a:lnTo>
                  <a:pt x="751" y="567"/>
                </a:lnTo>
                <a:lnTo>
                  <a:pt x="750" y="566"/>
                </a:lnTo>
                <a:lnTo>
                  <a:pt x="751" y="567"/>
                </a:lnTo>
                <a:lnTo>
                  <a:pt x="752" y="567"/>
                </a:lnTo>
                <a:lnTo>
                  <a:pt x="756" y="563"/>
                </a:lnTo>
                <a:lnTo>
                  <a:pt x="762" y="561"/>
                </a:lnTo>
                <a:lnTo>
                  <a:pt x="763" y="558"/>
                </a:lnTo>
                <a:lnTo>
                  <a:pt x="765" y="554"/>
                </a:lnTo>
                <a:lnTo>
                  <a:pt x="765" y="559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lnTo>
                  <a:pt x="762" y="561"/>
                </a:lnTo>
                <a:close/>
                <a:moveTo>
                  <a:pt x="772" y="493"/>
                </a:moveTo>
                <a:lnTo>
                  <a:pt x="762" y="500"/>
                </a:lnTo>
                <a:lnTo>
                  <a:pt x="750" y="502"/>
                </a:lnTo>
                <a:lnTo>
                  <a:pt x="755" y="494"/>
                </a:lnTo>
                <a:lnTo>
                  <a:pt x="763" y="494"/>
                </a:lnTo>
                <a:lnTo>
                  <a:pt x="766" y="494"/>
                </a:lnTo>
                <a:lnTo>
                  <a:pt x="772" y="493"/>
                </a:lnTo>
                <a:close/>
                <a:moveTo>
                  <a:pt x="778" y="480"/>
                </a:moveTo>
                <a:lnTo>
                  <a:pt x="775" y="482"/>
                </a:lnTo>
                <a:lnTo>
                  <a:pt x="770" y="483"/>
                </a:lnTo>
                <a:lnTo>
                  <a:pt x="769" y="482"/>
                </a:lnTo>
                <a:lnTo>
                  <a:pt x="768" y="482"/>
                </a:lnTo>
                <a:lnTo>
                  <a:pt x="771" y="478"/>
                </a:lnTo>
                <a:lnTo>
                  <a:pt x="775" y="476"/>
                </a:lnTo>
                <a:lnTo>
                  <a:pt x="777" y="477"/>
                </a:lnTo>
                <a:lnTo>
                  <a:pt x="778" y="480"/>
                </a:lnTo>
                <a:close/>
                <a:moveTo>
                  <a:pt x="783" y="596"/>
                </a:moveTo>
                <a:lnTo>
                  <a:pt x="782" y="598"/>
                </a:lnTo>
                <a:lnTo>
                  <a:pt x="782" y="598"/>
                </a:lnTo>
                <a:lnTo>
                  <a:pt x="782" y="598"/>
                </a:lnTo>
                <a:lnTo>
                  <a:pt x="780" y="596"/>
                </a:lnTo>
                <a:lnTo>
                  <a:pt x="780" y="594"/>
                </a:lnTo>
                <a:lnTo>
                  <a:pt x="779" y="593"/>
                </a:lnTo>
                <a:lnTo>
                  <a:pt x="780" y="594"/>
                </a:lnTo>
                <a:lnTo>
                  <a:pt x="780" y="596"/>
                </a:lnTo>
                <a:lnTo>
                  <a:pt x="782" y="596"/>
                </a:lnTo>
                <a:lnTo>
                  <a:pt x="783" y="596"/>
                </a:lnTo>
                <a:close/>
                <a:moveTo>
                  <a:pt x="776" y="572"/>
                </a:moveTo>
                <a:lnTo>
                  <a:pt x="780" y="568"/>
                </a:lnTo>
                <a:lnTo>
                  <a:pt x="785" y="566"/>
                </a:lnTo>
                <a:lnTo>
                  <a:pt x="787" y="568"/>
                </a:lnTo>
                <a:lnTo>
                  <a:pt x="789" y="571"/>
                </a:lnTo>
                <a:lnTo>
                  <a:pt x="789" y="571"/>
                </a:lnTo>
                <a:lnTo>
                  <a:pt x="790" y="571"/>
                </a:lnTo>
                <a:lnTo>
                  <a:pt x="789" y="571"/>
                </a:lnTo>
                <a:lnTo>
                  <a:pt x="789" y="571"/>
                </a:lnTo>
                <a:lnTo>
                  <a:pt x="783" y="572"/>
                </a:lnTo>
                <a:lnTo>
                  <a:pt x="776" y="572"/>
                </a:lnTo>
                <a:close/>
                <a:moveTo>
                  <a:pt x="741" y="350"/>
                </a:moveTo>
                <a:lnTo>
                  <a:pt x="744" y="349"/>
                </a:lnTo>
                <a:lnTo>
                  <a:pt x="748" y="349"/>
                </a:lnTo>
                <a:lnTo>
                  <a:pt x="757" y="344"/>
                </a:lnTo>
                <a:lnTo>
                  <a:pt x="768" y="341"/>
                </a:lnTo>
                <a:lnTo>
                  <a:pt x="762" y="348"/>
                </a:lnTo>
                <a:lnTo>
                  <a:pt x="752" y="351"/>
                </a:lnTo>
                <a:lnTo>
                  <a:pt x="750" y="349"/>
                </a:lnTo>
                <a:lnTo>
                  <a:pt x="748" y="349"/>
                </a:lnTo>
                <a:lnTo>
                  <a:pt x="744" y="349"/>
                </a:lnTo>
                <a:lnTo>
                  <a:pt x="741" y="350"/>
                </a:lnTo>
                <a:close/>
                <a:moveTo>
                  <a:pt x="744" y="434"/>
                </a:moveTo>
                <a:lnTo>
                  <a:pt x="746" y="435"/>
                </a:lnTo>
                <a:lnTo>
                  <a:pt x="750" y="434"/>
                </a:lnTo>
                <a:lnTo>
                  <a:pt x="749" y="438"/>
                </a:lnTo>
                <a:lnTo>
                  <a:pt x="746" y="439"/>
                </a:lnTo>
                <a:lnTo>
                  <a:pt x="746" y="440"/>
                </a:lnTo>
                <a:lnTo>
                  <a:pt x="745" y="441"/>
                </a:lnTo>
                <a:lnTo>
                  <a:pt x="745" y="443"/>
                </a:lnTo>
                <a:lnTo>
                  <a:pt x="741" y="446"/>
                </a:lnTo>
                <a:lnTo>
                  <a:pt x="737" y="449"/>
                </a:lnTo>
                <a:lnTo>
                  <a:pt x="739" y="441"/>
                </a:lnTo>
                <a:lnTo>
                  <a:pt x="744" y="434"/>
                </a:lnTo>
                <a:close/>
                <a:moveTo>
                  <a:pt x="725" y="482"/>
                </a:moveTo>
                <a:lnTo>
                  <a:pt x="727" y="477"/>
                </a:lnTo>
                <a:lnTo>
                  <a:pt x="731" y="476"/>
                </a:lnTo>
                <a:lnTo>
                  <a:pt x="734" y="478"/>
                </a:lnTo>
                <a:lnTo>
                  <a:pt x="734" y="482"/>
                </a:lnTo>
                <a:lnTo>
                  <a:pt x="734" y="484"/>
                </a:lnTo>
                <a:lnTo>
                  <a:pt x="736" y="485"/>
                </a:lnTo>
                <a:lnTo>
                  <a:pt x="736" y="483"/>
                </a:lnTo>
                <a:lnTo>
                  <a:pt x="737" y="481"/>
                </a:lnTo>
                <a:lnTo>
                  <a:pt x="737" y="477"/>
                </a:lnTo>
                <a:lnTo>
                  <a:pt x="739" y="475"/>
                </a:lnTo>
                <a:lnTo>
                  <a:pt x="742" y="477"/>
                </a:lnTo>
                <a:lnTo>
                  <a:pt x="741" y="481"/>
                </a:lnTo>
                <a:lnTo>
                  <a:pt x="737" y="490"/>
                </a:lnTo>
                <a:lnTo>
                  <a:pt x="729" y="494"/>
                </a:lnTo>
                <a:lnTo>
                  <a:pt x="725" y="494"/>
                </a:lnTo>
                <a:lnTo>
                  <a:pt x="725" y="491"/>
                </a:lnTo>
                <a:lnTo>
                  <a:pt x="725" y="487"/>
                </a:lnTo>
                <a:lnTo>
                  <a:pt x="725" y="482"/>
                </a:lnTo>
                <a:close/>
                <a:moveTo>
                  <a:pt x="732" y="497"/>
                </a:moveTo>
                <a:lnTo>
                  <a:pt x="731" y="503"/>
                </a:lnTo>
                <a:lnTo>
                  <a:pt x="730" y="507"/>
                </a:lnTo>
                <a:lnTo>
                  <a:pt x="728" y="509"/>
                </a:lnTo>
                <a:lnTo>
                  <a:pt x="727" y="511"/>
                </a:lnTo>
                <a:lnTo>
                  <a:pt x="728" y="509"/>
                </a:lnTo>
                <a:lnTo>
                  <a:pt x="730" y="507"/>
                </a:lnTo>
                <a:lnTo>
                  <a:pt x="727" y="507"/>
                </a:lnTo>
                <a:lnTo>
                  <a:pt x="724" y="507"/>
                </a:lnTo>
                <a:lnTo>
                  <a:pt x="724" y="507"/>
                </a:lnTo>
                <a:lnTo>
                  <a:pt x="721" y="505"/>
                </a:lnTo>
                <a:lnTo>
                  <a:pt x="718" y="503"/>
                </a:lnTo>
                <a:lnTo>
                  <a:pt x="724" y="500"/>
                </a:lnTo>
                <a:lnTo>
                  <a:pt x="732" y="497"/>
                </a:lnTo>
                <a:close/>
                <a:moveTo>
                  <a:pt x="707" y="496"/>
                </a:moveTo>
                <a:lnTo>
                  <a:pt x="713" y="493"/>
                </a:lnTo>
                <a:lnTo>
                  <a:pt x="717" y="491"/>
                </a:lnTo>
                <a:lnTo>
                  <a:pt x="718" y="493"/>
                </a:lnTo>
                <a:lnTo>
                  <a:pt x="718" y="494"/>
                </a:lnTo>
                <a:lnTo>
                  <a:pt x="714" y="496"/>
                </a:lnTo>
                <a:lnTo>
                  <a:pt x="707" y="496"/>
                </a:lnTo>
                <a:close/>
                <a:moveTo>
                  <a:pt x="711" y="511"/>
                </a:moveTo>
                <a:lnTo>
                  <a:pt x="709" y="514"/>
                </a:lnTo>
                <a:lnTo>
                  <a:pt x="710" y="516"/>
                </a:lnTo>
                <a:lnTo>
                  <a:pt x="709" y="514"/>
                </a:lnTo>
                <a:lnTo>
                  <a:pt x="711" y="511"/>
                </a:lnTo>
                <a:lnTo>
                  <a:pt x="709" y="509"/>
                </a:lnTo>
                <a:lnTo>
                  <a:pt x="707" y="508"/>
                </a:lnTo>
                <a:lnTo>
                  <a:pt x="710" y="507"/>
                </a:lnTo>
                <a:lnTo>
                  <a:pt x="715" y="507"/>
                </a:lnTo>
                <a:lnTo>
                  <a:pt x="714" y="509"/>
                </a:lnTo>
                <a:lnTo>
                  <a:pt x="714" y="511"/>
                </a:lnTo>
                <a:lnTo>
                  <a:pt x="714" y="511"/>
                </a:lnTo>
                <a:lnTo>
                  <a:pt x="713" y="511"/>
                </a:lnTo>
                <a:lnTo>
                  <a:pt x="711" y="511"/>
                </a:lnTo>
                <a:close/>
                <a:moveTo>
                  <a:pt x="681" y="690"/>
                </a:moveTo>
                <a:lnTo>
                  <a:pt x="686" y="689"/>
                </a:lnTo>
                <a:lnTo>
                  <a:pt x="689" y="689"/>
                </a:lnTo>
                <a:lnTo>
                  <a:pt x="690" y="692"/>
                </a:lnTo>
                <a:lnTo>
                  <a:pt x="689" y="696"/>
                </a:lnTo>
                <a:lnTo>
                  <a:pt x="682" y="696"/>
                </a:lnTo>
                <a:lnTo>
                  <a:pt x="676" y="699"/>
                </a:lnTo>
                <a:lnTo>
                  <a:pt x="677" y="694"/>
                </a:lnTo>
                <a:lnTo>
                  <a:pt x="681" y="690"/>
                </a:lnTo>
                <a:close/>
                <a:moveTo>
                  <a:pt x="677" y="624"/>
                </a:moveTo>
                <a:lnTo>
                  <a:pt x="676" y="624"/>
                </a:lnTo>
                <a:lnTo>
                  <a:pt x="675" y="623"/>
                </a:lnTo>
                <a:lnTo>
                  <a:pt x="676" y="624"/>
                </a:lnTo>
                <a:lnTo>
                  <a:pt x="677" y="624"/>
                </a:lnTo>
                <a:close/>
                <a:moveTo>
                  <a:pt x="690" y="614"/>
                </a:moveTo>
                <a:lnTo>
                  <a:pt x="690" y="616"/>
                </a:lnTo>
                <a:lnTo>
                  <a:pt x="689" y="619"/>
                </a:lnTo>
                <a:lnTo>
                  <a:pt x="689" y="619"/>
                </a:lnTo>
                <a:lnTo>
                  <a:pt x="683" y="621"/>
                </a:lnTo>
                <a:lnTo>
                  <a:pt x="677" y="623"/>
                </a:lnTo>
                <a:lnTo>
                  <a:pt x="676" y="621"/>
                </a:lnTo>
                <a:lnTo>
                  <a:pt x="675" y="619"/>
                </a:lnTo>
                <a:lnTo>
                  <a:pt x="682" y="614"/>
                </a:lnTo>
                <a:lnTo>
                  <a:pt x="690" y="614"/>
                </a:lnTo>
                <a:close/>
                <a:moveTo>
                  <a:pt x="689" y="600"/>
                </a:moveTo>
                <a:lnTo>
                  <a:pt x="684" y="603"/>
                </a:lnTo>
                <a:lnTo>
                  <a:pt x="679" y="603"/>
                </a:lnTo>
                <a:lnTo>
                  <a:pt x="683" y="600"/>
                </a:lnTo>
                <a:lnTo>
                  <a:pt x="689" y="600"/>
                </a:lnTo>
                <a:close/>
                <a:moveTo>
                  <a:pt x="684" y="490"/>
                </a:moveTo>
                <a:lnTo>
                  <a:pt x="684" y="495"/>
                </a:lnTo>
                <a:lnTo>
                  <a:pt x="681" y="498"/>
                </a:lnTo>
                <a:lnTo>
                  <a:pt x="681" y="494"/>
                </a:lnTo>
                <a:lnTo>
                  <a:pt x="682" y="490"/>
                </a:lnTo>
                <a:lnTo>
                  <a:pt x="683" y="490"/>
                </a:lnTo>
                <a:lnTo>
                  <a:pt x="684" y="490"/>
                </a:lnTo>
                <a:close/>
                <a:moveTo>
                  <a:pt x="661" y="612"/>
                </a:moveTo>
                <a:lnTo>
                  <a:pt x="660" y="608"/>
                </a:lnTo>
                <a:lnTo>
                  <a:pt x="660" y="603"/>
                </a:lnTo>
                <a:lnTo>
                  <a:pt x="665" y="605"/>
                </a:lnTo>
                <a:lnTo>
                  <a:pt x="670" y="607"/>
                </a:lnTo>
                <a:lnTo>
                  <a:pt x="666" y="610"/>
                </a:lnTo>
                <a:lnTo>
                  <a:pt x="661" y="612"/>
                </a:lnTo>
                <a:close/>
                <a:moveTo>
                  <a:pt x="644" y="619"/>
                </a:moveTo>
                <a:lnTo>
                  <a:pt x="642" y="619"/>
                </a:lnTo>
                <a:lnTo>
                  <a:pt x="642" y="619"/>
                </a:lnTo>
                <a:lnTo>
                  <a:pt x="642" y="619"/>
                </a:lnTo>
                <a:lnTo>
                  <a:pt x="644" y="619"/>
                </a:lnTo>
                <a:close/>
                <a:moveTo>
                  <a:pt x="642" y="616"/>
                </a:moveTo>
                <a:lnTo>
                  <a:pt x="642" y="616"/>
                </a:lnTo>
                <a:lnTo>
                  <a:pt x="642" y="617"/>
                </a:lnTo>
                <a:lnTo>
                  <a:pt x="642" y="616"/>
                </a:lnTo>
                <a:lnTo>
                  <a:pt x="642" y="616"/>
                </a:lnTo>
                <a:lnTo>
                  <a:pt x="639" y="616"/>
                </a:lnTo>
                <a:lnTo>
                  <a:pt x="637" y="613"/>
                </a:lnTo>
                <a:lnTo>
                  <a:pt x="645" y="608"/>
                </a:lnTo>
                <a:lnTo>
                  <a:pt x="652" y="601"/>
                </a:lnTo>
                <a:lnTo>
                  <a:pt x="656" y="599"/>
                </a:lnTo>
                <a:lnTo>
                  <a:pt x="660" y="603"/>
                </a:lnTo>
                <a:lnTo>
                  <a:pt x="651" y="608"/>
                </a:lnTo>
                <a:lnTo>
                  <a:pt x="642" y="616"/>
                </a:lnTo>
                <a:close/>
                <a:moveTo>
                  <a:pt x="653" y="711"/>
                </a:moveTo>
                <a:lnTo>
                  <a:pt x="652" y="712"/>
                </a:lnTo>
                <a:lnTo>
                  <a:pt x="651" y="714"/>
                </a:lnTo>
                <a:lnTo>
                  <a:pt x="652" y="712"/>
                </a:lnTo>
                <a:lnTo>
                  <a:pt x="653" y="711"/>
                </a:lnTo>
                <a:lnTo>
                  <a:pt x="653" y="711"/>
                </a:lnTo>
                <a:close/>
                <a:moveTo>
                  <a:pt x="634" y="623"/>
                </a:moveTo>
                <a:lnTo>
                  <a:pt x="645" y="623"/>
                </a:lnTo>
                <a:lnTo>
                  <a:pt x="655" y="622"/>
                </a:lnTo>
                <a:lnTo>
                  <a:pt x="661" y="621"/>
                </a:lnTo>
                <a:lnTo>
                  <a:pt x="667" y="619"/>
                </a:lnTo>
                <a:lnTo>
                  <a:pt x="666" y="623"/>
                </a:lnTo>
                <a:lnTo>
                  <a:pt x="665" y="627"/>
                </a:lnTo>
                <a:lnTo>
                  <a:pt x="665" y="627"/>
                </a:lnTo>
                <a:lnTo>
                  <a:pt x="663" y="627"/>
                </a:lnTo>
                <a:lnTo>
                  <a:pt x="663" y="626"/>
                </a:lnTo>
                <a:lnTo>
                  <a:pt x="661" y="624"/>
                </a:lnTo>
                <a:lnTo>
                  <a:pt x="660" y="626"/>
                </a:lnTo>
                <a:lnTo>
                  <a:pt x="660" y="627"/>
                </a:lnTo>
                <a:lnTo>
                  <a:pt x="658" y="627"/>
                </a:lnTo>
                <a:lnTo>
                  <a:pt x="655" y="627"/>
                </a:lnTo>
                <a:lnTo>
                  <a:pt x="655" y="624"/>
                </a:lnTo>
                <a:lnTo>
                  <a:pt x="655" y="622"/>
                </a:lnTo>
                <a:lnTo>
                  <a:pt x="645" y="623"/>
                </a:lnTo>
                <a:lnTo>
                  <a:pt x="634" y="623"/>
                </a:lnTo>
                <a:close/>
                <a:moveTo>
                  <a:pt x="673" y="518"/>
                </a:moveTo>
                <a:lnTo>
                  <a:pt x="668" y="519"/>
                </a:lnTo>
                <a:lnTo>
                  <a:pt x="667" y="516"/>
                </a:lnTo>
                <a:lnTo>
                  <a:pt x="668" y="505"/>
                </a:lnTo>
                <a:lnTo>
                  <a:pt x="669" y="495"/>
                </a:lnTo>
                <a:lnTo>
                  <a:pt x="670" y="491"/>
                </a:lnTo>
                <a:lnTo>
                  <a:pt x="674" y="490"/>
                </a:lnTo>
                <a:lnTo>
                  <a:pt x="676" y="493"/>
                </a:lnTo>
                <a:lnTo>
                  <a:pt x="676" y="495"/>
                </a:lnTo>
                <a:lnTo>
                  <a:pt x="679" y="507"/>
                </a:lnTo>
                <a:lnTo>
                  <a:pt x="688" y="512"/>
                </a:lnTo>
                <a:lnTo>
                  <a:pt x="693" y="516"/>
                </a:lnTo>
                <a:lnTo>
                  <a:pt x="690" y="522"/>
                </a:lnTo>
                <a:lnTo>
                  <a:pt x="688" y="524"/>
                </a:lnTo>
                <a:lnTo>
                  <a:pt x="687" y="526"/>
                </a:lnTo>
                <a:lnTo>
                  <a:pt x="681" y="518"/>
                </a:lnTo>
                <a:lnTo>
                  <a:pt x="673" y="518"/>
                </a:lnTo>
                <a:close/>
                <a:moveTo>
                  <a:pt x="674" y="622"/>
                </a:moveTo>
                <a:lnTo>
                  <a:pt x="674" y="622"/>
                </a:lnTo>
                <a:lnTo>
                  <a:pt x="674" y="621"/>
                </a:lnTo>
                <a:lnTo>
                  <a:pt x="674" y="622"/>
                </a:lnTo>
                <a:lnTo>
                  <a:pt x="674" y="622"/>
                </a:lnTo>
                <a:close/>
                <a:moveTo>
                  <a:pt x="672" y="617"/>
                </a:moveTo>
                <a:lnTo>
                  <a:pt x="674" y="617"/>
                </a:lnTo>
                <a:lnTo>
                  <a:pt x="675" y="619"/>
                </a:lnTo>
                <a:lnTo>
                  <a:pt x="674" y="617"/>
                </a:lnTo>
                <a:lnTo>
                  <a:pt x="672" y="617"/>
                </a:lnTo>
                <a:close/>
                <a:moveTo>
                  <a:pt x="696" y="647"/>
                </a:moveTo>
                <a:lnTo>
                  <a:pt x="695" y="648"/>
                </a:lnTo>
                <a:lnTo>
                  <a:pt x="695" y="648"/>
                </a:lnTo>
                <a:lnTo>
                  <a:pt x="695" y="648"/>
                </a:lnTo>
                <a:lnTo>
                  <a:pt x="696" y="647"/>
                </a:lnTo>
                <a:close/>
                <a:moveTo>
                  <a:pt x="701" y="627"/>
                </a:move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lnTo>
                  <a:pt x="701" y="627"/>
                </a:lnTo>
                <a:close/>
                <a:moveTo>
                  <a:pt x="711" y="613"/>
                </a:moveTo>
                <a:lnTo>
                  <a:pt x="710" y="614"/>
                </a:lnTo>
                <a:lnTo>
                  <a:pt x="710" y="614"/>
                </a:lnTo>
                <a:lnTo>
                  <a:pt x="710" y="614"/>
                </a:lnTo>
                <a:lnTo>
                  <a:pt x="711" y="613"/>
                </a:lnTo>
                <a:close/>
                <a:moveTo>
                  <a:pt x="711" y="613"/>
                </a:moveTo>
                <a:lnTo>
                  <a:pt x="706" y="613"/>
                </a:lnTo>
                <a:lnTo>
                  <a:pt x="702" y="616"/>
                </a:lnTo>
                <a:lnTo>
                  <a:pt x="701" y="616"/>
                </a:lnTo>
                <a:lnTo>
                  <a:pt x="700" y="616"/>
                </a:lnTo>
                <a:lnTo>
                  <a:pt x="699" y="614"/>
                </a:lnTo>
                <a:lnTo>
                  <a:pt x="697" y="612"/>
                </a:lnTo>
                <a:lnTo>
                  <a:pt x="696" y="612"/>
                </a:lnTo>
                <a:lnTo>
                  <a:pt x="694" y="612"/>
                </a:lnTo>
                <a:lnTo>
                  <a:pt x="696" y="612"/>
                </a:lnTo>
                <a:lnTo>
                  <a:pt x="697" y="612"/>
                </a:lnTo>
                <a:lnTo>
                  <a:pt x="701" y="609"/>
                </a:lnTo>
                <a:lnTo>
                  <a:pt x="697" y="607"/>
                </a:lnTo>
                <a:lnTo>
                  <a:pt x="694" y="607"/>
                </a:lnTo>
                <a:lnTo>
                  <a:pt x="689" y="608"/>
                </a:lnTo>
                <a:lnTo>
                  <a:pt x="694" y="607"/>
                </a:lnTo>
                <a:lnTo>
                  <a:pt x="697" y="607"/>
                </a:lnTo>
                <a:lnTo>
                  <a:pt x="700" y="602"/>
                </a:lnTo>
                <a:lnTo>
                  <a:pt x="704" y="600"/>
                </a:lnTo>
                <a:lnTo>
                  <a:pt x="699" y="596"/>
                </a:lnTo>
                <a:lnTo>
                  <a:pt x="693" y="596"/>
                </a:lnTo>
                <a:lnTo>
                  <a:pt x="690" y="596"/>
                </a:lnTo>
                <a:lnTo>
                  <a:pt x="690" y="595"/>
                </a:lnTo>
                <a:lnTo>
                  <a:pt x="690" y="594"/>
                </a:lnTo>
                <a:lnTo>
                  <a:pt x="692" y="592"/>
                </a:lnTo>
                <a:lnTo>
                  <a:pt x="695" y="588"/>
                </a:lnTo>
                <a:lnTo>
                  <a:pt x="697" y="582"/>
                </a:lnTo>
                <a:lnTo>
                  <a:pt x="697" y="578"/>
                </a:lnTo>
                <a:lnTo>
                  <a:pt x="701" y="573"/>
                </a:lnTo>
                <a:lnTo>
                  <a:pt x="704" y="579"/>
                </a:lnTo>
                <a:lnTo>
                  <a:pt x="706" y="586"/>
                </a:lnTo>
                <a:lnTo>
                  <a:pt x="706" y="592"/>
                </a:lnTo>
                <a:lnTo>
                  <a:pt x="710" y="593"/>
                </a:lnTo>
                <a:lnTo>
                  <a:pt x="709" y="596"/>
                </a:lnTo>
                <a:lnTo>
                  <a:pt x="707" y="598"/>
                </a:lnTo>
                <a:lnTo>
                  <a:pt x="704" y="605"/>
                </a:lnTo>
                <a:lnTo>
                  <a:pt x="713" y="608"/>
                </a:lnTo>
                <a:lnTo>
                  <a:pt x="711" y="610"/>
                </a:lnTo>
                <a:lnTo>
                  <a:pt x="711" y="613"/>
                </a:lnTo>
                <a:close/>
                <a:moveTo>
                  <a:pt x="727" y="620"/>
                </a:moveTo>
                <a:lnTo>
                  <a:pt x="725" y="615"/>
                </a:lnTo>
                <a:lnTo>
                  <a:pt x="724" y="612"/>
                </a:lnTo>
                <a:lnTo>
                  <a:pt x="723" y="612"/>
                </a:lnTo>
                <a:lnTo>
                  <a:pt x="722" y="612"/>
                </a:lnTo>
                <a:lnTo>
                  <a:pt x="722" y="614"/>
                </a:lnTo>
                <a:lnTo>
                  <a:pt x="721" y="615"/>
                </a:lnTo>
                <a:lnTo>
                  <a:pt x="722" y="614"/>
                </a:lnTo>
                <a:lnTo>
                  <a:pt x="722" y="612"/>
                </a:lnTo>
                <a:lnTo>
                  <a:pt x="720" y="609"/>
                </a:lnTo>
                <a:lnTo>
                  <a:pt x="720" y="607"/>
                </a:lnTo>
                <a:lnTo>
                  <a:pt x="728" y="602"/>
                </a:lnTo>
                <a:lnTo>
                  <a:pt x="736" y="602"/>
                </a:lnTo>
                <a:lnTo>
                  <a:pt x="730" y="607"/>
                </a:lnTo>
                <a:lnTo>
                  <a:pt x="724" y="612"/>
                </a:lnTo>
                <a:lnTo>
                  <a:pt x="725" y="615"/>
                </a:lnTo>
                <a:lnTo>
                  <a:pt x="727" y="620"/>
                </a:lnTo>
                <a:close/>
                <a:moveTo>
                  <a:pt x="742" y="587"/>
                </a:moveTo>
                <a:lnTo>
                  <a:pt x="741" y="588"/>
                </a:lnTo>
                <a:lnTo>
                  <a:pt x="741" y="588"/>
                </a:lnTo>
                <a:lnTo>
                  <a:pt x="741" y="588"/>
                </a:lnTo>
                <a:lnTo>
                  <a:pt x="742" y="587"/>
                </a:lnTo>
                <a:close/>
                <a:moveTo>
                  <a:pt x="736" y="587"/>
                </a:moveTo>
                <a:lnTo>
                  <a:pt x="736" y="585"/>
                </a:lnTo>
                <a:lnTo>
                  <a:pt x="734" y="585"/>
                </a:lnTo>
                <a:lnTo>
                  <a:pt x="731" y="588"/>
                </a:lnTo>
                <a:lnTo>
                  <a:pt x="727" y="588"/>
                </a:lnTo>
                <a:lnTo>
                  <a:pt x="731" y="588"/>
                </a:lnTo>
                <a:lnTo>
                  <a:pt x="734" y="585"/>
                </a:lnTo>
                <a:lnTo>
                  <a:pt x="736" y="575"/>
                </a:lnTo>
                <a:lnTo>
                  <a:pt x="735" y="567"/>
                </a:lnTo>
                <a:lnTo>
                  <a:pt x="737" y="565"/>
                </a:lnTo>
                <a:lnTo>
                  <a:pt x="738" y="563"/>
                </a:lnTo>
                <a:lnTo>
                  <a:pt x="739" y="563"/>
                </a:lnTo>
                <a:lnTo>
                  <a:pt x="739" y="563"/>
                </a:lnTo>
                <a:lnTo>
                  <a:pt x="741" y="563"/>
                </a:lnTo>
                <a:lnTo>
                  <a:pt x="741" y="563"/>
                </a:lnTo>
                <a:lnTo>
                  <a:pt x="741" y="563"/>
                </a:lnTo>
                <a:lnTo>
                  <a:pt x="743" y="573"/>
                </a:lnTo>
                <a:lnTo>
                  <a:pt x="748" y="582"/>
                </a:lnTo>
                <a:lnTo>
                  <a:pt x="743" y="582"/>
                </a:lnTo>
                <a:lnTo>
                  <a:pt x="742" y="587"/>
                </a:lnTo>
                <a:lnTo>
                  <a:pt x="738" y="591"/>
                </a:lnTo>
                <a:lnTo>
                  <a:pt x="736" y="587"/>
                </a:lnTo>
                <a:close/>
                <a:moveTo>
                  <a:pt x="758" y="608"/>
                </a:moveTo>
                <a:lnTo>
                  <a:pt x="756" y="607"/>
                </a:lnTo>
                <a:lnTo>
                  <a:pt x="755" y="605"/>
                </a:lnTo>
                <a:lnTo>
                  <a:pt x="751" y="602"/>
                </a:lnTo>
                <a:lnTo>
                  <a:pt x="748" y="602"/>
                </a:lnTo>
                <a:lnTo>
                  <a:pt x="744" y="602"/>
                </a:lnTo>
                <a:lnTo>
                  <a:pt x="742" y="599"/>
                </a:lnTo>
                <a:lnTo>
                  <a:pt x="750" y="598"/>
                </a:lnTo>
                <a:lnTo>
                  <a:pt x="758" y="595"/>
                </a:lnTo>
                <a:lnTo>
                  <a:pt x="759" y="599"/>
                </a:lnTo>
                <a:lnTo>
                  <a:pt x="759" y="603"/>
                </a:lnTo>
                <a:lnTo>
                  <a:pt x="759" y="606"/>
                </a:lnTo>
                <a:lnTo>
                  <a:pt x="758" y="608"/>
                </a:lnTo>
                <a:close/>
                <a:moveTo>
                  <a:pt x="768" y="686"/>
                </a:moveTo>
                <a:lnTo>
                  <a:pt x="765" y="684"/>
                </a:lnTo>
                <a:lnTo>
                  <a:pt x="766" y="679"/>
                </a:lnTo>
                <a:lnTo>
                  <a:pt x="768" y="683"/>
                </a:lnTo>
                <a:lnTo>
                  <a:pt x="768" y="686"/>
                </a:lnTo>
                <a:close/>
                <a:moveTo>
                  <a:pt x="762" y="587"/>
                </a:moveTo>
                <a:lnTo>
                  <a:pt x="755" y="588"/>
                </a:lnTo>
                <a:lnTo>
                  <a:pt x="749" y="584"/>
                </a:lnTo>
                <a:lnTo>
                  <a:pt x="752" y="582"/>
                </a:lnTo>
                <a:lnTo>
                  <a:pt x="756" y="581"/>
                </a:lnTo>
                <a:lnTo>
                  <a:pt x="759" y="584"/>
                </a:lnTo>
                <a:lnTo>
                  <a:pt x="762" y="587"/>
                </a:lnTo>
                <a:lnTo>
                  <a:pt x="766" y="584"/>
                </a:lnTo>
                <a:lnTo>
                  <a:pt x="771" y="581"/>
                </a:lnTo>
                <a:lnTo>
                  <a:pt x="766" y="584"/>
                </a:lnTo>
                <a:lnTo>
                  <a:pt x="762" y="587"/>
                </a:lnTo>
                <a:close/>
                <a:moveTo>
                  <a:pt x="791" y="288"/>
                </a:moveTo>
                <a:lnTo>
                  <a:pt x="790" y="291"/>
                </a:lnTo>
                <a:lnTo>
                  <a:pt x="789" y="292"/>
                </a:lnTo>
                <a:lnTo>
                  <a:pt x="785" y="294"/>
                </a:lnTo>
                <a:lnTo>
                  <a:pt x="786" y="300"/>
                </a:lnTo>
                <a:lnTo>
                  <a:pt x="787" y="305"/>
                </a:lnTo>
                <a:lnTo>
                  <a:pt x="792" y="308"/>
                </a:lnTo>
                <a:lnTo>
                  <a:pt x="792" y="308"/>
                </a:lnTo>
                <a:lnTo>
                  <a:pt x="793" y="308"/>
                </a:lnTo>
                <a:lnTo>
                  <a:pt x="797" y="316"/>
                </a:lnTo>
                <a:lnTo>
                  <a:pt x="806" y="319"/>
                </a:lnTo>
                <a:lnTo>
                  <a:pt x="806" y="319"/>
                </a:lnTo>
                <a:lnTo>
                  <a:pt x="806" y="320"/>
                </a:lnTo>
                <a:lnTo>
                  <a:pt x="807" y="320"/>
                </a:lnTo>
                <a:lnTo>
                  <a:pt x="807" y="321"/>
                </a:lnTo>
                <a:lnTo>
                  <a:pt x="807" y="320"/>
                </a:lnTo>
                <a:lnTo>
                  <a:pt x="807" y="320"/>
                </a:lnTo>
                <a:lnTo>
                  <a:pt x="815" y="317"/>
                </a:lnTo>
                <a:lnTo>
                  <a:pt x="815" y="310"/>
                </a:lnTo>
                <a:lnTo>
                  <a:pt x="825" y="308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4" y="312"/>
                </a:lnTo>
                <a:lnTo>
                  <a:pt x="837" y="312"/>
                </a:lnTo>
                <a:lnTo>
                  <a:pt x="839" y="312"/>
                </a:lnTo>
                <a:lnTo>
                  <a:pt x="839" y="314"/>
                </a:lnTo>
                <a:lnTo>
                  <a:pt x="839" y="316"/>
                </a:lnTo>
                <a:lnTo>
                  <a:pt x="839" y="316"/>
                </a:lnTo>
                <a:lnTo>
                  <a:pt x="838" y="316"/>
                </a:lnTo>
                <a:lnTo>
                  <a:pt x="837" y="317"/>
                </a:lnTo>
                <a:lnTo>
                  <a:pt x="835" y="317"/>
                </a:lnTo>
                <a:lnTo>
                  <a:pt x="834" y="319"/>
                </a:lnTo>
                <a:lnTo>
                  <a:pt x="827" y="316"/>
                </a:lnTo>
                <a:lnTo>
                  <a:pt x="822" y="321"/>
                </a:lnTo>
                <a:lnTo>
                  <a:pt x="821" y="322"/>
                </a:lnTo>
                <a:lnTo>
                  <a:pt x="819" y="322"/>
                </a:lnTo>
                <a:lnTo>
                  <a:pt x="811" y="323"/>
                </a:lnTo>
                <a:lnTo>
                  <a:pt x="804" y="328"/>
                </a:lnTo>
                <a:lnTo>
                  <a:pt x="805" y="328"/>
                </a:lnTo>
                <a:lnTo>
                  <a:pt x="806" y="329"/>
                </a:lnTo>
                <a:lnTo>
                  <a:pt x="814" y="329"/>
                </a:lnTo>
                <a:lnTo>
                  <a:pt x="822" y="327"/>
                </a:lnTo>
                <a:lnTo>
                  <a:pt x="820" y="330"/>
                </a:lnTo>
                <a:lnTo>
                  <a:pt x="818" y="333"/>
                </a:lnTo>
                <a:lnTo>
                  <a:pt x="819" y="336"/>
                </a:lnTo>
                <a:lnTo>
                  <a:pt x="820" y="340"/>
                </a:lnTo>
                <a:lnTo>
                  <a:pt x="819" y="336"/>
                </a:lnTo>
                <a:lnTo>
                  <a:pt x="818" y="333"/>
                </a:lnTo>
                <a:lnTo>
                  <a:pt x="810" y="335"/>
                </a:lnTo>
                <a:lnTo>
                  <a:pt x="801" y="338"/>
                </a:lnTo>
                <a:lnTo>
                  <a:pt x="803" y="334"/>
                </a:lnTo>
                <a:lnTo>
                  <a:pt x="806" y="329"/>
                </a:lnTo>
                <a:lnTo>
                  <a:pt x="805" y="328"/>
                </a:lnTo>
                <a:lnTo>
                  <a:pt x="804" y="328"/>
                </a:lnTo>
                <a:lnTo>
                  <a:pt x="800" y="323"/>
                </a:lnTo>
                <a:lnTo>
                  <a:pt x="796" y="328"/>
                </a:lnTo>
                <a:lnTo>
                  <a:pt x="793" y="330"/>
                </a:lnTo>
                <a:lnTo>
                  <a:pt x="790" y="329"/>
                </a:lnTo>
                <a:lnTo>
                  <a:pt x="789" y="327"/>
                </a:lnTo>
                <a:lnTo>
                  <a:pt x="792" y="326"/>
                </a:lnTo>
                <a:lnTo>
                  <a:pt x="793" y="322"/>
                </a:lnTo>
                <a:lnTo>
                  <a:pt x="790" y="321"/>
                </a:lnTo>
                <a:lnTo>
                  <a:pt x="789" y="319"/>
                </a:lnTo>
                <a:lnTo>
                  <a:pt x="787" y="316"/>
                </a:lnTo>
                <a:lnTo>
                  <a:pt x="790" y="315"/>
                </a:lnTo>
                <a:lnTo>
                  <a:pt x="790" y="314"/>
                </a:lnTo>
                <a:lnTo>
                  <a:pt x="789" y="313"/>
                </a:lnTo>
                <a:lnTo>
                  <a:pt x="786" y="313"/>
                </a:lnTo>
                <a:lnTo>
                  <a:pt x="783" y="312"/>
                </a:lnTo>
                <a:lnTo>
                  <a:pt x="780" y="309"/>
                </a:lnTo>
                <a:lnTo>
                  <a:pt x="779" y="307"/>
                </a:lnTo>
                <a:lnTo>
                  <a:pt x="776" y="306"/>
                </a:lnTo>
                <a:lnTo>
                  <a:pt x="772" y="308"/>
                </a:lnTo>
                <a:lnTo>
                  <a:pt x="772" y="313"/>
                </a:lnTo>
                <a:lnTo>
                  <a:pt x="766" y="315"/>
                </a:lnTo>
                <a:lnTo>
                  <a:pt x="765" y="321"/>
                </a:lnTo>
                <a:lnTo>
                  <a:pt x="765" y="324"/>
                </a:lnTo>
                <a:lnTo>
                  <a:pt x="762" y="328"/>
                </a:lnTo>
                <a:lnTo>
                  <a:pt x="760" y="324"/>
                </a:lnTo>
                <a:lnTo>
                  <a:pt x="759" y="321"/>
                </a:lnTo>
                <a:lnTo>
                  <a:pt x="764" y="314"/>
                </a:lnTo>
                <a:lnTo>
                  <a:pt x="768" y="305"/>
                </a:lnTo>
                <a:lnTo>
                  <a:pt x="777" y="295"/>
                </a:lnTo>
                <a:lnTo>
                  <a:pt x="791" y="288"/>
                </a:lnTo>
                <a:close/>
                <a:moveTo>
                  <a:pt x="810" y="294"/>
                </a:moveTo>
                <a:lnTo>
                  <a:pt x="805" y="299"/>
                </a:lnTo>
                <a:lnTo>
                  <a:pt x="798" y="302"/>
                </a:lnTo>
                <a:lnTo>
                  <a:pt x="794" y="302"/>
                </a:lnTo>
                <a:lnTo>
                  <a:pt x="793" y="300"/>
                </a:lnTo>
                <a:lnTo>
                  <a:pt x="794" y="296"/>
                </a:lnTo>
                <a:lnTo>
                  <a:pt x="797" y="296"/>
                </a:lnTo>
                <a:lnTo>
                  <a:pt x="804" y="295"/>
                </a:lnTo>
                <a:lnTo>
                  <a:pt x="810" y="294"/>
                </a:lnTo>
                <a:close/>
                <a:moveTo>
                  <a:pt x="800" y="215"/>
                </a:moveTo>
                <a:lnTo>
                  <a:pt x="803" y="215"/>
                </a:lnTo>
                <a:lnTo>
                  <a:pt x="804" y="214"/>
                </a:lnTo>
                <a:lnTo>
                  <a:pt x="808" y="209"/>
                </a:lnTo>
                <a:lnTo>
                  <a:pt x="812" y="214"/>
                </a:lnTo>
                <a:lnTo>
                  <a:pt x="818" y="217"/>
                </a:lnTo>
                <a:lnTo>
                  <a:pt x="815" y="224"/>
                </a:lnTo>
                <a:lnTo>
                  <a:pt x="813" y="222"/>
                </a:lnTo>
                <a:lnTo>
                  <a:pt x="811" y="219"/>
                </a:lnTo>
                <a:lnTo>
                  <a:pt x="806" y="217"/>
                </a:lnTo>
                <a:lnTo>
                  <a:pt x="804" y="221"/>
                </a:lnTo>
                <a:lnTo>
                  <a:pt x="803" y="223"/>
                </a:lnTo>
                <a:lnTo>
                  <a:pt x="803" y="225"/>
                </a:lnTo>
                <a:lnTo>
                  <a:pt x="800" y="225"/>
                </a:lnTo>
                <a:lnTo>
                  <a:pt x="799" y="226"/>
                </a:lnTo>
                <a:lnTo>
                  <a:pt x="799" y="230"/>
                </a:lnTo>
                <a:lnTo>
                  <a:pt x="799" y="233"/>
                </a:lnTo>
                <a:lnTo>
                  <a:pt x="799" y="230"/>
                </a:lnTo>
                <a:lnTo>
                  <a:pt x="799" y="226"/>
                </a:lnTo>
                <a:lnTo>
                  <a:pt x="796" y="230"/>
                </a:lnTo>
                <a:lnTo>
                  <a:pt x="793" y="235"/>
                </a:lnTo>
                <a:lnTo>
                  <a:pt x="794" y="224"/>
                </a:lnTo>
                <a:lnTo>
                  <a:pt x="800" y="215"/>
                </a:lnTo>
                <a:close/>
                <a:moveTo>
                  <a:pt x="810" y="159"/>
                </a:moveTo>
                <a:lnTo>
                  <a:pt x="813" y="155"/>
                </a:lnTo>
                <a:lnTo>
                  <a:pt x="818" y="155"/>
                </a:lnTo>
                <a:lnTo>
                  <a:pt x="820" y="156"/>
                </a:lnTo>
                <a:lnTo>
                  <a:pt x="820" y="159"/>
                </a:lnTo>
                <a:lnTo>
                  <a:pt x="819" y="161"/>
                </a:lnTo>
                <a:lnTo>
                  <a:pt x="817" y="160"/>
                </a:lnTo>
                <a:lnTo>
                  <a:pt x="814" y="161"/>
                </a:lnTo>
                <a:lnTo>
                  <a:pt x="813" y="163"/>
                </a:lnTo>
                <a:lnTo>
                  <a:pt x="817" y="163"/>
                </a:lnTo>
                <a:lnTo>
                  <a:pt x="820" y="165"/>
                </a:lnTo>
                <a:lnTo>
                  <a:pt x="817" y="163"/>
                </a:lnTo>
                <a:lnTo>
                  <a:pt x="813" y="163"/>
                </a:lnTo>
                <a:lnTo>
                  <a:pt x="813" y="163"/>
                </a:lnTo>
                <a:lnTo>
                  <a:pt x="810" y="162"/>
                </a:lnTo>
                <a:lnTo>
                  <a:pt x="810" y="159"/>
                </a:lnTo>
                <a:close/>
                <a:moveTo>
                  <a:pt x="804" y="109"/>
                </a:moveTo>
                <a:lnTo>
                  <a:pt x="804" y="106"/>
                </a:lnTo>
                <a:lnTo>
                  <a:pt x="804" y="104"/>
                </a:lnTo>
                <a:lnTo>
                  <a:pt x="806" y="103"/>
                </a:lnTo>
                <a:lnTo>
                  <a:pt x="807" y="104"/>
                </a:lnTo>
                <a:lnTo>
                  <a:pt x="811" y="105"/>
                </a:lnTo>
                <a:lnTo>
                  <a:pt x="813" y="109"/>
                </a:lnTo>
                <a:lnTo>
                  <a:pt x="813" y="111"/>
                </a:lnTo>
                <a:lnTo>
                  <a:pt x="813" y="113"/>
                </a:lnTo>
                <a:lnTo>
                  <a:pt x="807" y="112"/>
                </a:lnTo>
                <a:lnTo>
                  <a:pt x="804" y="109"/>
                </a:lnTo>
                <a:close/>
                <a:moveTo>
                  <a:pt x="829" y="243"/>
                </a:moveTo>
                <a:lnTo>
                  <a:pt x="840" y="251"/>
                </a:lnTo>
                <a:lnTo>
                  <a:pt x="849" y="264"/>
                </a:lnTo>
                <a:lnTo>
                  <a:pt x="844" y="259"/>
                </a:lnTo>
                <a:lnTo>
                  <a:pt x="838" y="260"/>
                </a:lnTo>
                <a:lnTo>
                  <a:pt x="839" y="261"/>
                </a:lnTo>
                <a:lnTo>
                  <a:pt x="841" y="263"/>
                </a:lnTo>
                <a:lnTo>
                  <a:pt x="839" y="261"/>
                </a:lnTo>
                <a:lnTo>
                  <a:pt x="838" y="260"/>
                </a:lnTo>
                <a:lnTo>
                  <a:pt x="835" y="257"/>
                </a:lnTo>
                <a:lnTo>
                  <a:pt x="832" y="256"/>
                </a:lnTo>
                <a:lnTo>
                  <a:pt x="828" y="258"/>
                </a:lnTo>
                <a:lnTo>
                  <a:pt x="828" y="261"/>
                </a:lnTo>
                <a:lnTo>
                  <a:pt x="826" y="261"/>
                </a:lnTo>
                <a:lnTo>
                  <a:pt x="822" y="263"/>
                </a:lnTo>
                <a:lnTo>
                  <a:pt x="821" y="263"/>
                </a:lnTo>
                <a:lnTo>
                  <a:pt x="819" y="261"/>
                </a:lnTo>
                <a:lnTo>
                  <a:pt x="819" y="259"/>
                </a:lnTo>
                <a:lnTo>
                  <a:pt x="820" y="258"/>
                </a:lnTo>
                <a:lnTo>
                  <a:pt x="826" y="251"/>
                </a:lnTo>
                <a:lnTo>
                  <a:pt x="829" y="243"/>
                </a:lnTo>
                <a:close/>
                <a:moveTo>
                  <a:pt x="822" y="161"/>
                </a:move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2" y="161"/>
                </a:lnTo>
                <a:lnTo>
                  <a:pt x="821" y="161"/>
                </a:lnTo>
                <a:lnTo>
                  <a:pt x="822" y="161"/>
                </a:lnTo>
                <a:lnTo>
                  <a:pt x="822" y="161"/>
                </a:lnTo>
                <a:close/>
                <a:moveTo>
                  <a:pt x="835" y="123"/>
                </a:moveTo>
                <a:lnTo>
                  <a:pt x="837" y="123"/>
                </a:lnTo>
                <a:lnTo>
                  <a:pt x="837" y="123"/>
                </a:lnTo>
                <a:lnTo>
                  <a:pt x="837" y="116"/>
                </a:lnTo>
                <a:lnTo>
                  <a:pt x="835" y="111"/>
                </a:lnTo>
                <a:lnTo>
                  <a:pt x="837" y="114"/>
                </a:lnTo>
                <a:lnTo>
                  <a:pt x="837" y="123"/>
                </a:lnTo>
                <a:lnTo>
                  <a:pt x="840" y="123"/>
                </a:lnTo>
                <a:lnTo>
                  <a:pt x="844" y="121"/>
                </a:lnTo>
                <a:lnTo>
                  <a:pt x="846" y="123"/>
                </a:lnTo>
                <a:lnTo>
                  <a:pt x="846" y="125"/>
                </a:lnTo>
                <a:lnTo>
                  <a:pt x="840" y="127"/>
                </a:lnTo>
                <a:lnTo>
                  <a:pt x="835" y="123"/>
                </a:lnTo>
                <a:lnTo>
                  <a:pt x="834" y="123"/>
                </a:lnTo>
                <a:lnTo>
                  <a:pt x="833" y="120"/>
                </a:lnTo>
                <a:lnTo>
                  <a:pt x="834" y="123"/>
                </a:lnTo>
                <a:lnTo>
                  <a:pt x="835" y="123"/>
                </a:lnTo>
                <a:lnTo>
                  <a:pt x="835" y="123"/>
                </a:lnTo>
                <a:close/>
                <a:moveTo>
                  <a:pt x="854" y="274"/>
                </a:moveTo>
                <a:lnTo>
                  <a:pt x="855" y="272"/>
                </a:lnTo>
                <a:lnTo>
                  <a:pt x="858" y="273"/>
                </a:lnTo>
                <a:lnTo>
                  <a:pt x="862" y="278"/>
                </a:lnTo>
                <a:lnTo>
                  <a:pt x="867" y="281"/>
                </a:lnTo>
                <a:lnTo>
                  <a:pt x="872" y="286"/>
                </a:lnTo>
                <a:lnTo>
                  <a:pt x="880" y="286"/>
                </a:lnTo>
                <a:lnTo>
                  <a:pt x="873" y="289"/>
                </a:lnTo>
                <a:lnTo>
                  <a:pt x="866" y="291"/>
                </a:lnTo>
                <a:lnTo>
                  <a:pt x="866" y="292"/>
                </a:lnTo>
                <a:lnTo>
                  <a:pt x="867" y="293"/>
                </a:lnTo>
                <a:lnTo>
                  <a:pt x="866" y="292"/>
                </a:lnTo>
                <a:lnTo>
                  <a:pt x="866" y="291"/>
                </a:lnTo>
                <a:lnTo>
                  <a:pt x="865" y="291"/>
                </a:lnTo>
                <a:lnTo>
                  <a:pt x="863" y="291"/>
                </a:lnTo>
                <a:lnTo>
                  <a:pt x="862" y="289"/>
                </a:lnTo>
                <a:lnTo>
                  <a:pt x="861" y="288"/>
                </a:lnTo>
                <a:lnTo>
                  <a:pt x="859" y="285"/>
                </a:lnTo>
                <a:lnTo>
                  <a:pt x="855" y="282"/>
                </a:lnTo>
                <a:lnTo>
                  <a:pt x="854" y="285"/>
                </a:lnTo>
                <a:lnTo>
                  <a:pt x="853" y="287"/>
                </a:lnTo>
                <a:lnTo>
                  <a:pt x="853" y="287"/>
                </a:lnTo>
                <a:lnTo>
                  <a:pt x="853" y="288"/>
                </a:lnTo>
                <a:lnTo>
                  <a:pt x="853" y="287"/>
                </a:lnTo>
                <a:lnTo>
                  <a:pt x="853" y="287"/>
                </a:lnTo>
                <a:lnTo>
                  <a:pt x="846" y="294"/>
                </a:lnTo>
                <a:lnTo>
                  <a:pt x="844" y="305"/>
                </a:lnTo>
                <a:lnTo>
                  <a:pt x="842" y="303"/>
                </a:lnTo>
                <a:lnTo>
                  <a:pt x="842" y="302"/>
                </a:lnTo>
                <a:lnTo>
                  <a:pt x="841" y="301"/>
                </a:lnTo>
                <a:lnTo>
                  <a:pt x="840" y="301"/>
                </a:lnTo>
                <a:lnTo>
                  <a:pt x="840" y="299"/>
                </a:lnTo>
                <a:lnTo>
                  <a:pt x="839" y="298"/>
                </a:lnTo>
                <a:lnTo>
                  <a:pt x="844" y="293"/>
                </a:lnTo>
                <a:lnTo>
                  <a:pt x="846" y="286"/>
                </a:lnTo>
                <a:lnTo>
                  <a:pt x="851" y="280"/>
                </a:lnTo>
                <a:lnTo>
                  <a:pt x="854" y="274"/>
                </a:lnTo>
                <a:close/>
                <a:moveTo>
                  <a:pt x="865" y="270"/>
                </a:moveTo>
                <a:lnTo>
                  <a:pt x="865" y="270"/>
                </a:lnTo>
                <a:lnTo>
                  <a:pt x="866" y="271"/>
                </a:lnTo>
                <a:lnTo>
                  <a:pt x="865" y="271"/>
                </a:lnTo>
                <a:lnTo>
                  <a:pt x="863" y="272"/>
                </a:lnTo>
                <a:lnTo>
                  <a:pt x="863" y="271"/>
                </a:lnTo>
                <a:lnTo>
                  <a:pt x="863" y="271"/>
                </a:lnTo>
                <a:lnTo>
                  <a:pt x="863" y="271"/>
                </a:lnTo>
                <a:lnTo>
                  <a:pt x="865" y="270"/>
                </a:lnTo>
                <a:close/>
                <a:moveTo>
                  <a:pt x="891" y="299"/>
                </a:moveTo>
                <a:lnTo>
                  <a:pt x="893" y="300"/>
                </a:lnTo>
                <a:lnTo>
                  <a:pt x="893" y="302"/>
                </a:lnTo>
                <a:lnTo>
                  <a:pt x="894" y="302"/>
                </a:lnTo>
                <a:lnTo>
                  <a:pt x="896" y="302"/>
                </a:lnTo>
                <a:lnTo>
                  <a:pt x="894" y="302"/>
                </a:lnTo>
                <a:lnTo>
                  <a:pt x="893" y="302"/>
                </a:lnTo>
                <a:lnTo>
                  <a:pt x="887" y="303"/>
                </a:lnTo>
                <a:lnTo>
                  <a:pt x="881" y="300"/>
                </a:lnTo>
                <a:lnTo>
                  <a:pt x="879" y="298"/>
                </a:lnTo>
                <a:lnTo>
                  <a:pt x="875" y="298"/>
                </a:lnTo>
                <a:lnTo>
                  <a:pt x="872" y="298"/>
                </a:lnTo>
                <a:lnTo>
                  <a:pt x="869" y="294"/>
                </a:lnTo>
                <a:lnTo>
                  <a:pt x="881" y="294"/>
                </a:lnTo>
                <a:lnTo>
                  <a:pt x="891" y="299"/>
                </a:lnTo>
                <a:close/>
                <a:moveTo>
                  <a:pt x="889" y="314"/>
                </a:moveTo>
                <a:lnTo>
                  <a:pt x="889" y="313"/>
                </a:lnTo>
                <a:lnTo>
                  <a:pt x="890" y="313"/>
                </a:lnTo>
                <a:lnTo>
                  <a:pt x="890" y="313"/>
                </a:lnTo>
                <a:lnTo>
                  <a:pt x="889" y="313"/>
                </a:lnTo>
                <a:lnTo>
                  <a:pt x="889" y="314"/>
                </a:lnTo>
                <a:close/>
                <a:moveTo>
                  <a:pt x="870" y="305"/>
                </a:moveTo>
                <a:lnTo>
                  <a:pt x="873" y="302"/>
                </a:lnTo>
                <a:lnTo>
                  <a:pt x="876" y="301"/>
                </a:lnTo>
                <a:lnTo>
                  <a:pt x="879" y="301"/>
                </a:lnTo>
                <a:lnTo>
                  <a:pt x="880" y="302"/>
                </a:lnTo>
                <a:lnTo>
                  <a:pt x="877" y="306"/>
                </a:lnTo>
                <a:lnTo>
                  <a:pt x="874" y="307"/>
                </a:lnTo>
                <a:lnTo>
                  <a:pt x="872" y="307"/>
                </a:lnTo>
                <a:lnTo>
                  <a:pt x="870" y="305"/>
                </a:lnTo>
                <a:close/>
                <a:moveTo>
                  <a:pt x="849" y="303"/>
                </a:moveTo>
                <a:lnTo>
                  <a:pt x="856" y="302"/>
                </a:lnTo>
                <a:lnTo>
                  <a:pt x="865" y="306"/>
                </a:lnTo>
                <a:lnTo>
                  <a:pt x="865" y="306"/>
                </a:lnTo>
                <a:lnTo>
                  <a:pt x="865" y="308"/>
                </a:lnTo>
                <a:lnTo>
                  <a:pt x="861" y="310"/>
                </a:lnTo>
                <a:lnTo>
                  <a:pt x="856" y="310"/>
                </a:lnTo>
                <a:lnTo>
                  <a:pt x="852" y="310"/>
                </a:lnTo>
                <a:lnTo>
                  <a:pt x="851" y="314"/>
                </a:lnTo>
                <a:lnTo>
                  <a:pt x="851" y="315"/>
                </a:lnTo>
                <a:lnTo>
                  <a:pt x="851" y="315"/>
                </a:lnTo>
                <a:lnTo>
                  <a:pt x="851" y="315"/>
                </a:lnTo>
                <a:lnTo>
                  <a:pt x="851" y="314"/>
                </a:lnTo>
                <a:lnTo>
                  <a:pt x="846" y="314"/>
                </a:lnTo>
                <a:lnTo>
                  <a:pt x="840" y="312"/>
                </a:lnTo>
                <a:lnTo>
                  <a:pt x="844" y="310"/>
                </a:lnTo>
                <a:lnTo>
                  <a:pt x="846" y="308"/>
                </a:lnTo>
                <a:lnTo>
                  <a:pt x="849" y="307"/>
                </a:lnTo>
                <a:lnTo>
                  <a:pt x="849" y="303"/>
                </a:lnTo>
                <a:close/>
                <a:moveTo>
                  <a:pt x="840" y="337"/>
                </a:moveTo>
                <a:lnTo>
                  <a:pt x="840" y="337"/>
                </a:lnTo>
                <a:lnTo>
                  <a:pt x="840" y="336"/>
                </a:lnTo>
                <a:lnTo>
                  <a:pt x="840" y="336"/>
                </a:lnTo>
                <a:lnTo>
                  <a:pt x="840" y="337"/>
                </a:lnTo>
                <a:lnTo>
                  <a:pt x="840" y="337"/>
                </a:lnTo>
                <a:lnTo>
                  <a:pt x="840" y="337"/>
                </a:lnTo>
                <a:close/>
                <a:moveTo>
                  <a:pt x="834" y="328"/>
                </a:moveTo>
                <a:lnTo>
                  <a:pt x="834" y="328"/>
                </a:lnTo>
                <a:lnTo>
                  <a:pt x="835" y="327"/>
                </a:lnTo>
                <a:lnTo>
                  <a:pt x="834" y="328"/>
                </a:lnTo>
                <a:lnTo>
                  <a:pt x="834" y="328"/>
                </a:lnTo>
                <a:close/>
                <a:moveTo>
                  <a:pt x="897" y="355"/>
                </a:moveTo>
                <a:lnTo>
                  <a:pt x="897" y="355"/>
                </a:lnTo>
                <a:lnTo>
                  <a:pt x="897" y="357"/>
                </a:lnTo>
                <a:lnTo>
                  <a:pt x="901" y="356"/>
                </a:lnTo>
                <a:lnTo>
                  <a:pt x="901" y="354"/>
                </a:lnTo>
                <a:lnTo>
                  <a:pt x="903" y="354"/>
                </a:lnTo>
                <a:lnTo>
                  <a:pt x="905" y="355"/>
                </a:lnTo>
                <a:lnTo>
                  <a:pt x="905" y="359"/>
                </a:lnTo>
                <a:lnTo>
                  <a:pt x="908" y="364"/>
                </a:lnTo>
                <a:lnTo>
                  <a:pt x="909" y="364"/>
                </a:lnTo>
                <a:lnTo>
                  <a:pt x="910" y="364"/>
                </a:lnTo>
                <a:lnTo>
                  <a:pt x="909" y="364"/>
                </a:lnTo>
                <a:lnTo>
                  <a:pt x="908" y="364"/>
                </a:lnTo>
                <a:lnTo>
                  <a:pt x="905" y="366"/>
                </a:lnTo>
                <a:lnTo>
                  <a:pt x="905" y="370"/>
                </a:lnTo>
                <a:lnTo>
                  <a:pt x="904" y="384"/>
                </a:lnTo>
                <a:lnTo>
                  <a:pt x="904" y="397"/>
                </a:lnTo>
                <a:lnTo>
                  <a:pt x="905" y="398"/>
                </a:lnTo>
                <a:lnTo>
                  <a:pt x="907" y="398"/>
                </a:lnTo>
                <a:lnTo>
                  <a:pt x="905" y="410"/>
                </a:lnTo>
                <a:lnTo>
                  <a:pt x="905" y="420"/>
                </a:lnTo>
                <a:lnTo>
                  <a:pt x="903" y="427"/>
                </a:lnTo>
                <a:lnTo>
                  <a:pt x="904" y="435"/>
                </a:lnTo>
                <a:lnTo>
                  <a:pt x="904" y="447"/>
                </a:lnTo>
                <a:lnTo>
                  <a:pt x="890" y="450"/>
                </a:lnTo>
                <a:lnTo>
                  <a:pt x="895" y="441"/>
                </a:lnTo>
                <a:lnTo>
                  <a:pt x="896" y="431"/>
                </a:lnTo>
                <a:lnTo>
                  <a:pt x="896" y="431"/>
                </a:lnTo>
                <a:lnTo>
                  <a:pt x="895" y="429"/>
                </a:lnTo>
                <a:lnTo>
                  <a:pt x="895" y="425"/>
                </a:lnTo>
                <a:lnTo>
                  <a:pt x="895" y="420"/>
                </a:lnTo>
                <a:lnTo>
                  <a:pt x="896" y="412"/>
                </a:lnTo>
                <a:lnTo>
                  <a:pt x="890" y="406"/>
                </a:lnTo>
                <a:lnTo>
                  <a:pt x="883" y="405"/>
                </a:lnTo>
                <a:lnTo>
                  <a:pt x="877" y="403"/>
                </a:lnTo>
                <a:lnTo>
                  <a:pt x="875" y="399"/>
                </a:lnTo>
                <a:lnTo>
                  <a:pt x="872" y="400"/>
                </a:lnTo>
                <a:lnTo>
                  <a:pt x="869" y="404"/>
                </a:lnTo>
                <a:lnTo>
                  <a:pt x="873" y="408"/>
                </a:lnTo>
                <a:lnTo>
                  <a:pt x="870" y="412"/>
                </a:lnTo>
                <a:lnTo>
                  <a:pt x="866" y="413"/>
                </a:lnTo>
                <a:lnTo>
                  <a:pt x="866" y="413"/>
                </a:lnTo>
                <a:lnTo>
                  <a:pt x="866" y="412"/>
                </a:lnTo>
                <a:lnTo>
                  <a:pt x="865" y="411"/>
                </a:lnTo>
                <a:lnTo>
                  <a:pt x="862" y="410"/>
                </a:lnTo>
                <a:lnTo>
                  <a:pt x="859" y="410"/>
                </a:lnTo>
                <a:lnTo>
                  <a:pt x="858" y="410"/>
                </a:lnTo>
                <a:lnTo>
                  <a:pt x="856" y="411"/>
                </a:lnTo>
                <a:lnTo>
                  <a:pt x="856" y="411"/>
                </a:lnTo>
                <a:lnTo>
                  <a:pt x="856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8"/>
                </a:lnTo>
                <a:lnTo>
                  <a:pt x="855" y="419"/>
                </a:lnTo>
                <a:lnTo>
                  <a:pt x="851" y="422"/>
                </a:lnTo>
                <a:lnTo>
                  <a:pt x="848" y="421"/>
                </a:lnTo>
                <a:lnTo>
                  <a:pt x="847" y="424"/>
                </a:lnTo>
                <a:lnTo>
                  <a:pt x="847" y="434"/>
                </a:lnTo>
                <a:lnTo>
                  <a:pt x="847" y="445"/>
                </a:lnTo>
                <a:lnTo>
                  <a:pt x="848" y="447"/>
                </a:lnTo>
                <a:lnTo>
                  <a:pt x="849" y="449"/>
                </a:lnTo>
                <a:lnTo>
                  <a:pt x="855" y="455"/>
                </a:lnTo>
                <a:lnTo>
                  <a:pt x="852" y="464"/>
                </a:lnTo>
                <a:lnTo>
                  <a:pt x="847" y="462"/>
                </a:lnTo>
                <a:lnTo>
                  <a:pt x="844" y="459"/>
                </a:lnTo>
                <a:lnTo>
                  <a:pt x="839" y="466"/>
                </a:lnTo>
                <a:lnTo>
                  <a:pt x="828" y="466"/>
                </a:lnTo>
                <a:lnTo>
                  <a:pt x="828" y="464"/>
                </a:lnTo>
                <a:lnTo>
                  <a:pt x="828" y="464"/>
                </a:lnTo>
                <a:lnTo>
                  <a:pt x="833" y="461"/>
                </a:lnTo>
                <a:lnTo>
                  <a:pt x="839" y="459"/>
                </a:lnTo>
                <a:lnTo>
                  <a:pt x="838" y="450"/>
                </a:lnTo>
                <a:lnTo>
                  <a:pt x="834" y="443"/>
                </a:lnTo>
                <a:lnTo>
                  <a:pt x="839" y="436"/>
                </a:lnTo>
                <a:lnTo>
                  <a:pt x="838" y="428"/>
                </a:lnTo>
                <a:lnTo>
                  <a:pt x="835" y="425"/>
                </a:lnTo>
                <a:lnTo>
                  <a:pt x="829" y="426"/>
                </a:lnTo>
                <a:lnTo>
                  <a:pt x="824" y="425"/>
                </a:lnTo>
                <a:lnTo>
                  <a:pt x="819" y="425"/>
                </a:lnTo>
                <a:lnTo>
                  <a:pt x="817" y="422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9" y="418"/>
                </a:lnTo>
                <a:lnTo>
                  <a:pt x="817" y="417"/>
                </a:lnTo>
                <a:lnTo>
                  <a:pt x="817" y="418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7" y="420"/>
                </a:lnTo>
                <a:lnTo>
                  <a:pt x="814" y="420"/>
                </a:lnTo>
                <a:lnTo>
                  <a:pt x="812" y="420"/>
                </a:lnTo>
                <a:lnTo>
                  <a:pt x="812" y="425"/>
                </a:lnTo>
                <a:lnTo>
                  <a:pt x="810" y="425"/>
                </a:lnTo>
                <a:lnTo>
                  <a:pt x="812" y="425"/>
                </a:lnTo>
                <a:lnTo>
                  <a:pt x="812" y="420"/>
                </a:lnTo>
                <a:lnTo>
                  <a:pt x="811" y="417"/>
                </a:lnTo>
                <a:lnTo>
                  <a:pt x="808" y="415"/>
                </a:lnTo>
                <a:lnTo>
                  <a:pt x="810" y="407"/>
                </a:lnTo>
                <a:lnTo>
                  <a:pt x="808" y="400"/>
                </a:lnTo>
                <a:lnTo>
                  <a:pt x="808" y="400"/>
                </a:lnTo>
                <a:lnTo>
                  <a:pt x="808" y="400"/>
                </a:lnTo>
                <a:lnTo>
                  <a:pt x="812" y="400"/>
                </a:lnTo>
                <a:lnTo>
                  <a:pt x="813" y="398"/>
                </a:lnTo>
                <a:lnTo>
                  <a:pt x="811" y="394"/>
                </a:lnTo>
                <a:lnTo>
                  <a:pt x="807" y="394"/>
                </a:lnTo>
                <a:lnTo>
                  <a:pt x="812" y="391"/>
                </a:lnTo>
                <a:lnTo>
                  <a:pt x="814" y="386"/>
                </a:lnTo>
                <a:lnTo>
                  <a:pt x="815" y="384"/>
                </a:lnTo>
                <a:lnTo>
                  <a:pt x="818" y="383"/>
                </a:lnTo>
                <a:lnTo>
                  <a:pt x="820" y="384"/>
                </a:lnTo>
                <a:lnTo>
                  <a:pt x="820" y="386"/>
                </a:lnTo>
                <a:lnTo>
                  <a:pt x="821" y="389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4" y="390"/>
                </a:lnTo>
                <a:lnTo>
                  <a:pt x="821" y="397"/>
                </a:lnTo>
                <a:lnTo>
                  <a:pt x="828" y="398"/>
                </a:lnTo>
                <a:lnTo>
                  <a:pt x="824" y="401"/>
                </a:lnTo>
                <a:lnTo>
                  <a:pt x="821" y="406"/>
                </a:lnTo>
                <a:lnTo>
                  <a:pt x="826" y="406"/>
                </a:lnTo>
                <a:lnTo>
                  <a:pt x="826" y="411"/>
                </a:lnTo>
                <a:lnTo>
                  <a:pt x="826" y="413"/>
                </a:lnTo>
                <a:lnTo>
                  <a:pt x="827" y="414"/>
                </a:lnTo>
                <a:lnTo>
                  <a:pt x="833" y="412"/>
                </a:lnTo>
                <a:lnTo>
                  <a:pt x="839" y="410"/>
                </a:lnTo>
                <a:lnTo>
                  <a:pt x="839" y="406"/>
                </a:lnTo>
                <a:lnTo>
                  <a:pt x="839" y="403"/>
                </a:lnTo>
                <a:lnTo>
                  <a:pt x="839" y="399"/>
                </a:lnTo>
                <a:lnTo>
                  <a:pt x="839" y="396"/>
                </a:lnTo>
                <a:lnTo>
                  <a:pt x="839" y="394"/>
                </a:lnTo>
                <a:lnTo>
                  <a:pt x="839" y="393"/>
                </a:lnTo>
                <a:lnTo>
                  <a:pt x="839" y="386"/>
                </a:lnTo>
                <a:lnTo>
                  <a:pt x="839" y="378"/>
                </a:lnTo>
                <a:lnTo>
                  <a:pt x="839" y="377"/>
                </a:lnTo>
                <a:lnTo>
                  <a:pt x="839" y="376"/>
                </a:lnTo>
                <a:lnTo>
                  <a:pt x="840" y="371"/>
                </a:lnTo>
                <a:lnTo>
                  <a:pt x="844" y="369"/>
                </a:lnTo>
                <a:lnTo>
                  <a:pt x="847" y="371"/>
                </a:lnTo>
                <a:lnTo>
                  <a:pt x="848" y="376"/>
                </a:lnTo>
                <a:lnTo>
                  <a:pt x="848" y="391"/>
                </a:lnTo>
                <a:lnTo>
                  <a:pt x="847" y="405"/>
                </a:lnTo>
                <a:lnTo>
                  <a:pt x="847" y="407"/>
                </a:lnTo>
                <a:lnTo>
                  <a:pt x="848" y="410"/>
                </a:lnTo>
                <a:lnTo>
                  <a:pt x="851" y="407"/>
                </a:lnTo>
                <a:lnTo>
                  <a:pt x="852" y="404"/>
                </a:lnTo>
                <a:lnTo>
                  <a:pt x="852" y="399"/>
                </a:lnTo>
                <a:lnTo>
                  <a:pt x="852" y="394"/>
                </a:lnTo>
                <a:lnTo>
                  <a:pt x="852" y="399"/>
                </a:lnTo>
                <a:lnTo>
                  <a:pt x="852" y="404"/>
                </a:lnTo>
                <a:lnTo>
                  <a:pt x="860" y="405"/>
                </a:lnTo>
                <a:lnTo>
                  <a:pt x="862" y="398"/>
                </a:lnTo>
                <a:lnTo>
                  <a:pt x="863" y="397"/>
                </a:lnTo>
                <a:lnTo>
                  <a:pt x="866" y="394"/>
                </a:lnTo>
                <a:lnTo>
                  <a:pt x="868" y="394"/>
                </a:lnTo>
                <a:lnTo>
                  <a:pt x="869" y="392"/>
                </a:lnTo>
                <a:lnTo>
                  <a:pt x="867" y="390"/>
                </a:lnTo>
                <a:lnTo>
                  <a:pt x="863" y="389"/>
                </a:lnTo>
                <a:lnTo>
                  <a:pt x="869" y="384"/>
                </a:lnTo>
                <a:lnTo>
                  <a:pt x="863" y="379"/>
                </a:lnTo>
                <a:lnTo>
                  <a:pt x="869" y="376"/>
                </a:lnTo>
                <a:lnTo>
                  <a:pt x="872" y="370"/>
                </a:lnTo>
                <a:lnTo>
                  <a:pt x="873" y="369"/>
                </a:lnTo>
                <a:lnTo>
                  <a:pt x="874" y="369"/>
                </a:lnTo>
                <a:lnTo>
                  <a:pt x="875" y="369"/>
                </a:lnTo>
                <a:lnTo>
                  <a:pt x="876" y="370"/>
                </a:lnTo>
                <a:lnTo>
                  <a:pt x="877" y="375"/>
                </a:lnTo>
                <a:lnTo>
                  <a:pt x="881" y="373"/>
                </a:lnTo>
                <a:lnTo>
                  <a:pt x="887" y="371"/>
                </a:lnTo>
                <a:lnTo>
                  <a:pt x="888" y="368"/>
                </a:lnTo>
                <a:lnTo>
                  <a:pt x="887" y="371"/>
                </a:lnTo>
                <a:lnTo>
                  <a:pt x="881" y="373"/>
                </a:lnTo>
                <a:lnTo>
                  <a:pt x="881" y="378"/>
                </a:lnTo>
                <a:lnTo>
                  <a:pt x="879" y="382"/>
                </a:lnTo>
                <a:lnTo>
                  <a:pt x="882" y="380"/>
                </a:lnTo>
                <a:lnTo>
                  <a:pt x="884" y="382"/>
                </a:lnTo>
                <a:lnTo>
                  <a:pt x="884" y="385"/>
                </a:lnTo>
                <a:lnTo>
                  <a:pt x="880" y="387"/>
                </a:lnTo>
                <a:lnTo>
                  <a:pt x="877" y="387"/>
                </a:lnTo>
                <a:lnTo>
                  <a:pt x="876" y="390"/>
                </a:lnTo>
                <a:lnTo>
                  <a:pt x="882" y="392"/>
                </a:lnTo>
                <a:lnTo>
                  <a:pt x="886" y="398"/>
                </a:lnTo>
                <a:lnTo>
                  <a:pt x="887" y="397"/>
                </a:lnTo>
                <a:lnTo>
                  <a:pt x="888" y="397"/>
                </a:lnTo>
                <a:lnTo>
                  <a:pt x="896" y="387"/>
                </a:lnTo>
                <a:lnTo>
                  <a:pt x="896" y="375"/>
                </a:lnTo>
                <a:lnTo>
                  <a:pt x="893" y="365"/>
                </a:lnTo>
                <a:lnTo>
                  <a:pt x="897" y="357"/>
                </a:lnTo>
                <a:lnTo>
                  <a:pt x="897" y="357"/>
                </a:lnTo>
                <a:lnTo>
                  <a:pt x="897" y="355"/>
                </a:lnTo>
                <a:lnTo>
                  <a:pt x="897" y="355"/>
                </a:lnTo>
                <a:close/>
                <a:moveTo>
                  <a:pt x="909" y="394"/>
                </a:moveTo>
                <a:lnTo>
                  <a:pt x="908" y="394"/>
                </a:lnTo>
                <a:lnTo>
                  <a:pt x="908" y="396"/>
                </a:lnTo>
                <a:lnTo>
                  <a:pt x="908" y="394"/>
                </a:lnTo>
                <a:lnTo>
                  <a:pt x="909" y="394"/>
                </a:lnTo>
                <a:close/>
                <a:moveTo>
                  <a:pt x="915" y="440"/>
                </a:moveTo>
                <a:lnTo>
                  <a:pt x="918" y="441"/>
                </a:lnTo>
                <a:lnTo>
                  <a:pt x="921" y="443"/>
                </a:lnTo>
                <a:lnTo>
                  <a:pt x="922" y="445"/>
                </a:lnTo>
                <a:lnTo>
                  <a:pt x="923" y="445"/>
                </a:lnTo>
                <a:lnTo>
                  <a:pt x="922" y="445"/>
                </a:lnTo>
                <a:lnTo>
                  <a:pt x="921" y="443"/>
                </a:lnTo>
                <a:lnTo>
                  <a:pt x="921" y="445"/>
                </a:lnTo>
                <a:lnTo>
                  <a:pt x="920" y="445"/>
                </a:lnTo>
                <a:lnTo>
                  <a:pt x="909" y="445"/>
                </a:lnTo>
                <a:lnTo>
                  <a:pt x="909" y="432"/>
                </a:lnTo>
                <a:lnTo>
                  <a:pt x="910" y="436"/>
                </a:lnTo>
                <a:lnTo>
                  <a:pt x="915" y="440"/>
                </a:lnTo>
                <a:close/>
                <a:moveTo>
                  <a:pt x="928" y="426"/>
                </a:moveTo>
                <a:lnTo>
                  <a:pt x="935" y="427"/>
                </a:lnTo>
                <a:lnTo>
                  <a:pt x="942" y="429"/>
                </a:lnTo>
                <a:lnTo>
                  <a:pt x="944" y="433"/>
                </a:lnTo>
                <a:lnTo>
                  <a:pt x="944" y="438"/>
                </a:lnTo>
                <a:lnTo>
                  <a:pt x="935" y="441"/>
                </a:lnTo>
                <a:lnTo>
                  <a:pt x="925" y="443"/>
                </a:lnTo>
                <a:lnTo>
                  <a:pt x="925" y="445"/>
                </a:lnTo>
                <a:lnTo>
                  <a:pt x="925" y="446"/>
                </a:lnTo>
                <a:lnTo>
                  <a:pt x="925" y="446"/>
                </a:lnTo>
                <a:lnTo>
                  <a:pt x="925" y="445"/>
                </a:lnTo>
                <a:lnTo>
                  <a:pt x="925" y="443"/>
                </a:lnTo>
                <a:lnTo>
                  <a:pt x="925" y="439"/>
                </a:lnTo>
                <a:lnTo>
                  <a:pt x="924" y="434"/>
                </a:lnTo>
                <a:lnTo>
                  <a:pt x="924" y="429"/>
                </a:lnTo>
                <a:lnTo>
                  <a:pt x="928" y="426"/>
                </a:lnTo>
                <a:lnTo>
                  <a:pt x="928" y="426"/>
                </a:lnTo>
                <a:close/>
                <a:moveTo>
                  <a:pt x="937" y="449"/>
                </a:moveTo>
                <a:lnTo>
                  <a:pt x="934" y="452"/>
                </a:lnTo>
                <a:lnTo>
                  <a:pt x="935" y="455"/>
                </a:lnTo>
                <a:lnTo>
                  <a:pt x="938" y="456"/>
                </a:lnTo>
                <a:lnTo>
                  <a:pt x="941" y="459"/>
                </a:lnTo>
                <a:lnTo>
                  <a:pt x="938" y="456"/>
                </a:lnTo>
                <a:lnTo>
                  <a:pt x="935" y="455"/>
                </a:lnTo>
                <a:lnTo>
                  <a:pt x="932" y="456"/>
                </a:lnTo>
                <a:lnTo>
                  <a:pt x="930" y="457"/>
                </a:lnTo>
                <a:lnTo>
                  <a:pt x="923" y="457"/>
                </a:lnTo>
                <a:lnTo>
                  <a:pt x="917" y="459"/>
                </a:lnTo>
                <a:lnTo>
                  <a:pt x="914" y="459"/>
                </a:lnTo>
                <a:lnTo>
                  <a:pt x="913" y="456"/>
                </a:lnTo>
                <a:lnTo>
                  <a:pt x="914" y="454"/>
                </a:lnTo>
                <a:lnTo>
                  <a:pt x="916" y="453"/>
                </a:lnTo>
                <a:lnTo>
                  <a:pt x="923" y="452"/>
                </a:lnTo>
                <a:lnTo>
                  <a:pt x="925" y="446"/>
                </a:lnTo>
                <a:lnTo>
                  <a:pt x="936" y="445"/>
                </a:lnTo>
                <a:lnTo>
                  <a:pt x="945" y="443"/>
                </a:lnTo>
                <a:lnTo>
                  <a:pt x="942" y="448"/>
                </a:lnTo>
                <a:lnTo>
                  <a:pt x="937" y="449"/>
                </a:lnTo>
                <a:close/>
                <a:moveTo>
                  <a:pt x="923" y="553"/>
                </a:moveTo>
                <a:lnTo>
                  <a:pt x="928" y="551"/>
                </a:lnTo>
                <a:lnTo>
                  <a:pt x="932" y="551"/>
                </a:lnTo>
                <a:lnTo>
                  <a:pt x="934" y="552"/>
                </a:lnTo>
                <a:lnTo>
                  <a:pt x="934" y="554"/>
                </a:lnTo>
                <a:lnTo>
                  <a:pt x="928" y="556"/>
                </a:lnTo>
                <a:lnTo>
                  <a:pt x="923" y="554"/>
                </a:lnTo>
                <a:lnTo>
                  <a:pt x="923" y="553"/>
                </a:lnTo>
                <a:lnTo>
                  <a:pt x="923" y="553"/>
                </a:lnTo>
                <a:close/>
                <a:moveTo>
                  <a:pt x="910" y="536"/>
                </a:moveTo>
                <a:lnTo>
                  <a:pt x="915" y="531"/>
                </a:lnTo>
                <a:lnTo>
                  <a:pt x="921" y="531"/>
                </a:lnTo>
                <a:lnTo>
                  <a:pt x="928" y="533"/>
                </a:lnTo>
                <a:lnTo>
                  <a:pt x="934" y="532"/>
                </a:lnTo>
                <a:lnTo>
                  <a:pt x="934" y="535"/>
                </a:lnTo>
                <a:lnTo>
                  <a:pt x="934" y="537"/>
                </a:lnTo>
                <a:lnTo>
                  <a:pt x="928" y="539"/>
                </a:lnTo>
                <a:lnTo>
                  <a:pt x="921" y="537"/>
                </a:lnTo>
                <a:lnTo>
                  <a:pt x="916" y="536"/>
                </a:lnTo>
                <a:lnTo>
                  <a:pt x="910" y="536"/>
                </a:lnTo>
                <a:close/>
                <a:moveTo>
                  <a:pt x="881" y="517"/>
                </a:moveTo>
                <a:lnTo>
                  <a:pt x="881" y="517"/>
                </a:lnTo>
                <a:lnTo>
                  <a:pt x="880" y="517"/>
                </a:lnTo>
                <a:lnTo>
                  <a:pt x="881" y="517"/>
                </a:lnTo>
                <a:lnTo>
                  <a:pt x="881" y="517"/>
                </a:lnTo>
                <a:close/>
                <a:moveTo>
                  <a:pt x="883" y="518"/>
                </a:moveTo>
                <a:lnTo>
                  <a:pt x="882" y="518"/>
                </a:lnTo>
                <a:lnTo>
                  <a:pt x="881" y="517"/>
                </a:lnTo>
                <a:lnTo>
                  <a:pt x="882" y="518"/>
                </a:lnTo>
                <a:lnTo>
                  <a:pt x="883" y="518"/>
                </a:lnTo>
                <a:close/>
                <a:moveTo>
                  <a:pt x="880" y="514"/>
                </a:moveTo>
                <a:lnTo>
                  <a:pt x="879" y="512"/>
                </a:lnTo>
                <a:lnTo>
                  <a:pt x="879" y="511"/>
                </a:lnTo>
                <a:lnTo>
                  <a:pt x="879" y="510"/>
                </a:lnTo>
                <a:lnTo>
                  <a:pt x="880" y="509"/>
                </a:lnTo>
                <a:lnTo>
                  <a:pt x="881" y="507"/>
                </a:lnTo>
                <a:lnTo>
                  <a:pt x="881" y="504"/>
                </a:lnTo>
                <a:lnTo>
                  <a:pt x="881" y="507"/>
                </a:lnTo>
                <a:lnTo>
                  <a:pt x="880" y="509"/>
                </a:lnTo>
                <a:lnTo>
                  <a:pt x="882" y="510"/>
                </a:lnTo>
                <a:lnTo>
                  <a:pt x="884" y="510"/>
                </a:lnTo>
                <a:lnTo>
                  <a:pt x="884" y="510"/>
                </a:lnTo>
                <a:lnTo>
                  <a:pt x="886" y="511"/>
                </a:lnTo>
                <a:lnTo>
                  <a:pt x="886" y="510"/>
                </a:lnTo>
                <a:lnTo>
                  <a:pt x="887" y="510"/>
                </a:lnTo>
                <a:lnTo>
                  <a:pt x="888" y="509"/>
                </a:lnTo>
                <a:lnTo>
                  <a:pt x="890" y="510"/>
                </a:lnTo>
                <a:lnTo>
                  <a:pt x="890" y="512"/>
                </a:lnTo>
                <a:lnTo>
                  <a:pt x="890" y="515"/>
                </a:lnTo>
                <a:lnTo>
                  <a:pt x="894" y="516"/>
                </a:lnTo>
                <a:lnTo>
                  <a:pt x="896" y="521"/>
                </a:lnTo>
                <a:lnTo>
                  <a:pt x="897" y="524"/>
                </a:lnTo>
                <a:lnTo>
                  <a:pt x="896" y="521"/>
                </a:lnTo>
                <a:lnTo>
                  <a:pt x="894" y="516"/>
                </a:lnTo>
                <a:lnTo>
                  <a:pt x="888" y="516"/>
                </a:lnTo>
                <a:lnTo>
                  <a:pt x="883" y="518"/>
                </a:lnTo>
                <a:lnTo>
                  <a:pt x="882" y="515"/>
                </a:lnTo>
                <a:lnTo>
                  <a:pt x="880" y="514"/>
                </a:lnTo>
                <a:close/>
                <a:moveTo>
                  <a:pt x="895" y="464"/>
                </a:moveTo>
                <a:lnTo>
                  <a:pt x="898" y="467"/>
                </a:lnTo>
                <a:lnTo>
                  <a:pt x="898" y="469"/>
                </a:lnTo>
                <a:lnTo>
                  <a:pt x="895" y="471"/>
                </a:lnTo>
                <a:lnTo>
                  <a:pt x="890" y="471"/>
                </a:lnTo>
                <a:lnTo>
                  <a:pt x="893" y="469"/>
                </a:lnTo>
                <a:lnTo>
                  <a:pt x="895" y="467"/>
                </a:lnTo>
                <a:lnTo>
                  <a:pt x="894" y="467"/>
                </a:lnTo>
                <a:lnTo>
                  <a:pt x="894" y="466"/>
                </a:lnTo>
                <a:lnTo>
                  <a:pt x="884" y="466"/>
                </a:lnTo>
                <a:lnTo>
                  <a:pt x="876" y="468"/>
                </a:lnTo>
                <a:lnTo>
                  <a:pt x="874" y="469"/>
                </a:lnTo>
                <a:lnTo>
                  <a:pt x="872" y="468"/>
                </a:lnTo>
                <a:lnTo>
                  <a:pt x="873" y="464"/>
                </a:lnTo>
                <a:lnTo>
                  <a:pt x="875" y="463"/>
                </a:lnTo>
                <a:lnTo>
                  <a:pt x="884" y="461"/>
                </a:lnTo>
                <a:lnTo>
                  <a:pt x="895" y="461"/>
                </a:lnTo>
                <a:lnTo>
                  <a:pt x="895" y="463"/>
                </a:lnTo>
                <a:lnTo>
                  <a:pt x="895" y="464"/>
                </a:lnTo>
                <a:close/>
                <a:moveTo>
                  <a:pt x="914" y="546"/>
                </a:moveTo>
                <a:lnTo>
                  <a:pt x="913" y="549"/>
                </a:lnTo>
                <a:lnTo>
                  <a:pt x="911" y="550"/>
                </a:lnTo>
                <a:lnTo>
                  <a:pt x="909" y="550"/>
                </a:lnTo>
                <a:lnTo>
                  <a:pt x="908" y="549"/>
                </a:lnTo>
                <a:lnTo>
                  <a:pt x="904" y="545"/>
                </a:lnTo>
                <a:lnTo>
                  <a:pt x="900" y="543"/>
                </a:lnTo>
                <a:lnTo>
                  <a:pt x="910" y="540"/>
                </a:lnTo>
                <a:lnTo>
                  <a:pt x="914" y="546"/>
                </a:lnTo>
                <a:close/>
                <a:moveTo>
                  <a:pt x="895" y="461"/>
                </a:moveTo>
                <a:lnTo>
                  <a:pt x="897" y="454"/>
                </a:lnTo>
                <a:lnTo>
                  <a:pt x="904" y="454"/>
                </a:lnTo>
                <a:lnTo>
                  <a:pt x="901" y="459"/>
                </a:lnTo>
                <a:lnTo>
                  <a:pt x="895" y="461"/>
                </a:lnTo>
                <a:close/>
                <a:moveTo>
                  <a:pt x="866" y="547"/>
                </a:moveTo>
                <a:lnTo>
                  <a:pt x="872" y="543"/>
                </a:lnTo>
                <a:lnTo>
                  <a:pt x="882" y="545"/>
                </a:lnTo>
                <a:lnTo>
                  <a:pt x="884" y="537"/>
                </a:lnTo>
                <a:lnTo>
                  <a:pt x="881" y="530"/>
                </a:lnTo>
                <a:lnTo>
                  <a:pt x="881" y="530"/>
                </a:lnTo>
                <a:lnTo>
                  <a:pt x="880" y="530"/>
                </a:lnTo>
                <a:lnTo>
                  <a:pt x="880" y="528"/>
                </a:lnTo>
                <a:lnTo>
                  <a:pt x="880" y="525"/>
                </a:lnTo>
                <a:lnTo>
                  <a:pt x="888" y="528"/>
                </a:lnTo>
                <a:lnTo>
                  <a:pt x="889" y="536"/>
                </a:lnTo>
                <a:lnTo>
                  <a:pt x="889" y="544"/>
                </a:lnTo>
                <a:lnTo>
                  <a:pt x="889" y="552"/>
                </a:lnTo>
                <a:lnTo>
                  <a:pt x="888" y="556"/>
                </a:lnTo>
                <a:lnTo>
                  <a:pt x="886" y="557"/>
                </a:lnTo>
                <a:lnTo>
                  <a:pt x="882" y="556"/>
                </a:lnTo>
                <a:lnTo>
                  <a:pt x="881" y="553"/>
                </a:lnTo>
                <a:lnTo>
                  <a:pt x="875" y="547"/>
                </a:lnTo>
                <a:lnTo>
                  <a:pt x="866" y="547"/>
                </a:lnTo>
                <a:close/>
                <a:moveTo>
                  <a:pt x="863" y="552"/>
                </a:moveTo>
                <a:lnTo>
                  <a:pt x="865" y="553"/>
                </a:lnTo>
                <a:lnTo>
                  <a:pt x="865" y="556"/>
                </a:lnTo>
                <a:lnTo>
                  <a:pt x="860" y="558"/>
                </a:lnTo>
                <a:lnTo>
                  <a:pt x="854" y="557"/>
                </a:lnTo>
                <a:lnTo>
                  <a:pt x="859" y="553"/>
                </a:lnTo>
                <a:lnTo>
                  <a:pt x="863" y="552"/>
                </a:lnTo>
                <a:close/>
                <a:moveTo>
                  <a:pt x="839" y="480"/>
                </a:moveTo>
                <a:lnTo>
                  <a:pt x="833" y="480"/>
                </a:lnTo>
                <a:lnTo>
                  <a:pt x="832" y="485"/>
                </a:lnTo>
                <a:lnTo>
                  <a:pt x="824" y="484"/>
                </a:lnTo>
                <a:lnTo>
                  <a:pt x="820" y="477"/>
                </a:lnTo>
                <a:lnTo>
                  <a:pt x="822" y="475"/>
                </a:lnTo>
                <a:lnTo>
                  <a:pt x="825" y="474"/>
                </a:lnTo>
                <a:lnTo>
                  <a:pt x="828" y="475"/>
                </a:lnTo>
                <a:lnTo>
                  <a:pt x="832" y="474"/>
                </a:lnTo>
                <a:lnTo>
                  <a:pt x="838" y="470"/>
                </a:lnTo>
                <a:lnTo>
                  <a:pt x="844" y="470"/>
                </a:lnTo>
                <a:lnTo>
                  <a:pt x="849" y="470"/>
                </a:lnTo>
                <a:lnTo>
                  <a:pt x="854" y="470"/>
                </a:lnTo>
                <a:lnTo>
                  <a:pt x="855" y="478"/>
                </a:lnTo>
                <a:lnTo>
                  <a:pt x="851" y="485"/>
                </a:lnTo>
                <a:lnTo>
                  <a:pt x="846" y="481"/>
                </a:lnTo>
                <a:lnTo>
                  <a:pt x="839" y="480"/>
                </a:lnTo>
                <a:close/>
                <a:moveTo>
                  <a:pt x="810" y="469"/>
                </a:moveTo>
                <a:lnTo>
                  <a:pt x="810" y="469"/>
                </a:lnTo>
                <a:lnTo>
                  <a:pt x="810" y="469"/>
                </a:lnTo>
                <a:lnTo>
                  <a:pt x="812" y="466"/>
                </a:lnTo>
                <a:lnTo>
                  <a:pt x="817" y="466"/>
                </a:lnTo>
                <a:lnTo>
                  <a:pt x="818" y="468"/>
                </a:lnTo>
                <a:lnTo>
                  <a:pt x="818" y="469"/>
                </a:lnTo>
                <a:lnTo>
                  <a:pt x="813" y="471"/>
                </a:lnTo>
                <a:lnTo>
                  <a:pt x="810" y="470"/>
                </a:lnTo>
                <a:lnTo>
                  <a:pt x="808" y="470"/>
                </a:lnTo>
                <a:lnTo>
                  <a:pt x="810" y="469"/>
                </a:lnTo>
                <a:close/>
                <a:moveTo>
                  <a:pt x="810" y="582"/>
                </a:moveTo>
                <a:lnTo>
                  <a:pt x="812" y="581"/>
                </a:lnTo>
                <a:lnTo>
                  <a:pt x="814" y="581"/>
                </a:lnTo>
                <a:lnTo>
                  <a:pt x="815" y="580"/>
                </a:lnTo>
                <a:lnTo>
                  <a:pt x="817" y="580"/>
                </a:lnTo>
                <a:lnTo>
                  <a:pt x="818" y="580"/>
                </a:lnTo>
                <a:lnTo>
                  <a:pt x="818" y="579"/>
                </a:lnTo>
                <a:lnTo>
                  <a:pt x="819" y="579"/>
                </a:lnTo>
                <a:lnTo>
                  <a:pt x="820" y="579"/>
                </a:lnTo>
                <a:lnTo>
                  <a:pt x="821" y="579"/>
                </a:lnTo>
                <a:lnTo>
                  <a:pt x="819" y="585"/>
                </a:lnTo>
                <a:lnTo>
                  <a:pt x="814" y="588"/>
                </a:lnTo>
                <a:lnTo>
                  <a:pt x="811" y="587"/>
                </a:lnTo>
                <a:lnTo>
                  <a:pt x="810" y="582"/>
                </a:lnTo>
                <a:lnTo>
                  <a:pt x="808" y="585"/>
                </a:lnTo>
                <a:lnTo>
                  <a:pt x="806" y="586"/>
                </a:lnTo>
                <a:lnTo>
                  <a:pt x="808" y="585"/>
                </a:lnTo>
                <a:lnTo>
                  <a:pt x="810" y="582"/>
                </a:lnTo>
                <a:close/>
                <a:moveTo>
                  <a:pt x="829" y="560"/>
                </a:moveTo>
                <a:lnTo>
                  <a:pt x="826" y="560"/>
                </a:lnTo>
                <a:lnTo>
                  <a:pt x="822" y="564"/>
                </a:lnTo>
                <a:lnTo>
                  <a:pt x="818" y="571"/>
                </a:lnTo>
                <a:lnTo>
                  <a:pt x="810" y="566"/>
                </a:lnTo>
                <a:lnTo>
                  <a:pt x="819" y="561"/>
                </a:lnTo>
                <a:lnTo>
                  <a:pt x="826" y="554"/>
                </a:lnTo>
                <a:lnTo>
                  <a:pt x="828" y="552"/>
                </a:lnTo>
                <a:lnTo>
                  <a:pt x="832" y="553"/>
                </a:lnTo>
                <a:lnTo>
                  <a:pt x="841" y="557"/>
                </a:lnTo>
                <a:lnTo>
                  <a:pt x="847" y="550"/>
                </a:lnTo>
                <a:lnTo>
                  <a:pt x="847" y="550"/>
                </a:lnTo>
                <a:lnTo>
                  <a:pt x="848" y="550"/>
                </a:lnTo>
                <a:lnTo>
                  <a:pt x="849" y="558"/>
                </a:lnTo>
                <a:lnTo>
                  <a:pt x="847" y="566"/>
                </a:lnTo>
                <a:lnTo>
                  <a:pt x="847" y="566"/>
                </a:lnTo>
                <a:lnTo>
                  <a:pt x="839" y="563"/>
                </a:lnTo>
                <a:lnTo>
                  <a:pt x="829" y="560"/>
                </a:lnTo>
                <a:close/>
                <a:moveTo>
                  <a:pt x="840" y="580"/>
                </a:moveTo>
                <a:lnTo>
                  <a:pt x="834" y="581"/>
                </a:lnTo>
                <a:lnTo>
                  <a:pt x="831" y="577"/>
                </a:lnTo>
                <a:lnTo>
                  <a:pt x="829" y="577"/>
                </a:lnTo>
                <a:lnTo>
                  <a:pt x="828" y="577"/>
                </a:lnTo>
                <a:lnTo>
                  <a:pt x="829" y="577"/>
                </a:lnTo>
                <a:lnTo>
                  <a:pt x="831" y="577"/>
                </a:lnTo>
                <a:lnTo>
                  <a:pt x="838" y="575"/>
                </a:lnTo>
                <a:lnTo>
                  <a:pt x="844" y="573"/>
                </a:lnTo>
                <a:lnTo>
                  <a:pt x="844" y="578"/>
                </a:lnTo>
                <a:lnTo>
                  <a:pt x="840" y="580"/>
                </a:lnTo>
                <a:close/>
                <a:moveTo>
                  <a:pt x="853" y="571"/>
                </a:moveTo>
                <a:lnTo>
                  <a:pt x="853" y="571"/>
                </a:lnTo>
                <a:lnTo>
                  <a:pt x="854" y="571"/>
                </a:lnTo>
                <a:lnTo>
                  <a:pt x="860" y="567"/>
                </a:lnTo>
                <a:lnTo>
                  <a:pt x="866" y="567"/>
                </a:lnTo>
                <a:lnTo>
                  <a:pt x="867" y="568"/>
                </a:lnTo>
                <a:lnTo>
                  <a:pt x="867" y="570"/>
                </a:lnTo>
                <a:lnTo>
                  <a:pt x="862" y="573"/>
                </a:lnTo>
                <a:lnTo>
                  <a:pt x="855" y="575"/>
                </a:lnTo>
                <a:lnTo>
                  <a:pt x="854" y="574"/>
                </a:lnTo>
                <a:lnTo>
                  <a:pt x="854" y="571"/>
                </a:lnTo>
                <a:lnTo>
                  <a:pt x="853" y="571"/>
                </a:lnTo>
                <a:lnTo>
                  <a:pt x="853" y="571"/>
                </a:lnTo>
                <a:close/>
                <a:moveTo>
                  <a:pt x="875" y="565"/>
                </a:moveTo>
                <a:lnTo>
                  <a:pt x="874" y="565"/>
                </a:lnTo>
                <a:lnTo>
                  <a:pt x="873" y="565"/>
                </a:lnTo>
                <a:lnTo>
                  <a:pt x="874" y="565"/>
                </a:lnTo>
                <a:lnTo>
                  <a:pt x="875" y="565"/>
                </a:lnTo>
                <a:lnTo>
                  <a:pt x="881" y="563"/>
                </a:lnTo>
                <a:lnTo>
                  <a:pt x="886" y="561"/>
                </a:lnTo>
                <a:lnTo>
                  <a:pt x="888" y="561"/>
                </a:lnTo>
                <a:lnTo>
                  <a:pt x="889" y="563"/>
                </a:lnTo>
                <a:lnTo>
                  <a:pt x="889" y="563"/>
                </a:lnTo>
                <a:lnTo>
                  <a:pt x="891" y="566"/>
                </a:lnTo>
                <a:lnTo>
                  <a:pt x="896" y="567"/>
                </a:lnTo>
                <a:lnTo>
                  <a:pt x="896" y="567"/>
                </a:lnTo>
                <a:lnTo>
                  <a:pt x="893" y="567"/>
                </a:lnTo>
                <a:lnTo>
                  <a:pt x="888" y="568"/>
                </a:lnTo>
                <a:lnTo>
                  <a:pt x="881" y="568"/>
                </a:lnTo>
                <a:lnTo>
                  <a:pt x="875" y="565"/>
                </a:lnTo>
                <a:close/>
                <a:moveTo>
                  <a:pt x="882" y="606"/>
                </a:moveTo>
                <a:lnTo>
                  <a:pt x="882" y="606"/>
                </a:lnTo>
                <a:lnTo>
                  <a:pt x="881" y="606"/>
                </a:lnTo>
                <a:lnTo>
                  <a:pt x="880" y="603"/>
                </a:lnTo>
                <a:lnTo>
                  <a:pt x="881" y="606"/>
                </a:lnTo>
                <a:lnTo>
                  <a:pt x="882" y="606"/>
                </a:lnTo>
                <a:close/>
                <a:moveTo>
                  <a:pt x="873" y="577"/>
                </a:moveTo>
                <a:lnTo>
                  <a:pt x="875" y="574"/>
                </a:lnTo>
                <a:lnTo>
                  <a:pt x="882" y="572"/>
                </a:lnTo>
                <a:lnTo>
                  <a:pt x="875" y="574"/>
                </a:lnTo>
                <a:lnTo>
                  <a:pt x="873" y="577"/>
                </a:lnTo>
                <a:close/>
                <a:moveTo>
                  <a:pt x="874" y="588"/>
                </a:moveTo>
                <a:lnTo>
                  <a:pt x="874" y="589"/>
                </a:lnTo>
                <a:lnTo>
                  <a:pt x="874" y="591"/>
                </a:lnTo>
                <a:lnTo>
                  <a:pt x="874" y="589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lnTo>
                  <a:pt x="875" y="585"/>
                </a:lnTo>
                <a:lnTo>
                  <a:pt x="875" y="580"/>
                </a:lnTo>
                <a:lnTo>
                  <a:pt x="875" y="585"/>
                </a:lnTo>
                <a:lnTo>
                  <a:pt x="874" y="588"/>
                </a:lnTo>
                <a:lnTo>
                  <a:pt x="874" y="588"/>
                </a:lnTo>
                <a:lnTo>
                  <a:pt x="874" y="588"/>
                </a:lnTo>
                <a:close/>
                <a:moveTo>
                  <a:pt x="900" y="559"/>
                </a:moveTo>
                <a:lnTo>
                  <a:pt x="896" y="559"/>
                </a:lnTo>
                <a:lnTo>
                  <a:pt x="893" y="560"/>
                </a:lnTo>
                <a:lnTo>
                  <a:pt x="896" y="559"/>
                </a:lnTo>
                <a:lnTo>
                  <a:pt x="900" y="559"/>
                </a:lnTo>
                <a:lnTo>
                  <a:pt x="904" y="557"/>
                </a:lnTo>
                <a:lnTo>
                  <a:pt x="909" y="556"/>
                </a:lnTo>
                <a:lnTo>
                  <a:pt x="913" y="557"/>
                </a:lnTo>
                <a:lnTo>
                  <a:pt x="914" y="560"/>
                </a:lnTo>
                <a:lnTo>
                  <a:pt x="905" y="561"/>
                </a:lnTo>
                <a:lnTo>
                  <a:pt x="900" y="559"/>
                </a:lnTo>
                <a:close/>
                <a:moveTo>
                  <a:pt x="944" y="514"/>
                </a:moveTo>
                <a:lnTo>
                  <a:pt x="946" y="516"/>
                </a:lnTo>
                <a:lnTo>
                  <a:pt x="951" y="515"/>
                </a:lnTo>
                <a:lnTo>
                  <a:pt x="955" y="514"/>
                </a:lnTo>
                <a:lnTo>
                  <a:pt x="955" y="518"/>
                </a:lnTo>
                <a:lnTo>
                  <a:pt x="956" y="519"/>
                </a:lnTo>
                <a:lnTo>
                  <a:pt x="958" y="519"/>
                </a:lnTo>
                <a:lnTo>
                  <a:pt x="964" y="517"/>
                </a:lnTo>
                <a:lnTo>
                  <a:pt x="969" y="519"/>
                </a:lnTo>
                <a:lnTo>
                  <a:pt x="973" y="522"/>
                </a:lnTo>
                <a:lnTo>
                  <a:pt x="978" y="522"/>
                </a:lnTo>
                <a:lnTo>
                  <a:pt x="974" y="526"/>
                </a:lnTo>
                <a:lnTo>
                  <a:pt x="972" y="530"/>
                </a:lnTo>
                <a:lnTo>
                  <a:pt x="967" y="525"/>
                </a:lnTo>
                <a:lnTo>
                  <a:pt x="964" y="524"/>
                </a:lnTo>
                <a:lnTo>
                  <a:pt x="957" y="528"/>
                </a:lnTo>
                <a:lnTo>
                  <a:pt x="953" y="536"/>
                </a:lnTo>
                <a:lnTo>
                  <a:pt x="953" y="538"/>
                </a:lnTo>
                <a:lnTo>
                  <a:pt x="951" y="540"/>
                </a:lnTo>
                <a:lnTo>
                  <a:pt x="949" y="538"/>
                </a:lnTo>
                <a:lnTo>
                  <a:pt x="946" y="535"/>
                </a:lnTo>
                <a:lnTo>
                  <a:pt x="944" y="536"/>
                </a:lnTo>
                <a:lnTo>
                  <a:pt x="943" y="536"/>
                </a:lnTo>
                <a:lnTo>
                  <a:pt x="944" y="536"/>
                </a:lnTo>
                <a:lnTo>
                  <a:pt x="946" y="535"/>
                </a:lnTo>
                <a:lnTo>
                  <a:pt x="945" y="533"/>
                </a:lnTo>
                <a:lnTo>
                  <a:pt x="945" y="531"/>
                </a:lnTo>
                <a:lnTo>
                  <a:pt x="951" y="529"/>
                </a:lnTo>
                <a:lnTo>
                  <a:pt x="953" y="525"/>
                </a:lnTo>
                <a:lnTo>
                  <a:pt x="951" y="521"/>
                </a:lnTo>
                <a:lnTo>
                  <a:pt x="945" y="518"/>
                </a:lnTo>
                <a:lnTo>
                  <a:pt x="937" y="514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8" y="510"/>
                </a:lnTo>
                <a:lnTo>
                  <a:pt x="927" y="510"/>
                </a:lnTo>
                <a:lnTo>
                  <a:pt x="927" y="505"/>
                </a:lnTo>
                <a:lnTo>
                  <a:pt x="929" y="502"/>
                </a:lnTo>
                <a:lnTo>
                  <a:pt x="928" y="497"/>
                </a:lnTo>
                <a:lnTo>
                  <a:pt x="927" y="496"/>
                </a:lnTo>
                <a:lnTo>
                  <a:pt x="928" y="497"/>
                </a:lnTo>
                <a:lnTo>
                  <a:pt x="929" y="502"/>
                </a:lnTo>
                <a:lnTo>
                  <a:pt x="931" y="505"/>
                </a:lnTo>
                <a:lnTo>
                  <a:pt x="932" y="509"/>
                </a:lnTo>
                <a:lnTo>
                  <a:pt x="937" y="510"/>
                </a:lnTo>
                <a:lnTo>
                  <a:pt x="941" y="507"/>
                </a:lnTo>
                <a:lnTo>
                  <a:pt x="943" y="507"/>
                </a:lnTo>
                <a:lnTo>
                  <a:pt x="945" y="508"/>
                </a:lnTo>
                <a:lnTo>
                  <a:pt x="944" y="510"/>
                </a:lnTo>
                <a:lnTo>
                  <a:pt x="944" y="514"/>
                </a:lnTo>
                <a:lnTo>
                  <a:pt x="944" y="514"/>
                </a:lnTo>
                <a:close/>
                <a:moveTo>
                  <a:pt x="928" y="510"/>
                </a:moveTo>
                <a:lnTo>
                  <a:pt x="927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5" y="511"/>
                </a:lnTo>
                <a:lnTo>
                  <a:pt x="922" y="518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8" y="515"/>
                </a:lnTo>
                <a:lnTo>
                  <a:pt x="925" y="511"/>
                </a:lnTo>
                <a:lnTo>
                  <a:pt x="927" y="511"/>
                </a:lnTo>
                <a:lnTo>
                  <a:pt x="927" y="510"/>
                </a:lnTo>
                <a:lnTo>
                  <a:pt x="927" y="510"/>
                </a:lnTo>
                <a:lnTo>
                  <a:pt x="927" y="510"/>
                </a:lnTo>
                <a:lnTo>
                  <a:pt x="928" y="510"/>
                </a:lnTo>
                <a:lnTo>
                  <a:pt x="928" y="510"/>
                </a:lnTo>
                <a:close/>
                <a:moveTo>
                  <a:pt x="915" y="522"/>
                </a:moveTo>
                <a:lnTo>
                  <a:pt x="911" y="529"/>
                </a:lnTo>
                <a:lnTo>
                  <a:pt x="905" y="532"/>
                </a:lnTo>
                <a:lnTo>
                  <a:pt x="908" y="525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lnTo>
                  <a:pt x="915" y="522"/>
                </a:lnTo>
                <a:close/>
                <a:moveTo>
                  <a:pt x="946" y="504"/>
                </a:moveTo>
                <a:lnTo>
                  <a:pt x="946" y="504"/>
                </a:lnTo>
                <a:lnTo>
                  <a:pt x="946" y="504"/>
                </a:lnTo>
                <a:lnTo>
                  <a:pt x="946" y="504"/>
                </a:lnTo>
                <a:close/>
                <a:moveTo>
                  <a:pt x="956" y="477"/>
                </a:moveTo>
                <a:lnTo>
                  <a:pt x="957" y="481"/>
                </a:lnTo>
                <a:lnTo>
                  <a:pt x="955" y="484"/>
                </a:lnTo>
                <a:lnTo>
                  <a:pt x="950" y="485"/>
                </a:lnTo>
                <a:lnTo>
                  <a:pt x="946" y="482"/>
                </a:lnTo>
                <a:lnTo>
                  <a:pt x="951" y="477"/>
                </a:lnTo>
                <a:lnTo>
                  <a:pt x="956" y="477"/>
                </a:lnTo>
                <a:close/>
                <a:moveTo>
                  <a:pt x="956" y="420"/>
                </a:moveTo>
                <a:lnTo>
                  <a:pt x="959" y="419"/>
                </a:lnTo>
                <a:lnTo>
                  <a:pt x="962" y="419"/>
                </a:lnTo>
                <a:lnTo>
                  <a:pt x="964" y="422"/>
                </a:lnTo>
                <a:lnTo>
                  <a:pt x="965" y="425"/>
                </a:lnTo>
                <a:lnTo>
                  <a:pt x="964" y="422"/>
                </a:lnTo>
                <a:lnTo>
                  <a:pt x="962" y="419"/>
                </a:lnTo>
                <a:lnTo>
                  <a:pt x="962" y="427"/>
                </a:lnTo>
                <a:lnTo>
                  <a:pt x="962" y="434"/>
                </a:lnTo>
                <a:lnTo>
                  <a:pt x="958" y="435"/>
                </a:lnTo>
                <a:lnTo>
                  <a:pt x="955" y="435"/>
                </a:lnTo>
                <a:lnTo>
                  <a:pt x="955" y="436"/>
                </a:lnTo>
                <a:lnTo>
                  <a:pt x="955" y="436"/>
                </a:lnTo>
                <a:lnTo>
                  <a:pt x="955" y="436"/>
                </a:lnTo>
                <a:lnTo>
                  <a:pt x="955" y="435"/>
                </a:lnTo>
                <a:lnTo>
                  <a:pt x="952" y="435"/>
                </a:lnTo>
                <a:lnTo>
                  <a:pt x="951" y="438"/>
                </a:lnTo>
                <a:lnTo>
                  <a:pt x="950" y="438"/>
                </a:lnTo>
                <a:lnTo>
                  <a:pt x="949" y="436"/>
                </a:lnTo>
                <a:lnTo>
                  <a:pt x="951" y="428"/>
                </a:lnTo>
                <a:lnTo>
                  <a:pt x="956" y="420"/>
                </a:lnTo>
                <a:close/>
                <a:moveTo>
                  <a:pt x="960" y="463"/>
                </a:moveTo>
                <a:lnTo>
                  <a:pt x="957" y="466"/>
                </a:lnTo>
                <a:lnTo>
                  <a:pt x="951" y="464"/>
                </a:lnTo>
                <a:lnTo>
                  <a:pt x="953" y="462"/>
                </a:lnTo>
                <a:lnTo>
                  <a:pt x="956" y="459"/>
                </a:lnTo>
                <a:lnTo>
                  <a:pt x="956" y="456"/>
                </a:lnTo>
                <a:lnTo>
                  <a:pt x="959" y="455"/>
                </a:lnTo>
                <a:lnTo>
                  <a:pt x="963" y="457"/>
                </a:lnTo>
                <a:lnTo>
                  <a:pt x="965" y="459"/>
                </a:lnTo>
                <a:lnTo>
                  <a:pt x="964" y="462"/>
                </a:lnTo>
                <a:lnTo>
                  <a:pt x="960" y="463"/>
                </a:lnTo>
                <a:close/>
                <a:moveTo>
                  <a:pt x="972" y="440"/>
                </a:moveTo>
                <a:lnTo>
                  <a:pt x="972" y="443"/>
                </a:lnTo>
                <a:lnTo>
                  <a:pt x="967" y="446"/>
                </a:lnTo>
                <a:lnTo>
                  <a:pt x="971" y="448"/>
                </a:lnTo>
                <a:lnTo>
                  <a:pt x="974" y="450"/>
                </a:lnTo>
                <a:lnTo>
                  <a:pt x="971" y="448"/>
                </a:lnTo>
                <a:lnTo>
                  <a:pt x="967" y="446"/>
                </a:lnTo>
                <a:lnTo>
                  <a:pt x="965" y="446"/>
                </a:lnTo>
                <a:lnTo>
                  <a:pt x="963" y="443"/>
                </a:lnTo>
                <a:lnTo>
                  <a:pt x="960" y="443"/>
                </a:lnTo>
                <a:lnTo>
                  <a:pt x="959" y="443"/>
                </a:lnTo>
                <a:lnTo>
                  <a:pt x="955" y="445"/>
                </a:lnTo>
                <a:lnTo>
                  <a:pt x="950" y="441"/>
                </a:lnTo>
                <a:lnTo>
                  <a:pt x="956" y="440"/>
                </a:lnTo>
                <a:lnTo>
                  <a:pt x="960" y="439"/>
                </a:lnTo>
                <a:lnTo>
                  <a:pt x="960" y="441"/>
                </a:lnTo>
                <a:lnTo>
                  <a:pt x="959" y="443"/>
                </a:lnTo>
                <a:lnTo>
                  <a:pt x="960" y="443"/>
                </a:lnTo>
                <a:lnTo>
                  <a:pt x="963" y="443"/>
                </a:lnTo>
                <a:lnTo>
                  <a:pt x="964" y="442"/>
                </a:lnTo>
                <a:lnTo>
                  <a:pt x="965" y="441"/>
                </a:lnTo>
                <a:lnTo>
                  <a:pt x="969" y="439"/>
                </a:lnTo>
                <a:lnTo>
                  <a:pt x="972" y="440"/>
                </a:lnTo>
                <a:close/>
                <a:moveTo>
                  <a:pt x="979" y="475"/>
                </a:moveTo>
                <a:lnTo>
                  <a:pt x="978" y="477"/>
                </a:lnTo>
                <a:lnTo>
                  <a:pt x="980" y="480"/>
                </a:lnTo>
                <a:lnTo>
                  <a:pt x="982" y="481"/>
                </a:lnTo>
                <a:lnTo>
                  <a:pt x="982" y="483"/>
                </a:lnTo>
                <a:lnTo>
                  <a:pt x="976" y="494"/>
                </a:lnTo>
                <a:lnTo>
                  <a:pt x="976" y="507"/>
                </a:lnTo>
                <a:lnTo>
                  <a:pt x="972" y="505"/>
                </a:lnTo>
                <a:lnTo>
                  <a:pt x="972" y="502"/>
                </a:lnTo>
                <a:lnTo>
                  <a:pt x="972" y="501"/>
                </a:lnTo>
                <a:lnTo>
                  <a:pt x="972" y="501"/>
                </a:lnTo>
                <a:lnTo>
                  <a:pt x="972" y="501"/>
                </a:lnTo>
                <a:lnTo>
                  <a:pt x="971" y="501"/>
                </a:lnTo>
                <a:lnTo>
                  <a:pt x="967" y="501"/>
                </a:lnTo>
                <a:lnTo>
                  <a:pt x="966" y="497"/>
                </a:lnTo>
                <a:lnTo>
                  <a:pt x="967" y="496"/>
                </a:lnTo>
                <a:lnTo>
                  <a:pt x="969" y="495"/>
                </a:lnTo>
                <a:lnTo>
                  <a:pt x="967" y="495"/>
                </a:lnTo>
                <a:lnTo>
                  <a:pt x="966" y="495"/>
                </a:lnTo>
                <a:lnTo>
                  <a:pt x="966" y="489"/>
                </a:lnTo>
                <a:lnTo>
                  <a:pt x="966" y="484"/>
                </a:lnTo>
                <a:lnTo>
                  <a:pt x="966" y="482"/>
                </a:lnTo>
                <a:lnTo>
                  <a:pt x="970" y="482"/>
                </a:lnTo>
                <a:lnTo>
                  <a:pt x="976" y="481"/>
                </a:lnTo>
                <a:lnTo>
                  <a:pt x="977" y="476"/>
                </a:lnTo>
                <a:lnTo>
                  <a:pt x="977" y="469"/>
                </a:lnTo>
                <a:lnTo>
                  <a:pt x="973" y="462"/>
                </a:lnTo>
                <a:lnTo>
                  <a:pt x="980" y="467"/>
                </a:lnTo>
                <a:lnTo>
                  <a:pt x="979" y="475"/>
                </a:lnTo>
                <a:close/>
                <a:moveTo>
                  <a:pt x="989" y="536"/>
                </a:moveTo>
                <a:lnTo>
                  <a:pt x="991" y="535"/>
                </a:lnTo>
                <a:lnTo>
                  <a:pt x="992" y="535"/>
                </a:lnTo>
                <a:lnTo>
                  <a:pt x="997" y="535"/>
                </a:lnTo>
                <a:lnTo>
                  <a:pt x="1000" y="536"/>
                </a:lnTo>
                <a:lnTo>
                  <a:pt x="991" y="540"/>
                </a:lnTo>
                <a:lnTo>
                  <a:pt x="989" y="536"/>
                </a:lnTo>
                <a:lnTo>
                  <a:pt x="985" y="536"/>
                </a:lnTo>
                <a:lnTo>
                  <a:pt x="980" y="537"/>
                </a:lnTo>
                <a:lnTo>
                  <a:pt x="985" y="536"/>
                </a:lnTo>
                <a:lnTo>
                  <a:pt x="989" y="536"/>
                </a:lnTo>
                <a:close/>
                <a:moveTo>
                  <a:pt x="985" y="498"/>
                </a:moveTo>
                <a:lnTo>
                  <a:pt x="987" y="491"/>
                </a:lnTo>
                <a:lnTo>
                  <a:pt x="986" y="483"/>
                </a:lnTo>
                <a:lnTo>
                  <a:pt x="989" y="476"/>
                </a:lnTo>
                <a:lnTo>
                  <a:pt x="996" y="478"/>
                </a:lnTo>
                <a:lnTo>
                  <a:pt x="997" y="478"/>
                </a:lnTo>
                <a:lnTo>
                  <a:pt x="998" y="478"/>
                </a:lnTo>
                <a:lnTo>
                  <a:pt x="998" y="478"/>
                </a:lnTo>
                <a:lnTo>
                  <a:pt x="999" y="480"/>
                </a:lnTo>
                <a:lnTo>
                  <a:pt x="1000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1" y="481"/>
                </a:lnTo>
                <a:lnTo>
                  <a:pt x="1000" y="481"/>
                </a:lnTo>
                <a:lnTo>
                  <a:pt x="996" y="481"/>
                </a:lnTo>
                <a:lnTo>
                  <a:pt x="992" y="483"/>
                </a:lnTo>
                <a:lnTo>
                  <a:pt x="994" y="489"/>
                </a:lnTo>
                <a:lnTo>
                  <a:pt x="1000" y="494"/>
                </a:lnTo>
                <a:lnTo>
                  <a:pt x="991" y="497"/>
                </a:lnTo>
                <a:lnTo>
                  <a:pt x="986" y="507"/>
                </a:lnTo>
                <a:lnTo>
                  <a:pt x="985" y="507"/>
                </a:lnTo>
                <a:lnTo>
                  <a:pt x="985" y="507"/>
                </a:lnTo>
                <a:lnTo>
                  <a:pt x="985" y="509"/>
                </a:lnTo>
                <a:lnTo>
                  <a:pt x="986" y="510"/>
                </a:lnTo>
                <a:lnTo>
                  <a:pt x="985" y="509"/>
                </a:lnTo>
                <a:lnTo>
                  <a:pt x="985" y="507"/>
                </a:lnTo>
                <a:lnTo>
                  <a:pt x="983" y="503"/>
                </a:lnTo>
                <a:lnTo>
                  <a:pt x="985" y="498"/>
                </a:lnTo>
                <a:close/>
                <a:moveTo>
                  <a:pt x="1006" y="495"/>
                </a:moveTo>
                <a:lnTo>
                  <a:pt x="1004" y="497"/>
                </a:lnTo>
                <a:lnTo>
                  <a:pt x="1003" y="498"/>
                </a:lnTo>
                <a:lnTo>
                  <a:pt x="1008" y="503"/>
                </a:lnTo>
                <a:lnTo>
                  <a:pt x="1012" y="511"/>
                </a:lnTo>
                <a:lnTo>
                  <a:pt x="1012" y="511"/>
                </a:lnTo>
                <a:lnTo>
                  <a:pt x="1013" y="512"/>
                </a:lnTo>
                <a:lnTo>
                  <a:pt x="1018" y="511"/>
                </a:lnTo>
                <a:lnTo>
                  <a:pt x="1018" y="507"/>
                </a:lnTo>
                <a:lnTo>
                  <a:pt x="1018" y="505"/>
                </a:lnTo>
                <a:lnTo>
                  <a:pt x="1019" y="504"/>
                </a:lnTo>
                <a:lnTo>
                  <a:pt x="1020" y="505"/>
                </a:lnTo>
                <a:lnTo>
                  <a:pt x="1022" y="505"/>
                </a:lnTo>
                <a:lnTo>
                  <a:pt x="1022" y="504"/>
                </a:lnTo>
                <a:lnTo>
                  <a:pt x="1024" y="504"/>
                </a:lnTo>
                <a:lnTo>
                  <a:pt x="1022" y="504"/>
                </a:lnTo>
                <a:lnTo>
                  <a:pt x="1022" y="505"/>
                </a:lnTo>
                <a:lnTo>
                  <a:pt x="1026" y="510"/>
                </a:lnTo>
                <a:lnTo>
                  <a:pt x="1022" y="515"/>
                </a:lnTo>
                <a:lnTo>
                  <a:pt x="1019" y="517"/>
                </a:lnTo>
                <a:lnTo>
                  <a:pt x="1018" y="522"/>
                </a:lnTo>
                <a:lnTo>
                  <a:pt x="1014" y="522"/>
                </a:lnTo>
                <a:lnTo>
                  <a:pt x="1013" y="524"/>
                </a:lnTo>
                <a:lnTo>
                  <a:pt x="1012" y="524"/>
                </a:lnTo>
                <a:lnTo>
                  <a:pt x="1012" y="524"/>
                </a:lnTo>
                <a:lnTo>
                  <a:pt x="1012" y="518"/>
                </a:lnTo>
                <a:lnTo>
                  <a:pt x="1013" y="512"/>
                </a:lnTo>
                <a:lnTo>
                  <a:pt x="1012" y="511"/>
                </a:lnTo>
                <a:lnTo>
                  <a:pt x="1012" y="511"/>
                </a:lnTo>
                <a:lnTo>
                  <a:pt x="1005" y="512"/>
                </a:lnTo>
                <a:lnTo>
                  <a:pt x="1005" y="519"/>
                </a:lnTo>
                <a:lnTo>
                  <a:pt x="1004" y="521"/>
                </a:lnTo>
                <a:lnTo>
                  <a:pt x="1003" y="522"/>
                </a:lnTo>
                <a:lnTo>
                  <a:pt x="1000" y="519"/>
                </a:lnTo>
                <a:lnTo>
                  <a:pt x="999" y="522"/>
                </a:lnTo>
                <a:lnTo>
                  <a:pt x="993" y="522"/>
                </a:lnTo>
                <a:lnTo>
                  <a:pt x="989" y="522"/>
                </a:lnTo>
                <a:lnTo>
                  <a:pt x="992" y="515"/>
                </a:lnTo>
                <a:lnTo>
                  <a:pt x="992" y="508"/>
                </a:lnTo>
                <a:lnTo>
                  <a:pt x="990" y="508"/>
                </a:lnTo>
                <a:lnTo>
                  <a:pt x="989" y="508"/>
                </a:lnTo>
                <a:lnTo>
                  <a:pt x="990" y="508"/>
                </a:lnTo>
                <a:lnTo>
                  <a:pt x="992" y="508"/>
                </a:lnTo>
                <a:lnTo>
                  <a:pt x="996" y="502"/>
                </a:lnTo>
                <a:lnTo>
                  <a:pt x="1003" y="498"/>
                </a:lnTo>
                <a:lnTo>
                  <a:pt x="1004" y="497"/>
                </a:lnTo>
                <a:lnTo>
                  <a:pt x="1006" y="495"/>
                </a:lnTo>
                <a:close/>
                <a:moveTo>
                  <a:pt x="1017" y="524"/>
                </a:moveTo>
                <a:lnTo>
                  <a:pt x="1017" y="523"/>
                </a:lnTo>
                <a:lnTo>
                  <a:pt x="1018" y="522"/>
                </a:lnTo>
                <a:lnTo>
                  <a:pt x="1018" y="522"/>
                </a:lnTo>
                <a:lnTo>
                  <a:pt x="1017" y="523"/>
                </a:lnTo>
                <a:lnTo>
                  <a:pt x="1017" y="524"/>
                </a:lnTo>
                <a:close/>
                <a:moveTo>
                  <a:pt x="999" y="522"/>
                </a:moveTo>
                <a:lnTo>
                  <a:pt x="1000" y="522"/>
                </a:lnTo>
                <a:lnTo>
                  <a:pt x="1001" y="522"/>
                </a:lnTo>
                <a:lnTo>
                  <a:pt x="1003" y="524"/>
                </a:lnTo>
                <a:lnTo>
                  <a:pt x="1001" y="524"/>
                </a:lnTo>
                <a:lnTo>
                  <a:pt x="999" y="524"/>
                </a:lnTo>
                <a:lnTo>
                  <a:pt x="999" y="522"/>
                </a:lnTo>
                <a:close/>
                <a:moveTo>
                  <a:pt x="1000" y="557"/>
                </a:moveTo>
                <a:lnTo>
                  <a:pt x="1000" y="558"/>
                </a:lnTo>
                <a:lnTo>
                  <a:pt x="1000" y="559"/>
                </a:lnTo>
                <a:lnTo>
                  <a:pt x="1000" y="563"/>
                </a:lnTo>
                <a:lnTo>
                  <a:pt x="1000" y="565"/>
                </a:lnTo>
                <a:lnTo>
                  <a:pt x="1000" y="563"/>
                </a:lnTo>
                <a:lnTo>
                  <a:pt x="1000" y="559"/>
                </a:lnTo>
                <a:lnTo>
                  <a:pt x="1000" y="558"/>
                </a:lnTo>
                <a:lnTo>
                  <a:pt x="1000" y="557"/>
                </a:lnTo>
                <a:close/>
                <a:moveTo>
                  <a:pt x="998" y="558"/>
                </a:moveTo>
                <a:lnTo>
                  <a:pt x="998" y="558"/>
                </a:lnTo>
                <a:lnTo>
                  <a:pt x="998" y="557"/>
                </a:lnTo>
                <a:lnTo>
                  <a:pt x="998" y="558"/>
                </a:lnTo>
                <a:lnTo>
                  <a:pt x="998" y="558"/>
                </a:lnTo>
                <a:close/>
                <a:moveTo>
                  <a:pt x="993" y="593"/>
                </a:moveTo>
                <a:lnTo>
                  <a:pt x="996" y="591"/>
                </a:lnTo>
                <a:lnTo>
                  <a:pt x="998" y="587"/>
                </a:lnTo>
                <a:lnTo>
                  <a:pt x="1000" y="586"/>
                </a:lnTo>
                <a:lnTo>
                  <a:pt x="1001" y="584"/>
                </a:lnTo>
                <a:lnTo>
                  <a:pt x="1000" y="586"/>
                </a:lnTo>
                <a:lnTo>
                  <a:pt x="998" y="587"/>
                </a:lnTo>
                <a:lnTo>
                  <a:pt x="996" y="591"/>
                </a:lnTo>
                <a:lnTo>
                  <a:pt x="993" y="593"/>
                </a:lnTo>
                <a:close/>
                <a:moveTo>
                  <a:pt x="977" y="552"/>
                </a:moveTo>
                <a:lnTo>
                  <a:pt x="979" y="552"/>
                </a:lnTo>
                <a:lnTo>
                  <a:pt x="982" y="552"/>
                </a:lnTo>
                <a:lnTo>
                  <a:pt x="982" y="551"/>
                </a:lnTo>
                <a:lnTo>
                  <a:pt x="982" y="549"/>
                </a:lnTo>
                <a:lnTo>
                  <a:pt x="982" y="551"/>
                </a:lnTo>
                <a:lnTo>
                  <a:pt x="982" y="552"/>
                </a:lnTo>
                <a:lnTo>
                  <a:pt x="986" y="557"/>
                </a:lnTo>
                <a:lnTo>
                  <a:pt x="986" y="564"/>
                </a:lnTo>
                <a:lnTo>
                  <a:pt x="983" y="561"/>
                </a:lnTo>
                <a:lnTo>
                  <a:pt x="982" y="559"/>
                </a:lnTo>
                <a:lnTo>
                  <a:pt x="980" y="559"/>
                </a:lnTo>
                <a:lnTo>
                  <a:pt x="979" y="560"/>
                </a:lnTo>
                <a:lnTo>
                  <a:pt x="979" y="565"/>
                </a:lnTo>
                <a:lnTo>
                  <a:pt x="977" y="567"/>
                </a:lnTo>
                <a:lnTo>
                  <a:pt x="974" y="567"/>
                </a:lnTo>
                <a:lnTo>
                  <a:pt x="973" y="566"/>
                </a:lnTo>
                <a:lnTo>
                  <a:pt x="972" y="561"/>
                </a:lnTo>
                <a:lnTo>
                  <a:pt x="974" y="557"/>
                </a:lnTo>
                <a:lnTo>
                  <a:pt x="977" y="554"/>
                </a:lnTo>
                <a:lnTo>
                  <a:pt x="977" y="552"/>
                </a:lnTo>
                <a:close/>
                <a:moveTo>
                  <a:pt x="971" y="540"/>
                </a:moveTo>
                <a:lnTo>
                  <a:pt x="972" y="539"/>
                </a:lnTo>
                <a:lnTo>
                  <a:pt x="972" y="539"/>
                </a:lnTo>
                <a:lnTo>
                  <a:pt x="972" y="539"/>
                </a:lnTo>
                <a:lnTo>
                  <a:pt x="971" y="540"/>
                </a:lnTo>
                <a:lnTo>
                  <a:pt x="977" y="540"/>
                </a:lnTo>
                <a:lnTo>
                  <a:pt x="978" y="546"/>
                </a:lnTo>
                <a:lnTo>
                  <a:pt x="982" y="546"/>
                </a:lnTo>
                <a:lnTo>
                  <a:pt x="985" y="546"/>
                </a:lnTo>
                <a:lnTo>
                  <a:pt x="982" y="546"/>
                </a:lnTo>
                <a:lnTo>
                  <a:pt x="978" y="546"/>
                </a:lnTo>
                <a:lnTo>
                  <a:pt x="978" y="546"/>
                </a:lnTo>
                <a:lnTo>
                  <a:pt x="977" y="546"/>
                </a:lnTo>
                <a:lnTo>
                  <a:pt x="971" y="546"/>
                </a:lnTo>
                <a:lnTo>
                  <a:pt x="966" y="545"/>
                </a:lnTo>
                <a:lnTo>
                  <a:pt x="965" y="547"/>
                </a:lnTo>
                <a:lnTo>
                  <a:pt x="963" y="547"/>
                </a:lnTo>
                <a:lnTo>
                  <a:pt x="965" y="547"/>
                </a:lnTo>
                <a:lnTo>
                  <a:pt x="966" y="545"/>
                </a:lnTo>
                <a:lnTo>
                  <a:pt x="967" y="542"/>
                </a:lnTo>
                <a:lnTo>
                  <a:pt x="971" y="540"/>
                </a:lnTo>
                <a:close/>
                <a:moveTo>
                  <a:pt x="951" y="545"/>
                </a:moveTo>
                <a:lnTo>
                  <a:pt x="955" y="546"/>
                </a:lnTo>
                <a:lnTo>
                  <a:pt x="953" y="550"/>
                </a:lnTo>
                <a:lnTo>
                  <a:pt x="950" y="552"/>
                </a:lnTo>
                <a:lnTo>
                  <a:pt x="946" y="552"/>
                </a:lnTo>
                <a:lnTo>
                  <a:pt x="945" y="547"/>
                </a:lnTo>
                <a:lnTo>
                  <a:pt x="951" y="545"/>
                </a:lnTo>
                <a:lnTo>
                  <a:pt x="951" y="545"/>
                </a:lnTo>
                <a:close/>
                <a:moveTo>
                  <a:pt x="992" y="616"/>
                </a:moveTo>
                <a:lnTo>
                  <a:pt x="990" y="615"/>
                </a:lnTo>
                <a:lnTo>
                  <a:pt x="989" y="614"/>
                </a:lnTo>
                <a:lnTo>
                  <a:pt x="978" y="605"/>
                </a:lnTo>
                <a:lnTo>
                  <a:pt x="964" y="603"/>
                </a:lnTo>
                <a:lnTo>
                  <a:pt x="953" y="610"/>
                </a:lnTo>
                <a:lnTo>
                  <a:pt x="946" y="619"/>
                </a:lnTo>
                <a:lnTo>
                  <a:pt x="945" y="616"/>
                </a:lnTo>
                <a:lnTo>
                  <a:pt x="944" y="614"/>
                </a:lnTo>
                <a:lnTo>
                  <a:pt x="939" y="608"/>
                </a:lnTo>
                <a:lnTo>
                  <a:pt x="938" y="602"/>
                </a:lnTo>
                <a:lnTo>
                  <a:pt x="945" y="599"/>
                </a:lnTo>
                <a:lnTo>
                  <a:pt x="950" y="591"/>
                </a:lnTo>
                <a:lnTo>
                  <a:pt x="955" y="586"/>
                </a:lnTo>
                <a:lnTo>
                  <a:pt x="962" y="584"/>
                </a:lnTo>
                <a:lnTo>
                  <a:pt x="964" y="581"/>
                </a:lnTo>
                <a:lnTo>
                  <a:pt x="964" y="578"/>
                </a:lnTo>
                <a:lnTo>
                  <a:pt x="962" y="577"/>
                </a:lnTo>
                <a:lnTo>
                  <a:pt x="962" y="573"/>
                </a:lnTo>
                <a:lnTo>
                  <a:pt x="962" y="577"/>
                </a:lnTo>
                <a:lnTo>
                  <a:pt x="964" y="578"/>
                </a:lnTo>
                <a:lnTo>
                  <a:pt x="965" y="578"/>
                </a:lnTo>
                <a:lnTo>
                  <a:pt x="966" y="577"/>
                </a:lnTo>
                <a:lnTo>
                  <a:pt x="970" y="579"/>
                </a:lnTo>
                <a:lnTo>
                  <a:pt x="974" y="581"/>
                </a:lnTo>
                <a:lnTo>
                  <a:pt x="976" y="581"/>
                </a:lnTo>
                <a:lnTo>
                  <a:pt x="976" y="584"/>
                </a:lnTo>
                <a:lnTo>
                  <a:pt x="976" y="592"/>
                </a:lnTo>
                <a:lnTo>
                  <a:pt x="984" y="591"/>
                </a:lnTo>
                <a:lnTo>
                  <a:pt x="986" y="591"/>
                </a:lnTo>
                <a:lnTo>
                  <a:pt x="989" y="591"/>
                </a:lnTo>
                <a:lnTo>
                  <a:pt x="989" y="591"/>
                </a:lnTo>
                <a:lnTo>
                  <a:pt x="990" y="589"/>
                </a:lnTo>
                <a:lnTo>
                  <a:pt x="989" y="591"/>
                </a:lnTo>
                <a:lnTo>
                  <a:pt x="989" y="591"/>
                </a:lnTo>
                <a:lnTo>
                  <a:pt x="990" y="591"/>
                </a:lnTo>
                <a:lnTo>
                  <a:pt x="991" y="591"/>
                </a:lnTo>
                <a:lnTo>
                  <a:pt x="991" y="592"/>
                </a:lnTo>
                <a:lnTo>
                  <a:pt x="992" y="592"/>
                </a:lnTo>
                <a:lnTo>
                  <a:pt x="992" y="588"/>
                </a:lnTo>
                <a:lnTo>
                  <a:pt x="993" y="587"/>
                </a:lnTo>
                <a:lnTo>
                  <a:pt x="992" y="588"/>
                </a:lnTo>
                <a:lnTo>
                  <a:pt x="992" y="592"/>
                </a:lnTo>
                <a:lnTo>
                  <a:pt x="992" y="593"/>
                </a:lnTo>
                <a:lnTo>
                  <a:pt x="992" y="593"/>
                </a:lnTo>
                <a:lnTo>
                  <a:pt x="992" y="593"/>
                </a:lnTo>
                <a:lnTo>
                  <a:pt x="992" y="595"/>
                </a:lnTo>
                <a:lnTo>
                  <a:pt x="992" y="596"/>
                </a:lnTo>
                <a:lnTo>
                  <a:pt x="990" y="601"/>
                </a:lnTo>
                <a:lnTo>
                  <a:pt x="994" y="605"/>
                </a:lnTo>
                <a:lnTo>
                  <a:pt x="997" y="605"/>
                </a:lnTo>
                <a:lnTo>
                  <a:pt x="997" y="606"/>
                </a:lnTo>
                <a:lnTo>
                  <a:pt x="997" y="608"/>
                </a:lnTo>
                <a:lnTo>
                  <a:pt x="996" y="608"/>
                </a:lnTo>
                <a:lnTo>
                  <a:pt x="991" y="612"/>
                </a:lnTo>
                <a:lnTo>
                  <a:pt x="992" y="616"/>
                </a:lnTo>
                <a:lnTo>
                  <a:pt x="992" y="616"/>
                </a:lnTo>
                <a:close/>
                <a:moveTo>
                  <a:pt x="990" y="769"/>
                </a:moveTo>
                <a:lnTo>
                  <a:pt x="992" y="767"/>
                </a:lnTo>
                <a:lnTo>
                  <a:pt x="996" y="766"/>
                </a:lnTo>
                <a:lnTo>
                  <a:pt x="996" y="766"/>
                </a:lnTo>
                <a:lnTo>
                  <a:pt x="996" y="766"/>
                </a:lnTo>
                <a:lnTo>
                  <a:pt x="992" y="767"/>
                </a:lnTo>
                <a:lnTo>
                  <a:pt x="990" y="769"/>
                </a:lnTo>
                <a:close/>
                <a:moveTo>
                  <a:pt x="989" y="805"/>
                </a:moveTo>
                <a:lnTo>
                  <a:pt x="983" y="806"/>
                </a:lnTo>
                <a:lnTo>
                  <a:pt x="986" y="812"/>
                </a:lnTo>
                <a:lnTo>
                  <a:pt x="987" y="816"/>
                </a:lnTo>
                <a:lnTo>
                  <a:pt x="986" y="819"/>
                </a:lnTo>
                <a:lnTo>
                  <a:pt x="984" y="820"/>
                </a:lnTo>
                <a:lnTo>
                  <a:pt x="980" y="819"/>
                </a:lnTo>
                <a:lnTo>
                  <a:pt x="974" y="819"/>
                </a:lnTo>
                <a:lnTo>
                  <a:pt x="974" y="825"/>
                </a:lnTo>
                <a:lnTo>
                  <a:pt x="967" y="826"/>
                </a:lnTo>
                <a:lnTo>
                  <a:pt x="962" y="827"/>
                </a:lnTo>
                <a:lnTo>
                  <a:pt x="958" y="824"/>
                </a:lnTo>
                <a:lnTo>
                  <a:pt x="953" y="826"/>
                </a:lnTo>
                <a:lnTo>
                  <a:pt x="953" y="823"/>
                </a:lnTo>
                <a:lnTo>
                  <a:pt x="953" y="818"/>
                </a:lnTo>
                <a:lnTo>
                  <a:pt x="953" y="818"/>
                </a:lnTo>
                <a:lnTo>
                  <a:pt x="955" y="818"/>
                </a:lnTo>
                <a:lnTo>
                  <a:pt x="955" y="818"/>
                </a:lnTo>
                <a:lnTo>
                  <a:pt x="955" y="817"/>
                </a:lnTo>
                <a:lnTo>
                  <a:pt x="955" y="816"/>
                </a:lnTo>
                <a:lnTo>
                  <a:pt x="955" y="817"/>
                </a:lnTo>
                <a:lnTo>
                  <a:pt x="955" y="818"/>
                </a:lnTo>
                <a:lnTo>
                  <a:pt x="958" y="817"/>
                </a:lnTo>
                <a:lnTo>
                  <a:pt x="962" y="817"/>
                </a:lnTo>
                <a:lnTo>
                  <a:pt x="965" y="818"/>
                </a:lnTo>
                <a:lnTo>
                  <a:pt x="970" y="817"/>
                </a:lnTo>
                <a:lnTo>
                  <a:pt x="973" y="813"/>
                </a:lnTo>
                <a:lnTo>
                  <a:pt x="973" y="810"/>
                </a:lnTo>
                <a:lnTo>
                  <a:pt x="970" y="809"/>
                </a:lnTo>
                <a:lnTo>
                  <a:pt x="966" y="810"/>
                </a:lnTo>
                <a:lnTo>
                  <a:pt x="965" y="810"/>
                </a:lnTo>
                <a:lnTo>
                  <a:pt x="963" y="811"/>
                </a:lnTo>
                <a:lnTo>
                  <a:pt x="962" y="808"/>
                </a:lnTo>
                <a:lnTo>
                  <a:pt x="959" y="805"/>
                </a:lnTo>
                <a:lnTo>
                  <a:pt x="956" y="808"/>
                </a:lnTo>
                <a:lnTo>
                  <a:pt x="956" y="812"/>
                </a:lnTo>
                <a:lnTo>
                  <a:pt x="952" y="808"/>
                </a:lnTo>
                <a:lnTo>
                  <a:pt x="953" y="803"/>
                </a:lnTo>
                <a:lnTo>
                  <a:pt x="953" y="799"/>
                </a:lnTo>
                <a:lnTo>
                  <a:pt x="953" y="796"/>
                </a:lnTo>
                <a:lnTo>
                  <a:pt x="953" y="787"/>
                </a:lnTo>
                <a:lnTo>
                  <a:pt x="962" y="785"/>
                </a:lnTo>
                <a:lnTo>
                  <a:pt x="964" y="785"/>
                </a:lnTo>
                <a:lnTo>
                  <a:pt x="966" y="785"/>
                </a:lnTo>
                <a:lnTo>
                  <a:pt x="971" y="783"/>
                </a:lnTo>
                <a:lnTo>
                  <a:pt x="973" y="778"/>
                </a:lnTo>
                <a:lnTo>
                  <a:pt x="970" y="776"/>
                </a:lnTo>
                <a:lnTo>
                  <a:pt x="965" y="777"/>
                </a:lnTo>
                <a:lnTo>
                  <a:pt x="962" y="778"/>
                </a:lnTo>
                <a:lnTo>
                  <a:pt x="959" y="777"/>
                </a:lnTo>
                <a:lnTo>
                  <a:pt x="958" y="776"/>
                </a:lnTo>
                <a:lnTo>
                  <a:pt x="957" y="776"/>
                </a:lnTo>
                <a:lnTo>
                  <a:pt x="955" y="780"/>
                </a:lnTo>
                <a:lnTo>
                  <a:pt x="952" y="780"/>
                </a:lnTo>
                <a:lnTo>
                  <a:pt x="951" y="776"/>
                </a:lnTo>
                <a:lnTo>
                  <a:pt x="952" y="773"/>
                </a:lnTo>
                <a:lnTo>
                  <a:pt x="955" y="768"/>
                </a:lnTo>
                <a:lnTo>
                  <a:pt x="959" y="768"/>
                </a:lnTo>
                <a:lnTo>
                  <a:pt x="965" y="769"/>
                </a:lnTo>
                <a:lnTo>
                  <a:pt x="971" y="766"/>
                </a:lnTo>
                <a:lnTo>
                  <a:pt x="972" y="764"/>
                </a:lnTo>
                <a:lnTo>
                  <a:pt x="973" y="762"/>
                </a:lnTo>
                <a:lnTo>
                  <a:pt x="971" y="760"/>
                </a:lnTo>
                <a:lnTo>
                  <a:pt x="967" y="760"/>
                </a:lnTo>
                <a:lnTo>
                  <a:pt x="962" y="761"/>
                </a:lnTo>
                <a:lnTo>
                  <a:pt x="955" y="761"/>
                </a:lnTo>
                <a:lnTo>
                  <a:pt x="952" y="761"/>
                </a:lnTo>
                <a:lnTo>
                  <a:pt x="952" y="759"/>
                </a:lnTo>
                <a:lnTo>
                  <a:pt x="953" y="754"/>
                </a:lnTo>
                <a:lnTo>
                  <a:pt x="958" y="752"/>
                </a:lnTo>
                <a:lnTo>
                  <a:pt x="963" y="752"/>
                </a:lnTo>
                <a:lnTo>
                  <a:pt x="967" y="752"/>
                </a:lnTo>
                <a:lnTo>
                  <a:pt x="971" y="749"/>
                </a:lnTo>
                <a:lnTo>
                  <a:pt x="972" y="746"/>
                </a:lnTo>
                <a:lnTo>
                  <a:pt x="970" y="743"/>
                </a:lnTo>
                <a:lnTo>
                  <a:pt x="966" y="745"/>
                </a:lnTo>
                <a:lnTo>
                  <a:pt x="960" y="746"/>
                </a:lnTo>
                <a:lnTo>
                  <a:pt x="955" y="747"/>
                </a:lnTo>
                <a:lnTo>
                  <a:pt x="953" y="748"/>
                </a:lnTo>
                <a:lnTo>
                  <a:pt x="952" y="747"/>
                </a:lnTo>
                <a:lnTo>
                  <a:pt x="952" y="742"/>
                </a:lnTo>
                <a:lnTo>
                  <a:pt x="953" y="738"/>
                </a:lnTo>
                <a:lnTo>
                  <a:pt x="956" y="735"/>
                </a:lnTo>
                <a:lnTo>
                  <a:pt x="958" y="735"/>
                </a:lnTo>
                <a:lnTo>
                  <a:pt x="962" y="736"/>
                </a:lnTo>
                <a:lnTo>
                  <a:pt x="965" y="736"/>
                </a:lnTo>
                <a:lnTo>
                  <a:pt x="970" y="735"/>
                </a:lnTo>
                <a:lnTo>
                  <a:pt x="972" y="731"/>
                </a:lnTo>
                <a:lnTo>
                  <a:pt x="970" y="728"/>
                </a:lnTo>
                <a:lnTo>
                  <a:pt x="965" y="729"/>
                </a:lnTo>
                <a:lnTo>
                  <a:pt x="962" y="729"/>
                </a:lnTo>
                <a:lnTo>
                  <a:pt x="959" y="728"/>
                </a:lnTo>
                <a:lnTo>
                  <a:pt x="959" y="726"/>
                </a:lnTo>
                <a:lnTo>
                  <a:pt x="960" y="724"/>
                </a:lnTo>
                <a:lnTo>
                  <a:pt x="966" y="721"/>
                </a:lnTo>
                <a:lnTo>
                  <a:pt x="972" y="722"/>
                </a:lnTo>
                <a:lnTo>
                  <a:pt x="977" y="727"/>
                </a:lnTo>
                <a:lnTo>
                  <a:pt x="983" y="731"/>
                </a:lnTo>
                <a:lnTo>
                  <a:pt x="986" y="734"/>
                </a:lnTo>
                <a:lnTo>
                  <a:pt x="985" y="738"/>
                </a:lnTo>
                <a:lnTo>
                  <a:pt x="984" y="740"/>
                </a:lnTo>
                <a:lnTo>
                  <a:pt x="980" y="739"/>
                </a:lnTo>
                <a:lnTo>
                  <a:pt x="978" y="738"/>
                </a:lnTo>
                <a:lnTo>
                  <a:pt x="974" y="739"/>
                </a:lnTo>
                <a:lnTo>
                  <a:pt x="974" y="742"/>
                </a:lnTo>
                <a:lnTo>
                  <a:pt x="978" y="746"/>
                </a:lnTo>
                <a:lnTo>
                  <a:pt x="980" y="746"/>
                </a:lnTo>
                <a:lnTo>
                  <a:pt x="983" y="746"/>
                </a:lnTo>
                <a:lnTo>
                  <a:pt x="986" y="749"/>
                </a:lnTo>
                <a:lnTo>
                  <a:pt x="985" y="754"/>
                </a:lnTo>
                <a:lnTo>
                  <a:pt x="984" y="756"/>
                </a:lnTo>
                <a:lnTo>
                  <a:pt x="980" y="755"/>
                </a:lnTo>
                <a:lnTo>
                  <a:pt x="977" y="753"/>
                </a:lnTo>
                <a:lnTo>
                  <a:pt x="974" y="754"/>
                </a:lnTo>
                <a:lnTo>
                  <a:pt x="974" y="759"/>
                </a:lnTo>
                <a:lnTo>
                  <a:pt x="978" y="761"/>
                </a:lnTo>
                <a:lnTo>
                  <a:pt x="983" y="762"/>
                </a:lnTo>
                <a:lnTo>
                  <a:pt x="986" y="764"/>
                </a:lnTo>
                <a:lnTo>
                  <a:pt x="984" y="770"/>
                </a:lnTo>
                <a:lnTo>
                  <a:pt x="979" y="769"/>
                </a:lnTo>
                <a:lnTo>
                  <a:pt x="977" y="769"/>
                </a:lnTo>
                <a:lnTo>
                  <a:pt x="974" y="770"/>
                </a:lnTo>
                <a:lnTo>
                  <a:pt x="973" y="773"/>
                </a:lnTo>
                <a:lnTo>
                  <a:pt x="974" y="775"/>
                </a:lnTo>
                <a:lnTo>
                  <a:pt x="980" y="778"/>
                </a:lnTo>
                <a:lnTo>
                  <a:pt x="986" y="780"/>
                </a:lnTo>
                <a:lnTo>
                  <a:pt x="985" y="787"/>
                </a:lnTo>
                <a:lnTo>
                  <a:pt x="978" y="785"/>
                </a:lnTo>
                <a:lnTo>
                  <a:pt x="973" y="787"/>
                </a:lnTo>
                <a:lnTo>
                  <a:pt x="974" y="791"/>
                </a:lnTo>
                <a:lnTo>
                  <a:pt x="970" y="791"/>
                </a:lnTo>
                <a:lnTo>
                  <a:pt x="965" y="792"/>
                </a:lnTo>
                <a:lnTo>
                  <a:pt x="963" y="795"/>
                </a:lnTo>
                <a:lnTo>
                  <a:pt x="960" y="792"/>
                </a:lnTo>
                <a:lnTo>
                  <a:pt x="960" y="792"/>
                </a:lnTo>
                <a:lnTo>
                  <a:pt x="960" y="791"/>
                </a:lnTo>
                <a:lnTo>
                  <a:pt x="960" y="790"/>
                </a:lnTo>
                <a:lnTo>
                  <a:pt x="959" y="790"/>
                </a:lnTo>
                <a:lnTo>
                  <a:pt x="958" y="790"/>
                </a:lnTo>
                <a:lnTo>
                  <a:pt x="956" y="792"/>
                </a:lnTo>
                <a:lnTo>
                  <a:pt x="953" y="796"/>
                </a:lnTo>
                <a:lnTo>
                  <a:pt x="953" y="799"/>
                </a:lnTo>
                <a:lnTo>
                  <a:pt x="953" y="803"/>
                </a:lnTo>
                <a:lnTo>
                  <a:pt x="958" y="802"/>
                </a:lnTo>
                <a:lnTo>
                  <a:pt x="964" y="802"/>
                </a:lnTo>
                <a:lnTo>
                  <a:pt x="972" y="799"/>
                </a:lnTo>
                <a:lnTo>
                  <a:pt x="974" y="792"/>
                </a:lnTo>
                <a:lnTo>
                  <a:pt x="982" y="795"/>
                </a:lnTo>
                <a:lnTo>
                  <a:pt x="989" y="796"/>
                </a:lnTo>
                <a:lnTo>
                  <a:pt x="992" y="798"/>
                </a:lnTo>
                <a:lnTo>
                  <a:pt x="993" y="802"/>
                </a:lnTo>
                <a:lnTo>
                  <a:pt x="992" y="804"/>
                </a:lnTo>
                <a:lnTo>
                  <a:pt x="989" y="805"/>
                </a:lnTo>
                <a:close/>
                <a:moveTo>
                  <a:pt x="989" y="866"/>
                </a:moveTo>
                <a:lnTo>
                  <a:pt x="992" y="862"/>
                </a:lnTo>
                <a:lnTo>
                  <a:pt x="993" y="858"/>
                </a:lnTo>
                <a:lnTo>
                  <a:pt x="992" y="862"/>
                </a:lnTo>
                <a:lnTo>
                  <a:pt x="989" y="866"/>
                </a:lnTo>
                <a:close/>
                <a:moveTo>
                  <a:pt x="955" y="920"/>
                </a:moveTo>
                <a:lnTo>
                  <a:pt x="953" y="927"/>
                </a:lnTo>
                <a:lnTo>
                  <a:pt x="946" y="930"/>
                </a:lnTo>
                <a:lnTo>
                  <a:pt x="950" y="924"/>
                </a:lnTo>
                <a:lnTo>
                  <a:pt x="955" y="920"/>
                </a:lnTo>
                <a:close/>
                <a:moveTo>
                  <a:pt x="982" y="845"/>
                </a:moveTo>
                <a:lnTo>
                  <a:pt x="987" y="850"/>
                </a:lnTo>
                <a:lnTo>
                  <a:pt x="986" y="857"/>
                </a:lnTo>
                <a:lnTo>
                  <a:pt x="985" y="855"/>
                </a:lnTo>
                <a:lnTo>
                  <a:pt x="983" y="854"/>
                </a:lnTo>
                <a:lnTo>
                  <a:pt x="979" y="852"/>
                </a:lnTo>
                <a:lnTo>
                  <a:pt x="976" y="852"/>
                </a:lnTo>
                <a:lnTo>
                  <a:pt x="974" y="853"/>
                </a:lnTo>
                <a:lnTo>
                  <a:pt x="974" y="854"/>
                </a:lnTo>
                <a:lnTo>
                  <a:pt x="977" y="859"/>
                </a:lnTo>
                <a:lnTo>
                  <a:pt x="982" y="861"/>
                </a:lnTo>
                <a:lnTo>
                  <a:pt x="986" y="862"/>
                </a:lnTo>
                <a:lnTo>
                  <a:pt x="987" y="867"/>
                </a:lnTo>
                <a:lnTo>
                  <a:pt x="987" y="867"/>
                </a:lnTo>
                <a:lnTo>
                  <a:pt x="986" y="869"/>
                </a:lnTo>
                <a:lnTo>
                  <a:pt x="986" y="872"/>
                </a:lnTo>
                <a:lnTo>
                  <a:pt x="985" y="872"/>
                </a:lnTo>
                <a:lnTo>
                  <a:pt x="983" y="872"/>
                </a:lnTo>
                <a:lnTo>
                  <a:pt x="979" y="868"/>
                </a:lnTo>
                <a:lnTo>
                  <a:pt x="976" y="868"/>
                </a:lnTo>
                <a:lnTo>
                  <a:pt x="976" y="873"/>
                </a:lnTo>
                <a:lnTo>
                  <a:pt x="977" y="876"/>
                </a:lnTo>
                <a:lnTo>
                  <a:pt x="969" y="878"/>
                </a:lnTo>
                <a:lnTo>
                  <a:pt x="962" y="879"/>
                </a:lnTo>
                <a:lnTo>
                  <a:pt x="962" y="875"/>
                </a:lnTo>
                <a:lnTo>
                  <a:pt x="960" y="873"/>
                </a:lnTo>
                <a:lnTo>
                  <a:pt x="957" y="876"/>
                </a:lnTo>
                <a:lnTo>
                  <a:pt x="953" y="878"/>
                </a:lnTo>
                <a:lnTo>
                  <a:pt x="952" y="873"/>
                </a:lnTo>
                <a:lnTo>
                  <a:pt x="955" y="868"/>
                </a:lnTo>
                <a:lnTo>
                  <a:pt x="955" y="866"/>
                </a:lnTo>
                <a:lnTo>
                  <a:pt x="955" y="865"/>
                </a:lnTo>
                <a:lnTo>
                  <a:pt x="955" y="868"/>
                </a:lnTo>
                <a:lnTo>
                  <a:pt x="960" y="868"/>
                </a:lnTo>
                <a:lnTo>
                  <a:pt x="966" y="869"/>
                </a:lnTo>
                <a:lnTo>
                  <a:pt x="966" y="869"/>
                </a:lnTo>
                <a:lnTo>
                  <a:pt x="971" y="867"/>
                </a:lnTo>
                <a:lnTo>
                  <a:pt x="974" y="864"/>
                </a:lnTo>
                <a:lnTo>
                  <a:pt x="976" y="861"/>
                </a:lnTo>
                <a:lnTo>
                  <a:pt x="973" y="860"/>
                </a:lnTo>
                <a:lnTo>
                  <a:pt x="970" y="859"/>
                </a:lnTo>
                <a:lnTo>
                  <a:pt x="965" y="860"/>
                </a:lnTo>
                <a:lnTo>
                  <a:pt x="964" y="861"/>
                </a:lnTo>
                <a:lnTo>
                  <a:pt x="962" y="860"/>
                </a:lnTo>
                <a:lnTo>
                  <a:pt x="957" y="859"/>
                </a:lnTo>
                <a:lnTo>
                  <a:pt x="955" y="862"/>
                </a:lnTo>
                <a:lnTo>
                  <a:pt x="952" y="858"/>
                </a:lnTo>
                <a:lnTo>
                  <a:pt x="953" y="853"/>
                </a:lnTo>
                <a:lnTo>
                  <a:pt x="953" y="852"/>
                </a:lnTo>
                <a:lnTo>
                  <a:pt x="953" y="851"/>
                </a:lnTo>
                <a:lnTo>
                  <a:pt x="953" y="852"/>
                </a:lnTo>
                <a:lnTo>
                  <a:pt x="953" y="853"/>
                </a:lnTo>
                <a:lnTo>
                  <a:pt x="957" y="852"/>
                </a:lnTo>
                <a:lnTo>
                  <a:pt x="962" y="852"/>
                </a:lnTo>
                <a:lnTo>
                  <a:pt x="963" y="852"/>
                </a:lnTo>
                <a:lnTo>
                  <a:pt x="964" y="852"/>
                </a:lnTo>
                <a:lnTo>
                  <a:pt x="970" y="851"/>
                </a:lnTo>
                <a:lnTo>
                  <a:pt x="973" y="847"/>
                </a:lnTo>
                <a:lnTo>
                  <a:pt x="973" y="845"/>
                </a:lnTo>
                <a:lnTo>
                  <a:pt x="973" y="843"/>
                </a:lnTo>
                <a:lnTo>
                  <a:pt x="967" y="843"/>
                </a:lnTo>
                <a:lnTo>
                  <a:pt x="963" y="845"/>
                </a:lnTo>
                <a:lnTo>
                  <a:pt x="962" y="845"/>
                </a:lnTo>
                <a:lnTo>
                  <a:pt x="962" y="845"/>
                </a:lnTo>
                <a:lnTo>
                  <a:pt x="962" y="841"/>
                </a:lnTo>
                <a:lnTo>
                  <a:pt x="960" y="838"/>
                </a:lnTo>
                <a:lnTo>
                  <a:pt x="957" y="843"/>
                </a:lnTo>
                <a:lnTo>
                  <a:pt x="953" y="846"/>
                </a:lnTo>
                <a:lnTo>
                  <a:pt x="952" y="845"/>
                </a:lnTo>
                <a:lnTo>
                  <a:pt x="952" y="845"/>
                </a:lnTo>
                <a:lnTo>
                  <a:pt x="951" y="840"/>
                </a:lnTo>
                <a:lnTo>
                  <a:pt x="950" y="836"/>
                </a:lnTo>
                <a:lnTo>
                  <a:pt x="951" y="840"/>
                </a:lnTo>
                <a:lnTo>
                  <a:pt x="952" y="845"/>
                </a:lnTo>
                <a:lnTo>
                  <a:pt x="955" y="837"/>
                </a:lnTo>
                <a:lnTo>
                  <a:pt x="960" y="833"/>
                </a:lnTo>
                <a:lnTo>
                  <a:pt x="969" y="834"/>
                </a:lnTo>
                <a:lnTo>
                  <a:pt x="974" y="826"/>
                </a:lnTo>
                <a:lnTo>
                  <a:pt x="979" y="827"/>
                </a:lnTo>
                <a:lnTo>
                  <a:pt x="984" y="829"/>
                </a:lnTo>
                <a:lnTo>
                  <a:pt x="986" y="831"/>
                </a:lnTo>
                <a:lnTo>
                  <a:pt x="986" y="836"/>
                </a:lnTo>
                <a:lnTo>
                  <a:pt x="985" y="838"/>
                </a:lnTo>
                <a:lnTo>
                  <a:pt x="983" y="837"/>
                </a:lnTo>
                <a:lnTo>
                  <a:pt x="978" y="834"/>
                </a:lnTo>
                <a:lnTo>
                  <a:pt x="974" y="837"/>
                </a:lnTo>
                <a:lnTo>
                  <a:pt x="976" y="843"/>
                </a:lnTo>
                <a:lnTo>
                  <a:pt x="982" y="845"/>
                </a:lnTo>
                <a:close/>
                <a:moveTo>
                  <a:pt x="979" y="668"/>
                </a:moveTo>
                <a:lnTo>
                  <a:pt x="977" y="666"/>
                </a:lnTo>
                <a:lnTo>
                  <a:pt x="974" y="669"/>
                </a:lnTo>
                <a:lnTo>
                  <a:pt x="974" y="671"/>
                </a:lnTo>
                <a:lnTo>
                  <a:pt x="977" y="675"/>
                </a:lnTo>
                <a:lnTo>
                  <a:pt x="978" y="678"/>
                </a:lnTo>
                <a:lnTo>
                  <a:pt x="980" y="679"/>
                </a:lnTo>
                <a:lnTo>
                  <a:pt x="978" y="678"/>
                </a:lnTo>
                <a:lnTo>
                  <a:pt x="977" y="675"/>
                </a:lnTo>
                <a:lnTo>
                  <a:pt x="966" y="675"/>
                </a:lnTo>
                <a:lnTo>
                  <a:pt x="957" y="676"/>
                </a:lnTo>
                <a:lnTo>
                  <a:pt x="951" y="676"/>
                </a:lnTo>
                <a:lnTo>
                  <a:pt x="951" y="671"/>
                </a:lnTo>
                <a:lnTo>
                  <a:pt x="957" y="659"/>
                </a:lnTo>
                <a:lnTo>
                  <a:pt x="966" y="651"/>
                </a:lnTo>
                <a:lnTo>
                  <a:pt x="970" y="650"/>
                </a:lnTo>
                <a:lnTo>
                  <a:pt x="972" y="652"/>
                </a:lnTo>
                <a:lnTo>
                  <a:pt x="976" y="657"/>
                </a:lnTo>
                <a:lnTo>
                  <a:pt x="980" y="659"/>
                </a:lnTo>
                <a:lnTo>
                  <a:pt x="984" y="662"/>
                </a:lnTo>
                <a:lnTo>
                  <a:pt x="986" y="666"/>
                </a:lnTo>
                <a:lnTo>
                  <a:pt x="984" y="669"/>
                </a:lnTo>
                <a:lnTo>
                  <a:pt x="979" y="668"/>
                </a:lnTo>
                <a:close/>
                <a:moveTo>
                  <a:pt x="972" y="692"/>
                </a:moveTo>
                <a:lnTo>
                  <a:pt x="977" y="693"/>
                </a:lnTo>
                <a:lnTo>
                  <a:pt x="982" y="696"/>
                </a:lnTo>
                <a:lnTo>
                  <a:pt x="977" y="693"/>
                </a:lnTo>
                <a:lnTo>
                  <a:pt x="972" y="692"/>
                </a:lnTo>
                <a:close/>
                <a:moveTo>
                  <a:pt x="967" y="718"/>
                </a:moveTo>
                <a:lnTo>
                  <a:pt x="966" y="718"/>
                </a:lnTo>
                <a:lnTo>
                  <a:pt x="967" y="718"/>
                </a:lnTo>
                <a:close/>
                <a:moveTo>
                  <a:pt x="996" y="766"/>
                </a:moveTo>
                <a:lnTo>
                  <a:pt x="993" y="766"/>
                </a:lnTo>
                <a:lnTo>
                  <a:pt x="991" y="766"/>
                </a:lnTo>
                <a:lnTo>
                  <a:pt x="993" y="766"/>
                </a:lnTo>
                <a:lnTo>
                  <a:pt x="996" y="766"/>
                </a:lnTo>
                <a:close/>
                <a:moveTo>
                  <a:pt x="967" y="711"/>
                </a:moveTo>
                <a:lnTo>
                  <a:pt x="962" y="710"/>
                </a:lnTo>
                <a:lnTo>
                  <a:pt x="958" y="705"/>
                </a:lnTo>
                <a:lnTo>
                  <a:pt x="958" y="704"/>
                </a:lnTo>
                <a:lnTo>
                  <a:pt x="958" y="701"/>
                </a:lnTo>
                <a:lnTo>
                  <a:pt x="958" y="701"/>
                </a:lnTo>
                <a:lnTo>
                  <a:pt x="958" y="700"/>
                </a:lnTo>
                <a:lnTo>
                  <a:pt x="958" y="701"/>
                </a:lnTo>
                <a:lnTo>
                  <a:pt x="958" y="701"/>
                </a:lnTo>
                <a:lnTo>
                  <a:pt x="959" y="701"/>
                </a:lnTo>
                <a:lnTo>
                  <a:pt x="959" y="700"/>
                </a:lnTo>
                <a:lnTo>
                  <a:pt x="967" y="699"/>
                </a:lnTo>
                <a:lnTo>
                  <a:pt x="977" y="700"/>
                </a:lnTo>
                <a:lnTo>
                  <a:pt x="983" y="704"/>
                </a:lnTo>
                <a:lnTo>
                  <a:pt x="985" y="710"/>
                </a:lnTo>
                <a:lnTo>
                  <a:pt x="987" y="713"/>
                </a:lnTo>
                <a:lnTo>
                  <a:pt x="991" y="714"/>
                </a:lnTo>
                <a:lnTo>
                  <a:pt x="979" y="712"/>
                </a:lnTo>
                <a:lnTo>
                  <a:pt x="967" y="711"/>
                </a:lnTo>
                <a:close/>
                <a:moveTo>
                  <a:pt x="946" y="671"/>
                </a:moveTo>
                <a:lnTo>
                  <a:pt x="946" y="670"/>
                </a:lnTo>
                <a:lnTo>
                  <a:pt x="948" y="670"/>
                </a:lnTo>
                <a:lnTo>
                  <a:pt x="946" y="670"/>
                </a:lnTo>
                <a:lnTo>
                  <a:pt x="946" y="671"/>
                </a:lnTo>
                <a:close/>
                <a:moveTo>
                  <a:pt x="931" y="679"/>
                </a:moveTo>
                <a:lnTo>
                  <a:pt x="932" y="678"/>
                </a:lnTo>
                <a:lnTo>
                  <a:pt x="932" y="678"/>
                </a:lnTo>
                <a:lnTo>
                  <a:pt x="932" y="678"/>
                </a:lnTo>
                <a:lnTo>
                  <a:pt x="931" y="679"/>
                </a:lnTo>
                <a:lnTo>
                  <a:pt x="931" y="679"/>
                </a:lnTo>
                <a:close/>
                <a:moveTo>
                  <a:pt x="924" y="694"/>
                </a:moveTo>
                <a:lnTo>
                  <a:pt x="925" y="694"/>
                </a:lnTo>
                <a:lnTo>
                  <a:pt x="925" y="696"/>
                </a:lnTo>
                <a:lnTo>
                  <a:pt x="925" y="694"/>
                </a:lnTo>
                <a:lnTo>
                  <a:pt x="924" y="694"/>
                </a:lnTo>
                <a:close/>
                <a:moveTo>
                  <a:pt x="921" y="684"/>
                </a:moveTo>
                <a:lnTo>
                  <a:pt x="922" y="686"/>
                </a:lnTo>
                <a:lnTo>
                  <a:pt x="923" y="691"/>
                </a:lnTo>
                <a:lnTo>
                  <a:pt x="922" y="686"/>
                </a:lnTo>
                <a:lnTo>
                  <a:pt x="921" y="684"/>
                </a:lnTo>
                <a:close/>
                <a:moveTo>
                  <a:pt x="903" y="700"/>
                </a:moveTo>
                <a:lnTo>
                  <a:pt x="902" y="699"/>
                </a:lnTo>
                <a:lnTo>
                  <a:pt x="902" y="697"/>
                </a:lnTo>
                <a:lnTo>
                  <a:pt x="902" y="699"/>
                </a:lnTo>
                <a:lnTo>
                  <a:pt x="903" y="700"/>
                </a:lnTo>
                <a:lnTo>
                  <a:pt x="903" y="700"/>
                </a:lnTo>
                <a:close/>
                <a:moveTo>
                  <a:pt x="902" y="686"/>
                </a:moveTo>
                <a:lnTo>
                  <a:pt x="902" y="684"/>
                </a:lnTo>
                <a:lnTo>
                  <a:pt x="903" y="683"/>
                </a:lnTo>
                <a:lnTo>
                  <a:pt x="907" y="684"/>
                </a:lnTo>
                <a:lnTo>
                  <a:pt x="910" y="685"/>
                </a:lnTo>
                <a:lnTo>
                  <a:pt x="907" y="689"/>
                </a:lnTo>
                <a:lnTo>
                  <a:pt x="905" y="694"/>
                </a:lnTo>
                <a:lnTo>
                  <a:pt x="905" y="698"/>
                </a:lnTo>
                <a:lnTo>
                  <a:pt x="903" y="700"/>
                </a:lnTo>
                <a:lnTo>
                  <a:pt x="903" y="697"/>
                </a:lnTo>
                <a:lnTo>
                  <a:pt x="902" y="693"/>
                </a:lnTo>
                <a:lnTo>
                  <a:pt x="902" y="693"/>
                </a:lnTo>
                <a:lnTo>
                  <a:pt x="898" y="696"/>
                </a:lnTo>
                <a:lnTo>
                  <a:pt x="894" y="699"/>
                </a:lnTo>
                <a:lnTo>
                  <a:pt x="898" y="696"/>
                </a:lnTo>
                <a:lnTo>
                  <a:pt x="902" y="693"/>
                </a:lnTo>
                <a:lnTo>
                  <a:pt x="901" y="690"/>
                </a:lnTo>
                <a:lnTo>
                  <a:pt x="902" y="686"/>
                </a:lnTo>
                <a:close/>
                <a:moveTo>
                  <a:pt x="894" y="727"/>
                </a:moveTo>
                <a:lnTo>
                  <a:pt x="893" y="726"/>
                </a:lnTo>
                <a:lnTo>
                  <a:pt x="894" y="725"/>
                </a:lnTo>
                <a:lnTo>
                  <a:pt x="893" y="726"/>
                </a:lnTo>
                <a:lnTo>
                  <a:pt x="894" y="727"/>
                </a:lnTo>
                <a:close/>
                <a:moveTo>
                  <a:pt x="867" y="719"/>
                </a:moveTo>
                <a:lnTo>
                  <a:pt x="863" y="725"/>
                </a:lnTo>
                <a:lnTo>
                  <a:pt x="858" y="726"/>
                </a:lnTo>
                <a:lnTo>
                  <a:pt x="853" y="725"/>
                </a:lnTo>
                <a:lnTo>
                  <a:pt x="852" y="720"/>
                </a:lnTo>
                <a:lnTo>
                  <a:pt x="855" y="714"/>
                </a:lnTo>
                <a:lnTo>
                  <a:pt x="863" y="714"/>
                </a:lnTo>
                <a:lnTo>
                  <a:pt x="867" y="715"/>
                </a:lnTo>
                <a:lnTo>
                  <a:pt x="867" y="719"/>
                </a:lnTo>
                <a:lnTo>
                  <a:pt x="867" y="719"/>
                </a:lnTo>
                <a:close/>
                <a:moveTo>
                  <a:pt x="880" y="720"/>
                </a:moveTo>
                <a:lnTo>
                  <a:pt x="876" y="720"/>
                </a:lnTo>
                <a:lnTo>
                  <a:pt x="875" y="715"/>
                </a:lnTo>
                <a:lnTo>
                  <a:pt x="875" y="712"/>
                </a:lnTo>
                <a:lnTo>
                  <a:pt x="879" y="710"/>
                </a:lnTo>
                <a:lnTo>
                  <a:pt x="881" y="708"/>
                </a:lnTo>
                <a:lnTo>
                  <a:pt x="884" y="708"/>
                </a:lnTo>
                <a:lnTo>
                  <a:pt x="887" y="708"/>
                </a:lnTo>
                <a:lnTo>
                  <a:pt x="890" y="708"/>
                </a:lnTo>
                <a:lnTo>
                  <a:pt x="890" y="708"/>
                </a:lnTo>
                <a:lnTo>
                  <a:pt x="889" y="718"/>
                </a:lnTo>
                <a:lnTo>
                  <a:pt x="880" y="720"/>
                </a:lnTo>
                <a:close/>
                <a:moveTo>
                  <a:pt x="890" y="689"/>
                </a:moveTo>
                <a:lnTo>
                  <a:pt x="888" y="691"/>
                </a:lnTo>
                <a:lnTo>
                  <a:pt x="884" y="696"/>
                </a:lnTo>
                <a:lnTo>
                  <a:pt x="882" y="697"/>
                </a:lnTo>
                <a:lnTo>
                  <a:pt x="879" y="699"/>
                </a:lnTo>
                <a:lnTo>
                  <a:pt x="872" y="701"/>
                </a:lnTo>
                <a:lnTo>
                  <a:pt x="865" y="699"/>
                </a:lnTo>
                <a:lnTo>
                  <a:pt x="863" y="698"/>
                </a:lnTo>
                <a:lnTo>
                  <a:pt x="865" y="697"/>
                </a:lnTo>
                <a:lnTo>
                  <a:pt x="872" y="691"/>
                </a:lnTo>
                <a:lnTo>
                  <a:pt x="880" y="690"/>
                </a:lnTo>
                <a:lnTo>
                  <a:pt x="882" y="692"/>
                </a:lnTo>
                <a:lnTo>
                  <a:pt x="884" y="696"/>
                </a:lnTo>
                <a:lnTo>
                  <a:pt x="888" y="691"/>
                </a:lnTo>
                <a:lnTo>
                  <a:pt x="890" y="689"/>
                </a:lnTo>
                <a:close/>
                <a:moveTo>
                  <a:pt x="854" y="705"/>
                </a:moveTo>
                <a:lnTo>
                  <a:pt x="859" y="705"/>
                </a:lnTo>
                <a:lnTo>
                  <a:pt x="862" y="705"/>
                </a:lnTo>
                <a:lnTo>
                  <a:pt x="865" y="705"/>
                </a:lnTo>
                <a:lnTo>
                  <a:pt x="866" y="707"/>
                </a:lnTo>
                <a:lnTo>
                  <a:pt x="865" y="710"/>
                </a:lnTo>
                <a:lnTo>
                  <a:pt x="862" y="711"/>
                </a:lnTo>
                <a:lnTo>
                  <a:pt x="858" y="708"/>
                </a:lnTo>
                <a:lnTo>
                  <a:pt x="854" y="705"/>
                </a:lnTo>
                <a:lnTo>
                  <a:pt x="849" y="705"/>
                </a:lnTo>
                <a:lnTo>
                  <a:pt x="848" y="710"/>
                </a:lnTo>
                <a:lnTo>
                  <a:pt x="848" y="713"/>
                </a:lnTo>
                <a:lnTo>
                  <a:pt x="845" y="714"/>
                </a:lnTo>
                <a:lnTo>
                  <a:pt x="844" y="706"/>
                </a:lnTo>
                <a:lnTo>
                  <a:pt x="839" y="700"/>
                </a:lnTo>
                <a:lnTo>
                  <a:pt x="838" y="699"/>
                </a:lnTo>
                <a:lnTo>
                  <a:pt x="837" y="699"/>
                </a:lnTo>
                <a:lnTo>
                  <a:pt x="833" y="701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1" y="704"/>
                </a:lnTo>
                <a:lnTo>
                  <a:pt x="832" y="700"/>
                </a:lnTo>
                <a:lnTo>
                  <a:pt x="837" y="699"/>
                </a:lnTo>
                <a:lnTo>
                  <a:pt x="838" y="699"/>
                </a:lnTo>
                <a:lnTo>
                  <a:pt x="839" y="700"/>
                </a:lnTo>
                <a:lnTo>
                  <a:pt x="845" y="697"/>
                </a:lnTo>
                <a:lnTo>
                  <a:pt x="851" y="700"/>
                </a:lnTo>
                <a:lnTo>
                  <a:pt x="852" y="703"/>
                </a:lnTo>
                <a:lnTo>
                  <a:pt x="854" y="705"/>
                </a:lnTo>
                <a:close/>
                <a:moveTo>
                  <a:pt x="831" y="704"/>
                </a:moveTo>
                <a:lnTo>
                  <a:pt x="828" y="708"/>
                </a:lnTo>
                <a:lnTo>
                  <a:pt x="828" y="714"/>
                </a:lnTo>
                <a:lnTo>
                  <a:pt x="827" y="718"/>
                </a:lnTo>
                <a:lnTo>
                  <a:pt x="825" y="720"/>
                </a:lnTo>
                <a:lnTo>
                  <a:pt x="824" y="712"/>
                </a:lnTo>
                <a:lnTo>
                  <a:pt x="818" y="705"/>
                </a:lnTo>
                <a:lnTo>
                  <a:pt x="824" y="703"/>
                </a:lnTo>
                <a:lnTo>
                  <a:pt x="831" y="704"/>
                </a:lnTo>
                <a:lnTo>
                  <a:pt x="831" y="704"/>
                </a:lnTo>
                <a:lnTo>
                  <a:pt x="829" y="704"/>
                </a:lnTo>
                <a:lnTo>
                  <a:pt x="831" y="704"/>
                </a:lnTo>
                <a:lnTo>
                  <a:pt x="831" y="704"/>
                </a:lnTo>
                <a:close/>
                <a:moveTo>
                  <a:pt x="769" y="719"/>
                </a:moveTo>
                <a:lnTo>
                  <a:pt x="776" y="715"/>
                </a:lnTo>
                <a:lnTo>
                  <a:pt x="785" y="715"/>
                </a:lnTo>
                <a:lnTo>
                  <a:pt x="787" y="718"/>
                </a:lnTo>
                <a:lnTo>
                  <a:pt x="787" y="719"/>
                </a:lnTo>
                <a:lnTo>
                  <a:pt x="782" y="722"/>
                </a:lnTo>
                <a:lnTo>
                  <a:pt x="777" y="726"/>
                </a:lnTo>
                <a:lnTo>
                  <a:pt x="772" y="726"/>
                </a:lnTo>
                <a:lnTo>
                  <a:pt x="768" y="724"/>
                </a:lnTo>
                <a:lnTo>
                  <a:pt x="766" y="722"/>
                </a:lnTo>
                <a:lnTo>
                  <a:pt x="769" y="719"/>
                </a:lnTo>
                <a:close/>
                <a:moveTo>
                  <a:pt x="790" y="736"/>
                </a:moveTo>
                <a:lnTo>
                  <a:pt x="791" y="740"/>
                </a:lnTo>
                <a:lnTo>
                  <a:pt x="789" y="743"/>
                </a:lnTo>
                <a:lnTo>
                  <a:pt x="783" y="746"/>
                </a:lnTo>
                <a:lnTo>
                  <a:pt x="777" y="745"/>
                </a:lnTo>
                <a:lnTo>
                  <a:pt x="776" y="742"/>
                </a:lnTo>
                <a:lnTo>
                  <a:pt x="776" y="738"/>
                </a:lnTo>
                <a:lnTo>
                  <a:pt x="776" y="735"/>
                </a:lnTo>
                <a:lnTo>
                  <a:pt x="777" y="734"/>
                </a:lnTo>
                <a:lnTo>
                  <a:pt x="784" y="732"/>
                </a:lnTo>
                <a:lnTo>
                  <a:pt x="786" y="725"/>
                </a:lnTo>
                <a:lnTo>
                  <a:pt x="789" y="724"/>
                </a:lnTo>
                <a:lnTo>
                  <a:pt x="793" y="725"/>
                </a:lnTo>
                <a:lnTo>
                  <a:pt x="789" y="729"/>
                </a:lnTo>
                <a:lnTo>
                  <a:pt x="790" y="736"/>
                </a:lnTo>
                <a:close/>
                <a:moveTo>
                  <a:pt x="776" y="704"/>
                </a:moveTo>
                <a:lnTo>
                  <a:pt x="777" y="701"/>
                </a:lnTo>
                <a:lnTo>
                  <a:pt x="779" y="700"/>
                </a:lnTo>
                <a:lnTo>
                  <a:pt x="777" y="701"/>
                </a:lnTo>
                <a:lnTo>
                  <a:pt x="776" y="704"/>
                </a:lnTo>
                <a:close/>
                <a:moveTo>
                  <a:pt x="776" y="705"/>
                </a:moveTo>
                <a:lnTo>
                  <a:pt x="776" y="705"/>
                </a:lnTo>
                <a:lnTo>
                  <a:pt x="776" y="704"/>
                </a:lnTo>
                <a:lnTo>
                  <a:pt x="778" y="704"/>
                </a:lnTo>
                <a:lnTo>
                  <a:pt x="782" y="703"/>
                </a:lnTo>
                <a:lnTo>
                  <a:pt x="786" y="705"/>
                </a:lnTo>
                <a:lnTo>
                  <a:pt x="792" y="706"/>
                </a:lnTo>
                <a:lnTo>
                  <a:pt x="799" y="711"/>
                </a:lnTo>
                <a:lnTo>
                  <a:pt x="806" y="706"/>
                </a:lnTo>
                <a:lnTo>
                  <a:pt x="807" y="706"/>
                </a:lnTo>
                <a:lnTo>
                  <a:pt x="808" y="707"/>
                </a:lnTo>
                <a:lnTo>
                  <a:pt x="812" y="706"/>
                </a:lnTo>
                <a:lnTo>
                  <a:pt x="814" y="705"/>
                </a:lnTo>
                <a:lnTo>
                  <a:pt x="812" y="706"/>
                </a:lnTo>
                <a:lnTo>
                  <a:pt x="808" y="707"/>
                </a:lnTo>
                <a:lnTo>
                  <a:pt x="808" y="714"/>
                </a:lnTo>
                <a:lnTo>
                  <a:pt x="807" y="721"/>
                </a:lnTo>
                <a:lnTo>
                  <a:pt x="807" y="724"/>
                </a:lnTo>
                <a:lnTo>
                  <a:pt x="805" y="725"/>
                </a:lnTo>
                <a:lnTo>
                  <a:pt x="804" y="724"/>
                </a:lnTo>
                <a:lnTo>
                  <a:pt x="804" y="721"/>
                </a:lnTo>
                <a:lnTo>
                  <a:pt x="799" y="713"/>
                </a:lnTo>
                <a:lnTo>
                  <a:pt x="792" y="712"/>
                </a:lnTo>
                <a:lnTo>
                  <a:pt x="786" y="712"/>
                </a:lnTo>
                <a:lnTo>
                  <a:pt x="783" y="708"/>
                </a:lnTo>
                <a:lnTo>
                  <a:pt x="780" y="706"/>
                </a:lnTo>
                <a:lnTo>
                  <a:pt x="776" y="705"/>
                </a:lnTo>
                <a:lnTo>
                  <a:pt x="771" y="712"/>
                </a:lnTo>
                <a:lnTo>
                  <a:pt x="769" y="719"/>
                </a:lnTo>
                <a:lnTo>
                  <a:pt x="769" y="719"/>
                </a:lnTo>
                <a:lnTo>
                  <a:pt x="771" y="712"/>
                </a:lnTo>
                <a:lnTo>
                  <a:pt x="776" y="705"/>
                </a:lnTo>
                <a:close/>
                <a:moveTo>
                  <a:pt x="756" y="727"/>
                </a:moveTo>
                <a:lnTo>
                  <a:pt x="756" y="727"/>
                </a:lnTo>
                <a:lnTo>
                  <a:pt x="757" y="728"/>
                </a:lnTo>
                <a:lnTo>
                  <a:pt x="756" y="727"/>
                </a:lnTo>
                <a:lnTo>
                  <a:pt x="756" y="727"/>
                </a:lnTo>
                <a:lnTo>
                  <a:pt x="756" y="727"/>
                </a:lnTo>
                <a:close/>
                <a:moveTo>
                  <a:pt x="758" y="739"/>
                </a:moveTo>
                <a:lnTo>
                  <a:pt x="759" y="739"/>
                </a:lnTo>
                <a:lnTo>
                  <a:pt x="760" y="739"/>
                </a:lnTo>
                <a:lnTo>
                  <a:pt x="764" y="739"/>
                </a:lnTo>
                <a:lnTo>
                  <a:pt x="768" y="739"/>
                </a:lnTo>
                <a:lnTo>
                  <a:pt x="768" y="736"/>
                </a:lnTo>
                <a:lnTo>
                  <a:pt x="768" y="734"/>
                </a:lnTo>
                <a:lnTo>
                  <a:pt x="768" y="736"/>
                </a:lnTo>
                <a:lnTo>
                  <a:pt x="768" y="739"/>
                </a:lnTo>
                <a:lnTo>
                  <a:pt x="766" y="747"/>
                </a:lnTo>
                <a:lnTo>
                  <a:pt x="760" y="750"/>
                </a:lnTo>
                <a:lnTo>
                  <a:pt x="756" y="752"/>
                </a:lnTo>
                <a:lnTo>
                  <a:pt x="752" y="748"/>
                </a:lnTo>
                <a:lnTo>
                  <a:pt x="752" y="742"/>
                </a:lnTo>
                <a:lnTo>
                  <a:pt x="758" y="739"/>
                </a:lnTo>
                <a:close/>
                <a:moveTo>
                  <a:pt x="703" y="729"/>
                </a:moveTo>
                <a:lnTo>
                  <a:pt x="714" y="726"/>
                </a:lnTo>
                <a:lnTo>
                  <a:pt x="724" y="728"/>
                </a:lnTo>
                <a:lnTo>
                  <a:pt x="729" y="726"/>
                </a:lnTo>
                <a:lnTo>
                  <a:pt x="731" y="725"/>
                </a:lnTo>
                <a:lnTo>
                  <a:pt x="739" y="721"/>
                </a:lnTo>
                <a:lnTo>
                  <a:pt x="748" y="720"/>
                </a:lnTo>
                <a:lnTo>
                  <a:pt x="749" y="721"/>
                </a:lnTo>
                <a:lnTo>
                  <a:pt x="752" y="724"/>
                </a:lnTo>
                <a:lnTo>
                  <a:pt x="752" y="722"/>
                </a:lnTo>
                <a:lnTo>
                  <a:pt x="752" y="721"/>
                </a:lnTo>
                <a:lnTo>
                  <a:pt x="752" y="722"/>
                </a:lnTo>
                <a:lnTo>
                  <a:pt x="752" y="724"/>
                </a:lnTo>
                <a:lnTo>
                  <a:pt x="752" y="726"/>
                </a:lnTo>
                <a:lnTo>
                  <a:pt x="752" y="729"/>
                </a:lnTo>
                <a:lnTo>
                  <a:pt x="749" y="734"/>
                </a:lnTo>
                <a:lnTo>
                  <a:pt x="748" y="739"/>
                </a:lnTo>
                <a:lnTo>
                  <a:pt x="746" y="736"/>
                </a:lnTo>
                <a:lnTo>
                  <a:pt x="746" y="734"/>
                </a:lnTo>
                <a:lnTo>
                  <a:pt x="745" y="727"/>
                </a:lnTo>
                <a:lnTo>
                  <a:pt x="738" y="724"/>
                </a:lnTo>
                <a:lnTo>
                  <a:pt x="732" y="727"/>
                </a:lnTo>
                <a:lnTo>
                  <a:pt x="730" y="735"/>
                </a:lnTo>
                <a:lnTo>
                  <a:pt x="730" y="740"/>
                </a:lnTo>
                <a:lnTo>
                  <a:pt x="728" y="745"/>
                </a:lnTo>
                <a:lnTo>
                  <a:pt x="725" y="741"/>
                </a:lnTo>
                <a:lnTo>
                  <a:pt x="727" y="736"/>
                </a:lnTo>
                <a:lnTo>
                  <a:pt x="724" y="732"/>
                </a:lnTo>
                <a:lnTo>
                  <a:pt x="720" y="728"/>
                </a:lnTo>
                <a:lnTo>
                  <a:pt x="716" y="729"/>
                </a:lnTo>
                <a:lnTo>
                  <a:pt x="713" y="733"/>
                </a:lnTo>
                <a:lnTo>
                  <a:pt x="709" y="741"/>
                </a:lnTo>
                <a:lnTo>
                  <a:pt x="707" y="750"/>
                </a:lnTo>
                <a:lnTo>
                  <a:pt x="706" y="746"/>
                </a:lnTo>
                <a:lnTo>
                  <a:pt x="706" y="742"/>
                </a:lnTo>
                <a:lnTo>
                  <a:pt x="704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1"/>
                </a:lnTo>
                <a:lnTo>
                  <a:pt x="702" y="740"/>
                </a:lnTo>
                <a:lnTo>
                  <a:pt x="702" y="739"/>
                </a:lnTo>
                <a:lnTo>
                  <a:pt x="702" y="738"/>
                </a:lnTo>
                <a:lnTo>
                  <a:pt x="702" y="736"/>
                </a:lnTo>
                <a:lnTo>
                  <a:pt x="699" y="736"/>
                </a:lnTo>
                <a:lnTo>
                  <a:pt x="695" y="736"/>
                </a:lnTo>
                <a:lnTo>
                  <a:pt x="699" y="736"/>
                </a:lnTo>
                <a:lnTo>
                  <a:pt x="702" y="736"/>
                </a:lnTo>
                <a:lnTo>
                  <a:pt x="702" y="735"/>
                </a:lnTo>
                <a:lnTo>
                  <a:pt x="702" y="734"/>
                </a:lnTo>
                <a:lnTo>
                  <a:pt x="704" y="735"/>
                </a:lnTo>
                <a:lnTo>
                  <a:pt x="706" y="732"/>
                </a:lnTo>
                <a:lnTo>
                  <a:pt x="706" y="731"/>
                </a:lnTo>
                <a:lnTo>
                  <a:pt x="703" y="729"/>
                </a:lnTo>
                <a:close/>
                <a:moveTo>
                  <a:pt x="696" y="745"/>
                </a:moveTo>
                <a:lnTo>
                  <a:pt x="697" y="743"/>
                </a:lnTo>
                <a:lnTo>
                  <a:pt x="699" y="743"/>
                </a:lnTo>
                <a:lnTo>
                  <a:pt x="697" y="743"/>
                </a:lnTo>
                <a:lnTo>
                  <a:pt x="696" y="745"/>
                </a:lnTo>
                <a:lnTo>
                  <a:pt x="696" y="746"/>
                </a:lnTo>
                <a:lnTo>
                  <a:pt x="697" y="746"/>
                </a:lnTo>
                <a:lnTo>
                  <a:pt x="692" y="753"/>
                </a:lnTo>
                <a:lnTo>
                  <a:pt x="692" y="761"/>
                </a:lnTo>
                <a:lnTo>
                  <a:pt x="688" y="768"/>
                </a:lnTo>
                <a:lnTo>
                  <a:pt x="682" y="769"/>
                </a:lnTo>
                <a:lnTo>
                  <a:pt x="679" y="770"/>
                </a:lnTo>
                <a:lnTo>
                  <a:pt x="676" y="767"/>
                </a:lnTo>
                <a:lnTo>
                  <a:pt x="677" y="761"/>
                </a:lnTo>
                <a:lnTo>
                  <a:pt x="682" y="757"/>
                </a:lnTo>
                <a:lnTo>
                  <a:pt x="686" y="756"/>
                </a:lnTo>
                <a:lnTo>
                  <a:pt x="687" y="753"/>
                </a:lnTo>
                <a:lnTo>
                  <a:pt x="690" y="747"/>
                </a:lnTo>
                <a:lnTo>
                  <a:pt x="696" y="745"/>
                </a:lnTo>
                <a:close/>
                <a:moveTo>
                  <a:pt x="668" y="735"/>
                </a:moveTo>
                <a:lnTo>
                  <a:pt x="668" y="735"/>
                </a:lnTo>
                <a:lnTo>
                  <a:pt x="669" y="735"/>
                </a:lnTo>
                <a:lnTo>
                  <a:pt x="670" y="732"/>
                </a:lnTo>
                <a:lnTo>
                  <a:pt x="673" y="731"/>
                </a:lnTo>
                <a:lnTo>
                  <a:pt x="670" y="732"/>
                </a:lnTo>
                <a:lnTo>
                  <a:pt x="669" y="735"/>
                </a:lnTo>
                <a:lnTo>
                  <a:pt x="668" y="735"/>
                </a:lnTo>
                <a:lnTo>
                  <a:pt x="668" y="735"/>
                </a:lnTo>
                <a:close/>
                <a:moveTo>
                  <a:pt x="668" y="742"/>
                </a:moveTo>
                <a:lnTo>
                  <a:pt x="669" y="742"/>
                </a:lnTo>
                <a:lnTo>
                  <a:pt x="670" y="742"/>
                </a:lnTo>
                <a:lnTo>
                  <a:pt x="673" y="741"/>
                </a:lnTo>
                <a:lnTo>
                  <a:pt x="675" y="740"/>
                </a:lnTo>
                <a:lnTo>
                  <a:pt x="683" y="738"/>
                </a:lnTo>
                <a:lnTo>
                  <a:pt x="690" y="742"/>
                </a:lnTo>
                <a:lnTo>
                  <a:pt x="689" y="743"/>
                </a:lnTo>
                <a:lnTo>
                  <a:pt x="689" y="743"/>
                </a:lnTo>
                <a:lnTo>
                  <a:pt x="686" y="745"/>
                </a:lnTo>
                <a:lnTo>
                  <a:pt x="683" y="746"/>
                </a:lnTo>
                <a:lnTo>
                  <a:pt x="676" y="750"/>
                </a:lnTo>
                <a:lnTo>
                  <a:pt x="668" y="748"/>
                </a:lnTo>
                <a:lnTo>
                  <a:pt x="668" y="746"/>
                </a:lnTo>
                <a:lnTo>
                  <a:pt x="668" y="742"/>
                </a:lnTo>
                <a:lnTo>
                  <a:pt x="666" y="742"/>
                </a:lnTo>
                <a:lnTo>
                  <a:pt x="663" y="742"/>
                </a:lnTo>
                <a:lnTo>
                  <a:pt x="666" y="742"/>
                </a:lnTo>
                <a:lnTo>
                  <a:pt x="668" y="742"/>
                </a:lnTo>
                <a:close/>
                <a:moveTo>
                  <a:pt x="659" y="745"/>
                </a:moveTo>
                <a:lnTo>
                  <a:pt x="659" y="745"/>
                </a:lnTo>
                <a:lnTo>
                  <a:pt x="659" y="745"/>
                </a:lnTo>
                <a:lnTo>
                  <a:pt x="659" y="746"/>
                </a:lnTo>
                <a:lnTo>
                  <a:pt x="659" y="746"/>
                </a:lnTo>
                <a:lnTo>
                  <a:pt x="658" y="746"/>
                </a:lnTo>
                <a:lnTo>
                  <a:pt x="659" y="745"/>
                </a:lnTo>
                <a:close/>
                <a:moveTo>
                  <a:pt x="659" y="746"/>
                </a:moveTo>
                <a:lnTo>
                  <a:pt x="656" y="749"/>
                </a:lnTo>
                <a:lnTo>
                  <a:pt x="655" y="750"/>
                </a:lnTo>
                <a:lnTo>
                  <a:pt x="662" y="754"/>
                </a:lnTo>
                <a:lnTo>
                  <a:pt x="669" y="752"/>
                </a:lnTo>
                <a:lnTo>
                  <a:pt x="670" y="756"/>
                </a:lnTo>
                <a:lnTo>
                  <a:pt x="669" y="760"/>
                </a:lnTo>
                <a:lnTo>
                  <a:pt x="666" y="760"/>
                </a:lnTo>
                <a:lnTo>
                  <a:pt x="662" y="757"/>
                </a:lnTo>
                <a:lnTo>
                  <a:pt x="654" y="754"/>
                </a:lnTo>
                <a:lnTo>
                  <a:pt x="652" y="760"/>
                </a:lnTo>
                <a:lnTo>
                  <a:pt x="653" y="764"/>
                </a:lnTo>
                <a:lnTo>
                  <a:pt x="658" y="763"/>
                </a:lnTo>
                <a:lnTo>
                  <a:pt x="662" y="761"/>
                </a:lnTo>
                <a:lnTo>
                  <a:pt x="668" y="763"/>
                </a:lnTo>
                <a:lnTo>
                  <a:pt x="669" y="767"/>
                </a:lnTo>
                <a:lnTo>
                  <a:pt x="668" y="771"/>
                </a:lnTo>
                <a:lnTo>
                  <a:pt x="662" y="775"/>
                </a:lnTo>
                <a:lnTo>
                  <a:pt x="656" y="775"/>
                </a:lnTo>
                <a:lnTo>
                  <a:pt x="654" y="775"/>
                </a:lnTo>
                <a:lnTo>
                  <a:pt x="654" y="774"/>
                </a:lnTo>
                <a:lnTo>
                  <a:pt x="651" y="764"/>
                </a:lnTo>
                <a:lnTo>
                  <a:pt x="648" y="755"/>
                </a:lnTo>
                <a:lnTo>
                  <a:pt x="647" y="752"/>
                </a:lnTo>
                <a:lnTo>
                  <a:pt x="644" y="749"/>
                </a:lnTo>
                <a:lnTo>
                  <a:pt x="641" y="748"/>
                </a:lnTo>
                <a:lnTo>
                  <a:pt x="641" y="747"/>
                </a:lnTo>
                <a:lnTo>
                  <a:pt x="642" y="745"/>
                </a:lnTo>
                <a:lnTo>
                  <a:pt x="645" y="745"/>
                </a:lnTo>
                <a:lnTo>
                  <a:pt x="652" y="745"/>
                </a:lnTo>
                <a:lnTo>
                  <a:pt x="659" y="746"/>
                </a:lnTo>
                <a:close/>
                <a:moveTo>
                  <a:pt x="630" y="769"/>
                </a:moveTo>
                <a:lnTo>
                  <a:pt x="628" y="762"/>
                </a:lnTo>
                <a:lnTo>
                  <a:pt x="626" y="754"/>
                </a:lnTo>
                <a:lnTo>
                  <a:pt x="627" y="753"/>
                </a:lnTo>
                <a:lnTo>
                  <a:pt x="630" y="750"/>
                </a:lnTo>
                <a:lnTo>
                  <a:pt x="631" y="749"/>
                </a:lnTo>
                <a:lnTo>
                  <a:pt x="633" y="750"/>
                </a:lnTo>
                <a:lnTo>
                  <a:pt x="634" y="753"/>
                </a:lnTo>
                <a:lnTo>
                  <a:pt x="633" y="755"/>
                </a:lnTo>
                <a:lnTo>
                  <a:pt x="632" y="762"/>
                </a:lnTo>
                <a:lnTo>
                  <a:pt x="630" y="769"/>
                </a:lnTo>
                <a:close/>
                <a:moveTo>
                  <a:pt x="571" y="791"/>
                </a:moveTo>
                <a:lnTo>
                  <a:pt x="566" y="798"/>
                </a:lnTo>
                <a:lnTo>
                  <a:pt x="559" y="799"/>
                </a:lnTo>
                <a:lnTo>
                  <a:pt x="556" y="798"/>
                </a:lnTo>
                <a:lnTo>
                  <a:pt x="555" y="794"/>
                </a:lnTo>
                <a:lnTo>
                  <a:pt x="558" y="788"/>
                </a:lnTo>
                <a:lnTo>
                  <a:pt x="565" y="787"/>
                </a:lnTo>
                <a:lnTo>
                  <a:pt x="570" y="788"/>
                </a:lnTo>
                <a:lnTo>
                  <a:pt x="571" y="791"/>
                </a:lnTo>
                <a:close/>
                <a:moveTo>
                  <a:pt x="573" y="767"/>
                </a:moveTo>
                <a:lnTo>
                  <a:pt x="575" y="767"/>
                </a:lnTo>
                <a:lnTo>
                  <a:pt x="576" y="767"/>
                </a:lnTo>
                <a:lnTo>
                  <a:pt x="584" y="762"/>
                </a:lnTo>
                <a:lnTo>
                  <a:pt x="593" y="766"/>
                </a:lnTo>
                <a:lnTo>
                  <a:pt x="585" y="771"/>
                </a:lnTo>
                <a:lnTo>
                  <a:pt x="575" y="773"/>
                </a:lnTo>
                <a:lnTo>
                  <a:pt x="572" y="769"/>
                </a:lnTo>
                <a:lnTo>
                  <a:pt x="573" y="767"/>
                </a:lnTo>
                <a:close/>
                <a:moveTo>
                  <a:pt x="604" y="766"/>
                </a:moveTo>
                <a:lnTo>
                  <a:pt x="604" y="767"/>
                </a:lnTo>
                <a:lnTo>
                  <a:pt x="604" y="767"/>
                </a:lnTo>
                <a:lnTo>
                  <a:pt x="604" y="768"/>
                </a:lnTo>
                <a:lnTo>
                  <a:pt x="604" y="769"/>
                </a:lnTo>
                <a:lnTo>
                  <a:pt x="604" y="768"/>
                </a:lnTo>
                <a:lnTo>
                  <a:pt x="604" y="767"/>
                </a:lnTo>
                <a:lnTo>
                  <a:pt x="604" y="767"/>
                </a:lnTo>
                <a:lnTo>
                  <a:pt x="604" y="766"/>
                </a:lnTo>
                <a:close/>
                <a:moveTo>
                  <a:pt x="598" y="755"/>
                </a:moveTo>
                <a:lnTo>
                  <a:pt x="598" y="755"/>
                </a:lnTo>
                <a:lnTo>
                  <a:pt x="604" y="759"/>
                </a:lnTo>
                <a:lnTo>
                  <a:pt x="610" y="755"/>
                </a:lnTo>
                <a:lnTo>
                  <a:pt x="612" y="755"/>
                </a:lnTo>
                <a:lnTo>
                  <a:pt x="614" y="757"/>
                </a:lnTo>
                <a:lnTo>
                  <a:pt x="612" y="766"/>
                </a:lnTo>
                <a:lnTo>
                  <a:pt x="610" y="774"/>
                </a:lnTo>
                <a:lnTo>
                  <a:pt x="608" y="769"/>
                </a:lnTo>
                <a:lnTo>
                  <a:pt x="607" y="764"/>
                </a:lnTo>
                <a:lnTo>
                  <a:pt x="606" y="762"/>
                </a:lnTo>
                <a:lnTo>
                  <a:pt x="604" y="761"/>
                </a:lnTo>
                <a:lnTo>
                  <a:pt x="604" y="763"/>
                </a:lnTo>
                <a:lnTo>
                  <a:pt x="603" y="766"/>
                </a:lnTo>
                <a:lnTo>
                  <a:pt x="600" y="767"/>
                </a:lnTo>
                <a:lnTo>
                  <a:pt x="598" y="769"/>
                </a:lnTo>
                <a:lnTo>
                  <a:pt x="599" y="770"/>
                </a:lnTo>
                <a:lnTo>
                  <a:pt x="599" y="770"/>
                </a:lnTo>
                <a:lnTo>
                  <a:pt x="599" y="771"/>
                </a:lnTo>
                <a:lnTo>
                  <a:pt x="599" y="773"/>
                </a:lnTo>
                <a:lnTo>
                  <a:pt x="599" y="771"/>
                </a:lnTo>
                <a:lnTo>
                  <a:pt x="599" y="770"/>
                </a:lnTo>
                <a:lnTo>
                  <a:pt x="599" y="770"/>
                </a:lnTo>
                <a:lnTo>
                  <a:pt x="598" y="769"/>
                </a:lnTo>
                <a:lnTo>
                  <a:pt x="591" y="774"/>
                </a:lnTo>
                <a:lnTo>
                  <a:pt x="586" y="781"/>
                </a:lnTo>
                <a:lnTo>
                  <a:pt x="590" y="782"/>
                </a:lnTo>
                <a:lnTo>
                  <a:pt x="593" y="782"/>
                </a:lnTo>
                <a:lnTo>
                  <a:pt x="590" y="791"/>
                </a:lnTo>
                <a:lnTo>
                  <a:pt x="582" y="795"/>
                </a:lnTo>
                <a:lnTo>
                  <a:pt x="579" y="794"/>
                </a:lnTo>
                <a:lnTo>
                  <a:pt x="578" y="791"/>
                </a:lnTo>
                <a:lnTo>
                  <a:pt x="578" y="787"/>
                </a:lnTo>
                <a:lnTo>
                  <a:pt x="580" y="782"/>
                </a:lnTo>
                <a:lnTo>
                  <a:pt x="584" y="782"/>
                </a:lnTo>
                <a:lnTo>
                  <a:pt x="586" y="781"/>
                </a:lnTo>
                <a:lnTo>
                  <a:pt x="591" y="774"/>
                </a:lnTo>
                <a:lnTo>
                  <a:pt x="598" y="769"/>
                </a:lnTo>
                <a:lnTo>
                  <a:pt x="600" y="767"/>
                </a:lnTo>
                <a:lnTo>
                  <a:pt x="603" y="766"/>
                </a:lnTo>
                <a:lnTo>
                  <a:pt x="604" y="763"/>
                </a:lnTo>
                <a:lnTo>
                  <a:pt x="604" y="761"/>
                </a:lnTo>
                <a:lnTo>
                  <a:pt x="596" y="759"/>
                </a:lnTo>
                <a:lnTo>
                  <a:pt x="587" y="755"/>
                </a:lnTo>
                <a:lnTo>
                  <a:pt x="579" y="755"/>
                </a:lnTo>
                <a:lnTo>
                  <a:pt x="573" y="767"/>
                </a:lnTo>
                <a:lnTo>
                  <a:pt x="565" y="768"/>
                </a:lnTo>
                <a:lnTo>
                  <a:pt x="559" y="773"/>
                </a:lnTo>
                <a:lnTo>
                  <a:pt x="559" y="775"/>
                </a:lnTo>
                <a:lnTo>
                  <a:pt x="563" y="776"/>
                </a:lnTo>
                <a:lnTo>
                  <a:pt x="570" y="778"/>
                </a:lnTo>
                <a:lnTo>
                  <a:pt x="572" y="783"/>
                </a:lnTo>
                <a:lnTo>
                  <a:pt x="568" y="783"/>
                </a:lnTo>
                <a:lnTo>
                  <a:pt x="563" y="780"/>
                </a:lnTo>
                <a:lnTo>
                  <a:pt x="559" y="778"/>
                </a:lnTo>
                <a:lnTo>
                  <a:pt x="557" y="776"/>
                </a:lnTo>
                <a:lnTo>
                  <a:pt x="555" y="782"/>
                </a:lnTo>
                <a:lnTo>
                  <a:pt x="552" y="787"/>
                </a:lnTo>
                <a:lnTo>
                  <a:pt x="551" y="778"/>
                </a:lnTo>
                <a:lnTo>
                  <a:pt x="547" y="771"/>
                </a:lnTo>
                <a:lnTo>
                  <a:pt x="545" y="771"/>
                </a:lnTo>
                <a:lnTo>
                  <a:pt x="545" y="771"/>
                </a:lnTo>
                <a:lnTo>
                  <a:pt x="545" y="771"/>
                </a:lnTo>
                <a:lnTo>
                  <a:pt x="547" y="771"/>
                </a:lnTo>
                <a:lnTo>
                  <a:pt x="549" y="771"/>
                </a:lnTo>
                <a:lnTo>
                  <a:pt x="551" y="770"/>
                </a:lnTo>
                <a:lnTo>
                  <a:pt x="554" y="769"/>
                </a:lnTo>
                <a:lnTo>
                  <a:pt x="556" y="769"/>
                </a:lnTo>
                <a:lnTo>
                  <a:pt x="559" y="770"/>
                </a:lnTo>
                <a:lnTo>
                  <a:pt x="562" y="768"/>
                </a:lnTo>
                <a:lnTo>
                  <a:pt x="572" y="759"/>
                </a:lnTo>
                <a:lnTo>
                  <a:pt x="585" y="750"/>
                </a:lnTo>
                <a:lnTo>
                  <a:pt x="587" y="749"/>
                </a:lnTo>
                <a:lnTo>
                  <a:pt x="589" y="747"/>
                </a:lnTo>
                <a:lnTo>
                  <a:pt x="587" y="749"/>
                </a:lnTo>
                <a:lnTo>
                  <a:pt x="585" y="750"/>
                </a:lnTo>
                <a:lnTo>
                  <a:pt x="591" y="753"/>
                </a:lnTo>
                <a:lnTo>
                  <a:pt x="598" y="755"/>
                </a:lnTo>
                <a:close/>
                <a:moveTo>
                  <a:pt x="531" y="780"/>
                </a:moveTo>
                <a:lnTo>
                  <a:pt x="530" y="777"/>
                </a:lnTo>
                <a:lnTo>
                  <a:pt x="531" y="776"/>
                </a:lnTo>
                <a:lnTo>
                  <a:pt x="532" y="775"/>
                </a:lnTo>
                <a:lnTo>
                  <a:pt x="532" y="775"/>
                </a:lnTo>
                <a:lnTo>
                  <a:pt x="536" y="775"/>
                </a:lnTo>
                <a:lnTo>
                  <a:pt x="539" y="775"/>
                </a:lnTo>
                <a:lnTo>
                  <a:pt x="535" y="783"/>
                </a:lnTo>
                <a:lnTo>
                  <a:pt x="534" y="792"/>
                </a:lnTo>
                <a:lnTo>
                  <a:pt x="532" y="785"/>
                </a:lnTo>
                <a:lnTo>
                  <a:pt x="531" y="780"/>
                </a:lnTo>
                <a:close/>
                <a:moveTo>
                  <a:pt x="465" y="827"/>
                </a:moveTo>
                <a:lnTo>
                  <a:pt x="470" y="829"/>
                </a:lnTo>
                <a:lnTo>
                  <a:pt x="472" y="834"/>
                </a:lnTo>
                <a:lnTo>
                  <a:pt x="469" y="841"/>
                </a:lnTo>
                <a:lnTo>
                  <a:pt x="462" y="840"/>
                </a:lnTo>
                <a:lnTo>
                  <a:pt x="461" y="838"/>
                </a:lnTo>
                <a:lnTo>
                  <a:pt x="459" y="838"/>
                </a:lnTo>
                <a:lnTo>
                  <a:pt x="459" y="838"/>
                </a:lnTo>
                <a:lnTo>
                  <a:pt x="460" y="832"/>
                </a:lnTo>
                <a:lnTo>
                  <a:pt x="465" y="827"/>
                </a:lnTo>
                <a:close/>
                <a:moveTo>
                  <a:pt x="459" y="818"/>
                </a:moveTo>
                <a:lnTo>
                  <a:pt x="462" y="811"/>
                </a:lnTo>
                <a:lnTo>
                  <a:pt x="469" y="810"/>
                </a:lnTo>
                <a:lnTo>
                  <a:pt x="473" y="811"/>
                </a:lnTo>
                <a:lnTo>
                  <a:pt x="474" y="816"/>
                </a:lnTo>
                <a:lnTo>
                  <a:pt x="469" y="822"/>
                </a:lnTo>
                <a:lnTo>
                  <a:pt x="462" y="823"/>
                </a:lnTo>
                <a:lnTo>
                  <a:pt x="459" y="822"/>
                </a:lnTo>
                <a:lnTo>
                  <a:pt x="459" y="818"/>
                </a:lnTo>
                <a:close/>
                <a:moveTo>
                  <a:pt x="495" y="805"/>
                </a:moveTo>
                <a:lnTo>
                  <a:pt x="496" y="812"/>
                </a:lnTo>
                <a:lnTo>
                  <a:pt x="490" y="817"/>
                </a:lnTo>
                <a:lnTo>
                  <a:pt x="486" y="818"/>
                </a:lnTo>
                <a:lnTo>
                  <a:pt x="481" y="816"/>
                </a:lnTo>
                <a:lnTo>
                  <a:pt x="482" y="809"/>
                </a:lnTo>
                <a:lnTo>
                  <a:pt x="488" y="805"/>
                </a:lnTo>
                <a:lnTo>
                  <a:pt x="489" y="805"/>
                </a:lnTo>
                <a:lnTo>
                  <a:pt x="492" y="805"/>
                </a:lnTo>
                <a:lnTo>
                  <a:pt x="492" y="801"/>
                </a:lnTo>
                <a:lnTo>
                  <a:pt x="494" y="797"/>
                </a:lnTo>
                <a:lnTo>
                  <a:pt x="492" y="801"/>
                </a:lnTo>
                <a:lnTo>
                  <a:pt x="492" y="805"/>
                </a:lnTo>
                <a:lnTo>
                  <a:pt x="493" y="805"/>
                </a:lnTo>
                <a:lnTo>
                  <a:pt x="495" y="805"/>
                </a:lnTo>
                <a:close/>
                <a:moveTo>
                  <a:pt x="480" y="790"/>
                </a:moveTo>
                <a:lnTo>
                  <a:pt x="486" y="785"/>
                </a:lnTo>
                <a:lnTo>
                  <a:pt x="494" y="787"/>
                </a:lnTo>
                <a:lnTo>
                  <a:pt x="496" y="788"/>
                </a:lnTo>
                <a:lnTo>
                  <a:pt x="496" y="789"/>
                </a:lnTo>
                <a:lnTo>
                  <a:pt x="490" y="795"/>
                </a:lnTo>
                <a:lnTo>
                  <a:pt x="485" y="799"/>
                </a:lnTo>
                <a:lnTo>
                  <a:pt x="480" y="798"/>
                </a:lnTo>
                <a:lnTo>
                  <a:pt x="474" y="795"/>
                </a:lnTo>
                <a:lnTo>
                  <a:pt x="474" y="794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5" y="792"/>
                </a:lnTo>
                <a:lnTo>
                  <a:pt x="476" y="791"/>
                </a:lnTo>
                <a:lnTo>
                  <a:pt x="476" y="790"/>
                </a:lnTo>
                <a:lnTo>
                  <a:pt x="475" y="789"/>
                </a:lnTo>
                <a:lnTo>
                  <a:pt x="474" y="790"/>
                </a:lnTo>
                <a:lnTo>
                  <a:pt x="474" y="790"/>
                </a:lnTo>
                <a:lnTo>
                  <a:pt x="474" y="791"/>
                </a:lnTo>
                <a:lnTo>
                  <a:pt x="469" y="792"/>
                </a:lnTo>
                <a:lnTo>
                  <a:pt x="463" y="795"/>
                </a:lnTo>
                <a:lnTo>
                  <a:pt x="472" y="785"/>
                </a:lnTo>
                <a:lnTo>
                  <a:pt x="481" y="780"/>
                </a:lnTo>
                <a:lnTo>
                  <a:pt x="480" y="784"/>
                </a:lnTo>
                <a:lnTo>
                  <a:pt x="480" y="790"/>
                </a:lnTo>
                <a:close/>
                <a:moveTo>
                  <a:pt x="520" y="780"/>
                </a:moveTo>
                <a:lnTo>
                  <a:pt x="515" y="788"/>
                </a:lnTo>
                <a:lnTo>
                  <a:pt x="513" y="797"/>
                </a:lnTo>
                <a:lnTo>
                  <a:pt x="510" y="790"/>
                </a:lnTo>
                <a:lnTo>
                  <a:pt x="507" y="791"/>
                </a:lnTo>
                <a:lnTo>
                  <a:pt x="507" y="791"/>
                </a:lnTo>
                <a:lnTo>
                  <a:pt x="506" y="790"/>
                </a:lnTo>
                <a:lnTo>
                  <a:pt x="508" y="787"/>
                </a:lnTo>
                <a:lnTo>
                  <a:pt x="504" y="784"/>
                </a:lnTo>
                <a:lnTo>
                  <a:pt x="497" y="783"/>
                </a:lnTo>
                <a:lnTo>
                  <a:pt x="490" y="778"/>
                </a:lnTo>
                <a:lnTo>
                  <a:pt x="486" y="778"/>
                </a:lnTo>
                <a:lnTo>
                  <a:pt x="481" y="780"/>
                </a:lnTo>
                <a:lnTo>
                  <a:pt x="492" y="775"/>
                </a:lnTo>
                <a:lnTo>
                  <a:pt x="502" y="778"/>
                </a:lnTo>
                <a:lnTo>
                  <a:pt x="507" y="782"/>
                </a:lnTo>
                <a:lnTo>
                  <a:pt x="513" y="780"/>
                </a:lnTo>
                <a:lnTo>
                  <a:pt x="515" y="776"/>
                </a:lnTo>
                <a:lnTo>
                  <a:pt x="520" y="774"/>
                </a:lnTo>
                <a:lnTo>
                  <a:pt x="515" y="776"/>
                </a:lnTo>
                <a:lnTo>
                  <a:pt x="513" y="780"/>
                </a:lnTo>
                <a:lnTo>
                  <a:pt x="516" y="780"/>
                </a:lnTo>
                <a:lnTo>
                  <a:pt x="520" y="780"/>
                </a:lnTo>
                <a:close/>
                <a:moveTo>
                  <a:pt x="461" y="795"/>
                </a:moveTo>
                <a:lnTo>
                  <a:pt x="462" y="798"/>
                </a:lnTo>
                <a:lnTo>
                  <a:pt x="466" y="801"/>
                </a:lnTo>
                <a:lnTo>
                  <a:pt x="466" y="802"/>
                </a:lnTo>
                <a:lnTo>
                  <a:pt x="466" y="804"/>
                </a:lnTo>
                <a:lnTo>
                  <a:pt x="460" y="802"/>
                </a:lnTo>
                <a:lnTo>
                  <a:pt x="456" y="812"/>
                </a:lnTo>
                <a:lnTo>
                  <a:pt x="455" y="804"/>
                </a:lnTo>
                <a:lnTo>
                  <a:pt x="454" y="798"/>
                </a:lnTo>
                <a:lnTo>
                  <a:pt x="454" y="798"/>
                </a:lnTo>
                <a:lnTo>
                  <a:pt x="455" y="794"/>
                </a:lnTo>
                <a:lnTo>
                  <a:pt x="461" y="795"/>
                </a:lnTo>
                <a:close/>
                <a:moveTo>
                  <a:pt x="460" y="845"/>
                </a:moveTo>
                <a:lnTo>
                  <a:pt x="460" y="845"/>
                </a:lnTo>
                <a:lnTo>
                  <a:pt x="462" y="845"/>
                </a:lnTo>
                <a:lnTo>
                  <a:pt x="463" y="844"/>
                </a:lnTo>
                <a:lnTo>
                  <a:pt x="467" y="843"/>
                </a:lnTo>
                <a:lnTo>
                  <a:pt x="470" y="843"/>
                </a:lnTo>
                <a:lnTo>
                  <a:pt x="480" y="840"/>
                </a:lnTo>
                <a:lnTo>
                  <a:pt x="481" y="831"/>
                </a:lnTo>
                <a:lnTo>
                  <a:pt x="485" y="823"/>
                </a:lnTo>
                <a:lnTo>
                  <a:pt x="494" y="822"/>
                </a:lnTo>
                <a:lnTo>
                  <a:pt x="496" y="825"/>
                </a:lnTo>
                <a:lnTo>
                  <a:pt x="495" y="829"/>
                </a:lnTo>
                <a:lnTo>
                  <a:pt x="490" y="833"/>
                </a:lnTo>
                <a:lnTo>
                  <a:pt x="486" y="838"/>
                </a:lnTo>
                <a:lnTo>
                  <a:pt x="501" y="834"/>
                </a:lnTo>
                <a:lnTo>
                  <a:pt x="515" y="832"/>
                </a:lnTo>
                <a:lnTo>
                  <a:pt x="516" y="831"/>
                </a:lnTo>
                <a:lnTo>
                  <a:pt x="516" y="831"/>
                </a:lnTo>
                <a:lnTo>
                  <a:pt x="527" y="819"/>
                </a:lnTo>
                <a:lnTo>
                  <a:pt x="543" y="817"/>
                </a:lnTo>
                <a:lnTo>
                  <a:pt x="545" y="816"/>
                </a:lnTo>
                <a:lnTo>
                  <a:pt x="549" y="816"/>
                </a:lnTo>
                <a:lnTo>
                  <a:pt x="545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43" y="817"/>
                </a:lnTo>
                <a:lnTo>
                  <a:pt x="536" y="820"/>
                </a:lnTo>
                <a:lnTo>
                  <a:pt x="532" y="827"/>
                </a:lnTo>
                <a:lnTo>
                  <a:pt x="550" y="824"/>
                </a:lnTo>
                <a:lnTo>
                  <a:pt x="568" y="820"/>
                </a:lnTo>
                <a:lnTo>
                  <a:pt x="561" y="816"/>
                </a:lnTo>
                <a:lnTo>
                  <a:pt x="555" y="812"/>
                </a:lnTo>
                <a:lnTo>
                  <a:pt x="555" y="809"/>
                </a:lnTo>
                <a:lnTo>
                  <a:pt x="551" y="808"/>
                </a:lnTo>
                <a:lnTo>
                  <a:pt x="527" y="815"/>
                </a:lnTo>
                <a:lnTo>
                  <a:pt x="503" y="820"/>
                </a:lnTo>
                <a:lnTo>
                  <a:pt x="502" y="820"/>
                </a:lnTo>
                <a:lnTo>
                  <a:pt x="500" y="819"/>
                </a:lnTo>
                <a:lnTo>
                  <a:pt x="508" y="816"/>
                </a:lnTo>
                <a:lnTo>
                  <a:pt x="516" y="813"/>
                </a:lnTo>
                <a:lnTo>
                  <a:pt x="528" y="810"/>
                </a:lnTo>
                <a:lnTo>
                  <a:pt x="539" y="808"/>
                </a:lnTo>
                <a:lnTo>
                  <a:pt x="552" y="805"/>
                </a:lnTo>
                <a:lnTo>
                  <a:pt x="566" y="804"/>
                </a:lnTo>
                <a:lnTo>
                  <a:pt x="570" y="806"/>
                </a:lnTo>
                <a:lnTo>
                  <a:pt x="570" y="811"/>
                </a:lnTo>
                <a:lnTo>
                  <a:pt x="570" y="815"/>
                </a:lnTo>
                <a:lnTo>
                  <a:pt x="573" y="817"/>
                </a:lnTo>
                <a:lnTo>
                  <a:pt x="578" y="815"/>
                </a:lnTo>
                <a:lnTo>
                  <a:pt x="578" y="810"/>
                </a:lnTo>
                <a:lnTo>
                  <a:pt x="582" y="801"/>
                </a:lnTo>
                <a:lnTo>
                  <a:pt x="591" y="797"/>
                </a:lnTo>
                <a:lnTo>
                  <a:pt x="592" y="797"/>
                </a:lnTo>
                <a:lnTo>
                  <a:pt x="593" y="799"/>
                </a:lnTo>
                <a:lnTo>
                  <a:pt x="593" y="802"/>
                </a:lnTo>
                <a:lnTo>
                  <a:pt x="592" y="805"/>
                </a:lnTo>
                <a:lnTo>
                  <a:pt x="590" y="809"/>
                </a:lnTo>
                <a:lnTo>
                  <a:pt x="586" y="812"/>
                </a:lnTo>
                <a:lnTo>
                  <a:pt x="591" y="812"/>
                </a:lnTo>
                <a:lnTo>
                  <a:pt x="596" y="812"/>
                </a:lnTo>
                <a:lnTo>
                  <a:pt x="601" y="804"/>
                </a:lnTo>
                <a:lnTo>
                  <a:pt x="608" y="799"/>
                </a:lnTo>
                <a:lnTo>
                  <a:pt x="601" y="804"/>
                </a:lnTo>
                <a:lnTo>
                  <a:pt x="596" y="812"/>
                </a:lnTo>
                <a:lnTo>
                  <a:pt x="610" y="809"/>
                </a:lnTo>
                <a:lnTo>
                  <a:pt x="619" y="797"/>
                </a:lnTo>
                <a:lnTo>
                  <a:pt x="626" y="795"/>
                </a:lnTo>
                <a:lnTo>
                  <a:pt x="633" y="795"/>
                </a:lnTo>
                <a:lnTo>
                  <a:pt x="633" y="795"/>
                </a:lnTo>
                <a:lnTo>
                  <a:pt x="631" y="801"/>
                </a:lnTo>
                <a:lnTo>
                  <a:pt x="627" y="805"/>
                </a:lnTo>
                <a:lnTo>
                  <a:pt x="645" y="801"/>
                </a:lnTo>
                <a:lnTo>
                  <a:pt x="661" y="797"/>
                </a:lnTo>
                <a:lnTo>
                  <a:pt x="663" y="796"/>
                </a:lnTo>
                <a:lnTo>
                  <a:pt x="663" y="795"/>
                </a:lnTo>
                <a:lnTo>
                  <a:pt x="662" y="792"/>
                </a:lnTo>
                <a:lnTo>
                  <a:pt x="661" y="792"/>
                </a:lnTo>
                <a:lnTo>
                  <a:pt x="654" y="789"/>
                </a:lnTo>
                <a:lnTo>
                  <a:pt x="655" y="782"/>
                </a:lnTo>
                <a:lnTo>
                  <a:pt x="658" y="782"/>
                </a:lnTo>
                <a:lnTo>
                  <a:pt x="659" y="781"/>
                </a:lnTo>
                <a:lnTo>
                  <a:pt x="667" y="781"/>
                </a:lnTo>
                <a:lnTo>
                  <a:pt x="668" y="788"/>
                </a:lnTo>
                <a:lnTo>
                  <a:pt x="668" y="792"/>
                </a:lnTo>
                <a:lnTo>
                  <a:pt x="672" y="792"/>
                </a:lnTo>
                <a:lnTo>
                  <a:pt x="676" y="791"/>
                </a:lnTo>
                <a:lnTo>
                  <a:pt x="677" y="787"/>
                </a:lnTo>
                <a:lnTo>
                  <a:pt x="677" y="778"/>
                </a:lnTo>
                <a:lnTo>
                  <a:pt x="686" y="775"/>
                </a:lnTo>
                <a:lnTo>
                  <a:pt x="688" y="775"/>
                </a:lnTo>
                <a:lnTo>
                  <a:pt x="692" y="776"/>
                </a:lnTo>
                <a:lnTo>
                  <a:pt x="692" y="780"/>
                </a:lnTo>
                <a:lnTo>
                  <a:pt x="690" y="782"/>
                </a:lnTo>
                <a:lnTo>
                  <a:pt x="687" y="785"/>
                </a:lnTo>
                <a:lnTo>
                  <a:pt x="683" y="789"/>
                </a:lnTo>
                <a:lnTo>
                  <a:pt x="690" y="789"/>
                </a:lnTo>
                <a:lnTo>
                  <a:pt x="696" y="787"/>
                </a:lnTo>
                <a:lnTo>
                  <a:pt x="696" y="782"/>
                </a:lnTo>
                <a:lnTo>
                  <a:pt x="699" y="778"/>
                </a:lnTo>
                <a:lnTo>
                  <a:pt x="696" y="782"/>
                </a:lnTo>
                <a:lnTo>
                  <a:pt x="696" y="787"/>
                </a:lnTo>
                <a:lnTo>
                  <a:pt x="704" y="787"/>
                </a:lnTo>
                <a:lnTo>
                  <a:pt x="714" y="784"/>
                </a:lnTo>
                <a:lnTo>
                  <a:pt x="716" y="784"/>
                </a:lnTo>
                <a:lnTo>
                  <a:pt x="716" y="783"/>
                </a:lnTo>
                <a:lnTo>
                  <a:pt x="717" y="777"/>
                </a:lnTo>
                <a:lnTo>
                  <a:pt x="720" y="771"/>
                </a:lnTo>
                <a:lnTo>
                  <a:pt x="728" y="770"/>
                </a:lnTo>
                <a:lnTo>
                  <a:pt x="735" y="769"/>
                </a:lnTo>
                <a:lnTo>
                  <a:pt x="743" y="766"/>
                </a:lnTo>
                <a:lnTo>
                  <a:pt x="752" y="764"/>
                </a:lnTo>
                <a:lnTo>
                  <a:pt x="751" y="762"/>
                </a:lnTo>
                <a:lnTo>
                  <a:pt x="751" y="760"/>
                </a:lnTo>
                <a:lnTo>
                  <a:pt x="731" y="764"/>
                </a:lnTo>
                <a:lnTo>
                  <a:pt x="710" y="770"/>
                </a:lnTo>
                <a:lnTo>
                  <a:pt x="731" y="764"/>
                </a:lnTo>
                <a:lnTo>
                  <a:pt x="751" y="760"/>
                </a:lnTo>
                <a:lnTo>
                  <a:pt x="753" y="759"/>
                </a:lnTo>
                <a:lnTo>
                  <a:pt x="756" y="756"/>
                </a:lnTo>
                <a:lnTo>
                  <a:pt x="756" y="756"/>
                </a:lnTo>
                <a:lnTo>
                  <a:pt x="766" y="757"/>
                </a:lnTo>
                <a:lnTo>
                  <a:pt x="768" y="769"/>
                </a:lnTo>
                <a:lnTo>
                  <a:pt x="760" y="769"/>
                </a:lnTo>
                <a:lnTo>
                  <a:pt x="753" y="766"/>
                </a:lnTo>
                <a:lnTo>
                  <a:pt x="752" y="766"/>
                </a:lnTo>
                <a:lnTo>
                  <a:pt x="752" y="764"/>
                </a:lnTo>
                <a:lnTo>
                  <a:pt x="743" y="766"/>
                </a:lnTo>
                <a:lnTo>
                  <a:pt x="735" y="769"/>
                </a:lnTo>
                <a:lnTo>
                  <a:pt x="731" y="775"/>
                </a:lnTo>
                <a:lnTo>
                  <a:pt x="728" y="781"/>
                </a:lnTo>
                <a:lnTo>
                  <a:pt x="743" y="777"/>
                </a:lnTo>
                <a:lnTo>
                  <a:pt x="757" y="771"/>
                </a:lnTo>
                <a:lnTo>
                  <a:pt x="763" y="771"/>
                </a:lnTo>
                <a:lnTo>
                  <a:pt x="768" y="770"/>
                </a:lnTo>
                <a:lnTo>
                  <a:pt x="776" y="768"/>
                </a:lnTo>
                <a:lnTo>
                  <a:pt x="777" y="759"/>
                </a:lnTo>
                <a:lnTo>
                  <a:pt x="780" y="752"/>
                </a:lnTo>
                <a:lnTo>
                  <a:pt x="789" y="749"/>
                </a:lnTo>
                <a:lnTo>
                  <a:pt x="791" y="753"/>
                </a:lnTo>
                <a:lnTo>
                  <a:pt x="790" y="756"/>
                </a:lnTo>
                <a:lnTo>
                  <a:pt x="786" y="760"/>
                </a:lnTo>
                <a:lnTo>
                  <a:pt x="783" y="764"/>
                </a:lnTo>
                <a:lnTo>
                  <a:pt x="790" y="764"/>
                </a:lnTo>
                <a:lnTo>
                  <a:pt x="794" y="762"/>
                </a:lnTo>
                <a:lnTo>
                  <a:pt x="797" y="759"/>
                </a:lnTo>
                <a:lnTo>
                  <a:pt x="798" y="754"/>
                </a:lnTo>
                <a:lnTo>
                  <a:pt x="797" y="759"/>
                </a:lnTo>
                <a:lnTo>
                  <a:pt x="794" y="762"/>
                </a:lnTo>
                <a:lnTo>
                  <a:pt x="810" y="760"/>
                </a:lnTo>
                <a:lnTo>
                  <a:pt x="819" y="748"/>
                </a:lnTo>
                <a:lnTo>
                  <a:pt x="827" y="746"/>
                </a:lnTo>
                <a:lnTo>
                  <a:pt x="835" y="745"/>
                </a:lnTo>
                <a:lnTo>
                  <a:pt x="837" y="742"/>
                </a:lnTo>
                <a:lnTo>
                  <a:pt x="838" y="741"/>
                </a:lnTo>
                <a:lnTo>
                  <a:pt x="837" y="742"/>
                </a:lnTo>
                <a:lnTo>
                  <a:pt x="835" y="745"/>
                </a:lnTo>
                <a:lnTo>
                  <a:pt x="834" y="746"/>
                </a:lnTo>
                <a:lnTo>
                  <a:pt x="833" y="748"/>
                </a:lnTo>
                <a:lnTo>
                  <a:pt x="829" y="750"/>
                </a:lnTo>
                <a:lnTo>
                  <a:pt x="828" y="754"/>
                </a:lnTo>
                <a:lnTo>
                  <a:pt x="832" y="755"/>
                </a:lnTo>
                <a:lnTo>
                  <a:pt x="835" y="754"/>
                </a:lnTo>
                <a:lnTo>
                  <a:pt x="851" y="749"/>
                </a:lnTo>
                <a:lnTo>
                  <a:pt x="865" y="745"/>
                </a:lnTo>
                <a:lnTo>
                  <a:pt x="859" y="742"/>
                </a:lnTo>
                <a:lnTo>
                  <a:pt x="854" y="738"/>
                </a:lnTo>
                <a:lnTo>
                  <a:pt x="855" y="734"/>
                </a:lnTo>
                <a:lnTo>
                  <a:pt x="859" y="731"/>
                </a:lnTo>
                <a:lnTo>
                  <a:pt x="866" y="732"/>
                </a:lnTo>
                <a:lnTo>
                  <a:pt x="868" y="739"/>
                </a:lnTo>
                <a:lnTo>
                  <a:pt x="868" y="742"/>
                </a:lnTo>
                <a:lnTo>
                  <a:pt x="870" y="743"/>
                </a:lnTo>
                <a:lnTo>
                  <a:pt x="875" y="742"/>
                </a:lnTo>
                <a:lnTo>
                  <a:pt x="876" y="738"/>
                </a:lnTo>
                <a:lnTo>
                  <a:pt x="877" y="729"/>
                </a:lnTo>
                <a:lnTo>
                  <a:pt x="884" y="726"/>
                </a:lnTo>
                <a:lnTo>
                  <a:pt x="887" y="725"/>
                </a:lnTo>
                <a:lnTo>
                  <a:pt x="888" y="725"/>
                </a:lnTo>
                <a:lnTo>
                  <a:pt x="888" y="725"/>
                </a:lnTo>
                <a:lnTo>
                  <a:pt x="890" y="725"/>
                </a:lnTo>
                <a:lnTo>
                  <a:pt x="891" y="725"/>
                </a:lnTo>
                <a:lnTo>
                  <a:pt x="888" y="734"/>
                </a:lnTo>
                <a:lnTo>
                  <a:pt x="882" y="741"/>
                </a:lnTo>
                <a:lnTo>
                  <a:pt x="890" y="740"/>
                </a:lnTo>
                <a:lnTo>
                  <a:pt x="897" y="739"/>
                </a:lnTo>
                <a:lnTo>
                  <a:pt x="908" y="735"/>
                </a:lnTo>
                <a:lnTo>
                  <a:pt x="915" y="726"/>
                </a:lnTo>
                <a:lnTo>
                  <a:pt x="915" y="726"/>
                </a:lnTo>
                <a:lnTo>
                  <a:pt x="923" y="722"/>
                </a:lnTo>
                <a:lnTo>
                  <a:pt x="930" y="720"/>
                </a:lnTo>
                <a:lnTo>
                  <a:pt x="932" y="721"/>
                </a:lnTo>
                <a:lnTo>
                  <a:pt x="932" y="724"/>
                </a:lnTo>
                <a:lnTo>
                  <a:pt x="929" y="727"/>
                </a:lnTo>
                <a:lnTo>
                  <a:pt x="925" y="731"/>
                </a:lnTo>
                <a:lnTo>
                  <a:pt x="941" y="727"/>
                </a:lnTo>
                <a:lnTo>
                  <a:pt x="949" y="715"/>
                </a:lnTo>
                <a:lnTo>
                  <a:pt x="950" y="714"/>
                </a:lnTo>
                <a:lnTo>
                  <a:pt x="951" y="713"/>
                </a:lnTo>
                <a:lnTo>
                  <a:pt x="953" y="714"/>
                </a:lnTo>
                <a:lnTo>
                  <a:pt x="955" y="715"/>
                </a:lnTo>
                <a:lnTo>
                  <a:pt x="945" y="727"/>
                </a:lnTo>
                <a:lnTo>
                  <a:pt x="932" y="733"/>
                </a:lnTo>
                <a:lnTo>
                  <a:pt x="897" y="742"/>
                </a:lnTo>
                <a:lnTo>
                  <a:pt x="862" y="750"/>
                </a:lnTo>
                <a:lnTo>
                  <a:pt x="818" y="761"/>
                </a:lnTo>
                <a:lnTo>
                  <a:pt x="773" y="771"/>
                </a:lnTo>
                <a:lnTo>
                  <a:pt x="732" y="782"/>
                </a:lnTo>
                <a:lnTo>
                  <a:pt x="692" y="792"/>
                </a:lnTo>
                <a:lnTo>
                  <a:pt x="661" y="799"/>
                </a:lnTo>
                <a:lnTo>
                  <a:pt x="631" y="808"/>
                </a:lnTo>
                <a:lnTo>
                  <a:pt x="587" y="818"/>
                </a:lnTo>
                <a:lnTo>
                  <a:pt x="544" y="829"/>
                </a:lnTo>
                <a:lnTo>
                  <a:pt x="503" y="838"/>
                </a:lnTo>
                <a:lnTo>
                  <a:pt x="462" y="848"/>
                </a:lnTo>
                <a:lnTo>
                  <a:pt x="462" y="848"/>
                </a:lnTo>
                <a:lnTo>
                  <a:pt x="460" y="847"/>
                </a:lnTo>
                <a:lnTo>
                  <a:pt x="460" y="845"/>
                </a:lnTo>
                <a:close/>
                <a:moveTo>
                  <a:pt x="962" y="934"/>
                </a:moveTo>
                <a:lnTo>
                  <a:pt x="962" y="935"/>
                </a:lnTo>
                <a:lnTo>
                  <a:pt x="962" y="935"/>
                </a:lnTo>
                <a:lnTo>
                  <a:pt x="962" y="935"/>
                </a:lnTo>
                <a:lnTo>
                  <a:pt x="958" y="937"/>
                </a:lnTo>
                <a:lnTo>
                  <a:pt x="956" y="939"/>
                </a:lnTo>
                <a:lnTo>
                  <a:pt x="958" y="937"/>
                </a:lnTo>
                <a:lnTo>
                  <a:pt x="962" y="935"/>
                </a:lnTo>
                <a:lnTo>
                  <a:pt x="962" y="935"/>
                </a:lnTo>
                <a:lnTo>
                  <a:pt x="962" y="934"/>
                </a:lnTo>
                <a:close/>
                <a:moveTo>
                  <a:pt x="993" y="854"/>
                </a:moveTo>
                <a:lnTo>
                  <a:pt x="994" y="853"/>
                </a:lnTo>
                <a:lnTo>
                  <a:pt x="994" y="853"/>
                </a:lnTo>
                <a:lnTo>
                  <a:pt x="994" y="853"/>
                </a:lnTo>
                <a:lnTo>
                  <a:pt x="993" y="854"/>
                </a:lnTo>
                <a:close/>
                <a:moveTo>
                  <a:pt x="994" y="917"/>
                </a:moveTo>
                <a:lnTo>
                  <a:pt x="994" y="918"/>
                </a:lnTo>
                <a:lnTo>
                  <a:pt x="993" y="918"/>
                </a:lnTo>
                <a:lnTo>
                  <a:pt x="992" y="920"/>
                </a:lnTo>
                <a:lnTo>
                  <a:pt x="991" y="920"/>
                </a:lnTo>
                <a:lnTo>
                  <a:pt x="971" y="915"/>
                </a:lnTo>
                <a:lnTo>
                  <a:pt x="951" y="916"/>
                </a:lnTo>
                <a:lnTo>
                  <a:pt x="953" y="910"/>
                </a:lnTo>
                <a:lnTo>
                  <a:pt x="955" y="903"/>
                </a:lnTo>
                <a:lnTo>
                  <a:pt x="955" y="901"/>
                </a:lnTo>
                <a:lnTo>
                  <a:pt x="955" y="897"/>
                </a:lnTo>
                <a:lnTo>
                  <a:pt x="955" y="901"/>
                </a:lnTo>
                <a:lnTo>
                  <a:pt x="955" y="903"/>
                </a:lnTo>
                <a:lnTo>
                  <a:pt x="958" y="902"/>
                </a:lnTo>
                <a:lnTo>
                  <a:pt x="960" y="899"/>
                </a:lnTo>
                <a:lnTo>
                  <a:pt x="965" y="903"/>
                </a:lnTo>
                <a:lnTo>
                  <a:pt x="971" y="901"/>
                </a:lnTo>
                <a:lnTo>
                  <a:pt x="974" y="899"/>
                </a:lnTo>
                <a:lnTo>
                  <a:pt x="976" y="896"/>
                </a:lnTo>
                <a:lnTo>
                  <a:pt x="973" y="894"/>
                </a:lnTo>
                <a:lnTo>
                  <a:pt x="970" y="894"/>
                </a:lnTo>
                <a:lnTo>
                  <a:pt x="967" y="894"/>
                </a:lnTo>
                <a:lnTo>
                  <a:pt x="966" y="895"/>
                </a:lnTo>
                <a:lnTo>
                  <a:pt x="962" y="893"/>
                </a:lnTo>
                <a:lnTo>
                  <a:pt x="960" y="889"/>
                </a:lnTo>
                <a:lnTo>
                  <a:pt x="957" y="893"/>
                </a:lnTo>
                <a:lnTo>
                  <a:pt x="955" y="897"/>
                </a:lnTo>
                <a:lnTo>
                  <a:pt x="953" y="892"/>
                </a:lnTo>
                <a:lnTo>
                  <a:pt x="955" y="887"/>
                </a:lnTo>
                <a:lnTo>
                  <a:pt x="953" y="883"/>
                </a:lnTo>
                <a:lnTo>
                  <a:pt x="953" y="881"/>
                </a:lnTo>
                <a:lnTo>
                  <a:pt x="953" y="883"/>
                </a:lnTo>
                <a:lnTo>
                  <a:pt x="955" y="887"/>
                </a:lnTo>
                <a:lnTo>
                  <a:pt x="957" y="886"/>
                </a:lnTo>
                <a:lnTo>
                  <a:pt x="960" y="886"/>
                </a:lnTo>
                <a:lnTo>
                  <a:pt x="971" y="885"/>
                </a:lnTo>
                <a:lnTo>
                  <a:pt x="977" y="876"/>
                </a:lnTo>
                <a:lnTo>
                  <a:pt x="978" y="878"/>
                </a:lnTo>
                <a:lnTo>
                  <a:pt x="980" y="878"/>
                </a:lnTo>
                <a:lnTo>
                  <a:pt x="986" y="879"/>
                </a:lnTo>
                <a:lnTo>
                  <a:pt x="987" y="886"/>
                </a:lnTo>
                <a:lnTo>
                  <a:pt x="984" y="888"/>
                </a:lnTo>
                <a:lnTo>
                  <a:pt x="979" y="886"/>
                </a:lnTo>
                <a:lnTo>
                  <a:pt x="977" y="887"/>
                </a:lnTo>
                <a:lnTo>
                  <a:pt x="976" y="887"/>
                </a:lnTo>
                <a:lnTo>
                  <a:pt x="976" y="889"/>
                </a:lnTo>
                <a:lnTo>
                  <a:pt x="976" y="890"/>
                </a:lnTo>
                <a:lnTo>
                  <a:pt x="978" y="894"/>
                </a:lnTo>
                <a:lnTo>
                  <a:pt x="980" y="895"/>
                </a:lnTo>
                <a:lnTo>
                  <a:pt x="987" y="899"/>
                </a:lnTo>
                <a:lnTo>
                  <a:pt x="991" y="906"/>
                </a:lnTo>
                <a:lnTo>
                  <a:pt x="987" y="908"/>
                </a:lnTo>
                <a:lnTo>
                  <a:pt x="984" y="907"/>
                </a:lnTo>
                <a:lnTo>
                  <a:pt x="973" y="903"/>
                </a:lnTo>
                <a:lnTo>
                  <a:pt x="963" y="906"/>
                </a:lnTo>
                <a:lnTo>
                  <a:pt x="959" y="907"/>
                </a:lnTo>
                <a:lnTo>
                  <a:pt x="958" y="910"/>
                </a:lnTo>
                <a:lnTo>
                  <a:pt x="962" y="913"/>
                </a:lnTo>
                <a:lnTo>
                  <a:pt x="965" y="911"/>
                </a:lnTo>
                <a:lnTo>
                  <a:pt x="979" y="910"/>
                </a:lnTo>
                <a:lnTo>
                  <a:pt x="993" y="915"/>
                </a:lnTo>
                <a:lnTo>
                  <a:pt x="994" y="916"/>
                </a:lnTo>
                <a:lnTo>
                  <a:pt x="994" y="917"/>
                </a:lnTo>
                <a:close/>
                <a:moveTo>
                  <a:pt x="1018" y="881"/>
                </a:moveTo>
                <a:lnTo>
                  <a:pt x="1017" y="881"/>
                </a:lnTo>
                <a:lnTo>
                  <a:pt x="1015" y="882"/>
                </a:lnTo>
                <a:lnTo>
                  <a:pt x="1017" y="881"/>
                </a:lnTo>
                <a:lnTo>
                  <a:pt x="1018" y="881"/>
                </a:lnTo>
                <a:close/>
                <a:moveTo>
                  <a:pt x="1022" y="784"/>
                </a:moveTo>
                <a:lnTo>
                  <a:pt x="1022" y="795"/>
                </a:lnTo>
                <a:lnTo>
                  <a:pt x="1022" y="805"/>
                </a:lnTo>
                <a:lnTo>
                  <a:pt x="1022" y="795"/>
                </a:lnTo>
                <a:lnTo>
                  <a:pt x="1022" y="784"/>
                </a:lnTo>
                <a:close/>
                <a:moveTo>
                  <a:pt x="1026" y="1015"/>
                </a:moveTo>
                <a:lnTo>
                  <a:pt x="1026" y="1014"/>
                </a:lnTo>
                <a:lnTo>
                  <a:pt x="1025" y="1013"/>
                </a:lnTo>
                <a:lnTo>
                  <a:pt x="1026" y="1014"/>
                </a:lnTo>
                <a:lnTo>
                  <a:pt x="1026" y="1015"/>
                </a:lnTo>
                <a:close/>
                <a:moveTo>
                  <a:pt x="1010" y="531"/>
                </a:moveTo>
                <a:lnTo>
                  <a:pt x="1005" y="531"/>
                </a:lnTo>
                <a:lnTo>
                  <a:pt x="1001" y="531"/>
                </a:lnTo>
                <a:lnTo>
                  <a:pt x="1005" y="531"/>
                </a:lnTo>
                <a:lnTo>
                  <a:pt x="1010" y="531"/>
                </a:lnTo>
                <a:lnTo>
                  <a:pt x="1015" y="528"/>
                </a:lnTo>
                <a:lnTo>
                  <a:pt x="1022" y="528"/>
                </a:lnTo>
                <a:lnTo>
                  <a:pt x="1024" y="530"/>
                </a:lnTo>
                <a:lnTo>
                  <a:pt x="1026" y="533"/>
                </a:lnTo>
                <a:lnTo>
                  <a:pt x="1018" y="535"/>
                </a:lnTo>
                <a:lnTo>
                  <a:pt x="1010" y="531"/>
                </a:lnTo>
                <a:close/>
                <a:moveTo>
                  <a:pt x="1027" y="616"/>
                </a:moveTo>
                <a:lnTo>
                  <a:pt x="1028" y="616"/>
                </a:lnTo>
                <a:lnTo>
                  <a:pt x="1028" y="616"/>
                </a:lnTo>
                <a:lnTo>
                  <a:pt x="1028" y="616"/>
                </a:lnTo>
                <a:lnTo>
                  <a:pt x="1027" y="616"/>
                </a:lnTo>
                <a:lnTo>
                  <a:pt x="1027" y="616"/>
                </a:lnTo>
                <a:lnTo>
                  <a:pt x="1027" y="615"/>
                </a:lnTo>
                <a:lnTo>
                  <a:pt x="1027" y="616"/>
                </a:lnTo>
                <a:lnTo>
                  <a:pt x="1027" y="616"/>
                </a:lnTo>
                <a:close/>
                <a:moveTo>
                  <a:pt x="1033" y="1245"/>
                </a:moveTo>
                <a:lnTo>
                  <a:pt x="1029" y="1242"/>
                </a:lnTo>
                <a:lnTo>
                  <a:pt x="1027" y="1238"/>
                </a:lnTo>
                <a:lnTo>
                  <a:pt x="1029" y="1242"/>
                </a:lnTo>
                <a:lnTo>
                  <a:pt x="1033" y="1245"/>
                </a:lnTo>
                <a:close/>
                <a:moveTo>
                  <a:pt x="1029" y="797"/>
                </a:moveTo>
                <a:lnTo>
                  <a:pt x="1031" y="801"/>
                </a:lnTo>
                <a:lnTo>
                  <a:pt x="1031" y="803"/>
                </a:lnTo>
                <a:lnTo>
                  <a:pt x="1031" y="801"/>
                </a:lnTo>
                <a:lnTo>
                  <a:pt x="1029" y="797"/>
                </a:lnTo>
                <a:lnTo>
                  <a:pt x="1029" y="797"/>
                </a:lnTo>
                <a:close/>
                <a:moveTo>
                  <a:pt x="1066" y="536"/>
                </a:moveTo>
                <a:lnTo>
                  <a:pt x="1066" y="536"/>
                </a:lnTo>
                <a:lnTo>
                  <a:pt x="1067" y="535"/>
                </a:lnTo>
                <a:lnTo>
                  <a:pt x="1066" y="536"/>
                </a:lnTo>
                <a:lnTo>
                  <a:pt x="1066" y="536"/>
                </a:lnTo>
                <a:lnTo>
                  <a:pt x="1066" y="536"/>
                </a:lnTo>
                <a:close/>
                <a:moveTo>
                  <a:pt x="1063" y="719"/>
                </a:moveTo>
                <a:lnTo>
                  <a:pt x="1061" y="718"/>
                </a:lnTo>
                <a:lnTo>
                  <a:pt x="1059" y="718"/>
                </a:lnTo>
                <a:lnTo>
                  <a:pt x="1061" y="718"/>
                </a:lnTo>
                <a:lnTo>
                  <a:pt x="1063" y="719"/>
                </a:lnTo>
                <a:close/>
                <a:moveTo>
                  <a:pt x="1053" y="894"/>
                </a:moveTo>
                <a:lnTo>
                  <a:pt x="1054" y="893"/>
                </a:lnTo>
                <a:lnTo>
                  <a:pt x="1054" y="892"/>
                </a:lnTo>
                <a:lnTo>
                  <a:pt x="1054" y="893"/>
                </a:lnTo>
                <a:lnTo>
                  <a:pt x="1053" y="894"/>
                </a:lnTo>
                <a:lnTo>
                  <a:pt x="1055" y="895"/>
                </a:lnTo>
                <a:lnTo>
                  <a:pt x="1056" y="896"/>
                </a:lnTo>
                <a:lnTo>
                  <a:pt x="1055" y="895"/>
                </a:lnTo>
                <a:lnTo>
                  <a:pt x="1053" y="894"/>
                </a:lnTo>
                <a:lnTo>
                  <a:pt x="1053" y="894"/>
                </a:lnTo>
                <a:close/>
                <a:moveTo>
                  <a:pt x="1054" y="890"/>
                </a:moveTo>
                <a:lnTo>
                  <a:pt x="1054" y="889"/>
                </a:lnTo>
                <a:lnTo>
                  <a:pt x="1054" y="889"/>
                </a:lnTo>
                <a:lnTo>
                  <a:pt x="1054" y="889"/>
                </a:lnTo>
                <a:lnTo>
                  <a:pt x="1054" y="890"/>
                </a:lnTo>
                <a:close/>
                <a:moveTo>
                  <a:pt x="1053" y="768"/>
                </a:moveTo>
                <a:lnTo>
                  <a:pt x="1054" y="763"/>
                </a:lnTo>
                <a:lnTo>
                  <a:pt x="1054" y="757"/>
                </a:lnTo>
                <a:lnTo>
                  <a:pt x="1054" y="763"/>
                </a:lnTo>
                <a:lnTo>
                  <a:pt x="1053" y="768"/>
                </a:lnTo>
                <a:close/>
                <a:moveTo>
                  <a:pt x="1053" y="894"/>
                </a:moveTo>
                <a:lnTo>
                  <a:pt x="1051" y="895"/>
                </a:lnTo>
                <a:lnTo>
                  <a:pt x="1049" y="896"/>
                </a:lnTo>
                <a:lnTo>
                  <a:pt x="1051" y="895"/>
                </a:lnTo>
                <a:lnTo>
                  <a:pt x="1053" y="894"/>
                </a:lnTo>
                <a:close/>
                <a:moveTo>
                  <a:pt x="1059" y="914"/>
                </a:moveTo>
                <a:lnTo>
                  <a:pt x="1058" y="915"/>
                </a:lnTo>
                <a:lnTo>
                  <a:pt x="1058" y="917"/>
                </a:lnTo>
                <a:lnTo>
                  <a:pt x="1058" y="915"/>
                </a:lnTo>
                <a:lnTo>
                  <a:pt x="1059" y="914"/>
                </a:lnTo>
                <a:close/>
                <a:moveTo>
                  <a:pt x="1048" y="592"/>
                </a:moveTo>
                <a:lnTo>
                  <a:pt x="1054" y="589"/>
                </a:lnTo>
                <a:lnTo>
                  <a:pt x="1059" y="587"/>
                </a:lnTo>
                <a:lnTo>
                  <a:pt x="1054" y="589"/>
                </a:lnTo>
                <a:lnTo>
                  <a:pt x="1048" y="592"/>
                </a:lnTo>
                <a:close/>
                <a:moveTo>
                  <a:pt x="1073" y="1398"/>
                </a:moveTo>
                <a:lnTo>
                  <a:pt x="1073" y="1399"/>
                </a:lnTo>
                <a:lnTo>
                  <a:pt x="1073" y="1402"/>
                </a:lnTo>
                <a:lnTo>
                  <a:pt x="1073" y="1399"/>
                </a:lnTo>
                <a:lnTo>
                  <a:pt x="1073" y="1398"/>
                </a:lnTo>
                <a:close/>
                <a:moveTo>
                  <a:pt x="1075" y="805"/>
                </a:moveTo>
                <a:lnTo>
                  <a:pt x="1075" y="805"/>
                </a:lnTo>
                <a:lnTo>
                  <a:pt x="1074" y="804"/>
                </a:lnTo>
                <a:lnTo>
                  <a:pt x="1075" y="805"/>
                </a:lnTo>
                <a:lnTo>
                  <a:pt x="1075" y="805"/>
                </a:lnTo>
                <a:close/>
                <a:moveTo>
                  <a:pt x="1056" y="530"/>
                </a:moveTo>
                <a:lnTo>
                  <a:pt x="1061" y="528"/>
                </a:lnTo>
                <a:lnTo>
                  <a:pt x="1063" y="522"/>
                </a:lnTo>
                <a:lnTo>
                  <a:pt x="1060" y="521"/>
                </a:lnTo>
                <a:lnTo>
                  <a:pt x="1058" y="517"/>
                </a:lnTo>
                <a:lnTo>
                  <a:pt x="1063" y="515"/>
                </a:lnTo>
                <a:lnTo>
                  <a:pt x="1069" y="514"/>
                </a:lnTo>
                <a:lnTo>
                  <a:pt x="1074" y="511"/>
                </a:lnTo>
                <a:lnTo>
                  <a:pt x="1079" y="510"/>
                </a:lnTo>
                <a:lnTo>
                  <a:pt x="1074" y="511"/>
                </a:lnTo>
                <a:lnTo>
                  <a:pt x="1069" y="514"/>
                </a:lnTo>
                <a:lnTo>
                  <a:pt x="1074" y="516"/>
                </a:lnTo>
                <a:lnTo>
                  <a:pt x="1074" y="519"/>
                </a:lnTo>
                <a:lnTo>
                  <a:pt x="1073" y="526"/>
                </a:lnTo>
                <a:lnTo>
                  <a:pt x="1073" y="532"/>
                </a:lnTo>
                <a:lnTo>
                  <a:pt x="1070" y="533"/>
                </a:lnTo>
                <a:lnTo>
                  <a:pt x="1067" y="535"/>
                </a:lnTo>
                <a:lnTo>
                  <a:pt x="1066" y="535"/>
                </a:lnTo>
                <a:lnTo>
                  <a:pt x="1065" y="536"/>
                </a:lnTo>
                <a:lnTo>
                  <a:pt x="1065" y="536"/>
                </a:lnTo>
                <a:lnTo>
                  <a:pt x="1063" y="536"/>
                </a:lnTo>
                <a:lnTo>
                  <a:pt x="1059" y="535"/>
                </a:lnTo>
                <a:lnTo>
                  <a:pt x="1056" y="530"/>
                </a:lnTo>
                <a:close/>
                <a:moveTo>
                  <a:pt x="1098" y="671"/>
                </a:moveTo>
                <a:lnTo>
                  <a:pt x="1098" y="670"/>
                </a:lnTo>
                <a:lnTo>
                  <a:pt x="1098" y="670"/>
                </a:lnTo>
                <a:lnTo>
                  <a:pt x="1098" y="670"/>
                </a:lnTo>
                <a:lnTo>
                  <a:pt x="1098" y="671"/>
                </a:lnTo>
                <a:close/>
                <a:moveTo>
                  <a:pt x="155" y="1635"/>
                </a:moveTo>
                <a:lnTo>
                  <a:pt x="155" y="1633"/>
                </a:lnTo>
                <a:lnTo>
                  <a:pt x="156" y="1630"/>
                </a:lnTo>
                <a:lnTo>
                  <a:pt x="155" y="1633"/>
                </a:lnTo>
                <a:lnTo>
                  <a:pt x="155" y="1635"/>
                </a:lnTo>
                <a:close/>
                <a:moveTo>
                  <a:pt x="154" y="936"/>
                </a:moveTo>
                <a:lnTo>
                  <a:pt x="155" y="936"/>
                </a:lnTo>
                <a:lnTo>
                  <a:pt x="155" y="937"/>
                </a:lnTo>
                <a:lnTo>
                  <a:pt x="155" y="936"/>
                </a:lnTo>
                <a:lnTo>
                  <a:pt x="154" y="936"/>
                </a:lnTo>
                <a:close/>
                <a:moveTo>
                  <a:pt x="150" y="958"/>
                </a:moveTo>
                <a:lnTo>
                  <a:pt x="152" y="958"/>
                </a:lnTo>
                <a:lnTo>
                  <a:pt x="154" y="958"/>
                </a:lnTo>
                <a:lnTo>
                  <a:pt x="152" y="958"/>
                </a:lnTo>
                <a:lnTo>
                  <a:pt x="150" y="958"/>
                </a:lnTo>
                <a:close/>
                <a:moveTo>
                  <a:pt x="152" y="1573"/>
                </a:moveTo>
                <a:lnTo>
                  <a:pt x="154" y="1577"/>
                </a:lnTo>
                <a:lnTo>
                  <a:pt x="154" y="1579"/>
                </a:lnTo>
                <a:lnTo>
                  <a:pt x="154" y="1577"/>
                </a:lnTo>
                <a:lnTo>
                  <a:pt x="152" y="1573"/>
                </a:lnTo>
                <a:close/>
                <a:moveTo>
                  <a:pt x="150" y="1396"/>
                </a:moveTo>
                <a:lnTo>
                  <a:pt x="150" y="1396"/>
                </a:lnTo>
                <a:lnTo>
                  <a:pt x="151" y="1396"/>
                </a:lnTo>
                <a:lnTo>
                  <a:pt x="151" y="1396"/>
                </a:lnTo>
                <a:lnTo>
                  <a:pt x="152" y="1397"/>
                </a:lnTo>
                <a:lnTo>
                  <a:pt x="151" y="1396"/>
                </a:lnTo>
                <a:lnTo>
                  <a:pt x="151" y="1396"/>
                </a:lnTo>
                <a:lnTo>
                  <a:pt x="150" y="1396"/>
                </a:lnTo>
                <a:lnTo>
                  <a:pt x="150" y="1396"/>
                </a:lnTo>
                <a:close/>
                <a:moveTo>
                  <a:pt x="141" y="1592"/>
                </a:moveTo>
                <a:lnTo>
                  <a:pt x="136" y="1592"/>
                </a:lnTo>
                <a:lnTo>
                  <a:pt x="134" y="1589"/>
                </a:lnTo>
                <a:lnTo>
                  <a:pt x="136" y="1592"/>
                </a:lnTo>
                <a:lnTo>
                  <a:pt x="141" y="1592"/>
                </a:lnTo>
                <a:lnTo>
                  <a:pt x="148" y="1591"/>
                </a:lnTo>
                <a:lnTo>
                  <a:pt x="152" y="1586"/>
                </a:lnTo>
                <a:lnTo>
                  <a:pt x="148" y="1591"/>
                </a:lnTo>
                <a:lnTo>
                  <a:pt x="141" y="1592"/>
                </a:lnTo>
                <a:close/>
                <a:moveTo>
                  <a:pt x="136" y="1395"/>
                </a:moveTo>
                <a:lnTo>
                  <a:pt x="135" y="1396"/>
                </a:lnTo>
                <a:lnTo>
                  <a:pt x="135" y="1397"/>
                </a:lnTo>
                <a:lnTo>
                  <a:pt x="135" y="1396"/>
                </a:lnTo>
                <a:lnTo>
                  <a:pt x="136" y="1395"/>
                </a:lnTo>
                <a:close/>
                <a:moveTo>
                  <a:pt x="140" y="1433"/>
                </a:moveTo>
                <a:lnTo>
                  <a:pt x="138" y="1433"/>
                </a:lnTo>
                <a:lnTo>
                  <a:pt x="137" y="1433"/>
                </a:lnTo>
                <a:lnTo>
                  <a:pt x="138" y="1433"/>
                </a:lnTo>
                <a:lnTo>
                  <a:pt x="140" y="1433"/>
                </a:lnTo>
                <a:close/>
                <a:moveTo>
                  <a:pt x="142" y="1341"/>
                </a:moveTo>
                <a:lnTo>
                  <a:pt x="141" y="1342"/>
                </a:lnTo>
                <a:lnTo>
                  <a:pt x="140" y="1342"/>
                </a:lnTo>
                <a:lnTo>
                  <a:pt x="141" y="1342"/>
                </a:lnTo>
                <a:lnTo>
                  <a:pt x="142" y="1341"/>
                </a:lnTo>
                <a:close/>
                <a:moveTo>
                  <a:pt x="137" y="928"/>
                </a:moveTo>
                <a:lnTo>
                  <a:pt x="143" y="925"/>
                </a:lnTo>
                <a:lnTo>
                  <a:pt x="148" y="924"/>
                </a:lnTo>
                <a:lnTo>
                  <a:pt x="143" y="925"/>
                </a:lnTo>
                <a:lnTo>
                  <a:pt x="137" y="928"/>
                </a:lnTo>
                <a:close/>
                <a:moveTo>
                  <a:pt x="147" y="1267"/>
                </a:moveTo>
                <a:lnTo>
                  <a:pt x="147" y="1269"/>
                </a:lnTo>
                <a:lnTo>
                  <a:pt x="147" y="1271"/>
                </a:lnTo>
                <a:lnTo>
                  <a:pt x="147" y="1269"/>
                </a:lnTo>
                <a:lnTo>
                  <a:pt x="147" y="1267"/>
                </a:lnTo>
                <a:close/>
                <a:moveTo>
                  <a:pt x="149" y="958"/>
                </a:moveTo>
                <a:lnTo>
                  <a:pt x="148" y="956"/>
                </a:lnTo>
                <a:lnTo>
                  <a:pt x="147" y="955"/>
                </a:lnTo>
                <a:lnTo>
                  <a:pt x="148" y="956"/>
                </a:lnTo>
                <a:lnTo>
                  <a:pt x="149" y="958"/>
                </a:lnTo>
                <a:close/>
                <a:moveTo>
                  <a:pt x="152" y="946"/>
                </a:moveTo>
                <a:lnTo>
                  <a:pt x="151" y="948"/>
                </a:lnTo>
                <a:lnTo>
                  <a:pt x="150" y="948"/>
                </a:lnTo>
                <a:lnTo>
                  <a:pt x="151" y="948"/>
                </a:lnTo>
                <a:lnTo>
                  <a:pt x="152" y="946"/>
                </a:lnTo>
                <a:close/>
                <a:moveTo>
                  <a:pt x="127" y="1147"/>
                </a:moveTo>
                <a:lnTo>
                  <a:pt x="127" y="1149"/>
                </a:lnTo>
                <a:lnTo>
                  <a:pt x="126" y="1152"/>
                </a:lnTo>
                <a:lnTo>
                  <a:pt x="127" y="1149"/>
                </a:lnTo>
                <a:lnTo>
                  <a:pt x="127" y="1147"/>
                </a:lnTo>
                <a:lnTo>
                  <a:pt x="127" y="1147"/>
                </a:lnTo>
                <a:close/>
                <a:moveTo>
                  <a:pt x="80" y="1425"/>
                </a:moveTo>
                <a:lnTo>
                  <a:pt x="81" y="1426"/>
                </a:lnTo>
                <a:lnTo>
                  <a:pt x="83" y="1426"/>
                </a:lnTo>
                <a:lnTo>
                  <a:pt x="81" y="1426"/>
                </a:lnTo>
                <a:lnTo>
                  <a:pt x="80" y="1425"/>
                </a:lnTo>
                <a:lnTo>
                  <a:pt x="102" y="1419"/>
                </a:lnTo>
                <a:lnTo>
                  <a:pt x="124" y="1413"/>
                </a:lnTo>
                <a:lnTo>
                  <a:pt x="102" y="1419"/>
                </a:lnTo>
                <a:lnTo>
                  <a:pt x="80" y="1425"/>
                </a:lnTo>
                <a:close/>
                <a:moveTo>
                  <a:pt x="122" y="1452"/>
                </a:moveTo>
                <a:lnTo>
                  <a:pt x="123" y="1452"/>
                </a:lnTo>
                <a:lnTo>
                  <a:pt x="124" y="1452"/>
                </a:lnTo>
                <a:lnTo>
                  <a:pt x="123" y="1452"/>
                </a:lnTo>
                <a:lnTo>
                  <a:pt x="122" y="1452"/>
                </a:lnTo>
                <a:close/>
                <a:moveTo>
                  <a:pt x="123" y="1615"/>
                </a:moveTo>
                <a:lnTo>
                  <a:pt x="122" y="1615"/>
                </a:lnTo>
                <a:lnTo>
                  <a:pt x="122" y="1614"/>
                </a:lnTo>
                <a:lnTo>
                  <a:pt x="122" y="1615"/>
                </a:lnTo>
                <a:lnTo>
                  <a:pt x="123" y="1615"/>
                </a:lnTo>
                <a:close/>
                <a:moveTo>
                  <a:pt x="99" y="1448"/>
                </a:moveTo>
                <a:lnTo>
                  <a:pt x="101" y="1455"/>
                </a:lnTo>
                <a:lnTo>
                  <a:pt x="107" y="1459"/>
                </a:lnTo>
                <a:lnTo>
                  <a:pt x="101" y="1455"/>
                </a:lnTo>
                <a:lnTo>
                  <a:pt x="99" y="1448"/>
                </a:lnTo>
                <a:close/>
                <a:moveTo>
                  <a:pt x="81" y="1565"/>
                </a:moveTo>
                <a:lnTo>
                  <a:pt x="78" y="1565"/>
                </a:lnTo>
                <a:lnTo>
                  <a:pt x="74" y="1564"/>
                </a:lnTo>
                <a:lnTo>
                  <a:pt x="78" y="1565"/>
                </a:lnTo>
                <a:lnTo>
                  <a:pt x="81" y="1565"/>
                </a:lnTo>
                <a:lnTo>
                  <a:pt x="81" y="1565"/>
                </a:lnTo>
                <a:close/>
                <a:moveTo>
                  <a:pt x="67" y="1523"/>
                </a:moveTo>
                <a:lnTo>
                  <a:pt x="67" y="1522"/>
                </a:lnTo>
                <a:lnTo>
                  <a:pt x="66" y="1522"/>
                </a:lnTo>
                <a:lnTo>
                  <a:pt x="67" y="1522"/>
                </a:lnTo>
                <a:lnTo>
                  <a:pt x="67" y="1523"/>
                </a:lnTo>
                <a:close/>
                <a:moveTo>
                  <a:pt x="66" y="1498"/>
                </a:moveTo>
                <a:lnTo>
                  <a:pt x="65" y="1498"/>
                </a:lnTo>
                <a:lnTo>
                  <a:pt x="62" y="1498"/>
                </a:lnTo>
                <a:lnTo>
                  <a:pt x="65" y="1498"/>
                </a:lnTo>
                <a:lnTo>
                  <a:pt x="66" y="1498"/>
                </a:lnTo>
                <a:close/>
                <a:moveTo>
                  <a:pt x="62" y="1384"/>
                </a:moveTo>
                <a:lnTo>
                  <a:pt x="62" y="1385"/>
                </a:lnTo>
                <a:lnTo>
                  <a:pt x="62" y="1386"/>
                </a:lnTo>
                <a:lnTo>
                  <a:pt x="62" y="1385"/>
                </a:lnTo>
                <a:lnTo>
                  <a:pt x="62" y="1384"/>
                </a:lnTo>
                <a:close/>
                <a:moveTo>
                  <a:pt x="74" y="1431"/>
                </a:moveTo>
                <a:lnTo>
                  <a:pt x="74" y="1431"/>
                </a:lnTo>
                <a:lnTo>
                  <a:pt x="74" y="1432"/>
                </a:lnTo>
                <a:lnTo>
                  <a:pt x="74" y="1431"/>
                </a:lnTo>
                <a:lnTo>
                  <a:pt x="74" y="1431"/>
                </a:lnTo>
                <a:close/>
                <a:moveTo>
                  <a:pt x="78" y="1402"/>
                </a:move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lnTo>
                  <a:pt x="78" y="1402"/>
                </a:lnTo>
                <a:close/>
                <a:moveTo>
                  <a:pt x="78" y="1402"/>
                </a:moveTo>
                <a:lnTo>
                  <a:pt x="79" y="1400"/>
                </a:lnTo>
                <a:lnTo>
                  <a:pt x="80" y="1399"/>
                </a:lnTo>
                <a:lnTo>
                  <a:pt x="79" y="1400"/>
                </a:lnTo>
                <a:lnTo>
                  <a:pt x="78" y="1402"/>
                </a:lnTo>
                <a:lnTo>
                  <a:pt x="80" y="1402"/>
                </a:lnTo>
                <a:lnTo>
                  <a:pt x="81" y="1403"/>
                </a:lnTo>
                <a:lnTo>
                  <a:pt x="80" y="1402"/>
                </a:lnTo>
                <a:lnTo>
                  <a:pt x="78" y="1402"/>
                </a:lnTo>
                <a:close/>
                <a:moveTo>
                  <a:pt x="88" y="1367"/>
                </a:moveTo>
                <a:lnTo>
                  <a:pt x="87" y="1367"/>
                </a:lnTo>
                <a:lnTo>
                  <a:pt x="86" y="1367"/>
                </a:lnTo>
                <a:lnTo>
                  <a:pt x="87" y="1367"/>
                </a:lnTo>
                <a:lnTo>
                  <a:pt x="88" y="1367"/>
                </a:lnTo>
                <a:close/>
                <a:moveTo>
                  <a:pt x="90" y="1358"/>
                </a:moveTo>
                <a:lnTo>
                  <a:pt x="90" y="1358"/>
                </a:lnTo>
                <a:lnTo>
                  <a:pt x="89" y="1360"/>
                </a:lnTo>
                <a:lnTo>
                  <a:pt x="90" y="1358"/>
                </a:lnTo>
                <a:lnTo>
                  <a:pt x="90" y="1358"/>
                </a:lnTo>
                <a:close/>
                <a:moveTo>
                  <a:pt x="94" y="1351"/>
                </a:moveTo>
                <a:lnTo>
                  <a:pt x="94" y="1350"/>
                </a:lnTo>
                <a:lnTo>
                  <a:pt x="93" y="1348"/>
                </a:lnTo>
                <a:lnTo>
                  <a:pt x="94" y="1350"/>
                </a:lnTo>
                <a:lnTo>
                  <a:pt x="94" y="1351"/>
                </a:lnTo>
                <a:close/>
                <a:moveTo>
                  <a:pt x="121" y="1250"/>
                </a:moveTo>
                <a:lnTo>
                  <a:pt x="115" y="1262"/>
                </a:lnTo>
                <a:lnTo>
                  <a:pt x="113" y="1273"/>
                </a:lnTo>
                <a:lnTo>
                  <a:pt x="115" y="1262"/>
                </a:lnTo>
                <a:lnTo>
                  <a:pt x="121" y="1250"/>
                </a:lnTo>
                <a:close/>
                <a:moveTo>
                  <a:pt x="59" y="1494"/>
                </a:moveTo>
                <a:lnTo>
                  <a:pt x="59" y="1495"/>
                </a:lnTo>
                <a:lnTo>
                  <a:pt x="61" y="1497"/>
                </a:lnTo>
                <a:lnTo>
                  <a:pt x="59" y="1495"/>
                </a:lnTo>
                <a:lnTo>
                  <a:pt x="59" y="1494"/>
                </a:lnTo>
                <a:close/>
                <a:moveTo>
                  <a:pt x="59" y="1511"/>
                </a:moveTo>
                <a:lnTo>
                  <a:pt x="59" y="1512"/>
                </a:lnTo>
                <a:lnTo>
                  <a:pt x="60" y="1514"/>
                </a:lnTo>
                <a:lnTo>
                  <a:pt x="59" y="1512"/>
                </a:lnTo>
                <a:lnTo>
                  <a:pt x="59" y="1511"/>
                </a:lnTo>
                <a:close/>
                <a:moveTo>
                  <a:pt x="594" y="414"/>
                </a:moveTo>
                <a:lnTo>
                  <a:pt x="592" y="414"/>
                </a:lnTo>
                <a:lnTo>
                  <a:pt x="589" y="414"/>
                </a:lnTo>
                <a:lnTo>
                  <a:pt x="586" y="414"/>
                </a:lnTo>
                <a:lnTo>
                  <a:pt x="584" y="414"/>
                </a:lnTo>
                <a:lnTo>
                  <a:pt x="584" y="417"/>
                </a:lnTo>
                <a:lnTo>
                  <a:pt x="584" y="419"/>
                </a:lnTo>
                <a:lnTo>
                  <a:pt x="584" y="417"/>
                </a:lnTo>
                <a:lnTo>
                  <a:pt x="584" y="414"/>
                </a:lnTo>
                <a:lnTo>
                  <a:pt x="589" y="411"/>
                </a:lnTo>
                <a:lnTo>
                  <a:pt x="594" y="410"/>
                </a:lnTo>
                <a:lnTo>
                  <a:pt x="598" y="410"/>
                </a:lnTo>
                <a:lnTo>
                  <a:pt x="598" y="412"/>
                </a:lnTo>
                <a:lnTo>
                  <a:pt x="598" y="414"/>
                </a:lnTo>
                <a:lnTo>
                  <a:pt x="594" y="414"/>
                </a:lnTo>
                <a:close/>
                <a:moveTo>
                  <a:pt x="578" y="435"/>
                </a:moveTo>
                <a:lnTo>
                  <a:pt x="576" y="440"/>
                </a:lnTo>
                <a:lnTo>
                  <a:pt x="573" y="445"/>
                </a:lnTo>
                <a:lnTo>
                  <a:pt x="572" y="440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1" y="435"/>
                </a:lnTo>
                <a:lnTo>
                  <a:pt x="575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78" y="435"/>
                </a:moveTo>
                <a:lnTo>
                  <a:pt x="580" y="434"/>
                </a:lnTo>
                <a:lnTo>
                  <a:pt x="583" y="435"/>
                </a:lnTo>
                <a:lnTo>
                  <a:pt x="580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lnTo>
                  <a:pt x="578" y="435"/>
                </a:lnTo>
                <a:close/>
                <a:moveTo>
                  <a:pt x="569" y="435"/>
                </a:moveTo>
                <a:lnTo>
                  <a:pt x="570" y="434"/>
                </a:lnTo>
                <a:lnTo>
                  <a:pt x="571" y="435"/>
                </a:lnTo>
                <a:lnTo>
                  <a:pt x="570" y="435"/>
                </a:lnTo>
                <a:lnTo>
                  <a:pt x="569" y="435"/>
                </a:lnTo>
                <a:close/>
                <a:moveTo>
                  <a:pt x="854" y="114"/>
                </a:moveTo>
                <a:lnTo>
                  <a:pt x="855" y="114"/>
                </a:lnTo>
                <a:lnTo>
                  <a:pt x="856" y="116"/>
                </a:lnTo>
                <a:lnTo>
                  <a:pt x="855" y="116"/>
                </a:lnTo>
                <a:lnTo>
                  <a:pt x="854" y="117"/>
                </a:lnTo>
                <a:lnTo>
                  <a:pt x="854" y="116"/>
                </a:lnTo>
                <a:lnTo>
                  <a:pt x="854" y="114"/>
                </a:lnTo>
                <a:lnTo>
                  <a:pt x="852" y="112"/>
                </a:lnTo>
                <a:lnTo>
                  <a:pt x="851" y="109"/>
                </a:lnTo>
                <a:lnTo>
                  <a:pt x="852" y="112"/>
                </a:lnTo>
                <a:lnTo>
                  <a:pt x="854" y="114"/>
                </a:lnTo>
                <a:close/>
                <a:moveTo>
                  <a:pt x="944" y="293"/>
                </a:moveTo>
                <a:lnTo>
                  <a:pt x="948" y="296"/>
                </a:lnTo>
                <a:lnTo>
                  <a:pt x="946" y="300"/>
                </a:lnTo>
                <a:lnTo>
                  <a:pt x="951" y="301"/>
                </a:lnTo>
                <a:lnTo>
                  <a:pt x="955" y="301"/>
                </a:lnTo>
                <a:lnTo>
                  <a:pt x="951" y="301"/>
                </a:lnTo>
                <a:lnTo>
                  <a:pt x="946" y="300"/>
                </a:lnTo>
                <a:lnTo>
                  <a:pt x="942" y="300"/>
                </a:lnTo>
                <a:lnTo>
                  <a:pt x="937" y="302"/>
                </a:lnTo>
                <a:lnTo>
                  <a:pt x="934" y="302"/>
                </a:lnTo>
                <a:lnTo>
                  <a:pt x="929" y="299"/>
                </a:lnTo>
                <a:lnTo>
                  <a:pt x="937" y="296"/>
                </a:lnTo>
                <a:lnTo>
                  <a:pt x="944" y="293"/>
                </a:lnTo>
                <a:close/>
                <a:moveTo>
                  <a:pt x="966" y="379"/>
                </a:moveTo>
                <a:lnTo>
                  <a:pt x="967" y="379"/>
                </a:lnTo>
                <a:lnTo>
                  <a:pt x="967" y="379"/>
                </a:lnTo>
                <a:lnTo>
                  <a:pt x="967" y="379"/>
                </a:lnTo>
                <a:lnTo>
                  <a:pt x="966" y="379"/>
                </a:lnTo>
                <a:close/>
                <a:moveTo>
                  <a:pt x="1261" y="822"/>
                </a:moveTo>
                <a:lnTo>
                  <a:pt x="1260" y="820"/>
                </a:lnTo>
                <a:lnTo>
                  <a:pt x="1260" y="820"/>
                </a:lnTo>
                <a:lnTo>
                  <a:pt x="1260" y="820"/>
                </a:lnTo>
                <a:lnTo>
                  <a:pt x="1261" y="822"/>
                </a:lnTo>
                <a:close/>
                <a:moveTo>
                  <a:pt x="384" y="918"/>
                </a:moveTo>
                <a:lnTo>
                  <a:pt x="377" y="921"/>
                </a:lnTo>
                <a:lnTo>
                  <a:pt x="370" y="924"/>
                </a:lnTo>
                <a:lnTo>
                  <a:pt x="369" y="927"/>
                </a:lnTo>
                <a:lnTo>
                  <a:pt x="369" y="928"/>
                </a:lnTo>
                <a:lnTo>
                  <a:pt x="371" y="930"/>
                </a:lnTo>
                <a:lnTo>
                  <a:pt x="372" y="929"/>
                </a:lnTo>
                <a:lnTo>
                  <a:pt x="382" y="925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91" y="927"/>
                </a:lnTo>
                <a:lnTo>
                  <a:pt x="391" y="929"/>
                </a:lnTo>
                <a:lnTo>
                  <a:pt x="391" y="931"/>
                </a:lnTo>
                <a:lnTo>
                  <a:pt x="390" y="932"/>
                </a:lnTo>
                <a:lnTo>
                  <a:pt x="375" y="936"/>
                </a:lnTo>
                <a:lnTo>
                  <a:pt x="361" y="939"/>
                </a:lnTo>
                <a:lnTo>
                  <a:pt x="357" y="939"/>
                </a:lnTo>
                <a:lnTo>
                  <a:pt x="355" y="938"/>
                </a:lnTo>
                <a:lnTo>
                  <a:pt x="355" y="936"/>
                </a:lnTo>
                <a:lnTo>
                  <a:pt x="356" y="934"/>
                </a:lnTo>
                <a:lnTo>
                  <a:pt x="358" y="931"/>
                </a:lnTo>
                <a:lnTo>
                  <a:pt x="358" y="928"/>
                </a:lnTo>
                <a:lnTo>
                  <a:pt x="359" y="920"/>
                </a:lnTo>
                <a:lnTo>
                  <a:pt x="365" y="914"/>
                </a:lnTo>
                <a:lnTo>
                  <a:pt x="366" y="916"/>
                </a:lnTo>
                <a:lnTo>
                  <a:pt x="368" y="917"/>
                </a:lnTo>
                <a:lnTo>
                  <a:pt x="370" y="916"/>
                </a:lnTo>
                <a:lnTo>
                  <a:pt x="370" y="914"/>
                </a:lnTo>
                <a:lnTo>
                  <a:pt x="373" y="911"/>
                </a:lnTo>
                <a:lnTo>
                  <a:pt x="377" y="909"/>
                </a:lnTo>
                <a:lnTo>
                  <a:pt x="373" y="911"/>
                </a:lnTo>
                <a:lnTo>
                  <a:pt x="370" y="914"/>
                </a:lnTo>
                <a:lnTo>
                  <a:pt x="377" y="914"/>
                </a:lnTo>
                <a:lnTo>
                  <a:pt x="384" y="913"/>
                </a:lnTo>
                <a:lnTo>
                  <a:pt x="387" y="914"/>
                </a:lnTo>
                <a:lnTo>
                  <a:pt x="392" y="914"/>
                </a:lnTo>
                <a:lnTo>
                  <a:pt x="392" y="918"/>
                </a:lnTo>
                <a:lnTo>
                  <a:pt x="391" y="924"/>
                </a:lnTo>
                <a:lnTo>
                  <a:pt x="391" y="924"/>
                </a:lnTo>
                <a:lnTo>
                  <a:pt x="391" y="924"/>
                </a:lnTo>
                <a:lnTo>
                  <a:pt x="389" y="920"/>
                </a:lnTo>
                <a:lnTo>
                  <a:pt x="384" y="918"/>
                </a:lnTo>
                <a:close/>
                <a:moveTo>
                  <a:pt x="564" y="1091"/>
                </a:moveTo>
                <a:lnTo>
                  <a:pt x="565" y="1092"/>
                </a:lnTo>
                <a:lnTo>
                  <a:pt x="566" y="1092"/>
                </a:lnTo>
                <a:lnTo>
                  <a:pt x="566" y="1092"/>
                </a:lnTo>
                <a:lnTo>
                  <a:pt x="568" y="1091"/>
                </a:lnTo>
                <a:lnTo>
                  <a:pt x="566" y="1091"/>
                </a:lnTo>
                <a:lnTo>
                  <a:pt x="566" y="1091"/>
                </a:lnTo>
                <a:lnTo>
                  <a:pt x="565" y="1091"/>
                </a:lnTo>
                <a:lnTo>
                  <a:pt x="564" y="1091"/>
                </a:lnTo>
                <a:close/>
                <a:moveTo>
                  <a:pt x="736" y="964"/>
                </a:moveTo>
                <a:lnTo>
                  <a:pt x="729" y="964"/>
                </a:lnTo>
                <a:lnTo>
                  <a:pt x="721" y="967"/>
                </a:lnTo>
                <a:lnTo>
                  <a:pt x="729" y="966"/>
                </a:lnTo>
                <a:lnTo>
                  <a:pt x="736" y="964"/>
                </a:lnTo>
                <a:close/>
                <a:moveTo>
                  <a:pt x="772" y="1022"/>
                </a:moveTo>
                <a:lnTo>
                  <a:pt x="775" y="1016"/>
                </a:lnTo>
                <a:lnTo>
                  <a:pt x="772" y="1011"/>
                </a:lnTo>
                <a:lnTo>
                  <a:pt x="771" y="1011"/>
                </a:lnTo>
                <a:lnTo>
                  <a:pt x="770" y="1012"/>
                </a:lnTo>
                <a:lnTo>
                  <a:pt x="769" y="1018"/>
                </a:lnTo>
                <a:lnTo>
                  <a:pt x="772" y="1022"/>
                </a:lnTo>
                <a:close/>
                <a:moveTo>
                  <a:pt x="701" y="1019"/>
                </a:moveTo>
                <a:lnTo>
                  <a:pt x="714" y="1015"/>
                </a:lnTo>
                <a:lnTo>
                  <a:pt x="725" y="1013"/>
                </a:lnTo>
                <a:lnTo>
                  <a:pt x="713" y="1013"/>
                </a:lnTo>
                <a:lnTo>
                  <a:pt x="700" y="1014"/>
                </a:lnTo>
                <a:lnTo>
                  <a:pt x="697" y="1015"/>
                </a:lnTo>
                <a:lnTo>
                  <a:pt x="696" y="1018"/>
                </a:lnTo>
                <a:lnTo>
                  <a:pt x="699" y="1019"/>
                </a:lnTo>
                <a:lnTo>
                  <a:pt x="701" y="1019"/>
                </a:lnTo>
                <a:close/>
                <a:moveTo>
                  <a:pt x="751" y="1121"/>
                </a:moveTo>
                <a:lnTo>
                  <a:pt x="751" y="1121"/>
                </a:lnTo>
                <a:lnTo>
                  <a:pt x="751" y="1121"/>
                </a:lnTo>
                <a:lnTo>
                  <a:pt x="751" y="1121"/>
                </a:lnTo>
                <a:lnTo>
                  <a:pt x="752" y="1121"/>
                </a:lnTo>
                <a:lnTo>
                  <a:pt x="746" y="1130"/>
                </a:lnTo>
                <a:lnTo>
                  <a:pt x="738" y="1133"/>
                </a:lnTo>
                <a:lnTo>
                  <a:pt x="736" y="1137"/>
                </a:lnTo>
                <a:lnTo>
                  <a:pt x="735" y="1139"/>
                </a:lnTo>
                <a:lnTo>
                  <a:pt x="736" y="1137"/>
                </a:lnTo>
                <a:lnTo>
                  <a:pt x="738" y="1133"/>
                </a:lnTo>
                <a:lnTo>
                  <a:pt x="736" y="1131"/>
                </a:lnTo>
                <a:lnTo>
                  <a:pt x="737" y="1130"/>
                </a:lnTo>
                <a:lnTo>
                  <a:pt x="744" y="1124"/>
                </a:lnTo>
                <a:lnTo>
                  <a:pt x="751" y="1121"/>
                </a:lnTo>
                <a:lnTo>
                  <a:pt x="759" y="1113"/>
                </a:lnTo>
                <a:lnTo>
                  <a:pt x="769" y="1106"/>
                </a:lnTo>
                <a:lnTo>
                  <a:pt x="782" y="1097"/>
                </a:lnTo>
                <a:lnTo>
                  <a:pt x="793" y="1085"/>
                </a:lnTo>
                <a:lnTo>
                  <a:pt x="793" y="1085"/>
                </a:lnTo>
                <a:lnTo>
                  <a:pt x="796" y="1083"/>
                </a:lnTo>
                <a:lnTo>
                  <a:pt x="798" y="1078"/>
                </a:lnTo>
                <a:lnTo>
                  <a:pt x="803" y="1076"/>
                </a:lnTo>
                <a:lnTo>
                  <a:pt x="805" y="1070"/>
                </a:lnTo>
                <a:lnTo>
                  <a:pt x="805" y="1070"/>
                </a:lnTo>
                <a:lnTo>
                  <a:pt x="808" y="1070"/>
                </a:lnTo>
                <a:lnTo>
                  <a:pt x="811" y="1067"/>
                </a:lnTo>
                <a:lnTo>
                  <a:pt x="812" y="1067"/>
                </a:lnTo>
                <a:lnTo>
                  <a:pt x="813" y="1065"/>
                </a:lnTo>
                <a:lnTo>
                  <a:pt x="811" y="1064"/>
                </a:lnTo>
                <a:lnTo>
                  <a:pt x="810" y="1063"/>
                </a:lnTo>
                <a:lnTo>
                  <a:pt x="811" y="1064"/>
                </a:lnTo>
                <a:lnTo>
                  <a:pt x="813" y="1065"/>
                </a:lnTo>
                <a:lnTo>
                  <a:pt x="813" y="1064"/>
                </a:lnTo>
                <a:lnTo>
                  <a:pt x="814" y="1064"/>
                </a:lnTo>
                <a:lnTo>
                  <a:pt x="815" y="1064"/>
                </a:lnTo>
                <a:lnTo>
                  <a:pt x="818" y="1064"/>
                </a:lnTo>
                <a:lnTo>
                  <a:pt x="820" y="1067"/>
                </a:lnTo>
                <a:lnTo>
                  <a:pt x="818" y="1070"/>
                </a:lnTo>
                <a:lnTo>
                  <a:pt x="810" y="1076"/>
                </a:lnTo>
                <a:lnTo>
                  <a:pt x="804" y="1084"/>
                </a:lnTo>
                <a:lnTo>
                  <a:pt x="784" y="1102"/>
                </a:lnTo>
                <a:lnTo>
                  <a:pt x="763" y="1117"/>
                </a:lnTo>
                <a:lnTo>
                  <a:pt x="758" y="1120"/>
                </a:lnTo>
                <a:lnTo>
                  <a:pt x="752" y="1121"/>
                </a:lnTo>
                <a:lnTo>
                  <a:pt x="752" y="1121"/>
                </a:lnTo>
                <a:lnTo>
                  <a:pt x="752" y="1121"/>
                </a:lnTo>
                <a:lnTo>
                  <a:pt x="751" y="1121"/>
                </a:lnTo>
                <a:lnTo>
                  <a:pt x="751" y="1121"/>
                </a:lnTo>
                <a:close/>
                <a:moveTo>
                  <a:pt x="459" y="987"/>
                </a:moveTo>
                <a:lnTo>
                  <a:pt x="459" y="987"/>
                </a:lnTo>
                <a:lnTo>
                  <a:pt x="459" y="987"/>
                </a:lnTo>
                <a:lnTo>
                  <a:pt x="480" y="972"/>
                </a:lnTo>
                <a:lnTo>
                  <a:pt x="501" y="957"/>
                </a:lnTo>
                <a:lnTo>
                  <a:pt x="508" y="956"/>
                </a:lnTo>
                <a:lnTo>
                  <a:pt x="513" y="957"/>
                </a:lnTo>
                <a:lnTo>
                  <a:pt x="515" y="960"/>
                </a:lnTo>
                <a:lnTo>
                  <a:pt x="513" y="964"/>
                </a:lnTo>
                <a:lnTo>
                  <a:pt x="514" y="965"/>
                </a:lnTo>
                <a:lnTo>
                  <a:pt x="514" y="965"/>
                </a:lnTo>
                <a:lnTo>
                  <a:pt x="520" y="964"/>
                </a:lnTo>
                <a:lnTo>
                  <a:pt x="525" y="967"/>
                </a:lnTo>
                <a:lnTo>
                  <a:pt x="524" y="973"/>
                </a:lnTo>
                <a:lnTo>
                  <a:pt x="521" y="977"/>
                </a:lnTo>
                <a:lnTo>
                  <a:pt x="503" y="991"/>
                </a:lnTo>
                <a:lnTo>
                  <a:pt x="488" y="1005"/>
                </a:lnTo>
                <a:lnTo>
                  <a:pt x="479" y="1009"/>
                </a:lnTo>
                <a:lnTo>
                  <a:pt x="468" y="1014"/>
                </a:lnTo>
                <a:lnTo>
                  <a:pt x="460" y="1008"/>
                </a:lnTo>
                <a:lnTo>
                  <a:pt x="449" y="1011"/>
                </a:lnTo>
                <a:lnTo>
                  <a:pt x="448" y="1011"/>
                </a:lnTo>
                <a:lnTo>
                  <a:pt x="447" y="1009"/>
                </a:lnTo>
                <a:lnTo>
                  <a:pt x="446" y="1004"/>
                </a:lnTo>
                <a:lnTo>
                  <a:pt x="447" y="999"/>
                </a:lnTo>
                <a:lnTo>
                  <a:pt x="448" y="999"/>
                </a:lnTo>
                <a:lnTo>
                  <a:pt x="449" y="998"/>
                </a:lnTo>
                <a:lnTo>
                  <a:pt x="451" y="997"/>
                </a:lnTo>
                <a:lnTo>
                  <a:pt x="451" y="994"/>
                </a:lnTo>
                <a:lnTo>
                  <a:pt x="447" y="994"/>
                </a:lnTo>
                <a:lnTo>
                  <a:pt x="444" y="998"/>
                </a:lnTo>
                <a:lnTo>
                  <a:pt x="447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4"/>
                </a:lnTo>
                <a:lnTo>
                  <a:pt x="451" y="991"/>
                </a:lnTo>
                <a:lnTo>
                  <a:pt x="451" y="988"/>
                </a:lnTo>
                <a:lnTo>
                  <a:pt x="441" y="994"/>
                </a:lnTo>
                <a:lnTo>
                  <a:pt x="435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5"/>
                </a:lnTo>
                <a:lnTo>
                  <a:pt x="434" y="1004"/>
                </a:lnTo>
                <a:lnTo>
                  <a:pt x="434" y="1004"/>
                </a:lnTo>
                <a:lnTo>
                  <a:pt x="434" y="1004"/>
                </a:lnTo>
                <a:lnTo>
                  <a:pt x="433" y="1005"/>
                </a:lnTo>
                <a:lnTo>
                  <a:pt x="432" y="1005"/>
                </a:lnTo>
                <a:lnTo>
                  <a:pt x="432" y="1006"/>
                </a:lnTo>
                <a:lnTo>
                  <a:pt x="430" y="1006"/>
                </a:lnTo>
                <a:lnTo>
                  <a:pt x="428" y="1006"/>
                </a:lnTo>
                <a:lnTo>
                  <a:pt x="423" y="1004"/>
                </a:lnTo>
                <a:lnTo>
                  <a:pt x="414" y="1006"/>
                </a:lnTo>
                <a:lnTo>
                  <a:pt x="418" y="1000"/>
                </a:lnTo>
                <a:lnTo>
                  <a:pt x="416" y="994"/>
                </a:lnTo>
                <a:lnTo>
                  <a:pt x="416" y="994"/>
                </a:lnTo>
                <a:lnTo>
                  <a:pt x="420" y="993"/>
                </a:lnTo>
                <a:lnTo>
                  <a:pt x="423" y="995"/>
                </a:lnTo>
                <a:lnTo>
                  <a:pt x="431" y="999"/>
                </a:lnTo>
                <a:lnTo>
                  <a:pt x="438" y="994"/>
                </a:lnTo>
                <a:lnTo>
                  <a:pt x="438" y="993"/>
                </a:lnTo>
                <a:lnTo>
                  <a:pt x="438" y="991"/>
                </a:lnTo>
                <a:lnTo>
                  <a:pt x="437" y="990"/>
                </a:lnTo>
                <a:lnTo>
                  <a:pt x="435" y="988"/>
                </a:lnTo>
                <a:lnTo>
                  <a:pt x="426" y="991"/>
                </a:lnTo>
                <a:lnTo>
                  <a:pt x="419" y="985"/>
                </a:lnTo>
                <a:lnTo>
                  <a:pt x="418" y="985"/>
                </a:lnTo>
                <a:lnTo>
                  <a:pt x="418" y="985"/>
                </a:lnTo>
                <a:lnTo>
                  <a:pt x="418" y="985"/>
                </a:lnTo>
                <a:lnTo>
                  <a:pt x="419" y="985"/>
                </a:lnTo>
                <a:lnTo>
                  <a:pt x="426" y="979"/>
                </a:lnTo>
                <a:lnTo>
                  <a:pt x="435" y="978"/>
                </a:lnTo>
                <a:lnTo>
                  <a:pt x="439" y="979"/>
                </a:lnTo>
                <a:lnTo>
                  <a:pt x="441" y="981"/>
                </a:lnTo>
                <a:lnTo>
                  <a:pt x="440" y="984"/>
                </a:lnTo>
                <a:lnTo>
                  <a:pt x="438" y="986"/>
                </a:lnTo>
                <a:lnTo>
                  <a:pt x="437" y="987"/>
                </a:lnTo>
                <a:lnTo>
                  <a:pt x="435" y="988"/>
                </a:lnTo>
                <a:lnTo>
                  <a:pt x="437" y="990"/>
                </a:lnTo>
                <a:lnTo>
                  <a:pt x="438" y="991"/>
                </a:lnTo>
                <a:lnTo>
                  <a:pt x="449" y="981"/>
                </a:lnTo>
                <a:lnTo>
                  <a:pt x="461" y="972"/>
                </a:lnTo>
                <a:lnTo>
                  <a:pt x="466" y="969"/>
                </a:lnTo>
                <a:lnTo>
                  <a:pt x="472" y="969"/>
                </a:lnTo>
                <a:lnTo>
                  <a:pt x="478" y="959"/>
                </a:lnTo>
                <a:lnTo>
                  <a:pt x="487" y="955"/>
                </a:lnTo>
                <a:lnTo>
                  <a:pt x="490" y="952"/>
                </a:lnTo>
                <a:lnTo>
                  <a:pt x="492" y="948"/>
                </a:lnTo>
                <a:lnTo>
                  <a:pt x="496" y="948"/>
                </a:lnTo>
                <a:lnTo>
                  <a:pt x="499" y="945"/>
                </a:lnTo>
                <a:lnTo>
                  <a:pt x="503" y="944"/>
                </a:lnTo>
                <a:lnTo>
                  <a:pt x="506" y="946"/>
                </a:lnTo>
                <a:lnTo>
                  <a:pt x="489" y="958"/>
                </a:lnTo>
                <a:lnTo>
                  <a:pt x="472" y="969"/>
                </a:lnTo>
                <a:lnTo>
                  <a:pt x="467" y="973"/>
                </a:lnTo>
                <a:lnTo>
                  <a:pt x="462" y="978"/>
                </a:lnTo>
                <a:lnTo>
                  <a:pt x="461" y="979"/>
                </a:lnTo>
                <a:lnTo>
                  <a:pt x="460" y="980"/>
                </a:lnTo>
                <a:lnTo>
                  <a:pt x="461" y="979"/>
                </a:lnTo>
                <a:lnTo>
                  <a:pt x="462" y="978"/>
                </a:lnTo>
                <a:lnTo>
                  <a:pt x="460" y="979"/>
                </a:lnTo>
                <a:lnTo>
                  <a:pt x="459" y="980"/>
                </a:lnTo>
                <a:lnTo>
                  <a:pt x="455" y="981"/>
                </a:lnTo>
                <a:lnTo>
                  <a:pt x="454" y="985"/>
                </a:lnTo>
                <a:lnTo>
                  <a:pt x="452" y="986"/>
                </a:lnTo>
                <a:lnTo>
                  <a:pt x="451" y="988"/>
                </a:lnTo>
                <a:lnTo>
                  <a:pt x="451" y="991"/>
                </a:lnTo>
                <a:lnTo>
                  <a:pt x="451" y="994"/>
                </a:lnTo>
                <a:lnTo>
                  <a:pt x="454" y="993"/>
                </a:lnTo>
                <a:lnTo>
                  <a:pt x="456" y="991"/>
                </a:lnTo>
                <a:lnTo>
                  <a:pt x="456" y="990"/>
                </a:lnTo>
                <a:lnTo>
                  <a:pt x="458" y="990"/>
                </a:lnTo>
                <a:lnTo>
                  <a:pt x="458" y="988"/>
                </a:lnTo>
                <a:lnTo>
                  <a:pt x="458" y="988"/>
                </a:lnTo>
                <a:lnTo>
                  <a:pt x="459" y="988"/>
                </a:lnTo>
                <a:lnTo>
                  <a:pt x="459" y="987"/>
                </a:lnTo>
                <a:close/>
                <a:moveTo>
                  <a:pt x="674" y="508"/>
                </a:moveTo>
                <a:lnTo>
                  <a:pt x="673" y="508"/>
                </a:lnTo>
                <a:lnTo>
                  <a:pt x="672" y="509"/>
                </a:lnTo>
                <a:lnTo>
                  <a:pt x="673" y="511"/>
                </a:lnTo>
                <a:lnTo>
                  <a:pt x="674" y="511"/>
                </a:lnTo>
                <a:lnTo>
                  <a:pt x="675" y="511"/>
                </a:lnTo>
                <a:lnTo>
                  <a:pt x="676" y="510"/>
                </a:lnTo>
                <a:lnTo>
                  <a:pt x="676" y="508"/>
                </a:lnTo>
                <a:lnTo>
                  <a:pt x="674" y="508"/>
                </a:lnTo>
                <a:close/>
                <a:moveTo>
                  <a:pt x="612" y="474"/>
                </a:moveTo>
                <a:lnTo>
                  <a:pt x="615" y="473"/>
                </a:lnTo>
                <a:lnTo>
                  <a:pt x="615" y="470"/>
                </a:lnTo>
                <a:lnTo>
                  <a:pt x="618" y="461"/>
                </a:lnTo>
                <a:lnTo>
                  <a:pt x="619" y="453"/>
                </a:lnTo>
                <a:lnTo>
                  <a:pt x="618" y="448"/>
                </a:lnTo>
                <a:lnTo>
                  <a:pt x="614" y="446"/>
                </a:lnTo>
                <a:lnTo>
                  <a:pt x="612" y="448"/>
                </a:lnTo>
                <a:lnTo>
                  <a:pt x="613" y="452"/>
                </a:lnTo>
                <a:lnTo>
                  <a:pt x="613" y="460"/>
                </a:lnTo>
                <a:lnTo>
                  <a:pt x="612" y="469"/>
                </a:lnTo>
                <a:lnTo>
                  <a:pt x="611" y="471"/>
                </a:lnTo>
                <a:lnTo>
                  <a:pt x="612" y="474"/>
                </a:lnTo>
                <a:close/>
                <a:moveTo>
                  <a:pt x="716" y="421"/>
                </a:moveTo>
                <a:lnTo>
                  <a:pt x="714" y="420"/>
                </a:lnTo>
                <a:lnTo>
                  <a:pt x="711" y="422"/>
                </a:lnTo>
                <a:lnTo>
                  <a:pt x="709" y="425"/>
                </a:lnTo>
                <a:lnTo>
                  <a:pt x="709" y="426"/>
                </a:lnTo>
                <a:lnTo>
                  <a:pt x="711" y="427"/>
                </a:lnTo>
                <a:lnTo>
                  <a:pt x="714" y="426"/>
                </a:lnTo>
                <a:lnTo>
                  <a:pt x="715" y="425"/>
                </a:lnTo>
                <a:lnTo>
                  <a:pt x="716" y="426"/>
                </a:lnTo>
                <a:lnTo>
                  <a:pt x="716" y="427"/>
                </a:lnTo>
                <a:lnTo>
                  <a:pt x="716" y="428"/>
                </a:lnTo>
                <a:lnTo>
                  <a:pt x="714" y="429"/>
                </a:lnTo>
                <a:lnTo>
                  <a:pt x="713" y="431"/>
                </a:lnTo>
                <a:lnTo>
                  <a:pt x="714" y="436"/>
                </a:lnTo>
                <a:lnTo>
                  <a:pt x="714" y="442"/>
                </a:lnTo>
                <a:lnTo>
                  <a:pt x="715" y="442"/>
                </a:lnTo>
                <a:lnTo>
                  <a:pt x="716" y="443"/>
                </a:lnTo>
                <a:lnTo>
                  <a:pt x="724" y="440"/>
                </a:lnTo>
                <a:lnTo>
                  <a:pt x="728" y="431"/>
                </a:lnTo>
                <a:lnTo>
                  <a:pt x="728" y="427"/>
                </a:lnTo>
                <a:lnTo>
                  <a:pt x="727" y="424"/>
                </a:lnTo>
                <a:lnTo>
                  <a:pt x="721" y="422"/>
                </a:lnTo>
                <a:lnTo>
                  <a:pt x="716" y="421"/>
                </a:lnTo>
                <a:close/>
                <a:moveTo>
                  <a:pt x="271" y="955"/>
                </a:moveTo>
                <a:lnTo>
                  <a:pt x="276" y="953"/>
                </a:lnTo>
                <a:lnTo>
                  <a:pt x="281" y="949"/>
                </a:lnTo>
                <a:lnTo>
                  <a:pt x="280" y="946"/>
                </a:lnTo>
                <a:lnTo>
                  <a:pt x="278" y="946"/>
                </a:lnTo>
                <a:lnTo>
                  <a:pt x="272" y="948"/>
                </a:lnTo>
                <a:lnTo>
                  <a:pt x="266" y="950"/>
                </a:lnTo>
                <a:lnTo>
                  <a:pt x="267" y="953"/>
                </a:lnTo>
                <a:lnTo>
                  <a:pt x="271" y="955"/>
                </a:lnTo>
                <a:close/>
                <a:moveTo>
                  <a:pt x="1329" y="1137"/>
                </a:move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7"/>
                </a:lnTo>
                <a:lnTo>
                  <a:pt x="1329" y="1134"/>
                </a:lnTo>
                <a:lnTo>
                  <a:pt x="1329" y="1130"/>
                </a:lnTo>
                <a:lnTo>
                  <a:pt x="1328" y="1134"/>
                </a:lnTo>
                <a:lnTo>
                  <a:pt x="1329" y="1137"/>
                </a:lnTo>
                <a:close/>
                <a:moveTo>
                  <a:pt x="960" y="976"/>
                </a:moveTo>
                <a:lnTo>
                  <a:pt x="959" y="977"/>
                </a:lnTo>
                <a:lnTo>
                  <a:pt x="959" y="978"/>
                </a:lnTo>
                <a:lnTo>
                  <a:pt x="959" y="980"/>
                </a:lnTo>
                <a:lnTo>
                  <a:pt x="960" y="980"/>
                </a:lnTo>
                <a:lnTo>
                  <a:pt x="962" y="978"/>
                </a:lnTo>
                <a:lnTo>
                  <a:pt x="960" y="976"/>
                </a:lnTo>
                <a:close/>
                <a:moveTo>
                  <a:pt x="970" y="978"/>
                </a:moveTo>
                <a:lnTo>
                  <a:pt x="965" y="979"/>
                </a:lnTo>
                <a:lnTo>
                  <a:pt x="962" y="983"/>
                </a:lnTo>
                <a:lnTo>
                  <a:pt x="964" y="986"/>
                </a:lnTo>
                <a:lnTo>
                  <a:pt x="969" y="987"/>
                </a:lnTo>
                <a:lnTo>
                  <a:pt x="973" y="986"/>
                </a:lnTo>
                <a:lnTo>
                  <a:pt x="977" y="980"/>
                </a:lnTo>
                <a:lnTo>
                  <a:pt x="974" y="978"/>
                </a:lnTo>
                <a:lnTo>
                  <a:pt x="970" y="978"/>
                </a:lnTo>
                <a:close/>
                <a:moveTo>
                  <a:pt x="584" y="815"/>
                </a:moveTo>
                <a:lnTo>
                  <a:pt x="585" y="815"/>
                </a:lnTo>
                <a:lnTo>
                  <a:pt x="586" y="813"/>
                </a:lnTo>
                <a:lnTo>
                  <a:pt x="585" y="813"/>
                </a:lnTo>
                <a:lnTo>
                  <a:pt x="585" y="812"/>
                </a:lnTo>
                <a:lnTo>
                  <a:pt x="584" y="813"/>
                </a:lnTo>
                <a:lnTo>
                  <a:pt x="584" y="813"/>
                </a:lnTo>
                <a:lnTo>
                  <a:pt x="584" y="815"/>
                </a:lnTo>
                <a:lnTo>
                  <a:pt x="584" y="815"/>
                </a:lnTo>
                <a:close/>
                <a:moveTo>
                  <a:pt x="492" y="761"/>
                </a:moveTo>
                <a:lnTo>
                  <a:pt x="489" y="760"/>
                </a:lnTo>
                <a:lnTo>
                  <a:pt x="487" y="761"/>
                </a:lnTo>
                <a:lnTo>
                  <a:pt x="489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lnTo>
                  <a:pt x="492" y="761"/>
                </a:lnTo>
                <a:close/>
                <a:moveTo>
                  <a:pt x="888" y="669"/>
                </a:moveTo>
                <a:lnTo>
                  <a:pt x="887" y="668"/>
                </a:lnTo>
                <a:lnTo>
                  <a:pt x="884" y="669"/>
                </a:lnTo>
                <a:lnTo>
                  <a:pt x="884" y="669"/>
                </a:lnTo>
                <a:lnTo>
                  <a:pt x="886" y="670"/>
                </a:lnTo>
                <a:lnTo>
                  <a:pt x="888" y="670"/>
                </a:lnTo>
                <a:lnTo>
                  <a:pt x="888" y="669"/>
                </a:lnTo>
                <a:close/>
                <a:moveTo>
                  <a:pt x="496" y="764"/>
                </a:moveTo>
                <a:lnTo>
                  <a:pt x="495" y="762"/>
                </a:lnTo>
                <a:lnTo>
                  <a:pt x="492" y="761"/>
                </a:lnTo>
                <a:lnTo>
                  <a:pt x="494" y="763"/>
                </a:lnTo>
                <a:lnTo>
                  <a:pt x="496" y="764"/>
                </a:lnTo>
                <a:close/>
                <a:moveTo>
                  <a:pt x="496" y="764"/>
                </a:move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6" y="764"/>
                </a:lnTo>
                <a:lnTo>
                  <a:pt x="497" y="764"/>
                </a:lnTo>
                <a:lnTo>
                  <a:pt x="502" y="767"/>
                </a:lnTo>
                <a:lnTo>
                  <a:pt x="508" y="770"/>
                </a:lnTo>
                <a:lnTo>
                  <a:pt x="502" y="766"/>
                </a:lnTo>
                <a:lnTo>
                  <a:pt x="497" y="764"/>
                </a:lnTo>
                <a:lnTo>
                  <a:pt x="496" y="764"/>
                </a:lnTo>
                <a:lnTo>
                  <a:pt x="496" y="764"/>
                </a:lnTo>
                <a:close/>
                <a:moveTo>
                  <a:pt x="396" y="787"/>
                </a:moveTo>
                <a:lnTo>
                  <a:pt x="398" y="788"/>
                </a:lnTo>
                <a:lnTo>
                  <a:pt x="399" y="788"/>
                </a:lnTo>
                <a:lnTo>
                  <a:pt x="406" y="791"/>
                </a:lnTo>
                <a:lnTo>
                  <a:pt x="414" y="791"/>
                </a:lnTo>
                <a:lnTo>
                  <a:pt x="407" y="788"/>
                </a:lnTo>
                <a:lnTo>
                  <a:pt x="400" y="785"/>
                </a:lnTo>
                <a:lnTo>
                  <a:pt x="400" y="785"/>
                </a:lnTo>
                <a:lnTo>
                  <a:pt x="398" y="784"/>
                </a:lnTo>
                <a:lnTo>
                  <a:pt x="397" y="784"/>
                </a:lnTo>
                <a:lnTo>
                  <a:pt x="394" y="782"/>
                </a:lnTo>
                <a:lnTo>
                  <a:pt x="392" y="784"/>
                </a:lnTo>
                <a:lnTo>
                  <a:pt x="393" y="787"/>
                </a:lnTo>
                <a:lnTo>
                  <a:pt x="396" y="787"/>
                </a:lnTo>
                <a:close/>
                <a:moveTo>
                  <a:pt x="881" y="666"/>
                </a:moveTo>
                <a:lnTo>
                  <a:pt x="877" y="664"/>
                </a:lnTo>
                <a:lnTo>
                  <a:pt x="875" y="664"/>
                </a:lnTo>
                <a:lnTo>
                  <a:pt x="875" y="665"/>
                </a:lnTo>
                <a:lnTo>
                  <a:pt x="875" y="666"/>
                </a:lnTo>
                <a:lnTo>
                  <a:pt x="877" y="668"/>
                </a:lnTo>
                <a:lnTo>
                  <a:pt x="881" y="666"/>
                </a:lnTo>
                <a:close/>
                <a:moveTo>
                  <a:pt x="596" y="743"/>
                </a:moveTo>
                <a:lnTo>
                  <a:pt x="601" y="745"/>
                </a:lnTo>
                <a:lnTo>
                  <a:pt x="603" y="743"/>
                </a:lnTo>
                <a:lnTo>
                  <a:pt x="597" y="740"/>
                </a:lnTo>
                <a:lnTo>
                  <a:pt x="590" y="740"/>
                </a:lnTo>
                <a:lnTo>
                  <a:pt x="591" y="741"/>
                </a:lnTo>
                <a:lnTo>
                  <a:pt x="592" y="741"/>
                </a:lnTo>
                <a:lnTo>
                  <a:pt x="594" y="742"/>
                </a:lnTo>
                <a:lnTo>
                  <a:pt x="596" y="743"/>
                </a:lnTo>
                <a:close/>
                <a:moveTo>
                  <a:pt x="775" y="690"/>
                </a:moveTo>
                <a:lnTo>
                  <a:pt x="786" y="693"/>
                </a:lnTo>
                <a:lnTo>
                  <a:pt x="799" y="699"/>
                </a:lnTo>
                <a:lnTo>
                  <a:pt x="787" y="691"/>
                </a:lnTo>
                <a:lnTo>
                  <a:pt x="775" y="690"/>
                </a:lnTo>
                <a:close/>
                <a:moveTo>
                  <a:pt x="824" y="823"/>
                </a:moveTo>
                <a:lnTo>
                  <a:pt x="824" y="823"/>
                </a:lnTo>
                <a:lnTo>
                  <a:pt x="825" y="825"/>
                </a:lnTo>
                <a:lnTo>
                  <a:pt x="827" y="825"/>
                </a:lnTo>
                <a:lnTo>
                  <a:pt x="831" y="826"/>
                </a:lnTo>
                <a:lnTo>
                  <a:pt x="833" y="824"/>
                </a:lnTo>
                <a:lnTo>
                  <a:pt x="834" y="820"/>
                </a:lnTo>
                <a:lnTo>
                  <a:pt x="833" y="818"/>
                </a:lnTo>
                <a:lnTo>
                  <a:pt x="829" y="818"/>
                </a:lnTo>
                <a:lnTo>
                  <a:pt x="826" y="819"/>
                </a:lnTo>
                <a:lnTo>
                  <a:pt x="825" y="820"/>
                </a:lnTo>
                <a:lnTo>
                  <a:pt x="824" y="820"/>
                </a:lnTo>
                <a:lnTo>
                  <a:pt x="822" y="820"/>
                </a:lnTo>
                <a:lnTo>
                  <a:pt x="822" y="820"/>
                </a:lnTo>
                <a:lnTo>
                  <a:pt x="822" y="818"/>
                </a:lnTo>
                <a:lnTo>
                  <a:pt x="822" y="816"/>
                </a:lnTo>
                <a:lnTo>
                  <a:pt x="825" y="816"/>
                </a:lnTo>
                <a:lnTo>
                  <a:pt x="827" y="816"/>
                </a:lnTo>
                <a:lnTo>
                  <a:pt x="835" y="810"/>
                </a:lnTo>
                <a:lnTo>
                  <a:pt x="834" y="802"/>
                </a:lnTo>
                <a:lnTo>
                  <a:pt x="833" y="801"/>
                </a:lnTo>
                <a:lnTo>
                  <a:pt x="831" y="799"/>
                </a:lnTo>
                <a:lnTo>
                  <a:pt x="827" y="797"/>
                </a:lnTo>
                <a:lnTo>
                  <a:pt x="824" y="796"/>
                </a:lnTo>
                <a:lnTo>
                  <a:pt x="827" y="795"/>
                </a:lnTo>
                <a:lnTo>
                  <a:pt x="832" y="795"/>
                </a:lnTo>
                <a:lnTo>
                  <a:pt x="833" y="794"/>
                </a:lnTo>
                <a:lnTo>
                  <a:pt x="835" y="792"/>
                </a:lnTo>
                <a:lnTo>
                  <a:pt x="833" y="794"/>
                </a:lnTo>
                <a:lnTo>
                  <a:pt x="832" y="795"/>
                </a:lnTo>
                <a:lnTo>
                  <a:pt x="833" y="796"/>
                </a:lnTo>
                <a:lnTo>
                  <a:pt x="835" y="797"/>
                </a:lnTo>
                <a:lnTo>
                  <a:pt x="841" y="799"/>
                </a:lnTo>
                <a:lnTo>
                  <a:pt x="847" y="797"/>
                </a:lnTo>
                <a:lnTo>
                  <a:pt x="849" y="797"/>
                </a:lnTo>
                <a:lnTo>
                  <a:pt x="851" y="797"/>
                </a:lnTo>
                <a:lnTo>
                  <a:pt x="846" y="802"/>
                </a:lnTo>
                <a:lnTo>
                  <a:pt x="841" y="808"/>
                </a:lnTo>
                <a:lnTo>
                  <a:pt x="841" y="809"/>
                </a:lnTo>
                <a:lnTo>
                  <a:pt x="844" y="809"/>
                </a:lnTo>
                <a:lnTo>
                  <a:pt x="845" y="810"/>
                </a:lnTo>
                <a:lnTo>
                  <a:pt x="845" y="811"/>
                </a:lnTo>
                <a:lnTo>
                  <a:pt x="841" y="819"/>
                </a:lnTo>
                <a:lnTo>
                  <a:pt x="849" y="824"/>
                </a:lnTo>
                <a:lnTo>
                  <a:pt x="846" y="825"/>
                </a:lnTo>
                <a:lnTo>
                  <a:pt x="842" y="826"/>
                </a:lnTo>
                <a:lnTo>
                  <a:pt x="848" y="830"/>
                </a:lnTo>
                <a:lnTo>
                  <a:pt x="854" y="831"/>
                </a:lnTo>
                <a:lnTo>
                  <a:pt x="855" y="830"/>
                </a:lnTo>
                <a:lnTo>
                  <a:pt x="856" y="829"/>
                </a:lnTo>
                <a:lnTo>
                  <a:pt x="856" y="826"/>
                </a:lnTo>
                <a:lnTo>
                  <a:pt x="854" y="826"/>
                </a:lnTo>
                <a:lnTo>
                  <a:pt x="852" y="825"/>
                </a:lnTo>
                <a:lnTo>
                  <a:pt x="852" y="823"/>
                </a:lnTo>
                <a:lnTo>
                  <a:pt x="853" y="823"/>
                </a:lnTo>
                <a:lnTo>
                  <a:pt x="854" y="823"/>
                </a:lnTo>
                <a:lnTo>
                  <a:pt x="858" y="824"/>
                </a:lnTo>
                <a:lnTo>
                  <a:pt x="861" y="826"/>
                </a:lnTo>
                <a:lnTo>
                  <a:pt x="863" y="829"/>
                </a:lnTo>
                <a:lnTo>
                  <a:pt x="866" y="830"/>
                </a:lnTo>
                <a:lnTo>
                  <a:pt x="882" y="829"/>
                </a:lnTo>
                <a:lnTo>
                  <a:pt x="895" y="819"/>
                </a:lnTo>
                <a:lnTo>
                  <a:pt x="896" y="819"/>
                </a:lnTo>
                <a:lnTo>
                  <a:pt x="896" y="819"/>
                </a:lnTo>
                <a:lnTo>
                  <a:pt x="898" y="820"/>
                </a:lnTo>
                <a:lnTo>
                  <a:pt x="902" y="819"/>
                </a:lnTo>
                <a:lnTo>
                  <a:pt x="908" y="813"/>
                </a:lnTo>
                <a:lnTo>
                  <a:pt x="911" y="805"/>
                </a:lnTo>
                <a:lnTo>
                  <a:pt x="916" y="799"/>
                </a:lnTo>
                <a:lnTo>
                  <a:pt x="910" y="795"/>
                </a:lnTo>
                <a:lnTo>
                  <a:pt x="914" y="791"/>
                </a:lnTo>
                <a:lnTo>
                  <a:pt x="911" y="787"/>
                </a:lnTo>
                <a:lnTo>
                  <a:pt x="903" y="784"/>
                </a:lnTo>
                <a:lnTo>
                  <a:pt x="895" y="782"/>
                </a:lnTo>
                <a:lnTo>
                  <a:pt x="895" y="780"/>
                </a:lnTo>
                <a:lnTo>
                  <a:pt x="895" y="777"/>
                </a:lnTo>
                <a:lnTo>
                  <a:pt x="907" y="780"/>
                </a:lnTo>
                <a:lnTo>
                  <a:pt x="917" y="784"/>
                </a:lnTo>
                <a:lnTo>
                  <a:pt x="918" y="780"/>
                </a:lnTo>
                <a:lnTo>
                  <a:pt x="917" y="775"/>
                </a:lnTo>
                <a:lnTo>
                  <a:pt x="917" y="771"/>
                </a:lnTo>
                <a:lnTo>
                  <a:pt x="920" y="771"/>
                </a:lnTo>
                <a:lnTo>
                  <a:pt x="921" y="776"/>
                </a:lnTo>
                <a:lnTo>
                  <a:pt x="922" y="780"/>
                </a:lnTo>
                <a:lnTo>
                  <a:pt x="923" y="816"/>
                </a:lnTo>
                <a:lnTo>
                  <a:pt x="922" y="852"/>
                </a:lnTo>
                <a:lnTo>
                  <a:pt x="923" y="866"/>
                </a:lnTo>
                <a:lnTo>
                  <a:pt x="921" y="881"/>
                </a:lnTo>
                <a:lnTo>
                  <a:pt x="913" y="873"/>
                </a:lnTo>
                <a:lnTo>
                  <a:pt x="904" y="866"/>
                </a:lnTo>
                <a:lnTo>
                  <a:pt x="904" y="866"/>
                </a:lnTo>
                <a:lnTo>
                  <a:pt x="903" y="864"/>
                </a:lnTo>
                <a:lnTo>
                  <a:pt x="901" y="865"/>
                </a:lnTo>
                <a:lnTo>
                  <a:pt x="901" y="866"/>
                </a:lnTo>
                <a:lnTo>
                  <a:pt x="903" y="867"/>
                </a:lnTo>
                <a:lnTo>
                  <a:pt x="915" y="881"/>
                </a:lnTo>
                <a:lnTo>
                  <a:pt x="925" y="897"/>
                </a:lnTo>
                <a:lnTo>
                  <a:pt x="925" y="832"/>
                </a:lnTo>
                <a:lnTo>
                  <a:pt x="925" y="767"/>
                </a:lnTo>
                <a:lnTo>
                  <a:pt x="923" y="761"/>
                </a:lnTo>
                <a:lnTo>
                  <a:pt x="917" y="762"/>
                </a:lnTo>
                <a:lnTo>
                  <a:pt x="894" y="768"/>
                </a:lnTo>
                <a:lnTo>
                  <a:pt x="869" y="775"/>
                </a:lnTo>
                <a:lnTo>
                  <a:pt x="842" y="781"/>
                </a:lnTo>
                <a:lnTo>
                  <a:pt x="817" y="788"/>
                </a:lnTo>
                <a:lnTo>
                  <a:pt x="780" y="796"/>
                </a:lnTo>
                <a:lnTo>
                  <a:pt x="744" y="805"/>
                </a:lnTo>
                <a:lnTo>
                  <a:pt x="723" y="811"/>
                </a:lnTo>
                <a:lnTo>
                  <a:pt x="702" y="816"/>
                </a:lnTo>
                <a:lnTo>
                  <a:pt x="702" y="817"/>
                </a:lnTo>
                <a:lnTo>
                  <a:pt x="702" y="817"/>
                </a:lnTo>
                <a:lnTo>
                  <a:pt x="723" y="816"/>
                </a:lnTo>
                <a:lnTo>
                  <a:pt x="743" y="816"/>
                </a:lnTo>
                <a:lnTo>
                  <a:pt x="752" y="816"/>
                </a:lnTo>
                <a:lnTo>
                  <a:pt x="760" y="816"/>
                </a:lnTo>
                <a:lnTo>
                  <a:pt x="762" y="816"/>
                </a:lnTo>
                <a:lnTo>
                  <a:pt x="764" y="816"/>
                </a:lnTo>
                <a:lnTo>
                  <a:pt x="770" y="817"/>
                </a:lnTo>
                <a:lnTo>
                  <a:pt x="776" y="817"/>
                </a:lnTo>
                <a:lnTo>
                  <a:pt x="794" y="818"/>
                </a:lnTo>
                <a:lnTo>
                  <a:pt x="813" y="820"/>
                </a:lnTo>
                <a:lnTo>
                  <a:pt x="817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1" y="820"/>
                </a:lnTo>
                <a:lnTo>
                  <a:pt x="822" y="822"/>
                </a:lnTo>
                <a:lnTo>
                  <a:pt x="824" y="823"/>
                </a:lnTo>
                <a:close/>
                <a:moveTo>
                  <a:pt x="387" y="957"/>
                </a:moveTo>
                <a:lnTo>
                  <a:pt x="389" y="957"/>
                </a:lnTo>
                <a:lnTo>
                  <a:pt x="389" y="958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9" y="957"/>
                </a:lnTo>
                <a:lnTo>
                  <a:pt x="387" y="957"/>
                </a:lnTo>
                <a:close/>
                <a:moveTo>
                  <a:pt x="894" y="1000"/>
                </a:moveTo>
                <a:lnTo>
                  <a:pt x="894" y="1000"/>
                </a:lnTo>
                <a:lnTo>
                  <a:pt x="895" y="1000"/>
                </a:lnTo>
                <a:lnTo>
                  <a:pt x="894" y="999"/>
                </a:lnTo>
                <a:lnTo>
                  <a:pt x="894" y="999"/>
                </a:lnTo>
                <a:lnTo>
                  <a:pt x="894" y="999"/>
                </a:lnTo>
                <a:lnTo>
                  <a:pt x="894" y="1000"/>
                </a:lnTo>
                <a:lnTo>
                  <a:pt x="894" y="1000"/>
                </a:lnTo>
                <a:lnTo>
                  <a:pt x="894" y="1000"/>
                </a:lnTo>
                <a:close/>
                <a:moveTo>
                  <a:pt x="391" y="955"/>
                </a:moveTo>
                <a:lnTo>
                  <a:pt x="391" y="955"/>
                </a:lnTo>
                <a:lnTo>
                  <a:pt x="391" y="955"/>
                </a:lnTo>
                <a:lnTo>
                  <a:pt x="391" y="953"/>
                </a:lnTo>
                <a:lnTo>
                  <a:pt x="390" y="953"/>
                </a:lnTo>
                <a:lnTo>
                  <a:pt x="390" y="953"/>
                </a:lnTo>
                <a:lnTo>
                  <a:pt x="390" y="955"/>
                </a:lnTo>
                <a:lnTo>
                  <a:pt x="390" y="955"/>
                </a:lnTo>
                <a:lnTo>
                  <a:pt x="391" y="955"/>
                </a:lnTo>
                <a:close/>
                <a:moveTo>
                  <a:pt x="393" y="952"/>
                </a:moveTo>
                <a:lnTo>
                  <a:pt x="393" y="952"/>
                </a:lnTo>
                <a:lnTo>
                  <a:pt x="394" y="952"/>
                </a:lnTo>
                <a:lnTo>
                  <a:pt x="394" y="951"/>
                </a:lnTo>
                <a:lnTo>
                  <a:pt x="394" y="950"/>
                </a:lnTo>
                <a:lnTo>
                  <a:pt x="393" y="951"/>
                </a:lnTo>
                <a:lnTo>
                  <a:pt x="393" y="952"/>
                </a:lnTo>
                <a:close/>
                <a:moveTo>
                  <a:pt x="394" y="950"/>
                </a:move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400" y="948"/>
                </a:lnTo>
                <a:lnTo>
                  <a:pt x="405" y="943"/>
                </a:lnTo>
                <a:lnTo>
                  <a:pt x="409" y="942"/>
                </a:lnTo>
                <a:lnTo>
                  <a:pt x="411" y="938"/>
                </a:lnTo>
                <a:lnTo>
                  <a:pt x="413" y="937"/>
                </a:lnTo>
                <a:lnTo>
                  <a:pt x="416" y="935"/>
                </a:lnTo>
                <a:lnTo>
                  <a:pt x="426" y="928"/>
                </a:lnTo>
                <a:lnTo>
                  <a:pt x="437" y="920"/>
                </a:lnTo>
                <a:lnTo>
                  <a:pt x="437" y="920"/>
                </a:lnTo>
                <a:lnTo>
                  <a:pt x="441" y="918"/>
                </a:lnTo>
                <a:lnTo>
                  <a:pt x="445" y="915"/>
                </a:lnTo>
                <a:lnTo>
                  <a:pt x="449" y="913"/>
                </a:lnTo>
                <a:lnTo>
                  <a:pt x="452" y="909"/>
                </a:lnTo>
                <a:lnTo>
                  <a:pt x="447" y="910"/>
                </a:lnTo>
                <a:lnTo>
                  <a:pt x="442" y="913"/>
                </a:lnTo>
                <a:lnTo>
                  <a:pt x="442" y="913"/>
                </a:lnTo>
                <a:lnTo>
                  <a:pt x="439" y="916"/>
                </a:lnTo>
                <a:lnTo>
                  <a:pt x="435" y="918"/>
                </a:lnTo>
                <a:lnTo>
                  <a:pt x="431" y="922"/>
                </a:lnTo>
                <a:lnTo>
                  <a:pt x="425" y="922"/>
                </a:lnTo>
                <a:lnTo>
                  <a:pt x="426" y="920"/>
                </a:lnTo>
                <a:lnTo>
                  <a:pt x="425" y="917"/>
                </a:lnTo>
                <a:lnTo>
                  <a:pt x="419" y="918"/>
                </a:lnTo>
                <a:lnTo>
                  <a:pt x="419" y="923"/>
                </a:lnTo>
                <a:lnTo>
                  <a:pt x="421" y="923"/>
                </a:lnTo>
                <a:lnTo>
                  <a:pt x="425" y="922"/>
                </a:lnTo>
                <a:lnTo>
                  <a:pt x="420" y="929"/>
                </a:lnTo>
                <a:lnTo>
                  <a:pt x="414" y="934"/>
                </a:lnTo>
                <a:lnTo>
                  <a:pt x="414" y="934"/>
                </a:lnTo>
                <a:lnTo>
                  <a:pt x="412" y="935"/>
                </a:lnTo>
                <a:lnTo>
                  <a:pt x="410" y="937"/>
                </a:lnTo>
                <a:lnTo>
                  <a:pt x="406" y="939"/>
                </a:lnTo>
                <a:lnTo>
                  <a:pt x="404" y="943"/>
                </a:lnTo>
                <a:lnTo>
                  <a:pt x="405" y="943"/>
                </a:lnTo>
                <a:lnTo>
                  <a:pt x="405" y="943"/>
                </a:lnTo>
                <a:lnTo>
                  <a:pt x="404" y="943"/>
                </a:lnTo>
                <a:lnTo>
                  <a:pt x="399" y="945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lnTo>
                  <a:pt x="394" y="950"/>
                </a:lnTo>
                <a:close/>
                <a:moveTo>
                  <a:pt x="418" y="897"/>
                </a:moveTo>
                <a:lnTo>
                  <a:pt x="416" y="896"/>
                </a:lnTo>
                <a:lnTo>
                  <a:pt x="414" y="897"/>
                </a:lnTo>
                <a:lnTo>
                  <a:pt x="409" y="899"/>
                </a:lnTo>
                <a:lnTo>
                  <a:pt x="403" y="901"/>
                </a:lnTo>
                <a:lnTo>
                  <a:pt x="410" y="904"/>
                </a:lnTo>
                <a:lnTo>
                  <a:pt x="416" y="900"/>
                </a:lnTo>
                <a:lnTo>
                  <a:pt x="416" y="900"/>
                </a:lnTo>
                <a:lnTo>
                  <a:pt x="418" y="899"/>
                </a:lnTo>
                <a:lnTo>
                  <a:pt x="418" y="897"/>
                </a:lnTo>
                <a:close/>
                <a:moveTo>
                  <a:pt x="481" y="893"/>
                </a:moveTo>
                <a:lnTo>
                  <a:pt x="479" y="892"/>
                </a:lnTo>
                <a:lnTo>
                  <a:pt x="476" y="894"/>
                </a:lnTo>
                <a:lnTo>
                  <a:pt x="472" y="895"/>
                </a:lnTo>
                <a:lnTo>
                  <a:pt x="467" y="899"/>
                </a:lnTo>
                <a:lnTo>
                  <a:pt x="465" y="899"/>
                </a:lnTo>
                <a:lnTo>
                  <a:pt x="463" y="901"/>
                </a:lnTo>
                <a:lnTo>
                  <a:pt x="462" y="902"/>
                </a:lnTo>
                <a:lnTo>
                  <a:pt x="461" y="903"/>
                </a:lnTo>
                <a:lnTo>
                  <a:pt x="463" y="903"/>
                </a:lnTo>
                <a:lnTo>
                  <a:pt x="465" y="903"/>
                </a:lnTo>
                <a:lnTo>
                  <a:pt x="467" y="902"/>
                </a:lnTo>
                <a:lnTo>
                  <a:pt x="469" y="900"/>
                </a:lnTo>
                <a:lnTo>
                  <a:pt x="474" y="899"/>
                </a:lnTo>
                <a:lnTo>
                  <a:pt x="478" y="895"/>
                </a:lnTo>
                <a:lnTo>
                  <a:pt x="480" y="894"/>
                </a:lnTo>
                <a:lnTo>
                  <a:pt x="481" y="893"/>
                </a:lnTo>
                <a:close/>
                <a:moveTo>
                  <a:pt x="895" y="1029"/>
                </a:moveTo>
                <a:lnTo>
                  <a:pt x="895" y="1029"/>
                </a:lnTo>
                <a:lnTo>
                  <a:pt x="895" y="1029"/>
                </a:lnTo>
                <a:lnTo>
                  <a:pt x="891" y="1030"/>
                </a:lnTo>
                <a:lnTo>
                  <a:pt x="890" y="1035"/>
                </a:lnTo>
                <a:lnTo>
                  <a:pt x="893" y="1032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lnTo>
                  <a:pt x="896" y="1027"/>
                </a:lnTo>
                <a:lnTo>
                  <a:pt x="897" y="1025"/>
                </a:lnTo>
                <a:lnTo>
                  <a:pt x="911" y="999"/>
                </a:lnTo>
                <a:lnTo>
                  <a:pt x="921" y="971"/>
                </a:lnTo>
                <a:lnTo>
                  <a:pt x="921" y="960"/>
                </a:lnTo>
                <a:lnTo>
                  <a:pt x="922" y="950"/>
                </a:lnTo>
                <a:lnTo>
                  <a:pt x="923" y="944"/>
                </a:lnTo>
                <a:lnTo>
                  <a:pt x="921" y="939"/>
                </a:lnTo>
                <a:lnTo>
                  <a:pt x="911" y="903"/>
                </a:lnTo>
                <a:lnTo>
                  <a:pt x="889" y="874"/>
                </a:lnTo>
                <a:lnTo>
                  <a:pt x="856" y="852"/>
                </a:lnTo>
                <a:lnTo>
                  <a:pt x="819" y="838"/>
                </a:lnTo>
                <a:lnTo>
                  <a:pt x="785" y="830"/>
                </a:lnTo>
                <a:lnTo>
                  <a:pt x="749" y="827"/>
                </a:lnTo>
                <a:lnTo>
                  <a:pt x="721" y="827"/>
                </a:lnTo>
                <a:lnTo>
                  <a:pt x="692" y="830"/>
                </a:lnTo>
                <a:lnTo>
                  <a:pt x="661" y="834"/>
                </a:lnTo>
                <a:lnTo>
                  <a:pt x="631" y="840"/>
                </a:lnTo>
                <a:lnTo>
                  <a:pt x="590" y="851"/>
                </a:lnTo>
                <a:lnTo>
                  <a:pt x="550" y="866"/>
                </a:lnTo>
                <a:lnTo>
                  <a:pt x="486" y="895"/>
                </a:lnTo>
                <a:lnTo>
                  <a:pt x="426" y="932"/>
                </a:lnTo>
                <a:lnTo>
                  <a:pt x="365" y="987"/>
                </a:lnTo>
                <a:lnTo>
                  <a:pt x="321" y="1056"/>
                </a:lnTo>
                <a:lnTo>
                  <a:pt x="309" y="1093"/>
                </a:lnTo>
                <a:lnTo>
                  <a:pt x="310" y="1131"/>
                </a:lnTo>
                <a:lnTo>
                  <a:pt x="316" y="1151"/>
                </a:lnTo>
                <a:lnTo>
                  <a:pt x="328" y="1167"/>
                </a:lnTo>
                <a:lnTo>
                  <a:pt x="328" y="1167"/>
                </a:lnTo>
                <a:lnTo>
                  <a:pt x="328" y="1168"/>
                </a:lnTo>
                <a:lnTo>
                  <a:pt x="328" y="1169"/>
                </a:lnTo>
                <a:lnTo>
                  <a:pt x="329" y="1172"/>
                </a:lnTo>
                <a:lnTo>
                  <a:pt x="330" y="1173"/>
                </a:lnTo>
                <a:lnTo>
                  <a:pt x="362" y="1201"/>
                </a:lnTo>
                <a:lnTo>
                  <a:pt x="401" y="1217"/>
                </a:lnTo>
                <a:lnTo>
                  <a:pt x="410" y="1221"/>
                </a:lnTo>
                <a:lnTo>
                  <a:pt x="421" y="1220"/>
                </a:lnTo>
                <a:lnTo>
                  <a:pt x="392" y="1209"/>
                </a:lnTo>
                <a:lnTo>
                  <a:pt x="368" y="1194"/>
                </a:lnTo>
                <a:lnTo>
                  <a:pt x="364" y="1190"/>
                </a:lnTo>
                <a:lnTo>
                  <a:pt x="364" y="1188"/>
                </a:lnTo>
                <a:lnTo>
                  <a:pt x="369" y="1184"/>
                </a:lnTo>
                <a:lnTo>
                  <a:pt x="376" y="1183"/>
                </a:lnTo>
                <a:lnTo>
                  <a:pt x="379" y="1188"/>
                </a:lnTo>
                <a:lnTo>
                  <a:pt x="379" y="1193"/>
                </a:lnTo>
                <a:lnTo>
                  <a:pt x="384" y="1193"/>
                </a:lnTo>
                <a:lnTo>
                  <a:pt x="387" y="1193"/>
                </a:lnTo>
                <a:lnTo>
                  <a:pt x="389" y="1194"/>
                </a:lnTo>
                <a:lnTo>
                  <a:pt x="390" y="1194"/>
                </a:lnTo>
                <a:lnTo>
                  <a:pt x="391" y="1195"/>
                </a:lnTo>
                <a:lnTo>
                  <a:pt x="392" y="1195"/>
                </a:lnTo>
                <a:lnTo>
                  <a:pt x="393" y="1197"/>
                </a:lnTo>
                <a:lnTo>
                  <a:pt x="396" y="1197"/>
                </a:lnTo>
                <a:lnTo>
                  <a:pt x="401" y="1203"/>
                </a:lnTo>
                <a:lnTo>
                  <a:pt x="410" y="1203"/>
                </a:lnTo>
                <a:lnTo>
                  <a:pt x="416" y="1209"/>
                </a:lnTo>
                <a:lnTo>
                  <a:pt x="425" y="1211"/>
                </a:lnTo>
                <a:lnTo>
                  <a:pt x="438" y="1216"/>
                </a:lnTo>
                <a:lnTo>
                  <a:pt x="452" y="1218"/>
                </a:lnTo>
                <a:lnTo>
                  <a:pt x="454" y="1218"/>
                </a:lnTo>
                <a:lnTo>
                  <a:pt x="455" y="1220"/>
                </a:lnTo>
                <a:lnTo>
                  <a:pt x="453" y="1224"/>
                </a:lnTo>
                <a:lnTo>
                  <a:pt x="456" y="1228"/>
                </a:lnTo>
                <a:lnTo>
                  <a:pt x="465" y="1228"/>
                </a:lnTo>
                <a:lnTo>
                  <a:pt x="469" y="1222"/>
                </a:lnTo>
                <a:lnTo>
                  <a:pt x="470" y="1221"/>
                </a:lnTo>
                <a:lnTo>
                  <a:pt x="472" y="1221"/>
                </a:lnTo>
                <a:lnTo>
                  <a:pt x="479" y="1223"/>
                </a:lnTo>
                <a:lnTo>
                  <a:pt x="485" y="1223"/>
                </a:lnTo>
                <a:lnTo>
                  <a:pt x="488" y="1224"/>
                </a:lnTo>
                <a:lnTo>
                  <a:pt x="490" y="1224"/>
                </a:lnTo>
                <a:lnTo>
                  <a:pt x="502" y="1223"/>
                </a:lnTo>
                <a:lnTo>
                  <a:pt x="514" y="1224"/>
                </a:lnTo>
                <a:lnTo>
                  <a:pt x="525" y="1223"/>
                </a:lnTo>
                <a:lnTo>
                  <a:pt x="538" y="1223"/>
                </a:lnTo>
                <a:lnTo>
                  <a:pt x="547" y="1223"/>
                </a:lnTo>
                <a:lnTo>
                  <a:pt x="555" y="1220"/>
                </a:lnTo>
                <a:lnTo>
                  <a:pt x="565" y="1220"/>
                </a:lnTo>
                <a:lnTo>
                  <a:pt x="576" y="1218"/>
                </a:lnTo>
                <a:lnTo>
                  <a:pt x="593" y="1215"/>
                </a:lnTo>
                <a:lnTo>
                  <a:pt x="611" y="1210"/>
                </a:lnTo>
                <a:lnTo>
                  <a:pt x="645" y="1201"/>
                </a:lnTo>
                <a:lnTo>
                  <a:pt x="679" y="1188"/>
                </a:lnTo>
                <a:lnTo>
                  <a:pt x="722" y="1169"/>
                </a:lnTo>
                <a:lnTo>
                  <a:pt x="764" y="1147"/>
                </a:lnTo>
                <a:lnTo>
                  <a:pt x="783" y="1135"/>
                </a:lnTo>
                <a:lnTo>
                  <a:pt x="801" y="1121"/>
                </a:lnTo>
                <a:lnTo>
                  <a:pt x="818" y="1109"/>
                </a:lnTo>
                <a:lnTo>
                  <a:pt x="832" y="1095"/>
                </a:lnTo>
                <a:lnTo>
                  <a:pt x="842" y="1084"/>
                </a:lnTo>
                <a:lnTo>
                  <a:pt x="852" y="1072"/>
                </a:lnTo>
                <a:lnTo>
                  <a:pt x="854" y="1070"/>
                </a:lnTo>
                <a:lnTo>
                  <a:pt x="859" y="1069"/>
                </a:lnTo>
                <a:lnTo>
                  <a:pt x="865" y="1069"/>
                </a:lnTo>
                <a:lnTo>
                  <a:pt x="868" y="1064"/>
                </a:lnTo>
                <a:lnTo>
                  <a:pt x="869" y="1061"/>
                </a:lnTo>
                <a:lnTo>
                  <a:pt x="865" y="1058"/>
                </a:lnTo>
                <a:lnTo>
                  <a:pt x="865" y="1057"/>
                </a:lnTo>
                <a:lnTo>
                  <a:pt x="866" y="1055"/>
                </a:lnTo>
                <a:lnTo>
                  <a:pt x="874" y="1043"/>
                </a:lnTo>
                <a:lnTo>
                  <a:pt x="880" y="1032"/>
                </a:lnTo>
                <a:lnTo>
                  <a:pt x="883" y="1028"/>
                </a:lnTo>
                <a:lnTo>
                  <a:pt x="886" y="1023"/>
                </a:lnTo>
                <a:lnTo>
                  <a:pt x="887" y="1015"/>
                </a:lnTo>
                <a:lnTo>
                  <a:pt x="893" y="1008"/>
                </a:lnTo>
                <a:lnTo>
                  <a:pt x="894" y="1006"/>
                </a:lnTo>
                <a:lnTo>
                  <a:pt x="893" y="1004"/>
                </a:lnTo>
                <a:lnTo>
                  <a:pt x="893" y="1002"/>
                </a:lnTo>
                <a:lnTo>
                  <a:pt x="893" y="1002"/>
                </a:lnTo>
                <a:lnTo>
                  <a:pt x="893" y="1002"/>
                </a:lnTo>
                <a:lnTo>
                  <a:pt x="891" y="1001"/>
                </a:lnTo>
                <a:lnTo>
                  <a:pt x="893" y="999"/>
                </a:lnTo>
                <a:lnTo>
                  <a:pt x="893" y="995"/>
                </a:lnTo>
                <a:lnTo>
                  <a:pt x="897" y="990"/>
                </a:lnTo>
                <a:lnTo>
                  <a:pt x="897" y="980"/>
                </a:lnTo>
                <a:lnTo>
                  <a:pt x="900" y="973"/>
                </a:lnTo>
                <a:lnTo>
                  <a:pt x="907" y="971"/>
                </a:lnTo>
                <a:lnTo>
                  <a:pt x="910" y="974"/>
                </a:lnTo>
                <a:lnTo>
                  <a:pt x="909" y="979"/>
                </a:lnTo>
                <a:lnTo>
                  <a:pt x="904" y="1002"/>
                </a:lnTo>
                <a:lnTo>
                  <a:pt x="896" y="1025"/>
                </a:lnTo>
                <a:lnTo>
                  <a:pt x="895" y="1027"/>
                </a:lnTo>
                <a:lnTo>
                  <a:pt x="895" y="1029"/>
                </a:lnTo>
                <a:lnTo>
                  <a:pt x="895" y="1029"/>
                </a:lnTo>
                <a:lnTo>
                  <a:pt x="895" y="1029"/>
                </a:lnTo>
                <a:close/>
                <a:moveTo>
                  <a:pt x="592" y="847"/>
                </a:moveTo>
                <a:lnTo>
                  <a:pt x="597" y="846"/>
                </a:lnTo>
                <a:lnTo>
                  <a:pt x="599" y="844"/>
                </a:lnTo>
                <a:lnTo>
                  <a:pt x="605" y="844"/>
                </a:lnTo>
                <a:lnTo>
                  <a:pt x="610" y="841"/>
                </a:lnTo>
                <a:lnTo>
                  <a:pt x="614" y="841"/>
                </a:lnTo>
                <a:lnTo>
                  <a:pt x="618" y="838"/>
                </a:lnTo>
                <a:lnTo>
                  <a:pt x="612" y="838"/>
                </a:lnTo>
                <a:lnTo>
                  <a:pt x="608" y="840"/>
                </a:lnTo>
                <a:lnTo>
                  <a:pt x="603" y="840"/>
                </a:lnTo>
                <a:lnTo>
                  <a:pt x="598" y="843"/>
                </a:lnTo>
                <a:lnTo>
                  <a:pt x="594" y="843"/>
                </a:lnTo>
                <a:lnTo>
                  <a:pt x="591" y="845"/>
                </a:lnTo>
                <a:lnTo>
                  <a:pt x="591" y="845"/>
                </a:lnTo>
                <a:lnTo>
                  <a:pt x="586" y="846"/>
                </a:lnTo>
                <a:lnTo>
                  <a:pt x="583" y="847"/>
                </a:lnTo>
                <a:lnTo>
                  <a:pt x="571" y="850"/>
                </a:lnTo>
                <a:lnTo>
                  <a:pt x="561" y="855"/>
                </a:lnTo>
                <a:lnTo>
                  <a:pt x="554" y="857"/>
                </a:lnTo>
                <a:lnTo>
                  <a:pt x="547" y="860"/>
                </a:lnTo>
                <a:lnTo>
                  <a:pt x="535" y="865"/>
                </a:lnTo>
                <a:lnTo>
                  <a:pt x="523" y="871"/>
                </a:lnTo>
                <a:lnTo>
                  <a:pt x="523" y="871"/>
                </a:lnTo>
                <a:lnTo>
                  <a:pt x="520" y="872"/>
                </a:lnTo>
                <a:lnTo>
                  <a:pt x="517" y="873"/>
                </a:lnTo>
                <a:lnTo>
                  <a:pt x="517" y="873"/>
                </a:lnTo>
                <a:lnTo>
                  <a:pt x="516" y="874"/>
                </a:lnTo>
                <a:lnTo>
                  <a:pt x="516" y="875"/>
                </a:lnTo>
                <a:lnTo>
                  <a:pt x="517" y="874"/>
                </a:lnTo>
                <a:lnTo>
                  <a:pt x="518" y="874"/>
                </a:lnTo>
                <a:lnTo>
                  <a:pt x="522" y="874"/>
                </a:lnTo>
                <a:lnTo>
                  <a:pt x="524" y="873"/>
                </a:lnTo>
                <a:lnTo>
                  <a:pt x="524" y="872"/>
                </a:lnTo>
                <a:lnTo>
                  <a:pt x="524" y="872"/>
                </a:lnTo>
                <a:lnTo>
                  <a:pt x="524" y="872"/>
                </a:lnTo>
                <a:lnTo>
                  <a:pt x="524" y="873"/>
                </a:lnTo>
                <a:lnTo>
                  <a:pt x="536" y="867"/>
                </a:lnTo>
                <a:lnTo>
                  <a:pt x="549" y="862"/>
                </a:lnTo>
                <a:lnTo>
                  <a:pt x="549" y="862"/>
                </a:lnTo>
                <a:lnTo>
                  <a:pt x="556" y="860"/>
                </a:lnTo>
                <a:lnTo>
                  <a:pt x="562" y="857"/>
                </a:lnTo>
                <a:lnTo>
                  <a:pt x="573" y="854"/>
                </a:lnTo>
                <a:lnTo>
                  <a:pt x="584" y="848"/>
                </a:lnTo>
                <a:lnTo>
                  <a:pt x="589" y="848"/>
                </a:lnTo>
                <a:lnTo>
                  <a:pt x="592" y="847"/>
                </a:lnTo>
                <a:close/>
                <a:moveTo>
                  <a:pt x="628" y="837"/>
                </a:moveTo>
                <a:lnTo>
                  <a:pt x="640" y="834"/>
                </a:lnTo>
                <a:lnTo>
                  <a:pt x="652" y="832"/>
                </a:lnTo>
                <a:lnTo>
                  <a:pt x="662" y="830"/>
                </a:lnTo>
                <a:lnTo>
                  <a:pt x="673" y="829"/>
                </a:lnTo>
                <a:lnTo>
                  <a:pt x="694" y="825"/>
                </a:lnTo>
                <a:lnTo>
                  <a:pt x="715" y="824"/>
                </a:lnTo>
                <a:lnTo>
                  <a:pt x="715" y="824"/>
                </a:lnTo>
                <a:lnTo>
                  <a:pt x="744" y="822"/>
                </a:lnTo>
                <a:lnTo>
                  <a:pt x="773" y="824"/>
                </a:lnTo>
                <a:lnTo>
                  <a:pt x="790" y="826"/>
                </a:lnTo>
                <a:lnTo>
                  <a:pt x="805" y="827"/>
                </a:lnTo>
                <a:lnTo>
                  <a:pt x="798" y="825"/>
                </a:lnTo>
                <a:lnTo>
                  <a:pt x="790" y="823"/>
                </a:lnTo>
                <a:lnTo>
                  <a:pt x="727" y="820"/>
                </a:lnTo>
                <a:lnTo>
                  <a:pt x="663" y="826"/>
                </a:lnTo>
                <a:lnTo>
                  <a:pt x="656" y="827"/>
                </a:lnTo>
                <a:lnTo>
                  <a:pt x="651" y="830"/>
                </a:lnTo>
                <a:lnTo>
                  <a:pt x="639" y="831"/>
                </a:lnTo>
                <a:lnTo>
                  <a:pt x="627" y="836"/>
                </a:lnTo>
                <a:lnTo>
                  <a:pt x="627" y="836"/>
                </a:lnTo>
                <a:lnTo>
                  <a:pt x="624" y="836"/>
                </a:lnTo>
                <a:lnTo>
                  <a:pt x="619" y="837"/>
                </a:lnTo>
                <a:lnTo>
                  <a:pt x="624" y="838"/>
                </a:lnTo>
                <a:lnTo>
                  <a:pt x="628" y="837"/>
                </a:lnTo>
                <a:lnTo>
                  <a:pt x="628" y="837"/>
                </a:lnTo>
                <a:close/>
                <a:moveTo>
                  <a:pt x="652" y="831"/>
                </a:moveTo>
                <a:lnTo>
                  <a:pt x="652" y="831"/>
                </a:lnTo>
                <a:lnTo>
                  <a:pt x="651" y="830"/>
                </a:lnTo>
                <a:lnTo>
                  <a:pt x="652" y="831"/>
                </a:lnTo>
                <a:lnTo>
                  <a:pt x="652" y="831"/>
                </a:lnTo>
                <a:close/>
                <a:moveTo>
                  <a:pt x="336" y="953"/>
                </a:moveTo>
                <a:lnTo>
                  <a:pt x="335" y="956"/>
                </a:lnTo>
                <a:lnTo>
                  <a:pt x="336" y="959"/>
                </a:lnTo>
                <a:lnTo>
                  <a:pt x="340" y="959"/>
                </a:lnTo>
                <a:lnTo>
                  <a:pt x="344" y="957"/>
                </a:lnTo>
                <a:lnTo>
                  <a:pt x="341" y="953"/>
                </a:lnTo>
                <a:lnTo>
                  <a:pt x="336" y="953"/>
                </a:lnTo>
                <a:close/>
                <a:moveTo>
                  <a:pt x="376" y="953"/>
                </a:move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2"/>
                </a:lnTo>
                <a:lnTo>
                  <a:pt x="377" y="951"/>
                </a:lnTo>
                <a:lnTo>
                  <a:pt x="380" y="950"/>
                </a:lnTo>
                <a:lnTo>
                  <a:pt x="382" y="949"/>
                </a:lnTo>
                <a:lnTo>
                  <a:pt x="383" y="946"/>
                </a:lnTo>
                <a:lnTo>
                  <a:pt x="383" y="946"/>
                </a:lnTo>
                <a:lnTo>
                  <a:pt x="383" y="946"/>
                </a:lnTo>
                <a:lnTo>
                  <a:pt x="384" y="946"/>
                </a:lnTo>
                <a:lnTo>
                  <a:pt x="385" y="945"/>
                </a:lnTo>
                <a:lnTo>
                  <a:pt x="385" y="945"/>
                </a:lnTo>
                <a:lnTo>
                  <a:pt x="391" y="944"/>
                </a:lnTo>
                <a:lnTo>
                  <a:pt x="397" y="942"/>
                </a:lnTo>
                <a:lnTo>
                  <a:pt x="398" y="939"/>
                </a:lnTo>
                <a:lnTo>
                  <a:pt x="400" y="938"/>
                </a:lnTo>
                <a:lnTo>
                  <a:pt x="406" y="934"/>
                </a:lnTo>
                <a:lnTo>
                  <a:pt x="409" y="928"/>
                </a:lnTo>
                <a:lnTo>
                  <a:pt x="412" y="923"/>
                </a:lnTo>
                <a:lnTo>
                  <a:pt x="410" y="917"/>
                </a:lnTo>
                <a:lnTo>
                  <a:pt x="410" y="916"/>
                </a:lnTo>
                <a:lnTo>
                  <a:pt x="410" y="914"/>
                </a:lnTo>
                <a:lnTo>
                  <a:pt x="412" y="915"/>
                </a:lnTo>
                <a:lnTo>
                  <a:pt x="412" y="913"/>
                </a:lnTo>
                <a:lnTo>
                  <a:pt x="403" y="904"/>
                </a:lnTo>
                <a:lnTo>
                  <a:pt x="390" y="904"/>
                </a:lnTo>
                <a:lnTo>
                  <a:pt x="386" y="903"/>
                </a:lnTo>
                <a:lnTo>
                  <a:pt x="383" y="902"/>
                </a:lnTo>
                <a:lnTo>
                  <a:pt x="387" y="902"/>
                </a:lnTo>
                <a:lnTo>
                  <a:pt x="391" y="901"/>
                </a:lnTo>
                <a:lnTo>
                  <a:pt x="411" y="896"/>
                </a:lnTo>
                <a:lnTo>
                  <a:pt x="431" y="892"/>
                </a:lnTo>
                <a:lnTo>
                  <a:pt x="431" y="892"/>
                </a:lnTo>
                <a:lnTo>
                  <a:pt x="432" y="890"/>
                </a:lnTo>
                <a:lnTo>
                  <a:pt x="431" y="892"/>
                </a:lnTo>
                <a:lnTo>
                  <a:pt x="431" y="892"/>
                </a:lnTo>
                <a:lnTo>
                  <a:pt x="431" y="893"/>
                </a:lnTo>
                <a:lnTo>
                  <a:pt x="432" y="894"/>
                </a:lnTo>
                <a:lnTo>
                  <a:pt x="424" y="897"/>
                </a:lnTo>
                <a:lnTo>
                  <a:pt x="418" y="904"/>
                </a:lnTo>
                <a:lnTo>
                  <a:pt x="417" y="909"/>
                </a:lnTo>
                <a:lnTo>
                  <a:pt x="420" y="913"/>
                </a:lnTo>
                <a:lnTo>
                  <a:pt x="428" y="913"/>
                </a:lnTo>
                <a:lnTo>
                  <a:pt x="435" y="911"/>
                </a:lnTo>
                <a:lnTo>
                  <a:pt x="461" y="896"/>
                </a:lnTo>
                <a:lnTo>
                  <a:pt x="487" y="882"/>
                </a:lnTo>
                <a:lnTo>
                  <a:pt x="492" y="880"/>
                </a:lnTo>
                <a:lnTo>
                  <a:pt x="495" y="876"/>
                </a:lnTo>
                <a:lnTo>
                  <a:pt x="516" y="868"/>
                </a:lnTo>
                <a:lnTo>
                  <a:pt x="537" y="859"/>
                </a:lnTo>
                <a:lnTo>
                  <a:pt x="530" y="858"/>
                </a:lnTo>
                <a:lnTo>
                  <a:pt x="525" y="859"/>
                </a:lnTo>
                <a:lnTo>
                  <a:pt x="499" y="866"/>
                </a:lnTo>
                <a:lnTo>
                  <a:pt x="473" y="872"/>
                </a:lnTo>
                <a:lnTo>
                  <a:pt x="447" y="878"/>
                </a:lnTo>
                <a:lnTo>
                  <a:pt x="421" y="885"/>
                </a:lnTo>
                <a:lnTo>
                  <a:pt x="382" y="894"/>
                </a:lnTo>
                <a:lnTo>
                  <a:pt x="342" y="903"/>
                </a:lnTo>
                <a:lnTo>
                  <a:pt x="333" y="908"/>
                </a:lnTo>
                <a:lnTo>
                  <a:pt x="329" y="917"/>
                </a:lnTo>
                <a:lnTo>
                  <a:pt x="322" y="966"/>
                </a:lnTo>
                <a:lnTo>
                  <a:pt x="314" y="1016"/>
                </a:lnTo>
                <a:lnTo>
                  <a:pt x="313" y="1028"/>
                </a:lnTo>
                <a:lnTo>
                  <a:pt x="311" y="1040"/>
                </a:lnTo>
                <a:lnTo>
                  <a:pt x="318" y="1029"/>
                </a:lnTo>
                <a:lnTo>
                  <a:pt x="322" y="1019"/>
                </a:lnTo>
                <a:lnTo>
                  <a:pt x="329" y="971"/>
                </a:lnTo>
                <a:lnTo>
                  <a:pt x="335" y="924"/>
                </a:lnTo>
                <a:lnTo>
                  <a:pt x="336" y="922"/>
                </a:lnTo>
                <a:lnTo>
                  <a:pt x="336" y="920"/>
                </a:lnTo>
                <a:lnTo>
                  <a:pt x="337" y="916"/>
                </a:lnTo>
                <a:lnTo>
                  <a:pt x="338" y="914"/>
                </a:lnTo>
                <a:lnTo>
                  <a:pt x="341" y="914"/>
                </a:lnTo>
                <a:lnTo>
                  <a:pt x="342" y="914"/>
                </a:lnTo>
                <a:lnTo>
                  <a:pt x="341" y="918"/>
                </a:lnTo>
                <a:lnTo>
                  <a:pt x="341" y="923"/>
                </a:lnTo>
                <a:lnTo>
                  <a:pt x="340" y="923"/>
                </a:lnTo>
                <a:lnTo>
                  <a:pt x="340" y="923"/>
                </a:lnTo>
                <a:lnTo>
                  <a:pt x="340" y="923"/>
                </a:lnTo>
                <a:lnTo>
                  <a:pt x="341" y="923"/>
                </a:lnTo>
                <a:lnTo>
                  <a:pt x="342" y="923"/>
                </a:lnTo>
                <a:lnTo>
                  <a:pt x="344" y="923"/>
                </a:lnTo>
                <a:lnTo>
                  <a:pt x="344" y="923"/>
                </a:lnTo>
                <a:lnTo>
                  <a:pt x="344" y="924"/>
                </a:lnTo>
                <a:lnTo>
                  <a:pt x="343" y="929"/>
                </a:lnTo>
                <a:lnTo>
                  <a:pt x="343" y="935"/>
                </a:lnTo>
                <a:lnTo>
                  <a:pt x="343" y="943"/>
                </a:lnTo>
                <a:lnTo>
                  <a:pt x="350" y="944"/>
                </a:lnTo>
                <a:lnTo>
                  <a:pt x="355" y="944"/>
                </a:lnTo>
                <a:lnTo>
                  <a:pt x="357" y="945"/>
                </a:lnTo>
                <a:lnTo>
                  <a:pt x="365" y="953"/>
                </a:lnTo>
                <a:lnTo>
                  <a:pt x="376" y="952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lnTo>
                  <a:pt x="376" y="953"/>
                </a:lnTo>
                <a:close/>
                <a:moveTo>
                  <a:pt x="370" y="957"/>
                </a:moveTo>
                <a:lnTo>
                  <a:pt x="372" y="959"/>
                </a:lnTo>
                <a:lnTo>
                  <a:pt x="377" y="959"/>
                </a:lnTo>
                <a:lnTo>
                  <a:pt x="379" y="956"/>
                </a:lnTo>
                <a:lnTo>
                  <a:pt x="380" y="953"/>
                </a:lnTo>
                <a:lnTo>
                  <a:pt x="378" y="953"/>
                </a:lnTo>
                <a:lnTo>
                  <a:pt x="376" y="953"/>
                </a:lnTo>
                <a:lnTo>
                  <a:pt x="372" y="955"/>
                </a:lnTo>
                <a:lnTo>
                  <a:pt x="370" y="957"/>
                </a:lnTo>
                <a:close/>
                <a:moveTo>
                  <a:pt x="352" y="953"/>
                </a:moveTo>
                <a:lnTo>
                  <a:pt x="355" y="953"/>
                </a:lnTo>
                <a:lnTo>
                  <a:pt x="356" y="951"/>
                </a:lnTo>
                <a:lnTo>
                  <a:pt x="355" y="949"/>
                </a:lnTo>
                <a:lnTo>
                  <a:pt x="352" y="948"/>
                </a:lnTo>
                <a:lnTo>
                  <a:pt x="348" y="948"/>
                </a:lnTo>
                <a:lnTo>
                  <a:pt x="342" y="948"/>
                </a:lnTo>
                <a:lnTo>
                  <a:pt x="347" y="952"/>
                </a:lnTo>
                <a:lnTo>
                  <a:pt x="352" y="953"/>
                </a:lnTo>
                <a:close/>
                <a:moveTo>
                  <a:pt x="916" y="822"/>
                </a:moveTo>
                <a:lnTo>
                  <a:pt x="918" y="817"/>
                </a:lnTo>
                <a:lnTo>
                  <a:pt x="917" y="810"/>
                </a:lnTo>
                <a:lnTo>
                  <a:pt x="911" y="816"/>
                </a:lnTo>
                <a:lnTo>
                  <a:pt x="907" y="819"/>
                </a:lnTo>
                <a:lnTo>
                  <a:pt x="911" y="822"/>
                </a:lnTo>
                <a:lnTo>
                  <a:pt x="916" y="822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3" y="1209"/>
                </a:lnTo>
                <a:lnTo>
                  <a:pt x="331" y="1204"/>
                </a:lnTo>
                <a:lnTo>
                  <a:pt x="316" y="1190"/>
                </a:lnTo>
                <a:lnTo>
                  <a:pt x="303" y="1173"/>
                </a:lnTo>
                <a:lnTo>
                  <a:pt x="300" y="1197"/>
                </a:lnTo>
                <a:lnTo>
                  <a:pt x="296" y="1220"/>
                </a:lnTo>
                <a:lnTo>
                  <a:pt x="297" y="1224"/>
                </a:lnTo>
                <a:lnTo>
                  <a:pt x="301" y="1227"/>
                </a:lnTo>
                <a:lnTo>
                  <a:pt x="303" y="1228"/>
                </a:lnTo>
                <a:lnTo>
                  <a:pt x="306" y="1225"/>
                </a:lnTo>
                <a:lnTo>
                  <a:pt x="307" y="1224"/>
                </a:lnTo>
                <a:lnTo>
                  <a:pt x="308" y="1225"/>
                </a:lnTo>
                <a:lnTo>
                  <a:pt x="314" y="1227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7"/>
                </a:lnTo>
                <a:lnTo>
                  <a:pt x="320" y="1228"/>
                </a:lnTo>
                <a:lnTo>
                  <a:pt x="303" y="1237"/>
                </a:lnTo>
                <a:lnTo>
                  <a:pt x="294" y="1252"/>
                </a:lnTo>
                <a:lnTo>
                  <a:pt x="296" y="1251"/>
                </a:lnTo>
                <a:lnTo>
                  <a:pt x="300" y="1249"/>
                </a:lnTo>
                <a:lnTo>
                  <a:pt x="297" y="1252"/>
                </a:lnTo>
                <a:lnTo>
                  <a:pt x="296" y="1253"/>
                </a:lnTo>
                <a:lnTo>
                  <a:pt x="293" y="1260"/>
                </a:lnTo>
                <a:lnTo>
                  <a:pt x="297" y="1266"/>
                </a:lnTo>
                <a:lnTo>
                  <a:pt x="297" y="1267"/>
                </a:lnTo>
                <a:lnTo>
                  <a:pt x="297" y="1269"/>
                </a:lnTo>
                <a:lnTo>
                  <a:pt x="302" y="1267"/>
                </a:lnTo>
                <a:lnTo>
                  <a:pt x="304" y="1266"/>
                </a:lnTo>
                <a:lnTo>
                  <a:pt x="302" y="1267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69"/>
                </a:lnTo>
                <a:lnTo>
                  <a:pt x="297" y="1270"/>
                </a:lnTo>
                <a:lnTo>
                  <a:pt x="295" y="1270"/>
                </a:lnTo>
                <a:lnTo>
                  <a:pt x="293" y="1270"/>
                </a:lnTo>
                <a:lnTo>
                  <a:pt x="293" y="1273"/>
                </a:lnTo>
                <a:lnTo>
                  <a:pt x="296" y="1274"/>
                </a:lnTo>
                <a:lnTo>
                  <a:pt x="300" y="1277"/>
                </a:lnTo>
                <a:lnTo>
                  <a:pt x="304" y="1278"/>
                </a:lnTo>
                <a:lnTo>
                  <a:pt x="309" y="1279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3" y="1276"/>
                </a:lnTo>
                <a:lnTo>
                  <a:pt x="314" y="1276"/>
                </a:lnTo>
                <a:lnTo>
                  <a:pt x="316" y="1277"/>
                </a:lnTo>
                <a:lnTo>
                  <a:pt x="320" y="1278"/>
                </a:lnTo>
                <a:lnTo>
                  <a:pt x="323" y="1278"/>
                </a:lnTo>
                <a:lnTo>
                  <a:pt x="343" y="1271"/>
                </a:lnTo>
                <a:lnTo>
                  <a:pt x="363" y="1269"/>
                </a:lnTo>
                <a:lnTo>
                  <a:pt x="365" y="1269"/>
                </a:lnTo>
                <a:lnTo>
                  <a:pt x="366" y="1269"/>
                </a:lnTo>
                <a:lnTo>
                  <a:pt x="370" y="1265"/>
                </a:lnTo>
                <a:lnTo>
                  <a:pt x="368" y="1260"/>
                </a:lnTo>
                <a:lnTo>
                  <a:pt x="364" y="1255"/>
                </a:lnTo>
                <a:lnTo>
                  <a:pt x="368" y="1248"/>
                </a:lnTo>
                <a:lnTo>
                  <a:pt x="371" y="1243"/>
                </a:lnTo>
                <a:lnTo>
                  <a:pt x="369" y="1237"/>
                </a:lnTo>
                <a:lnTo>
                  <a:pt x="366" y="1235"/>
                </a:lnTo>
                <a:lnTo>
                  <a:pt x="368" y="1234"/>
                </a:lnTo>
                <a:lnTo>
                  <a:pt x="371" y="1230"/>
                </a:lnTo>
                <a:lnTo>
                  <a:pt x="368" y="1228"/>
                </a:lnTo>
                <a:lnTo>
                  <a:pt x="359" y="1223"/>
                </a:lnTo>
                <a:lnTo>
                  <a:pt x="351" y="1221"/>
                </a:lnTo>
                <a:lnTo>
                  <a:pt x="350" y="1221"/>
                </a:lnTo>
                <a:lnTo>
                  <a:pt x="349" y="1220"/>
                </a:lnTo>
                <a:lnTo>
                  <a:pt x="347" y="1221"/>
                </a:lnTo>
                <a:lnTo>
                  <a:pt x="345" y="1221"/>
                </a:lnTo>
                <a:lnTo>
                  <a:pt x="345" y="1223"/>
                </a:lnTo>
                <a:lnTo>
                  <a:pt x="345" y="1227"/>
                </a:lnTo>
                <a:lnTo>
                  <a:pt x="352" y="1228"/>
                </a:lnTo>
                <a:lnTo>
                  <a:pt x="357" y="1234"/>
                </a:lnTo>
                <a:lnTo>
                  <a:pt x="352" y="1235"/>
                </a:lnTo>
                <a:lnTo>
                  <a:pt x="349" y="1232"/>
                </a:lnTo>
                <a:lnTo>
                  <a:pt x="348" y="1230"/>
                </a:lnTo>
                <a:lnTo>
                  <a:pt x="345" y="1228"/>
                </a:lnTo>
                <a:lnTo>
                  <a:pt x="345" y="1228"/>
                </a:lnTo>
                <a:lnTo>
                  <a:pt x="345" y="1227"/>
                </a:lnTo>
                <a:lnTo>
                  <a:pt x="345" y="1223"/>
                </a:lnTo>
                <a:lnTo>
                  <a:pt x="345" y="1221"/>
                </a:lnTo>
                <a:lnTo>
                  <a:pt x="342" y="1220"/>
                </a:lnTo>
                <a:lnTo>
                  <a:pt x="337" y="1220"/>
                </a:lnTo>
                <a:lnTo>
                  <a:pt x="342" y="1218"/>
                </a:lnTo>
                <a:lnTo>
                  <a:pt x="348" y="1217"/>
                </a:lnTo>
                <a:lnTo>
                  <a:pt x="341" y="1213"/>
                </a:lnTo>
                <a:lnTo>
                  <a:pt x="334" y="1215"/>
                </a:lnTo>
                <a:close/>
                <a:moveTo>
                  <a:pt x="334" y="1215"/>
                </a:move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5"/>
                </a:lnTo>
                <a:lnTo>
                  <a:pt x="334" y="1217"/>
                </a:lnTo>
                <a:lnTo>
                  <a:pt x="335" y="1220"/>
                </a:lnTo>
                <a:lnTo>
                  <a:pt x="328" y="1223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0" y="1224"/>
                </a:lnTo>
                <a:lnTo>
                  <a:pt x="323" y="1222"/>
                </a:lnTo>
                <a:lnTo>
                  <a:pt x="325" y="1216"/>
                </a:lnTo>
                <a:lnTo>
                  <a:pt x="328" y="1215"/>
                </a:lnTo>
                <a:lnTo>
                  <a:pt x="334" y="1215"/>
                </a:lnTo>
                <a:close/>
                <a:moveTo>
                  <a:pt x="288" y="1274"/>
                </a:moveTo>
                <a:lnTo>
                  <a:pt x="287" y="1280"/>
                </a:lnTo>
                <a:lnTo>
                  <a:pt x="289" y="1285"/>
                </a:lnTo>
                <a:lnTo>
                  <a:pt x="294" y="1285"/>
                </a:lnTo>
                <a:lnTo>
                  <a:pt x="297" y="1283"/>
                </a:lnTo>
                <a:lnTo>
                  <a:pt x="294" y="1278"/>
                </a:lnTo>
                <a:lnTo>
                  <a:pt x="288" y="1274"/>
                </a:lnTo>
                <a:close/>
                <a:moveTo>
                  <a:pt x="826" y="1127"/>
                </a:moveTo>
                <a:lnTo>
                  <a:pt x="819" y="1132"/>
                </a:lnTo>
                <a:lnTo>
                  <a:pt x="813" y="1138"/>
                </a:lnTo>
                <a:lnTo>
                  <a:pt x="824" y="1137"/>
                </a:lnTo>
                <a:lnTo>
                  <a:pt x="826" y="1127"/>
                </a:lnTo>
                <a:close/>
                <a:moveTo>
                  <a:pt x="389" y="1234"/>
                </a:moveTo>
                <a:lnTo>
                  <a:pt x="385" y="1232"/>
                </a:lnTo>
                <a:lnTo>
                  <a:pt x="383" y="1231"/>
                </a:lnTo>
                <a:lnTo>
                  <a:pt x="379" y="1230"/>
                </a:lnTo>
                <a:lnTo>
                  <a:pt x="377" y="1232"/>
                </a:lnTo>
                <a:lnTo>
                  <a:pt x="376" y="1237"/>
                </a:lnTo>
                <a:lnTo>
                  <a:pt x="380" y="1241"/>
                </a:lnTo>
                <a:lnTo>
                  <a:pt x="385" y="1237"/>
                </a:lnTo>
                <a:lnTo>
                  <a:pt x="389" y="1234"/>
                </a:lnTo>
                <a:close/>
                <a:moveTo>
                  <a:pt x="380" y="1241"/>
                </a:move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77" y="1245"/>
                </a:lnTo>
                <a:lnTo>
                  <a:pt x="373" y="1250"/>
                </a:lnTo>
                <a:lnTo>
                  <a:pt x="371" y="1258"/>
                </a:lnTo>
                <a:lnTo>
                  <a:pt x="376" y="1263"/>
                </a:lnTo>
                <a:lnTo>
                  <a:pt x="384" y="1264"/>
                </a:lnTo>
                <a:lnTo>
                  <a:pt x="392" y="1262"/>
                </a:lnTo>
                <a:lnTo>
                  <a:pt x="398" y="1260"/>
                </a:lnTo>
                <a:lnTo>
                  <a:pt x="405" y="1259"/>
                </a:lnTo>
                <a:lnTo>
                  <a:pt x="410" y="1257"/>
                </a:lnTo>
                <a:lnTo>
                  <a:pt x="411" y="1252"/>
                </a:lnTo>
                <a:lnTo>
                  <a:pt x="413" y="1256"/>
                </a:lnTo>
                <a:lnTo>
                  <a:pt x="417" y="1256"/>
                </a:lnTo>
                <a:lnTo>
                  <a:pt x="435" y="1251"/>
                </a:lnTo>
                <a:lnTo>
                  <a:pt x="454" y="1248"/>
                </a:lnTo>
                <a:lnTo>
                  <a:pt x="452" y="1245"/>
                </a:lnTo>
                <a:lnTo>
                  <a:pt x="448" y="1245"/>
                </a:lnTo>
                <a:lnTo>
                  <a:pt x="437" y="1244"/>
                </a:lnTo>
                <a:lnTo>
                  <a:pt x="426" y="1243"/>
                </a:lnTo>
                <a:lnTo>
                  <a:pt x="404" y="1238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lnTo>
                  <a:pt x="380" y="1241"/>
                </a:lnTo>
                <a:close/>
                <a:moveTo>
                  <a:pt x="879" y="833"/>
                </a:moveTo>
                <a:lnTo>
                  <a:pt x="872" y="833"/>
                </a:lnTo>
                <a:lnTo>
                  <a:pt x="865" y="837"/>
                </a:lnTo>
                <a:lnTo>
                  <a:pt x="874" y="840"/>
                </a:lnTo>
                <a:lnTo>
                  <a:pt x="879" y="833"/>
                </a:lnTo>
                <a:close/>
                <a:moveTo>
                  <a:pt x="917" y="1100"/>
                </a:moveTo>
                <a:lnTo>
                  <a:pt x="917" y="1093"/>
                </a:lnTo>
                <a:lnTo>
                  <a:pt x="917" y="1086"/>
                </a:lnTo>
                <a:lnTo>
                  <a:pt x="909" y="1090"/>
                </a:lnTo>
                <a:lnTo>
                  <a:pt x="902" y="1095"/>
                </a:lnTo>
                <a:lnTo>
                  <a:pt x="910" y="1097"/>
                </a:lnTo>
                <a:lnTo>
                  <a:pt x="917" y="1100"/>
                </a:lnTo>
                <a:close/>
                <a:moveTo>
                  <a:pt x="828" y="1161"/>
                </a:moveTo>
                <a:lnTo>
                  <a:pt x="833" y="1162"/>
                </a:lnTo>
                <a:lnTo>
                  <a:pt x="838" y="1161"/>
                </a:lnTo>
                <a:lnTo>
                  <a:pt x="842" y="1159"/>
                </a:lnTo>
                <a:lnTo>
                  <a:pt x="847" y="1158"/>
                </a:lnTo>
                <a:lnTo>
                  <a:pt x="834" y="1155"/>
                </a:lnTo>
                <a:lnTo>
                  <a:pt x="828" y="1161"/>
                </a:lnTo>
                <a:close/>
                <a:moveTo>
                  <a:pt x="307" y="1231"/>
                </a:moveTo>
                <a:lnTo>
                  <a:pt x="295" y="1231"/>
                </a:lnTo>
                <a:lnTo>
                  <a:pt x="294" y="1243"/>
                </a:lnTo>
                <a:lnTo>
                  <a:pt x="300" y="1237"/>
                </a:lnTo>
                <a:lnTo>
                  <a:pt x="307" y="1231"/>
                </a:lnTo>
                <a:close/>
                <a:moveTo>
                  <a:pt x="891" y="1103"/>
                </a:moveTo>
                <a:lnTo>
                  <a:pt x="891" y="1103"/>
                </a:lnTo>
                <a:lnTo>
                  <a:pt x="891" y="1103"/>
                </a:lnTo>
                <a:lnTo>
                  <a:pt x="890" y="1102"/>
                </a:lnTo>
                <a:lnTo>
                  <a:pt x="889" y="1100"/>
                </a:lnTo>
                <a:lnTo>
                  <a:pt x="891" y="1100"/>
                </a:lnTo>
                <a:lnTo>
                  <a:pt x="891" y="1103"/>
                </a:lnTo>
                <a:lnTo>
                  <a:pt x="896" y="1105"/>
                </a:lnTo>
                <a:lnTo>
                  <a:pt x="900" y="1109"/>
                </a:lnTo>
                <a:lnTo>
                  <a:pt x="900" y="1110"/>
                </a:lnTo>
                <a:lnTo>
                  <a:pt x="900" y="1111"/>
                </a:lnTo>
                <a:lnTo>
                  <a:pt x="896" y="1111"/>
                </a:lnTo>
                <a:lnTo>
                  <a:pt x="894" y="1110"/>
                </a:lnTo>
                <a:lnTo>
                  <a:pt x="893" y="1106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lnTo>
                  <a:pt x="891" y="1103"/>
                </a:lnTo>
                <a:close/>
                <a:moveTo>
                  <a:pt x="904" y="851"/>
                </a:moveTo>
                <a:lnTo>
                  <a:pt x="903" y="850"/>
                </a:lnTo>
                <a:lnTo>
                  <a:pt x="902" y="848"/>
                </a:lnTo>
                <a:lnTo>
                  <a:pt x="903" y="850"/>
                </a:lnTo>
                <a:lnTo>
                  <a:pt x="904" y="851"/>
                </a:lnTo>
                <a:lnTo>
                  <a:pt x="904" y="851"/>
                </a:lnTo>
                <a:close/>
                <a:moveTo>
                  <a:pt x="905" y="843"/>
                </a:moveTo>
                <a:lnTo>
                  <a:pt x="905" y="846"/>
                </a:lnTo>
                <a:lnTo>
                  <a:pt x="905" y="851"/>
                </a:lnTo>
                <a:lnTo>
                  <a:pt x="905" y="846"/>
                </a:lnTo>
                <a:lnTo>
                  <a:pt x="905" y="843"/>
                </a:lnTo>
                <a:close/>
                <a:moveTo>
                  <a:pt x="883" y="836"/>
                </a:moveTo>
                <a:lnTo>
                  <a:pt x="880" y="839"/>
                </a:lnTo>
                <a:lnTo>
                  <a:pt x="882" y="844"/>
                </a:lnTo>
                <a:lnTo>
                  <a:pt x="882" y="845"/>
                </a:lnTo>
                <a:lnTo>
                  <a:pt x="882" y="845"/>
                </a:lnTo>
                <a:lnTo>
                  <a:pt x="886" y="846"/>
                </a:lnTo>
                <a:lnTo>
                  <a:pt x="888" y="847"/>
                </a:lnTo>
                <a:lnTo>
                  <a:pt x="903" y="859"/>
                </a:lnTo>
                <a:lnTo>
                  <a:pt x="917" y="872"/>
                </a:lnTo>
                <a:lnTo>
                  <a:pt x="917" y="851"/>
                </a:lnTo>
                <a:lnTo>
                  <a:pt x="916" y="830"/>
                </a:lnTo>
                <a:lnTo>
                  <a:pt x="915" y="827"/>
                </a:lnTo>
                <a:lnTo>
                  <a:pt x="913" y="826"/>
                </a:lnTo>
                <a:lnTo>
                  <a:pt x="896" y="826"/>
                </a:lnTo>
                <a:lnTo>
                  <a:pt x="883" y="836"/>
                </a:lnTo>
                <a:close/>
                <a:moveTo>
                  <a:pt x="343" y="972"/>
                </a:moveTo>
                <a:lnTo>
                  <a:pt x="342" y="976"/>
                </a:lnTo>
                <a:lnTo>
                  <a:pt x="341" y="978"/>
                </a:lnTo>
                <a:lnTo>
                  <a:pt x="342" y="976"/>
                </a:lnTo>
                <a:lnTo>
                  <a:pt x="343" y="972"/>
                </a:lnTo>
                <a:close/>
                <a:moveTo>
                  <a:pt x="329" y="1011"/>
                </a:moveTo>
                <a:lnTo>
                  <a:pt x="334" y="1004"/>
                </a:lnTo>
                <a:lnTo>
                  <a:pt x="340" y="998"/>
                </a:lnTo>
                <a:lnTo>
                  <a:pt x="352" y="983"/>
                </a:lnTo>
                <a:lnTo>
                  <a:pt x="366" y="967"/>
                </a:lnTo>
                <a:lnTo>
                  <a:pt x="368" y="963"/>
                </a:lnTo>
                <a:lnTo>
                  <a:pt x="364" y="959"/>
                </a:lnTo>
                <a:lnTo>
                  <a:pt x="347" y="959"/>
                </a:lnTo>
                <a:lnTo>
                  <a:pt x="334" y="970"/>
                </a:lnTo>
                <a:lnTo>
                  <a:pt x="330" y="990"/>
                </a:lnTo>
                <a:lnTo>
                  <a:pt x="329" y="1011"/>
                </a:lnTo>
                <a:close/>
                <a:moveTo>
                  <a:pt x="342" y="1236"/>
                </a:moveTo>
                <a:lnTo>
                  <a:pt x="342" y="1238"/>
                </a:lnTo>
                <a:lnTo>
                  <a:pt x="341" y="1241"/>
                </a:lnTo>
                <a:lnTo>
                  <a:pt x="343" y="1242"/>
                </a:lnTo>
                <a:lnTo>
                  <a:pt x="344" y="1242"/>
                </a:lnTo>
                <a:lnTo>
                  <a:pt x="343" y="1242"/>
                </a:lnTo>
                <a:lnTo>
                  <a:pt x="341" y="1241"/>
                </a:lnTo>
                <a:lnTo>
                  <a:pt x="341" y="1244"/>
                </a:lnTo>
                <a:lnTo>
                  <a:pt x="337" y="1246"/>
                </a:lnTo>
                <a:lnTo>
                  <a:pt x="334" y="1251"/>
                </a:lnTo>
                <a:lnTo>
                  <a:pt x="334" y="1256"/>
                </a:lnTo>
                <a:lnTo>
                  <a:pt x="333" y="1256"/>
                </a:lnTo>
                <a:lnTo>
                  <a:pt x="331" y="1256"/>
                </a:lnTo>
                <a:lnTo>
                  <a:pt x="330" y="1258"/>
                </a:lnTo>
                <a:lnTo>
                  <a:pt x="328" y="1258"/>
                </a:lnTo>
                <a:lnTo>
                  <a:pt x="330" y="1258"/>
                </a:lnTo>
                <a:lnTo>
                  <a:pt x="331" y="1256"/>
                </a:lnTo>
                <a:lnTo>
                  <a:pt x="324" y="1252"/>
                </a:lnTo>
                <a:lnTo>
                  <a:pt x="317" y="1259"/>
                </a:lnTo>
                <a:lnTo>
                  <a:pt x="314" y="1259"/>
                </a:lnTo>
                <a:lnTo>
                  <a:pt x="309" y="1262"/>
                </a:lnTo>
                <a:lnTo>
                  <a:pt x="308" y="1258"/>
                </a:lnTo>
                <a:lnTo>
                  <a:pt x="310" y="1253"/>
                </a:lnTo>
                <a:lnTo>
                  <a:pt x="311" y="1251"/>
                </a:lnTo>
                <a:lnTo>
                  <a:pt x="311" y="1249"/>
                </a:lnTo>
                <a:lnTo>
                  <a:pt x="309" y="1245"/>
                </a:lnTo>
                <a:lnTo>
                  <a:pt x="313" y="1242"/>
                </a:lnTo>
                <a:lnTo>
                  <a:pt x="314" y="1238"/>
                </a:lnTo>
                <a:lnTo>
                  <a:pt x="318" y="1234"/>
                </a:lnTo>
                <a:lnTo>
                  <a:pt x="328" y="1234"/>
                </a:lnTo>
                <a:lnTo>
                  <a:pt x="336" y="1229"/>
                </a:lnTo>
                <a:lnTo>
                  <a:pt x="340" y="1228"/>
                </a:lnTo>
                <a:lnTo>
                  <a:pt x="345" y="1228"/>
                </a:lnTo>
                <a:lnTo>
                  <a:pt x="342" y="1231"/>
                </a:lnTo>
                <a:lnTo>
                  <a:pt x="342" y="1236"/>
                </a:lnTo>
                <a:close/>
                <a:moveTo>
                  <a:pt x="819" y="806"/>
                </a:moveTo>
                <a:lnTo>
                  <a:pt x="819" y="806"/>
                </a:lnTo>
                <a:lnTo>
                  <a:pt x="818" y="806"/>
                </a:lnTo>
                <a:lnTo>
                  <a:pt x="818" y="806"/>
                </a:lnTo>
                <a:lnTo>
                  <a:pt x="819" y="806"/>
                </a:lnTo>
                <a:lnTo>
                  <a:pt x="819" y="806"/>
                </a:lnTo>
                <a:close/>
                <a:moveTo>
                  <a:pt x="859" y="808"/>
                </a:moveTo>
                <a:lnTo>
                  <a:pt x="859" y="806"/>
                </a:lnTo>
                <a:lnTo>
                  <a:pt x="859" y="805"/>
                </a:lnTo>
                <a:lnTo>
                  <a:pt x="862" y="808"/>
                </a:lnTo>
                <a:lnTo>
                  <a:pt x="862" y="810"/>
                </a:lnTo>
                <a:lnTo>
                  <a:pt x="875" y="803"/>
                </a:lnTo>
                <a:lnTo>
                  <a:pt x="890" y="802"/>
                </a:lnTo>
                <a:lnTo>
                  <a:pt x="888" y="796"/>
                </a:lnTo>
                <a:lnTo>
                  <a:pt x="884" y="791"/>
                </a:lnTo>
                <a:lnTo>
                  <a:pt x="889" y="790"/>
                </a:lnTo>
                <a:lnTo>
                  <a:pt x="893" y="789"/>
                </a:lnTo>
                <a:lnTo>
                  <a:pt x="894" y="792"/>
                </a:lnTo>
                <a:lnTo>
                  <a:pt x="895" y="795"/>
                </a:lnTo>
                <a:lnTo>
                  <a:pt x="900" y="795"/>
                </a:lnTo>
                <a:lnTo>
                  <a:pt x="904" y="796"/>
                </a:lnTo>
                <a:lnTo>
                  <a:pt x="900" y="795"/>
                </a:lnTo>
                <a:lnTo>
                  <a:pt x="895" y="795"/>
                </a:lnTo>
                <a:lnTo>
                  <a:pt x="895" y="799"/>
                </a:lnTo>
                <a:lnTo>
                  <a:pt x="895" y="803"/>
                </a:lnTo>
                <a:lnTo>
                  <a:pt x="894" y="809"/>
                </a:lnTo>
                <a:lnTo>
                  <a:pt x="888" y="811"/>
                </a:lnTo>
                <a:lnTo>
                  <a:pt x="886" y="812"/>
                </a:lnTo>
                <a:lnTo>
                  <a:pt x="883" y="813"/>
                </a:lnTo>
                <a:lnTo>
                  <a:pt x="886" y="812"/>
                </a:lnTo>
                <a:lnTo>
                  <a:pt x="888" y="811"/>
                </a:lnTo>
                <a:lnTo>
                  <a:pt x="881" y="808"/>
                </a:lnTo>
                <a:lnTo>
                  <a:pt x="874" y="813"/>
                </a:lnTo>
                <a:lnTo>
                  <a:pt x="874" y="813"/>
                </a:lnTo>
                <a:lnTo>
                  <a:pt x="873" y="815"/>
                </a:lnTo>
                <a:lnTo>
                  <a:pt x="870" y="816"/>
                </a:lnTo>
                <a:lnTo>
                  <a:pt x="868" y="816"/>
                </a:lnTo>
                <a:lnTo>
                  <a:pt x="867" y="816"/>
                </a:lnTo>
                <a:lnTo>
                  <a:pt x="860" y="817"/>
                </a:lnTo>
                <a:lnTo>
                  <a:pt x="855" y="816"/>
                </a:lnTo>
                <a:lnTo>
                  <a:pt x="855" y="812"/>
                </a:lnTo>
                <a:lnTo>
                  <a:pt x="859" y="808"/>
                </a:lnTo>
                <a:close/>
                <a:moveTo>
                  <a:pt x="862" y="795"/>
                </a:moveTo>
                <a:lnTo>
                  <a:pt x="863" y="794"/>
                </a:lnTo>
                <a:lnTo>
                  <a:pt x="863" y="792"/>
                </a:lnTo>
                <a:lnTo>
                  <a:pt x="863" y="794"/>
                </a:lnTo>
                <a:lnTo>
                  <a:pt x="862" y="795"/>
                </a:lnTo>
                <a:lnTo>
                  <a:pt x="867" y="796"/>
                </a:lnTo>
                <a:lnTo>
                  <a:pt x="870" y="795"/>
                </a:lnTo>
                <a:lnTo>
                  <a:pt x="874" y="795"/>
                </a:lnTo>
                <a:lnTo>
                  <a:pt x="876" y="798"/>
                </a:lnTo>
                <a:lnTo>
                  <a:pt x="875" y="801"/>
                </a:lnTo>
                <a:lnTo>
                  <a:pt x="873" y="802"/>
                </a:lnTo>
                <a:lnTo>
                  <a:pt x="866" y="802"/>
                </a:lnTo>
                <a:lnTo>
                  <a:pt x="859" y="801"/>
                </a:lnTo>
                <a:lnTo>
                  <a:pt x="860" y="797"/>
                </a:lnTo>
                <a:lnTo>
                  <a:pt x="862" y="795"/>
                </a:lnTo>
                <a:close/>
                <a:moveTo>
                  <a:pt x="338" y="914"/>
                </a:moveTo>
                <a:lnTo>
                  <a:pt x="342" y="913"/>
                </a:lnTo>
                <a:lnTo>
                  <a:pt x="344" y="911"/>
                </a:lnTo>
                <a:lnTo>
                  <a:pt x="342" y="913"/>
                </a:lnTo>
                <a:lnTo>
                  <a:pt x="338" y="914"/>
                </a:lnTo>
                <a:lnTo>
                  <a:pt x="338" y="914"/>
                </a:lnTo>
                <a:close/>
                <a:moveTo>
                  <a:pt x="356" y="910"/>
                </a:moveTo>
                <a:lnTo>
                  <a:pt x="362" y="908"/>
                </a:lnTo>
                <a:lnTo>
                  <a:pt x="368" y="907"/>
                </a:lnTo>
                <a:lnTo>
                  <a:pt x="365" y="909"/>
                </a:lnTo>
                <a:lnTo>
                  <a:pt x="364" y="911"/>
                </a:lnTo>
                <a:lnTo>
                  <a:pt x="361" y="913"/>
                </a:lnTo>
                <a:lnTo>
                  <a:pt x="357" y="915"/>
                </a:lnTo>
                <a:lnTo>
                  <a:pt x="357" y="913"/>
                </a:lnTo>
                <a:lnTo>
                  <a:pt x="356" y="910"/>
                </a:lnTo>
                <a:lnTo>
                  <a:pt x="356" y="910"/>
                </a:lnTo>
                <a:lnTo>
                  <a:pt x="355" y="909"/>
                </a:lnTo>
                <a:lnTo>
                  <a:pt x="356" y="910"/>
                </a:lnTo>
                <a:lnTo>
                  <a:pt x="356" y="910"/>
                </a:lnTo>
                <a:close/>
                <a:moveTo>
                  <a:pt x="382" y="944"/>
                </a:moveTo>
                <a:lnTo>
                  <a:pt x="382" y="944"/>
                </a:lnTo>
                <a:lnTo>
                  <a:pt x="382" y="944"/>
                </a:lnTo>
                <a:lnTo>
                  <a:pt x="382" y="944"/>
                </a:lnTo>
                <a:close/>
                <a:moveTo>
                  <a:pt x="333" y="1106"/>
                </a:moveTo>
                <a:lnTo>
                  <a:pt x="336" y="1106"/>
                </a:lnTo>
                <a:lnTo>
                  <a:pt x="340" y="1105"/>
                </a:lnTo>
                <a:lnTo>
                  <a:pt x="344" y="1109"/>
                </a:lnTo>
                <a:lnTo>
                  <a:pt x="343" y="1113"/>
                </a:lnTo>
                <a:lnTo>
                  <a:pt x="341" y="1118"/>
                </a:lnTo>
                <a:lnTo>
                  <a:pt x="343" y="1121"/>
                </a:lnTo>
                <a:lnTo>
                  <a:pt x="344" y="1125"/>
                </a:lnTo>
                <a:lnTo>
                  <a:pt x="343" y="1127"/>
                </a:lnTo>
                <a:lnTo>
                  <a:pt x="341" y="1133"/>
                </a:lnTo>
                <a:lnTo>
                  <a:pt x="344" y="1137"/>
                </a:lnTo>
                <a:lnTo>
                  <a:pt x="348" y="1141"/>
                </a:lnTo>
                <a:lnTo>
                  <a:pt x="348" y="1146"/>
                </a:lnTo>
                <a:lnTo>
                  <a:pt x="348" y="1152"/>
                </a:lnTo>
                <a:lnTo>
                  <a:pt x="351" y="1156"/>
                </a:lnTo>
                <a:lnTo>
                  <a:pt x="355" y="1160"/>
                </a:lnTo>
                <a:lnTo>
                  <a:pt x="356" y="1163"/>
                </a:lnTo>
                <a:lnTo>
                  <a:pt x="356" y="1167"/>
                </a:lnTo>
                <a:lnTo>
                  <a:pt x="359" y="1168"/>
                </a:lnTo>
                <a:lnTo>
                  <a:pt x="363" y="1169"/>
                </a:lnTo>
                <a:lnTo>
                  <a:pt x="364" y="1173"/>
                </a:lnTo>
                <a:lnTo>
                  <a:pt x="361" y="1177"/>
                </a:lnTo>
                <a:lnTo>
                  <a:pt x="356" y="1181"/>
                </a:lnTo>
                <a:lnTo>
                  <a:pt x="354" y="1181"/>
                </a:lnTo>
                <a:lnTo>
                  <a:pt x="352" y="1177"/>
                </a:lnTo>
                <a:lnTo>
                  <a:pt x="347" y="1170"/>
                </a:lnTo>
                <a:lnTo>
                  <a:pt x="343" y="1161"/>
                </a:lnTo>
                <a:lnTo>
                  <a:pt x="340" y="1156"/>
                </a:lnTo>
                <a:lnTo>
                  <a:pt x="336" y="1152"/>
                </a:lnTo>
                <a:lnTo>
                  <a:pt x="334" y="1142"/>
                </a:lnTo>
                <a:lnTo>
                  <a:pt x="334" y="1133"/>
                </a:lnTo>
                <a:lnTo>
                  <a:pt x="335" y="1133"/>
                </a:lnTo>
                <a:lnTo>
                  <a:pt x="335" y="1132"/>
                </a:lnTo>
                <a:lnTo>
                  <a:pt x="330" y="1119"/>
                </a:lnTo>
                <a:lnTo>
                  <a:pt x="333" y="1106"/>
                </a:lnTo>
                <a:lnTo>
                  <a:pt x="333" y="1106"/>
                </a:lnTo>
                <a:close/>
                <a:moveTo>
                  <a:pt x="338" y="1075"/>
                </a:moveTo>
                <a:lnTo>
                  <a:pt x="345" y="1060"/>
                </a:lnTo>
                <a:lnTo>
                  <a:pt x="354" y="1044"/>
                </a:lnTo>
                <a:lnTo>
                  <a:pt x="363" y="1029"/>
                </a:lnTo>
                <a:lnTo>
                  <a:pt x="375" y="1015"/>
                </a:lnTo>
                <a:lnTo>
                  <a:pt x="377" y="1012"/>
                </a:lnTo>
                <a:lnTo>
                  <a:pt x="380" y="1012"/>
                </a:lnTo>
                <a:lnTo>
                  <a:pt x="383" y="1018"/>
                </a:lnTo>
                <a:lnTo>
                  <a:pt x="378" y="1023"/>
                </a:lnTo>
                <a:lnTo>
                  <a:pt x="369" y="1035"/>
                </a:lnTo>
                <a:lnTo>
                  <a:pt x="362" y="1049"/>
                </a:lnTo>
                <a:lnTo>
                  <a:pt x="361" y="1050"/>
                </a:lnTo>
                <a:lnTo>
                  <a:pt x="359" y="1053"/>
                </a:lnTo>
                <a:lnTo>
                  <a:pt x="352" y="1065"/>
                </a:lnTo>
                <a:lnTo>
                  <a:pt x="348" y="1079"/>
                </a:lnTo>
                <a:lnTo>
                  <a:pt x="347" y="1083"/>
                </a:lnTo>
                <a:lnTo>
                  <a:pt x="347" y="1088"/>
                </a:lnTo>
                <a:lnTo>
                  <a:pt x="344" y="1095"/>
                </a:lnTo>
                <a:lnTo>
                  <a:pt x="336" y="1096"/>
                </a:lnTo>
                <a:lnTo>
                  <a:pt x="334" y="1093"/>
                </a:lnTo>
                <a:lnTo>
                  <a:pt x="334" y="1091"/>
                </a:lnTo>
                <a:lnTo>
                  <a:pt x="336" y="1083"/>
                </a:lnTo>
                <a:lnTo>
                  <a:pt x="338" y="1075"/>
                </a:lnTo>
                <a:lnTo>
                  <a:pt x="335" y="1077"/>
                </a:lnTo>
                <a:lnTo>
                  <a:pt x="333" y="1079"/>
                </a:lnTo>
                <a:lnTo>
                  <a:pt x="335" y="1077"/>
                </a:lnTo>
                <a:lnTo>
                  <a:pt x="338" y="1075"/>
                </a:lnTo>
                <a:close/>
                <a:moveTo>
                  <a:pt x="397" y="1029"/>
                </a:moveTo>
                <a:lnTo>
                  <a:pt x="392" y="1039"/>
                </a:lnTo>
                <a:lnTo>
                  <a:pt x="384" y="1041"/>
                </a:lnTo>
                <a:lnTo>
                  <a:pt x="378" y="1041"/>
                </a:lnTo>
                <a:lnTo>
                  <a:pt x="375" y="1039"/>
                </a:lnTo>
                <a:lnTo>
                  <a:pt x="377" y="1033"/>
                </a:lnTo>
                <a:lnTo>
                  <a:pt x="384" y="1029"/>
                </a:lnTo>
                <a:lnTo>
                  <a:pt x="390" y="1029"/>
                </a:lnTo>
                <a:lnTo>
                  <a:pt x="397" y="1029"/>
                </a:lnTo>
                <a:close/>
                <a:moveTo>
                  <a:pt x="397" y="1011"/>
                </a:moveTo>
                <a:lnTo>
                  <a:pt x="397" y="1014"/>
                </a:lnTo>
                <a:lnTo>
                  <a:pt x="396" y="1016"/>
                </a:lnTo>
                <a:lnTo>
                  <a:pt x="393" y="1018"/>
                </a:lnTo>
                <a:lnTo>
                  <a:pt x="393" y="1021"/>
                </a:lnTo>
                <a:lnTo>
                  <a:pt x="397" y="1022"/>
                </a:lnTo>
                <a:lnTo>
                  <a:pt x="399" y="1019"/>
                </a:lnTo>
                <a:lnTo>
                  <a:pt x="401" y="1016"/>
                </a:lnTo>
                <a:lnTo>
                  <a:pt x="405" y="1014"/>
                </a:lnTo>
                <a:lnTo>
                  <a:pt x="407" y="1014"/>
                </a:lnTo>
                <a:lnTo>
                  <a:pt x="409" y="1015"/>
                </a:lnTo>
                <a:lnTo>
                  <a:pt x="405" y="1021"/>
                </a:lnTo>
                <a:lnTo>
                  <a:pt x="400" y="1023"/>
                </a:lnTo>
                <a:lnTo>
                  <a:pt x="393" y="1025"/>
                </a:lnTo>
                <a:lnTo>
                  <a:pt x="385" y="1023"/>
                </a:lnTo>
                <a:lnTo>
                  <a:pt x="390" y="1016"/>
                </a:lnTo>
                <a:lnTo>
                  <a:pt x="397" y="1011"/>
                </a:lnTo>
                <a:lnTo>
                  <a:pt x="397" y="1011"/>
                </a:lnTo>
                <a:close/>
                <a:moveTo>
                  <a:pt x="390" y="999"/>
                </a:moveTo>
                <a:lnTo>
                  <a:pt x="417" y="972"/>
                </a:lnTo>
                <a:lnTo>
                  <a:pt x="447" y="950"/>
                </a:lnTo>
                <a:lnTo>
                  <a:pt x="461" y="939"/>
                </a:lnTo>
                <a:lnTo>
                  <a:pt x="475" y="931"/>
                </a:lnTo>
                <a:lnTo>
                  <a:pt x="479" y="929"/>
                </a:lnTo>
                <a:lnTo>
                  <a:pt x="482" y="928"/>
                </a:lnTo>
                <a:lnTo>
                  <a:pt x="485" y="927"/>
                </a:lnTo>
                <a:lnTo>
                  <a:pt x="486" y="929"/>
                </a:lnTo>
                <a:lnTo>
                  <a:pt x="486" y="931"/>
                </a:lnTo>
                <a:lnTo>
                  <a:pt x="485" y="932"/>
                </a:lnTo>
                <a:lnTo>
                  <a:pt x="466" y="943"/>
                </a:lnTo>
                <a:lnTo>
                  <a:pt x="448" y="953"/>
                </a:lnTo>
                <a:lnTo>
                  <a:pt x="442" y="959"/>
                </a:lnTo>
                <a:lnTo>
                  <a:pt x="437" y="964"/>
                </a:lnTo>
                <a:lnTo>
                  <a:pt x="425" y="973"/>
                </a:lnTo>
                <a:lnTo>
                  <a:pt x="416" y="984"/>
                </a:lnTo>
                <a:lnTo>
                  <a:pt x="409" y="986"/>
                </a:lnTo>
                <a:lnTo>
                  <a:pt x="405" y="991"/>
                </a:lnTo>
                <a:lnTo>
                  <a:pt x="405" y="993"/>
                </a:lnTo>
                <a:lnTo>
                  <a:pt x="403" y="995"/>
                </a:lnTo>
                <a:lnTo>
                  <a:pt x="399" y="997"/>
                </a:lnTo>
                <a:lnTo>
                  <a:pt x="398" y="1000"/>
                </a:lnTo>
                <a:lnTo>
                  <a:pt x="393" y="1002"/>
                </a:lnTo>
                <a:lnTo>
                  <a:pt x="390" y="999"/>
                </a:lnTo>
                <a:lnTo>
                  <a:pt x="386" y="999"/>
                </a:lnTo>
                <a:lnTo>
                  <a:pt x="385" y="1000"/>
                </a:lnTo>
                <a:lnTo>
                  <a:pt x="386" y="999"/>
                </a:lnTo>
                <a:lnTo>
                  <a:pt x="390" y="999"/>
                </a:lnTo>
                <a:close/>
                <a:moveTo>
                  <a:pt x="492" y="941"/>
                </a:moveTo>
                <a:lnTo>
                  <a:pt x="496" y="938"/>
                </a:lnTo>
                <a:lnTo>
                  <a:pt x="501" y="938"/>
                </a:lnTo>
                <a:lnTo>
                  <a:pt x="496" y="943"/>
                </a:lnTo>
                <a:lnTo>
                  <a:pt x="492" y="948"/>
                </a:lnTo>
                <a:lnTo>
                  <a:pt x="486" y="946"/>
                </a:lnTo>
                <a:lnTo>
                  <a:pt x="480" y="943"/>
                </a:lnTo>
                <a:lnTo>
                  <a:pt x="479" y="941"/>
                </a:lnTo>
                <a:lnTo>
                  <a:pt x="481" y="939"/>
                </a:lnTo>
                <a:lnTo>
                  <a:pt x="483" y="938"/>
                </a:lnTo>
                <a:lnTo>
                  <a:pt x="485" y="939"/>
                </a:lnTo>
                <a:lnTo>
                  <a:pt x="488" y="943"/>
                </a:lnTo>
                <a:lnTo>
                  <a:pt x="492" y="941"/>
                </a:lnTo>
                <a:close/>
                <a:moveTo>
                  <a:pt x="502" y="915"/>
                </a:moveTo>
                <a:lnTo>
                  <a:pt x="509" y="911"/>
                </a:lnTo>
                <a:lnTo>
                  <a:pt x="516" y="908"/>
                </a:lnTo>
                <a:lnTo>
                  <a:pt x="555" y="890"/>
                </a:lnTo>
                <a:lnTo>
                  <a:pt x="593" y="876"/>
                </a:lnTo>
                <a:lnTo>
                  <a:pt x="605" y="873"/>
                </a:lnTo>
                <a:lnTo>
                  <a:pt x="615" y="869"/>
                </a:lnTo>
                <a:lnTo>
                  <a:pt x="619" y="869"/>
                </a:lnTo>
                <a:lnTo>
                  <a:pt x="620" y="872"/>
                </a:lnTo>
                <a:lnTo>
                  <a:pt x="620" y="874"/>
                </a:lnTo>
                <a:lnTo>
                  <a:pt x="618" y="875"/>
                </a:lnTo>
                <a:lnTo>
                  <a:pt x="615" y="876"/>
                </a:lnTo>
                <a:lnTo>
                  <a:pt x="612" y="876"/>
                </a:lnTo>
                <a:lnTo>
                  <a:pt x="592" y="881"/>
                </a:lnTo>
                <a:lnTo>
                  <a:pt x="573" y="888"/>
                </a:lnTo>
                <a:lnTo>
                  <a:pt x="551" y="896"/>
                </a:lnTo>
                <a:lnTo>
                  <a:pt x="531" y="907"/>
                </a:lnTo>
                <a:lnTo>
                  <a:pt x="524" y="909"/>
                </a:lnTo>
                <a:lnTo>
                  <a:pt x="517" y="909"/>
                </a:lnTo>
                <a:lnTo>
                  <a:pt x="511" y="917"/>
                </a:lnTo>
                <a:lnTo>
                  <a:pt x="502" y="920"/>
                </a:lnTo>
                <a:lnTo>
                  <a:pt x="501" y="920"/>
                </a:lnTo>
                <a:lnTo>
                  <a:pt x="500" y="918"/>
                </a:lnTo>
                <a:lnTo>
                  <a:pt x="501" y="916"/>
                </a:lnTo>
                <a:lnTo>
                  <a:pt x="502" y="915"/>
                </a:lnTo>
                <a:close/>
                <a:moveTo>
                  <a:pt x="619" y="892"/>
                </a:moveTo>
                <a:lnTo>
                  <a:pt x="614" y="892"/>
                </a:lnTo>
                <a:lnTo>
                  <a:pt x="611" y="893"/>
                </a:lnTo>
                <a:lnTo>
                  <a:pt x="606" y="894"/>
                </a:lnTo>
                <a:lnTo>
                  <a:pt x="604" y="890"/>
                </a:lnTo>
                <a:lnTo>
                  <a:pt x="604" y="885"/>
                </a:lnTo>
                <a:lnTo>
                  <a:pt x="608" y="882"/>
                </a:lnTo>
                <a:lnTo>
                  <a:pt x="612" y="881"/>
                </a:lnTo>
                <a:lnTo>
                  <a:pt x="617" y="880"/>
                </a:lnTo>
                <a:lnTo>
                  <a:pt x="619" y="879"/>
                </a:lnTo>
                <a:lnTo>
                  <a:pt x="620" y="881"/>
                </a:lnTo>
                <a:lnTo>
                  <a:pt x="619" y="881"/>
                </a:lnTo>
                <a:lnTo>
                  <a:pt x="619" y="882"/>
                </a:lnTo>
                <a:lnTo>
                  <a:pt x="615" y="882"/>
                </a:lnTo>
                <a:lnTo>
                  <a:pt x="613" y="883"/>
                </a:lnTo>
                <a:lnTo>
                  <a:pt x="610" y="883"/>
                </a:lnTo>
                <a:lnTo>
                  <a:pt x="608" y="887"/>
                </a:lnTo>
                <a:lnTo>
                  <a:pt x="611" y="889"/>
                </a:lnTo>
                <a:lnTo>
                  <a:pt x="614" y="888"/>
                </a:lnTo>
                <a:lnTo>
                  <a:pt x="618" y="887"/>
                </a:lnTo>
                <a:lnTo>
                  <a:pt x="623" y="887"/>
                </a:lnTo>
                <a:lnTo>
                  <a:pt x="620" y="889"/>
                </a:lnTo>
                <a:lnTo>
                  <a:pt x="619" y="892"/>
                </a:lnTo>
                <a:close/>
                <a:moveTo>
                  <a:pt x="630" y="923"/>
                </a:moveTo>
                <a:lnTo>
                  <a:pt x="627" y="928"/>
                </a:lnTo>
                <a:lnTo>
                  <a:pt x="623" y="929"/>
                </a:lnTo>
                <a:lnTo>
                  <a:pt x="620" y="929"/>
                </a:lnTo>
                <a:lnTo>
                  <a:pt x="618" y="927"/>
                </a:lnTo>
                <a:lnTo>
                  <a:pt x="619" y="924"/>
                </a:lnTo>
                <a:lnTo>
                  <a:pt x="621" y="923"/>
                </a:lnTo>
                <a:lnTo>
                  <a:pt x="625" y="920"/>
                </a:lnTo>
                <a:lnTo>
                  <a:pt x="620" y="917"/>
                </a:lnTo>
                <a:lnTo>
                  <a:pt x="619" y="915"/>
                </a:lnTo>
                <a:lnTo>
                  <a:pt x="619" y="913"/>
                </a:lnTo>
                <a:lnTo>
                  <a:pt x="619" y="910"/>
                </a:lnTo>
                <a:lnTo>
                  <a:pt x="621" y="909"/>
                </a:lnTo>
                <a:lnTo>
                  <a:pt x="625" y="909"/>
                </a:lnTo>
                <a:lnTo>
                  <a:pt x="630" y="908"/>
                </a:lnTo>
                <a:lnTo>
                  <a:pt x="630" y="916"/>
                </a:lnTo>
                <a:lnTo>
                  <a:pt x="630" y="923"/>
                </a:lnTo>
                <a:close/>
                <a:moveTo>
                  <a:pt x="649" y="931"/>
                </a:moveTo>
                <a:lnTo>
                  <a:pt x="644" y="917"/>
                </a:lnTo>
                <a:lnTo>
                  <a:pt x="645" y="903"/>
                </a:lnTo>
                <a:lnTo>
                  <a:pt x="647" y="900"/>
                </a:lnTo>
                <a:lnTo>
                  <a:pt x="652" y="899"/>
                </a:lnTo>
                <a:lnTo>
                  <a:pt x="687" y="894"/>
                </a:lnTo>
                <a:lnTo>
                  <a:pt x="722" y="894"/>
                </a:lnTo>
                <a:lnTo>
                  <a:pt x="727" y="895"/>
                </a:lnTo>
                <a:lnTo>
                  <a:pt x="725" y="900"/>
                </a:lnTo>
                <a:lnTo>
                  <a:pt x="715" y="911"/>
                </a:lnTo>
                <a:lnTo>
                  <a:pt x="706" y="923"/>
                </a:lnTo>
                <a:lnTo>
                  <a:pt x="702" y="925"/>
                </a:lnTo>
                <a:lnTo>
                  <a:pt x="700" y="924"/>
                </a:lnTo>
                <a:lnTo>
                  <a:pt x="686" y="924"/>
                </a:lnTo>
                <a:lnTo>
                  <a:pt x="672" y="924"/>
                </a:lnTo>
                <a:lnTo>
                  <a:pt x="666" y="925"/>
                </a:lnTo>
                <a:lnTo>
                  <a:pt x="660" y="928"/>
                </a:lnTo>
                <a:lnTo>
                  <a:pt x="680" y="929"/>
                </a:lnTo>
                <a:lnTo>
                  <a:pt x="699" y="931"/>
                </a:lnTo>
                <a:lnTo>
                  <a:pt x="665" y="932"/>
                </a:lnTo>
                <a:lnTo>
                  <a:pt x="630" y="937"/>
                </a:lnTo>
                <a:lnTo>
                  <a:pt x="639" y="932"/>
                </a:lnTo>
                <a:lnTo>
                  <a:pt x="649" y="931"/>
                </a:lnTo>
                <a:close/>
                <a:moveTo>
                  <a:pt x="633" y="885"/>
                </a:moveTo>
                <a:lnTo>
                  <a:pt x="638" y="882"/>
                </a:lnTo>
                <a:lnTo>
                  <a:pt x="642" y="882"/>
                </a:lnTo>
                <a:lnTo>
                  <a:pt x="647" y="880"/>
                </a:lnTo>
                <a:lnTo>
                  <a:pt x="645" y="876"/>
                </a:lnTo>
                <a:lnTo>
                  <a:pt x="645" y="875"/>
                </a:lnTo>
                <a:lnTo>
                  <a:pt x="645" y="874"/>
                </a:lnTo>
                <a:lnTo>
                  <a:pt x="648" y="872"/>
                </a:lnTo>
                <a:lnTo>
                  <a:pt x="652" y="874"/>
                </a:lnTo>
                <a:lnTo>
                  <a:pt x="652" y="880"/>
                </a:lnTo>
                <a:lnTo>
                  <a:pt x="647" y="883"/>
                </a:lnTo>
                <a:lnTo>
                  <a:pt x="644" y="885"/>
                </a:lnTo>
                <a:lnTo>
                  <a:pt x="644" y="887"/>
                </a:lnTo>
                <a:lnTo>
                  <a:pt x="645" y="888"/>
                </a:lnTo>
                <a:lnTo>
                  <a:pt x="647" y="888"/>
                </a:lnTo>
                <a:lnTo>
                  <a:pt x="655" y="888"/>
                </a:lnTo>
                <a:lnTo>
                  <a:pt x="663" y="886"/>
                </a:lnTo>
                <a:lnTo>
                  <a:pt x="687" y="883"/>
                </a:lnTo>
                <a:lnTo>
                  <a:pt x="710" y="882"/>
                </a:lnTo>
                <a:lnTo>
                  <a:pt x="722" y="882"/>
                </a:lnTo>
                <a:lnTo>
                  <a:pt x="735" y="883"/>
                </a:lnTo>
                <a:lnTo>
                  <a:pt x="738" y="882"/>
                </a:lnTo>
                <a:lnTo>
                  <a:pt x="739" y="879"/>
                </a:lnTo>
                <a:lnTo>
                  <a:pt x="737" y="879"/>
                </a:lnTo>
                <a:lnTo>
                  <a:pt x="734" y="878"/>
                </a:lnTo>
                <a:lnTo>
                  <a:pt x="729" y="876"/>
                </a:lnTo>
                <a:lnTo>
                  <a:pt x="731" y="872"/>
                </a:lnTo>
                <a:lnTo>
                  <a:pt x="736" y="872"/>
                </a:lnTo>
                <a:lnTo>
                  <a:pt x="739" y="873"/>
                </a:lnTo>
                <a:lnTo>
                  <a:pt x="743" y="875"/>
                </a:lnTo>
                <a:lnTo>
                  <a:pt x="739" y="879"/>
                </a:lnTo>
                <a:lnTo>
                  <a:pt x="738" y="882"/>
                </a:lnTo>
                <a:lnTo>
                  <a:pt x="735" y="883"/>
                </a:lnTo>
                <a:lnTo>
                  <a:pt x="734" y="886"/>
                </a:lnTo>
                <a:lnTo>
                  <a:pt x="732" y="888"/>
                </a:lnTo>
                <a:lnTo>
                  <a:pt x="730" y="888"/>
                </a:lnTo>
                <a:lnTo>
                  <a:pt x="728" y="888"/>
                </a:lnTo>
                <a:lnTo>
                  <a:pt x="727" y="889"/>
                </a:lnTo>
                <a:lnTo>
                  <a:pt x="727" y="889"/>
                </a:lnTo>
                <a:lnTo>
                  <a:pt x="727" y="889"/>
                </a:lnTo>
                <a:lnTo>
                  <a:pt x="728" y="888"/>
                </a:lnTo>
                <a:lnTo>
                  <a:pt x="727" y="887"/>
                </a:lnTo>
                <a:lnTo>
                  <a:pt x="724" y="888"/>
                </a:lnTo>
                <a:lnTo>
                  <a:pt x="722" y="888"/>
                </a:lnTo>
                <a:lnTo>
                  <a:pt x="720" y="888"/>
                </a:lnTo>
                <a:lnTo>
                  <a:pt x="716" y="888"/>
                </a:lnTo>
                <a:lnTo>
                  <a:pt x="711" y="888"/>
                </a:lnTo>
                <a:lnTo>
                  <a:pt x="716" y="888"/>
                </a:lnTo>
                <a:lnTo>
                  <a:pt x="720" y="888"/>
                </a:lnTo>
                <a:lnTo>
                  <a:pt x="708" y="887"/>
                </a:lnTo>
                <a:lnTo>
                  <a:pt x="697" y="888"/>
                </a:lnTo>
                <a:lnTo>
                  <a:pt x="673" y="889"/>
                </a:lnTo>
                <a:lnTo>
                  <a:pt x="648" y="894"/>
                </a:lnTo>
                <a:lnTo>
                  <a:pt x="647" y="894"/>
                </a:lnTo>
                <a:lnTo>
                  <a:pt x="646" y="895"/>
                </a:lnTo>
                <a:lnTo>
                  <a:pt x="647" y="894"/>
                </a:lnTo>
                <a:lnTo>
                  <a:pt x="648" y="894"/>
                </a:lnTo>
                <a:lnTo>
                  <a:pt x="641" y="894"/>
                </a:lnTo>
                <a:lnTo>
                  <a:pt x="634" y="893"/>
                </a:lnTo>
                <a:lnTo>
                  <a:pt x="637" y="888"/>
                </a:lnTo>
                <a:lnTo>
                  <a:pt x="633" y="885"/>
                </a:lnTo>
                <a:close/>
                <a:moveTo>
                  <a:pt x="668" y="881"/>
                </a:moveTo>
                <a:lnTo>
                  <a:pt x="666" y="881"/>
                </a:lnTo>
                <a:lnTo>
                  <a:pt x="663" y="882"/>
                </a:lnTo>
                <a:lnTo>
                  <a:pt x="659" y="882"/>
                </a:lnTo>
                <a:lnTo>
                  <a:pt x="656" y="880"/>
                </a:lnTo>
                <a:lnTo>
                  <a:pt x="656" y="874"/>
                </a:lnTo>
                <a:lnTo>
                  <a:pt x="661" y="871"/>
                </a:lnTo>
                <a:lnTo>
                  <a:pt x="663" y="869"/>
                </a:lnTo>
                <a:lnTo>
                  <a:pt x="667" y="868"/>
                </a:lnTo>
                <a:lnTo>
                  <a:pt x="674" y="868"/>
                </a:lnTo>
                <a:lnTo>
                  <a:pt x="677" y="871"/>
                </a:lnTo>
                <a:lnTo>
                  <a:pt x="676" y="878"/>
                </a:lnTo>
                <a:lnTo>
                  <a:pt x="668" y="881"/>
                </a:lnTo>
                <a:lnTo>
                  <a:pt x="668" y="881"/>
                </a:lnTo>
                <a:close/>
                <a:moveTo>
                  <a:pt x="703" y="866"/>
                </a:moveTo>
                <a:lnTo>
                  <a:pt x="699" y="876"/>
                </a:lnTo>
                <a:lnTo>
                  <a:pt x="688" y="879"/>
                </a:lnTo>
                <a:lnTo>
                  <a:pt x="683" y="879"/>
                </a:lnTo>
                <a:lnTo>
                  <a:pt x="681" y="876"/>
                </a:lnTo>
                <a:lnTo>
                  <a:pt x="682" y="871"/>
                </a:lnTo>
                <a:lnTo>
                  <a:pt x="688" y="867"/>
                </a:lnTo>
                <a:lnTo>
                  <a:pt x="696" y="866"/>
                </a:lnTo>
                <a:lnTo>
                  <a:pt x="703" y="866"/>
                </a:lnTo>
                <a:close/>
                <a:moveTo>
                  <a:pt x="716" y="878"/>
                </a:moveTo>
                <a:lnTo>
                  <a:pt x="715" y="878"/>
                </a:lnTo>
                <a:lnTo>
                  <a:pt x="713" y="878"/>
                </a:lnTo>
                <a:lnTo>
                  <a:pt x="709" y="878"/>
                </a:lnTo>
                <a:lnTo>
                  <a:pt x="706" y="875"/>
                </a:lnTo>
                <a:lnTo>
                  <a:pt x="708" y="868"/>
                </a:lnTo>
                <a:lnTo>
                  <a:pt x="714" y="864"/>
                </a:lnTo>
                <a:lnTo>
                  <a:pt x="715" y="864"/>
                </a:lnTo>
                <a:lnTo>
                  <a:pt x="716" y="864"/>
                </a:lnTo>
                <a:lnTo>
                  <a:pt x="723" y="864"/>
                </a:lnTo>
                <a:lnTo>
                  <a:pt x="729" y="866"/>
                </a:lnTo>
                <a:lnTo>
                  <a:pt x="725" y="873"/>
                </a:lnTo>
                <a:lnTo>
                  <a:pt x="716" y="878"/>
                </a:lnTo>
                <a:close/>
                <a:moveTo>
                  <a:pt x="641" y="864"/>
                </a:moveTo>
                <a:lnTo>
                  <a:pt x="696" y="854"/>
                </a:lnTo>
                <a:lnTo>
                  <a:pt x="751" y="853"/>
                </a:lnTo>
                <a:lnTo>
                  <a:pt x="758" y="854"/>
                </a:lnTo>
                <a:lnTo>
                  <a:pt x="757" y="861"/>
                </a:lnTo>
                <a:lnTo>
                  <a:pt x="757" y="866"/>
                </a:lnTo>
                <a:lnTo>
                  <a:pt x="760" y="868"/>
                </a:lnTo>
                <a:lnTo>
                  <a:pt x="768" y="866"/>
                </a:lnTo>
                <a:lnTo>
                  <a:pt x="773" y="868"/>
                </a:lnTo>
                <a:lnTo>
                  <a:pt x="776" y="869"/>
                </a:lnTo>
                <a:lnTo>
                  <a:pt x="775" y="872"/>
                </a:lnTo>
                <a:lnTo>
                  <a:pt x="772" y="874"/>
                </a:lnTo>
                <a:lnTo>
                  <a:pt x="769" y="876"/>
                </a:lnTo>
                <a:lnTo>
                  <a:pt x="766" y="872"/>
                </a:lnTo>
                <a:lnTo>
                  <a:pt x="760" y="871"/>
                </a:lnTo>
                <a:lnTo>
                  <a:pt x="760" y="869"/>
                </a:lnTo>
                <a:lnTo>
                  <a:pt x="760" y="868"/>
                </a:lnTo>
                <a:lnTo>
                  <a:pt x="757" y="866"/>
                </a:lnTo>
                <a:lnTo>
                  <a:pt x="757" y="861"/>
                </a:lnTo>
                <a:lnTo>
                  <a:pt x="756" y="861"/>
                </a:lnTo>
                <a:lnTo>
                  <a:pt x="753" y="861"/>
                </a:lnTo>
                <a:lnTo>
                  <a:pt x="736" y="860"/>
                </a:lnTo>
                <a:lnTo>
                  <a:pt x="717" y="860"/>
                </a:lnTo>
                <a:lnTo>
                  <a:pt x="692" y="862"/>
                </a:lnTo>
                <a:lnTo>
                  <a:pt x="665" y="865"/>
                </a:lnTo>
                <a:lnTo>
                  <a:pt x="653" y="867"/>
                </a:lnTo>
                <a:lnTo>
                  <a:pt x="642" y="868"/>
                </a:lnTo>
                <a:lnTo>
                  <a:pt x="639" y="869"/>
                </a:lnTo>
                <a:lnTo>
                  <a:pt x="637" y="867"/>
                </a:lnTo>
                <a:lnTo>
                  <a:pt x="638" y="864"/>
                </a:lnTo>
                <a:lnTo>
                  <a:pt x="641" y="864"/>
                </a:lnTo>
                <a:close/>
                <a:moveTo>
                  <a:pt x="779" y="855"/>
                </a:moveTo>
                <a:lnTo>
                  <a:pt x="794" y="858"/>
                </a:lnTo>
                <a:lnTo>
                  <a:pt x="808" y="862"/>
                </a:lnTo>
                <a:lnTo>
                  <a:pt x="801" y="867"/>
                </a:lnTo>
                <a:lnTo>
                  <a:pt x="794" y="867"/>
                </a:lnTo>
                <a:lnTo>
                  <a:pt x="782" y="864"/>
                </a:lnTo>
                <a:lnTo>
                  <a:pt x="770" y="862"/>
                </a:lnTo>
                <a:lnTo>
                  <a:pt x="773" y="857"/>
                </a:lnTo>
                <a:lnTo>
                  <a:pt x="779" y="855"/>
                </a:lnTo>
                <a:close/>
                <a:moveTo>
                  <a:pt x="813" y="869"/>
                </a:moveTo>
                <a:lnTo>
                  <a:pt x="815" y="865"/>
                </a:lnTo>
                <a:lnTo>
                  <a:pt x="822" y="864"/>
                </a:lnTo>
                <a:lnTo>
                  <a:pt x="832" y="869"/>
                </a:lnTo>
                <a:lnTo>
                  <a:pt x="842" y="873"/>
                </a:lnTo>
                <a:lnTo>
                  <a:pt x="854" y="879"/>
                </a:lnTo>
                <a:lnTo>
                  <a:pt x="865" y="885"/>
                </a:lnTo>
                <a:lnTo>
                  <a:pt x="856" y="890"/>
                </a:lnTo>
                <a:lnTo>
                  <a:pt x="847" y="885"/>
                </a:lnTo>
                <a:lnTo>
                  <a:pt x="839" y="881"/>
                </a:lnTo>
                <a:lnTo>
                  <a:pt x="831" y="878"/>
                </a:lnTo>
                <a:lnTo>
                  <a:pt x="826" y="873"/>
                </a:lnTo>
                <a:lnTo>
                  <a:pt x="821" y="874"/>
                </a:lnTo>
                <a:lnTo>
                  <a:pt x="817" y="873"/>
                </a:lnTo>
                <a:lnTo>
                  <a:pt x="813" y="869"/>
                </a:lnTo>
                <a:close/>
                <a:moveTo>
                  <a:pt x="869" y="894"/>
                </a:moveTo>
                <a:lnTo>
                  <a:pt x="872" y="893"/>
                </a:lnTo>
                <a:lnTo>
                  <a:pt x="874" y="892"/>
                </a:lnTo>
                <a:lnTo>
                  <a:pt x="894" y="911"/>
                </a:lnTo>
                <a:lnTo>
                  <a:pt x="904" y="937"/>
                </a:lnTo>
                <a:lnTo>
                  <a:pt x="907" y="938"/>
                </a:lnTo>
                <a:lnTo>
                  <a:pt x="909" y="939"/>
                </a:lnTo>
                <a:lnTo>
                  <a:pt x="910" y="937"/>
                </a:lnTo>
                <a:lnTo>
                  <a:pt x="910" y="936"/>
                </a:lnTo>
                <a:lnTo>
                  <a:pt x="910" y="937"/>
                </a:lnTo>
                <a:lnTo>
                  <a:pt x="909" y="939"/>
                </a:lnTo>
                <a:lnTo>
                  <a:pt x="909" y="942"/>
                </a:lnTo>
                <a:lnTo>
                  <a:pt x="910" y="944"/>
                </a:lnTo>
                <a:lnTo>
                  <a:pt x="910" y="948"/>
                </a:lnTo>
                <a:lnTo>
                  <a:pt x="910" y="951"/>
                </a:lnTo>
                <a:lnTo>
                  <a:pt x="908" y="962"/>
                </a:lnTo>
                <a:lnTo>
                  <a:pt x="900" y="963"/>
                </a:lnTo>
                <a:lnTo>
                  <a:pt x="896" y="959"/>
                </a:lnTo>
                <a:lnTo>
                  <a:pt x="897" y="955"/>
                </a:lnTo>
                <a:lnTo>
                  <a:pt x="900" y="951"/>
                </a:lnTo>
                <a:lnTo>
                  <a:pt x="896" y="949"/>
                </a:lnTo>
                <a:lnTo>
                  <a:pt x="896" y="948"/>
                </a:lnTo>
                <a:lnTo>
                  <a:pt x="896" y="948"/>
                </a:lnTo>
                <a:lnTo>
                  <a:pt x="893" y="936"/>
                </a:lnTo>
                <a:lnTo>
                  <a:pt x="887" y="924"/>
                </a:lnTo>
                <a:lnTo>
                  <a:pt x="884" y="920"/>
                </a:lnTo>
                <a:lnTo>
                  <a:pt x="882" y="916"/>
                </a:lnTo>
                <a:lnTo>
                  <a:pt x="877" y="913"/>
                </a:lnTo>
                <a:lnTo>
                  <a:pt x="876" y="907"/>
                </a:lnTo>
                <a:lnTo>
                  <a:pt x="875" y="904"/>
                </a:lnTo>
                <a:lnTo>
                  <a:pt x="872" y="904"/>
                </a:lnTo>
                <a:lnTo>
                  <a:pt x="867" y="902"/>
                </a:lnTo>
                <a:lnTo>
                  <a:pt x="865" y="897"/>
                </a:lnTo>
                <a:lnTo>
                  <a:pt x="868" y="897"/>
                </a:lnTo>
                <a:lnTo>
                  <a:pt x="869" y="894"/>
                </a:lnTo>
                <a:close/>
                <a:moveTo>
                  <a:pt x="888" y="965"/>
                </a:moveTo>
                <a:lnTo>
                  <a:pt x="884" y="964"/>
                </a:lnTo>
                <a:lnTo>
                  <a:pt x="883" y="960"/>
                </a:lnTo>
                <a:lnTo>
                  <a:pt x="882" y="959"/>
                </a:lnTo>
                <a:lnTo>
                  <a:pt x="881" y="958"/>
                </a:lnTo>
                <a:lnTo>
                  <a:pt x="886" y="957"/>
                </a:lnTo>
                <a:lnTo>
                  <a:pt x="889" y="956"/>
                </a:lnTo>
                <a:lnTo>
                  <a:pt x="890" y="957"/>
                </a:lnTo>
                <a:lnTo>
                  <a:pt x="890" y="958"/>
                </a:lnTo>
                <a:lnTo>
                  <a:pt x="890" y="963"/>
                </a:lnTo>
                <a:lnTo>
                  <a:pt x="888" y="965"/>
                </a:lnTo>
                <a:close/>
                <a:moveTo>
                  <a:pt x="889" y="984"/>
                </a:moveTo>
                <a:lnTo>
                  <a:pt x="887" y="985"/>
                </a:lnTo>
                <a:lnTo>
                  <a:pt x="886" y="985"/>
                </a:lnTo>
                <a:lnTo>
                  <a:pt x="884" y="984"/>
                </a:lnTo>
                <a:lnTo>
                  <a:pt x="884" y="983"/>
                </a:lnTo>
                <a:lnTo>
                  <a:pt x="884" y="979"/>
                </a:lnTo>
                <a:lnTo>
                  <a:pt x="883" y="976"/>
                </a:lnTo>
                <a:lnTo>
                  <a:pt x="882" y="977"/>
                </a:lnTo>
                <a:lnTo>
                  <a:pt x="881" y="977"/>
                </a:lnTo>
                <a:lnTo>
                  <a:pt x="882" y="977"/>
                </a:lnTo>
                <a:lnTo>
                  <a:pt x="883" y="976"/>
                </a:lnTo>
                <a:lnTo>
                  <a:pt x="884" y="976"/>
                </a:lnTo>
                <a:lnTo>
                  <a:pt x="884" y="976"/>
                </a:lnTo>
                <a:lnTo>
                  <a:pt x="888" y="976"/>
                </a:lnTo>
                <a:lnTo>
                  <a:pt x="889" y="978"/>
                </a:lnTo>
                <a:lnTo>
                  <a:pt x="890" y="981"/>
                </a:lnTo>
                <a:lnTo>
                  <a:pt x="889" y="984"/>
                </a:lnTo>
                <a:close/>
                <a:moveTo>
                  <a:pt x="888" y="994"/>
                </a:moveTo>
                <a:lnTo>
                  <a:pt x="887" y="999"/>
                </a:lnTo>
                <a:lnTo>
                  <a:pt x="884" y="1004"/>
                </a:lnTo>
                <a:lnTo>
                  <a:pt x="886" y="1006"/>
                </a:lnTo>
                <a:lnTo>
                  <a:pt x="887" y="1006"/>
                </a:lnTo>
                <a:lnTo>
                  <a:pt x="886" y="1006"/>
                </a:lnTo>
                <a:lnTo>
                  <a:pt x="884" y="1004"/>
                </a:lnTo>
                <a:lnTo>
                  <a:pt x="874" y="1005"/>
                </a:lnTo>
                <a:lnTo>
                  <a:pt x="865" y="1006"/>
                </a:lnTo>
                <a:lnTo>
                  <a:pt x="865" y="1000"/>
                </a:lnTo>
                <a:lnTo>
                  <a:pt x="866" y="994"/>
                </a:lnTo>
                <a:lnTo>
                  <a:pt x="876" y="992"/>
                </a:lnTo>
                <a:lnTo>
                  <a:pt x="887" y="991"/>
                </a:lnTo>
                <a:lnTo>
                  <a:pt x="888" y="992"/>
                </a:lnTo>
                <a:lnTo>
                  <a:pt x="889" y="993"/>
                </a:lnTo>
                <a:lnTo>
                  <a:pt x="889" y="994"/>
                </a:lnTo>
                <a:lnTo>
                  <a:pt x="888" y="994"/>
                </a:lnTo>
                <a:close/>
                <a:moveTo>
                  <a:pt x="881" y="1016"/>
                </a:moveTo>
                <a:lnTo>
                  <a:pt x="877" y="1021"/>
                </a:lnTo>
                <a:lnTo>
                  <a:pt x="873" y="1025"/>
                </a:lnTo>
                <a:lnTo>
                  <a:pt x="873" y="1025"/>
                </a:lnTo>
                <a:lnTo>
                  <a:pt x="874" y="1026"/>
                </a:lnTo>
                <a:lnTo>
                  <a:pt x="873" y="1025"/>
                </a:lnTo>
                <a:lnTo>
                  <a:pt x="873" y="1025"/>
                </a:lnTo>
                <a:lnTo>
                  <a:pt x="866" y="1026"/>
                </a:lnTo>
                <a:lnTo>
                  <a:pt x="859" y="1025"/>
                </a:lnTo>
                <a:lnTo>
                  <a:pt x="859" y="1018"/>
                </a:lnTo>
                <a:lnTo>
                  <a:pt x="861" y="1012"/>
                </a:lnTo>
                <a:lnTo>
                  <a:pt x="868" y="1011"/>
                </a:lnTo>
                <a:lnTo>
                  <a:pt x="876" y="1009"/>
                </a:lnTo>
                <a:lnTo>
                  <a:pt x="882" y="1011"/>
                </a:lnTo>
                <a:lnTo>
                  <a:pt x="881" y="1016"/>
                </a:lnTo>
                <a:close/>
                <a:moveTo>
                  <a:pt x="874" y="1032"/>
                </a:moveTo>
                <a:lnTo>
                  <a:pt x="870" y="1036"/>
                </a:lnTo>
                <a:lnTo>
                  <a:pt x="868" y="1041"/>
                </a:lnTo>
                <a:lnTo>
                  <a:pt x="867" y="1043"/>
                </a:lnTo>
                <a:lnTo>
                  <a:pt x="867" y="1046"/>
                </a:lnTo>
                <a:lnTo>
                  <a:pt x="867" y="1043"/>
                </a:lnTo>
                <a:lnTo>
                  <a:pt x="868" y="1041"/>
                </a:lnTo>
                <a:lnTo>
                  <a:pt x="863" y="1041"/>
                </a:lnTo>
                <a:lnTo>
                  <a:pt x="859" y="1041"/>
                </a:lnTo>
                <a:lnTo>
                  <a:pt x="854" y="1041"/>
                </a:lnTo>
                <a:lnTo>
                  <a:pt x="849" y="1041"/>
                </a:lnTo>
                <a:lnTo>
                  <a:pt x="851" y="1034"/>
                </a:lnTo>
                <a:lnTo>
                  <a:pt x="855" y="1029"/>
                </a:lnTo>
                <a:lnTo>
                  <a:pt x="865" y="1028"/>
                </a:lnTo>
                <a:lnTo>
                  <a:pt x="874" y="1032"/>
                </a:lnTo>
                <a:lnTo>
                  <a:pt x="876" y="1029"/>
                </a:lnTo>
                <a:lnTo>
                  <a:pt x="877" y="1028"/>
                </a:lnTo>
                <a:lnTo>
                  <a:pt x="876" y="1029"/>
                </a:lnTo>
                <a:lnTo>
                  <a:pt x="874" y="1032"/>
                </a:lnTo>
                <a:close/>
                <a:moveTo>
                  <a:pt x="863" y="1048"/>
                </a:moveTo>
                <a:lnTo>
                  <a:pt x="861" y="1053"/>
                </a:lnTo>
                <a:lnTo>
                  <a:pt x="858" y="1057"/>
                </a:lnTo>
                <a:lnTo>
                  <a:pt x="855" y="1060"/>
                </a:lnTo>
                <a:lnTo>
                  <a:pt x="851" y="1058"/>
                </a:lnTo>
                <a:lnTo>
                  <a:pt x="851" y="1058"/>
                </a:lnTo>
                <a:lnTo>
                  <a:pt x="852" y="1053"/>
                </a:lnTo>
                <a:lnTo>
                  <a:pt x="854" y="1047"/>
                </a:lnTo>
                <a:lnTo>
                  <a:pt x="859" y="1046"/>
                </a:lnTo>
                <a:lnTo>
                  <a:pt x="863" y="1048"/>
                </a:lnTo>
                <a:lnTo>
                  <a:pt x="865" y="1046"/>
                </a:lnTo>
                <a:lnTo>
                  <a:pt x="863" y="1044"/>
                </a:lnTo>
                <a:lnTo>
                  <a:pt x="865" y="1046"/>
                </a:lnTo>
                <a:lnTo>
                  <a:pt x="863" y="1048"/>
                </a:lnTo>
                <a:lnTo>
                  <a:pt x="863" y="1048"/>
                </a:lnTo>
                <a:close/>
                <a:moveTo>
                  <a:pt x="842" y="1040"/>
                </a:moveTo>
                <a:lnTo>
                  <a:pt x="838" y="1041"/>
                </a:lnTo>
                <a:lnTo>
                  <a:pt x="837" y="1043"/>
                </a:lnTo>
                <a:lnTo>
                  <a:pt x="834" y="1049"/>
                </a:lnTo>
                <a:lnTo>
                  <a:pt x="831" y="1055"/>
                </a:lnTo>
                <a:lnTo>
                  <a:pt x="825" y="1054"/>
                </a:lnTo>
                <a:lnTo>
                  <a:pt x="827" y="1048"/>
                </a:lnTo>
                <a:lnTo>
                  <a:pt x="839" y="1027"/>
                </a:lnTo>
                <a:lnTo>
                  <a:pt x="848" y="1006"/>
                </a:lnTo>
                <a:lnTo>
                  <a:pt x="849" y="998"/>
                </a:lnTo>
                <a:lnTo>
                  <a:pt x="851" y="988"/>
                </a:lnTo>
                <a:lnTo>
                  <a:pt x="852" y="985"/>
                </a:lnTo>
                <a:lnTo>
                  <a:pt x="856" y="984"/>
                </a:lnTo>
                <a:lnTo>
                  <a:pt x="860" y="985"/>
                </a:lnTo>
                <a:lnTo>
                  <a:pt x="860" y="987"/>
                </a:lnTo>
                <a:lnTo>
                  <a:pt x="856" y="994"/>
                </a:lnTo>
                <a:lnTo>
                  <a:pt x="859" y="1000"/>
                </a:lnTo>
                <a:lnTo>
                  <a:pt x="859" y="1001"/>
                </a:lnTo>
                <a:lnTo>
                  <a:pt x="858" y="1002"/>
                </a:lnTo>
                <a:lnTo>
                  <a:pt x="859" y="1004"/>
                </a:lnTo>
                <a:lnTo>
                  <a:pt x="859" y="1004"/>
                </a:lnTo>
                <a:lnTo>
                  <a:pt x="859" y="1004"/>
                </a:lnTo>
                <a:lnTo>
                  <a:pt x="858" y="1002"/>
                </a:lnTo>
                <a:lnTo>
                  <a:pt x="853" y="1006"/>
                </a:lnTo>
                <a:lnTo>
                  <a:pt x="853" y="1012"/>
                </a:lnTo>
                <a:lnTo>
                  <a:pt x="853" y="1016"/>
                </a:lnTo>
                <a:lnTo>
                  <a:pt x="851" y="1020"/>
                </a:lnTo>
                <a:lnTo>
                  <a:pt x="845" y="1029"/>
                </a:lnTo>
                <a:lnTo>
                  <a:pt x="842" y="1040"/>
                </a:lnTo>
                <a:close/>
                <a:moveTo>
                  <a:pt x="838" y="1055"/>
                </a:moveTo>
                <a:lnTo>
                  <a:pt x="841" y="1048"/>
                </a:lnTo>
                <a:lnTo>
                  <a:pt x="848" y="1046"/>
                </a:lnTo>
                <a:lnTo>
                  <a:pt x="846" y="1053"/>
                </a:lnTo>
                <a:lnTo>
                  <a:pt x="838" y="1055"/>
                </a:lnTo>
                <a:close/>
                <a:moveTo>
                  <a:pt x="844" y="1074"/>
                </a:moveTo>
                <a:lnTo>
                  <a:pt x="838" y="1079"/>
                </a:lnTo>
                <a:lnTo>
                  <a:pt x="828" y="1078"/>
                </a:lnTo>
                <a:lnTo>
                  <a:pt x="825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19" y="1077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6"/>
                </a:lnTo>
                <a:lnTo>
                  <a:pt x="820" y="1075"/>
                </a:lnTo>
                <a:lnTo>
                  <a:pt x="821" y="1075"/>
                </a:lnTo>
                <a:lnTo>
                  <a:pt x="821" y="1074"/>
                </a:lnTo>
                <a:lnTo>
                  <a:pt x="822" y="1072"/>
                </a:lnTo>
                <a:lnTo>
                  <a:pt x="826" y="1068"/>
                </a:lnTo>
                <a:lnTo>
                  <a:pt x="832" y="1064"/>
                </a:lnTo>
                <a:lnTo>
                  <a:pt x="833" y="1065"/>
                </a:lnTo>
                <a:lnTo>
                  <a:pt x="834" y="1065"/>
                </a:lnTo>
                <a:lnTo>
                  <a:pt x="834" y="1067"/>
                </a:lnTo>
                <a:lnTo>
                  <a:pt x="833" y="1068"/>
                </a:lnTo>
                <a:lnTo>
                  <a:pt x="834" y="1069"/>
                </a:lnTo>
                <a:lnTo>
                  <a:pt x="834" y="1069"/>
                </a:lnTo>
                <a:lnTo>
                  <a:pt x="834" y="1069"/>
                </a:lnTo>
                <a:lnTo>
                  <a:pt x="833" y="1068"/>
                </a:lnTo>
                <a:lnTo>
                  <a:pt x="833" y="1069"/>
                </a:lnTo>
                <a:lnTo>
                  <a:pt x="833" y="1069"/>
                </a:lnTo>
                <a:lnTo>
                  <a:pt x="833" y="1069"/>
                </a:lnTo>
                <a:lnTo>
                  <a:pt x="831" y="1072"/>
                </a:lnTo>
                <a:lnTo>
                  <a:pt x="832" y="1075"/>
                </a:lnTo>
                <a:lnTo>
                  <a:pt x="835" y="1076"/>
                </a:lnTo>
                <a:lnTo>
                  <a:pt x="839" y="1072"/>
                </a:lnTo>
                <a:lnTo>
                  <a:pt x="842" y="1068"/>
                </a:lnTo>
                <a:lnTo>
                  <a:pt x="848" y="1068"/>
                </a:lnTo>
                <a:lnTo>
                  <a:pt x="846" y="1071"/>
                </a:lnTo>
                <a:lnTo>
                  <a:pt x="844" y="1074"/>
                </a:lnTo>
                <a:close/>
                <a:moveTo>
                  <a:pt x="831" y="1088"/>
                </a:moveTo>
                <a:lnTo>
                  <a:pt x="827" y="1091"/>
                </a:lnTo>
                <a:lnTo>
                  <a:pt x="824" y="1096"/>
                </a:lnTo>
                <a:lnTo>
                  <a:pt x="822" y="1097"/>
                </a:lnTo>
                <a:lnTo>
                  <a:pt x="822" y="1098"/>
                </a:lnTo>
                <a:lnTo>
                  <a:pt x="822" y="1097"/>
                </a:lnTo>
                <a:lnTo>
                  <a:pt x="824" y="1096"/>
                </a:lnTo>
                <a:lnTo>
                  <a:pt x="814" y="1097"/>
                </a:lnTo>
                <a:lnTo>
                  <a:pt x="807" y="1093"/>
                </a:lnTo>
                <a:lnTo>
                  <a:pt x="808" y="1088"/>
                </a:lnTo>
                <a:lnTo>
                  <a:pt x="813" y="1082"/>
                </a:lnTo>
                <a:lnTo>
                  <a:pt x="821" y="1081"/>
                </a:lnTo>
                <a:lnTo>
                  <a:pt x="829" y="1083"/>
                </a:lnTo>
                <a:lnTo>
                  <a:pt x="832" y="1084"/>
                </a:lnTo>
                <a:lnTo>
                  <a:pt x="831" y="1088"/>
                </a:lnTo>
                <a:close/>
                <a:moveTo>
                  <a:pt x="813" y="1105"/>
                </a:moveTo>
                <a:lnTo>
                  <a:pt x="807" y="1109"/>
                </a:lnTo>
                <a:lnTo>
                  <a:pt x="803" y="1112"/>
                </a:lnTo>
                <a:lnTo>
                  <a:pt x="801" y="1113"/>
                </a:lnTo>
                <a:lnTo>
                  <a:pt x="801" y="1114"/>
                </a:lnTo>
                <a:lnTo>
                  <a:pt x="799" y="1116"/>
                </a:lnTo>
                <a:lnTo>
                  <a:pt x="798" y="1116"/>
                </a:lnTo>
                <a:lnTo>
                  <a:pt x="796" y="1116"/>
                </a:lnTo>
                <a:lnTo>
                  <a:pt x="794" y="1114"/>
                </a:lnTo>
                <a:lnTo>
                  <a:pt x="790" y="1112"/>
                </a:lnTo>
                <a:lnTo>
                  <a:pt x="786" y="1107"/>
                </a:lnTo>
                <a:lnTo>
                  <a:pt x="794" y="1100"/>
                </a:lnTo>
                <a:lnTo>
                  <a:pt x="804" y="1099"/>
                </a:lnTo>
                <a:lnTo>
                  <a:pt x="810" y="1100"/>
                </a:lnTo>
                <a:lnTo>
                  <a:pt x="813" y="1105"/>
                </a:lnTo>
                <a:lnTo>
                  <a:pt x="813" y="1105"/>
                </a:lnTo>
                <a:close/>
                <a:moveTo>
                  <a:pt x="792" y="1119"/>
                </a:moveTo>
                <a:lnTo>
                  <a:pt x="785" y="1126"/>
                </a:lnTo>
                <a:lnTo>
                  <a:pt x="778" y="1132"/>
                </a:lnTo>
                <a:lnTo>
                  <a:pt x="769" y="1130"/>
                </a:lnTo>
                <a:lnTo>
                  <a:pt x="765" y="1124"/>
                </a:lnTo>
                <a:lnTo>
                  <a:pt x="771" y="1118"/>
                </a:lnTo>
                <a:lnTo>
                  <a:pt x="779" y="1114"/>
                </a:lnTo>
                <a:lnTo>
                  <a:pt x="786" y="1116"/>
                </a:lnTo>
                <a:lnTo>
                  <a:pt x="792" y="1119"/>
                </a:lnTo>
                <a:lnTo>
                  <a:pt x="794" y="1119"/>
                </a:lnTo>
                <a:lnTo>
                  <a:pt x="797" y="1118"/>
                </a:lnTo>
                <a:lnTo>
                  <a:pt x="794" y="1119"/>
                </a:lnTo>
                <a:lnTo>
                  <a:pt x="792" y="1119"/>
                </a:lnTo>
                <a:close/>
                <a:moveTo>
                  <a:pt x="768" y="1138"/>
                </a:moveTo>
                <a:lnTo>
                  <a:pt x="762" y="1142"/>
                </a:lnTo>
                <a:lnTo>
                  <a:pt x="756" y="1146"/>
                </a:lnTo>
                <a:lnTo>
                  <a:pt x="753" y="1147"/>
                </a:lnTo>
                <a:lnTo>
                  <a:pt x="751" y="1146"/>
                </a:lnTo>
                <a:lnTo>
                  <a:pt x="751" y="1144"/>
                </a:lnTo>
                <a:lnTo>
                  <a:pt x="752" y="1142"/>
                </a:lnTo>
                <a:lnTo>
                  <a:pt x="759" y="1140"/>
                </a:lnTo>
                <a:lnTo>
                  <a:pt x="760" y="1134"/>
                </a:lnTo>
                <a:lnTo>
                  <a:pt x="755" y="1134"/>
                </a:lnTo>
                <a:lnTo>
                  <a:pt x="749" y="1138"/>
                </a:lnTo>
                <a:lnTo>
                  <a:pt x="748" y="1138"/>
                </a:lnTo>
                <a:lnTo>
                  <a:pt x="748" y="1139"/>
                </a:lnTo>
                <a:lnTo>
                  <a:pt x="746" y="1138"/>
                </a:lnTo>
                <a:lnTo>
                  <a:pt x="745" y="1138"/>
                </a:lnTo>
                <a:lnTo>
                  <a:pt x="751" y="1132"/>
                </a:lnTo>
                <a:lnTo>
                  <a:pt x="758" y="1130"/>
                </a:lnTo>
                <a:lnTo>
                  <a:pt x="764" y="1132"/>
                </a:lnTo>
                <a:lnTo>
                  <a:pt x="768" y="1138"/>
                </a:lnTo>
                <a:lnTo>
                  <a:pt x="771" y="1137"/>
                </a:lnTo>
                <a:lnTo>
                  <a:pt x="775" y="1137"/>
                </a:lnTo>
                <a:lnTo>
                  <a:pt x="771" y="1137"/>
                </a:lnTo>
                <a:lnTo>
                  <a:pt x="768" y="1138"/>
                </a:lnTo>
                <a:close/>
                <a:moveTo>
                  <a:pt x="734" y="1146"/>
                </a:moveTo>
                <a:lnTo>
                  <a:pt x="729" y="1149"/>
                </a:lnTo>
                <a:lnTo>
                  <a:pt x="724" y="1152"/>
                </a:lnTo>
                <a:lnTo>
                  <a:pt x="722" y="1154"/>
                </a:lnTo>
                <a:lnTo>
                  <a:pt x="723" y="1156"/>
                </a:lnTo>
                <a:lnTo>
                  <a:pt x="725" y="1158"/>
                </a:lnTo>
                <a:lnTo>
                  <a:pt x="728" y="1158"/>
                </a:lnTo>
                <a:lnTo>
                  <a:pt x="734" y="1154"/>
                </a:lnTo>
                <a:lnTo>
                  <a:pt x="742" y="1153"/>
                </a:lnTo>
                <a:lnTo>
                  <a:pt x="732" y="1159"/>
                </a:lnTo>
                <a:lnTo>
                  <a:pt x="723" y="1162"/>
                </a:lnTo>
                <a:lnTo>
                  <a:pt x="723" y="1165"/>
                </a:lnTo>
                <a:lnTo>
                  <a:pt x="722" y="1166"/>
                </a:lnTo>
                <a:lnTo>
                  <a:pt x="723" y="1165"/>
                </a:lnTo>
                <a:lnTo>
                  <a:pt x="723" y="1162"/>
                </a:lnTo>
                <a:lnTo>
                  <a:pt x="718" y="1158"/>
                </a:lnTo>
                <a:lnTo>
                  <a:pt x="716" y="1152"/>
                </a:lnTo>
                <a:lnTo>
                  <a:pt x="724" y="1147"/>
                </a:lnTo>
                <a:lnTo>
                  <a:pt x="735" y="1145"/>
                </a:lnTo>
                <a:lnTo>
                  <a:pt x="734" y="1145"/>
                </a:lnTo>
                <a:lnTo>
                  <a:pt x="734" y="1146"/>
                </a:lnTo>
                <a:lnTo>
                  <a:pt x="734" y="1146"/>
                </a:lnTo>
                <a:lnTo>
                  <a:pt x="734" y="1146"/>
                </a:lnTo>
                <a:lnTo>
                  <a:pt x="741" y="1147"/>
                </a:lnTo>
                <a:lnTo>
                  <a:pt x="745" y="1147"/>
                </a:lnTo>
                <a:lnTo>
                  <a:pt x="741" y="1147"/>
                </a:lnTo>
                <a:lnTo>
                  <a:pt x="734" y="1146"/>
                </a:lnTo>
                <a:close/>
                <a:moveTo>
                  <a:pt x="700" y="1175"/>
                </a:moveTo>
                <a:lnTo>
                  <a:pt x="699" y="1176"/>
                </a:lnTo>
                <a:lnTo>
                  <a:pt x="699" y="1176"/>
                </a:lnTo>
                <a:lnTo>
                  <a:pt x="699" y="1176"/>
                </a:lnTo>
                <a:lnTo>
                  <a:pt x="700" y="1175"/>
                </a:lnTo>
                <a:lnTo>
                  <a:pt x="694" y="1172"/>
                </a:lnTo>
                <a:lnTo>
                  <a:pt x="690" y="1165"/>
                </a:lnTo>
                <a:lnTo>
                  <a:pt x="700" y="1160"/>
                </a:lnTo>
                <a:lnTo>
                  <a:pt x="709" y="1156"/>
                </a:lnTo>
                <a:lnTo>
                  <a:pt x="714" y="1161"/>
                </a:lnTo>
                <a:lnTo>
                  <a:pt x="716" y="1167"/>
                </a:lnTo>
                <a:lnTo>
                  <a:pt x="708" y="1172"/>
                </a:lnTo>
                <a:lnTo>
                  <a:pt x="700" y="1175"/>
                </a:lnTo>
                <a:close/>
                <a:moveTo>
                  <a:pt x="668" y="1188"/>
                </a:moveTo>
                <a:lnTo>
                  <a:pt x="667" y="1189"/>
                </a:lnTo>
                <a:lnTo>
                  <a:pt x="665" y="1190"/>
                </a:lnTo>
                <a:lnTo>
                  <a:pt x="667" y="1189"/>
                </a:lnTo>
                <a:lnTo>
                  <a:pt x="668" y="1188"/>
                </a:lnTo>
                <a:lnTo>
                  <a:pt x="665" y="1182"/>
                </a:lnTo>
                <a:lnTo>
                  <a:pt x="663" y="1175"/>
                </a:lnTo>
                <a:lnTo>
                  <a:pt x="663" y="1175"/>
                </a:lnTo>
                <a:lnTo>
                  <a:pt x="673" y="1172"/>
                </a:lnTo>
                <a:lnTo>
                  <a:pt x="683" y="1168"/>
                </a:lnTo>
                <a:lnTo>
                  <a:pt x="687" y="1173"/>
                </a:lnTo>
                <a:lnTo>
                  <a:pt x="689" y="1179"/>
                </a:lnTo>
                <a:lnTo>
                  <a:pt x="679" y="1183"/>
                </a:lnTo>
                <a:lnTo>
                  <a:pt x="668" y="1188"/>
                </a:lnTo>
                <a:lnTo>
                  <a:pt x="668" y="1188"/>
                </a:lnTo>
                <a:close/>
                <a:moveTo>
                  <a:pt x="656" y="1172"/>
                </a:moveTo>
                <a:lnTo>
                  <a:pt x="646" y="1176"/>
                </a:lnTo>
                <a:lnTo>
                  <a:pt x="634" y="1179"/>
                </a:lnTo>
                <a:lnTo>
                  <a:pt x="631" y="1179"/>
                </a:lnTo>
                <a:lnTo>
                  <a:pt x="630" y="1182"/>
                </a:lnTo>
                <a:lnTo>
                  <a:pt x="630" y="1184"/>
                </a:lnTo>
                <a:lnTo>
                  <a:pt x="630" y="1187"/>
                </a:lnTo>
                <a:lnTo>
                  <a:pt x="631" y="1194"/>
                </a:lnTo>
                <a:lnTo>
                  <a:pt x="628" y="1201"/>
                </a:lnTo>
                <a:lnTo>
                  <a:pt x="620" y="1203"/>
                </a:lnTo>
                <a:lnTo>
                  <a:pt x="612" y="1204"/>
                </a:lnTo>
                <a:lnTo>
                  <a:pt x="615" y="1200"/>
                </a:lnTo>
                <a:lnTo>
                  <a:pt x="620" y="1200"/>
                </a:lnTo>
                <a:lnTo>
                  <a:pt x="625" y="1198"/>
                </a:lnTo>
                <a:lnTo>
                  <a:pt x="626" y="1195"/>
                </a:lnTo>
                <a:lnTo>
                  <a:pt x="624" y="1191"/>
                </a:lnTo>
                <a:lnTo>
                  <a:pt x="619" y="1193"/>
                </a:lnTo>
                <a:lnTo>
                  <a:pt x="615" y="1194"/>
                </a:lnTo>
                <a:lnTo>
                  <a:pt x="611" y="1194"/>
                </a:lnTo>
                <a:lnTo>
                  <a:pt x="610" y="1198"/>
                </a:lnTo>
                <a:lnTo>
                  <a:pt x="606" y="1202"/>
                </a:lnTo>
                <a:lnTo>
                  <a:pt x="610" y="1198"/>
                </a:lnTo>
                <a:lnTo>
                  <a:pt x="611" y="1194"/>
                </a:lnTo>
                <a:lnTo>
                  <a:pt x="611" y="1193"/>
                </a:lnTo>
                <a:lnTo>
                  <a:pt x="611" y="1193"/>
                </a:lnTo>
                <a:lnTo>
                  <a:pt x="620" y="1189"/>
                </a:lnTo>
                <a:lnTo>
                  <a:pt x="630" y="1187"/>
                </a:lnTo>
                <a:lnTo>
                  <a:pt x="630" y="1184"/>
                </a:lnTo>
                <a:lnTo>
                  <a:pt x="630" y="1182"/>
                </a:lnTo>
                <a:lnTo>
                  <a:pt x="624" y="1183"/>
                </a:lnTo>
                <a:lnTo>
                  <a:pt x="619" y="1184"/>
                </a:lnTo>
                <a:lnTo>
                  <a:pt x="617" y="1184"/>
                </a:lnTo>
                <a:lnTo>
                  <a:pt x="614" y="1182"/>
                </a:lnTo>
                <a:lnTo>
                  <a:pt x="615" y="1180"/>
                </a:lnTo>
                <a:lnTo>
                  <a:pt x="618" y="1179"/>
                </a:lnTo>
                <a:lnTo>
                  <a:pt x="634" y="1174"/>
                </a:lnTo>
                <a:lnTo>
                  <a:pt x="649" y="1169"/>
                </a:lnTo>
                <a:lnTo>
                  <a:pt x="683" y="1156"/>
                </a:lnTo>
                <a:lnTo>
                  <a:pt x="716" y="1141"/>
                </a:lnTo>
                <a:lnTo>
                  <a:pt x="720" y="1139"/>
                </a:lnTo>
                <a:lnTo>
                  <a:pt x="723" y="1140"/>
                </a:lnTo>
                <a:lnTo>
                  <a:pt x="722" y="1144"/>
                </a:lnTo>
                <a:lnTo>
                  <a:pt x="718" y="1146"/>
                </a:lnTo>
                <a:lnTo>
                  <a:pt x="716" y="1147"/>
                </a:lnTo>
                <a:lnTo>
                  <a:pt x="713" y="1148"/>
                </a:lnTo>
                <a:lnTo>
                  <a:pt x="708" y="1148"/>
                </a:lnTo>
                <a:lnTo>
                  <a:pt x="706" y="1152"/>
                </a:lnTo>
                <a:lnTo>
                  <a:pt x="696" y="1155"/>
                </a:lnTo>
                <a:lnTo>
                  <a:pt x="687" y="1160"/>
                </a:lnTo>
                <a:lnTo>
                  <a:pt x="682" y="1160"/>
                </a:lnTo>
                <a:lnTo>
                  <a:pt x="680" y="1163"/>
                </a:lnTo>
                <a:lnTo>
                  <a:pt x="670" y="1167"/>
                </a:lnTo>
                <a:lnTo>
                  <a:pt x="660" y="1172"/>
                </a:lnTo>
                <a:lnTo>
                  <a:pt x="658" y="1169"/>
                </a:lnTo>
                <a:lnTo>
                  <a:pt x="656" y="1172"/>
                </a:lnTo>
                <a:lnTo>
                  <a:pt x="656" y="1172"/>
                </a:lnTo>
                <a:close/>
                <a:moveTo>
                  <a:pt x="660" y="1190"/>
                </a:moveTo>
                <a:lnTo>
                  <a:pt x="649" y="1195"/>
                </a:lnTo>
                <a:lnTo>
                  <a:pt x="638" y="1197"/>
                </a:lnTo>
                <a:lnTo>
                  <a:pt x="635" y="1200"/>
                </a:lnTo>
                <a:lnTo>
                  <a:pt x="632" y="1201"/>
                </a:lnTo>
                <a:lnTo>
                  <a:pt x="635" y="1200"/>
                </a:lnTo>
                <a:lnTo>
                  <a:pt x="638" y="1197"/>
                </a:lnTo>
                <a:lnTo>
                  <a:pt x="638" y="1190"/>
                </a:lnTo>
                <a:lnTo>
                  <a:pt x="637" y="1184"/>
                </a:lnTo>
                <a:lnTo>
                  <a:pt x="647" y="1181"/>
                </a:lnTo>
                <a:lnTo>
                  <a:pt x="658" y="1179"/>
                </a:lnTo>
                <a:lnTo>
                  <a:pt x="660" y="1184"/>
                </a:lnTo>
                <a:lnTo>
                  <a:pt x="660" y="1190"/>
                </a:lnTo>
                <a:close/>
                <a:moveTo>
                  <a:pt x="603" y="1180"/>
                </a:moveTo>
                <a:lnTo>
                  <a:pt x="604" y="1179"/>
                </a:lnTo>
                <a:lnTo>
                  <a:pt x="606" y="1177"/>
                </a:lnTo>
                <a:lnTo>
                  <a:pt x="604" y="1179"/>
                </a:lnTo>
                <a:lnTo>
                  <a:pt x="603" y="1180"/>
                </a:lnTo>
                <a:close/>
                <a:moveTo>
                  <a:pt x="730" y="1081"/>
                </a:moveTo>
                <a:lnTo>
                  <a:pt x="732" y="1075"/>
                </a:lnTo>
                <a:lnTo>
                  <a:pt x="736" y="1071"/>
                </a:lnTo>
                <a:lnTo>
                  <a:pt x="743" y="1064"/>
                </a:lnTo>
                <a:lnTo>
                  <a:pt x="750" y="1057"/>
                </a:lnTo>
                <a:lnTo>
                  <a:pt x="752" y="1055"/>
                </a:lnTo>
                <a:lnTo>
                  <a:pt x="755" y="1056"/>
                </a:lnTo>
                <a:lnTo>
                  <a:pt x="755" y="1057"/>
                </a:lnTo>
                <a:lnTo>
                  <a:pt x="755" y="1060"/>
                </a:lnTo>
                <a:lnTo>
                  <a:pt x="743" y="1071"/>
                </a:lnTo>
                <a:lnTo>
                  <a:pt x="730" y="1081"/>
                </a:lnTo>
                <a:close/>
                <a:moveTo>
                  <a:pt x="710" y="1102"/>
                </a:moveTo>
                <a:lnTo>
                  <a:pt x="715" y="1097"/>
                </a:lnTo>
                <a:lnTo>
                  <a:pt x="722" y="1092"/>
                </a:lnTo>
                <a:lnTo>
                  <a:pt x="741" y="1078"/>
                </a:lnTo>
                <a:lnTo>
                  <a:pt x="757" y="1062"/>
                </a:lnTo>
                <a:lnTo>
                  <a:pt x="760" y="1060"/>
                </a:lnTo>
                <a:lnTo>
                  <a:pt x="763" y="1063"/>
                </a:lnTo>
                <a:lnTo>
                  <a:pt x="764" y="1067"/>
                </a:lnTo>
                <a:lnTo>
                  <a:pt x="768" y="1067"/>
                </a:lnTo>
                <a:lnTo>
                  <a:pt x="782" y="1069"/>
                </a:lnTo>
                <a:lnTo>
                  <a:pt x="796" y="1070"/>
                </a:lnTo>
                <a:lnTo>
                  <a:pt x="799" y="1070"/>
                </a:lnTo>
                <a:lnTo>
                  <a:pt x="803" y="1070"/>
                </a:lnTo>
                <a:lnTo>
                  <a:pt x="799" y="1070"/>
                </a:lnTo>
                <a:lnTo>
                  <a:pt x="796" y="1070"/>
                </a:lnTo>
                <a:lnTo>
                  <a:pt x="789" y="1079"/>
                </a:lnTo>
                <a:lnTo>
                  <a:pt x="780" y="1086"/>
                </a:lnTo>
                <a:lnTo>
                  <a:pt x="766" y="1099"/>
                </a:lnTo>
                <a:lnTo>
                  <a:pt x="751" y="1111"/>
                </a:lnTo>
                <a:lnTo>
                  <a:pt x="749" y="1112"/>
                </a:lnTo>
                <a:lnTo>
                  <a:pt x="746" y="1113"/>
                </a:lnTo>
                <a:lnTo>
                  <a:pt x="734" y="1119"/>
                </a:lnTo>
                <a:lnTo>
                  <a:pt x="722" y="1113"/>
                </a:lnTo>
                <a:lnTo>
                  <a:pt x="715" y="1107"/>
                </a:lnTo>
                <a:lnTo>
                  <a:pt x="710" y="1102"/>
                </a:lnTo>
                <a:close/>
                <a:moveTo>
                  <a:pt x="700" y="1100"/>
                </a:moveTo>
                <a:lnTo>
                  <a:pt x="714" y="1090"/>
                </a:lnTo>
                <a:lnTo>
                  <a:pt x="730" y="1081"/>
                </a:lnTo>
                <a:lnTo>
                  <a:pt x="716" y="1092"/>
                </a:lnTo>
                <a:lnTo>
                  <a:pt x="700" y="1100"/>
                </a:lnTo>
                <a:close/>
                <a:moveTo>
                  <a:pt x="720" y="1123"/>
                </a:moveTo>
                <a:lnTo>
                  <a:pt x="718" y="1125"/>
                </a:lnTo>
                <a:lnTo>
                  <a:pt x="715" y="1125"/>
                </a:lnTo>
                <a:lnTo>
                  <a:pt x="708" y="1119"/>
                </a:lnTo>
                <a:lnTo>
                  <a:pt x="701" y="1112"/>
                </a:lnTo>
                <a:lnTo>
                  <a:pt x="711" y="1116"/>
                </a:lnTo>
                <a:lnTo>
                  <a:pt x="720" y="1123"/>
                </a:lnTo>
                <a:close/>
                <a:moveTo>
                  <a:pt x="815" y="1077"/>
                </a:moveTo>
                <a:lnTo>
                  <a:pt x="814" y="1077"/>
                </a:lnTo>
                <a:lnTo>
                  <a:pt x="813" y="1078"/>
                </a:lnTo>
                <a:lnTo>
                  <a:pt x="814" y="1077"/>
                </a:lnTo>
                <a:lnTo>
                  <a:pt x="815" y="1077"/>
                </a:lnTo>
                <a:close/>
                <a:moveTo>
                  <a:pt x="534" y="1142"/>
                </a:moveTo>
                <a:lnTo>
                  <a:pt x="535" y="1141"/>
                </a:lnTo>
                <a:lnTo>
                  <a:pt x="537" y="1141"/>
                </a:lnTo>
                <a:lnTo>
                  <a:pt x="551" y="1141"/>
                </a:lnTo>
                <a:lnTo>
                  <a:pt x="566" y="1141"/>
                </a:lnTo>
                <a:lnTo>
                  <a:pt x="566" y="1145"/>
                </a:lnTo>
                <a:lnTo>
                  <a:pt x="565" y="1146"/>
                </a:lnTo>
                <a:lnTo>
                  <a:pt x="550" y="1147"/>
                </a:lnTo>
                <a:lnTo>
                  <a:pt x="536" y="1146"/>
                </a:lnTo>
                <a:lnTo>
                  <a:pt x="534" y="1145"/>
                </a:lnTo>
                <a:lnTo>
                  <a:pt x="534" y="1142"/>
                </a:lnTo>
                <a:close/>
                <a:moveTo>
                  <a:pt x="598" y="1161"/>
                </a:moveTo>
                <a:lnTo>
                  <a:pt x="599" y="1156"/>
                </a:lnTo>
                <a:lnTo>
                  <a:pt x="605" y="1156"/>
                </a:lnTo>
                <a:lnTo>
                  <a:pt x="607" y="1154"/>
                </a:lnTo>
                <a:lnTo>
                  <a:pt x="608" y="1151"/>
                </a:lnTo>
                <a:lnTo>
                  <a:pt x="606" y="1149"/>
                </a:lnTo>
                <a:lnTo>
                  <a:pt x="604" y="1149"/>
                </a:lnTo>
                <a:lnTo>
                  <a:pt x="597" y="1151"/>
                </a:lnTo>
                <a:lnTo>
                  <a:pt x="593" y="1159"/>
                </a:lnTo>
                <a:lnTo>
                  <a:pt x="590" y="1174"/>
                </a:lnTo>
                <a:lnTo>
                  <a:pt x="575" y="1180"/>
                </a:lnTo>
                <a:lnTo>
                  <a:pt x="572" y="1181"/>
                </a:lnTo>
                <a:lnTo>
                  <a:pt x="570" y="1182"/>
                </a:lnTo>
                <a:lnTo>
                  <a:pt x="564" y="1182"/>
                </a:lnTo>
                <a:lnTo>
                  <a:pt x="559" y="1182"/>
                </a:lnTo>
                <a:lnTo>
                  <a:pt x="558" y="1182"/>
                </a:lnTo>
                <a:lnTo>
                  <a:pt x="557" y="1182"/>
                </a:lnTo>
                <a:lnTo>
                  <a:pt x="555" y="1186"/>
                </a:lnTo>
                <a:lnTo>
                  <a:pt x="550" y="1187"/>
                </a:lnTo>
                <a:lnTo>
                  <a:pt x="555" y="1186"/>
                </a:lnTo>
                <a:lnTo>
                  <a:pt x="557" y="1182"/>
                </a:lnTo>
                <a:lnTo>
                  <a:pt x="537" y="1183"/>
                </a:lnTo>
                <a:lnTo>
                  <a:pt x="518" y="1183"/>
                </a:lnTo>
                <a:lnTo>
                  <a:pt x="518" y="1176"/>
                </a:lnTo>
                <a:lnTo>
                  <a:pt x="523" y="1169"/>
                </a:lnTo>
                <a:lnTo>
                  <a:pt x="531" y="1161"/>
                </a:lnTo>
                <a:lnTo>
                  <a:pt x="537" y="1152"/>
                </a:lnTo>
                <a:lnTo>
                  <a:pt x="539" y="1151"/>
                </a:lnTo>
                <a:lnTo>
                  <a:pt x="542" y="1149"/>
                </a:lnTo>
                <a:lnTo>
                  <a:pt x="552" y="1149"/>
                </a:lnTo>
                <a:lnTo>
                  <a:pt x="564" y="1149"/>
                </a:lnTo>
                <a:lnTo>
                  <a:pt x="575" y="1148"/>
                </a:lnTo>
                <a:lnTo>
                  <a:pt x="585" y="1147"/>
                </a:lnTo>
                <a:lnTo>
                  <a:pt x="577" y="1144"/>
                </a:lnTo>
                <a:lnTo>
                  <a:pt x="570" y="1142"/>
                </a:lnTo>
                <a:lnTo>
                  <a:pt x="578" y="1141"/>
                </a:lnTo>
                <a:lnTo>
                  <a:pt x="585" y="1135"/>
                </a:lnTo>
                <a:lnTo>
                  <a:pt x="539" y="1137"/>
                </a:lnTo>
                <a:lnTo>
                  <a:pt x="497" y="1126"/>
                </a:lnTo>
                <a:lnTo>
                  <a:pt x="494" y="1126"/>
                </a:lnTo>
                <a:lnTo>
                  <a:pt x="490" y="1126"/>
                </a:lnTo>
                <a:lnTo>
                  <a:pt x="494" y="1130"/>
                </a:lnTo>
                <a:lnTo>
                  <a:pt x="496" y="1133"/>
                </a:lnTo>
                <a:lnTo>
                  <a:pt x="489" y="1133"/>
                </a:lnTo>
                <a:lnTo>
                  <a:pt x="482" y="1130"/>
                </a:lnTo>
                <a:lnTo>
                  <a:pt x="479" y="1128"/>
                </a:lnTo>
                <a:lnTo>
                  <a:pt x="475" y="1126"/>
                </a:lnTo>
                <a:lnTo>
                  <a:pt x="474" y="1125"/>
                </a:lnTo>
                <a:lnTo>
                  <a:pt x="473" y="1125"/>
                </a:lnTo>
                <a:lnTo>
                  <a:pt x="474" y="1125"/>
                </a:lnTo>
                <a:lnTo>
                  <a:pt x="475" y="1126"/>
                </a:lnTo>
                <a:lnTo>
                  <a:pt x="475" y="1120"/>
                </a:lnTo>
                <a:lnTo>
                  <a:pt x="481" y="1121"/>
                </a:lnTo>
                <a:lnTo>
                  <a:pt x="485" y="1125"/>
                </a:lnTo>
                <a:lnTo>
                  <a:pt x="490" y="1126"/>
                </a:lnTo>
                <a:lnTo>
                  <a:pt x="494" y="1126"/>
                </a:lnTo>
                <a:lnTo>
                  <a:pt x="497" y="1126"/>
                </a:lnTo>
                <a:lnTo>
                  <a:pt x="495" y="1124"/>
                </a:lnTo>
                <a:lnTo>
                  <a:pt x="492" y="1121"/>
                </a:lnTo>
                <a:lnTo>
                  <a:pt x="476" y="1109"/>
                </a:lnTo>
                <a:lnTo>
                  <a:pt x="467" y="1089"/>
                </a:lnTo>
                <a:lnTo>
                  <a:pt x="467" y="1088"/>
                </a:lnTo>
                <a:lnTo>
                  <a:pt x="466" y="1086"/>
                </a:lnTo>
                <a:lnTo>
                  <a:pt x="466" y="1086"/>
                </a:lnTo>
                <a:lnTo>
                  <a:pt x="466" y="1085"/>
                </a:lnTo>
                <a:lnTo>
                  <a:pt x="466" y="1083"/>
                </a:lnTo>
                <a:lnTo>
                  <a:pt x="466" y="1081"/>
                </a:lnTo>
                <a:lnTo>
                  <a:pt x="466" y="1078"/>
                </a:lnTo>
                <a:lnTo>
                  <a:pt x="466" y="1077"/>
                </a:lnTo>
                <a:lnTo>
                  <a:pt x="472" y="1053"/>
                </a:lnTo>
                <a:lnTo>
                  <a:pt x="483" y="1032"/>
                </a:lnTo>
                <a:lnTo>
                  <a:pt x="511" y="1000"/>
                </a:lnTo>
                <a:lnTo>
                  <a:pt x="547" y="978"/>
                </a:lnTo>
                <a:lnTo>
                  <a:pt x="551" y="977"/>
                </a:lnTo>
                <a:lnTo>
                  <a:pt x="554" y="979"/>
                </a:lnTo>
                <a:lnTo>
                  <a:pt x="556" y="984"/>
                </a:lnTo>
                <a:lnTo>
                  <a:pt x="556" y="988"/>
                </a:lnTo>
                <a:lnTo>
                  <a:pt x="555" y="991"/>
                </a:lnTo>
                <a:lnTo>
                  <a:pt x="552" y="992"/>
                </a:lnTo>
                <a:lnTo>
                  <a:pt x="550" y="999"/>
                </a:lnTo>
                <a:lnTo>
                  <a:pt x="554" y="1005"/>
                </a:lnTo>
                <a:lnTo>
                  <a:pt x="559" y="1008"/>
                </a:lnTo>
                <a:lnTo>
                  <a:pt x="566" y="1006"/>
                </a:lnTo>
                <a:lnTo>
                  <a:pt x="573" y="1005"/>
                </a:lnTo>
                <a:lnTo>
                  <a:pt x="579" y="1011"/>
                </a:lnTo>
                <a:lnTo>
                  <a:pt x="582" y="1019"/>
                </a:lnTo>
                <a:lnTo>
                  <a:pt x="584" y="1027"/>
                </a:lnTo>
                <a:lnTo>
                  <a:pt x="585" y="1028"/>
                </a:lnTo>
                <a:lnTo>
                  <a:pt x="587" y="1029"/>
                </a:lnTo>
                <a:lnTo>
                  <a:pt x="591" y="1027"/>
                </a:lnTo>
                <a:lnTo>
                  <a:pt x="593" y="1029"/>
                </a:lnTo>
                <a:lnTo>
                  <a:pt x="593" y="1033"/>
                </a:lnTo>
                <a:lnTo>
                  <a:pt x="591" y="1037"/>
                </a:lnTo>
                <a:lnTo>
                  <a:pt x="577" y="1048"/>
                </a:lnTo>
                <a:lnTo>
                  <a:pt x="561" y="1055"/>
                </a:lnTo>
                <a:lnTo>
                  <a:pt x="557" y="1056"/>
                </a:lnTo>
                <a:lnTo>
                  <a:pt x="554" y="1057"/>
                </a:lnTo>
                <a:lnTo>
                  <a:pt x="550" y="1060"/>
                </a:lnTo>
                <a:lnTo>
                  <a:pt x="552" y="1063"/>
                </a:lnTo>
                <a:lnTo>
                  <a:pt x="556" y="1069"/>
                </a:lnTo>
                <a:lnTo>
                  <a:pt x="554" y="1075"/>
                </a:lnTo>
                <a:lnTo>
                  <a:pt x="556" y="1075"/>
                </a:lnTo>
                <a:lnTo>
                  <a:pt x="559" y="1075"/>
                </a:lnTo>
                <a:lnTo>
                  <a:pt x="562" y="1072"/>
                </a:lnTo>
                <a:lnTo>
                  <a:pt x="564" y="1071"/>
                </a:lnTo>
                <a:lnTo>
                  <a:pt x="562" y="1072"/>
                </a:lnTo>
                <a:lnTo>
                  <a:pt x="559" y="1075"/>
                </a:lnTo>
                <a:lnTo>
                  <a:pt x="565" y="1081"/>
                </a:lnTo>
                <a:lnTo>
                  <a:pt x="571" y="1085"/>
                </a:lnTo>
                <a:lnTo>
                  <a:pt x="572" y="1085"/>
                </a:lnTo>
                <a:lnTo>
                  <a:pt x="572" y="1086"/>
                </a:lnTo>
                <a:lnTo>
                  <a:pt x="570" y="1089"/>
                </a:lnTo>
                <a:lnTo>
                  <a:pt x="572" y="1091"/>
                </a:lnTo>
                <a:lnTo>
                  <a:pt x="575" y="1091"/>
                </a:lnTo>
                <a:lnTo>
                  <a:pt x="577" y="1091"/>
                </a:lnTo>
                <a:lnTo>
                  <a:pt x="589" y="1082"/>
                </a:lnTo>
                <a:lnTo>
                  <a:pt x="600" y="1074"/>
                </a:lnTo>
                <a:lnTo>
                  <a:pt x="608" y="1065"/>
                </a:lnTo>
                <a:lnTo>
                  <a:pt x="619" y="1062"/>
                </a:lnTo>
                <a:lnTo>
                  <a:pt x="624" y="1068"/>
                </a:lnTo>
                <a:lnTo>
                  <a:pt x="630" y="1069"/>
                </a:lnTo>
                <a:lnTo>
                  <a:pt x="646" y="1064"/>
                </a:lnTo>
                <a:lnTo>
                  <a:pt x="655" y="1050"/>
                </a:lnTo>
                <a:lnTo>
                  <a:pt x="653" y="1043"/>
                </a:lnTo>
                <a:lnTo>
                  <a:pt x="645" y="1040"/>
                </a:lnTo>
                <a:lnTo>
                  <a:pt x="645" y="1040"/>
                </a:lnTo>
                <a:lnTo>
                  <a:pt x="642" y="1039"/>
                </a:lnTo>
                <a:lnTo>
                  <a:pt x="640" y="1039"/>
                </a:lnTo>
                <a:lnTo>
                  <a:pt x="641" y="1035"/>
                </a:lnTo>
                <a:lnTo>
                  <a:pt x="642" y="1032"/>
                </a:lnTo>
                <a:lnTo>
                  <a:pt x="646" y="1032"/>
                </a:lnTo>
                <a:lnTo>
                  <a:pt x="648" y="1029"/>
                </a:lnTo>
                <a:lnTo>
                  <a:pt x="651" y="1023"/>
                </a:lnTo>
                <a:lnTo>
                  <a:pt x="655" y="1020"/>
                </a:lnTo>
                <a:lnTo>
                  <a:pt x="658" y="1020"/>
                </a:lnTo>
                <a:lnTo>
                  <a:pt x="660" y="1018"/>
                </a:lnTo>
                <a:lnTo>
                  <a:pt x="663" y="1009"/>
                </a:lnTo>
                <a:lnTo>
                  <a:pt x="672" y="1005"/>
                </a:lnTo>
                <a:lnTo>
                  <a:pt x="675" y="1004"/>
                </a:lnTo>
                <a:lnTo>
                  <a:pt x="676" y="1000"/>
                </a:lnTo>
                <a:lnTo>
                  <a:pt x="673" y="999"/>
                </a:lnTo>
                <a:lnTo>
                  <a:pt x="669" y="999"/>
                </a:lnTo>
                <a:lnTo>
                  <a:pt x="665" y="1001"/>
                </a:lnTo>
                <a:lnTo>
                  <a:pt x="659" y="999"/>
                </a:lnTo>
                <a:lnTo>
                  <a:pt x="669" y="988"/>
                </a:lnTo>
                <a:lnTo>
                  <a:pt x="682" y="980"/>
                </a:lnTo>
                <a:lnTo>
                  <a:pt x="686" y="981"/>
                </a:lnTo>
                <a:lnTo>
                  <a:pt x="688" y="985"/>
                </a:lnTo>
                <a:lnTo>
                  <a:pt x="689" y="988"/>
                </a:lnTo>
                <a:lnTo>
                  <a:pt x="692" y="987"/>
                </a:lnTo>
                <a:lnTo>
                  <a:pt x="697" y="984"/>
                </a:lnTo>
                <a:lnTo>
                  <a:pt x="700" y="979"/>
                </a:lnTo>
                <a:lnTo>
                  <a:pt x="699" y="974"/>
                </a:lnTo>
                <a:lnTo>
                  <a:pt x="702" y="974"/>
                </a:lnTo>
                <a:lnTo>
                  <a:pt x="710" y="973"/>
                </a:lnTo>
                <a:lnTo>
                  <a:pt x="717" y="967"/>
                </a:lnTo>
                <a:lnTo>
                  <a:pt x="706" y="969"/>
                </a:lnTo>
                <a:lnTo>
                  <a:pt x="695" y="972"/>
                </a:lnTo>
                <a:lnTo>
                  <a:pt x="690" y="976"/>
                </a:lnTo>
                <a:lnTo>
                  <a:pt x="686" y="976"/>
                </a:lnTo>
                <a:lnTo>
                  <a:pt x="700" y="963"/>
                </a:lnTo>
                <a:lnTo>
                  <a:pt x="716" y="953"/>
                </a:lnTo>
                <a:lnTo>
                  <a:pt x="718" y="949"/>
                </a:lnTo>
                <a:lnTo>
                  <a:pt x="720" y="946"/>
                </a:lnTo>
                <a:lnTo>
                  <a:pt x="718" y="949"/>
                </a:lnTo>
                <a:lnTo>
                  <a:pt x="716" y="953"/>
                </a:lnTo>
                <a:lnTo>
                  <a:pt x="722" y="955"/>
                </a:lnTo>
                <a:lnTo>
                  <a:pt x="723" y="962"/>
                </a:lnTo>
                <a:lnTo>
                  <a:pt x="732" y="956"/>
                </a:lnTo>
                <a:lnTo>
                  <a:pt x="741" y="951"/>
                </a:lnTo>
                <a:lnTo>
                  <a:pt x="746" y="955"/>
                </a:lnTo>
                <a:lnTo>
                  <a:pt x="751" y="958"/>
                </a:lnTo>
                <a:lnTo>
                  <a:pt x="753" y="956"/>
                </a:lnTo>
                <a:lnTo>
                  <a:pt x="752" y="952"/>
                </a:lnTo>
                <a:lnTo>
                  <a:pt x="748" y="949"/>
                </a:lnTo>
                <a:lnTo>
                  <a:pt x="742" y="944"/>
                </a:lnTo>
                <a:lnTo>
                  <a:pt x="751" y="943"/>
                </a:lnTo>
                <a:lnTo>
                  <a:pt x="757" y="948"/>
                </a:lnTo>
                <a:lnTo>
                  <a:pt x="757" y="951"/>
                </a:lnTo>
                <a:lnTo>
                  <a:pt x="752" y="952"/>
                </a:lnTo>
                <a:lnTo>
                  <a:pt x="753" y="956"/>
                </a:lnTo>
                <a:lnTo>
                  <a:pt x="751" y="958"/>
                </a:lnTo>
                <a:lnTo>
                  <a:pt x="766" y="976"/>
                </a:lnTo>
                <a:lnTo>
                  <a:pt x="772" y="998"/>
                </a:lnTo>
                <a:lnTo>
                  <a:pt x="773" y="1002"/>
                </a:lnTo>
                <a:lnTo>
                  <a:pt x="778" y="1005"/>
                </a:lnTo>
                <a:lnTo>
                  <a:pt x="776" y="992"/>
                </a:lnTo>
                <a:lnTo>
                  <a:pt x="776" y="980"/>
                </a:lnTo>
                <a:lnTo>
                  <a:pt x="775" y="977"/>
                </a:lnTo>
                <a:lnTo>
                  <a:pt x="777" y="973"/>
                </a:lnTo>
                <a:lnTo>
                  <a:pt x="780" y="974"/>
                </a:lnTo>
                <a:lnTo>
                  <a:pt x="783" y="978"/>
                </a:lnTo>
                <a:lnTo>
                  <a:pt x="784" y="984"/>
                </a:lnTo>
                <a:lnTo>
                  <a:pt x="789" y="987"/>
                </a:lnTo>
                <a:lnTo>
                  <a:pt x="793" y="992"/>
                </a:lnTo>
                <a:lnTo>
                  <a:pt x="789" y="998"/>
                </a:lnTo>
                <a:lnTo>
                  <a:pt x="786" y="1000"/>
                </a:lnTo>
                <a:lnTo>
                  <a:pt x="786" y="1004"/>
                </a:lnTo>
                <a:lnTo>
                  <a:pt x="790" y="1004"/>
                </a:lnTo>
                <a:lnTo>
                  <a:pt x="793" y="1002"/>
                </a:lnTo>
                <a:lnTo>
                  <a:pt x="794" y="1000"/>
                </a:lnTo>
                <a:lnTo>
                  <a:pt x="798" y="1000"/>
                </a:lnTo>
                <a:lnTo>
                  <a:pt x="801" y="1001"/>
                </a:lnTo>
                <a:lnTo>
                  <a:pt x="804" y="999"/>
                </a:lnTo>
                <a:lnTo>
                  <a:pt x="804" y="997"/>
                </a:lnTo>
                <a:lnTo>
                  <a:pt x="801" y="994"/>
                </a:lnTo>
                <a:lnTo>
                  <a:pt x="798" y="988"/>
                </a:lnTo>
                <a:lnTo>
                  <a:pt x="793" y="985"/>
                </a:lnTo>
                <a:lnTo>
                  <a:pt x="790" y="984"/>
                </a:lnTo>
                <a:lnTo>
                  <a:pt x="789" y="981"/>
                </a:lnTo>
                <a:lnTo>
                  <a:pt x="784" y="967"/>
                </a:lnTo>
                <a:lnTo>
                  <a:pt x="776" y="956"/>
                </a:lnTo>
                <a:lnTo>
                  <a:pt x="775" y="952"/>
                </a:lnTo>
                <a:lnTo>
                  <a:pt x="776" y="951"/>
                </a:lnTo>
                <a:lnTo>
                  <a:pt x="790" y="943"/>
                </a:lnTo>
                <a:lnTo>
                  <a:pt x="803" y="935"/>
                </a:lnTo>
                <a:lnTo>
                  <a:pt x="808" y="932"/>
                </a:lnTo>
                <a:lnTo>
                  <a:pt x="813" y="928"/>
                </a:lnTo>
                <a:lnTo>
                  <a:pt x="815" y="928"/>
                </a:lnTo>
                <a:lnTo>
                  <a:pt x="818" y="928"/>
                </a:lnTo>
                <a:lnTo>
                  <a:pt x="833" y="946"/>
                </a:lnTo>
                <a:lnTo>
                  <a:pt x="840" y="969"/>
                </a:lnTo>
                <a:lnTo>
                  <a:pt x="838" y="973"/>
                </a:lnTo>
                <a:lnTo>
                  <a:pt x="833" y="974"/>
                </a:lnTo>
                <a:lnTo>
                  <a:pt x="824" y="977"/>
                </a:lnTo>
                <a:lnTo>
                  <a:pt x="813" y="980"/>
                </a:lnTo>
                <a:lnTo>
                  <a:pt x="814" y="981"/>
                </a:lnTo>
                <a:lnTo>
                  <a:pt x="815" y="983"/>
                </a:lnTo>
                <a:lnTo>
                  <a:pt x="819" y="987"/>
                </a:lnTo>
                <a:lnTo>
                  <a:pt x="819" y="991"/>
                </a:lnTo>
                <a:lnTo>
                  <a:pt x="815" y="991"/>
                </a:lnTo>
                <a:lnTo>
                  <a:pt x="812" y="986"/>
                </a:lnTo>
                <a:lnTo>
                  <a:pt x="806" y="983"/>
                </a:lnTo>
                <a:lnTo>
                  <a:pt x="800" y="984"/>
                </a:lnTo>
                <a:lnTo>
                  <a:pt x="805" y="991"/>
                </a:lnTo>
                <a:lnTo>
                  <a:pt x="810" y="997"/>
                </a:lnTo>
                <a:lnTo>
                  <a:pt x="811" y="998"/>
                </a:lnTo>
                <a:lnTo>
                  <a:pt x="813" y="998"/>
                </a:lnTo>
                <a:lnTo>
                  <a:pt x="826" y="994"/>
                </a:lnTo>
                <a:lnTo>
                  <a:pt x="839" y="991"/>
                </a:lnTo>
                <a:lnTo>
                  <a:pt x="838" y="1002"/>
                </a:lnTo>
                <a:lnTo>
                  <a:pt x="834" y="1014"/>
                </a:lnTo>
                <a:lnTo>
                  <a:pt x="828" y="1019"/>
                </a:lnTo>
                <a:lnTo>
                  <a:pt x="811" y="1020"/>
                </a:lnTo>
                <a:lnTo>
                  <a:pt x="818" y="1021"/>
                </a:lnTo>
                <a:lnTo>
                  <a:pt x="825" y="1020"/>
                </a:lnTo>
                <a:lnTo>
                  <a:pt x="829" y="1021"/>
                </a:lnTo>
                <a:lnTo>
                  <a:pt x="828" y="1026"/>
                </a:lnTo>
                <a:lnTo>
                  <a:pt x="824" y="1035"/>
                </a:lnTo>
                <a:lnTo>
                  <a:pt x="818" y="1044"/>
                </a:lnTo>
                <a:lnTo>
                  <a:pt x="814" y="1046"/>
                </a:lnTo>
                <a:lnTo>
                  <a:pt x="811" y="1046"/>
                </a:lnTo>
                <a:lnTo>
                  <a:pt x="808" y="1046"/>
                </a:lnTo>
                <a:lnTo>
                  <a:pt x="805" y="1046"/>
                </a:lnTo>
                <a:lnTo>
                  <a:pt x="803" y="1046"/>
                </a:lnTo>
                <a:lnTo>
                  <a:pt x="801" y="1044"/>
                </a:lnTo>
                <a:lnTo>
                  <a:pt x="787" y="1044"/>
                </a:lnTo>
                <a:lnTo>
                  <a:pt x="775" y="1041"/>
                </a:lnTo>
                <a:lnTo>
                  <a:pt x="777" y="1033"/>
                </a:lnTo>
                <a:lnTo>
                  <a:pt x="782" y="1026"/>
                </a:lnTo>
                <a:lnTo>
                  <a:pt x="783" y="1023"/>
                </a:lnTo>
                <a:lnTo>
                  <a:pt x="782" y="1020"/>
                </a:lnTo>
                <a:lnTo>
                  <a:pt x="779" y="1021"/>
                </a:lnTo>
                <a:lnTo>
                  <a:pt x="777" y="1025"/>
                </a:lnTo>
                <a:lnTo>
                  <a:pt x="772" y="1035"/>
                </a:lnTo>
                <a:lnTo>
                  <a:pt x="765" y="1046"/>
                </a:lnTo>
                <a:lnTo>
                  <a:pt x="763" y="1049"/>
                </a:lnTo>
                <a:lnTo>
                  <a:pt x="759" y="1049"/>
                </a:lnTo>
                <a:lnTo>
                  <a:pt x="758" y="1046"/>
                </a:lnTo>
                <a:lnTo>
                  <a:pt x="760" y="1043"/>
                </a:lnTo>
                <a:lnTo>
                  <a:pt x="764" y="1037"/>
                </a:lnTo>
                <a:lnTo>
                  <a:pt x="766" y="1033"/>
                </a:lnTo>
                <a:lnTo>
                  <a:pt x="769" y="1029"/>
                </a:lnTo>
                <a:lnTo>
                  <a:pt x="766" y="1027"/>
                </a:lnTo>
                <a:lnTo>
                  <a:pt x="764" y="1028"/>
                </a:lnTo>
                <a:lnTo>
                  <a:pt x="763" y="1030"/>
                </a:lnTo>
                <a:lnTo>
                  <a:pt x="739" y="1062"/>
                </a:lnTo>
                <a:lnTo>
                  <a:pt x="710" y="1086"/>
                </a:lnTo>
                <a:lnTo>
                  <a:pt x="690" y="1099"/>
                </a:lnTo>
                <a:lnTo>
                  <a:pt x="668" y="1111"/>
                </a:lnTo>
                <a:lnTo>
                  <a:pt x="666" y="1112"/>
                </a:lnTo>
                <a:lnTo>
                  <a:pt x="666" y="1114"/>
                </a:lnTo>
                <a:lnTo>
                  <a:pt x="668" y="1116"/>
                </a:lnTo>
                <a:lnTo>
                  <a:pt x="670" y="1114"/>
                </a:lnTo>
                <a:lnTo>
                  <a:pt x="680" y="1110"/>
                </a:lnTo>
                <a:lnTo>
                  <a:pt x="689" y="1107"/>
                </a:lnTo>
                <a:lnTo>
                  <a:pt x="675" y="1116"/>
                </a:lnTo>
                <a:lnTo>
                  <a:pt x="660" y="1121"/>
                </a:lnTo>
                <a:lnTo>
                  <a:pt x="658" y="1123"/>
                </a:lnTo>
                <a:lnTo>
                  <a:pt x="655" y="1123"/>
                </a:lnTo>
                <a:lnTo>
                  <a:pt x="656" y="1120"/>
                </a:lnTo>
                <a:lnTo>
                  <a:pt x="659" y="1120"/>
                </a:lnTo>
                <a:lnTo>
                  <a:pt x="660" y="1118"/>
                </a:lnTo>
                <a:lnTo>
                  <a:pt x="660" y="1117"/>
                </a:lnTo>
                <a:lnTo>
                  <a:pt x="656" y="1116"/>
                </a:lnTo>
                <a:lnTo>
                  <a:pt x="654" y="1117"/>
                </a:lnTo>
                <a:lnTo>
                  <a:pt x="651" y="1121"/>
                </a:lnTo>
                <a:lnTo>
                  <a:pt x="651" y="1126"/>
                </a:lnTo>
                <a:lnTo>
                  <a:pt x="642" y="1128"/>
                </a:lnTo>
                <a:lnTo>
                  <a:pt x="634" y="1132"/>
                </a:lnTo>
                <a:lnTo>
                  <a:pt x="631" y="1132"/>
                </a:lnTo>
                <a:lnTo>
                  <a:pt x="630" y="1134"/>
                </a:lnTo>
                <a:lnTo>
                  <a:pt x="632" y="1137"/>
                </a:lnTo>
                <a:lnTo>
                  <a:pt x="635" y="1137"/>
                </a:lnTo>
                <a:lnTo>
                  <a:pt x="637" y="1135"/>
                </a:lnTo>
                <a:lnTo>
                  <a:pt x="639" y="1133"/>
                </a:lnTo>
                <a:lnTo>
                  <a:pt x="654" y="1128"/>
                </a:lnTo>
                <a:lnTo>
                  <a:pt x="670" y="1123"/>
                </a:lnTo>
                <a:lnTo>
                  <a:pt x="683" y="1117"/>
                </a:lnTo>
                <a:lnTo>
                  <a:pt x="696" y="1111"/>
                </a:lnTo>
                <a:lnTo>
                  <a:pt x="694" y="1116"/>
                </a:lnTo>
                <a:lnTo>
                  <a:pt x="695" y="1121"/>
                </a:lnTo>
                <a:lnTo>
                  <a:pt x="702" y="1127"/>
                </a:lnTo>
                <a:lnTo>
                  <a:pt x="709" y="1132"/>
                </a:lnTo>
                <a:lnTo>
                  <a:pt x="710" y="1134"/>
                </a:lnTo>
                <a:lnTo>
                  <a:pt x="708" y="1137"/>
                </a:lnTo>
                <a:lnTo>
                  <a:pt x="699" y="1141"/>
                </a:lnTo>
                <a:lnTo>
                  <a:pt x="688" y="1146"/>
                </a:lnTo>
                <a:lnTo>
                  <a:pt x="661" y="1156"/>
                </a:lnTo>
                <a:lnTo>
                  <a:pt x="635" y="1166"/>
                </a:lnTo>
                <a:lnTo>
                  <a:pt x="632" y="1167"/>
                </a:lnTo>
                <a:lnTo>
                  <a:pt x="630" y="1166"/>
                </a:lnTo>
                <a:lnTo>
                  <a:pt x="625" y="1159"/>
                </a:lnTo>
                <a:lnTo>
                  <a:pt x="625" y="1151"/>
                </a:lnTo>
                <a:lnTo>
                  <a:pt x="627" y="1146"/>
                </a:lnTo>
                <a:lnTo>
                  <a:pt x="625" y="1141"/>
                </a:lnTo>
                <a:lnTo>
                  <a:pt x="624" y="1137"/>
                </a:lnTo>
                <a:lnTo>
                  <a:pt x="618" y="1137"/>
                </a:lnTo>
                <a:lnTo>
                  <a:pt x="620" y="1140"/>
                </a:lnTo>
                <a:lnTo>
                  <a:pt x="624" y="1142"/>
                </a:lnTo>
                <a:lnTo>
                  <a:pt x="623" y="1147"/>
                </a:lnTo>
                <a:lnTo>
                  <a:pt x="618" y="1146"/>
                </a:lnTo>
                <a:lnTo>
                  <a:pt x="613" y="1139"/>
                </a:lnTo>
                <a:lnTo>
                  <a:pt x="608" y="1135"/>
                </a:lnTo>
                <a:lnTo>
                  <a:pt x="599" y="1140"/>
                </a:lnTo>
                <a:lnTo>
                  <a:pt x="590" y="1144"/>
                </a:lnTo>
                <a:lnTo>
                  <a:pt x="604" y="1144"/>
                </a:lnTo>
                <a:lnTo>
                  <a:pt x="618" y="1147"/>
                </a:lnTo>
                <a:lnTo>
                  <a:pt x="618" y="1148"/>
                </a:lnTo>
                <a:lnTo>
                  <a:pt x="618" y="1151"/>
                </a:lnTo>
                <a:lnTo>
                  <a:pt x="617" y="1156"/>
                </a:lnTo>
                <a:lnTo>
                  <a:pt x="617" y="1163"/>
                </a:lnTo>
                <a:lnTo>
                  <a:pt x="615" y="1166"/>
                </a:lnTo>
                <a:lnTo>
                  <a:pt x="614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5" y="1167"/>
                </a:lnTo>
                <a:lnTo>
                  <a:pt x="614" y="1167"/>
                </a:lnTo>
                <a:lnTo>
                  <a:pt x="612" y="1165"/>
                </a:lnTo>
                <a:lnTo>
                  <a:pt x="607" y="1162"/>
                </a:lnTo>
                <a:lnTo>
                  <a:pt x="601" y="1165"/>
                </a:lnTo>
                <a:lnTo>
                  <a:pt x="598" y="1161"/>
                </a:lnTo>
                <a:close/>
                <a:moveTo>
                  <a:pt x="584" y="1204"/>
                </a:moveTo>
                <a:lnTo>
                  <a:pt x="586" y="1207"/>
                </a:lnTo>
                <a:lnTo>
                  <a:pt x="591" y="1205"/>
                </a:lnTo>
                <a:lnTo>
                  <a:pt x="592" y="1204"/>
                </a:lnTo>
                <a:lnTo>
                  <a:pt x="593" y="1204"/>
                </a:lnTo>
                <a:lnTo>
                  <a:pt x="597" y="1205"/>
                </a:lnTo>
                <a:lnTo>
                  <a:pt x="600" y="1207"/>
                </a:lnTo>
                <a:lnTo>
                  <a:pt x="591" y="1210"/>
                </a:lnTo>
                <a:lnTo>
                  <a:pt x="580" y="1210"/>
                </a:lnTo>
                <a:lnTo>
                  <a:pt x="580" y="1205"/>
                </a:lnTo>
                <a:lnTo>
                  <a:pt x="580" y="1200"/>
                </a:lnTo>
                <a:lnTo>
                  <a:pt x="589" y="1196"/>
                </a:lnTo>
                <a:lnTo>
                  <a:pt x="598" y="1195"/>
                </a:lnTo>
                <a:lnTo>
                  <a:pt x="599" y="1194"/>
                </a:lnTo>
                <a:lnTo>
                  <a:pt x="600" y="1193"/>
                </a:lnTo>
                <a:lnTo>
                  <a:pt x="599" y="1194"/>
                </a:lnTo>
                <a:lnTo>
                  <a:pt x="598" y="1195"/>
                </a:lnTo>
                <a:lnTo>
                  <a:pt x="598" y="1196"/>
                </a:lnTo>
                <a:lnTo>
                  <a:pt x="597" y="1198"/>
                </a:lnTo>
                <a:lnTo>
                  <a:pt x="592" y="1198"/>
                </a:lnTo>
                <a:lnTo>
                  <a:pt x="589" y="1200"/>
                </a:lnTo>
                <a:lnTo>
                  <a:pt x="585" y="1202"/>
                </a:lnTo>
                <a:lnTo>
                  <a:pt x="584" y="1204"/>
                </a:lnTo>
                <a:close/>
                <a:moveTo>
                  <a:pt x="573" y="1193"/>
                </a:moveTo>
                <a:lnTo>
                  <a:pt x="556" y="1196"/>
                </a:lnTo>
                <a:lnTo>
                  <a:pt x="538" y="1196"/>
                </a:lnTo>
                <a:lnTo>
                  <a:pt x="523" y="1197"/>
                </a:lnTo>
                <a:lnTo>
                  <a:pt x="508" y="1195"/>
                </a:lnTo>
                <a:lnTo>
                  <a:pt x="503" y="1195"/>
                </a:lnTo>
                <a:lnTo>
                  <a:pt x="499" y="1197"/>
                </a:lnTo>
                <a:lnTo>
                  <a:pt x="495" y="1197"/>
                </a:lnTo>
                <a:lnTo>
                  <a:pt x="493" y="1197"/>
                </a:lnTo>
                <a:lnTo>
                  <a:pt x="492" y="1196"/>
                </a:lnTo>
                <a:lnTo>
                  <a:pt x="496" y="1190"/>
                </a:lnTo>
                <a:lnTo>
                  <a:pt x="503" y="1190"/>
                </a:lnTo>
                <a:lnTo>
                  <a:pt x="547" y="1191"/>
                </a:lnTo>
                <a:lnTo>
                  <a:pt x="589" y="1184"/>
                </a:lnTo>
                <a:lnTo>
                  <a:pt x="591" y="1184"/>
                </a:lnTo>
                <a:lnTo>
                  <a:pt x="592" y="1184"/>
                </a:lnTo>
                <a:lnTo>
                  <a:pt x="596" y="1183"/>
                </a:lnTo>
                <a:lnTo>
                  <a:pt x="598" y="1186"/>
                </a:lnTo>
                <a:lnTo>
                  <a:pt x="597" y="1189"/>
                </a:lnTo>
                <a:lnTo>
                  <a:pt x="593" y="1189"/>
                </a:lnTo>
                <a:lnTo>
                  <a:pt x="589" y="1190"/>
                </a:lnTo>
                <a:lnTo>
                  <a:pt x="584" y="1191"/>
                </a:lnTo>
                <a:lnTo>
                  <a:pt x="582" y="1194"/>
                </a:lnTo>
                <a:lnTo>
                  <a:pt x="580" y="1197"/>
                </a:lnTo>
                <a:lnTo>
                  <a:pt x="582" y="1194"/>
                </a:lnTo>
                <a:lnTo>
                  <a:pt x="584" y="1191"/>
                </a:lnTo>
                <a:lnTo>
                  <a:pt x="578" y="1190"/>
                </a:lnTo>
                <a:lnTo>
                  <a:pt x="573" y="1193"/>
                </a:lnTo>
                <a:close/>
                <a:moveTo>
                  <a:pt x="569" y="1214"/>
                </a:moveTo>
                <a:lnTo>
                  <a:pt x="571" y="1214"/>
                </a:lnTo>
                <a:lnTo>
                  <a:pt x="572" y="1215"/>
                </a:lnTo>
                <a:lnTo>
                  <a:pt x="571" y="1214"/>
                </a:lnTo>
                <a:lnTo>
                  <a:pt x="569" y="1214"/>
                </a:lnTo>
                <a:lnTo>
                  <a:pt x="562" y="1215"/>
                </a:lnTo>
                <a:lnTo>
                  <a:pt x="555" y="1215"/>
                </a:lnTo>
                <a:lnTo>
                  <a:pt x="555" y="1207"/>
                </a:lnTo>
                <a:lnTo>
                  <a:pt x="561" y="1201"/>
                </a:lnTo>
                <a:lnTo>
                  <a:pt x="563" y="1200"/>
                </a:lnTo>
                <a:lnTo>
                  <a:pt x="565" y="1200"/>
                </a:lnTo>
                <a:lnTo>
                  <a:pt x="571" y="1198"/>
                </a:lnTo>
                <a:lnTo>
                  <a:pt x="575" y="1201"/>
                </a:lnTo>
                <a:lnTo>
                  <a:pt x="575" y="1208"/>
                </a:lnTo>
                <a:lnTo>
                  <a:pt x="569" y="1214"/>
                </a:lnTo>
                <a:close/>
                <a:moveTo>
                  <a:pt x="536" y="1220"/>
                </a:moveTo>
                <a:lnTo>
                  <a:pt x="534" y="1220"/>
                </a:lnTo>
                <a:lnTo>
                  <a:pt x="531" y="1220"/>
                </a:lnTo>
                <a:lnTo>
                  <a:pt x="528" y="1220"/>
                </a:lnTo>
                <a:lnTo>
                  <a:pt x="525" y="1216"/>
                </a:lnTo>
                <a:lnTo>
                  <a:pt x="528" y="1209"/>
                </a:lnTo>
                <a:lnTo>
                  <a:pt x="534" y="1203"/>
                </a:lnTo>
                <a:lnTo>
                  <a:pt x="535" y="1203"/>
                </a:lnTo>
                <a:lnTo>
                  <a:pt x="536" y="1203"/>
                </a:lnTo>
                <a:lnTo>
                  <a:pt x="543" y="1202"/>
                </a:lnTo>
                <a:lnTo>
                  <a:pt x="548" y="1205"/>
                </a:lnTo>
                <a:lnTo>
                  <a:pt x="544" y="1214"/>
                </a:lnTo>
                <a:lnTo>
                  <a:pt x="536" y="1220"/>
                </a:lnTo>
                <a:lnTo>
                  <a:pt x="536" y="1220"/>
                </a:lnTo>
                <a:close/>
                <a:moveTo>
                  <a:pt x="514" y="1218"/>
                </a:moveTo>
                <a:lnTo>
                  <a:pt x="511" y="1218"/>
                </a:lnTo>
                <a:lnTo>
                  <a:pt x="510" y="1218"/>
                </a:lnTo>
                <a:lnTo>
                  <a:pt x="510" y="1218"/>
                </a:lnTo>
                <a:lnTo>
                  <a:pt x="509" y="1218"/>
                </a:lnTo>
                <a:lnTo>
                  <a:pt x="504" y="1218"/>
                </a:lnTo>
                <a:lnTo>
                  <a:pt x="500" y="1216"/>
                </a:lnTo>
                <a:lnTo>
                  <a:pt x="503" y="1208"/>
                </a:lnTo>
                <a:lnTo>
                  <a:pt x="511" y="1203"/>
                </a:lnTo>
                <a:lnTo>
                  <a:pt x="517" y="1203"/>
                </a:lnTo>
                <a:lnTo>
                  <a:pt x="522" y="1204"/>
                </a:lnTo>
                <a:lnTo>
                  <a:pt x="520" y="1213"/>
                </a:lnTo>
                <a:lnTo>
                  <a:pt x="514" y="1218"/>
                </a:lnTo>
                <a:close/>
                <a:moveTo>
                  <a:pt x="492" y="1211"/>
                </a:moveTo>
                <a:lnTo>
                  <a:pt x="492" y="1209"/>
                </a:lnTo>
                <a:lnTo>
                  <a:pt x="490" y="1207"/>
                </a:lnTo>
                <a:lnTo>
                  <a:pt x="478" y="1208"/>
                </a:lnTo>
                <a:lnTo>
                  <a:pt x="466" y="1213"/>
                </a:lnTo>
                <a:lnTo>
                  <a:pt x="462" y="1214"/>
                </a:lnTo>
                <a:lnTo>
                  <a:pt x="458" y="1214"/>
                </a:lnTo>
                <a:lnTo>
                  <a:pt x="454" y="1214"/>
                </a:lnTo>
                <a:lnTo>
                  <a:pt x="451" y="1211"/>
                </a:lnTo>
                <a:lnTo>
                  <a:pt x="452" y="1208"/>
                </a:lnTo>
                <a:lnTo>
                  <a:pt x="455" y="1204"/>
                </a:lnTo>
                <a:lnTo>
                  <a:pt x="458" y="1209"/>
                </a:lnTo>
                <a:lnTo>
                  <a:pt x="461" y="1209"/>
                </a:lnTo>
                <a:lnTo>
                  <a:pt x="465" y="1210"/>
                </a:lnTo>
                <a:lnTo>
                  <a:pt x="466" y="1213"/>
                </a:lnTo>
                <a:lnTo>
                  <a:pt x="478" y="1208"/>
                </a:lnTo>
                <a:lnTo>
                  <a:pt x="490" y="1207"/>
                </a:lnTo>
                <a:lnTo>
                  <a:pt x="487" y="1204"/>
                </a:lnTo>
                <a:lnTo>
                  <a:pt x="483" y="1203"/>
                </a:lnTo>
                <a:lnTo>
                  <a:pt x="485" y="1203"/>
                </a:lnTo>
                <a:lnTo>
                  <a:pt x="485" y="1202"/>
                </a:lnTo>
                <a:lnTo>
                  <a:pt x="492" y="1202"/>
                </a:lnTo>
                <a:lnTo>
                  <a:pt x="497" y="1202"/>
                </a:lnTo>
                <a:lnTo>
                  <a:pt x="496" y="1208"/>
                </a:lnTo>
                <a:lnTo>
                  <a:pt x="492" y="1211"/>
                </a:lnTo>
                <a:close/>
                <a:moveTo>
                  <a:pt x="492" y="1217"/>
                </a:moveTo>
                <a:lnTo>
                  <a:pt x="483" y="1217"/>
                </a:lnTo>
                <a:lnTo>
                  <a:pt x="475" y="1215"/>
                </a:lnTo>
                <a:lnTo>
                  <a:pt x="483" y="1213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1"/>
                </a:lnTo>
                <a:lnTo>
                  <a:pt x="492" y="1215"/>
                </a:lnTo>
                <a:lnTo>
                  <a:pt x="492" y="1217"/>
                </a:lnTo>
                <a:close/>
                <a:moveTo>
                  <a:pt x="432" y="1208"/>
                </a:moveTo>
                <a:lnTo>
                  <a:pt x="430" y="1205"/>
                </a:lnTo>
                <a:lnTo>
                  <a:pt x="431" y="1202"/>
                </a:lnTo>
                <a:lnTo>
                  <a:pt x="440" y="1194"/>
                </a:lnTo>
                <a:lnTo>
                  <a:pt x="453" y="1194"/>
                </a:lnTo>
                <a:lnTo>
                  <a:pt x="454" y="1194"/>
                </a:lnTo>
                <a:lnTo>
                  <a:pt x="455" y="1194"/>
                </a:lnTo>
                <a:lnTo>
                  <a:pt x="446" y="1207"/>
                </a:lnTo>
                <a:lnTo>
                  <a:pt x="432" y="1208"/>
                </a:lnTo>
                <a:close/>
                <a:moveTo>
                  <a:pt x="426" y="1200"/>
                </a:moveTo>
                <a:lnTo>
                  <a:pt x="421" y="1203"/>
                </a:lnTo>
                <a:lnTo>
                  <a:pt x="416" y="1202"/>
                </a:lnTo>
                <a:lnTo>
                  <a:pt x="413" y="1200"/>
                </a:lnTo>
                <a:lnTo>
                  <a:pt x="410" y="1197"/>
                </a:lnTo>
                <a:lnTo>
                  <a:pt x="418" y="1189"/>
                </a:lnTo>
                <a:lnTo>
                  <a:pt x="431" y="1184"/>
                </a:lnTo>
                <a:lnTo>
                  <a:pt x="433" y="1188"/>
                </a:lnTo>
                <a:lnTo>
                  <a:pt x="435" y="1193"/>
                </a:lnTo>
                <a:lnTo>
                  <a:pt x="431" y="1196"/>
                </a:lnTo>
                <a:lnTo>
                  <a:pt x="426" y="1200"/>
                </a:lnTo>
                <a:close/>
                <a:moveTo>
                  <a:pt x="405" y="1194"/>
                </a:moveTo>
                <a:lnTo>
                  <a:pt x="404" y="1194"/>
                </a:lnTo>
                <a:lnTo>
                  <a:pt x="404" y="1194"/>
                </a:lnTo>
                <a:lnTo>
                  <a:pt x="398" y="1193"/>
                </a:lnTo>
                <a:lnTo>
                  <a:pt x="393" y="1189"/>
                </a:lnTo>
                <a:lnTo>
                  <a:pt x="396" y="1184"/>
                </a:lnTo>
                <a:lnTo>
                  <a:pt x="400" y="1182"/>
                </a:lnTo>
                <a:lnTo>
                  <a:pt x="407" y="1177"/>
                </a:lnTo>
                <a:lnTo>
                  <a:pt x="416" y="1179"/>
                </a:lnTo>
                <a:lnTo>
                  <a:pt x="418" y="1181"/>
                </a:lnTo>
                <a:lnTo>
                  <a:pt x="418" y="1183"/>
                </a:lnTo>
                <a:lnTo>
                  <a:pt x="420" y="1183"/>
                </a:lnTo>
                <a:lnTo>
                  <a:pt x="421" y="1182"/>
                </a:lnTo>
                <a:lnTo>
                  <a:pt x="420" y="1183"/>
                </a:lnTo>
                <a:lnTo>
                  <a:pt x="418" y="1183"/>
                </a:lnTo>
                <a:lnTo>
                  <a:pt x="411" y="1189"/>
                </a:lnTo>
                <a:lnTo>
                  <a:pt x="405" y="1194"/>
                </a:lnTo>
                <a:close/>
                <a:moveTo>
                  <a:pt x="404" y="1172"/>
                </a:moveTo>
                <a:lnTo>
                  <a:pt x="401" y="1174"/>
                </a:lnTo>
                <a:lnTo>
                  <a:pt x="399" y="1176"/>
                </a:lnTo>
                <a:lnTo>
                  <a:pt x="397" y="1173"/>
                </a:lnTo>
                <a:lnTo>
                  <a:pt x="394" y="1168"/>
                </a:lnTo>
                <a:lnTo>
                  <a:pt x="396" y="1167"/>
                </a:lnTo>
                <a:lnTo>
                  <a:pt x="398" y="1167"/>
                </a:lnTo>
                <a:lnTo>
                  <a:pt x="401" y="1168"/>
                </a:lnTo>
                <a:lnTo>
                  <a:pt x="404" y="1172"/>
                </a:lnTo>
                <a:close/>
                <a:moveTo>
                  <a:pt x="391" y="1144"/>
                </a:moveTo>
                <a:lnTo>
                  <a:pt x="389" y="1140"/>
                </a:lnTo>
                <a:lnTo>
                  <a:pt x="392" y="1138"/>
                </a:lnTo>
                <a:lnTo>
                  <a:pt x="400" y="1140"/>
                </a:lnTo>
                <a:lnTo>
                  <a:pt x="404" y="1147"/>
                </a:lnTo>
                <a:lnTo>
                  <a:pt x="404" y="1152"/>
                </a:lnTo>
                <a:lnTo>
                  <a:pt x="399" y="1154"/>
                </a:lnTo>
                <a:lnTo>
                  <a:pt x="399" y="1155"/>
                </a:lnTo>
                <a:lnTo>
                  <a:pt x="398" y="1155"/>
                </a:lnTo>
                <a:lnTo>
                  <a:pt x="396" y="1153"/>
                </a:lnTo>
                <a:lnTo>
                  <a:pt x="394" y="1151"/>
                </a:lnTo>
                <a:lnTo>
                  <a:pt x="394" y="1146"/>
                </a:lnTo>
                <a:lnTo>
                  <a:pt x="391" y="1144"/>
                </a:lnTo>
                <a:close/>
                <a:moveTo>
                  <a:pt x="379" y="1177"/>
                </a:moveTo>
                <a:lnTo>
                  <a:pt x="383" y="1175"/>
                </a:lnTo>
                <a:lnTo>
                  <a:pt x="386" y="1175"/>
                </a:lnTo>
                <a:lnTo>
                  <a:pt x="387" y="1179"/>
                </a:lnTo>
                <a:lnTo>
                  <a:pt x="391" y="1181"/>
                </a:lnTo>
                <a:lnTo>
                  <a:pt x="384" y="1183"/>
                </a:lnTo>
                <a:lnTo>
                  <a:pt x="379" y="1177"/>
                </a:lnTo>
                <a:close/>
                <a:moveTo>
                  <a:pt x="373" y="1172"/>
                </a:moveTo>
                <a:lnTo>
                  <a:pt x="373" y="1172"/>
                </a:lnTo>
                <a:lnTo>
                  <a:pt x="373" y="1174"/>
                </a:lnTo>
                <a:lnTo>
                  <a:pt x="375" y="1176"/>
                </a:lnTo>
                <a:lnTo>
                  <a:pt x="373" y="1174"/>
                </a:lnTo>
                <a:lnTo>
                  <a:pt x="373" y="1172"/>
                </a:lnTo>
                <a:lnTo>
                  <a:pt x="372" y="1170"/>
                </a:lnTo>
                <a:lnTo>
                  <a:pt x="371" y="1169"/>
                </a:lnTo>
                <a:lnTo>
                  <a:pt x="368" y="1167"/>
                </a:lnTo>
                <a:lnTo>
                  <a:pt x="369" y="1163"/>
                </a:lnTo>
                <a:lnTo>
                  <a:pt x="371" y="1161"/>
                </a:lnTo>
                <a:lnTo>
                  <a:pt x="373" y="1162"/>
                </a:lnTo>
                <a:lnTo>
                  <a:pt x="376" y="1166"/>
                </a:lnTo>
                <a:lnTo>
                  <a:pt x="375" y="1170"/>
                </a:lnTo>
                <a:lnTo>
                  <a:pt x="373" y="1170"/>
                </a:lnTo>
                <a:lnTo>
                  <a:pt x="373" y="1172"/>
                </a:lnTo>
                <a:lnTo>
                  <a:pt x="378" y="1172"/>
                </a:lnTo>
                <a:lnTo>
                  <a:pt x="383" y="1170"/>
                </a:lnTo>
                <a:lnTo>
                  <a:pt x="378" y="1172"/>
                </a:lnTo>
                <a:lnTo>
                  <a:pt x="373" y="1172"/>
                </a:lnTo>
                <a:close/>
                <a:moveTo>
                  <a:pt x="357" y="1132"/>
                </a:moveTo>
                <a:lnTo>
                  <a:pt x="363" y="1130"/>
                </a:lnTo>
                <a:lnTo>
                  <a:pt x="369" y="1127"/>
                </a:lnTo>
                <a:lnTo>
                  <a:pt x="375" y="1127"/>
                </a:lnTo>
                <a:lnTo>
                  <a:pt x="377" y="1132"/>
                </a:lnTo>
                <a:lnTo>
                  <a:pt x="376" y="1135"/>
                </a:lnTo>
                <a:lnTo>
                  <a:pt x="375" y="1137"/>
                </a:lnTo>
                <a:lnTo>
                  <a:pt x="368" y="1139"/>
                </a:lnTo>
                <a:lnTo>
                  <a:pt x="361" y="1142"/>
                </a:lnTo>
                <a:lnTo>
                  <a:pt x="357" y="1144"/>
                </a:lnTo>
                <a:lnTo>
                  <a:pt x="354" y="1140"/>
                </a:lnTo>
                <a:lnTo>
                  <a:pt x="354" y="1135"/>
                </a:lnTo>
                <a:lnTo>
                  <a:pt x="357" y="1132"/>
                </a:lnTo>
                <a:close/>
                <a:moveTo>
                  <a:pt x="352" y="1118"/>
                </a:moveTo>
                <a:lnTo>
                  <a:pt x="361" y="1114"/>
                </a:lnTo>
                <a:lnTo>
                  <a:pt x="368" y="1111"/>
                </a:lnTo>
                <a:lnTo>
                  <a:pt x="371" y="1113"/>
                </a:lnTo>
                <a:lnTo>
                  <a:pt x="373" y="1116"/>
                </a:lnTo>
                <a:lnTo>
                  <a:pt x="373" y="1119"/>
                </a:lnTo>
                <a:lnTo>
                  <a:pt x="370" y="1121"/>
                </a:lnTo>
                <a:lnTo>
                  <a:pt x="363" y="1124"/>
                </a:lnTo>
                <a:lnTo>
                  <a:pt x="357" y="1126"/>
                </a:lnTo>
                <a:lnTo>
                  <a:pt x="354" y="1127"/>
                </a:lnTo>
                <a:lnTo>
                  <a:pt x="351" y="1125"/>
                </a:lnTo>
                <a:lnTo>
                  <a:pt x="350" y="1120"/>
                </a:lnTo>
                <a:lnTo>
                  <a:pt x="352" y="1118"/>
                </a:lnTo>
                <a:lnTo>
                  <a:pt x="352" y="1118"/>
                </a:lnTo>
                <a:close/>
                <a:moveTo>
                  <a:pt x="352" y="1100"/>
                </a:moveTo>
                <a:lnTo>
                  <a:pt x="355" y="1103"/>
                </a:lnTo>
                <a:lnTo>
                  <a:pt x="355" y="1106"/>
                </a:lnTo>
                <a:lnTo>
                  <a:pt x="356" y="1107"/>
                </a:lnTo>
                <a:lnTo>
                  <a:pt x="357" y="1110"/>
                </a:lnTo>
                <a:lnTo>
                  <a:pt x="352" y="1111"/>
                </a:lnTo>
                <a:lnTo>
                  <a:pt x="350" y="1109"/>
                </a:lnTo>
                <a:lnTo>
                  <a:pt x="349" y="1105"/>
                </a:lnTo>
                <a:lnTo>
                  <a:pt x="350" y="1102"/>
                </a:lnTo>
                <a:lnTo>
                  <a:pt x="351" y="1100"/>
                </a:lnTo>
                <a:lnTo>
                  <a:pt x="352" y="1100"/>
                </a:lnTo>
                <a:close/>
                <a:moveTo>
                  <a:pt x="357" y="1083"/>
                </a:moveTo>
                <a:lnTo>
                  <a:pt x="358" y="1084"/>
                </a:lnTo>
                <a:lnTo>
                  <a:pt x="358" y="1084"/>
                </a:lnTo>
                <a:lnTo>
                  <a:pt x="357" y="1090"/>
                </a:lnTo>
                <a:lnTo>
                  <a:pt x="355" y="1091"/>
                </a:lnTo>
                <a:lnTo>
                  <a:pt x="352" y="1091"/>
                </a:lnTo>
                <a:lnTo>
                  <a:pt x="352" y="1089"/>
                </a:lnTo>
                <a:lnTo>
                  <a:pt x="354" y="1084"/>
                </a:lnTo>
                <a:lnTo>
                  <a:pt x="357" y="1083"/>
                </a:lnTo>
                <a:close/>
                <a:moveTo>
                  <a:pt x="370" y="1088"/>
                </a:moveTo>
                <a:lnTo>
                  <a:pt x="368" y="1085"/>
                </a:lnTo>
                <a:lnTo>
                  <a:pt x="368" y="1082"/>
                </a:lnTo>
                <a:lnTo>
                  <a:pt x="369" y="1081"/>
                </a:lnTo>
                <a:lnTo>
                  <a:pt x="371" y="1081"/>
                </a:lnTo>
                <a:lnTo>
                  <a:pt x="373" y="1081"/>
                </a:lnTo>
                <a:lnTo>
                  <a:pt x="373" y="1084"/>
                </a:lnTo>
                <a:lnTo>
                  <a:pt x="373" y="1086"/>
                </a:lnTo>
                <a:lnTo>
                  <a:pt x="370" y="1088"/>
                </a:lnTo>
                <a:lnTo>
                  <a:pt x="370" y="1088"/>
                </a:lnTo>
                <a:close/>
                <a:moveTo>
                  <a:pt x="364" y="1100"/>
                </a:moveTo>
                <a:lnTo>
                  <a:pt x="366" y="1098"/>
                </a:lnTo>
                <a:lnTo>
                  <a:pt x="370" y="1097"/>
                </a:lnTo>
                <a:lnTo>
                  <a:pt x="371" y="1098"/>
                </a:lnTo>
                <a:lnTo>
                  <a:pt x="371" y="1099"/>
                </a:lnTo>
                <a:lnTo>
                  <a:pt x="371" y="1105"/>
                </a:lnTo>
                <a:lnTo>
                  <a:pt x="366" y="1106"/>
                </a:lnTo>
                <a:lnTo>
                  <a:pt x="364" y="1104"/>
                </a:lnTo>
                <a:lnTo>
                  <a:pt x="364" y="1100"/>
                </a:lnTo>
                <a:close/>
                <a:moveTo>
                  <a:pt x="377" y="1063"/>
                </a:moveTo>
                <a:lnTo>
                  <a:pt x="379" y="1064"/>
                </a:lnTo>
                <a:lnTo>
                  <a:pt x="379" y="1067"/>
                </a:lnTo>
                <a:lnTo>
                  <a:pt x="377" y="1071"/>
                </a:lnTo>
                <a:lnTo>
                  <a:pt x="373" y="1075"/>
                </a:lnTo>
                <a:lnTo>
                  <a:pt x="365" y="1076"/>
                </a:lnTo>
                <a:lnTo>
                  <a:pt x="357" y="1076"/>
                </a:lnTo>
                <a:lnTo>
                  <a:pt x="364" y="1065"/>
                </a:lnTo>
                <a:lnTo>
                  <a:pt x="377" y="1063"/>
                </a:lnTo>
                <a:close/>
                <a:moveTo>
                  <a:pt x="380" y="1057"/>
                </a:moveTo>
                <a:lnTo>
                  <a:pt x="378" y="1057"/>
                </a:lnTo>
                <a:lnTo>
                  <a:pt x="376" y="1058"/>
                </a:lnTo>
                <a:lnTo>
                  <a:pt x="370" y="1060"/>
                </a:lnTo>
                <a:lnTo>
                  <a:pt x="364" y="1058"/>
                </a:lnTo>
                <a:lnTo>
                  <a:pt x="364" y="1057"/>
                </a:lnTo>
                <a:lnTo>
                  <a:pt x="365" y="1054"/>
                </a:lnTo>
                <a:lnTo>
                  <a:pt x="369" y="1049"/>
                </a:lnTo>
                <a:lnTo>
                  <a:pt x="376" y="1047"/>
                </a:lnTo>
                <a:lnTo>
                  <a:pt x="377" y="1047"/>
                </a:lnTo>
                <a:lnTo>
                  <a:pt x="380" y="1047"/>
                </a:lnTo>
                <a:lnTo>
                  <a:pt x="384" y="1047"/>
                </a:lnTo>
                <a:lnTo>
                  <a:pt x="386" y="1048"/>
                </a:lnTo>
                <a:lnTo>
                  <a:pt x="385" y="1054"/>
                </a:lnTo>
                <a:lnTo>
                  <a:pt x="380" y="1057"/>
                </a:lnTo>
                <a:close/>
                <a:moveTo>
                  <a:pt x="391" y="1159"/>
                </a:moveTo>
                <a:lnTo>
                  <a:pt x="390" y="1161"/>
                </a:lnTo>
                <a:lnTo>
                  <a:pt x="386" y="1161"/>
                </a:lnTo>
                <a:lnTo>
                  <a:pt x="384" y="1160"/>
                </a:lnTo>
                <a:lnTo>
                  <a:pt x="383" y="1156"/>
                </a:lnTo>
                <a:lnTo>
                  <a:pt x="383" y="1154"/>
                </a:lnTo>
                <a:lnTo>
                  <a:pt x="386" y="1154"/>
                </a:lnTo>
                <a:lnTo>
                  <a:pt x="390" y="1155"/>
                </a:lnTo>
                <a:lnTo>
                  <a:pt x="391" y="1159"/>
                </a:lnTo>
                <a:close/>
                <a:moveTo>
                  <a:pt x="384" y="1120"/>
                </a:moveTo>
                <a:lnTo>
                  <a:pt x="384" y="1119"/>
                </a:lnTo>
                <a:lnTo>
                  <a:pt x="382" y="1117"/>
                </a:lnTo>
                <a:lnTo>
                  <a:pt x="379" y="1114"/>
                </a:lnTo>
                <a:lnTo>
                  <a:pt x="379" y="1111"/>
                </a:lnTo>
                <a:lnTo>
                  <a:pt x="380" y="1106"/>
                </a:lnTo>
                <a:lnTo>
                  <a:pt x="379" y="1102"/>
                </a:lnTo>
                <a:lnTo>
                  <a:pt x="378" y="1098"/>
                </a:lnTo>
                <a:lnTo>
                  <a:pt x="382" y="1096"/>
                </a:lnTo>
                <a:lnTo>
                  <a:pt x="385" y="1096"/>
                </a:lnTo>
                <a:lnTo>
                  <a:pt x="387" y="1098"/>
                </a:lnTo>
                <a:lnTo>
                  <a:pt x="389" y="1116"/>
                </a:lnTo>
                <a:lnTo>
                  <a:pt x="394" y="1131"/>
                </a:lnTo>
                <a:lnTo>
                  <a:pt x="394" y="1134"/>
                </a:lnTo>
                <a:lnTo>
                  <a:pt x="392" y="1135"/>
                </a:lnTo>
                <a:lnTo>
                  <a:pt x="391" y="1135"/>
                </a:lnTo>
                <a:lnTo>
                  <a:pt x="389" y="1134"/>
                </a:lnTo>
                <a:lnTo>
                  <a:pt x="383" y="1130"/>
                </a:lnTo>
                <a:lnTo>
                  <a:pt x="384" y="1120"/>
                </a:lnTo>
                <a:lnTo>
                  <a:pt x="384" y="1120"/>
                </a:lnTo>
                <a:close/>
                <a:moveTo>
                  <a:pt x="465" y="1044"/>
                </a:moveTo>
                <a:lnTo>
                  <a:pt x="463" y="1042"/>
                </a:lnTo>
                <a:lnTo>
                  <a:pt x="465" y="1041"/>
                </a:lnTo>
                <a:lnTo>
                  <a:pt x="470" y="1032"/>
                </a:lnTo>
                <a:lnTo>
                  <a:pt x="476" y="1023"/>
                </a:lnTo>
                <a:lnTo>
                  <a:pt x="478" y="1022"/>
                </a:lnTo>
                <a:lnTo>
                  <a:pt x="480" y="1021"/>
                </a:lnTo>
                <a:lnTo>
                  <a:pt x="481" y="1022"/>
                </a:lnTo>
                <a:lnTo>
                  <a:pt x="481" y="1023"/>
                </a:lnTo>
                <a:lnTo>
                  <a:pt x="481" y="1025"/>
                </a:lnTo>
                <a:lnTo>
                  <a:pt x="480" y="1026"/>
                </a:lnTo>
                <a:lnTo>
                  <a:pt x="475" y="1034"/>
                </a:lnTo>
                <a:lnTo>
                  <a:pt x="469" y="1043"/>
                </a:lnTo>
                <a:lnTo>
                  <a:pt x="467" y="1044"/>
                </a:lnTo>
                <a:lnTo>
                  <a:pt x="465" y="1044"/>
                </a:lnTo>
                <a:close/>
                <a:moveTo>
                  <a:pt x="463" y="1060"/>
                </a:moveTo>
                <a:lnTo>
                  <a:pt x="463" y="1060"/>
                </a:lnTo>
                <a:lnTo>
                  <a:pt x="461" y="1063"/>
                </a:lnTo>
                <a:lnTo>
                  <a:pt x="461" y="1067"/>
                </a:lnTo>
                <a:lnTo>
                  <a:pt x="461" y="1069"/>
                </a:lnTo>
                <a:lnTo>
                  <a:pt x="460" y="1070"/>
                </a:lnTo>
                <a:lnTo>
                  <a:pt x="456" y="1070"/>
                </a:lnTo>
                <a:lnTo>
                  <a:pt x="453" y="1069"/>
                </a:lnTo>
                <a:lnTo>
                  <a:pt x="454" y="1071"/>
                </a:lnTo>
                <a:lnTo>
                  <a:pt x="455" y="1072"/>
                </a:lnTo>
                <a:lnTo>
                  <a:pt x="454" y="1071"/>
                </a:lnTo>
                <a:lnTo>
                  <a:pt x="453" y="1069"/>
                </a:lnTo>
                <a:lnTo>
                  <a:pt x="453" y="1068"/>
                </a:lnTo>
                <a:lnTo>
                  <a:pt x="453" y="1065"/>
                </a:lnTo>
                <a:lnTo>
                  <a:pt x="455" y="1064"/>
                </a:lnTo>
                <a:lnTo>
                  <a:pt x="455" y="1062"/>
                </a:lnTo>
                <a:lnTo>
                  <a:pt x="458" y="1055"/>
                </a:lnTo>
                <a:lnTo>
                  <a:pt x="461" y="1049"/>
                </a:lnTo>
                <a:lnTo>
                  <a:pt x="462" y="1047"/>
                </a:lnTo>
                <a:lnTo>
                  <a:pt x="465" y="1047"/>
                </a:lnTo>
                <a:lnTo>
                  <a:pt x="466" y="1049"/>
                </a:lnTo>
                <a:lnTo>
                  <a:pt x="466" y="1051"/>
                </a:lnTo>
                <a:lnTo>
                  <a:pt x="465" y="1055"/>
                </a:lnTo>
                <a:lnTo>
                  <a:pt x="463" y="1060"/>
                </a:lnTo>
                <a:close/>
                <a:moveTo>
                  <a:pt x="470" y="1116"/>
                </a:moveTo>
                <a:lnTo>
                  <a:pt x="467" y="1117"/>
                </a:lnTo>
                <a:lnTo>
                  <a:pt x="465" y="1116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7"/>
                </a:lnTo>
                <a:lnTo>
                  <a:pt x="465" y="1116"/>
                </a:lnTo>
                <a:lnTo>
                  <a:pt x="465" y="1116"/>
                </a:lnTo>
                <a:lnTo>
                  <a:pt x="463" y="1113"/>
                </a:lnTo>
                <a:lnTo>
                  <a:pt x="461" y="1112"/>
                </a:lnTo>
                <a:lnTo>
                  <a:pt x="461" y="1112"/>
                </a:lnTo>
                <a:lnTo>
                  <a:pt x="461" y="1109"/>
                </a:lnTo>
                <a:lnTo>
                  <a:pt x="459" y="1106"/>
                </a:lnTo>
                <a:lnTo>
                  <a:pt x="458" y="1103"/>
                </a:lnTo>
                <a:lnTo>
                  <a:pt x="460" y="1100"/>
                </a:lnTo>
                <a:lnTo>
                  <a:pt x="463" y="1100"/>
                </a:lnTo>
                <a:lnTo>
                  <a:pt x="466" y="1103"/>
                </a:lnTo>
                <a:lnTo>
                  <a:pt x="467" y="1106"/>
                </a:lnTo>
                <a:lnTo>
                  <a:pt x="469" y="1110"/>
                </a:lnTo>
                <a:lnTo>
                  <a:pt x="472" y="1112"/>
                </a:lnTo>
                <a:lnTo>
                  <a:pt x="470" y="1116"/>
                </a:lnTo>
                <a:close/>
                <a:moveTo>
                  <a:pt x="419" y="1084"/>
                </a:moveTo>
                <a:lnTo>
                  <a:pt x="412" y="1088"/>
                </a:lnTo>
                <a:lnTo>
                  <a:pt x="405" y="1086"/>
                </a:lnTo>
                <a:lnTo>
                  <a:pt x="412" y="1083"/>
                </a:lnTo>
                <a:lnTo>
                  <a:pt x="419" y="1084"/>
                </a:lnTo>
                <a:close/>
                <a:moveTo>
                  <a:pt x="442" y="1078"/>
                </a:moveTo>
                <a:lnTo>
                  <a:pt x="435" y="1082"/>
                </a:lnTo>
                <a:lnTo>
                  <a:pt x="427" y="1084"/>
                </a:lnTo>
                <a:lnTo>
                  <a:pt x="426" y="1084"/>
                </a:lnTo>
                <a:lnTo>
                  <a:pt x="426" y="1083"/>
                </a:lnTo>
                <a:lnTo>
                  <a:pt x="426" y="1082"/>
                </a:lnTo>
                <a:lnTo>
                  <a:pt x="426" y="1081"/>
                </a:lnTo>
                <a:lnTo>
                  <a:pt x="434" y="1078"/>
                </a:lnTo>
                <a:lnTo>
                  <a:pt x="442" y="1078"/>
                </a:lnTo>
                <a:close/>
                <a:moveTo>
                  <a:pt x="454" y="1077"/>
                </a:moveTo>
                <a:lnTo>
                  <a:pt x="456" y="1076"/>
                </a:lnTo>
                <a:lnTo>
                  <a:pt x="459" y="1076"/>
                </a:lnTo>
                <a:lnTo>
                  <a:pt x="460" y="1083"/>
                </a:lnTo>
                <a:lnTo>
                  <a:pt x="461" y="1090"/>
                </a:lnTo>
                <a:lnTo>
                  <a:pt x="461" y="1095"/>
                </a:lnTo>
                <a:lnTo>
                  <a:pt x="459" y="1097"/>
                </a:lnTo>
                <a:lnTo>
                  <a:pt x="454" y="1095"/>
                </a:lnTo>
                <a:lnTo>
                  <a:pt x="454" y="1091"/>
                </a:lnTo>
                <a:lnTo>
                  <a:pt x="453" y="1084"/>
                </a:lnTo>
                <a:lnTo>
                  <a:pt x="453" y="1077"/>
                </a:lnTo>
                <a:lnTo>
                  <a:pt x="452" y="1077"/>
                </a:lnTo>
                <a:lnTo>
                  <a:pt x="451" y="1076"/>
                </a:lnTo>
                <a:lnTo>
                  <a:pt x="452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3" y="1077"/>
                </a:lnTo>
                <a:lnTo>
                  <a:pt x="454" y="1077"/>
                </a:lnTo>
                <a:lnTo>
                  <a:pt x="454" y="1077"/>
                </a:lnTo>
                <a:close/>
                <a:moveTo>
                  <a:pt x="426" y="1023"/>
                </a:moveTo>
                <a:lnTo>
                  <a:pt x="437" y="1016"/>
                </a:lnTo>
                <a:lnTo>
                  <a:pt x="448" y="1022"/>
                </a:lnTo>
                <a:lnTo>
                  <a:pt x="451" y="1023"/>
                </a:lnTo>
                <a:lnTo>
                  <a:pt x="452" y="1021"/>
                </a:lnTo>
                <a:lnTo>
                  <a:pt x="454" y="1020"/>
                </a:lnTo>
                <a:lnTo>
                  <a:pt x="458" y="1019"/>
                </a:lnTo>
                <a:lnTo>
                  <a:pt x="463" y="1020"/>
                </a:lnTo>
                <a:lnTo>
                  <a:pt x="467" y="1022"/>
                </a:lnTo>
                <a:lnTo>
                  <a:pt x="467" y="1027"/>
                </a:lnTo>
                <a:lnTo>
                  <a:pt x="466" y="1032"/>
                </a:lnTo>
                <a:lnTo>
                  <a:pt x="459" y="1043"/>
                </a:lnTo>
                <a:lnTo>
                  <a:pt x="453" y="1056"/>
                </a:lnTo>
                <a:lnTo>
                  <a:pt x="454" y="1057"/>
                </a:lnTo>
                <a:lnTo>
                  <a:pt x="454" y="1057"/>
                </a:lnTo>
                <a:lnTo>
                  <a:pt x="454" y="1057"/>
                </a:lnTo>
                <a:lnTo>
                  <a:pt x="453" y="1056"/>
                </a:lnTo>
                <a:lnTo>
                  <a:pt x="452" y="1058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2"/>
                </a:lnTo>
                <a:lnTo>
                  <a:pt x="451" y="1063"/>
                </a:lnTo>
                <a:lnTo>
                  <a:pt x="445" y="1062"/>
                </a:lnTo>
                <a:lnTo>
                  <a:pt x="440" y="1067"/>
                </a:lnTo>
                <a:lnTo>
                  <a:pt x="434" y="1069"/>
                </a:lnTo>
                <a:lnTo>
                  <a:pt x="427" y="1069"/>
                </a:lnTo>
                <a:lnTo>
                  <a:pt x="425" y="1069"/>
                </a:lnTo>
                <a:lnTo>
                  <a:pt x="423" y="1070"/>
                </a:lnTo>
                <a:lnTo>
                  <a:pt x="413" y="1076"/>
                </a:lnTo>
                <a:lnTo>
                  <a:pt x="403" y="1071"/>
                </a:lnTo>
                <a:lnTo>
                  <a:pt x="409" y="1053"/>
                </a:lnTo>
                <a:lnTo>
                  <a:pt x="418" y="1036"/>
                </a:lnTo>
                <a:lnTo>
                  <a:pt x="421" y="1029"/>
                </a:lnTo>
                <a:lnTo>
                  <a:pt x="426" y="1023"/>
                </a:lnTo>
                <a:close/>
                <a:moveTo>
                  <a:pt x="425" y="1019"/>
                </a:moveTo>
                <a:lnTo>
                  <a:pt x="426" y="1018"/>
                </a:lnTo>
                <a:lnTo>
                  <a:pt x="426" y="1016"/>
                </a:lnTo>
                <a:lnTo>
                  <a:pt x="426" y="1018"/>
                </a:lnTo>
                <a:lnTo>
                  <a:pt x="425" y="1019"/>
                </a:lnTo>
                <a:close/>
                <a:moveTo>
                  <a:pt x="397" y="1097"/>
                </a:moveTo>
                <a:lnTo>
                  <a:pt x="396" y="1096"/>
                </a:lnTo>
                <a:lnTo>
                  <a:pt x="396" y="1096"/>
                </a:lnTo>
                <a:lnTo>
                  <a:pt x="396" y="1096"/>
                </a:lnTo>
                <a:lnTo>
                  <a:pt x="397" y="1097"/>
                </a:lnTo>
                <a:lnTo>
                  <a:pt x="421" y="1091"/>
                </a:lnTo>
                <a:lnTo>
                  <a:pt x="447" y="1085"/>
                </a:lnTo>
                <a:lnTo>
                  <a:pt x="449" y="1096"/>
                </a:lnTo>
                <a:lnTo>
                  <a:pt x="453" y="1105"/>
                </a:lnTo>
                <a:lnTo>
                  <a:pt x="454" y="1109"/>
                </a:lnTo>
                <a:lnTo>
                  <a:pt x="455" y="1112"/>
                </a:lnTo>
                <a:lnTo>
                  <a:pt x="434" y="1125"/>
                </a:lnTo>
                <a:lnTo>
                  <a:pt x="413" y="1138"/>
                </a:lnTo>
                <a:lnTo>
                  <a:pt x="409" y="1134"/>
                </a:lnTo>
                <a:lnTo>
                  <a:pt x="404" y="1130"/>
                </a:lnTo>
                <a:lnTo>
                  <a:pt x="400" y="1118"/>
                </a:lnTo>
                <a:lnTo>
                  <a:pt x="399" y="1105"/>
                </a:lnTo>
                <a:lnTo>
                  <a:pt x="397" y="1102"/>
                </a:lnTo>
                <a:lnTo>
                  <a:pt x="397" y="1097"/>
                </a:lnTo>
                <a:close/>
                <a:moveTo>
                  <a:pt x="470" y="1197"/>
                </a:moveTo>
                <a:lnTo>
                  <a:pt x="467" y="1203"/>
                </a:lnTo>
                <a:lnTo>
                  <a:pt x="460" y="1198"/>
                </a:lnTo>
                <a:lnTo>
                  <a:pt x="458" y="1200"/>
                </a:lnTo>
                <a:lnTo>
                  <a:pt x="456" y="1202"/>
                </a:lnTo>
                <a:lnTo>
                  <a:pt x="458" y="1200"/>
                </a:lnTo>
                <a:lnTo>
                  <a:pt x="460" y="1198"/>
                </a:lnTo>
                <a:lnTo>
                  <a:pt x="466" y="1197"/>
                </a:lnTo>
                <a:lnTo>
                  <a:pt x="470" y="1197"/>
                </a:lnTo>
                <a:close/>
                <a:moveTo>
                  <a:pt x="473" y="1194"/>
                </a:moveTo>
                <a:lnTo>
                  <a:pt x="470" y="1193"/>
                </a:lnTo>
                <a:lnTo>
                  <a:pt x="468" y="1193"/>
                </a:lnTo>
                <a:lnTo>
                  <a:pt x="466" y="1194"/>
                </a:lnTo>
                <a:lnTo>
                  <a:pt x="462" y="1194"/>
                </a:lnTo>
                <a:lnTo>
                  <a:pt x="465" y="1194"/>
                </a:lnTo>
                <a:lnTo>
                  <a:pt x="468" y="1193"/>
                </a:lnTo>
                <a:lnTo>
                  <a:pt x="461" y="1189"/>
                </a:lnTo>
                <a:lnTo>
                  <a:pt x="454" y="1189"/>
                </a:lnTo>
                <a:lnTo>
                  <a:pt x="455" y="1191"/>
                </a:lnTo>
                <a:lnTo>
                  <a:pt x="455" y="1194"/>
                </a:lnTo>
                <a:lnTo>
                  <a:pt x="455" y="1191"/>
                </a:lnTo>
                <a:lnTo>
                  <a:pt x="454" y="1189"/>
                </a:lnTo>
                <a:lnTo>
                  <a:pt x="452" y="1188"/>
                </a:lnTo>
                <a:lnTo>
                  <a:pt x="449" y="1188"/>
                </a:lnTo>
                <a:lnTo>
                  <a:pt x="447" y="1183"/>
                </a:lnTo>
                <a:lnTo>
                  <a:pt x="444" y="1183"/>
                </a:lnTo>
                <a:lnTo>
                  <a:pt x="441" y="1184"/>
                </a:lnTo>
                <a:lnTo>
                  <a:pt x="439" y="1183"/>
                </a:lnTo>
                <a:lnTo>
                  <a:pt x="427" y="1176"/>
                </a:lnTo>
                <a:lnTo>
                  <a:pt x="417" y="1168"/>
                </a:lnTo>
                <a:lnTo>
                  <a:pt x="416" y="1167"/>
                </a:lnTo>
                <a:lnTo>
                  <a:pt x="413" y="1167"/>
                </a:lnTo>
                <a:lnTo>
                  <a:pt x="409" y="1166"/>
                </a:lnTo>
                <a:lnTo>
                  <a:pt x="405" y="1162"/>
                </a:lnTo>
                <a:lnTo>
                  <a:pt x="410" y="1160"/>
                </a:lnTo>
                <a:lnTo>
                  <a:pt x="414" y="1158"/>
                </a:lnTo>
                <a:lnTo>
                  <a:pt x="430" y="1170"/>
                </a:lnTo>
                <a:lnTo>
                  <a:pt x="447" y="1179"/>
                </a:lnTo>
                <a:lnTo>
                  <a:pt x="456" y="1183"/>
                </a:lnTo>
                <a:lnTo>
                  <a:pt x="466" y="1183"/>
                </a:lnTo>
                <a:lnTo>
                  <a:pt x="474" y="1186"/>
                </a:lnTo>
                <a:lnTo>
                  <a:pt x="481" y="1188"/>
                </a:lnTo>
                <a:lnTo>
                  <a:pt x="482" y="1188"/>
                </a:lnTo>
                <a:lnTo>
                  <a:pt x="483" y="1187"/>
                </a:lnTo>
                <a:lnTo>
                  <a:pt x="482" y="1188"/>
                </a:lnTo>
                <a:lnTo>
                  <a:pt x="481" y="1188"/>
                </a:lnTo>
                <a:lnTo>
                  <a:pt x="479" y="1193"/>
                </a:lnTo>
                <a:lnTo>
                  <a:pt x="473" y="1194"/>
                </a:lnTo>
                <a:close/>
                <a:moveTo>
                  <a:pt x="502" y="1142"/>
                </a:moveTo>
                <a:lnTo>
                  <a:pt x="504" y="1145"/>
                </a:lnTo>
                <a:lnTo>
                  <a:pt x="503" y="1147"/>
                </a:lnTo>
                <a:lnTo>
                  <a:pt x="495" y="1161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5" y="1174"/>
                </a:lnTo>
                <a:lnTo>
                  <a:pt x="482" y="1174"/>
                </a:lnTo>
                <a:lnTo>
                  <a:pt x="482" y="1176"/>
                </a:lnTo>
                <a:lnTo>
                  <a:pt x="481" y="1177"/>
                </a:lnTo>
                <a:lnTo>
                  <a:pt x="481" y="1179"/>
                </a:lnTo>
                <a:lnTo>
                  <a:pt x="481" y="1179"/>
                </a:lnTo>
                <a:lnTo>
                  <a:pt x="481" y="1180"/>
                </a:lnTo>
                <a:lnTo>
                  <a:pt x="481" y="1179"/>
                </a:lnTo>
                <a:lnTo>
                  <a:pt x="481" y="1179"/>
                </a:lnTo>
                <a:lnTo>
                  <a:pt x="480" y="1179"/>
                </a:lnTo>
                <a:lnTo>
                  <a:pt x="480" y="1179"/>
                </a:lnTo>
                <a:lnTo>
                  <a:pt x="478" y="1179"/>
                </a:lnTo>
                <a:lnTo>
                  <a:pt x="476" y="1177"/>
                </a:lnTo>
                <a:lnTo>
                  <a:pt x="476" y="1177"/>
                </a:lnTo>
                <a:lnTo>
                  <a:pt x="460" y="1173"/>
                </a:lnTo>
                <a:lnTo>
                  <a:pt x="445" y="1167"/>
                </a:lnTo>
                <a:lnTo>
                  <a:pt x="439" y="1162"/>
                </a:lnTo>
                <a:lnTo>
                  <a:pt x="438" y="1155"/>
                </a:lnTo>
                <a:lnTo>
                  <a:pt x="456" y="1144"/>
                </a:lnTo>
                <a:lnTo>
                  <a:pt x="474" y="1133"/>
                </a:lnTo>
                <a:lnTo>
                  <a:pt x="478" y="1132"/>
                </a:lnTo>
                <a:lnTo>
                  <a:pt x="480" y="1133"/>
                </a:lnTo>
                <a:lnTo>
                  <a:pt x="490" y="1139"/>
                </a:lnTo>
                <a:lnTo>
                  <a:pt x="502" y="1142"/>
                </a:lnTo>
                <a:close/>
                <a:moveTo>
                  <a:pt x="497" y="1133"/>
                </a:moveTo>
                <a:lnTo>
                  <a:pt x="511" y="1137"/>
                </a:lnTo>
                <a:lnTo>
                  <a:pt x="525" y="1141"/>
                </a:lnTo>
                <a:lnTo>
                  <a:pt x="510" y="1141"/>
                </a:lnTo>
                <a:lnTo>
                  <a:pt x="497" y="1135"/>
                </a:lnTo>
                <a:lnTo>
                  <a:pt x="497" y="1134"/>
                </a:lnTo>
                <a:lnTo>
                  <a:pt x="497" y="1133"/>
                </a:lnTo>
                <a:close/>
                <a:moveTo>
                  <a:pt x="508" y="994"/>
                </a:moveTo>
                <a:lnTo>
                  <a:pt x="503" y="1002"/>
                </a:lnTo>
                <a:lnTo>
                  <a:pt x="495" y="1008"/>
                </a:lnTo>
                <a:lnTo>
                  <a:pt x="492" y="1013"/>
                </a:lnTo>
                <a:lnTo>
                  <a:pt x="486" y="1015"/>
                </a:lnTo>
                <a:lnTo>
                  <a:pt x="495" y="1004"/>
                </a:lnTo>
                <a:lnTo>
                  <a:pt x="508" y="994"/>
                </a:lnTo>
                <a:close/>
                <a:moveTo>
                  <a:pt x="522" y="928"/>
                </a:moveTo>
                <a:lnTo>
                  <a:pt x="516" y="931"/>
                </a:lnTo>
                <a:lnTo>
                  <a:pt x="511" y="932"/>
                </a:lnTo>
                <a:lnTo>
                  <a:pt x="513" y="929"/>
                </a:lnTo>
                <a:lnTo>
                  <a:pt x="516" y="928"/>
                </a:lnTo>
                <a:lnTo>
                  <a:pt x="520" y="925"/>
                </a:lnTo>
                <a:lnTo>
                  <a:pt x="520" y="922"/>
                </a:lnTo>
                <a:lnTo>
                  <a:pt x="518" y="920"/>
                </a:lnTo>
                <a:lnTo>
                  <a:pt x="517" y="920"/>
                </a:lnTo>
                <a:lnTo>
                  <a:pt x="514" y="920"/>
                </a:lnTo>
                <a:lnTo>
                  <a:pt x="511" y="921"/>
                </a:lnTo>
                <a:lnTo>
                  <a:pt x="514" y="920"/>
                </a:lnTo>
                <a:lnTo>
                  <a:pt x="517" y="920"/>
                </a:lnTo>
                <a:lnTo>
                  <a:pt x="523" y="918"/>
                </a:lnTo>
                <a:lnTo>
                  <a:pt x="525" y="923"/>
                </a:lnTo>
                <a:lnTo>
                  <a:pt x="525" y="927"/>
                </a:lnTo>
                <a:lnTo>
                  <a:pt x="522" y="928"/>
                </a:lnTo>
                <a:close/>
                <a:moveTo>
                  <a:pt x="534" y="929"/>
                </a:moveTo>
                <a:lnTo>
                  <a:pt x="529" y="935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22" y="938"/>
                </a:lnTo>
                <a:lnTo>
                  <a:pt x="522" y="938"/>
                </a:lnTo>
                <a:lnTo>
                  <a:pt x="521" y="938"/>
                </a:lnTo>
                <a:lnTo>
                  <a:pt x="518" y="938"/>
                </a:lnTo>
                <a:lnTo>
                  <a:pt x="518" y="938"/>
                </a:lnTo>
                <a:lnTo>
                  <a:pt x="520" y="938"/>
                </a:lnTo>
                <a:lnTo>
                  <a:pt x="518" y="938"/>
                </a:lnTo>
                <a:lnTo>
                  <a:pt x="518" y="938"/>
                </a:lnTo>
                <a:lnTo>
                  <a:pt x="518" y="938"/>
                </a:lnTo>
                <a:lnTo>
                  <a:pt x="524" y="931"/>
                </a:lnTo>
                <a:lnTo>
                  <a:pt x="534" y="929"/>
                </a:lnTo>
                <a:close/>
                <a:moveTo>
                  <a:pt x="545" y="917"/>
                </a:moveTo>
                <a:lnTo>
                  <a:pt x="541" y="918"/>
                </a:lnTo>
                <a:lnTo>
                  <a:pt x="536" y="922"/>
                </a:lnTo>
                <a:lnTo>
                  <a:pt x="531" y="922"/>
                </a:lnTo>
                <a:lnTo>
                  <a:pt x="528" y="917"/>
                </a:lnTo>
                <a:lnTo>
                  <a:pt x="528" y="914"/>
                </a:lnTo>
                <a:lnTo>
                  <a:pt x="531" y="911"/>
                </a:lnTo>
                <a:lnTo>
                  <a:pt x="536" y="909"/>
                </a:lnTo>
                <a:lnTo>
                  <a:pt x="542" y="907"/>
                </a:lnTo>
                <a:lnTo>
                  <a:pt x="548" y="908"/>
                </a:lnTo>
                <a:lnTo>
                  <a:pt x="550" y="913"/>
                </a:lnTo>
                <a:lnTo>
                  <a:pt x="548" y="915"/>
                </a:lnTo>
                <a:lnTo>
                  <a:pt x="545" y="917"/>
                </a:lnTo>
                <a:close/>
                <a:moveTo>
                  <a:pt x="539" y="972"/>
                </a:moveTo>
                <a:lnTo>
                  <a:pt x="538" y="973"/>
                </a:lnTo>
                <a:lnTo>
                  <a:pt x="537" y="973"/>
                </a:lnTo>
                <a:lnTo>
                  <a:pt x="524" y="985"/>
                </a:lnTo>
                <a:lnTo>
                  <a:pt x="509" y="993"/>
                </a:lnTo>
                <a:lnTo>
                  <a:pt x="522" y="981"/>
                </a:lnTo>
                <a:lnTo>
                  <a:pt x="537" y="973"/>
                </a:lnTo>
                <a:lnTo>
                  <a:pt x="538" y="972"/>
                </a:lnTo>
                <a:lnTo>
                  <a:pt x="538" y="971"/>
                </a:lnTo>
                <a:lnTo>
                  <a:pt x="538" y="972"/>
                </a:lnTo>
                <a:lnTo>
                  <a:pt x="539" y="972"/>
                </a:lnTo>
                <a:close/>
                <a:moveTo>
                  <a:pt x="536" y="963"/>
                </a:moveTo>
                <a:lnTo>
                  <a:pt x="530" y="963"/>
                </a:lnTo>
                <a:lnTo>
                  <a:pt x="532" y="957"/>
                </a:lnTo>
                <a:lnTo>
                  <a:pt x="532" y="956"/>
                </a:lnTo>
                <a:lnTo>
                  <a:pt x="532" y="953"/>
                </a:lnTo>
                <a:lnTo>
                  <a:pt x="530" y="952"/>
                </a:lnTo>
                <a:lnTo>
                  <a:pt x="528" y="953"/>
                </a:lnTo>
                <a:lnTo>
                  <a:pt x="524" y="955"/>
                </a:lnTo>
                <a:lnTo>
                  <a:pt x="521" y="952"/>
                </a:lnTo>
                <a:lnTo>
                  <a:pt x="521" y="951"/>
                </a:lnTo>
                <a:lnTo>
                  <a:pt x="522" y="950"/>
                </a:lnTo>
                <a:lnTo>
                  <a:pt x="527" y="948"/>
                </a:lnTo>
                <a:lnTo>
                  <a:pt x="530" y="946"/>
                </a:lnTo>
                <a:lnTo>
                  <a:pt x="538" y="952"/>
                </a:lnTo>
                <a:lnTo>
                  <a:pt x="544" y="963"/>
                </a:lnTo>
                <a:lnTo>
                  <a:pt x="539" y="963"/>
                </a:lnTo>
                <a:lnTo>
                  <a:pt x="536" y="963"/>
                </a:lnTo>
                <a:close/>
                <a:moveTo>
                  <a:pt x="600" y="910"/>
                </a:moveTo>
                <a:lnTo>
                  <a:pt x="606" y="910"/>
                </a:lnTo>
                <a:lnTo>
                  <a:pt x="611" y="914"/>
                </a:lnTo>
                <a:lnTo>
                  <a:pt x="612" y="916"/>
                </a:lnTo>
                <a:lnTo>
                  <a:pt x="610" y="918"/>
                </a:lnTo>
                <a:lnTo>
                  <a:pt x="606" y="921"/>
                </a:lnTo>
                <a:lnTo>
                  <a:pt x="604" y="923"/>
                </a:lnTo>
                <a:lnTo>
                  <a:pt x="608" y="924"/>
                </a:lnTo>
                <a:lnTo>
                  <a:pt x="611" y="927"/>
                </a:lnTo>
                <a:lnTo>
                  <a:pt x="610" y="931"/>
                </a:lnTo>
                <a:lnTo>
                  <a:pt x="606" y="935"/>
                </a:lnTo>
                <a:lnTo>
                  <a:pt x="592" y="942"/>
                </a:lnTo>
                <a:lnTo>
                  <a:pt x="576" y="948"/>
                </a:lnTo>
                <a:lnTo>
                  <a:pt x="569" y="951"/>
                </a:lnTo>
                <a:lnTo>
                  <a:pt x="563" y="955"/>
                </a:lnTo>
                <a:lnTo>
                  <a:pt x="554" y="956"/>
                </a:lnTo>
                <a:lnTo>
                  <a:pt x="545" y="951"/>
                </a:lnTo>
                <a:lnTo>
                  <a:pt x="536" y="939"/>
                </a:lnTo>
                <a:lnTo>
                  <a:pt x="548" y="931"/>
                </a:lnTo>
                <a:lnTo>
                  <a:pt x="573" y="920"/>
                </a:lnTo>
                <a:lnTo>
                  <a:pt x="600" y="910"/>
                </a:lnTo>
                <a:close/>
                <a:moveTo>
                  <a:pt x="614" y="901"/>
                </a:moveTo>
                <a:lnTo>
                  <a:pt x="598" y="906"/>
                </a:lnTo>
                <a:lnTo>
                  <a:pt x="580" y="909"/>
                </a:lnTo>
                <a:lnTo>
                  <a:pt x="599" y="901"/>
                </a:lnTo>
                <a:lnTo>
                  <a:pt x="619" y="896"/>
                </a:lnTo>
                <a:lnTo>
                  <a:pt x="617" y="899"/>
                </a:lnTo>
                <a:lnTo>
                  <a:pt x="614" y="901"/>
                </a:lnTo>
                <a:close/>
                <a:moveTo>
                  <a:pt x="585" y="951"/>
                </a:moveTo>
                <a:lnTo>
                  <a:pt x="601" y="943"/>
                </a:lnTo>
                <a:lnTo>
                  <a:pt x="618" y="937"/>
                </a:lnTo>
                <a:lnTo>
                  <a:pt x="619" y="938"/>
                </a:lnTo>
                <a:lnTo>
                  <a:pt x="619" y="939"/>
                </a:lnTo>
                <a:lnTo>
                  <a:pt x="603" y="945"/>
                </a:lnTo>
                <a:lnTo>
                  <a:pt x="585" y="951"/>
                </a:lnTo>
                <a:close/>
                <a:moveTo>
                  <a:pt x="579" y="950"/>
                </a:moveTo>
                <a:lnTo>
                  <a:pt x="580" y="951"/>
                </a:lnTo>
                <a:lnTo>
                  <a:pt x="582" y="952"/>
                </a:lnTo>
                <a:lnTo>
                  <a:pt x="579" y="952"/>
                </a:lnTo>
                <a:lnTo>
                  <a:pt x="578" y="953"/>
                </a:lnTo>
                <a:lnTo>
                  <a:pt x="578" y="951"/>
                </a:lnTo>
                <a:lnTo>
                  <a:pt x="579" y="950"/>
                </a:lnTo>
                <a:lnTo>
                  <a:pt x="579" y="950"/>
                </a:lnTo>
                <a:close/>
                <a:moveTo>
                  <a:pt x="549" y="969"/>
                </a:moveTo>
                <a:lnTo>
                  <a:pt x="548" y="967"/>
                </a:lnTo>
                <a:lnTo>
                  <a:pt x="548" y="966"/>
                </a:lnTo>
                <a:lnTo>
                  <a:pt x="562" y="958"/>
                </a:lnTo>
                <a:lnTo>
                  <a:pt x="578" y="953"/>
                </a:lnTo>
                <a:lnTo>
                  <a:pt x="563" y="960"/>
                </a:lnTo>
                <a:lnTo>
                  <a:pt x="549" y="969"/>
                </a:lnTo>
                <a:close/>
                <a:moveTo>
                  <a:pt x="641" y="1027"/>
                </a:moveTo>
                <a:lnTo>
                  <a:pt x="640" y="1023"/>
                </a:lnTo>
                <a:lnTo>
                  <a:pt x="640" y="1019"/>
                </a:lnTo>
                <a:lnTo>
                  <a:pt x="638" y="1016"/>
                </a:lnTo>
                <a:lnTo>
                  <a:pt x="640" y="1014"/>
                </a:lnTo>
                <a:lnTo>
                  <a:pt x="647" y="1008"/>
                </a:lnTo>
                <a:lnTo>
                  <a:pt x="653" y="1002"/>
                </a:lnTo>
                <a:lnTo>
                  <a:pt x="651" y="1014"/>
                </a:lnTo>
                <a:lnTo>
                  <a:pt x="640" y="1019"/>
                </a:lnTo>
                <a:lnTo>
                  <a:pt x="640" y="1023"/>
                </a:lnTo>
                <a:lnTo>
                  <a:pt x="641" y="1027"/>
                </a:lnTo>
                <a:close/>
                <a:moveTo>
                  <a:pt x="713" y="941"/>
                </a:moveTo>
                <a:lnTo>
                  <a:pt x="699" y="952"/>
                </a:lnTo>
                <a:lnTo>
                  <a:pt x="686" y="963"/>
                </a:lnTo>
                <a:lnTo>
                  <a:pt x="660" y="983"/>
                </a:lnTo>
                <a:lnTo>
                  <a:pt x="635" y="1002"/>
                </a:lnTo>
                <a:lnTo>
                  <a:pt x="628" y="1006"/>
                </a:lnTo>
                <a:lnTo>
                  <a:pt x="623" y="1011"/>
                </a:lnTo>
                <a:lnTo>
                  <a:pt x="620" y="1013"/>
                </a:lnTo>
                <a:lnTo>
                  <a:pt x="618" y="1013"/>
                </a:lnTo>
                <a:lnTo>
                  <a:pt x="615" y="1011"/>
                </a:lnTo>
                <a:lnTo>
                  <a:pt x="614" y="1007"/>
                </a:lnTo>
                <a:lnTo>
                  <a:pt x="614" y="1004"/>
                </a:lnTo>
                <a:lnTo>
                  <a:pt x="610" y="1005"/>
                </a:lnTo>
                <a:lnTo>
                  <a:pt x="599" y="1002"/>
                </a:lnTo>
                <a:lnTo>
                  <a:pt x="591" y="995"/>
                </a:lnTo>
                <a:lnTo>
                  <a:pt x="591" y="992"/>
                </a:lnTo>
                <a:lnTo>
                  <a:pt x="593" y="991"/>
                </a:lnTo>
                <a:lnTo>
                  <a:pt x="599" y="987"/>
                </a:lnTo>
                <a:lnTo>
                  <a:pt x="598" y="981"/>
                </a:lnTo>
                <a:lnTo>
                  <a:pt x="593" y="977"/>
                </a:lnTo>
                <a:lnTo>
                  <a:pt x="587" y="976"/>
                </a:lnTo>
                <a:lnTo>
                  <a:pt x="577" y="977"/>
                </a:lnTo>
                <a:lnTo>
                  <a:pt x="568" y="976"/>
                </a:lnTo>
                <a:lnTo>
                  <a:pt x="564" y="973"/>
                </a:lnTo>
                <a:lnTo>
                  <a:pt x="563" y="971"/>
                </a:lnTo>
                <a:lnTo>
                  <a:pt x="564" y="969"/>
                </a:lnTo>
                <a:lnTo>
                  <a:pt x="566" y="967"/>
                </a:lnTo>
                <a:lnTo>
                  <a:pt x="587" y="957"/>
                </a:lnTo>
                <a:lnTo>
                  <a:pt x="611" y="949"/>
                </a:lnTo>
                <a:lnTo>
                  <a:pt x="649" y="941"/>
                </a:lnTo>
                <a:lnTo>
                  <a:pt x="690" y="938"/>
                </a:lnTo>
                <a:lnTo>
                  <a:pt x="701" y="939"/>
                </a:lnTo>
                <a:lnTo>
                  <a:pt x="713" y="941"/>
                </a:lnTo>
                <a:close/>
                <a:moveTo>
                  <a:pt x="716" y="931"/>
                </a:moveTo>
                <a:lnTo>
                  <a:pt x="718" y="932"/>
                </a:lnTo>
                <a:lnTo>
                  <a:pt x="722" y="934"/>
                </a:lnTo>
                <a:lnTo>
                  <a:pt x="718" y="936"/>
                </a:lnTo>
                <a:lnTo>
                  <a:pt x="714" y="935"/>
                </a:lnTo>
                <a:lnTo>
                  <a:pt x="710" y="935"/>
                </a:lnTo>
                <a:lnTo>
                  <a:pt x="707" y="932"/>
                </a:lnTo>
                <a:lnTo>
                  <a:pt x="707" y="932"/>
                </a:lnTo>
                <a:lnTo>
                  <a:pt x="708" y="931"/>
                </a:lnTo>
                <a:lnTo>
                  <a:pt x="711" y="930"/>
                </a:lnTo>
                <a:lnTo>
                  <a:pt x="716" y="931"/>
                </a:lnTo>
                <a:close/>
                <a:moveTo>
                  <a:pt x="762" y="900"/>
                </a:moveTo>
                <a:lnTo>
                  <a:pt x="744" y="915"/>
                </a:lnTo>
                <a:lnTo>
                  <a:pt x="727" y="928"/>
                </a:lnTo>
                <a:lnTo>
                  <a:pt x="720" y="929"/>
                </a:lnTo>
                <a:lnTo>
                  <a:pt x="713" y="927"/>
                </a:lnTo>
                <a:lnTo>
                  <a:pt x="724" y="913"/>
                </a:lnTo>
                <a:lnTo>
                  <a:pt x="736" y="899"/>
                </a:lnTo>
                <a:lnTo>
                  <a:pt x="739" y="896"/>
                </a:lnTo>
                <a:lnTo>
                  <a:pt x="744" y="896"/>
                </a:lnTo>
                <a:lnTo>
                  <a:pt x="752" y="897"/>
                </a:lnTo>
                <a:lnTo>
                  <a:pt x="762" y="900"/>
                </a:lnTo>
                <a:close/>
                <a:moveTo>
                  <a:pt x="776" y="883"/>
                </a:moveTo>
                <a:lnTo>
                  <a:pt x="775" y="883"/>
                </a:lnTo>
                <a:lnTo>
                  <a:pt x="772" y="882"/>
                </a:lnTo>
                <a:lnTo>
                  <a:pt x="772" y="880"/>
                </a:lnTo>
                <a:lnTo>
                  <a:pt x="775" y="878"/>
                </a:lnTo>
                <a:lnTo>
                  <a:pt x="784" y="871"/>
                </a:lnTo>
                <a:lnTo>
                  <a:pt x="797" y="873"/>
                </a:lnTo>
                <a:lnTo>
                  <a:pt x="787" y="881"/>
                </a:lnTo>
                <a:lnTo>
                  <a:pt x="776" y="883"/>
                </a:lnTo>
                <a:lnTo>
                  <a:pt x="776" y="883"/>
                </a:lnTo>
                <a:close/>
                <a:moveTo>
                  <a:pt x="793" y="888"/>
                </a:moveTo>
                <a:lnTo>
                  <a:pt x="803" y="878"/>
                </a:lnTo>
                <a:lnTo>
                  <a:pt x="817" y="880"/>
                </a:lnTo>
                <a:lnTo>
                  <a:pt x="804" y="889"/>
                </a:lnTo>
                <a:lnTo>
                  <a:pt x="793" y="888"/>
                </a:lnTo>
                <a:close/>
                <a:moveTo>
                  <a:pt x="777" y="966"/>
                </a:moveTo>
                <a:lnTo>
                  <a:pt x="777" y="969"/>
                </a:lnTo>
                <a:lnTo>
                  <a:pt x="776" y="970"/>
                </a:lnTo>
                <a:lnTo>
                  <a:pt x="772" y="971"/>
                </a:lnTo>
                <a:lnTo>
                  <a:pt x="770" y="969"/>
                </a:lnTo>
                <a:lnTo>
                  <a:pt x="766" y="964"/>
                </a:lnTo>
                <a:lnTo>
                  <a:pt x="763" y="959"/>
                </a:lnTo>
                <a:lnTo>
                  <a:pt x="762" y="957"/>
                </a:lnTo>
                <a:lnTo>
                  <a:pt x="763" y="956"/>
                </a:lnTo>
                <a:lnTo>
                  <a:pt x="764" y="955"/>
                </a:lnTo>
                <a:lnTo>
                  <a:pt x="766" y="955"/>
                </a:lnTo>
                <a:lnTo>
                  <a:pt x="772" y="960"/>
                </a:lnTo>
                <a:lnTo>
                  <a:pt x="777" y="966"/>
                </a:lnTo>
                <a:close/>
                <a:moveTo>
                  <a:pt x="800" y="922"/>
                </a:moveTo>
                <a:lnTo>
                  <a:pt x="783" y="932"/>
                </a:lnTo>
                <a:lnTo>
                  <a:pt x="765" y="944"/>
                </a:lnTo>
                <a:lnTo>
                  <a:pt x="757" y="941"/>
                </a:lnTo>
                <a:lnTo>
                  <a:pt x="749" y="937"/>
                </a:lnTo>
                <a:lnTo>
                  <a:pt x="745" y="934"/>
                </a:lnTo>
                <a:lnTo>
                  <a:pt x="739" y="931"/>
                </a:lnTo>
                <a:lnTo>
                  <a:pt x="753" y="920"/>
                </a:lnTo>
                <a:lnTo>
                  <a:pt x="769" y="908"/>
                </a:lnTo>
                <a:lnTo>
                  <a:pt x="778" y="907"/>
                </a:lnTo>
                <a:lnTo>
                  <a:pt x="787" y="908"/>
                </a:lnTo>
                <a:lnTo>
                  <a:pt x="792" y="913"/>
                </a:lnTo>
                <a:lnTo>
                  <a:pt x="798" y="914"/>
                </a:lnTo>
                <a:lnTo>
                  <a:pt x="804" y="916"/>
                </a:lnTo>
                <a:lnTo>
                  <a:pt x="800" y="922"/>
                </a:lnTo>
                <a:lnTo>
                  <a:pt x="800" y="922"/>
                </a:lnTo>
                <a:close/>
                <a:moveTo>
                  <a:pt x="820" y="899"/>
                </a:moveTo>
                <a:lnTo>
                  <a:pt x="815" y="897"/>
                </a:lnTo>
                <a:lnTo>
                  <a:pt x="812" y="896"/>
                </a:lnTo>
                <a:lnTo>
                  <a:pt x="811" y="897"/>
                </a:lnTo>
                <a:lnTo>
                  <a:pt x="808" y="900"/>
                </a:lnTo>
                <a:lnTo>
                  <a:pt x="813" y="906"/>
                </a:lnTo>
                <a:lnTo>
                  <a:pt x="820" y="907"/>
                </a:lnTo>
                <a:lnTo>
                  <a:pt x="822" y="908"/>
                </a:lnTo>
                <a:lnTo>
                  <a:pt x="821" y="910"/>
                </a:lnTo>
                <a:lnTo>
                  <a:pt x="819" y="914"/>
                </a:lnTo>
                <a:lnTo>
                  <a:pt x="814" y="913"/>
                </a:lnTo>
                <a:lnTo>
                  <a:pt x="808" y="909"/>
                </a:lnTo>
                <a:lnTo>
                  <a:pt x="803" y="906"/>
                </a:lnTo>
                <a:lnTo>
                  <a:pt x="798" y="902"/>
                </a:lnTo>
                <a:lnTo>
                  <a:pt x="793" y="902"/>
                </a:lnTo>
                <a:lnTo>
                  <a:pt x="792" y="904"/>
                </a:lnTo>
                <a:lnTo>
                  <a:pt x="790" y="907"/>
                </a:lnTo>
                <a:lnTo>
                  <a:pt x="792" y="904"/>
                </a:lnTo>
                <a:lnTo>
                  <a:pt x="793" y="902"/>
                </a:lnTo>
                <a:lnTo>
                  <a:pt x="791" y="900"/>
                </a:lnTo>
                <a:lnTo>
                  <a:pt x="787" y="899"/>
                </a:lnTo>
                <a:lnTo>
                  <a:pt x="784" y="897"/>
                </a:lnTo>
                <a:lnTo>
                  <a:pt x="783" y="895"/>
                </a:lnTo>
                <a:lnTo>
                  <a:pt x="785" y="893"/>
                </a:lnTo>
                <a:lnTo>
                  <a:pt x="790" y="893"/>
                </a:lnTo>
                <a:lnTo>
                  <a:pt x="791" y="893"/>
                </a:lnTo>
                <a:lnTo>
                  <a:pt x="792" y="894"/>
                </a:lnTo>
                <a:lnTo>
                  <a:pt x="800" y="899"/>
                </a:lnTo>
                <a:lnTo>
                  <a:pt x="808" y="900"/>
                </a:lnTo>
                <a:lnTo>
                  <a:pt x="811" y="897"/>
                </a:lnTo>
                <a:lnTo>
                  <a:pt x="812" y="896"/>
                </a:lnTo>
                <a:lnTo>
                  <a:pt x="810" y="894"/>
                </a:lnTo>
                <a:lnTo>
                  <a:pt x="810" y="893"/>
                </a:lnTo>
                <a:lnTo>
                  <a:pt x="818" y="886"/>
                </a:lnTo>
                <a:lnTo>
                  <a:pt x="828" y="883"/>
                </a:lnTo>
                <a:lnTo>
                  <a:pt x="832" y="885"/>
                </a:lnTo>
                <a:lnTo>
                  <a:pt x="835" y="888"/>
                </a:lnTo>
                <a:lnTo>
                  <a:pt x="827" y="894"/>
                </a:lnTo>
                <a:lnTo>
                  <a:pt x="820" y="899"/>
                </a:lnTo>
                <a:close/>
                <a:moveTo>
                  <a:pt x="833" y="907"/>
                </a:moveTo>
                <a:lnTo>
                  <a:pt x="833" y="907"/>
                </a:lnTo>
                <a:lnTo>
                  <a:pt x="828" y="906"/>
                </a:lnTo>
                <a:lnTo>
                  <a:pt x="824" y="902"/>
                </a:lnTo>
                <a:lnTo>
                  <a:pt x="827" y="899"/>
                </a:lnTo>
                <a:lnTo>
                  <a:pt x="832" y="897"/>
                </a:lnTo>
                <a:lnTo>
                  <a:pt x="834" y="902"/>
                </a:lnTo>
                <a:lnTo>
                  <a:pt x="833" y="907"/>
                </a:lnTo>
                <a:lnTo>
                  <a:pt x="833" y="907"/>
                </a:lnTo>
                <a:close/>
                <a:moveTo>
                  <a:pt x="849" y="916"/>
                </a:moveTo>
                <a:lnTo>
                  <a:pt x="844" y="917"/>
                </a:lnTo>
                <a:lnTo>
                  <a:pt x="839" y="913"/>
                </a:lnTo>
                <a:lnTo>
                  <a:pt x="842" y="909"/>
                </a:lnTo>
                <a:lnTo>
                  <a:pt x="847" y="909"/>
                </a:lnTo>
                <a:lnTo>
                  <a:pt x="849" y="913"/>
                </a:lnTo>
                <a:lnTo>
                  <a:pt x="849" y="916"/>
                </a:lnTo>
                <a:lnTo>
                  <a:pt x="849" y="916"/>
                </a:lnTo>
                <a:close/>
                <a:moveTo>
                  <a:pt x="877" y="937"/>
                </a:moveTo>
                <a:lnTo>
                  <a:pt x="872" y="939"/>
                </a:lnTo>
                <a:lnTo>
                  <a:pt x="866" y="942"/>
                </a:lnTo>
                <a:lnTo>
                  <a:pt x="862" y="943"/>
                </a:lnTo>
                <a:lnTo>
                  <a:pt x="859" y="939"/>
                </a:lnTo>
                <a:lnTo>
                  <a:pt x="859" y="935"/>
                </a:lnTo>
                <a:lnTo>
                  <a:pt x="862" y="932"/>
                </a:lnTo>
                <a:lnTo>
                  <a:pt x="869" y="930"/>
                </a:lnTo>
                <a:lnTo>
                  <a:pt x="876" y="928"/>
                </a:lnTo>
                <a:lnTo>
                  <a:pt x="880" y="929"/>
                </a:lnTo>
                <a:lnTo>
                  <a:pt x="882" y="932"/>
                </a:lnTo>
                <a:lnTo>
                  <a:pt x="881" y="936"/>
                </a:lnTo>
                <a:lnTo>
                  <a:pt x="877" y="937"/>
                </a:lnTo>
                <a:lnTo>
                  <a:pt x="877" y="937"/>
                </a:lnTo>
                <a:close/>
                <a:moveTo>
                  <a:pt x="874" y="979"/>
                </a:moveTo>
                <a:lnTo>
                  <a:pt x="874" y="984"/>
                </a:lnTo>
                <a:lnTo>
                  <a:pt x="875" y="988"/>
                </a:lnTo>
                <a:lnTo>
                  <a:pt x="873" y="988"/>
                </a:lnTo>
                <a:lnTo>
                  <a:pt x="870" y="988"/>
                </a:lnTo>
                <a:lnTo>
                  <a:pt x="867" y="986"/>
                </a:lnTo>
                <a:lnTo>
                  <a:pt x="866" y="981"/>
                </a:lnTo>
                <a:lnTo>
                  <a:pt x="865" y="979"/>
                </a:lnTo>
                <a:lnTo>
                  <a:pt x="865" y="977"/>
                </a:lnTo>
                <a:lnTo>
                  <a:pt x="865" y="979"/>
                </a:lnTo>
                <a:lnTo>
                  <a:pt x="866" y="981"/>
                </a:lnTo>
                <a:lnTo>
                  <a:pt x="870" y="979"/>
                </a:lnTo>
                <a:lnTo>
                  <a:pt x="874" y="979"/>
                </a:lnTo>
                <a:close/>
                <a:moveTo>
                  <a:pt x="874" y="963"/>
                </a:moveTo>
                <a:lnTo>
                  <a:pt x="874" y="967"/>
                </a:lnTo>
                <a:lnTo>
                  <a:pt x="870" y="970"/>
                </a:lnTo>
                <a:lnTo>
                  <a:pt x="867" y="967"/>
                </a:lnTo>
                <a:lnTo>
                  <a:pt x="867" y="964"/>
                </a:lnTo>
                <a:lnTo>
                  <a:pt x="869" y="960"/>
                </a:lnTo>
                <a:lnTo>
                  <a:pt x="874" y="960"/>
                </a:lnTo>
                <a:lnTo>
                  <a:pt x="874" y="962"/>
                </a:lnTo>
                <a:lnTo>
                  <a:pt x="874" y="963"/>
                </a:lnTo>
                <a:close/>
                <a:moveTo>
                  <a:pt x="888" y="952"/>
                </a:moveTo>
                <a:lnTo>
                  <a:pt x="888" y="952"/>
                </a:lnTo>
                <a:lnTo>
                  <a:pt x="888" y="952"/>
                </a:lnTo>
                <a:lnTo>
                  <a:pt x="876" y="955"/>
                </a:lnTo>
                <a:lnTo>
                  <a:pt x="865" y="957"/>
                </a:lnTo>
                <a:lnTo>
                  <a:pt x="865" y="952"/>
                </a:lnTo>
                <a:lnTo>
                  <a:pt x="866" y="948"/>
                </a:lnTo>
                <a:lnTo>
                  <a:pt x="875" y="943"/>
                </a:lnTo>
                <a:lnTo>
                  <a:pt x="884" y="942"/>
                </a:lnTo>
                <a:lnTo>
                  <a:pt x="888" y="945"/>
                </a:lnTo>
                <a:lnTo>
                  <a:pt x="888" y="952"/>
                </a:lnTo>
                <a:lnTo>
                  <a:pt x="888" y="952"/>
                </a:lnTo>
                <a:lnTo>
                  <a:pt x="888" y="952"/>
                </a:lnTo>
                <a:close/>
                <a:moveTo>
                  <a:pt x="852" y="903"/>
                </a:moveTo>
                <a:lnTo>
                  <a:pt x="854" y="902"/>
                </a:lnTo>
                <a:lnTo>
                  <a:pt x="858" y="902"/>
                </a:lnTo>
                <a:lnTo>
                  <a:pt x="861" y="904"/>
                </a:lnTo>
                <a:lnTo>
                  <a:pt x="863" y="908"/>
                </a:lnTo>
                <a:lnTo>
                  <a:pt x="861" y="910"/>
                </a:lnTo>
                <a:lnTo>
                  <a:pt x="858" y="911"/>
                </a:lnTo>
                <a:lnTo>
                  <a:pt x="853" y="909"/>
                </a:lnTo>
                <a:lnTo>
                  <a:pt x="852" y="903"/>
                </a:lnTo>
                <a:close/>
                <a:moveTo>
                  <a:pt x="854" y="920"/>
                </a:moveTo>
                <a:lnTo>
                  <a:pt x="859" y="917"/>
                </a:lnTo>
                <a:lnTo>
                  <a:pt x="865" y="914"/>
                </a:lnTo>
                <a:lnTo>
                  <a:pt x="870" y="914"/>
                </a:lnTo>
                <a:lnTo>
                  <a:pt x="874" y="918"/>
                </a:lnTo>
                <a:lnTo>
                  <a:pt x="873" y="922"/>
                </a:lnTo>
                <a:lnTo>
                  <a:pt x="869" y="923"/>
                </a:lnTo>
                <a:lnTo>
                  <a:pt x="863" y="927"/>
                </a:lnTo>
                <a:lnTo>
                  <a:pt x="856" y="929"/>
                </a:lnTo>
                <a:lnTo>
                  <a:pt x="852" y="928"/>
                </a:lnTo>
                <a:lnTo>
                  <a:pt x="849" y="924"/>
                </a:lnTo>
                <a:lnTo>
                  <a:pt x="851" y="921"/>
                </a:lnTo>
                <a:lnTo>
                  <a:pt x="854" y="920"/>
                </a:lnTo>
                <a:close/>
                <a:moveTo>
                  <a:pt x="835" y="907"/>
                </a:moveTo>
                <a:lnTo>
                  <a:pt x="837" y="907"/>
                </a:lnTo>
                <a:lnTo>
                  <a:pt x="838" y="906"/>
                </a:lnTo>
                <a:lnTo>
                  <a:pt x="837" y="907"/>
                </a:lnTo>
                <a:lnTo>
                  <a:pt x="835" y="907"/>
                </a:lnTo>
                <a:close/>
                <a:moveTo>
                  <a:pt x="838" y="921"/>
                </a:moveTo>
                <a:lnTo>
                  <a:pt x="845" y="930"/>
                </a:lnTo>
                <a:lnTo>
                  <a:pt x="852" y="938"/>
                </a:lnTo>
                <a:lnTo>
                  <a:pt x="854" y="942"/>
                </a:lnTo>
                <a:lnTo>
                  <a:pt x="854" y="945"/>
                </a:lnTo>
                <a:lnTo>
                  <a:pt x="853" y="950"/>
                </a:lnTo>
                <a:lnTo>
                  <a:pt x="856" y="952"/>
                </a:lnTo>
                <a:lnTo>
                  <a:pt x="859" y="956"/>
                </a:lnTo>
                <a:lnTo>
                  <a:pt x="859" y="959"/>
                </a:lnTo>
                <a:lnTo>
                  <a:pt x="856" y="963"/>
                </a:lnTo>
                <a:lnTo>
                  <a:pt x="860" y="965"/>
                </a:lnTo>
                <a:lnTo>
                  <a:pt x="861" y="967"/>
                </a:lnTo>
                <a:lnTo>
                  <a:pt x="861" y="971"/>
                </a:lnTo>
                <a:lnTo>
                  <a:pt x="859" y="973"/>
                </a:lnTo>
                <a:lnTo>
                  <a:pt x="856" y="973"/>
                </a:lnTo>
                <a:lnTo>
                  <a:pt x="853" y="973"/>
                </a:lnTo>
                <a:lnTo>
                  <a:pt x="851" y="971"/>
                </a:lnTo>
                <a:lnTo>
                  <a:pt x="851" y="970"/>
                </a:lnTo>
                <a:lnTo>
                  <a:pt x="851" y="969"/>
                </a:lnTo>
                <a:lnTo>
                  <a:pt x="846" y="952"/>
                </a:lnTo>
                <a:lnTo>
                  <a:pt x="839" y="938"/>
                </a:lnTo>
                <a:lnTo>
                  <a:pt x="834" y="931"/>
                </a:lnTo>
                <a:lnTo>
                  <a:pt x="829" y="925"/>
                </a:lnTo>
                <a:lnTo>
                  <a:pt x="827" y="923"/>
                </a:lnTo>
                <a:lnTo>
                  <a:pt x="826" y="921"/>
                </a:lnTo>
                <a:lnTo>
                  <a:pt x="829" y="918"/>
                </a:lnTo>
                <a:lnTo>
                  <a:pt x="832" y="917"/>
                </a:lnTo>
                <a:lnTo>
                  <a:pt x="835" y="918"/>
                </a:lnTo>
                <a:lnTo>
                  <a:pt x="838" y="921"/>
                </a:lnTo>
                <a:close/>
                <a:moveTo>
                  <a:pt x="751" y="879"/>
                </a:moveTo>
                <a:lnTo>
                  <a:pt x="760" y="876"/>
                </a:lnTo>
                <a:lnTo>
                  <a:pt x="769" y="876"/>
                </a:lnTo>
                <a:lnTo>
                  <a:pt x="760" y="882"/>
                </a:lnTo>
                <a:lnTo>
                  <a:pt x="751" y="879"/>
                </a:lnTo>
                <a:close/>
                <a:moveTo>
                  <a:pt x="756" y="885"/>
                </a:moveTo>
                <a:lnTo>
                  <a:pt x="763" y="887"/>
                </a:lnTo>
                <a:lnTo>
                  <a:pt x="769" y="887"/>
                </a:lnTo>
                <a:lnTo>
                  <a:pt x="772" y="887"/>
                </a:lnTo>
                <a:lnTo>
                  <a:pt x="775" y="890"/>
                </a:lnTo>
                <a:lnTo>
                  <a:pt x="772" y="893"/>
                </a:lnTo>
                <a:lnTo>
                  <a:pt x="769" y="894"/>
                </a:lnTo>
                <a:lnTo>
                  <a:pt x="759" y="893"/>
                </a:lnTo>
                <a:lnTo>
                  <a:pt x="750" y="890"/>
                </a:lnTo>
                <a:lnTo>
                  <a:pt x="748" y="888"/>
                </a:lnTo>
                <a:lnTo>
                  <a:pt x="748" y="885"/>
                </a:lnTo>
                <a:lnTo>
                  <a:pt x="746" y="883"/>
                </a:lnTo>
                <a:lnTo>
                  <a:pt x="746" y="882"/>
                </a:lnTo>
                <a:lnTo>
                  <a:pt x="746" y="883"/>
                </a:lnTo>
                <a:lnTo>
                  <a:pt x="748" y="885"/>
                </a:lnTo>
                <a:lnTo>
                  <a:pt x="751" y="883"/>
                </a:lnTo>
                <a:lnTo>
                  <a:pt x="756" y="885"/>
                </a:lnTo>
                <a:close/>
                <a:moveTo>
                  <a:pt x="594" y="897"/>
                </a:moveTo>
                <a:lnTo>
                  <a:pt x="590" y="899"/>
                </a:lnTo>
                <a:lnTo>
                  <a:pt x="585" y="901"/>
                </a:lnTo>
                <a:lnTo>
                  <a:pt x="582" y="902"/>
                </a:lnTo>
                <a:lnTo>
                  <a:pt x="579" y="900"/>
                </a:lnTo>
                <a:lnTo>
                  <a:pt x="578" y="895"/>
                </a:lnTo>
                <a:lnTo>
                  <a:pt x="580" y="892"/>
                </a:lnTo>
                <a:lnTo>
                  <a:pt x="587" y="888"/>
                </a:lnTo>
                <a:lnTo>
                  <a:pt x="594" y="887"/>
                </a:lnTo>
                <a:lnTo>
                  <a:pt x="598" y="887"/>
                </a:lnTo>
                <a:lnTo>
                  <a:pt x="599" y="892"/>
                </a:lnTo>
                <a:lnTo>
                  <a:pt x="598" y="896"/>
                </a:lnTo>
                <a:lnTo>
                  <a:pt x="594" y="897"/>
                </a:lnTo>
                <a:lnTo>
                  <a:pt x="594" y="897"/>
                </a:lnTo>
                <a:close/>
                <a:moveTo>
                  <a:pt x="554" y="902"/>
                </a:moveTo>
                <a:lnTo>
                  <a:pt x="562" y="897"/>
                </a:lnTo>
                <a:lnTo>
                  <a:pt x="570" y="896"/>
                </a:lnTo>
                <a:lnTo>
                  <a:pt x="573" y="897"/>
                </a:lnTo>
                <a:lnTo>
                  <a:pt x="573" y="902"/>
                </a:lnTo>
                <a:lnTo>
                  <a:pt x="572" y="904"/>
                </a:lnTo>
                <a:lnTo>
                  <a:pt x="569" y="907"/>
                </a:lnTo>
                <a:lnTo>
                  <a:pt x="564" y="909"/>
                </a:lnTo>
                <a:lnTo>
                  <a:pt x="559" y="911"/>
                </a:lnTo>
                <a:lnTo>
                  <a:pt x="556" y="911"/>
                </a:lnTo>
                <a:lnTo>
                  <a:pt x="554" y="909"/>
                </a:lnTo>
                <a:lnTo>
                  <a:pt x="552" y="906"/>
                </a:lnTo>
                <a:lnTo>
                  <a:pt x="554" y="902"/>
                </a:lnTo>
                <a:close/>
                <a:moveTo>
                  <a:pt x="572" y="909"/>
                </a:moveTo>
                <a:lnTo>
                  <a:pt x="575" y="909"/>
                </a:lnTo>
                <a:lnTo>
                  <a:pt x="578" y="909"/>
                </a:lnTo>
                <a:lnTo>
                  <a:pt x="576" y="913"/>
                </a:lnTo>
                <a:lnTo>
                  <a:pt x="573" y="914"/>
                </a:lnTo>
                <a:lnTo>
                  <a:pt x="556" y="922"/>
                </a:lnTo>
                <a:lnTo>
                  <a:pt x="538" y="929"/>
                </a:lnTo>
                <a:lnTo>
                  <a:pt x="536" y="930"/>
                </a:lnTo>
                <a:lnTo>
                  <a:pt x="534" y="929"/>
                </a:lnTo>
                <a:lnTo>
                  <a:pt x="538" y="924"/>
                </a:lnTo>
                <a:lnTo>
                  <a:pt x="544" y="922"/>
                </a:lnTo>
                <a:lnTo>
                  <a:pt x="558" y="916"/>
                </a:lnTo>
                <a:lnTo>
                  <a:pt x="572" y="909"/>
                </a:lnTo>
                <a:close/>
                <a:moveTo>
                  <a:pt x="462" y="951"/>
                </a:moveTo>
                <a:lnTo>
                  <a:pt x="469" y="946"/>
                </a:lnTo>
                <a:lnTo>
                  <a:pt x="479" y="949"/>
                </a:lnTo>
                <a:lnTo>
                  <a:pt x="480" y="950"/>
                </a:lnTo>
                <a:lnTo>
                  <a:pt x="481" y="950"/>
                </a:lnTo>
                <a:lnTo>
                  <a:pt x="474" y="957"/>
                </a:lnTo>
                <a:lnTo>
                  <a:pt x="465" y="960"/>
                </a:lnTo>
                <a:lnTo>
                  <a:pt x="460" y="959"/>
                </a:lnTo>
                <a:lnTo>
                  <a:pt x="456" y="957"/>
                </a:lnTo>
                <a:lnTo>
                  <a:pt x="458" y="953"/>
                </a:lnTo>
                <a:lnTo>
                  <a:pt x="462" y="951"/>
                </a:lnTo>
                <a:close/>
                <a:moveTo>
                  <a:pt x="459" y="964"/>
                </a:moveTo>
                <a:lnTo>
                  <a:pt x="460" y="965"/>
                </a:lnTo>
                <a:lnTo>
                  <a:pt x="461" y="966"/>
                </a:lnTo>
                <a:lnTo>
                  <a:pt x="454" y="972"/>
                </a:lnTo>
                <a:lnTo>
                  <a:pt x="447" y="976"/>
                </a:lnTo>
                <a:lnTo>
                  <a:pt x="446" y="976"/>
                </a:lnTo>
                <a:lnTo>
                  <a:pt x="445" y="976"/>
                </a:lnTo>
                <a:lnTo>
                  <a:pt x="440" y="974"/>
                </a:lnTo>
                <a:lnTo>
                  <a:pt x="437" y="972"/>
                </a:lnTo>
                <a:lnTo>
                  <a:pt x="438" y="969"/>
                </a:lnTo>
                <a:lnTo>
                  <a:pt x="442" y="965"/>
                </a:lnTo>
                <a:lnTo>
                  <a:pt x="449" y="960"/>
                </a:lnTo>
                <a:lnTo>
                  <a:pt x="459" y="964"/>
                </a:lnTo>
                <a:close/>
                <a:moveTo>
                  <a:pt x="414" y="1016"/>
                </a:moveTo>
                <a:lnTo>
                  <a:pt x="417" y="1015"/>
                </a:lnTo>
                <a:lnTo>
                  <a:pt x="419" y="1016"/>
                </a:lnTo>
                <a:lnTo>
                  <a:pt x="420" y="1019"/>
                </a:lnTo>
                <a:lnTo>
                  <a:pt x="419" y="1020"/>
                </a:lnTo>
                <a:lnTo>
                  <a:pt x="416" y="1026"/>
                </a:lnTo>
                <a:lnTo>
                  <a:pt x="411" y="1030"/>
                </a:lnTo>
                <a:lnTo>
                  <a:pt x="405" y="1043"/>
                </a:lnTo>
                <a:lnTo>
                  <a:pt x="398" y="1055"/>
                </a:lnTo>
                <a:lnTo>
                  <a:pt x="393" y="1068"/>
                </a:lnTo>
                <a:lnTo>
                  <a:pt x="390" y="1081"/>
                </a:lnTo>
                <a:lnTo>
                  <a:pt x="389" y="1083"/>
                </a:lnTo>
                <a:lnTo>
                  <a:pt x="386" y="1085"/>
                </a:lnTo>
                <a:lnTo>
                  <a:pt x="383" y="1085"/>
                </a:lnTo>
                <a:lnTo>
                  <a:pt x="380" y="1084"/>
                </a:lnTo>
                <a:lnTo>
                  <a:pt x="382" y="1081"/>
                </a:lnTo>
                <a:lnTo>
                  <a:pt x="383" y="1078"/>
                </a:lnTo>
                <a:lnTo>
                  <a:pt x="385" y="1067"/>
                </a:lnTo>
                <a:lnTo>
                  <a:pt x="391" y="1056"/>
                </a:lnTo>
                <a:lnTo>
                  <a:pt x="397" y="1042"/>
                </a:lnTo>
                <a:lnTo>
                  <a:pt x="407" y="1029"/>
                </a:lnTo>
                <a:lnTo>
                  <a:pt x="409" y="1029"/>
                </a:lnTo>
                <a:lnTo>
                  <a:pt x="410" y="1029"/>
                </a:lnTo>
                <a:lnTo>
                  <a:pt x="411" y="1022"/>
                </a:lnTo>
                <a:lnTo>
                  <a:pt x="414" y="1016"/>
                </a:lnTo>
                <a:close/>
                <a:moveTo>
                  <a:pt x="359" y="1154"/>
                </a:moveTo>
                <a:lnTo>
                  <a:pt x="359" y="1149"/>
                </a:lnTo>
                <a:lnTo>
                  <a:pt x="363" y="1147"/>
                </a:lnTo>
                <a:lnTo>
                  <a:pt x="369" y="1145"/>
                </a:lnTo>
                <a:lnTo>
                  <a:pt x="376" y="1142"/>
                </a:lnTo>
                <a:lnTo>
                  <a:pt x="380" y="1142"/>
                </a:lnTo>
                <a:lnTo>
                  <a:pt x="384" y="1148"/>
                </a:lnTo>
                <a:lnTo>
                  <a:pt x="383" y="1149"/>
                </a:lnTo>
                <a:lnTo>
                  <a:pt x="380" y="1151"/>
                </a:lnTo>
                <a:lnTo>
                  <a:pt x="373" y="1154"/>
                </a:lnTo>
                <a:lnTo>
                  <a:pt x="368" y="1158"/>
                </a:lnTo>
                <a:lnTo>
                  <a:pt x="363" y="1158"/>
                </a:lnTo>
                <a:lnTo>
                  <a:pt x="359" y="1154"/>
                </a:lnTo>
                <a:close/>
                <a:moveTo>
                  <a:pt x="297" y="1170"/>
                </a:moveTo>
                <a:lnTo>
                  <a:pt x="299" y="1166"/>
                </a:lnTo>
                <a:lnTo>
                  <a:pt x="301" y="1162"/>
                </a:lnTo>
                <a:lnTo>
                  <a:pt x="302" y="1163"/>
                </a:lnTo>
                <a:lnTo>
                  <a:pt x="303" y="1165"/>
                </a:lnTo>
                <a:lnTo>
                  <a:pt x="328" y="1197"/>
                </a:lnTo>
                <a:lnTo>
                  <a:pt x="362" y="1220"/>
                </a:lnTo>
                <a:lnTo>
                  <a:pt x="397" y="1232"/>
                </a:lnTo>
                <a:lnTo>
                  <a:pt x="433" y="1241"/>
                </a:lnTo>
                <a:lnTo>
                  <a:pt x="472" y="1242"/>
                </a:lnTo>
                <a:lnTo>
                  <a:pt x="510" y="1234"/>
                </a:lnTo>
                <a:lnTo>
                  <a:pt x="476" y="1232"/>
                </a:lnTo>
                <a:lnTo>
                  <a:pt x="444" y="1231"/>
                </a:lnTo>
                <a:lnTo>
                  <a:pt x="401" y="1223"/>
                </a:lnTo>
                <a:lnTo>
                  <a:pt x="362" y="1208"/>
                </a:lnTo>
                <a:lnTo>
                  <a:pt x="321" y="1177"/>
                </a:lnTo>
                <a:lnTo>
                  <a:pt x="296" y="1132"/>
                </a:lnTo>
                <a:lnTo>
                  <a:pt x="295" y="1137"/>
                </a:lnTo>
                <a:lnTo>
                  <a:pt x="295" y="1140"/>
                </a:lnTo>
                <a:lnTo>
                  <a:pt x="290" y="1169"/>
                </a:lnTo>
                <a:lnTo>
                  <a:pt x="286" y="1200"/>
                </a:lnTo>
                <a:lnTo>
                  <a:pt x="279" y="1242"/>
                </a:lnTo>
                <a:lnTo>
                  <a:pt x="273" y="1283"/>
                </a:lnTo>
                <a:lnTo>
                  <a:pt x="272" y="1286"/>
                </a:lnTo>
                <a:lnTo>
                  <a:pt x="273" y="1288"/>
                </a:lnTo>
                <a:lnTo>
                  <a:pt x="276" y="1288"/>
                </a:lnTo>
                <a:lnTo>
                  <a:pt x="279" y="1287"/>
                </a:lnTo>
                <a:lnTo>
                  <a:pt x="281" y="1285"/>
                </a:lnTo>
                <a:lnTo>
                  <a:pt x="282" y="1280"/>
                </a:lnTo>
                <a:lnTo>
                  <a:pt x="286" y="1258"/>
                </a:lnTo>
                <a:lnTo>
                  <a:pt x="288" y="1236"/>
                </a:lnTo>
                <a:lnTo>
                  <a:pt x="294" y="1203"/>
                </a:lnTo>
                <a:lnTo>
                  <a:pt x="297" y="1170"/>
                </a:lnTo>
                <a:close/>
                <a:moveTo>
                  <a:pt x="873" y="1097"/>
                </a:moveTo>
                <a:lnTo>
                  <a:pt x="867" y="1097"/>
                </a:lnTo>
                <a:lnTo>
                  <a:pt x="861" y="1097"/>
                </a:lnTo>
                <a:lnTo>
                  <a:pt x="867" y="1097"/>
                </a:lnTo>
                <a:lnTo>
                  <a:pt x="873" y="1097"/>
                </a:lnTo>
                <a:close/>
                <a:moveTo>
                  <a:pt x="874" y="1109"/>
                </a:moveTo>
                <a:lnTo>
                  <a:pt x="874" y="1110"/>
                </a:lnTo>
                <a:lnTo>
                  <a:pt x="874" y="1111"/>
                </a:lnTo>
                <a:lnTo>
                  <a:pt x="869" y="1114"/>
                </a:lnTo>
                <a:lnTo>
                  <a:pt x="872" y="1120"/>
                </a:lnTo>
                <a:lnTo>
                  <a:pt x="876" y="1121"/>
                </a:lnTo>
                <a:lnTo>
                  <a:pt x="881" y="1119"/>
                </a:lnTo>
                <a:lnTo>
                  <a:pt x="884" y="1118"/>
                </a:lnTo>
                <a:lnTo>
                  <a:pt x="889" y="1118"/>
                </a:lnTo>
                <a:lnTo>
                  <a:pt x="890" y="1118"/>
                </a:lnTo>
                <a:lnTo>
                  <a:pt x="890" y="1119"/>
                </a:lnTo>
                <a:lnTo>
                  <a:pt x="889" y="1126"/>
                </a:lnTo>
                <a:lnTo>
                  <a:pt x="884" y="1131"/>
                </a:lnTo>
                <a:lnTo>
                  <a:pt x="887" y="1131"/>
                </a:lnTo>
                <a:lnTo>
                  <a:pt x="889" y="1131"/>
                </a:lnTo>
                <a:lnTo>
                  <a:pt x="887" y="1131"/>
                </a:lnTo>
                <a:lnTo>
                  <a:pt x="884" y="1131"/>
                </a:lnTo>
                <a:lnTo>
                  <a:pt x="879" y="1131"/>
                </a:lnTo>
                <a:lnTo>
                  <a:pt x="874" y="1128"/>
                </a:lnTo>
                <a:lnTo>
                  <a:pt x="873" y="1128"/>
                </a:lnTo>
                <a:lnTo>
                  <a:pt x="872" y="1130"/>
                </a:lnTo>
                <a:lnTo>
                  <a:pt x="866" y="1134"/>
                </a:lnTo>
                <a:lnTo>
                  <a:pt x="858" y="1137"/>
                </a:lnTo>
                <a:lnTo>
                  <a:pt x="858" y="1137"/>
                </a:lnTo>
                <a:lnTo>
                  <a:pt x="856" y="1137"/>
                </a:lnTo>
                <a:lnTo>
                  <a:pt x="858" y="1137"/>
                </a:lnTo>
                <a:lnTo>
                  <a:pt x="858" y="1137"/>
                </a:lnTo>
                <a:lnTo>
                  <a:pt x="855" y="1137"/>
                </a:lnTo>
                <a:lnTo>
                  <a:pt x="854" y="1137"/>
                </a:lnTo>
                <a:lnTo>
                  <a:pt x="854" y="1137"/>
                </a:lnTo>
                <a:lnTo>
                  <a:pt x="854" y="1131"/>
                </a:lnTo>
                <a:lnTo>
                  <a:pt x="854" y="1125"/>
                </a:lnTo>
                <a:lnTo>
                  <a:pt x="854" y="1124"/>
                </a:lnTo>
                <a:lnTo>
                  <a:pt x="855" y="1123"/>
                </a:lnTo>
                <a:lnTo>
                  <a:pt x="860" y="1123"/>
                </a:lnTo>
                <a:lnTo>
                  <a:pt x="861" y="1118"/>
                </a:lnTo>
                <a:lnTo>
                  <a:pt x="859" y="1116"/>
                </a:lnTo>
                <a:lnTo>
                  <a:pt x="854" y="1116"/>
                </a:lnTo>
                <a:lnTo>
                  <a:pt x="854" y="1113"/>
                </a:lnTo>
                <a:lnTo>
                  <a:pt x="855" y="1112"/>
                </a:lnTo>
                <a:lnTo>
                  <a:pt x="861" y="1112"/>
                </a:lnTo>
                <a:lnTo>
                  <a:pt x="866" y="1107"/>
                </a:lnTo>
                <a:lnTo>
                  <a:pt x="866" y="1109"/>
                </a:lnTo>
                <a:lnTo>
                  <a:pt x="867" y="1110"/>
                </a:lnTo>
                <a:lnTo>
                  <a:pt x="868" y="1111"/>
                </a:lnTo>
                <a:lnTo>
                  <a:pt x="869" y="1110"/>
                </a:lnTo>
                <a:lnTo>
                  <a:pt x="872" y="1109"/>
                </a:lnTo>
                <a:lnTo>
                  <a:pt x="874" y="1109"/>
                </a:lnTo>
                <a:close/>
                <a:moveTo>
                  <a:pt x="883" y="1109"/>
                </a:moveTo>
                <a:lnTo>
                  <a:pt x="884" y="1107"/>
                </a:lnTo>
                <a:lnTo>
                  <a:pt x="884" y="1106"/>
                </a:lnTo>
                <a:lnTo>
                  <a:pt x="889" y="1110"/>
                </a:lnTo>
                <a:lnTo>
                  <a:pt x="891" y="1116"/>
                </a:lnTo>
                <a:lnTo>
                  <a:pt x="890" y="1116"/>
                </a:lnTo>
                <a:lnTo>
                  <a:pt x="889" y="1116"/>
                </a:lnTo>
                <a:lnTo>
                  <a:pt x="883" y="1116"/>
                </a:lnTo>
                <a:lnTo>
                  <a:pt x="876" y="1116"/>
                </a:lnTo>
                <a:lnTo>
                  <a:pt x="880" y="1112"/>
                </a:lnTo>
                <a:lnTo>
                  <a:pt x="883" y="1109"/>
                </a:lnTo>
                <a:close/>
                <a:moveTo>
                  <a:pt x="798" y="1163"/>
                </a:moveTo>
                <a:lnTo>
                  <a:pt x="797" y="1162"/>
                </a:lnTo>
                <a:lnTo>
                  <a:pt x="796" y="1162"/>
                </a:lnTo>
                <a:lnTo>
                  <a:pt x="797" y="1162"/>
                </a:lnTo>
                <a:lnTo>
                  <a:pt x="798" y="1163"/>
                </a:lnTo>
                <a:lnTo>
                  <a:pt x="798" y="1163"/>
                </a:lnTo>
                <a:close/>
                <a:moveTo>
                  <a:pt x="847" y="1093"/>
                </a:moveTo>
                <a:lnTo>
                  <a:pt x="772" y="1148"/>
                </a:lnTo>
                <a:lnTo>
                  <a:pt x="690" y="1189"/>
                </a:lnTo>
                <a:lnTo>
                  <a:pt x="682" y="1193"/>
                </a:lnTo>
                <a:lnTo>
                  <a:pt x="674" y="1197"/>
                </a:lnTo>
                <a:lnTo>
                  <a:pt x="683" y="1196"/>
                </a:lnTo>
                <a:lnTo>
                  <a:pt x="693" y="1193"/>
                </a:lnTo>
                <a:lnTo>
                  <a:pt x="713" y="1189"/>
                </a:lnTo>
                <a:lnTo>
                  <a:pt x="731" y="1182"/>
                </a:lnTo>
                <a:lnTo>
                  <a:pt x="742" y="1182"/>
                </a:lnTo>
                <a:lnTo>
                  <a:pt x="752" y="1180"/>
                </a:lnTo>
                <a:lnTo>
                  <a:pt x="765" y="1176"/>
                </a:lnTo>
                <a:lnTo>
                  <a:pt x="777" y="1174"/>
                </a:lnTo>
                <a:lnTo>
                  <a:pt x="785" y="1173"/>
                </a:lnTo>
                <a:lnTo>
                  <a:pt x="793" y="1170"/>
                </a:lnTo>
                <a:lnTo>
                  <a:pt x="804" y="1168"/>
                </a:lnTo>
                <a:lnTo>
                  <a:pt x="813" y="1163"/>
                </a:lnTo>
                <a:lnTo>
                  <a:pt x="820" y="1163"/>
                </a:lnTo>
                <a:lnTo>
                  <a:pt x="824" y="1158"/>
                </a:lnTo>
                <a:lnTo>
                  <a:pt x="825" y="1158"/>
                </a:lnTo>
                <a:lnTo>
                  <a:pt x="825" y="1156"/>
                </a:lnTo>
                <a:lnTo>
                  <a:pt x="827" y="1155"/>
                </a:lnTo>
                <a:lnTo>
                  <a:pt x="827" y="1154"/>
                </a:lnTo>
                <a:lnTo>
                  <a:pt x="827" y="1145"/>
                </a:lnTo>
                <a:lnTo>
                  <a:pt x="820" y="1141"/>
                </a:lnTo>
                <a:lnTo>
                  <a:pt x="806" y="1142"/>
                </a:lnTo>
                <a:lnTo>
                  <a:pt x="794" y="1148"/>
                </a:lnTo>
                <a:lnTo>
                  <a:pt x="793" y="1148"/>
                </a:lnTo>
                <a:lnTo>
                  <a:pt x="793" y="1147"/>
                </a:lnTo>
                <a:lnTo>
                  <a:pt x="815" y="1132"/>
                </a:lnTo>
                <a:lnTo>
                  <a:pt x="837" y="1114"/>
                </a:lnTo>
                <a:lnTo>
                  <a:pt x="848" y="1104"/>
                </a:lnTo>
                <a:lnTo>
                  <a:pt x="860" y="1095"/>
                </a:lnTo>
                <a:lnTo>
                  <a:pt x="848" y="1104"/>
                </a:lnTo>
                <a:lnTo>
                  <a:pt x="837" y="1114"/>
                </a:lnTo>
                <a:lnTo>
                  <a:pt x="839" y="1114"/>
                </a:lnTo>
                <a:lnTo>
                  <a:pt x="840" y="1116"/>
                </a:lnTo>
                <a:lnTo>
                  <a:pt x="835" y="1123"/>
                </a:lnTo>
                <a:lnTo>
                  <a:pt x="837" y="1130"/>
                </a:lnTo>
                <a:lnTo>
                  <a:pt x="837" y="1131"/>
                </a:lnTo>
                <a:lnTo>
                  <a:pt x="835" y="1132"/>
                </a:lnTo>
                <a:lnTo>
                  <a:pt x="833" y="1135"/>
                </a:lnTo>
                <a:lnTo>
                  <a:pt x="834" y="1139"/>
                </a:lnTo>
                <a:lnTo>
                  <a:pt x="839" y="1142"/>
                </a:lnTo>
                <a:lnTo>
                  <a:pt x="845" y="1144"/>
                </a:lnTo>
                <a:lnTo>
                  <a:pt x="851" y="1144"/>
                </a:lnTo>
                <a:lnTo>
                  <a:pt x="855" y="1146"/>
                </a:lnTo>
                <a:lnTo>
                  <a:pt x="845" y="1146"/>
                </a:lnTo>
                <a:lnTo>
                  <a:pt x="834" y="1146"/>
                </a:lnTo>
                <a:lnTo>
                  <a:pt x="845" y="1153"/>
                </a:lnTo>
                <a:lnTo>
                  <a:pt x="856" y="1153"/>
                </a:lnTo>
                <a:lnTo>
                  <a:pt x="861" y="1152"/>
                </a:lnTo>
                <a:lnTo>
                  <a:pt x="866" y="1152"/>
                </a:lnTo>
                <a:lnTo>
                  <a:pt x="876" y="1152"/>
                </a:lnTo>
                <a:lnTo>
                  <a:pt x="884" y="1147"/>
                </a:lnTo>
                <a:lnTo>
                  <a:pt x="888" y="1147"/>
                </a:lnTo>
                <a:lnTo>
                  <a:pt x="890" y="1145"/>
                </a:lnTo>
                <a:lnTo>
                  <a:pt x="900" y="1147"/>
                </a:lnTo>
                <a:lnTo>
                  <a:pt x="909" y="1144"/>
                </a:lnTo>
                <a:lnTo>
                  <a:pt x="911" y="1144"/>
                </a:lnTo>
                <a:lnTo>
                  <a:pt x="915" y="1142"/>
                </a:lnTo>
                <a:lnTo>
                  <a:pt x="916" y="1142"/>
                </a:lnTo>
                <a:lnTo>
                  <a:pt x="917" y="1141"/>
                </a:lnTo>
                <a:lnTo>
                  <a:pt x="917" y="1141"/>
                </a:lnTo>
                <a:lnTo>
                  <a:pt x="917" y="1140"/>
                </a:lnTo>
                <a:lnTo>
                  <a:pt x="918" y="1139"/>
                </a:lnTo>
                <a:lnTo>
                  <a:pt x="917" y="1138"/>
                </a:lnTo>
                <a:lnTo>
                  <a:pt x="917" y="1134"/>
                </a:lnTo>
                <a:lnTo>
                  <a:pt x="917" y="1131"/>
                </a:lnTo>
                <a:lnTo>
                  <a:pt x="915" y="1127"/>
                </a:lnTo>
                <a:lnTo>
                  <a:pt x="914" y="1123"/>
                </a:lnTo>
                <a:lnTo>
                  <a:pt x="915" y="1119"/>
                </a:lnTo>
                <a:lnTo>
                  <a:pt x="915" y="1116"/>
                </a:lnTo>
                <a:lnTo>
                  <a:pt x="915" y="1116"/>
                </a:lnTo>
                <a:lnTo>
                  <a:pt x="913" y="1112"/>
                </a:lnTo>
                <a:lnTo>
                  <a:pt x="910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09" y="1107"/>
                </a:lnTo>
                <a:lnTo>
                  <a:pt x="910" y="1107"/>
                </a:lnTo>
                <a:lnTo>
                  <a:pt x="913" y="1107"/>
                </a:lnTo>
                <a:lnTo>
                  <a:pt x="915" y="1107"/>
                </a:lnTo>
                <a:lnTo>
                  <a:pt x="907" y="1100"/>
                </a:lnTo>
                <a:lnTo>
                  <a:pt x="897" y="1097"/>
                </a:lnTo>
                <a:lnTo>
                  <a:pt x="895" y="1096"/>
                </a:lnTo>
                <a:lnTo>
                  <a:pt x="893" y="1097"/>
                </a:lnTo>
                <a:lnTo>
                  <a:pt x="891" y="1097"/>
                </a:lnTo>
                <a:lnTo>
                  <a:pt x="890" y="1096"/>
                </a:lnTo>
                <a:lnTo>
                  <a:pt x="882" y="1096"/>
                </a:lnTo>
                <a:lnTo>
                  <a:pt x="875" y="1092"/>
                </a:lnTo>
                <a:lnTo>
                  <a:pt x="873" y="1088"/>
                </a:lnTo>
                <a:lnTo>
                  <a:pt x="867" y="1086"/>
                </a:lnTo>
                <a:lnTo>
                  <a:pt x="879" y="1076"/>
                </a:lnTo>
                <a:lnTo>
                  <a:pt x="889" y="1065"/>
                </a:lnTo>
                <a:lnTo>
                  <a:pt x="891" y="1062"/>
                </a:lnTo>
                <a:lnTo>
                  <a:pt x="895" y="1058"/>
                </a:lnTo>
                <a:lnTo>
                  <a:pt x="894" y="1063"/>
                </a:lnTo>
                <a:lnTo>
                  <a:pt x="890" y="1065"/>
                </a:lnTo>
                <a:lnTo>
                  <a:pt x="887" y="1071"/>
                </a:lnTo>
                <a:lnTo>
                  <a:pt x="883" y="1076"/>
                </a:lnTo>
                <a:lnTo>
                  <a:pt x="879" y="1081"/>
                </a:lnTo>
                <a:lnTo>
                  <a:pt x="879" y="1088"/>
                </a:lnTo>
                <a:lnTo>
                  <a:pt x="883" y="1092"/>
                </a:lnTo>
                <a:lnTo>
                  <a:pt x="889" y="1092"/>
                </a:lnTo>
                <a:lnTo>
                  <a:pt x="908" y="1088"/>
                </a:lnTo>
                <a:lnTo>
                  <a:pt x="917" y="1069"/>
                </a:lnTo>
                <a:lnTo>
                  <a:pt x="918" y="1054"/>
                </a:lnTo>
                <a:lnTo>
                  <a:pt x="918" y="1039"/>
                </a:lnTo>
                <a:lnTo>
                  <a:pt x="920" y="1035"/>
                </a:lnTo>
                <a:lnTo>
                  <a:pt x="917" y="1032"/>
                </a:lnTo>
                <a:lnTo>
                  <a:pt x="911" y="1040"/>
                </a:lnTo>
                <a:lnTo>
                  <a:pt x="905" y="1047"/>
                </a:lnTo>
                <a:lnTo>
                  <a:pt x="904" y="1050"/>
                </a:lnTo>
                <a:lnTo>
                  <a:pt x="902" y="1053"/>
                </a:lnTo>
                <a:lnTo>
                  <a:pt x="901" y="1048"/>
                </a:lnTo>
                <a:lnTo>
                  <a:pt x="904" y="1046"/>
                </a:lnTo>
                <a:lnTo>
                  <a:pt x="913" y="1032"/>
                </a:lnTo>
                <a:lnTo>
                  <a:pt x="922" y="1018"/>
                </a:lnTo>
                <a:lnTo>
                  <a:pt x="922" y="1022"/>
                </a:lnTo>
                <a:lnTo>
                  <a:pt x="923" y="1027"/>
                </a:lnTo>
                <a:lnTo>
                  <a:pt x="923" y="1028"/>
                </a:lnTo>
                <a:lnTo>
                  <a:pt x="923" y="1029"/>
                </a:lnTo>
                <a:lnTo>
                  <a:pt x="922" y="1032"/>
                </a:lnTo>
                <a:lnTo>
                  <a:pt x="923" y="1035"/>
                </a:lnTo>
                <a:lnTo>
                  <a:pt x="923" y="1088"/>
                </a:lnTo>
                <a:lnTo>
                  <a:pt x="925" y="1140"/>
                </a:lnTo>
                <a:lnTo>
                  <a:pt x="925" y="1063"/>
                </a:lnTo>
                <a:lnTo>
                  <a:pt x="925" y="986"/>
                </a:lnTo>
                <a:lnTo>
                  <a:pt x="922" y="993"/>
                </a:lnTo>
                <a:lnTo>
                  <a:pt x="920" y="999"/>
                </a:lnTo>
                <a:lnTo>
                  <a:pt x="888" y="1050"/>
                </a:lnTo>
                <a:lnTo>
                  <a:pt x="847" y="1093"/>
                </a:lnTo>
                <a:close/>
                <a:moveTo>
                  <a:pt x="791" y="450"/>
                </a:moveTo>
                <a:lnTo>
                  <a:pt x="791" y="450"/>
                </a:lnTo>
                <a:lnTo>
                  <a:pt x="791" y="450"/>
                </a:lnTo>
                <a:lnTo>
                  <a:pt x="791" y="450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9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8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7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6"/>
                </a:lnTo>
                <a:lnTo>
                  <a:pt x="791" y="445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2" y="433"/>
                </a:lnTo>
                <a:lnTo>
                  <a:pt x="791" y="450"/>
                </a:lnTo>
                <a:close/>
                <a:moveTo>
                  <a:pt x="829" y="81"/>
                </a:move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9" y="79"/>
                </a:lnTo>
                <a:lnTo>
                  <a:pt x="828" y="79"/>
                </a:lnTo>
                <a:lnTo>
                  <a:pt x="828" y="79"/>
                </a:lnTo>
                <a:lnTo>
                  <a:pt x="828" y="79"/>
                </a:lnTo>
                <a:lnTo>
                  <a:pt x="829" y="81"/>
                </a:lnTo>
                <a:close/>
                <a:moveTo>
                  <a:pt x="863" y="226"/>
                </a:moveTo>
                <a:lnTo>
                  <a:pt x="862" y="228"/>
                </a:lnTo>
                <a:lnTo>
                  <a:pt x="861" y="229"/>
                </a:lnTo>
                <a:lnTo>
                  <a:pt x="863" y="229"/>
                </a:lnTo>
                <a:lnTo>
                  <a:pt x="863" y="226"/>
                </a:lnTo>
                <a:close/>
                <a:moveTo>
                  <a:pt x="898" y="267"/>
                </a:moveTo>
                <a:lnTo>
                  <a:pt x="896" y="270"/>
                </a:lnTo>
                <a:lnTo>
                  <a:pt x="894" y="273"/>
                </a:lnTo>
                <a:lnTo>
                  <a:pt x="898" y="271"/>
                </a:lnTo>
                <a:lnTo>
                  <a:pt x="898" y="267"/>
                </a:lnTo>
                <a:close/>
                <a:moveTo>
                  <a:pt x="1336" y="1063"/>
                </a:moveTo>
                <a:lnTo>
                  <a:pt x="1331" y="1070"/>
                </a:lnTo>
                <a:lnTo>
                  <a:pt x="1332" y="1078"/>
                </a:lnTo>
                <a:lnTo>
                  <a:pt x="1333" y="1070"/>
                </a:lnTo>
                <a:lnTo>
                  <a:pt x="1336" y="1063"/>
                </a:lnTo>
                <a:close/>
                <a:moveTo>
                  <a:pt x="583" y="481"/>
                </a:moveTo>
                <a:lnTo>
                  <a:pt x="584" y="487"/>
                </a:lnTo>
                <a:lnTo>
                  <a:pt x="587" y="493"/>
                </a:lnTo>
                <a:lnTo>
                  <a:pt x="590" y="485"/>
                </a:lnTo>
                <a:lnTo>
                  <a:pt x="589" y="482"/>
                </a:lnTo>
                <a:lnTo>
                  <a:pt x="586" y="480"/>
                </a:lnTo>
                <a:lnTo>
                  <a:pt x="583" y="481"/>
                </a:lnTo>
                <a:close/>
                <a:moveTo>
                  <a:pt x="573" y="457"/>
                </a:moveTo>
                <a:lnTo>
                  <a:pt x="577" y="457"/>
                </a:lnTo>
                <a:lnTo>
                  <a:pt x="578" y="455"/>
                </a:lnTo>
                <a:lnTo>
                  <a:pt x="576" y="452"/>
                </a:lnTo>
                <a:lnTo>
                  <a:pt x="571" y="450"/>
                </a:lnTo>
                <a:lnTo>
                  <a:pt x="569" y="450"/>
                </a:lnTo>
                <a:lnTo>
                  <a:pt x="569" y="453"/>
                </a:lnTo>
                <a:lnTo>
                  <a:pt x="570" y="456"/>
                </a:lnTo>
                <a:lnTo>
                  <a:pt x="573" y="457"/>
                </a:lnTo>
                <a:close/>
                <a:moveTo>
                  <a:pt x="824" y="7"/>
                </a:moveTo>
                <a:lnTo>
                  <a:pt x="824" y="9"/>
                </a:lnTo>
                <a:lnTo>
                  <a:pt x="824" y="12"/>
                </a:lnTo>
                <a:lnTo>
                  <a:pt x="825" y="12"/>
                </a:lnTo>
                <a:lnTo>
                  <a:pt x="825" y="12"/>
                </a:lnTo>
                <a:lnTo>
                  <a:pt x="828" y="8"/>
                </a:lnTo>
                <a:lnTo>
                  <a:pt x="828" y="5"/>
                </a:lnTo>
                <a:lnTo>
                  <a:pt x="826" y="1"/>
                </a:lnTo>
                <a:lnTo>
                  <a:pt x="822" y="0"/>
                </a:lnTo>
                <a:lnTo>
                  <a:pt x="822" y="4"/>
                </a:lnTo>
                <a:lnTo>
                  <a:pt x="824" y="7"/>
                </a:lnTo>
                <a:close/>
                <a:moveTo>
                  <a:pt x="418" y="663"/>
                </a:moveTo>
                <a:lnTo>
                  <a:pt x="420" y="661"/>
                </a:lnTo>
                <a:lnTo>
                  <a:pt x="420" y="657"/>
                </a:lnTo>
                <a:lnTo>
                  <a:pt x="419" y="655"/>
                </a:lnTo>
                <a:lnTo>
                  <a:pt x="417" y="654"/>
                </a:lnTo>
                <a:lnTo>
                  <a:pt x="414" y="655"/>
                </a:lnTo>
                <a:lnTo>
                  <a:pt x="413" y="658"/>
                </a:lnTo>
                <a:lnTo>
                  <a:pt x="414" y="662"/>
                </a:lnTo>
                <a:lnTo>
                  <a:pt x="418" y="663"/>
                </a:lnTo>
                <a:close/>
                <a:moveTo>
                  <a:pt x="956" y="320"/>
                </a:moveTo>
                <a:lnTo>
                  <a:pt x="958" y="324"/>
                </a:lnTo>
                <a:lnTo>
                  <a:pt x="963" y="328"/>
                </a:lnTo>
                <a:lnTo>
                  <a:pt x="965" y="327"/>
                </a:lnTo>
                <a:lnTo>
                  <a:pt x="966" y="324"/>
                </a:lnTo>
                <a:lnTo>
                  <a:pt x="964" y="321"/>
                </a:lnTo>
                <a:lnTo>
                  <a:pt x="959" y="317"/>
                </a:lnTo>
                <a:lnTo>
                  <a:pt x="957" y="319"/>
                </a:lnTo>
                <a:lnTo>
                  <a:pt x="956" y="320"/>
                </a:lnTo>
                <a:close/>
                <a:moveTo>
                  <a:pt x="962" y="341"/>
                </a:moveTo>
                <a:lnTo>
                  <a:pt x="963" y="344"/>
                </a:lnTo>
                <a:lnTo>
                  <a:pt x="966" y="347"/>
                </a:lnTo>
                <a:lnTo>
                  <a:pt x="969" y="345"/>
                </a:lnTo>
                <a:lnTo>
                  <a:pt x="971" y="342"/>
                </a:lnTo>
                <a:lnTo>
                  <a:pt x="970" y="338"/>
                </a:lnTo>
                <a:lnTo>
                  <a:pt x="967" y="336"/>
                </a:lnTo>
                <a:lnTo>
                  <a:pt x="964" y="337"/>
                </a:lnTo>
                <a:lnTo>
                  <a:pt x="962" y="341"/>
                </a:lnTo>
                <a:close/>
                <a:moveTo>
                  <a:pt x="311" y="566"/>
                </a:moveTo>
                <a:lnTo>
                  <a:pt x="314" y="567"/>
                </a:lnTo>
                <a:lnTo>
                  <a:pt x="317" y="566"/>
                </a:lnTo>
                <a:lnTo>
                  <a:pt x="320" y="565"/>
                </a:lnTo>
                <a:lnTo>
                  <a:pt x="318" y="561"/>
                </a:lnTo>
                <a:lnTo>
                  <a:pt x="317" y="558"/>
                </a:lnTo>
                <a:lnTo>
                  <a:pt x="314" y="558"/>
                </a:lnTo>
                <a:lnTo>
                  <a:pt x="309" y="559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0" y="560"/>
                </a:lnTo>
                <a:lnTo>
                  <a:pt x="294" y="564"/>
                </a:lnTo>
                <a:lnTo>
                  <a:pt x="295" y="568"/>
                </a:lnTo>
                <a:lnTo>
                  <a:pt x="300" y="573"/>
                </a:lnTo>
                <a:lnTo>
                  <a:pt x="303" y="568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6" y="563"/>
                </a:lnTo>
                <a:lnTo>
                  <a:pt x="309" y="564"/>
                </a:lnTo>
                <a:lnTo>
                  <a:pt x="311" y="566"/>
                </a:lnTo>
                <a:close/>
                <a:moveTo>
                  <a:pt x="329" y="614"/>
                </a:moveTo>
                <a:lnTo>
                  <a:pt x="330" y="615"/>
                </a:lnTo>
                <a:lnTo>
                  <a:pt x="331" y="614"/>
                </a:lnTo>
                <a:lnTo>
                  <a:pt x="333" y="613"/>
                </a:lnTo>
                <a:lnTo>
                  <a:pt x="331" y="612"/>
                </a:lnTo>
                <a:lnTo>
                  <a:pt x="328" y="608"/>
                </a:lnTo>
                <a:lnTo>
                  <a:pt x="323" y="610"/>
                </a:lnTo>
                <a:lnTo>
                  <a:pt x="320" y="612"/>
                </a:lnTo>
                <a:lnTo>
                  <a:pt x="317" y="613"/>
                </a:lnTo>
                <a:lnTo>
                  <a:pt x="323" y="612"/>
                </a:lnTo>
                <a:lnTo>
                  <a:pt x="329" y="614"/>
                </a:lnTo>
                <a:close/>
                <a:moveTo>
                  <a:pt x="953" y="223"/>
                </a:moveTo>
                <a:lnTo>
                  <a:pt x="955" y="216"/>
                </a:lnTo>
                <a:lnTo>
                  <a:pt x="959" y="211"/>
                </a:lnTo>
                <a:lnTo>
                  <a:pt x="953" y="211"/>
                </a:lnTo>
                <a:lnTo>
                  <a:pt x="950" y="207"/>
                </a:lnTo>
                <a:lnTo>
                  <a:pt x="949" y="207"/>
                </a:lnTo>
                <a:lnTo>
                  <a:pt x="948" y="208"/>
                </a:lnTo>
                <a:lnTo>
                  <a:pt x="949" y="215"/>
                </a:lnTo>
                <a:lnTo>
                  <a:pt x="953" y="223"/>
                </a:lnTo>
                <a:close/>
                <a:moveTo>
                  <a:pt x="916" y="219"/>
                </a:moveTo>
                <a:lnTo>
                  <a:pt x="921" y="221"/>
                </a:lnTo>
                <a:lnTo>
                  <a:pt x="924" y="224"/>
                </a:lnTo>
                <a:lnTo>
                  <a:pt x="925" y="217"/>
                </a:lnTo>
                <a:lnTo>
                  <a:pt x="925" y="211"/>
                </a:lnTo>
                <a:lnTo>
                  <a:pt x="924" y="210"/>
                </a:lnTo>
                <a:lnTo>
                  <a:pt x="922" y="209"/>
                </a:lnTo>
                <a:lnTo>
                  <a:pt x="921" y="209"/>
                </a:lnTo>
                <a:lnTo>
                  <a:pt x="920" y="211"/>
                </a:lnTo>
                <a:lnTo>
                  <a:pt x="918" y="214"/>
                </a:lnTo>
                <a:lnTo>
                  <a:pt x="916" y="216"/>
                </a:lnTo>
                <a:lnTo>
                  <a:pt x="915" y="218"/>
                </a:lnTo>
                <a:lnTo>
                  <a:pt x="916" y="219"/>
                </a:lnTo>
                <a:close/>
                <a:moveTo>
                  <a:pt x="310" y="585"/>
                </a:moveTo>
                <a:lnTo>
                  <a:pt x="311" y="577"/>
                </a:lnTo>
                <a:lnTo>
                  <a:pt x="303" y="573"/>
                </a:lnTo>
                <a:lnTo>
                  <a:pt x="301" y="573"/>
                </a:lnTo>
                <a:lnTo>
                  <a:pt x="300" y="573"/>
                </a:lnTo>
                <a:lnTo>
                  <a:pt x="303" y="582"/>
                </a:lnTo>
                <a:lnTo>
                  <a:pt x="306" y="594"/>
                </a:lnTo>
                <a:lnTo>
                  <a:pt x="308" y="588"/>
                </a:lnTo>
                <a:lnTo>
                  <a:pt x="310" y="585"/>
                </a:lnTo>
                <a:close/>
                <a:moveTo>
                  <a:pt x="300" y="573"/>
                </a:move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lnTo>
                  <a:pt x="300" y="573"/>
                </a:lnTo>
                <a:close/>
                <a:moveTo>
                  <a:pt x="586" y="315"/>
                </a:moveTo>
                <a:lnTo>
                  <a:pt x="589" y="315"/>
                </a:lnTo>
                <a:lnTo>
                  <a:pt x="592" y="316"/>
                </a:lnTo>
                <a:lnTo>
                  <a:pt x="596" y="330"/>
                </a:lnTo>
                <a:lnTo>
                  <a:pt x="592" y="344"/>
                </a:lnTo>
                <a:lnTo>
                  <a:pt x="591" y="348"/>
                </a:lnTo>
                <a:lnTo>
                  <a:pt x="591" y="350"/>
                </a:lnTo>
                <a:lnTo>
                  <a:pt x="594" y="350"/>
                </a:lnTo>
                <a:lnTo>
                  <a:pt x="598" y="349"/>
                </a:lnTo>
                <a:lnTo>
                  <a:pt x="600" y="348"/>
                </a:lnTo>
                <a:lnTo>
                  <a:pt x="599" y="344"/>
                </a:lnTo>
                <a:lnTo>
                  <a:pt x="598" y="335"/>
                </a:lnTo>
                <a:lnTo>
                  <a:pt x="603" y="326"/>
                </a:lnTo>
                <a:lnTo>
                  <a:pt x="606" y="321"/>
                </a:lnTo>
                <a:lnTo>
                  <a:pt x="610" y="316"/>
                </a:lnTo>
                <a:lnTo>
                  <a:pt x="611" y="315"/>
                </a:lnTo>
                <a:lnTo>
                  <a:pt x="610" y="314"/>
                </a:lnTo>
                <a:lnTo>
                  <a:pt x="603" y="306"/>
                </a:lnTo>
                <a:lnTo>
                  <a:pt x="603" y="296"/>
                </a:lnTo>
                <a:lnTo>
                  <a:pt x="604" y="292"/>
                </a:lnTo>
                <a:lnTo>
                  <a:pt x="603" y="288"/>
                </a:lnTo>
                <a:lnTo>
                  <a:pt x="598" y="286"/>
                </a:lnTo>
                <a:lnTo>
                  <a:pt x="593" y="286"/>
                </a:lnTo>
                <a:lnTo>
                  <a:pt x="591" y="288"/>
                </a:lnTo>
                <a:lnTo>
                  <a:pt x="589" y="293"/>
                </a:lnTo>
                <a:lnTo>
                  <a:pt x="587" y="294"/>
                </a:lnTo>
                <a:lnTo>
                  <a:pt x="589" y="295"/>
                </a:lnTo>
                <a:lnTo>
                  <a:pt x="592" y="296"/>
                </a:lnTo>
                <a:lnTo>
                  <a:pt x="594" y="295"/>
                </a:lnTo>
                <a:lnTo>
                  <a:pt x="598" y="294"/>
                </a:lnTo>
                <a:lnTo>
                  <a:pt x="599" y="296"/>
                </a:lnTo>
                <a:lnTo>
                  <a:pt x="598" y="307"/>
                </a:lnTo>
                <a:lnTo>
                  <a:pt x="592" y="316"/>
                </a:lnTo>
                <a:lnTo>
                  <a:pt x="590" y="310"/>
                </a:lnTo>
                <a:lnTo>
                  <a:pt x="589" y="305"/>
                </a:lnTo>
                <a:lnTo>
                  <a:pt x="587" y="302"/>
                </a:lnTo>
                <a:lnTo>
                  <a:pt x="585" y="301"/>
                </a:lnTo>
                <a:lnTo>
                  <a:pt x="584" y="301"/>
                </a:lnTo>
                <a:lnTo>
                  <a:pt x="584" y="302"/>
                </a:lnTo>
                <a:lnTo>
                  <a:pt x="579" y="309"/>
                </a:lnTo>
                <a:lnTo>
                  <a:pt x="586" y="315"/>
                </a:lnTo>
                <a:close/>
                <a:moveTo>
                  <a:pt x="615" y="312"/>
                </a:moveTo>
                <a:lnTo>
                  <a:pt x="618" y="305"/>
                </a:lnTo>
                <a:lnTo>
                  <a:pt x="623" y="302"/>
                </a:lnTo>
                <a:lnTo>
                  <a:pt x="618" y="299"/>
                </a:lnTo>
                <a:lnTo>
                  <a:pt x="613" y="295"/>
                </a:lnTo>
                <a:lnTo>
                  <a:pt x="611" y="295"/>
                </a:lnTo>
                <a:lnTo>
                  <a:pt x="610" y="298"/>
                </a:lnTo>
                <a:lnTo>
                  <a:pt x="611" y="305"/>
                </a:lnTo>
                <a:lnTo>
                  <a:pt x="615" y="312"/>
                </a:lnTo>
                <a:close/>
                <a:moveTo>
                  <a:pt x="780" y="78"/>
                </a:moveTo>
                <a:lnTo>
                  <a:pt x="784" y="76"/>
                </a:lnTo>
                <a:lnTo>
                  <a:pt x="787" y="72"/>
                </a:lnTo>
                <a:lnTo>
                  <a:pt x="784" y="68"/>
                </a:lnTo>
                <a:lnTo>
                  <a:pt x="779" y="64"/>
                </a:lnTo>
                <a:lnTo>
                  <a:pt x="776" y="67"/>
                </a:lnTo>
                <a:lnTo>
                  <a:pt x="773" y="71"/>
                </a:lnTo>
                <a:lnTo>
                  <a:pt x="776" y="76"/>
                </a:lnTo>
                <a:lnTo>
                  <a:pt x="780" y="78"/>
                </a:lnTo>
                <a:close/>
                <a:moveTo>
                  <a:pt x="873" y="60"/>
                </a:moveTo>
                <a:lnTo>
                  <a:pt x="877" y="57"/>
                </a:lnTo>
                <a:lnTo>
                  <a:pt x="880" y="50"/>
                </a:lnTo>
                <a:lnTo>
                  <a:pt x="876" y="47"/>
                </a:lnTo>
                <a:lnTo>
                  <a:pt x="872" y="46"/>
                </a:lnTo>
                <a:lnTo>
                  <a:pt x="867" y="49"/>
                </a:lnTo>
                <a:lnTo>
                  <a:pt x="866" y="55"/>
                </a:lnTo>
                <a:lnTo>
                  <a:pt x="868" y="58"/>
                </a:lnTo>
                <a:lnTo>
                  <a:pt x="873" y="60"/>
                </a:lnTo>
                <a:close/>
                <a:moveTo>
                  <a:pt x="804" y="30"/>
                </a:moveTo>
                <a:lnTo>
                  <a:pt x="804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0" y="27"/>
                </a:lnTo>
                <a:lnTo>
                  <a:pt x="797" y="26"/>
                </a:lnTo>
                <a:lnTo>
                  <a:pt x="791" y="23"/>
                </a:lnTo>
                <a:lnTo>
                  <a:pt x="787" y="28"/>
                </a:lnTo>
                <a:lnTo>
                  <a:pt x="787" y="33"/>
                </a:lnTo>
                <a:lnTo>
                  <a:pt x="791" y="36"/>
                </a:lnTo>
                <a:lnTo>
                  <a:pt x="796" y="39"/>
                </a:lnTo>
                <a:lnTo>
                  <a:pt x="799" y="34"/>
                </a:lnTo>
                <a:lnTo>
                  <a:pt x="800" y="32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3" y="30"/>
                </a:lnTo>
                <a:lnTo>
                  <a:pt x="804" y="30"/>
                </a:lnTo>
                <a:lnTo>
                  <a:pt x="804" y="30"/>
                </a:lnTo>
                <a:close/>
                <a:moveTo>
                  <a:pt x="936" y="392"/>
                </a:moveTo>
                <a:lnTo>
                  <a:pt x="936" y="393"/>
                </a:lnTo>
                <a:lnTo>
                  <a:pt x="937" y="394"/>
                </a:lnTo>
                <a:lnTo>
                  <a:pt x="944" y="399"/>
                </a:lnTo>
                <a:lnTo>
                  <a:pt x="946" y="407"/>
                </a:lnTo>
                <a:lnTo>
                  <a:pt x="949" y="393"/>
                </a:lnTo>
                <a:lnTo>
                  <a:pt x="948" y="380"/>
                </a:lnTo>
                <a:lnTo>
                  <a:pt x="943" y="376"/>
                </a:lnTo>
                <a:lnTo>
                  <a:pt x="938" y="376"/>
                </a:lnTo>
                <a:lnTo>
                  <a:pt x="936" y="378"/>
                </a:lnTo>
                <a:lnTo>
                  <a:pt x="936" y="382"/>
                </a:lnTo>
                <a:lnTo>
                  <a:pt x="938" y="386"/>
                </a:lnTo>
                <a:lnTo>
                  <a:pt x="936" y="392"/>
                </a:lnTo>
                <a:close/>
                <a:moveTo>
                  <a:pt x="551" y="485"/>
                </a:moveTo>
                <a:lnTo>
                  <a:pt x="555" y="485"/>
                </a:lnTo>
                <a:lnTo>
                  <a:pt x="557" y="487"/>
                </a:lnTo>
                <a:lnTo>
                  <a:pt x="561" y="488"/>
                </a:lnTo>
                <a:lnTo>
                  <a:pt x="562" y="485"/>
                </a:lnTo>
                <a:lnTo>
                  <a:pt x="571" y="476"/>
                </a:lnTo>
                <a:lnTo>
                  <a:pt x="584" y="478"/>
                </a:lnTo>
                <a:lnTo>
                  <a:pt x="584" y="473"/>
                </a:lnTo>
                <a:lnTo>
                  <a:pt x="584" y="466"/>
                </a:lnTo>
                <a:lnTo>
                  <a:pt x="585" y="462"/>
                </a:lnTo>
                <a:lnTo>
                  <a:pt x="583" y="460"/>
                </a:lnTo>
                <a:lnTo>
                  <a:pt x="579" y="461"/>
                </a:lnTo>
                <a:lnTo>
                  <a:pt x="579" y="464"/>
                </a:lnTo>
                <a:lnTo>
                  <a:pt x="579" y="467"/>
                </a:lnTo>
                <a:lnTo>
                  <a:pt x="578" y="468"/>
                </a:lnTo>
                <a:lnTo>
                  <a:pt x="566" y="473"/>
                </a:lnTo>
                <a:lnTo>
                  <a:pt x="555" y="475"/>
                </a:lnTo>
                <a:lnTo>
                  <a:pt x="548" y="478"/>
                </a:lnTo>
                <a:lnTo>
                  <a:pt x="544" y="484"/>
                </a:lnTo>
                <a:lnTo>
                  <a:pt x="548" y="487"/>
                </a:lnTo>
                <a:lnTo>
                  <a:pt x="551" y="485"/>
                </a:lnTo>
                <a:close/>
                <a:moveTo>
                  <a:pt x="1081" y="364"/>
                </a:moveTo>
                <a:lnTo>
                  <a:pt x="1083" y="363"/>
                </a:lnTo>
                <a:lnTo>
                  <a:pt x="1086" y="364"/>
                </a:lnTo>
                <a:lnTo>
                  <a:pt x="1088" y="362"/>
                </a:lnTo>
                <a:lnTo>
                  <a:pt x="1090" y="362"/>
                </a:lnTo>
                <a:lnTo>
                  <a:pt x="1088" y="362"/>
                </a:lnTo>
                <a:lnTo>
                  <a:pt x="1086" y="364"/>
                </a:lnTo>
                <a:lnTo>
                  <a:pt x="1086" y="364"/>
                </a:lnTo>
                <a:lnTo>
                  <a:pt x="1084" y="366"/>
                </a:lnTo>
                <a:lnTo>
                  <a:pt x="1082" y="366"/>
                </a:lnTo>
                <a:lnTo>
                  <a:pt x="1081" y="366"/>
                </a:lnTo>
                <a:lnTo>
                  <a:pt x="1081" y="364"/>
                </a:lnTo>
                <a:lnTo>
                  <a:pt x="1081" y="364"/>
                </a:lnTo>
                <a:close/>
                <a:moveTo>
                  <a:pt x="1076" y="370"/>
                </a:moveTo>
                <a:lnTo>
                  <a:pt x="1079" y="369"/>
                </a:lnTo>
                <a:lnTo>
                  <a:pt x="1081" y="370"/>
                </a:lnTo>
                <a:lnTo>
                  <a:pt x="1081" y="373"/>
                </a:lnTo>
                <a:lnTo>
                  <a:pt x="1077" y="375"/>
                </a:lnTo>
                <a:lnTo>
                  <a:pt x="1074" y="376"/>
                </a:lnTo>
                <a:lnTo>
                  <a:pt x="1074" y="379"/>
                </a:lnTo>
                <a:lnTo>
                  <a:pt x="1074" y="383"/>
                </a:lnTo>
                <a:lnTo>
                  <a:pt x="1077" y="383"/>
                </a:lnTo>
                <a:lnTo>
                  <a:pt x="1083" y="385"/>
                </a:lnTo>
                <a:lnTo>
                  <a:pt x="1084" y="391"/>
                </a:lnTo>
                <a:lnTo>
                  <a:pt x="1087" y="384"/>
                </a:lnTo>
                <a:lnTo>
                  <a:pt x="1093" y="380"/>
                </a:lnTo>
                <a:lnTo>
                  <a:pt x="1097" y="375"/>
                </a:lnTo>
                <a:lnTo>
                  <a:pt x="1095" y="369"/>
                </a:lnTo>
                <a:lnTo>
                  <a:pt x="1096" y="363"/>
                </a:lnTo>
                <a:lnTo>
                  <a:pt x="1093" y="359"/>
                </a:lnTo>
                <a:lnTo>
                  <a:pt x="1082" y="359"/>
                </a:lnTo>
                <a:lnTo>
                  <a:pt x="1073" y="363"/>
                </a:lnTo>
                <a:lnTo>
                  <a:pt x="1072" y="365"/>
                </a:lnTo>
                <a:lnTo>
                  <a:pt x="1072" y="369"/>
                </a:lnTo>
                <a:lnTo>
                  <a:pt x="1073" y="371"/>
                </a:lnTo>
                <a:lnTo>
                  <a:pt x="1076" y="370"/>
                </a:lnTo>
                <a:close/>
                <a:moveTo>
                  <a:pt x="935" y="207"/>
                </a:moveTo>
                <a:lnTo>
                  <a:pt x="936" y="212"/>
                </a:lnTo>
                <a:lnTo>
                  <a:pt x="935" y="219"/>
                </a:lnTo>
                <a:lnTo>
                  <a:pt x="934" y="222"/>
                </a:lnTo>
                <a:lnTo>
                  <a:pt x="934" y="224"/>
                </a:lnTo>
                <a:lnTo>
                  <a:pt x="931" y="228"/>
                </a:lnTo>
                <a:lnTo>
                  <a:pt x="931" y="231"/>
                </a:lnTo>
                <a:lnTo>
                  <a:pt x="935" y="240"/>
                </a:lnTo>
                <a:lnTo>
                  <a:pt x="937" y="251"/>
                </a:lnTo>
                <a:lnTo>
                  <a:pt x="939" y="238"/>
                </a:lnTo>
                <a:lnTo>
                  <a:pt x="949" y="228"/>
                </a:lnTo>
                <a:lnTo>
                  <a:pt x="942" y="224"/>
                </a:lnTo>
                <a:lnTo>
                  <a:pt x="938" y="217"/>
                </a:lnTo>
                <a:lnTo>
                  <a:pt x="938" y="204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41" y="190"/>
                </a:lnTo>
                <a:lnTo>
                  <a:pt x="938" y="191"/>
                </a:lnTo>
                <a:lnTo>
                  <a:pt x="937" y="189"/>
                </a:lnTo>
                <a:lnTo>
                  <a:pt x="939" y="188"/>
                </a:lnTo>
                <a:lnTo>
                  <a:pt x="941" y="190"/>
                </a:lnTo>
                <a:lnTo>
                  <a:pt x="943" y="188"/>
                </a:lnTo>
                <a:lnTo>
                  <a:pt x="944" y="186"/>
                </a:lnTo>
                <a:lnTo>
                  <a:pt x="941" y="186"/>
                </a:lnTo>
                <a:lnTo>
                  <a:pt x="938" y="184"/>
                </a:lnTo>
                <a:lnTo>
                  <a:pt x="937" y="181"/>
                </a:lnTo>
                <a:lnTo>
                  <a:pt x="934" y="180"/>
                </a:lnTo>
                <a:lnTo>
                  <a:pt x="931" y="182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0" y="186"/>
                </a:lnTo>
                <a:lnTo>
                  <a:pt x="936" y="184"/>
                </a:lnTo>
                <a:lnTo>
                  <a:pt x="937" y="189"/>
                </a:lnTo>
                <a:lnTo>
                  <a:pt x="932" y="189"/>
                </a:lnTo>
                <a:lnTo>
                  <a:pt x="930" y="186"/>
                </a:lnTo>
                <a:lnTo>
                  <a:pt x="928" y="188"/>
                </a:lnTo>
                <a:lnTo>
                  <a:pt x="927" y="190"/>
                </a:lnTo>
                <a:lnTo>
                  <a:pt x="928" y="198"/>
                </a:lnTo>
                <a:lnTo>
                  <a:pt x="924" y="204"/>
                </a:lnTo>
                <a:lnTo>
                  <a:pt x="930" y="205"/>
                </a:lnTo>
                <a:lnTo>
                  <a:pt x="935" y="207"/>
                </a:lnTo>
                <a:close/>
                <a:moveTo>
                  <a:pt x="819" y="78"/>
                </a:moveTo>
                <a:lnTo>
                  <a:pt x="825" y="77"/>
                </a:lnTo>
                <a:lnTo>
                  <a:pt x="831" y="74"/>
                </a:lnTo>
                <a:lnTo>
                  <a:pt x="833" y="70"/>
                </a:lnTo>
                <a:lnTo>
                  <a:pt x="833" y="65"/>
                </a:lnTo>
                <a:lnTo>
                  <a:pt x="832" y="47"/>
                </a:lnTo>
                <a:lnTo>
                  <a:pt x="834" y="28"/>
                </a:lnTo>
                <a:lnTo>
                  <a:pt x="834" y="28"/>
                </a:lnTo>
                <a:lnTo>
                  <a:pt x="835" y="28"/>
                </a:lnTo>
                <a:lnTo>
                  <a:pt x="838" y="29"/>
                </a:lnTo>
                <a:lnTo>
                  <a:pt x="840" y="28"/>
                </a:lnTo>
                <a:lnTo>
                  <a:pt x="844" y="27"/>
                </a:lnTo>
                <a:lnTo>
                  <a:pt x="845" y="23"/>
                </a:lnTo>
                <a:lnTo>
                  <a:pt x="844" y="18"/>
                </a:lnTo>
                <a:lnTo>
                  <a:pt x="839" y="14"/>
                </a:lnTo>
                <a:lnTo>
                  <a:pt x="835" y="14"/>
                </a:lnTo>
                <a:lnTo>
                  <a:pt x="833" y="18"/>
                </a:lnTo>
                <a:lnTo>
                  <a:pt x="832" y="19"/>
                </a:lnTo>
                <a:lnTo>
                  <a:pt x="829" y="19"/>
                </a:lnTo>
                <a:lnTo>
                  <a:pt x="825" y="18"/>
                </a:lnTo>
                <a:lnTo>
                  <a:pt x="824" y="23"/>
                </a:lnTo>
                <a:lnTo>
                  <a:pt x="824" y="28"/>
                </a:lnTo>
                <a:lnTo>
                  <a:pt x="820" y="33"/>
                </a:lnTo>
                <a:lnTo>
                  <a:pt x="818" y="35"/>
                </a:lnTo>
                <a:lnTo>
                  <a:pt x="819" y="37"/>
                </a:lnTo>
                <a:lnTo>
                  <a:pt x="821" y="44"/>
                </a:lnTo>
                <a:lnTo>
                  <a:pt x="822" y="50"/>
                </a:lnTo>
                <a:lnTo>
                  <a:pt x="821" y="62"/>
                </a:lnTo>
                <a:lnTo>
                  <a:pt x="818" y="72"/>
                </a:lnTo>
                <a:lnTo>
                  <a:pt x="817" y="76"/>
                </a:lnTo>
                <a:lnTo>
                  <a:pt x="819" y="78"/>
                </a:lnTo>
                <a:close/>
                <a:moveTo>
                  <a:pt x="1311" y="1026"/>
                </a:moveTo>
                <a:lnTo>
                  <a:pt x="1318" y="1047"/>
                </a:lnTo>
                <a:lnTo>
                  <a:pt x="1324" y="1067"/>
                </a:lnTo>
                <a:lnTo>
                  <a:pt x="1328" y="1063"/>
                </a:lnTo>
                <a:lnTo>
                  <a:pt x="1329" y="1058"/>
                </a:lnTo>
                <a:lnTo>
                  <a:pt x="1328" y="1040"/>
                </a:lnTo>
                <a:lnTo>
                  <a:pt x="1322" y="1022"/>
                </a:lnTo>
                <a:lnTo>
                  <a:pt x="1319" y="1013"/>
                </a:lnTo>
                <a:lnTo>
                  <a:pt x="1317" y="1005"/>
                </a:lnTo>
                <a:lnTo>
                  <a:pt x="1316" y="1004"/>
                </a:lnTo>
                <a:lnTo>
                  <a:pt x="1314" y="1002"/>
                </a:lnTo>
                <a:lnTo>
                  <a:pt x="1312" y="1004"/>
                </a:lnTo>
                <a:lnTo>
                  <a:pt x="1311" y="1006"/>
                </a:lnTo>
                <a:lnTo>
                  <a:pt x="1312" y="1015"/>
                </a:lnTo>
                <a:lnTo>
                  <a:pt x="1311" y="1026"/>
                </a:lnTo>
                <a:close/>
                <a:moveTo>
                  <a:pt x="1084" y="439"/>
                </a:moveTo>
                <a:lnTo>
                  <a:pt x="1084" y="438"/>
                </a:lnTo>
                <a:lnTo>
                  <a:pt x="1083" y="436"/>
                </a:lnTo>
                <a:lnTo>
                  <a:pt x="1084" y="435"/>
                </a:lnTo>
                <a:lnTo>
                  <a:pt x="1086" y="435"/>
                </a:lnTo>
                <a:lnTo>
                  <a:pt x="1087" y="435"/>
                </a:lnTo>
                <a:lnTo>
                  <a:pt x="1087" y="436"/>
                </a:lnTo>
                <a:lnTo>
                  <a:pt x="1086" y="438"/>
                </a:lnTo>
                <a:lnTo>
                  <a:pt x="1084" y="439"/>
                </a:lnTo>
                <a:close/>
                <a:moveTo>
                  <a:pt x="1089" y="463"/>
                </a:moveTo>
                <a:lnTo>
                  <a:pt x="1089" y="457"/>
                </a:lnTo>
                <a:lnTo>
                  <a:pt x="1089" y="450"/>
                </a:lnTo>
                <a:lnTo>
                  <a:pt x="1091" y="438"/>
                </a:lnTo>
                <a:lnTo>
                  <a:pt x="1090" y="425"/>
                </a:lnTo>
                <a:lnTo>
                  <a:pt x="1088" y="412"/>
                </a:lnTo>
                <a:lnTo>
                  <a:pt x="1090" y="399"/>
                </a:lnTo>
                <a:lnTo>
                  <a:pt x="1089" y="396"/>
                </a:lnTo>
                <a:lnTo>
                  <a:pt x="1086" y="394"/>
                </a:lnTo>
                <a:lnTo>
                  <a:pt x="1083" y="396"/>
                </a:lnTo>
                <a:lnTo>
                  <a:pt x="1083" y="399"/>
                </a:lnTo>
                <a:lnTo>
                  <a:pt x="1082" y="407"/>
                </a:lnTo>
                <a:lnTo>
                  <a:pt x="1083" y="417"/>
                </a:lnTo>
                <a:lnTo>
                  <a:pt x="1083" y="427"/>
                </a:lnTo>
                <a:lnTo>
                  <a:pt x="1081" y="438"/>
                </a:lnTo>
                <a:lnTo>
                  <a:pt x="1081" y="440"/>
                </a:lnTo>
                <a:lnTo>
                  <a:pt x="1082" y="442"/>
                </a:lnTo>
                <a:lnTo>
                  <a:pt x="1084" y="447"/>
                </a:lnTo>
                <a:lnTo>
                  <a:pt x="1086" y="450"/>
                </a:lnTo>
                <a:lnTo>
                  <a:pt x="1086" y="463"/>
                </a:lnTo>
                <a:lnTo>
                  <a:pt x="1080" y="475"/>
                </a:lnTo>
                <a:lnTo>
                  <a:pt x="1077" y="476"/>
                </a:lnTo>
                <a:lnTo>
                  <a:pt x="1077" y="478"/>
                </a:lnTo>
                <a:lnTo>
                  <a:pt x="1077" y="480"/>
                </a:lnTo>
                <a:lnTo>
                  <a:pt x="1079" y="480"/>
                </a:lnTo>
                <a:lnTo>
                  <a:pt x="1081" y="478"/>
                </a:lnTo>
                <a:lnTo>
                  <a:pt x="1081" y="476"/>
                </a:lnTo>
                <a:lnTo>
                  <a:pt x="1084" y="474"/>
                </a:lnTo>
                <a:lnTo>
                  <a:pt x="1087" y="471"/>
                </a:lnTo>
                <a:lnTo>
                  <a:pt x="1088" y="476"/>
                </a:lnTo>
                <a:lnTo>
                  <a:pt x="1089" y="478"/>
                </a:lnTo>
                <a:lnTo>
                  <a:pt x="1094" y="477"/>
                </a:lnTo>
                <a:lnTo>
                  <a:pt x="1098" y="475"/>
                </a:lnTo>
                <a:lnTo>
                  <a:pt x="1097" y="471"/>
                </a:lnTo>
                <a:lnTo>
                  <a:pt x="1094" y="470"/>
                </a:lnTo>
                <a:lnTo>
                  <a:pt x="1090" y="468"/>
                </a:lnTo>
                <a:lnTo>
                  <a:pt x="1089" y="46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sdfdsf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311C85B-757E-3B49-A5BF-3FE2D142E09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EEB4F78-4E75-6344-AFF9-A3444C62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00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5F78078C-E3BA-EA44-80EB-639AAD0453E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384275" y="4698554"/>
            <a:ext cx="11094583" cy="8384392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84BE4237-D403-C648-82FF-20997C07847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979251" y="977062"/>
            <a:ext cx="10851606" cy="10584895"/>
          </a:xfrm>
          <a:custGeom>
            <a:avLst/>
            <a:gdLst>
              <a:gd name="connsiteX0" fmla="*/ 7930029 w 9865096"/>
              <a:gd name="connsiteY0" fmla="*/ 910 h 9622632"/>
              <a:gd name="connsiteX1" fmla="*/ 8234115 w 9865096"/>
              <a:gd name="connsiteY1" fmla="*/ 43653 h 9622632"/>
              <a:gd name="connsiteX2" fmla="*/ 9301962 w 9865096"/>
              <a:gd name="connsiteY2" fmla="*/ 1581396 h 9622632"/>
              <a:gd name="connsiteX3" fmla="*/ 8962193 w 9865096"/>
              <a:gd name="connsiteY3" fmla="*/ 2350269 h 9622632"/>
              <a:gd name="connsiteX4" fmla="*/ 8806870 w 9865096"/>
              <a:gd name="connsiteY4" fmla="*/ 3147973 h 9622632"/>
              <a:gd name="connsiteX5" fmla="*/ 9243716 w 9865096"/>
              <a:gd name="connsiteY5" fmla="*/ 3638129 h 9622632"/>
              <a:gd name="connsiteX6" fmla="*/ 9855301 w 9865096"/>
              <a:gd name="connsiteY6" fmla="*/ 4464667 h 9622632"/>
              <a:gd name="connsiteX7" fmla="*/ 9156347 w 9865096"/>
              <a:gd name="connsiteY7" fmla="*/ 5617976 h 9622632"/>
              <a:gd name="connsiteX8" fmla="*/ 7904055 w 9865096"/>
              <a:gd name="connsiteY8" fmla="*/ 5252762 h 9622632"/>
              <a:gd name="connsiteX9" fmla="*/ 7748731 w 9865096"/>
              <a:gd name="connsiteY9" fmla="*/ 5204707 h 9622632"/>
              <a:gd name="connsiteX10" fmla="*/ 7661361 w 9865096"/>
              <a:gd name="connsiteY10" fmla="*/ 5339260 h 9622632"/>
              <a:gd name="connsiteX11" fmla="*/ 5195608 w 9865096"/>
              <a:gd name="connsiteY11" fmla="*/ 9375838 h 9622632"/>
              <a:gd name="connsiteX12" fmla="*/ 254391 w 9865096"/>
              <a:gd name="connsiteY12" fmla="*/ 7184552 h 9622632"/>
              <a:gd name="connsiteX13" fmla="*/ 2467745 w 9865096"/>
              <a:gd name="connsiteY13" fmla="*/ 2263770 h 9622632"/>
              <a:gd name="connsiteX14" fmla="*/ 5215023 w 9865096"/>
              <a:gd name="connsiteY14" fmla="*/ 2254160 h 9622632"/>
              <a:gd name="connsiteX15" fmla="*/ 5710116 w 9865096"/>
              <a:gd name="connsiteY15" fmla="*/ 2302214 h 9622632"/>
              <a:gd name="connsiteX16" fmla="*/ 6438191 w 9865096"/>
              <a:gd name="connsiteY16" fmla="*/ 1427622 h 9622632"/>
              <a:gd name="connsiteX17" fmla="*/ 6457607 w 9865096"/>
              <a:gd name="connsiteY17" fmla="*/ 1168127 h 9622632"/>
              <a:gd name="connsiteX18" fmla="*/ 7930029 w 9865096"/>
              <a:gd name="connsiteY18" fmla="*/ 910 h 9622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65096" h="9622632">
                <a:moveTo>
                  <a:pt x="7930029" y="910"/>
                </a:moveTo>
                <a:cubicBezTo>
                  <a:pt x="8030405" y="4458"/>
                  <a:pt x="8132185" y="18423"/>
                  <a:pt x="8234115" y="43653"/>
                </a:cubicBezTo>
                <a:cubicBezTo>
                  <a:pt x="8923362" y="216649"/>
                  <a:pt x="9379624" y="879800"/>
                  <a:pt x="9301962" y="1581396"/>
                </a:cubicBezTo>
                <a:cubicBezTo>
                  <a:pt x="9263132" y="1879334"/>
                  <a:pt x="9146639" y="2138829"/>
                  <a:pt x="8962193" y="2350269"/>
                </a:cubicBezTo>
                <a:cubicBezTo>
                  <a:pt x="8777746" y="2571319"/>
                  <a:pt x="8709793" y="2869257"/>
                  <a:pt x="8806870" y="3147973"/>
                </a:cubicBezTo>
                <a:cubicBezTo>
                  <a:pt x="8874824" y="3369024"/>
                  <a:pt x="9030147" y="3542020"/>
                  <a:pt x="9243716" y="3638129"/>
                </a:cubicBezTo>
                <a:cubicBezTo>
                  <a:pt x="9554362" y="3791904"/>
                  <a:pt x="9797055" y="4089842"/>
                  <a:pt x="9855301" y="4464667"/>
                </a:cubicBezTo>
                <a:cubicBezTo>
                  <a:pt x="9923255" y="4964434"/>
                  <a:pt x="9632023" y="5444980"/>
                  <a:pt x="9156347" y="5617976"/>
                </a:cubicBezTo>
                <a:cubicBezTo>
                  <a:pt x="8680670" y="5790972"/>
                  <a:pt x="8175869" y="5617976"/>
                  <a:pt x="7904055" y="5252762"/>
                </a:cubicBezTo>
                <a:cubicBezTo>
                  <a:pt x="7865223" y="5204707"/>
                  <a:pt x="7806978" y="5185485"/>
                  <a:pt x="7748731" y="5204707"/>
                </a:cubicBezTo>
                <a:cubicBezTo>
                  <a:pt x="7690485" y="5223929"/>
                  <a:pt x="7651655" y="5281594"/>
                  <a:pt x="7661361" y="5339260"/>
                </a:cubicBezTo>
                <a:cubicBezTo>
                  <a:pt x="7874931" y="7050000"/>
                  <a:pt x="6894454" y="8751130"/>
                  <a:pt x="5195608" y="9375838"/>
                </a:cubicBezTo>
                <a:cubicBezTo>
                  <a:pt x="3215238" y="10115877"/>
                  <a:pt x="1011590" y="9135566"/>
                  <a:pt x="254391" y="7184552"/>
                </a:cubicBezTo>
                <a:cubicBezTo>
                  <a:pt x="-502810" y="5233540"/>
                  <a:pt x="487376" y="3013420"/>
                  <a:pt x="2467745" y="2263770"/>
                </a:cubicBezTo>
                <a:cubicBezTo>
                  <a:pt x="3389976" y="1908167"/>
                  <a:pt x="4360746" y="1937000"/>
                  <a:pt x="5215023" y="2254160"/>
                </a:cubicBezTo>
                <a:cubicBezTo>
                  <a:pt x="5370346" y="2311825"/>
                  <a:pt x="5545085" y="2331047"/>
                  <a:pt x="5710116" y="2302214"/>
                </a:cubicBezTo>
                <a:cubicBezTo>
                  <a:pt x="6127545" y="2215716"/>
                  <a:pt x="6438191" y="1850502"/>
                  <a:pt x="6438191" y="1427622"/>
                </a:cubicBezTo>
                <a:cubicBezTo>
                  <a:pt x="6438191" y="1341124"/>
                  <a:pt x="6447899" y="1254626"/>
                  <a:pt x="6457607" y="1168127"/>
                </a:cubicBezTo>
                <a:cubicBezTo>
                  <a:pt x="6593515" y="461726"/>
                  <a:pt x="7227398" y="-23924"/>
                  <a:pt x="7930029" y="91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B46A162-9133-8F43-96D7-A0AF55521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71500720-635B-314A-B1DC-EF82679AE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2942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6">
            <a:extLst>
              <a:ext uri="{FF2B5EF4-FFF2-40B4-BE49-F238E27FC236}">
                <a16:creationId xmlns:a16="http://schemas.microsoft.com/office/drawing/2014/main" id="{B7C3C85D-77F4-184D-BBB6-6EE4F4BF9F4A}"/>
              </a:ext>
            </a:extLst>
          </p:cNvPr>
          <p:cNvSpPr>
            <a:spLocks noGrp="1" noEditPoints="1"/>
          </p:cNvSpPr>
          <p:nvPr>
            <p:ph type="pic" sz="quarter" idx="24" hasCustomPrompt="1"/>
          </p:nvPr>
        </p:nvSpPr>
        <p:spPr bwMode="auto">
          <a:xfrm flipH="1">
            <a:off x="9025235" y="522089"/>
            <a:ext cx="14855263" cy="13195499"/>
          </a:xfrm>
          <a:custGeom>
            <a:avLst/>
            <a:gdLst>
              <a:gd name="T0" fmla="*/ 1475 w 1566"/>
              <a:gd name="T1" fmla="*/ 1117 h 1569"/>
              <a:gd name="T2" fmla="*/ 1471 w 1566"/>
              <a:gd name="T3" fmla="*/ 1100 h 1569"/>
              <a:gd name="T4" fmla="*/ 839 w 1566"/>
              <a:gd name="T5" fmla="*/ 1222 h 1569"/>
              <a:gd name="T6" fmla="*/ 1150 w 1566"/>
              <a:gd name="T7" fmla="*/ 1087 h 1569"/>
              <a:gd name="T8" fmla="*/ 1326 w 1566"/>
              <a:gd name="T9" fmla="*/ 1064 h 1569"/>
              <a:gd name="T10" fmla="*/ 1536 w 1566"/>
              <a:gd name="T11" fmla="*/ 1056 h 1569"/>
              <a:gd name="T12" fmla="*/ 756 w 1566"/>
              <a:gd name="T13" fmla="*/ 1137 h 1569"/>
              <a:gd name="T14" fmla="*/ 673 w 1566"/>
              <a:gd name="T15" fmla="*/ 1255 h 1569"/>
              <a:gd name="T16" fmla="*/ 144 w 1566"/>
              <a:gd name="T17" fmla="*/ 1130 h 1569"/>
              <a:gd name="T18" fmla="*/ 577 w 1566"/>
              <a:gd name="T19" fmla="*/ 1449 h 1569"/>
              <a:gd name="T20" fmla="*/ 13 w 1566"/>
              <a:gd name="T21" fmla="*/ 1123 h 1569"/>
              <a:gd name="T22" fmla="*/ 621 w 1566"/>
              <a:gd name="T23" fmla="*/ 1569 h 1569"/>
              <a:gd name="T24" fmla="*/ 743 w 1566"/>
              <a:gd name="T25" fmla="*/ 1380 h 1569"/>
              <a:gd name="T26" fmla="*/ 1481 w 1566"/>
              <a:gd name="T27" fmla="*/ 1128 h 1569"/>
              <a:gd name="T28" fmla="*/ 724 w 1566"/>
              <a:gd name="T29" fmla="*/ 273 h 1569"/>
              <a:gd name="T30" fmla="*/ 676 w 1566"/>
              <a:gd name="T31" fmla="*/ 2 h 1569"/>
              <a:gd name="T32" fmla="*/ 584 w 1566"/>
              <a:gd name="T33" fmla="*/ 389 h 1569"/>
              <a:gd name="T34" fmla="*/ 970 w 1566"/>
              <a:gd name="T35" fmla="*/ 499 h 1569"/>
              <a:gd name="T36" fmla="*/ 1157 w 1566"/>
              <a:gd name="T37" fmla="*/ 494 h 1569"/>
              <a:gd name="T38" fmla="*/ 1418 w 1566"/>
              <a:gd name="T39" fmla="*/ 471 h 1569"/>
              <a:gd name="T40" fmla="*/ 594 w 1566"/>
              <a:gd name="T41" fmla="*/ 507 h 1569"/>
              <a:gd name="T42" fmla="*/ 1186 w 1566"/>
              <a:gd name="T43" fmla="*/ 525 h 1569"/>
              <a:gd name="T44" fmla="*/ 673 w 1566"/>
              <a:gd name="T45" fmla="*/ 548 h 1569"/>
              <a:gd name="T46" fmla="*/ 1419 w 1566"/>
              <a:gd name="T47" fmla="*/ 520 h 1569"/>
              <a:gd name="T48" fmla="*/ 926 w 1566"/>
              <a:gd name="T49" fmla="*/ 480 h 1569"/>
              <a:gd name="T50" fmla="*/ 669 w 1566"/>
              <a:gd name="T51" fmla="*/ 451 h 1569"/>
              <a:gd name="T52" fmla="*/ 628 w 1566"/>
              <a:gd name="T53" fmla="*/ 360 h 1569"/>
              <a:gd name="T54" fmla="*/ 619 w 1566"/>
              <a:gd name="T55" fmla="*/ 325 h 1569"/>
              <a:gd name="T56" fmla="*/ 329 w 1566"/>
              <a:gd name="T57" fmla="*/ 562 h 1569"/>
              <a:gd name="T58" fmla="*/ 594 w 1566"/>
              <a:gd name="T59" fmla="*/ 583 h 1569"/>
              <a:gd name="T60" fmla="*/ 571 w 1566"/>
              <a:gd name="T61" fmla="*/ 618 h 1569"/>
              <a:gd name="T62" fmla="*/ 562 w 1566"/>
              <a:gd name="T63" fmla="*/ 529 h 1569"/>
              <a:gd name="T64" fmla="*/ 522 w 1566"/>
              <a:gd name="T65" fmla="*/ 488 h 1569"/>
              <a:gd name="T66" fmla="*/ 481 w 1566"/>
              <a:gd name="T67" fmla="*/ 547 h 1569"/>
              <a:gd name="T68" fmla="*/ 463 w 1566"/>
              <a:gd name="T69" fmla="*/ 460 h 1569"/>
              <a:gd name="T70" fmla="*/ 426 w 1566"/>
              <a:gd name="T71" fmla="*/ 479 h 1569"/>
              <a:gd name="T72" fmla="*/ 419 w 1566"/>
              <a:gd name="T73" fmla="*/ 394 h 1569"/>
              <a:gd name="T74" fmla="*/ 384 w 1566"/>
              <a:gd name="T75" fmla="*/ 462 h 1569"/>
              <a:gd name="T76" fmla="*/ 474 w 1566"/>
              <a:gd name="T77" fmla="*/ 453 h 1569"/>
              <a:gd name="T78" fmla="*/ 283 w 1566"/>
              <a:gd name="T79" fmla="*/ 306 h 1569"/>
              <a:gd name="T80" fmla="*/ 380 w 1566"/>
              <a:gd name="T81" fmla="*/ 1213 h 1569"/>
              <a:gd name="T82" fmla="*/ 475 w 1566"/>
              <a:gd name="T83" fmla="*/ 620 h 1569"/>
              <a:gd name="T84" fmla="*/ 551 w 1566"/>
              <a:gd name="T85" fmla="*/ 907 h 1569"/>
              <a:gd name="T86" fmla="*/ 286 w 1566"/>
              <a:gd name="T87" fmla="*/ 1163 h 1569"/>
              <a:gd name="T88" fmla="*/ 674 w 1566"/>
              <a:gd name="T89" fmla="*/ 1098 h 1569"/>
              <a:gd name="T90" fmla="*/ 747 w 1566"/>
              <a:gd name="T91" fmla="*/ 1126 h 1569"/>
              <a:gd name="T92" fmla="*/ 1013 w 1566"/>
              <a:gd name="T93" fmla="*/ 1078 h 1569"/>
              <a:gd name="T94" fmla="*/ 694 w 1566"/>
              <a:gd name="T95" fmla="*/ 1016 h 1569"/>
              <a:gd name="T96" fmla="*/ 732 w 1566"/>
              <a:gd name="T97" fmla="*/ 818 h 1569"/>
              <a:gd name="T98" fmla="*/ 737 w 1566"/>
              <a:gd name="T99" fmla="*/ 609 h 1569"/>
              <a:gd name="T100" fmla="*/ 435 w 1566"/>
              <a:gd name="T101" fmla="*/ 550 h 1569"/>
              <a:gd name="T102" fmla="*/ 184 w 1566"/>
              <a:gd name="T103" fmla="*/ 271 h 1569"/>
              <a:gd name="T104" fmla="*/ 332 w 1566"/>
              <a:gd name="T105" fmla="*/ 582 h 1569"/>
              <a:gd name="T106" fmla="*/ 1186 w 1566"/>
              <a:gd name="T107" fmla="*/ 1217 h 1569"/>
              <a:gd name="T108" fmla="*/ 836 w 1566"/>
              <a:gd name="T109" fmla="*/ 1255 h 1569"/>
              <a:gd name="T110" fmla="*/ 1020 w 1566"/>
              <a:gd name="T111" fmla="*/ 1221 h 1569"/>
              <a:gd name="T112" fmla="*/ 1119 w 1566"/>
              <a:gd name="T113" fmla="*/ 1170 h 1569"/>
              <a:gd name="T114" fmla="*/ 483 w 1566"/>
              <a:gd name="T115" fmla="*/ 1361 h 1569"/>
              <a:gd name="T116" fmla="*/ 421 w 1566"/>
              <a:gd name="T117" fmla="*/ 1326 h 1569"/>
              <a:gd name="T118" fmla="*/ 326 w 1566"/>
              <a:gd name="T119" fmla="*/ 1271 h 1569"/>
              <a:gd name="T120" fmla="*/ 83 w 1566"/>
              <a:gd name="T121" fmla="*/ 1164 h 1569"/>
              <a:gd name="T122" fmla="*/ 949 w 1566"/>
              <a:gd name="T123" fmla="*/ 1147 h 1569"/>
              <a:gd name="T124" fmla="*/ 1066 w 1566"/>
              <a:gd name="T125" fmla="*/ 1102 h 1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6" h="1569">
                <a:moveTo>
                  <a:pt x="1410" y="1101"/>
                </a:moveTo>
                <a:lnTo>
                  <a:pt x="1407" y="1106"/>
                </a:lnTo>
                <a:lnTo>
                  <a:pt x="1403" y="1110"/>
                </a:lnTo>
                <a:lnTo>
                  <a:pt x="1402" y="1105"/>
                </a:lnTo>
                <a:lnTo>
                  <a:pt x="1402" y="1099"/>
                </a:lnTo>
                <a:lnTo>
                  <a:pt x="1402" y="1096"/>
                </a:lnTo>
                <a:lnTo>
                  <a:pt x="1402" y="1094"/>
                </a:lnTo>
                <a:lnTo>
                  <a:pt x="1400" y="1092"/>
                </a:lnTo>
                <a:lnTo>
                  <a:pt x="1398" y="1091"/>
                </a:lnTo>
                <a:lnTo>
                  <a:pt x="1399" y="1088"/>
                </a:lnTo>
                <a:lnTo>
                  <a:pt x="1400" y="1086"/>
                </a:lnTo>
                <a:lnTo>
                  <a:pt x="1401" y="1081"/>
                </a:lnTo>
                <a:lnTo>
                  <a:pt x="1402" y="1075"/>
                </a:lnTo>
                <a:lnTo>
                  <a:pt x="1403" y="1072"/>
                </a:lnTo>
                <a:lnTo>
                  <a:pt x="1405" y="1070"/>
                </a:lnTo>
                <a:lnTo>
                  <a:pt x="1407" y="1070"/>
                </a:lnTo>
                <a:lnTo>
                  <a:pt x="1410" y="1070"/>
                </a:lnTo>
                <a:lnTo>
                  <a:pt x="1410" y="1073"/>
                </a:lnTo>
                <a:lnTo>
                  <a:pt x="1412" y="1077"/>
                </a:lnTo>
                <a:lnTo>
                  <a:pt x="1413" y="1079"/>
                </a:lnTo>
                <a:lnTo>
                  <a:pt x="1415" y="1081"/>
                </a:lnTo>
                <a:lnTo>
                  <a:pt x="1420" y="1086"/>
                </a:lnTo>
                <a:lnTo>
                  <a:pt x="1425" y="1091"/>
                </a:lnTo>
                <a:lnTo>
                  <a:pt x="1420" y="1089"/>
                </a:lnTo>
                <a:lnTo>
                  <a:pt x="1413" y="1088"/>
                </a:lnTo>
                <a:lnTo>
                  <a:pt x="1419" y="1103"/>
                </a:lnTo>
                <a:lnTo>
                  <a:pt x="1426" y="1119"/>
                </a:lnTo>
                <a:lnTo>
                  <a:pt x="1419" y="1110"/>
                </a:lnTo>
                <a:lnTo>
                  <a:pt x="1410" y="1101"/>
                </a:lnTo>
                <a:close/>
                <a:moveTo>
                  <a:pt x="965" y="1070"/>
                </a:moveTo>
                <a:lnTo>
                  <a:pt x="965" y="1074"/>
                </a:lnTo>
                <a:lnTo>
                  <a:pt x="966" y="1079"/>
                </a:lnTo>
                <a:lnTo>
                  <a:pt x="966" y="1084"/>
                </a:lnTo>
                <a:lnTo>
                  <a:pt x="968" y="1087"/>
                </a:lnTo>
                <a:lnTo>
                  <a:pt x="973" y="1087"/>
                </a:lnTo>
                <a:lnTo>
                  <a:pt x="979" y="1085"/>
                </a:lnTo>
                <a:lnTo>
                  <a:pt x="973" y="1077"/>
                </a:lnTo>
                <a:lnTo>
                  <a:pt x="968" y="1068"/>
                </a:lnTo>
                <a:lnTo>
                  <a:pt x="967" y="1068"/>
                </a:lnTo>
                <a:lnTo>
                  <a:pt x="965" y="1070"/>
                </a:lnTo>
                <a:close/>
                <a:moveTo>
                  <a:pt x="1481" y="1128"/>
                </a:move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77" y="1127"/>
                </a:lnTo>
                <a:lnTo>
                  <a:pt x="1475" y="1124"/>
                </a:lnTo>
                <a:lnTo>
                  <a:pt x="1474" y="1121"/>
                </a:lnTo>
                <a:lnTo>
                  <a:pt x="1475" y="1117"/>
                </a:lnTo>
                <a:lnTo>
                  <a:pt x="1479" y="1102"/>
                </a:lnTo>
                <a:lnTo>
                  <a:pt x="1485" y="1088"/>
                </a:lnTo>
                <a:lnTo>
                  <a:pt x="1489" y="1085"/>
                </a:lnTo>
                <a:lnTo>
                  <a:pt x="1492" y="1082"/>
                </a:lnTo>
                <a:lnTo>
                  <a:pt x="1495" y="1087"/>
                </a:lnTo>
                <a:lnTo>
                  <a:pt x="1495" y="1091"/>
                </a:lnTo>
                <a:lnTo>
                  <a:pt x="1492" y="1099"/>
                </a:lnTo>
                <a:lnTo>
                  <a:pt x="1489" y="1107"/>
                </a:lnTo>
                <a:lnTo>
                  <a:pt x="1502" y="1107"/>
                </a:lnTo>
                <a:lnTo>
                  <a:pt x="1513" y="1107"/>
                </a:lnTo>
                <a:lnTo>
                  <a:pt x="1524" y="1107"/>
                </a:lnTo>
                <a:lnTo>
                  <a:pt x="1536" y="1107"/>
                </a:lnTo>
                <a:lnTo>
                  <a:pt x="1539" y="1106"/>
                </a:lnTo>
                <a:lnTo>
                  <a:pt x="1541" y="1103"/>
                </a:lnTo>
                <a:lnTo>
                  <a:pt x="1546" y="1092"/>
                </a:lnTo>
                <a:lnTo>
                  <a:pt x="1553" y="1081"/>
                </a:lnTo>
                <a:lnTo>
                  <a:pt x="1555" y="1077"/>
                </a:lnTo>
                <a:lnTo>
                  <a:pt x="1557" y="1071"/>
                </a:lnTo>
                <a:lnTo>
                  <a:pt x="1558" y="1064"/>
                </a:lnTo>
                <a:lnTo>
                  <a:pt x="1557" y="1057"/>
                </a:lnTo>
                <a:lnTo>
                  <a:pt x="1557" y="1056"/>
                </a:lnTo>
                <a:lnTo>
                  <a:pt x="1557" y="1054"/>
                </a:lnTo>
                <a:lnTo>
                  <a:pt x="1560" y="1044"/>
                </a:lnTo>
                <a:lnTo>
                  <a:pt x="1565" y="1035"/>
                </a:lnTo>
                <a:lnTo>
                  <a:pt x="1566" y="1029"/>
                </a:lnTo>
                <a:lnTo>
                  <a:pt x="1566" y="1024"/>
                </a:lnTo>
                <a:lnTo>
                  <a:pt x="1564" y="1021"/>
                </a:lnTo>
                <a:lnTo>
                  <a:pt x="1559" y="1017"/>
                </a:lnTo>
                <a:lnTo>
                  <a:pt x="1558" y="1021"/>
                </a:lnTo>
                <a:lnTo>
                  <a:pt x="1558" y="1024"/>
                </a:lnTo>
                <a:lnTo>
                  <a:pt x="1552" y="1036"/>
                </a:lnTo>
                <a:lnTo>
                  <a:pt x="1546" y="1047"/>
                </a:lnTo>
                <a:lnTo>
                  <a:pt x="1540" y="1059"/>
                </a:lnTo>
                <a:lnTo>
                  <a:pt x="1534" y="1071"/>
                </a:lnTo>
                <a:lnTo>
                  <a:pt x="1533" y="1073"/>
                </a:lnTo>
                <a:lnTo>
                  <a:pt x="1531" y="1074"/>
                </a:lnTo>
                <a:lnTo>
                  <a:pt x="1520" y="1078"/>
                </a:lnTo>
                <a:lnTo>
                  <a:pt x="1509" y="1080"/>
                </a:lnTo>
                <a:lnTo>
                  <a:pt x="1503" y="1080"/>
                </a:lnTo>
                <a:lnTo>
                  <a:pt x="1498" y="1079"/>
                </a:lnTo>
                <a:lnTo>
                  <a:pt x="1492" y="1077"/>
                </a:lnTo>
                <a:lnTo>
                  <a:pt x="1487" y="1072"/>
                </a:lnTo>
                <a:lnTo>
                  <a:pt x="1482" y="1085"/>
                </a:lnTo>
                <a:lnTo>
                  <a:pt x="1477" y="1098"/>
                </a:lnTo>
                <a:lnTo>
                  <a:pt x="1471" y="1109"/>
                </a:lnTo>
                <a:lnTo>
                  <a:pt x="1467" y="1122"/>
                </a:lnTo>
                <a:lnTo>
                  <a:pt x="1465" y="1122"/>
                </a:lnTo>
                <a:lnTo>
                  <a:pt x="1464" y="1121"/>
                </a:lnTo>
                <a:lnTo>
                  <a:pt x="1465" y="1119"/>
                </a:lnTo>
                <a:lnTo>
                  <a:pt x="1465" y="1117"/>
                </a:lnTo>
                <a:lnTo>
                  <a:pt x="1471" y="1100"/>
                </a:lnTo>
                <a:lnTo>
                  <a:pt x="1477" y="1082"/>
                </a:lnTo>
                <a:lnTo>
                  <a:pt x="1478" y="1079"/>
                </a:lnTo>
                <a:lnTo>
                  <a:pt x="1478" y="1077"/>
                </a:lnTo>
                <a:lnTo>
                  <a:pt x="1478" y="1074"/>
                </a:lnTo>
                <a:lnTo>
                  <a:pt x="1476" y="1072"/>
                </a:lnTo>
                <a:lnTo>
                  <a:pt x="1463" y="1056"/>
                </a:lnTo>
                <a:lnTo>
                  <a:pt x="1450" y="1040"/>
                </a:lnTo>
                <a:lnTo>
                  <a:pt x="1447" y="1037"/>
                </a:lnTo>
                <a:lnTo>
                  <a:pt x="1443" y="1036"/>
                </a:lnTo>
                <a:lnTo>
                  <a:pt x="1440" y="1036"/>
                </a:lnTo>
                <a:lnTo>
                  <a:pt x="1435" y="1037"/>
                </a:lnTo>
                <a:lnTo>
                  <a:pt x="1426" y="1040"/>
                </a:lnTo>
                <a:lnTo>
                  <a:pt x="1418" y="1043"/>
                </a:lnTo>
                <a:lnTo>
                  <a:pt x="1408" y="1046"/>
                </a:lnTo>
                <a:lnTo>
                  <a:pt x="1399" y="1049"/>
                </a:lnTo>
                <a:lnTo>
                  <a:pt x="1381" y="1054"/>
                </a:lnTo>
                <a:lnTo>
                  <a:pt x="1364" y="1059"/>
                </a:lnTo>
                <a:lnTo>
                  <a:pt x="1345" y="1065"/>
                </a:lnTo>
                <a:lnTo>
                  <a:pt x="1327" y="1071"/>
                </a:lnTo>
                <a:lnTo>
                  <a:pt x="1310" y="1075"/>
                </a:lnTo>
                <a:lnTo>
                  <a:pt x="1291" y="1081"/>
                </a:lnTo>
                <a:lnTo>
                  <a:pt x="1274" y="1087"/>
                </a:lnTo>
                <a:lnTo>
                  <a:pt x="1256" y="1093"/>
                </a:lnTo>
                <a:lnTo>
                  <a:pt x="1241" y="1098"/>
                </a:lnTo>
                <a:lnTo>
                  <a:pt x="1227" y="1102"/>
                </a:lnTo>
                <a:lnTo>
                  <a:pt x="1213" y="1107"/>
                </a:lnTo>
                <a:lnTo>
                  <a:pt x="1199" y="1112"/>
                </a:lnTo>
                <a:lnTo>
                  <a:pt x="1186" y="1115"/>
                </a:lnTo>
                <a:lnTo>
                  <a:pt x="1174" y="1120"/>
                </a:lnTo>
                <a:lnTo>
                  <a:pt x="1163" y="1123"/>
                </a:lnTo>
                <a:lnTo>
                  <a:pt x="1150" y="1127"/>
                </a:lnTo>
                <a:lnTo>
                  <a:pt x="1136" y="1131"/>
                </a:lnTo>
                <a:lnTo>
                  <a:pt x="1120" y="1136"/>
                </a:lnTo>
                <a:lnTo>
                  <a:pt x="1105" y="1141"/>
                </a:lnTo>
                <a:lnTo>
                  <a:pt x="1091" y="1145"/>
                </a:lnTo>
                <a:lnTo>
                  <a:pt x="1074" y="1150"/>
                </a:lnTo>
                <a:lnTo>
                  <a:pt x="1057" y="1156"/>
                </a:lnTo>
                <a:lnTo>
                  <a:pt x="1041" y="1161"/>
                </a:lnTo>
                <a:lnTo>
                  <a:pt x="1025" y="1165"/>
                </a:lnTo>
                <a:lnTo>
                  <a:pt x="1009" y="1170"/>
                </a:lnTo>
                <a:lnTo>
                  <a:pt x="995" y="1175"/>
                </a:lnTo>
                <a:lnTo>
                  <a:pt x="981" y="1178"/>
                </a:lnTo>
                <a:lnTo>
                  <a:pt x="967" y="1183"/>
                </a:lnTo>
                <a:lnTo>
                  <a:pt x="950" y="1189"/>
                </a:lnTo>
                <a:lnTo>
                  <a:pt x="932" y="1193"/>
                </a:lnTo>
                <a:lnTo>
                  <a:pt x="916" y="1199"/>
                </a:lnTo>
                <a:lnTo>
                  <a:pt x="898" y="1205"/>
                </a:lnTo>
                <a:lnTo>
                  <a:pt x="883" y="1210"/>
                </a:lnTo>
                <a:lnTo>
                  <a:pt x="869" y="1214"/>
                </a:lnTo>
                <a:lnTo>
                  <a:pt x="854" y="1218"/>
                </a:lnTo>
                <a:lnTo>
                  <a:pt x="839" y="1222"/>
                </a:lnTo>
                <a:lnTo>
                  <a:pt x="822" y="1226"/>
                </a:lnTo>
                <a:lnTo>
                  <a:pt x="805" y="1229"/>
                </a:lnTo>
                <a:lnTo>
                  <a:pt x="815" y="1226"/>
                </a:lnTo>
                <a:lnTo>
                  <a:pt x="825" y="1221"/>
                </a:lnTo>
                <a:lnTo>
                  <a:pt x="835" y="1218"/>
                </a:lnTo>
                <a:lnTo>
                  <a:pt x="845" y="1214"/>
                </a:lnTo>
                <a:lnTo>
                  <a:pt x="816" y="1219"/>
                </a:lnTo>
                <a:lnTo>
                  <a:pt x="788" y="1224"/>
                </a:lnTo>
                <a:lnTo>
                  <a:pt x="760" y="1228"/>
                </a:lnTo>
                <a:lnTo>
                  <a:pt x="732" y="1232"/>
                </a:lnTo>
                <a:lnTo>
                  <a:pt x="732" y="1231"/>
                </a:lnTo>
                <a:lnTo>
                  <a:pt x="733" y="1229"/>
                </a:lnTo>
                <a:lnTo>
                  <a:pt x="753" y="1226"/>
                </a:lnTo>
                <a:lnTo>
                  <a:pt x="773" y="1221"/>
                </a:lnTo>
                <a:lnTo>
                  <a:pt x="792" y="1218"/>
                </a:lnTo>
                <a:lnTo>
                  <a:pt x="812" y="1213"/>
                </a:lnTo>
                <a:lnTo>
                  <a:pt x="829" y="1210"/>
                </a:lnTo>
                <a:lnTo>
                  <a:pt x="847" y="1206"/>
                </a:lnTo>
                <a:lnTo>
                  <a:pt x="864" y="1203"/>
                </a:lnTo>
                <a:lnTo>
                  <a:pt x="882" y="1199"/>
                </a:lnTo>
                <a:lnTo>
                  <a:pt x="895" y="1197"/>
                </a:lnTo>
                <a:lnTo>
                  <a:pt x="908" y="1193"/>
                </a:lnTo>
                <a:lnTo>
                  <a:pt x="921" y="1191"/>
                </a:lnTo>
                <a:lnTo>
                  <a:pt x="933" y="1187"/>
                </a:lnTo>
                <a:lnTo>
                  <a:pt x="947" y="1184"/>
                </a:lnTo>
                <a:lnTo>
                  <a:pt x="961" y="1179"/>
                </a:lnTo>
                <a:lnTo>
                  <a:pt x="974" y="1175"/>
                </a:lnTo>
                <a:lnTo>
                  <a:pt x="987" y="1171"/>
                </a:lnTo>
                <a:lnTo>
                  <a:pt x="1002" y="1166"/>
                </a:lnTo>
                <a:lnTo>
                  <a:pt x="1016" y="1162"/>
                </a:lnTo>
                <a:lnTo>
                  <a:pt x="1030" y="1158"/>
                </a:lnTo>
                <a:lnTo>
                  <a:pt x="1044" y="1154"/>
                </a:lnTo>
                <a:lnTo>
                  <a:pt x="1062" y="1148"/>
                </a:lnTo>
                <a:lnTo>
                  <a:pt x="1080" y="1143"/>
                </a:lnTo>
                <a:lnTo>
                  <a:pt x="1097" y="1137"/>
                </a:lnTo>
                <a:lnTo>
                  <a:pt x="1113" y="1131"/>
                </a:lnTo>
                <a:lnTo>
                  <a:pt x="1123" y="1129"/>
                </a:lnTo>
                <a:lnTo>
                  <a:pt x="1133" y="1127"/>
                </a:lnTo>
                <a:lnTo>
                  <a:pt x="1143" y="1123"/>
                </a:lnTo>
                <a:lnTo>
                  <a:pt x="1152" y="1120"/>
                </a:lnTo>
                <a:lnTo>
                  <a:pt x="1154" y="1119"/>
                </a:lnTo>
                <a:lnTo>
                  <a:pt x="1158" y="1117"/>
                </a:lnTo>
                <a:lnTo>
                  <a:pt x="1159" y="1116"/>
                </a:lnTo>
                <a:lnTo>
                  <a:pt x="1160" y="1115"/>
                </a:lnTo>
                <a:lnTo>
                  <a:pt x="1160" y="1113"/>
                </a:lnTo>
                <a:lnTo>
                  <a:pt x="1159" y="1110"/>
                </a:lnTo>
                <a:lnTo>
                  <a:pt x="1154" y="1102"/>
                </a:lnTo>
                <a:lnTo>
                  <a:pt x="1150" y="1094"/>
                </a:lnTo>
                <a:lnTo>
                  <a:pt x="1150" y="1091"/>
                </a:lnTo>
                <a:lnTo>
                  <a:pt x="1149" y="1088"/>
                </a:lnTo>
                <a:lnTo>
                  <a:pt x="1150" y="1087"/>
                </a:lnTo>
                <a:lnTo>
                  <a:pt x="1151" y="1087"/>
                </a:lnTo>
                <a:lnTo>
                  <a:pt x="1158" y="1098"/>
                </a:lnTo>
                <a:lnTo>
                  <a:pt x="1164" y="1109"/>
                </a:lnTo>
                <a:lnTo>
                  <a:pt x="1165" y="1112"/>
                </a:lnTo>
                <a:lnTo>
                  <a:pt x="1166" y="1113"/>
                </a:lnTo>
                <a:lnTo>
                  <a:pt x="1167" y="1114"/>
                </a:lnTo>
                <a:lnTo>
                  <a:pt x="1170" y="1114"/>
                </a:lnTo>
                <a:lnTo>
                  <a:pt x="1173" y="1114"/>
                </a:lnTo>
                <a:lnTo>
                  <a:pt x="1177" y="1113"/>
                </a:lnTo>
                <a:lnTo>
                  <a:pt x="1179" y="1112"/>
                </a:lnTo>
                <a:lnTo>
                  <a:pt x="1181" y="1109"/>
                </a:lnTo>
                <a:lnTo>
                  <a:pt x="1181" y="1107"/>
                </a:lnTo>
                <a:lnTo>
                  <a:pt x="1181" y="1103"/>
                </a:lnTo>
                <a:lnTo>
                  <a:pt x="1180" y="1095"/>
                </a:lnTo>
                <a:lnTo>
                  <a:pt x="1179" y="1088"/>
                </a:lnTo>
                <a:lnTo>
                  <a:pt x="1179" y="1084"/>
                </a:lnTo>
                <a:lnTo>
                  <a:pt x="1179" y="1079"/>
                </a:lnTo>
                <a:lnTo>
                  <a:pt x="1181" y="1079"/>
                </a:lnTo>
                <a:lnTo>
                  <a:pt x="1182" y="1079"/>
                </a:lnTo>
                <a:lnTo>
                  <a:pt x="1182" y="1087"/>
                </a:lnTo>
                <a:lnTo>
                  <a:pt x="1184" y="1094"/>
                </a:lnTo>
                <a:lnTo>
                  <a:pt x="1184" y="1100"/>
                </a:lnTo>
                <a:lnTo>
                  <a:pt x="1184" y="1103"/>
                </a:lnTo>
                <a:lnTo>
                  <a:pt x="1185" y="1106"/>
                </a:lnTo>
                <a:lnTo>
                  <a:pt x="1186" y="1108"/>
                </a:lnTo>
                <a:lnTo>
                  <a:pt x="1188" y="1108"/>
                </a:lnTo>
                <a:lnTo>
                  <a:pt x="1191" y="1108"/>
                </a:lnTo>
                <a:lnTo>
                  <a:pt x="1194" y="1107"/>
                </a:lnTo>
                <a:lnTo>
                  <a:pt x="1200" y="1105"/>
                </a:lnTo>
                <a:lnTo>
                  <a:pt x="1208" y="1102"/>
                </a:lnTo>
                <a:lnTo>
                  <a:pt x="1212" y="1099"/>
                </a:lnTo>
                <a:lnTo>
                  <a:pt x="1213" y="1094"/>
                </a:lnTo>
                <a:lnTo>
                  <a:pt x="1212" y="1085"/>
                </a:lnTo>
                <a:lnTo>
                  <a:pt x="1212" y="1079"/>
                </a:lnTo>
                <a:lnTo>
                  <a:pt x="1211" y="1072"/>
                </a:lnTo>
                <a:lnTo>
                  <a:pt x="1213" y="1072"/>
                </a:lnTo>
                <a:lnTo>
                  <a:pt x="1214" y="1072"/>
                </a:lnTo>
                <a:lnTo>
                  <a:pt x="1214" y="1080"/>
                </a:lnTo>
                <a:lnTo>
                  <a:pt x="1215" y="1088"/>
                </a:lnTo>
                <a:lnTo>
                  <a:pt x="1216" y="1094"/>
                </a:lnTo>
                <a:lnTo>
                  <a:pt x="1218" y="1098"/>
                </a:lnTo>
                <a:lnTo>
                  <a:pt x="1221" y="1098"/>
                </a:lnTo>
                <a:lnTo>
                  <a:pt x="1228" y="1096"/>
                </a:lnTo>
                <a:lnTo>
                  <a:pt x="1242" y="1092"/>
                </a:lnTo>
                <a:lnTo>
                  <a:pt x="1256" y="1087"/>
                </a:lnTo>
                <a:lnTo>
                  <a:pt x="1265" y="1085"/>
                </a:lnTo>
                <a:lnTo>
                  <a:pt x="1276" y="1081"/>
                </a:lnTo>
                <a:lnTo>
                  <a:pt x="1285" y="1079"/>
                </a:lnTo>
                <a:lnTo>
                  <a:pt x="1296" y="1075"/>
                </a:lnTo>
                <a:lnTo>
                  <a:pt x="1311" y="1070"/>
                </a:lnTo>
                <a:lnTo>
                  <a:pt x="1326" y="1064"/>
                </a:lnTo>
                <a:lnTo>
                  <a:pt x="1343" y="1059"/>
                </a:lnTo>
                <a:lnTo>
                  <a:pt x="1359" y="1054"/>
                </a:lnTo>
                <a:lnTo>
                  <a:pt x="1377" y="1049"/>
                </a:lnTo>
                <a:lnTo>
                  <a:pt x="1395" y="1043"/>
                </a:lnTo>
                <a:lnTo>
                  <a:pt x="1413" y="1037"/>
                </a:lnTo>
                <a:lnTo>
                  <a:pt x="1432" y="1031"/>
                </a:lnTo>
                <a:lnTo>
                  <a:pt x="1439" y="1029"/>
                </a:lnTo>
                <a:lnTo>
                  <a:pt x="1446" y="1028"/>
                </a:lnTo>
                <a:lnTo>
                  <a:pt x="1449" y="1026"/>
                </a:lnTo>
                <a:lnTo>
                  <a:pt x="1453" y="1028"/>
                </a:lnTo>
                <a:lnTo>
                  <a:pt x="1456" y="1029"/>
                </a:lnTo>
                <a:lnTo>
                  <a:pt x="1460" y="1032"/>
                </a:lnTo>
                <a:lnTo>
                  <a:pt x="1464" y="1037"/>
                </a:lnTo>
                <a:lnTo>
                  <a:pt x="1470" y="1042"/>
                </a:lnTo>
                <a:lnTo>
                  <a:pt x="1471" y="1035"/>
                </a:lnTo>
                <a:lnTo>
                  <a:pt x="1470" y="1031"/>
                </a:lnTo>
                <a:lnTo>
                  <a:pt x="1468" y="1030"/>
                </a:lnTo>
                <a:lnTo>
                  <a:pt x="1464" y="1031"/>
                </a:lnTo>
                <a:lnTo>
                  <a:pt x="1468" y="1022"/>
                </a:lnTo>
                <a:lnTo>
                  <a:pt x="1471" y="1012"/>
                </a:lnTo>
                <a:lnTo>
                  <a:pt x="1476" y="1011"/>
                </a:lnTo>
                <a:lnTo>
                  <a:pt x="1479" y="1011"/>
                </a:lnTo>
                <a:lnTo>
                  <a:pt x="1484" y="1018"/>
                </a:lnTo>
                <a:lnTo>
                  <a:pt x="1488" y="1025"/>
                </a:lnTo>
                <a:lnTo>
                  <a:pt x="1484" y="1026"/>
                </a:lnTo>
                <a:lnTo>
                  <a:pt x="1482" y="1029"/>
                </a:lnTo>
                <a:lnTo>
                  <a:pt x="1482" y="1031"/>
                </a:lnTo>
                <a:lnTo>
                  <a:pt x="1484" y="1035"/>
                </a:lnTo>
                <a:lnTo>
                  <a:pt x="1491" y="1044"/>
                </a:lnTo>
                <a:lnTo>
                  <a:pt x="1499" y="1056"/>
                </a:lnTo>
                <a:lnTo>
                  <a:pt x="1495" y="1054"/>
                </a:lnTo>
                <a:lnTo>
                  <a:pt x="1494" y="1053"/>
                </a:lnTo>
                <a:lnTo>
                  <a:pt x="1488" y="1049"/>
                </a:lnTo>
                <a:lnTo>
                  <a:pt x="1483" y="1043"/>
                </a:lnTo>
                <a:lnTo>
                  <a:pt x="1479" y="1040"/>
                </a:lnTo>
                <a:lnTo>
                  <a:pt x="1477" y="1039"/>
                </a:lnTo>
                <a:lnTo>
                  <a:pt x="1476" y="1042"/>
                </a:lnTo>
                <a:lnTo>
                  <a:pt x="1475" y="1045"/>
                </a:lnTo>
                <a:lnTo>
                  <a:pt x="1475" y="1049"/>
                </a:lnTo>
                <a:lnTo>
                  <a:pt x="1477" y="1052"/>
                </a:lnTo>
                <a:lnTo>
                  <a:pt x="1485" y="1063"/>
                </a:lnTo>
                <a:lnTo>
                  <a:pt x="1495" y="1072"/>
                </a:lnTo>
                <a:lnTo>
                  <a:pt x="1499" y="1075"/>
                </a:lnTo>
                <a:lnTo>
                  <a:pt x="1506" y="1077"/>
                </a:lnTo>
                <a:lnTo>
                  <a:pt x="1513" y="1075"/>
                </a:lnTo>
                <a:lnTo>
                  <a:pt x="1520" y="1074"/>
                </a:lnTo>
                <a:lnTo>
                  <a:pt x="1524" y="1073"/>
                </a:lnTo>
                <a:lnTo>
                  <a:pt x="1526" y="1071"/>
                </a:lnTo>
                <a:lnTo>
                  <a:pt x="1530" y="1068"/>
                </a:lnTo>
                <a:lnTo>
                  <a:pt x="1531" y="1065"/>
                </a:lnTo>
                <a:lnTo>
                  <a:pt x="1536" y="1056"/>
                </a:lnTo>
                <a:lnTo>
                  <a:pt x="1540" y="1045"/>
                </a:lnTo>
                <a:lnTo>
                  <a:pt x="1545" y="1035"/>
                </a:lnTo>
                <a:lnTo>
                  <a:pt x="1550" y="1024"/>
                </a:lnTo>
                <a:lnTo>
                  <a:pt x="1551" y="1021"/>
                </a:lnTo>
                <a:lnTo>
                  <a:pt x="1551" y="1018"/>
                </a:lnTo>
                <a:lnTo>
                  <a:pt x="1550" y="1016"/>
                </a:lnTo>
                <a:lnTo>
                  <a:pt x="1547" y="1014"/>
                </a:lnTo>
                <a:lnTo>
                  <a:pt x="1536" y="1002"/>
                </a:lnTo>
                <a:lnTo>
                  <a:pt x="1525" y="989"/>
                </a:lnTo>
                <a:lnTo>
                  <a:pt x="1523" y="987"/>
                </a:lnTo>
                <a:lnTo>
                  <a:pt x="1520" y="984"/>
                </a:lnTo>
                <a:lnTo>
                  <a:pt x="1517" y="982"/>
                </a:lnTo>
                <a:lnTo>
                  <a:pt x="1515" y="982"/>
                </a:lnTo>
                <a:lnTo>
                  <a:pt x="1509" y="981"/>
                </a:lnTo>
                <a:lnTo>
                  <a:pt x="1502" y="982"/>
                </a:lnTo>
                <a:lnTo>
                  <a:pt x="1479" y="987"/>
                </a:lnTo>
                <a:lnTo>
                  <a:pt x="1456" y="991"/>
                </a:lnTo>
                <a:lnTo>
                  <a:pt x="1434" y="997"/>
                </a:lnTo>
                <a:lnTo>
                  <a:pt x="1410" y="1002"/>
                </a:lnTo>
                <a:lnTo>
                  <a:pt x="1389" y="1007"/>
                </a:lnTo>
                <a:lnTo>
                  <a:pt x="1370" y="1011"/>
                </a:lnTo>
                <a:lnTo>
                  <a:pt x="1349" y="1015"/>
                </a:lnTo>
                <a:lnTo>
                  <a:pt x="1327" y="1019"/>
                </a:lnTo>
                <a:lnTo>
                  <a:pt x="1303" y="1025"/>
                </a:lnTo>
                <a:lnTo>
                  <a:pt x="1277" y="1030"/>
                </a:lnTo>
                <a:lnTo>
                  <a:pt x="1251" y="1035"/>
                </a:lnTo>
                <a:lnTo>
                  <a:pt x="1227" y="1040"/>
                </a:lnTo>
                <a:lnTo>
                  <a:pt x="1205" y="1045"/>
                </a:lnTo>
                <a:lnTo>
                  <a:pt x="1184" y="1050"/>
                </a:lnTo>
                <a:lnTo>
                  <a:pt x="1161" y="1054"/>
                </a:lnTo>
                <a:lnTo>
                  <a:pt x="1140" y="1059"/>
                </a:lnTo>
                <a:lnTo>
                  <a:pt x="1119" y="1063"/>
                </a:lnTo>
                <a:lnTo>
                  <a:pt x="1098" y="1067"/>
                </a:lnTo>
                <a:lnTo>
                  <a:pt x="1077" y="1071"/>
                </a:lnTo>
                <a:lnTo>
                  <a:pt x="1056" y="1075"/>
                </a:lnTo>
                <a:lnTo>
                  <a:pt x="1041" y="1079"/>
                </a:lnTo>
                <a:lnTo>
                  <a:pt x="1027" y="1081"/>
                </a:lnTo>
                <a:lnTo>
                  <a:pt x="1013" y="1085"/>
                </a:lnTo>
                <a:lnTo>
                  <a:pt x="999" y="1088"/>
                </a:lnTo>
                <a:lnTo>
                  <a:pt x="979" y="1092"/>
                </a:lnTo>
                <a:lnTo>
                  <a:pt x="958" y="1095"/>
                </a:lnTo>
                <a:lnTo>
                  <a:pt x="938" y="1100"/>
                </a:lnTo>
                <a:lnTo>
                  <a:pt x="918" y="1103"/>
                </a:lnTo>
                <a:lnTo>
                  <a:pt x="903" y="1107"/>
                </a:lnTo>
                <a:lnTo>
                  <a:pt x="888" y="1110"/>
                </a:lnTo>
                <a:lnTo>
                  <a:pt x="874" y="1114"/>
                </a:lnTo>
                <a:lnTo>
                  <a:pt x="859" y="1117"/>
                </a:lnTo>
                <a:lnTo>
                  <a:pt x="833" y="1122"/>
                </a:lnTo>
                <a:lnTo>
                  <a:pt x="807" y="1128"/>
                </a:lnTo>
                <a:lnTo>
                  <a:pt x="781" y="1133"/>
                </a:lnTo>
                <a:lnTo>
                  <a:pt x="756" y="1137"/>
                </a:lnTo>
                <a:lnTo>
                  <a:pt x="742" y="1140"/>
                </a:lnTo>
                <a:lnTo>
                  <a:pt x="726" y="1141"/>
                </a:lnTo>
                <a:lnTo>
                  <a:pt x="714" y="1138"/>
                </a:lnTo>
                <a:lnTo>
                  <a:pt x="701" y="1136"/>
                </a:lnTo>
                <a:lnTo>
                  <a:pt x="688" y="1133"/>
                </a:lnTo>
                <a:lnTo>
                  <a:pt x="675" y="1131"/>
                </a:lnTo>
                <a:lnTo>
                  <a:pt x="660" y="1131"/>
                </a:lnTo>
                <a:lnTo>
                  <a:pt x="646" y="1133"/>
                </a:lnTo>
                <a:lnTo>
                  <a:pt x="639" y="1135"/>
                </a:lnTo>
                <a:lnTo>
                  <a:pt x="632" y="1138"/>
                </a:lnTo>
                <a:lnTo>
                  <a:pt x="625" y="1142"/>
                </a:lnTo>
                <a:lnTo>
                  <a:pt x="618" y="1147"/>
                </a:lnTo>
                <a:lnTo>
                  <a:pt x="614" y="1150"/>
                </a:lnTo>
                <a:lnTo>
                  <a:pt x="612" y="1155"/>
                </a:lnTo>
                <a:lnTo>
                  <a:pt x="612" y="1159"/>
                </a:lnTo>
                <a:lnTo>
                  <a:pt x="613" y="1165"/>
                </a:lnTo>
                <a:lnTo>
                  <a:pt x="615" y="1173"/>
                </a:lnTo>
                <a:lnTo>
                  <a:pt x="616" y="1182"/>
                </a:lnTo>
                <a:lnTo>
                  <a:pt x="616" y="1191"/>
                </a:lnTo>
                <a:lnTo>
                  <a:pt x="616" y="1201"/>
                </a:lnTo>
                <a:lnTo>
                  <a:pt x="615" y="1212"/>
                </a:lnTo>
                <a:lnTo>
                  <a:pt x="615" y="1221"/>
                </a:lnTo>
                <a:lnTo>
                  <a:pt x="615" y="1226"/>
                </a:lnTo>
                <a:lnTo>
                  <a:pt x="615" y="1232"/>
                </a:lnTo>
                <a:lnTo>
                  <a:pt x="621" y="1228"/>
                </a:lnTo>
                <a:lnTo>
                  <a:pt x="627" y="1226"/>
                </a:lnTo>
                <a:lnTo>
                  <a:pt x="632" y="1225"/>
                </a:lnTo>
                <a:lnTo>
                  <a:pt x="638" y="1222"/>
                </a:lnTo>
                <a:lnTo>
                  <a:pt x="638" y="1224"/>
                </a:lnTo>
                <a:lnTo>
                  <a:pt x="638" y="1225"/>
                </a:lnTo>
                <a:lnTo>
                  <a:pt x="628" y="1229"/>
                </a:lnTo>
                <a:lnTo>
                  <a:pt x="619" y="1234"/>
                </a:lnTo>
                <a:lnTo>
                  <a:pt x="615" y="1238"/>
                </a:lnTo>
                <a:lnTo>
                  <a:pt x="612" y="1241"/>
                </a:lnTo>
                <a:lnTo>
                  <a:pt x="611" y="1245"/>
                </a:lnTo>
                <a:lnTo>
                  <a:pt x="609" y="1247"/>
                </a:lnTo>
                <a:lnTo>
                  <a:pt x="609" y="1250"/>
                </a:lnTo>
                <a:lnTo>
                  <a:pt x="611" y="1254"/>
                </a:lnTo>
                <a:lnTo>
                  <a:pt x="612" y="1257"/>
                </a:lnTo>
                <a:lnTo>
                  <a:pt x="615" y="1261"/>
                </a:lnTo>
                <a:lnTo>
                  <a:pt x="624" y="1257"/>
                </a:lnTo>
                <a:lnTo>
                  <a:pt x="632" y="1255"/>
                </a:lnTo>
                <a:lnTo>
                  <a:pt x="640" y="1253"/>
                </a:lnTo>
                <a:lnTo>
                  <a:pt x="648" y="1250"/>
                </a:lnTo>
                <a:lnTo>
                  <a:pt x="656" y="1249"/>
                </a:lnTo>
                <a:lnTo>
                  <a:pt x="664" y="1249"/>
                </a:lnTo>
                <a:lnTo>
                  <a:pt x="673" y="1249"/>
                </a:lnTo>
                <a:lnTo>
                  <a:pt x="681" y="1249"/>
                </a:lnTo>
                <a:lnTo>
                  <a:pt x="681" y="1252"/>
                </a:lnTo>
                <a:lnTo>
                  <a:pt x="681" y="1254"/>
                </a:lnTo>
                <a:lnTo>
                  <a:pt x="673" y="1255"/>
                </a:lnTo>
                <a:lnTo>
                  <a:pt x="664" y="1255"/>
                </a:lnTo>
                <a:lnTo>
                  <a:pt x="653" y="1255"/>
                </a:lnTo>
                <a:lnTo>
                  <a:pt x="641" y="1256"/>
                </a:lnTo>
                <a:lnTo>
                  <a:pt x="629" y="1261"/>
                </a:lnTo>
                <a:lnTo>
                  <a:pt x="619" y="1266"/>
                </a:lnTo>
                <a:lnTo>
                  <a:pt x="615" y="1268"/>
                </a:lnTo>
                <a:lnTo>
                  <a:pt x="612" y="1270"/>
                </a:lnTo>
                <a:lnTo>
                  <a:pt x="611" y="1273"/>
                </a:lnTo>
                <a:lnTo>
                  <a:pt x="609" y="1275"/>
                </a:lnTo>
                <a:lnTo>
                  <a:pt x="609" y="1281"/>
                </a:lnTo>
                <a:lnTo>
                  <a:pt x="613" y="1289"/>
                </a:lnTo>
                <a:lnTo>
                  <a:pt x="614" y="1290"/>
                </a:lnTo>
                <a:lnTo>
                  <a:pt x="614" y="1291"/>
                </a:lnTo>
                <a:lnTo>
                  <a:pt x="614" y="1308"/>
                </a:lnTo>
                <a:lnTo>
                  <a:pt x="614" y="1323"/>
                </a:lnTo>
                <a:lnTo>
                  <a:pt x="614" y="1340"/>
                </a:lnTo>
                <a:lnTo>
                  <a:pt x="614" y="1357"/>
                </a:lnTo>
                <a:lnTo>
                  <a:pt x="606" y="1354"/>
                </a:lnTo>
                <a:lnTo>
                  <a:pt x="599" y="1351"/>
                </a:lnTo>
                <a:lnTo>
                  <a:pt x="599" y="1353"/>
                </a:lnTo>
                <a:lnTo>
                  <a:pt x="599" y="1356"/>
                </a:lnTo>
                <a:lnTo>
                  <a:pt x="595" y="1353"/>
                </a:lnTo>
                <a:lnTo>
                  <a:pt x="592" y="1352"/>
                </a:lnTo>
                <a:lnTo>
                  <a:pt x="567" y="1340"/>
                </a:lnTo>
                <a:lnTo>
                  <a:pt x="543" y="1328"/>
                </a:lnTo>
                <a:lnTo>
                  <a:pt x="518" y="1316"/>
                </a:lnTo>
                <a:lnTo>
                  <a:pt x="494" y="1304"/>
                </a:lnTo>
                <a:lnTo>
                  <a:pt x="473" y="1294"/>
                </a:lnTo>
                <a:lnTo>
                  <a:pt x="453" y="1284"/>
                </a:lnTo>
                <a:lnTo>
                  <a:pt x="432" y="1274"/>
                </a:lnTo>
                <a:lnTo>
                  <a:pt x="412" y="1263"/>
                </a:lnTo>
                <a:lnTo>
                  <a:pt x="387" y="1252"/>
                </a:lnTo>
                <a:lnTo>
                  <a:pt x="364" y="1240"/>
                </a:lnTo>
                <a:lnTo>
                  <a:pt x="341" y="1228"/>
                </a:lnTo>
                <a:lnTo>
                  <a:pt x="316" y="1217"/>
                </a:lnTo>
                <a:lnTo>
                  <a:pt x="301" y="1208"/>
                </a:lnTo>
                <a:lnTo>
                  <a:pt x="284" y="1200"/>
                </a:lnTo>
                <a:lnTo>
                  <a:pt x="276" y="1197"/>
                </a:lnTo>
                <a:lnTo>
                  <a:pt x="268" y="1193"/>
                </a:lnTo>
                <a:lnTo>
                  <a:pt x="260" y="1190"/>
                </a:lnTo>
                <a:lnTo>
                  <a:pt x="250" y="1187"/>
                </a:lnTo>
                <a:lnTo>
                  <a:pt x="248" y="1186"/>
                </a:lnTo>
                <a:lnTo>
                  <a:pt x="246" y="1185"/>
                </a:lnTo>
                <a:lnTo>
                  <a:pt x="239" y="1179"/>
                </a:lnTo>
                <a:lnTo>
                  <a:pt x="232" y="1175"/>
                </a:lnTo>
                <a:lnTo>
                  <a:pt x="225" y="1170"/>
                </a:lnTo>
                <a:lnTo>
                  <a:pt x="217" y="1166"/>
                </a:lnTo>
                <a:lnTo>
                  <a:pt x="201" y="1159"/>
                </a:lnTo>
                <a:lnTo>
                  <a:pt x="186" y="1151"/>
                </a:lnTo>
                <a:lnTo>
                  <a:pt x="165" y="1141"/>
                </a:lnTo>
                <a:lnTo>
                  <a:pt x="144" y="1130"/>
                </a:lnTo>
                <a:lnTo>
                  <a:pt x="123" y="1120"/>
                </a:lnTo>
                <a:lnTo>
                  <a:pt x="101" y="1109"/>
                </a:lnTo>
                <a:lnTo>
                  <a:pt x="90" y="1105"/>
                </a:lnTo>
                <a:lnTo>
                  <a:pt x="80" y="1099"/>
                </a:lnTo>
                <a:lnTo>
                  <a:pt x="68" y="1093"/>
                </a:lnTo>
                <a:lnTo>
                  <a:pt x="58" y="1088"/>
                </a:lnTo>
                <a:lnTo>
                  <a:pt x="51" y="1098"/>
                </a:lnTo>
                <a:lnTo>
                  <a:pt x="43" y="1107"/>
                </a:lnTo>
                <a:lnTo>
                  <a:pt x="38" y="1116"/>
                </a:lnTo>
                <a:lnTo>
                  <a:pt x="31" y="1124"/>
                </a:lnTo>
                <a:lnTo>
                  <a:pt x="29" y="1129"/>
                </a:lnTo>
                <a:lnTo>
                  <a:pt x="31" y="1134"/>
                </a:lnTo>
                <a:lnTo>
                  <a:pt x="34" y="1148"/>
                </a:lnTo>
                <a:lnTo>
                  <a:pt x="38" y="1162"/>
                </a:lnTo>
                <a:lnTo>
                  <a:pt x="42" y="1175"/>
                </a:lnTo>
                <a:lnTo>
                  <a:pt x="46" y="1189"/>
                </a:lnTo>
                <a:lnTo>
                  <a:pt x="48" y="1192"/>
                </a:lnTo>
                <a:lnTo>
                  <a:pt x="52" y="1194"/>
                </a:lnTo>
                <a:lnTo>
                  <a:pt x="66" y="1201"/>
                </a:lnTo>
                <a:lnTo>
                  <a:pt x="79" y="1207"/>
                </a:lnTo>
                <a:lnTo>
                  <a:pt x="95" y="1215"/>
                </a:lnTo>
                <a:lnTo>
                  <a:pt x="111" y="1224"/>
                </a:lnTo>
                <a:lnTo>
                  <a:pt x="111" y="1224"/>
                </a:lnTo>
                <a:lnTo>
                  <a:pt x="125" y="1229"/>
                </a:lnTo>
                <a:lnTo>
                  <a:pt x="138" y="1235"/>
                </a:lnTo>
                <a:lnTo>
                  <a:pt x="138" y="1235"/>
                </a:lnTo>
                <a:lnTo>
                  <a:pt x="138" y="1235"/>
                </a:lnTo>
                <a:lnTo>
                  <a:pt x="151" y="1242"/>
                </a:lnTo>
                <a:lnTo>
                  <a:pt x="153" y="1242"/>
                </a:lnTo>
                <a:lnTo>
                  <a:pt x="155" y="1243"/>
                </a:lnTo>
                <a:lnTo>
                  <a:pt x="247" y="1287"/>
                </a:lnTo>
                <a:lnTo>
                  <a:pt x="277" y="1301"/>
                </a:lnTo>
                <a:lnTo>
                  <a:pt x="308" y="1316"/>
                </a:lnTo>
                <a:lnTo>
                  <a:pt x="339" y="1330"/>
                </a:lnTo>
                <a:lnTo>
                  <a:pt x="370" y="1345"/>
                </a:lnTo>
                <a:lnTo>
                  <a:pt x="397" y="1358"/>
                </a:lnTo>
                <a:lnTo>
                  <a:pt x="425" y="1370"/>
                </a:lnTo>
                <a:lnTo>
                  <a:pt x="452" y="1382"/>
                </a:lnTo>
                <a:lnTo>
                  <a:pt x="480" y="1395"/>
                </a:lnTo>
                <a:lnTo>
                  <a:pt x="515" y="1412"/>
                </a:lnTo>
                <a:lnTo>
                  <a:pt x="551" y="1429"/>
                </a:lnTo>
                <a:lnTo>
                  <a:pt x="586" y="1445"/>
                </a:lnTo>
                <a:lnTo>
                  <a:pt x="622" y="1463"/>
                </a:lnTo>
                <a:lnTo>
                  <a:pt x="635" y="1469"/>
                </a:lnTo>
                <a:lnTo>
                  <a:pt x="647" y="1476"/>
                </a:lnTo>
                <a:lnTo>
                  <a:pt x="647" y="1477"/>
                </a:lnTo>
                <a:lnTo>
                  <a:pt x="647" y="1479"/>
                </a:lnTo>
                <a:lnTo>
                  <a:pt x="640" y="1478"/>
                </a:lnTo>
                <a:lnTo>
                  <a:pt x="634" y="1476"/>
                </a:lnTo>
                <a:lnTo>
                  <a:pt x="606" y="1463"/>
                </a:lnTo>
                <a:lnTo>
                  <a:pt x="577" y="1449"/>
                </a:lnTo>
                <a:lnTo>
                  <a:pt x="549" y="1436"/>
                </a:lnTo>
                <a:lnTo>
                  <a:pt x="519" y="1422"/>
                </a:lnTo>
                <a:lnTo>
                  <a:pt x="493" y="1409"/>
                </a:lnTo>
                <a:lnTo>
                  <a:pt x="466" y="1396"/>
                </a:lnTo>
                <a:lnTo>
                  <a:pt x="439" y="1384"/>
                </a:lnTo>
                <a:lnTo>
                  <a:pt x="412" y="1371"/>
                </a:lnTo>
                <a:lnTo>
                  <a:pt x="392" y="1361"/>
                </a:lnTo>
                <a:lnTo>
                  <a:pt x="371" y="1353"/>
                </a:lnTo>
                <a:lnTo>
                  <a:pt x="351" y="1344"/>
                </a:lnTo>
                <a:lnTo>
                  <a:pt x="331" y="1335"/>
                </a:lnTo>
                <a:lnTo>
                  <a:pt x="295" y="1318"/>
                </a:lnTo>
                <a:lnTo>
                  <a:pt x="259" y="1301"/>
                </a:lnTo>
                <a:lnTo>
                  <a:pt x="222" y="1284"/>
                </a:lnTo>
                <a:lnTo>
                  <a:pt x="185" y="1268"/>
                </a:lnTo>
                <a:lnTo>
                  <a:pt x="184" y="1267"/>
                </a:lnTo>
                <a:lnTo>
                  <a:pt x="183" y="1267"/>
                </a:lnTo>
                <a:lnTo>
                  <a:pt x="159" y="1255"/>
                </a:lnTo>
                <a:lnTo>
                  <a:pt x="149" y="1249"/>
                </a:lnTo>
                <a:lnTo>
                  <a:pt x="139" y="1245"/>
                </a:lnTo>
                <a:lnTo>
                  <a:pt x="138" y="1245"/>
                </a:lnTo>
                <a:lnTo>
                  <a:pt x="137" y="1245"/>
                </a:lnTo>
                <a:lnTo>
                  <a:pt x="129" y="1240"/>
                </a:lnTo>
                <a:lnTo>
                  <a:pt x="129" y="1240"/>
                </a:lnTo>
                <a:lnTo>
                  <a:pt x="129" y="1240"/>
                </a:lnTo>
                <a:lnTo>
                  <a:pt x="110" y="1232"/>
                </a:lnTo>
                <a:lnTo>
                  <a:pt x="93" y="1224"/>
                </a:lnTo>
                <a:lnTo>
                  <a:pt x="75" y="1214"/>
                </a:lnTo>
                <a:lnTo>
                  <a:pt x="56" y="1206"/>
                </a:lnTo>
                <a:lnTo>
                  <a:pt x="53" y="1204"/>
                </a:lnTo>
                <a:lnTo>
                  <a:pt x="48" y="1200"/>
                </a:lnTo>
                <a:lnTo>
                  <a:pt x="45" y="1196"/>
                </a:lnTo>
                <a:lnTo>
                  <a:pt x="42" y="1191"/>
                </a:lnTo>
                <a:lnTo>
                  <a:pt x="38" y="1179"/>
                </a:lnTo>
                <a:lnTo>
                  <a:pt x="33" y="1166"/>
                </a:lnTo>
                <a:lnTo>
                  <a:pt x="29" y="1155"/>
                </a:lnTo>
                <a:lnTo>
                  <a:pt x="26" y="1142"/>
                </a:lnTo>
                <a:lnTo>
                  <a:pt x="24" y="1134"/>
                </a:lnTo>
                <a:lnTo>
                  <a:pt x="22" y="1126"/>
                </a:lnTo>
                <a:lnTo>
                  <a:pt x="24" y="1122"/>
                </a:lnTo>
                <a:lnTo>
                  <a:pt x="25" y="1119"/>
                </a:lnTo>
                <a:lnTo>
                  <a:pt x="27" y="1115"/>
                </a:lnTo>
                <a:lnTo>
                  <a:pt x="29" y="1112"/>
                </a:lnTo>
                <a:lnTo>
                  <a:pt x="32" y="1108"/>
                </a:lnTo>
                <a:lnTo>
                  <a:pt x="34" y="1105"/>
                </a:lnTo>
                <a:lnTo>
                  <a:pt x="34" y="1103"/>
                </a:lnTo>
                <a:lnTo>
                  <a:pt x="33" y="1103"/>
                </a:lnTo>
                <a:lnTo>
                  <a:pt x="31" y="1105"/>
                </a:lnTo>
                <a:lnTo>
                  <a:pt x="29" y="1107"/>
                </a:lnTo>
                <a:lnTo>
                  <a:pt x="25" y="1113"/>
                </a:lnTo>
                <a:lnTo>
                  <a:pt x="19" y="1119"/>
                </a:lnTo>
                <a:lnTo>
                  <a:pt x="13" y="1123"/>
                </a:lnTo>
                <a:lnTo>
                  <a:pt x="6" y="1127"/>
                </a:lnTo>
                <a:lnTo>
                  <a:pt x="1" y="1128"/>
                </a:lnTo>
                <a:lnTo>
                  <a:pt x="0" y="1131"/>
                </a:lnTo>
                <a:lnTo>
                  <a:pt x="0" y="1135"/>
                </a:lnTo>
                <a:lnTo>
                  <a:pt x="1" y="1138"/>
                </a:lnTo>
                <a:lnTo>
                  <a:pt x="6" y="1155"/>
                </a:lnTo>
                <a:lnTo>
                  <a:pt x="11" y="1170"/>
                </a:lnTo>
                <a:lnTo>
                  <a:pt x="15" y="1185"/>
                </a:lnTo>
                <a:lnTo>
                  <a:pt x="20" y="1200"/>
                </a:lnTo>
                <a:lnTo>
                  <a:pt x="24" y="1206"/>
                </a:lnTo>
                <a:lnTo>
                  <a:pt x="28" y="1210"/>
                </a:lnTo>
                <a:lnTo>
                  <a:pt x="38" y="1214"/>
                </a:lnTo>
                <a:lnTo>
                  <a:pt x="46" y="1219"/>
                </a:lnTo>
                <a:lnTo>
                  <a:pt x="55" y="1222"/>
                </a:lnTo>
                <a:lnTo>
                  <a:pt x="65" y="1227"/>
                </a:lnTo>
                <a:lnTo>
                  <a:pt x="74" y="1231"/>
                </a:lnTo>
                <a:lnTo>
                  <a:pt x="82" y="1235"/>
                </a:lnTo>
                <a:lnTo>
                  <a:pt x="91" y="1240"/>
                </a:lnTo>
                <a:lnTo>
                  <a:pt x="101" y="1243"/>
                </a:lnTo>
                <a:lnTo>
                  <a:pt x="204" y="1291"/>
                </a:lnTo>
                <a:lnTo>
                  <a:pt x="204" y="1291"/>
                </a:lnTo>
                <a:lnTo>
                  <a:pt x="204" y="1291"/>
                </a:lnTo>
                <a:lnTo>
                  <a:pt x="205" y="1291"/>
                </a:lnTo>
                <a:lnTo>
                  <a:pt x="206" y="1293"/>
                </a:lnTo>
                <a:lnTo>
                  <a:pt x="206" y="1293"/>
                </a:lnTo>
                <a:lnTo>
                  <a:pt x="241" y="1309"/>
                </a:lnTo>
                <a:lnTo>
                  <a:pt x="276" y="1325"/>
                </a:lnTo>
                <a:lnTo>
                  <a:pt x="311" y="1340"/>
                </a:lnTo>
                <a:lnTo>
                  <a:pt x="346" y="1357"/>
                </a:lnTo>
                <a:lnTo>
                  <a:pt x="373" y="1370"/>
                </a:lnTo>
                <a:lnTo>
                  <a:pt x="401" y="1382"/>
                </a:lnTo>
                <a:lnTo>
                  <a:pt x="429" y="1395"/>
                </a:lnTo>
                <a:lnTo>
                  <a:pt x="456" y="1408"/>
                </a:lnTo>
                <a:lnTo>
                  <a:pt x="494" y="1426"/>
                </a:lnTo>
                <a:lnTo>
                  <a:pt x="530" y="1442"/>
                </a:lnTo>
                <a:lnTo>
                  <a:pt x="567" y="1459"/>
                </a:lnTo>
                <a:lnTo>
                  <a:pt x="604" y="1476"/>
                </a:lnTo>
                <a:lnTo>
                  <a:pt x="611" y="1479"/>
                </a:lnTo>
                <a:lnTo>
                  <a:pt x="614" y="1483"/>
                </a:lnTo>
                <a:lnTo>
                  <a:pt x="614" y="1487"/>
                </a:lnTo>
                <a:lnTo>
                  <a:pt x="611" y="1494"/>
                </a:lnTo>
                <a:lnTo>
                  <a:pt x="608" y="1500"/>
                </a:lnTo>
                <a:lnTo>
                  <a:pt x="608" y="1505"/>
                </a:lnTo>
                <a:lnTo>
                  <a:pt x="611" y="1508"/>
                </a:lnTo>
                <a:lnTo>
                  <a:pt x="615" y="1513"/>
                </a:lnTo>
                <a:lnTo>
                  <a:pt x="619" y="1515"/>
                </a:lnTo>
                <a:lnTo>
                  <a:pt x="621" y="1518"/>
                </a:lnTo>
                <a:lnTo>
                  <a:pt x="621" y="1531"/>
                </a:lnTo>
                <a:lnTo>
                  <a:pt x="621" y="1543"/>
                </a:lnTo>
                <a:lnTo>
                  <a:pt x="621" y="1556"/>
                </a:lnTo>
                <a:lnTo>
                  <a:pt x="621" y="1569"/>
                </a:lnTo>
                <a:lnTo>
                  <a:pt x="614" y="1569"/>
                </a:lnTo>
                <a:lnTo>
                  <a:pt x="608" y="1569"/>
                </a:lnTo>
                <a:lnTo>
                  <a:pt x="733" y="1569"/>
                </a:lnTo>
                <a:lnTo>
                  <a:pt x="733" y="1559"/>
                </a:lnTo>
                <a:lnTo>
                  <a:pt x="733" y="1548"/>
                </a:lnTo>
                <a:lnTo>
                  <a:pt x="733" y="1539"/>
                </a:lnTo>
                <a:lnTo>
                  <a:pt x="733" y="1528"/>
                </a:lnTo>
                <a:lnTo>
                  <a:pt x="733" y="1524"/>
                </a:lnTo>
                <a:lnTo>
                  <a:pt x="735" y="1519"/>
                </a:lnTo>
                <a:lnTo>
                  <a:pt x="737" y="1515"/>
                </a:lnTo>
                <a:lnTo>
                  <a:pt x="740" y="1512"/>
                </a:lnTo>
                <a:lnTo>
                  <a:pt x="744" y="1510"/>
                </a:lnTo>
                <a:lnTo>
                  <a:pt x="745" y="1507"/>
                </a:lnTo>
                <a:lnTo>
                  <a:pt x="747" y="1505"/>
                </a:lnTo>
                <a:lnTo>
                  <a:pt x="747" y="1503"/>
                </a:lnTo>
                <a:lnTo>
                  <a:pt x="746" y="1499"/>
                </a:lnTo>
                <a:lnTo>
                  <a:pt x="745" y="1497"/>
                </a:lnTo>
                <a:lnTo>
                  <a:pt x="743" y="1494"/>
                </a:lnTo>
                <a:lnTo>
                  <a:pt x="739" y="1493"/>
                </a:lnTo>
                <a:lnTo>
                  <a:pt x="724" y="1486"/>
                </a:lnTo>
                <a:lnTo>
                  <a:pt x="708" y="1482"/>
                </a:lnTo>
                <a:lnTo>
                  <a:pt x="700" y="1479"/>
                </a:lnTo>
                <a:lnTo>
                  <a:pt x="691" y="1478"/>
                </a:lnTo>
                <a:lnTo>
                  <a:pt x="698" y="1476"/>
                </a:lnTo>
                <a:lnTo>
                  <a:pt x="704" y="1476"/>
                </a:lnTo>
                <a:lnTo>
                  <a:pt x="710" y="1476"/>
                </a:lnTo>
                <a:lnTo>
                  <a:pt x="716" y="1476"/>
                </a:lnTo>
                <a:lnTo>
                  <a:pt x="728" y="1479"/>
                </a:lnTo>
                <a:lnTo>
                  <a:pt x="739" y="1483"/>
                </a:lnTo>
                <a:lnTo>
                  <a:pt x="740" y="1463"/>
                </a:lnTo>
                <a:lnTo>
                  <a:pt x="740" y="1443"/>
                </a:lnTo>
                <a:lnTo>
                  <a:pt x="740" y="1433"/>
                </a:lnTo>
                <a:lnTo>
                  <a:pt x="740" y="1423"/>
                </a:lnTo>
                <a:lnTo>
                  <a:pt x="742" y="1414"/>
                </a:lnTo>
                <a:lnTo>
                  <a:pt x="745" y="1403"/>
                </a:lnTo>
                <a:lnTo>
                  <a:pt x="746" y="1401"/>
                </a:lnTo>
                <a:lnTo>
                  <a:pt x="745" y="1399"/>
                </a:lnTo>
                <a:lnTo>
                  <a:pt x="744" y="1396"/>
                </a:lnTo>
                <a:lnTo>
                  <a:pt x="743" y="1395"/>
                </a:lnTo>
                <a:lnTo>
                  <a:pt x="738" y="1392"/>
                </a:lnTo>
                <a:lnTo>
                  <a:pt x="733" y="1389"/>
                </a:lnTo>
                <a:lnTo>
                  <a:pt x="718" y="1384"/>
                </a:lnTo>
                <a:lnTo>
                  <a:pt x="702" y="1378"/>
                </a:lnTo>
                <a:lnTo>
                  <a:pt x="707" y="1377"/>
                </a:lnTo>
                <a:lnTo>
                  <a:pt x="712" y="1377"/>
                </a:lnTo>
                <a:lnTo>
                  <a:pt x="717" y="1377"/>
                </a:lnTo>
                <a:lnTo>
                  <a:pt x="722" y="1378"/>
                </a:lnTo>
                <a:lnTo>
                  <a:pt x="731" y="1380"/>
                </a:lnTo>
                <a:lnTo>
                  <a:pt x="739" y="1385"/>
                </a:lnTo>
                <a:lnTo>
                  <a:pt x="742" y="1382"/>
                </a:lnTo>
                <a:lnTo>
                  <a:pt x="743" y="1380"/>
                </a:lnTo>
                <a:lnTo>
                  <a:pt x="744" y="1378"/>
                </a:lnTo>
                <a:lnTo>
                  <a:pt x="743" y="1375"/>
                </a:lnTo>
                <a:lnTo>
                  <a:pt x="742" y="1370"/>
                </a:lnTo>
                <a:lnTo>
                  <a:pt x="738" y="1365"/>
                </a:lnTo>
                <a:lnTo>
                  <a:pt x="744" y="1363"/>
                </a:lnTo>
                <a:lnTo>
                  <a:pt x="749" y="1360"/>
                </a:lnTo>
                <a:lnTo>
                  <a:pt x="763" y="1357"/>
                </a:lnTo>
                <a:lnTo>
                  <a:pt x="777" y="1352"/>
                </a:lnTo>
                <a:lnTo>
                  <a:pt x="791" y="1349"/>
                </a:lnTo>
                <a:lnTo>
                  <a:pt x="805" y="1344"/>
                </a:lnTo>
                <a:lnTo>
                  <a:pt x="823" y="1338"/>
                </a:lnTo>
                <a:lnTo>
                  <a:pt x="843" y="1333"/>
                </a:lnTo>
                <a:lnTo>
                  <a:pt x="862" y="1328"/>
                </a:lnTo>
                <a:lnTo>
                  <a:pt x="881" y="1322"/>
                </a:lnTo>
                <a:lnTo>
                  <a:pt x="904" y="1315"/>
                </a:lnTo>
                <a:lnTo>
                  <a:pt x="929" y="1308"/>
                </a:lnTo>
                <a:lnTo>
                  <a:pt x="952" y="1302"/>
                </a:lnTo>
                <a:lnTo>
                  <a:pt x="975" y="1295"/>
                </a:lnTo>
                <a:lnTo>
                  <a:pt x="1002" y="1287"/>
                </a:lnTo>
                <a:lnTo>
                  <a:pt x="1029" y="1278"/>
                </a:lnTo>
                <a:lnTo>
                  <a:pt x="1056" y="1271"/>
                </a:lnTo>
                <a:lnTo>
                  <a:pt x="1082" y="1263"/>
                </a:lnTo>
                <a:lnTo>
                  <a:pt x="1099" y="1259"/>
                </a:lnTo>
                <a:lnTo>
                  <a:pt x="1116" y="1254"/>
                </a:lnTo>
                <a:lnTo>
                  <a:pt x="1133" y="1249"/>
                </a:lnTo>
                <a:lnTo>
                  <a:pt x="1150" y="1243"/>
                </a:lnTo>
                <a:lnTo>
                  <a:pt x="1163" y="1240"/>
                </a:lnTo>
                <a:lnTo>
                  <a:pt x="1177" y="1236"/>
                </a:lnTo>
                <a:lnTo>
                  <a:pt x="1189" y="1232"/>
                </a:lnTo>
                <a:lnTo>
                  <a:pt x="1202" y="1228"/>
                </a:lnTo>
                <a:lnTo>
                  <a:pt x="1201" y="1229"/>
                </a:lnTo>
                <a:lnTo>
                  <a:pt x="1303" y="1200"/>
                </a:lnTo>
                <a:lnTo>
                  <a:pt x="1304" y="1199"/>
                </a:lnTo>
                <a:lnTo>
                  <a:pt x="1305" y="1199"/>
                </a:lnTo>
                <a:lnTo>
                  <a:pt x="1374" y="1179"/>
                </a:lnTo>
                <a:lnTo>
                  <a:pt x="1382" y="1177"/>
                </a:lnTo>
                <a:lnTo>
                  <a:pt x="1391" y="1175"/>
                </a:lnTo>
                <a:lnTo>
                  <a:pt x="1400" y="1171"/>
                </a:lnTo>
                <a:lnTo>
                  <a:pt x="1408" y="1169"/>
                </a:lnTo>
                <a:lnTo>
                  <a:pt x="1412" y="1168"/>
                </a:lnTo>
                <a:lnTo>
                  <a:pt x="1412" y="1168"/>
                </a:lnTo>
                <a:lnTo>
                  <a:pt x="1426" y="1164"/>
                </a:lnTo>
                <a:lnTo>
                  <a:pt x="1440" y="1159"/>
                </a:lnTo>
                <a:lnTo>
                  <a:pt x="1454" y="1156"/>
                </a:lnTo>
                <a:lnTo>
                  <a:pt x="1467" y="1151"/>
                </a:lnTo>
                <a:lnTo>
                  <a:pt x="1471" y="1149"/>
                </a:lnTo>
                <a:lnTo>
                  <a:pt x="1475" y="1145"/>
                </a:lnTo>
                <a:lnTo>
                  <a:pt x="1478" y="1137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1" y="1128"/>
                </a:lnTo>
                <a:lnTo>
                  <a:pt x="1485" y="1124"/>
                </a:lnTo>
                <a:lnTo>
                  <a:pt x="1490" y="1123"/>
                </a:lnTo>
                <a:lnTo>
                  <a:pt x="1501" y="1122"/>
                </a:lnTo>
                <a:lnTo>
                  <a:pt x="1512" y="1122"/>
                </a:lnTo>
                <a:lnTo>
                  <a:pt x="1523" y="1122"/>
                </a:lnTo>
                <a:lnTo>
                  <a:pt x="1533" y="1122"/>
                </a:lnTo>
                <a:lnTo>
                  <a:pt x="1538" y="1121"/>
                </a:lnTo>
                <a:lnTo>
                  <a:pt x="1541" y="1120"/>
                </a:lnTo>
                <a:lnTo>
                  <a:pt x="1543" y="1116"/>
                </a:lnTo>
                <a:lnTo>
                  <a:pt x="1544" y="1113"/>
                </a:lnTo>
                <a:lnTo>
                  <a:pt x="1531" y="1113"/>
                </a:lnTo>
                <a:lnTo>
                  <a:pt x="1518" y="1113"/>
                </a:lnTo>
                <a:lnTo>
                  <a:pt x="1506" y="1113"/>
                </a:lnTo>
                <a:lnTo>
                  <a:pt x="1495" y="1113"/>
                </a:lnTo>
                <a:lnTo>
                  <a:pt x="1491" y="1113"/>
                </a:lnTo>
                <a:lnTo>
                  <a:pt x="1488" y="1113"/>
                </a:lnTo>
                <a:lnTo>
                  <a:pt x="1485" y="1114"/>
                </a:lnTo>
                <a:lnTo>
                  <a:pt x="1484" y="1116"/>
                </a:lnTo>
                <a:lnTo>
                  <a:pt x="1482" y="1121"/>
                </a:lnTo>
                <a:lnTo>
                  <a:pt x="1481" y="1128"/>
                </a:lnTo>
                <a:close/>
                <a:moveTo>
                  <a:pt x="599" y="187"/>
                </a:moveTo>
                <a:lnTo>
                  <a:pt x="612" y="197"/>
                </a:lnTo>
                <a:lnTo>
                  <a:pt x="626" y="206"/>
                </a:lnTo>
                <a:lnTo>
                  <a:pt x="625" y="210"/>
                </a:lnTo>
                <a:lnTo>
                  <a:pt x="622" y="213"/>
                </a:lnTo>
                <a:lnTo>
                  <a:pt x="619" y="224"/>
                </a:lnTo>
                <a:lnTo>
                  <a:pt x="616" y="234"/>
                </a:lnTo>
                <a:lnTo>
                  <a:pt x="619" y="246"/>
                </a:lnTo>
                <a:lnTo>
                  <a:pt x="622" y="257"/>
                </a:lnTo>
                <a:lnTo>
                  <a:pt x="627" y="268"/>
                </a:lnTo>
                <a:lnTo>
                  <a:pt x="634" y="278"/>
                </a:lnTo>
                <a:lnTo>
                  <a:pt x="636" y="282"/>
                </a:lnTo>
                <a:lnTo>
                  <a:pt x="640" y="285"/>
                </a:lnTo>
                <a:lnTo>
                  <a:pt x="648" y="284"/>
                </a:lnTo>
                <a:lnTo>
                  <a:pt x="657" y="282"/>
                </a:lnTo>
                <a:lnTo>
                  <a:pt x="667" y="281"/>
                </a:lnTo>
                <a:lnTo>
                  <a:pt x="675" y="280"/>
                </a:lnTo>
                <a:lnTo>
                  <a:pt x="684" y="280"/>
                </a:lnTo>
                <a:lnTo>
                  <a:pt x="694" y="281"/>
                </a:lnTo>
                <a:lnTo>
                  <a:pt x="702" y="281"/>
                </a:lnTo>
                <a:lnTo>
                  <a:pt x="711" y="282"/>
                </a:lnTo>
                <a:lnTo>
                  <a:pt x="711" y="277"/>
                </a:lnTo>
                <a:lnTo>
                  <a:pt x="711" y="273"/>
                </a:lnTo>
                <a:lnTo>
                  <a:pt x="711" y="273"/>
                </a:lnTo>
                <a:lnTo>
                  <a:pt x="711" y="273"/>
                </a:lnTo>
                <a:lnTo>
                  <a:pt x="712" y="276"/>
                </a:lnTo>
                <a:lnTo>
                  <a:pt x="715" y="281"/>
                </a:lnTo>
                <a:lnTo>
                  <a:pt x="719" y="277"/>
                </a:lnTo>
                <a:lnTo>
                  <a:pt x="724" y="273"/>
                </a:lnTo>
                <a:lnTo>
                  <a:pt x="726" y="267"/>
                </a:lnTo>
                <a:lnTo>
                  <a:pt x="728" y="261"/>
                </a:lnTo>
                <a:lnTo>
                  <a:pt x="729" y="257"/>
                </a:lnTo>
                <a:lnTo>
                  <a:pt x="730" y="254"/>
                </a:lnTo>
                <a:lnTo>
                  <a:pt x="733" y="249"/>
                </a:lnTo>
                <a:lnTo>
                  <a:pt x="736" y="243"/>
                </a:lnTo>
                <a:lnTo>
                  <a:pt x="737" y="239"/>
                </a:lnTo>
                <a:lnTo>
                  <a:pt x="737" y="233"/>
                </a:lnTo>
                <a:lnTo>
                  <a:pt x="736" y="228"/>
                </a:lnTo>
                <a:lnTo>
                  <a:pt x="735" y="224"/>
                </a:lnTo>
                <a:lnTo>
                  <a:pt x="732" y="218"/>
                </a:lnTo>
                <a:lnTo>
                  <a:pt x="729" y="213"/>
                </a:lnTo>
                <a:lnTo>
                  <a:pt x="728" y="210"/>
                </a:lnTo>
                <a:lnTo>
                  <a:pt x="725" y="206"/>
                </a:lnTo>
                <a:lnTo>
                  <a:pt x="736" y="200"/>
                </a:lnTo>
                <a:lnTo>
                  <a:pt x="746" y="193"/>
                </a:lnTo>
                <a:lnTo>
                  <a:pt x="753" y="187"/>
                </a:lnTo>
                <a:lnTo>
                  <a:pt x="759" y="180"/>
                </a:lnTo>
                <a:lnTo>
                  <a:pt x="765" y="172"/>
                </a:lnTo>
                <a:lnTo>
                  <a:pt x="769" y="164"/>
                </a:lnTo>
                <a:lnTo>
                  <a:pt x="770" y="156"/>
                </a:lnTo>
                <a:lnTo>
                  <a:pt x="770" y="147"/>
                </a:lnTo>
                <a:lnTo>
                  <a:pt x="769" y="137"/>
                </a:lnTo>
                <a:lnTo>
                  <a:pt x="765" y="127"/>
                </a:lnTo>
                <a:lnTo>
                  <a:pt x="759" y="119"/>
                </a:lnTo>
                <a:lnTo>
                  <a:pt x="752" y="110"/>
                </a:lnTo>
                <a:lnTo>
                  <a:pt x="744" y="103"/>
                </a:lnTo>
                <a:lnTo>
                  <a:pt x="735" y="98"/>
                </a:lnTo>
                <a:lnTo>
                  <a:pt x="732" y="96"/>
                </a:lnTo>
                <a:lnTo>
                  <a:pt x="731" y="94"/>
                </a:lnTo>
                <a:lnTo>
                  <a:pt x="731" y="92"/>
                </a:lnTo>
                <a:lnTo>
                  <a:pt x="731" y="89"/>
                </a:lnTo>
                <a:lnTo>
                  <a:pt x="733" y="81"/>
                </a:lnTo>
                <a:lnTo>
                  <a:pt x="733" y="72"/>
                </a:lnTo>
                <a:lnTo>
                  <a:pt x="732" y="64"/>
                </a:lnTo>
                <a:lnTo>
                  <a:pt x="729" y="56"/>
                </a:lnTo>
                <a:lnTo>
                  <a:pt x="724" y="49"/>
                </a:lnTo>
                <a:lnTo>
                  <a:pt x="718" y="43"/>
                </a:lnTo>
                <a:lnTo>
                  <a:pt x="711" y="38"/>
                </a:lnTo>
                <a:lnTo>
                  <a:pt x="703" y="35"/>
                </a:lnTo>
                <a:lnTo>
                  <a:pt x="697" y="33"/>
                </a:lnTo>
                <a:lnTo>
                  <a:pt x="694" y="31"/>
                </a:lnTo>
                <a:lnTo>
                  <a:pt x="690" y="29"/>
                </a:lnTo>
                <a:lnTo>
                  <a:pt x="687" y="26"/>
                </a:lnTo>
                <a:lnTo>
                  <a:pt x="684" y="24"/>
                </a:lnTo>
                <a:lnTo>
                  <a:pt x="682" y="21"/>
                </a:lnTo>
                <a:lnTo>
                  <a:pt x="681" y="16"/>
                </a:lnTo>
                <a:lnTo>
                  <a:pt x="680" y="11"/>
                </a:lnTo>
                <a:lnTo>
                  <a:pt x="678" y="8"/>
                </a:lnTo>
                <a:lnTo>
                  <a:pt x="677" y="4"/>
                </a:lnTo>
                <a:lnTo>
                  <a:pt x="676" y="2"/>
                </a:lnTo>
                <a:lnTo>
                  <a:pt x="675" y="0"/>
                </a:lnTo>
                <a:lnTo>
                  <a:pt x="673" y="2"/>
                </a:lnTo>
                <a:lnTo>
                  <a:pt x="671" y="4"/>
                </a:lnTo>
                <a:lnTo>
                  <a:pt x="669" y="10"/>
                </a:lnTo>
                <a:lnTo>
                  <a:pt x="668" y="16"/>
                </a:lnTo>
                <a:lnTo>
                  <a:pt x="666" y="23"/>
                </a:lnTo>
                <a:lnTo>
                  <a:pt x="662" y="28"/>
                </a:lnTo>
                <a:lnTo>
                  <a:pt x="656" y="31"/>
                </a:lnTo>
                <a:lnTo>
                  <a:pt x="650" y="35"/>
                </a:lnTo>
                <a:lnTo>
                  <a:pt x="642" y="38"/>
                </a:lnTo>
                <a:lnTo>
                  <a:pt x="635" y="42"/>
                </a:lnTo>
                <a:lnTo>
                  <a:pt x="629" y="46"/>
                </a:lnTo>
                <a:lnTo>
                  <a:pt x="624" y="52"/>
                </a:lnTo>
                <a:lnTo>
                  <a:pt x="620" y="59"/>
                </a:lnTo>
                <a:lnTo>
                  <a:pt x="618" y="66"/>
                </a:lnTo>
                <a:lnTo>
                  <a:pt x="618" y="74"/>
                </a:lnTo>
                <a:lnTo>
                  <a:pt x="619" y="82"/>
                </a:lnTo>
                <a:lnTo>
                  <a:pt x="620" y="86"/>
                </a:lnTo>
                <a:lnTo>
                  <a:pt x="620" y="89"/>
                </a:lnTo>
                <a:lnTo>
                  <a:pt x="620" y="93"/>
                </a:lnTo>
                <a:lnTo>
                  <a:pt x="619" y="95"/>
                </a:lnTo>
                <a:lnTo>
                  <a:pt x="614" y="99"/>
                </a:lnTo>
                <a:lnTo>
                  <a:pt x="609" y="102"/>
                </a:lnTo>
                <a:lnTo>
                  <a:pt x="604" y="107"/>
                </a:lnTo>
                <a:lnTo>
                  <a:pt x="599" y="110"/>
                </a:lnTo>
                <a:lnTo>
                  <a:pt x="594" y="115"/>
                </a:lnTo>
                <a:lnTo>
                  <a:pt x="591" y="121"/>
                </a:lnTo>
                <a:lnTo>
                  <a:pt x="587" y="126"/>
                </a:lnTo>
                <a:lnTo>
                  <a:pt x="585" y="131"/>
                </a:lnTo>
                <a:lnTo>
                  <a:pt x="584" y="136"/>
                </a:lnTo>
                <a:lnTo>
                  <a:pt x="583" y="142"/>
                </a:lnTo>
                <a:lnTo>
                  <a:pt x="581" y="148"/>
                </a:lnTo>
                <a:lnTo>
                  <a:pt x="581" y="154"/>
                </a:lnTo>
                <a:lnTo>
                  <a:pt x="583" y="159"/>
                </a:lnTo>
                <a:lnTo>
                  <a:pt x="585" y="165"/>
                </a:lnTo>
                <a:lnTo>
                  <a:pt x="587" y="171"/>
                </a:lnTo>
                <a:lnTo>
                  <a:pt x="591" y="177"/>
                </a:lnTo>
                <a:lnTo>
                  <a:pt x="594" y="182"/>
                </a:lnTo>
                <a:lnTo>
                  <a:pt x="599" y="187"/>
                </a:lnTo>
                <a:close/>
                <a:moveTo>
                  <a:pt x="563" y="400"/>
                </a:moveTo>
                <a:lnTo>
                  <a:pt x="566" y="404"/>
                </a:lnTo>
                <a:lnTo>
                  <a:pt x="569" y="408"/>
                </a:lnTo>
                <a:lnTo>
                  <a:pt x="571" y="413"/>
                </a:lnTo>
                <a:lnTo>
                  <a:pt x="571" y="417"/>
                </a:lnTo>
                <a:lnTo>
                  <a:pt x="569" y="414"/>
                </a:lnTo>
                <a:lnTo>
                  <a:pt x="566" y="409"/>
                </a:lnTo>
                <a:lnTo>
                  <a:pt x="564" y="408"/>
                </a:lnTo>
                <a:lnTo>
                  <a:pt x="563" y="406"/>
                </a:lnTo>
                <a:lnTo>
                  <a:pt x="563" y="403"/>
                </a:lnTo>
                <a:lnTo>
                  <a:pt x="563" y="400"/>
                </a:lnTo>
                <a:close/>
                <a:moveTo>
                  <a:pt x="584" y="389"/>
                </a:moveTo>
                <a:lnTo>
                  <a:pt x="584" y="401"/>
                </a:lnTo>
                <a:lnTo>
                  <a:pt x="584" y="413"/>
                </a:lnTo>
                <a:lnTo>
                  <a:pt x="584" y="413"/>
                </a:lnTo>
                <a:lnTo>
                  <a:pt x="583" y="413"/>
                </a:lnTo>
                <a:lnTo>
                  <a:pt x="581" y="401"/>
                </a:lnTo>
                <a:lnTo>
                  <a:pt x="581" y="388"/>
                </a:lnTo>
                <a:lnTo>
                  <a:pt x="583" y="389"/>
                </a:lnTo>
                <a:lnTo>
                  <a:pt x="584" y="389"/>
                </a:lnTo>
                <a:close/>
                <a:moveTo>
                  <a:pt x="677" y="325"/>
                </a:move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lnTo>
                  <a:pt x="677" y="325"/>
                </a:lnTo>
                <a:close/>
                <a:moveTo>
                  <a:pt x="901" y="505"/>
                </a:moveTo>
                <a:lnTo>
                  <a:pt x="901" y="518"/>
                </a:lnTo>
                <a:lnTo>
                  <a:pt x="901" y="529"/>
                </a:lnTo>
                <a:lnTo>
                  <a:pt x="898" y="525"/>
                </a:lnTo>
                <a:lnTo>
                  <a:pt x="897" y="518"/>
                </a:lnTo>
                <a:lnTo>
                  <a:pt x="898" y="511"/>
                </a:lnTo>
                <a:lnTo>
                  <a:pt x="901" y="505"/>
                </a:lnTo>
                <a:close/>
                <a:moveTo>
                  <a:pt x="922" y="505"/>
                </a:moveTo>
                <a:lnTo>
                  <a:pt x="923" y="505"/>
                </a:lnTo>
                <a:lnTo>
                  <a:pt x="924" y="504"/>
                </a:lnTo>
                <a:lnTo>
                  <a:pt x="924" y="515"/>
                </a:lnTo>
                <a:lnTo>
                  <a:pt x="924" y="527"/>
                </a:lnTo>
                <a:lnTo>
                  <a:pt x="923" y="527"/>
                </a:lnTo>
                <a:lnTo>
                  <a:pt x="922" y="527"/>
                </a:lnTo>
                <a:lnTo>
                  <a:pt x="922" y="515"/>
                </a:lnTo>
                <a:lnTo>
                  <a:pt x="922" y="505"/>
                </a:lnTo>
                <a:close/>
                <a:moveTo>
                  <a:pt x="944" y="501"/>
                </a:moveTo>
                <a:lnTo>
                  <a:pt x="944" y="513"/>
                </a:lnTo>
                <a:lnTo>
                  <a:pt x="944" y="526"/>
                </a:lnTo>
                <a:lnTo>
                  <a:pt x="943" y="526"/>
                </a:lnTo>
                <a:lnTo>
                  <a:pt x="942" y="526"/>
                </a:lnTo>
                <a:lnTo>
                  <a:pt x="942" y="513"/>
                </a:lnTo>
                <a:lnTo>
                  <a:pt x="940" y="501"/>
                </a:lnTo>
                <a:lnTo>
                  <a:pt x="942" y="501"/>
                </a:lnTo>
                <a:lnTo>
                  <a:pt x="944" y="501"/>
                </a:lnTo>
                <a:close/>
                <a:moveTo>
                  <a:pt x="970" y="499"/>
                </a:moveTo>
                <a:lnTo>
                  <a:pt x="977" y="511"/>
                </a:lnTo>
                <a:lnTo>
                  <a:pt x="983" y="521"/>
                </a:lnTo>
                <a:lnTo>
                  <a:pt x="980" y="520"/>
                </a:lnTo>
                <a:lnTo>
                  <a:pt x="978" y="519"/>
                </a:lnTo>
                <a:lnTo>
                  <a:pt x="975" y="515"/>
                </a:lnTo>
                <a:lnTo>
                  <a:pt x="973" y="512"/>
                </a:lnTo>
                <a:lnTo>
                  <a:pt x="972" y="509"/>
                </a:lnTo>
                <a:lnTo>
                  <a:pt x="970" y="505"/>
                </a:lnTo>
                <a:lnTo>
                  <a:pt x="970" y="502"/>
                </a:lnTo>
                <a:lnTo>
                  <a:pt x="970" y="499"/>
                </a:lnTo>
                <a:close/>
                <a:moveTo>
                  <a:pt x="998" y="495"/>
                </a:moveTo>
                <a:lnTo>
                  <a:pt x="1006" y="506"/>
                </a:lnTo>
                <a:lnTo>
                  <a:pt x="1014" y="518"/>
                </a:lnTo>
                <a:lnTo>
                  <a:pt x="1011" y="516"/>
                </a:lnTo>
                <a:lnTo>
                  <a:pt x="1008" y="515"/>
                </a:lnTo>
                <a:lnTo>
                  <a:pt x="1001" y="506"/>
                </a:lnTo>
                <a:lnTo>
                  <a:pt x="995" y="497"/>
                </a:lnTo>
                <a:lnTo>
                  <a:pt x="997" y="497"/>
                </a:lnTo>
                <a:lnTo>
                  <a:pt x="998" y="495"/>
                </a:lnTo>
                <a:close/>
                <a:moveTo>
                  <a:pt x="1026" y="493"/>
                </a:moveTo>
                <a:lnTo>
                  <a:pt x="1027" y="506"/>
                </a:lnTo>
                <a:lnTo>
                  <a:pt x="1027" y="518"/>
                </a:lnTo>
                <a:lnTo>
                  <a:pt x="1026" y="518"/>
                </a:lnTo>
                <a:lnTo>
                  <a:pt x="1023" y="516"/>
                </a:lnTo>
                <a:lnTo>
                  <a:pt x="1022" y="506"/>
                </a:lnTo>
                <a:lnTo>
                  <a:pt x="1022" y="494"/>
                </a:lnTo>
                <a:lnTo>
                  <a:pt x="1023" y="494"/>
                </a:lnTo>
                <a:lnTo>
                  <a:pt x="1026" y="493"/>
                </a:lnTo>
                <a:close/>
                <a:moveTo>
                  <a:pt x="1043" y="492"/>
                </a:moveTo>
                <a:lnTo>
                  <a:pt x="1043" y="504"/>
                </a:lnTo>
                <a:lnTo>
                  <a:pt x="1043" y="515"/>
                </a:lnTo>
                <a:lnTo>
                  <a:pt x="1043" y="515"/>
                </a:lnTo>
                <a:lnTo>
                  <a:pt x="1042" y="515"/>
                </a:lnTo>
                <a:lnTo>
                  <a:pt x="1042" y="504"/>
                </a:lnTo>
                <a:lnTo>
                  <a:pt x="1041" y="492"/>
                </a:lnTo>
                <a:lnTo>
                  <a:pt x="1042" y="492"/>
                </a:lnTo>
                <a:lnTo>
                  <a:pt x="1043" y="492"/>
                </a:lnTo>
                <a:close/>
                <a:moveTo>
                  <a:pt x="1070" y="491"/>
                </a:moveTo>
                <a:lnTo>
                  <a:pt x="1071" y="494"/>
                </a:lnTo>
                <a:lnTo>
                  <a:pt x="1073" y="497"/>
                </a:lnTo>
                <a:lnTo>
                  <a:pt x="1076" y="498"/>
                </a:lnTo>
                <a:lnTo>
                  <a:pt x="1078" y="499"/>
                </a:lnTo>
                <a:lnTo>
                  <a:pt x="1082" y="500"/>
                </a:lnTo>
                <a:lnTo>
                  <a:pt x="1084" y="502"/>
                </a:lnTo>
                <a:lnTo>
                  <a:pt x="1085" y="505"/>
                </a:lnTo>
                <a:lnTo>
                  <a:pt x="1085" y="509"/>
                </a:lnTo>
                <a:lnTo>
                  <a:pt x="1076" y="501"/>
                </a:lnTo>
                <a:lnTo>
                  <a:pt x="1068" y="493"/>
                </a:lnTo>
                <a:lnTo>
                  <a:pt x="1069" y="493"/>
                </a:lnTo>
                <a:lnTo>
                  <a:pt x="1070" y="491"/>
                </a:lnTo>
                <a:close/>
                <a:moveTo>
                  <a:pt x="1122" y="485"/>
                </a:moveTo>
                <a:lnTo>
                  <a:pt x="1122" y="497"/>
                </a:lnTo>
                <a:lnTo>
                  <a:pt x="1123" y="509"/>
                </a:lnTo>
                <a:lnTo>
                  <a:pt x="1122" y="509"/>
                </a:lnTo>
                <a:lnTo>
                  <a:pt x="1120" y="509"/>
                </a:lnTo>
                <a:lnTo>
                  <a:pt x="1119" y="498"/>
                </a:lnTo>
                <a:lnTo>
                  <a:pt x="1118" y="485"/>
                </a:lnTo>
                <a:lnTo>
                  <a:pt x="1119" y="485"/>
                </a:lnTo>
                <a:lnTo>
                  <a:pt x="1122" y="485"/>
                </a:lnTo>
                <a:close/>
                <a:moveTo>
                  <a:pt x="1150" y="484"/>
                </a:moveTo>
                <a:lnTo>
                  <a:pt x="1157" y="494"/>
                </a:lnTo>
                <a:lnTo>
                  <a:pt x="1164" y="504"/>
                </a:lnTo>
                <a:lnTo>
                  <a:pt x="1163" y="505"/>
                </a:lnTo>
                <a:lnTo>
                  <a:pt x="1161" y="506"/>
                </a:lnTo>
                <a:lnTo>
                  <a:pt x="1154" y="495"/>
                </a:lnTo>
                <a:lnTo>
                  <a:pt x="1147" y="486"/>
                </a:lnTo>
                <a:lnTo>
                  <a:pt x="1149" y="485"/>
                </a:lnTo>
                <a:lnTo>
                  <a:pt x="1150" y="484"/>
                </a:lnTo>
                <a:close/>
                <a:moveTo>
                  <a:pt x="1180" y="479"/>
                </a:moveTo>
                <a:lnTo>
                  <a:pt x="1180" y="491"/>
                </a:lnTo>
                <a:lnTo>
                  <a:pt x="1181" y="502"/>
                </a:lnTo>
                <a:lnTo>
                  <a:pt x="1179" y="502"/>
                </a:lnTo>
                <a:lnTo>
                  <a:pt x="1178" y="502"/>
                </a:lnTo>
                <a:lnTo>
                  <a:pt x="1178" y="491"/>
                </a:lnTo>
                <a:lnTo>
                  <a:pt x="1177" y="479"/>
                </a:lnTo>
                <a:lnTo>
                  <a:pt x="1178" y="479"/>
                </a:lnTo>
                <a:lnTo>
                  <a:pt x="1180" y="479"/>
                </a:lnTo>
                <a:close/>
                <a:moveTo>
                  <a:pt x="1204" y="477"/>
                </a:moveTo>
                <a:lnTo>
                  <a:pt x="1204" y="477"/>
                </a:lnTo>
                <a:lnTo>
                  <a:pt x="1205" y="477"/>
                </a:lnTo>
                <a:lnTo>
                  <a:pt x="1205" y="488"/>
                </a:lnTo>
                <a:lnTo>
                  <a:pt x="1206" y="500"/>
                </a:lnTo>
                <a:lnTo>
                  <a:pt x="1205" y="500"/>
                </a:lnTo>
                <a:lnTo>
                  <a:pt x="1204" y="500"/>
                </a:lnTo>
                <a:lnTo>
                  <a:pt x="1204" y="488"/>
                </a:lnTo>
                <a:lnTo>
                  <a:pt x="1204" y="477"/>
                </a:lnTo>
                <a:close/>
                <a:moveTo>
                  <a:pt x="1223" y="477"/>
                </a:moveTo>
                <a:lnTo>
                  <a:pt x="1223" y="477"/>
                </a:lnTo>
                <a:lnTo>
                  <a:pt x="1225" y="476"/>
                </a:lnTo>
                <a:lnTo>
                  <a:pt x="1226" y="487"/>
                </a:lnTo>
                <a:lnTo>
                  <a:pt x="1227" y="499"/>
                </a:lnTo>
                <a:lnTo>
                  <a:pt x="1226" y="499"/>
                </a:lnTo>
                <a:lnTo>
                  <a:pt x="1223" y="500"/>
                </a:lnTo>
                <a:lnTo>
                  <a:pt x="1223" y="488"/>
                </a:lnTo>
                <a:lnTo>
                  <a:pt x="1223" y="477"/>
                </a:lnTo>
                <a:close/>
                <a:moveTo>
                  <a:pt x="1406" y="462"/>
                </a:moveTo>
                <a:lnTo>
                  <a:pt x="1408" y="456"/>
                </a:lnTo>
                <a:lnTo>
                  <a:pt x="1412" y="451"/>
                </a:lnTo>
                <a:lnTo>
                  <a:pt x="1414" y="450"/>
                </a:lnTo>
                <a:lnTo>
                  <a:pt x="1416" y="450"/>
                </a:lnTo>
                <a:lnTo>
                  <a:pt x="1420" y="455"/>
                </a:lnTo>
                <a:lnTo>
                  <a:pt x="1422" y="459"/>
                </a:lnTo>
                <a:lnTo>
                  <a:pt x="1421" y="463"/>
                </a:lnTo>
                <a:lnTo>
                  <a:pt x="1422" y="466"/>
                </a:lnTo>
                <a:lnTo>
                  <a:pt x="1423" y="470"/>
                </a:lnTo>
                <a:lnTo>
                  <a:pt x="1425" y="472"/>
                </a:lnTo>
                <a:lnTo>
                  <a:pt x="1429" y="478"/>
                </a:lnTo>
                <a:lnTo>
                  <a:pt x="1432" y="484"/>
                </a:lnTo>
                <a:lnTo>
                  <a:pt x="1428" y="479"/>
                </a:lnTo>
                <a:lnTo>
                  <a:pt x="1425" y="476"/>
                </a:lnTo>
                <a:lnTo>
                  <a:pt x="1421" y="473"/>
                </a:lnTo>
                <a:lnTo>
                  <a:pt x="1418" y="471"/>
                </a:lnTo>
                <a:lnTo>
                  <a:pt x="1415" y="472"/>
                </a:lnTo>
                <a:lnTo>
                  <a:pt x="1412" y="476"/>
                </a:lnTo>
                <a:lnTo>
                  <a:pt x="1408" y="481"/>
                </a:lnTo>
                <a:lnTo>
                  <a:pt x="1403" y="486"/>
                </a:lnTo>
                <a:lnTo>
                  <a:pt x="1406" y="480"/>
                </a:lnTo>
                <a:lnTo>
                  <a:pt x="1409" y="474"/>
                </a:lnTo>
                <a:lnTo>
                  <a:pt x="1410" y="471"/>
                </a:lnTo>
                <a:lnTo>
                  <a:pt x="1410" y="469"/>
                </a:lnTo>
                <a:lnTo>
                  <a:pt x="1409" y="465"/>
                </a:lnTo>
                <a:lnTo>
                  <a:pt x="1406" y="462"/>
                </a:lnTo>
                <a:close/>
                <a:moveTo>
                  <a:pt x="1457" y="501"/>
                </a:moveTo>
                <a:lnTo>
                  <a:pt x="1457" y="502"/>
                </a:lnTo>
                <a:lnTo>
                  <a:pt x="1458" y="504"/>
                </a:lnTo>
                <a:lnTo>
                  <a:pt x="1448" y="504"/>
                </a:lnTo>
                <a:lnTo>
                  <a:pt x="1439" y="504"/>
                </a:lnTo>
                <a:lnTo>
                  <a:pt x="1429" y="504"/>
                </a:lnTo>
                <a:lnTo>
                  <a:pt x="1420" y="505"/>
                </a:lnTo>
                <a:lnTo>
                  <a:pt x="1429" y="504"/>
                </a:lnTo>
                <a:lnTo>
                  <a:pt x="1439" y="502"/>
                </a:lnTo>
                <a:lnTo>
                  <a:pt x="1448" y="501"/>
                </a:lnTo>
                <a:lnTo>
                  <a:pt x="1457" y="501"/>
                </a:lnTo>
                <a:close/>
                <a:moveTo>
                  <a:pt x="545" y="451"/>
                </a:moveTo>
                <a:lnTo>
                  <a:pt x="558" y="443"/>
                </a:lnTo>
                <a:lnTo>
                  <a:pt x="572" y="436"/>
                </a:lnTo>
                <a:lnTo>
                  <a:pt x="585" y="428"/>
                </a:lnTo>
                <a:lnTo>
                  <a:pt x="599" y="420"/>
                </a:lnTo>
                <a:lnTo>
                  <a:pt x="609" y="414"/>
                </a:lnTo>
                <a:lnTo>
                  <a:pt x="619" y="408"/>
                </a:lnTo>
                <a:lnTo>
                  <a:pt x="620" y="409"/>
                </a:lnTo>
                <a:lnTo>
                  <a:pt x="621" y="410"/>
                </a:lnTo>
                <a:lnTo>
                  <a:pt x="602" y="423"/>
                </a:lnTo>
                <a:lnTo>
                  <a:pt x="584" y="435"/>
                </a:lnTo>
                <a:lnTo>
                  <a:pt x="564" y="446"/>
                </a:lnTo>
                <a:lnTo>
                  <a:pt x="544" y="459"/>
                </a:lnTo>
                <a:lnTo>
                  <a:pt x="550" y="465"/>
                </a:lnTo>
                <a:lnTo>
                  <a:pt x="556" y="471"/>
                </a:lnTo>
                <a:lnTo>
                  <a:pt x="573" y="460"/>
                </a:lnTo>
                <a:lnTo>
                  <a:pt x="590" y="450"/>
                </a:lnTo>
                <a:lnTo>
                  <a:pt x="606" y="441"/>
                </a:lnTo>
                <a:lnTo>
                  <a:pt x="622" y="430"/>
                </a:lnTo>
                <a:lnTo>
                  <a:pt x="624" y="436"/>
                </a:lnTo>
                <a:lnTo>
                  <a:pt x="622" y="441"/>
                </a:lnTo>
                <a:lnTo>
                  <a:pt x="620" y="444"/>
                </a:lnTo>
                <a:lnTo>
                  <a:pt x="615" y="446"/>
                </a:lnTo>
                <a:lnTo>
                  <a:pt x="602" y="455"/>
                </a:lnTo>
                <a:lnTo>
                  <a:pt x="590" y="462"/>
                </a:lnTo>
                <a:lnTo>
                  <a:pt x="578" y="469"/>
                </a:lnTo>
                <a:lnTo>
                  <a:pt x="565" y="477"/>
                </a:lnTo>
                <a:lnTo>
                  <a:pt x="574" y="487"/>
                </a:lnTo>
                <a:lnTo>
                  <a:pt x="585" y="497"/>
                </a:lnTo>
                <a:lnTo>
                  <a:pt x="594" y="507"/>
                </a:lnTo>
                <a:lnTo>
                  <a:pt x="604" y="518"/>
                </a:lnTo>
                <a:lnTo>
                  <a:pt x="606" y="518"/>
                </a:lnTo>
                <a:lnTo>
                  <a:pt x="609" y="516"/>
                </a:lnTo>
                <a:lnTo>
                  <a:pt x="612" y="515"/>
                </a:lnTo>
                <a:lnTo>
                  <a:pt x="614" y="515"/>
                </a:lnTo>
                <a:lnTo>
                  <a:pt x="615" y="515"/>
                </a:lnTo>
                <a:lnTo>
                  <a:pt x="615" y="516"/>
                </a:lnTo>
                <a:lnTo>
                  <a:pt x="612" y="519"/>
                </a:lnTo>
                <a:lnTo>
                  <a:pt x="608" y="521"/>
                </a:lnTo>
                <a:lnTo>
                  <a:pt x="622" y="535"/>
                </a:lnTo>
                <a:lnTo>
                  <a:pt x="636" y="549"/>
                </a:lnTo>
                <a:lnTo>
                  <a:pt x="639" y="550"/>
                </a:lnTo>
                <a:lnTo>
                  <a:pt x="642" y="550"/>
                </a:lnTo>
                <a:lnTo>
                  <a:pt x="653" y="548"/>
                </a:lnTo>
                <a:lnTo>
                  <a:pt x="663" y="547"/>
                </a:lnTo>
                <a:lnTo>
                  <a:pt x="675" y="546"/>
                </a:lnTo>
                <a:lnTo>
                  <a:pt x="685" y="544"/>
                </a:lnTo>
                <a:lnTo>
                  <a:pt x="697" y="546"/>
                </a:lnTo>
                <a:lnTo>
                  <a:pt x="709" y="549"/>
                </a:lnTo>
                <a:lnTo>
                  <a:pt x="714" y="551"/>
                </a:lnTo>
                <a:lnTo>
                  <a:pt x="719" y="555"/>
                </a:lnTo>
                <a:lnTo>
                  <a:pt x="724" y="558"/>
                </a:lnTo>
                <a:lnTo>
                  <a:pt x="728" y="563"/>
                </a:lnTo>
                <a:lnTo>
                  <a:pt x="731" y="567"/>
                </a:lnTo>
                <a:lnTo>
                  <a:pt x="735" y="568"/>
                </a:lnTo>
                <a:lnTo>
                  <a:pt x="739" y="569"/>
                </a:lnTo>
                <a:lnTo>
                  <a:pt x="744" y="569"/>
                </a:lnTo>
                <a:lnTo>
                  <a:pt x="756" y="567"/>
                </a:lnTo>
                <a:lnTo>
                  <a:pt x="769" y="565"/>
                </a:lnTo>
                <a:lnTo>
                  <a:pt x="781" y="564"/>
                </a:lnTo>
                <a:lnTo>
                  <a:pt x="794" y="563"/>
                </a:lnTo>
                <a:lnTo>
                  <a:pt x="816" y="561"/>
                </a:lnTo>
                <a:lnTo>
                  <a:pt x="839" y="558"/>
                </a:lnTo>
                <a:lnTo>
                  <a:pt x="862" y="556"/>
                </a:lnTo>
                <a:lnTo>
                  <a:pt x="884" y="554"/>
                </a:lnTo>
                <a:lnTo>
                  <a:pt x="899" y="553"/>
                </a:lnTo>
                <a:lnTo>
                  <a:pt x="916" y="550"/>
                </a:lnTo>
                <a:lnTo>
                  <a:pt x="932" y="549"/>
                </a:lnTo>
                <a:lnTo>
                  <a:pt x="947" y="548"/>
                </a:lnTo>
                <a:lnTo>
                  <a:pt x="968" y="546"/>
                </a:lnTo>
                <a:lnTo>
                  <a:pt x="988" y="543"/>
                </a:lnTo>
                <a:lnTo>
                  <a:pt x="1009" y="542"/>
                </a:lnTo>
                <a:lnTo>
                  <a:pt x="1030" y="540"/>
                </a:lnTo>
                <a:lnTo>
                  <a:pt x="1048" y="539"/>
                </a:lnTo>
                <a:lnTo>
                  <a:pt x="1067" y="536"/>
                </a:lnTo>
                <a:lnTo>
                  <a:pt x="1084" y="535"/>
                </a:lnTo>
                <a:lnTo>
                  <a:pt x="1103" y="534"/>
                </a:lnTo>
                <a:lnTo>
                  <a:pt x="1123" y="532"/>
                </a:lnTo>
                <a:lnTo>
                  <a:pt x="1144" y="529"/>
                </a:lnTo>
                <a:lnTo>
                  <a:pt x="1165" y="527"/>
                </a:lnTo>
                <a:lnTo>
                  <a:pt x="1186" y="525"/>
                </a:lnTo>
                <a:lnTo>
                  <a:pt x="1204" y="523"/>
                </a:lnTo>
                <a:lnTo>
                  <a:pt x="1221" y="522"/>
                </a:lnTo>
                <a:lnTo>
                  <a:pt x="1239" y="520"/>
                </a:lnTo>
                <a:lnTo>
                  <a:pt x="1256" y="519"/>
                </a:lnTo>
                <a:lnTo>
                  <a:pt x="1282" y="516"/>
                </a:lnTo>
                <a:lnTo>
                  <a:pt x="1306" y="514"/>
                </a:lnTo>
                <a:lnTo>
                  <a:pt x="1331" y="512"/>
                </a:lnTo>
                <a:lnTo>
                  <a:pt x="1357" y="511"/>
                </a:lnTo>
                <a:lnTo>
                  <a:pt x="1372" y="508"/>
                </a:lnTo>
                <a:lnTo>
                  <a:pt x="1387" y="507"/>
                </a:lnTo>
                <a:lnTo>
                  <a:pt x="1403" y="506"/>
                </a:lnTo>
                <a:lnTo>
                  <a:pt x="1419" y="505"/>
                </a:lnTo>
                <a:lnTo>
                  <a:pt x="1408" y="507"/>
                </a:lnTo>
                <a:lnTo>
                  <a:pt x="1398" y="509"/>
                </a:lnTo>
                <a:lnTo>
                  <a:pt x="1371" y="512"/>
                </a:lnTo>
                <a:lnTo>
                  <a:pt x="1344" y="514"/>
                </a:lnTo>
                <a:lnTo>
                  <a:pt x="1317" y="516"/>
                </a:lnTo>
                <a:lnTo>
                  <a:pt x="1290" y="519"/>
                </a:lnTo>
                <a:lnTo>
                  <a:pt x="1260" y="522"/>
                </a:lnTo>
                <a:lnTo>
                  <a:pt x="1229" y="525"/>
                </a:lnTo>
                <a:lnTo>
                  <a:pt x="1200" y="527"/>
                </a:lnTo>
                <a:lnTo>
                  <a:pt x="1170" y="530"/>
                </a:lnTo>
                <a:lnTo>
                  <a:pt x="1136" y="533"/>
                </a:lnTo>
                <a:lnTo>
                  <a:pt x="1101" y="536"/>
                </a:lnTo>
                <a:lnTo>
                  <a:pt x="1067" y="540"/>
                </a:lnTo>
                <a:lnTo>
                  <a:pt x="1033" y="543"/>
                </a:lnTo>
                <a:lnTo>
                  <a:pt x="1008" y="546"/>
                </a:lnTo>
                <a:lnTo>
                  <a:pt x="983" y="548"/>
                </a:lnTo>
                <a:lnTo>
                  <a:pt x="957" y="550"/>
                </a:lnTo>
                <a:lnTo>
                  <a:pt x="931" y="553"/>
                </a:lnTo>
                <a:lnTo>
                  <a:pt x="905" y="555"/>
                </a:lnTo>
                <a:lnTo>
                  <a:pt x="878" y="558"/>
                </a:lnTo>
                <a:lnTo>
                  <a:pt x="852" y="561"/>
                </a:lnTo>
                <a:lnTo>
                  <a:pt x="826" y="563"/>
                </a:lnTo>
                <a:lnTo>
                  <a:pt x="807" y="564"/>
                </a:lnTo>
                <a:lnTo>
                  <a:pt x="788" y="567"/>
                </a:lnTo>
                <a:lnTo>
                  <a:pt x="770" y="568"/>
                </a:lnTo>
                <a:lnTo>
                  <a:pt x="751" y="570"/>
                </a:lnTo>
                <a:lnTo>
                  <a:pt x="743" y="570"/>
                </a:lnTo>
                <a:lnTo>
                  <a:pt x="736" y="570"/>
                </a:lnTo>
                <a:lnTo>
                  <a:pt x="732" y="569"/>
                </a:lnTo>
                <a:lnTo>
                  <a:pt x="729" y="568"/>
                </a:lnTo>
                <a:lnTo>
                  <a:pt x="725" y="565"/>
                </a:lnTo>
                <a:lnTo>
                  <a:pt x="723" y="562"/>
                </a:lnTo>
                <a:lnTo>
                  <a:pt x="719" y="560"/>
                </a:lnTo>
                <a:lnTo>
                  <a:pt x="716" y="558"/>
                </a:lnTo>
                <a:lnTo>
                  <a:pt x="709" y="555"/>
                </a:lnTo>
                <a:lnTo>
                  <a:pt x="702" y="553"/>
                </a:lnTo>
                <a:lnTo>
                  <a:pt x="695" y="550"/>
                </a:lnTo>
                <a:lnTo>
                  <a:pt x="688" y="549"/>
                </a:lnTo>
                <a:lnTo>
                  <a:pt x="673" y="548"/>
                </a:lnTo>
                <a:lnTo>
                  <a:pt x="659" y="549"/>
                </a:lnTo>
                <a:lnTo>
                  <a:pt x="650" y="550"/>
                </a:lnTo>
                <a:lnTo>
                  <a:pt x="642" y="554"/>
                </a:lnTo>
                <a:lnTo>
                  <a:pt x="645" y="557"/>
                </a:lnTo>
                <a:lnTo>
                  <a:pt x="647" y="561"/>
                </a:lnTo>
                <a:lnTo>
                  <a:pt x="650" y="563"/>
                </a:lnTo>
                <a:lnTo>
                  <a:pt x="653" y="565"/>
                </a:lnTo>
                <a:lnTo>
                  <a:pt x="656" y="567"/>
                </a:lnTo>
                <a:lnTo>
                  <a:pt x="660" y="568"/>
                </a:lnTo>
                <a:lnTo>
                  <a:pt x="664" y="568"/>
                </a:lnTo>
                <a:lnTo>
                  <a:pt x="668" y="568"/>
                </a:lnTo>
                <a:lnTo>
                  <a:pt x="682" y="567"/>
                </a:lnTo>
                <a:lnTo>
                  <a:pt x="695" y="568"/>
                </a:lnTo>
                <a:lnTo>
                  <a:pt x="701" y="569"/>
                </a:lnTo>
                <a:lnTo>
                  <a:pt x="708" y="571"/>
                </a:lnTo>
                <a:lnTo>
                  <a:pt x="714" y="574"/>
                </a:lnTo>
                <a:lnTo>
                  <a:pt x="719" y="576"/>
                </a:lnTo>
                <a:lnTo>
                  <a:pt x="729" y="581"/>
                </a:lnTo>
                <a:lnTo>
                  <a:pt x="735" y="583"/>
                </a:lnTo>
                <a:lnTo>
                  <a:pt x="742" y="584"/>
                </a:lnTo>
                <a:lnTo>
                  <a:pt x="751" y="583"/>
                </a:lnTo>
                <a:lnTo>
                  <a:pt x="783" y="581"/>
                </a:lnTo>
                <a:lnTo>
                  <a:pt x="815" y="577"/>
                </a:lnTo>
                <a:lnTo>
                  <a:pt x="848" y="574"/>
                </a:lnTo>
                <a:lnTo>
                  <a:pt x="880" y="571"/>
                </a:lnTo>
                <a:lnTo>
                  <a:pt x="902" y="569"/>
                </a:lnTo>
                <a:lnTo>
                  <a:pt x="924" y="567"/>
                </a:lnTo>
                <a:lnTo>
                  <a:pt x="946" y="565"/>
                </a:lnTo>
                <a:lnTo>
                  <a:pt x="967" y="563"/>
                </a:lnTo>
                <a:lnTo>
                  <a:pt x="992" y="561"/>
                </a:lnTo>
                <a:lnTo>
                  <a:pt x="1016" y="558"/>
                </a:lnTo>
                <a:lnTo>
                  <a:pt x="1040" y="556"/>
                </a:lnTo>
                <a:lnTo>
                  <a:pt x="1064" y="554"/>
                </a:lnTo>
                <a:lnTo>
                  <a:pt x="1080" y="553"/>
                </a:lnTo>
                <a:lnTo>
                  <a:pt x="1094" y="551"/>
                </a:lnTo>
                <a:lnTo>
                  <a:pt x="1109" y="549"/>
                </a:lnTo>
                <a:lnTo>
                  <a:pt x="1123" y="548"/>
                </a:lnTo>
                <a:lnTo>
                  <a:pt x="1147" y="546"/>
                </a:lnTo>
                <a:lnTo>
                  <a:pt x="1172" y="543"/>
                </a:lnTo>
                <a:lnTo>
                  <a:pt x="1197" y="541"/>
                </a:lnTo>
                <a:lnTo>
                  <a:pt x="1220" y="539"/>
                </a:lnTo>
                <a:lnTo>
                  <a:pt x="1236" y="537"/>
                </a:lnTo>
                <a:lnTo>
                  <a:pt x="1251" y="536"/>
                </a:lnTo>
                <a:lnTo>
                  <a:pt x="1268" y="535"/>
                </a:lnTo>
                <a:lnTo>
                  <a:pt x="1284" y="533"/>
                </a:lnTo>
                <a:lnTo>
                  <a:pt x="1306" y="532"/>
                </a:lnTo>
                <a:lnTo>
                  <a:pt x="1327" y="529"/>
                </a:lnTo>
                <a:lnTo>
                  <a:pt x="1350" y="527"/>
                </a:lnTo>
                <a:lnTo>
                  <a:pt x="1372" y="525"/>
                </a:lnTo>
                <a:lnTo>
                  <a:pt x="1395" y="522"/>
                </a:lnTo>
                <a:lnTo>
                  <a:pt x="1419" y="520"/>
                </a:lnTo>
                <a:lnTo>
                  <a:pt x="1442" y="518"/>
                </a:lnTo>
                <a:lnTo>
                  <a:pt x="1467" y="515"/>
                </a:lnTo>
                <a:lnTo>
                  <a:pt x="1469" y="514"/>
                </a:lnTo>
                <a:lnTo>
                  <a:pt x="1471" y="512"/>
                </a:lnTo>
                <a:lnTo>
                  <a:pt x="1481" y="494"/>
                </a:lnTo>
                <a:lnTo>
                  <a:pt x="1490" y="477"/>
                </a:lnTo>
                <a:lnTo>
                  <a:pt x="1492" y="470"/>
                </a:lnTo>
                <a:lnTo>
                  <a:pt x="1492" y="463"/>
                </a:lnTo>
                <a:lnTo>
                  <a:pt x="1487" y="472"/>
                </a:lnTo>
                <a:lnTo>
                  <a:pt x="1482" y="483"/>
                </a:lnTo>
                <a:lnTo>
                  <a:pt x="1475" y="491"/>
                </a:lnTo>
                <a:lnTo>
                  <a:pt x="1468" y="499"/>
                </a:lnTo>
                <a:lnTo>
                  <a:pt x="1475" y="484"/>
                </a:lnTo>
                <a:lnTo>
                  <a:pt x="1483" y="470"/>
                </a:lnTo>
                <a:lnTo>
                  <a:pt x="1484" y="466"/>
                </a:lnTo>
                <a:lnTo>
                  <a:pt x="1485" y="463"/>
                </a:lnTo>
                <a:lnTo>
                  <a:pt x="1485" y="460"/>
                </a:lnTo>
                <a:lnTo>
                  <a:pt x="1483" y="457"/>
                </a:lnTo>
                <a:lnTo>
                  <a:pt x="1471" y="445"/>
                </a:lnTo>
                <a:lnTo>
                  <a:pt x="1460" y="434"/>
                </a:lnTo>
                <a:lnTo>
                  <a:pt x="1455" y="430"/>
                </a:lnTo>
                <a:lnTo>
                  <a:pt x="1450" y="430"/>
                </a:lnTo>
                <a:lnTo>
                  <a:pt x="1439" y="430"/>
                </a:lnTo>
                <a:lnTo>
                  <a:pt x="1426" y="432"/>
                </a:lnTo>
                <a:lnTo>
                  <a:pt x="1410" y="434"/>
                </a:lnTo>
                <a:lnTo>
                  <a:pt x="1394" y="435"/>
                </a:lnTo>
                <a:lnTo>
                  <a:pt x="1378" y="437"/>
                </a:lnTo>
                <a:lnTo>
                  <a:pt x="1361" y="438"/>
                </a:lnTo>
                <a:lnTo>
                  <a:pt x="1342" y="441"/>
                </a:lnTo>
                <a:lnTo>
                  <a:pt x="1322" y="443"/>
                </a:lnTo>
                <a:lnTo>
                  <a:pt x="1303" y="444"/>
                </a:lnTo>
                <a:lnTo>
                  <a:pt x="1283" y="446"/>
                </a:lnTo>
                <a:lnTo>
                  <a:pt x="1265" y="449"/>
                </a:lnTo>
                <a:lnTo>
                  <a:pt x="1247" y="450"/>
                </a:lnTo>
                <a:lnTo>
                  <a:pt x="1229" y="451"/>
                </a:lnTo>
                <a:lnTo>
                  <a:pt x="1212" y="453"/>
                </a:lnTo>
                <a:lnTo>
                  <a:pt x="1193" y="455"/>
                </a:lnTo>
                <a:lnTo>
                  <a:pt x="1173" y="457"/>
                </a:lnTo>
                <a:lnTo>
                  <a:pt x="1154" y="459"/>
                </a:lnTo>
                <a:lnTo>
                  <a:pt x="1136" y="462"/>
                </a:lnTo>
                <a:lnTo>
                  <a:pt x="1111" y="464"/>
                </a:lnTo>
                <a:lnTo>
                  <a:pt x="1088" y="466"/>
                </a:lnTo>
                <a:lnTo>
                  <a:pt x="1063" y="467"/>
                </a:lnTo>
                <a:lnTo>
                  <a:pt x="1040" y="470"/>
                </a:lnTo>
                <a:lnTo>
                  <a:pt x="1023" y="472"/>
                </a:lnTo>
                <a:lnTo>
                  <a:pt x="1006" y="473"/>
                </a:lnTo>
                <a:lnTo>
                  <a:pt x="990" y="474"/>
                </a:lnTo>
                <a:lnTo>
                  <a:pt x="973" y="476"/>
                </a:lnTo>
                <a:lnTo>
                  <a:pt x="958" y="478"/>
                </a:lnTo>
                <a:lnTo>
                  <a:pt x="942" y="479"/>
                </a:lnTo>
                <a:lnTo>
                  <a:pt x="926" y="480"/>
                </a:lnTo>
                <a:lnTo>
                  <a:pt x="911" y="481"/>
                </a:lnTo>
                <a:lnTo>
                  <a:pt x="890" y="484"/>
                </a:lnTo>
                <a:lnTo>
                  <a:pt x="869" y="486"/>
                </a:lnTo>
                <a:lnTo>
                  <a:pt x="848" y="488"/>
                </a:lnTo>
                <a:lnTo>
                  <a:pt x="826" y="491"/>
                </a:lnTo>
                <a:lnTo>
                  <a:pt x="805" y="493"/>
                </a:lnTo>
                <a:lnTo>
                  <a:pt x="784" y="494"/>
                </a:lnTo>
                <a:lnTo>
                  <a:pt x="763" y="497"/>
                </a:lnTo>
                <a:lnTo>
                  <a:pt x="742" y="499"/>
                </a:lnTo>
                <a:lnTo>
                  <a:pt x="737" y="499"/>
                </a:lnTo>
                <a:lnTo>
                  <a:pt x="733" y="499"/>
                </a:lnTo>
                <a:lnTo>
                  <a:pt x="730" y="497"/>
                </a:lnTo>
                <a:lnTo>
                  <a:pt x="726" y="494"/>
                </a:lnTo>
                <a:lnTo>
                  <a:pt x="722" y="491"/>
                </a:lnTo>
                <a:lnTo>
                  <a:pt x="717" y="487"/>
                </a:lnTo>
                <a:lnTo>
                  <a:pt x="711" y="484"/>
                </a:lnTo>
                <a:lnTo>
                  <a:pt x="705" y="481"/>
                </a:lnTo>
                <a:lnTo>
                  <a:pt x="694" y="478"/>
                </a:lnTo>
                <a:lnTo>
                  <a:pt x="681" y="477"/>
                </a:lnTo>
                <a:lnTo>
                  <a:pt x="671" y="477"/>
                </a:lnTo>
                <a:lnTo>
                  <a:pt x="663" y="477"/>
                </a:lnTo>
                <a:lnTo>
                  <a:pt x="655" y="478"/>
                </a:lnTo>
                <a:lnTo>
                  <a:pt x="647" y="480"/>
                </a:lnTo>
                <a:lnTo>
                  <a:pt x="640" y="484"/>
                </a:lnTo>
                <a:lnTo>
                  <a:pt x="633" y="488"/>
                </a:lnTo>
                <a:lnTo>
                  <a:pt x="626" y="494"/>
                </a:lnTo>
                <a:lnTo>
                  <a:pt x="619" y="500"/>
                </a:lnTo>
                <a:lnTo>
                  <a:pt x="621" y="494"/>
                </a:lnTo>
                <a:lnTo>
                  <a:pt x="625" y="490"/>
                </a:lnTo>
                <a:lnTo>
                  <a:pt x="628" y="485"/>
                </a:lnTo>
                <a:lnTo>
                  <a:pt x="634" y="483"/>
                </a:lnTo>
                <a:lnTo>
                  <a:pt x="647" y="477"/>
                </a:lnTo>
                <a:lnTo>
                  <a:pt x="661" y="473"/>
                </a:lnTo>
                <a:lnTo>
                  <a:pt x="674" y="471"/>
                </a:lnTo>
                <a:lnTo>
                  <a:pt x="687" y="472"/>
                </a:lnTo>
                <a:lnTo>
                  <a:pt x="700" y="474"/>
                </a:lnTo>
                <a:lnTo>
                  <a:pt x="712" y="479"/>
                </a:lnTo>
                <a:lnTo>
                  <a:pt x="724" y="486"/>
                </a:lnTo>
                <a:lnTo>
                  <a:pt x="736" y="495"/>
                </a:lnTo>
                <a:lnTo>
                  <a:pt x="738" y="491"/>
                </a:lnTo>
                <a:lnTo>
                  <a:pt x="738" y="486"/>
                </a:lnTo>
                <a:lnTo>
                  <a:pt x="737" y="481"/>
                </a:lnTo>
                <a:lnTo>
                  <a:pt x="735" y="477"/>
                </a:lnTo>
                <a:lnTo>
                  <a:pt x="731" y="472"/>
                </a:lnTo>
                <a:lnTo>
                  <a:pt x="726" y="467"/>
                </a:lnTo>
                <a:lnTo>
                  <a:pt x="722" y="464"/>
                </a:lnTo>
                <a:lnTo>
                  <a:pt x="717" y="462"/>
                </a:lnTo>
                <a:lnTo>
                  <a:pt x="705" y="457"/>
                </a:lnTo>
                <a:lnTo>
                  <a:pt x="694" y="453"/>
                </a:lnTo>
                <a:lnTo>
                  <a:pt x="682" y="451"/>
                </a:lnTo>
                <a:lnTo>
                  <a:pt x="669" y="451"/>
                </a:lnTo>
                <a:lnTo>
                  <a:pt x="684" y="450"/>
                </a:lnTo>
                <a:lnTo>
                  <a:pt x="698" y="451"/>
                </a:lnTo>
                <a:lnTo>
                  <a:pt x="712" y="455"/>
                </a:lnTo>
                <a:lnTo>
                  <a:pt x="726" y="460"/>
                </a:lnTo>
                <a:lnTo>
                  <a:pt x="726" y="448"/>
                </a:lnTo>
                <a:lnTo>
                  <a:pt x="725" y="435"/>
                </a:lnTo>
                <a:lnTo>
                  <a:pt x="725" y="423"/>
                </a:lnTo>
                <a:lnTo>
                  <a:pt x="724" y="411"/>
                </a:lnTo>
                <a:lnTo>
                  <a:pt x="725" y="410"/>
                </a:lnTo>
                <a:lnTo>
                  <a:pt x="728" y="410"/>
                </a:lnTo>
                <a:lnTo>
                  <a:pt x="731" y="420"/>
                </a:lnTo>
                <a:lnTo>
                  <a:pt x="735" y="428"/>
                </a:lnTo>
                <a:lnTo>
                  <a:pt x="737" y="422"/>
                </a:lnTo>
                <a:lnTo>
                  <a:pt x="737" y="415"/>
                </a:lnTo>
                <a:lnTo>
                  <a:pt x="736" y="409"/>
                </a:lnTo>
                <a:lnTo>
                  <a:pt x="732" y="404"/>
                </a:lnTo>
                <a:lnTo>
                  <a:pt x="724" y="396"/>
                </a:lnTo>
                <a:lnTo>
                  <a:pt x="715" y="390"/>
                </a:lnTo>
                <a:lnTo>
                  <a:pt x="705" y="386"/>
                </a:lnTo>
                <a:lnTo>
                  <a:pt x="694" y="383"/>
                </a:lnTo>
                <a:lnTo>
                  <a:pt x="684" y="383"/>
                </a:lnTo>
                <a:lnTo>
                  <a:pt x="676" y="382"/>
                </a:lnTo>
                <a:lnTo>
                  <a:pt x="667" y="382"/>
                </a:lnTo>
                <a:lnTo>
                  <a:pt x="659" y="382"/>
                </a:lnTo>
                <a:lnTo>
                  <a:pt x="669" y="380"/>
                </a:lnTo>
                <a:lnTo>
                  <a:pt x="678" y="379"/>
                </a:lnTo>
                <a:lnTo>
                  <a:pt x="689" y="379"/>
                </a:lnTo>
                <a:lnTo>
                  <a:pt x="698" y="380"/>
                </a:lnTo>
                <a:lnTo>
                  <a:pt x="708" y="382"/>
                </a:lnTo>
                <a:lnTo>
                  <a:pt x="717" y="387"/>
                </a:lnTo>
                <a:lnTo>
                  <a:pt x="726" y="392"/>
                </a:lnTo>
                <a:lnTo>
                  <a:pt x="735" y="400"/>
                </a:lnTo>
                <a:lnTo>
                  <a:pt x="737" y="392"/>
                </a:lnTo>
                <a:lnTo>
                  <a:pt x="737" y="386"/>
                </a:lnTo>
                <a:lnTo>
                  <a:pt x="736" y="380"/>
                </a:lnTo>
                <a:lnTo>
                  <a:pt x="732" y="374"/>
                </a:lnTo>
                <a:lnTo>
                  <a:pt x="724" y="366"/>
                </a:lnTo>
                <a:lnTo>
                  <a:pt x="715" y="359"/>
                </a:lnTo>
                <a:lnTo>
                  <a:pt x="703" y="354"/>
                </a:lnTo>
                <a:lnTo>
                  <a:pt x="691" y="352"/>
                </a:lnTo>
                <a:lnTo>
                  <a:pt x="678" y="350"/>
                </a:lnTo>
                <a:lnTo>
                  <a:pt x="667" y="351"/>
                </a:lnTo>
                <a:lnTo>
                  <a:pt x="654" y="353"/>
                </a:lnTo>
                <a:lnTo>
                  <a:pt x="642" y="358"/>
                </a:lnTo>
                <a:lnTo>
                  <a:pt x="631" y="366"/>
                </a:lnTo>
                <a:lnTo>
                  <a:pt x="619" y="375"/>
                </a:lnTo>
                <a:lnTo>
                  <a:pt x="620" y="373"/>
                </a:lnTo>
                <a:lnTo>
                  <a:pt x="621" y="369"/>
                </a:lnTo>
                <a:lnTo>
                  <a:pt x="622" y="366"/>
                </a:lnTo>
                <a:lnTo>
                  <a:pt x="626" y="362"/>
                </a:lnTo>
                <a:lnTo>
                  <a:pt x="628" y="360"/>
                </a:lnTo>
                <a:lnTo>
                  <a:pt x="632" y="358"/>
                </a:lnTo>
                <a:lnTo>
                  <a:pt x="638" y="354"/>
                </a:lnTo>
                <a:lnTo>
                  <a:pt x="645" y="351"/>
                </a:lnTo>
                <a:lnTo>
                  <a:pt x="652" y="347"/>
                </a:lnTo>
                <a:lnTo>
                  <a:pt x="659" y="346"/>
                </a:lnTo>
                <a:lnTo>
                  <a:pt x="666" y="344"/>
                </a:lnTo>
                <a:lnTo>
                  <a:pt x="673" y="344"/>
                </a:lnTo>
                <a:lnTo>
                  <a:pt x="681" y="344"/>
                </a:lnTo>
                <a:lnTo>
                  <a:pt x="688" y="344"/>
                </a:lnTo>
                <a:lnTo>
                  <a:pt x="695" y="345"/>
                </a:lnTo>
                <a:lnTo>
                  <a:pt x="702" y="347"/>
                </a:lnTo>
                <a:lnTo>
                  <a:pt x="717" y="353"/>
                </a:lnTo>
                <a:lnTo>
                  <a:pt x="731" y="360"/>
                </a:lnTo>
                <a:lnTo>
                  <a:pt x="730" y="352"/>
                </a:lnTo>
                <a:lnTo>
                  <a:pt x="730" y="343"/>
                </a:lnTo>
                <a:lnTo>
                  <a:pt x="730" y="339"/>
                </a:lnTo>
                <a:lnTo>
                  <a:pt x="728" y="334"/>
                </a:lnTo>
                <a:lnTo>
                  <a:pt x="725" y="331"/>
                </a:lnTo>
                <a:lnTo>
                  <a:pt x="721" y="327"/>
                </a:lnTo>
                <a:lnTo>
                  <a:pt x="723" y="323"/>
                </a:lnTo>
                <a:lnTo>
                  <a:pt x="725" y="316"/>
                </a:lnTo>
                <a:lnTo>
                  <a:pt x="729" y="325"/>
                </a:lnTo>
                <a:lnTo>
                  <a:pt x="732" y="333"/>
                </a:lnTo>
                <a:lnTo>
                  <a:pt x="733" y="331"/>
                </a:lnTo>
                <a:lnTo>
                  <a:pt x="735" y="327"/>
                </a:lnTo>
                <a:lnTo>
                  <a:pt x="736" y="325"/>
                </a:lnTo>
                <a:lnTo>
                  <a:pt x="736" y="320"/>
                </a:lnTo>
                <a:lnTo>
                  <a:pt x="735" y="317"/>
                </a:lnTo>
                <a:lnTo>
                  <a:pt x="733" y="313"/>
                </a:lnTo>
                <a:lnTo>
                  <a:pt x="731" y="310"/>
                </a:lnTo>
                <a:lnTo>
                  <a:pt x="729" y="306"/>
                </a:lnTo>
                <a:lnTo>
                  <a:pt x="724" y="302"/>
                </a:lnTo>
                <a:lnTo>
                  <a:pt x="719" y="297"/>
                </a:lnTo>
                <a:lnTo>
                  <a:pt x="714" y="294"/>
                </a:lnTo>
                <a:lnTo>
                  <a:pt x="708" y="291"/>
                </a:lnTo>
                <a:lnTo>
                  <a:pt x="701" y="289"/>
                </a:lnTo>
                <a:lnTo>
                  <a:pt x="694" y="287"/>
                </a:lnTo>
                <a:lnTo>
                  <a:pt x="688" y="285"/>
                </a:lnTo>
                <a:lnTo>
                  <a:pt x="681" y="284"/>
                </a:lnTo>
                <a:lnTo>
                  <a:pt x="667" y="285"/>
                </a:lnTo>
                <a:lnTo>
                  <a:pt x="653" y="288"/>
                </a:lnTo>
                <a:lnTo>
                  <a:pt x="647" y="290"/>
                </a:lnTo>
                <a:lnTo>
                  <a:pt x="641" y="292"/>
                </a:lnTo>
                <a:lnTo>
                  <a:pt x="635" y="296"/>
                </a:lnTo>
                <a:lnTo>
                  <a:pt x="631" y="299"/>
                </a:lnTo>
                <a:lnTo>
                  <a:pt x="626" y="304"/>
                </a:lnTo>
                <a:lnTo>
                  <a:pt x="624" y="308"/>
                </a:lnTo>
                <a:lnTo>
                  <a:pt x="621" y="312"/>
                </a:lnTo>
                <a:lnTo>
                  <a:pt x="620" y="316"/>
                </a:lnTo>
                <a:lnTo>
                  <a:pt x="619" y="320"/>
                </a:lnTo>
                <a:lnTo>
                  <a:pt x="619" y="325"/>
                </a:lnTo>
                <a:lnTo>
                  <a:pt x="620" y="330"/>
                </a:lnTo>
                <a:lnTo>
                  <a:pt x="622" y="336"/>
                </a:lnTo>
                <a:lnTo>
                  <a:pt x="624" y="339"/>
                </a:lnTo>
                <a:lnTo>
                  <a:pt x="624" y="343"/>
                </a:lnTo>
                <a:lnTo>
                  <a:pt x="622" y="346"/>
                </a:lnTo>
                <a:lnTo>
                  <a:pt x="619" y="350"/>
                </a:lnTo>
                <a:lnTo>
                  <a:pt x="600" y="361"/>
                </a:lnTo>
                <a:lnTo>
                  <a:pt x="581" y="372"/>
                </a:lnTo>
                <a:lnTo>
                  <a:pt x="563" y="383"/>
                </a:lnTo>
                <a:lnTo>
                  <a:pt x="544" y="394"/>
                </a:lnTo>
                <a:lnTo>
                  <a:pt x="535" y="400"/>
                </a:lnTo>
                <a:lnTo>
                  <a:pt x="524" y="407"/>
                </a:lnTo>
                <a:lnTo>
                  <a:pt x="514" y="413"/>
                </a:lnTo>
                <a:lnTo>
                  <a:pt x="504" y="418"/>
                </a:lnTo>
                <a:lnTo>
                  <a:pt x="519" y="435"/>
                </a:lnTo>
                <a:lnTo>
                  <a:pt x="533" y="450"/>
                </a:lnTo>
                <a:lnTo>
                  <a:pt x="537" y="452"/>
                </a:lnTo>
                <a:lnTo>
                  <a:pt x="539" y="453"/>
                </a:lnTo>
                <a:lnTo>
                  <a:pt x="543" y="452"/>
                </a:lnTo>
                <a:lnTo>
                  <a:pt x="545" y="451"/>
                </a:lnTo>
                <a:close/>
                <a:moveTo>
                  <a:pt x="379" y="647"/>
                </a:moveTo>
                <a:lnTo>
                  <a:pt x="378" y="650"/>
                </a:lnTo>
                <a:lnTo>
                  <a:pt x="377" y="651"/>
                </a:lnTo>
                <a:lnTo>
                  <a:pt x="360" y="661"/>
                </a:lnTo>
                <a:lnTo>
                  <a:pt x="343" y="669"/>
                </a:lnTo>
                <a:lnTo>
                  <a:pt x="351" y="664"/>
                </a:lnTo>
                <a:lnTo>
                  <a:pt x="360" y="658"/>
                </a:lnTo>
                <a:lnTo>
                  <a:pt x="370" y="653"/>
                </a:lnTo>
                <a:lnTo>
                  <a:pt x="379" y="647"/>
                </a:lnTo>
                <a:close/>
                <a:moveTo>
                  <a:pt x="405" y="633"/>
                </a:moveTo>
                <a:lnTo>
                  <a:pt x="406" y="632"/>
                </a:lnTo>
                <a:lnTo>
                  <a:pt x="408" y="632"/>
                </a:lnTo>
                <a:lnTo>
                  <a:pt x="402" y="637"/>
                </a:lnTo>
                <a:lnTo>
                  <a:pt x="395" y="641"/>
                </a:lnTo>
                <a:lnTo>
                  <a:pt x="388" y="645"/>
                </a:lnTo>
                <a:lnTo>
                  <a:pt x="380" y="647"/>
                </a:lnTo>
                <a:lnTo>
                  <a:pt x="392" y="640"/>
                </a:lnTo>
                <a:lnTo>
                  <a:pt x="405" y="633"/>
                </a:lnTo>
                <a:close/>
                <a:moveTo>
                  <a:pt x="454" y="605"/>
                </a:moveTo>
                <a:lnTo>
                  <a:pt x="454" y="606"/>
                </a:lnTo>
                <a:lnTo>
                  <a:pt x="455" y="606"/>
                </a:lnTo>
                <a:lnTo>
                  <a:pt x="438" y="617"/>
                </a:lnTo>
                <a:lnTo>
                  <a:pt x="421" y="626"/>
                </a:lnTo>
                <a:lnTo>
                  <a:pt x="417" y="629"/>
                </a:lnTo>
                <a:lnTo>
                  <a:pt x="411" y="631"/>
                </a:lnTo>
                <a:lnTo>
                  <a:pt x="421" y="624"/>
                </a:lnTo>
                <a:lnTo>
                  <a:pt x="432" y="618"/>
                </a:lnTo>
                <a:lnTo>
                  <a:pt x="443" y="611"/>
                </a:lnTo>
                <a:lnTo>
                  <a:pt x="454" y="605"/>
                </a:lnTo>
                <a:close/>
                <a:moveTo>
                  <a:pt x="330" y="563"/>
                </a:moveTo>
                <a:lnTo>
                  <a:pt x="329" y="562"/>
                </a:lnTo>
                <a:lnTo>
                  <a:pt x="328" y="560"/>
                </a:lnTo>
                <a:lnTo>
                  <a:pt x="326" y="557"/>
                </a:lnTo>
                <a:lnTo>
                  <a:pt x="326" y="554"/>
                </a:lnTo>
                <a:lnTo>
                  <a:pt x="328" y="547"/>
                </a:lnTo>
                <a:lnTo>
                  <a:pt x="331" y="541"/>
                </a:lnTo>
                <a:lnTo>
                  <a:pt x="330" y="551"/>
                </a:lnTo>
                <a:lnTo>
                  <a:pt x="330" y="563"/>
                </a:lnTo>
                <a:close/>
                <a:moveTo>
                  <a:pt x="668" y="770"/>
                </a:moveTo>
                <a:lnTo>
                  <a:pt x="670" y="771"/>
                </a:lnTo>
                <a:lnTo>
                  <a:pt x="674" y="772"/>
                </a:lnTo>
                <a:lnTo>
                  <a:pt x="671" y="774"/>
                </a:lnTo>
                <a:lnTo>
                  <a:pt x="669" y="776"/>
                </a:lnTo>
                <a:lnTo>
                  <a:pt x="667" y="779"/>
                </a:lnTo>
                <a:lnTo>
                  <a:pt x="664" y="781"/>
                </a:lnTo>
                <a:lnTo>
                  <a:pt x="664" y="786"/>
                </a:lnTo>
                <a:lnTo>
                  <a:pt x="662" y="787"/>
                </a:lnTo>
                <a:lnTo>
                  <a:pt x="660" y="788"/>
                </a:lnTo>
                <a:lnTo>
                  <a:pt x="656" y="788"/>
                </a:lnTo>
                <a:lnTo>
                  <a:pt x="656" y="779"/>
                </a:lnTo>
                <a:lnTo>
                  <a:pt x="659" y="774"/>
                </a:lnTo>
                <a:lnTo>
                  <a:pt x="660" y="772"/>
                </a:lnTo>
                <a:lnTo>
                  <a:pt x="662" y="771"/>
                </a:lnTo>
                <a:lnTo>
                  <a:pt x="664" y="770"/>
                </a:lnTo>
                <a:lnTo>
                  <a:pt x="668" y="770"/>
                </a:lnTo>
                <a:close/>
                <a:moveTo>
                  <a:pt x="695" y="783"/>
                </a:moveTo>
                <a:lnTo>
                  <a:pt x="691" y="785"/>
                </a:lnTo>
                <a:lnTo>
                  <a:pt x="689" y="786"/>
                </a:lnTo>
                <a:lnTo>
                  <a:pt x="684" y="785"/>
                </a:lnTo>
                <a:lnTo>
                  <a:pt x="677" y="781"/>
                </a:lnTo>
                <a:lnTo>
                  <a:pt x="685" y="781"/>
                </a:lnTo>
                <a:lnTo>
                  <a:pt x="695" y="783"/>
                </a:lnTo>
                <a:close/>
                <a:moveTo>
                  <a:pt x="674" y="807"/>
                </a:moveTo>
                <a:lnTo>
                  <a:pt x="671" y="806"/>
                </a:lnTo>
                <a:lnTo>
                  <a:pt x="669" y="805"/>
                </a:lnTo>
                <a:lnTo>
                  <a:pt x="671" y="802"/>
                </a:lnTo>
                <a:lnTo>
                  <a:pt x="674" y="800"/>
                </a:lnTo>
                <a:lnTo>
                  <a:pt x="677" y="798"/>
                </a:lnTo>
                <a:lnTo>
                  <a:pt x="681" y="795"/>
                </a:lnTo>
                <a:lnTo>
                  <a:pt x="682" y="792"/>
                </a:lnTo>
                <a:lnTo>
                  <a:pt x="684" y="790"/>
                </a:lnTo>
                <a:lnTo>
                  <a:pt x="685" y="792"/>
                </a:lnTo>
                <a:lnTo>
                  <a:pt x="687" y="794"/>
                </a:lnTo>
                <a:lnTo>
                  <a:pt x="685" y="800"/>
                </a:lnTo>
                <a:lnTo>
                  <a:pt x="683" y="805"/>
                </a:lnTo>
                <a:lnTo>
                  <a:pt x="680" y="807"/>
                </a:lnTo>
                <a:lnTo>
                  <a:pt x="674" y="807"/>
                </a:lnTo>
                <a:close/>
                <a:moveTo>
                  <a:pt x="600" y="608"/>
                </a:moveTo>
                <a:lnTo>
                  <a:pt x="597" y="598"/>
                </a:lnTo>
                <a:lnTo>
                  <a:pt x="594" y="589"/>
                </a:lnTo>
                <a:lnTo>
                  <a:pt x="594" y="587"/>
                </a:lnTo>
                <a:lnTo>
                  <a:pt x="594" y="583"/>
                </a:lnTo>
                <a:lnTo>
                  <a:pt x="594" y="571"/>
                </a:lnTo>
                <a:lnTo>
                  <a:pt x="594" y="561"/>
                </a:lnTo>
                <a:lnTo>
                  <a:pt x="595" y="557"/>
                </a:lnTo>
                <a:lnTo>
                  <a:pt x="598" y="556"/>
                </a:lnTo>
                <a:lnTo>
                  <a:pt x="601" y="556"/>
                </a:lnTo>
                <a:lnTo>
                  <a:pt x="604" y="558"/>
                </a:lnTo>
                <a:lnTo>
                  <a:pt x="608" y="565"/>
                </a:lnTo>
                <a:lnTo>
                  <a:pt x="611" y="574"/>
                </a:lnTo>
                <a:lnTo>
                  <a:pt x="612" y="583"/>
                </a:lnTo>
                <a:lnTo>
                  <a:pt x="611" y="591"/>
                </a:lnTo>
                <a:lnTo>
                  <a:pt x="609" y="594"/>
                </a:lnTo>
                <a:lnTo>
                  <a:pt x="607" y="595"/>
                </a:lnTo>
                <a:lnTo>
                  <a:pt x="611" y="601"/>
                </a:lnTo>
                <a:lnTo>
                  <a:pt x="614" y="608"/>
                </a:lnTo>
                <a:lnTo>
                  <a:pt x="606" y="608"/>
                </a:lnTo>
                <a:lnTo>
                  <a:pt x="600" y="608"/>
                </a:lnTo>
                <a:close/>
                <a:moveTo>
                  <a:pt x="587" y="645"/>
                </a:moveTo>
                <a:lnTo>
                  <a:pt x="590" y="647"/>
                </a:lnTo>
                <a:lnTo>
                  <a:pt x="592" y="650"/>
                </a:lnTo>
                <a:lnTo>
                  <a:pt x="591" y="651"/>
                </a:lnTo>
                <a:lnTo>
                  <a:pt x="590" y="651"/>
                </a:lnTo>
                <a:lnTo>
                  <a:pt x="586" y="647"/>
                </a:lnTo>
                <a:lnTo>
                  <a:pt x="584" y="644"/>
                </a:lnTo>
                <a:lnTo>
                  <a:pt x="583" y="640"/>
                </a:lnTo>
                <a:lnTo>
                  <a:pt x="581" y="636"/>
                </a:lnTo>
                <a:lnTo>
                  <a:pt x="583" y="631"/>
                </a:lnTo>
                <a:lnTo>
                  <a:pt x="585" y="625"/>
                </a:lnTo>
                <a:lnTo>
                  <a:pt x="590" y="632"/>
                </a:lnTo>
                <a:lnTo>
                  <a:pt x="593" y="639"/>
                </a:lnTo>
                <a:lnTo>
                  <a:pt x="592" y="639"/>
                </a:lnTo>
                <a:lnTo>
                  <a:pt x="591" y="640"/>
                </a:lnTo>
                <a:lnTo>
                  <a:pt x="588" y="638"/>
                </a:lnTo>
                <a:lnTo>
                  <a:pt x="586" y="637"/>
                </a:lnTo>
                <a:lnTo>
                  <a:pt x="585" y="637"/>
                </a:lnTo>
                <a:lnTo>
                  <a:pt x="585" y="637"/>
                </a:lnTo>
                <a:lnTo>
                  <a:pt x="586" y="641"/>
                </a:lnTo>
                <a:lnTo>
                  <a:pt x="587" y="645"/>
                </a:lnTo>
                <a:close/>
                <a:moveTo>
                  <a:pt x="579" y="573"/>
                </a:moveTo>
                <a:lnTo>
                  <a:pt x="577" y="565"/>
                </a:lnTo>
                <a:lnTo>
                  <a:pt x="577" y="558"/>
                </a:lnTo>
                <a:lnTo>
                  <a:pt x="577" y="551"/>
                </a:lnTo>
                <a:lnTo>
                  <a:pt x="579" y="544"/>
                </a:lnTo>
                <a:lnTo>
                  <a:pt x="579" y="558"/>
                </a:lnTo>
                <a:lnTo>
                  <a:pt x="579" y="573"/>
                </a:lnTo>
                <a:close/>
                <a:moveTo>
                  <a:pt x="577" y="633"/>
                </a:moveTo>
                <a:lnTo>
                  <a:pt x="574" y="638"/>
                </a:lnTo>
                <a:lnTo>
                  <a:pt x="573" y="644"/>
                </a:lnTo>
                <a:lnTo>
                  <a:pt x="571" y="641"/>
                </a:lnTo>
                <a:lnTo>
                  <a:pt x="570" y="637"/>
                </a:lnTo>
                <a:lnTo>
                  <a:pt x="570" y="630"/>
                </a:lnTo>
                <a:lnTo>
                  <a:pt x="571" y="618"/>
                </a:lnTo>
                <a:lnTo>
                  <a:pt x="573" y="619"/>
                </a:lnTo>
                <a:lnTo>
                  <a:pt x="577" y="620"/>
                </a:lnTo>
                <a:lnTo>
                  <a:pt x="578" y="622"/>
                </a:lnTo>
                <a:lnTo>
                  <a:pt x="579" y="624"/>
                </a:lnTo>
                <a:lnTo>
                  <a:pt x="579" y="625"/>
                </a:lnTo>
                <a:lnTo>
                  <a:pt x="579" y="627"/>
                </a:lnTo>
                <a:lnTo>
                  <a:pt x="578" y="631"/>
                </a:lnTo>
                <a:lnTo>
                  <a:pt x="577" y="633"/>
                </a:lnTo>
                <a:close/>
                <a:moveTo>
                  <a:pt x="566" y="533"/>
                </a:moveTo>
                <a:lnTo>
                  <a:pt x="569" y="536"/>
                </a:lnTo>
                <a:lnTo>
                  <a:pt x="570" y="540"/>
                </a:lnTo>
                <a:lnTo>
                  <a:pt x="570" y="543"/>
                </a:lnTo>
                <a:lnTo>
                  <a:pt x="570" y="547"/>
                </a:lnTo>
                <a:lnTo>
                  <a:pt x="570" y="555"/>
                </a:lnTo>
                <a:lnTo>
                  <a:pt x="569" y="563"/>
                </a:lnTo>
                <a:lnTo>
                  <a:pt x="566" y="555"/>
                </a:lnTo>
                <a:lnTo>
                  <a:pt x="565" y="548"/>
                </a:lnTo>
                <a:lnTo>
                  <a:pt x="566" y="540"/>
                </a:lnTo>
                <a:lnTo>
                  <a:pt x="566" y="533"/>
                </a:lnTo>
                <a:close/>
                <a:moveTo>
                  <a:pt x="567" y="629"/>
                </a:moveTo>
                <a:lnTo>
                  <a:pt x="563" y="626"/>
                </a:lnTo>
                <a:lnTo>
                  <a:pt x="559" y="623"/>
                </a:lnTo>
                <a:lnTo>
                  <a:pt x="557" y="619"/>
                </a:lnTo>
                <a:lnTo>
                  <a:pt x="556" y="616"/>
                </a:lnTo>
                <a:lnTo>
                  <a:pt x="556" y="613"/>
                </a:lnTo>
                <a:lnTo>
                  <a:pt x="556" y="610"/>
                </a:lnTo>
                <a:lnTo>
                  <a:pt x="557" y="606"/>
                </a:lnTo>
                <a:lnTo>
                  <a:pt x="559" y="604"/>
                </a:lnTo>
                <a:lnTo>
                  <a:pt x="559" y="612"/>
                </a:lnTo>
                <a:lnTo>
                  <a:pt x="560" y="622"/>
                </a:lnTo>
                <a:lnTo>
                  <a:pt x="562" y="622"/>
                </a:lnTo>
                <a:lnTo>
                  <a:pt x="563" y="622"/>
                </a:lnTo>
                <a:lnTo>
                  <a:pt x="563" y="611"/>
                </a:lnTo>
                <a:lnTo>
                  <a:pt x="563" y="599"/>
                </a:lnTo>
                <a:lnTo>
                  <a:pt x="564" y="599"/>
                </a:lnTo>
                <a:lnTo>
                  <a:pt x="565" y="599"/>
                </a:lnTo>
                <a:lnTo>
                  <a:pt x="567" y="613"/>
                </a:lnTo>
                <a:lnTo>
                  <a:pt x="567" y="629"/>
                </a:lnTo>
                <a:close/>
                <a:moveTo>
                  <a:pt x="551" y="544"/>
                </a:moveTo>
                <a:lnTo>
                  <a:pt x="552" y="537"/>
                </a:lnTo>
                <a:lnTo>
                  <a:pt x="552" y="532"/>
                </a:lnTo>
                <a:lnTo>
                  <a:pt x="552" y="527"/>
                </a:lnTo>
                <a:lnTo>
                  <a:pt x="552" y="522"/>
                </a:lnTo>
                <a:lnTo>
                  <a:pt x="550" y="519"/>
                </a:lnTo>
                <a:lnTo>
                  <a:pt x="545" y="516"/>
                </a:lnTo>
                <a:lnTo>
                  <a:pt x="546" y="515"/>
                </a:lnTo>
                <a:lnTo>
                  <a:pt x="547" y="513"/>
                </a:lnTo>
                <a:lnTo>
                  <a:pt x="556" y="521"/>
                </a:lnTo>
                <a:lnTo>
                  <a:pt x="564" y="528"/>
                </a:lnTo>
                <a:lnTo>
                  <a:pt x="563" y="529"/>
                </a:lnTo>
                <a:lnTo>
                  <a:pt x="562" y="529"/>
                </a:lnTo>
                <a:lnTo>
                  <a:pt x="559" y="528"/>
                </a:lnTo>
                <a:lnTo>
                  <a:pt x="556" y="526"/>
                </a:lnTo>
                <a:lnTo>
                  <a:pt x="556" y="537"/>
                </a:lnTo>
                <a:lnTo>
                  <a:pt x="556" y="548"/>
                </a:lnTo>
                <a:lnTo>
                  <a:pt x="555" y="549"/>
                </a:lnTo>
                <a:lnTo>
                  <a:pt x="553" y="549"/>
                </a:lnTo>
                <a:lnTo>
                  <a:pt x="552" y="547"/>
                </a:lnTo>
                <a:lnTo>
                  <a:pt x="551" y="544"/>
                </a:lnTo>
                <a:close/>
                <a:moveTo>
                  <a:pt x="543" y="540"/>
                </a:moveTo>
                <a:lnTo>
                  <a:pt x="539" y="528"/>
                </a:lnTo>
                <a:lnTo>
                  <a:pt x="537" y="515"/>
                </a:lnTo>
                <a:lnTo>
                  <a:pt x="535" y="521"/>
                </a:lnTo>
                <a:lnTo>
                  <a:pt x="532" y="527"/>
                </a:lnTo>
                <a:lnTo>
                  <a:pt x="531" y="527"/>
                </a:lnTo>
                <a:lnTo>
                  <a:pt x="530" y="526"/>
                </a:lnTo>
                <a:lnTo>
                  <a:pt x="533" y="516"/>
                </a:lnTo>
                <a:lnTo>
                  <a:pt x="537" y="506"/>
                </a:lnTo>
                <a:lnTo>
                  <a:pt x="538" y="506"/>
                </a:lnTo>
                <a:lnTo>
                  <a:pt x="539" y="506"/>
                </a:lnTo>
                <a:lnTo>
                  <a:pt x="543" y="522"/>
                </a:lnTo>
                <a:lnTo>
                  <a:pt x="546" y="539"/>
                </a:lnTo>
                <a:lnTo>
                  <a:pt x="545" y="539"/>
                </a:lnTo>
                <a:lnTo>
                  <a:pt x="543" y="540"/>
                </a:lnTo>
                <a:close/>
                <a:moveTo>
                  <a:pt x="542" y="606"/>
                </a:moveTo>
                <a:lnTo>
                  <a:pt x="540" y="606"/>
                </a:lnTo>
                <a:lnTo>
                  <a:pt x="539" y="606"/>
                </a:lnTo>
                <a:lnTo>
                  <a:pt x="539" y="596"/>
                </a:lnTo>
                <a:lnTo>
                  <a:pt x="539" y="587"/>
                </a:lnTo>
                <a:lnTo>
                  <a:pt x="542" y="588"/>
                </a:lnTo>
                <a:lnTo>
                  <a:pt x="543" y="589"/>
                </a:lnTo>
                <a:lnTo>
                  <a:pt x="543" y="591"/>
                </a:lnTo>
                <a:lnTo>
                  <a:pt x="542" y="595"/>
                </a:lnTo>
                <a:lnTo>
                  <a:pt x="542" y="601"/>
                </a:lnTo>
                <a:lnTo>
                  <a:pt x="542" y="606"/>
                </a:lnTo>
                <a:close/>
                <a:moveTo>
                  <a:pt x="523" y="583"/>
                </a:moveTo>
                <a:lnTo>
                  <a:pt x="523" y="571"/>
                </a:lnTo>
                <a:lnTo>
                  <a:pt x="523" y="561"/>
                </a:lnTo>
                <a:lnTo>
                  <a:pt x="525" y="562"/>
                </a:lnTo>
                <a:lnTo>
                  <a:pt x="529" y="564"/>
                </a:lnTo>
                <a:lnTo>
                  <a:pt x="531" y="567"/>
                </a:lnTo>
                <a:lnTo>
                  <a:pt x="533" y="569"/>
                </a:lnTo>
                <a:lnTo>
                  <a:pt x="535" y="576"/>
                </a:lnTo>
                <a:lnTo>
                  <a:pt x="535" y="583"/>
                </a:lnTo>
                <a:lnTo>
                  <a:pt x="535" y="590"/>
                </a:lnTo>
                <a:lnTo>
                  <a:pt x="536" y="598"/>
                </a:lnTo>
                <a:lnTo>
                  <a:pt x="530" y="596"/>
                </a:lnTo>
                <a:lnTo>
                  <a:pt x="525" y="592"/>
                </a:lnTo>
                <a:lnTo>
                  <a:pt x="523" y="589"/>
                </a:lnTo>
                <a:lnTo>
                  <a:pt x="523" y="583"/>
                </a:lnTo>
                <a:close/>
                <a:moveTo>
                  <a:pt x="517" y="486"/>
                </a:moveTo>
                <a:lnTo>
                  <a:pt x="522" y="488"/>
                </a:lnTo>
                <a:lnTo>
                  <a:pt x="524" y="491"/>
                </a:lnTo>
                <a:lnTo>
                  <a:pt x="528" y="493"/>
                </a:lnTo>
                <a:lnTo>
                  <a:pt x="529" y="495"/>
                </a:lnTo>
                <a:lnTo>
                  <a:pt x="530" y="499"/>
                </a:lnTo>
                <a:lnTo>
                  <a:pt x="531" y="502"/>
                </a:lnTo>
                <a:lnTo>
                  <a:pt x="531" y="506"/>
                </a:lnTo>
                <a:lnTo>
                  <a:pt x="530" y="509"/>
                </a:lnTo>
                <a:lnTo>
                  <a:pt x="526" y="509"/>
                </a:lnTo>
                <a:lnTo>
                  <a:pt x="522" y="507"/>
                </a:lnTo>
                <a:lnTo>
                  <a:pt x="523" y="513"/>
                </a:lnTo>
                <a:lnTo>
                  <a:pt x="523" y="518"/>
                </a:lnTo>
                <a:lnTo>
                  <a:pt x="521" y="514"/>
                </a:lnTo>
                <a:lnTo>
                  <a:pt x="519" y="511"/>
                </a:lnTo>
                <a:lnTo>
                  <a:pt x="518" y="506"/>
                </a:lnTo>
                <a:lnTo>
                  <a:pt x="518" y="502"/>
                </a:lnTo>
                <a:lnTo>
                  <a:pt x="518" y="494"/>
                </a:lnTo>
                <a:lnTo>
                  <a:pt x="517" y="486"/>
                </a:lnTo>
                <a:close/>
                <a:moveTo>
                  <a:pt x="507" y="571"/>
                </a:moveTo>
                <a:lnTo>
                  <a:pt x="502" y="569"/>
                </a:lnTo>
                <a:lnTo>
                  <a:pt x="498" y="565"/>
                </a:lnTo>
                <a:lnTo>
                  <a:pt x="496" y="562"/>
                </a:lnTo>
                <a:lnTo>
                  <a:pt x="494" y="558"/>
                </a:lnTo>
                <a:lnTo>
                  <a:pt x="494" y="555"/>
                </a:lnTo>
                <a:lnTo>
                  <a:pt x="494" y="553"/>
                </a:lnTo>
                <a:lnTo>
                  <a:pt x="495" y="549"/>
                </a:lnTo>
                <a:lnTo>
                  <a:pt x="497" y="547"/>
                </a:lnTo>
                <a:lnTo>
                  <a:pt x="498" y="555"/>
                </a:lnTo>
                <a:lnTo>
                  <a:pt x="498" y="564"/>
                </a:lnTo>
                <a:lnTo>
                  <a:pt x="500" y="564"/>
                </a:lnTo>
                <a:lnTo>
                  <a:pt x="502" y="564"/>
                </a:lnTo>
                <a:lnTo>
                  <a:pt x="502" y="553"/>
                </a:lnTo>
                <a:lnTo>
                  <a:pt x="502" y="542"/>
                </a:lnTo>
                <a:lnTo>
                  <a:pt x="503" y="543"/>
                </a:lnTo>
                <a:lnTo>
                  <a:pt x="505" y="544"/>
                </a:lnTo>
                <a:lnTo>
                  <a:pt x="507" y="547"/>
                </a:lnTo>
                <a:lnTo>
                  <a:pt x="507" y="549"/>
                </a:lnTo>
                <a:lnTo>
                  <a:pt x="507" y="557"/>
                </a:lnTo>
                <a:lnTo>
                  <a:pt x="507" y="571"/>
                </a:lnTo>
                <a:close/>
                <a:moveTo>
                  <a:pt x="488" y="555"/>
                </a:moveTo>
                <a:lnTo>
                  <a:pt x="487" y="555"/>
                </a:lnTo>
                <a:lnTo>
                  <a:pt x="487" y="555"/>
                </a:lnTo>
                <a:lnTo>
                  <a:pt x="487" y="546"/>
                </a:lnTo>
                <a:lnTo>
                  <a:pt x="487" y="534"/>
                </a:lnTo>
                <a:lnTo>
                  <a:pt x="490" y="537"/>
                </a:lnTo>
                <a:lnTo>
                  <a:pt x="495" y="541"/>
                </a:lnTo>
                <a:lnTo>
                  <a:pt x="493" y="541"/>
                </a:lnTo>
                <a:lnTo>
                  <a:pt x="491" y="541"/>
                </a:lnTo>
                <a:lnTo>
                  <a:pt x="490" y="548"/>
                </a:lnTo>
                <a:lnTo>
                  <a:pt x="488" y="555"/>
                </a:lnTo>
                <a:close/>
                <a:moveTo>
                  <a:pt x="482" y="546"/>
                </a:moveTo>
                <a:lnTo>
                  <a:pt x="481" y="547"/>
                </a:lnTo>
                <a:lnTo>
                  <a:pt x="479" y="548"/>
                </a:lnTo>
                <a:lnTo>
                  <a:pt x="477" y="547"/>
                </a:lnTo>
                <a:lnTo>
                  <a:pt x="477" y="546"/>
                </a:lnTo>
                <a:lnTo>
                  <a:pt x="479" y="536"/>
                </a:lnTo>
                <a:lnTo>
                  <a:pt x="480" y="528"/>
                </a:lnTo>
                <a:lnTo>
                  <a:pt x="482" y="532"/>
                </a:lnTo>
                <a:lnTo>
                  <a:pt x="483" y="536"/>
                </a:lnTo>
                <a:lnTo>
                  <a:pt x="482" y="541"/>
                </a:lnTo>
                <a:lnTo>
                  <a:pt x="482" y="546"/>
                </a:lnTo>
                <a:close/>
                <a:moveTo>
                  <a:pt x="471" y="515"/>
                </a:moveTo>
                <a:lnTo>
                  <a:pt x="470" y="512"/>
                </a:lnTo>
                <a:lnTo>
                  <a:pt x="469" y="508"/>
                </a:lnTo>
                <a:lnTo>
                  <a:pt x="468" y="509"/>
                </a:lnTo>
                <a:lnTo>
                  <a:pt x="468" y="511"/>
                </a:lnTo>
                <a:lnTo>
                  <a:pt x="467" y="522"/>
                </a:lnTo>
                <a:lnTo>
                  <a:pt x="466" y="534"/>
                </a:lnTo>
                <a:lnTo>
                  <a:pt x="464" y="534"/>
                </a:lnTo>
                <a:lnTo>
                  <a:pt x="464" y="534"/>
                </a:lnTo>
                <a:lnTo>
                  <a:pt x="464" y="520"/>
                </a:lnTo>
                <a:lnTo>
                  <a:pt x="464" y="506"/>
                </a:lnTo>
                <a:lnTo>
                  <a:pt x="466" y="506"/>
                </a:lnTo>
                <a:lnTo>
                  <a:pt x="467" y="505"/>
                </a:lnTo>
                <a:lnTo>
                  <a:pt x="470" y="509"/>
                </a:lnTo>
                <a:lnTo>
                  <a:pt x="474" y="513"/>
                </a:lnTo>
                <a:lnTo>
                  <a:pt x="473" y="514"/>
                </a:lnTo>
                <a:lnTo>
                  <a:pt x="471" y="515"/>
                </a:lnTo>
                <a:close/>
                <a:moveTo>
                  <a:pt x="462" y="445"/>
                </a:moveTo>
                <a:lnTo>
                  <a:pt x="460" y="450"/>
                </a:lnTo>
                <a:lnTo>
                  <a:pt x="456" y="456"/>
                </a:lnTo>
                <a:lnTo>
                  <a:pt x="454" y="445"/>
                </a:lnTo>
                <a:lnTo>
                  <a:pt x="452" y="436"/>
                </a:lnTo>
                <a:lnTo>
                  <a:pt x="452" y="436"/>
                </a:lnTo>
                <a:lnTo>
                  <a:pt x="450" y="436"/>
                </a:lnTo>
                <a:lnTo>
                  <a:pt x="450" y="442"/>
                </a:lnTo>
                <a:lnTo>
                  <a:pt x="449" y="448"/>
                </a:lnTo>
                <a:lnTo>
                  <a:pt x="449" y="448"/>
                </a:lnTo>
                <a:lnTo>
                  <a:pt x="448" y="446"/>
                </a:lnTo>
                <a:lnTo>
                  <a:pt x="448" y="432"/>
                </a:lnTo>
                <a:lnTo>
                  <a:pt x="448" y="416"/>
                </a:lnTo>
                <a:lnTo>
                  <a:pt x="453" y="423"/>
                </a:lnTo>
                <a:lnTo>
                  <a:pt x="455" y="430"/>
                </a:lnTo>
                <a:lnTo>
                  <a:pt x="456" y="437"/>
                </a:lnTo>
                <a:lnTo>
                  <a:pt x="459" y="444"/>
                </a:lnTo>
                <a:lnTo>
                  <a:pt x="462" y="438"/>
                </a:lnTo>
                <a:lnTo>
                  <a:pt x="464" y="434"/>
                </a:lnTo>
                <a:lnTo>
                  <a:pt x="466" y="434"/>
                </a:lnTo>
                <a:lnTo>
                  <a:pt x="467" y="434"/>
                </a:lnTo>
                <a:lnTo>
                  <a:pt x="468" y="449"/>
                </a:lnTo>
                <a:lnTo>
                  <a:pt x="468" y="465"/>
                </a:lnTo>
                <a:lnTo>
                  <a:pt x="466" y="463"/>
                </a:lnTo>
                <a:lnTo>
                  <a:pt x="463" y="460"/>
                </a:lnTo>
                <a:lnTo>
                  <a:pt x="463" y="458"/>
                </a:lnTo>
                <a:lnTo>
                  <a:pt x="463" y="456"/>
                </a:lnTo>
                <a:lnTo>
                  <a:pt x="463" y="450"/>
                </a:lnTo>
                <a:lnTo>
                  <a:pt x="462" y="445"/>
                </a:lnTo>
                <a:close/>
                <a:moveTo>
                  <a:pt x="457" y="508"/>
                </a:moveTo>
                <a:lnTo>
                  <a:pt x="455" y="516"/>
                </a:lnTo>
                <a:lnTo>
                  <a:pt x="454" y="523"/>
                </a:lnTo>
                <a:lnTo>
                  <a:pt x="453" y="523"/>
                </a:lnTo>
                <a:lnTo>
                  <a:pt x="452" y="523"/>
                </a:lnTo>
                <a:lnTo>
                  <a:pt x="452" y="513"/>
                </a:lnTo>
                <a:lnTo>
                  <a:pt x="450" y="501"/>
                </a:lnTo>
                <a:lnTo>
                  <a:pt x="456" y="505"/>
                </a:lnTo>
                <a:lnTo>
                  <a:pt x="460" y="508"/>
                </a:lnTo>
                <a:lnTo>
                  <a:pt x="459" y="508"/>
                </a:lnTo>
                <a:lnTo>
                  <a:pt x="457" y="508"/>
                </a:lnTo>
                <a:close/>
                <a:moveTo>
                  <a:pt x="447" y="515"/>
                </a:moveTo>
                <a:lnTo>
                  <a:pt x="443" y="514"/>
                </a:lnTo>
                <a:lnTo>
                  <a:pt x="441" y="513"/>
                </a:lnTo>
                <a:lnTo>
                  <a:pt x="439" y="504"/>
                </a:lnTo>
                <a:lnTo>
                  <a:pt x="436" y="495"/>
                </a:lnTo>
                <a:lnTo>
                  <a:pt x="438" y="493"/>
                </a:lnTo>
                <a:lnTo>
                  <a:pt x="440" y="491"/>
                </a:lnTo>
                <a:lnTo>
                  <a:pt x="442" y="492"/>
                </a:lnTo>
                <a:lnTo>
                  <a:pt x="445" y="493"/>
                </a:lnTo>
                <a:lnTo>
                  <a:pt x="447" y="498"/>
                </a:lnTo>
                <a:lnTo>
                  <a:pt x="449" y="504"/>
                </a:lnTo>
                <a:lnTo>
                  <a:pt x="448" y="504"/>
                </a:lnTo>
                <a:lnTo>
                  <a:pt x="447" y="505"/>
                </a:lnTo>
                <a:lnTo>
                  <a:pt x="443" y="502"/>
                </a:lnTo>
                <a:lnTo>
                  <a:pt x="440" y="500"/>
                </a:lnTo>
                <a:lnTo>
                  <a:pt x="440" y="501"/>
                </a:lnTo>
                <a:lnTo>
                  <a:pt x="439" y="501"/>
                </a:lnTo>
                <a:lnTo>
                  <a:pt x="442" y="508"/>
                </a:lnTo>
                <a:lnTo>
                  <a:pt x="447" y="515"/>
                </a:lnTo>
                <a:close/>
                <a:moveTo>
                  <a:pt x="432" y="403"/>
                </a:moveTo>
                <a:lnTo>
                  <a:pt x="433" y="403"/>
                </a:lnTo>
                <a:lnTo>
                  <a:pt x="434" y="403"/>
                </a:lnTo>
                <a:lnTo>
                  <a:pt x="438" y="421"/>
                </a:lnTo>
                <a:lnTo>
                  <a:pt x="441" y="438"/>
                </a:lnTo>
                <a:lnTo>
                  <a:pt x="440" y="438"/>
                </a:lnTo>
                <a:lnTo>
                  <a:pt x="440" y="439"/>
                </a:lnTo>
                <a:lnTo>
                  <a:pt x="438" y="437"/>
                </a:lnTo>
                <a:lnTo>
                  <a:pt x="436" y="434"/>
                </a:lnTo>
                <a:lnTo>
                  <a:pt x="435" y="427"/>
                </a:lnTo>
                <a:lnTo>
                  <a:pt x="432" y="418"/>
                </a:lnTo>
                <a:lnTo>
                  <a:pt x="431" y="415"/>
                </a:lnTo>
                <a:lnTo>
                  <a:pt x="431" y="411"/>
                </a:lnTo>
                <a:lnTo>
                  <a:pt x="431" y="408"/>
                </a:lnTo>
                <a:lnTo>
                  <a:pt x="432" y="403"/>
                </a:lnTo>
                <a:close/>
                <a:moveTo>
                  <a:pt x="424" y="479"/>
                </a:moveTo>
                <a:lnTo>
                  <a:pt x="426" y="479"/>
                </a:lnTo>
                <a:lnTo>
                  <a:pt x="427" y="478"/>
                </a:lnTo>
                <a:lnTo>
                  <a:pt x="428" y="481"/>
                </a:lnTo>
                <a:lnTo>
                  <a:pt x="429" y="485"/>
                </a:lnTo>
                <a:lnTo>
                  <a:pt x="431" y="494"/>
                </a:lnTo>
                <a:lnTo>
                  <a:pt x="432" y="504"/>
                </a:lnTo>
                <a:lnTo>
                  <a:pt x="428" y="501"/>
                </a:lnTo>
                <a:lnTo>
                  <a:pt x="426" y="499"/>
                </a:lnTo>
                <a:lnTo>
                  <a:pt x="424" y="497"/>
                </a:lnTo>
                <a:lnTo>
                  <a:pt x="424" y="493"/>
                </a:lnTo>
                <a:lnTo>
                  <a:pt x="424" y="486"/>
                </a:lnTo>
                <a:lnTo>
                  <a:pt x="424" y="479"/>
                </a:lnTo>
                <a:close/>
                <a:moveTo>
                  <a:pt x="417" y="491"/>
                </a:moveTo>
                <a:lnTo>
                  <a:pt x="417" y="479"/>
                </a:lnTo>
                <a:lnTo>
                  <a:pt x="415" y="469"/>
                </a:lnTo>
                <a:lnTo>
                  <a:pt x="414" y="469"/>
                </a:lnTo>
                <a:lnTo>
                  <a:pt x="412" y="469"/>
                </a:lnTo>
                <a:lnTo>
                  <a:pt x="412" y="476"/>
                </a:lnTo>
                <a:lnTo>
                  <a:pt x="411" y="483"/>
                </a:lnTo>
                <a:lnTo>
                  <a:pt x="410" y="483"/>
                </a:lnTo>
                <a:lnTo>
                  <a:pt x="408" y="483"/>
                </a:lnTo>
                <a:lnTo>
                  <a:pt x="408" y="478"/>
                </a:lnTo>
                <a:lnTo>
                  <a:pt x="408" y="473"/>
                </a:lnTo>
                <a:lnTo>
                  <a:pt x="408" y="467"/>
                </a:lnTo>
                <a:lnTo>
                  <a:pt x="408" y="463"/>
                </a:lnTo>
                <a:lnTo>
                  <a:pt x="412" y="464"/>
                </a:lnTo>
                <a:lnTo>
                  <a:pt x="415" y="466"/>
                </a:lnTo>
                <a:lnTo>
                  <a:pt x="418" y="469"/>
                </a:lnTo>
                <a:lnTo>
                  <a:pt x="419" y="472"/>
                </a:lnTo>
                <a:lnTo>
                  <a:pt x="419" y="476"/>
                </a:lnTo>
                <a:lnTo>
                  <a:pt x="419" y="479"/>
                </a:lnTo>
                <a:lnTo>
                  <a:pt x="419" y="485"/>
                </a:lnTo>
                <a:lnTo>
                  <a:pt x="417" y="491"/>
                </a:lnTo>
                <a:close/>
                <a:moveTo>
                  <a:pt x="406" y="404"/>
                </a:moveTo>
                <a:lnTo>
                  <a:pt x="404" y="403"/>
                </a:lnTo>
                <a:lnTo>
                  <a:pt x="402" y="401"/>
                </a:lnTo>
                <a:lnTo>
                  <a:pt x="401" y="397"/>
                </a:lnTo>
                <a:lnTo>
                  <a:pt x="401" y="394"/>
                </a:lnTo>
                <a:lnTo>
                  <a:pt x="401" y="385"/>
                </a:lnTo>
                <a:lnTo>
                  <a:pt x="402" y="372"/>
                </a:lnTo>
                <a:lnTo>
                  <a:pt x="406" y="379"/>
                </a:lnTo>
                <a:lnTo>
                  <a:pt x="406" y="386"/>
                </a:lnTo>
                <a:lnTo>
                  <a:pt x="406" y="389"/>
                </a:lnTo>
                <a:lnTo>
                  <a:pt x="407" y="392"/>
                </a:lnTo>
                <a:lnTo>
                  <a:pt x="410" y="394"/>
                </a:lnTo>
                <a:lnTo>
                  <a:pt x="414" y="396"/>
                </a:lnTo>
                <a:lnTo>
                  <a:pt x="414" y="390"/>
                </a:lnTo>
                <a:lnTo>
                  <a:pt x="414" y="386"/>
                </a:lnTo>
                <a:lnTo>
                  <a:pt x="415" y="385"/>
                </a:lnTo>
                <a:lnTo>
                  <a:pt x="417" y="385"/>
                </a:lnTo>
                <a:lnTo>
                  <a:pt x="418" y="389"/>
                </a:lnTo>
                <a:lnTo>
                  <a:pt x="419" y="394"/>
                </a:lnTo>
                <a:lnTo>
                  <a:pt x="419" y="400"/>
                </a:lnTo>
                <a:lnTo>
                  <a:pt x="419" y="406"/>
                </a:lnTo>
                <a:lnTo>
                  <a:pt x="418" y="411"/>
                </a:lnTo>
                <a:lnTo>
                  <a:pt x="417" y="417"/>
                </a:lnTo>
                <a:lnTo>
                  <a:pt x="414" y="414"/>
                </a:lnTo>
                <a:lnTo>
                  <a:pt x="414" y="411"/>
                </a:lnTo>
                <a:lnTo>
                  <a:pt x="414" y="406"/>
                </a:lnTo>
                <a:lnTo>
                  <a:pt x="413" y="401"/>
                </a:lnTo>
                <a:lnTo>
                  <a:pt x="411" y="397"/>
                </a:lnTo>
                <a:lnTo>
                  <a:pt x="406" y="394"/>
                </a:lnTo>
                <a:lnTo>
                  <a:pt x="406" y="400"/>
                </a:lnTo>
                <a:lnTo>
                  <a:pt x="406" y="404"/>
                </a:lnTo>
                <a:close/>
                <a:moveTo>
                  <a:pt x="402" y="477"/>
                </a:moveTo>
                <a:lnTo>
                  <a:pt x="395" y="466"/>
                </a:lnTo>
                <a:lnTo>
                  <a:pt x="392" y="460"/>
                </a:lnTo>
                <a:lnTo>
                  <a:pt x="391" y="453"/>
                </a:lnTo>
                <a:lnTo>
                  <a:pt x="393" y="445"/>
                </a:lnTo>
                <a:lnTo>
                  <a:pt x="395" y="451"/>
                </a:lnTo>
                <a:lnTo>
                  <a:pt x="394" y="458"/>
                </a:lnTo>
                <a:lnTo>
                  <a:pt x="394" y="460"/>
                </a:lnTo>
                <a:lnTo>
                  <a:pt x="395" y="464"/>
                </a:lnTo>
                <a:lnTo>
                  <a:pt x="397" y="467"/>
                </a:lnTo>
                <a:lnTo>
                  <a:pt x="399" y="470"/>
                </a:lnTo>
                <a:lnTo>
                  <a:pt x="399" y="462"/>
                </a:lnTo>
                <a:lnTo>
                  <a:pt x="400" y="453"/>
                </a:lnTo>
                <a:lnTo>
                  <a:pt x="401" y="456"/>
                </a:lnTo>
                <a:lnTo>
                  <a:pt x="402" y="458"/>
                </a:lnTo>
                <a:lnTo>
                  <a:pt x="402" y="465"/>
                </a:lnTo>
                <a:lnTo>
                  <a:pt x="402" y="477"/>
                </a:lnTo>
                <a:close/>
                <a:moveTo>
                  <a:pt x="391" y="390"/>
                </a:moveTo>
                <a:lnTo>
                  <a:pt x="390" y="390"/>
                </a:lnTo>
                <a:lnTo>
                  <a:pt x="388" y="390"/>
                </a:lnTo>
                <a:lnTo>
                  <a:pt x="386" y="387"/>
                </a:lnTo>
                <a:lnTo>
                  <a:pt x="385" y="383"/>
                </a:lnTo>
                <a:lnTo>
                  <a:pt x="385" y="376"/>
                </a:lnTo>
                <a:lnTo>
                  <a:pt x="386" y="369"/>
                </a:lnTo>
                <a:lnTo>
                  <a:pt x="386" y="366"/>
                </a:lnTo>
                <a:lnTo>
                  <a:pt x="386" y="362"/>
                </a:lnTo>
                <a:lnTo>
                  <a:pt x="384" y="359"/>
                </a:lnTo>
                <a:lnTo>
                  <a:pt x="380" y="357"/>
                </a:lnTo>
                <a:lnTo>
                  <a:pt x="380" y="354"/>
                </a:lnTo>
                <a:lnTo>
                  <a:pt x="380" y="351"/>
                </a:lnTo>
                <a:lnTo>
                  <a:pt x="387" y="358"/>
                </a:lnTo>
                <a:lnTo>
                  <a:pt x="393" y="365"/>
                </a:lnTo>
                <a:lnTo>
                  <a:pt x="392" y="366"/>
                </a:lnTo>
                <a:lnTo>
                  <a:pt x="391" y="367"/>
                </a:lnTo>
                <a:lnTo>
                  <a:pt x="391" y="379"/>
                </a:lnTo>
                <a:lnTo>
                  <a:pt x="391" y="390"/>
                </a:lnTo>
                <a:close/>
                <a:moveTo>
                  <a:pt x="387" y="443"/>
                </a:moveTo>
                <a:lnTo>
                  <a:pt x="386" y="452"/>
                </a:lnTo>
                <a:lnTo>
                  <a:pt x="384" y="462"/>
                </a:lnTo>
                <a:lnTo>
                  <a:pt x="383" y="457"/>
                </a:lnTo>
                <a:lnTo>
                  <a:pt x="383" y="453"/>
                </a:lnTo>
                <a:lnTo>
                  <a:pt x="383" y="448"/>
                </a:lnTo>
                <a:lnTo>
                  <a:pt x="381" y="444"/>
                </a:lnTo>
                <a:lnTo>
                  <a:pt x="378" y="441"/>
                </a:lnTo>
                <a:lnTo>
                  <a:pt x="373" y="437"/>
                </a:lnTo>
                <a:lnTo>
                  <a:pt x="374" y="444"/>
                </a:lnTo>
                <a:lnTo>
                  <a:pt x="374" y="449"/>
                </a:lnTo>
                <a:lnTo>
                  <a:pt x="372" y="448"/>
                </a:lnTo>
                <a:lnTo>
                  <a:pt x="371" y="446"/>
                </a:lnTo>
                <a:lnTo>
                  <a:pt x="371" y="443"/>
                </a:lnTo>
                <a:lnTo>
                  <a:pt x="370" y="439"/>
                </a:lnTo>
                <a:lnTo>
                  <a:pt x="370" y="430"/>
                </a:lnTo>
                <a:lnTo>
                  <a:pt x="371" y="416"/>
                </a:lnTo>
                <a:lnTo>
                  <a:pt x="373" y="418"/>
                </a:lnTo>
                <a:lnTo>
                  <a:pt x="374" y="422"/>
                </a:lnTo>
                <a:lnTo>
                  <a:pt x="376" y="425"/>
                </a:lnTo>
                <a:lnTo>
                  <a:pt x="374" y="429"/>
                </a:lnTo>
                <a:lnTo>
                  <a:pt x="374" y="432"/>
                </a:lnTo>
                <a:lnTo>
                  <a:pt x="376" y="435"/>
                </a:lnTo>
                <a:lnTo>
                  <a:pt x="378" y="437"/>
                </a:lnTo>
                <a:lnTo>
                  <a:pt x="383" y="438"/>
                </a:lnTo>
                <a:lnTo>
                  <a:pt x="383" y="434"/>
                </a:lnTo>
                <a:lnTo>
                  <a:pt x="384" y="429"/>
                </a:lnTo>
                <a:lnTo>
                  <a:pt x="386" y="431"/>
                </a:lnTo>
                <a:lnTo>
                  <a:pt x="387" y="432"/>
                </a:lnTo>
                <a:lnTo>
                  <a:pt x="388" y="437"/>
                </a:lnTo>
                <a:lnTo>
                  <a:pt x="387" y="443"/>
                </a:lnTo>
                <a:close/>
                <a:moveTo>
                  <a:pt x="399" y="369"/>
                </a:moveTo>
                <a:lnTo>
                  <a:pt x="397" y="371"/>
                </a:lnTo>
                <a:lnTo>
                  <a:pt x="395" y="372"/>
                </a:lnTo>
                <a:lnTo>
                  <a:pt x="395" y="368"/>
                </a:lnTo>
                <a:lnTo>
                  <a:pt x="394" y="365"/>
                </a:lnTo>
                <a:lnTo>
                  <a:pt x="397" y="367"/>
                </a:lnTo>
                <a:lnTo>
                  <a:pt x="399" y="369"/>
                </a:lnTo>
                <a:close/>
                <a:moveTo>
                  <a:pt x="475" y="441"/>
                </a:moveTo>
                <a:lnTo>
                  <a:pt x="481" y="449"/>
                </a:lnTo>
                <a:lnTo>
                  <a:pt x="487" y="457"/>
                </a:lnTo>
                <a:lnTo>
                  <a:pt x="482" y="453"/>
                </a:lnTo>
                <a:lnTo>
                  <a:pt x="477" y="449"/>
                </a:lnTo>
                <a:lnTo>
                  <a:pt x="477" y="460"/>
                </a:lnTo>
                <a:lnTo>
                  <a:pt x="477" y="470"/>
                </a:lnTo>
                <a:lnTo>
                  <a:pt x="479" y="473"/>
                </a:lnTo>
                <a:lnTo>
                  <a:pt x="481" y="476"/>
                </a:lnTo>
                <a:lnTo>
                  <a:pt x="484" y="479"/>
                </a:lnTo>
                <a:lnTo>
                  <a:pt x="489" y="483"/>
                </a:lnTo>
                <a:lnTo>
                  <a:pt x="482" y="479"/>
                </a:lnTo>
                <a:lnTo>
                  <a:pt x="476" y="474"/>
                </a:lnTo>
                <a:lnTo>
                  <a:pt x="474" y="470"/>
                </a:lnTo>
                <a:lnTo>
                  <a:pt x="474" y="464"/>
                </a:lnTo>
                <a:lnTo>
                  <a:pt x="474" y="453"/>
                </a:lnTo>
                <a:lnTo>
                  <a:pt x="475" y="441"/>
                </a:lnTo>
                <a:close/>
                <a:moveTo>
                  <a:pt x="491" y="462"/>
                </a:moveTo>
                <a:lnTo>
                  <a:pt x="495" y="462"/>
                </a:lnTo>
                <a:lnTo>
                  <a:pt x="496" y="463"/>
                </a:lnTo>
                <a:lnTo>
                  <a:pt x="500" y="469"/>
                </a:lnTo>
                <a:lnTo>
                  <a:pt x="503" y="474"/>
                </a:lnTo>
                <a:lnTo>
                  <a:pt x="502" y="474"/>
                </a:lnTo>
                <a:lnTo>
                  <a:pt x="501" y="474"/>
                </a:lnTo>
                <a:lnTo>
                  <a:pt x="497" y="470"/>
                </a:lnTo>
                <a:lnTo>
                  <a:pt x="494" y="464"/>
                </a:lnTo>
                <a:lnTo>
                  <a:pt x="496" y="472"/>
                </a:lnTo>
                <a:lnTo>
                  <a:pt x="500" y="479"/>
                </a:lnTo>
                <a:lnTo>
                  <a:pt x="501" y="483"/>
                </a:lnTo>
                <a:lnTo>
                  <a:pt x="501" y="487"/>
                </a:lnTo>
                <a:lnTo>
                  <a:pt x="501" y="491"/>
                </a:lnTo>
                <a:lnTo>
                  <a:pt x="498" y="495"/>
                </a:lnTo>
                <a:lnTo>
                  <a:pt x="498" y="493"/>
                </a:lnTo>
                <a:lnTo>
                  <a:pt x="497" y="490"/>
                </a:lnTo>
                <a:lnTo>
                  <a:pt x="496" y="485"/>
                </a:lnTo>
                <a:lnTo>
                  <a:pt x="495" y="480"/>
                </a:lnTo>
                <a:lnTo>
                  <a:pt x="493" y="473"/>
                </a:lnTo>
                <a:lnTo>
                  <a:pt x="490" y="465"/>
                </a:lnTo>
                <a:lnTo>
                  <a:pt x="490" y="463"/>
                </a:lnTo>
                <a:lnTo>
                  <a:pt x="491" y="462"/>
                </a:lnTo>
                <a:close/>
                <a:moveTo>
                  <a:pt x="280" y="337"/>
                </a:moveTo>
                <a:lnTo>
                  <a:pt x="275" y="320"/>
                </a:lnTo>
                <a:lnTo>
                  <a:pt x="269" y="303"/>
                </a:lnTo>
                <a:lnTo>
                  <a:pt x="263" y="310"/>
                </a:lnTo>
                <a:lnTo>
                  <a:pt x="257" y="316"/>
                </a:lnTo>
                <a:lnTo>
                  <a:pt x="255" y="310"/>
                </a:lnTo>
                <a:lnTo>
                  <a:pt x="252" y="305"/>
                </a:lnTo>
                <a:lnTo>
                  <a:pt x="256" y="303"/>
                </a:lnTo>
                <a:lnTo>
                  <a:pt x="261" y="299"/>
                </a:lnTo>
                <a:lnTo>
                  <a:pt x="263" y="294"/>
                </a:lnTo>
                <a:lnTo>
                  <a:pt x="265" y="289"/>
                </a:lnTo>
                <a:lnTo>
                  <a:pt x="260" y="285"/>
                </a:lnTo>
                <a:lnTo>
                  <a:pt x="255" y="282"/>
                </a:lnTo>
                <a:lnTo>
                  <a:pt x="255" y="281"/>
                </a:lnTo>
                <a:lnTo>
                  <a:pt x="256" y="280"/>
                </a:lnTo>
                <a:lnTo>
                  <a:pt x="261" y="278"/>
                </a:lnTo>
                <a:lnTo>
                  <a:pt x="266" y="276"/>
                </a:lnTo>
                <a:lnTo>
                  <a:pt x="268" y="273"/>
                </a:lnTo>
                <a:lnTo>
                  <a:pt x="268" y="267"/>
                </a:lnTo>
                <a:lnTo>
                  <a:pt x="269" y="267"/>
                </a:lnTo>
                <a:lnTo>
                  <a:pt x="270" y="267"/>
                </a:lnTo>
                <a:lnTo>
                  <a:pt x="274" y="271"/>
                </a:lnTo>
                <a:lnTo>
                  <a:pt x="277" y="277"/>
                </a:lnTo>
                <a:lnTo>
                  <a:pt x="280" y="285"/>
                </a:lnTo>
                <a:lnTo>
                  <a:pt x="281" y="294"/>
                </a:lnTo>
                <a:lnTo>
                  <a:pt x="282" y="301"/>
                </a:lnTo>
                <a:lnTo>
                  <a:pt x="283" y="306"/>
                </a:lnTo>
                <a:lnTo>
                  <a:pt x="282" y="309"/>
                </a:lnTo>
                <a:lnTo>
                  <a:pt x="280" y="312"/>
                </a:lnTo>
                <a:lnTo>
                  <a:pt x="279" y="312"/>
                </a:lnTo>
                <a:lnTo>
                  <a:pt x="277" y="312"/>
                </a:lnTo>
                <a:lnTo>
                  <a:pt x="281" y="323"/>
                </a:lnTo>
                <a:lnTo>
                  <a:pt x="284" y="334"/>
                </a:lnTo>
                <a:lnTo>
                  <a:pt x="282" y="336"/>
                </a:lnTo>
                <a:lnTo>
                  <a:pt x="280" y="337"/>
                </a:lnTo>
                <a:close/>
                <a:moveTo>
                  <a:pt x="549" y="1098"/>
                </a:moveTo>
                <a:lnTo>
                  <a:pt x="547" y="1096"/>
                </a:lnTo>
                <a:lnTo>
                  <a:pt x="546" y="1094"/>
                </a:lnTo>
                <a:lnTo>
                  <a:pt x="558" y="1087"/>
                </a:lnTo>
                <a:lnTo>
                  <a:pt x="569" y="1079"/>
                </a:lnTo>
                <a:lnTo>
                  <a:pt x="580" y="1071"/>
                </a:lnTo>
                <a:lnTo>
                  <a:pt x="592" y="1064"/>
                </a:lnTo>
                <a:lnTo>
                  <a:pt x="593" y="1065"/>
                </a:lnTo>
                <a:lnTo>
                  <a:pt x="594" y="1067"/>
                </a:lnTo>
                <a:lnTo>
                  <a:pt x="583" y="1074"/>
                </a:lnTo>
                <a:lnTo>
                  <a:pt x="571" y="1082"/>
                </a:lnTo>
                <a:lnTo>
                  <a:pt x="560" y="1091"/>
                </a:lnTo>
                <a:lnTo>
                  <a:pt x="549" y="1098"/>
                </a:lnTo>
                <a:close/>
                <a:moveTo>
                  <a:pt x="463" y="1154"/>
                </a:moveTo>
                <a:lnTo>
                  <a:pt x="479" y="1143"/>
                </a:lnTo>
                <a:lnTo>
                  <a:pt x="494" y="1130"/>
                </a:lnTo>
                <a:lnTo>
                  <a:pt x="493" y="1134"/>
                </a:lnTo>
                <a:lnTo>
                  <a:pt x="490" y="1137"/>
                </a:lnTo>
                <a:lnTo>
                  <a:pt x="486" y="1141"/>
                </a:lnTo>
                <a:lnTo>
                  <a:pt x="482" y="1144"/>
                </a:lnTo>
                <a:lnTo>
                  <a:pt x="473" y="1150"/>
                </a:lnTo>
                <a:lnTo>
                  <a:pt x="463" y="1154"/>
                </a:lnTo>
                <a:close/>
                <a:moveTo>
                  <a:pt x="445" y="1169"/>
                </a:moveTo>
                <a:lnTo>
                  <a:pt x="443" y="1168"/>
                </a:lnTo>
                <a:lnTo>
                  <a:pt x="442" y="1166"/>
                </a:lnTo>
                <a:lnTo>
                  <a:pt x="453" y="1161"/>
                </a:lnTo>
                <a:lnTo>
                  <a:pt x="462" y="1155"/>
                </a:lnTo>
                <a:lnTo>
                  <a:pt x="459" y="1159"/>
                </a:lnTo>
                <a:lnTo>
                  <a:pt x="455" y="1163"/>
                </a:lnTo>
                <a:lnTo>
                  <a:pt x="449" y="1166"/>
                </a:lnTo>
                <a:lnTo>
                  <a:pt x="445" y="1169"/>
                </a:lnTo>
                <a:close/>
                <a:moveTo>
                  <a:pt x="371" y="1219"/>
                </a:moveTo>
                <a:lnTo>
                  <a:pt x="371" y="1218"/>
                </a:lnTo>
                <a:lnTo>
                  <a:pt x="370" y="1217"/>
                </a:lnTo>
                <a:lnTo>
                  <a:pt x="379" y="1211"/>
                </a:lnTo>
                <a:lnTo>
                  <a:pt x="387" y="1205"/>
                </a:lnTo>
                <a:lnTo>
                  <a:pt x="397" y="1198"/>
                </a:lnTo>
                <a:lnTo>
                  <a:pt x="405" y="1192"/>
                </a:lnTo>
                <a:lnTo>
                  <a:pt x="406" y="1193"/>
                </a:lnTo>
                <a:lnTo>
                  <a:pt x="407" y="1194"/>
                </a:lnTo>
                <a:lnTo>
                  <a:pt x="398" y="1201"/>
                </a:lnTo>
                <a:lnTo>
                  <a:pt x="390" y="1207"/>
                </a:lnTo>
                <a:lnTo>
                  <a:pt x="380" y="1213"/>
                </a:lnTo>
                <a:lnTo>
                  <a:pt x="371" y="1219"/>
                </a:lnTo>
                <a:close/>
                <a:moveTo>
                  <a:pt x="321" y="1184"/>
                </a:moveTo>
                <a:lnTo>
                  <a:pt x="316" y="1179"/>
                </a:lnTo>
                <a:lnTo>
                  <a:pt x="311" y="1172"/>
                </a:lnTo>
                <a:lnTo>
                  <a:pt x="311" y="1166"/>
                </a:lnTo>
                <a:lnTo>
                  <a:pt x="311" y="1159"/>
                </a:lnTo>
                <a:lnTo>
                  <a:pt x="312" y="1151"/>
                </a:lnTo>
                <a:lnTo>
                  <a:pt x="315" y="1142"/>
                </a:lnTo>
                <a:lnTo>
                  <a:pt x="317" y="1148"/>
                </a:lnTo>
                <a:lnTo>
                  <a:pt x="319" y="1152"/>
                </a:lnTo>
                <a:lnTo>
                  <a:pt x="321" y="1155"/>
                </a:lnTo>
                <a:lnTo>
                  <a:pt x="321" y="1158"/>
                </a:lnTo>
                <a:lnTo>
                  <a:pt x="318" y="1161"/>
                </a:lnTo>
                <a:lnTo>
                  <a:pt x="317" y="1163"/>
                </a:lnTo>
                <a:lnTo>
                  <a:pt x="316" y="1166"/>
                </a:lnTo>
                <a:lnTo>
                  <a:pt x="316" y="1169"/>
                </a:lnTo>
                <a:lnTo>
                  <a:pt x="317" y="1173"/>
                </a:lnTo>
                <a:lnTo>
                  <a:pt x="321" y="1179"/>
                </a:lnTo>
                <a:lnTo>
                  <a:pt x="321" y="1180"/>
                </a:lnTo>
                <a:lnTo>
                  <a:pt x="322" y="1182"/>
                </a:lnTo>
                <a:lnTo>
                  <a:pt x="322" y="1183"/>
                </a:lnTo>
                <a:lnTo>
                  <a:pt x="321" y="1184"/>
                </a:lnTo>
                <a:close/>
                <a:moveTo>
                  <a:pt x="170" y="743"/>
                </a:moveTo>
                <a:lnTo>
                  <a:pt x="170" y="748"/>
                </a:lnTo>
                <a:lnTo>
                  <a:pt x="170" y="751"/>
                </a:lnTo>
                <a:lnTo>
                  <a:pt x="171" y="756"/>
                </a:lnTo>
                <a:lnTo>
                  <a:pt x="173" y="759"/>
                </a:lnTo>
                <a:lnTo>
                  <a:pt x="176" y="763"/>
                </a:lnTo>
                <a:lnTo>
                  <a:pt x="178" y="765"/>
                </a:lnTo>
                <a:lnTo>
                  <a:pt x="177" y="765"/>
                </a:lnTo>
                <a:lnTo>
                  <a:pt x="176" y="765"/>
                </a:lnTo>
                <a:lnTo>
                  <a:pt x="180" y="771"/>
                </a:lnTo>
                <a:lnTo>
                  <a:pt x="185" y="773"/>
                </a:lnTo>
                <a:lnTo>
                  <a:pt x="190" y="773"/>
                </a:lnTo>
                <a:lnTo>
                  <a:pt x="196" y="772"/>
                </a:lnTo>
                <a:lnTo>
                  <a:pt x="208" y="764"/>
                </a:lnTo>
                <a:lnTo>
                  <a:pt x="222" y="756"/>
                </a:lnTo>
                <a:lnTo>
                  <a:pt x="236" y="749"/>
                </a:lnTo>
                <a:lnTo>
                  <a:pt x="249" y="741"/>
                </a:lnTo>
                <a:lnTo>
                  <a:pt x="276" y="725"/>
                </a:lnTo>
                <a:lnTo>
                  <a:pt x="303" y="710"/>
                </a:lnTo>
                <a:lnTo>
                  <a:pt x="330" y="695"/>
                </a:lnTo>
                <a:lnTo>
                  <a:pt x="357" y="680"/>
                </a:lnTo>
                <a:lnTo>
                  <a:pt x="384" y="665"/>
                </a:lnTo>
                <a:lnTo>
                  <a:pt x="411" y="650"/>
                </a:lnTo>
                <a:lnTo>
                  <a:pt x="438" y="634"/>
                </a:lnTo>
                <a:lnTo>
                  <a:pt x="464" y="619"/>
                </a:lnTo>
                <a:lnTo>
                  <a:pt x="467" y="618"/>
                </a:lnTo>
                <a:lnTo>
                  <a:pt x="469" y="618"/>
                </a:lnTo>
                <a:lnTo>
                  <a:pt x="471" y="618"/>
                </a:lnTo>
                <a:lnTo>
                  <a:pt x="475" y="620"/>
                </a:lnTo>
                <a:lnTo>
                  <a:pt x="508" y="651"/>
                </a:lnTo>
                <a:lnTo>
                  <a:pt x="540" y="680"/>
                </a:lnTo>
                <a:lnTo>
                  <a:pt x="574" y="710"/>
                </a:lnTo>
                <a:lnTo>
                  <a:pt x="607" y="741"/>
                </a:lnTo>
                <a:lnTo>
                  <a:pt x="614" y="746"/>
                </a:lnTo>
                <a:lnTo>
                  <a:pt x="620" y="752"/>
                </a:lnTo>
                <a:lnTo>
                  <a:pt x="622" y="756"/>
                </a:lnTo>
                <a:lnTo>
                  <a:pt x="624" y="759"/>
                </a:lnTo>
                <a:lnTo>
                  <a:pt x="625" y="764"/>
                </a:lnTo>
                <a:lnTo>
                  <a:pt x="624" y="770"/>
                </a:lnTo>
                <a:lnTo>
                  <a:pt x="629" y="767"/>
                </a:lnTo>
                <a:lnTo>
                  <a:pt x="634" y="766"/>
                </a:lnTo>
                <a:lnTo>
                  <a:pt x="635" y="767"/>
                </a:lnTo>
                <a:lnTo>
                  <a:pt x="635" y="769"/>
                </a:lnTo>
                <a:lnTo>
                  <a:pt x="629" y="774"/>
                </a:lnTo>
                <a:lnTo>
                  <a:pt x="622" y="780"/>
                </a:lnTo>
                <a:lnTo>
                  <a:pt x="620" y="785"/>
                </a:lnTo>
                <a:lnTo>
                  <a:pt x="619" y="788"/>
                </a:lnTo>
                <a:lnTo>
                  <a:pt x="619" y="793"/>
                </a:lnTo>
                <a:lnTo>
                  <a:pt x="619" y="799"/>
                </a:lnTo>
                <a:lnTo>
                  <a:pt x="624" y="797"/>
                </a:lnTo>
                <a:lnTo>
                  <a:pt x="626" y="795"/>
                </a:lnTo>
                <a:lnTo>
                  <a:pt x="625" y="800"/>
                </a:lnTo>
                <a:lnTo>
                  <a:pt x="622" y="804"/>
                </a:lnTo>
                <a:lnTo>
                  <a:pt x="619" y="808"/>
                </a:lnTo>
                <a:lnTo>
                  <a:pt x="616" y="813"/>
                </a:lnTo>
                <a:lnTo>
                  <a:pt x="615" y="815"/>
                </a:lnTo>
                <a:lnTo>
                  <a:pt x="615" y="819"/>
                </a:lnTo>
                <a:lnTo>
                  <a:pt x="616" y="821"/>
                </a:lnTo>
                <a:lnTo>
                  <a:pt x="618" y="823"/>
                </a:lnTo>
                <a:lnTo>
                  <a:pt x="620" y="830"/>
                </a:lnTo>
                <a:lnTo>
                  <a:pt x="621" y="837"/>
                </a:lnTo>
                <a:lnTo>
                  <a:pt x="621" y="844"/>
                </a:lnTo>
                <a:lnTo>
                  <a:pt x="620" y="851"/>
                </a:lnTo>
                <a:lnTo>
                  <a:pt x="615" y="856"/>
                </a:lnTo>
                <a:lnTo>
                  <a:pt x="608" y="861"/>
                </a:lnTo>
                <a:lnTo>
                  <a:pt x="605" y="862"/>
                </a:lnTo>
                <a:lnTo>
                  <a:pt x="601" y="864"/>
                </a:lnTo>
                <a:lnTo>
                  <a:pt x="601" y="867"/>
                </a:lnTo>
                <a:lnTo>
                  <a:pt x="600" y="869"/>
                </a:lnTo>
                <a:lnTo>
                  <a:pt x="593" y="875"/>
                </a:lnTo>
                <a:lnTo>
                  <a:pt x="586" y="881"/>
                </a:lnTo>
                <a:lnTo>
                  <a:pt x="583" y="883"/>
                </a:lnTo>
                <a:lnTo>
                  <a:pt x="579" y="885"/>
                </a:lnTo>
                <a:lnTo>
                  <a:pt x="574" y="888"/>
                </a:lnTo>
                <a:lnTo>
                  <a:pt x="570" y="889"/>
                </a:lnTo>
                <a:lnTo>
                  <a:pt x="567" y="890"/>
                </a:lnTo>
                <a:lnTo>
                  <a:pt x="566" y="892"/>
                </a:lnTo>
                <a:lnTo>
                  <a:pt x="563" y="898"/>
                </a:lnTo>
                <a:lnTo>
                  <a:pt x="557" y="903"/>
                </a:lnTo>
                <a:lnTo>
                  <a:pt x="551" y="907"/>
                </a:lnTo>
                <a:lnTo>
                  <a:pt x="545" y="911"/>
                </a:lnTo>
                <a:lnTo>
                  <a:pt x="536" y="917"/>
                </a:lnTo>
                <a:lnTo>
                  <a:pt x="526" y="921"/>
                </a:lnTo>
                <a:lnTo>
                  <a:pt x="518" y="928"/>
                </a:lnTo>
                <a:lnTo>
                  <a:pt x="511" y="935"/>
                </a:lnTo>
                <a:lnTo>
                  <a:pt x="498" y="947"/>
                </a:lnTo>
                <a:lnTo>
                  <a:pt x="486" y="958"/>
                </a:lnTo>
                <a:lnTo>
                  <a:pt x="479" y="963"/>
                </a:lnTo>
                <a:lnTo>
                  <a:pt x="471" y="968"/>
                </a:lnTo>
                <a:lnTo>
                  <a:pt x="464" y="974"/>
                </a:lnTo>
                <a:lnTo>
                  <a:pt x="455" y="977"/>
                </a:lnTo>
                <a:lnTo>
                  <a:pt x="447" y="984"/>
                </a:lnTo>
                <a:lnTo>
                  <a:pt x="439" y="994"/>
                </a:lnTo>
                <a:lnTo>
                  <a:pt x="429" y="1001"/>
                </a:lnTo>
                <a:lnTo>
                  <a:pt x="420" y="1009"/>
                </a:lnTo>
                <a:lnTo>
                  <a:pt x="415" y="1012"/>
                </a:lnTo>
                <a:lnTo>
                  <a:pt x="411" y="1016"/>
                </a:lnTo>
                <a:lnTo>
                  <a:pt x="406" y="1018"/>
                </a:lnTo>
                <a:lnTo>
                  <a:pt x="400" y="1019"/>
                </a:lnTo>
                <a:lnTo>
                  <a:pt x="398" y="1021"/>
                </a:lnTo>
                <a:lnTo>
                  <a:pt x="397" y="1023"/>
                </a:lnTo>
                <a:lnTo>
                  <a:pt x="392" y="1028"/>
                </a:lnTo>
                <a:lnTo>
                  <a:pt x="387" y="1032"/>
                </a:lnTo>
                <a:lnTo>
                  <a:pt x="381" y="1035"/>
                </a:lnTo>
                <a:lnTo>
                  <a:pt x="376" y="1038"/>
                </a:lnTo>
                <a:lnTo>
                  <a:pt x="372" y="1042"/>
                </a:lnTo>
                <a:lnTo>
                  <a:pt x="369" y="1046"/>
                </a:lnTo>
                <a:lnTo>
                  <a:pt x="352" y="1059"/>
                </a:lnTo>
                <a:lnTo>
                  <a:pt x="335" y="1070"/>
                </a:lnTo>
                <a:lnTo>
                  <a:pt x="319" y="1080"/>
                </a:lnTo>
                <a:lnTo>
                  <a:pt x="304" y="1089"/>
                </a:lnTo>
                <a:lnTo>
                  <a:pt x="301" y="1093"/>
                </a:lnTo>
                <a:lnTo>
                  <a:pt x="298" y="1098"/>
                </a:lnTo>
                <a:lnTo>
                  <a:pt x="295" y="1107"/>
                </a:lnTo>
                <a:lnTo>
                  <a:pt x="293" y="1116"/>
                </a:lnTo>
                <a:lnTo>
                  <a:pt x="290" y="1126"/>
                </a:lnTo>
                <a:lnTo>
                  <a:pt x="287" y="1135"/>
                </a:lnTo>
                <a:lnTo>
                  <a:pt x="286" y="1138"/>
                </a:lnTo>
                <a:lnTo>
                  <a:pt x="287" y="1142"/>
                </a:lnTo>
                <a:lnTo>
                  <a:pt x="289" y="1144"/>
                </a:lnTo>
                <a:lnTo>
                  <a:pt x="293" y="1145"/>
                </a:lnTo>
                <a:lnTo>
                  <a:pt x="300" y="1148"/>
                </a:lnTo>
                <a:lnTo>
                  <a:pt x="308" y="1150"/>
                </a:lnTo>
                <a:lnTo>
                  <a:pt x="305" y="1154"/>
                </a:lnTo>
                <a:lnTo>
                  <a:pt x="302" y="1154"/>
                </a:lnTo>
                <a:lnTo>
                  <a:pt x="300" y="1154"/>
                </a:lnTo>
                <a:lnTo>
                  <a:pt x="296" y="1152"/>
                </a:lnTo>
                <a:lnTo>
                  <a:pt x="289" y="1151"/>
                </a:lnTo>
                <a:lnTo>
                  <a:pt x="282" y="1151"/>
                </a:lnTo>
                <a:lnTo>
                  <a:pt x="284" y="1157"/>
                </a:lnTo>
                <a:lnTo>
                  <a:pt x="286" y="1163"/>
                </a:lnTo>
                <a:lnTo>
                  <a:pt x="286" y="1165"/>
                </a:lnTo>
                <a:lnTo>
                  <a:pt x="286" y="1168"/>
                </a:lnTo>
                <a:lnTo>
                  <a:pt x="283" y="1168"/>
                </a:lnTo>
                <a:lnTo>
                  <a:pt x="281" y="1168"/>
                </a:lnTo>
                <a:lnTo>
                  <a:pt x="280" y="1166"/>
                </a:lnTo>
                <a:lnTo>
                  <a:pt x="277" y="1165"/>
                </a:lnTo>
                <a:lnTo>
                  <a:pt x="275" y="1170"/>
                </a:lnTo>
                <a:lnTo>
                  <a:pt x="274" y="1175"/>
                </a:lnTo>
                <a:lnTo>
                  <a:pt x="273" y="1178"/>
                </a:lnTo>
                <a:lnTo>
                  <a:pt x="273" y="1180"/>
                </a:lnTo>
                <a:lnTo>
                  <a:pt x="273" y="1183"/>
                </a:lnTo>
                <a:lnTo>
                  <a:pt x="274" y="1186"/>
                </a:lnTo>
                <a:lnTo>
                  <a:pt x="276" y="1187"/>
                </a:lnTo>
                <a:lnTo>
                  <a:pt x="280" y="1190"/>
                </a:lnTo>
                <a:lnTo>
                  <a:pt x="294" y="1197"/>
                </a:lnTo>
                <a:lnTo>
                  <a:pt x="308" y="1204"/>
                </a:lnTo>
                <a:lnTo>
                  <a:pt x="322" y="1211"/>
                </a:lnTo>
                <a:lnTo>
                  <a:pt x="337" y="1218"/>
                </a:lnTo>
                <a:lnTo>
                  <a:pt x="343" y="1221"/>
                </a:lnTo>
                <a:lnTo>
                  <a:pt x="349" y="1225"/>
                </a:lnTo>
                <a:lnTo>
                  <a:pt x="351" y="1226"/>
                </a:lnTo>
                <a:lnTo>
                  <a:pt x="355" y="1226"/>
                </a:lnTo>
                <a:lnTo>
                  <a:pt x="358" y="1225"/>
                </a:lnTo>
                <a:lnTo>
                  <a:pt x="362" y="1224"/>
                </a:lnTo>
                <a:lnTo>
                  <a:pt x="362" y="1227"/>
                </a:lnTo>
                <a:lnTo>
                  <a:pt x="362" y="1229"/>
                </a:lnTo>
                <a:lnTo>
                  <a:pt x="365" y="1233"/>
                </a:lnTo>
                <a:lnTo>
                  <a:pt x="370" y="1234"/>
                </a:lnTo>
                <a:lnTo>
                  <a:pt x="376" y="1234"/>
                </a:lnTo>
                <a:lnTo>
                  <a:pt x="380" y="1233"/>
                </a:lnTo>
                <a:lnTo>
                  <a:pt x="400" y="1219"/>
                </a:lnTo>
                <a:lnTo>
                  <a:pt x="421" y="1205"/>
                </a:lnTo>
                <a:lnTo>
                  <a:pt x="442" y="1191"/>
                </a:lnTo>
                <a:lnTo>
                  <a:pt x="462" y="1177"/>
                </a:lnTo>
                <a:lnTo>
                  <a:pt x="497" y="1152"/>
                </a:lnTo>
                <a:lnTo>
                  <a:pt x="533" y="1129"/>
                </a:lnTo>
                <a:lnTo>
                  <a:pt x="569" y="1105"/>
                </a:lnTo>
                <a:lnTo>
                  <a:pt x="604" y="1080"/>
                </a:lnTo>
                <a:lnTo>
                  <a:pt x="609" y="1075"/>
                </a:lnTo>
                <a:lnTo>
                  <a:pt x="616" y="1072"/>
                </a:lnTo>
                <a:lnTo>
                  <a:pt x="616" y="1082"/>
                </a:lnTo>
                <a:lnTo>
                  <a:pt x="616" y="1093"/>
                </a:lnTo>
                <a:lnTo>
                  <a:pt x="616" y="1103"/>
                </a:lnTo>
                <a:lnTo>
                  <a:pt x="616" y="1113"/>
                </a:lnTo>
                <a:lnTo>
                  <a:pt x="622" y="1110"/>
                </a:lnTo>
                <a:lnTo>
                  <a:pt x="628" y="1107"/>
                </a:lnTo>
                <a:lnTo>
                  <a:pt x="635" y="1105"/>
                </a:lnTo>
                <a:lnTo>
                  <a:pt x="642" y="1102"/>
                </a:lnTo>
                <a:lnTo>
                  <a:pt x="650" y="1100"/>
                </a:lnTo>
                <a:lnTo>
                  <a:pt x="659" y="1099"/>
                </a:lnTo>
                <a:lnTo>
                  <a:pt x="674" y="1098"/>
                </a:lnTo>
                <a:lnTo>
                  <a:pt x="690" y="1099"/>
                </a:lnTo>
                <a:lnTo>
                  <a:pt x="700" y="1100"/>
                </a:lnTo>
                <a:lnTo>
                  <a:pt x="709" y="1102"/>
                </a:lnTo>
                <a:lnTo>
                  <a:pt x="718" y="1105"/>
                </a:lnTo>
                <a:lnTo>
                  <a:pt x="728" y="1108"/>
                </a:lnTo>
                <a:lnTo>
                  <a:pt x="732" y="1112"/>
                </a:lnTo>
                <a:lnTo>
                  <a:pt x="736" y="1115"/>
                </a:lnTo>
                <a:lnTo>
                  <a:pt x="736" y="1116"/>
                </a:lnTo>
                <a:lnTo>
                  <a:pt x="735" y="1117"/>
                </a:lnTo>
                <a:lnTo>
                  <a:pt x="733" y="1117"/>
                </a:lnTo>
                <a:lnTo>
                  <a:pt x="731" y="1116"/>
                </a:lnTo>
                <a:lnTo>
                  <a:pt x="724" y="1113"/>
                </a:lnTo>
                <a:lnTo>
                  <a:pt x="716" y="1109"/>
                </a:lnTo>
                <a:lnTo>
                  <a:pt x="709" y="1107"/>
                </a:lnTo>
                <a:lnTo>
                  <a:pt x="701" y="1106"/>
                </a:lnTo>
                <a:lnTo>
                  <a:pt x="684" y="1103"/>
                </a:lnTo>
                <a:lnTo>
                  <a:pt x="668" y="1103"/>
                </a:lnTo>
                <a:lnTo>
                  <a:pt x="655" y="1105"/>
                </a:lnTo>
                <a:lnTo>
                  <a:pt x="642" y="1107"/>
                </a:lnTo>
                <a:lnTo>
                  <a:pt x="636" y="1109"/>
                </a:lnTo>
                <a:lnTo>
                  <a:pt x="629" y="1112"/>
                </a:lnTo>
                <a:lnTo>
                  <a:pt x="624" y="1114"/>
                </a:lnTo>
                <a:lnTo>
                  <a:pt x="619" y="1119"/>
                </a:lnTo>
                <a:lnTo>
                  <a:pt x="615" y="1121"/>
                </a:lnTo>
                <a:lnTo>
                  <a:pt x="613" y="1124"/>
                </a:lnTo>
                <a:lnTo>
                  <a:pt x="612" y="1127"/>
                </a:lnTo>
                <a:lnTo>
                  <a:pt x="611" y="1130"/>
                </a:lnTo>
                <a:lnTo>
                  <a:pt x="611" y="1133"/>
                </a:lnTo>
                <a:lnTo>
                  <a:pt x="612" y="1136"/>
                </a:lnTo>
                <a:lnTo>
                  <a:pt x="613" y="1140"/>
                </a:lnTo>
                <a:lnTo>
                  <a:pt x="615" y="1142"/>
                </a:lnTo>
                <a:lnTo>
                  <a:pt x="619" y="1140"/>
                </a:lnTo>
                <a:lnTo>
                  <a:pt x="624" y="1137"/>
                </a:lnTo>
                <a:lnTo>
                  <a:pt x="636" y="1131"/>
                </a:lnTo>
                <a:lnTo>
                  <a:pt x="649" y="1128"/>
                </a:lnTo>
                <a:lnTo>
                  <a:pt x="662" y="1127"/>
                </a:lnTo>
                <a:lnTo>
                  <a:pt x="675" y="1126"/>
                </a:lnTo>
                <a:lnTo>
                  <a:pt x="687" y="1126"/>
                </a:lnTo>
                <a:lnTo>
                  <a:pt x="698" y="1126"/>
                </a:lnTo>
                <a:lnTo>
                  <a:pt x="710" y="1128"/>
                </a:lnTo>
                <a:lnTo>
                  <a:pt x="722" y="1131"/>
                </a:lnTo>
                <a:lnTo>
                  <a:pt x="730" y="1135"/>
                </a:lnTo>
                <a:lnTo>
                  <a:pt x="739" y="1136"/>
                </a:lnTo>
                <a:lnTo>
                  <a:pt x="753" y="1134"/>
                </a:lnTo>
                <a:lnTo>
                  <a:pt x="766" y="1130"/>
                </a:lnTo>
                <a:lnTo>
                  <a:pt x="769" y="1129"/>
                </a:lnTo>
                <a:lnTo>
                  <a:pt x="772" y="1128"/>
                </a:lnTo>
                <a:lnTo>
                  <a:pt x="764" y="1127"/>
                </a:lnTo>
                <a:lnTo>
                  <a:pt x="756" y="1127"/>
                </a:lnTo>
                <a:lnTo>
                  <a:pt x="751" y="1127"/>
                </a:lnTo>
                <a:lnTo>
                  <a:pt x="747" y="1126"/>
                </a:lnTo>
                <a:lnTo>
                  <a:pt x="744" y="1124"/>
                </a:lnTo>
                <a:lnTo>
                  <a:pt x="740" y="1121"/>
                </a:lnTo>
                <a:lnTo>
                  <a:pt x="754" y="1122"/>
                </a:lnTo>
                <a:lnTo>
                  <a:pt x="769" y="1122"/>
                </a:lnTo>
                <a:lnTo>
                  <a:pt x="783" y="1122"/>
                </a:lnTo>
                <a:lnTo>
                  <a:pt x="797" y="1121"/>
                </a:lnTo>
                <a:lnTo>
                  <a:pt x="825" y="1117"/>
                </a:lnTo>
                <a:lnTo>
                  <a:pt x="852" y="1113"/>
                </a:lnTo>
                <a:lnTo>
                  <a:pt x="852" y="1113"/>
                </a:lnTo>
                <a:lnTo>
                  <a:pt x="852" y="1113"/>
                </a:lnTo>
                <a:lnTo>
                  <a:pt x="874" y="1108"/>
                </a:lnTo>
                <a:lnTo>
                  <a:pt x="896" y="1102"/>
                </a:lnTo>
                <a:lnTo>
                  <a:pt x="917" y="1098"/>
                </a:lnTo>
                <a:lnTo>
                  <a:pt x="939" y="1094"/>
                </a:lnTo>
                <a:lnTo>
                  <a:pt x="939" y="1084"/>
                </a:lnTo>
                <a:lnTo>
                  <a:pt x="939" y="1074"/>
                </a:lnTo>
                <a:lnTo>
                  <a:pt x="943" y="1068"/>
                </a:lnTo>
                <a:lnTo>
                  <a:pt x="943" y="1075"/>
                </a:lnTo>
                <a:lnTo>
                  <a:pt x="943" y="1082"/>
                </a:lnTo>
                <a:lnTo>
                  <a:pt x="943" y="1086"/>
                </a:lnTo>
                <a:lnTo>
                  <a:pt x="944" y="1089"/>
                </a:lnTo>
                <a:lnTo>
                  <a:pt x="946" y="1091"/>
                </a:lnTo>
                <a:lnTo>
                  <a:pt x="950" y="1092"/>
                </a:lnTo>
                <a:lnTo>
                  <a:pt x="957" y="1091"/>
                </a:lnTo>
                <a:lnTo>
                  <a:pt x="961" y="1089"/>
                </a:lnTo>
                <a:lnTo>
                  <a:pt x="964" y="1086"/>
                </a:lnTo>
                <a:lnTo>
                  <a:pt x="965" y="1082"/>
                </a:lnTo>
                <a:lnTo>
                  <a:pt x="965" y="1071"/>
                </a:lnTo>
                <a:lnTo>
                  <a:pt x="965" y="1058"/>
                </a:lnTo>
                <a:lnTo>
                  <a:pt x="968" y="1061"/>
                </a:lnTo>
                <a:lnTo>
                  <a:pt x="971" y="1064"/>
                </a:lnTo>
                <a:lnTo>
                  <a:pt x="974" y="1072"/>
                </a:lnTo>
                <a:lnTo>
                  <a:pt x="979" y="1079"/>
                </a:lnTo>
                <a:lnTo>
                  <a:pt x="984" y="1081"/>
                </a:lnTo>
                <a:lnTo>
                  <a:pt x="990" y="1084"/>
                </a:lnTo>
                <a:lnTo>
                  <a:pt x="992" y="1081"/>
                </a:lnTo>
                <a:lnTo>
                  <a:pt x="993" y="1079"/>
                </a:lnTo>
                <a:lnTo>
                  <a:pt x="993" y="1073"/>
                </a:lnTo>
                <a:lnTo>
                  <a:pt x="992" y="1067"/>
                </a:lnTo>
                <a:lnTo>
                  <a:pt x="991" y="1067"/>
                </a:lnTo>
                <a:lnTo>
                  <a:pt x="990" y="1067"/>
                </a:lnTo>
                <a:lnTo>
                  <a:pt x="993" y="1063"/>
                </a:lnTo>
                <a:lnTo>
                  <a:pt x="997" y="1059"/>
                </a:lnTo>
                <a:lnTo>
                  <a:pt x="998" y="1059"/>
                </a:lnTo>
                <a:lnTo>
                  <a:pt x="998" y="1060"/>
                </a:lnTo>
                <a:lnTo>
                  <a:pt x="998" y="1064"/>
                </a:lnTo>
                <a:lnTo>
                  <a:pt x="998" y="1067"/>
                </a:lnTo>
                <a:lnTo>
                  <a:pt x="999" y="1075"/>
                </a:lnTo>
                <a:lnTo>
                  <a:pt x="1000" y="1079"/>
                </a:lnTo>
                <a:lnTo>
                  <a:pt x="1005" y="1080"/>
                </a:lnTo>
                <a:lnTo>
                  <a:pt x="1013" y="1078"/>
                </a:lnTo>
                <a:lnTo>
                  <a:pt x="1013" y="1068"/>
                </a:lnTo>
                <a:lnTo>
                  <a:pt x="1013" y="1058"/>
                </a:lnTo>
                <a:lnTo>
                  <a:pt x="1015" y="1060"/>
                </a:lnTo>
                <a:lnTo>
                  <a:pt x="1016" y="1063"/>
                </a:lnTo>
                <a:lnTo>
                  <a:pt x="1018" y="1065"/>
                </a:lnTo>
                <a:lnTo>
                  <a:pt x="1018" y="1067"/>
                </a:lnTo>
                <a:lnTo>
                  <a:pt x="1018" y="1073"/>
                </a:lnTo>
                <a:lnTo>
                  <a:pt x="1020" y="1078"/>
                </a:lnTo>
                <a:lnTo>
                  <a:pt x="1026" y="1077"/>
                </a:lnTo>
                <a:lnTo>
                  <a:pt x="1030" y="1073"/>
                </a:lnTo>
                <a:lnTo>
                  <a:pt x="1033" y="1067"/>
                </a:lnTo>
                <a:lnTo>
                  <a:pt x="1033" y="1060"/>
                </a:lnTo>
                <a:lnTo>
                  <a:pt x="1042" y="1066"/>
                </a:lnTo>
                <a:lnTo>
                  <a:pt x="1051" y="1070"/>
                </a:lnTo>
                <a:lnTo>
                  <a:pt x="1061" y="1068"/>
                </a:lnTo>
                <a:lnTo>
                  <a:pt x="1071" y="1064"/>
                </a:lnTo>
                <a:lnTo>
                  <a:pt x="1073" y="1065"/>
                </a:lnTo>
                <a:lnTo>
                  <a:pt x="1074" y="1066"/>
                </a:lnTo>
                <a:lnTo>
                  <a:pt x="1080" y="1064"/>
                </a:lnTo>
                <a:lnTo>
                  <a:pt x="1084" y="1063"/>
                </a:lnTo>
                <a:lnTo>
                  <a:pt x="1122" y="1056"/>
                </a:lnTo>
                <a:lnTo>
                  <a:pt x="1160" y="1047"/>
                </a:lnTo>
                <a:lnTo>
                  <a:pt x="1198" y="1039"/>
                </a:lnTo>
                <a:lnTo>
                  <a:pt x="1234" y="1031"/>
                </a:lnTo>
                <a:lnTo>
                  <a:pt x="1229" y="1030"/>
                </a:lnTo>
                <a:lnTo>
                  <a:pt x="1223" y="1030"/>
                </a:lnTo>
                <a:lnTo>
                  <a:pt x="1191" y="1030"/>
                </a:lnTo>
                <a:lnTo>
                  <a:pt x="1158" y="1031"/>
                </a:lnTo>
                <a:lnTo>
                  <a:pt x="1125" y="1031"/>
                </a:lnTo>
                <a:lnTo>
                  <a:pt x="1092" y="1032"/>
                </a:lnTo>
                <a:lnTo>
                  <a:pt x="1060" y="1032"/>
                </a:lnTo>
                <a:lnTo>
                  <a:pt x="1027" y="1033"/>
                </a:lnTo>
                <a:lnTo>
                  <a:pt x="995" y="1033"/>
                </a:lnTo>
                <a:lnTo>
                  <a:pt x="963" y="1035"/>
                </a:lnTo>
                <a:lnTo>
                  <a:pt x="930" y="1035"/>
                </a:lnTo>
                <a:lnTo>
                  <a:pt x="926" y="1035"/>
                </a:lnTo>
                <a:lnTo>
                  <a:pt x="923" y="1035"/>
                </a:lnTo>
                <a:lnTo>
                  <a:pt x="898" y="1035"/>
                </a:lnTo>
                <a:lnTo>
                  <a:pt x="895" y="1035"/>
                </a:lnTo>
                <a:lnTo>
                  <a:pt x="890" y="1035"/>
                </a:lnTo>
                <a:lnTo>
                  <a:pt x="855" y="1036"/>
                </a:lnTo>
                <a:lnTo>
                  <a:pt x="819" y="1036"/>
                </a:lnTo>
                <a:lnTo>
                  <a:pt x="783" y="1037"/>
                </a:lnTo>
                <a:lnTo>
                  <a:pt x="746" y="1037"/>
                </a:lnTo>
                <a:lnTo>
                  <a:pt x="743" y="1037"/>
                </a:lnTo>
                <a:lnTo>
                  <a:pt x="739" y="1035"/>
                </a:lnTo>
                <a:lnTo>
                  <a:pt x="732" y="1029"/>
                </a:lnTo>
                <a:lnTo>
                  <a:pt x="724" y="1024"/>
                </a:lnTo>
                <a:lnTo>
                  <a:pt x="716" y="1021"/>
                </a:lnTo>
                <a:lnTo>
                  <a:pt x="707" y="1018"/>
                </a:lnTo>
                <a:lnTo>
                  <a:pt x="694" y="1016"/>
                </a:lnTo>
                <a:lnTo>
                  <a:pt x="682" y="1015"/>
                </a:lnTo>
                <a:lnTo>
                  <a:pt x="669" y="1015"/>
                </a:lnTo>
                <a:lnTo>
                  <a:pt x="657" y="1015"/>
                </a:lnTo>
                <a:lnTo>
                  <a:pt x="646" y="1017"/>
                </a:lnTo>
                <a:lnTo>
                  <a:pt x="634" y="1022"/>
                </a:lnTo>
                <a:lnTo>
                  <a:pt x="622" y="1028"/>
                </a:lnTo>
                <a:lnTo>
                  <a:pt x="612" y="1037"/>
                </a:lnTo>
                <a:lnTo>
                  <a:pt x="612" y="1032"/>
                </a:lnTo>
                <a:lnTo>
                  <a:pt x="614" y="1029"/>
                </a:lnTo>
                <a:lnTo>
                  <a:pt x="616" y="1026"/>
                </a:lnTo>
                <a:lnTo>
                  <a:pt x="619" y="1023"/>
                </a:lnTo>
                <a:lnTo>
                  <a:pt x="625" y="1019"/>
                </a:lnTo>
                <a:lnTo>
                  <a:pt x="631" y="1017"/>
                </a:lnTo>
                <a:lnTo>
                  <a:pt x="645" y="1014"/>
                </a:lnTo>
                <a:lnTo>
                  <a:pt x="659" y="1010"/>
                </a:lnTo>
                <a:lnTo>
                  <a:pt x="673" y="1009"/>
                </a:lnTo>
                <a:lnTo>
                  <a:pt x="687" y="1008"/>
                </a:lnTo>
                <a:lnTo>
                  <a:pt x="700" y="1010"/>
                </a:lnTo>
                <a:lnTo>
                  <a:pt x="714" y="1014"/>
                </a:lnTo>
                <a:lnTo>
                  <a:pt x="726" y="1018"/>
                </a:lnTo>
                <a:lnTo>
                  <a:pt x="740" y="1026"/>
                </a:lnTo>
                <a:lnTo>
                  <a:pt x="742" y="1019"/>
                </a:lnTo>
                <a:lnTo>
                  <a:pt x="742" y="1014"/>
                </a:lnTo>
                <a:lnTo>
                  <a:pt x="740" y="1011"/>
                </a:lnTo>
                <a:lnTo>
                  <a:pt x="738" y="1008"/>
                </a:lnTo>
                <a:lnTo>
                  <a:pt x="736" y="1005"/>
                </a:lnTo>
                <a:lnTo>
                  <a:pt x="733" y="1004"/>
                </a:lnTo>
                <a:lnTo>
                  <a:pt x="725" y="1000"/>
                </a:lnTo>
                <a:lnTo>
                  <a:pt x="718" y="995"/>
                </a:lnTo>
                <a:lnTo>
                  <a:pt x="710" y="991"/>
                </a:lnTo>
                <a:lnTo>
                  <a:pt x="701" y="990"/>
                </a:lnTo>
                <a:lnTo>
                  <a:pt x="693" y="989"/>
                </a:lnTo>
                <a:lnTo>
                  <a:pt x="683" y="988"/>
                </a:lnTo>
                <a:lnTo>
                  <a:pt x="680" y="986"/>
                </a:lnTo>
                <a:lnTo>
                  <a:pt x="677" y="984"/>
                </a:lnTo>
                <a:lnTo>
                  <a:pt x="677" y="982"/>
                </a:lnTo>
                <a:lnTo>
                  <a:pt x="678" y="981"/>
                </a:lnTo>
                <a:lnTo>
                  <a:pt x="685" y="982"/>
                </a:lnTo>
                <a:lnTo>
                  <a:pt x="693" y="984"/>
                </a:lnTo>
                <a:lnTo>
                  <a:pt x="695" y="984"/>
                </a:lnTo>
                <a:lnTo>
                  <a:pt x="697" y="984"/>
                </a:lnTo>
                <a:lnTo>
                  <a:pt x="702" y="983"/>
                </a:lnTo>
                <a:lnTo>
                  <a:pt x="705" y="983"/>
                </a:lnTo>
                <a:lnTo>
                  <a:pt x="719" y="988"/>
                </a:lnTo>
                <a:lnTo>
                  <a:pt x="733" y="993"/>
                </a:lnTo>
                <a:lnTo>
                  <a:pt x="731" y="948"/>
                </a:lnTo>
                <a:lnTo>
                  <a:pt x="730" y="905"/>
                </a:lnTo>
                <a:lnTo>
                  <a:pt x="730" y="862"/>
                </a:lnTo>
                <a:lnTo>
                  <a:pt x="730" y="819"/>
                </a:lnTo>
                <a:lnTo>
                  <a:pt x="731" y="818"/>
                </a:lnTo>
                <a:lnTo>
                  <a:pt x="732" y="818"/>
                </a:lnTo>
                <a:lnTo>
                  <a:pt x="735" y="822"/>
                </a:lnTo>
                <a:lnTo>
                  <a:pt x="737" y="828"/>
                </a:lnTo>
                <a:lnTo>
                  <a:pt x="739" y="825"/>
                </a:lnTo>
                <a:lnTo>
                  <a:pt x="740" y="821"/>
                </a:lnTo>
                <a:lnTo>
                  <a:pt x="740" y="815"/>
                </a:lnTo>
                <a:lnTo>
                  <a:pt x="739" y="811"/>
                </a:lnTo>
                <a:lnTo>
                  <a:pt x="737" y="806"/>
                </a:lnTo>
                <a:lnTo>
                  <a:pt x="733" y="804"/>
                </a:lnTo>
                <a:lnTo>
                  <a:pt x="722" y="797"/>
                </a:lnTo>
                <a:lnTo>
                  <a:pt x="711" y="792"/>
                </a:lnTo>
                <a:lnTo>
                  <a:pt x="708" y="791"/>
                </a:lnTo>
                <a:lnTo>
                  <a:pt x="704" y="788"/>
                </a:lnTo>
                <a:lnTo>
                  <a:pt x="702" y="787"/>
                </a:lnTo>
                <a:lnTo>
                  <a:pt x="702" y="786"/>
                </a:lnTo>
                <a:lnTo>
                  <a:pt x="701" y="784"/>
                </a:lnTo>
                <a:lnTo>
                  <a:pt x="702" y="780"/>
                </a:lnTo>
                <a:lnTo>
                  <a:pt x="712" y="783"/>
                </a:lnTo>
                <a:lnTo>
                  <a:pt x="723" y="787"/>
                </a:lnTo>
                <a:lnTo>
                  <a:pt x="728" y="790"/>
                </a:lnTo>
                <a:lnTo>
                  <a:pt x="732" y="793"/>
                </a:lnTo>
                <a:lnTo>
                  <a:pt x="736" y="797"/>
                </a:lnTo>
                <a:lnTo>
                  <a:pt x="739" y="801"/>
                </a:lnTo>
                <a:lnTo>
                  <a:pt x="740" y="798"/>
                </a:lnTo>
                <a:lnTo>
                  <a:pt x="742" y="794"/>
                </a:lnTo>
                <a:lnTo>
                  <a:pt x="742" y="792"/>
                </a:lnTo>
                <a:lnTo>
                  <a:pt x="742" y="788"/>
                </a:lnTo>
                <a:lnTo>
                  <a:pt x="738" y="783"/>
                </a:lnTo>
                <a:lnTo>
                  <a:pt x="733" y="777"/>
                </a:lnTo>
                <a:lnTo>
                  <a:pt x="723" y="771"/>
                </a:lnTo>
                <a:lnTo>
                  <a:pt x="712" y="766"/>
                </a:lnTo>
                <a:lnTo>
                  <a:pt x="702" y="763"/>
                </a:lnTo>
                <a:lnTo>
                  <a:pt x="690" y="762"/>
                </a:lnTo>
                <a:lnTo>
                  <a:pt x="682" y="760"/>
                </a:lnTo>
                <a:lnTo>
                  <a:pt x="673" y="759"/>
                </a:lnTo>
                <a:lnTo>
                  <a:pt x="673" y="758"/>
                </a:lnTo>
                <a:lnTo>
                  <a:pt x="673" y="756"/>
                </a:lnTo>
                <a:lnTo>
                  <a:pt x="680" y="755"/>
                </a:lnTo>
                <a:lnTo>
                  <a:pt x="688" y="753"/>
                </a:lnTo>
                <a:lnTo>
                  <a:pt x="695" y="753"/>
                </a:lnTo>
                <a:lnTo>
                  <a:pt x="702" y="755"/>
                </a:lnTo>
                <a:lnTo>
                  <a:pt x="717" y="759"/>
                </a:lnTo>
                <a:lnTo>
                  <a:pt x="731" y="764"/>
                </a:lnTo>
                <a:lnTo>
                  <a:pt x="731" y="725"/>
                </a:lnTo>
                <a:lnTo>
                  <a:pt x="731" y="687"/>
                </a:lnTo>
                <a:lnTo>
                  <a:pt x="731" y="648"/>
                </a:lnTo>
                <a:lnTo>
                  <a:pt x="731" y="611"/>
                </a:lnTo>
                <a:lnTo>
                  <a:pt x="732" y="615"/>
                </a:lnTo>
                <a:lnTo>
                  <a:pt x="733" y="617"/>
                </a:lnTo>
                <a:lnTo>
                  <a:pt x="736" y="617"/>
                </a:lnTo>
                <a:lnTo>
                  <a:pt x="737" y="617"/>
                </a:lnTo>
                <a:lnTo>
                  <a:pt x="737" y="609"/>
                </a:lnTo>
                <a:lnTo>
                  <a:pt x="736" y="602"/>
                </a:lnTo>
                <a:lnTo>
                  <a:pt x="732" y="595"/>
                </a:lnTo>
                <a:lnTo>
                  <a:pt x="729" y="590"/>
                </a:lnTo>
                <a:lnTo>
                  <a:pt x="723" y="587"/>
                </a:lnTo>
                <a:lnTo>
                  <a:pt x="716" y="583"/>
                </a:lnTo>
                <a:lnTo>
                  <a:pt x="703" y="578"/>
                </a:lnTo>
                <a:lnTo>
                  <a:pt x="690" y="576"/>
                </a:lnTo>
                <a:lnTo>
                  <a:pt x="677" y="575"/>
                </a:lnTo>
                <a:lnTo>
                  <a:pt x="663" y="575"/>
                </a:lnTo>
                <a:lnTo>
                  <a:pt x="659" y="575"/>
                </a:lnTo>
                <a:lnTo>
                  <a:pt x="655" y="575"/>
                </a:lnTo>
                <a:lnTo>
                  <a:pt x="650" y="573"/>
                </a:lnTo>
                <a:lnTo>
                  <a:pt x="647" y="569"/>
                </a:lnTo>
                <a:lnTo>
                  <a:pt x="625" y="548"/>
                </a:lnTo>
                <a:lnTo>
                  <a:pt x="602" y="526"/>
                </a:lnTo>
                <a:lnTo>
                  <a:pt x="580" y="504"/>
                </a:lnTo>
                <a:lnTo>
                  <a:pt x="558" y="483"/>
                </a:lnTo>
                <a:lnTo>
                  <a:pt x="522" y="446"/>
                </a:lnTo>
                <a:lnTo>
                  <a:pt x="486" y="410"/>
                </a:lnTo>
                <a:lnTo>
                  <a:pt x="449" y="375"/>
                </a:lnTo>
                <a:lnTo>
                  <a:pt x="413" y="339"/>
                </a:lnTo>
                <a:lnTo>
                  <a:pt x="377" y="303"/>
                </a:lnTo>
                <a:lnTo>
                  <a:pt x="341" y="268"/>
                </a:lnTo>
                <a:lnTo>
                  <a:pt x="304" y="232"/>
                </a:lnTo>
                <a:lnTo>
                  <a:pt x="267" y="197"/>
                </a:lnTo>
                <a:lnTo>
                  <a:pt x="259" y="189"/>
                </a:lnTo>
                <a:lnTo>
                  <a:pt x="250" y="180"/>
                </a:lnTo>
                <a:lnTo>
                  <a:pt x="240" y="192"/>
                </a:lnTo>
                <a:lnTo>
                  <a:pt x="229" y="205"/>
                </a:lnTo>
                <a:lnTo>
                  <a:pt x="218" y="217"/>
                </a:lnTo>
                <a:lnTo>
                  <a:pt x="207" y="228"/>
                </a:lnTo>
                <a:lnTo>
                  <a:pt x="205" y="231"/>
                </a:lnTo>
                <a:lnTo>
                  <a:pt x="204" y="234"/>
                </a:lnTo>
                <a:lnTo>
                  <a:pt x="204" y="236"/>
                </a:lnTo>
                <a:lnTo>
                  <a:pt x="204" y="240"/>
                </a:lnTo>
                <a:lnTo>
                  <a:pt x="207" y="250"/>
                </a:lnTo>
                <a:lnTo>
                  <a:pt x="210" y="260"/>
                </a:lnTo>
                <a:lnTo>
                  <a:pt x="215" y="285"/>
                </a:lnTo>
                <a:lnTo>
                  <a:pt x="222" y="310"/>
                </a:lnTo>
                <a:lnTo>
                  <a:pt x="228" y="336"/>
                </a:lnTo>
                <a:lnTo>
                  <a:pt x="235" y="360"/>
                </a:lnTo>
                <a:lnTo>
                  <a:pt x="238" y="367"/>
                </a:lnTo>
                <a:lnTo>
                  <a:pt x="241" y="373"/>
                </a:lnTo>
                <a:lnTo>
                  <a:pt x="266" y="395"/>
                </a:lnTo>
                <a:lnTo>
                  <a:pt x="290" y="417"/>
                </a:lnTo>
                <a:lnTo>
                  <a:pt x="314" y="439"/>
                </a:lnTo>
                <a:lnTo>
                  <a:pt x="338" y="462"/>
                </a:lnTo>
                <a:lnTo>
                  <a:pt x="363" y="484"/>
                </a:lnTo>
                <a:lnTo>
                  <a:pt x="386" y="506"/>
                </a:lnTo>
                <a:lnTo>
                  <a:pt x="411" y="528"/>
                </a:lnTo>
                <a:lnTo>
                  <a:pt x="435" y="550"/>
                </a:lnTo>
                <a:lnTo>
                  <a:pt x="459" y="573"/>
                </a:lnTo>
                <a:lnTo>
                  <a:pt x="483" y="595"/>
                </a:lnTo>
                <a:lnTo>
                  <a:pt x="508" y="617"/>
                </a:lnTo>
                <a:lnTo>
                  <a:pt x="531" y="639"/>
                </a:lnTo>
                <a:lnTo>
                  <a:pt x="562" y="667"/>
                </a:lnTo>
                <a:lnTo>
                  <a:pt x="591" y="694"/>
                </a:lnTo>
                <a:lnTo>
                  <a:pt x="621" y="722"/>
                </a:lnTo>
                <a:lnTo>
                  <a:pt x="650" y="750"/>
                </a:lnTo>
                <a:lnTo>
                  <a:pt x="655" y="753"/>
                </a:lnTo>
                <a:lnTo>
                  <a:pt x="661" y="758"/>
                </a:lnTo>
                <a:lnTo>
                  <a:pt x="660" y="759"/>
                </a:lnTo>
                <a:lnTo>
                  <a:pt x="659" y="760"/>
                </a:lnTo>
                <a:lnTo>
                  <a:pt x="654" y="759"/>
                </a:lnTo>
                <a:lnTo>
                  <a:pt x="650" y="757"/>
                </a:lnTo>
                <a:lnTo>
                  <a:pt x="641" y="749"/>
                </a:lnTo>
                <a:lnTo>
                  <a:pt x="632" y="741"/>
                </a:lnTo>
                <a:lnTo>
                  <a:pt x="622" y="731"/>
                </a:lnTo>
                <a:lnTo>
                  <a:pt x="613" y="723"/>
                </a:lnTo>
                <a:lnTo>
                  <a:pt x="595" y="707"/>
                </a:lnTo>
                <a:lnTo>
                  <a:pt x="577" y="690"/>
                </a:lnTo>
                <a:lnTo>
                  <a:pt x="559" y="674"/>
                </a:lnTo>
                <a:lnTo>
                  <a:pt x="542" y="658"/>
                </a:lnTo>
                <a:lnTo>
                  <a:pt x="505" y="625"/>
                </a:lnTo>
                <a:lnTo>
                  <a:pt x="468" y="591"/>
                </a:lnTo>
                <a:lnTo>
                  <a:pt x="432" y="558"/>
                </a:lnTo>
                <a:lnTo>
                  <a:pt x="395" y="525"/>
                </a:lnTo>
                <a:lnTo>
                  <a:pt x="358" y="491"/>
                </a:lnTo>
                <a:lnTo>
                  <a:pt x="321" y="457"/>
                </a:lnTo>
                <a:lnTo>
                  <a:pt x="283" y="423"/>
                </a:lnTo>
                <a:lnTo>
                  <a:pt x="246" y="388"/>
                </a:lnTo>
                <a:lnTo>
                  <a:pt x="241" y="385"/>
                </a:lnTo>
                <a:lnTo>
                  <a:pt x="236" y="380"/>
                </a:lnTo>
                <a:lnTo>
                  <a:pt x="233" y="375"/>
                </a:lnTo>
                <a:lnTo>
                  <a:pt x="231" y="369"/>
                </a:lnTo>
                <a:lnTo>
                  <a:pt x="224" y="347"/>
                </a:lnTo>
                <a:lnTo>
                  <a:pt x="218" y="325"/>
                </a:lnTo>
                <a:lnTo>
                  <a:pt x="212" y="303"/>
                </a:lnTo>
                <a:lnTo>
                  <a:pt x="206" y="281"/>
                </a:lnTo>
                <a:lnTo>
                  <a:pt x="203" y="267"/>
                </a:lnTo>
                <a:lnTo>
                  <a:pt x="199" y="253"/>
                </a:lnTo>
                <a:lnTo>
                  <a:pt x="196" y="239"/>
                </a:lnTo>
                <a:lnTo>
                  <a:pt x="192" y="225"/>
                </a:lnTo>
                <a:lnTo>
                  <a:pt x="186" y="227"/>
                </a:lnTo>
                <a:lnTo>
                  <a:pt x="180" y="229"/>
                </a:lnTo>
                <a:lnTo>
                  <a:pt x="178" y="231"/>
                </a:lnTo>
                <a:lnTo>
                  <a:pt x="176" y="232"/>
                </a:lnTo>
                <a:lnTo>
                  <a:pt x="174" y="234"/>
                </a:lnTo>
                <a:lnTo>
                  <a:pt x="176" y="239"/>
                </a:lnTo>
                <a:lnTo>
                  <a:pt x="178" y="249"/>
                </a:lnTo>
                <a:lnTo>
                  <a:pt x="181" y="261"/>
                </a:lnTo>
                <a:lnTo>
                  <a:pt x="184" y="271"/>
                </a:lnTo>
                <a:lnTo>
                  <a:pt x="186" y="283"/>
                </a:lnTo>
                <a:lnTo>
                  <a:pt x="192" y="304"/>
                </a:lnTo>
                <a:lnTo>
                  <a:pt x="198" y="326"/>
                </a:lnTo>
                <a:lnTo>
                  <a:pt x="204" y="348"/>
                </a:lnTo>
                <a:lnTo>
                  <a:pt x="210" y="369"/>
                </a:lnTo>
                <a:lnTo>
                  <a:pt x="212" y="376"/>
                </a:lnTo>
                <a:lnTo>
                  <a:pt x="214" y="383"/>
                </a:lnTo>
                <a:lnTo>
                  <a:pt x="218" y="388"/>
                </a:lnTo>
                <a:lnTo>
                  <a:pt x="224" y="394"/>
                </a:lnTo>
                <a:lnTo>
                  <a:pt x="247" y="415"/>
                </a:lnTo>
                <a:lnTo>
                  <a:pt x="272" y="437"/>
                </a:lnTo>
                <a:lnTo>
                  <a:pt x="296" y="459"/>
                </a:lnTo>
                <a:lnTo>
                  <a:pt x="319" y="480"/>
                </a:lnTo>
                <a:lnTo>
                  <a:pt x="336" y="494"/>
                </a:lnTo>
                <a:lnTo>
                  <a:pt x="352" y="509"/>
                </a:lnTo>
                <a:lnTo>
                  <a:pt x="336" y="520"/>
                </a:lnTo>
                <a:lnTo>
                  <a:pt x="319" y="529"/>
                </a:lnTo>
                <a:lnTo>
                  <a:pt x="293" y="546"/>
                </a:lnTo>
                <a:lnTo>
                  <a:pt x="265" y="562"/>
                </a:lnTo>
                <a:lnTo>
                  <a:pt x="236" y="578"/>
                </a:lnTo>
                <a:lnTo>
                  <a:pt x="208" y="595"/>
                </a:lnTo>
                <a:lnTo>
                  <a:pt x="201" y="599"/>
                </a:lnTo>
                <a:lnTo>
                  <a:pt x="196" y="604"/>
                </a:lnTo>
                <a:lnTo>
                  <a:pt x="191" y="610"/>
                </a:lnTo>
                <a:lnTo>
                  <a:pt x="187" y="618"/>
                </a:lnTo>
                <a:lnTo>
                  <a:pt x="184" y="626"/>
                </a:lnTo>
                <a:lnTo>
                  <a:pt x="180" y="633"/>
                </a:lnTo>
                <a:lnTo>
                  <a:pt x="180" y="638"/>
                </a:lnTo>
                <a:lnTo>
                  <a:pt x="180" y="641"/>
                </a:lnTo>
                <a:lnTo>
                  <a:pt x="181" y="646"/>
                </a:lnTo>
                <a:lnTo>
                  <a:pt x="184" y="651"/>
                </a:lnTo>
                <a:lnTo>
                  <a:pt x="187" y="655"/>
                </a:lnTo>
                <a:lnTo>
                  <a:pt x="190" y="658"/>
                </a:lnTo>
                <a:lnTo>
                  <a:pt x="193" y="657"/>
                </a:lnTo>
                <a:lnTo>
                  <a:pt x="198" y="654"/>
                </a:lnTo>
                <a:lnTo>
                  <a:pt x="224" y="639"/>
                </a:lnTo>
                <a:lnTo>
                  <a:pt x="249" y="624"/>
                </a:lnTo>
                <a:lnTo>
                  <a:pt x="275" y="610"/>
                </a:lnTo>
                <a:lnTo>
                  <a:pt x="301" y="595"/>
                </a:lnTo>
                <a:lnTo>
                  <a:pt x="322" y="582"/>
                </a:lnTo>
                <a:lnTo>
                  <a:pt x="343" y="569"/>
                </a:lnTo>
                <a:lnTo>
                  <a:pt x="364" y="557"/>
                </a:lnTo>
                <a:lnTo>
                  <a:pt x="385" y="544"/>
                </a:lnTo>
                <a:lnTo>
                  <a:pt x="388" y="544"/>
                </a:lnTo>
                <a:lnTo>
                  <a:pt x="391" y="546"/>
                </a:lnTo>
                <a:lnTo>
                  <a:pt x="390" y="548"/>
                </a:lnTo>
                <a:lnTo>
                  <a:pt x="388" y="550"/>
                </a:lnTo>
                <a:lnTo>
                  <a:pt x="381" y="554"/>
                </a:lnTo>
                <a:lnTo>
                  <a:pt x="374" y="558"/>
                </a:lnTo>
                <a:lnTo>
                  <a:pt x="353" y="570"/>
                </a:lnTo>
                <a:lnTo>
                  <a:pt x="332" y="582"/>
                </a:lnTo>
                <a:lnTo>
                  <a:pt x="311" y="594"/>
                </a:lnTo>
                <a:lnTo>
                  <a:pt x="291" y="605"/>
                </a:lnTo>
                <a:lnTo>
                  <a:pt x="275" y="615"/>
                </a:lnTo>
                <a:lnTo>
                  <a:pt x="259" y="624"/>
                </a:lnTo>
                <a:lnTo>
                  <a:pt x="242" y="633"/>
                </a:lnTo>
                <a:lnTo>
                  <a:pt x="226" y="643"/>
                </a:lnTo>
                <a:lnTo>
                  <a:pt x="215" y="648"/>
                </a:lnTo>
                <a:lnTo>
                  <a:pt x="206" y="654"/>
                </a:lnTo>
                <a:lnTo>
                  <a:pt x="196" y="660"/>
                </a:lnTo>
                <a:lnTo>
                  <a:pt x="185" y="666"/>
                </a:lnTo>
                <a:lnTo>
                  <a:pt x="192" y="673"/>
                </a:lnTo>
                <a:lnTo>
                  <a:pt x="197" y="675"/>
                </a:lnTo>
                <a:lnTo>
                  <a:pt x="203" y="674"/>
                </a:lnTo>
                <a:lnTo>
                  <a:pt x="210" y="671"/>
                </a:lnTo>
                <a:lnTo>
                  <a:pt x="222" y="664"/>
                </a:lnTo>
                <a:lnTo>
                  <a:pt x="235" y="657"/>
                </a:lnTo>
                <a:lnTo>
                  <a:pt x="248" y="650"/>
                </a:lnTo>
                <a:lnTo>
                  <a:pt x="261" y="641"/>
                </a:lnTo>
                <a:lnTo>
                  <a:pt x="296" y="622"/>
                </a:lnTo>
                <a:lnTo>
                  <a:pt x="330" y="602"/>
                </a:lnTo>
                <a:lnTo>
                  <a:pt x="365" y="582"/>
                </a:lnTo>
                <a:lnTo>
                  <a:pt x="399" y="562"/>
                </a:lnTo>
                <a:lnTo>
                  <a:pt x="404" y="560"/>
                </a:lnTo>
                <a:lnTo>
                  <a:pt x="407" y="560"/>
                </a:lnTo>
                <a:lnTo>
                  <a:pt x="410" y="562"/>
                </a:lnTo>
                <a:lnTo>
                  <a:pt x="412" y="565"/>
                </a:lnTo>
                <a:lnTo>
                  <a:pt x="402" y="571"/>
                </a:lnTo>
                <a:lnTo>
                  <a:pt x="392" y="577"/>
                </a:lnTo>
                <a:lnTo>
                  <a:pt x="381" y="583"/>
                </a:lnTo>
                <a:lnTo>
                  <a:pt x="371" y="589"/>
                </a:lnTo>
                <a:lnTo>
                  <a:pt x="328" y="615"/>
                </a:lnTo>
                <a:lnTo>
                  <a:pt x="284" y="640"/>
                </a:lnTo>
                <a:lnTo>
                  <a:pt x="240" y="666"/>
                </a:lnTo>
                <a:lnTo>
                  <a:pt x="197" y="692"/>
                </a:lnTo>
                <a:lnTo>
                  <a:pt x="190" y="696"/>
                </a:lnTo>
                <a:lnTo>
                  <a:pt x="184" y="700"/>
                </a:lnTo>
                <a:lnTo>
                  <a:pt x="179" y="706"/>
                </a:lnTo>
                <a:lnTo>
                  <a:pt x="176" y="714"/>
                </a:lnTo>
                <a:lnTo>
                  <a:pt x="173" y="722"/>
                </a:lnTo>
                <a:lnTo>
                  <a:pt x="169" y="730"/>
                </a:lnTo>
                <a:lnTo>
                  <a:pt x="167" y="734"/>
                </a:lnTo>
                <a:lnTo>
                  <a:pt x="166" y="737"/>
                </a:lnTo>
                <a:lnTo>
                  <a:pt x="167" y="741"/>
                </a:lnTo>
                <a:lnTo>
                  <a:pt x="170" y="743"/>
                </a:lnTo>
                <a:close/>
                <a:moveTo>
                  <a:pt x="1215" y="1211"/>
                </a:moveTo>
                <a:lnTo>
                  <a:pt x="1202" y="1215"/>
                </a:lnTo>
                <a:lnTo>
                  <a:pt x="1191" y="1219"/>
                </a:lnTo>
                <a:lnTo>
                  <a:pt x="1179" y="1222"/>
                </a:lnTo>
                <a:lnTo>
                  <a:pt x="1166" y="1226"/>
                </a:lnTo>
                <a:lnTo>
                  <a:pt x="1173" y="1221"/>
                </a:lnTo>
                <a:lnTo>
                  <a:pt x="1186" y="1217"/>
                </a:lnTo>
                <a:lnTo>
                  <a:pt x="1202" y="1211"/>
                </a:lnTo>
                <a:lnTo>
                  <a:pt x="1219" y="1207"/>
                </a:lnTo>
                <a:lnTo>
                  <a:pt x="1215" y="1211"/>
                </a:lnTo>
                <a:close/>
                <a:moveTo>
                  <a:pt x="749" y="1346"/>
                </a:moveTo>
                <a:lnTo>
                  <a:pt x="749" y="1345"/>
                </a:lnTo>
                <a:lnTo>
                  <a:pt x="747" y="1343"/>
                </a:lnTo>
                <a:lnTo>
                  <a:pt x="799" y="1329"/>
                </a:lnTo>
                <a:lnTo>
                  <a:pt x="850" y="1314"/>
                </a:lnTo>
                <a:lnTo>
                  <a:pt x="902" y="1298"/>
                </a:lnTo>
                <a:lnTo>
                  <a:pt x="952" y="1284"/>
                </a:lnTo>
                <a:lnTo>
                  <a:pt x="1004" y="1269"/>
                </a:lnTo>
                <a:lnTo>
                  <a:pt x="1055" y="1254"/>
                </a:lnTo>
                <a:lnTo>
                  <a:pt x="1106" y="1239"/>
                </a:lnTo>
                <a:lnTo>
                  <a:pt x="1157" y="1225"/>
                </a:lnTo>
                <a:lnTo>
                  <a:pt x="1158" y="1226"/>
                </a:lnTo>
                <a:lnTo>
                  <a:pt x="1158" y="1228"/>
                </a:lnTo>
                <a:lnTo>
                  <a:pt x="1108" y="1243"/>
                </a:lnTo>
                <a:lnTo>
                  <a:pt x="1056" y="1259"/>
                </a:lnTo>
                <a:lnTo>
                  <a:pt x="1005" y="1274"/>
                </a:lnTo>
                <a:lnTo>
                  <a:pt x="954" y="1289"/>
                </a:lnTo>
                <a:lnTo>
                  <a:pt x="903" y="1303"/>
                </a:lnTo>
                <a:lnTo>
                  <a:pt x="852" y="1318"/>
                </a:lnTo>
                <a:lnTo>
                  <a:pt x="800" y="1332"/>
                </a:lnTo>
                <a:lnTo>
                  <a:pt x="749" y="1346"/>
                </a:lnTo>
                <a:close/>
                <a:moveTo>
                  <a:pt x="728" y="1256"/>
                </a:moveTo>
                <a:lnTo>
                  <a:pt x="723" y="1257"/>
                </a:lnTo>
                <a:lnTo>
                  <a:pt x="718" y="1257"/>
                </a:lnTo>
                <a:lnTo>
                  <a:pt x="718" y="1256"/>
                </a:lnTo>
                <a:lnTo>
                  <a:pt x="718" y="1255"/>
                </a:lnTo>
                <a:lnTo>
                  <a:pt x="721" y="1254"/>
                </a:lnTo>
                <a:lnTo>
                  <a:pt x="723" y="1254"/>
                </a:lnTo>
                <a:lnTo>
                  <a:pt x="729" y="1253"/>
                </a:lnTo>
                <a:lnTo>
                  <a:pt x="736" y="1252"/>
                </a:lnTo>
                <a:lnTo>
                  <a:pt x="740" y="1249"/>
                </a:lnTo>
                <a:lnTo>
                  <a:pt x="745" y="1245"/>
                </a:lnTo>
                <a:lnTo>
                  <a:pt x="746" y="1243"/>
                </a:lnTo>
                <a:lnTo>
                  <a:pt x="747" y="1243"/>
                </a:lnTo>
                <a:lnTo>
                  <a:pt x="759" y="1240"/>
                </a:lnTo>
                <a:lnTo>
                  <a:pt x="771" y="1236"/>
                </a:lnTo>
                <a:lnTo>
                  <a:pt x="783" y="1233"/>
                </a:lnTo>
                <a:lnTo>
                  <a:pt x="794" y="1231"/>
                </a:lnTo>
                <a:lnTo>
                  <a:pt x="799" y="1229"/>
                </a:lnTo>
                <a:lnTo>
                  <a:pt x="804" y="1229"/>
                </a:lnTo>
                <a:lnTo>
                  <a:pt x="787" y="1236"/>
                </a:lnTo>
                <a:lnTo>
                  <a:pt x="772" y="1243"/>
                </a:lnTo>
                <a:lnTo>
                  <a:pt x="760" y="1247"/>
                </a:lnTo>
                <a:lnTo>
                  <a:pt x="750" y="1250"/>
                </a:lnTo>
                <a:lnTo>
                  <a:pt x="738" y="1254"/>
                </a:lnTo>
                <a:lnTo>
                  <a:pt x="728" y="1256"/>
                </a:lnTo>
                <a:close/>
                <a:moveTo>
                  <a:pt x="836" y="1255"/>
                </a:moveTo>
                <a:lnTo>
                  <a:pt x="836" y="1255"/>
                </a:lnTo>
                <a:lnTo>
                  <a:pt x="838" y="1255"/>
                </a:lnTo>
                <a:lnTo>
                  <a:pt x="838" y="1270"/>
                </a:lnTo>
                <a:lnTo>
                  <a:pt x="838" y="1287"/>
                </a:lnTo>
                <a:lnTo>
                  <a:pt x="836" y="1287"/>
                </a:lnTo>
                <a:lnTo>
                  <a:pt x="836" y="1287"/>
                </a:lnTo>
                <a:lnTo>
                  <a:pt x="836" y="1270"/>
                </a:lnTo>
                <a:lnTo>
                  <a:pt x="836" y="1255"/>
                </a:lnTo>
                <a:close/>
                <a:moveTo>
                  <a:pt x="877" y="1271"/>
                </a:moveTo>
                <a:lnTo>
                  <a:pt x="876" y="1271"/>
                </a:lnTo>
                <a:lnTo>
                  <a:pt x="876" y="1273"/>
                </a:lnTo>
                <a:lnTo>
                  <a:pt x="869" y="1261"/>
                </a:lnTo>
                <a:lnTo>
                  <a:pt x="862" y="1249"/>
                </a:lnTo>
                <a:lnTo>
                  <a:pt x="868" y="1253"/>
                </a:lnTo>
                <a:lnTo>
                  <a:pt x="871" y="1259"/>
                </a:lnTo>
                <a:lnTo>
                  <a:pt x="875" y="1266"/>
                </a:lnTo>
                <a:lnTo>
                  <a:pt x="877" y="1271"/>
                </a:lnTo>
                <a:close/>
                <a:moveTo>
                  <a:pt x="889" y="1239"/>
                </a:moveTo>
                <a:lnTo>
                  <a:pt x="889" y="1254"/>
                </a:lnTo>
                <a:lnTo>
                  <a:pt x="889" y="1269"/>
                </a:lnTo>
                <a:lnTo>
                  <a:pt x="889" y="1269"/>
                </a:lnTo>
                <a:lnTo>
                  <a:pt x="889" y="1269"/>
                </a:lnTo>
                <a:lnTo>
                  <a:pt x="888" y="1254"/>
                </a:lnTo>
                <a:lnTo>
                  <a:pt x="885" y="1240"/>
                </a:lnTo>
                <a:lnTo>
                  <a:pt x="888" y="1240"/>
                </a:lnTo>
                <a:lnTo>
                  <a:pt x="889" y="1239"/>
                </a:lnTo>
                <a:close/>
                <a:moveTo>
                  <a:pt x="944" y="1225"/>
                </a:moveTo>
                <a:lnTo>
                  <a:pt x="950" y="1238"/>
                </a:lnTo>
                <a:lnTo>
                  <a:pt x="954" y="1250"/>
                </a:lnTo>
                <a:lnTo>
                  <a:pt x="953" y="1250"/>
                </a:lnTo>
                <a:lnTo>
                  <a:pt x="952" y="1250"/>
                </a:lnTo>
                <a:lnTo>
                  <a:pt x="947" y="1239"/>
                </a:lnTo>
                <a:lnTo>
                  <a:pt x="942" y="1226"/>
                </a:lnTo>
                <a:lnTo>
                  <a:pt x="943" y="1226"/>
                </a:lnTo>
                <a:lnTo>
                  <a:pt x="944" y="1225"/>
                </a:lnTo>
                <a:close/>
                <a:moveTo>
                  <a:pt x="968" y="1213"/>
                </a:moveTo>
                <a:lnTo>
                  <a:pt x="975" y="1218"/>
                </a:lnTo>
                <a:lnTo>
                  <a:pt x="983" y="1225"/>
                </a:lnTo>
                <a:lnTo>
                  <a:pt x="987" y="1232"/>
                </a:lnTo>
                <a:lnTo>
                  <a:pt x="990" y="1236"/>
                </a:lnTo>
                <a:lnTo>
                  <a:pt x="978" y="1226"/>
                </a:lnTo>
                <a:lnTo>
                  <a:pt x="967" y="1214"/>
                </a:lnTo>
                <a:lnTo>
                  <a:pt x="968" y="1214"/>
                </a:lnTo>
                <a:lnTo>
                  <a:pt x="968" y="1213"/>
                </a:lnTo>
                <a:close/>
                <a:moveTo>
                  <a:pt x="1007" y="1203"/>
                </a:moveTo>
                <a:lnTo>
                  <a:pt x="1007" y="1203"/>
                </a:lnTo>
                <a:lnTo>
                  <a:pt x="1007" y="1203"/>
                </a:lnTo>
                <a:lnTo>
                  <a:pt x="1008" y="1208"/>
                </a:lnTo>
                <a:lnTo>
                  <a:pt x="1008" y="1215"/>
                </a:lnTo>
                <a:lnTo>
                  <a:pt x="1009" y="1214"/>
                </a:lnTo>
                <a:lnTo>
                  <a:pt x="1011" y="1213"/>
                </a:lnTo>
                <a:lnTo>
                  <a:pt x="1020" y="1221"/>
                </a:lnTo>
                <a:lnTo>
                  <a:pt x="1029" y="1228"/>
                </a:lnTo>
                <a:lnTo>
                  <a:pt x="1028" y="1229"/>
                </a:lnTo>
                <a:lnTo>
                  <a:pt x="1028" y="1231"/>
                </a:lnTo>
                <a:lnTo>
                  <a:pt x="1019" y="1225"/>
                </a:lnTo>
                <a:lnTo>
                  <a:pt x="1009" y="1217"/>
                </a:lnTo>
                <a:lnTo>
                  <a:pt x="1008" y="1227"/>
                </a:lnTo>
                <a:lnTo>
                  <a:pt x="1008" y="1234"/>
                </a:lnTo>
                <a:lnTo>
                  <a:pt x="1007" y="1234"/>
                </a:lnTo>
                <a:lnTo>
                  <a:pt x="1007" y="1234"/>
                </a:lnTo>
                <a:lnTo>
                  <a:pt x="1007" y="1219"/>
                </a:lnTo>
                <a:lnTo>
                  <a:pt x="1007" y="1203"/>
                </a:lnTo>
                <a:close/>
                <a:moveTo>
                  <a:pt x="1044" y="1190"/>
                </a:moveTo>
                <a:lnTo>
                  <a:pt x="1051" y="1203"/>
                </a:lnTo>
                <a:lnTo>
                  <a:pt x="1059" y="1215"/>
                </a:lnTo>
                <a:lnTo>
                  <a:pt x="1059" y="1217"/>
                </a:lnTo>
                <a:lnTo>
                  <a:pt x="1057" y="1217"/>
                </a:lnTo>
                <a:lnTo>
                  <a:pt x="1050" y="1207"/>
                </a:lnTo>
                <a:lnTo>
                  <a:pt x="1043" y="1198"/>
                </a:lnTo>
                <a:lnTo>
                  <a:pt x="1042" y="1194"/>
                </a:lnTo>
                <a:lnTo>
                  <a:pt x="1042" y="1191"/>
                </a:lnTo>
                <a:lnTo>
                  <a:pt x="1043" y="1190"/>
                </a:lnTo>
                <a:lnTo>
                  <a:pt x="1044" y="1190"/>
                </a:lnTo>
                <a:close/>
                <a:moveTo>
                  <a:pt x="1070" y="1184"/>
                </a:moveTo>
                <a:lnTo>
                  <a:pt x="1071" y="1200"/>
                </a:lnTo>
                <a:lnTo>
                  <a:pt x="1074" y="1215"/>
                </a:lnTo>
                <a:lnTo>
                  <a:pt x="1073" y="1215"/>
                </a:lnTo>
                <a:lnTo>
                  <a:pt x="1071" y="1215"/>
                </a:lnTo>
                <a:lnTo>
                  <a:pt x="1070" y="1200"/>
                </a:lnTo>
                <a:lnTo>
                  <a:pt x="1068" y="1184"/>
                </a:lnTo>
                <a:lnTo>
                  <a:pt x="1069" y="1184"/>
                </a:lnTo>
                <a:lnTo>
                  <a:pt x="1070" y="1184"/>
                </a:lnTo>
                <a:close/>
                <a:moveTo>
                  <a:pt x="1090" y="1178"/>
                </a:moveTo>
                <a:lnTo>
                  <a:pt x="1090" y="1178"/>
                </a:lnTo>
                <a:lnTo>
                  <a:pt x="1091" y="1178"/>
                </a:lnTo>
                <a:lnTo>
                  <a:pt x="1091" y="1194"/>
                </a:lnTo>
                <a:lnTo>
                  <a:pt x="1091" y="1211"/>
                </a:lnTo>
                <a:lnTo>
                  <a:pt x="1090" y="1211"/>
                </a:lnTo>
                <a:lnTo>
                  <a:pt x="1090" y="1211"/>
                </a:lnTo>
                <a:lnTo>
                  <a:pt x="1090" y="1194"/>
                </a:lnTo>
                <a:lnTo>
                  <a:pt x="1090" y="1178"/>
                </a:lnTo>
                <a:close/>
                <a:moveTo>
                  <a:pt x="1120" y="1168"/>
                </a:moveTo>
                <a:lnTo>
                  <a:pt x="1128" y="1173"/>
                </a:lnTo>
                <a:lnTo>
                  <a:pt x="1133" y="1179"/>
                </a:lnTo>
                <a:lnTo>
                  <a:pt x="1137" y="1183"/>
                </a:lnTo>
                <a:lnTo>
                  <a:pt x="1140" y="1185"/>
                </a:lnTo>
                <a:lnTo>
                  <a:pt x="1143" y="1186"/>
                </a:lnTo>
                <a:lnTo>
                  <a:pt x="1144" y="1187"/>
                </a:lnTo>
                <a:lnTo>
                  <a:pt x="1144" y="1190"/>
                </a:lnTo>
                <a:lnTo>
                  <a:pt x="1144" y="1193"/>
                </a:lnTo>
                <a:lnTo>
                  <a:pt x="1131" y="1182"/>
                </a:lnTo>
                <a:lnTo>
                  <a:pt x="1119" y="1170"/>
                </a:lnTo>
                <a:lnTo>
                  <a:pt x="1119" y="1169"/>
                </a:lnTo>
                <a:lnTo>
                  <a:pt x="1120" y="1168"/>
                </a:lnTo>
                <a:close/>
                <a:moveTo>
                  <a:pt x="666" y="1350"/>
                </a:moveTo>
                <a:lnTo>
                  <a:pt x="660" y="1350"/>
                </a:lnTo>
                <a:lnTo>
                  <a:pt x="653" y="1350"/>
                </a:lnTo>
                <a:lnTo>
                  <a:pt x="654" y="1347"/>
                </a:lnTo>
                <a:lnTo>
                  <a:pt x="654" y="1346"/>
                </a:lnTo>
                <a:lnTo>
                  <a:pt x="660" y="1346"/>
                </a:lnTo>
                <a:lnTo>
                  <a:pt x="667" y="1347"/>
                </a:lnTo>
                <a:lnTo>
                  <a:pt x="666" y="1349"/>
                </a:lnTo>
                <a:lnTo>
                  <a:pt x="666" y="1350"/>
                </a:lnTo>
                <a:close/>
                <a:moveTo>
                  <a:pt x="618" y="1359"/>
                </a:moveTo>
                <a:lnTo>
                  <a:pt x="618" y="1358"/>
                </a:lnTo>
                <a:lnTo>
                  <a:pt x="618" y="1357"/>
                </a:lnTo>
                <a:lnTo>
                  <a:pt x="628" y="1352"/>
                </a:lnTo>
                <a:lnTo>
                  <a:pt x="636" y="1350"/>
                </a:lnTo>
                <a:lnTo>
                  <a:pt x="643" y="1350"/>
                </a:lnTo>
                <a:lnTo>
                  <a:pt x="650" y="1351"/>
                </a:lnTo>
                <a:lnTo>
                  <a:pt x="634" y="1356"/>
                </a:lnTo>
                <a:lnTo>
                  <a:pt x="618" y="1359"/>
                </a:lnTo>
                <a:close/>
                <a:moveTo>
                  <a:pt x="538" y="1391"/>
                </a:moveTo>
                <a:lnTo>
                  <a:pt x="537" y="1391"/>
                </a:lnTo>
                <a:lnTo>
                  <a:pt x="536" y="1391"/>
                </a:lnTo>
                <a:lnTo>
                  <a:pt x="537" y="1375"/>
                </a:lnTo>
                <a:lnTo>
                  <a:pt x="538" y="1359"/>
                </a:lnTo>
                <a:lnTo>
                  <a:pt x="539" y="1359"/>
                </a:lnTo>
                <a:lnTo>
                  <a:pt x="540" y="1359"/>
                </a:lnTo>
                <a:lnTo>
                  <a:pt x="539" y="1375"/>
                </a:lnTo>
                <a:lnTo>
                  <a:pt x="538" y="1391"/>
                </a:lnTo>
                <a:close/>
                <a:moveTo>
                  <a:pt x="517" y="1381"/>
                </a:moveTo>
                <a:lnTo>
                  <a:pt x="516" y="1381"/>
                </a:lnTo>
                <a:lnTo>
                  <a:pt x="515" y="1381"/>
                </a:lnTo>
                <a:lnTo>
                  <a:pt x="516" y="1364"/>
                </a:lnTo>
                <a:lnTo>
                  <a:pt x="517" y="1346"/>
                </a:lnTo>
                <a:lnTo>
                  <a:pt x="517" y="1346"/>
                </a:lnTo>
                <a:lnTo>
                  <a:pt x="517" y="1347"/>
                </a:lnTo>
                <a:lnTo>
                  <a:pt x="517" y="1364"/>
                </a:lnTo>
                <a:lnTo>
                  <a:pt x="517" y="1381"/>
                </a:lnTo>
                <a:close/>
                <a:moveTo>
                  <a:pt x="498" y="1372"/>
                </a:moveTo>
                <a:lnTo>
                  <a:pt x="497" y="1372"/>
                </a:lnTo>
                <a:lnTo>
                  <a:pt x="497" y="1372"/>
                </a:lnTo>
                <a:lnTo>
                  <a:pt x="497" y="1363"/>
                </a:lnTo>
                <a:lnTo>
                  <a:pt x="497" y="1354"/>
                </a:lnTo>
                <a:lnTo>
                  <a:pt x="497" y="1345"/>
                </a:lnTo>
                <a:lnTo>
                  <a:pt x="497" y="1336"/>
                </a:lnTo>
                <a:lnTo>
                  <a:pt x="501" y="1338"/>
                </a:lnTo>
                <a:lnTo>
                  <a:pt x="502" y="1340"/>
                </a:lnTo>
                <a:lnTo>
                  <a:pt x="500" y="1356"/>
                </a:lnTo>
                <a:lnTo>
                  <a:pt x="498" y="1372"/>
                </a:lnTo>
                <a:close/>
                <a:moveTo>
                  <a:pt x="482" y="1365"/>
                </a:moveTo>
                <a:lnTo>
                  <a:pt x="483" y="1361"/>
                </a:lnTo>
                <a:lnTo>
                  <a:pt x="483" y="1358"/>
                </a:lnTo>
                <a:lnTo>
                  <a:pt x="483" y="1356"/>
                </a:lnTo>
                <a:lnTo>
                  <a:pt x="482" y="1353"/>
                </a:lnTo>
                <a:lnTo>
                  <a:pt x="479" y="1347"/>
                </a:lnTo>
                <a:lnTo>
                  <a:pt x="475" y="1343"/>
                </a:lnTo>
                <a:lnTo>
                  <a:pt x="473" y="1338"/>
                </a:lnTo>
                <a:lnTo>
                  <a:pt x="473" y="1335"/>
                </a:lnTo>
                <a:lnTo>
                  <a:pt x="473" y="1332"/>
                </a:lnTo>
                <a:lnTo>
                  <a:pt x="474" y="1329"/>
                </a:lnTo>
                <a:lnTo>
                  <a:pt x="476" y="1337"/>
                </a:lnTo>
                <a:lnTo>
                  <a:pt x="481" y="1345"/>
                </a:lnTo>
                <a:lnTo>
                  <a:pt x="483" y="1350"/>
                </a:lnTo>
                <a:lnTo>
                  <a:pt x="484" y="1354"/>
                </a:lnTo>
                <a:lnTo>
                  <a:pt x="484" y="1360"/>
                </a:lnTo>
                <a:lnTo>
                  <a:pt x="482" y="1365"/>
                </a:lnTo>
                <a:close/>
                <a:moveTo>
                  <a:pt x="463" y="1354"/>
                </a:moveTo>
                <a:lnTo>
                  <a:pt x="457" y="1340"/>
                </a:lnTo>
                <a:lnTo>
                  <a:pt x="452" y="1328"/>
                </a:lnTo>
                <a:lnTo>
                  <a:pt x="453" y="1328"/>
                </a:lnTo>
                <a:lnTo>
                  <a:pt x="455" y="1326"/>
                </a:lnTo>
                <a:lnTo>
                  <a:pt x="460" y="1339"/>
                </a:lnTo>
                <a:lnTo>
                  <a:pt x="466" y="1353"/>
                </a:lnTo>
                <a:lnTo>
                  <a:pt x="464" y="1353"/>
                </a:lnTo>
                <a:lnTo>
                  <a:pt x="463" y="1354"/>
                </a:lnTo>
                <a:close/>
                <a:moveTo>
                  <a:pt x="433" y="1343"/>
                </a:moveTo>
                <a:lnTo>
                  <a:pt x="432" y="1333"/>
                </a:lnTo>
                <a:lnTo>
                  <a:pt x="433" y="1324"/>
                </a:lnTo>
                <a:lnTo>
                  <a:pt x="433" y="1315"/>
                </a:lnTo>
                <a:lnTo>
                  <a:pt x="434" y="1305"/>
                </a:lnTo>
                <a:lnTo>
                  <a:pt x="435" y="1315"/>
                </a:lnTo>
                <a:lnTo>
                  <a:pt x="435" y="1324"/>
                </a:lnTo>
                <a:lnTo>
                  <a:pt x="434" y="1333"/>
                </a:lnTo>
                <a:lnTo>
                  <a:pt x="433" y="1343"/>
                </a:lnTo>
                <a:close/>
                <a:moveTo>
                  <a:pt x="420" y="1336"/>
                </a:moveTo>
                <a:lnTo>
                  <a:pt x="420" y="1336"/>
                </a:lnTo>
                <a:lnTo>
                  <a:pt x="419" y="1336"/>
                </a:lnTo>
                <a:lnTo>
                  <a:pt x="418" y="1335"/>
                </a:lnTo>
                <a:lnTo>
                  <a:pt x="417" y="1332"/>
                </a:lnTo>
                <a:lnTo>
                  <a:pt x="418" y="1326"/>
                </a:lnTo>
                <a:lnTo>
                  <a:pt x="418" y="1319"/>
                </a:lnTo>
                <a:lnTo>
                  <a:pt x="419" y="1316"/>
                </a:lnTo>
                <a:lnTo>
                  <a:pt x="418" y="1314"/>
                </a:lnTo>
                <a:lnTo>
                  <a:pt x="417" y="1310"/>
                </a:lnTo>
                <a:lnTo>
                  <a:pt x="415" y="1307"/>
                </a:lnTo>
                <a:lnTo>
                  <a:pt x="415" y="1303"/>
                </a:lnTo>
                <a:lnTo>
                  <a:pt x="419" y="1297"/>
                </a:lnTo>
                <a:lnTo>
                  <a:pt x="421" y="1298"/>
                </a:lnTo>
                <a:lnTo>
                  <a:pt x="422" y="1301"/>
                </a:lnTo>
                <a:lnTo>
                  <a:pt x="422" y="1309"/>
                </a:lnTo>
                <a:lnTo>
                  <a:pt x="421" y="1318"/>
                </a:lnTo>
                <a:lnTo>
                  <a:pt x="421" y="1326"/>
                </a:lnTo>
                <a:lnTo>
                  <a:pt x="420" y="1336"/>
                </a:lnTo>
                <a:close/>
                <a:moveTo>
                  <a:pt x="407" y="1328"/>
                </a:moveTo>
                <a:lnTo>
                  <a:pt x="404" y="1317"/>
                </a:lnTo>
                <a:lnTo>
                  <a:pt x="401" y="1308"/>
                </a:lnTo>
                <a:lnTo>
                  <a:pt x="398" y="1298"/>
                </a:lnTo>
                <a:lnTo>
                  <a:pt x="395" y="1288"/>
                </a:lnTo>
                <a:lnTo>
                  <a:pt x="397" y="1288"/>
                </a:lnTo>
                <a:lnTo>
                  <a:pt x="398" y="1288"/>
                </a:lnTo>
                <a:lnTo>
                  <a:pt x="401" y="1291"/>
                </a:lnTo>
                <a:lnTo>
                  <a:pt x="402" y="1296"/>
                </a:lnTo>
                <a:lnTo>
                  <a:pt x="404" y="1302"/>
                </a:lnTo>
                <a:lnTo>
                  <a:pt x="405" y="1307"/>
                </a:lnTo>
                <a:lnTo>
                  <a:pt x="407" y="1317"/>
                </a:lnTo>
                <a:lnTo>
                  <a:pt x="411" y="1326"/>
                </a:lnTo>
                <a:lnTo>
                  <a:pt x="408" y="1326"/>
                </a:lnTo>
                <a:lnTo>
                  <a:pt x="407" y="1328"/>
                </a:lnTo>
                <a:close/>
                <a:moveTo>
                  <a:pt x="378" y="1316"/>
                </a:moveTo>
                <a:lnTo>
                  <a:pt x="376" y="1307"/>
                </a:lnTo>
                <a:lnTo>
                  <a:pt x="376" y="1297"/>
                </a:lnTo>
                <a:lnTo>
                  <a:pt x="377" y="1287"/>
                </a:lnTo>
                <a:lnTo>
                  <a:pt x="376" y="1277"/>
                </a:lnTo>
                <a:lnTo>
                  <a:pt x="380" y="1278"/>
                </a:lnTo>
                <a:lnTo>
                  <a:pt x="383" y="1280"/>
                </a:lnTo>
                <a:lnTo>
                  <a:pt x="380" y="1289"/>
                </a:lnTo>
                <a:lnTo>
                  <a:pt x="380" y="1298"/>
                </a:lnTo>
                <a:lnTo>
                  <a:pt x="379" y="1308"/>
                </a:lnTo>
                <a:lnTo>
                  <a:pt x="378" y="1316"/>
                </a:lnTo>
                <a:close/>
                <a:moveTo>
                  <a:pt x="356" y="1307"/>
                </a:moveTo>
                <a:lnTo>
                  <a:pt x="359" y="1303"/>
                </a:lnTo>
                <a:lnTo>
                  <a:pt x="360" y="1301"/>
                </a:lnTo>
                <a:lnTo>
                  <a:pt x="360" y="1296"/>
                </a:lnTo>
                <a:lnTo>
                  <a:pt x="358" y="1293"/>
                </a:lnTo>
                <a:lnTo>
                  <a:pt x="353" y="1284"/>
                </a:lnTo>
                <a:lnTo>
                  <a:pt x="350" y="1276"/>
                </a:lnTo>
                <a:lnTo>
                  <a:pt x="350" y="1271"/>
                </a:lnTo>
                <a:lnTo>
                  <a:pt x="352" y="1264"/>
                </a:lnTo>
                <a:lnTo>
                  <a:pt x="353" y="1274"/>
                </a:lnTo>
                <a:lnTo>
                  <a:pt x="356" y="1281"/>
                </a:lnTo>
                <a:lnTo>
                  <a:pt x="359" y="1288"/>
                </a:lnTo>
                <a:lnTo>
                  <a:pt x="363" y="1296"/>
                </a:lnTo>
                <a:lnTo>
                  <a:pt x="364" y="1301"/>
                </a:lnTo>
                <a:lnTo>
                  <a:pt x="363" y="1304"/>
                </a:lnTo>
                <a:lnTo>
                  <a:pt x="360" y="1307"/>
                </a:lnTo>
                <a:lnTo>
                  <a:pt x="356" y="1307"/>
                </a:lnTo>
                <a:close/>
                <a:moveTo>
                  <a:pt x="331" y="1275"/>
                </a:moveTo>
                <a:lnTo>
                  <a:pt x="330" y="1285"/>
                </a:lnTo>
                <a:lnTo>
                  <a:pt x="330" y="1295"/>
                </a:lnTo>
                <a:lnTo>
                  <a:pt x="328" y="1291"/>
                </a:lnTo>
                <a:lnTo>
                  <a:pt x="326" y="1289"/>
                </a:lnTo>
                <a:lnTo>
                  <a:pt x="326" y="1281"/>
                </a:lnTo>
                <a:lnTo>
                  <a:pt x="326" y="1271"/>
                </a:lnTo>
                <a:lnTo>
                  <a:pt x="326" y="1262"/>
                </a:lnTo>
                <a:lnTo>
                  <a:pt x="326" y="1253"/>
                </a:lnTo>
                <a:lnTo>
                  <a:pt x="331" y="1255"/>
                </a:lnTo>
                <a:lnTo>
                  <a:pt x="332" y="1256"/>
                </a:lnTo>
                <a:lnTo>
                  <a:pt x="331" y="1263"/>
                </a:lnTo>
                <a:lnTo>
                  <a:pt x="332" y="1269"/>
                </a:lnTo>
                <a:lnTo>
                  <a:pt x="336" y="1275"/>
                </a:lnTo>
                <a:lnTo>
                  <a:pt x="343" y="1280"/>
                </a:lnTo>
                <a:lnTo>
                  <a:pt x="337" y="1277"/>
                </a:lnTo>
                <a:lnTo>
                  <a:pt x="331" y="1275"/>
                </a:lnTo>
                <a:close/>
                <a:moveTo>
                  <a:pt x="309" y="1280"/>
                </a:moveTo>
                <a:lnTo>
                  <a:pt x="308" y="1280"/>
                </a:lnTo>
                <a:lnTo>
                  <a:pt x="307" y="1280"/>
                </a:lnTo>
                <a:lnTo>
                  <a:pt x="304" y="1269"/>
                </a:lnTo>
                <a:lnTo>
                  <a:pt x="301" y="1257"/>
                </a:lnTo>
                <a:lnTo>
                  <a:pt x="297" y="1267"/>
                </a:lnTo>
                <a:lnTo>
                  <a:pt x="295" y="1274"/>
                </a:lnTo>
                <a:lnTo>
                  <a:pt x="294" y="1274"/>
                </a:lnTo>
                <a:lnTo>
                  <a:pt x="293" y="1274"/>
                </a:lnTo>
                <a:lnTo>
                  <a:pt x="291" y="1263"/>
                </a:lnTo>
                <a:lnTo>
                  <a:pt x="289" y="1254"/>
                </a:lnTo>
                <a:lnTo>
                  <a:pt x="288" y="1243"/>
                </a:lnTo>
                <a:lnTo>
                  <a:pt x="286" y="1233"/>
                </a:lnTo>
                <a:lnTo>
                  <a:pt x="289" y="1234"/>
                </a:lnTo>
                <a:lnTo>
                  <a:pt x="290" y="1235"/>
                </a:lnTo>
                <a:lnTo>
                  <a:pt x="291" y="1238"/>
                </a:lnTo>
                <a:lnTo>
                  <a:pt x="293" y="1239"/>
                </a:lnTo>
                <a:lnTo>
                  <a:pt x="293" y="1243"/>
                </a:lnTo>
                <a:lnTo>
                  <a:pt x="293" y="1247"/>
                </a:lnTo>
                <a:lnTo>
                  <a:pt x="294" y="1254"/>
                </a:lnTo>
                <a:lnTo>
                  <a:pt x="295" y="1262"/>
                </a:lnTo>
                <a:lnTo>
                  <a:pt x="296" y="1262"/>
                </a:lnTo>
                <a:lnTo>
                  <a:pt x="298" y="1262"/>
                </a:lnTo>
                <a:lnTo>
                  <a:pt x="300" y="1252"/>
                </a:lnTo>
                <a:lnTo>
                  <a:pt x="301" y="1241"/>
                </a:lnTo>
                <a:lnTo>
                  <a:pt x="302" y="1241"/>
                </a:lnTo>
                <a:lnTo>
                  <a:pt x="303" y="1241"/>
                </a:lnTo>
                <a:lnTo>
                  <a:pt x="304" y="1250"/>
                </a:lnTo>
                <a:lnTo>
                  <a:pt x="307" y="1261"/>
                </a:lnTo>
                <a:lnTo>
                  <a:pt x="307" y="1263"/>
                </a:lnTo>
                <a:lnTo>
                  <a:pt x="307" y="1266"/>
                </a:lnTo>
                <a:lnTo>
                  <a:pt x="307" y="1267"/>
                </a:lnTo>
                <a:lnTo>
                  <a:pt x="308" y="1268"/>
                </a:lnTo>
                <a:lnTo>
                  <a:pt x="309" y="1268"/>
                </a:lnTo>
                <a:lnTo>
                  <a:pt x="311" y="1268"/>
                </a:lnTo>
                <a:lnTo>
                  <a:pt x="310" y="1274"/>
                </a:lnTo>
                <a:lnTo>
                  <a:pt x="309" y="1280"/>
                </a:lnTo>
                <a:close/>
                <a:moveTo>
                  <a:pt x="95" y="1192"/>
                </a:moveTo>
                <a:lnTo>
                  <a:pt x="89" y="1178"/>
                </a:lnTo>
                <a:lnTo>
                  <a:pt x="84" y="1165"/>
                </a:lnTo>
                <a:lnTo>
                  <a:pt x="83" y="1164"/>
                </a:lnTo>
                <a:lnTo>
                  <a:pt x="81" y="1164"/>
                </a:lnTo>
                <a:lnTo>
                  <a:pt x="76" y="1172"/>
                </a:lnTo>
                <a:lnTo>
                  <a:pt x="72" y="1182"/>
                </a:lnTo>
                <a:lnTo>
                  <a:pt x="68" y="1178"/>
                </a:lnTo>
                <a:lnTo>
                  <a:pt x="67" y="1176"/>
                </a:lnTo>
                <a:lnTo>
                  <a:pt x="74" y="1163"/>
                </a:lnTo>
                <a:lnTo>
                  <a:pt x="81" y="1149"/>
                </a:lnTo>
                <a:lnTo>
                  <a:pt x="74" y="1149"/>
                </a:lnTo>
                <a:lnTo>
                  <a:pt x="68" y="1150"/>
                </a:lnTo>
                <a:lnTo>
                  <a:pt x="69" y="1147"/>
                </a:lnTo>
                <a:lnTo>
                  <a:pt x="70" y="1144"/>
                </a:lnTo>
                <a:lnTo>
                  <a:pt x="75" y="1142"/>
                </a:lnTo>
                <a:lnTo>
                  <a:pt x="79" y="1138"/>
                </a:lnTo>
                <a:lnTo>
                  <a:pt x="81" y="1134"/>
                </a:lnTo>
                <a:lnTo>
                  <a:pt x="81" y="1129"/>
                </a:lnTo>
                <a:lnTo>
                  <a:pt x="82" y="1127"/>
                </a:lnTo>
                <a:lnTo>
                  <a:pt x="84" y="1126"/>
                </a:lnTo>
                <a:lnTo>
                  <a:pt x="87" y="1126"/>
                </a:lnTo>
                <a:lnTo>
                  <a:pt x="89" y="1128"/>
                </a:lnTo>
                <a:lnTo>
                  <a:pt x="94" y="1144"/>
                </a:lnTo>
                <a:lnTo>
                  <a:pt x="97" y="1161"/>
                </a:lnTo>
                <a:lnTo>
                  <a:pt x="97" y="1163"/>
                </a:lnTo>
                <a:lnTo>
                  <a:pt x="96" y="1165"/>
                </a:lnTo>
                <a:lnTo>
                  <a:pt x="95" y="1165"/>
                </a:lnTo>
                <a:lnTo>
                  <a:pt x="95" y="1165"/>
                </a:lnTo>
                <a:lnTo>
                  <a:pt x="94" y="1159"/>
                </a:lnTo>
                <a:lnTo>
                  <a:pt x="93" y="1155"/>
                </a:lnTo>
                <a:lnTo>
                  <a:pt x="90" y="1159"/>
                </a:lnTo>
                <a:lnTo>
                  <a:pt x="90" y="1165"/>
                </a:lnTo>
                <a:lnTo>
                  <a:pt x="93" y="1172"/>
                </a:lnTo>
                <a:lnTo>
                  <a:pt x="96" y="1180"/>
                </a:lnTo>
                <a:lnTo>
                  <a:pt x="98" y="1185"/>
                </a:lnTo>
                <a:lnTo>
                  <a:pt x="98" y="1187"/>
                </a:lnTo>
                <a:lnTo>
                  <a:pt x="97" y="1190"/>
                </a:lnTo>
                <a:lnTo>
                  <a:pt x="95" y="1192"/>
                </a:lnTo>
                <a:close/>
                <a:moveTo>
                  <a:pt x="933" y="1161"/>
                </a:moveTo>
                <a:lnTo>
                  <a:pt x="928" y="1147"/>
                </a:lnTo>
                <a:lnTo>
                  <a:pt x="922" y="1133"/>
                </a:lnTo>
                <a:lnTo>
                  <a:pt x="924" y="1134"/>
                </a:lnTo>
                <a:lnTo>
                  <a:pt x="926" y="1136"/>
                </a:lnTo>
                <a:lnTo>
                  <a:pt x="929" y="1138"/>
                </a:lnTo>
                <a:lnTo>
                  <a:pt x="931" y="1143"/>
                </a:lnTo>
                <a:lnTo>
                  <a:pt x="932" y="1147"/>
                </a:lnTo>
                <a:lnTo>
                  <a:pt x="933" y="1151"/>
                </a:lnTo>
                <a:lnTo>
                  <a:pt x="935" y="1157"/>
                </a:lnTo>
                <a:lnTo>
                  <a:pt x="933" y="1161"/>
                </a:lnTo>
                <a:close/>
                <a:moveTo>
                  <a:pt x="940" y="1128"/>
                </a:moveTo>
                <a:lnTo>
                  <a:pt x="944" y="1134"/>
                </a:lnTo>
                <a:lnTo>
                  <a:pt x="946" y="1141"/>
                </a:lnTo>
                <a:lnTo>
                  <a:pt x="947" y="1143"/>
                </a:lnTo>
                <a:lnTo>
                  <a:pt x="949" y="1147"/>
                </a:lnTo>
                <a:lnTo>
                  <a:pt x="949" y="1150"/>
                </a:lnTo>
                <a:lnTo>
                  <a:pt x="949" y="1155"/>
                </a:lnTo>
                <a:lnTo>
                  <a:pt x="943" y="1142"/>
                </a:lnTo>
                <a:lnTo>
                  <a:pt x="938" y="1129"/>
                </a:lnTo>
                <a:lnTo>
                  <a:pt x="939" y="1128"/>
                </a:lnTo>
                <a:lnTo>
                  <a:pt x="940" y="1128"/>
                </a:lnTo>
                <a:close/>
                <a:moveTo>
                  <a:pt x="974" y="1121"/>
                </a:moveTo>
                <a:lnTo>
                  <a:pt x="975" y="1121"/>
                </a:lnTo>
                <a:lnTo>
                  <a:pt x="977" y="1121"/>
                </a:lnTo>
                <a:lnTo>
                  <a:pt x="977" y="1136"/>
                </a:lnTo>
                <a:lnTo>
                  <a:pt x="977" y="1151"/>
                </a:lnTo>
                <a:lnTo>
                  <a:pt x="975" y="1151"/>
                </a:lnTo>
                <a:lnTo>
                  <a:pt x="974" y="1151"/>
                </a:lnTo>
                <a:lnTo>
                  <a:pt x="974" y="1136"/>
                </a:lnTo>
                <a:lnTo>
                  <a:pt x="974" y="1121"/>
                </a:lnTo>
                <a:close/>
                <a:moveTo>
                  <a:pt x="998" y="1117"/>
                </a:moveTo>
                <a:lnTo>
                  <a:pt x="998" y="1131"/>
                </a:lnTo>
                <a:lnTo>
                  <a:pt x="998" y="1147"/>
                </a:lnTo>
                <a:lnTo>
                  <a:pt x="997" y="1147"/>
                </a:lnTo>
                <a:lnTo>
                  <a:pt x="997" y="1147"/>
                </a:lnTo>
                <a:lnTo>
                  <a:pt x="995" y="1133"/>
                </a:lnTo>
                <a:lnTo>
                  <a:pt x="995" y="1117"/>
                </a:lnTo>
                <a:lnTo>
                  <a:pt x="997" y="1117"/>
                </a:lnTo>
                <a:lnTo>
                  <a:pt x="998" y="1117"/>
                </a:lnTo>
                <a:close/>
                <a:moveTo>
                  <a:pt x="1014" y="1113"/>
                </a:moveTo>
                <a:lnTo>
                  <a:pt x="1015" y="1113"/>
                </a:lnTo>
                <a:lnTo>
                  <a:pt x="1016" y="1113"/>
                </a:lnTo>
                <a:lnTo>
                  <a:pt x="1016" y="1128"/>
                </a:lnTo>
                <a:lnTo>
                  <a:pt x="1016" y="1143"/>
                </a:lnTo>
                <a:lnTo>
                  <a:pt x="1015" y="1143"/>
                </a:lnTo>
                <a:lnTo>
                  <a:pt x="1014" y="1143"/>
                </a:lnTo>
                <a:lnTo>
                  <a:pt x="1014" y="1128"/>
                </a:lnTo>
                <a:lnTo>
                  <a:pt x="1014" y="1113"/>
                </a:lnTo>
                <a:close/>
                <a:moveTo>
                  <a:pt x="1040" y="1108"/>
                </a:moveTo>
                <a:lnTo>
                  <a:pt x="1041" y="1108"/>
                </a:lnTo>
                <a:lnTo>
                  <a:pt x="1042" y="1108"/>
                </a:lnTo>
                <a:lnTo>
                  <a:pt x="1043" y="1123"/>
                </a:lnTo>
                <a:lnTo>
                  <a:pt x="1043" y="1138"/>
                </a:lnTo>
                <a:lnTo>
                  <a:pt x="1042" y="1138"/>
                </a:lnTo>
                <a:lnTo>
                  <a:pt x="1040" y="1138"/>
                </a:lnTo>
                <a:lnTo>
                  <a:pt x="1040" y="1123"/>
                </a:lnTo>
                <a:lnTo>
                  <a:pt x="1040" y="1108"/>
                </a:lnTo>
                <a:close/>
                <a:moveTo>
                  <a:pt x="1066" y="1102"/>
                </a:moveTo>
                <a:lnTo>
                  <a:pt x="1067" y="1102"/>
                </a:lnTo>
                <a:lnTo>
                  <a:pt x="1068" y="1102"/>
                </a:lnTo>
                <a:lnTo>
                  <a:pt x="1068" y="1119"/>
                </a:lnTo>
                <a:lnTo>
                  <a:pt x="1069" y="1134"/>
                </a:lnTo>
                <a:lnTo>
                  <a:pt x="1068" y="1134"/>
                </a:lnTo>
                <a:lnTo>
                  <a:pt x="1066" y="1134"/>
                </a:lnTo>
                <a:lnTo>
                  <a:pt x="1066" y="1119"/>
                </a:lnTo>
                <a:lnTo>
                  <a:pt x="1066" y="1102"/>
                </a:lnTo>
                <a:close/>
                <a:moveTo>
                  <a:pt x="1099" y="1096"/>
                </a:moveTo>
                <a:lnTo>
                  <a:pt x="1099" y="1112"/>
                </a:lnTo>
                <a:lnTo>
                  <a:pt x="1099" y="1126"/>
                </a:lnTo>
                <a:lnTo>
                  <a:pt x="1099" y="1126"/>
                </a:lnTo>
                <a:lnTo>
                  <a:pt x="1099" y="1127"/>
                </a:lnTo>
                <a:lnTo>
                  <a:pt x="1098" y="1112"/>
                </a:lnTo>
                <a:lnTo>
                  <a:pt x="1097" y="1096"/>
                </a:lnTo>
                <a:lnTo>
                  <a:pt x="1098" y="1096"/>
                </a:lnTo>
                <a:lnTo>
                  <a:pt x="1099" y="1096"/>
                </a:lnTo>
                <a:close/>
                <a:moveTo>
                  <a:pt x="1120" y="1092"/>
                </a:moveTo>
                <a:lnTo>
                  <a:pt x="1122" y="1107"/>
                </a:lnTo>
                <a:lnTo>
                  <a:pt x="1123" y="1122"/>
                </a:lnTo>
                <a:lnTo>
                  <a:pt x="1122" y="1122"/>
                </a:lnTo>
                <a:lnTo>
                  <a:pt x="1120" y="1122"/>
                </a:lnTo>
                <a:lnTo>
                  <a:pt x="1119" y="1107"/>
                </a:lnTo>
                <a:lnTo>
                  <a:pt x="1118" y="1092"/>
                </a:lnTo>
                <a:lnTo>
                  <a:pt x="1119" y="1092"/>
                </a:lnTo>
                <a:lnTo>
                  <a:pt x="1120" y="1092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Fs≈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44A8579-698A-4642-B9DA-157B126F4FA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A9B67FCA-F0A1-F545-9DEE-A27D94FD1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791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0">
            <a:extLst>
              <a:ext uri="{FF2B5EF4-FFF2-40B4-BE49-F238E27FC236}">
                <a16:creationId xmlns:a16="http://schemas.microsoft.com/office/drawing/2014/main" id="{F0B30F40-8E05-3A4E-9D98-911039E762D3}"/>
              </a:ext>
            </a:extLst>
          </p:cNvPr>
          <p:cNvSpPr>
            <a:spLocks noGrp="1" noEditPoints="1"/>
          </p:cNvSpPr>
          <p:nvPr>
            <p:ph type="pic" sz="quarter" idx="32"/>
          </p:nvPr>
        </p:nvSpPr>
        <p:spPr bwMode="auto">
          <a:xfrm>
            <a:off x="0" y="1098154"/>
            <a:ext cx="11905556" cy="13200402"/>
          </a:xfrm>
          <a:custGeom>
            <a:avLst/>
            <a:gdLst>
              <a:gd name="T0" fmla="*/ 24438 w 30281"/>
              <a:gd name="T1" fmla="*/ 19531 h 26406"/>
              <a:gd name="T2" fmla="*/ 10938 w 30281"/>
              <a:gd name="T3" fmla="*/ 16281 h 26406"/>
              <a:gd name="T4" fmla="*/ 17000 w 30281"/>
              <a:gd name="T5" fmla="*/ 16718 h 26406"/>
              <a:gd name="T6" fmla="*/ 3344 w 30281"/>
              <a:gd name="T7" fmla="*/ 20624 h 26406"/>
              <a:gd name="T8" fmla="*/ 8688 w 30281"/>
              <a:gd name="T9" fmla="*/ 22499 h 26406"/>
              <a:gd name="T10" fmla="*/ 25031 w 30281"/>
              <a:gd name="T11" fmla="*/ 24531 h 26406"/>
              <a:gd name="T12" fmla="*/ 3188 w 30281"/>
              <a:gd name="T13" fmla="*/ 20156 h 26406"/>
              <a:gd name="T14" fmla="*/ 5750 w 30281"/>
              <a:gd name="T15" fmla="*/ 14031 h 26406"/>
              <a:gd name="T16" fmla="*/ 13156 w 30281"/>
              <a:gd name="T17" fmla="*/ 11562 h 26406"/>
              <a:gd name="T18" fmla="*/ 12938 w 30281"/>
              <a:gd name="T19" fmla="*/ 5750 h 26406"/>
              <a:gd name="T20" fmla="*/ 14844 w 30281"/>
              <a:gd name="T21" fmla="*/ 4375 h 26406"/>
              <a:gd name="T22" fmla="*/ 17438 w 30281"/>
              <a:gd name="T23" fmla="*/ 10156 h 26406"/>
              <a:gd name="T24" fmla="*/ 20531 w 30281"/>
              <a:gd name="T25" fmla="*/ 16687 h 26406"/>
              <a:gd name="T26" fmla="*/ 11594 w 30281"/>
              <a:gd name="T27" fmla="*/ 14312 h 26406"/>
              <a:gd name="T28" fmla="*/ 17844 w 30281"/>
              <a:gd name="T29" fmla="*/ 16781 h 26406"/>
              <a:gd name="T30" fmla="*/ 14094 w 30281"/>
              <a:gd name="T31" fmla="*/ 16218 h 26406"/>
              <a:gd name="T32" fmla="*/ 281 w 30281"/>
              <a:gd name="T33" fmla="*/ 23937 h 26406"/>
              <a:gd name="T34" fmla="*/ 14250 w 30281"/>
              <a:gd name="T35" fmla="*/ 22968 h 26406"/>
              <a:gd name="T36" fmla="*/ 12406 w 30281"/>
              <a:gd name="T37" fmla="*/ 17999 h 26406"/>
              <a:gd name="T38" fmla="*/ 11688 w 30281"/>
              <a:gd name="T39" fmla="*/ 21843 h 26406"/>
              <a:gd name="T40" fmla="*/ 9219 w 30281"/>
              <a:gd name="T41" fmla="*/ 22031 h 26406"/>
              <a:gd name="T42" fmla="*/ 7313 w 30281"/>
              <a:gd name="T43" fmla="*/ 21437 h 26406"/>
              <a:gd name="T44" fmla="*/ 5375 w 30281"/>
              <a:gd name="T45" fmla="*/ 23187 h 26406"/>
              <a:gd name="T46" fmla="*/ 3531 w 30281"/>
              <a:gd name="T47" fmla="*/ 24843 h 26406"/>
              <a:gd name="T48" fmla="*/ 6688 w 30281"/>
              <a:gd name="T49" fmla="*/ 23656 h 26406"/>
              <a:gd name="T50" fmla="*/ 10344 w 30281"/>
              <a:gd name="T51" fmla="*/ 22624 h 26406"/>
              <a:gd name="T52" fmla="*/ 14031 w 30281"/>
              <a:gd name="T53" fmla="*/ 23906 h 26406"/>
              <a:gd name="T54" fmla="*/ 19813 w 30281"/>
              <a:gd name="T55" fmla="*/ 19718 h 26406"/>
              <a:gd name="T56" fmla="*/ 17594 w 30281"/>
              <a:gd name="T57" fmla="*/ 21281 h 26406"/>
              <a:gd name="T58" fmla="*/ 22063 w 30281"/>
              <a:gd name="T59" fmla="*/ 21531 h 26406"/>
              <a:gd name="T60" fmla="*/ 26969 w 30281"/>
              <a:gd name="T61" fmla="*/ 22656 h 26406"/>
              <a:gd name="T62" fmla="*/ 27313 w 30281"/>
              <a:gd name="T63" fmla="*/ 21499 h 26406"/>
              <a:gd name="T64" fmla="*/ 26469 w 30281"/>
              <a:gd name="T65" fmla="*/ 19406 h 26406"/>
              <a:gd name="T66" fmla="*/ 23469 w 30281"/>
              <a:gd name="T67" fmla="*/ 19312 h 26406"/>
              <a:gd name="T68" fmla="*/ 24094 w 30281"/>
              <a:gd name="T69" fmla="*/ 19187 h 26406"/>
              <a:gd name="T70" fmla="*/ 25344 w 30281"/>
              <a:gd name="T71" fmla="*/ 19687 h 26406"/>
              <a:gd name="T72" fmla="*/ 23156 w 30281"/>
              <a:gd name="T73" fmla="*/ 20653 h 26406"/>
              <a:gd name="T74" fmla="*/ 23938 w 30281"/>
              <a:gd name="T75" fmla="*/ 20406 h 26406"/>
              <a:gd name="T76" fmla="*/ 26813 w 30281"/>
              <a:gd name="T77" fmla="*/ 23218 h 26406"/>
              <a:gd name="T78" fmla="*/ 2281 w 30281"/>
              <a:gd name="T79" fmla="*/ 16718 h 26406"/>
              <a:gd name="T80" fmla="*/ 20875 w 30281"/>
              <a:gd name="T81" fmla="*/ 16531 h 26406"/>
              <a:gd name="T82" fmla="*/ 1938 w 30281"/>
              <a:gd name="T83" fmla="*/ 16093 h 26406"/>
              <a:gd name="T84" fmla="*/ 15281 w 30281"/>
              <a:gd name="T85" fmla="*/ 24937 h 26406"/>
              <a:gd name="T86" fmla="*/ 20625 w 30281"/>
              <a:gd name="T87" fmla="*/ 16281 h 26406"/>
              <a:gd name="T88" fmla="*/ 16688 w 30281"/>
              <a:gd name="T89" fmla="*/ 10281 h 26406"/>
              <a:gd name="T90" fmla="*/ 12500 w 30281"/>
              <a:gd name="T91" fmla="*/ 8656 h 26406"/>
              <a:gd name="T92" fmla="*/ 15406 w 30281"/>
              <a:gd name="T93" fmla="*/ 8750 h 26406"/>
              <a:gd name="T94" fmla="*/ 14250 w 30281"/>
              <a:gd name="T95" fmla="*/ 3531 h 26406"/>
              <a:gd name="T96" fmla="*/ 13875 w 30281"/>
              <a:gd name="T97" fmla="*/ 8156 h 26406"/>
              <a:gd name="T98" fmla="*/ 8031 w 30281"/>
              <a:gd name="T99" fmla="*/ 12343 h 26406"/>
              <a:gd name="T100" fmla="*/ 3031 w 30281"/>
              <a:gd name="T101" fmla="*/ 16343 h 26406"/>
              <a:gd name="T102" fmla="*/ 1469 w 30281"/>
              <a:gd name="T103" fmla="*/ 18906 h 26406"/>
              <a:gd name="T104" fmla="*/ 5938 w 30281"/>
              <a:gd name="T105" fmla="*/ 15281 h 26406"/>
              <a:gd name="T106" fmla="*/ 7188 w 30281"/>
              <a:gd name="T107" fmla="*/ 15093 h 26406"/>
              <a:gd name="T108" fmla="*/ 3938 w 30281"/>
              <a:gd name="T109" fmla="*/ 15687 h 26406"/>
              <a:gd name="T110" fmla="*/ 813 w 30281"/>
              <a:gd name="T111" fmla="*/ 19562 h 26406"/>
              <a:gd name="T112" fmla="*/ 6781 w 30281"/>
              <a:gd name="T113" fmla="*/ 12906 h 26406"/>
              <a:gd name="T114" fmla="*/ 29969 w 30281"/>
              <a:gd name="T115" fmla="*/ 22687 h 26406"/>
              <a:gd name="T116" fmla="*/ 22781 w 30281"/>
              <a:gd name="T117" fmla="*/ 17843 h 26406"/>
              <a:gd name="T118" fmla="*/ 17750 w 30281"/>
              <a:gd name="T119" fmla="*/ 16093 h 26406"/>
              <a:gd name="T120" fmla="*/ 14563 w 30281"/>
              <a:gd name="T121" fmla="*/ 15499 h 26406"/>
              <a:gd name="T122" fmla="*/ 14281 w 30281"/>
              <a:gd name="T123" fmla="*/ 15249 h 26406"/>
              <a:gd name="T124" fmla="*/ 18938 w 30281"/>
              <a:gd name="T125" fmla="*/ 16124 h 26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281" h="26406">
                <a:moveTo>
                  <a:pt x="9438" y="20656"/>
                </a:moveTo>
                <a:cubicBezTo>
                  <a:pt x="9438" y="20656"/>
                  <a:pt x="9438" y="20687"/>
                  <a:pt x="9469" y="20718"/>
                </a:cubicBezTo>
                <a:cubicBezTo>
                  <a:pt x="9469" y="20749"/>
                  <a:pt x="9500" y="20781"/>
                  <a:pt x="9469" y="20812"/>
                </a:cubicBezTo>
                <a:cubicBezTo>
                  <a:pt x="9406" y="20812"/>
                  <a:pt x="9406" y="20781"/>
                  <a:pt x="9375" y="20749"/>
                </a:cubicBezTo>
                <a:cubicBezTo>
                  <a:pt x="9375" y="20718"/>
                  <a:pt x="9344" y="20687"/>
                  <a:pt x="9313" y="20656"/>
                </a:cubicBezTo>
                <a:cubicBezTo>
                  <a:pt x="9313" y="20593"/>
                  <a:pt x="9344" y="20562"/>
                  <a:pt x="9375" y="20593"/>
                </a:cubicBezTo>
                <a:lnTo>
                  <a:pt x="9375" y="20593"/>
                </a:lnTo>
                <a:cubicBezTo>
                  <a:pt x="9438" y="20624"/>
                  <a:pt x="9406" y="20562"/>
                  <a:pt x="9438" y="20531"/>
                </a:cubicBezTo>
                <a:cubicBezTo>
                  <a:pt x="9469" y="20468"/>
                  <a:pt x="9531" y="20468"/>
                  <a:pt x="9625" y="20499"/>
                </a:cubicBezTo>
                <a:cubicBezTo>
                  <a:pt x="9688" y="20531"/>
                  <a:pt x="9656" y="20593"/>
                  <a:pt x="9625" y="20624"/>
                </a:cubicBezTo>
                <a:cubicBezTo>
                  <a:pt x="9594" y="20687"/>
                  <a:pt x="9594" y="20781"/>
                  <a:pt x="9500" y="20687"/>
                </a:cubicBezTo>
                <a:cubicBezTo>
                  <a:pt x="9500" y="20656"/>
                  <a:pt x="9469" y="20656"/>
                  <a:pt x="9438" y="20656"/>
                </a:cubicBezTo>
                <a:close/>
                <a:moveTo>
                  <a:pt x="30125" y="24937"/>
                </a:moveTo>
                <a:cubicBezTo>
                  <a:pt x="30094" y="24812"/>
                  <a:pt x="30188" y="24874"/>
                  <a:pt x="30219" y="24906"/>
                </a:cubicBezTo>
                <a:cubicBezTo>
                  <a:pt x="30219" y="24749"/>
                  <a:pt x="30219" y="24624"/>
                  <a:pt x="30219" y="24499"/>
                </a:cubicBezTo>
                <a:cubicBezTo>
                  <a:pt x="30219" y="24499"/>
                  <a:pt x="30219" y="24468"/>
                  <a:pt x="30219" y="24437"/>
                </a:cubicBezTo>
                <a:cubicBezTo>
                  <a:pt x="30219" y="24343"/>
                  <a:pt x="30281" y="24249"/>
                  <a:pt x="30125" y="24218"/>
                </a:cubicBezTo>
                <a:cubicBezTo>
                  <a:pt x="30063" y="24187"/>
                  <a:pt x="30000" y="24093"/>
                  <a:pt x="29938" y="24031"/>
                </a:cubicBezTo>
                <a:cubicBezTo>
                  <a:pt x="30031" y="24031"/>
                  <a:pt x="30094" y="24031"/>
                  <a:pt x="30156" y="24062"/>
                </a:cubicBezTo>
                <a:cubicBezTo>
                  <a:pt x="30188" y="24062"/>
                  <a:pt x="30219" y="24124"/>
                  <a:pt x="30219" y="24062"/>
                </a:cubicBezTo>
                <a:cubicBezTo>
                  <a:pt x="30250" y="24031"/>
                  <a:pt x="30219" y="23968"/>
                  <a:pt x="30188" y="23968"/>
                </a:cubicBezTo>
                <a:cubicBezTo>
                  <a:pt x="30094" y="23968"/>
                  <a:pt x="30000" y="23937"/>
                  <a:pt x="29906" y="23968"/>
                </a:cubicBezTo>
                <a:cubicBezTo>
                  <a:pt x="29875" y="23999"/>
                  <a:pt x="29875" y="23999"/>
                  <a:pt x="29844" y="23968"/>
                </a:cubicBezTo>
                <a:cubicBezTo>
                  <a:pt x="29750" y="23906"/>
                  <a:pt x="29688" y="23843"/>
                  <a:pt x="29594" y="23749"/>
                </a:cubicBezTo>
                <a:cubicBezTo>
                  <a:pt x="29594" y="23749"/>
                  <a:pt x="29594" y="23749"/>
                  <a:pt x="29625" y="23749"/>
                </a:cubicBezTo>
                <a:cubicBezTo>
                  <a:pt x="29656" y="23718"/>
                  <a:pt x="29688" y="23749"/>
                  <a:pt x="29688" y="23687"/>
                </a:cubicBezTo>
                <a:cubicBezTo>
                  <a:pt x="29688" y="23656"/>
                  <a:pt x="29656" y="23624"/>
                  <a:pt x="29594" y="23656"/>
                </a:cubicBezTo>
                <a:cubicBezTo>
                  <a:pt x="29563" y="23687"/>
                  <a:pt x="29531" y="23656"/>
                  <a:pt x="29531" y="23593"/>
                </a:cubicBezTo>
                <a:cubicBezTo>
                  <a:pt x="29563" y="23593"/>
                  <a:pt x="29594" y="23624"/>
                  <a:pt x="29625" y="23593"/>
                </a:cubicBezTo>
                <a:cubicBezTo>
                  <a:pt x="29531" y="23562"/>
                  <a:pt x="29594" y="23499"/>
                  <a:pt x="29594" y="23437"/>
                </a:cubicBezTo>
                <a:cubicBezTo>
                  <a:pt x="29594" y="23406"/>
                  <a:pt x="29656" y="23437"/>
                  <a:pt x="29688" y="23437"/>
                </a:cubicBezTo>
                <a:cubicBezTo>
                  <a:pt x="29717" y="23407"/>
                  <a:pt x="29719" y="23434"/>
                  <a:pt x="29719" y="23464"/>
                </a:cubicBezTo>
                <a:lnTo>
                  <a:pt x="29719" y="23465"/>
                </a:lnTo>
                <a:lnTo>
                  <a:pt x="29719" y="23467"/>
                </a:lnTo>
                <a:lnTo>
                  <a:pt x="29719" y="23468"/>
                </a:lnTo>
                <a:cubicBezTo>
                  <a:pt x="29688" y="23499"/>
                  <a:pt x="29656" y="23437"/>
                  <a:pt x="29625" y="23499"/>
                </a:cubicBezTo>
                <a:lnTo>
                  <a:pt x="29625" y="23499"/>
                </a:lnTo>
                <a:cubicBezTo>
                  <a:pt x="29625" y="23562"/>
                  <a:pt x="29688" y="23531"/>
                  <a:pt x="29719" y="23562"/>
                </a:cubicBezTo>
                <a:cubicBezTo>
                  <a:pt x="29719" y="23562"/>
                  <a:pt x="29750" y="23562"/>
                  <a:pt x="29750" y="23562"/>
                </a:cubicBezTo>
                <a:cubicBezTo>
                  <a:pt x="29781" y="23593"/>
                  <a:pt x="29813" y="23593"/>
                  <a:pt x="29813" y="23562"/>
                </a:cubicBezTo>
                <a:cubicBezTo>
                  <a:pt x="29813" y="23531"/>
                  <a:pt x="29813" y="23499"/>
                  <a:pt x="29781" y="23499"/>
                </a:cubicBezTo>
                <a:cubicBezTo>
                  <a:pt x="29750" y="23499"/>
                  <a:pt x="29719" y="23531"/>
                  <a:pt x="29719" y="23468"/>
                </a:cubicBezTo>
                <a:cubicBezTo>
                  <a:pt x="29750" y="23468"/>
                  <a:pt x="29781" y="23499"/>
                  <a:pt x="29813" y="23468"/>
                </a:cubicBezTo>
                <a:cubicBezTo>
                  <a:pt x="29750" y="23406"/>
                  <a:pt x="29688" y="23406"/>
                  <a:pt x="29625" y="23406"/>
                </a:cubicBezTo>
                <a:cubicBezTo>
                  <a:pt x="29594" y="23406"/>
                  <a:pt x="29594" y="23374"/>
                  <a:pt x="29563" y="23343"/>
                </a:cubicBezTo>
                <a:cubicBezTo>
                  <a:pt x="29563" y="23343"/>
                  <a:pt x="29563" y="23312"/>
                  <a:pt x="29563" y="23312"/>
                </a:cubicBezTo>
                <a:cubicBezTo>
                  <a:pt x="29594" y="23312"/>
                  <a:pt x="29625" y="23312"/>
                  <a:pt x="29656" y="23312"/>
                </a:cubicBezTo>
                <a:cubicBezTo>
                  <a:pt x="29656" y="23312"/>
                  <a:pt x="29656" y="23312"/>
                  <a:pt x="29688" y="23343"/>
                </a:cubicBezTo>
                <a:cubicBezTo>
                  <a:pt x="29688" y="23374"/>
                  <a:pt x="29688" y="23374"/>
                  <a:pt x="29719" y="23374"/>
                </a:cubicBezTo>
                <a:cubicBezTo>
                  <a:pt x="29750" y="23343"/>
                  <a:pt x="29750" y="23343"/>
                  <a:pt x="29750" y="23312"/>
                </a:cubicBezTo>
                <a:cubicBezTo>
                  <a:pt x="29719" y="23281"/>
                  <a:pt x="29750" y="23249"/>
                  <a:pt x="29781" y="23249"/>
                </a:cubicBezTo>
                <a:cubicBezTo>
                  <a:pt x="29844" y="23312"/>
                  <a:pt x="29875" y="23249"/>
                  <a:pt x="29906" y="23249"/>
                </a:cubicBezTo>
                <a:cubicBezTo>
                  <a:pt x="30031" y="23187"/>
                  <a:pt x="30125" y="23187"/>
                  <a:pt x="30219" y="23281"/>
                </a:cubicBezTo>
                <a:cubicBezTo>
                  <a:pt x="30219" y="23156"/>
                  <a:pt x="30219" y="23062"/>
                  <a:pt x="30219" y="22968"/>
                </a:cubicBezTo>
                <a:cubicBezTo>
                  <a:pt x="30219" y="22812"/>
                  <a:pt x="30219" y="22812"/>
                  <a:pt x="30063" y="22843"/>
                </a:cubicBezTo>
                <a:cubicBezTo>
                  <a:pt x="30000" y="22843"/>
                  <a:pt x="29906" y="22843"/>
                  <a:pt x="29875" y="22812"/>
                </a:cubicBezTo>
                <a:cubicBezTo>
                  <a:pt x="29813" y="22749"/>
                  <a:pt x="29750" y="22749"/>
                  <a:pt x="29688" y="22718"/>
                </a:cubicBezTo>
                <a:cubicBezTo>
                  <a:pt x="29656" y="22687"/>
                  <a:pt x="29625" y="22749"/>
                  <a:pt x="29625" y="22687"/>
                </a:cubicBezTo>
                <a:cubicBezTo>
                  <a:pt x="29625" y="22656"/>
                  <a:pt x="29656" y="22687"/>
                  <a:pt x="29688" y="22656"/>
                </a:cubicBezTo>
                <a:cubicBezTo>
                  <a:pt x="29688" y="22656"/>
                  <a:pt x="29750" y="22656"/>
                  <a:pt x="29719" y="22624"/>
                </a:cubicBezTo>
                <a:cubicBezTo>
                  <a:pt x="29719" y="22593"/>
                  <a:pt x="29719" y="22593"/>
                  <a:pt x="29688" y="22593"/>
                </a:cubicBezTo>
                <a:cubicBezTo>
                  <a:pt x="29594" y="22624"/>
                  <a:pt x="29563" y="22562"/>
                  <a:pt x="29500" y="22531"/>
                </a:cubicBezTo>
                <a:cubicBezTo>
                  <a:pt x="29500" y="22499"/>
                  <a:pt x="29438" y="22499"/>
                  <a:pt x="29438" y="22531"/>
                </a:cubicBezTo>
                <a:cubicBezTo>
                  <a:pt x="29469" y="22593"/>
                  <a:pt x="29406" y="22562"/>
                  <a:pt x="29375" y="22562"/>
                </a:cubicBezTo>
                <a:cubicBezTo>
                  <a:pt x="29375" y="22499"/>
                  <a:pt x="29281" y="22499"/>
                  <a:pt x="29281" y="22437"/>
                </a:cubicBezTo>
                <a:cubicBezTo>
                  <a:pt x="29344" y="22437"/>
                  <a:pt x="29375" y="22499"/>
                  <a:pt x="29406" y="22499"/>
                </a:cubicBezTo>
                <a:cubicBezTo>
                  <a:pt x="29406" y="22437"/>
                  <a:pt x="29406" y="22374"/>
                  <a:pt x="29344" y="22374"/>
                </a:cubicBezTo>
                <a:cubicBezTo>
                  <a:pt x="29250" y="22374"/>
                  <a:pt x="29219" y="22312"/>
                  <a:pt x="29156" y="22249"/>
                </a:cubicBezTo>
                <a:cubicBezTo>
                  <a:pt x="29125" y="22218"/>
                  <a:pt x="29125" y="22218"/>
                  <a:pt x="29094" y="22187"/>
                </a:cubicBezTo>
                <a:cubicBezTo>
                  <a:pt x="29000" y="22156"/>
                  <a:pt x="28938" y="22031"/>
                  <a:pt x="29000" y="21937"/>
                </a:cubicBezTo>
                <a:cubicBezTo>
                  <a:pt x="29031" y="21874"/>
                  <a:pt x="29031" y="21843"/>
                  <a:pt x="29000" y="21781"/>
                </a:cubicBezTo>
                <a:cubicBezTo>
                  <a:pt x="28969" y="21843"/>
                  <a:pt x="28938" y="21843"/>
                  <a:pt x="28906" y="21781"/>
                </a:cubicBezTo>
                <a:cubicBezTo>
                  <a:pt x="28875" y="21749"/>
                  <a:pt x="28969" y="21781"/>
                  <a:pt x="28969" y="21749"/>
                </a:cubicBezTo>
                <a:cubicBezTo>
                  <a:pt x="28969" y="21718"/>
                  <a:pt x="28875" y="21718"/>
                  <a:pt x="28906" y="21656"/>
                </a:cubicBezTo>
                <a:cubicBezTo>
                  <a:pt x="28938" y="21656"/>
                  <a:pt x="29000" y="21624"/>
                  <a:pt x="29031" y="21656"/>
                </a:cubicBezTo>
                <a:cubicBezTo>
                  <a:pt x="29063" y="21656"/>
                  <a:pt x="29125" y="21656"/>
                  <a:pt x="29156" y="21718"/>
                </a:cubicBezTo>
                <a:cubicBezTo>
                  <a:pt x="29281" y="21812"/>
                  <a:pt x="29438" y="21937"/>
                  <a:pt x="29594" y="22031"/>
                </a:cubicBezTo>
                <a:cubicBezTo>
                  <a:pt x="29781" y="22218"/>
                  <a:pt x="30000" y="22312"/>
                  <a:pt x="30156" y="22531"/>
                </a:cubicBezTo>
                <a:cubicBezTo>
                  <a:pt x="30156" y="22531"/>
                  <a:pt x="30188" y="22562"/>
                  <a:pt x="30219" y="22562"/>
                </a:cubicBezTo>
                <a:cubicBezTo>
                  <a:pt x="30250" y="22531"/>
                  <a:pt x="30219" y="22531"/>
                  <a:pt x="30219" y="22499"/>
                </a:cubicBezTo>
                <a:cubicBezTo>
                  <a:pt x="30219" y="22437"/>
                  <a:pt x="30250" y="22374"/>
                  <a:pt x="30219" y="22312"/>
                </a:cubicBezTo>
                <a:cubicBezTo>
                  <a:pt x="30250" y="22249"/>
                  <a:pt x="30219" y="22187"/>
                  <a:pt x="30156" y="22156"/>
                </a:cubicBezTo>
                <a:cubicBezTo>
                  <a:pt x="29875" y="21937"/>
                  <a:pt x="29563" y="21718"/>
                  <a:pt x="29281" y="21499"/>
                </a:cubicBezTo>
                <a:cubicBezTo>
                  <a:pt x="29125" y="21374"/>
                  <a:pt x="28969" y="21218"/>
                  <a:pt x="28781" y="21124"/>
                </a:cubicBezTo>
                <a:cubicBezTo>
                  <a:pt x="28781" y="21093"/>
                  <a:pt x="28750" y="21093"/>
                  <a:pt x="28719" y="21062"/>
                </a:cubicBezTo>
                <a:cubicBezTo>
                  <a:pt x="28156" y="20624"/>
                  <a:pt x="27594" y="20187"/>
                  <a:pt x="27000" y="19749"/>
                </a:cubicBezTo>
                <a:cubicBezTo>
                  <a:pt x="26969" y="19687"/>
                  <a:pt x="26938" y="19656"/>
                  <a:pt x="26969" y="19624"/>
                </a:cubicBezTo>
                <a:cubicBezTo>
                  <a:pt x="26969" y="19562"/>
                  <a:pt x="26969" y="19531"/>
                  <a:pt x="26906" y="19468"/>
                </a:cubicBezTo>
                <a:cubicBezTo>
                  <a:pt x="26781" y="19406"/>
                  <a:pt x="26656" y="19281"/>
                  <a:pt x="26531" y="19187"/>
                </a:cubicBezTo>
                <a:cubicBezTo>
                  <a:pt x="26531" y="19187"/>
                  <a:pt x="26531" y="19218"/>
                  <a:pt x="26531" y="19218"/>
                </a:cubicBezTo>
                <a:cubicBezTo>
                  <a:pt x="26531" y="19218"/>
                  <a:pt x="26531" y="19187"/>
                  <a:pt x="26531" y="19187"/>
                </a:cubicBezTo>
                <a:cubicBezTo>
                  <a:pt x="26438" y="19156"/>
                  <a:pt x="26500" y="19093"/>
                  <a:pt x="26469" y="19062"/>
                </a:cubicBezTo>
                <a:cubicBezTo>
                  <a:pt x="26469" y="19031"/>
                  <a:pt x="26469" y="18999"/>
                  <a:pt x="26438" y="18999"/>
                </a:cubicBezTo>
                <a:cubicBezTo>
                  <a:pt x="26406" y="18999"/>
                  <a:pt x="26406" y="19031"/>
                  <a:pt x="26406" y="19031"/>
                </a:cubicBezTo>
                <a:cubicBezTo>
                  <a:pt x="26406" y="19062"/>
                  <a:pt x="26406" y="19093"/>
                  <a:pt x="26375" y="19124"/>
                </a:cubicBezTo>
                <a:cubicBezTo>
                  <a:pt x="26375" y="19218"/>
                  <a:pt x="26344" y="19249"/>
                  <a:pt x="26281" y="19187"/>
                </a:cubicBezTo>
                <a:cubicBezTo>
                  <a:pt x="26188" y="19124"/>
                  <a:pt x="26125" y="19062"/>
                  <a:pt x="26031" y="18999"/>
                </a:cubicBezTo>
                <a:cubicBezTo>
                  <a:pt x="26031" y="18999"/>
                  <a:pt x="26031" y="18999"/>
                  <a:pt x="26031" y="18999"/>
                </a:cubicBezTo>
                <a:cubicBezTo>
                  <a:pt x="25875" y="18843"/>
                  <a:pt x="25688" y="18718"/>
                  <a:pt x="25500" y="18593"/>
                </a:cubicBezTo>
                <a:cubicBezTo>
                  <a:pt x="25344" y="18437"/>
                  <a:pt x="25125" y="18437"/>
                  <a:pt x="24906" y="18437"/>
                </a:cubicBezTo>
                <a:cubicBezTo>
                  <a:pt x="24906" y="18437"/>
                  <a:pt x="24875" y="18437"/>
                  <a:pt x="24844" y="18437"/>
                </a:cubicBezTo>
                <a:cubicBezTo>
                  <a:pt x="24813" y="18343"/>
                  <a:pt x="24750" y="18343"/>
                  <a:pt x="24688" y="18406"/>
                </a:cubicBezTo>
                <a:cubicBezTo>
                  <a:pt x="24656" y="18374"/>
                  <a:pt x="24625" y="18343"/>
                  <a:pt x="24594" y="18343"/>
                </a:cubicBezTo>
                <a:cubicBezTo>
                  <a:pt x="24406" y="18281"/>
                  <a:pt x="24219" y="18249"/>
                  <a:pt x="24031" y="18218"/>
                </a:cubicBezTo>
                <a:cubicBezTo>
                  <a:pt x="23969" y="18187"/>
                  <a:pt x="23938" y="18218"/>
                  <a:pt x="23906" y="18249"/>
                </a:cubicBezTo>
                <a:cubicBezTo>
                  <a:pt x="23813" y="18249"/>
                  <a:pt x="23750" y="18312"/>
                  <a:pt x="23688" y="18343"/>
                </a:cubicBezTo>
                <a:cubicBezTo>
                  <a:pt x="23656" y="18312"/>
                  <a:pt x="23625" y="18281"/>
                  <a:pt x="23625" y="18218"/>
                </a:cubicBezTo>
                <a:cubicBezTo>
                  <a:pt x="23656" y="18156"/>
                  <a:pt x="23656" y="18124"/>
                  <a:pt x="23594" y="18093"/>
                </a:cubicBezTo>
                <a:cubicBezTo>
                  <a:pt x="23531" y="18062"/>
                  <a:pt x="23438" y="18093"/>
                  <a:pt x="23406" y="18156"/>
                </a:cubicBezTo>
                <a:cubicBezTo>
                  <a:pt x="23406" y="18156"/>
                  <a:pt x="23406" y="18187"/>
                  <a:pt x="23438" y="18187"/>
                </a:cubicBezTo>
                <a:cubicBezTo>
                  <a:pt x="23469" y="18156"/>
                  <a:pt x="23500" y="18156"/>
                  <a:pt x="23531" y="18124"/>
                </a:cubicBezTo>
                <a:cubicBezTo>
                  <a:pt x="23500" y="18187"/>
                  <a:pt x="23594" y="18281"/>
                  <a:pt x="23469" y="18312"/>
                </a:cubicBezTo>
                <a:cubicBezTo>
                  <a:pt x="23406" y="18281"/>
                  <a:pt x="23344" y="18249"/>
                  <a:pt x="23438" y="18187"/>
                </a:cubicBezTo>
                <a:cubicBezTo>
                  <a:pt x="23406" y="18187"/>
                  <a:pt x="23406" y="18156"/>
                  <a:pt x="23406" y="18156"/>
                </a:cubicBezTo>
                <a:cubicBezTo>
                  <a:pt x="23375" y="18187"/>
                  <a:pt x="23313" y="18187"/>
                  <a:pt x="23313" y="18124"/>
                </a:cubicBezTo>
                <a:cubicBezTo>
                  <a:pt x="23313" y="18031"/>
                  <a:pt x="23250" y="18031"/>
                  <a:pt x="23219" y="18031"/>
                </a:cubicBezTo>
                <a:cubicBezTo>
                  <a:pt x="23094" y="17999"/>
                  <a:pt x="23000" y="17968"/>
                  <a:pt x="22906" y="17968"/>
                </a:cubicBezTo>
                <a:cubicBezTo>
                  <a:pt x="22750" y="17906"/>
                  <a:pt x="22563" y="17874"/>
                  <a:pt x="22469" y="17749"/>
                </a:cubicBezTo>
                <a:cubicBezTo>
                  <a:pt x="22500" y="17718"/>
                  <a:pt x="22500" y="17687"/>
                  <a:pt x="22500" y="17656"/>
                </a:cubicBezTo>
                <a:cubicBezTo>
                  <a:pt x="22469" y="17624"/>
                  <a:pt x="22438" y="17624"/>
                  <a:pt x="22406" y="17624"/>
                </a:cubicBezTo>
                <a:cubicBezTo>
                  <a:pt x="22438" y="17656"/>
                  <a:pt x="22438" y="17687"/>
                  <a:pt x="22406" y="17718"/>
                </a:cubicBezTo>
                <a:cubicBezTo>
                  <a:pt x="22375" y="17781"/>
                  <a:pt x="22406" y="17781"/>
                  <a:pt x="22438" y="17812"/>
                </a:cubicBezTo>
                <a:cubicBezTo>
                  <a:pt x="22500" y="17874"/>
                  <a:pt x="22563" y="17906"/>
                  <a:pt x="22625" y="17968"/>
                </a:cubicBezTo>
                <a:cubicBezTo>
                  <a:pt x="22594" y="17968"/>
                  <a:pt x="22563" y="17968"/>
                  <a:pt x="22563" y="17968"/>
                </a:cubicBezTo>
                <a:cubicBezTo>
                  <a:pt x="22531" y="17906"/>
                  <a:pt x="22469" y="17874"/>
                  <a:pt x="22406" y="17843"/>
                </a:cubicBezTo>
                <a:cubicBezTo>
                  <a:pt x="22406" y="17843"/>
                  <a:pt x="22406" y="17843"/>
                  <a:pt x="22406" y="17843"/>
                </a:cubicBezTo>
                <a:cubicBezTo>
                  <a:pt x="22406" y="17812"/>
                  <a:pt x="22375" y="17812"/>
                  <a:pt x="22344" y="17812"/>
                </a:cubicBezTo>
                <a:cubicBezTo>
                  <a:pt x="22344" y="17812"/>
                  <a:pt x="22344" y="17812"/>
                  <a:pt x="22344" y="17812"/>
                </a:cubicBezTo>
                <a:cubicBezTo>
                  <a:pt x="22344" y="17843"/>
                  <a:pt x="22375" y="17874"/>
                  <a:pt x="22406" y="17874"/>
                </a:cubicBezTo>
                <a:cubicBezTo>
                  <a:pt x="22438" y="17937"/>
                  <a:pt x="22469" y="17968"/>
                  <a:pt x="22531" y="17999"/>
                </a:cubicBezTo>
                <a:cubicBezTo>
                  <a:pt x="22531" y="17999"/>
                  <a:pt x="22531" y="17999"/>
                  <a:pt x="22531" y="17999"/>
                </a:cubicBezTo>
                <a:cubicBezTo>
                  <a:pt x="22563" y="18031"/>
                  <a:pt x="22563" y="18031"/>
                  <a:pt x="22594" y="18062"/>
                </a:cubicBezTo>
                <a:cubicBezTo>
                  <a:pt x="22625" y="18093"/>
                  <a:pt x="22688" y="18124"/>
                  <a:pt x="22719" y="18156"/>
                </a:cubicBezTo>
                <a:cubicBezTo>
                  <a:pt x="22719" y="18156"/>
                  <a:pt x="22719" y="18156"/>
                  <a:pt x="22719" y="18187"/>
                </a:cubicBezTo>
                <a:cubicBezTo>
                  <a:pt x="22719" y="18187"/>
                  <a:pt x="22688" y="18187"/>
                  <a:pt x="22688" y="18187"/>
                </a:cubicBezTo>
                <a:cubicBezTo>
                  <a:pt x="22656" y="18156"/>
                  <a:pt x="22625" y="18156"/>
                  <a:pt x="22594" y="18124"/>
                </a:cubicBezTo>
                <a:cubicBezTo>
                  <a:pt x="22531" y="18093"/>
                  <a:pt x="22438" y="18093"/>
                  <a:pt x="22375" y="18124"/>
                </a:cubicBezTo>
                <a:cubicBezTo>
                  <a:pt x="22344" y="18124"/>
                  <a:pt x="22375" y="18218"/>
                  <a:pt x="22375" y="18281"/>
                </a:cubicBezTo>
                <a:cubicBezTo>
                  <a:pt x="22281" y="18281"/>
                  <a:pt x="22250" y="18218"/>
                  <a:pt x="22250" y="18124"/>
                </a:cubicBezTo>
                <a:cubicBezTo>
                  <a:pt x="22250" y="18093"/>
                  <a:pt x="22250" y="18031"/>
                  <a:pt x="22250" y="17999"/>
                </a:cubicBezTo>
                <a:cubicBezTo>
                  <a:pt x="22281" y="17874"/>
                  <a:pt x="22219" y="17874"/>
                  <a:pt x="22125" y="17906"/>
                </a:cubicBezTo>
                <a:cubicBezTo>
                  <a:pt x="22125" y="17874"/>
                  <a:pt x="22094" y="17874"/>
                  <a:pt x="22094" y="17874"/>
                </a:cubicBezTo>
                <a:cubicBezTo>
                  <a:pt x="22094" y="17874"/>
                  <a:pt x="22094" y="17874"/>
                  <a:pt x="22094" y="17874"/>
                </a:cubicBezTo>
                <a:cubicBezTo>
                  <a:pt x="22063" y="17874"/>
                  <a:pt x="22063" y="17874"/>
                  <a:pt x="22031" y="17874"/>
                </a:cubicBezTo>
                <a:cubicBezTo>
                  <a:pt x="22031" y="17874"/>
                  <a:pt x="22031" y="17874"/>
                  <a:pt x="22000" y="17874"/>
                </a:cubicBezTo>
                <a:cubicBezTo>
                  <a:pt x="22000" y="17874"/>
                  <a:pt x="22000" y="17843"/>
                  <a:pt x="22000" y="17843"/>
                </a:cubicBezTo>
                <a:cubicBezTo>
                  <a:pt x="22000" y="17843"/>
                  <a:pt x="22000" y="17843"/>
                  <a:pt x="22000" y="17843"/>
                </a:cubicBezTo>
                <a:cubicBezTo>
                  <a:pt x="22000" y="17843"/>
                  <a:pt x="22000" y="17843"/>
                  <a:pt x="21969" y="17843"/>
                </a:cubicBezTo>
                <a:cubicBezTo>
                  <a:pt x="22000" y="17812"/>
                  <a:pt x="22000" y="17781"/>
                  <a:pt x="22031" y="17812"/>
                </a:cubicBezTo>
                <a:cubicBezTo>
                  <a:pt x="22125" y="17843"/>
                  <a:pt x="22156" y="17781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18"/>
                  <a:pt x="22188" y="17718"/>
                  <a:pt x="22188" y="17749"/>
                </a:cubicBezTo>
                <a:lnTo>
                  <a:pt x="22188" y="17749"/>
                </a:lnTo>
                <a:cubicBezTo>
                  <a:pt x="22219" y="17749"/>
                  <a:pt x="22250" y="17718"/>
                  <a:pt x="22281" y="17687"/>
                </a:cubicBezTo>
                <a:cubicBezTo>
                  <a:pt x="22281" y="17656"/>
                  <a:pt x="22344" y="17656"/>
                  <a:pt x="22281" y="17624"/>
                </a:cubicBezTo>
                <a:cubicBezTo>
                  <a:pt x="22281" y="17593"/>
                  <a:pt x="22219" y="17531"/>
                  <a:pt x="22188" y="17624"/>
                </a:cubicBezTo>
                <a:cubicBezTo>
                  <a:pt x="22156" y="17624"/>
                  <a:pt x="22125" y="17624"/>
                  <a:pt x="22125" y="17687"/>
                </a:cubicBezTo>
                <a:cubicBezTo>
                  <a:pt x="22031" y="17656"/>
                  <a:pt x="21938" y="17624"/>
                  <a:pt x="21875" y="17531"/>
                </a:cubicBezTo>
                <a:cubicBezTo>
                  <a:pt x="21844" y="17531"/>
                  <a:pt x="21844" y="17531"/>
                  <a:pt x="21844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813" y="17499"/>
                  <a:pt x="21813" y="17499"/>
                  <a:pt x="21813" y="17499"/>
                </a:cubicBezTo>
                <a:cubicBezTo>
                  <a:pt x="21781" y="17499"/>
                  <a:pt x="21781" y="17499"/>
                  <a:pt x="21750" y="17499"/>
                </a:cubicBezTo>
                <a:cubicBezTo>
                  <a:pt x="21719" y="17468"/>
                  <a:pt x="21656" y="17499"/>
                  <a:pt x="21625" y="17499"/>
                </a:cubicBezTo>
                <a:cubicBezTo>
                  <a:pt x="21594" y="17624"/>
                  <a:pt x="21594" y="17718"/>
                  <a:pt x="21625" y="17812"/>
                </a:cubicBezTo>
                <a:cubicBezTo>
                  <a:pt x="21625" y="17843"/>
                  <a:pt x="21625" y="17843"/>
                  <a:pt x="21656" y="17843"/>
                </a:cubicBezTo>
                <a:cubicBezTo>
                  <a:pt x="21688" y="17843"/>
                  <a:pt x="21656" y="17843"/>
                  <a:pt x="21656" y="17812"/>
                </a:cubicBezTo>
                <a:cubicBezTo>
                  <a:pt x="21656" y="17749"/>
                  <a:pt x="21688" y="17781"/>
                  <a:pt x="21719" y="17781"/>
                </a:cubicBezTo>
                <a:cubicBezTo>
                  <a:pt x="21750" y="17812"/>
                  <a:pt x="21781" y="17874"/>
                  <a:pt x="21844" y="17843"/>
                </a:cubicBezTo>
                <a:cubicBezTo>
                  <a:pt x="21938" y="17874"/>
                  <a:pt x="21906" y="17968"/>
                  <a:pt x="21969" y="17999"/>
                </a:cubicBezTo>
                <a:cubicBezTo>
                  <a:pt x="21969" y="17999"/>
                  <a:pt x="21969" y="17999"/>
                  <a:pt x="22000" y="17999"/>
                </a:cubicBezTo>
                <a:cubicBezTo>
                  <a:pt x="21938" y="18093"/>
                  <a:pt x="22000" y="18156"/>
                  <a:pt x="22063" y="18187"/>
                </a:cubicBezTo>
                <a:cubicBezTo>
                  <a:pt x="22125" y="18218"/>
                  <a:pt x="22188" y="18249"/>
                  <a:pt x="22250" y="18281"/>
                </a:cubicBezTo>
                <a:cubicBezTo>
                  <a:pt x="22094" y="18249"/>
                  <a:pt x="21938" y="18124"/>
                  <a:pt x="21781" y="18062"/>
                </a:cubicBezTo>
                <a:cubicBezTo>
                  <a:pt x="21750" y="18062"/>
                  <a:pt x="21719" y="18031"/>
                  <a:pt x="21656" y="18062"/>
                </a:cubicBezTo>
                <a:cubicBezTo>
                  <a:pt x="21625" y="18093"/>
                  <a:pt x="21656" y="18124"/>
                  <a:pt x="21656" y="18187"/>
                </a:cubicBezTo>
                <a:cubicBezTo>
                  <a:pt x="21688" y="18156"/>
                  <a:pt x="21688" y="18093"/>
                  <a:pt x="21750" y="18093"/>
                </a:cubicBezTo>
                <a:cubicBezTo>
                  <a:pt x="21781" y="18124"/>
                  <a:pt x="21813" y="18187"/>
                  <a:pt x="21781" y="18218"/>
                </a:cubicBezTo>
                <a:cubicBezTo>
                  <a:pt x="21750" y="18281"/>
                  <a:pt x="21750" y="18374"/>
                  <a:pt x="21625" y="18406"/>
                </a:cubicBezTo>
                <a:cubicBezTo>
                  <a:pt x="21875" y="18531"/>
                  <a:pt x="22125" y="18656"/>
                  <a:pt x="22375" y="18781"/>
                </a:cubicBezTo>
                <a:cubicBezTo>
                  <a:pt x="22656" y="18968"/>
                  <a:pt x="22969" y="19124"/>
                  <a:pt x="23281" y="19312"/>
                </a:cubicBezTo>
                <a:cubicBezTo>
                  <a:pt x="23406" y="19374"/>
                  <a:pt x="23500" y="19437"/>
                  <a:pt x="23625" y="19499"/>
                </a:cubicBezTo>
                <a:cubicBezTo>
                  <a:pt x="23719" y="19562"/>
                  <a:pt x="23813" y="19624"/>
                  <a:pt x="23938" y="19687"/>
                </a:cubicBezTo>
                <a:cubicBezTo>
                  <a:pt x="23938" y="19687"/>
                  <a:pt x="23938" y="19687"/>
                  <a:pt x="23938" y="19687"/>
                </a:cubicBezTo>
                <a:cubicBezTo>
                  <a:pt x="24063" y="19781"/>
                  <a:pt x="24188" y="19843"/>
                  <a:pt x="24313" y="19937"/>
                </a:cubicBezTo>
                <a:cubicBezTo>
                  <a:pt x="24313" y="19937"/>
                  <a:pt x="24313" y="19937"/>
                  <a:pt x="24313" y="19937"/>
                </a:cubicBezTo>
                <a:cubicBezTo>
                  <a:pt x="24344" y="19937"/>
                  <a:pt x="24375" y="19999"/>
                  <a:pt x="24438" y="19968"/>
                </a:cubicBezTo>
                <a:cubicBezTo>
                  <a:pt x="24406" y="19937"/>
                  <a:pt x="24375" y="19906"/>
                  <a:pt x="24344" y="19906"/>
                </a:cubicBezTo>
                <a:cubicBezTo>
                  <a:pt x="24344" y="19874"/>
                  <a:pt x="24313" y="19843"/>
                  <a:pt x="24313" y="19843"/>
                </a:cubicBezTo>
                <a:cubicBezTo>
                  <a:pt x="24438" y="19781"/>
                  <a:pt x="24313" y="19781"/>
                  <a:pt x="24281" y="19749"/>
                </a:cubicBezTo>
                <a:cubicBezTo>
                  <a:pt x="24250" y="19687"/>
                  <a:pt x="24188" y="19749"/>
                  <a:pt x="24156" y="19687"/>
                </a:cubicBezTo>
                <a:cubicBezTo>
                  <a:pt x="24125" y="19656"/>
                  <a:pt x="24094" y="19656"/>
                  <a:pt x="24094" y="19718"/>
                </a:cubicBezTo>
                <a:cubicBezTo>
                  <a:pt x="24063" y="19749"/>
                  <a:pt x="24063" y="19718"/>
                  <a:pt x="24031" y="19718"/>
                </a:cubicBezTo>
                <a:cubicBezTo>
                  <a:pt x="24000" y="19687"/>
                  <a:pt x="23969" y="19656"/>
                  <a:pt x="23938" y="19656"/>
                </a:cubicBezTo>
                <a:cubicBezTo>
                  <a:pt x="23938" y="19624"/>
                  <a:pt x="23938" y="19593"/>
                  <a:pt x="23969" y="19531"/>
                </a:cubicBezTo>
                <a:cubicBezTo>
                  <a:pt x="24031" y="19562"/>
                  <a:pt x="24031" y="19531"/>
                  <a:pt x="24063" y="19499"/>
                </a:cubicBezTo>
                <a:cubicBezTo>
                  <a:pt x="24094" y="19499"/>
                  <a:pt x="24094" y="19499"/>
                  <a:pt x="24125" y="19499"/>
                </a:cubicBezTo>
                <a:cubicBezTo>
                  <a:pt x="24125" y="19656"/>
                  <a:pt x="24125" y="19656"/>
                  <a:pt x="24250" y="19656"/>
                </a:cubicBezTo>
                <a:cubicBezTo>
                  <a:pt x="24281" y="19656"/>
                  <a:pt x="24281" y="19687"/>
                  <a:pt x="24313" y="19687"/>
                </a:cubicBezTo>
                <a:cubicBezTo>
                  <a:pt x="24344" y="19718"/>
                  <a:pt x="24438" y="19781"/>
                  <a:pt x="24438" y="19656"/>
                </a:cubicBezTo>
                <a:cubicBezTo>
                  <a:pt x="24438" y="19624"/>
                  <a:pt x="24469" y="19624"/>
                  <a:pt x="24500" y="19624"/>
                </a:cubicBezTo>
                <a:cubicBezTo>
                  <a:pt x="24500" y="19562"/>
                  <a:pt x="24438" y="19562"/>
                  <a:pt x="24438" y="19531"/>
                </a:cubicBezTo>
                <a:cubicBezTo>
                  <a:pt x="24500" y="19531"/>
                  <a:pt x="24531" y="19562"/>
                  <a:pt x="24531" y="19624"/>
                </a:cubicBezTo>
                <a:cubicBezTo>
                  <a:pt x="24531" y="19624"/>
                  <a:pt x="24500" y="19624"/>
                  <a:pt x="24500" y="19624"/>
                </a:cubicBezTo>
                <a:cubicBezTo>
                  <a:pt x="24469" y="19656"/>
                  <a:pt x="24500" y="19656"/>
                  <a:pt x="24500" y="19687"/>
                </a:cubicBezTo>
                <a:cubicBezTo>
                  <a:pt x="24531" y="19687"/>
                  <a:pt x="24563" y="19687"/>
                  <a:pt x="24531" y="19718"/>
                </a:cubicBezTo>
                <a:cubicBezTo>
                  <a:pt x="24469" y="19812"/>
                  <a:pt x="24531" y="19843"/>
                  <a:pt x="24594" y="19843"/>
                </a:cubicBezTo>
                <a:cubicBezTo>
                  <a:pt x="24500" y="19937"/>
                  <a:pt x="24500" y="19937"/>
                  <a:pt x="24594" y="19999"/>
                </a:cubicBezTo>
                <a:cubicBezTo>
                  <a:pt x="24594" y="19999"/>
                  <a:pt x="24594" y="19999"/>
                  <a:pt x="24625" y="20031"/>
                </a:cubicBezTo>
                <a:cubicBezTo>
                  <a:pt x="24625" y="20031"/>
                  <a:pt x="24594" y="20031"/>
                  <a:pt x="24594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25" y="20031"/>
                  <a:pt x="24625" y="20031"/>
                </a:cubicBezTo>
                <a:cubicBezTo>
                  <a:pt x="24625" y="20031"/>
                  <a:pt x="24688" y="20031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37"/>
                </a:cubicBezTo>
                <a:cubicBezTo>
                  <a:pt x="24656" y="19906"/>
                  <a:pt x="24656" y="19906"/>
                  <a:pt x="24656" y="19874"/>
                </a:cubicBezTo>
                <a:cubicBezTo>
                  <a:pt x="24719" y="19874"/>
                  <a:pt x="24750" y="19906"/>
                  <a:pt x="24781" y="19937"/>
                </a:cubicBezTo>
                <a:cubicBezTo>
                  <a:pt x="24750" y="19906"/>
                  <a:pt x="24719" y="19874"/>
                  <a:pt x="24656" y="19874"/>
                </a:cubicBezTo>
                <a:cubicBezTo>
                  <a:pt x="24656" y="19906"/>
                  <a:pt x="24656" y="19937"/>
                  <a:pt x="24656" y="19968"/>
                </a:cubicBezTo>
                <a:lnTo>
                  <a:pt x="24656" y="19968"/>
                </a:lnTo>
                <a:cubicBezTo>
                  <a:pt x="24656" y="19968"/>
                  <a:pt x="24656" y="19968"/>
                  <a:pt x="24656" y="19968"/>
                </a:cubicBezTo>
                <a:cubicBezTo>
                  <a:pt x="24719" y="19968"/>
                  <a:pt x="24688" y="20031"/>
                  <a:pt x="24719" y="20031"/>
                </a:cubicBezTo>
                <a:cubicBezTo>
                  <a:pt x="24719" y="20062"/>
                  <a:pt x="24750" y="20093"/>
                  <a:pt x="24750" y="20093"/>
                </a:cubicBezTo>
                <a:cubicBezTo>
                  <a:pt x="24813" y="20062"/>
                  <a:pt x="24781" y="20031"/>
                  <a:pt x="24781" y="20031"/>
                </a:cubicBezTo>
                <a:cubicBezTo>
                  <a:pt x="24813" y="20031"/>
                  <a:pt x="24813" y="19937"/>
                  <a:pt x="24844" y="19968"/>
                </a:cubicBezTo>
                <a:cubicBezTo>
                  <a:pt x="24906" y="19999"/>
                  <a:pt x="24844" y="19999"/>
                  <a:pt x="24844" y="20031"/>
                </a:cubicBezTo>
                <a:cubicBezTo>
                  <a:pt x="24844" y="20093"/>
                  <a:pt x="24813" y="20124"/>
                  <a:pt x="24875" y="20156"/>
                </a:cubicBezTo>
                <a:cubicBezTo>
                  <a:pt x="24906" y="20187"/>
                  <a:pt x="24969" y="20187"/>
                  <a:pt x="24969" y="20124"/>
                </a:cubicBezTo>
                <a:cubicBezTo>
                  <a:pt x="25000" y="20093"/>
                  <a:pt x="25031" y="20093"/>
                  <a:pt x="25063" y="20156"/>
                </a:cubicBezTo>
                <a:cubicBezTo>
                  <a:pt x="25094" y="20187"/>
                  <a:pt x="25094" y="20249"/>
                  <a:pt x="25094" y="20281"/>
                </a:cubicBezTo>
                <a:cubicBezTo>
                  <a:pt x="25031" y="20312"/>
                  <a:pt x="25031" y="20249"/>
                  <a:pt x="24969" y="20281"/>
                </a:cubicBezTo>
                <a:lnTo>
                  <a:pt x="24969" y="20281"/>
                </a:lnTo>
                <a:cubicBezTo>
                  <a:pt x="25000" y="20312"/>
                  <a:pt x="25063" y="20343"/>
                  <a:pt x="25063" y="20406"/>
                </a:cubicBezTo>
                <a:cubicBezTo>
                  <a:pt x="25063" y="20406"/>
                  <a:pt x="25094" y="20406"/>
                  <a:pt x="25094" y="20406"/>
                </a:cubicBezTo>
                <a:cubicBezTo>
                  <a:pt x="25094" y="20437"/>
                  <a:pt x="25094" y="20437"/>
                  <a:pt x="25094" y="20468"/>
                </a:cubicBezTo>
                <a:cubicBezTo>
                  <a:pt x="25063" y="20468"/>
                  <a:pt x="25031" y="20437"/>
                  <a:pt x="25000" y="20437"/>
                </a:cubicBezTo>
                <a:cubicBezTo>
                  <a:pt x="24844" y="20312"/>
                  <a:pt x="24656" y="20218"/>
                  <a:pt x="24500" y="20093"/>
                </a:cubicBezTo>
                <a:cubicBezTo>
                  <a:pt x="24063" y="19812"/>
                  <a:pt x="23625" y="19562"/>
                  <a:pt x="23188" y="19312"/>
                </a:cubicBezTo>
                <a:cubicBezTo>
                  <a:pt x="22969" y="19156"/>
                  <a:pt x="22750" y="19062"/>
                  <a:pt x="22500" y="18937"/>
                </a:cubicBezTo>
                <a:cubicBezTo>
                  <a:pt x="22250" y="18781"/>
                  <a:pt x="22000" y="18656"/>
                  <a:pt x="21750" y="18499"/>
                </a:cubicBezTo>
                <a:cubicBezTo>
                  <a:pt x="21625" y="18437"/>
                  <a:pt x="21469" y="18406"/>
                  <a:pt x="21344" y="18312"/>
                </a:cubicBezTo>
                <a:cubicBezTo>
                  <a:pt x="21250" y="18249"/>
                  <a:pt x="21188" y="18187"/>
                  <a:pt x="21094" y="18218"/>
                </a:cubicBezTo>
                <a:cubicBezTo>
                  <a:pt x="21000" y="18156"/>
                  <a:pt x="20906" y="18156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124"/>
                  <a:pt x="20813" y="18124"/>
                  <a:pt x="20813" y="18124"/>
                </a:cubicBezTo>
                <a:cubicBezTo>
                  <a:pt x="20813" y="18093"/>
                  <a:pt x="20813" y="18093"/>
                  <a:pt x="20813" y="18093"/>
                </a:cubicBezTo>
                <a:cubicBezTo>
                  <a:pt x="20813" y="18062"/>
                  <a:pt x="20781" y="18062"/>
                  <a:pt x="20781" y="18062"/>
                </a:cubicBezTo>
                <a:cubicBezTo>
                  <a:pt x="20438" y="17906"/>
                  <a:pt x="20094" y="17749"/>
                  <a:pt x="19750" y="17624"/>
                </a:cubicBezTo>
                <a:cubicBezTo>
                  <a:pt x="19375" y="17468"/>
                  <a:pt x="19000" y="17343"/>
                  <a:pt x="18656" y="17218"/>
                </a:cubicBezTo>
                <a:cubicBezTo>
                  <a:pt x="18281" y="17124"/>
                  <a:pt x="17938" y="16999"/>
                  <a:pt x="17594" y="16906"/>
                </a:cubicBezTo>
                <a:cubicBezTo>
                  <a:pt x="17438" y="16874"/>
                  <a:pt x="17250" y="16812"/>
                  <a:pt x="17094" y="16812"/>
                </a:cubicBezTo>
                <a:cubicBezTo>
                  <a:pt x="17094" y="16781"/>
                  <a:pt x="17031" y="16718"/>
                  <a:pt x="17125" y="16749"/>
                </a:cubicBezTo>
                <a:cubicBezTo>
                  <a:pt x="17344" y="16812"/>
                  <a:pt x="17563" y="16843"/>
                  <a:pt x="17781" y="16906"/>
                </a:cubicBezTo>
                <a:cubicBezTo>
                  <a:pt x="18031" y="16968"/>
                  <a:pt x="18250" y="17062"/>
                  <a:pt x="18500" y="17124"/>
                </a:cubicBezTo>
                <a:cubicBezTo>
                  <a:pt x="18813" y="17218"/>
                  <a:pt x="19125" y="17343"/>
                  <a:pt x="19438" y="17437"/>
                </a:cubicBezTo>
                <a:cubicBezTo>
                  <a:pt x="19781" y="17593"/>
                  <a:pt x="20125" y="17718"/>
                  <a:pt x="20469" y="17874"/>
                </a:cubicBezTo>
                <a:cubicBezTo>
                  <a:pt x="20625" y="17937"/>
                  <a:pt x="20750" y="17968"/>
                  <a:pt x="20906" y="18062"/>
                </a:cubicBezTo>
                <a:cubicBezTo>
                  <a:pt x="21031" y="18124"/>
                  <a:pt x="21156" y="18124"/>
                  <a:pt x="21250" y="18218"/>
                </a:cubicBezTo>
                <a:cubicBezTo>
                  <a:pt x="21250" y="18218"/>
                  <a:pt x="21281" y="18218"/>
                  <a:pt x="21281" y="18218"/>
                </a:cubicBezTo>
                <a:cubicBezTo>
                  <a:pt x="21250" y="18156"/>
                  <a:pt x="21156" y="18156"/>
                  <a:pt x="21156" y="18062"/>
                </a:cubicBezTo>
                <a:cubicBezTo>
                  <a:pt x="21188" y="18093"/>
                  <a:pt x="21219" y="18093"/>
                  <a:pt x="21250" y="18124"/>
                </a:cubicBezTo>
                <a:cubicBezTo>
                  <a:pt x="21219" y="18093"/>
                  <a:pt x="21219" y="18062"/>
                  <a:pt x="21219" y="18031"/>
                </a:cubicBezTo>
                <a:cubicBezTo>
                  <a:pt x="21219" y="17999"/>
                  <a:pt x="21219" y="17968"/>
                  <a:pt x="21219" y="17937"/>
                </a:cubicBezTo>
                <a:cubicBezTo>
                  <a:pt x="21219" y="17937"/>
                  <a:pt x="21250" y="17906"/>
                  <a:pt x="21250" y="17906"/>
                </a:cubicBezTo>
                <a:cubicBezTo>
                  <a:pt x="21281" y="17906"/>
                  <a:pt x="21313" y="17906"/>
                  <a:pt x="21313" y="17874"/>
                </a:cubicBezTo>
                <a:cubicBezTo>
                  <a:pt x="21313" y="17843"/>
                  <a:pt x="21281" y="17843"/>
                  <a:pt x="21250" y="17812"/>
                </a:cubicBezTo>
                <a:cubicBezTo>
                  <a:pt x="21219" y="17781"/>
                  <a:pt x="21156" y="17812"/>
                  <a:pt x="21156" y="17749"/>
                </a:cubicBezTo>
                <a:cubicBezTo>
                  <a:pt x="21156" y="17749"/>
                  <a:pt x="21156" y="17718"/>
                  <a:pt x="21156" y="17718"/>
                </a:cubicBezTo>
                <a:lnTo>
                  <a:pt x="21156" y="17718"/>
                </a:lnTo>
                <a:cubicBezTo>
                  <a:pt x="21219" y="17718"/>
                  <a:pt x="21281" y="17781"/>
                  <a:pt x="21344" y="17812"/>
                </a:cubicBezTo>
                <a:cubicBezTo>
                  <a:pt x="21469" y="17874"/>
                  <a:pt x="21531" y="17812"/>
                  <a:pt x="21531" y="17687"/>
                </a:cubicBezTo>
                <a:cubicBezTo>
                  <a:pt x="21531" y="17624"/>
                  <a:pt x="21531" y="17562"/>
                  <a:pt x="21531" y="17531"/>
                </a:cubicBezTo>
                <a:cubicBezTo>
                  <a:pt x="21531" y="17499"/>
                  <a:pt x="21531" y="17437"/>
                  <a:pt x="21469" y="17437"/>
                </a:cubicBezTo>
                <a:cubicBezTo>
                  <a:pt x="21375" y="17281"/>
                  <a:pt x="21250" y="17218"/>
                  <a:pt x="21094" y="17124"/>
                </a:cubicBezTo>
                <a:cubicBezTo>
                  <a:pt x="21063" y="17124"/>
                  <a:pt x="21000" y="17124"/>
                  <a:pt x="20969" y="17124"/>
                </a:cubicBezTo>
                <a:cubicBezTo>
                  <a:pt x="20875" y="17124"/>
                  <a:pt x="20875" y="17156"/>
                  <a:pt x="20906" y="17312"/>
                </a:cubicBezTo>
                <a:cubicBezTo>
                  <a:pt x="20906" y="17343"/>
                  <a:pt x="20875" y="17374"/>
                  <a:pt x="20938" y="17374"/>
                </a:cubicBezTo>
                <a:cubicBezTo>
                  <a:pt x="20875" y="17437"/>
                  <a:pt x="20938" y="17531"/>
                  <a:pt x="20906" y="17593"/>
                </a:cubicBezTo>
                <a:cubicBezTo>
                  <a:pt x="20906" y="17593"/>
                  <a:pt x="20938" y="17624"/>
                  <a:pt x="20938" y="17624"/>
                </a:cubicBezTo>
                <a:cubicBezTo>
                  <a:pt x="21000" y="17624"/>
                  <a:pt x="21094" y="17687"/>
                  <a:pt x="21156" y="17718"/>
                </a:cubicBezTo>
                <a:cubicBezTo>
                  <a:pt x="21156" y="17718"/>
                  <a:pt x="21156" y="17718"/>
                  <a:pt x="21156" y="17749"/>
                </a:cubicBezTo>
                <a:cubicBezTo>
                  <a:pt x="21125" y="17749"/>
                  <a:pt x="21094" y="17749"/>
                  <a:pt x="21063" y="17718"/>
                </a:cubicBezTo>
                <a:cubicBezTo>
                  <a:pt x="20938" y="17687"/>
                  <a:pt x="20813" y="17624"/>
                  <a:pt x="20719" y="17562"/>
                </a:cubicBezTo>
                <a:cubicBezTo>
                  <a:pt x="20594" y="17531"/>
                  <a:pt x="20500" y="17468"/>
                  <a:pt x="20375" y="17437"/>
                </a:cubicBezTo>
                <a:cubicBezTo>
                  <a:pt x="20375" y="17437"/>
                  <a:pt x="20313" y="17406"/>
                  <a:pt x="20375" y="17374"/>
                </a:cubicBezTo>
                <a:cubicBezTo>
                  <a:pt x="20500" y="17437"/>
                  <a:pt x="20625" y="17468"/>
                  <a:pt x="20750" y="17531"/>
                </a:cubicBezTo>
                <a:cubicBezTo>
                  <a:pt x="20781" y="17562"/>
                  <a:pt x="20813" y="17562"/>
                  <a:pt x="20813" y="17562"/>
                </a:cubicBezTo>
                <a:cubicBezTo>
                  <a:pt x="20844" y="17531"/>
                  <a:pt x="20813" y="17499"/>
                  <a:pt x="20813" y="17499"/>
                </a:cubicBezTo>
                <a:cubicBezTo>
                  <a:pt x="20781" y="17468"/>
                  <a:pt x="20781" y="17468"/>
                  <a:pt x="20781" y="17468"/>
                </a:cubicBezTo>
                <a:cubicBezTo>
                  <a:pt x="20844" y="17406"/>
                  <a:pt x="20813" y="17343"/>
                  <a:pt x="20781" y="17312"/>
                </a:cubicBezTo>
                <a:cubicBezTo>
                  <a:pt x="20719" y="17156"/>
                  <a:pt x="20469" y="16968"/>
                  <a:pt x="20313" y="16968"/>
                </a:cubicBezTo>
                <a:cubicBezTo>
                  <a:pt x="20219" y="16968"/>
                  <a:pt x="20188" y="16999"/>
                  <a:pt x="20188" y="17093"/>
                </a:cubicBezTo>
                <a:cubicBezTo>
                  <a:pt x="20219" y="17156"/>
                  <a:pt x="20250" y="17187"/>
                  <a:pt x="20219" y="17218"/>
                </a:cubicBezTo>
                <a:cubicBezTo>
                  <a:pt x="20188" y="17312"/>
                  <a:pt x="20250" y="17312"/>
                  <a:pt x="20313" y="17343"/>
                </a:cubicBezTo>
                <a:cubicBezTo>
                  <a:pt x="20313" y="17374"/>
                  <a:pt x="20281" y="17374"/>
                  <a:pt x="20250" y="17374"/>
                </a:cubicBezTo>
                <a:cubicBezTo>
                  <a:pt x="20156" y="17312"/>
                  <a:pt x="20031" y="17281"/>
                  <a:pt x="19938" y="17249"/>
                </a:cubicBezTo>
                <a:cubicBezTo>
                  <a:pt x="19719" y="17156"/>
                  <a:pt x="19500" y="17031"/>
                  <a:pt x="19250" y="16999"/>
                </a:cubicBezTo>
                <a:cubicBezTo>
                  <a:pt x="19219" y="16937"/>
                  <a:pt x="19156" y="16937"/>
                  <a:pt x="19094" y="16937"/>
                </a:cubicBezTo>
                <a:cubicBezTo>
                  <a:pt x="18969" y="16843"/>
                  <a:pt x="18844" y="16812"/>
                  <a:pt x="18688" y="16781"/>
                </a:cubicBezTo>
                <a:cubicBezTo>
                  <a:pt x="18656" y="16749"/>
                  <a:pt x="18625" y="16749"/>
                  <a:pt x="18594" y="16718"/>
                </a:cubicBezTo>
                <a:cubicBezTo>
                  <a:pt x="18500" y="16687"/>
                  <a:pt x="18406" y="16656"/>
                  <a:pt x="18313" y="16656"/>
                </a:cubicBezTo>
                <a:cubicBezTo>
                  <a:pt x="18313" y="16656"/>
                  <a:pt x="18313" y="16624"/>
                  <a:pt x="18313" y="16624"/>
                </a:cubicBezTo>
                <a:cubicBezTo>
                  <a:pt x="18188" y="16593"/>
                  <a:pt x="18063" y="16531"/>
                  <a:pt x="17906" y="16531"/>
                </a:cubicBezTo>
                <a:cubicBezTo>
                  <a:pt x="17875" y="16499"/>
                  <a:pt x="17813" y="16531"/>
                  <a:pt x="17781" y="16499"/>
                </a:cubicBezTo>
                <a:cubicBezTo>
                  <a:pt x="17781" y="16468"/>
                  <a:pt x="17781" y="16468"/>
                  <a:pt x="17750" y="16468"/>
                </a:cubicBezTo>
                <a:cubicBezTo>
                  <a:pt x="17656" y="16468"/>
                  <a:pt x="17563" y="16406"/>
                  <a:pt x="17438" y="16374"/>
                </a:cubicBezTo>
                <a:cubicBezTo>
                  <a:pt x="17344" y="16343"/>
                  <a:pt x="17250" y="16343"/>
                  <a:pt x="17156" y="16312"/>
                </a:cubicBezTo>
                <a:cubicBezTo>
                  <a:pt x="16906" y="16218"/>
                  <a:pt x="16656" y="16187"/>
                  <a:pt x="16375" y="16124"/>
                </a:cubicBezTo>
                <a:cubicBezTo>
                  <a:pt x="16219" y="16093"/>
                  <a:pt x="16031" y="16062"/>
                  <a:pt x="15875" y="16031"/>
                </a:cubicBezTo>
                <a:cubicBezTo>
                  <a:pt x="15813" y="16031"/>
                  <a:pt x="15781" y="16031"/>
                  <a:pt x="15719" y="16031"/>
                </a:cubicBezTo>
                <a:cubicBezTo>
                  <a:pt x="15500" y="15937"/>
                  <a:pt x="15313" y="15937"/>
                  <a:pt x="15094" y="15906"/>
                </a:cubicBezTo>
                <a:cubicBezTo>
                  <a:pt x="15031" y="15906"/>
                  <a:pt x="14969" y="15906"/>
                  <a:pt x="14906" y="15999"/>
                </a:cubicBezTo>
                <a:cubicBezTo>
                  <a:pt x="14969" y="15874"/>
                  <a:pt x="14906" y="15906"/>
                  <a:pt x="14844" y="15874"/>
                </a:cubicBezTo>
                <a:cubicBezTo>
                  <a:pt x="14688" y="15843"/>
                  <a:pt x="14500" y="15874"/>
                  <a:pt x="14344" y="15843"/>
                </a:cubicBezTo>
                <a:cubicBezTo>
                  <a:pt x="14281" y="15843"/>
                  <a:pt x="14250" y="15874"/>
                  <a:pt x="14250" y="15937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06"/>
                </a:cubicBezTo>
                <a:cubicBezTo>
                  <a:pt x="14250" y="15906"/>
                  <a:pt x="14250" y="15906"/>
                  <a:pt x="14250" y="15937"/>
                </a:cubicBezTo>
                <a:cubicBezTo>
                  <a:pt x="14250" y="15937"/>
                  <a:pt x="14250" y="15937"/>
                  <a:pt x="14250" y="15937"/>
                </a:cubicBezTo>
                <a:cubicBezTo>
                  <a:pt x="14281" y="15968"/>
                  <a:pt x="14313" y="16031"/>
                  <a:pt x="14344" y="15937"/>
                </a:cubicBezTo>
                <a:cubicBezTo>
                  <a:pt x="14344" y="15906"/>
                  <a:pt x="14375" y="15906"/>
                  <a:pt x="14375" y="15937"/>
                </a:cubicBezTo>
                <a:cubicBezTo>
                  <a:pt x="14406" y="15968"/>
                  <a:pt x="14375" y="15937"/>
                  <a:pt x="14438" y="15937"/>
                </a:cubicBezTo>
                <a:cubicBezTo>
                  <a:pt x="14469" y="15906"/>
                  <a:pt x="14438" y="15968"/>
                  <a:pt x="14469" y="15968"/>
                </a:cubicBezTo>
                <a:cubicBezTo>
                  <a:pt x="14438" y="15968"/>
                  <a:pt x="14438" y="15968"/>
                  <a:pt x="14438" y="15968"/>
                </a:cubicBezTo>
                <a:cubicBezTo>
                  <a:pt x="14406" y="15999"/>
                  <a:pt x="14406" y="15999"/>
                  <a:pt x="14375" y="15999"/>
                </a:cubicBezTo>
                <a:cubicBezTo>
                  <a:pt x="14375" y="15999"/>
                  <a:pt x="14375" y="15999"/>
                  <a:pt x="14375" y="15999"/>
                </a:cubicBezTo>
                <a:cubicBezTo>
                  <a:pt x="14344" y="15999"/>
                  <a:pt x="14344" y="15999"/>
                  <a:pt x="14344" y="16031"/>
                </a:cubicBezTo>
                <a:cubicBezTo>
                  <a:pt x="14344" y="16031"/>
                  <a:pt x="14344" y="16031"/>
                  <a:pt x="14313" y="16031"/>
                </a:cubicBezTo>
                <a:cubicBezTo>
                  <a:pt x="14281" y="16031"/>
                  <a:pt x="14313" y="16062"/>
                  <a:pt x="14313" y="16062"/>
                </a:cubicBezTo>
                <a:cubicBezTo>
                  <a:pt x="14313" y="16093"/>
                  <a:pt x="14313" y="16156"/>
                  <a:pt x="14344" y="16187"/>
                </a:cubicBezTo>
                <a:cubicBezTo>
                  <a:pt x="14375" y="16249"/>
                  <a:pt x="14438" y="16218"/>
                  <a:pt x="14500" y="16218"/>
                </a:cubicBezTo>
                <a:cubicBezTo>
                  <a:pt x="14531" y="16218"/>
                  <a:pt x="14531" y="16218"/>
                  <a:pt x="14563" y="16218"/>
                </a:cubicBezTo>
                <a:cubicBezTo>
                  <a:pt x="14563" y="16249"/>
                  <a:pt x="14594" y="16281"/>
                  <a:pt x="14625" y="16281"/>
                </a:cubicBezTo>
                <a:cubicBezTo>
                  <a:pt x="14594" y="16187"/>
                  <a:pt x="14531" y="16124"/>
                  <a:pt x="14500" y="16031"/>
                </a:cubicBezTo>
                <a:cubicBezTo>
                  <a:pt x="14500" y="16062"/>
                  <a:pt x="14531" y="16062"/>
                  <a:pt x="14531" y="16062"/>
                </a:cubicBezTo>
                <a:cubicBezTo>
                  <a:pt x="14594" y="16124"/>
                  <a:pt x="14625" y="16218"/>
                  <a:pt x="14719" y="16312"/>
                </a:cubicBezTo>
                <a:cubicBezTo>
                  <a:pt x="14688" y="16187"/>
                  <a:pt x="14688" y="16124"/>
                  <a:pt x="14688" y="16031"/>
                </a:cubicBezTo>
                <a:cubicBezTo>
                  <a:pt x="14719" y="16062"/>
                  <a:pt x="14719" y="16093"/>
                  <a:pt x="14750" y="16093"/>
                </a:cubicBezTo>
                <a:cubicBezTo>
                  <a:pt x="14750" y="16093"/>
                  <a:pt x="14750" y="16093"/>
                  <a:pt x="14750" y="16093"/>
                </a:cubicBezTo>
                <a:cubicBezTo>
                  <a:pt x="14750" y="16156"/>
                  <a:pt x="14750" y="16187"/>
                  <a:pt x="14750" y="16249"/>
                </a:cubicBezTo>
                <a:cubicBezTo>
                  <a:pt x="14750" y="16281"/>
                  <a:pt x="14813" y="16281"/>
                  <a:pt x="14813" y="16312"/>
                </a:cubicBezTo>
                <a:cubicBezTo>
                  <a:pt x="14781" y="16343"/>
                  <a:pt x="14750" y="16343"/>
                  <a:pt x="14719" y="16343"/>
                </a:cubicBezTo>
                <a:cubicBezTo>
                  <a:pt x="14656" y="16343"/>
                  <a:pt x="14594" y="16312"/>
                  <a:pt x="14563" y="16281"/>
                </a:cubicBezTo>
                <a:cubicBezTo>
                  <a:pt x="14500" y="16218"/>
                  <a:pt x="14469" y="16218"/>
                  <a:pt x="14438" y="16281"/>
                </a:cubicBezTo>
                <a:cubicBezTo>
                  <a:pt x="14406" y="16312"/>
                  <a:pt x="14375" y="16343"/>
                  <a:pt x="14313" y="16312"/>
                </a:cubicBezTo>
                <a:cubicBezTo>
                  <a:pt x="14281" y="16312"/>
                  <a:pt x="14188" y="16312"/>
                  <a:pt x="14250" y="16218"/>
                </a:cubicBezTo>
                <a:cubicBezTo>
                  <a:pt x="14250" y="16218"/>
                  <a:pt x="14219" y="16218"/>
                  <a:pt x="14219" y="16187"/>
                </a:cubicBezTo>
                <a:cubicBezTo>
                  <a:pt x="14188" y="16187"/>
                  <a:pt x="14188" y="16187"/>
                  <a:pt x="14188" y="16156"/>
                </a:cubicBezTo>
                <a:cubicBezTo>
                  <a:pt x="14188" y="16156"/>
                  <a:pt x="14188" y="16124"/>
                  <a:pt x="14156" y="16156"/>
                </a:cubicBezTo>
                <a:cubicBezTo>
                  <a:pt x="14156" y="16156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124"/>
                  <a:pt x="14156" y="16124"/>
                  <a:pt x="14156" y="16124"/>
                </a:cubicBezTo>
                <a:cubicBezTo>
                  <a:pt x="14156" y="16031"/>
                  <a:pt x="14063" y="15968"/>
                  <a:pt x="14031" y="15874"/>
                </a:cubicBezTo>
                <a:cubicBezTo>
                  <a:pt x="14000" y="15906"/>
                  <a:pt x="14031" y="15937"/>
                  <a:pt x="14000" y="15968"/>
                </a:cubicBezTo>
                <a:cubicBezTo>
                  <a:pt x="14000" y="15937"/>
                  <a:pt x="13969" y="15906"/>
                  <a:pt x="13938" y="15874"/>
                </a:cubicBezTo>
                <a:cubicBezTo>
                  <a:pt x="14000" y="15874"/>
                  <a:pt x="14094" y="15843"/>
                  <a:pt x="14125" y="15906"/>
                </a:cubicBezTo>
                <a:cubicBezTo>
                  <a:pt x="14125" y="15906"/>
                  <a:pt x="14125" y="15906"/>
                  <a:pt x="14125" y="15906"/>
                </a:cubicBezTo>
                <a:cubicBezTo>
                  <a:pt x="14125" y="15937"/>
                  <a:pt x="14188" y="15968"/>
                  <a:pt x="14219" y="16031"/>
                </a:cubicBezTo>
                <a:cubicBezTo>
                  <a:pt x="14219" y="16031"/>
                  <a:pt x="14219" y="16062"/>
                  <a:pt x="14250" y="16062"/>
                </a:cubicBezTo>
                <a:cubicBezTo>
                  <a:pt x="14281" y="16031"/>
                  <a:pt x="14281" y="15999"/>
                  <a:pt x="14250" y="15999"/>
                </a:cubicBezTo>
                <a:cubicBezTo>
                  <a:pt x="14250" y="15968"/>
                  <a:pt x="14250" y="15937"/>
                  <a:pt x="14250" y="15937"/>
                </a:cubicBezTo>
                <a:cubicBezTo>
                  <a:pt x="14188" y="15937"/>
                  <a:pt x="14219" y="15906"/>
                  <a:pt x="14219" y="15874"/>
                </a:cubicBezTo>
                <a:cubicBezTo>
                  <a:pt x="14219" y="15812"/>
                  <a:pt x="14188" y="15843"/>
                  <a:pt x="14156" y="15843"/>
                </a:cubicBezTo>
                <a:cubicBezTo>
                  <a:pt x="14094" y="15843"/>
                  <a:pt x="14031" y="15843"/>
                  <a:pt x="13938" y="15843"/>
                </a:cubicBezTo>
                <a:cubicBezTo>
                  <a:pt x="13906" y="15812"/>
                  <a:pt x="13875" y="15812"/>
                  <a:pt x="13844" y="15812"/>
                </a:cubicBezTo>
                <a:cubicBezTo>
                  <a:pt x="13594" y="15812"/>
                  <a:pt x="13344" y="15749"/>
                  <a:pt x="13094" y="15874"/>
                </a:cubicBezTo>
                <a:cubicBezTo>
                  <a:pt x="13094" y="15843"/>
                  <a:pt x="13156" y="15843"/>
                  <a:pt x="13125" y="15812"/>
                </a:cubicBezTo>
                <a:cubicBezTo>
                  <a:pt x="13031" y="15843"/>
                  <a:pt x="12875" y="15718"/>
                  <a:pt x="12813" y="15906"/>
                </a:cubicBezTo>
                <a:cubicBezTo>
                  <a:pt x="12813" y="15906"/>
                  <a:pt x="12813" y="15906"/>
                  <a:pt x="12813" y="15906"/>
                </a:cubicBezTo>
                <a:cubicBezTo>
                  <a:pt x="12781" y="15906"/>
                  <a:pt x="12781" y="15874"/>
                  <a:pt x="12781" y="15874"/>
                </a:cubicBezTo>
                <a:cubicBezTo>
                  <a:pt x="12781" y="15812"/>
                  <a:pt x="12781" y="15812"/>
                  <a:pt x="12719" y="15812"/>
                </a:cubicBezTo>
                <a:cubicBezTo>
                  <a:pt x="12438" y="15843"/>
                  <a:pt x="12156" y="15843"/>
                  <a:pt x="11844" y="15874"/>
                </a:cubicBezTo>
                <a:cubicBezTo>
                  <a:pt x="11750" y="15874"/>
                  <a:pt x="11656" y="15874"/>
                  <a:pt x="11563" y="15906"/>
                </a:cubicBezTo>
                <a:cubicBezTo>
                  <a:pt x="11531" y="15937"/>
                  <a:pt x="11469" y="15937"/>
                  <a:pt x="11438" y="15937"/>
                </a:cubicBezTo>
                <a:cubicBezTo>
                  <a:pt x="11375" y="15937"/>
                  <a:pt x="11344" y="15906"/>
                  <a:pt x="11313" y="15937"/>
                </a:cubicBezTo>
                <a:cubicBezTo>
                  <a:pt x="11313" y="15937"/>
                  <a:pt x="11313" y="15937"/>
                  <a:pt x="11313" y="15937"/>
                </a:cubicBezTo>
                <a:cubicBezTo>
                  <a:pt x="11250" y="15968"/>
                  <a:pt x="11219" y="15968"/>
                  <a:pt x="11188" y="15968"/>
                </a:cubicBezTo>
                <a:cubicBezTo>
                  <a:pt x="11125" y="15968"/>
                  <a:pt x="11063" y="15968"/>
                  <a:pt x="11031" y="15968"/>
                </a:cubicBezTo>
                <a:cubicBezTo>
                  <a:pt x="11000" y="15968"/>
                  <a:pt x="10969" y="15968"/>
                  <a:pt x="10969" y="16031"/>
                </a:cubicBezTo>
                <a:cubicBezTo>
                  <a:pt x="10875" y="15999"/>
                  <a:pt x="10813" y="16031"/>
                  <a:pt x="10750" y="16031"/>
                </a:cubicBezTo>
                <a:cubicBezTo>
                  <a:pt x="10594" y="16062"/>
                  <a:pt x="10438" y="16093"/>
                  <a:pt x="10250" y="16124"/>
                </a:cubicBezTo>
                <a:cubicBezTo>
                  <a:pt x="10188" y="16156"/>
                  <a:pt x="10188" y="16187"/>
                  <a:pt x="10188" y="16249"/>
                </a:cubicBezTo>
                <a:cubicBezTo>
                  <a:pt x="10188" y="16281"/>
                  <a:pt x="10219" y="16312"/>
                  <a:pt x="10281" y="16312"/>
                </a:cubicBezTo>
                <a:cubicBezTo>
                  <a:pt x="10281" y="16312"/>
                  <a:pt x="10313" y="16312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ubicBezTo>
                  <a:pt x="10375" y="16343"/>
                  <a:pt x="10438" y="16343"/>
                  <a:pt x="10531" y="16374"/>
                </a:cubicBezTo>
                <a:cubicBezTo>
                  <a:pt x="10500" y="16281"/>
                  <a:pt x="10406" y="16249"/>
                  <a:pt x="10375" y="16187"/>
                </a:cubicBezTo>
                <a:cubicBezTo>
                  <a:pt x="10438" y="16156"/>
                  <a:pt x="10469" y="16187"/>
                  <a:pt x="10500" y="16218"/>
                </a:cubicBezTo>
                <a:cubicBezTo>
                  <a:pt x="10563" y="16249"/>
                  <a:pt x="10594" y="16281"/>
                  <a:pt x="10625" y="16343"/>
                </a:cubicBezTo>
                <a:cubicBezTo>
                  <a:pt x="10656" y="16343"/>
                  <a:pt x="10656" y="16374"/>
                  <a:pt x="10688" y="16343"/>
                </a:cubicBezTo>
                <a:cubicBezTo>
                  <a:pt x="10688" y="16343"/>
                  <a:pt x="10688" y="16312"/>
                  <a:pt x="10688" y="16312"/>
                </a:cubicBezTo>
                <a:cubicBezTo>
                  <a:pt x="10688" y="16312"/>
                  <a:pt x="10719" y="16312"/>
                  <a:pt x="10719" y="16312"/>
                </a:cubicBezTo>
                <a:cubicBezTo>
                  <a:pt x="10750" y="16374"/>
                  <a:pt x="10813" y="16437"/>
                  <a:pt x="10813" y="16499"/>
                </a:cubicBezTo>
                <a:cubicBezTo>
                  <a:pt x="10844" y="16531"/>
                  <a:pt x="10969" y="16499"/>
                  <a:pt x="11000" y="16468"/>
                </a:cubicBezTo>
                <a:cubicBezTo>
                  <a:pt x="11000" y="16468"/>
                  <a:pt x="11000" y="16468"/>
                  <a:pt x="10969" y="16468"/>
                </a:cubicBezTo>
                <a:cubicBezTo>
                  <a:pt x="11000" y="16468"/>
                  <a:pt x="11000" y="16468"/>
                  <a:pt x="11000" y="16468"/>
                </a:cubicBezTo>
                <a:cubicBezTo>
                  <a:pt x="11031" y="16468"/>
                  <a:pt x="11031" y="16468"/>
                  <a:pt x="11031" y="16499"/>
                </a:cubicBezTo>
                <a:cubicBezTo>
                  <a:pt x="11031" y="16531"/>
                  <a:pt x="11031" y="16531"/>
                  <a:pt x="11063" y="16531"/>
                </a:cubicBezTo>
                <a:cubicBezTo>
                  <a:pt x="11094" y="16499"/>
                  <a:pt x="11125" y="16499"/>
                  <a:pt x="11125" y="16468"/>
                </a:cubicBezTo>
                <a:cubicBezTo>
                  <a:pt x="11063" y="16406"/>
                  <a:pt x="11031" y="16312"/>
                  <a:pt x="10938" y="16281"/>
                </a:cubicBezTo>
                <a:cubicBezTo>
                  <a:pt x="10938" y="16281"/>
                  <a:pt x="10938" y="16281"/>
                  <a:pt x="10938" y="16281"/>
                </a:cubicBezTo>
                <a:cubicBezTo>
                  <a:pt x="10938" y="16249"/>
                  <a:pt x="10938" y="16249"/>
                  <a:pt x="10969" y="16218"/>
                </a:cubicBezTo>
                <a:cubicBezTo>
                  <a:pt x="11031" y="16218"/>
                  <a:pt x="11063" y="16312"/>
                  <a:pt x="11125" y="16312"/>
                </a:cubicBezTo>
                <a:cubicBezTo>
                  <a:pt x="11063" y="16406"/>
                  <a:pt x="11156" y="16406"/>
                  <a:pt x="11188" y="16468"/>
                </a:cubicBezTo>
                <a:cubicBezTo>
                  <a:pt x="11188" y="16468"/>
                  <a:pt x="11219" y="16468"/>
                  <a:pt x="11219" y="16468"/>
                </a:cubicBezTo>
                <a:cubicBezTo>
                  <a:pt x="11219" y="16406"/>
                  <a:pt x="11156" y="16374"/>
                  <a:pt x="11188" y="16312"/>
                </a:cubicBezTo>
                <a:cubicBezTo>
                  <a:pt x="11188" y="16312"/>
                  <a:pt x="11188" y="16281"/>
                  <a:pt x="11219" y="16281"/>
                </a:cubicBezTo>
                <a:cubicBezTo>
                  <a:pt x="11219" y="16343"/>
                  <a:pt x="11281" y="16406"/>
                  <a:pt x="11281" y="16468"/>
                </a:cubicBezTo>
                <a:cubicBezTo>
                  <a:pt x="11281" y="16468"/>
                  <a:pt x="11281" y="16468"/>
                  <a:pt x="11281" y="16468"/>
                </a:cubicBezTo>
                <a:cubicBezTo>
                  <a:pt x="11250" y="16499"/>
                  <a:pt x="11250" y="16499"/>
                  <a:pt x="11219" y="16468"/>
                </a:cubicBezTo>
                <a:cubicBezTo>
                  <a:pt x="11219" y="16468"/>
                  <a:pt x="11188" y="16468"/>
                  <a:pt x="11188" y="16468"/>
                </a:cubicBezTo>
                <a:cubicBezTo>
                  <a:pt x="11156" y="16531"/>
                  <a:pt x="11219" y="16531"/>
                  <a:pt x="11250" y="16593"/>
                </a:cubicBezTo>
                <a:cubicBezTo>
                  <a:pt x="11219" y="16624"/>
                  <a:pt x="11156" y="16593"/>
                  <a:pt x="11156" y="16624"/>
                </a:cubicBezTo>
                <a:cubicBezTo>
                  <a:pt x="11125" y="16593"/>
                  <a:pt x="11063" y="16593"/>
                  <a:pt x="11031" y="16593"/>
                </a:cubicBezTo>
                <a:cubicBezTo>
                  <a:pt x="10938" y="16593"/>
                  <a:pt x="10969" y="16624"/>
                  <a:pt x="11000" y="16656"/>
                </a:cubicBezTo>
                <a:cubicBezTo>
                  <a:pt x="10875" y="16718"/>
                  <a:pt x="10813" y="16656"/>
                  <a:pt x="10750" y="16562"/>
                </a:cubicBezTo>
                <a:cubicBezTo>
                  <a:pt x="10750" y="16531"/>
                  <a:pt x="10719" y="16499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531"/>
                  <a:pt x="10688" y="16531"/>
                  <a:pt x="10688" y="16531"/>
                </a:cubicBezTo>
                <a:cubicBezTo>
                  <a:pt x="10688" y="16499"/>
                  <a:pt x="10688" y="16468"/>
                  <a:pt x="10656" y="16468"/>
                </a:cubicBezTo>
                <a:cubicBezTo>
                  <a:pt x="10625" y="16468"/>
                  <a:pt x="10625" y="16499"/>
                  <a:pt x="10625" y="16499"/>
                </a:cubicBezTo>
                <a:cubicBezTo>
                  <a:pt x="10594" y="16499"/>
                  <a:pt x="10594" y="16468"/>
                  <a:pt x="10594" y="16468"/>
                </a:cubicBezTo>
                <a:cubicBezTo>
                  <a:pt x="10563" y="16406"/>
                  <a:pt x="10531" y="16437"/>
                  <a:pt x="10500" y="16437"/>
                </a:cubicBezTo>
                <a:cubicBezTo>
                  <a:pt x="10469" y="16468"/>
                  <a:pt x="10469" y="16499"/>
                  <a:pt x="10500" y="16499"/>
                </a:cubicBezTo>
                <a:cubicBezTo>
                  <a:pt x="10500" y="16531"/>
                  <a:pt x="10531" y="16562"/>
                  <a:pt x="10531" y="16593"/>
                </a:cubicBezTo>
                <a:cubicBezTo>
                  <a:pt x="10531" y="16624"/>
                  <a:pt x="10563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500" y="16656"/>
                  <a:pt x="10500" y="16656"/>
                  <a:pt x="10500" y="16656"/>
                </a:cubicBezTo>
                <a:cubicBezTo>
                  <a:pt x="10469" y="16593"/>
                  <a:pt x="10469" y="16499"/>
                  <a:pt x="10375" y="16437"/>
                </a:cubicBezTo>
                <a:cubicBezTo>
                  <a:pt x="10406" y="16406"/>
                  <a:pt x="10344" y="16374"/>
                  <a:pt x="10344" y="16343"/>
                </a:cubicBezTo>
                <a:lnTo>
                  <a:pt x="10344" y="16343"/>
                </a:lnTo>
                <a:cubicBezTo>
                  <a:pt x="10344" y="16343"/>
                  <a:pt x="10344" y="16343"/>
                  <a:pt x="10344" y="16343"/>
                </a:cubicBezTo>
                <a:cubicBezTo>
                  <a:pt x="10281" y="16343"/>
                  <a:pt x="10188" y="16343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219" y="16468"/>
                  <a:pt x="10219" y="16468"/>
                  <a:pt x="10219" y="16468"/>
                </a:cubicBezTo>
                <a:cubicBezTo>
                  <a:pt x="10188" y="16468"/>
                  <a:pt x="10188" y="16468"/>
                  <a:pt x="10156" y="16468"/>
                </a:cubicBezTo>
                <a:cubicBezTo>
                  <a:pt x="10156" y="16468"/>
                  <a:pt x="10156" y="16437"/>
                  <a:pt x="10156" y="16437"/>
                </a:cubicBezTo>
                <a:cubicBezTo>
                  <a:pt x="10125" y="16406"/>
                  <a:pt x="10063" y="16406"/>
                  <a:pt x="10031" y="16437"/>
                </a:cubicBezTo>
                <a:cubicBezTo>
                  <a:pt x="10000" y="16468"/>
                  <a:pt x="10063" y="16499"/>
                  <a:pt x="10094" y="16499"/>
                </a:cubicBezTo>
                <a:cubicBezTo>
                  <a:pt x="10125" y="16531"/>
                  <a:pt x="10188" y="16562"/>
                  <a:pt x="10250" y="16593"/>
                </a:cubicBezTo>
                <a:cubicBezTo>
                  <a:pt x="10250" y="16593"/>
                  <a:pt x="10281" y="16624"/>
                  <a:pt x="10281" y="16656"/>
                </a:cubicBezTo>
                <a:cubicBezTo>
                  <a:pt x="10219" y="16687"/>
                  <a:pt x="10156" y="16593"/>
                  <a:pt x="10094" y="16593"/>
                </a:cubicBezTo>
                <a:cubicBezTo>
                  <a:pt x="10094" y="16593"/>
                  <a:pt x="10094" y="16593"/>
                  <a:pt x="10094" y="16593"/>
                </a:cubicBezTo>
                <a:cubicBezTo>
                  <a:pt x="10094" y="16562"/>
                  <a:pt x="10094" y="16562"/>
                  <a:pt x="10063" y="16562"/>
                </a:cubicBezTo>
                <a:cubicBezTo>
                  <a:pt x="10063" y="16562"/>
                  <a:pt x="10031" y="16531"/>
                  <a:pt x="10000" y="16531"/>
                </a:cubicBezTo>
                <a:cubicBezTo>
                  <a:pt x="10000" y="16562"/>
                  <a:pt x="9969" y="16593"/>
                  <a:pt x="10000" y="16593"/>
                </a:cubicBezTo>
                <a:cubicBezTo>
                  <a:pt x="10031" y="16593"/>
                  <a:pt x="10031" y="16656"/>
                  <a:pt x="10063" y="16656"/>
                </a:cubicBezTo>
                <a:cubicBezTo>
                  <a:pt x="10094" y="16749"/>
                  <a:pt x="10094" y="16843"/>
                  <a:pt x="10219" y="16874"/>
                </a:cubicBezTo>
                <a:cubicBezTo>
                  <a:pt x="10125" y="16906"/>
                  <a:pt x="10125" y="16906"/>
                  <a:pt x="10063" y="16843"/>
                </a:cubicBezTo>
                <a:lnTo>
                  <a:pt x="10063" y="16843"/>
                </a:lnTo>
                <a:cubicBezTo>
                  <a:pt x="10000" y="16906"/>
                  <a:pt x="9938" y="16968"/>
                  <a:pt x="9875" y="16999"/>
                </a:cubicBezTo>
                <a:cubicBezTo>
                  <a:pt x="9750" y="17062"/>
                  <a:pt x="9688" y="16968"/>
                  <a:pt x="9625" y="16906"/>
                </a:cubicBezTo>
                <a:cubicBezTo>
                  <a:pt x="9625" y="16906"/>
                  <a:pt x="9625" y="16937"/>
                  <a:pt x="9594" y="16937"/>
                </a:cubicBezTo>
                <a:cubicBezTo>
                  <a:pt x="9625" y="16968"/>
                  <a:pt x="9625" y="16999"/>
                  <a:pt x="9594" y="17031"/>
                </a:cubicBezTo>
                <a:cubicBezTo>
                  <a:pt x="9563" y="17093"/>
                  <a:pt x="9531" y="17093"/>
                  <a:pt x="9531" y="17062"/>
                </a:cubicBezTo>
                <a:cubicBezTo>
                  <a:pt x="9500" y="17031"/>
                  <a:pt x="9469" y="16999"/>
                  <a:pt x="9438" y="16968"/>
                </a:cubicBezTo>
                <a:cubicBezTo>
                  <a:pt x="9438" y="16968"/>
                  <a:pt x="9438" y="16999"/>
                  <a:pt x="9438" y="16999"/>
                </a:cubicBezTo>
                <a:cubicBezTo>
                  <a:pt x="9438" y="16999"/>
                  <a:pt x="9438" y="16968"/>
                  <a:pt x="9438" y="16968"/>
                </a:cubicBezTo>
                <a:cubicBezTo>
                  <a:pt x="9438" y="16937"/>
                  <a:pt x="9469" y="16937"/>
                  <a:pt x="9469" y="16937"/>
                </a:cubicBezTo>
                <a:cubicBezTo>
                  <a:pt x="9531" y="16968"/>
                  <a:pt x="9531" y="16906"/>
                  <a:pt x="9531" y="16906"/>
                </a:cubicBezTo>
                <a:cubicBezTo>
                  <a:pt x="9563" y="16906"/>
                  <a:pt x="9594" y="16906"/>
                  <a:pt x="9594" y="16937"/>
                </a:cubicBezTo>
                <a:cubicBezTo>
                  <a:pt x="9625" y="16937"/>
                  <a:pt x="9625" y="16906"/>
                  <a:pt x="9625" y="16906"/>
                </a:cubicBezTo>
                <a:cubicBezTo>
                  <a:pt x="9563" y="16843"/>
                  <a:pt x="9500" y="16781"/>
                  <a:pt x="9438" y="16718"/>
                </a:cubicBezTo>
                <a:cubicBezTo>
                  <a:pt x="9438" y="16687"/>
                  <a:pt x="9438" y="16687"/>
                  <a:pt x="9406" y="16656"/>
                </a:cubicBezTo>
                <a:cubicBezTo>
                  <a:pt x="9406" y="16656"/>
                  <a:pt x="9406" y="16656"/>
                  <a:pt x="9406" y="16656"/>
                </a:cubicBezTo>
                <a:cubicBezTo>
                  <a:pt x="9406" y="16656"/>
                  <a:pt x="9438" y="16656"/>
                  <a:pt x="9438" y="16656"/>
                </a:cubicBezTo>
                <a:cubicBezTo>
                  <a:pt x="9438" y="16656"/>
                  <a:pt x="9438" y="16656"/>
                  <a:pt x="9438" y="16656"/>
                </a:cubicBezTo>
                <a:cubicBezTo>
                  <a:pt x="9438" y="16687"/>
                  <a:pt x="9469" y="16687"/>
                  <a:pt x="9500" y="16687"/>
                </a:cubicBezTo>
                <a:cubicBezTo>
                  <a:pt x="9500" y="16687"/>
                  <a:pt x="9500" y="16687"/>
                  <a:pt x="9500" y="16687"/>
                </a:cubicBezTo>
                <a:cubicBezTo>
                  <a:pt x="9563" y="16718"/>
                  <a:pt x="9625" y="16812"/>
                  <a:pt x="9719" y="16874"/>
                </a:cubicBezTo>
                <a:cubicBezTo>
                  <a:pt x="9719" y="16874"/>
                  <a:pt x="9750" y="16874"/>
                  <a:pt x="9750" y="16874"/>
                </a:cubicBezTo>
                <a:lnTo>
                  <a:pt x="9750" y="16874"/>
                </a:lnTo>
                <a:cubicBezTo>
                  <a:pt x="9750" y="16874"/>
                  <a:pt x="9719" y="16874"/>
                  <a:pt x="9719" y="16874"/>
                </a:cubicBezTo>
                <a:cubicBezTo>
                  <a:pt x="9750" y="16781"/>
                  <a:pt x="9656" y="16718"/>
                  <a:pt x="9656" y="16656"/>
                </a:cubicBezTo>
                <a:cubicBezTo>
                  <a:pt x="9688" y="16656"/>
                  <a:pt x="9688" y="16656"/>
                  <a:pt x="9688" y="16656"/>
                </a:cubicBezTo>
                <a:cubicBezTo>
                  <a:pt x="9688" y="16656"/>
                  <a:pt x="9719" y="16656"/>
                  <a:pt x="9719" y="16656"/>
                </a:cubicBezTo>
                <a:lnTo>
                  <a:pt x="9719" y="16656"/>
                </a:lnTo>
                <a:cubicBezTo>
                  <a:pt x="9719" y="16656"/>
                  <a:pt x="9719" y="16656"/>
                  <a:pt x="9719" y="16687"/>
                </a:cubicBezTo>
                <a:cubicBezTo>
                  <a:pt x="9719" y="16656"/>
                  <a:pt x="9719" y="16656"/>
                  <a:pt x="9719" y="16656"/>
                </a:cubicBezTo>
                <a:cubicBezTo>
                  <a:pt x="9719" y="16656"/>
                  <a:pt x="9719" y="16656"/>
                  <a:pt x="9719" y="16687"/>
                </a:cubicBezTo>
                <a:cubicBezTo>
                  <a:pt x="9750" y="16749"/>
                  <a:pt x="9781" y="16812"/>
                  <a:pt x="9813" y="16906"/>
                </a:cubicBezTo>
                <a:cubicBezTo>
                  <a:pt x="9813" y="16781"/>
                  <a:pt x="9938" y="16843"/>
                  <a:pt x="9938" y="16781"/>
                </a:cubicBezTo>
                <a:cubicBezTo>
                  <a:pt x="9969" y="16687"/>
                  <a:pt x="9875" y="16656"/>
                  <a:pt x="9813" y="16593"/>
                </a:cubicBezTo>
                <a:cubicBezTo>
                  <a:pt x="9781" y="16562"/>
                  <a:pt x="9781" y="16531"/>
                  <a:pt x="9719" y="16562"/>
                </a:cubicBezTo>
                <a:cubicBezTo>
                  <a:pt x="9688" y="16562"/>
                  <a:pt x="9656" y="16593"/>
                  <a:pt x="9656" y="16656"/>
                </a:cubicBezTo>
                <a:cubicBezTo>
                  <a:pt x="9594" y="16656"/>
                  <a:pt x="9594" y="16562"/>
                  <a:pt x="9531" y="16593"/>
                </a:cubicBezTo>
                <a:cubicBezTo>
                  <a:pt x="9531" y="16593"/>
                  <a:pt x="9531" y="16593"/>
                  <a:pt x="9531" y="16593"/>
                </a:cubicBezTo>
                <a:cubicBezTo>
                  <a:pt x="9531" y="16562"/>
                  <a:pt x="9531" y="16562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531"/>
                  <a:pt x="9563" y="16531"/>
                  <a:pt x="9563" y="16531"/>
                </a:cubicBezTo>
                <a:cubicBezTo>
                  <a:pt x="9563" y="16499"/>
                  <a:pt x="9563" y="16499"/>
                  <a:pt x="9563" y="16499"/>
                </a:cubicBezTo>
                <a:cubicBezTo>
                  <a:pt x="9594" y="16437"/>
                  <a:pt x="9656" y="16531"/>
                  <a:pt x="9656" y="16468"/>
                </a:cubicBezTo>
                <a:cubicBezTo>
                  <a:pt x="9656" y="16406"/>
                  <a:pt x="9594" y="16437"/>
                  <a:pt x="9594" y="16406"/>
                </a:cubicBezTo>
                <a:cubicBezTo>
                  <a:pt x="9594" y="16374"/>
                  <a:pt x="9563" y="16343"/>
                  <a:pt x="9625" y="16343"/>
                </a:cubicBezTo>
                <a:cubicBezTo>
                  <a:pt x="9719" y="16374"/>
                  <a:pt x="9781" y="16437"/>
                  <a:pt x="9844" y="16499"/>
                </a:cubicBezTo>
                <a:cubicBezTo>
                  <a:pt x="9875" y="16531"/>
                  <a:pt x="9906" y="16562"/>
                  <a:pt x="9938" y="16593"/>
                </a:cubicBezTo>
                <a:cubicBezTo>
                  <a:pt x="9969" y="16593"/>
                  <a:pt x="9875" y="16468"/>
                  <a:pt x="10000" y="16531"/>
                </a:cubicBezTo>
                <a:cubicBezTo>
                  <a:pt x="9969" y="16468"/>
                  <a:pt x="9938" y="16406"/>
                  <a:pt x="9875" y="16374"/>
                </a:cubicBezTo>
                <a:cubicBezTo>
                  <a:pt x="9813" y="16343"/>
                  <a:pt x="9781" y="16374"/>
                  <a:pt x="9781" y="16281"/>
                </a:cubicBezTo>
                <a:cubicBezTo>
                  <a:pt x="9813" y="16249"/>
                  <a:pt x="9750" y="16249"/>
                  <a:pt x="9750" y="16249"/>
                </a:cubicBezTo>
                <a:cubicBezTo>
                  <a:pt x="9719" y="16281"/>
                  <a:pt x="9688" y="16281"/>
                  <a:pt x="9656" y="16281"/>
                </a:cubicBezTo>
                <a:cubicBezTo>
                  <a:pt x="9531" y="16312"/>
                  <a:pt x="9406" y="16343"/>
                  <a:pt x="9313" y="16406"/>
                </a:cubicBezTo>
                <a:cubicBezTo>
                  <a:pt x="9313" y="16406"/>
                  <a:pt x="9281" y="16406"/>
                  <a:pt x="9250" y="16406"/>
                </a:cubicBezTo>
                <a:cubicBezTo>
                  <a:pt x="9250" y="16406"/>
                  <a:pt x="9250" y="16406"/>
                  <a:pt x="9250" y="16406"/>
                </a:cubicBezTo>
                <a:cubicBezTo>
                  <a:pt x="9250" y="16406"/>
                  <a:pt x="9250" y="16437"/>
                  <a:pt x="9250" y="16437"/>
                </a:cubicBezTo>
                <a:cubicBezTo>
                  <a:pt x="9219" y="16406"/>
                  <a:pt x="9219" y="16406"/>
                  <a:pt x="9188" y="16437"/>
                </a:cubicBezTo>
                <a:cubicBezTo>
                  <a:pt x="9188" y="16437"/>
                  <a:pt x="9188" y="16437"/>
                  <a:pt x="9188" y="16437"/>
                </a:cubicBezTo>
                <a:cubicBezTo>
                  <a:pt x="9125" y="16437"/>
                  <a:pt x="9063" y="16468"/>
                  <a:pt x="9000" y="16468"/>
                </a:cubicBezTo>
                <a:cubicBezTo>
                  <a:pt x="9031" y="16343"/>
                  <a:pt x="9156" y="16312"/>
                  <a:pt x="9250" y="16281"/>
                </a:cubicBezTo>
                <a:cubicBezTo>
                  <a:pt x="9344" y="16249"/>
                  <a:pt x="9469" y="16249"/>
                  <a:pt x="9563" y="16187"/>
                </a:cubicBezTo>
                <a:cubicBezTo>
                  <a:pt x="9688" y="16156"/>
                  <a:pt x="9781" y="16093"/>
                  <a:pt x="9938" y="16093"/>
                </a:cubicBezTo>
                <a:cubicBezTo>
                  <a:pt x="10000" y="16093"/>
                  <a:pt x="10094" y="16062"/>
                  <a:pt x="10156" y="15999"/>
                </a:cubicBezTo>
                <a:cubicBezTo>
                  <a:pt x="10000" y="15937"/>
                  <a:pt x="9938" y="15906"/>
                  <a:pt x="9781" y="15937"/>
                </a:cubicBezTo>
                <a:cubicBezTo>
                  <a:pt x="9625" y="15937"/>
                  <a:pt x="9531" y="16031"/>
                  <a:pt x="9531" y="16156"/>
                </a:cubicBezTo>
                <a:cubicBezTo>
                  <a:pt x="9438" y="16156"/>
                  <a:pt x="9313" y="16218"/>
                  <a:pt x="9188" y="16249"/>
                </a:cubicBezTo>
                <a:cubicBezTo>
                  <a:pt x="9219" y="16187"/>
                  <a:pt x="9313" y="16187"/>
                  <a:pt x="9313" y="16124"/>
                </a:cubicBezTo>
                <a:cubicBezTo>
                  <a:pt x="9313" y="16124"/>
                  <a:pt x="9313" y="16124"/>
                  <a:pt x="9313" y="16124"/>
                </a:cubicBezTo>
                <a:cubicBezTo>
                  <a:pt x="9344" y="16124"/>
                  <a:pt x="9375" y="16093"/>
                  <a:pt x="9375" y="16062"/>
                </a:cubicBezTo>
                <a:cubicBezTo>
                  <a:pt x="9375" y="16062"/>
                  <a:pt x="9375" y="16062"/>
                  <a:pt x="9375" y="16062"/>
                </a:cubicBezTo>
                <a:cubicBezTo>
                  <a:pt x="9406" y="16062"/>
                  <a:pt x="9438" y="16031"/>
                  <a:pt x="9438" y="15999"/>
                </a:cubicBezTo>
                <a:cubicBezTo>
                  <a:pt x="9438" y="15999"/>
                  <a:pt x="9438" y="15999"/>
                  <a:pt x="9438" y="15999"/>
                </a:cubicBezTo>
                <a:cubicBezTo>
                  <a:pt x="9469" y="15999"/>
                  <a:pt x="9500" y="15968"/>
                  <a:pt x="9500" y="15937"/>
                </a:cubicBezTo>
                <a:cubicBezTo>
                  <a:pt x="9531" y="15937"/>
                  <a:pt x="9531" y="15906"/>
                  <a:pt x="9563" y="15906"/>
                </a:cubicBezTo>
                <a:cubicBezTo>
                  <a:pt x="9719" y="15749"/>
                  <a:pt x="9844" y="15624"/>
                  <a:pt x="10000" y="15468"/>
                </a:cubicBezTo>
                <a:lnTo>
                  <a:pt x="10000" y="15468"/>
                </a:lnTo>
                <a:cubicBezTo>
                  <a:pt x="10125" y="15374"/>
                  <a:pt x="10250" y="15281"/>
                  <a:pt x="10344" y="15156"/>
                </a:cubicBezTo>
                <a:cubicBezTo>
                  <a:pt x="10406" y="15124"/>
                  <a:pt x="10438" y="15062"/>
                  <a:pt x="10469" y="15031"/>
                </a:cubicBezTo>
                <a:lnTo>
                  <a:pt x="10469" y="15031"/>
                </a:lnTo>
                <a:cubicBezTo>
                  <a:pt x="10469" y="15031"/>
                  <a:pt x="10469" y="15031"/>
                  <a:pt x="10469" y="15031"/>
                </a:cubicBezTo>
                <a:cubicBezTo>
                  <a:pt x="10500" y="14999"/>
                  <a:pt x="10500" y="14999"/>
                  <a:pt x="10500" y="14968"/>
                </a:cubicBezTo>
                <a:cubicBezTo>
                  <a:pt x="10500" y="14968"/>
                  <a:pt x="10500" y="14968"/>
                  <a:pt x="10500" y="14937"/>
                </a:cubicBezTo>
                <a:cubicBezTo>
                  <a:pt x="10469" y="14937"/>
                  <a:pt x="10438" y="14968"/>
                  <a:pt x="10438" y="14999"/>
                </a:cubicBezTo>
                <a:cubicBezTo>
                  <a:pt x="10375" y="15031"/>
                  <a:pt x="10344" y="15062"/>
                  <a:pt x="10313" y="15124"/>
                </a:cubicBezTo>
                <a:cubicBezTo>
                  <a:pt x="10281" y="15124"/>
                  <a:pt x="10250" y="15156"/>
                  <a:pt x="10250" y="15187"/>
                </a:cubicBezTo>
                <a:cubicBezTo>
                  <a:pt x="10094" y="15312"/>
                  <a:pt x="9969" y="15437"/>
                  <a:pt x="9813" y="15562"/>
                </a:cubicBezTo>
                <a:cubicBezTo>
                  <a:pt x="9719" y="15687"/>
                  <a:pt x="9594" y="15812"/>
                  <a:pt x="9469" y="15906"/>
                </a:cubicBezTo>
                <a:cubicBezTo>
                  <a:pt x="9438" y="15937"/>
                  <a:pt x="9438" y="15937"/>
                  <a:pt x="9406" y="15968"/>
                </a:cubicBezTo>
                <a:cubicBezTo>
                  <a:pt x="9375" y="15968"/>
                  <a:pt x="9375" y="15999"/>
                  <a:pt x="9344" y="16031"/>
                </a:cubicBezTo>
                <a:cubicBezTo>
                  <a:pt x="9313" y="16031"/>
                  <a:pt x="9313" y="16062"/>
                  <a:pt x="9281" y="16093"/>
                </a:cubicBezTo>
                <a:cubicBezTo>
                  <a:pt x="9281" y="16093"/>
                  <a:pt x="9250" y="16124"/>
                  <a:pt x="9250" y="16124"/>
                </a:cubicBezTo>
                <a:cubicBezTo>
                  <a:pt x="8844" y="16499"/>
                  <a:pt x="8438" y="16874"/>
                  <a:pt x="8063" y="17249"/>
                </a:cubicBezTo>
                <a:cubicBezTo>
                  <a:pt x="8031" y="17281"/>
                  <a:pt x="7938" y="17343"/>
                  <a:pt x="7969" y="17374"/>
                </a:cubicBezTo>
                <a:cubicBezTo>
                  <a:pt x="8031" y="17406"/>
                  <a:pt x="8063" y="17312"/>
                  <a:pt x="8094" y="17281"/>
                </a:cubicBezTo>
                <a:cubicBezTo>
                  <a:pt x="8344" y="17062"/>
                  <a:pt x="8563" y="16843"/>
                  <a:pt x="8813" y="16624"/>
                </a:cubicBezTo>
                <a:cubicBezTo>
                  <a:pt x="8844" y="16593"/>
                  <a:pt x="8906" y="16562"/>
                  <a:pt x="8969" y="16593"/>
                </a:cubicBezTo>
                <a:cubicBezTo>
                  <a:pt x="8938" y="16593"/>
                  <a:pt x="8906" y="16624"/>
                  <a:pt x="8938" y="16656"/>
                </a:cubicBezTo>
                <a:cubicBezTo>
                  <a:pt x="9000" y="16718"/>
                  <a:pt x="9063" y="16749"/>
                  <a:pt x="9125" y="16812"/>
                </a:cubicBezTo>
                <a:cubicBezTo>
                  <a:pt x="9156" y="16843"/>
                  <a:pt x="9156" y="16781"/>
                  <a:pt x="9156" y="16781"/>
                </a:cubicBezTo>
                <a:cubicBezTo>
                  <a:pt x="9156" y="16781"/>
                  <a:pt x="9188" y="16781"/>
                  <a:pt x="9219" y="16781"/>
                </a:cubicBezTo>
                <a:cubicBezTo>
                  <a:pt x="9219" y="16781"/>
                  <a:pt x="9219" y="16781"/>
                  <a:pt x="9219" y="16781"/>
                </a:cubicBezTo>
                <a:cubicBezTo>
                  <a:pt x="9219" y="16812"/>
                  <a:pt x="9219" y="16812"/>
                  <a:pt x="9250" y="16812"/>
                </a:cubicBezTo>
                <a:cubicBezTo>
                  <a:pt x="9250" y="16843"/>
                  <a:pt x="9281" y="16874"/>
                  <a:pt x="9313" y="16937"/>
                </a:cubicBezTo>
                <a:cubicBezTo>
                  <a:pt x="9281" y="16937"/>
                  <a:pt x="9219" y="16937"/>
                  <a:pt x="9281" y="16968"/>
                </a:cubicBezTo>
                <a:cubicBezTo>
                  <a:pt x="9313" y="17031"/>
                  <a:pt x="9344" y="17062"/>
                  <a:pt x="9406" y="17062"/>
                </a:cubicBezTo>
                <a:cubicBezTo>
                  <a:pt x="9406" y="17093"/>
                  <a:pt x="9438" y="17093"/>
                  <a:pt x="9406" y="17124"/>
                </a:cubicBezTo>
                <a:cubicBezTo>
                  <a:pt x="9406" y="17156"/>
                  <a:pt x="9375" y="17156"/>
                  <a:pt x="9344" y="17124"/>
                </a:cubicBezTo>
                <a:cubicBezTo>
                  <a:pt x="9313" y="17093"/>
                  <a:pt x="9313" y="17062"/>
                  <a:pt x="9250" y="17062"/>
                </a:cubicBezTo>
                <a:cubicBezTo>
                  <a:pt x="9281" y="17124"/>
                  <a:pt x="9313" y="17156"/>
                  <a:pt x="9313" y="17187"/>
                </a:cubicBezTo>
                <a:cubicBezTo>
                  <a:pt x="9313" y="17187"/>
                  <a:pt x="9313" y="17187"/>
                  <a:pt x="9313" y="17187"/>
                </a:cubicBezTo>
                <a:cubicBezTo>
                  <a:pt x="9250" y="17187"/>
                  <a:pt x="9188" y="17218"/>
                  <a:pt x="9125" y="17124"/>
                </a:cubicBezTo>
                <a:cubicBezTo>
                  <a:pt x="9125" y="17187"/>
                  <a:pt x="9156" y="17218"/>
                  <a:pt x="9188" y="17281"/>
                </a:cubicBezTo>
                <a:cubicBezTo>
                  <a:pt x="9188" y="17281"/>
                  <a:pt x="9156" y="17281"/>
                  <a:pt x="9156" y="17281"/>
                </a:cubicBezTo>
                <a:cubicBezTo>
                  <a:pt x="9156" y="17281"/>
                  <a:pt x="9125" y="17281"/>
                  <a:pt x="9125" y="17281"/>
                </a:cubicBezTo>
                <a:cubicBezTo>
                  <a:pt x="9125" y="17218"/>
                  <a:pt x="9063" y="17187"/>
                  <a:pt x="9063" y="17124"/>
                </a:cubicBezTo>
                <a:cubicBezTo>
                  <a:pt x="9125" y="17062"/>
                  <a:pt x="9063" y="16999"/>
                  <a:pt x="9063" y="16968"/>
                </a:cubicBezTo>
                <a:cubicBezTo>
                  <a:pt x="9063" y="16937"/>
                  <a:pt x="9094" y="16906"/>
                  <a:pt x="9063" y="16906"/>
                </a:cubicBezTo>
                <a:cubicBezTo>
                  <a:pt x="9000" y="16874"/>
                  <a:pt x="8969" y="16781"/>
                  <a:pt x="8906" y="16781"/>
                </a:cubicBezTo>
                <a:cubicBezTo>
                  <a:pt x="8875" y="16749"/>
                  <a:pt x="8875" y="16687"/>
                  <a:pt x="8844" y="16718"/>
                </a:cubicBezTo>
                <a:cubicBezTo>
                  <a:pt x="8813" y="16718"/>
                  <a:pt x="8813" y="16781"/>
                  <a:pt x="8813" y="16812"/>
                </a:cubicBezTo>
                <a:cubicBezTo>
                  <a:pt x="8750" y="16781"/>
                  <a:pt x="8750" y="16781"/>
                  <a:pt x="8719" y="16812"/>
                </a:cubicBezTo>
                <a:cubicBezTo>
                  <a:pt x="8688" y="16843"/>
                  <a:pt x="8688" y="16843"/>
                  <a:pt x="8656" y="16874"/>
                </a:cubicBezTo>
                <a:cubicBezTo>
                  <a:pt x="8656" y="16874"/>
                  <a:pt x="8625" y="16906"/>
                  <a:pt x="8656" y="16937"/>
                </a:cubicBezTo>
                <a:cubicBezTo>
                  <a:pt x="8656" y="16937"/>
                  <a:pt x="8688" y="16968"/>
                  <a:pt x="8688" y="16937"/>
                </a:cubicBezTo>
                <a:cubicBezTo>
                  <a:pt x="8719" y="16874"/>
                  <a:pt x="8750" y="16937"/>
                  <a:pt x="8750" y="16968"/>
                </a:cubicBezTo>
                <a:cubicBezTo>
                  <a:pt x="8781" y="16968"/>
                  <a:pt x="8781" y="16999"/>
                  <a:pt x="8813" y="17031"/>
                </a:cubicBezTo>
                <a:cubicBezTo>
                  <a:pt x="8813" y="17062"/>
                  <a:pt x="8844" y="17062"/>
                  <a:pt x="8875" y="17031"/>
                </a:cubicBezTo>
                <a:cubicBezTo>
                  <a:pt x="8906" y="17031"/>
                  <a:pt x="8906" y="16999"/>
                  <a:pt x="8875" y="16999"/>
                </a:cubicBezTo>
                <a:cubicBezTo>
                  <a:pt x="8875" y="16937"/>
                  <a:pt x="8844" y="16906"/>
                  <a:pt x="8813" y="16874"/>
                </a:cubicBezTo>
                <a:cubicBezTo>
                  <a:pt x="8875" y="16874"/>
                  <a:pt x="8875" y="16906"/>
                  <a:pt x="8906" y="16937"/>
                </a:cubicBezTo>
                <a:cubicBezTo>
                  <a:pt x="8906" y="16937"/>
                  <a:pt x="8906" y="16937"/>
                  <a:pt x="8906" y="16937"/>
                </a:cubicBezTo>
                <a:cubicBezTo>
                  <a:pt x="8938" y="16968"/>
                  <a:pt x="8969" y="17031"/>
                  <a:pt x="9000" y="17062"/>
                </a:cubicBezTo>
                <a:cubicBezTo>
                  <a:pt x="9000" y="17093"/>
                  <a:pt x="9063" y="17187"/>
                  <a:pt x="8969" y="17187"/>
                </a:cubicBezTo>
                <a:cubicBezTo>
                  <a:pt x="8969" y="17249"/>
                  <a:pt x="9031" y="17312"/>
                  <a:pt x="9063" y="17343"/>
                </a:cubicBezTo>
                <a:cubicBezTo>
                  <a:pt x="9094" y="17406"/>
                  <a:pt x="9125" y="17374"/>
                  <a:pt x="9156" y="17312"/>
                </a:cubicBezTo>
                <a:cubicBezTo>
                  <a:pt x="9219" y="17281"/>
                  <a:pt x="9281" y="17281"/>
                  <a:pt x="9344" y="17249"/>
                </a:cubicBezTo>
                <a:cubicBezTo>
                  <a:pt x="9344" y="17249"/>
                  <a:pt x="9375" y="17249"/>
                  <a:pt x="9375" y="17249"/>
                </a:cubicBezTo>
                <a:cubicBezTo>
                  <a:pt x="9375" y="17218"/>
                  <a:pt x="9406" y="17218"/>
                  <a:pt x="9438" y="17218"/>
                </a:cubicBezTo>
                <a:cubicBezTo>
                  <a:pt x="9438" y="17218"/>
                  <a:pt x="9469" y="17218"/>
                  <a:pt x="9469" y="17187"/>
                </a:cubicBezTo>
                <a:cubicBezTo>
                  <a:pt x="9531" y="17156"/>
                  <a:pt x="9594" y="17093"/>
                  <a:pt x="9688" y="17124"/>
                </a:cubicBezTo>
                <a:cubicBezTo>
                  <a:pt x="9719" y="17124"/>
                  <a:pt x="9719" y="17124"/>
                  <a:pt x="9750" y="17124"/>
                </a:cubicBezTo>
                <a:cubicBezTo>
                  <a:pt x="9906" y="17062"/>
                  <a:pt x="10094" y="16968"/>
                  <a:pt x="10281" y="16937"/>
                </a:cubicBezTo>
                <a:cubicBezTo>
                  <a:pt x="10313" y="16906"/>
                  <a:pt x="10313" y="16906"/>
                  <a:pt x="10344" y="16874"/>
                </a:cubicBezTo>
                <a:cubicBezTo>
                  <a:pt x="10375" y="16874"/>
                  <a:pt x="10406" y="16843"/>
                  <a:pt x="10438" y="16843"/>
                </a:cubicBezTo>
                <a:cubicBezTo>
                  <a:pt x="10531" y="16843"/>
                  <a:pt x="10625" y="16843"/>
                  <a:pt x="10688" y="16781"/>
                </a:cubicBezTo>
                <a:cubicBezTo>
                  <a:pt x="10688" y="16781"/>
                  <a:pt x="10688" y="16781"/>
                  <a:pt x="10688" y="16781"/>
                </a:cubicBezTo>
                <a:cubicBezTo>
                  <a:pt x="10719" y="16781"/>
                  <a:pt x="10781" y="16781"/>
                  <a:pt x="10813" y="16781"/>
                </a:cubicBezTo>
                <a:cubicBezTo>
                  <a:pt x="11063" y="16687"/>
                  <a:pt x="11344" y="16624"/>
                  <a:pt x="11625" y="16593"/>
                </a:cubicBezTo>
                <a:cubicBezTo>
                  <a:pt x="11844" y="16531"/>
                  <a:pt x="12031" y="16499"/>
                  <a:pt x="12250" y="16468"/>
                </a:cubicBezTo>
                <a:cubicBezTo>
                  <a:pt x="12531" y="16437"/>
                  <a:pt x="12813" y="16406"/>
                  <a:pt x="13063" y="16406"/>
                </a:cubicBezTo>
                <a:cubicBezTo>
                  <a:pt x="13531" y="16374"/>
                  <a:pt x="14031" y="16374"/>
                  <a:pt x="14500" y="16374"/>
                </a:cubicBezTo>
                <a:cubicBezTo>
                  <a:pt x="14969" y="16406"/>
                  <a:pt x="15438" y="16437"/>
                  <a:pt x="15906" y="16531"/>
                </a:cubicBezTo>
                <a:cubicBezTo>
                  <a:pt x="16281" y="16593"/>
                  <a:pt x="16625" y="16656"/>
                  <a:pt x="17000" y="16718"/>
                </a:cubicBezTo>
                <a:cubicBezTo>
                  <a:pt x="17063" y="16718"/>
                  <a:pt x="17000" y="16749"/>
                  <a:pt x="17000" y="16749"/>
                </a:cubicBezTo>
                <a:cubicBezTo>
                  <a:pt x="16938" y="16781"/>
                  <a:pt x="16906" y="16749"/>
                  <a:pt x="16844" y="16749"/>
                </a:cubicBezTo>
                <a:cubicBezTo>
                  <a:pt x="16531" y="16687"/>
                  <a:pt x="16219" y="16624"/>
                  <a:pt x="15906" y="16593"/>
                </a:cubicBezTo>
                <a:cubicBezTo>
                  <a:pt x="15594" y="16531"/>
                  <a:pt x="15313" y="16499"/>
                  <a:pt x="15031" y="16468"/>
                </a:cubicBezTo>
                <a:cubicBezTo>
                  <a:pt x="14500" y="16437"/>
                  <a:pt x="14000" y="16437"/>
                  <a:pt x="13500" y="16468"/>
                </a:cubicBezTo>
                <a:cubicBezTo>
                  <a:pt x="13063" y="16468"/>
                  <a:pt x="12625" y="16531"/>
                  <a:pt x="12219" y="16562"/>
                </a:cubicBezTo>
                <a:cubicBezTo>
                  <a:pt x="12000" y="16593"/>
                  <a:pt x="11750" y="16656"/>
                  <a:pt x="11531" y="16687"/>
                </a:cubicBezTo>
                <a:cubicBezTo>
                  <a:pt x="11188" y="16781"/>
                  <a:pt x="10875" y="16874"/>
                  <a:pt x="10531" y="16968"/>
                </a:cubicBezTo>
                <a:cubicBezTo>
                  <a:pt x="10188" y="17062"/>
                  <a:pt x="9875" y="17187"/>
                  <a:pt x="9563" y="17312"/>
                </a:cubicBezTo>
                <a:cubicBezTo>
                  <a:pt x="9469" y="17343"/>
                  <a:pt x="9344" y="17374"/>
                  <a:pt x="9313" y="17437"/>
                </a:cubicBezTo>
                <a:cubicBezTo>
                  <a:pt x="9250" y="17531"/>
                  <a:pt x="9156" y="17562"/>
                  <a:pt x="9063" y="17562"/>
                </a:cubicBezTo>
                <a:cubicBezTo>
                  <a:pt x="9000" y="17562"/>
                  <a:pt x="8938" y="17562"/>
                  <a:pt x="8938" y="17624"/>
                </a:cubicBezTo>
                <a:cubicBezTo>
                  <a:pt x="8938" y="17749"/>
                  <a:pt x="8844" y="17812"/>
                  <a:pt x="8750" y="17874"/>
                </a:cubicBezTo>
                <a:cubicBezTo>
                  <a:pt x="8750" y="17874"/>
                  <a:pt x="8719" y="17874"/>
                  <a:pt x="8719" y="17874"/>
                </a:cubicBezTo>
                <a:cubicBezTo>
                  <a:pt x="8688" y="17874"/>
                  <a:pt x="8688" y="17906"/>
                  <a:pt x="8688" y="17906"/>
                </a:cubicBezTo>
                <a:cubicBezTo>
                  <a:pt x="8594" y="17843"/>
                  <a:pt x="8594" y="17812"/>
                  <a:pt x="8688" y="17781"/>
                </a:cubicBezTo>
                <a:cubicBezTo>
                  <a:pt x="8719" y="17749"/>
                  <a:pt x="8750" y="17749"/>
                  <a:pt x="8781" y="17718"/>
                </a:cubicBezTo>
                <a:cubicBezTo>
                  <a:pt x="8781" y="17718"/>
                  <a:pt x="8781" y="17718"/>
                  <a:pt x="8781" y="17718"/>
                </a:cubicBezTo>
                <a:cubicBezTo>
                  <a:pt x="8781" y="17718"/>
                  <a:pt x="8813" y="17687"/>
                  <a:pt x="8813" y="17687"/>
                </a:cubicBezTo>
                <a:cubicBezTo>
                  <a:pt x="8781" y="17656"/>
                  <a:pt x="8781" y="17656"/>
                  <a:pt x="8750" y="17687"/>
                </a:cubicBezTo>
                <a:cubicBezTo>
                  <a:pt x="8656" y="17718"/>
                  <a:pt x="8594" y="17781"/>
                  <a:pt x="8500" y="17812"/>
                </a:cubicBezTo>
                <a:cubicBezTo>
                  <a:pt x="8375" y="17874"/>
                  <a:pt x="8375" y="17874"/>
                  <a:pt x="8469" y="17968"/>
                </a:cubicBezTo>
                <a:cubicBezTo>
                  <a:pt x="8469" y="17999"/>
                  <a:pt x="8500" y="17999"/>
                  <a:pt x="8500" y="17999"/>
                </a:cubicBezTo>
                <a:cubicBezTo>
                  <a:pt x="8500" y="18093"/>
                  <a:pt x="8438" y="18093"/>
                  <a:pt x="8375" y="18031"/>
                </a:cubicBezTo>
                <a:cubicBezTo>
                  <a:pt x="8313" y="17906"/>
                  <a:pt x="8281" y="17906"/>
                  <a:pt x="8188" y="17999"/>
                </a:cubicBezTo>
                <a:cubicBezTo>
                  <a:pt x="8156" y="18031"/>
                  <a:pt x="8094" y="18062"/>
                  <a:pt x="8063" y="18093"/>
                </a:cubicBezTo>
                <a:cubicBezTo>
                  <a:pt x="8031" y="18124"/>
                  <a:pt x="7969" y="18124"/>
                  <a:pt x="7969" y="18187"/>
                </a:cubicBezTo>
                <a:cubicBezTo>
                  <a:pt x="7969" y="18249"/>
                  <a:pt x="8031" y="18249"/>
                  <a:pt x="8063" y="18249"/>
                </a:cubicBezTo>
                <a:cubicBezTo>
                  <a:pt x="8031" y="18281"/>
                  <a:pt x="7969" y="18281"/>
                  <a:pt x="7969" y="18343"/>
                </a:cubicBezTo>
                <a:cubicBezTo>
                  <a:pt x="7969" y="18343"/>
                  <a:pt x="7938" y="18343"/>
                  <a:pt x="7938" y="18343"/>
                </a:cubicBezTo>
                <a:cubicBezTo>
                  <a:pt x="7813" y="18218"/>
                  <a:pt x="7813" y="18218"/>
                  <a:pt x="7719" y="18281"/>
                </a:cubicBezTo>
                <a:cubicBezTo>
                  <a:pt x="7656" y="18312"/>
                  <a:pt x="7656" y="18343"/>
                  <a:pt x="7688" y="18374"/>
                </a:cubicBezTo>
                <a:cubicBezTo>
                  <a:pt x="7719" y="18406"/>
                  <a:pt x="7781" y="18437"/>
                  <a:pt x="7719" y="18468"/>
                </a:cubicBezTo>
                <a:cubicBezTo>
                  <a:pt x="7688" y="18531"/>
                  <a:pt x="7656" y="18468"/>
                  <a:pt x="7594" y="18437"/>
                </a:cubicBezTo>
                <a:cubicBezTo>
                  <a:pt x="7594" y="18437"/>
                  <a:pt x="7563" y="18374"/>
                  <a:pt x="7531" y="18406"/>
                </a:cubicBezTo>
                <a:cubicBezTo>
                  <a:pt x="7469" y="18437"/>
                  <a:pt x="7438" y="18468"/>
                  <a:pt x="7406" y="18499"/>
                </a:cubicBezTo>
                <a:cubicBezTo>
                  <a:pt x="7375" y="18531"/>
                  <a:pt x="7406" y="18562"/>
                  <a:pt x="7438" y="18593"/>
                </a:cubicBezTo>
                <a:cubicBezTo>
                  <a:pt x="7469" y="18624"/>
                  <a:pt x="7469" y="18656"/>
                  <a:pt x="7438" y="18656"/>
                </a:cubicBezTo>
                <a:cubicBezTo>
                  <a:pt x="7438" y="18687"/>
                  <a:pt x="7406" y="18687"/>
                  <a:pt x="7375" y="18656"/>
                </a:cubicBezTo>
                <a:cubicBezTo>
                  <a:pt x="7344" y="18656"/>
                  <a:pt x="7344" y="18624"/>
                  <a:pt x="7344" y="18624"/>
                </a:cubicBezTo>
                <a:cubicBezTo>
                  <a:pt x="7313" y="18593"/>
                  <a:pt x="7281" y="18562"/>
                  <a:pt x="7219" y="18593"/>
                </a:cubicBezTo>
                <a:cubicBezTo>
                  <a:pt x="7188" y="18656"/>
                  <a:pt x="7188" y="18656"/>
                  <a:pt x="7219" y="18718"/>
                </a:cubicBezTo>
                <a:cubicBezTo>
                  <a:pt x="7250" y="18749"/>
                  <a:pt x="7281" y="18812"/>
                  <a:pt x="7188" y="18843"/>
                </a:cubicBezTo>
                <a:cubicBezTo>
                  <a:pt x="7188" y="18843"/>
                  <a:pt x="7188" y="18843"/>
                  <a:pt x="7188" y="18843"/>
                </a:cubicBezTo>
                <a:cubicBezTo>
                  <a:pt x="7156" y="18812"/>
                  <a:pt x="7156" y="18781"/>
                  <a:pt x="7125" y="18749"/>
                </a:cubicBezTo>
                <a:cubicBezTo>
                  <a:pt x="7094" y="18718"/>
                  <a:pt x="7063" y="18718"/>
                  <a:pt x="7000" y="18749"/>
                </a:cubicBezTo>
                <a:cubicBezTo>
                  <a:pt x="6906" y="18843"/>
                  <a:pt x="6906" y="18843"/>
                  <a:pt x="7000" y="18937"/>
                </a:cubicBezTo>
                <a:cubicBezTo>
                  <a:pt x="7031" y="18968"/>
                  <a:pt x="7031" y="18968"/>
                  <a:pt x="7031" y="18999"/>
                </a:cubicBezTo>
                <a:cubicBezTo>
                  <a:pt x="6969" y="18999"/>
                  <a:pt x="6906" y="18999"/>
                  <a:pt x="6844" y="18937"/>
                </a:cubicBezTo>
                <a:cubicBezTo>
                  <a:pt x="6844" y="18906"/>
                  <a:pt x="6813" y="18906"/>
                  <a:pt x="6781" y="18937"/>
                </a:cubicBezTo>
                <a:cubicBezTo>
                  <a:pt x="6750" y="18968"/>
                  <a:pt x="6781" y="18968"/>
                  <a:pt x="6781" y="18999"/>
                </a:cubicBezTo>
                <a:cubicBezTo>
                  <a:pt x="6813" y="18999"/>
                  <a:pt x="6813" y="19031"/>
                  <a:pt x="6813" y="19031"/>
                </a:cubicBezTo>
                <a:cubicBezTo>
                  <a:pt x="6844" y="19062"/>
                  <a:pt x="6844" y="19093"/>
                  <a:pt x="6813" y="19093"/>
                </a:cubicBezTo>
                <a:cubicBezTo>
                  <a:pt x="6781" y="19156"/>
                  <a:pt x="6781" y="19124"/>
                  <a:pt x="6750" y="19093"/>
                </a:cubicBezTo>
                <a:cubicBezTo>
                  <a:pt x="6656" y="19031"/>
                  <a:pt x="6563" y="19031"/>
                  <a:pt x="6500" y="19156"/>
                </a:cubicBezTo>
                <a:cubicBezTo>
                  <a:pt x="6500" y="19187"/>
                  <a:pt x="6469" y="19218"/>
                  <a:pt x="6438" y="19218"/>
                </a:cubicBezTo>
                <a:cubicBezTo>
                  <a:pt x="6344" y="19249"/>
                  <a:pt x="6281" y="19343"/>
                  <a:pt x="6188" y="19406"/>
                </a:cubicBezTo>
                <a:cubicBezTo>
                  <a:pt x="6156" y="19406"/>
                  <a:pt x="6125" y="19437"/>
                  <a:pt x="6156" y="19468"/>
                </a:cubicBezTo>
                <a:cubicBezTo>
                  <a:pt x="6188" y="19499"/>
                  <a:pt x="6219" y="19499"/>
                  <a:pt x="6219" y="19468"/>
                </a:cubicBezTo>
                <a:cubicBezTo>
                  <a:pt x="6281" y="19468"/>
                  <a:pt x="6313" y="19406"/>
                  <a:pt x="6375" y="19406"/>
                </a:cubicBezTo>
                <a:cubicBezTo>
                  <a:pt x="6375" y="19468"/>
                  <a:pt x="6344" y="19499"/>
                  <a:pt x="6344" y="19531"/>
                </a:cubicBezTo>
                <a:cubicBezTo>
                  <a:pt x="6344" y="19531"/>
                  <a:pt x="6344" y="19531"/>
                  <a:pt x="6313" y="19562"/>
                </a:cubicBezTo>
                <a:cubicBezTo>
                  <a:pt x="6281" y="19531"/>
                  <a:pt x="6250" y="19562"/>
                  <a:pt x="6250" y="19593"/>
                </a:cubicBezTo>
                <a:cubicBezTo>
                  <a:pt x="6219" y="19593"/>
                  <a:pt x="6188" y="19593"/>
                  <a:pt x="6125" y="19624"/>
                </a:cubicBezTo>
                <a:cubicBezTo>
                  <a:pt x="6125" y="19687"/>
                  <a:pt x="6063" y="19718"/>
                  <a:pt x="6000" y="19749"/>
                </a:cubicBezTo>
                <a:cubicBezTo>
                  <a:pt x="6063" y="19718"/>
                  <a:pt x="6125" y="19687"/>
                  <a:pt x="6125" y="19624"/>
                </a:cubicBezTo>
                <a:cubicBezTo>
                  <a:pt x="6063" y="19531"/>
                  <a:pt x="6000" y="19531"/>
                  <a:pt x="5938" y="19624"/>
                </a:cubicBezTo>
                <a:cubicBezTo>
                  <a:pt x="5875" y="19687"/>
                  <a:pt x="5781" y="19718"/>
                  <a:pt x="5750" y="19781"/>
                </a:cubicBezTo>
                <a:cubicBezTo>
                  <a:pt x="5719" y="19843"/>
                  <a:pt x="5625" y="19781"/>
                  <a:pt x="5625" y="19843"/>
                </a:cubicBezTo>
                <a:cubicBezTo>
                  <a:pt x="5594" y="19906"/>
                  <a:pt x="5563" y="19937"/>
                  <a:pt x="5531" y="19968"/>
                </a:cubicBezTo>
                <a:cubicBezTo>
                  <a:pt x="5375" y="20124"/>
                  <a:pt x="5219" y="20249"/>
                  <a:pt x="5094" y="20406"/>
                </a:cubicBezTo>
                <a:cubicBezTo>
                  <a:pt x="5000" y="20499"/>
                  <a:pt x="4938" y="20531"/>
                  <a:pt x="4813" y="20468"/>
                </a:cubicBezTo>
                <a:cubicBezTo>
                  <a:pt x="4906" y="20468"/>
                  <a:pt x="4875" y="20374"/>
                  <a:pt x="4906" y="20343"/>
                </a:cubicBezTo>
                <a:cubicBezTo>
                  <a:pt x="5188" y="20062"/>
                  <a:pt x="5500" y="19812"/>
                  <a:pt x="5750" y="19531"/>
                </a:cubicBezTo>
                <a:cubicBezTo>
                  <a:pt x="5906" y="19406"/>
                  <a:pt x="6063" y="19249"/>
                  <a:pt x="6219" y="19093"/>
                </a:cubicBezTo>
                <a:cubicBezTo>
                  <a:pt x="6250" y="19062"/>
                  <a:pt x="6281" y="19062"/>
                  <a:pt x="6250" y="19031"/>
                </a:cubicBezTo>
                <a:cubicBezTo>
                  <a:pt x="6219" y="18999"/>
                  <a:pt x="6188" y="19031"/>
                  <a:pt x="6188" y="19031"/>
                </a:cubicBezTo>
                <a:cubicBezTo>
                  <a:pt x="5938" y="19249"/>
                  <a:pt x="5719" y="19499"/>
                  <a:pt x="5469" y="19718"/>
                </a:cubicBezTo>
                <a:cubicBezTo>
                  <a:pt x="5219" y="19937"/>
                  <a:pt x="5000" y="20156"/>
                  <a:pt x="4750" y="20406"/>
                </a:cubicBezTo>
                <a:cubicBezTo>
                  <a:pt x="4719" y="20437"/>
                  <a:pt x="4688" y="20468"/>
                  <a:pt x="4625" y="20468"/>
                </a:cubicBezTo>
                <a:cubicBezTo>
                  <a:pt x="4594" y="20468"/>
                  <a:pt x="4563" y="20468"/>
                  <a:pt x="4563" y="20437"/>
                </a:cubicBezTo>
                <a:cubicBezTo>
                  <a:pt x="4531" y="20406"/>
                  <a:pt x="4563" y="20406"/>
                  <a:pt x="4563" y="20374"/>
                </a:cubicBezTo>
                <a:cubicBezTo>
                  <a:pt x="4813" y="20218"/>
                  <a:pt x="4969" y="19968"/>
                  <a:pt x="5188" y="19781"/>
                </a:cubicBezTo>
                <a:cubicBezTo>
                  <a:pt x="5219" y="19749"/>
                  <a:pt x="5250" y="19718"/>
                  <a:pt x="5250" y="19687"/>
                </a:cubicBezTo>
                <a:cubicBezTo>
                  <a:pt x="5250" y="19687"/>
                  <a:pt x="5250" y="19687"/>
                  <a:pt x="5250" y="19687"/>
                </a:cubicBezTo>
                <a:cubicBezTo>
                  <a:pt x="5281" y="19687"/>
                  <a:pt x="5313" y="19687"/>
                  <a:pt x="5313" y="19656"/>
                </a:cubicBezTo>
                <a:cubicBezTo>
                  <a:pt x="5469" y="19499"/>
                  <a:pt x="5688" y="19343"/>
                  <a:pt x="5844" y="19187"/>
                </a:cubicBezTo>
                <a:cubicBezTo>
                  <a:pt x="5906" y="19124"/>
                  <a:pt x="5969" y="19093"/>
                  <a:pt x="5969" y="19031"/>
                </a:cubicBezTo>
                <a:cubicBezTo>
                  <a:pt x="5969" y="19031"/>
                  <a:pt x="5969" y="19031"/>
                  <a:pt x="5969" y="19031"/>
                </a:cubicBezTo>
                <a:cubicBezTo>
                  <a:pt x="6031" y="18999"/>
                  <a:pt x="6031" y="18999"/>
                  <a:pt x="6031" y="18968"/>
                </a:cubicBezTo>
                <a:cubicBezTo>
                  <a:pt x="6094" y="18937"/>
                  <a:pt x="6156" y="18906"/>
                  <a:pt x="6156" y="18843"/>
                </a:cubicBezTo>
                <a:cubicBezTo>
                  <a:pt x="6188" y="18843"/>
                  <a:pt x="6188" y="18843"/>
                  <a:pt x="6219" y="18812"/>
                </a:cubicBezTo>
                <a:cubicBezTo>
                  <a:pt x="6344" y="18687"/>
                  <a:pt x="6469" y="18562"/>
                  <a:pt x="6594" y="18468"/>
                </a:cubicBezTo>
                <a:cubicBezTo>
                  <a:pt x="6750" y="18343"/>
                  <a:pt x="6844" y="18187"/>
                  <a:pt x="7000" y="18124"/>
                </a:cubicBezTo>
                <a:cubicBezTo>
                  <a:pt x="7031" y="18093"/>
                  <a:pt x="7000" y="18062"/>
                  <a:pt x="7000" y="18062"/>
                </a:cubicBezTo>
                <a:cubicBezTo>
                  <a:pt x="7000" y="18062"/>
                  <a:pt x="7000" y="18062"/>
                  <a:pt x="7000" y="18062"/>
                </a:cubicBezTo>
                <a:cubicBezTo>
                  <a:pt x="7063" y="18062"/>
                  <a:pt x="7094" y="18031"/>
                  <a:pt x="7125" y="17999"/>
                </a:cubicBezTo>
                <a:cubicBezTo>
                  <a:pt x="7281" y="17843"/>
                  <a:pt x="7438" y="17687"/>
                  <a:pt x="7594" y="17531"/>
                </a:cubicBezTo>
                <a:cubicBezTo>
                  <a:pt x="7688" y="17468"/>
                  <a:pt x="7750" y="17406"/>
                  <a:pt x="7813" y="17312"/>
                </a:cubicBezTo>
                <a:cubicBezTo>
                  <a:pt x="7781" y="17312"/>
                  <a:pt x="7781" y="17312"/>
                  <a:pt x="7781" y="17312"/>
                </a:cubicBezTo>
                <a:cubicBezTo>
                  <a:pt x="7781" y="17312"/>
                  <a:pt x="7781" y="17312"/>
                  <a:pt x="7813" y="17312"/>
                </a:cubicBezTo>
                <a:cubicBezTo>
                  <a:pt x="7844" y="17312"/>
                  <a:pt x="7844" y="17312"/>
                  <a:pt x="7875" y="17249"/>
                </a:cubicBezTo>
                <a:cubicBezTo>
                  <a:pt x="7906" y="17249"/>
                  <a:pt x="7906" y="17249"/>
                  <a:pt x="7906" y="17187"/>
                </a:cubicBezTo>
                <a:lnTo>
                  <a:pt x="7906" y="17187"/>
                </a:lnTo>
                <a:cubicBezTo>
                  <a:pt x="7969" y="17187"/>
                  <a:pt x="8000" y="17156"/>
                  <a:pt x="8031" y="17156"/>
                </a:cubicBezTo>
                <a:cubicBezTo>
                  <a:pt x="8156" y="17031"/>
                  <a:pt x="8281" y="16874"/>
                  <a:pt x="8406" y="16749"/>
                </a:cubicBezTo>
                <a:cubicBezTo>
                  <a:pt x="8500" y="16687"/>
                  <a:pt x="8594" y="16624"/>
                  <a:pt x="8656" y="16531"/>
                </a:cubicBezTo>
                <a:cubicBezTo>
                  <a:pt x="8688" y="16499"/>
                  <a:pt x="8750" y="16468"/>
                  <a:pt x="8750" y="16406"/>
                </a:cubicBezTo>
                <a:cubicBezTo>
                  <a:pt x="8750" y="16374"/>
                  <a:pt x="8781" y="16343"/>
                  <a:pt x="8813" y="16343"/>
                </a:cubicBezTo>
                <a:cubicBezTo>
                  <a:pt x="8813" y="16343"/>
                  <a:pt x="8813" y="16343"/>
                  <a:pt x="8813" y="16343"/>
                </a:cubicBezTo>
                <a:cubicBezTo>
                  <a:pt x="8906" y="16249"/>
                  <a:pt x="8969" y="16156"/>
                  <a:pt x="9063" y="16093"/>
                </a:cubicBezTo>
                <a:cubicBezTo>
                  <a:pt x="9219" y="15937"/>
                  <a:pt x="9375" y="15812"/>
                  <a:pt x="9531" y="15656"/>
                </a:cubicBezTo>
                <a:cubicBezTo>
                  <a:pt x="9531" y="15656"/>
                  <a:pt x="9531" y="15656"/>
                  <a:pt x="9531" y="15656"/>
                </a:cubicBezTo>
                <a:cubicBezTo>
                  <a:pt x="9594" y="15593"/>
                  <a:pt x="9688" y="15499"/>
                  <a:pt x="9781" y="15437"/>
                </a:cubicBezTo>
                <a:cubicBezTo>
                  <a:pt x="9781" y="15406"/>
                  <a:pt x="9813" y="15406"/>
                  <a:pt x="9813" y="15374"/>
                </a:cubicBezTo>
                <a:cubicBezTo>
                  <a:pt x="9906" y="15312"/>
                  <a:pt x="10000" y="15218"/>
                  <a:pt x="10063" y="15124"/>
                </a:cubicBezTo>
                <a:cubicBezTo>
                  <a:pt x="10063" y="15124"/>
                  <a:pt x="10063" y="15124"/>
                  <a:pt x="10063" y="15124"/>
                </a:cubicBezTo>
                <a:cubicBezTo>
                  <a:pt x="9938" y="15156"/>
                  <a:pt x="9844" y="15093"/>
                  <a:pt x="9750" y="15062"/>
                </a:cubicBezTo>
                <a:cubicBezTo>
                  <a:pt x="9688" y="15062"/>
                  <a:pt x="9625" y="15062"/>
                  <a:pt x="9594" y="15124"/>
                </a:cubicBezTo>
                <a:cubicBezTo>
                  <a:pt x="9688" y="15156"/>
                  <a:pt x="9750" y="15156"/>
                  <a:pt x="9844" y="15218"/>
                </a:cubicBezTo>
                <a:cubicBezTo>
                  <a:pt x="9719" y="15249"/>
                  <a:pt x="9656" y="15218"/>
                  <a:pt x="9563" y="15187"/>
                </a:cubicBezTo>
                <a:cubicBezTo>
                  <a:pt x="9563" y="15156"/>
                  <a:pt x="9563" y="15156"/>
                  <a:pt x="9594" y="15124"/>
                </a:cubicBezTo>
                <a:cubicBezTo>
                  <a:pt x="9563" y="15156"/>
                  <a:pt x="9563" y="15156"/>
                  <a:pt x="9563" y="15187"/>
                </a:cubicBezTo>
                <a:cubicBezTo>
                  <a:pt x="9531" y="15156"/>
                  <a:pt x="9500" y="15156"/>
                  <a:pt x="9500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69" y="15156"/>
                  <a:pt x="9469" y="15156"/>
                  <a:pt x="9469" y="15156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438" y="15187"/>
                  <a:pt x="9438" y="15187"/>
                  <a:pt x="9438" y="15187"/>
                </a:cubicBezTo>
                <a:cubicBezTo>
                  <a:pt x="9500" y="15187"/>
                  <a:pt x="9563" y="15187"/>
                  <a:pt x="9531" y="15281"/>
                </a:cubicBezTo>
                <a:cubicBezTo>
                  <a:pt x="9563" y="15312"/>
                  <a:pt x="9563" y="15312"/>
                  <a:pt x="9563" y="15312"/>
                </a:cubicBezTo>
                <a:cubicBezTo>
                  <a:pt x="9594" y="15343"/>
                  <a:pt x="9688" y="15281"/>
                  <a:pt x="9656" y="15374"/>
                </a:cubicBezTo>
                <a:cubicBezTo>
                  <a:pt x="9438" y="15593"/>
                  <a:pt x="9219" y="15781"/>
                  <a:pt x="8969" y="15999"/>
                </a:cubicBezTo>
                <a:cubicBezTo>
                  <a:pt x="8875" y="16093"/>
                  <a:pt x="8813" y="16093"/>
                  <a:pt x="8688" y="16062"/>
                </a:cubicBezTo>
                <a:cubicBezTo>
                  <a:pt x="8625" y="16062"/>
                  <a:pt x="8594" y="16031"/>
                  <a:pt x="8531" y="16031"/>
                </a:cubicBezTo>
                <a:cubicBezTo>
                  <a:pt x="8500" y="16124"/>
                  <a:pt x="8531" y="16187"/>
                  <a:pt x="8625" y="16187"/>
                </a:cubicBezTo>
                <a:cubicBezTo>
                  <a:pt x="8656" y="16187"/>
                  <a:pt x="8719" y="16187"/>
                  <a:pt x="8719" y="16218"/>
                </a:cubicBezTo>
                <a:cubicBezTo>
                  <a:pt x="8750" y="16249"/>
                  <a:pt x="8688" y="16281"/>
                  <a:pt x="8656" y="16312"/>
                </a:cubicBezTo>
                <a:cubicBezTo>
                  <a:pt x="8625" y="16312"/>
                  <a:pt x="8625" y="16343"/>
                  <a:pt x="8594" y="16343"/>
                </a:cubicBezTo>
                <a:cubicBezTo>
                  <a:pt x="8469" y="16468"/>
                  <a:pt x="8344" y="16593"/>
                  <a:pt x="8188" y="16718"/>
                </a:cubicBezTo>
                <a:cubicBezTo>
                  <a:pt x="8156" y="16749"/>
                  <a:pt x="8125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31" y="16843"/>
                  <a:pt x="8031" y="16843"/>
                </a:cubicBezTo>
                <a:cubicBezTo>
                  <a:pt x="8031" y="16843"/>
                  <a:pt x="8000" y="16843"/>
                  <a:pt x="8000" y="16843"/>
                </a:cubicBezTo>
                <a:cubicBezTo>
                  <a:pt x="8000" y="16843"/>
                  <a:pt x="7969" y="16843"/>
                  <a:pt x="7969" y="16843"/>
                </a:cubicBezTo>
                <a:cubicBezTo>
                  <a:pt x="7969" y="16843"/>
                  <a:pt x="7938" y="16874"/>
                  <a:pt x="7938" y="16874"/>
                </a:cubicBezTo>
                <a:cubicBezTo>
                  <a:pt x="7938" y="16874"/>
                  <a:pt x="7969" y="16843"/>
                  <a:pt x="7969" y="16843"/>
                </a:cubicBezTo>
                <a:cubicBezTo>
                  <a:pt x="8000" y="16843"/>
                  <a:pt x="8000" y="16843"/>
                  <a:pt x="8031" y="16843"/>
                </a:cubicBezTo>
                <a:cubicBezTo>
                  <a:pt x="8000" y="16937"/>
                  <a:pt x="7938" y="16968"/>
                  <a:pt x="7844" y="17031"/>
                </a:cubicBezTo>
                <a:cubicBezTo>
                  <a:pt x="7844" y="17031"/>
                  <a:pt x="7844" y="17031"/>
                  <a:pt x="7844" y="17031"/>
                </a:cubicBezTo>
                <a:cubicBezTo>
                  <a:pt x="7844" y="17093"/>
                  <a:pt x="7813" y="17062"/>
                  <a:pt x="7781" y="17093"/>
                </a:cubicBezTo>
                <a:cubicBezTo>
                  <a:pt x="7781" y="17093"/>
                  <a:pt x="7781" y="17093"/>
                  <a:pt x="7781" y="17093"/>
                </a:cubicBezTo>
                <a:cubicBezTo>
                  <a:pt x="7781" y="17124"/>
                  <a:pt x="7750" y="17124"/>
                  <a:pt x="7719" y="17124"/>
                </a:cubicBezTo>
                <a:cubicBezTo>
                  <a:pt x="7719" y="17124"/>
                  <a:pt x="7719" y="17124"/>
                  <a:pt x="7719" y="17124"/>
                </a:cubicBezTo>
                <a:cubicBezTo>
                  <a:pt x="7656" y="17187"/>
                  <a:pt x="7531" y="17156"/>
                  <a:pt x="7469" y="17062"/>
                </a:cubicBezTo>
                <a:cubicBezTo>
                  <a:pt x="7469" y="17062"/>
                  <a:pt x="7438" y="17062"/>
                  <a:pt x="7438" y="17062"/>
                </a:cubicBezTo>
                <a:cubicBezTo>
                  <a:pt x="7438" y="17062"/>
                  <a:pt x="7438" y="17062"/>
                  <a:pt x="7438" y="17062"/>
                </a:cubicBezTo>
                <a:cubicBezTo>
                  <a:pt x="7406" y="17062"/>
                  <a:pt x="7406" y="17062"/>
                  <a:pt x="7406" y="17062"/>
                </a:cubicBezTo>
                <a:cubicBezTo>
                  <a:pt x="7344" y="17124"/>
                  <a:pt x="7281" y="17093"/>
                  <a:pt x="7250" y="17124"/>
                </a:cubicBezTo>
                <a:cubicBezTo>
                  <a:pt x="7219" y="17124"/>
                  <a:pt x="7188" y="17156"/>
                  <a:pt x="7188" y="17187"/>
                </a:cubicBezTo>
                <a:cubicBezTo>
                  <a:pt x="7188" y="17218"/>
                  <a:pt x="7219" y="17218"/>
                  <a:pt x="7250" y="17218"/>
                </a:cubicBezTo>
                <a:cubicBezTo>
                  <a:pt x="7313" y="17249"/>
                  <a:pt x="7406" y="17249"/>
                  <a:pt x="7469" y="17249"/>
                </a:cubicBezTo>
                <a:cubicBezTo>
                  <a:pt x="7500" y="17281"/>
                  <a:pt x="7531" y="17281"/>
                  <a:pt x="7531" y="17312"/>
                </a:cubicBezTo>
                <a:cubicBezTo>
                  <a:pt x="7531" y="17343"/>
                  <a:pt x="7500" y="17312"/>
                  <a:pt x="7469" y="17312"/>
                </a:cubicBezTo>
                <a:cubicBezTo>
                  <a:pt x="7313" y="17312"/>
                  <a:pt x="7156" y="17281"/>
                  <a:pt x="7000" y="17249"/>
                </a:cubicBezTo>
                <a:cubicBezTo>
                  <a:pt x="7000" y="17312"/>
                  <a:pt x="6938" y="17312"/>
                  <a:pt x="6906" y="17343"/>
                </a:cubicBezTo>
                <a:cubicBezTo>
                  <a:pt x="6875" y="17437"/>
                  <a:pt x="6969" y="17374"/>
                  <a:pt x="6969" y="17406"/>
                </a:cubicBezTo>
                <a:cubicBezTo>
                  <a:pt x="7000" y="17406"/>
                  <a:pt x="7000" y="17406"/>
                  <a:pt x="7000" y="17406"/>
                </a:cubicBezTo>
                <a:cubicBezTo>
                  <a:pt x="7125" y="17437"/>
                  <a:pt x="7219" y="17406"/>
                  <a:pt x="7344" y="17499"/>
                </a:cubicBezTo>
                <a:cubicBezTo>
                  <a:pt x="7188" y="17499"/>
                  <a:pt x="7031" y="17499"/>
                  <a:pt x="6906" y="17437"/>
                </a:cubicBezTo>
                <a:cubicBezTo>
                  <a:pt x="6844" y="17437"/>
                  <a:pt x="6781" y="17499"/>
                  <a:pt x="6688" y="17468"/>
                </a:cubicBezTo>
                <a:cubicBezTo>
                  <a:pt x="6719" y="17499"/>
                  <a:pt x="6719" y="17531"/>
                  <a:pt x="6688" y="17531"/>
                </a:cubicBezTo>
                <a:cubicBezTo>
                  <a:pt x="6813" y="17468"/>
                  <a:pt x="6813" y="17468"/>
                  <a:pt x="6875" y="17624"/>
                </a:cubicBezTo>
                <a:cubicBezTo>
                  <a:pt x="6906" y="17656"/>
                  <a:pt x="6906" y="17656"/>
                  <a:pt x="6906" y="17687"/>
                </a:cubicBezTo>
                <a:cubicBezTo>
                  <a:pt x="6969" y="17687"/>
                  <a:pt x="7000" y="17656"/>
                  <a:pt x="7063" y="17656"/>
                </a:cubicBezTo>
                <a:cubicBezTo>
                  <a:pt x="7063" y="17656"/>
                  <a:pt x="7125" y="17656"/>
                  <a:pt x="7125" y="17687"/>
                </a:cubicBezTo>
                <a:cubicBezTo>
                  <a:pt x="7125" y="17718"/>
                  <a:pt x="7094" y="17718"/>
                  <a:pt x="7063" y="17749"/>
                </a:cubicBezTo>
                <a:cubicBezTo>
                  <a:pt x="7063" y="17749"/>
                  <a:pt x="7031" y="17781"/>
                  <a:pt x="7000" y="17781"/>
                </a:cubicBezTo>
                <a:cubicBezTo>
                  <a:pt x="7000" y="17812"/>
                  <a:pt x="7000" y="17812"/>
                  <a:pt x="6969" y="17812"/>
                </a:cubicBezTo>
                <a:cubicBezTo>
                  <a:pt x="6969" y="17812"/>
                  <a:pt x="6969" y="17843"/>
                  <a:pt x="6938" y="17843"/>
                </a:cubicBezTo>
                <a:cubicBezTo>
                  <a:pt x="6938" y="17906"/>
                  <a:pt x="6906" y="17906"/>
                  <a:pt x="6875" y="17937"/>
                </a:cubicBezTo>
                <a:cubicBezTo>
                  <a:pt x="6844" y="17968"/>
                  <a:pt x="6781" y="17968"/>
                  <a:pt x="6844" y="18031"/>
                </a:cubicBezTo>
                <a:cubicBezTo>
                  <a:pt x="6844" y="18031"/>
                  <a:pt x="6844" y="18031"/>
                  <a:pt x="6813" y="18031"/>
                </a:cubicBezTo>
                <a:cubicBezTo>
                  <a:pt x="6656" y="18062"/>
                  <a:pt x="6594" y="18218"/>
                  <a:pt x="6469" y="18312"/>
                </a:cubicBezTo>
                <a:cubicBezTo>
                  <a:pt x="6250" y="18499"/>
                  <a:pt x="6031" y="18687"/>
                  <a:pt x="5844" y="18906"/>
                </a:cubicBezTo>
                <a:cubicBezTo>
                  <a:pt x="5781" y="18937"/>
                  <a:pt x="5719" y="18937"/>
                  <a:pt x="5656" y="18906"/>
                </a:cubicBezTo>
                <a:cubicBezTo>
                  <a:pt x="5531" y="18874"/>
                  <a:pt x="5406" y="18874"/>
                  <a:pt x="5281" y="18874"/>
                </a:cubicBezTo>
                <a:cubicBezTo>
                  <a:pt x="5281" y="18874"/>
                  <a:pt x="5281" y="18874"/>
                  <a:pt x="5281" y="18906"/>
                </a:cubicBezTo>
                <a:cubicBezTo>
                  <a:pt x="5250" y="19062"/>
                  <a:pt x="5250" y="19062"/>
                  <a:pt x="5438" y="19093"/>
                </a:cubicBezTo>
                <a:cubicBezTo>
                  <a:pt x="5469" y="19093"/>
                  <a:pt x="5531" y="19062"/>
                  <a:pt x="5563" y="19156"/>
                </a:cubicBezTo>
                <a:cubicBezTo>
                  <a:pt x="5438" y="19249"/>
                  <a:pt x="5344" y="19343"/>
                  <a:pt x="5219" y="19437"/>
                </a:cubicBezTo>
                <a:cubicBezTo>
                  <a:pt x="5188" y="19468"/>
                  <a:pt x="5156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125" y="19468"/>
                  <a:pt x="5125" y="19468"/>
                  <a:pt x="5125" y="19468"/>
                </a:cubicBezTo>
                <a:cubicBezTo>
                  <a:pt x="5094" y="19593"/>
                  <a:pt x="5000" y="19656"/>
                  <a:pt x="4906" y="19718"/>
                </a:cubicBezTo>
                <a:cubicBezTo>
                  <a:pt x="4781" y="19874"/>
                  <a:pt x="4625" y="19999"/>
                  <a:pt x="4500" y="20124"/>
                </a:cubicBezTo>
                <a:cubicBezTo>
                  <a:pt x="4375" y="20218"/>
                  <a:pt x="4250" y="20343"/>
                  <a:pt x="4125" y="20437"/>
                </a:cubicBezTo>
                <a:cubicBezTo>
                  <a:pt x="4063" y="20468"/>
                  <a:pt x="4031" y="20531"/>
                  <a:pt x="4000" y="20562"/>
                </a:cubicBezTo>
                <a:cubicBezTo>
                  <a:pt x="3906" y="20656"/>
                  <a:pt x="3813" y="20687"/>
                  <a:pt x="3688" y="20749"/>
                </a:cubicBezTo>
                <a:cubicBezTo>
                  <a:pt x="3594" y="20781"/>
                  <a:pt x="3531" y="20687"/>
                  <a:pt x="3469" y="20656"/>
                </a:cubicBezTo>
                <a:cubicBezTo>
                  <a:pt x="3438" y="20624"/>
                  <a:pt x="3406" y="20624"/>
                  <a:pt x="3344" y="20624"/>
                </a:cubicBezTo>
                <a:cubicBezTo>
                  <a:pt x="3281" y="20687"/>
                  <a:pt x="3188" y="20718"/>
                  <a:pt x="3094" y="20749"/>
                </a:cubicBezTo>
                <a:cubicBezTo>
                  <a:pt x="3063" y="20749"/>
                  <a:pt x="3031" y="20781"/>
                  <a:pt x="3000" y="20749"/>
                </a:cubicBezTo>
                <a:cubicBezTo>
                  <a:pt x="3000" y="20718"/>
                  <a:pt x="3031" y="20687"/>
                  <a:pt x="3063" y="20687"/>
                </a:cubicBezTo>
                <a:cubicBezTo>
                  <a:pt x="3094" y="20687"/>
                  <a:pt x="3094" y="20656"/>
                  <a:pt x="3094" y="20656"/>
                </a:cubicBezTo>
                <a:cubicBezTo>
                  <a:pt x="3094" y="20562"/>
                  <a:pt x="3031" y="20562"/>
                  <a:pt x="2969" y="20593"/>
                </a:cubicBezTo>
                <a:cubicBezTo>
                  <a:pt x="2938" y="20593"/>
                  <a:pt x="2906" y="20624"/>
                  <a:pt x="2906" y="20562"/>
                </a:cubicBezTo>
                <a:cubicBezTo>
                  <a:pt x="2906" y="20531"/>
                  <a:pt x="2906" y="20531"/>
                  <a:pt x="2938" y="20531"/>
                </a:cubicBezTo>
                <a:cubicBezTo>
                  <a:pt x="3000" y="20531"/>
                  <a:pt x="2969" y="20468"/>
                  <a:pt x="3000" y="20437"/>
                </a:cubicBezTo>
                <a:cubicBezTo>
                  <a:pt x="3000" y="20437"/>
                  <a:pt x="3000" y="20406"/>
                  <a:pt x="2969" y="20406"/>
                </a:cubicBezTo>
                <a:cubicBezTo>
                  <a:pt x="2938" y="20374"/>
                  <a:pt x="2938" y="20437"/>
                  <a:pt x="2906" y="20437"/>
                </a:cubicBezTo>
                <a:cubicBezTo>
                  <a:pt x="2875" y="20468"/>
                  <a:pt x="2844" y="20468"/>
                  <a:pt x="2813" y="20468"/>
                </a:cubicBezTo>
                <a:cubicBezTo>
                  <a:pt x="2813" y="20531"/>
                  <a:pt x="2875" y="20562"/>
                  <a:pt x="2875" y="20624"/>
                </a:cubicBezTo>
                <a:cubicBezTo>
                  <a:pt x="2813" y="20562"/>
                  <a:pt x="2781" y="20562"/>
                  <a:pt x="2719" y="20593"/>
                </a:cubicBezTo>
                <a:cubicBezTo>
                  <a:pt x="2688" y="20593"/>
                  <a:pt x="2656" y="20624"/>
                  <a:pt x="2656" y="20687"/>
                </a:cubicBezTo>
                <a:cubicBezTo>
                  <a:pt x="2656" y="20687"/>
                  <a:pt x="2656" y="20718"/>
                  <a:pt x="2656" y="20749"/>
                </a:cubicBezTo>
                <a:cubicBezTo>
                  <a:pt x="2656" y="20812"/>
                  <a:pt x="2594" y="20812"/>
                  <a:pt x="2563" y="20812"/>
                </a:cubicBezTo>
                <a:cubicBezTo>
                  <a:pt x="2531" y="20812"/>
                  <a:pt x="2500" y="20843"/>
                  <a:pt x="2469" y="20812"/>
                </a:cubicBezTo>
                <a:cubicBezTo>
                  <a:pt x="2438" y="20781"/>
                  <a:pt x="2500" y="20781"/>
                  <a:pt x="2531" y="20749"/>
                </a:cubicBezTo>
                <a:cubicBezTo>
                  <a:pt x="2469" y="20718"/>
                  <a:pt x="2469" y="20781"/>
                  <a:pt x="2438" y="20781"/>
                </a:cubicBezTo>
                <a:cubicBezTo>
                  <a:pt x="2375" y="20843"/>
                  <a:pt x="2313" y="20812"/>
                  <a:pt x="2281" y="20749"/>
                </a:cubicBezTo>
                <a:cubicBezTo>
                  <a:pt x="2344" y="20749"/>
                  <a:pt x="2375" y="20749"/>
                  <a:pt x="2375" y="20718"/>
                </a:cubicBezTo>
                <a:cubicBezTo>
                  <a:pt x="2375" y="20656"/>
                  <a:pt x="2344" y="20687"/>
                  <a:pt x="2313" y="20656"/>
                </a:cubicBezTo>
                <a:cubicBezTo>
                  <a:pt x="2281" y="20624"/>
                  <a:pt x="2281" y="20718"/>
                  <a:pt x="2250" y="20687"/>
                </a:cubicBezTo>
                <a:cubicBezTo>
                  <a:pt x="2156" y="20656"/>
                  <a:pt x="2094" y="20718"/>
                  <a:pt x="2000" y="20749"/>
                </a:cubicBezTo>
                <a:cubicBezTo>
                  <a:pt x="1875" y="20749"/>
                  <a:pt x="1969" y="20687"/>
                  <a:pt x="2000" y="20624"/>
                </a:cubicBezTo>
                <a:cubicBezTo>
                  <a:pt x="1938" y="20624"/>
                  <a:pt x="1906" y="20687"/>
                  <a:pt x="1875" y="20687"/>
                </a:cubicBezTo>
                <a:cubicBezTo>
                  <a:pt x="1844" y="20749"/>
                  <a:pt x="1781" y="20749"/>
                  <a:pt x="1750" y="20687"/>
                </a:cubicBezTo>
                <a:cubicBezTo>
                  <a:pt x="1750" y="20656"/>
                  <a:pt x="1750" y="20656"/>
                  <a:pt x="1719" y="20624"/>
                </a:cubicBezTo>
                <a:cubicBezTo>
                  <a:pt x="1688" y="20593"/>
                  <a:pt x="1688" y="20499"/>
                  <a:pt x="1625" y="20468"/>
                </a:cubicBezTo>
                <a:cubicBezTo>
                  <a:pt x="1656" y="20531"/>
                  <a:pt x="1594" y="20624"/>
                  <a:pt x="1719" y="20656"/>
                </a:cubicBezTo>
                <a:cubicBezTo>
                  <a:pt x="1719" y="20687"/>
                  <a:pt x="1781" y="20718"/>
                  <a:pt x="1719" y="20749"/>
                </a:cubicBezTo>
                <a:cubicBezTo>
                  <a:pt x="1656" y="20718"/>
                  <a:pt x="1625" y="20718"/>
                  <a:pt x="1563" y="20718"/>
                </a:cubicBezTo>
                <a:cubicBezTo>
                  <a:pt x="1563" y="20718"/>
                  <a:pt x="1563" y="20718"/>
                  <a:pt x="1531" y="20687"/>
                </a:cubicBezTo>
                <a:cubicBezTo>
                  <a:pt x="1500" y="20531"/>
                  <a:pt x="1375" y="20374"/>
                  <a:pt x="1281" y="20218"/>
                </a:cubicBezTo>
                <a:cubicBezTo>
                  <a:pt x="1313" y="20249"/>
                  <a:pt x="1281" y="20312"/>
                  <a:pt x="1313" y="20343"/>
                </a:cubicBezTo>
                <a:cubicBezTo>
                  <a:pt x="1375" y="20468"/>
                  <a:pt x="1406" y="20593"/>
                  <a:pt x="1500" y="20687"/>
                </a:cubicBezTo>
                <a:cubicBezTo>
                  <a:pt x="1469" y="20718"/>
                  <a:pt x="1406" y="20749"/>
                  <a:pt x="1406" y="20718"/>
                </a:cubicBezTo>
                <a:cubicBezTo>
                  <a:pt x="1375" y="20656"/>
                  <a:pt x="1313" y="20718"/>
                  <a:pt x="1281" y="20687"/>
                </a:cubicBezTo>
                <a:cubicBezTo>
                  <a:pt x="1250" y="20687"/>
                  <a:pt x="1188" y="20718"/>
                  <a:pt x="1188" y="20687"/>
                </a:cubicBezTo>
                <a:cubicBezTo>
                  <a:pt x="1188" y="20624"/>
                  <a:pt x="1156" y="20624"/>
                  <a:pt x="1094" y="20624"/>
                </a:cubicBezTo>
                <a:cubicBezTo>
                  <a:pt x="1063" y="20593"/>
                  <a:pt x="1063" y="20593"/>
                  <a:pt x="1063" y="20562"/>
                </a:cubicBezTo>
                <a:cubicBezTo>
                  <a:pt x="1063" y="20562"/>
                  <a:pt x="1063" y="20562"/>
                  <a:pt x="1094" y="20562"/>
                </a:cubicBezTo>
                <a:cubicBezTo>
                  <a:pt x="1094" y="20531"/>
                  <a:pt x="1094" y="20531"/>
                  <a:pt x="1094" y="20531"/>
                </a:cubicBezTo>
                <a:lnTo>
                  <a:pt x="1094" y="20531"/>
                </a:lnTo>
                <a:cubicBezTo>
                  <a:pt x="1063" y="20531"/>
                  <a:pt x="1063" y="20562"/>
                  <a:pt x="1063" y="20562"/>
                </a:cubicBezTo>
                <a:cubicBezTo>
                  <a:pt x="1063" y="20593"/>
                  <a:pt x="1031" y="20593"/>
                  <a:pt x="1000" y="20562"/>
                </a:cubicBezTo>
                <a:cubicBezTo>
                  <a:pt x="1000" y="20531"/>
                  <a:pt x="969" y="20562"/>
                  <a:pt x="969" y="20562"/>
                </a:cubicBezTo>
                <a:cubicBezTo>
                  <a:pt x="938" y="20593"/>
                  <a:pt x="969" y="20593"/>
                  <a:pt x="969" y="20624"/>
                </a:cubicBezTo>
                <a:cubicBezTo>
                  <a:pt x="1000" y="20624"/>
                  <a:pt x="1031" y="20624"/>
                  <a:pt x="1031" y="20656"/>
                </a:cubicBezTo>
                <a:cubicBezTo>
                  <a:pt x="1000" y="20687"/>
                  <a:pt x="969" y="20687"/>
                  <a:pt x="969" y="20656"/>
                </a:cubicBezTo>
                <a:cubicBezTo>
                  <a:pt x="875" y="20656"/>
                  <a:pt x="781" y="20656"/>
                  <a:pt x="719" y="20656"/>
                </a:cubicBezTo>
                <a:cubicBezTo>
                  <a:pt x="688" y="20656"/>
                  <a:pt x="656" y="20624"/>
                  <a:pt x="656" y="20656"/>
                </a:cubicBezTo>
                <a:cubicBezTo>
                  <a:pt x="719" y="20718"/>
                  <a:pt x="656" y="20687"/>
                  <a:pt x="625" y="20687"/>
                </a:cubicBezTo>
                <a:cubicBezTo>
                  <a:pt x="531" y="20718"/>
                  <a:pt x="438" y="20687"/>
                  <a:pt x="375" y="20656"/>
                </a:cubicBezTo>
                <a:cubicBezTo>
                  <a:pt x="375" y="20624"/>
                  <a:pt x="406" y="20656"/>
                  <a:pt x="438" y="20624"/>
                </a:cubicBezTo>
                <a:lnTo>
                  <a:pt x="438" y="20624"/>
                </a:lnTo>
                <a:cubicBezTo>
                  <a:pt x="344" y="20562"/>
                  <a:pt x="219" y="20593"/>
                  <a:pt x="125" y="20593"/>
                </a:cubicBezTo>
                <a:cubicBezTo>
                  <a:pt x="125" y="20624"/>
                  <a:pt x="188" y="20593"/>
                  <a:pt x="156" y="20624"/>
                </a:cubicBezTo>
                <a:cubicBezTo>
                  <a:pt x="94" y="20624"/>
                  <a:pt x="31" y="20656"/>
                  <a:pt x="0" y="20593"/>
                </a:cubicBezTo>
                <a:cubicBezTo>
                  <a:pt x="0" y="20624"/>
                  <a:pt x="0" y="20687"/>
                  <a:pt x="0" y="20718"/>
                </a:cubicBezTo>
                <a:cubicBezTo>
                  <a:pt x="94" y="20687"/>
                  <a:pt x="188" y="20718"/>
                  <a:pt x="281" y="20687"/>
                </a:cubicBezTo>
                <a:cubicBezTo>
                  <a:pt x="313" y="20718"/>
                  <a:pt x="344" y="20718"/>
                  <a:pt x="344" y="20749"/>
                </a:cubicBezTo>
                <a:cubicBezTo>
                  <a:pt x="313" y="20843"/>
                  <a:pt x="219" y="20843"/>
                  <a:pt x="125" y="20812"/>
                </a:cubicBezTo>
                <a:cubicBezTo>
                  <a:pt x="63" y="20812"/>
                  <a:pt x="31" y="20812"/>
                  <a:pt x="0" y="20812"/>
                </a:cubicBezTo>
                <a:cubicBezTo>
                  <a:pt x="0" y="20843"/>
                  <a:pt x="0" y="20874"/>
                  <a:pt x="0" y="20874"/>
                </a:cubicBezTo>
                <a:cubicBezTo>
                  <a:pt x="0" y="20874"/>
                  <a:pt x="63" y="20874"/>
                  <a:pt x="94" y="20874"/>
                </a:cubicBezTo>
                <a:cubicBezTo>
                  <a:pt x="125" y="20874"/>
                  <a:pt x="156" y="20906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188" y="20906"/>
                  <a:pt x="250" y="20999"/>
                  <a:pt x="313" y="20937"/>
                </a:cubicBezTo>
                <a:cubicBezTo>
                  <a:pt x="313" y="20968"/>
                  <a:pt x="313" y="20968"/>
                  <a:pt x="313" y="20968"/>
                </a:cubicBezTo>
                <a:cubicBezTo>
                  <a:pt x="344" y="20968"/>
                  <a:pt x="344" y="20968"/>
                  <a:pt x="344" y="20999"/>
                </a:cubicBezTo>
                <a:cubicBezTo>
                  <a:pt x="406" y="20999"/>
                  <a:pt x="438" y="20999"/>
                  <a:pt x="469" y="20968"/>
                </a:cubicBezTo>
                <a:cubicBezTo>
                  <a:pt x="500" y="20906"/>
                  <a:pt x="594" y="20906"/>
                  <a:pt x="656" y="20937"/>
                </a:cubicBezTo>
                <a:cubicBezTo>
                  <a:pt x="750" y="20937"/>
                  <a:pt x="813" y="20999"/>
                  <a:pt x="875" y="21031"/>
                </a:cubicBezTo>
                <a:cubicBezTo>
                  <a:pt x="875" y="21062"/>
                  <a:pt x="875" y="21093"/>
                  <a:pt x="844" y="21093"/>
                </a:cubicBezTo>
                <a:cubicBezTo>
                  <a:pt x="813" y="21062"/>
                  <a:pt x="750" y="21062"/>
                  <a:pt x="781" y="21031"/>
                </a:cubicBezTo>
                <a:cubicBezTo>
                  <a:pt x="750" y="20968"/>
                  <a:pt x="719" y="20999"/>
                  <a:pt x="688" y="21031"/>
                </a:cubicBezTo>
                <a:cubicBezTo>
                  <a:pt x="625" y="21093"/>
                  <a:pt x="531" y="21062"/>
                  <a:pt x="469" y="21031"/>
                </a:cubicBezTo>
                <a:cubicBezTo>
                  <a:pt x="438" y="21031"/>
                  <a:pt x="406" y="21031"/>
                  <a:pt x="375" y="21031"/>
                </a:cubicBezTo>
                <a:cubicBezTo>
                  <a:pt x="344" y="21062"/>
                  <a:pt x="344" y="21031"/>
                  <a:pt x="344" y="20999"/>
                </a:cubicBezTo>
                <a:cubicBezTo>
                  <a:pt x="344" y="20968"/>
                  <a:pt x="344" y="20968"/>
                  <a:pt x="313" y="20968"/>
                </a:cubicBezTo>
                <a:cubicBezTo>
                  <a:pt x="281" y="20968"/>
                  <a:pt x="313" y="21062"/>
                  <a:pt x="250" y="21031"/>
                </a:cubicBezTo>
                <a:cubicBezTo>
                  <a:pt x="188" y="20999"/>
                  <a:pt x="125" y="21031"/>
                  <a:pt x="63" y="20968"/>
                </a:cubicBezTo>
                <a:cubicBezTo>
                  <a:pt x="94" y="20968"/>
                  <a:pt x="94" y="20968"/>
                  <a:pt x="94" y="20937"/>
                </a:cubicBezTo>
                <a:cubicBezTo>
                  <a:pt x="94" y="20937"/>
                  <a:pt x="94" y="20937"/>
                  <a:pt x="94" y="20937"/>
                </a:cubicBezTo>
                <a:cubicBezTo>
                  <a:pt x="63" y="20906"/>
                  <a:pt x="31" y="20937"/>
                  <a:pt x="0" y="20937"/>
                </a:cubicBezTo>
                <a:cubicBezTo>
                  <a:pt x="0" y="20999"/>
                  <a:pt x="0" y="21062"/>
                  <a:pt x="0" y="21124"/>
                </a:cubicBezTo>
                <a:cubicBezTo>
                  <a:pt x="31" y="21124"/>
                  <a:pt x="63" y="21124"/>
                  <a:pt x="125" y="21124"/>
                </a:cubicBezTo>
                <a:cubicBezTo>
                  <a:pt x="94" y="21156"/>
                  <a:pt x="94" y="21187"/>
                  <a:pt x="125" y="21187"/>
                </a:cubicBezTo>
                <a:cubicBezTo>
                  <a:pt x="219" y="21124"/>
                  <a:pt x="313" y="21187"/>
                  <a:pt x="375" y="21187"/>
                </a:cubicBezTo>
                <a:cubicBezTo>
                  <a:pt x="438" y="21156"/>
                  <a:pt x="500" y="21218"/>
                  <a:pt x="563" y="21156"/>
                </a:cubicBezTo>
                <a:cubicBezTo>
                  <a:pt x="625" y="21187"/>
                  <a:pt x="719" y="21218"/>
                  <a:pt x="781" y="21218"/>
                </a:cubicBezTo>
                <a:cubicBezTo>
                  <a:pt x="531" y="21281"/>
                  <a:pt x="281" y="21437"/>
                  <a:pt x="0" y="21374"/>
                </a:cubicBezTo>
                <a:cubicBezTo>
                  <a:pt x="0" y="21562"/>
                  <a:pt x="0" y="21781"/>
                  <a:pt x="0" y="21968"/>
                </a:cubicBezTo>
                <a:cubicBezTo>
                  <a:pt x="31" y="21968"/>
                  <a:pt x="94" y="21999"/>
                  <a:pt x="125" y="21968"/>
                </a:cubicBezTo>
                <a:cubicBezTo>
                  <a:pt x="156" y="21968"/>
                  <a:pt x="188" y="21999"/>
                  <a:pt x="125" y="21999"/>
                </a:cubicBezTo>
                <a:cubicBezTo>
                  <a:pt x="94" y="22031"/>
                  <a:pt x="31" y="22031"/>
                  <a:pt x="0" y="22031"/>
                </a:cubicBezTo>
                <a:cubicBezTo>
                  <a:pt x="0" y="22031"/>
                  <a:pt x="0" y="22031"/>
                  <a:pt x="0" y="22062"/>
                </a:cubicBezTo>
                <a:cubicBezTo>
                  <a:pt x="31" y="22062"/>
                  <a:pt x="94" y="22062"/>
                  <a:pt x="156" y="22062"/>
                </a:cubicBezTo>
                <a:cubicBezTo>
                  <a:pt x="219" y="22062"/>
                  <a:pt x="219" y="22062"/>
                  <a:pt x="219" y="22031"/>
                </a:cubicBezTo>
                <a:cubicBezTo>
                  <a:pt x="219" y="22062"/>
                  <a:pt x="219" y="22062"/>
                  <a:pt x="156" y="22062"/>
                </a:cubicBezTo>
                <a:cubicBezTo>
                  <a:pt x="125" y="22156"/>
                  <a:pt x="31" y="22093"/>
                  <a:pt x="0" y="22156"/>
                </a:cubicBezTo>
                <a:cubicBezTo>
                  <a:pt x="0" y="22187"/>
                  <a:pt x="0" y="22187"/>
                  <a:pt x="0" y="22218"/>
                </a:cubicBezTo>
                <a:cubicBezTo>
                  <a:pt x="63" y="22187"/>
                  <a:pt x="156" y="22187"/>
                  <a:pt x="219" y="22156"/>
                </a:cubicBezTo>
                <a:cubicBezTo>
                  <a:pt x="281" y="22156"/>
                  <a:pt x="313" y="22124"/>
                  <a:pt x="375" y="22156"/>
                </a:cubicBezTo>
                <a:cubicBezTo>
                  <a:pt x="313" y="22218"/>
                  <a:pt x="219" y="22249"/>
                  <a:pt x="156" y="22281"/>
                </a:cubicBezTo>
                <a:cubicBezTo>
                  <a:pt x="94" y="22281"/>
                  <a:pt x="31" y="22281"/>
                  <a:pt x="0" y="22312"/>
                </a:cubicBezTo>
                <a:cubicBezTo>
                  <a:pt x="0" y="22312"/>
                  <a:pt x="0" y="22343"/>
                  <a:pt x="0" y="22343"/>
                </a:cubicBezTo>
                <a:lnTo>
                  <a:pt x="0" y="22343"/>
                </a:lnTo>
                <a:cubicBezTo>
                  <a:pt x="31" y="22374"/>
                  <a:pt x="63" y="22343"/>
                  <a:pt x="94" y="22343"/>
                </a:cubicBezTo>
                <a:cubicBezTo>
                  <a:pt x="125" y="22343"/>
                  <a:pt x="156" y="22343"/>
                  <a:pt x="156" y="22312"/>
                </a:cubicBezTo>
                <a:cubicBezTo>
                  <a:pt x="156" y="22312"/>
                  <a:pt x="188" y="22312"/>
                  <a:pt x="188" y="22312"/>
                </a:cubicBezTo>
                <a:cubicBezTo>
                  <a:pt x="469" y="22249"/>
                  <a:pt x="719" y="22156"/>
                  <a:pt x="1000" y="22093"/>
                </a:cubicBezTo>
                <a:cubicBezTo>
                  <a:pt x="969" y="22124"/>
                  <a:pt x="938" y="22124"/>
                  <a:pt x="906" y="22156"/>
                </a:cubicBezTo>
                <a:cubicBezTo>
                  <a:pt x="875" y="22156"/>
                  <a:pt x="844" y="22156"/>
                  <a:pt x="844" y="22187"/>
                </a:cubicBezTo>
                <a:cubicBezTo>
                  <a:pt x="844" y="22187"/>
                  <a:pt x="844" y="22187"/>
                  <a:pt x="844" y="22187"/>
                </a:cubicBezTo>
                <a:cubicBezTo>
                  <a:pt x="688" y="22218"/>
                  <a:pt x="531" y="22249"/>
                  <a:pt x="406" y="22281"/>
                </a:cubicBezTo>
                <a:cubicBezTo>
                  <a:pt x="406" y="22281"/>
                  <a:pt x="406" y="22281"/>
                  <a:pt x="406" y="22281"/>
                </a:cubicBezTo>
                <a:cubicBezTo>
                  <a:pt x="375" y="22281"/>
                  <a:pt x="375" y="22281"/>
                  <a:pt x="375" y="22312"/>
                </a:cubicBezTo>
                <a:cubicBezTo>
                  <a:pt x="250" y="22343"/>
                  <a:pt x="125" y="22374"/>
                  <a:pt x="0" y="22406"/>
                </a:cubicBezTo>
                <a:cubicBezTo>
                  <a:pt x="0" y="22437"/>
                  <a:pt x="0" y="22468"/>
                  <a:pt x="0" y="22468"/>
                </a:cubicBezTo>
                <a:cubicBezTo>
                  <a:pt x="63" y="22437"/>
                  <a:pt x="156" y="22374"/>
                  <a:pt x="219" y="22406"/>
                </a:cubicBezTo>
                <a:cubicBezTo>
                  <a:pt x="281" y="22406"/>
                  <a:pt x="313" y="22374"/>
                  <a:pt x="344" y="22343"/>
                </a:cubicBezTo>
                <a:cubicBezTo>
                  <a:pt x="375" y="22343"/>
                  <a:pt x="375" y="22343"/>
                  <a:pt x="375" y="22343"/>
                </a:cubicBezTo>
                <a:cubicBezTo>
                  <a:pt x="406" y="22343"/>
                  <a:pt x="438" y="22343"/>
                  <a:pt x="469" y="22343"/>
                </a:cubicBezTo>
                <a:cubicBezTo>
                  <a:pt x="469" y="22374"/>
                  <a:pt x="500" y="22374"/>
                  <a:pt x="531" y="22374"/>
                </a:cubicBezTo>
                <a:cubicBezTo>
                  <a:pt x="500" y="22406"/>
                  <a:pt x="469" y="22437"/>
                  <a:pt x="406" y="22468"/>
                </a:cubicBezTo>
                <a:cubicBezTo>
                  <a:pt x="375" y="22468"/>
                  <a:pt x="344" y="22468"/>
                  <a:pt x="344" y="22531"/>
                </a:cubicBezTo>
                <a:cubicBezTo>
                  <a:pt x="313" y="22562"/>
                  <a:pt x="281" y="22656"/>
                  <a:pt x="188" y="22624"/>
                </a:cubicBezTo>
                <a:cubicBezTo>
                  <a:pt x="156" y="22624"/>
                  <a:pt x="125" y="22624"/>
                  <a:pt x="94" y="22624"/>
                </a:cubicBezTo>
                <a:cubicBezTo>
                  <a:pt x="63" y="22562"/>
                  <a:pt x="156" y="22562"/>
                  <a:pt x="156" y="22531"/>
                </a:cubicBezTo>
                <a:lnTo>
                  <a:pt x="156" y="22531"/>
                </a:lnTo>
                <a:cubicBezTo>
                  <a:pt x="156" y="22531"/>
                  <a:pt x="156" y="22531"/>
                  <a:pt x="156" y="22531"/>
                </a:cubicBezTo>
                <a:cubicBezTo>
                  <a:pt x="156" y="22499"/>
                  <a:pt x="188" y="22468"/>
                  <a:pt x="188" y="22468"/>
                </a:cubicBezTo>
                <a:cubicBezTo>
                  <a:pt x="188" y="22468"/>
                  <a:pt x="188" y="22468"/>
                  <a:pt x="156" y="22468"/>
                </a:cubicBezTo>
                <a:cubicBezTo>
                  <a:pt x="125" y="22468"/>
                  <a:pt x="125" y="22499"/>
                  <a:pt x="125" y="22499"/>
                </a:cubicBezTo>
                <a:cubicBezTo>
                  <a:pt x="94" y="22531"/>
                  <a:pt x="31" y="22531"/>
                  <a:pt x="0" y="22562"/>
                </a:cubicBezTo>
                <a:cubicBezTo>
                  <a:pt x="0" y="22562"/>
                  <a:pt x="0" y="22593"/>
                  <a:pt x="0" y="22593"/>
                </a:cubicBezTo>
                <a:cubicBezTo>
                  <a:pt x="31" y="22593"/>
                  <a:pt x="63" y="22624"/>
                  <a:pt x="94" y="22624"/>
                </a:cubicBezTo>
                <a:cubicBezTo>
                  <a:pt x="125" y="22718"/>
                  <a:pt x="31" y="22687"/>
                  <a:pt x="0" y="22687"/>
                </a:cubicBezTo>
                <a:cubicBezTo>
                  <a:pt x="0" y="22781"/>
                  <a:pt x="0" y="22843"/>
                  <a:pt x="0" y="22906"/>
                </a:cubicBezTo>
                <a:cubicBezTo>
                  <a:pt x="94" y="22937"/>
                  <a:pt x="219" y="22937"/>
                  <a:pt x="344" y="22937"/>
                </a:cubicBezTo>
                <a:cubicBezTo>
                  <a:pt x="469" y="22937"/>
                  <a:pt x="594" y="22968"/>
                  <a:pt x="719" y="22937"/>
                </a:cubicBezTo>
                <a:cubicBezTo>
                  <a:pt x="750" y="22999"/>
                  <a:pt x="813" y="22968"/>
                  <a:pt x="875" y="22968"/>
                </a:cubicBezTo>
                <a:cubicBezTo>
                  <a:pt x="875" y="22968"/>
                  <a:pt x="875" y="22968"/>
                  <a:pt x="875" y="22968"/>
                </a:cubicBezTo>
                <a:cubicBezTo>
                  <a:pt x="844" y="23062"/>
                  <a:pt x="688" y="23156"/>
                  <a:pt x="625" y="23187"/>
                </a:cubicBezTo>
                <a:cubicBezTo>
                  <a:pt x="469" y="23218"/>
                  <a:pt x="313" y="23187"/>
                  <a:pt x="188" y="23187"/>
                </a:cubicBezTo>
                <a:cubicBezTo>
                  <a:pt x="125" y="23187"/>
                  <a:pt x="63" y="23156"/>
                  <a:pt x="0" y="23187"/>
                </a:cubicBezTo>
                <a:cubicBezTo>
                  <a:pt x="0" y="23187"/>
                  <a:pt x="0" y="23187"/>
                  <a:pt x="0" y="23187"/>
                </a:cubicBezTo>
                <a:cubicBezTo>
                  <a:pt x="63" y="23249"/>
                  <a:pt x="125" y="23218"/>
                  <a:pt x="219" y="23218"/>
                </a:cubicBezTo>
                <a:cubicBezTo>
                  <a:pt x="313" y="23249"/>
                  <a:pt x="406" y="23249"/>
                  <a:pt x="531" y="23249"/>
                </a:cubicBezTo>
                <a:cubicBezTo>
                  <a:pt x="531" y="23249"/>
                  <a:pt x="563" y="23249"/>
                  <a:pt x="563" y="23249"/>
                </a:cubicBezTo>
                <a:cubicBezTo>
                  <a:pt x="563" y="23281"/>
                  <a:pt x="563" y="23312"/>
                  <a:pt x="531" y="23312"/>
                </a:cubicBezTo>
                <a:cubicBezTo>
                  <a:pt x="469" y="23312"/>
                  <a:pt x="438" y="23343"/>
                  <a:pt x="406" y="23406"/>
                </a:cubicBezTo>
                <a:cubicBezTo>
                  <a:pt x="375" y="23468"/>
                  <a:pt x="313" y="23499"/>
                  <a:pt x="250" y="23499"/>
                </a:cubicBezTo>
                <a:cubicBezTo>
                  <a:pt x="156" y="23468"/>
                  <a:pt x="63" y="23468"/>
                  <a:pt x="0" y="23468"/>
                </a:cubicBezTo>
                <a:cubicBezTo>
                  <a:pt x="0" y="23468"/>
                  <a:pt x="0" y="23499"/>
                  <a:pt x="0" y="23499"/>
                </a:cubicBezTo>
                <a:cubicBezTo>
                  <a:pt x="0" y="23499"/>
                  <a:pt x="0" y="23531"/>
                  <a:pt x="0" y="23531"/>
                </a:cubicBezTo>
                <a:cubicBezTo>
                  <a:pt x="63" y="23531"/>
                  <a:pt x="156" y="23499"/>
                  <a:pt x="250" y="23562"/>
                </a:cubicBezTo>
                <a:cubicBezTo>
                  <a:pt x="156" y="23656"/>
                  <a:pt x="63" y="23718"/>
                  <a:pt x="0" y="23781"/>
                </a:cubicBezTo>
                <a:cubicBezTo>
                  <a:pt x="0" y="23874"/>
                  <a:pt x="0" y="23999"/>
                  <a:pt x="0" y="24093"/>
                </a:cubicBezTo>
                <a:cubicBezTo>
                  <a:pt x="0" y="24374"/>
                  <a:pt x="0" y="24656"/>
                  <a:pt x="0" y="24937"/>
                </a:cubicBezTo>
                <a:cubicBezTo>
                  <a:pt x="0" y="24999"/>
                  <a:pt x="0" y="25093"/>
                  <a:pt x="0" y="25156"/>
                </a:cubicBezTo>
                <a:cubicBezTo>
                  <a:pt x="1844" y="25156"/>
                  <a:pt x="1844" y="25156"/>
                  <a:pt x="1844" y="25156"/>
                </a:cubicBezTo>
                <a:cubicBezTo>
                  <a:pt x="1844" y="25156"/>
                  <a:pt x="1875" y="25156"/>
                  <a:pt x="1875" y="25156"/>
                </a:cubicBezTo>
                <a:cubicBezTo>
                  <a:pt x="1906" y="25124"/>
                  <a:pt x="1938" y="25062"/>
                  <a:pt x="2000" y="24999"/>
                </a:cubicBezTo>
                <a:cubicBezTo>
                  <a:pt x="2000" y="24968"/>
                  <a:pt x="2031" y="24937"/>
                  <a:pt x="2063" y="24968"/>
                </a:cubicBezTo>
                <a:cubicBezTo>
                  <a:pt x="2063" y="24999"/>
                  <a:pt x="2125" y="24999"/>
                  <a:pt x="2125" y="25031"/>
                </a:cubicBezTo>
                <a:cubicBezTo>
                  <a:pt x="2125" y="25062"/>
                  <a:pt x="2125" y="25124"/>
                  <a:pt x="2094" y="25156"/>
                </a:cubicBezTo>
                <a:cubicBezTo>
                  <a:pt x="2781" y="25156"/>
                  <a:pt x="2781" y="25156"/>
                  <a:pt x="2781" y="25156"/>
                </a:cubicBezTo>
                <a:cubicBezTo>
                  <a:pt x="2781" y="25156"/>
                  <a:pt x="2813" y="25156"/>
                  <a:pt x="2813" y="25156"/>
                </a:cubicBezTo>
                <a:cubicBezTo>
                  <a:pt x="3375" y="25156"/>
                  <a:pt x="3375" y="25156"/>
                  <a:pt x="3375" y="25156"/>
                </a:cubicBezTo>
                <a:cubicBezTo>
                  <a:pt x="3313" y="25156"/>
                  <a:pt x="3313" y="25156"/>
                  <a:pt x="3344" y="25093"/>
                </a:cubicBezTo>
                <a:cubicBezTo>
                  <a:pt x="3344" y="25093"/>
                  <a:pt x="3375" y="25062"/>
                  <a:pt x="3375" y="25062"/>
                </a:cubicBezTo>
                <a:cubicBezTo>
                  <a:pt x="3375" y="25062"/>
                  <a:pt x="3375" y="25062"/>
                  <a:pt x="3375" y="25062"/>
                </a:cubicBezTo>
                <a:cubicBezTo>
                  <a:pt x="3406" y="25031"/>
                  <a:pt x="3438" y="24999"/>
                  <a:pt x="3500" y="24968"/>
                </a:cubicBezTo>
                <a:cubicBezTo>
                  <a:pt x="3531" y="24968"/>
                  <a:pt x="3563" y="24937"/>
                  <a:pt x="3594" y="24968"/>
                </a:cubicBezTo>
                <a:cubicBezTo>
                  <a:pt x="3656" y="24999"/>
                  <a:pt x="3563" y="25031"/>
                  <a:pt x="3563" y="25062"/>
                </a:cubicBezTo>
                <a:cubicBezTo>
                  <a:pt x="3563" y="25062"/>
                  <a:pt x="3563" y="25093"/>
                  <a:pt x="3563" y="25124"/>
                </a:cubicBezTo>
                <a:cubicBezTo>
                  <a:pt x="3531" y="25124"/>
                  <a:pt x="3500" y="25156"/>
                  <a:pt x="3469" y="25156"/>
                </a:cubicBezTo>
                <a:cubicBezTo>
                  <a:pt x="3563" y="25156"/>
                  <a:pt x="3563" y="25156"/>
                  <a:pt x="3563" y="25156"/>
                </a:cubicBezTo>
                <a:cubicBezTo>
                  <a:pt x="3563" y="25156"/>
                  <a:pt x="3563" y="25124"/>
                  <a:pt x="3563" y="25124"/>
                </a:cubicBezTo>
                <a:cubicBezTo>
                  <a:pt x="3563" y="25156"/>
                  <a:pt x="3594" y="25124"/>
                  <a:pt x="3594" y="25124"/>
                </a:cubicBezTo>
                <a:cubicBezTo>
                  <a:pt x="3625" y="25062"/>
                  <a:pt x="3719" y="24999"/>
                  <a:pt x="3750" y="24906"/>
                </a:cubicBezTo>
                <a:cubicBezTo>
                  <a:pt x="3750" y="24906"/>
                  <a:pt x="3750" y="24906"/>
                  <a:pt x="3750" y="24906"/>
                </a:cubicBezTo>
                <a:cubicBezTo>
                  <a:pt x="3750" y="24906"/>
                  <a:pt x="3750" y="24906"/>
                  <a:pt x="3750" y="24874"/>
                </a:cubicBezTo>
                <a:cubicBezTo>
                  <a:pt x="3781" y="24906"/>
                  <a:pt x="3781" y="24874"/>
                  <a:pt x="3813" y="24843"/>
                </a:cubicBezTo>
                <a:cubicBezTo>
                  <a:pt x="3813" y="24812"/>
                  <a:pt x="3844" y="24812"/>
                  <a:pt x="3875" y="24843"/>
                </a:cubicBezTo>
                <a:cubicBezTo>
                  <a:pt x="3906" y="24843"/>
                  <a:pt x="3875" y="24874"/>
                  <a:pt x="3875" y="24874"/>
                </a:cubicBezTo>
                <a:cubicBezTo>
                  <a:pt x="3813" y="24937"/>
                  <a:pt x="3813" y="25031"/>
                  <a:pt x="3719" y="25031"/>
                </a:cubicBezTo>
                <a:cubicBezTo>
                  <a:pt x="3688" y="25031"/>
                  <a:pt x="3656" y="25062"/>
                  <a:pt x="3688" y="25093"/>
                </a:cubicBezTo>
                <a:cubicBezTo>
                  <a:pt x="3688" y="25124"/>
                  <a:pt x="3688" y="25156"/>
                  <a:pt x="3656" y="25156"/>
                </a:cubicBezTo>
                <a:cubicBezTo>
                  <a:pt x="4500" y="25156"/>
                  <a:pt x="4500" y="25156"/>
                  <a:pt x="4500" y="25156"/>
                </a:cubicBezTo>
                <a:cubicBezTo>
                  <a:pt x="4500" y="25156"/>
                  <a:pt x="4531" y="25156"/>
                  <a:pt x="4531" y="25156"/>
                </a:cubicBezTo>
                <a:cubicBezTo>
                  <a:pt x="4813" y="25156"/>
                  <a:pt x="4813" y="25156"/>
                  <a:pt x="4813" y="25156"/>
                </a:cubicBezTo>
                <a:cubicBezTo>
                  <a:pt x="5313" y="24687"/>
                  <a:pt x="5875" y="24281"/>
                  <a:pt x="6469" y="23906"/>
                </a:cubicBezTo>
                <a:cubicBezTo>
                  <a:pt x="6969" y="23624"/>
                  <a:pt x="7500" y="23374"/>
                  <a:pt x="8063" y="23187"/>
                </a:cubicBezTo>
                <a:cubicBezTo>
                  <a:pt x="8250" y="23124"/>
                  <a:pt x="8438" y="23062"/>
                  <a:pt x="8625" y="23031"/>
                </a:cubicBezTo>
                <a:cubicBezTo>
                  <a:pt x="8719" y="22999"/>
                  <a:pt x="8781" y="22843"/>
                  <a:pt x="8750" y="22749"/>
                </a:cubicBezTo>
                <a:cubicBezTo>
                  <a:pt x="8750" y="22749"/>
                  <a:pt x="8750" y="22781"/>
                  <a:pt x="8719" y="22781"/>
                </a:cubicBezTo>
                <a:cubicBezTo>
                  <a:pt x="8719" y="22781"/>
                  <a:pt x="8719" y="22781"/>
                  <a:pt x="8719" y="22781"/>
                </a:cubicBezTo>
                <a:cubicBezTo>
                  <a:pt x="8656" y="22687"/>
                  <a:pt x="8719" y="22593"/>
                  <a:pt x="8688" y="22499"/>
                </a:cubicBezTo>
                <a:cubicBezTo>
                  <a:pt x="8656" y="22468"/>
                  <a:pt x="8656" y="22468"/>
                  <a:pt x="8625" y="22499"/>
                </a:cubicBezTo>
                <a:cubicBezTo>
                  <a:pt x="8656" y="22468"/>
                  <a:pt x="8656" y="22468"/>
                  <a:pt x="8688" y="22499"/>
                </a:cubicBezTo>
                <a:cubicBezTo>
                  <a:pt x="8750" y="22468"/>
                  <a:pt x="8813" y="22406"/>
                  <a:pt x="8875" y="22406"/>
                </a:cubicBezTo>
                <a:cubicBezTo>
                  <a:pt x="8906" y="22531"/>
                  <a:pt x="8844" y="22656"/>
                  <a:pt x="8875" y="22812"/>
                </a:cubicBezTo>
                <a:cubicBezTo>
                  <a:pt x="8875" y="22812"/>
                  <a:pt x="8875" y="22812"/>
                  <a:pt x="8844" y="22812"/>
                </a:cubicBezTo>
                <a:cubicBezTo>
                  <a:pt x="8813" y="22812"/>
                  <a:pt x="8781" y="22843"/>
                  <a:pt x="8781" y="22906"/>
                </a:cubicBezTo>
                <a:cubicBezTo>
                  <a:pt x="8813" y="22937"/>
                  <a:pt x="8844" y="22968"/>
                  <a:pt x="8906" y="22968"/>
                </a:cubicBezTo>
                <a:cubicBezTo>
                  <a:pt x="8938" y="22937"/>
                  <a:pt x="9000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031" y="22937"/>
                  <a:pt x="9031" y="22937"/>
                  <a:pt x="9031" y="22937"/>
                </a:cubicBezTo>
                <a:cubicBezTo>
                  <a:pt x="9281" y="22843"/>
                  <a:pt x="9563" y="22906"/>
                  <a:pt x="9781" y="22812"/>
                </a:cubicBezTo>
                <a:cubicBezTo>
                  <a:pt x="9781" y="22812"/>
                  <a:pt x="9781" y="22812"/>
                  <a:pt x="9781" y="22812"/>
                </a:cubicBezTo>
                <a:cubicBezTo>
                  <a:pt x="9875" y="22812"/>
                  <a:pt x="9938" y="22843"/>
                  <a:pt x="10000" y="22781"/>
                </a:cubicBezTo>
                <a:cubicBezTo>
                  <a:pt x="10031" y="22781"/>
                  <a:pt x="10063" y="22781"/>
                  <a:pt x="10094" y="22781"/>
                </a:cubicBezTo>
                <a:cubicBezTo>
                  <a:pt x="10063" y="22749"/>
                  <a:pt x="10031" y="22749"/>
                  <a:pt x="10000" y="22749"/>
                </a:cubicBezTo>
                <a:cubicBezTo>
                  <a:pt x="10000" y="22749"/>
                  <a:pt x="10031" y="22718"/>
                  <a:pt x="10031" y="22718"/>
                </a:cubicBezTo>
                <a:cubicBezTo>
                  <a:pt x="10063" y="22718"/>
                  <a:pt x="10094" y="22718"/>
                  <a:pt x="10125" y="22749"/>
                </a:cubicBezTo>
                <a:cubicBezTo>
                  <a:pt x="10125" y="22749"/>
                  <a:pt x="10125" y="22781"/>
                  <a:pt x="10094" y="22781"/>
                </a:cubicBezTo>
                <a:cubicBezTo>
                  <a:pt x="10125" y="22843"/>
                  <a:pt x="10156" y="22812"/>
                  <a:pt x="10219" y="22812"/>
                </a:cubicBezTo>
                <a:cubicBezTo>
                  <a:pt x="10719" y="22812"/>
                  <a:pt x="11188" y="22874"/>
                  <a:pt x="11688" y="22999"/>
                </a:cubicBezTo>
                <a:cubicBezTo>
                  <a:pt x="12563" y="23281"/>
                  <a:pt x="13313" y="23749"/>
                  <a:pt x="13906" y="24468"/>
                </a:cubicBezTo>
                <a:cubicBezTo>
                  <a:pt x="14094" y="24687"/>
                  <a:pt x="14250" y="24937"/>
                  <a:pt x="14375" y="25156"/>
                </a:cubicBezTo>
                <a:cubicBezTo>
                  <a:pt x="14500" y="25156"/>
                  <a:pt x="14500" y="25156"/>
                  <a:pt x="14500" y="25156"/>
                </a:cubicBezTo>
                <a:cubicBezTo>
                  <a:pt x="14500" y="25124"/>
                  <a:pt x="14469" y="25093"/>
                  <a:pt x="14531" y="25062"/>
                </a:cubicBezTo>
                <a:cubicBezTo>
                  <a:pt x="14563" y="25062"/>
                  <a:pt x="14531" y="25062"/>
                  <a:pt x="14531" y="25062"/>
                </a:cubicBezTo>
                <a:cubicBezTo>
                  <a:pt x="14469" y="25031"/>
                  <a:pt x="14469" y="24999"/>
                  <a:pt x="14500" y="24968"/>
                </a:cubicBezTo>
                <a:cubicBezTo>
                  <a:pt x="14469" y="24937"/>
                  <a:pt x="14469" y="24937"/>
                  <a:pt x="14469" y="24937"/>
                </a:cubicBezTo>
                <a:cubicBezTo>
                  <a:pt x="14500" y="24937"/>
                  <a:pt x="14500" y="24937"/>
                  <a:pt x="14500" y="24937"/>
                </a:cubicBezTo>
                <a:lnTo>
                  <a:pt x="14500" y="24937"/>
                </a:lnTo>
                <a:cubicBezTo>
                  <a:pt x="14500" y="24937"/>
                  <a:pt x="14500" y="24937"/>
                  <a:pt x="14500" y="24968"/>
                </a:cubicBezTo>
                <a:cubicBezTo>
                  <a:pt x="14438" y="24937"/>
                  <a:pt x="14406" y="24937"/>
                  <a:pt x="14438" y="24874"/>
                </a:cubicBezTo>
                <a:cubicBezTo>
                  <a:pt x="14469" y="24843"/>
                  <a:pt x="14500" y="24812"/>
                  <a:pt x="14531" y="24781"/>
                </a:cubicBezTo>
                <a:cubicBezTo>
                  <a:pt x="14563" y="24749"/>
                  <a:pt x="14594" y="24781"/>
                  <a:pt x="14625" y="24749"/>
                </a:cubicBezTo>
                <a:cubicBezTo>
                  <a:pt x="14625" y="24749"/>
                  <a:pt x="14625" y="24749"/>
                  <a:pt x="14625" y="24749"/>
                </a:cubicBezTo>
                <a:cubicBezTo>
                  <a:pt x="14688" y="24781"/>
                  <a:pt x="14656" y="24843"/>
                  <a:pt x="14656" y="24874"/>
                </a:cubicBezTo>
                <a:cubicBezTo>
                  <a:pt x="14688" y="24937"/>
                  <a:pt x="14719" y="24999"/>
                  <a:pt x="14688" y="25062"/>
                </a:cubicBezTo>
                <a:cubicBezTo>
                  <a:pt x="14625" y="25062"/>
                  <a:pt x="14625" y="25124"/>
                  <a:pt x="14563" y="25156"/>
                </a:cubicBezTo>
                <a:cubicBezTo>
                  <a:pt x="14563" y="25156"/>
                  <a:pt x="14563" y="25156"/>
                  <a:pt x="14563" y="25156"/>
                </a:cubicBezTo>
                <a:cubicBezTo>
                  <a:pt x="15000" y="25156"/>
                  <a:pt x="15000" y="25156"/>
                  <a:pt x="15000" y="25156"/>
                </a:cubicBezTo>
                <a:cubicBezTo>
                  <a:pt x="14969" y="25124"/>
                  <a:pt x="14938" y="25031"/>
                  <a:pt x="14938" y="24968"/>
                </a:cubicBezTo>
                <a:cubicBezTo>
                  <a:pt x="14906" y="24812"/>
                  <a:pt x="14844" y="24656"/>
                  <a:pt x="14813" y="24499"/>
                </a:cubicBezTo>
                <a:cubicBezTo>
                  <a:pt x="14813" y="24437"/>
                  <a:pt x="14781" y="24374"/>
                  <a:pt x="14875" y="24343"/>
                </a:cubicBezTo>
                <a:cubicBezTo>
                  <a:pt x="14875" y="24343"/>
                  <a:pt x="14875" y="24281"/>
                  <a:pt x="14906" y="24249"/>
                </a:cubicBezTo>
                <a:cubicBezTo>
                  <a:pt x="14906" y="24249"/>
                  <a:pt x="14875" y="24218"/>
                  <a:pt x="14844" y="24218"/>
                </a:cubicBezTo>
                <a:cubicBezTo>
                  <a:pt x="14875" y="24218"/>
                  <a:pt x="14906" y="24249"/>
                  <a:pt x="14906" y="24249"/>
                </a:cubicBezTo>
                <a:cubicBezTo>
                  <a:pt x="14938" y="24249"/>
                  <a:pt x="14969" y="24218"/>
                  <a:pt x="15000" y="24218"/>
                </a:cubicBezTo>
                <a:cubicBezTo>
                  <a:pt x="15031" y="24281"/>
                  <a:pt x="15094" y="24249"/>
                  <a:pt x="15125" y="24281"/>
                </a:cubicBezTo>
                <a:cubicBezTo>
                  <a:pt x="15094" y="24312"/>
                  <a:pt x="15000" y="24406"/>
                  <a:pt x="15156" y="24406"/>
                </a:cubicBezTo>
                <a:cubicBezTo>
                  <a:pt x="15188" y="24406"/>
                  <a:pt x="15156" y="24437"/>
                  <a:pt x="15188" y="24437"/>
                </a:cubicBezTo>
                <a:cubicBezTo>
                  <a:pt x="15188" y="24437"/>
                  <a:pt x="15219" y="24406"/>
                  <a:pt x="15219" y="24374"/>
                </a:cubicBezTo>
                <a:cubicBezTo>
                  <a:pt x="15313" y="24468"/>
                  <a:pt x="15344" y="24593"/>
                  <a:pt x="15406" y="24718"/>
                </a:cubicBezTo>
                <a:cubicBezTo>
                  <a:pt x="15406" y="24718"/>
                  <a:pt x="15313" y="24687"/>
                  <a:pt x="15375" y="24749"/>
                </a:cubicBezTo>
                <a:cubicBezTo>
                  <a:pt x="15375" y="24781"/>
                  <a:pt x="15375" y="24843"/>
                  <a:pt x="15406" y="24874"/>
                </a:cubicBezTo>
                <a:cubicBezTo>
                  <a:pt x="15375" y="24843"/>
                  <a:pt x="15375" y="24781"/>
                  <a:pt x="15375" y="24749"/>
                </a:cubicBezTo>
                <a:cubicBezTo>
                  <a:pt x="15344" y="24874"/>
                  <a:pt x="15281" y="24781"/>
                  <a:pt x="15250" y="24781"/>
                </a:cubicBezTo>
                <a:cubicBezTo>
                  <a:pt x="15250" y="24874"/>
                  <a:pt x="15250" y="24874"/>
                  <a:pt x="15344" y="24874"/>
                </a:cubicBezTo>
                <a:cubicBezTo>
                  <a:pt x="15375" y="24874"/>
                  <a:pt x="15375" y="24874"/>
                  <a:pt x="15406" y="24906"/>
                </a:cubicBezTo>
                <a:cubicBezTo>
                  <a:pt x="15406" y="24937"/>
                  <a:pt x="15406" y="24937"/>
                  <a:pt x="15438" y="24906"/>
                </a:cubicBezTo>
                <a:cubicBezTo>
                  <a:pt x="15438" y="24906"/>
                  <a:pt x="15469" y="24843"/>
                  <a:pt x="15500" y="24874"/>
                </a:cubicBezTo>
                <a:cubicBezTo>
                  <a:pt x="15531" y="24906"/>
                  <a:pt x="15563" y="24968"/>
                  <a:pt x="15563" y="24999"/>
                </a:cubicBezTo>
                <a:cubicBezTo>
                  <a:pt x="15563" y="25031"/>
                  <a:pt x="15531" y="25031"/>
                  <a:pt x="15500" y="25031"/>
                </a:cubicBezTo>
                <a:cubicBezTo>
                  <a:pt x="15500" y="25031"/>
                  <a:pt x="15500" y="25031"/>
                  <a:pt x="15500" y="25031"/>
                </a:cubicBezTo>
                <a:cubicBezTo>
                  <a:pt x="15406" y="25093"/>
                  <a:pt x="15313" y="25124"/>
                  <a:pt x="15219" y="25156"/>
                </a:cubicBezTo>
                <a:cubicBezTo>
                  <a:pt x="15563" y="25156"/>
                  <a:pt x="15563" y="25156"/>
                  <a:pt x="15563" y="25156"/>
                </a:cubicBezTo>
                <a:cubicBezTo>
                  <a:pt x="15531" y="25156"/>
                  <a:pt x="15531" y="25124"/>
                  <a:pt x="15531" y="25124"/>
                </a:cubicBezTo>
                <a:cubicBezTo>
                  <a:pt x="15531" y="25093"/>
                  <a:pt x="15531" y="25062"/>
                  <a:pt x="15563" y="25062"/>
                </a:cubicBezTo>
                <a:cubicBezTo>
                  <a:pt x="15625" y="25062"/>
                  <a:pt x="15594" y="25093"/>
                  <a:pt x="15625" y="25124"/>
                </a:cubicBezTo>
                <a:cubicBezTo>
                  <a:pt x="15625" y="25124"/>
                  <a:pt x="15594" y="25156"/>
                  <a:pt x="15594" y="25156"/>
                </a:cubicBezTo>
                <a:cubicBezTo>
                  <a:pt x="17188" y="25156"/>
                  <a:pt x="17188" y="25156"/>
                  <a:pt x="17188" y="25156"/>
                </a:cubicBezTo>
                <a:cubicBezTo>
                  <a:pt x="17250" y="25156"/>
                  <a:pt x="17219" y="25031"/>
                  <a:pt x="17219" y="24999"/>
                </a:cubicBezTo>
                <a:cubicBezTo>
                  <a:pt x="17250" y="24937"/>
                  <a:pt x="17188" y="24906"/>
                  <a:pt x="17188" y="24906"/>
                </a:cubicBezTo>
                <a:cubicBezTo>
                  <a:pt x="17125" y="24937"/>
                  <a:pt x="17094" y="24843"/>
                  <a:pt x="17063" y="24906"/>
                </a:cubicBezTo>
                <a:cubicBezTo>
                  <a:pt x="17031" y="24937"/>
                  <a:pt x="17000" y="24937"/>
                  <a:pt x="16969" y="24906"/>
                </a:cubicBezTo>
                <a:cubicBezTo>
                  <a:pt x="16938" y="24781"/>
                  <a:pt x="16938" y="24624"/>
                  <a:pt x="16875" y="24499"/>
                </a:cubicBezTo>
                <a:cubicBezTo>
                  <a:pt x="16875" y="24499"/>
                  <a:pt x="16875" y="24468"/>
                  <a:pt x="16875" y="24468"/>
                </a:cubicBezTo>
                <a:cubicBezTo>
                  <a:pt x="17000" y="24437"/>
                  <a:pt x="16938" y="24374"/>
                  <a:pt x="16906" y="24343"/>
                </a:cubicBezTo>
                <a:cubicBezTo>
                  <a:pt x="16813" y="24249"/>
                  <a:pt x="16813" y="24156"/>
                  <a:pt x="16813" y="24062"/>
                </a:cubicBezTo>
                <a:cubicBezTo>
                  <a:pt x="16781" y="24031"/>
                  <a:pt x="16813" y="23999"/>
                  <a:pt x="16781" y="23968"/>
                </a:cubicBezTo>
                <a:cubicBezTo>
                  <a:pt x="16750" y="23968"/>
                  <a:pt x="16781" y="23937"/>
                  <a:pt x="16781" y="23937"/>
                </a:cubicBezTo>
                <a:cubicBezTo>
                  <a:pt x="16813" y="23906"/>
                  <a:pt x="16813" y="23906"/>
                  <a:pt x="16844" y="23937"/>
                </a:cubicBezTo>
                <a:cubicBezTo>
                  <a:pt x="16875" y="23968"/>
                  <a:pt x="16938" y="23968"/>
                  <a:pt x="16938" y="23906"/>
                </a:cubicBezTo>
                <a:cubicBezTo>
                  <a:pt x="16938" y="23906"/>
                  <a:pt x="16938" y="23906"/>
                  <a:pt x="16938" y="23906"/>
                </a:cubicBezTo>
                <a:cubicBezTo>
                  <a:pt x="17031" y="23874"/>
                  <a:pt x="17063" y="23937"/>
                  <a:pt x="17094" y="23968"/>
                </a:cubicBezTo>
                <a:cubicBezTo>
                  <a:pt x="17125" y="23999"/>
                  <a:pt x="17156" y="24031"/>
                  <a:pt x="17188" y="24062"/>
                </a:cubicBezTo>
                <a:cubicBezTo>
                  <a:pt x="17188" y="24031"/>
                  <a:pt x="17188" y="24031"/>
                  <a:pt x="17219" y="24031"/>
                </a:cubicBezTo>
                <a:cubicBezTo>
                  <a:pt x="17219" y="23937"/>
                  <a:pt x="17281" y="23999"/>
                  <a:pt x="17313" y="23999"/>
                </a:cubicBezTo>
                <a:cubicBezTo>
                  <a:pt x="17344" y="23999"/>
                  <a:pt x="17375" y="24031"/>
                  <a:pt x="17344" y="24093"/>
                </a:cubicBezTo>
                <a:cubicBezTo>
                  <a:pt x="17344" y="24093"/>
                  <a:pt x="17375" y="24124"/>
                  <a:pt x="17313" y="24156"/>
                </a:cubicBezTo>
                <a:cubicBezTo>
                  <a:pt x="17313" y="24156"/>
                  <a:pt x="17313" y="24124"/>
                  <a:pt x="17281" y="24124"/>
                </a:cubicBezTo>
                <a:cubicBezTo>
                  <a:pt x="17250" y="24093"/>
                  <a:pt x="17219" y="24062"/>
                  <a:pt x="17219" y="24031"/>
                </a:cubicBezTo>
                <a:cubicBezTo>
                  <a:pt x="17188" y="24031"/>
                  <a:pt x="17188" y="24031"/>
                  <a:pt x="17188" y="24062"/>
                </a:cubicBezTo>
                <a:cubicBezTo>
                  <a:pt x="17188" y="24062"/>
                  <a:pt x="17188" y="24062"/>
                  <a:pt x="17219" y="24093"/>
                </a:cubicBezTo>
                <a:cubicBezTo>
                  <a:pt x="17188" y="24093"/>
                  <a:pt x="17188" y="24124"/>
                  <a:pt x="17188" y="24124"/>
                </a:cubicBezTo>
                <a:cubicBezTo>
                  <a:pt x="17094" y="24156"/>
                  <a:pt x="17063" y="24187"/>
                  <a:pt x="17156" y="24218"/>
                </a:cubicBezTo>
                <a:cubicBezTo>
                  <a:pt x="17219" y="24249"/>
                  <a:pt x="17219" y="24281"/>
                  <a:pt x="17156" y="24312"/>
                </a:cubicBezTo>
                <a:cubicBezTo>
                  <a:pt x="17094" y="24343"/>
                  <a:pt x="17031" y="24312"/>
                  <a:pt x="17000" y="24374"/>
                </a:cubicBezTo>
                <a:cubicBezTo>
                  <a:pt x="17031" y="24406"/>
                  <a:pt x="17063" y="24406"/>
                  <a:pt x="17094" y="24374"/>
                </a:cubicBezTo>
                <a:cubicBezTo>
                  <a:pt x="17125" y="24343"/>
                  <a:pt x="17188" y="24281"/>
                  <a:pt x="17281" y="24312"/>
                </a:cubicBezTo>
                <a:cubicBezTo>
                  <a:pt x="17281" y="24343"/>
                  <a:pt x="17281" y="24343"/>
                  <a:pt x="17281" y="24343"/>
                </a:cubicBezTo>
                <a:cubicBezTo>
                  <a:pt x="17250" y="24468"/>
                  <a:pt x="17188" y="24593"/>
                  <a:pt x="17219" y="24749"/>
                </a:cubicBezTo>
                <a:cubicBezTo>
                  <a:pt x="17250" y="24656"/>
                  <a:pt x="17219" y="24562"/>
                  <a:pt x="17281" y="24531"/>
                </a:cubicBezTo>
                <a:cubicBezTo>
                  <a:pt x="17313" y="24562"/>
                  <a:pt x="17281" y="24624"/>
                  <a:pt x="17313" y="24624"/>
                </a:cubicBezTo>
                <a:cubicBezTo>
                  <a:pt x="17375" y="24624"/>
                  <a:pt x="17313" y="24562"/>
                  <a:pt x="17344" y="24531"/>
                </a:cubicBezTo>
                <a:cubicBezTo>
                  <a:pt x="17344" y="24499"/>
                  <a:pt x="17313" y="24499"/>
                  <a:pt x="17313" y="24499"/>
                </a:cubicBezTo>
                <a:cubicBezTo>
                  <a:pt x="17281" y="24468"/>
                  <a:pt x="17250" y="24406"/>
                  <a:pt x="17313" y="24374"/>
                </a:cubicBezTo>
                <a:cubicBezTo>
                  <a:pt x="17313" y="24374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344" y="24406"/>
                  <a:pt x="17344" y="24406"/>
                  <a:pt x="17344" y="24406"/>
                </a:cubicBezTo>
                <a:cubicBezTo>
                  <a:pt x="17406" y="24437"/>
                  <a:pt x="17469" y="24531"/>
                  <a:pt x="17563" y="24562"/>
                </a:cubicBezTo>
                <a:cubicBezTo>
                  <a:pt x="17563" y="24593"/>
                  <a:pt x="17563" y="24624"/>
                  <a:pt x="17594" y="24593"/>
                </a:cubicBezTo>
                <a:cubicBezTo>
                  <a:pt x="17594" y="24593"/>
                  <a:pt x="17594" y="24562"/>
                  <a:pt x="17563" y="24562"/>
                </a:cubicBezTo>
                <a:cubicBezTo>
                  <a:pt x="17563" y="24499"/>
                  <a:pt x="17438" y="24499"/>
                  <a:pt x="17469" y="24374"/>
                </a:cubicBezTo>
                <a:cubicBezTo>
                  <a:pt x="17531" y="24437"/>
                  <a:pt x="17594" y="24468"/>
                  <a:pt x="17625" y="24562"/>
                </a:cubicBezTo>
                <a:cubicBezTo>
                  <a:pt x="17656" y="24562"/>
                  <a:pt x="17656" y="24593"/>
                  <a:pt x="17688" y="24562"/>
                </a:cubicBezTo>
                <a:cubicBezTo>
                  <a:pt x="17688" y="24562"/>
                  <a:pt x="17688" y="24562"/>
                  <a:pt x="17688" y="24531"/>
                </a:cubicBezTo>
                <a:cubicBezTo>
                  <a:pt x="17625" y="24468"/>
                  <a:pt x="17563" y="24374"/>
                  <a:pt x="17469" y="24343"/>
                </a:cubicBezTo>
                <a:cubicBezTo>
                  <a:pt x="17469" y="24312"/>
                  <a:pt x="17469" y="24312"/>
                  <a:pt x="17469" y="24312"/>
                </a:cubicBezTo>
                <a:cubicBezTo>
                  <a:pt x="17469" y="24187"/>
                  <a:pt x="17594" y="24218"/>
                  <a:pt x="17656" y="24156"/>
                </a:cubicBezTo>
                <a:cubicBezTo>
                  <a:pt x="17563" y="24124"/>
                  <a:pt x="17531" y="24187"/>
                  <a:pt x="17500" y="24218"/>
                </a:cubicBezTo>
                <a:cubicBezTo>
                  <a:pt x="17406" y="24187"/>
                  <a:pt x="17406" y="24124"/>
                  <a:pt x="17406" y="24062"/>
                </a:cubicBezTo>
                <a:cubicBezTo>
                  <a:pt x="17438" y="23999"/>
                  <a:pt x="17469" y="23937"/>
                  <a:pt x="17469" y="23843"/>
                </a:cubicBezTo>
                <a:cubicBezTo>
                  <a:pt x="17469" y="23781"/>
                  <a:pt x="17469" y="23718"/>
                  <a:pt x="17469" y="23656"/>
                </a:cubicBezTo>
                <a:cubicBezTo>
                  <a:pt x="17469" y="23656"/>
                  <a:pt x="17469" y="23624"/>
                  <a:pt x="17469" y="23624"/>
                </a:cubicBezTo>
                <a:lnTo>
                  <a:pt x="17469" y="23624"/>
                </a:lnTo>
                <a:cubicBezTo>
                  <a:pt x="17500" y="23656"/>
                  <a:pt x="17500" y="23656"/>
                  <a:pt x="17469" y="23656"/>
                </a:cubicBezTo>
                <a:cubicBezTo>
                  <a:pt x="17438" y="23843"/>
                  <a:pt x="17313" y="23781"/>
                  <a:pt x="17188" y="23781"/>
                </a:cubicBezTo>
                <a:cubicBezTo>
                  <a:pt x="17219" y="23874"/>
                  <a:pt x="17281" y="23843"/>
                  <a:pt x="17375" y="23843"/>
                </a:cubicBezTo>
                <a:cubicBezTo>
                  <a:pt x="17313" y="23906"/>
                  <a:pt x="17281" y="23968"/>
                  <a:pt x="17188" y="23937"/>
                </a:cubicBezTo>
                <a:cubicBezTo>
                  <a:pt x="17125" y="23906"/>
                  <a:pt x="17063" y="23843"/>
                  <a:pt x="17000" y="23812"/>
                </a:cubicBezTo>
                <a:cubicBezTo>
                  <a:pt x="17000" y="23812"/>
                  <a:pt x="17000" y="23812"/>
                  <a:pt x="17000" y="23843"/>
                </a:cubicBezTo>
                <a:cubicBezTo>
                  <a:pt x="17000" y="23812"/>
                  <a:pt x="17000" y="23812"/>
                  <a:pt x="17000" y="23812"/>
                </a:cubicBezTo>
                <a:cubicBezTo>
                  <a:pt x="16938" y="23749"/>
                  <a:pt x="16938" y="23656"/>
                  <a:pt x="16813" y="23656"/>
                </a:cubicBezTo>
                <a:cubicBezTo>
                  <a:pt x="16813" y="23656"/>
                  <a:pt x="16813" y="23656"/>
                  <a:pt x="16813" y="23624"/>
                </a:cubicBezTo>
                <a:cubicBezTo>
                  <a:pt x="16813" y="23593"/>
                  <a:pt x="16813" y="23593"/>
                  <a:pt x="16750" y="23562"/>
                </a:cubicBezTo>
                <a:cubicBezTo>
                  <a:pt x="16719" y="23562"/>
                  <a:pt x="16688" y="23499"/>
                  <a:pt x="16719" y="23468"/>
                </a:cubicBezTo>
                <a:cubicBezTo>
                  <a:pt x="16719" y="23437"/>
                  <a:pt x="16719" y="23374"/>
                  <a:pt x="16781" y="23343"/>
                </a:cubicBezTo>
                <a:cubicBezTo>
                  <a:pt x="16813" y="23343"/>
                  <a:pt x="16813" y="23312"/>
                  <a:pt x="16813" y="23281"/>
                </a:cubicBezTo>
                <a:cubicBezTo>
                  <a:pt x="16750" y="23218"/>
                  <a:pt x="16781" y="23218"/>
                  <a:pt x="16844" y="23187"/>
                </a:cubicBezTo>
                <a:cubicBezTo>
                  <a:pt x="16969" y="23093"/>
                  <a:pt x="17125" y="23093"/>
                  <a:pt x="17250" y="22968"/>
                </a:cubicBezTo>
                <a:cubicBezTo>
                  <a:pt x="17281" y="22937"/>
                  <a:pt x="17313" y="22937"/>
                  <a:pt x="17344" y="22999"/>
                </a:cubicBezTo>
                <a:cubicBezTo>
                  <a:pt x="17375" y="22999"/>
                  <a:pt x="17406" y="23031"/>
                  <a:pt x="17438" y="22999"/>
                </a:cubicBezTo>
                <a:cubicBezTo>
                  <a:pt x="17500" y="22999"/>
                  <a:pt x="17563" y="22999"/>
                  <a:pt x="17594" y="23031"/>
                </a:cubicBezTo>
                <a:cubicBezTo>
                  <a:pt x="17625" y="23093"/>
                  <a:pt x="17656" y="23124"/>
                  <a:pt x="17688" y="23187"/>
                </a:cubicBezTo>
                <a:cubicBezTo>
                  <a:pt x="17719" y="23374"/>
                  <a:pt x="17781" y="23562"/>
                  <a:pt x="17813" y="23749"/>
                </a:cubicBezTo>
                <a:cubicBezTo>
                  <a:pt x="17844" y="23812"/>
                  <a:pt x="17844" y="23843"/>
                  <a:pt x="17781" y="23843"/>
                </a:cubicBezTo>
                <a:cubicBezTo>
                  <a:pt x="17719" y="23874"/>
                  <a:pt x="17750" y="23906"/>
                  <a:pt x="17719" y="23968"/>
                </a:cubicBezTo>
                <a:cubicBezTo>
                  <a:pt x="17688" y="23999"/>
                  <a:pt x="17781" y="23999"/>
                  <a:pt x="17781" y="24031"/>
                </a:cubicBezTo>
                <a:cubicBezTo>
                  <a:pt x="17781" y="24093"/>
                  <a:pt x="17906" y="24062"/>
                  <a:pt x="17906" y="24156"/>
                </a:cubicBezTo>
                <a:cubicBezTo>
                  <a:pt x="17906" y="24218"/>
                  <a:pt x="17938" y="24281"/>
                  <a:pt x="17938" y="24374"/>
                </a:cubicBezTo>
                <a:cubicBezTo>
                  <a:pt x="17969" y="24531"/>
                  <a:pt x="18031" y="24687"/>
                  <a:pt x="18031" y="24843"/>
                </a:cubicBezTo>
                <a:cubicBezTo>
                  <a:pt x="18000" y="24843"/>
                  <a:pt x="17969" y="24812"/>
                  <a:pt x="17969" y="24812"/>
                </a:cubicBezTo>
                <a:cubicBezTo>
                  <a:pt x="17906" y="24749"/>
                  <a:pt x="17844" y="24687"/>
                  <a:pt x="17750" y="24656"/>
                </a:cubicBezTo>
                <a:lnTo>
                  <a:pt x="17750" y="24656"/>
                </a:lnTo>
                <a:cubicBezTo>
                  <a:pt x="17813" y="24749"/>
                  <a:pt x="17875" y="24812"/>
                  <a:pt x="17938" y="24874"/>
                </a:cubicBezTo>
                <a:cubicBezTo>
                  <a:pt x="17938" y="24874"/>
                  <a:pt x="17969" y="24874"/>
                  <a:pt x="17969" y="24874"/>
                </a:cubicBezTo>
                <a:cubicBezTo>
                  <a:pt x="17969" y="24906"/>
                  <a:pt x="17969" y="24906"/>
                  <a:pt x="17969" y="24937"/>
                </a:cubicBezTo>
                <a:cubicBezTo>
                  <a:pt x="17938" y="24968"/>
                  <a:pt x="17938" y="24999"/>
                  <a:pt x="17938" y="25031"/>
                </a:cubicBezTo>
                <a:cubicBezTo>
                  <a:pt x="17844" y="25031"/>
                  <a:pt x="17781" y="25062"/>
                  <a:pt x="17688" y="25062"/>
                </a:cubicBezTo>
                <a:cubicBezTo>
                  <a:pt x="17625" y="25031"/>
                  <a:pt x="17531" y="24999"/>
                  <a:pt x="17469" y="25093"/>
                </a:cubicBezTo>
                <a:cubicBezTo>
                  <a:pt x="17438" y="25093"/>
                  <a:pt x="17406" y="25093"/>
                  <a:pt x="17406" y="25093"/>
                </a:cubicBezTo>
                <a:cubicBezTo>
                  <a:pt x="17406" y="25124"/>
                  <a:pt x="17438" y="25156"/>
                  <a:pt x="17438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469" y="25156"/>
                  <a:pt x="17469" y="25156"/>
                  <a:pt x="17469" y="25156"/>
                </a:cubicBezTo>
                <a:cubicBezTo>
                  <a:pt x="17500" y="25156"/>
                  <a:pt x="17500" y="25156"/>
                  <a:pt x="17531" y="25156"/>
                </a:cubicBezTo>
                <a:cubicBezTo>
                  <a:pt x="17750" y="25156"/>
                  <a:pt x="17750" y="25156"/>
                  <a:pt x="17750" y="25156"/>
                </a:cubicBezTo>
                <a:cubicBezTo>
                  <a:pt x="17719" y="25156"/>
                  <a:pt x="17719" y="25156"/>
                  <a:pt x="17719" y="25156"/>
                </a:cubicBezTo>
                <a:cubicBezTo>
                  <a:pt x="17719" y="25156"/>
                  <a:pt x="17719" y="25124"/>
                  <a:pt x="17719" y="25124"/>
                </a:cubicBezTo>
                <a:cubicBezTo>
                  <a:pt x="17719" y="25093"/>
                  <a:pt x="17750" y="25124"/>
                  <a:pt x="17750" y="25124"/>
                </a:cubicBezTo>
                <a:cubicBezTo>
                  <a:pt x="17813" y="25124"/>
                  <a:pt x="17844" y="25031"/>
                  <a:pt x="17906" y="25124"/>
                </a:cubicBezTo>
                <a:cubicBezTo>
                  <a:pt x="17844" y="25124"/>
                  <a:pt x="17813" y="25124"/>
                  <a:pt x="17781" y="25156"/>
                </a:cubicBezTo>
                <a:cubicBezTo>
                  <a:pt x="17781" y="25156"/>
                  <a:pt x="17781" y="25156"/>
                  <a:pt x="17781" y="25156"/>
                </a:cubicBezTo>
                <a:cubicBezTo>
                  <a:pt x="18313" y="25156"/>
                  <a:pt x="18313" y="25156"/>
                  <a:pt x="18313" y="25156"/>
                </a:cubicBezTo>
                <a:cubicBezTo>
                  <a:pt x="18281" y="25093"/>
                  <a:pt x="18313" y="25031"/>
                  <a:pt x="18250" y="24999"/>
                </a:cubicBezTo>
                <a:cubicBezTo>
                  <a:pt x="18250" y="24999"/>
                  <a:pt x="18281" y="24968"/>
                  <a:pt x="18281" y="24968"/>
                </a:cubicBezTo>
                <a:cubicBezTo>
                  <a:pt x="18313" y="24968"/>
                  <a:pt x="18313" y="24999"/>
                  <a:pt x="18313" y="24999"/>
                </a:cubicBezTo>
                <a:cubicBezTo>
                  <a:pt x="18344" y="25062"/>
                  <a:pt x="18344" y="25093"/>
                  <a:pt x="18344" y="25156"/>
                </a:cubicBezTo>
                <a:cubicBezTo>
                  <a:pt x="18469" y="25156"/>
                  <a:pt x="18469" y="25156"/>
                  <a:pt x="18469" y="25156"/>
                </a:cubicBezTo>
                <a:cubicBezTo>
                  <a:pt x="18469" y="24718"/>
                  <a:pt x="18469" y="24281"/>
                  <a:pt x="18563" y="23843"/>
                </a:cubicBezTo>
                <a:cubicBezTo>
                  <a:pt x="18625" y="23437"/>
                  <a:pt x="18719" y="23062"/>
                  <a:pt x="18906" y="22687"/>
                </a:cubicBezTo>
                <a:cubicBezTo>
                  <a:pt x="19219" y="22156"/>
                  <a:pt x="19625" y="21718"/>
                  <a:pt x="20188" y="21499"/>
                </a:cubicBezTo>
                <a:cubicBezTo>
                  <a:pt x="20344" y="21437"/>
                  <a:pt x="20500" y="21406"/>
                  <a:pt x="20625" y="21374"/>
                </a:cubicBezTo>
                <a:cubicBezTo>
                  <a:pt x="20750" y="21343"/>
                  <a:pt x="20844" y="21406"/>
                  <a:pt x="20938" y="21437"/>
                </a:cubicBezTo>
                <a:cubicBezTo>
                  <a:pt x="21438" y="21656"/>
                  <a:pt x="21906" y="21937"/>
                  <a:pt x="22375" y="22249"/>
                </a:cubicBezTo>
                <a:cubicBezTo>
                  <a:pt x="22688" y="22468"/>
                  <a:pt x="23031" y="22718"/>
                  <a:pt x="23344" y="22968"/>
                </a:cubicBezTo>
                <a:cubicBezTo>
                  <a:pt x="23563" y="23156"/>
                  <a:pt x="23781" y="23343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31" y="23562"/>
                  <a:pt x="24031" y="23562"/>
                </a:cubicBezTo>
                <a:cubicBezTo>
                  <a:pt x="24031" y="23562"/>
                  <a:pt x="24063" y="23562"/>
                  <a:pt x="24063" y="23593"/>
                </a:cubicBezTo>
                <a:cubicBezTo>
                  <a:pt x="24063" y="23593"/>
                  <a:pt x="24063" y="23593"/>
                  <a:pt x="24063" y="23593"/>
                </a:cubicBezTo>
                <a:cubicBezTo>
                  <a:pt x="24219" y="23749"/>
                  <a:pt x="24406" y="23937"/>
                  <a:pt x="24594" y="24093"/>
                </a:cubicBezTo>
                <a:cubicBezTo>
                  <a:pt x="24656" y="24156"/>
                  <a:pt x="24719" y="24218"/>
                  <a:pt x="24781" y="24281"/>
                </a:cubicBezTo>
                <a:cubicBezTo>
                  <a:pt x="24781" y="24281"/>
                  <a:pt x="24781" y="24281"/>
                  <a:pt x="24781" y="24281"/>
                </a:cubicBezTo>
                <a:cubicBezTo>
                  <a:pt x="24781" y="24312"/>
                  <a:pt x="24813" y="24312"/>
                  <a:pt x="24844" y="24312"/>
                </a:cubicBezTo>
                <a:cubicBezTo>
                  <a:pt x="24844" y="24312"/>
                  <a:pt x="24844" y="24312"/>
                  <a:pt x="24813" y="24281"/>
                </a:cubicBezTo>
                <a:cubicBezTo>
                  <a:pt x="24844" y="24312"/>
                  <a:pt x="24844" y="24312"/>
                  <a:pt x="24844" y="24312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44" y="24343"/>
                  <a:pt x="24844" y="24343"/>
                  <a:pt x="24844" y="24343"/>
                </a:cubicBezTo>
                <a:cubicBezTo>
                  <a:pt x="24875" y="24406"/>
                  <a:pt x="24938" y="24437"/>
                  <a:pt x="25000" y="24499"/>
                </a:cubicBezTo>
                <a:cubicBezTo>
                  <a:pt x="25000" y="24499"/>
                  <a:pt x="25031" y="24499"/>
                  <a:pt x="25031" y="24531"/>
                </a:cubicBezTo>
                <a:cubicBezTo>
                  <a:pt x="25031" y="24531"/>
                  <a:pt x="25031" y="24531"/>
                  <a:pt x="25031" y="24531"/>
                </a:cubicBezTo>
                <a:cubicBezTo>
                  <a:pt x="25125" y="24656"/>
                  <a:pt x="25250" y="24781"/>
                  <a:pt x="25375" y="24906"/>
                </a:cubicBezTo>
                <a:cubicBezTo>
                  <a:pt x="25375" y="24906"/>
                  <a:pt x="25406" y="24906"/>
                  <a:pt x="25406" y="24937"/>
                </a:cubicBezTo>
                <a:cubicBezTo>
                  <a:pt x="25406" y="24937"/>
                  <a:pt x="25406" y="24937"/>
                  <a:pt x="25406" y="24937"/>
                </a:cubicBezTo>
                <a:cubicBezTo>
                  <a:pt x="25469" y="24999"/>
                  <a:pt x="25563" y="25093"/>
                  <a:pt x="25625" y="25156"/>
                </a:cubicBezTo>
                <a:cubicBezTo>
                  <a:pt x="25594" y="25124"/>
                  <a:pt x="25563" y="25062"/>
                  <a:pt x="25531" y="25031"/>
                </a:cubicBezTo>
                <a:cubicBezTo>
                  <a:pt x="25563" y="25062"/>
                  <a:pt x="25594" y="25124"/>
                  <a:pt x="25625" y="25156"/>
                </a:cubicBezTo>
                <a:cubicBezTo>
                  <a:pt x="25625" y="25156"/>
                  <a:pt x="25625" y="25156"/>
                  <a:pt x="25625" y="25156"/>
                </a:cubicBezTo>
                <a:cubicBezTo>
                  <a:pt x="30219" y="25156"/>
                  <a:pt x="30219" y="25156"/>
                  <a:pt x="30219" y="25156"/>
                </a:cubicBezTo>
                <a:cubicBezTo>
                  <a:pt x="30219" y="25062"/>
                  <a:pt x="30219" y="24999"/>
                  <a:pt x="30125" y="24937"/>
                </a:cubicBezTo>
                <a:close/>
                <a:moveTo>
                  <a:pt x="22906" y="18031"/>
                </a:moveTo>
                <a:cubicBezTo>
                  <a:pt x="22906" y="18031"/>
                  <a:pt x="22938" y="18031"/>
                  <a:pt x="22938" y="18062"/>
                </a:cubicBezTo>
                <a:cubicBezTo>
                  <a:pt x="22969" y="18062"/>
                  <a:pt x="22969" y="18062"/>
                  <a:pt x="22969" y="18093"/>
                </a:cubicBezTo>
                <a:cubicBezTo>
                  <a:pt x="22969" y="18124"/>
                  <a:pt x="22938" y="18093"/>
                  <a:pt x="22906" y="18093"/>
                </a:cubicBezTo>
                <a:cubicBezTo>
                  <a:pt x="22875" y="18062"/>
                  <a:pt x="22844" y="18093"/>
                  <a:pt x="22813" y="18093"/>
                </a:cubicBezTo>
                <a:cubicBezTo>
                  <a:pt x="22750" y="18124"/>
                  <a:pt x="22719" y="18093"/>
                  <a:pt x="22688" y="18031"/>
                </a:cubicBezTo>
                <a:cubicBezTo>
                  <a:pt x="22719" y="18031"/>
                  <a:pt x="22719" y="17999"/>
                  <a:pt x="22719" y="17968"/>
                </a:cubicBezTo>
                <a:cubicBezTo>
                  <a:pt x="22781" y="17999"/>
                  <a:pt x="22844" y="17999"/>
                  <a:pt x="22906" y="18031"/>
                </a:cubicBezTo>
                <a:close/>
                <a:moveTo>
                  <a:pt x="22656" y="18031"/>
                </a:moveTo>
                <a:lnTo>
                  <a:pt x="22625" y="18031"/>
                </a:lnTo>
                <a:cubicBezTo>
                  <a:pt x="22625" y="17999"/>
                  <a:pt x="22625" y="17999"/>
                  <a:pt x="22625" y="17968"/>
                </a:cubicBezTo>
                <a:cubicBezTo>
                  <a:pt x="22656" y="17999"/>
                  <a:pt x="22656" y="17999"/>
                  <a:pt x="22688" y="18031"/>
                </a:cubicBezTo>
                <a:moveTo>
                  <a:pt x="25063" y="20156"/>
                </a:moveTo>
                <a:cubicBezTo>
                  <a:pt x="25125" y="20156"/>
                  <a:pt x="25125" y="20218"/>
                  <a:pt x="25156" y="20249"/>
                </a:cubicBezTo>
                <a:cubicBezTo>
                  <a:pt x="25219" y="20281"/>
                  <a:pt x="25313" y="20312"/>
                  <a:pt x="25344" y="20406"/>
                </a:cubicBezTo>
                <a:cubicBezTo>
                  <a:pt x="25344" y="20406"/>
                  <a:pt x="25344" y="20406"/>
                  <a:pt x="25344" y="20406"/>
                </a:cubicBezTo>
                <a:cubicBezTo>
                  <a:pt x="25313" y="20406"/>
                  <a:pt x="25281" y="20374"/>
                  <a:pt x="25281" y="20406"/>
                </a:cubicBezTo>
                <a:cubicBezTo>
                  <a:pt x="25250" y="20437"/>
                  <a:pt x="25250" y="20468"/>
                  <a:pt x="25281" y="20468"/>
                </a:cubicBezTo>
                <a:cubicBezTo>
                  <a:pt x="25219" y="20499"/>
                  <a:pt x="25188" y="20437"/>
                  <a:pt x="25125" y="20406"/>
                </a:cubicBezTo>
                <a:cubicBezTo>
                  <a:pt x="25094" y="20406"/>
                  <a:pt x="25094" y="20406"/>
                  <a:pt x="25063" y="20406"/>
                </a:cubicBezTo>
                <a:cubicBezTo>
                  <a:pt x="25000" y="20374"/>
                  <a:pt x="24938" y="20343"/>
                  <a:pt x="24906" y="20281"/>
                </a:cubicBezTo>
                <a:cubicBezTo>
                  <a:pt x="24875" y="20281"/>
                  <a:pt x="24875" y="20281"/>
                  <a:pt x="24875" y="20281"/>
                </a:cubicBezTo>
                <a:cubicBezTo>
                  <a:pt x="24781" y="20281"/>
                  <a:pt x="24719" y="20187"/>
                  <a:pt x="24656" y="20156"/>
                </a:cubicBezTo>
                <a:lnTo>
                  <a:pt x="24656" y="20156"/>
                </a:lnTo>
                <a:cubicBezTo>
                  <a:pt x="24719" y="20124"/>
                  <a:pt x="24844" y="20187"/>
                  <a:pt x="24875" y="20281"/>
                </a:cubicBezTo>
                <a:cubicBezTo>
                  <a:pt x="24875" y="20281"/>
                  <a:pt x="24906" y="20281"/>
                  <a:pt x="24906" y="20281"/>
                </a:cubicBezTo>
                <a:cubicBezTo>
                  <a:pt x="24906" y="20281"/>
                  <a:pt x="24938" y="20281"/>
                  <a:pt x="24938" y="20249"/>
                </a:cubicBezTo>
                <a:cubicBezTo>
                  <a:pt x="24938" y="20156"/>
                  <a:pt x="25000" y="20156"/>
                  <a:pt x="25063" y="20156"/>
                </a:cubicBezTo>
                <a:close/>
                <a:moveTo>
                  <a:pt x="7844" y="17249"/>
                </a:moveTo>
                <a:cubicBezTo>
                  <a:pt x="7813" y="17249"/>
                  <a:pt x="7781" y="17281"/>
                  <a:pt x="7781" y="17281"/>
                </a:cubicBezTo>
                <a:cubicBezTo>
                  <a:pt x="7781" y="17281"/>
                  <a:pt x="7781" y="17281"/>
                  <a:pt x="7781" y="17281"/>
                </a:cubicBezTo>
                <a:cubicBezTo>
                  <a:pt x="7594" y="17468"/>
                  <a:pt x="7375" y="17656"/>
                  <a:pt x="7188" y="17812"/>
                </a:cubicBezTo>
                <a:cubicBezTo>
                  <a:pt x="7156" y="17874"/>
                  <a:pt x="7125" y="17906"/>
                  <a:pt x="7063" y="17937"/>
                </a:cubicBezTo>
                <a:cubicBezTo>
                  <a:pt x="7031" y="17968"/>
                  <a:pt x="7000" y="17999"/>
                  <a:pt x="7000" y="18031"/>
                </a:cubicBezTo>
                <a:cubicBezTo>
                  <a:pt x="6938" y="18031"/>
                  <a:pt x="6906" y="18093"/>
                  <a:pt x="6875" y="18124"/>
                </a:cubicBezTo>
                <a:cubicBezTo>
                  <a:pt x="6625" y="18343"/>
                  <a:pt x="6406" y="18562"/>
                  <a:pt x="6156" y="18781"/>
                </a:cubicBezTo>
                <a:cubicBezTo>
                  <a:pt x="6156" y="18781"/>
                  <a:pt x="6156" y="18812"/>
                  <a:pt x="6125" y="18812"/>
                </a:cubicBezTo>
                <a:cubicBezTo>
                  <a:pt x="6125" y="18812"/>
                  <a:pt x="6125" y="18812"/>
                  <a:pt x="6125" y="18812"/>
                </a:cubicBezTo>
                <a:cubicBezTo>
                  <a:pt x="6094" y="18843"/>
                  <a:pt x="6031" y="18874"/>
                  <a:pt x="6031" y="18937"/>
                </a:cubicBezTo>
                <a:cubicBezTo>
                  <a:pt x="6000" y="18937"/>
                  <a:pt x="5969" y="18968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969" y="18999"/>
                  <a:pt x="5969" y="18999"/>
                  <a:pt x="5969" y="18999"/>
                </a:cubicBezTo>
                <a:cubicBezTo>
                  <a:pt x="5875" y="19062"/>
                  <a:pt x="5813" y="19124"/>
                  <a:pt x="5719" y="19187"/>
                </a:cubicBezTo>
                <a:cubicBezTo>
                  <a:pt x="5719" y="19218"/>
                  <a:pt x="5688" y="19218"/>
                  <a:pt x="5719" y="19249"/>
                </a:cubicBezTo>
                <a:cubicBezTo>
                  <a:pt x="5688" y="19218"/>
                  <a:pt x="5656" y="19249"/>
                  <a:pt x="5625" y="19281"/>
                </a:cubicBezTo>
                <a:cubicBezTo>
                  <a:pt x="5500" y="19406"/>
                  <a:pt x="5375" y="19531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219" y="19656"/>
                  <a:pt x="5219" y="19656"/>
                  <a:pt x="5219" y="19656"/>
                </a:cubicBezTo>
                <a:cubicBezTo>
                  <a:pt x="5000" y="19843"/>
                  <a:pt x="4813" y="20031"/>
                  <a:pt x="4594" y="20249"/>
                </a:cubicBezTo>
                <a:cubicBezTo>
                  <a:pt x="4438" y="20374"/>
                  <a:pt x="4281" y="20531"/>
                  <a:pt x="4125" y="20656"/>
                </a:cubicBezTo>
                <a:cubicBezTo>
                  <a:pt x="4063" y="20718"/>
                  <a:pt x="4000" y="20781"/>
                  <a:pt x="3969" y="20812"/>
                </a:cubicBezTo>
                <a:cubicBezTo>
                  <a:pt x="3906" y="20874"/>
                  <a:pt x="3875" y="20968"/>
                  <a:pt x="3750" y="20937"/>
                </a:cubicBezTo>
                <a:cubicBezTo>
                  <a:pt x="3719" y="20937"/>
                  <a:pt x="3656" y="20999"/>
                  <a:pt x="3625" y="21062"/>
                </a:cubicBezTo>
                <a:cubicBezTo>
                  <a:pt x="3594" y="21093"/>
                  <a:pt x="3563" y="21124"/>
                  <a:pt x="3531" y="21156"/>
                </a:cubicBezTo>
                <a:cubicBezTo>
                  <a:pt x="3531" y="21187"/>
                  <a:pt x="3563" y="21156"/>
                  <a:pt x="3594" y="21156"/>
                </a:cubicBezTo>
                <a:cubicBezTo>
                  <a:pt x="3594" y="21249"/>
                  <a:pt x="3531" y="21218"/>
                  <a:pt x="3469" y="21249"/>
                </a:cubicBezTo>
                <a:cubicBezTo>
                  <a:pt x="3250" y="21499"/>
                  <a:pt x="3000" y="21718"/>
                  <a:pt x="2781" y="21937"/>
                </a:cubicBezTo>
                <a:cubicBezTo>
                  <a:pt x="2750" y="21937"/>
                  <a:pt x="2750" y="21968"/>
                  <a:pt x="2719" y="21968"/>
                </a:cubicBezTo>
                <a:cubicBezTo>
                  <a:pt x="2719" y="21968"/>
                  <a:pt x="2719" y="21968"/>
                  <a:pt x="2719" y="21968"/>
                </a:cubicBezTo>
                <a:cubicBezTo>
                  <a:pt x="2594" y="21937"/>
                  <a:pt x="2531" y="21968"/>
                  <a:pt x="2438" y="22062"/>
                </a:cubicBezTo>
                <a:cubicBezTo>
                  <a:pt x="2375" y="22156"/>
                  <a:pt x="2281" y="22156"/>
                  <a:pt x="2250" y="22249"/>
                </a:cubicBezTo>
                <a:cubicBezTo>
                  <a:pt x="2219" y="22249"/>
                  <a:pt x="2219" y="22218"/>
                  <a:pt x="2188" y="22218"/>
                </a:cubicBezTo>
                <a:cubicBezTo>
                  <a:pt x="2188" y="22218"/>
                  <a:pt x="2188" y="22218"/>
                  <a:pt x="2156" y="22218"/>
                </a:cubicBezTo>
                <a:cubicBezTo>
                  <a:pt x="2188" y="22218"/>
                  <a:pt x="2188" y="22218"/>
                  <a:pt x="2188" y="22218"/>
                </a:cubicBezTo>
                <a:cubicBezTo>
                  <a:pt x="2219" y="22187"/>
                  <a:pt x="2219" y="22187"/>
                  <a:pt x="2219" y="22187"/>
                </a:cubicBezTo>
                <a:cubicBezTo>
                  <a:pt x="2219" y="22156"/>
                  <a:pt x="2281" y="22156"/>
                  <a:pt x="2250" y="22124"/>
                </a:cubicBezTo>
                <a:cubicBezTo>
                  <a:pt x="2219" y="22093"/>
                  <a:pt x="2188" y="22124"/>
                  <a:pt x="2188" y="22156"/>
                </a:cubicBezTo>
                <a:cubicBezTo>
                  <a:pt x="2188" y="22156"/>
                  <a:pt x="2156" y="22156"/>
                  <a:pt x="2156" y="22124"/>
                </a:cubicBezTo>
                <a:cubicBezTo>
                  <a:pt x="2219" y="22062"/>
                  <a:pt x="2281" y="21999"/>
                  <a:pt x="2375" y="21937"/>
                </a:cubicBezTo>
                <a:cubicBezTo>
                  <a:pt x="2375" y="21968"/>
                  <a:pt x="2344" y="21999"/>
                  <a:pt x="2344" y="22031"/>
                </a:cubicBezTo>
                <a:cubicBezTo>
                  <a:pt x="2344" y="22031"/>
                  <a:pt x="2344" y="22031"/>
                  <a:pt x="2344" y="22031"/>
                </a:cubicBezTo>
                <a:cubicBezTo>
                  <a:pt x="2500" y="21968"/>
                  <a:pt x="2563" y="21843"/>
                  <a:pt x="2688" y="21749"/>
                </a:cubicBezTo>
                <a:cubicBezTo>
                  <a:pt x="2719" y="21718"/>
                  <a:pt x="2688" y="21687"/>
                  <a:pt x="2656" y="21687"/>
                </a:cubicBezTo>
                <a:cubicBezTo>
                  <a:pt x="2625" y="21656"/>
                  <a:pt x="2563" y="21656"/>
                  <a:pt x="2531" y="21687"/>
                </a:cubicBezTo>
                <a:cubicBezTo>
                  <a:pt x="2250" y="21749"/>
                  <a:pt x="1969" y="21843"/>
                  <a:pt x="1688" y="21937"/>
                </a:cubicBezTo>
                <a:cubicBezTo>
                  <a:pt x="1719" y="21937"/>
                  <a:pt x="1750" y="21937"/>
                  <a:pt x="1781" y="21937"/>
                </a:cubicBezTo>
                <a:cubicBezTo>
                  <a:pt x="1750" y="21937"/>
                  <a:pt x="1719" y="21937"/>
                  <a:pt x="1688" y="21937"/>
                </a:cubicBezTo>
                <a:cubicBezTo>
                  <a:pt x="1625" y="21937"/>
                  <a:pt x="1594" y="21937"/>
                  <a:pt x="1563" y="21968"/>
                </a:cubicBezTo>
                <a:cubicBezTo>
                  <a:pt x="1563" y="21968"/>
                  <a:pt x="1563" y="21968"/>
                  <a:pt x="1563" y="21999"/>
                </a:cubicBezTo>
                <a:cubicBezTo>
                  <a:pt x="1656" y="21968"/>
                  <a:pt x="1719" y="21937"/>
                  <a:pt x="1813" y="21968"/>
                </a:cubicBezTo>
                <a:cubicBezTo>
                  <a:pt x="1844" y="21968"/>
                  <a:pt x="1844" y="21937"/>
                  <a:pt x="1844" y="21937"/>
                </a:cubicBezTo>
                <a:cubicBezTo>
                  <a:pt x="1875" y="21906"/>
                  <a:pt x="1938" y="21906"/>
                  <a:pt x="1969" y="21906"/>
                </a:cubicBezTo>
                <a:cubicBezTo>
                  <a:pt x="1969" y="22062"/>
                  <a:pt x="1875" y="22124"/>
                  <a:pt x="1750" y="22187"/>
                </a:cubicBezTo>
                <a:cubicBezTo>
                  <a:pt x="1750" y="22187"/>
                  <a:pt x="1719" y="22156"/>
                  <a:pt x="1688" y="22187"/>
                </a:cubicBezTo>
                <a:cubicBezTo>
                  <a:pt x="1594" y="22249"/>
                  <a:pt x="1438" y="22281"/>
                  <a:pt x="1313" y="22343"/>
                </a:cubicBezTo>
                <a:cubicBezTo>
                  <a:pt x="1188" y="22406"/>
                  <a:pt x="1031" y="22406"/>
                  <a:pt x="875" y="22437"/>
                </a:cubicBezTo>
                <a:cubicBezTo>
                  <a:pt x="906" y="22499"/>
                  <a:pt x="969" y="22468"/>
                  <a:pt x="1031" y="22437"/>
                </a:cubicBezTo>
                <a:cubicBezTo>
                  <a:pt x="1188" y="22406"/>
                  <a:pt x="1344" y="22343"/>
                  <a:pt x="1531" y="22312"/>
                </a:cubicBezTo>
                <a:cubicBezTo>
                  <a:pt x="1563" y="22281"/>
                  <a:pt x="1625" y="22249"/>
                  <a:pt x="1688" y="22281"/>
                </a:cubicBezTo>
                <a:cubicBezTo>
                  <a:pt x="1469" y="22468"/>
                  <a:pt x="1219" y="22687"/>
                  <a:pt x="1000" y="22906"/>
                </a:cubicBezTo>
                <a:cubicBezTo>
                  <a:pt x="969" y="22906"/>
                  <a:pt x="969" y="22906"/>
                  <a:pt x="969" y="22937"/>
                </a:cubicBezTo>
                <a:cubicBezTo>
                  <a:pt x="969" y="22937"/>
                  <a:pt x="969" y="22937"/>
                  <a:pt x="969" y="22937"/>
                </a:cubicBezTo>
                <a:cubicBezTo>
                  <a:pt x="750" y="22906"/>
                  <a:pt x="531" y="22906"/>
                  <a:pt x="281" y="22874"/>
                </a:cubicBezTo>
                <a:cubicBezTo>
                  <a:pt x="250" y="22874"/>
                  <a:pt x="188" y="22874"/>
                  <a:pt x="125" y="22874"/>
                </a:cubicBezTo>
                <a:cubicBezTo>
                  <a:pt x="94" y="22874"/>
                  <a:pt x="63" y="22874"/>
                  <a:pt x="63" y="22843"/>
                </a:cubicBezTo>
                <a:cubicBezTo>
                  <a:pt x="31" y="22812"/>
                  <a:pt x="63" y="22812"/>
                  <a:pt x="94" y="22812"/>
                </a:cubicBezTo>
                <a:cubicBezTo>
                  <a:pt x="188" y="22687"/>
                  <a:pt x="313" y="22656"/>
                  <a:pt x="469" y="22624"/>
                </a:cubicBezTo>
                <a:cubicBezTo>
                  <a:pt x="438" y="22593"/>
                  <a:pt x="406" y="22624"/>
                  <a:pt x="406" y="22593"/>
                </a:cubicBezTo>
                <a:cubicBezTo>
                  <a:pt x="375" y="22593"/>
                  <a:pt x="375" y="22593"/>
                  <a:pt x="375" y="22593"/>
                </a:cubicBezTo>
                <a:cubicBezTo>
                  <a:pt x="344" y="22593"/>
                  <a:pt x="375" y="22562"/>
                  <a:pt x="375" y="22562"/>
                </a:cubicBezTo>
                <a:cubicBezTo>
                  <a:pt x="469" y="22499"/>
                  <a:pt x="531" y="22374"/>
                  <a:pt x="688" y="22406"/>
                </a:cubicBezTo>
                <a:cubicBezTo>
                  <a:pt x="656" y="22249"/>
                  <a:pt x="563" y="22374"/>
                  <a:pt x="500" y="22343"/>
                </a:cubicBezTo>
                <a:cubicBezTo>
                  <a:pt x="531" y="22249"/>
                  <a:pt x="594" y="22249"/>
                  <a:pt x="625" y="22281"/>
                </a:cubicBezTo>
                <a:cubicBezTo>
                  <a:pt x="719" y="22312"/>
                  <a:pt x="781" y="22281"/>
                  <a:pt x="844" y="22218"/>
                </a:cubicBezTo>
                <a:cubicBezTo>
                  <a:pt x="875" y="22218"/>
                  <a:pt x="906" y="22187"/>
                  <a:pt x="906" y="22187"/>
                </a:cubicBezTo>
                <a:cubicBezTo>
                  <a:pt x="1000" y="22156"/>
                  <a:pt x="1063" y="22156"/>
                  <a:pt x="1156" y="22156"/>
                </a:cubicBezTo>
                <a:cubicBezTo>
                  <a:pt x="1156" y="22124"/>
                  <a:pt x="1188" y="22093"/>
                  <a:pt x="1219" y="22093"/>
                </a:cubicBezTo>
                <a:cubicBezTo>
                  <a:pt x="1344" y="22093"/>
                  <a:pt x="1438" y="22031"/>
                  <a:pt x="1563" y="21999"/>
                </a:cubicBezTo>
                <a:cubicBezTo>
                  <a:pt x="1563" y="21968"/>
                  <a:pt x="1563" y="21968"/>
                  <a:pt x="1563" y="21968"/>
                </a:cubicBezTo>
                <a:cubicBezTo>
                  <a:pt x="1531" y="21968"/>
                  <a:pt x="1500" y="21968"/>
                  <a:pt x="1469" y="21999"/>
                </a:cubicBezTo>
                <a:cubicBezTo>
                  <a:pt x="1344" y="22031"/>
                  <a:pt x="1219" y="22062"/>
                  <a:pt x="1094" y="22093"/>
                </a:cubicBezTo>
                <a:cubicBezTo>
                  <a:pt x="1125" y="21999"/>
                  <a:pt x="1219" y="22031"/>
                  <a:pt x="1281" y="21999"/>
                </a:cubicBezTo>
                <a:cubicBezTo>
                  <a:pt x="1500" y="21937"/>
                  <a:pt x="1719" y="21906"/>
                  <a:pt x="1906" y="21812"/>
                </a:cubicBezTo>
                <a:cubicBezTo>
                  <a:pt x="2000" y="21781"/>
                  <a:pt x="2125" y="21749"/>
                  <a:pt x="2219" y="21718"/>
                </a:cubicBezTo>
                <a:cubicBezTo>
                  <a:pt x="2250" y="21718"/>
                  <a:pt x="2281" y="21718"/>
                  <a:pt x="2313" y="21687"/>
                </a:cubicBezTo>
                <a:cubicBezTo>
                  <a:pt x="2250" y="21687"/>
                  <a:pt x="2219" y="21656"/>
                  <a:pt x="2156" y="21656"/>
                </a:cubicBezTo>
                <a:cubicBezTo>
                  <a:pt x="2219" y="21656"/>
                  <a:pt x="2250" y="21687"/>
                  <a:pt x="2313" y="21687"/>
                </a:cubicBezTo>
                <a:cubicBezTo>
                  <a:pt x="2344" y="21687"/>
                  <a:pt x="2406" y="21687"/>
                  <a:pt x="2406" y="21656"/>
                </a:cubicBezTo>
                <a:cubicBezTo>
                  <a:pt x="2375" y="21562"/>
                  <a:pt x="2344" y="21499"/>
                  <a:pt x="2313" y="21437"/>
                </a:cubicBezTo>
                <a:cubicBezTo>
                  <a:pt x="2313" y="21406"/>
                  <a:pt x="2281" y="21406"/>
                  <a:pt x="2250" y="21437"/>
                </a:cubicBezTo>
                <a:cubicBezTo>
                  <a:pt x="2219" y="21468"/>
                  <a:pt x="2125" y="21468"/>
                  <a:pt x="2094" y="21468"/>
                </a:cubicBezTo>
                <a:cubicBezTo>
                  <a:pt x="1906" y="21499"/>
                  <a:pt x="1781" y="21593"/>
                  <a:pt x="1594" y="21593"/>
                </a:cubicBezTo>
                <a:cubicBezTo>
                  <a:pt x="1594" y="21593"/>
                  <a:pt x="1594" y="21593"/>
                  <a:pt x="1594" y="21593"/>
                </a:cubicBezTo>
                <a:cubicBezTo>
                  <a:pt x="1531" y="21593"/>
                  <a:pt x="1500" y="21593"/>
                  <a:pt x="1469" y="21656"/>
                </a:cubicBezTo>
                <a:cubicBezTo>
                  <a:pt x="1344" y="21656"/>
                  <a:pt x="1219" y="21718"/>
                  <a:pt x="1125" y="21718"/>
                </a:cubicBezTo>
                <a:cubicBezTo>
                  <a:pt x="1063" y="21718"/>
                  <a:pt x="1063" y="21749"/>
                  <a:pt x="1094" y="21781"/>
                </a:cubicBezTo>
                <a:cubicBezTo>
                  <a:pt x="1063" y="21812"/>
                  <a:pt x="1063" y="21812"/>
                  <a:pt x="1031" y="21812"/>
                </a:cubicBezTo>
                <a:cubicBezTo>
                  <a:pt x="1031" y="21749"/>
                  <a:pt x="1000" y="21781"/>
                  <a:pt x="969" y="21781"/>
                </a:cubicBezTo>
                <a:cubicBezTo>
                  <a:pt x="938" y="21781"/>
                  <a:pt x="938" y="21749"/>
                  <a:pt x="938" y="21718"/>
                </a:cubicBezTo>
                <a:cubicBezTo>
                  <a:pt x="1063" y="21718"/>
                  <a:pt x="1156" y="21687"/>
                  <a:pt x="1250" y="21656"/>
                </a:cubicBezTo>
                <a:cubicBezTo>
                  <a:pt x="1438" y="21624"/>
                  <a:pt x="1625" y="21562"/>
                  <a:pt x="1813" y="21499"/>
                </a:cubicBezTo>
                <a:cubicBezTo>
                  <a:pt x="1938" y="21468"/>
                  <a:pt x="2094" y="21406"/>
                  <a:pt x="2219" y="21406"/>
                </a:cubicBezTo>
                <a:cubicBezTo>
                  <a:pt x="2250" y="21406"/>
                  <a:pt x="2281" y="21374"/>
                  <a:pt x="2313" y="21374"/>
                </a:cubicBezTo>
                <a:cubicBezTo>
                  <a:pt x="2500" y="21281"/>
                  <a:pt x="2656" y="21374"/>
                  <a:pt x="2813" y="21374"/>
                </a:cubicBezTo>
                <a:cubicBezTo>
                  <a:pt x="2875" y="21374"/>
                  <a:pt x="2969" y="21374"/>
                  <a:pt x="3031" y="21374"/>
                </a:cubicBezTo>
                <a:cubicBezTo>
                  <a:pt x="3063" y="21374"/>
                  <a:pt x="3094" y="21374"/>
                  <a:pt x="3094" y="21343"/>
                </a:cubicBezTo>
                <a:cubicBezTo>
                  <a:pt x="3094" y="21312"/>
                  <a:pt x="3063" y="21312"/>
                  <a:pt x="3031" y="21312"/>
                </a:cubicBezTo>
                <a:cubicBezTo>
                  <a:pt x="2906" y="21312"/>
                  <a:pt x="2813" y="21281"/>
                  <a:pt x="2688" y="21281"/>
                </a:cubicBezTo>
                <a:cubicBezTo>
                  <a:pt x="2625" y="21249"/>
                  <a:pt x="2563" y="21249"/>
                  <a:pt x="2500" y="21249"/>
                </a:cubicBezTo>
                <a:cubicBezTo>
                  <a:pt x="2469" y="21249"/>
                  <a:pt x="2438" y="21249"/>
                  <a:pt x="2438" y="21218"/>
                </a:cubicBezTo>
                <a:cubicBezTo>
                  <a:pt x="2438" y="21187"/>
                  <a:pt x="2469" y="21187"/>
                  <a:pt x="2469" y="21156"/>
                </a:cubicBezTo>
                <a:cubicBezTo>
                  <a:pt x="2500" y="21156"/>
                  <a:pt x="2531" y="21124"/>
                  <a:pt x="2563" y="21124"/>
                </a:cubicBezTo>
                <a:cubicBezTo>
                  <a:pt x="2625" y="21093"/>
                  <a:pt x="2563" y="21093"/>
                  <a:pt x="2563" y="21093"/>
                </a:cubicBezTo>
                <a:cubicBezTo>
                  <a:pt x="2563" y="21062"/>
                  <a:pt x="2563" y="21062"/>
                  <a:pt x="2563" y="21062"/>
                </a:cubicBezTo>
                <a:cubicBezTo>
                  <a:pt x="2594" y="21062"/>
                  <a:pt x="2625" y="21093"/>
                  <a:pt x="2656" y="21062"/>
                </a:cubicBezTo>
                <a:cubicBezTo>
                  <a:pt x="2688" y="20999"/>
                  <a:pt x="2781" y="20999"/>
                  <a:pt x="2844" y="20999"/>
                </a:cubicBezTo>
                <a:cubicBezTo>
                  <a:pt x="3031" y="21031"/>
                  <a:pt x="3188" y="21031"/>
                  <a:pt x="3375" y="21062"/>
                </a:cubicBezTo>
                <a:cubicBezTo>
                  <a:pt x="3406" y="21062"/>
                  <a:pt x="3469" y="21062"/>
                  <a:pt x="3469" y="21031"/>
                </a:cubicBezTo>
                <a:cubicBezTo>
                  <a:pt x="3469" y="20999"/>
                  <a:pt x="3406" y="20968"/>
                  <a:pt x="3375" y="20968"/>
                </a:cubicBezTo>
                <a:cubicBezTo>
                  <a:pt x="3281" y="20968"/>
                  <a:pt x="3188" y="20968"/>
                  <a:pt x="3063" y="20937"/>
                </a:cubicBezTo>
                <a:cubicBezTo>
                  <a:pt x="3031" y="20937"/>
                  <a:pt x="2938" y="20999"/>
                  <a:pt x="2938" y="20874"/>
                </a:cubicBezTo>
                <a:cubicBezTo>
                  <a:pt x="2906" y="20906"/>
                  <a:pt x="2875" y="20843"/>
                  <a:pt x="2844" y="20874"/>
                </a:cubicBezTo>
                <a:cubicBezTo>
                  <a:pt x="2813" y="20874"/>
                  <a:pt x="2781" y="20906"/>
                  <a:pt x="2781" y="20843"/>
                </a:cubicBezTo>
                <a:cubicBezTo>
                  <a:pt x="2781" y="20812"/>
                  <a:pt x="2813" y="20812"/>
                  <a:pt x="2844" y="20781"/>
                </a:cubicBezTo>
                <a:cubicBezTo>
                  <a:pt x="2844" y="20781"/>
                  <a:pt x="2875" y="20812"/>
                  <a:pt x="2906" y="20781"/>
                </a:cubicBezTo>
                <a:cubicBezTo>
                  <a:pt x="2906" y="20781"/>
                  <a:pt x="2938" y="20749"/>
                  <a:pt x="2906" y="20749"/>
                </a:cubicBezTo>
                <a:cubicBezTo>
                  <a:pt x="2906" y="20718"/>
                  <a:pt x="2875" y="20718"/>
                  <a:pt x="2875" y="20718"/>
                </a:cubicBezTo>
                <a:cubicBezTo>
                  <a:pt x="2844" y="20749"/>
                  <a:pt x="2813" y="20749"/>
                  <a:pt x="2781" y="20749"/>
                </a:cubicBezTo>
                <a:cubicBezTo>
                  <a:pt x="2750" y="20781"/>
                  <a:pt x="2719" y="20781"/>
                  <a:pt x="2719" y="20718"/>
                </a:cubicBezTo>
                <a:cubicBezTo>
                  <a:pt x="2781" y="20593"/>
                  <a:pt x="2688" y="20687"/>
                  <a:pt x="2656" y="20687"/>
                </a:cubicBezTo>
                <a:cubicBezTo>
                  <a:pt x="2625" y="20656"/>
                  <a:pt x="2563" y="20749"/>
                  <a:pt x="2531" y="20656"/>
                </a:cubicBezTo>
                <a:cubicBezTo>
                  <a:pt x="2531" y="20656"/>
                  <a:pt x="2500" y="20624"/>
                  <a:pt x="2531" y="20624"/>
                </a:cubicBezTo>
                <a:cubicBezTo>
                  <a:pt x="2625" y="20593"/>
                  <a:pt x="2531" y="20562"/>
                  <a:pt x="2531" y="20531"/>
                </a:cubicBezTo>
                <a:cubicBezTo>
                  <a:pt x="2500" y="20406"/>
                  <a:pt x="2469" y="20437"/>
                  <a:pt x="2406" y="20531"/>
                </a:cubicBezTo>
                <a:cubicBezTo>
                  <a:pt x="2438" y="20374"/>
                  <a:pt x="2438" y="20343"/>
                  <a:pt x="2344" y="20343"/>
                </a:cubicBezTo>
                <a:cubicBezTo>
                  <a:pt x="2250" y="20437"/>
                  <a:pt x="2188" y="20531"/>
                  <a:pt x="2063" y="20562"/>
                </a:cubicBezTo>
                <a:cubicBezTo>
                  <a:pt x="2156" y="20499"/>
                  <a:pt x="2219" y="20406"/>
                  <a:pt x="2344" y="20343"/>
                </a:cubicBezTo>
                <a:cubicBezTo>
                  <a:pt x="2375" y="20281"/>
                  <a:pt x="2375" y="20249"/>
                  <a:pt x="2344" y="20187"/>
                </a:cubicBezTo>
                <a:cubicBezTo>
                  <a:pt x="2281" y="20093"/>
                  <a:pt x="2219" y="19968"/>
                  <a:pt x="2156" y="19874"/>
                </a:cubicBezTo>
                <a:cubicBezTo>
                  <a:pt x="2156" y="19843"/>
                  <a:pt x="2188" y="19843"/>
                  <a:pt x="2188" y="19874"/>
                </a:cubicBezTo>
                <a:cubicBezTo>
                  <a:pt x="2219" y="19968"/>
                  <a:pt x="2313" y="20062"/>
                  <a:pt x="2375" y="20156"/>
                </a:cubicBezTo>
                <a:cubicBezTo>
                  <a:pt x="2375" y="20187"/>
                  <a:pt x="2406" y="20281"/>
                  <a:pt x="2469" y="20218"/>
                </a:cubicBezTo>
                <a:cubicBezTo>
                  <a:pt x="2500" y="20187"/>
                  <a:pt x="2594" y="20156"/>
                  <a:pt x="2531" y="20062"/>
                </a:cubicBezTo>
                <a:cubicBezTo>
                  <a:pt x="2594" y="20062"/>
                  <a:pt x="2688" y="20093"/>
                  <a:pt x="2750" y="19999"/>
                </a:cubicBezTo>
                <a:cubicBezTo>
                  <a:pt x="2750" y="19968"/>
                  <a:pt x="2781" y="19968"/>
                  <a:pt x="2781" y="19999"/>
                </a:cubicBezTo>
                <a:cubicBezTo>
                  <a:pt x="2813" y="20031"/>
                  <a:pt x="2813" y="20062"/>
                  <a:pt x="2844" y="20062"/>
                </a:cubicBezTo>
                <a:cubicBezTo>
                  <a:pt x="2875" y="20124"/>
                  <a:pt x="2906" y="20156"/>
                  <a:pt x="3000" y="20156"/>
                </a:cubicBezTo>
                <a:cubicBezTo>
                  <a:pt x="3000" y="20156"/>
                  <a:pt x="3000" y="20156"/>
                  <a:pt x="3000" y="20124"/>
                </a:cubicBezTo>
                <a:lnTo>
                  <a:pt x="3000" y="20124"/>
                </a:lnTo>
                <a:cubicBezTo>
                  <a:pt x="3000" y="20124"/>
                  <a:pt x="3000" y="20124"/>
                  <a:pt x="3000" y="20124"/>
                </a:cubicBezTo>
                <a:cubicBezTo>
                  <a:pt x="3000" y="20124"/>
                  <a:pt x="3000" y="20156"/>
                  <a:pt x="3000" y="20156"/>
                </a:cubicBezTo>
                <a:cubicBezTo>
                  <a:pt x="3000" y="20187"/>
                  <a:pt x="3031" y="20156"/>
                  <a:pt x="3063" y="20187"/>
                </a:cubicBezTo>
                <a:cubicBezTo>
                  <a:pt x="3031" y="20249"/>
                  <a:pt x="2969" y="20218"/>
                  <a:pt x="2938" y="20218"/>
                </a:cubicBezTo>
                <a:cubicBezTo>
                  <a:pt x="3000" y="20312"/>
                  <a:pt x="3063" y="20374"/>
                  <a:pt x="3063" y="20468"/>
                </a:cubicBezTo>
                <a:cubicBezTo>
                  <a:pt x="3094" y="20499"/>
                  <a:pt x="3094" y="20499"/>
                  <a:pt x="3094" y="20499"/>
                </a:cubicBezTo>
                <a:cubicBezTo>
                  <a:pt x="3125" y="20499"/>
                  <a:pt x="3125" y="20499"/>
                  <a:pt x="3125" y="20531"/>
                </a:cubicBezTo>
                <a:cubicBezTo>
                  <a:pt x="3125" y="20562"/>
                  <a:pt x="3156" y="20593"/>
                  <a:pt x="3188" y="20624"/>
                </a:cubicBezTo>
                <a:cubicBezTo>
                  <a:pt x="3188" y="20656"/>
                  <a:pt x="3250" y="20656"/>
                  <a:pt x="3250" y="20624"/>
                </a:cubicBezTo>
                <a:cubicBezTo>
                  <a:pt x="3281" y="20531"/>
                  <a:pt x="3313" y="20499"/>
                  <a:pt x="3406" y="20593"/>
                </a:cubicBezTo>
                <a:cubicBezTo>
                  <a:pt x="3281" y="20437"/>
                  <a:pt x="3406" y="20343"/>
                  <a:pt x="3469" y="20249"/>
                </a:cubicBezTo>
                <a:cubicBezTo>
                  <a:pt x="3500" y="20124"/>
                  <a:pt x="3531" y="20031"/>
                  <a:pt x="3594" y="19937"/>
                </a:cubicBezTo>
                <a:cubicBezTo>
                  <a:pt x="3594" y="19906"/>
                  <a:pt x="3625" y="19843"/>
                  <a:pt x="3563" y="19843"/>
                </a:cubicBezTo>
                <a:cubicBezTo>
                  <a:pt x="3469" y="19968"/>
                  <a:pt x="3313" y="20062"/>
                  <a:pt x="3188" y="20156"/>
                </a:cubicBezTo>
                <a:lnTo>
                  <a:pt x="3188" y="20156"/>
                </a:lnTo>
                <a:cubicBezTo>
                  <a:pt x="3313" y="20062"/>
                  <a:pt x="3406" y="19906"/>
                  <a:pt x="3563" y="19843"/>
                </a:cubicBezTo>
                <a:cubicBezTo>
                  <a:pt x="3594" y="19812"/>
                  <a:pt x="3625" y="19812"/>
                  <a:pt x="3656" y="19749"/>
                </a:cubicBezTo>
                <a:cubicBezTo>
                  <a:pt x="3688" y="19624"/>
                  <a:pt x="3656" y="19624"/>
                  <a:pt x="3531" y="19593"/>
                </a:cubicBezTo>
                <a:cubicBezTo>
                  <a:pt x="3469" y="19593"/>
                  <a:pt x="3406" y="19624"/>
                  <a:pt x="3344" y="19593"/>
                </a:cubicBezTo>
                <a:cubicBezTo>
                  <a:pt x="3313" y="19562"/>
                  <a:pt x="3281" y="19593"/>
                  <a:pt x="3250" y="19624"/>
                </a:cubicBezTo>
                <a:cubicBezTo>
                  <a:pt x="3188" y="19687"/>
                  <a:pt x="3094" y="19718"/>
                  <a:pt x="3031" y="19812"/>
                </a:cubicBezTo>
                <a:cubicBezTo>
                  <a:pt x="3031" y="19843"/>
                  <a:pt x="3000" y="19874"/>
                  <a:pt x="3000" y="19906"/>
                </a:cubicBezTo>
                <a:cubicBezTo>
                  <a:pt x="3000" y="19906"/>
                  <a:pt x="2969" y="19937"/>
                  <a:pt x="3000" y="19968"/>
                </a:cubicBezTo>
                <a:cubicBezTo>
                  <a:pt x="3031" y="19999"/>
                  <a:pt x="3031" y="20031"/>
                  <a:pt x="2969" y="20062"/>
                </a:cubicBezTo>
                <a:cubicBezTo>
                  <a:pt x="2938" y="20062"/>
                  <a:pt x="2938" y="19999"/>
                  <a:pt x="2906" y="19968"/>
                </a:cubicBezTo>
                <a:cubicBezTo>
                  <a:pt x="2875" y="19937"/>
                  <a:pt x="2906" y="19906"/>
                  <a:pt x="2844" y="19937"/>
                </a:cubicBezTo>
                <a:cubicBezTo>
                  <a:pt x="2875" y="19843"/>
                  <a:pt x="2938" y="19874"/>
                  <a:pt x="3000" y="19906"/>
                </a:cubicBezTo>
                <a:cubicBezTo>
                  <a:pt x="3000" y="19906"/>
                  <a:pt x="3000" y="19906"/>
                  <a:pt x="3000" y="19906"/>
                </a:cubicBezTo>
                <a:cubicBezTo>
                  <a:pt x="2969" y="19843"/>
                  <a:pt x="2969" y="19812"/>
                  <a:pt x="3031" y="19781"/>
                </a:cubicBezTo>
                <a:cubicBezTo>
                  <a:pt x="3063" y="19718"/>
                  <a:pt x="3125" y="19687"/>
                  <a:pt x="3188" y="19656"/>
                </a:cubicBezTo>
                <a:cubicBezTo>
                  <a:pt x="3188" y="19624"/>
                  <a:pt x="3219" y="19624"/>
                  <a:pt x="3219" y="19593"/>
                </a:cubicBezTo>
                <a:cubicBezTo>
                  <a:pt x="3219" y="19562"/>
                  <a:pt x="3188" y="19562"/>
                  <a:pt x="3156" y="19562"/>
                </a:cubicBezTo>
                <a:cubicBezTo>
                  <a:pt x="3031" y="19531"/>
                  <a:pt x="2875" y="19531"/>
                  <a:pt x="2750" y="19499"/>
                </a:cubicBezTo>
                <a:cubicBezTo>
                  <a:pt x="2781" y="19499"/>
                  <a:pt x="2844" y="19499"/>
                  <a:pt x="2906" y="19499"/>
                </a:cubicBezTo>
                <a:cubicBezTo>
                  <a:pt x="2969" y="19499"/>
                  <a:pt x="3031" y="19531"/>
                  <a:pt x="3094" y="19499"/>
                </a:cubicBezTo>
                <a:cubicBezTo>
                  <a:pt x="3156" y="19468"/>
                  <a:pt x="3188" y="19531"/>
                  <a:pt x="3219" y="19562"/>
                </a:cubicBezTo>
                <a:cubicBezTo>
                  <a:pt x="3313" y="19531"/>
                  <a:pt x="3375" y="19562"/>
                  <a:pt x="3469" y="19562"/>
                </a:cubicBezTo>
                <a:cubicBezTo>
                  <a:pt x="3500" y="19562"/>
                  <a:pt x="3531" y="19531"/>
                  <a:pt x="3563" y="19499"/>
                </a:cubicBezTo>
                <a:cubicBezTo>
                  <a:pt x="3594" y="19468"/>
                  <a:pt x="3594" y="19437"/>
                  <a:pt x="3563" y="19437"/>
                </a:cubicBezTo>
                <a:cubicBezTo>
                  <a:pt x="3563" y="19406"/>
                  <a:pt x="3531" y="19406"/>
                  <a:pt x="3500" y="19406"/>
                </a:cubicBezTo>
                <a:cubicBezTo>
                  <a:pt x="3469" y="19437"/>
                  <a:pt x="3438" y="19468"/>
                  <a:pt x="3438" y="19406"/>
                </a:cubicBezTo>
                <a:cubicBezTo>
                  <a:pt x="3438" y="19374"/>
                  <a:pt x="3406" y="19374"/>
                  <a:pt x="3375" y="19374"/>
                </a:cubicBezTo>
                <a:cubicBezTo>
                  <a:pt x="3344" y="19343"/>
                  <a:pt x="3313" y="19406"/>
                  <a:pt x="3313" y="19343"/>
                </a:cubicBezTo>
                <a:cubicBezTo>
                  <a:pt x="3313" y="19312"/>
                  <a:pt x="3344" y="19312"/>
                  <a:pt x="3375" y="19312"/>
                </a:cubicBezTo>
                <a:cubicBezTo>
                  <a:pt x="3469" y="19343"/>
                  <a:pt x="3563" y="19343"/>
                  <a:pt x="3625" y="19281"/>
                </a:cubicBezTo>
                <a:cubicBezTo>
                  <a:pt x="3625" y="19281"/>
                  <a:pt x="3656" y="19249"/>
                  <a:pt x="3656" y="19249"/>
                </a:cubicBezTo>
                <a:cubicBezTo>
                  <a:pt x="3563" y="19218"/>
                  <a:pt x="3500" y="19187"/>
                  <a:pt x="3406" y="19218"/>
                </a:cubicBezTo>
                <a:cubicBezTo>
                  <a:pt x="3375" y="19218"/>
                  <a:pt x="3375" y="19218"/>
                  <a:pt x="3375" y="19218"/>
                </a:cubicBezTo>
                <a:cubicBezTo>
                  <a:pt x="3250" y="19156"/>
                  <a:pt x="3094" y="19156"/>
                  <a:pt x="2938" y="19156"/>
                </a:cubicBezTo>
                <a:cubicBezTo>
                  <a:pt x="2781" y="19124"/>
                  <a:pt x="2656" y="19062"/>
                  <a:pt x="2500" y="19093"/>
                </a:cubicBezTo>
                <a:cubicBezTo>
                  <a:pt x="2500" y="19093"/>
                  <a:pt x="2469" y="19062"/>
                  <a:pt x="2469" y="19062"/>
                </a:cubicBezTo>
                <a:cubicBezTo>
                  <a:pt x="2438" y="18999"/>
                  <a:pt x="2406" y="19031"/>
                  <a:pt x="2344" y="19031"/>
                </a:cubicBezTo>
                <a:cubicBezTo>
                  <a:pt x="2344" y="19062"/>
                  <a:pt x="2313" y="19062"/>
                  <a:pt x="2313" y="19062"/>
                </a:cubicBezTo>
                <a:cubicBezTo>
                  <a:pt x="2281" y="19031"/>
                  <a:pt x="2250" y="18999"/>
                  <a:pt x="2219" y="19062"/>
                </a:cubicBezTo>
                <a:cubicBezTo>
                  <a:pt x="2219" y="19093"/>
                  <a:pt x="2219" y="19156"/>
                  <a:pt x="2281" y="19187"/>
                </a:cubicBezTo>
                <a:cubicBezTo>
                  <a:pt x="2313" y="19187"/>
                  <a:pt x="2375" y="19187"/>
                  <a:pt x="2344" y="19249"/>
                </a:cubicBezTo>
                <a:cubicBezTo>
                  <a:pt x="2375" y="19312"/>
                  <a:pt x="2375" y="19437"/>
                  <a:pt x="2500" y="19437"/>
                </a:cubicBezTo>
                <a:cubicBezTo>
                  <a:pt x="2563" y="19437"/>
                  <a:pt x="2500" y="19468"/>
                  <a:pt x="2500" y="19499"/>
                </a:cubicBezTo>
                <a:cubicBezTo>
                  <a:pt x="2531" y="19624"/>
                  <a:pt x="2625" y="19718"/>
                  <a:pt x="2688" y="19812"/>
                </a:cubicBezTo>
                <a:cubicBezTo>
                  <a:pt x="2719" y="19843"/>
                  <a:pt x="2719" y="19874"/>
                  <a:pt x="2688" y="19937"/>
                </a:cubicBezTo>
                <a:cubicBezTo>
                  <a:pt x="2625" y="19906"/>
                  <a:pt x="2625" y="19843"/>
                  <a:pt x="2594" y="19781"/>
                </a:cubicBezTo>
                <a:cubicBezTo>
                  <a:pt x="2563" y="19718"/>
                  <a:pt x="2531" y="19718"/>
                  <a:pt x="2469" y="19781"/>
                </a:cubicBezTo>
                <a:cubicBezTo>
                  <a:pt x="2438" y="19812"/>
                  <a:pt x="2375" y="19812"/>
                  <a:pt x="2438" y="19874"/>
                </a:cubicBezTo>
                <a:cubicBezTo>
                  <a:pt x="2344" y="19843"/>
                  <a:pt x="2375" y="19781"/>
                  <a:pt x="2344" y="19718"/>
                </a:cubicBezTo>
                <a:cubicBezTo>
                  <a:pt x="2344" y="19718"/>
                  <a:pt x="2313" y="19718"/>
                  <a:pt x="2313" y="19687"/>
                </a:cubicBezTo>
                <a:cubicBezTo>
                  <a:pt x="2313" y="19687"/>
                  <a:pt x="2313" y="19687"/>
                  <a:pt x="2313" y="19687"/>
                </a:cubicBezTo>
                <a:cubicBezTo>
                  <a:pt x="2313" y="19718"/>
                  <a:pt x="2344" y="19718"/>
                  <a:pt x="2344" y="19718"/>
                </a:cubicBezTo>
                <a:cubicBezTo>
                  <a:pt x="2375" y="19749"/>
                  <a:pt x="2375" y="19718"/>
                  <a:pt x="2406" y="19718"/>
                </a:cubicBezTo>
                <a:cubicBezTo>
                  <a:pt x="2469" y="19749"/>
                  <a:pt x="2469" y="19656"/>
                  <a:pt x="2500" y="19656"/>
                </a:cubicBezTo>
                <a:cubicBezTo>
                  <a:pt x="2469" y="19624"/>
                  <a:pt x="2469" y="19531"/>
                  <a:pt x="2406" y="19499"/>
                </a:cubicBezTo>
                <a:cubicBezTo>
                  <a:pt x="2406" y="19562"/>
                  <a:pt x="2406" y="19593"/>
                  <a:pt x="2344" y="19593"/>
                </a:cubicBezTo>
                <a:cubicBezTo>
                  <a:pt x="2281" y="19593"/>
                  <a:pt x="2281" y="19656"/>
                  <a:pt x="2313" y="19687"/>
                </a:cubicBezTo>
                <a:cubicBezTo>
                  <a:pt x="2281" y="19687"/>
                  <a:pt x="2250" y="19687"/>
                  <a:pt x="2250" y="19656"/>
                </a:cubicBezTo>
                <a:cubicBezTo>
                  <a:pt x="2250" y="19593"/>
                  <a:pt x="2188" y="19593"/>
                  <a:pt x="2156" y="19624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156" y="19593"/>
                  <a:pt x="2156" y="19593"/>
                  <a:pt x="2156" y="19593"/>
                </a:cubicBezTo>
                <a:cubicBezTo>
                  <a:pt x="2219" y="19531"/>
                  <a:pt x="2156" y="19437"/>
                  <a:pt x="2094" y="19437"/>
                </a:cubicBezTo>
                <a:cubicBezTo>
                  <a:pt x="2063" y="19437"/>
                  <a:pt x="2063" y="19437"/>
                  <a:pt x="2031" y="19437"/>
                </a:cubicBezTo>
                <a:cubicBezTo>
                  <a:pt x="1969" y="19374"/>
                  <a:pt x="1938" y="19406"/>
                  <a:pt x="1938" y="19499"/>
                </a:cubicBezTo>
                <a:cubicBezTo>
                  <a:pt x="1875" y="19499"/>
                  <a:pt x="1906" y="19437"/>
                  <a:pt x="1875" y="19406"/>
                </a:cubicBezTo>
                <a:cubicBezTo>
                  <a:pt x="1875" y="19374"/>
                  <a:pt x="1906" y="19374"/>
                  <a:pt x="1938" y="19374"/>
                </a:cubicBezTo>
                <a:cubicBezTo>
                  <a:pt x="1969" y="19343"/>
                  <a:pt x="1969" y="19374"/>
                  <a:pt x="2000" y="19374"/>
                </a:cubicBezTo>
                <a:cubicBezTo>
                  <a:pt x="2031" y="19374"/>
                  <a:pt x="2063" y="19406"/>
                  <a:pt x="2094" y="19343"/>
                </a:cubicBezTo>
                <a:cubicBezTo>
                  <a:pt x="2094" y="19312"/>
                  <a:pt x="2031" y="19312"/>
                  <a:pt x="2031" y="19312"/>
                </a:cubicBezTo>
                <a:cubicBezTo>
                  <a:pt x="1969" y="19249"/>
                  <a:pt x="1938" y="19218"/>
                  <a:pt x="1875" y="19218"/>
                </a:cubicBezTo>
                <a:cubicBezTo>
                  <a:pt x="1844" y="19218"/>
                  <a:pt x="1875" y="19156"/>
                  <a:pt x="1875" y="19124"/>
                </a:cubicBezTo>
                <a:cubicBezTo>
                  <a:pt x="1906" y="19156"/>
                  <a:pt x="1906" y="19218"/>
                  <a:pt x="1969" y="19124"/>
                </a:cubicBezTo>
                <a:cubicBezTo>
                  <a:pt x="2000" y="19093"/>
                  <a:pt x="2031" y="19124"/>
                  <a:pt x="2063" y="19156"/>
                </a:cubicBezTo>
                <a:cubicBezTo>
                  <a:pt x="2094" y="19218"/>
                  <a:pt x="2156" y="19218"/>
                  <a:pt x="2188" y="19156"/>
                </a:cubicBezTo>
                <a:cubicBezTo>
                  <a:pt x="2188" y="19156"/>
                  <a:pt x="2188" y="19124"/>
                  <a:pt x="2188" y="19124"/>
                </a:cubicBezTo>
                <a:cubicBezTo>
                  <a:pt x="2188" y="19124"/>
                  <a:pt x="2156" y="19124"/>
                  <a:pt x="2188" y="19093"/>
                </a:cubicBezTo>
                <a:cubicBezTo>
                  <a:pt x="2094" y="19031"/>
                  <a:pt x="2031" y="18999"/>
                  <a:pt x="1938" y="18999"/>
                </a:cubicBezTo>
                <a:cubicBezTo>
                  <a:pt x="1906" y="18999"/>
                  <a:pt x="1906" y="18999"/>
                  <a:pt x="1875" y="18999"/>
                </a:cubicBezTo>
                <a:cubicBezTo>
                  <a:pt x="1781" y="18968"/>
                  <a:pt x="1750" y="19031"/>
                  <a:pt x="1750" y="19124"/>
                </a:cubicBezTo>
                <a:cubicBezTo>
                  <a:pt x="1750" y="19156"/>
                  <a:pt x="1719" y="19156"/>
                  <a:pt x="1688" y="19156"/>
                </a:cubicBezTo>
                <a:cubicBezTo>
                  <a:pt x="1688" y="19156"/>
                  <a:pt x="1688" y="19156"/>
                  <a:pt x="1688" y="19156"/>
                </a:cubicBezTo>
                <a:cubicBezTo>
                  <a:pt x="1625" y="19093"/>
                  <a:pt x="1563" y="19156"/>
                  <a:pt x="1500" y="19187"/>
                </a:cubicBezTo>
                <a:cubicBezTo>
                  <a:pt x="1500" y="19249"/>
                  <a:pt x="1438" y="19249"/>
                  <a:pt x="1438" y="19312"/>
                </a:cubicBezTo>
                <a:cubicBezTo>
                  <a:pt x="1531" y="19281"/>
                  <a:pt x="1625" y="19343"/>
                  <a:pt x="1719" y="19343"/>
                </a:cubicBezTo>
                <a:cubicBezTo>
                  <a:pt x="1625" y="19374"/>
                  <a:pt x="1531" y="19374"/>
                  <a:pt x="1469" y="19343"/>
                </a:cubicBezTo>
                <a:cubicBezTo>
                  <a:pt x="1281" y="19281"/>
                  <a:pt x="1219" y="19437"/>
                  <a:pt x="1125" y="19499"/>
                </a:cubicBezTo>
                <a:cubicBezTo>
                  <a:pt x="1094" y="19499"/>
                  <a:pt x="1125" y="19531"/>
                  <a:pt x="1125" y="19562"/>
                </a:cubicBezTo>
                <a:cubicBezTo>
                  <a:pt x="1156" y="19593"/>
                  <a:pt x="1188" y="19656"/>
                  <a:pt x="1219" y="19718"/>
                </a:cubicBezTo>
                <a:cubicBezTo>
                  <a:pt x="1156" y="19687"/>
                  <a:pt x="1125" y="19687"/>
                  <a:pt x="1094" y="19624"/>
                </a:cubicBezTo>
                <a:cubicBezTo>
                  <a:pt x="1094" y="19593"/>
                  <a:pt x="1094" y="19531"/>
                  <a:pt x="1031" y="19562"/>
                </a:cubicBezTo>
                <a:cubicBezTo>
                  <a:pt x="1000" y="19562"/>
                  <a:pt x="938" y="19593"/>
                  <a:pt x="969" y="19687"/>
                </a:cubicBezTo>
                <a:cubicBezTo>
                  <a:pt x="844" y="19624"/>
                  <a:pt x="813" y="19718"/>
                  <a:pt x="719" y="19781"/>
                </a:cubicBezTo>
                <a:lnTo>
                  <a:pt x="719" y="19781"/>
                </a:lnTo>
                <a:cubicBezTo>
                  <a:pt x="625" y="19812"/>
                  <a:pt x="531" y="19906"/>
                  <a:pt x="406" y="19968"/>
                </a:cubicBezTo>
                <a:cubicBezTo>
                  <a:pt x="281" y="20062"/>
                  <a:pt x="125" y="20187"/>
                  <a:pt x="0" y="20281"/>
                </a:cubicBezTo>
                <a:cubicBezTo>
                  <a:pt x="0" y="20156"/>
                  <a:pt x="0" y="20062"/>
                  <a:pt x="0" y="19968"/>
                </a:cubicBezTo>
                <a:cubicBezTo>
                  <a:pt x="0" y="19874"/>
                  <a:pt x="0" y="19812"/>
                  <a:pt x="0" y="19718"/>
                </a:cubicBezTo>
                <a:cubicBezTo>
                  <a:pt x="0" y="19687"/>
                  <a:pt x="0" y="19656"/>
                  <a:pt x="0" y="19624"/>
                </a:cubicBezTo>
                <a:cubicBezTo>
                  <a:pt x="31" y="19624"/>
                  <a:pt x="63" y="19687"/>
                  <a:pt x="125" y="19656"/>
                </a:cubicBezTo>
                <a:cubicBezTo>
                  <a:pt x="156" y="19593"/>
                  <a:pt x="156" y="19656"/>
                  <a:pt x="188" y="19687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56"/>
                  <a:pt x="188" y="19656"/>
                  <a:pt x="188" y="19656"/>
                </a:cubicBezTo>
                <a:cubicBezTo>
                  <a:pt x="188" y="19624"/>
                  <a:pt x="188" y="19593"/>
                  <a:pt x="156" y="19593"/>
                </a:cubicBezTo>
                <a:cubicBezTo>
                  <a:pt x="125" y="19562"/>
                  <a:pt x="94" y="19531"/>
                  <a:pt x="94" y="19499"/>
                </a:cubicBezTo>
                <a:cubicBezTo>
                  <a:pt x="94" y="19468"/>
                  <a:pt x="125" y="19437"/>
                  <a:pt x="156" y="19437"/>
                </a:cubicBezTo>
                <a:cubicBezTo>
                  <a:pt x="188" y="19437"/>
                  <a:pt x="219" y="19437"/>
                  <a:pt x="219" y="19499"/>
                </a:cubicBezTo>
                <a:cubicBezTo>
                  <a:pt x="219" y="19499"/>
                  <a:pt x="219" y="19531"/>
                  <a:pt x="219" y="19562"/>
                </a:cubicBezTo>
                <a:cubicBezTo>
                  <a:pt x="219" y="19499"/>
                  <a:pt x="219" y="19437"/>
                  <a:pt x="313" y="19468"/>
                </a:cubicBezTo>
                <a:cubicBezTo>
                  <a:pt x="375" y="19468"/>
                  <a:pt x="406" y="19406"/>
                  <a:pt x="406" y="19343"/>
                </a:cubicBezTo>
                <a:cubicBezTo>
                  <a:pt x="375" y="19374"/>
                  <a:pt x="375" y="19343"/>
                  <a:pt x="344" y="19312"/>
                </a:cubicBezTo>
                <a:cubicBezTo>
                  <a:pt x="375" y="19343"/>
                  <a:pt x="375" y="19343"/>
                  <a:pt x="406" y="19343"/>
                </a:cubicBezTo>
                <a:cubicBezTo>
                  <a:pt x="375" y="19343"/>
                  <a:pt x="375" y="19343"/>
                  <a:pt x="344" y="19312"/>
                </a:cubicBezTo>
                <a:cubicBezTo>
                  <a:pt x="313" y="19312"/>
                  <a:pt x="313" y="19312"/>
                  <a:pt x="281" y="19312"/>
                </a:cubicBezTo>
                <a:cubicBezTo>
                  <a:pt x="281" y="19312"/>
                  <a:pt x="281" y="19312"/>
                  <a:pt x="281" y="19312"/>
                </a:cubicBezTo>
                <a:cubicBezTo>
                  <a:pt x="250" y="19312"/>
                  <a:pt x="219" y="19312"/>
                  <a:pt x="188" y="19312"/>
                </a:cubicBezTo>
                <a:cubicBezTo>
                  <a:pt x="63" y="19312"/>
                  <a:pt x="63" y="19281"/>
                  <a:pt x="63" y="19156"/>
                </a:cubicBezTo>
                <a:cubicBezTo>
                  <a:pt x="63" y="19093"/>
                  <a:pt x="31" y="18999"/>
                  <a:pt x="63" y="18968"/>
                </a:cubicBezTo>
                <a:cubicBezTo>
                  <a:pt x="94" y="18906"/>
                  <a:pt x="188" y="18968"/>
                  <a:pt x="250" y="18906"/>
                </a:cubicBezTo>
                <a:cubicBezTo>
                  <a:pt x="281" y="18906"/>
                  <a:pt x="344" y="18906"/>
                  <a:pt x="375" y="18874"/>
                </a:cubicBezTo>
                <a:cubicBezTo>
                  <a:pt x="375" y="18874"/>
                  <a:pt x="375" y="18874"/>
                  <a:pt x="344" y="18843"/>
                </a:cubicBezTo>
                <a:cubicBezTo>
                  <a:pt x="344" y="18843"/>
                  <a:pt x="313" y="18843"/>
                  <a:pt x="281" y="18843"/>
                </a:cubicBezTo>
                <a:cubicBezTo>
                  <a:pt x="281" y="18843"/>
                  <a:pt x="250" y="18843"/>
                  <a:pt x="219" y="18843"/>
                </a:cubicBezTo>
                <a:cubicBezTo>
                  <a:pt x="250" y="18843"/>
                  <a:pt x="281" y="18843"/>
                  <a:pt x="281" y="18843"/>
                </a:cubicBezTo>
                <a:cubicBezTo>
                  <a:pt x="188" y="18906"/>
                  <a:pt x="94" y="18937"/>
                  <a:pt x="0" y="18937"/>
                </a:cubicBezTo>
                <a:cubicBezTo>
                  <a:pt x="0" y="18843"/>
                  <a:pt x="0" y="18749"/>
                  <a:pt x="0" y="18656"/>
                </a:cubicBezTo>
                <a:cubicBezTo>
                  <a:pt x="63" y="18687"/>
                  <a:pt x="156" y="18718"/>
                  <a:pt x="219" y="18656"/>
                </a:cubicBezTo>
                <a:cubicBezTo>
                  <a:pt x="219" y="18656"/>
                  <a:pt x="250" y="18656"/>
                  <a:pt x="250" y="18656"/>
                </a:cubicBezTo>
                <a:cubicBezTo>
                  <a:pt x="313" y="18593"/>
                  <a:pt x="344" y="18656"/>
                  <a:pt x="406" y="18656"/>
                </a:cubicBezTo>
                <a:cubicBezTo>
                  <a:pt x="406" y="18624"/>
                  <a:pt x="406" y="18624"/>
                  <a:pt x="438" y="18624"/>
                </a:cubicBezTo>
                <a:cubicBezTo>
                  <a:pt x="438" y="18624"/>
                  <a:pt x="438" y="18624"/>
                  <a:pt x="438" y="18656"/>
                </a:cubicBezTo>
                <a:cubicBezTo>
                  <a:pt x="438" y="18624"/>
                  <a:pt x="438" y="18624"/>
                  <a:pt x="438" y="18624"/>
                </a:cubicBezTo>
                <a:cubicBezTo>
                  <a:pt x="500" y="18562"/>
                  <a:pt x="594" y="18593"/>
                  <a:pt x="656" y="18562"/>
                </a:cubicBezTo>
                <a:cubicBezTo>
                  <a:pt x="656" y="18562"/>
                  <a:pt x="656" y="18562"/>
                  <a:pt x="656" y="18562"/>
                </a:cubicBezTo>
                <a:cubicBezTo>
                  <a:pt x="656" y="18562"/>
                  <a:pt x="625" y="18562"/>
                  <a:pt x="625" y="18562"/>
                </a:cubicBezTo>
                <a:cubicBezTo>
                  <a:pt x="625" y="18562"/>
                  <a:pt x="594" y="18562"/>
                  <a:pt x="594" y="18562"/>
                </a:cubicBezTo>
                <a:cubicBezTo>
                  <a:pt x="594" y="18562"/>
                  <a:pt x="563" y="18562"/>
                  <a:pt x="563" y="18562"/>
                </a:cubicBezTo>
                <a:cubicBezTo>
                  <a:pt x="531" y="18562"/>
                  <a:pt x="500" y="18562"/>
                  <a:pt x="469" y="18562"/>
                </a:cubicBezTo>
                <a:cubicBezTo>
                  <a:pt x="406" y="18593"/>
                  <a:pt x="344" y="18593"/>
                  <a:pt x="313" y="18499"/>
                </a:cubicBezTo>
                <a:cubicBezTo>
                  <a:pt x="313" y="18468"/>
                  <a:pt x="281" y="18437"/>
                  <a:pt x="250" y="18468"/>
                </a:cubicBezTo>
                <a:cubicBezTo>
                  <a:pt x="188" y="18562"/>
                  <a:pt x="188" y="18468"/>
                  <a:pt x="156" y="18437"/>
                </a:cubicBezTo>
                <a:cubicBezTo>
                  <a:pt x="219" y="18437"/>
                  <a:pt x="250" y="18374"/>
                  <a:pt x="313" y="18343"/>
                </a:cubicBezTo>
                <a:cubicBezTo>
                  <a:pt x="313" y="18343"/>
                  <a:pt x="313" y="18312"/>
                  <a:pt x="313" y="18281"/>
                </a:cubicBezTo>
                <a:cubicBezTo>
                  <a:pt x="313" y="18281"/>
                  <a:pt x="281" y="18281"/>
                  <a:pt x="250" y="18281"/>
                </a:cubicBezTo>
                <a:cubicBezTo>
                  <a:pt x="219" y="18281"/>
                  <a:pt x="156" y="18343"/>
                  <a:pt x="156" y="18437"/>
                </a:cubicBezTo>
                <a:cubicBezTo>
                  <a:pt x="94" y="18406"/>
                  <a:pt x="31" y="18406"/>
                  <a:pt x="0" y="18437"/>
                </a:cubicBezTo>
                <a:cubicBezTo>
                  <a:pt x="0" y="18374"/>
                  <a:pt x="0" y="18312"/>
                  <a:pt x="0" y="18249"/>
                </a:cubicBezTo>
                <a:cubicBezTo>
                  <a:pt x="63" y="18218"/>
                  <a:pt x="156" y="18187"/>
                  <a:pt x="188" y="18093"/>
                </a:cubicBezTo>
                <a:cubicBezTo>
                  <a:pt x="156" y="18093"/>
                  <a:pt x="125" y="18093"/>
                  <a:pt x="94" y="18093"/>
                </a:cubicBezTo>
                <a:cubicBezTo>
                  <a:pt x="63" y="18093"/>
                  <a:pt x="31" y="18093"/>
                  <a:pt x="0" y="18093"/>
                </a:cubicBezTo>
                <a:cubicBezTo>
                  <a:pt x="0" y="18062"/>
                  <a:pt x="0" y="18031"/>
                  <a:pt x="0" y="17999"/>
                </a:cubicBezTo>
                <a:lnTo>
                  <a:pt x="0" y="17999"/>
                </a:lnTo>
                <a:cubicBezTo>
                  <a:pt x="31" y="17999"/>
                  <a:pt x="31" y="18062"/>
                  <a:pt x="94" y="18031"/>
                </a:cubicBezTo>
                <a:cubicBezTo>
                  <a:pt x="125" y="18031"/>
                  <a:pt x="156" y="18031"/>
                  <a:pt x="188" y="18062"/>
                </a:cubicBezTo>
                <a:cubicBezTo>
                  <a:pt x="250" y="18093"/>
                  <a:pt x="281" y="18062"/>
                  <a:pt x="281" y="17999"/>
                </a:cubicBezTo>
                <a:cubicBezTo>
                  <a:pt x="281" y="17968"/>
                  <a:pt x="281" y="17906"/>
                  <a:pt x="250" y="17874"/>
                </a:cubicBezTo>
                <a:cubicBezTo>
                  <a:pt x="219" y="17874"/>
                  <a:pt x="250" y="17843"/>
                  <a:pt x="250" y="17843"/>
                </a:cubicBezTo>
                <a:cubicBezTo>
                  <a:pt x="281" y="17781"/>
                  <a:pt x="281" y="17749"/>
                  <a:pt x="219" y="17749"/>
                </a:cubicBezTo>
                <a:cubicBezTo>
                  <a:pt x="219" y="17812"/>
                  <a:pt x="156" y="17781"/>
                  <a:pt x="125" y="17781"/>
                </a:cubicBezTo>
                <a:cubicBezTo>
                  <a:pt x="156" y="17749"/>
                  <a:pt x="188" y="17718"/>
                  <a:pt x="219" y="17718"/>
                </a:cubicBezTo>
                <a:cubicBezTo>
                  <a:pt x="250" y="17656"/>
                  <a:pt x="219" y="17593"/>
                  <a:pt x="219" y="17531"/>
                </a:cubicBezTo>
                <a:cubicBezTo>
                  <a:pt x="188" y="17374"/>
                  <a:pt x="156" y="17249"/>
                  <a:pt x="156" y="17093"/>
                </a:cubicBezTo>
                <a:cubicBezTo>
                  <a:pt x="156" y="17062"/>
                  <a:pt x="125" y="17062"/>
                  <a:pt x="125" y="17062"/>
                </a:cubicBezTo>
                <a:cubicBezTo>
                  <a:pt x="94" y="17093"/>
                  <a:pt x="94" y="17124"/>
                  <a:pt x="63" y="17093"/>
                </a:cubicBezTo>
                <a:cubicBezTo>
                  <a:pt x="63" y="17062"/>
                  <a:pt x="94" y="17062"/>
                  <a:pt x="94" y="17062"/>
                </a:cubicBezTo>
                <a:cubicBezTo>
                  <a:pt x="125" y="17031"/>
                  <a:pt x="156" y="17031"/>
                  <a:pt x="156" y="16999"/>
                </a:cubicBezTo>
                <a:cubicBezTo>
                  <a:pt x="125" y="16937"/>
                  <a:pt x="94" y="16999"/>
                  <a:pt x="63" y="16968"/>
                </a:cubicBezTo>
                <a:cubicBezTo>
                  <a:pt x="0" y="16968"/>
                  <a:pt x="31" y="17031"/>
                  <a:pt x="0" y="17031"/>
                </a:cubicBezTo>
                <a:cubicBezTo>
                  <a:pt x="0" y="16999"/>
                  <a:pt x="0" y="16968"/>
                  <a:pt x="0" y="16937"/>
                </a:cubicBezTo>
                <a:cubicBezTo>
                  <a:pt x="31" y="16937"/>
                  <a:pt x="63" y="16906"/>
                  <a:pt x="63" y="16874"/>
                </a:cubicBezTo>
                <a:cubicBezTo>
                  <a:pt x="63" y="16812"/>
                  <a:pt x="0" y="16874"/>
                  <a:pt x="0" y="16843"/>
                </a:cubicBezTo>
                <a:cubicBezTo>
                  <a:pt x="0" y="16749"/>
                  <a:pt x="0" y="16687"/>
                  <a:pt x="0" y="16624"/>
                </a:cubicBezTo>
                <a:cubicBezTo>
                  <a:pt x="0" y="16562"/>
                  <a:pt x="0" y="16468"/>
                  <a:pt x="0" y="16406"/>
                </a:cubicBezTo>
                <a:cubicBezTo>
                  <a:pt x="125" y="16374"/>
                  <a:pt x="281" y="16281"/>
                  <a:pt x="406" y="16218"/>
                </a:cubicBezTo>
                <a:cubicBezTo>
                  <a:pt x="750" y="16031"/>
                  <a:pt x="1094" y="15874"/>
                  <a:pt x="1438" y="15687"/>
                </a:cubicBezTo>
                <a:cubicBezTo>
                  <a:pt x="1781" y="15531"/>
                  <a:pt x="2094" y="15343"/>
                  <a:pt x="2438" y="15187"/>
                </a:cubicBezTo>
                <a:cubicBezTo>
                  <a:pt x="2969" y="14906"/>
                  <a:pt x="3531" y="14624"/>
                  <a:pt x="4063" y="14343"/>
                </a:cubicBezTo>
                <a:cubicBezTo>
                  <a:pt x="4281" y="14249"/>
                  <a:pt x="4469" y="14124"/>
                  <a:pt x="4688" y="14031"/>
                </a:cubicBezTo>
                <a:cubicBezTo>
                  <a:pt x="4719" y="13999"/>
                  <a:pt x="4750" y="13999"/>
                  <a:pt x="4781" y="13999"/>
                </a:cubicBezTo>
                <a:cubicBezTo>
                  <a:pt x="4781" y="13999"/>
                  <a:pt x="4813" y="13999"/>
                  <a:pt x="4813" y="13999"/>
                </a:cubicBezTo>
                <a:cubicBezTo>
                  <a:pt x="4844" y="13937"/>
                  <a:pt x="4875" y="13906"/>
                  <a:pt x="4938" y="13937"/>
                </a:cubicBezTo>
                <a:cubicBezTo>
                  <a:pt x="4938" y="13937"/>
                  <a:pt x="4938" y="13906"/>
                  <a:pt x="4969" y="13906"/>
                </a:cubicBezTo>
                <a:cubicBezTo>
                  <a:pt x="5000" y="13843"/>
                  <a:pt x="5063" y="13843"/>
                  <a:pt x="5094" y="13812"/>
                </a:cubicBezTo>
                <a:cubicBezTo>
                  <a:pt x="5125" y="13812"/>
                  <a:pt x="5125" y="13812"/>
                  <a:pt x="5125" y="13812"/>
                </a:cubicBezTo>
                <a:cubicBezTo>
                  <a:pt x="5125" y="13906"/>
                  <a:pt x="5188" y="13874"/>
                  <a:pt x="5219" y="13874"/>
                </a:cubicBezTo>
                <a:cubicBezTo>
                  <a:pt x="5313" y="13874"/>
                  <a:pt x="5344" y="13812"/>
                  <a:pt x="5438" y="13781"/>
                </a:cubicBezTo>
                <a:cubicBezTo>
                  <a:pt x="5469" y="13749"/>
                  <a:pt x="5531" y="13749"/>
                  <a:pt x="5563" y="13687"/>
                </a:cubicBezTo>
                <a:cubicBezTo>
                  <a:pt x="5594" y="13656"/>
                  <a:pt x="5625" y="13687"/>
                  <a:pt x="5625" y="13718"/>
                </a:cubicBezTo>
                <a:cubicBezTo>
                  <a:pt x="5688" y="13749"/>
                  <a:pt x="5750" y="13812"/>
                  <a:pt x="5781" y="13874"/>
                </a:cubicBezTo>
                <a:cubicBezTo>
                  <a:pt x="5656" y="13843"/>
                  <a:pt x="5563" y="13937"/>
                  <a:pt x="5438" y="13937"/>
                </a:cubicBezTo>
                <a:cubicBezTo>
                  <a:pt x="5531" y="13999"/>
                  <a:pt x="5625" y="13968"/>
                  <a:pt x="5750" y="13999"/>
                </a:cubicBezTo>
                <a:cubicBezTo>
                  <a:pt x="5781" y="13968"/>
                  <a:pt x="5813" y="13968"/>
                  <a:pt x="5844" y="13937"/>
                </a:cubicBezTo>
                <a:cubicBezTo>
                  <a:pt x="5906" y="13937"/>
                  <a:pt x="5938" y="13968"/>
                  <a:pt x="5906" y="14031"/>
                </a:cubicBezTo>
                <a:cubicBezTo>
                  <a:pt x="5875" y="13999"/>
                  <a:pt x="5875" y="13999"/>
                  <a:pt x="5844" y="14031"/>
                </a:cubicBezTo>
                <a:cubicBezTo>
                  <a:pt x="5875" y="13999"/>
                  <a:pt x="5875" y="13999"/>
                  <a:pt x="5906" y="14031"/>
                </a:cubicBezTo>
                <a:cubicBezTo>
                  <a:pt x="5969" y="14062"/>
                  <a:pt x="6031" y="14062"/>
                  <a:pt x="6094" y="14093"/>
                </a:cubicBezTo>
                <a:cubicBezTo>
                  <a:pt x="6094" y="14124"/>
                  <a:pt x="6156" y="14124"/>
                  <a:pt x="6156" y="14062"/>
                </a:cubicBezTo>
                <a:cubicBezTo>
                  <a:pt x="6156" y="14031"/>
                  <a:pt x="6219" y="14031"/>
                  <a:pt x="6219" y="14062"/>
                </a:cubicBezTo>
                <a:cubicBezTo>
                  <a:pt x="6219" y="14124"/>
                  <a:pt x="6250" y="14124"/>
                  <a:pt x="6281" y="14156"/>
                </a:cubicBezTo>
                <a:lnTo>
                  <a:pt x="6281" y="14156"/>
                </a:lnTo>
                <a:cubicBezTo>
                  <a:pt x="6094" y="14156"/>
                  <a:pt x="5938" y="14093"/>
                  <a:pt x="5781" y="14031"/>
                </a:cubicBezTo>
                <a:cubicBezTo>
                  <a:pt x="5781" y="14031"/>
                  <a:pt x="5750" y="14031"/>
                  <a:pt x="5750" y="14031"/>
                </a:cubicBezTo>
                <a:cubicBezTo>
                  <a:pt x="5594" y="13999"/>
                  <a:pt x="5438" y="13999"/>
                  <a:pt x="5313" y="13937"/>
                </a:cubicBezTo>
                <a:cubicBezTo>
                  <a:pt x="5281" y="13937"/>
                  <a:pt x="5219" y="13937"/>
                  <a:pt x="5188" y="13906"/>
                </a:cubicBezTo>
                <a:lnTo>
                  <a:pt x="5188" y="13906"/>
                </a:lnTo>
                <a:cubicBezTo>
                  <a:pt x="5125" y="13937"/>
                  <a:pt x="5031" y="13843"/>
                  <a:pt x="4969" y="13906"/>
                </a:cubicBezTo>
                <a:cubicBezTo>
                  <a:pt x="4969" y="13937"/>
                  <a:pt x="5000" y="13968"/>
                  <a:pt x="5031" y="13999"/>
                </a:cubicBezTo>
                <a:cubicBezTo>
                  <a:pt x="5188" y="13999"/>
                  <a:pt x="5313" y="14031"/>
                  <a:pt x="5469" y="14062"/>
                </a:cubicBezTo>
                <a:cubicBezTo>
                  <a:pt x="5594" y="14124"/>
                  <a:pt x="5750" y="14124"/>
                  <a:pt x="5875" y="14187"/>
                </a:cubicBezTo>
                <a:cubicBezTo>
                  <a:pt x="5906" y="14187"/>
                  <a:pt x="5906" y="14249"/>
                  <a:pt x="5969" y="14187"/>
                </a:cubicBezTo>
                <a:cubicBezTo>
                  <a:pt x="6000" y="14156"/>
                  <a:pt x="6031" y="14218"/>
                  <a:pt x="6063" y="14218"/>
                </a:cubicBezTo>
                <a:cubicBezTo>
                  <a:pt x="6125" y="14187"/>
                  <a:pt x="6219" y="14218"/>
                  <a:pt x="6281" y="14249"/>
                </a:cubicBezTo>
                <a:cubicBezTo>
                  <a:pt x="6313" y="14249"/>
                  <a:pt x="6344" y="14249"/>
                  <a:pt x="6344" y="14281"/>
                </a:cubicBezTo>
                <a:cubicBezTo>
                  <a:pt x="6344" y="14312"/>
                  <a:pt x="6313" y="14312"/>
                  <a:pt x="6281" y="14312"/>
                </a:cubicBezTo>
                <a:cubicBezTo>
                  <a:pt x="6281" y="14343"/>
                  <a:pt x="6219" y="14374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19" y="14437"/>
                  <a:pt x="6219" y="14437"/>
                  <a:pt x="6219" y="14437"/>
                </a:cubicBezTo>
                <a:cubicBezTo>
                  <a:pt x="6250" y="14437"/>
                  <a:pt x="6250" y="14437"/>
                  <a:pt x="6281" y="14437"/>
                </a:cubicBezTo>
                <a:cubicBezTo>
                  <a:pt x="6281" y="14437"/>
                  <a:pt x="6281" y="14437"/>
                  <a:pt x="6281" y="14437"/>
                </a:cubicBezTo>
                <a:cubicBezTo>
                  <a:pt x="6281" y="14437"/>
                  <a:pt x="6281" y="14406"/>
                  <a:pt x="6281" y="14406"/>
                </a:cubicBezTo>
                <a:cubicBezTo>
                  <a:pt x="6344" y="14406"/>
                  <a:pt x="6406" y="14374"/>
                  <a:pt x="6438" y="14312"/>
                </a:cubicBezTo>
                <a:cubicBezTo>
                  <a:pt x="6438" y="14281"/>
                  <a:pt x="6438" y="14281"/>
                  <a:pt x="6469" y="14281"/>
                </a:cubicBezTo>
                <a:cubicBezTo>
                  <a:pt x="6500" y="14281"/>
                  <a:pt x="6531" y="14281"/>
                  <a:pt x="6563" y="14312"/>
                </a:cubicBezTo>
                <a:cubicBezTo>
                  <a:pt x="6875" y="14374"/>
                  <a:pt x="7156" y="14437"/>
                  <a:pt x="7469" y="14531"/>
                </a:cubicBezTo>
                <a:cubicBezTo>
                  <a:pt x="7750" y="14593"/>
                  <a:pt x="8063" y="14656"/>
                  <a:pt x="8375" y="14718"/>
                </a:cubicBezTo>
                <a:cubicBezTo>
                  <a:pt x="8594" y="14749"/>
                  <a:pt x="8813" y="14812"/>
                  <a:pt x="9031" y="14874"/>
                </a:cubicBezTo>
                <a:cubicBezTo>
                  <a:pt x="9250" y="14906"/>
                  <a:pt x="9438" y="14937"/>
                  <a:pt x="9656" y="14999"/>
                </a:cubicBezTo>
                <a:cubicBezTo>
                  <a:pt x="9813" y="14999"/>
                  <a:pt x="9938" y="15031"/>
                  <a:pt x="10094" y="15062"/>
                </a:cubicBezTo>
                <a:cubicBezTo>
                  <a:pt x="10281" y="14906"/>
                  <a:pt x="10469" y="14718"/>
                  <a:pt x="10656" y="14531"/>
                </a:cubicBezTo>
                <a:cubicBezTo>
                  <a:pt x="10875" y="14343"/>
                  <a:pt x="11125" y="14124"/>
                  <a:pt x="11344" y="13906"/>
                </a:cubicBezTo>
                <a:cubicBezTo>
                  <a:pt x="11344" y="13906"/>
                  <a:pt x="11375" y="13874"/>
                  <a:pt x="11344" y="13874"/>
                </a:cubicBezTo>
                <a:cubicBezTo>
                  <a:pt x="11344" y="13843"/>
                  <a:pt x="11313" y="13874"/>
                  <a:pt x="11281" y="13874"/>
                </a:cubicBezTo>
                <a:cubicBezTo>
                  <a:pt x="11188" y="13999"/>
                  <a:pt x="11031" y="14062"/>
                  <a:pt x="10938" y="14218"/>
                </a:cubicBezTo>
                <a:cubicBezTo>
                  <a:pt x="10906" y="14249"/>
                  <a:pt x="10875" y="14218"/>
                  <a:pt x="10844" y="14187"/>
                </a:cubicBezTo>
                <a:cubicBezTo>
                  <a:pt x="10781" y="14156"/>
                  <a:pt x="10719" y="14093"/>
                  <a:pt x="10625" y="14031"/>
                </a:cubicBezTo>
                <a:cubicBezTo>
                  <a:pt x="10625" y="14031"/>
                  <a:pt x="10625" y="14031"/>
                  <a:pt x="10625" y="14031"/>
                </a:cubicBezTo>
                <a:cubicBezTo>
                  <a:pt x="10594" y="14031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4031"/>
                  <a:pt x="10563" y="14062"/>
                  <a:pt x="10594" y="14062"/>
                </a:cubicBezTo>
                <a:cubicBezTo>
                  <a:pt x="10656" y="14124"/>
                  <a:pt x="10719" y="14187"/>
                  <a:pt x="10781" y="14218"/>
                </a:cubicBezTo>
                <a:cubicBezTo>
                  <a:pt x="10813" y="14249"/>
                  <a:pt x="10844" y="14281"/>
                  <a:pt x="10813" y="14312"/>
                </a:cubicBezTo>
                <a:cubicBezTo>
                  <a:pt x="10750" y="14374"/>
                  <a:pt x="10688" y="14406"/>
                  <a:pt x="10625" y="14468"/>
                </a:cubicBezTo>
                <a:cubicBezTo>
                  <a:pt x="10625" y="14468"/>
                  <a:pt x="10625" y="14468"/>
                  <a:pt x="10594" y="14468"/>
                </a:cubicBezTo>
                <a:cubicBezTo>
                  <a:pt x="10594" y="14499"/>
                  <a:pt x="10563" y="14531"/>
                  <a:pt x="10563" y="14531"/>
                </a:cubicBezTo>
                <a:cubicBezTo>
                  <a:pt x="10438" y="14499"/>
                  <a:pt x="10313" y="14499"/>
                  <a:pt x="10219" y="14437"/>
                </a:cubicBezTo>
                <a:cubicBezTo>
                  <a:pt x="10188" y="14437"/>
                  <a:pt x="10188" y="14437"/>
                  <a:pt x="10156" y="14437"/>
                </a:cubicBezTo>
                <a:cubicBezTo>
                  <a:pt x="10125" y="14437"/>
                  <a:pt x="10094" y="14437"/>
                  <a:pt x="10094" y="14406"/>
                </a:cubicBezTo>
                <a:cubicBezTo>
                  <a:pt x="9875" y="14374"/>
                  <a:pt x="9688" y="14312"/>
                  <a:pt x="9500" y="14281"/>
                </a:cubicBezTo>
                <a:cubicBezTo>
                  <a:pt x="9625" y="14249"/>
                  <a:pt x="9750" y="14218"/>
                  <a:pt x="9875" y="14187"/>
                </a:cubicBezTo>
                <a:cubicBezTo>
                  <a:pt x="9906" y="14187"/>
                  <a:pt x="9906" y="14156"/>
                  <a:pt x="9938" y="14187"/>
                </a:cubicBezTo>
                <a:cubicBezTo>
                  <a:pt x="10031" y="14281"/>
                  <a:pt x="10125" y="14343"/>
                  <a:pt x="10219" y="14406"/>
                </a:cubicBezTo>
                <a:cubicBezTo>
                  <a:pt x="10250" y="14406"/>
                  <a:pt x="10281" y="14468"/>
                  <a:pt x="10344" y="14406"/>
                </a:cubicBezTo>
                <a:cubicBezTo>
                  <a:pt x="10313" y="14406"/>
                  <a:pt x="10281" y="14406"/>
                  <a:pt x="10281" y="14374"/>
                </a:cubicBezTo>
                <a:cubicBezTo>
                  <a:pt x="10156" y="14312"/>
                  <a:pt x="10063" y="14218"/>
                  <a:pt x="9969" y="14156"/>
                </a:cubicBezTo>
                <a:cubicBezTo>
                  <a:pt x="10031" y="14124"/>
                  <a:pt x="10094" y="14093"/>
                  <a:pt x="10156" y="14093"/>
                </a:cubicBezTo>
                <a:cubicBezTo>
                  <a:pt x="10219" y="14093"/>
                  <a:pt x="10313" y="14062"/>
                  <a:pt x="10375" y="14031"/>
                </a:cubicBezTo>
                <a:cubicBezTo>
                  <a:pt x="10438" y="13999"/>
                  <a:pt x="10406" y="13968"/>
                  <a:pt x="10344" y="13968"/>
                </a:cubicBezTo>
                <a:cubicBezTo>
                  <a:pt x="10250" y="13968"/>
                  <a:pt x="10156" y="14062"/>
                  <a:pt x="10031" y="14062"/>
                </a:cubicBezTo>
                <a:cubicBezTo>
                  <a:pt x="10000" y="14062"/>
                  <a:pt x="9969" y="14062"/>
                  <a:pt x="9938" y="14093"/>
                </a:cubicBezTo>
                <a:cubicBezTo>
                  <a:pt x="9938" y="14124"/>
                  <a:pt x="9906" y="14093"/>
                  <a:pt x="9875" y="14062"/>
                </a:cubicBezTo>
                <a:cubicBezTo>
                  <a:pt x="9875" y="14062"/>
                  <a:pt x="9875" y="14062"/>
                  <a:pt x="9875" y="14062"/>
                </a:cubicBezTo>
                <a:cubicBezTo>
                  <a:pt x="9844" y="14062"/>
                  <a:pt x="9813" y="14031"/>
                  <a:pt x="9781" y="13999"/>
                </a:cubicBezTo>
                <a:cubicBezTo>
                  <a:pt x="9781" y="13999"/>
                  <a:pt x="9781" y="13999"/>
                  <a:pt x="9781" y="13968"/>
                </a:cubicBezTo>
                <a:cubicBezTo>
                  <a:pt x="9750" y="13999"/>
                  <a:pt x="9719" y="13968"/>
                  <a:pt x="9719" y="13937"/>
                </a:cubicBezTo>
                <a:cubicBezTo>
                  <a:pt x="9719" y="13937"/>
                  <a:pt x="9719" y="13937"/>
                  <a:pt x="9719" y="13937"/>
                </a:cubicBezTo>
                <a:cubicBezTo>
                  <a:pt x="9625" y="13906"/>
                  <a:pt x="9531" y="13843"/>
                  <a:pt x="9469" y="13749"/>
                </a:cubicBezTo>
                <a:cubicBezTo>
                  <a:pt x="9563" y="13749"/>
                  <a:pt x="9656" y="13749"/>
                  <a:pt x="9781" y="13718"/>
                </a:cubicBezTo>
                <a:cubicBezTo>
                  <a:pt x="9656" y="13749"/>
                  <a:pt x="9563" y="13749"/>
                  <a:pt x="9469" y="13749"/>
                </a:cubicBezTo>
                <a:cubicBezTo>
                  <a:pt x="9406" y="13718"/>
                  <a:pt x="9438" y="13718"/>
                  <a:pt x="9500" y="13718"/>
                </a:cubicBezTo>
                <a:cubicBezTo>
                  <a:pt x="9594" y="13687"/>
                  <a:pt x="9719" y="13656"/>
                  <a:pt x="9813" y="13624"/>
                </a:cubicBezTo>
                <a:cubicBezTo>
                  <a:pt x="9938" y="13562"/>
                  <a:pt x="10031" y="13656"/>
                  <a:pt x="10094" y="13718"/>
                </a:cubicBezTo>
                <a:cubicBezTo>
                  <a:pt x="10188" y="13781"/>
                  <a:pt x="10281" y="13874"/>
                  <a:pt x="10406" y="13937"/>
                </a:cubicBezTo>
                <a:cubicBezTo>
                  <a:pt x="10469" y="13906"/>
                  <a:pt x="10375" y="13874"/>
                  <a:pt x="10375" y="13874"/>
                </a:cubicBezTo>
                <a:cubicBezTo>
                  <a:pt x="10344" y="13812"/>
                  <a:pt x="10281" y="13812"/>
                  <a:pt x="10250" y="13749"/>
                </a:cubicBezTo>
                <a:cubicBezTo>
                  <a:pt x="10156" y="13718"/>
                  <a:pt x="10125" y="13656"/>
                  <a:pt x="10031" y="13624"/>
                </a:cubicBezTo>
                <a:cubicBezTo>
                  <a:pt x="10031" y="13593"/>
                  <a:pt x="10031" y="13562"/>
                  <a:pt x="10063" y="13562"/>
                </a:cubicBezTo>
                <a:cubicBezTo>
                  <a:pt x="10188" y="13531"/>
                  <a:pt x="10281" y="13499"/>
                  <a:pt x="10406" y="13499"/>
                </a:cubicBezTo>
                <a:cubicBezTo>
                  <a:pt x="10406" y="13468"/>
                  <a:pt x="10406" y="13468"/>
                  <a:pt x="10406" y="13468"/>
                </a:cubicBezTo>
                <a:cubicBezTo>
                  <a:pt x="10438" y="13437"/>
                  <a:pt x="10406" y="13437"/>
                  <a:pt x="10375" y="13437"/>
                </a:cubicBezTo>
                <a:cubicBezTo>
                  <a:pt x="10313" y="13437"/>
                  <a:pt x="10219" y="13499"/>
                  <a:pt x="10156" y="13499"/>
                </a:cubicBezTo>
                <a:cubicBezTo>
                  <a:pt x="10125" y="13468"/>
                  <a:pt x="10094" y="13499"/>
                  <a:pt x="10063" y="13499"/>
                </a:cubicBezTo>
                <a:cubicBezTo>
                  <a:pt x="10000" y="13531"/>
                  <a:pt x="9906" y="13531"/>
                  <a:pt x="9844" y="13437"/>
                </a:cubicBezTo>
                <a:cubicBezTo>
                  <a:pt x="9813" y="13406"/>
                  <a:pt x="9750" y="13374"/>
                  <a:pt x="9688" y="13343"/>
                </a:cubicBezTo>
                <a:cubicBezTo>
                  <a:pt x="9594" y="13187"/>
                  <a:pt x="9375" y="13218"/>
                  <a:pt x="9219" y="13156"/>
                </a:cubicBezTo>
                <a:cubicBezTo>
                  <a:pt x="9219" y="13156"/>
                  <a:pt x="9188" y="13124"/>
                  <a:pt x="9188" y="13156"/>
                </a:cubicBezTo>
                <a:cubicBezTo>
                  <a:pt x="9156" y="13218"/>
                  <a:pt x="9094" y="13187"/>
                  <a:pt x="9063" y="13187"/>
                </a:cubicBezTo>
                <a:cubicBezTo>
                  <a:pt x="9000" y="13218"/>
                  <a:pt x="8938" y="13218"/>
                  <a:pt x="8875" y="13249"/>
                </a:cubicBezTo>
                <a:cubicBezTo>
                  <a:pt x="8813" y="13281"/>
                  <a:pt x="8813" y="13249"/>
                  <a:pt x="8781" y="13249"/>
                </a:cubicBezTo>
                <a:cubicBezTo>
                  <a:pt x="8719" y="13187"/>
                  <a:pt x="8656" y="13124"/>
                  <a:pt x="8594" y="13093"/>
                </a:cubicBezTo>
                <a:cubicBezTo>
                  <a:pt x="8563" y="13062"/>
                  <a:pt x="8500" y="13062"/>
                  <a:pt x="8531" y="13031"/>
                </a:cubicBezTo>
                <a:cubicBezTo>
                  <a:pt x="8531" y="12999"/>
                  <a:pt x="8563" y="13031"/>
                  <a:pt x="8594" y="13031"/>
                </a:cubicBezTo>
                <a:cubicBezTo>
                  <a:pt x="8594" y="13031"/>
                  <a:pt x="8625" y="13031"/>
                  <a:pt x="8625" y="12999"/>
                </a:cubicBezTo>
                <a:cubicBezTo>
                  <a:pt x="8500" y="12968"/>
                  <a:pt x="8375" y="12937"/>
                  <a:pt x="8281" y="12906"/>
                </a:cubicBezTo>
                <a:cubicBezTo>
                  <a:pt x="8188" y="12906"/>
                  <a:pt x="8063" y="12843"/>
                  <a:pt x="7969" y="12874"/>
                </a:cubicBezTo>
                <a:cubicBezTo>
                  <a:pt x="7938" y="12937"/>
                  <a:pt x="7906" y="12937"/>
                  <a:pt x="7844" y="12906"/>
                </a:cubicBezTo>
                <a:cubicBezTo>
                  <a:pt x="7844" y="12906"/>
                  <a:pt x="7844" y="12906"/>
                  <a:pt x="7844" y="12937"/>
                </a:cubicBezTo>
                <a:cubicBezTo>
                  <a:pt x="7813" y="12968"/>
                  <a:pt x="7781" y="12968"/>
                  <a:pt x="7750" y="12937"/>
                </a:cubicBezTo>
                <a:cubicBezTo>
                  <a:pt x="7750" y="12937"/>
                  <a:pt x="7719" y="12937"/>
                  <a:pt x="7719" y="12937"/>
                </a:cubicBezTo>
                <a:cubicBezTo>
                  <a:pt x="7719" y="12937"/>
                  <a:pt x="7688" y="12937"/>
                  <a:pt x="7688" y="12906"/>
                </a:cubicBezTo>
                <a:cubicBezTo>
                  <a:pt x="7688" y="12937"/>
                  <a:pt x="7719" y="12937"/>
                  <a:pt x="7719" y="12937"/>
                </a:cubicBezTo>
                <a:cubicBezTo>
                  <a:pt x="7594" y="12999"/>
                  <a:pt x="7531" y="12843"/>
                  <a:pt x="7438" y="12781"/>
                </a:cubicBezTo>
                <a:cubicBezTo>
                  <a:pt x="7531" y="12749"/>
                  <a:pt x="7594" y="12781"/>
                  <a:pt x="7688" y="12781"/>
                </a:cubicBezTo>
                <a:cubicBezTo>
                  <a:pt x="7531" y="12718"/>
                  <a:pt x="7344" y="12656"/>
                  <a:pt x="7188" y="12781"/>
                </a:cubicBezTo>
                <a:cubicBezTo>
                  <a:pt x="7156" y="12812"/>
                  <a:pt x="7125" y="12843"/>
                  <a:pt x="7063" y="12843"/>
                </a:cubicBezTo>
                <a:cubicBezTo>
                  <a:pt x="7094" y="12781"/>
                  <a:pt x="7125" y="12781"/>
                  <a:pt x="7188" y="12749"/>
                </a:cubicBezTo>
                <a:cubicBezTo>
                  <a:pt x="7188" y="12749"/>
                  <a:pt x="7188" y="12749"/>
                  <a:pt x="7188" y="12749"/>
                </a:cubicBezTo>
                <a:cubicBezTo>
                  <a:pt x="7188" y="12687"/>
                  <a:pt x="7156" y="12718"/>
                  <a:pt x="7125" y="12718"/>
                </a:cubicBezTo>
                <a:cubicBezTo>
                  <a:pt x="7031" y="12781"/>
                  <a:pt x="6938" y="12812"/>
                  <a:pt x="6844" y="12874"/>
                </a:cubicBezTo>
                <a:cubicBezTo>
                  <a:pt x="6813" y="12906"/>
                  <a:pt x="6813" y="12906"/>
                  <a:pt x="6781" y="12906"/>
                </a:cubicBezTo>
                <a:cubicBezTo>
                  <a:pt x="6750" y="12937"/>
                  <a:pt x="6750" y="12968"/>
                  <a:pt x="6688" y="12937"/>
                </a:cubicBezTo>
                <a:cubicBezTo>
                  <a:pt x="6719" y="12906"/>
                  <a:pt x="6750" y="12906"/>
                  <a:pt x="6781" y="12906"/>
                </a:cubicBezTo>
                <a:cubicBezTo>
                  <a:pt x="6813" y="12843"/>
                  <a:pt x="6906" y="12812"/>
                  <a:pt x="6906" y="12749"/>
                </a:cubicBezTo>
                <a:cubicBezTo>
                  <a:pt x="6875" y="12624"/>
                  <a:pt x="6938" y="12531"/>
                  <a:pt x="6969" y="12437"/>
                </a:cubicBezTo>
                <a:cubicBezTo>
                  <a:pt x="7031" y="12156"/>
                  <a:pt x="7125" y="11843"/>
                  <a:pt x="7188" y="11562"/>
                </a:cubicBezTo>
                <a:cubicBezTo>
                  <a:pt x="7219" y="11437"/>
                  <a:pt x="7250" y="11312"/>
                  <a:pt x="7313" y="11187"/>
                </a:cubicBezTo>
                <a:cubicBezTo>
                  <a:pt x="7313" y="11156"/>
                  <a:pt x="7313" y="11156"/>
                  <a:pt x="7375" y="11156"/>
                </a:cubicBezTo>
                <a:cubicBezTo>
                  <a:pt x="7813" y="11281"/>
                  <a:pt x="8250" y="11406"/>
                  <a:pt x="8688" y="11531"/>
                </a:cubicBezTo>
                <a:cubicBezTo>
                  <a:pt x="8750" y="11531"/>
                  <a:pt x="8813" y="11593"/>
                  <a:pt x="8844" y="11656"/>
                </a:cubicBezTo>
                <a:cubicBezTo>
                  <a:pt x="8844" y="11687"/>
                  <a:pt x="8844" y="11718"/>
                  <a:pt x="8813" y="11718"/>
                </a:cubicBezTo>
                <a:cubicBezTo>
                  <a:pt x="8781" y="11749"/>
                  <a:pt x="8781" y="11718"/>
                  <a:pt x="8750" y="11687"/>
                </a:cubicBezTo>
                <a:cubicBezTo>
                  <a:pt x="8719" y="11656"/>
                  <a:pt x="8719" y="11624"/>
                  <a:pt x="8688" y="11593"/>
                </a:cubicBezTo>
                <a:cubicBezTo>
                  <a:pt x="8656" y="11593"/>
                  <a:pt x="8656" y="11562"/>
                  <a:pt x="8625" y="11562"/>
                </a:cubicBezTo>
                <a:cubicBezTo>
                  <a:pt x="8563" y="11562"/>
                  <a:pt x="8594" y="11624"/>
                  <a:pt x="8594" y="11656"/>
                </a:cubicBezTo>
                <a:cubicBezTo>
                  <a:pt x="8656" y="11656"/>
                  <a:pt x="8688" y="11718"/>
                  <a:pt x="8719" y="11781"/>
                </a:cubicBezTo>
                <a:cubicBezTo>
                  <a:pt x="8781" y="11812"/>
                  <a:pt x="8906" y="11781"/>
                  <a:pt x="8938" y="11718"/>
                </a:cubicBezTo>
                <a:cubicBezTo>
                  <a:pt x="8969" y="11687"/>
                  <a:pt x="8938" y="11687"/>
                  <a:pt x="8938" y="11656"/>
                </a:cubicBezTo>
                <a:cubicBezTo>
                  <a:pt x="8906" y="11656"/>
                  <a:pt x="8875" y="11624"/>
                  <a:pt x="8906" y="11593"/>
                </a:cubicBezTo>
                <a:cubicBezTo>
                  <a:pt x="8938" y="11593"/>
                  <a:pt x="8969" y="11593"/>
                  <a:pt x="8969" y="11624"/>
                </a:cubicBezTo>
                <a:cubicBezTo>
                  <a:pt x="9000" y="11687"/>
                  <a:pt x="9000" y="11687"/>
                  <a:pt x="9063" y="11624"/>
                </a:cubicBezTo>
                <a:cubicBezTo>
                  <a:pt x="9063" y="11624"/>
                  <a:pt x="9094" y="11624"/>
                  <a:pt x="9125" y="11624"/>
                </a:cubicBezTo>
                <a:cubicBezTo>
                  <a:pt x="9469" y="11749"/>
                  <a:pt x="9844" y="11843"/>
                  <a:pt x="10188" y="11937"/>
                </a:cubicBezTo>
                <a:cubicBezTo>
                  <a:pt x="10438" y="11999"/>
                  <a:pt x="10688" y="12062"/>
                  <a:pt x="10938" y="12156"/>
                </a:cubicBezTo>
                <a:cubicBezTo>
                  <a:pt x="11219" y="12218"/>
                  <a:pt x="11500" y="12281"/>
                  <a:pt x="11781" y="12374"/>
                </a:cubicBezTo>
                <a:cubicBezTo>
                  <a:pt x="11781" y="12374"/>
                  <a:pt x="11813" y="12374"/>
                  <a:pt x="11813" y="12374"/>
                </a:cubicBezTo>
                <a:cubicBezTo>
                  <a:pt x="11813" y="12374"/>
                  <a:pt x="11813" y="12374"/>
                  <a:pt x="11844" y="12374"/>
                </a:cubicBezTo>
                <a:cubicBezTo>
                  <a:pt x="11844" y="12374"/>
                  <a:pt x="11875" y="12374"/>
                  <a:pt x="11906" y="12374"/>
                </a:cubicBezTo>
                <a:cubicBezTo>
                  <a:pt x="11688" y="12312"/>
                  <a:pt x="11469" y="12249"/>
                  <a:pt x="11250" y="12187"/>
                </a:cubicBezTo>
                <a:cubicBezTo>
                  <a:pt x="11000" y="12093"/>
                  <a:pt x="10719" y="12031"/>
                  <a:pt x="10469" y="11968"/>
                </a:cubicBezTo>
                <a:cubicBezTo>
                  <a:pt x="10313" y="11906"/>
                  <a:pt x="10125" y="11874"/>
                  <a:pt x="9969" y="11812"/>
                </a:cubicBezTo>
                <a:cubicBezTo>
                  <a:pt x="9938" y="11812"/>
                  <a:pt x="9906" y="11812"/>
                  <a:pt x="9875" y="11812"/>
                </a:cubicBezTo>
                <a:cubicBezTo>
                  <a:pt x="9875" y="11812"/>
                  <a:pt x="9875" y="11812"/>
                  <a:pt x="9875" y="11812"/>
                </a:cubicBezTo>
                <a:cubicBezTo>
                  <a:pt x="9688" y="11749"/>
                  <a:pt x="9500" y="11687"/>
                  <a:pt x="9313" y="11656"/>
                </a:cubicBezTo>
                <a:cubicBezTo>
                  <a:pt x="9281" y="11656"/>
                  <a:pt x="9250" y="11624"/>
                  <a:pt x="9250" y="11624"/>
                </a:cubicBezTo>
                <a:cubicBezTo>
                  <a:pt x="9219" y="11624"/>
                  <a:pt x="9188" y="11624"/>
                  <a:pt x="9188" y="11593"/>
                </a:cubicBezTo>
                <a:cubicBezTo>
                  <a:pt x="9219" y="11499"/>
                  <a:pt x="9094" y="11531"/>
                  <a:pt x="9031" y="11468"/>
                </a:cubicBezTo>
                <a:cubicBezTo>
                  <a:pt x="9031" y="11437"/>
                  <a:pt x="9000" y="11406"/>
                  <a:pt x="9000" y="11406"/>
                </a:cubicBezTo>
                <a:cubicBezTo>
                  <a:pt x="9000" y="11343"/>
                  <a:pt x="8969" y="11281"/>
                  <a:pt x="8938" y="11218"/>
                </a:cubicBezTo>
                <a:cubicBezTo>
                  <a:pt x="8906" y="11218"/>
                  <a:pt x="8875" y="11281"/>
                  <a:pt x="8875" y="11312"/>
                </a:cubicBezTo>
                <a:cubicBezTo>
                  <a:pt x="8875" y="11343"/>
                  <a:pt x="8906" y="11343"/>
                  <a:pt x="8938" y="11343"/>
                </a:cubicBezTo>
                <a:cubicBezTo>
                  <a:pt x="8938" y="11374"/>
                  <a:pt x="8969" y="11374"/>
                  <a:pt x="8938" y="11406"/>
                </a:cubicBezTo>
                <a:cubicBezTo>
                  <a:pt x="8938" y="11437"/>
                  <a:pt x="8906" y="11406"/>
                  <a:pt x="8906" y="11406"/>
                </a:cubicBezTo>
                <a:cubicBezTo>
                  <a:pt x="8875" y="11374"/>
                  <a:pt x="8844" y="11406"/>
                  <a:pt x="8813" y="11406"/>
                </a:cubicBezTo>
                <a:cubicBezTo>
                  <a:pt x="8844" y="11468"/>
                  <a:pt x="8938" y="11468"/>
                  <a:pt x="8969" y="11531"/>
                </a:cubicBezTo>
                <a:cubicBezTo>
                  <a:pt x="8938" y="11562"/>
                  <a:pt x="8906" y="11531"/>
                  <a:pt x="8906" y="11531"/>
                </a:cubicBezTo>
                <a:cubicBezTo>
                  <a:pt x="8594" y="11406"/>
                  <a:pt x="8250" y="11374"/>
                  <a:pt x="7938" y="11281"/>
                </a:cubicBezTo>
                <a:cubicBezTo>
                  <a:pt x="7813" y="11218"/>
                  <a:pt x="7656" y="11187"/>
                  <a:pt x="7531" y="11156"/>
                </a:cubicBezTo>
                <a:cubicBezTo>
                  <a:pt x="7469" y="11124"/>
                  <a:pt x="7469" y="11124"/>
                  <a:pt x="7500" y="11062"/>
                </a:cubicBezTo>
                <a:cubicBezTo>
                  <a:pt x="7594" y="10843"/>
                  <a:pt x="7656" y="10593"/>
                  <a:pt x="7719" y="10343"/>
                </a:cubicBezTo>
                <a:cubicBezTo>
                  <a:pt x="7750" y="10250"/>
                  <a:pt x="7781" y="10156"/>
                  <a:pt x="7813" y="10062"/>
                </a:cubicBezTo>
                <a:cubicBezTo>
                  <a:pt x="7844" y="9968"/>
                  <a:pt x="7875" y="9968"/>
                  <a:pt x="7969" y="10031"/>
                </a:cubicBezTo>
                <a:cubicBezTo>
                  <a:pt x="7969" y="10031"/>
                  <a:pt x="7969" y="10031"/>
                  <a:pt x="7969" y="10031"/>
                </a:cubicBezTo>
                <a:cubicBezTo>
                  <a:pt x="8125" y="10062"/>
                  <a:pt x="8313" y="10125"/>
                  <a:pt x="8469" y="10187"/>
                </a:cubicBezTo>
                <a:cubicBezTo>
                  <a:pt x="8906" y="10281"/>
                  <a:pt x="9313" y="10437"/>
                  <a:pt x="9750" y="10531"/>
                </a:cubicBezTo>
                <a:cubicBezTo>
                  <a:pt x="9781" y="10562"/>
                  <a:pt x="9813" y="10562"/>
                  <a:pt x="9844" y="10562"/>
                </a:cubicBezTo>
                <a:cubicBezTo>
                  <a:pt x="9875" y="10593"/>
                  <a:pt x="9875" y="10593"/>
                  <a:pt x="9875" y="10656"/>
                </a:cubicBezTo>
                <a:cubicBezTo>
                  <a:pt x="9813" y="10874"/>
                  <a:pt x="9781" y="11093"/>
                  <a:pt x="9719" y="11281"/>
                </a:cubicBezTo>
                <a:cubicBezTo>
                  <a:pt x="9719" y="11374"/>
                  <a:pt x="9719" y="11437"/>
                  <a:pt x="9594" y="11406"/>
                </a:cubicBezTo>
                <a:cubicBezTo>
                  <a:pt x="9594" y="11406"/>
                  <a:pt x="9563" y="11406"/>
                  <a:pt x="9563" y="11437"/>
                </a:cubicBezTo>
                <a:cubicBezTo>
                  <a:pt x="9531" y="11468"/>
                  <a:pt x="9500" y="11531"/>
                  <a:pt x="9594" y="11531"/>
                </a:cubicBezTo>
                <a:cubicBezTo>
                  <a:pt x="9719" y="11531"/>
                  <a:pt x="9656" y="11624"/>
                  <a:pt x="9656" y="11687"/>
                </a:cubicBezTo>
                <a:cubicBezTo>
                  <a:pt x="9719" y="11593"/>
                  <a:pt x="9688" y="11468"/>
                  <a:pt x="9781" y="11374"/>
                </a:cubicBezTo>
                <a:cubicBezTo>
                  <a:pt x="9813" y="11124"/>
                  <a:pt x="9875" y="10906"/>
                  <a:pt x="9938" y="10656"/>
                </a:cubicBezTo>
                <a:cubicBezTo>
                  <a:pt x="9938" y="10624"/>
                  <a:pt x="9938" y="10593"/>
                  <a:pt x="10000" y="10624"/>
                </a:cubicBezTo>
                <a:cubicBezTo>
                  <a:pt x="10031" y="10624"/>
                  <a:pt x="10094" y="10624"/>
                  <a:pt x="10094" y="10718"/>
                </a:cubicBezTo>
                <a:cubicBezTo>
                  <a:pt x="10031" y="10968"/>
                  <a:pt x="9969" y="11218"/>
                  <a:pt x="9906" y="11468"/>
                </a:cubicBezTo>
                <a:cubicBezTo>
                  <a:pt x="9906" y="11562"/>
                  <a:pt x="9906" y="11624"/>
                  <a:pt x="9875" y="11687"/>
                </a:cubicBezTo>
                <a:cubicBezTo>
                  <a:pt x="9844" y="11718"/>
                  <a:pt x="9875" y="11749"/>
                  <a:pt x="9906" y="11781"/>
                </a:cubicBezTo>
                <a:cubicBezTo>
                  <a:pt x="9906" y="11781"/>
                  <a:pt x="9969" y="11781"/>
                  <a:pt x="9969" y="11812"/>
                </a:cubicBezTo>
                <a:cubicBezTo>
                  <a:pt x="10000" y="11812"/>
                  <a:pt x="10031" y="11812"/>
                  <a:pt x="10031" y="11781"/>
                </a:cubicBezTo>
                <a:cubicBezTo>
                  <a:pt x="9875" y="11718"/>
                  <a:pt x="9875" y="11718"/>
                  <a:pt x="9938" y="11562"/>
                </a:cubicBezTo>
                <a:cubicBezTo>
                  <a:pt x="9969" y="11374"/>
                  <a:pt x="10031" y="11156"/>
                  <a:pt x="10063" y="10968"/>
                </a:cubicBezTo>
                <a:cubicBezTo>
                  <a:pt x="10094" y="10874"/>
                  <a:pt x="10125" y="10812"/>
                  <a:pt x="10125" y="10718"/>
                </a:cubicBezTo>
                <a:cubicBezTo>
                  <a:pt x="10125" y="10687"/>
                  <a:pt x="10125" y="10656"/>
                  <a:pt x="10188" y="10687"/>
                </a:cubicBezTo>
                <a:cubicBezTo>
                  <a:pt x="10563" y="10781"/>
                  <a:pt x="10906" y="10906"/>
                  <a:pt x="11281" y="10999"/>
                </a:cubicBezTo>
                <a:cubicBezTo>
                  <a:pt x="11438" y="11062"/>
                  <a:pt x="11594" y="11093"/>
                  <a:pt x="11750" y="11124"/>
                </a:cubicBezTo>
                <a:cubicBezTo>
                  <a:pt x="11813" y="11156"/>
                  <a:pt x="11813" y="11156"/>
                  <a:pt x="11781" y="11218"/>
                </a:cubicBezTo>
                <a:cubicBezTo>
                  <a:pt x="11750" y="11374"/>
                  <a:pt x="11750" y="11531"/>
                  <a:pt x="11719" y="11718"/>
                </a:cubicBezTo>
                <a:cubicBezTo>
                  <a:pt x="11719" y="11781"/>
                  <a:pt x="11719" y="11874"/>
                  <a:pt x="11656" y="11937"/>
                </a:cubicBezTo>
                <a:cubicBezTo>
                  <a:pt x="11656" y="11937"/>
                  <a:pt x="11656" y="11968"/>
                  <a:pt x="11656" y="11968"/>
                </a:cubicBezTo>
                <a:cubicBezTo>
                  <a:pt x="11656" y="11968"/>
                  <a:pt x="11656" y="11968"/>
                  <a:pt x="11656" y="11968"/>
                </a:cubicBezTo>
                <a:cubicBezTo>
                  <a:pt x="11688" y="11999"/>
                  <a:pt x="11625" y="12093"/>
                  <a:pt x="11719" y="12093"/>
                </a:cubicBezTo>
                <a:cubicBezTo>
                  <a:pt x="11750" y="11812"/>
                  <a:pt x="11781" y="11499"/>
                  <a:pt x="11844" y="11218"/>
                </a:cubicBezTo>
                <a:cubicBezTo>
                  <a:pt x="11844" y="11124"/>
                  <a:pt x="11906" y="11187"/>
                  <a:pt x="11906" y="11187"/>
                </a:cubicBezTo>
                <a:cubicBezTo>
                  <a:pt x="11938" y="11218"/>
                  <a:pt x="12000" y="11156"/>
                  <a:pt x="12000" y="11249"/>
                </a:cubicBezTo>
                <a:cubicBezTo>
                  <a:pt x="11938" y="11437"/>
                  <a:pt x="11938" y="11656"/>
                  <a:pt x="11906" y="11843"/>
                </a:cubicBezTo>
                <a:cubicBezTo>
                  <a:pt x="11906" y="11874"/>
                  <a:pt x="11875" y="11937"/>
                  <a:pt x="11875" y="11999"/>
                </a:cubicBezTo>
                <a:cubicBezTo>
                  <a:pt x="11875" y="11999"/>
                  <a:pt x="11875" y="11999"/>
                  <a:pt x="11875" y="11999"/>
                </a:cubicBezTo>
                <a:cubicBezTo>
                  <a:pt x="11875" y="12062"/>
                  <a:pt x="11875" y="12124"/>
                  <a:pt x="11875" y="12187"/>
                </a:cubicBezTo>
                <a:cubicBezTo>
                  <a:pt x="11906" y="12156"/>
                  <a:pt x="11875" y="12124"/>
                  <a:pt x="11906" y="12093"/>
                </a:cubicBezTo>
                <a:cubicBezTo>
                  <a:pt x="11906" y="12062"/>
                  <a:pt x="11938" y="12062"/>
                  <a:pt x="11938" y="12031"/>
                </a:cubicBezTo>
                <a:cubicBezTo>
                  <a:pt x="11906" y="11999"/>
                  <a:pt x="11906" y="11968"/>
                  <a:pt x="11938" y="11937"/>
                </a:cubicBezTo>
                <a:cubicBezTo>
                  <a:pt x="11969" y="11718"/>
                  <a:pt x="12000" y="11499"/>
                  <a:pt x="12031" y="11281"/>
                </a:cubicBezTo>
                <a:cubicBezTo>
                  <a:pt x="12031" y="11218"/>
                  <a:pt x="12063" y="11218"/>
                  <a:pt x="12094" y="11249"/>
                </a:cubicBezTo>
                <a:cubicBezTo>
                  <a:pt x="12438" y="11343"/>
                  <a:pt x="12813" y="11437"/>
                  <a:pt x="13156" y="11562"/>
                </a:cubicBezTo>
                <a:cubicBezTo>
                  <a:pt x="13313" y="11593"/>
                  <a:pt x="13438" y="11656"/>
                  <a:pt x="13594" y="11687"/>
                </a:cubicBezTo>
                <a:cubicBezTo>
                  <a:pt x="13625" y="11687"/>
                  <a:pt x="13625" y="11687"/>
                  <a:pt x="13656" y="11718"/>
                </a:cubicBezTo>
                <a:cubicBezTo>
                  <a:pt x="14000" y="11781"/>
                  <a:pt x="14313" y="11906"/>
                  <a:pt x="14656" y="11999"/>
                </a:cubicBezTo>
                <a:cubicBezTo>
                  <a:pt x="14688" y="11999"/>
                  <a:pt x="14719" y="11999"/>
                  <a:pt x="14750" y="11999"/>
                </a:cubicBezTo>
                <a:cubicBezTo>
                  <a:pt x="14656" y="11937"/>
                  <a:pt x="14531" y="11906"/>
                  <a:pt x="14406" y="11874"/>
                </a:cubicBezTo>
                <a:cubicBezTo>
                  <a:pt x="13938" y="11749"/>
                  <a:pt x="13469" y="11593"/>
                  <a:pt x="13000" y="11468"/>
                </a:cubicBezTo>
                <a:cubicBezTo>
                  <a:pt x="12625" y="11343"/>
                  <a:pt x="12250" y="11218"/>
                  <a:pt x="11875" y="11124"/>
                </a:cubicBezTo>
                <a:cubicBezTo>
                  <a:pt x="11625" y="11062"/>
                  <a:pt x="11406" y="10968"/>
                  <a:pt x="11188" y="10906"/>
                </a:cubicBezTo>
                <a:cubicBezTo>
                  <a:pt x="10875" y="10812"/>
                  <a:pt x="10594" y="10749"/>
                  <a:pt x="10313" y="10624"/>
                </a:cubicBezTo>
                <a:cubicBezTo>
                  <a:pt x="10250" y="10593"/>
                  <a:pt x="10156" y="10593"/>
                  <a:pt x="10125" y="10562"/>
                </a:cubicBezTo>
                <a:cubicBezTo>
                  <a:pt x="10094" y="10562"/>
                  <a:pt x="10094" y="10562"/>
                  <a:pt x="10094" y="10531"/>
                </a:cubicBezTo>
                <a:cubicBezTo>
                  <a:pt x="10031" y="10562"/>
                  <a:pt x="9969" y="10562"/>
                  <a:pt x="9938" y="10468"/>
                </a:cubicBezTo>
                <a:cubicBezTo>
                  <a:pt x="10031" y="10499"/>
                  <a:pt x="10063" y="10437"/>
                  <a:pt x="10125" y="10406"/>
                </a:cubicBezTo>
                <a:cubicBezTo>
                  <a:pt x="10188" y="10281"/>
                  <a:pt x="10344" y="10218"/>
                  <a:pt x="10406" y="10093"/>
                </a:cubicBezTo>
                <a:cubicBezTo>
                  <a:pt x="10438" y="10031"/>
                  <a:pt x="10500" y="10000"/>
                  <a:pt x="10531" y="9937"/>
                </a:cubicBezTo>
                <a:cubicBezTo>
                  <a:pt x="10563" y="9906"/>
                  <a:pt x="10594" y="9843"/>
                  <a:pt x="10656" y="9875"/>
                </a:cubicBezTo>
                <a:cubicBezTo>
                  <a:pt x="10656" y="9875"/>
                  <a:pt x="10688" y="9875"/>
                  <a:pt x="10688" y="9875"/>
                </a:cubicBezTo>
                <a:cubicBezTo>
                  <a:pt x="10719" y="9812"/>
                  <a:pt x="10656" y="9812"/>
                  <a:pt x="10656" y="9781"/>
                </a:cubicBezTo>
                <a:cubicBezTo>
                  <a:pt x="10719" y="9781"/>
                  <a:pt x="10750" y="9812"/>
                  <a:pt x="10813" y="9812"/>
                </a:cubicBezTo>
                <a:cubicBezTo>
                  <a:pt x="10813" y="9843"/>
                  <a:pt x="10844" y="9843"/>
                  <a:pt x="10844" y="9812"/>
                </a:cubicBezTo>
                <a:cubicBezTo>
                  <a:pt x="10844" y="9812"/>
                  <a:pt x="10844" y="9812"/>
                  <a:pt x="10844" y="9812"/>
                </a:cubicBezTo>
                <a:cubicBezTo>
                  <a:pt x="10813" y="9750"/>
                  <a:pt x="10781" y="9781"/>
                  <a:pt x="10750" y="9750"/>
                </a:cubicBezTo>
                <a:cubicBezTo>
                  <a:pt x="10750" y="9718"/>
                  <a:pt x="10750" y="9718"/>
                  <a:pt x="10719" y="9718"/>
                </a:cubicBezTo>
                <a:lnTo>
                  <a:pt x="10719" y="9718"/>
                </a:lnTo>
                <a:cubicBezTo>
                  <a:pt x="10719" y="9718"/>
                  <a:pt x="10719" y="9750"/>
                  <a:pt x="10719" y="9750"/>
                </a:cubicBezTo>
                <a:cubicBezTo>
                  <a:pt x="10719" y="9750"/>
                  <a:pt x="10750" y="9750"/>
                  <a:pt x="10750" y="9750"/>
                </a:cubicBezTo>
                <a:cubicBezTo>
                  <a:pt x="10813" y="9750"/>
                  <a:pt x="10813" y="9718"/>
                  <a:pt x="10813" y="9687"/>
                </a:cubicBezTo>
                <a:cubicBezTo>
                  <a:pt x="10750" y="9625"/>
                  <a:pt x="10781" y="9625"/>
                  <a:pt x="10813" y="9593"/>
                </a:cubicBezTo>
                <a:cubicBezTo>
                  <a:pt x="10969" y="9406"/>
                  <a:pt x="11094" y="9218"/>
                  <a:pt x="11219" y="9031"/>
                </a:cubicBezTo>
                <a:cubicBezTo>
                  <a:pt x="11250" y="9031"/>
                  <a:pt x="11250" y="9000"/>
                  <a:pt x="11281" y="9000"/>
                </a:cubicBezTo>
                <a:cubicBezTo>
                  <a:pt x="11344" y="9000"/>
                  <a:pt x="11344" y="8968"/>
                  <a:pt x="11313" y="8906"/>
                </a:cubicBezTo>
                <a:cubicBezTo>
                  <a:pt x="11344" y="8906"/>
                  <a:pt x="11344" y="8906"/>
                  <a:pt x="11344" y="8906"/>
                </a:cubicBezTo>
                <a:cubicBezTo>
                  <a:pt x="11375" y="8968"/>
                  <a:pt x="11438" y="8968"/>
                  <a:pt x="11500" y="8968"/>
                </a:cubicBezTo>
                <a:cubicBezTo>
                  <a:pt x="11469" y="8875"/>
                  <a:pt x="11406" y="8906"/>
                  <a:pt x="11375" y="8906"/>
                </a:cubicBezTo>
                <a:cubicBezTo>
                  <a:pt x="11375" y="8875"/>
                  <a:pt x="11438" y="8875"/>
                  <a:pt x="11406" y="8812"/>
                </a:cubicBezTo>
                <a:cubicBezTo>
                  <a:pt x="11531" y="8656"/>
                  <a:pt x="11625" y="8531"/>
                  <a:pt x="11719" y="8375"/>
                </a:cubicBezTo>
                <a:cubicBezTo>
                  <a:pt x="11750" y="8312"/>
                  <a:pt x="11781" y="8281"/>
                  <a:pt x="11844" y="8250"/>
                </a:cubicBezTo>
                <a:cubicBezTo>
                  <a:pt x="11844" y="8250"/>
                  <a:pt x="11844" y="8218"/>
                  <a:pt x="11875" y="8250"/>
                </a:cubicBezTo>
                <a:cubicBezTo>
                  <a:pt x="11906" y="8250"/>
                  <a:pt x="11906" y="8250"/>
                  <a:pt x="11906" y="8281"/>
                </a:cubicBezTo>
                <a:cubicBezTo>
                  <a:pt x="11906" y="8250"/>
                  <a:pt x="11906" y="8250"/>
                  <a:pt x="11938" y="8250"/>
                </a:cubicBezTo>
                <a:cubicBezTo>
                  <a:pt x="11938" y="8250"/>
                  <a:pt x="11969" y="8250"/>
                  <a:pt x="11969" y="8250"/>
                </a:cubicBezTo>
                <a:cubicBezTo>
                  <a:pt x="12094" y="8312"/>
                  <a:pt x="12250" y="8375"/>
                  <a:pt x="12375" y="8406"/>
                </a:cubicBezTo>
                <a:cubicBezTo>
                  <a:pt x="12438" y="8406"/>
                  <a:pt x="12469" y="8406"/>
                  <a:pt x="12500" y="8437"/>
                </a:cubicBezTo>
                <a:cubicBezTo>
                  <a:pt x="12531" y="8468"/>
                  <a:pt x="12594" y="8468"/>
                  <a:pt x="12594" y="8531"/>
                </a:cubicBezTo>
                <a:cubicBezTo>
                  <a:pt x="12625" y="8531"/>
                  <a:pt x="12656" y="8531"/>
                  <a:pt x="12688" y="8593"/>
                </a:cubicBezTo>
                <a:cubicBezTo>
                  <a:pt x="12688" y="8593"/>
                  <a:pt x="12719" y="8562"/>
                  <a:pt x="12719" y="8562"/>
                </a:cubicBezTo>
                <a:cubicBezTo>
                  <a:pt x="12719" y="8562"/>
                  <a:pt x="12719" y="8531"/>
                  <a:pt x="12719" y="8531"/>
                </a:cubicBezTo>
                <a:cubicBezTo>
                  <a:pt x="12906" y="8593"/>
                  <a:pt x="13063" y="8656"/>
                  <a:pt x="13219" y="8687"/>
                </a:cubicBezTo>
                <a:cubicBezTo>
                  <a:pt x="13250" y="8718"/>
                  <a:pt x="13281" y="8718"/>
                  <a:pt x="13344" y="8718"/>
                </a:cubicBezTo>
                <a:cubicBezTo>
                  <a:pt x="13375" y="8750"/>
                  <a:pt x="13438" y="8781"/>
                  <a:pt x="13500" y="8781"/>
                </a:cubicBezTo>
                <a:cubicBezTo>
                  <a:pt x="13469" y="8812"/>
                  <a:pt x="13438" y="8812"/>
                  <a:pt x="13438" y="8843"/>
                </a:cubicBezTo>
                <a:cubicBezTo>
                  <a:pt x="13469" y="8843"/>
                  <a:pt x="13469" y="8875"/>
                  <a:pt x="13469" y="8906"/>
                </a:cubicBezTo>
                <a:cubicBezTo>
                  <a:pt x="13406" y="9062"/>
                  <a:pt x="13375" y="9218"/>
                  <a:pt x="13344" y="9375"/>
                </a:cubicBezTo>
                <a:cubicBezTo>
                  <a:pt x="13313" y="9437"/>
                  <a:pt x="13313" y="9468"/>
                  <a:pt x="13281" y="9437"/>
                </a:cubicBezTo>
                <a:cubicBezTo>
                  <a:pt x="13281" y="9500"/>
                  <a:pt x="13250" y="9531"/>
                  <a:pt x="13219" y="9500"/>
                </a:cubicBezTo>
                <a:cubicBezTo>
                  <a:pt x="13125" y="9468"/>
                  <a:pt x="13188" y="9531"/>
                  <a:pt x="13188" y="9562"/>
                </a:cubicBezTo>
                <a:cubicBezTo>
                  <a:pt x="13188" y="9562"/>
                  <a:pt x="13219" y="9562"/>
                  <a:pt x="13219" y="9562"/>
                </a:cubicBezTo>
                <a:cubicBezTo>
                  <a:pt x="13250" y="9562"/>
                  <a:pt x="13250" y="9562"/>
                  <a:pt x="13219" y="9593"/>
                </a:cubicBezTo>
                <a:cubicBezTo>
                  <a:pt x="13281" y="9750"/>
                  <a:pt x="13188" y="9875"/>
                  <a:pt x="13156" y="10031"/>
                </a:cubicBezTo>
                <a:cubicBezTo>
                  <a:pt x="13125" y="10125"/>
                  <a:pt x="13094" y="10218"/>
                  <a:pt x="13063" y="10343"/>
                </a:cubicBezTo>
                <a:cubicBezTo>
                  <a:pt x="13063" y="10406"/>
                  <a:pt x="13031" y="10375"/>
                  <a:pt x="13000" y="10375"/>
                </a:cubicBezTo>
                <a:cubicBezTo>
                  <a:pt x="13031" y="10406"/>
                  <a:pt x="12938" y="10406"/>
                  <a:pt x="13000" y="10437"/>
                </a:cubicBezTo>
                <a:cubicBezTo>
                  <a:pt x="13000" y="10468"/>
                  <a:pt x="13000" y="10468"/>
                  <a:pt x="12938" y="10468"/>
                </a:cubicBezTo>
                <a:cubicBezTo>
                  <a:pt x="12906" y="10437"/>
                  <a:pt x="12875" y="10437"/>
                  <a:pt x="12875" y="10468"/>
                </a:cubicBezTo>
                <a:cubicBezTo>
                  <a:pt x="12844" y="10499"/>
                  <a:pt x="12906" y="10499"/>
                  <a:pt x="12906" y="10499"/>
                </a:cubicBezTo>
                <a:cubicBezTo>
                  <a:pt x="12938" y="10531"/>
                  <a:pt x="12938" y="10593"/>
                  <a:pt x="13000" y="10624"/>
                </a:cubicBezTo>
                <a:cubicBezTo>
                  <a:pt x="13000" y="10624"/>
                  <a:pt x="13000" y="10656"/>
                  <a:pt x="12969" y="10687"/>
                </a:cubicBezTo>
                <a:cubicBezTo>
                  <a:pt x="12875" y="10874"/>
                  <a:pt x="12813" y="11093"/>
                  <a:pt x="12750" y="11312"/>
                </a:cubicBezTo>
                <a:cubicBezTo>
                  <a:pt x="12813" y="11312"/>
                  <a:pt x="12906" y="11343"/>
                  <a:pt x="12969" y="11374"/>
                </a:cubicBezTo>
                <a:cubicBezTo>
                  <a:pt x="13156" y="11437"/>
                  <a:pt x="13344" y="11468"/>
                  <a:pt x="13563" y="11531"/>
                </a:cubicBezTo>
                <a:cubicBezTo>
                  <a:pt x="13344" y="11468"/>
                  <a:pt x="13156" y="11437"/>
                  <a:pt x="12969" y="11374"/>
                </a:cubicBezTo>
                <a:cubicBezTo>
                  <a:pt x="13094" y="10968"/>
                  <a:pt x="13219" y="10562"/>
                  <a:pt x="13313" y="10156"/>
                </a:cubicBezTo>
                <a:cubicBezTo>
                  <a:pt x="13438" y="9750"/>
                  <a:pt x="13531" y="9343"/>
                  <a:pt x="13625" y="8906"/>
                </a:cubicBezTo>
                <a:cubicBezTo>
                  <a:pt x="13625" y="8843"/>
                  <a:pt x="13656" y="8843"/>
                  <a:pt x="13688" y="8875"/>
                </a:cubicBezTo>
                <a:cubicBezTo>
                  <a:pt x="13750" y="8875"/>
                  <a:pt x="13813" y="8906"/>
                  <a:pt x="13844" y="8937"/>
                </a:cubicBezTo>
                <a:cubicBezTo>
                  <a:pt x="13875" y="8937"/>
                  <a:pt x="13906" y="8937"/>
                  <a:pt x="13938" y="8906"/>
                </a:cubicBezTo>
                <a:cubicBezTo>
                  <a:pt x="13906" y="8906"/>
                  <a:pt x="13906" y="8906"/>
                  <a:pt x="13906" y="8906"/>
                </a:cubicBezTo>
                <a:cubicBezTo>
                  <a:pt x="13844" y="8875"/>
                  <a:pt x="13813" y="8843"/>
                  <a:pt x="13750" y="8843"/>
                </a:cubicBezTo>
                <a:cubicBezTo>
                  <a:pt x="13719" y="8843"/>
                  <a:pt x="13688" y="8812"/>
                  <a:pt x="13656" y="8781"/>
                </a:cubicBezTo>
                <a:cubicBezTo>
                  <a:pt x="13688" y="8750"/>
                  <a:pt x="13719" y="8781"/>
                  <a:pt x="13750" y="8781"/>
                </a:cubicBezTo>
                <a:cubicBezTo>
                  <a:pt x="13781" y="8781"/>
                  <a:pt x="13813" y="8781"/>
                  <a:pt x="13844" y="8781"/>
                </a:cubicBezTo>
                <a:cubicBezTo>
                  <a:pt x="13844" y="8781"/>
                  <a:pt x="13875" y="8781"/>
                  <a:pt x="13875" y="8781"/>
                </a:cubicBezTo>
                <a:cubicBezTo>
                  <a:pt x="13906" y="8718"/>
                  <a:pt x="13938" y="8750"/>
                  <a:pt x="13969" y="8781"/>
                </a:cubicBezTo>
                <a:cubicBezTo>
                  <a:pt x="13969" y="8718"/>
                  <a:pt x="13938" y="8718"/>
                  <a:pt x="13875" y="8718"/>
                </a:cubicBezTo>
                <a:cubicBezTo>
                  <a:pt x="13844" y="8718"/>
                  <a:pt x="13813" y="8718"/>
                  <a:pt x="13813" y="8718"/>
                </a:cubicBezTo>
                <a:cubicBezTo>
                  <a:pt x="13781" y="8750"/>
                  <a:pt x="13750" y="8750"/>
                  <a:pt x="13719" y="8750"/>
                </a:cubicBezTo>
                <a:cubicBezTo>
                  <a:pt x="13719" y="8750"/>
                  <a:pt x="13688" y="8750"/>
                  <a:pt x="13688" y="8750"/>
                </a:cubicBezTo>
                <a:cubicBezTo>
                  <a:pt x="13625" y="8687"/>
                  <a:pt x="13781" y="8687"/>
                  <a:pt x="13719" y="8625"/>
                </a:cubicBezTo>
                <a:cubicBezTo>
                  <a:pt x="13625" y="8562"/>
                  <a:pt x="13750" y="8562"/>
                  <a:pt x="13750" y="8531"/>
                </a:cubicBezTo>
                <a:cubicBezTo>
                  <a:pt x="13719" y="8531"/>
                  <a:pt x="13719" y="8500"/>
                  <a:pt x="13719" y="8468"/>
                </a:cubicBezTo>
                <a:cubicBezTo>
                  <a:pt x="13719" y="8406"/>
                  <a:pt x="13719" y="8312"/>
                  <a:pt x="13750" y="8250"/>
                </a:cubicBezTo>
                <a:cubicBezTo>
                  <a:pt x="13719" y="8281"/>
                  <a:pt x="13688" y="8312"/>
                  <a:pt x="13656" y="8343"/>
                </a:cubicBezTo>
                <a:cubicBezTo>
                  <a:pt x="13625" y="8312"/>
                  <a:pt x="13688" y="8250"/>
                  <a:pt x="13625" y="8218"/>
                </a:cubicBezTo>
                <a:cubicBezTo>
                  <a:pt x="13625" y="8218"/>
                  <a:pt x="13625" y="8218"/>
                  <a:pt x="13625" y="8250"/>
                </a:cubicBezTo>
                <a:cubicBezTo>
                  <a:pt x="13625" y="8250"/>
                  <a:pt x="13625" y="8250"/>
                  <a:pt x="13625" y="8250"/>
                </a:cubicBezTo>
                <a:cubicBezTo>
                  <a:pt x="13625" y="8281"/>
                  <a:pt x="13563" y="8312"/>
                  <a:pt x="13594" y="8343"/>
                </a:cubicBezTo>
                <a:cubicBezTo>
                  <a:pt x="13594" y="8375"/>
                  <a:pt x="13594" y="8406"/>
                  <a:pt x="13594" y="8437"/>
                </a:cubicBezTo>
                <a:cubicBezTo>
                  <a:pt x="13531" y="8500"/>
                  <a:pt x="13563" y="8593"/>
                  <a:pt x="13531" y="8656"/>
                </a:cubicBezTo>
                <a:cubicBezTo>
                  <a:pt x="13500" y="8687"/>
                  <a:pt x="13469" y="8656"/>
                  <a:pt x="13438" y="8656"/>
                </a:cubicBezTo>
                <a:cubicBezTo>
                  <a:pt x="13406" y="8687"/>
                  <a:pt x="13438" y="8687"/>
                  <a:pt x="13438" y="8718"/>
                </a:cubicBezTo>
                <a:cubicBezTo>
                  <a:pt x="13344" y="8718"/>
                  <a:pt x="13281" y="8656"/>
                  <a:pt x="13219" y="8656"/>
                </a:cubicBezTo>
                <a:cubicBezTo>
                  <a:pt x="13313" y="8625"/>
                  <a:pt x="13406" y="8562"/>
                  <a:pt x="13500" y="8593"/>
                </a:cubicBezTo>
                <a:cubicBezTo>
                  <a:pt x="13500" y="8531"/>
                  <a:pt x="13438" y="8562"/>
                  <a:pt x="13406" y="8531"/>
                </a:cubicBezTo>
                <a:cubicBezTo>
                  <a:pt x="13375" y="8593"/>
                  <a:pt x="13344" y="8531"/>
                  <a:pt x="13313" y="8531"/>
                </a:cubicBezTo>
                <a:cubicBezTo>
                  <a:pt x="13313" y="8531"/>
                  <a:pt x="13313" y="8531"/>
                  <a:pt x="13313" y="8531"/>
                </a:cubicBezTo>
                <a:cubicBezTo>
                  <a:pt x="13313" y="8531"/>
                  <a:pt x="13281" y="8531"/>
                  <a:pt x="13281" y="8531"/>
                </a:cubicBezTo>
                <a:cubicBezTo>
                  <a:pt x="13281" y="8687"/>
                  <a:pt x="13219" y="8531"/>
                  <a:pt x="13188" y="8562"/>
                </a:cubicBezTo>
                <a:cubicBezTo>
                  <a:pt x="13125" y="8531"/>
                  <a:pt x="13063" y="8500"/>
                  <a:pt x="13031" y="8562"/>
                </a:cubicBezTo>
                <a:lnTo>
                  <a:pt x="13031" y="8562"/>
                </a:lnTo>
                <a:cubicBezTo>
                  <a:pt x="13031" y="8625"/>
                  <a:pt x="13094" y="8593"/>
                  <a:pt x="13125" y="8625"/>
                </a:cubicBezTo>
                <a:cubicBezTo>
                  <a:pt x="13188" y="8656"/>
                  <a:pt x="13188" y="8593"/>
                  <a:pt x="13188" y="8562"/>
                </a:cubicBezTo>
                <a:cubicBezTo>
                  <a:pt x="13156" y="8531"/>
                  <a:pt x="13188" y="8500"/>
                  <a:pt x="13188" y="8500"/>
                </a:cubicBezTo>
                <a:cubicBezTo>
                  <a:pt x="13219" y="8468"/>
                  <a:pt x="13250" y="8500"/>
                  <a:pt x="13250" y="8500"/>
                </a:cubicBezTo>
                <a:cubicBezTo>
                  <a:pt x="13250" y="8468"/>
                  <a:pt x="13219" y="8468"/>
                  <a:pt x="13188" y="8468"/>
                </a:cubicBezTo>
                <a:cubicBezTo>
                  <a:pt x="13094" y="8468"/>
                  <a:pt x="13031" y="8500"/>
                  <a:pt x="12969" y="8500"/>
                </a:cubicBezTo>
                <a:cubicBezTo>
                  <a:pt x="12969" y="8500"/>
                  <a:pt x="12938" y="8500"/>
                  <a:pt x="12938" y="8500"/>
                </a:cubicBezTo>
                <a:cubicBezTo>
                  <a:pt x="12906" y="8625"/>
                  <a:pt x="12844" y="8468"/>
                  <a:pt x="12781" y="8500"/>
                </a:cubicBezTo>
                <a:cubicBezTo>
                  <a:pt x="12781" y="8437"/>
                  <a:pt x="12875" y="8468"/>
                  <a:pt x="12875" y="8406"/>
                </a:cubicBezTo>
                <a:cubicBezTo>
                  <a:pt x="12844" y="8343"/>
                  <a:pt x="12781" y="8437"/>
                  <a:pt x="12750" y="8406"/>
                </a:cubicBezTo>
                <a:cubicBezTo>
                  <a:pt x="12690" y="8375"/>
                  <a:pt x="12688" y="8433"/>
                  <a:pt x="12688" y="8465"/>
                </a:cubicBezTo>
                <a:lnTo>
                  <a:pt x="12688" y="8467"/>
                </a:lnTo>
                <a:lnTo>
                  <a:pt x="12688" y="8468"/>
                </a:lnTo>
                <a:cubicBezTo>
                  <a:pt x="12719" y="8437"/>
                  <a:pt x="12719" y="8437"/>
                  <a:pt x="12750" y="8468"/>
                </a:cubicBezTo>
                <a:cubicBezTo>
                  <a:pt x="12750" y="8468"/>
                  <a:pt x="12750" y="8468"/>
                  <a:pt x="12750" y="8468"/>
                </a:cubicBezTo>
                <a:lnTo>
                  <a:pt x="12750" y="8468"/>
                </a:lnTo>
                <a:cubicBezTo>
                  <a:pt x="12719" y="8468"/>
                  <a:pt x="12688" y="8468"/>
                  <a:pt x="12688" y="8468"/>
                </a:cubicBezTo>
                <a:cubicBezTo>
                  <a:pt x="12625" y="8468"/>
                  <a:pt x="12594" y="8406"/>
                  <a:pt x="12500" y="8406"/>
                </a:cubicBezTo>
                <a:cubicBezTo>
                  <a:pt x="12563" y="8375"/>
                  <a:pt x="12625" y="8375"/>
                  <a:pt x="12656" y="8343"/>
                </a:cubicBezTo>
                <a:cubicBezTo>
                  <a:pt x="12719" y="8343"/>
                  <a:pt x="12781" y="8406"/>
                  <a:pt x="12813" y="8312"/>
                </a:cubicBezTo>
                <a:cubicBezTo>
                  <a:pt x="12781" y="8312"/>
                  <a:pt x="12719" y="8281"/>
                  <a:pt x="12688" y="8281"/>
                </a:cubicBezTo>
                <a:cubicBezTo>
                  <a:pt x="12625" y="8312"/>
                  <a:pt x="12563" y="8312"/>
                  <a:pt x="12563" y="8218"/>
                </a:cubicBezTo>
                <a:cubicBezTo>
                  <a:pt x="12531" y="8218"/>
                  <a:pt x="12500" y="8218"/>
                  <a:pt x="12438" y="8187"/>
                </a:cubicBezTo>
                <a:cubicBezTo>
                  <a:pt x="12375" y="8250"/>
                  <a:pt x="12344" y="8218"/>
                  <a:pt x="12313" y="8125"/>
                </a:cubicBezTo>
                <a:cubicBezTo>
                  <a:pt x="12281" y="8093"/>
                  <a:pt x="12250" y="8125"/>
                  <a:pt x="12219" y="8093"/>
                </a:cubicBezTo>
                <a:cubicBezTo>
                  <a:pt x="12188" y="8187"/>
                  <a:pt x="12125" y="8125"/>
                  <a:pt x="12094" y="8125"/>
                </a:cubicBezTo>
                <a:cubicBezTo>
                  <a:pt x="12031" y="8218"/>
                  <a:pt x="12000" y="8125"/>
                  <a:pt x="11938" y="8125"/>
                </a:cubicBezTo>
                <a:cubicBezTo>
                  <a:pt x="11969" y="8031"/>
                  <a:pt x="12031" y="8062"/>
                  <a:pt x="12063" y="8093"/>
                </a:cubicBezTo>
                <a:cubicBezTo>
                  <a:pt x="12063" y="8062"/>
                  <a:pt x="12063" y="8062"/>
                  <a:pt x="12094" y="8031"/>
                </a:cubicBezTo>
                <a:cubicBezTo>
                  <a:pt x="12031" y="8062"/>
                  <a:pt x="12000" y="8000"/>
                  <a:pt x="11938" y="8062"/>
                </a:cubicBezTo>
                <a:cubicBezTo>
                  <a:pt x="11938" y="8062"/>
                  <a:pt x="11938" y="8062"/>
                  <a:pt x="11938" y="8062"/>
                </a:cubicBezTo>
                <a:cubicBezTo>
                  <a:pt x="11906" y="8031"/>
                  <a:pt x="11938" y="8031"/>
                  <a:pt x="11938" y="8000"/>
                </a:cubicBezTo>
                <a:cubicBezTo>
                  <a:pt x="11969" y="7937"/>
                  <a:pt x="12031" y="7968"/>
                  <a:pt x="12063" y="7906"/>
                </a:cubicBezTo>
                <a:cubicBezTo>
                  <a:pt x="12000" y="7843"/>
                  <a:pt x="12094" y="7812"/>
                  <a:pt x="12125" y="7750"/>
                </a:cubicBezTo>
                <a:cubicBezTo>
                  <a:pt x="12094" y="7750"/>
                  <a:pt x="12031" y="7781"/>
                  <a:pt x="12031" y="7718"/>
                </a:cubicBezTo>
                <a:cubicBezTo>
                  <a:pt x="12031" y="7687"/>
                  <a:pt x="12000" y="7687"/>
                  <a:pt x="12000" y="7687"/>
                </a:cubicBezTo>
                <a:cubicBezTo>
                  <a:pt x="11969" y="7718"/>
                  <a:pt x="11938" y="7718"/>
                  <a:pt x="11938" y="7750"/>
                </a:cubicBezTo>
                <a:cubicBezTo>
                  <a:pt x="11938" y="7750"/>
                  <a:pt x="11938" y="7750"/>
                  <a:pt x="11906" y="7750"/>
                </a:cubicBezTo>
                <a:cubicBezTo>
                  <a:pt x="11906" y="7781"/>
                  <a:pt x="11906" y="7781"/>
                  <a:pt x="11906" y="7781"/>
                </a:cubicBezTo>
                <a:cubicBezTo>
                  <a:pt x="11906" y="7812"/>
                  <a:pt x="11906" y="7812"/>
                  <a:pt x="11875" y="7812"/>
                </a:cubicBezTo>
                <a:cubicBezTo>
                  <a:pt x="11875" y="7812"/>
                  <a:pt x="11875" y="7843"/>
                  <a:pt x="11875" y="7843"/>
                </a:cubicBezTo>
                <a:cubicBezTo>
                  <a:pt x="11844" y="7875"/>
                  <a:pt x="11844" y="7906"/>
                  <a:pt x="11813" y="7937"/>
                </a:cubicBezTo>
                <a:cubicBezTo>
                  <a:pt x="11813" y="7875"/>
                  <a:pt x="11813" y="7843"/>
                  <a:pt x="11813" y="7812"/>
                </a:cubicBezTo>
                <a:cubicBezTo>
                  <a:pt x="11813" y="7843"/>
                  <a:pt x="11813" y="7875"/>
                  <a:pt x="11813" y="7937"/>
                </a:cubicBezTo>
                <a:cubicBezTo>
                  <a:pt x="11750" y="8000"/>
                  <a:pt x="11719" y="8062"/>
                  <a:pt x="11688" y="8093"/>
                </a:cubicBezTo>
                <a:cubicBezTo>
                  <a:pt x="11656" y="8125"/>
                  <a:pt x="11688" y="8187"/>
                  <a:pt x="11625" y="8187"/>
                </a:cubicBezTo>
                <a:cubicBezTo>
                  <a:pt x="11625" y="8187"/>
                  <a:pt x="11625" y="8187"/>
                  <a:pt x="11625" y="8187"/>
                </a:cubicBezTo>
                <a:cubicBezTo>
                  <a:pt x="11625" y="8218"/>
                  <a:pt x="11625" y="8218"/>
                  <a:pt x="11594" y="8218"/>
                </a:cubicBezTo>
                <a:cubicBezTo>
                  <a:pt x="11563" y="8281"/>
                  <a:pt x="11531" y="8343"/>
                  <a:pt x="11500" y="8375"/>
                </a:cubicBezTo>
                <a:cubicBezTo>
                  <a:pt x="11500" y="8406"/>
                  <a:pt x="11469" y="8406"/>
                  <a:pt x="11438" y="8406"/>
                </a:cubicBezTo>
                <a:cubicBezTo>
                  <a:pt x="11406" y="8500"/>
                  <a:pt x="11344" y="8593"/>
                  <a:pt x="11281" y="8656"/>
                </a:cubicBezTo>
                <a:cubicBezTo>
                  <a:pt x="11250" y="8687"/>
                  <a:pt x="11250" y="8781"/>
                  <a:pt x="11188" y="8781"/>
                </a:cubicBezTo>
                <a:cubicBezTo>
                  <a:pt x="11188" y="8781"/>
                  <a:pt x="11188" y="8812"/>
                  <a:pt x="11188" y="8812"/>
                </a:cubicBezTo>
                <a:cubicBezTo>
                  <a:pt x="11188" y="8812"/>
                  <a:pt x="11188" y="8843"/>
                  <a:pt x="11156" y="8843"/>
                </a:cubicBezTo>
                <a:cubicBezTo>
                  <a:pt x="11156" y="8843"/>
                  <a:pt x="11156" y="8843"/>
                  <a:pt x="11156" y="8843"/>
                </a:cubicBezTo>
                <a:cubicBezTo>
                  <a:pt x="11094" y="8968"/>
                  <a:pt x="11000" y="9062"/>
                  <a:pt x="10906" y="9187"/>
                </a:cubicBezTo>
                <a:cubicBezTo>
                  <a:pt x="10781" y="9312"/>
                  <a:pt x="10688" y="9468"/>
                  <a:pt x="10563" y="9625"/>
                </a:cubicBezTo>
                <a:cubicBezTo>
                  <a:pt x="10563" y="9625"/>
                  <a:pt x="10531" y="9625"/>
                  <a:pt x="10500" y="9625"/>
                </a:cubicBezTo>
                <a:cubicBezTo>
                  <a:pt x="10563" y="9531"/>
                  <a:pt x="10594" y="9437"/>
                  <a:pt x="10656" y="9343"/>
                </a:cubicBezTo>
                <a:cubicBezTo>
                  <a:pt x="10844" y="8875"/>
                  <a:pt x="10969" y="8406"/>
                  <a:pt x="11188" y="7937"/>
                </a:cubicBezTo>
                <a:cubicBezTo>
                  <a:pt x="11313" y="7593"/>
                  <a:pt x="11469" y="7250"/>
                  <a:pt x="11594" y="6875"/>
                </a:cubicBezTo>
                <a:cubicBezTo>
                  <a:pt x="11625" y="6812"/>
                  <a:pt x="11688" y="6750"/>
                  <a:pt x="11781" y="6750"/>
                </a:cubicBezTo>
                <a:cubicBezTo>
                  <a:pt x="11938" y="6687"/>
                  <a:pt x="12063" y="6625"/>
                  <a:pt x="12219" y="6593"/>
                </a:cubicBezTo>
                <a:cubicBezTo>
                  <a:pt x="12344" y="6562"/>
                  <a:pt x="12375" y="6500"/>
                  <a:pt x="12406" y="6406"/>
                </a:cubicBezTo>
                <a:cubicBezTo>
                  <a:pt x="12406" y="6281"/>
                  <a:pt x="12406" y="6187"/>
                  <a:pt x="12531" y="6125"/>
                </a:cubicBezTo>
                <a:cubicBezTo>
                  <a:pt x="12531" y="6250"/>
                  <a:pt x="12406" y="6343"/>
                  <a:pt x="12438" y="6468"/>
                </a:cubicBezTo>
                <a:cubicBezTo>
                  <a:pt x="12500" y="6468"/>
                  <a:pt x="12500" y="6531"/>
                  <a:pt x="12531" y="6562"/>
                </a:cubicBezTo>
                <a:lnTo>
                  <a:pt x="12531" y="6562"/>
                </a:lnTo>
                <a:cubicBezTo>
                  <a:pt x="12563" y="6468"/>
                  <a:pt x="12625" y="6343"/>
                  <a:pt x="12625" y="6218"/>
                </a:cubicBezTo>
                <a:cubicBezTo>
                  <a:pt x="12625" y="6312"/>
                  <a:pt x="12500" y="6281"/>
                  <a:pt x="12531" y="6375"/>
                </a:cubicBezTo>
                <a:cubicBezTo>
                  <a:pt x="12531" y="6437"/>
                  <a:pt x="12500" y="6468"/>
                  <a:pt x="12438" y="6468"/>
                </a:cubicBezTo>
                <a:cubicBezTo>
                  <a:pt x="12375" y="6500"/>
                  <a:pt x="12406" y="6562"/>
                  <a:pt x="12406" y="6625"/>
                </a:cubicBezTo>
                <a:cubicBezTo>
                  <a:pt x="12406" y="6593"/>
                  <a:pt x="12406" y="6531"/>
                  <a:pt x="12469" y="6593"/>
                </a:cubicBezTo>
                <a:cubicBezTo>
                  <a:pt x="12469" y="6625"/>
                  <a:pt x="12594" y="6687"/>
                  <a:pt x="12625" y="6562"/>
                </a:cubicBezTo>
                <a:cubicBezTo>
                  <a:pt x="12625" y="6531"/>
                  <a:pt x="12656" y="6531"/>
                  <a:pt x="12688" y="6562"/>
                </a:cubicBezTo>
                <a:cubicBezTo>
                  <a:pt x="12750" y="6562"/>
                  <a:pt x="12781" y="6562"/>
                  <a:pt x="12813" y="6500"/>
                </a:cubicBezTo>
                <a:cubicBezTo>
                  <a:pt x="12781" y="6500"/>
                  <a:pt x="12750" y="6500"/>
                  <a:pt x="12750" y="6500"/>
                </a:cubicBezTo>
                <a:cubicBezTo>
                  <a:pt x="12719" y="6500"/>
                  <a:pt x="12656" y="6500"/>
                  <a:pt x="12688" y="6468"/>
                </a:cubicBezTo>
                <a:cubicBezTo>
                  <a:pt x="12688" y="6406"/>
                  <a:pt x="12719" y="6406"/>
                  <a:pt x="12750" y="6437"/>
                </a:cubicBezTo>
                <a:cubicBezTo>
                  <a:pt x="12750" y="6437"/>
                  <a:pt x="12781" y="6437"/>
                  <a:pt x="12781" y="6406"/>
                </a:cubicBezTo>
                <a:cubicBezTo>
                  <a:pt x="12875" y="6375"/>
                  <a:pt x="12875" y="6437"/>
                  <a:pt x="12875" y="6468"/>
                </a:cubicBezTo>
                <a:cubicBezTo>
                  <a:pt x="12938" y="6531"/>
                  <a:pt x="12969" y="6468"/>
                  <a:pt x="13000" y="6437"/>
                </a:cubicBezTo>
                <a:cubicBezTo>
                  <a:pt x="13031" y="6406"/>
                  <a:pt x="12969" y="6406"/>
                  <a:pt x="12938" y="6375"/>
                </a:cubicBezTo>
                <a:cubicBezTo>
                  <a:pt x="12875" y="6375"/>
                  <a:pt x="12844" y="6343"/>
                  <a:pt x="12813" y="6343"/>
                </a:cubicBezTo>
                <a:cubicBezTo>
                  <a:pt x="12719" y="6312"/>
                  <a:pt x="12719" y="6250"/>
                  <a:pt x="12781" y="6187"/>
                </a:cubicBezTo>
                <a:cubicBezTo>
                  <a:pt x="12813" y="6156"/>
                  <a:pt x="12844" y="6156"/>
                  <a:pt x="12813" y="6093"/>
                </a:cubicBezTo>
                <a:cubicBezTo>
                  <a:pt x="12781" y="6031"/>
                  <a:pt x="12844" y="6000"/>
                  <a:pt x="12906" y="6000"/>
                </a:cubicBezTo>
                <a:cubicBezTo>
                  <a:pt x="12906" y="6000"/>
                  <a:pt x="12875" y="5968"/>
                  <a:pt x="12875" y="5937"/>
                </a:cubicBezTo>
                <a:cubicBezTo>
                  <a:pt x="12938" y="5937"/>
                  <a:pt x="12969" y="5937"/>
                  <a:pt x="13000" y="5937"/>
                </a:cubicBezTo>
                <a:cubicBezTo>
                  <a:pt x="13031" y="5937"/>
                  <a:pt x="13063" y="5968"/>
                  <a:pt x="13094" y="5937"/>
                </a:cubicBezTo>
                <a:cubicBezTo>
                  <a:pt x="13094" y="5906"/>
                  <a:pt x="13094" y="5875"/>
                  <a:pt x="13063" y="5843"/>
                </a:cubicBezTo>
                <a:cubicBezTo>
                  <a:pt x="13031" y="5812"/>
                  <a:pt x="13031" y="5750"/>
                  <a:pt x="12969" y="5750"/>
                </a:cubicBezTo>
                <a:cubicBezTo>
                  <a:pt x="12938" y="5750"/>
                  <a:pt x="12938" y="5750"/>
                  <a:pt x="12938" y="5750"/>
                </a:cubicBezTo>
                <a:cubicBezTo>
                  <a:pt x="12969" y="5687"/>
                  <a:pt x="12906" y="5593"/>
                  <a:pt x="13000" y="5593"/>
                </a:cubicBezTo>
                <a:cubicBezTo>
                  <a:pt x="13094" y="5593"/>
                  <a:pt x="13063" y="5562"/>
                  <a:pt x="13031" y="5531"/>
                </a:cubicBezTo>
                <a:cubicBezTo>
                  <a:pt x="13000" y="5500"/>
                  <a:pt x="13000" y="5468"/>
                  <a:pt x="13000" y="5437"/>
                </a:cubicBezTo>
                <a:cubicBezTo>
                  <a:pt x="13000" y="5437"/>
                  <a:pt x="13031" y="5406"/>
                  <a:pt x="13063" y="5406"/>
                </a:cubicBezTo>
                <a:cubicBezTo>
                  <a:pt x="13094" y="5406"/>
                  <a:pt x="13156" y="5406"/>
                  <a:pt x="13188" y="5343"/>
                </a:cubicBezTo>
                <a:cubicBezTo>
                  <a:pt x="13188" y="5343"/>
                  <a:pt x="13219" y="5312"/>
                  <a:pt x="13250" y="5312"/>
                </a:cubicBezTo>
                <a:cubicBezTo>
                  <a:pt x="13281" y="5312"/>
                  <a:pt x="13344" y="5281"/>
                  <a:pt x="13313" y="5250"/>
                </a:cubicBezTo>
                <a:cubicBezTo>
                  <a:pt x="13313" y="5218"/>
                  <a:pt x="13281" y="5187"/>
                  <a:pt x="13250" y="5187"/>
                </a:cubicBezTo>
                <a:cubicBezTo>
                  <a:pt x="13188" y="5187"/>
                  <a:pt x="13156" y="5125"/>
                  <a:pt x="13094" y="5156"/>
                </a:cubicBezTo>
                <a:cubicBezTo>
                  <a:pt x="13156" y="5093"/>
                  <a:pt x="13094" y="5000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lnTo>
                  <a:pt x="13156" y="4968"/>
                </a:lnTo>
                <a:cubicBezTo>
                  <a:pt x="13156" y="5000"/>
                  <a:pt x="13156" y="5000"/>
                  <a:pt x="13188" y="5031"/>
                </a:cubicBezTo>
                <a:cubicBezTo>
                  <a:pt x="13188" y="5031"/>
                  <a:pt x="13219" y="5000"/>
                  <a:pt x="13219" y="5000"/>
                </a:cubicBezTo>
                <a:cubicBezTo>
                  <a:pt x="13219" y="4968"/>
                  <a:pt x="13250" y="4968"/>
                  <a:pt x="13250" y="4937"/>
                </a:cubicBezTo>
                <a:cubicBezTo>
                  <a:pt x="13250" y="4968"/>
                  <a:pt x="13219" y="4968"/>
                  <a:pt x="13219" y="5000"/>
                </a:cubicBezTo>
                <a:cubicBezTo>
                  <a:pt x="13219" y="4968"/>
                  <a:pt x="13188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ubicBezTo>
                  <a:pt x="13156" y="4937"/>
                  <a:pt x="13156" y="4875"/>
                  <a:pt x="13188" y="4875"/>
                </a:cubicBezTo>
                <a:cubicBezTo>
                  <a:pt x="13188" y="4781"/>
                  <a:pt x="13250" y="4781"/>
                  <a:pt x="13313" y="4781"/>
                </a:cubicBezTo>
                <a:cubicBezTo>
                  <a:pt x="13375" y="4750"/>
                  <a:pt x="13375" y="4718"/>
                  <a:pt x="13344" y="4656"/>
                </a:cubicBezTo>
                <a:cubicBezTo>
                  <a:pt x="13313" y="4656"/>
                  <a:pt x="13281" y="4625"/>
                  <a:pt x="13281" y="4625"/>
                </a:cubicBezTo>
                <a:cubicBezTo>
                  <a:pt x="13281" y="4531"/>
                  <a:pt x="13281" y="4437"/>
                  <a:pt x="13313" y="4343"/>
                </a:cubicBezTo>
                <a:cubicBezTo>
                  <a:pt x="13281" y="4312"/>
                  <a:pt x="13375" y="4343"/>
                  <a:pt x="13313" y="4281"/>
                </a:cubicBezTo>
                <a:cubicBezTo>
                  <a:pt x="13313" y="4250"/>
                  <a:pt x="13281" y="4218"/>
                  <a:pt x="13250" y="4218"/>
                </a:cubicBezTo>
                <a:cubicBezTo>
                  <a:pt x="13219" y="4250"/>
                  <a:pt x="13188" y="4281"/>
                  <a:pt x="13219" y="4312"/>
                </a:cubicBezTo>
                <a:cubicBezTo>
                  <a:pt x="13219" y="4343"/>
                  <a:pt x="13219" y="4375"/>
                  <a:pt x="13188" y="4375"/>
                </a:cubicBezTo>
                <a:cubicBezTo>
                  <a:pt x="13094" y="4406"/>
                  <a:pt x="13125" y="4468"/>
                  <a:pt x="13125" y="4562"/>
                </a:cubicBezTo>
                <a:cubicBezTo>
                  <a:pt x="13125" y="4656"/>
                  <a:pt x="13094" y="4781"/>
                  <a:pt x="13063" y="4875"/>
                </a:cubicBezTo>
                <a:cubicBezTo>
                  <a:pt x="13063" y="4906"/>
                  <a:pt x="13031" y="4906"/>
                  <a:pt x="13031" y="4906"/>
                </a:cubicBezTo>
                <a:cubicBezTo>
                  <a:pt x="13000" y="4906"/>
                  <a:pt x="13000" y="4937"/>
                  <a:pt x="13000" y="4968"/>
                </a:cubicBezTo>
                <a:cubicBezTo>
                  <a:pt x="13094" y="5000"/>
                  <a:pt x="13031" y="5062"/>
                  <a:pt x="13000" y="5093"/>
                </a:cubicBezTo>
                <a:cubicBezTo>
                  <a:pt x="12969" y="5218"/>
                  <a:pt x="12969" y="5343"/>
                  <a:pt x="12875" y="5437"/>
                </a:cubicBezTo>
                <a:cubicBezTo>
                  <a:pt x="12813" y="5500"/>
                  <a:pt x="12875" y="5531"/>
                  <a:pt x="12875" y="5593"/>
                </a:cubicBezTo>
                <a:cubicBezTo>
                  <a:pt x="12813" y="5750"/>
                  <a:pt x="12781" y="5937"/>
                  <a:pt x="12688" y="6062"/>
                </a:cubicBezTo>
                <a:cubicBezTo>
                  <a:pt x="12656" y="6093"/>
                  <a:pt x="12656" y="6125"/>
                  <a:pt x="12656" y="6156"/>
                </a:cubicBezTo>
                <a:cubicBezTo>
                  <a:pt x="12688" y="6187"/>
                  <a:pt x="12688" y="6187"/>
                  <a:pt x="12656" y="6187"/>
                </a:cubicBezTo>
                <a:cubicBezTo>
                  <a:pt x="12625" y="6187"/>
                  <a:pt x="12625" y="6156"/>
                  <a:pt x="12625" y="6156"/>
                </a:cubicBezTo>
                <a:cubicBezTo>
                  <a:pt x="12625" y="6125"/>
                  <a:pt x="12625" y="6125"/>
                  <a:pt x="12625" y="6093"/>
                </a:cubicBezTo>
                <a:cubicBezTo>
                  <a:pt x="12719" y="5968"/>
                  <a:pt x="12719" y="5781"/>
                  <a:pt x="12781" y="5625"/>
                </a:cubicBezTo>
                <a:cubicBezTo>
                  <a:pt x="12813" y="5531"/>
                  <a:pt x="12813" y="5406"/>
                  <a:pt x="12844" y="5281"/>
                </a:cubicBezTo>
                <a:cubicBezTo>
                  <a:pt x="12906" y="5125"/>
                  <a:pt x="12938" y="4937"/>
                  <a:pt x="13000" y="4781"/>
                </a:cubicBezTo>
                <a:cubicBezTo>
                  <a:pt x="13000" y="4718"/>
                  <a:pt x="13000" y="4625"/>
                  <a:pt x="13031" y="4531"/>
                </a:cubicBezTo>
                <a:cubicBezTo>
                  <a:pt x="12906" y="4562"/>
                  <a:pt x="12844" y="4718"/>
                  <a:pt x="12875" y="4843"/>
                </a:cubicBezTo>
                <a:cubicBezTo>
                  <a:pt x="12906" y="4937"/>
                  <a:pt x="12906" y="5000"/>
                  <a:pt x="12813" y="5062"/>
                </a:cubicBezTo>
                <a:cubicBezTo>
                  <a:pt x="12781" y="5093"/>
                  <a:pt x="12781" y="5156"/>
                  <a:pt x="12781" y="5187"/>
                </a:cubicBezTo>
                <a:cubicBezTo>
                  <a:pt x="12781" y="5250"/>
                  <a:pt x="12719" y="5312"/>
                  <a:pt x="12688" y="5375"/>
                </a:cubicBezTo>
                <a:cubicBezTo>
                  <a:pt x="12719" y="5281"/>
                  <a:pt x="12750" y="5156"/>
                  <a:pt x="12750" y="5062"/>
                </a:cubicBezTo>
                <a:cubicBezTo>
                  <a:pt x="12813" y="4875"/>
                  <a:pt x="12875" y="4656"/>
                  <a:pt x="12906" y="4437"/>
                </a:cubicBezTo>
                <a:cubicBezTo>
                  <a:pt x="12969" y="4187"/>
                  <a:pt x="13031" y="3968"/>
                  <a:pt x="13094" y="3718"/>
                </a:cubicBezTo>
                <a:cubicBezTo>
                  <a:pt x="13219" y="3312"/>
                  <a:pt x="13313" y="2906"/>
                  <a:pt x="13406" y="2468"/>
                </a:cubicBezTo>
                <a:cubicBezTo>
                  <a:pt x="13500" y="2187"/>
                  <a:pt x="13563" y="1906"/>
                  <a:pt x="13625" y="1593"/>
                </a:cubicBezTo>
                <a:cubicBezTo>
                  <a:pt x="13625" y="1531"/>
                  <a:pt x="13625" y="1500"/>
                  <a:pt x="13563" y="1468"/>
                </a:cubicBezTo>
                <a:cubicBezTo>
                  <a:pt x="13531" y="1468"/>
                  <a:pt x="13531" y="1468"/>
                  <a:pt x="13531" y="1468"/>
                </a:cubicBezTo>
                <a:cubicBezTo>
                  <a:pt x="13438" y="1343"/>
                  <a:pt x="13406" y="1062"/>
                  <a:pt x="13469" y="937"/>
                </a:cubicBezTo>
                <a:cubicBezTo>
                  <a:pt x="13563" y="750"/>
                  <a:pt x="13625" y="562"/>
                  <a:pt x="13688" y="343"/>
                </a:cubicBezTo>
                <a:cubicBezTo>
                  <a:pt x="13781" y="468"/>
                  <a:pt x="13875" y="562"/>
                  <a:pt x="13875" y="718"/>
                </a:cubicBezTo>
                <a:cubicBezTo>
                  <a:pt x="13938" y="718"/>
                  <a:pt x="13938" y="750"/>
                  <a:pt x="13938" y="781"/>
                </a:cubicBezTo>
                <a:cubicBezTo>
                  <a:pt x="13875" y="937"/>
                  <a:pt x="13844" y="1093"/>
                  <a:pt x="13813" y="1250"/>
                </a:cubicBezTo>
                <a:cubicBezTo>
                  <a:pt x="13781" y="1437"/>
                  <a:pt x="13750" y="1625"/>
                  <a:pt x="13719" y="1812"/>
                </a:cubicBezTo>
                <a:cubicBezTo>
                  <a:pt x="13688" y="2000"/>
                  <a:pt x="13625" y="2187"/>
                  <a:pt x="13594" y="2375"/>
                </a:cubicBezTo>
                <a:cubicBezTo>
                  <a:pt x="13594" y="2531"/>
                  <a:pt x="13563" y="2687"/>
                  <a:pt x="13500" y="2843"/>
                </a:cubicBezTo>
                <a:cubicBezTo>
                  <a:pt x="13469" y="2968"/>
                  <a:pt x="13594" y="2906"/>
                  <a:pt x="13594" y="2937"/>
                </a:cubicBezTo>
                <a:cubicBezTo>
                  <a:pt x="13656" y="3031"/>
                  <a:pt x="13688" y="2937"/>
                  <a:pt x="13719" y="2906"/>
                </a:cubicBezTo>
                <a:cubicBezTo>
                  <a:pt x="13719" y="2906"/>
                  <a:pt x="13688" y="2906"/>
                  <a:pt x="13688" y="2875"/>
                </a:cubicBezTo>
                <a:cubicBezTo>
                  <a:pt x="13688" y="2843"/>
                  <a:pt x="13594" y="2906"/>
                  <a:pt x="13625" y="2843"/>
                </a:cubicBezTo>
                <a:cubicBezTo>
                  <a:pt x="13656" y="2781"/>
                  <a:pt x="13594" y="2656"/>
                  <a:pt x="13688" y="2593"/>
                </a:cubicBezTo>
                <a:cubicBezTo>
                  <a:pt x="13719" y="2593"/>
                  <a:pt x="13719" y="2593"/>
                  <a:pt x="13719" y="2562"/>
                </a:cubicBezTo>
                <a:cubicBezTo>
                  <a:pt x="13719" y="2562"/>
                  <a:pt x="13719" y="2562"/>
                  <a:pt x="13719" y="2562"/>
                </a:cubicBezTo>
                <a:cubicBezTo>
                  <a:pt x="13688" y="2562"/>
                  <a:pt x="13688" y="2562"/>
                  <a:pt x="13688" y="2593"/>
                </a:cubicBezTo>
                <a:cubicBezTo>
                  <a:pt x="13656" y="2593"/>
                  <a:pt x="13656" y="2562"/>
                  <a:pt x="13656" y="2531"/>
                </a:cubicBezTo>
                <a:cubicBezTo>
                  <a:pt x="13688" y="2437"/>
                  <a:pt x="13688" y="2312"/>
                  <a:pt x="13781" y="2281"/>
                </a:cubicBezTo>
                <a:cubicBezTo>
                  <a:pt x="13750" y="2281"/>
                  <a:pt x="13719" y="2281"/>
                  <a:pt x="13719" y="2250"/>
                </a:cubicBezTo>
                <a:cubicBezTo>
                  <a:pt x="13750" y="2187"/>
                  <a:pt x="13719" y="2093"/>
                  <a:pt x="13781" y="2062"/>
                </a:cubicBezTo>
                <a:cubicBezTo>
                  <a:pt x="13781" y="1906"/>
                  <a:pt x="13813" y="1781"/>
                  <a:pt x="13844" y="1625"/>
                </a:cubicBezTo>
                <a:cubicBezTo>
                  <a:pt x="13844" y="1593"/>
                  <a:pt x="13844" y="1531"/>
                  <a:pt x="13906" y="1500"/>
                </a:cubicBezTo>
                <a:cubicBezTo>
                  <a:pt x="13844" y="1468"/>
                  <a:pt x="13844" y="1406"/>
                  <a:pt x="13906" y="1343"/>
                </a:cubicBezTo>
                <a:cubicBezTo>
                  <a:pt x="13969" y="1343"/>
                  <a:pt x="14000" y="1343"/>
                  <a:pt x="14063" y="1375"/>
                </a:cubicBezTo>
                <a:cubicBezTo>
                  <a:pt x="14000" y="1343"/>
                  <a:pt x="13969" y="1343"/>
                  <a:pt x="13906" y="1343"/>
                </a:cubicBezTo>
                <a:cubicBezTo>
                  <a:pt x="13938" y="1312"/>
                  <a:pt x="13875" y="1312"/>
                  <a:pt x="13906" y="1281"/>
                </a:cubicBezTo>
                <a:cubicBezTo>
                  <a:pt x="13906" y="1218"/>
                  <a:pt x="13875" y="1156"/>
                  <a:pt x="13969" y="1156"/>
                </a:cubicBezTo>
                <a:cubicBezTo>
                  <a:pt x="13938" y="1125"/>
                  <a:pt x="13906" y="1093"/>
                  <a:pt x="13938" y="1062"/>
                </a:cubicBezTo>
                <a:cubicBezTo>
                  <a:pt x="13906" y="1000"/>
                  <a:pt x="14031" y="1000"/>
                  <a:pt x="13969" y="937"/>
                </a:cubicBezTo>
                <a:cubicBezTo>
                  <a:pt x="13938" y="906"/>
                  <a:pt x="14000" y="843"/>
                  <a:pt x="14000" y="781"/>
                </a:cubicBezTo>
                <a:cubicBezTo>
                  <a:pt x="14000" y="781"/>
                  <a:pt x="14000" y="781"/>
                  <a:pt x="14000" y="781"/>
                </a:cubicBezTo>
                <a:cubicBezTo>
                  <a:pt x="13938" y="687"/>
                  <a:pt x="14000" y="625"/>
                  <a:pt x="14031" y="562"/>
                </a:cubicBezTo>
                <a:cubicBezTo>
                  <a:pt x="14031" y="468"/>
                  <a:pt x="14063" y="406"/>
                  <a:pt x="14063" y="312"/>
                </a:cubicBezTo>
                <a:cubicBezTo>
                  <a:pt x="14094" y="250"/>
                  <a:pt x="14094" y="250"/>
                  <a:pt x="14156" y="281"/>
                </a:cubicBezTo>
                <a:cubicBezTo>
                  <a:pt x="14313" y="343"/>
                  <a:pt x="14469" y="437"/>
                  <a:pt x="14656" y="531"/>
                </a:cubicBezTo>
                <a:cubicBezTo>
                  <a:pt x="14625" y="437"/>
                  <a:pt x="14531" y="437"/>
                  <a:pt x="14500" y="406"/>
                </a:cubicBezTo>
                <a:cubicBezTo>
                  <a:pt x="14344" y="312"/>
                  <a:pt x="14188" y="250"/>
                  <a:pt x="14063" y="156"/>
                </a:cubicBezTo>
                <a:cubicBezTo>
                  <a:pt x="14063" y="156"/>
                  <a:pt x="14031" y="156"/>
                  <a:pt x="14031" y="156"/>
                </a:cubicBezTo>
                <a:cubicBezTo>
                  <a:pt x="13938" y="218"/>
                  <a:pt x="13875" y="218"/>
                  <a:pt x="13781" y="218"/>
                </a:cubicBezTo>
                <a:cubicBezTo>
                  <a:pt x="13844" y="187"/>
                  <a:pt x="13875" y="125"/>
                  <a:pt x="13906" y="31"/>
                </a:cubicBezTo>
                <a:cubicBezTo>
                  <a:pt x="13906" y="0"/>
                  <a:pt x="14000" y="0"/>
                  <a:pt x="14031" y="31"/>
                </a:cubicBezTo>
                <a:cubicBezTo>
                  <a:pt x="14094" y="93"/>
                  <a:pt x="14125" y="156"/>
                  <a:pt x="14219" y="93"/>
                </a:cubicBezTo>
                <a:cubicBezTo>
                  <a:pt x="14281" y="62"/>
                  <a:pt x="14281" y="125"/>
                  <a:pt x="14313" y="125"/>
                </a:cubicBezTo>
                <a:cubicBezTo>
                  <a:pt x="14313" y="250"/>
                  <a:pt x="14406" y="250"/>
                  <a:pt x="14469" y="312"/>
                </a:cubicBezTo>
                <a:cubicBezTo>
                  <a:pt x="14594" y="375"/>
                  <a:pt x="14688" y="437"/>
                  <a:pt x="14844" y="437"/>
                </a:cubicBezTo>
                <a:cubicBezTo>
                  <a:pt x="14938" y="406"/>
                  <a:pt x="14938" y="500"/>
                  <a:pt x="14906" y="562"/>
                </a:cubicBezTo>
                <a:cubicBezTo>
                  <a:pt x="14906" y="687"/>
                  <a:pt x="15000" y="781"/>
                  <a:pt x="14969" y="906"/>
                </a:cubicBezTo>
                <a:cubicBezTo>
                  <a:pt x="14969" y="906"/>
                  <a:pt x="14969" y="906"/>
                  <a:pt x="14969" y="937"/>
                </a:cubicBezTo>
                <a:cubicBezTo>
                  <a:pt x="14969" y="968"/>
                  <a:pt x="14938" y="1031"/>
                  <a:pt x="14906" y="1031"/>
                </a:cubicBezTo>
                <a:cubicBezTo>
                  <a:pt x="14906" y="1062"/>
                  <a:pt x="14906" y="1093"/>
                  <a:pt x="14875" y="1125"/>
                </a:cubicBezTo>
                <a:cubicBezTo>
                  <a:pt x="14906" y="1187"/>
                  <a:pt x="14875" y="1250"/>
                  <a:pt x="14813" y="1312"/>
                </a:cubicBezTo>
                <a:cubicBezTo>
                  <a:pt x="14750" y="1375"/>
                  <a:pt x="14781" y="1468"/>
                  <a:pt x="14781" y="1562"/>
                </a:cubicBezTo>
                <a:cubicBezTo>
                  <a:pt x="14781" y="1593"/>
                  <a:pt x="14844" y="1656"/>
                  <a:pt x="14750" y="1656"/>
                </a:cubicBezTo>
                <a:cubicBezTo>
                  <a:pt x="14750" y="1656"/>
                  <a:pt x="14750" y="1687"/>
                  <a:pt x="14750" y="1687"/>
                </a:cubicBezTo>
                <a:cubicBezTo>
                  <a:pt x="14781" y="1718"/>
                  <a:pt x="14813" y="1750"/>
                  <a:pt x="14813" y="1781"/>
                </a:cubicBezTo>
                <a:cubicBezTo>
                  <a:pt x="14813" y="1843"/>
                  <a:pt x="14813" y="1875"/>
                  <a:pt x="14750" y="1875"/>
                </a:cubicBezTo>
                <a:cubicBezTo>
                  <a:pt x="14750" y="1843"/>
                  <a:pt x="14750" y="1812"/>
                  <a:pt x="14719" y="1781"/>
                </a:cubicBezTo>
                <a:cubicBezTo>
                  <a:pt x="14719" y="1750"/>
                  <a:pt x="14750" y="1750"/>
                  <a:pt x="14750" y="1750"/>
                </a:cubicBezTo>
                <a:cubicBezTo>
                  <a:pt x="14750" y="1750"/>
                  <a:pt x="14750" y="1781"/>
                  <a:pt x="14781" y="1781"/>
                </a:cubicBezTo>
                <a:cubicBezTo>
                  <a:pt x="14750" y="1781"/>
                  <a:pt x="14750" y="1750"/>
                  <a:pt x="14750" y="1750"/>
                </a:cubicBezTo>
                <a:cubicBezTo>
                  <a:pt x="14750" y="1750"/>
                  <a:pt x="14750" y="1718"/>
                  <a:pt x="14719" y="1718"/>
                </a:cubicBezTo>
                <a:cubicBezTo>
                  <a:pt x="14719" y="1718"/>
                  <a:pt x="14719" y="1718"/>
                  <a:pt x="14719" y="1718"/>
                </a:cubicBezTo>
                <a:cubicBezTo>
                  <a:pt x="14719" y="1718"/>
                  <a:pt x="14719" y="1718"/>
                  <a:pt x="14719" y="1687"/>
                </a:cubicBezTo>
                <a:cubicBezTo>
                  <a:pt x="14688" y="1687"/>
                  <a:pt x="14688" y="1656"/>
                  <a:pt x="14656" y="1656"/>
                </a:cubicBezTo>
                <a:cubicBezTo>
                  <a:pt x="14688" y="1656"/>
                  <a:pt x="14688" y="1687"/>
                  <a:pt x="14719" y="1687"/>
                </a:cubicBezTo>
                <a:cubicBezTo>
                  <a:pt x="14688" y="1718"/>
                  <a:pt x="14688" y="1718"/>
                  <a:pt x="14688" y="1718"/>
                </a:cubicBezTo>
                <a:cubicBezTo>
                  <a:pt x="14688" y="1718"/>
                  <a:pt x="14656" y="1718"/>
                  <a:pt x="14656" y="1718"/>
                </a:cubicBezTo>
                <a:cubicBezTo>
                  <a:pt x="14656" y="1718"/>
                  <a:pt x="14656" y="1718"/>
                  <a:pt x="14656" y="1718"/>
                </a:cubicBezTo>
                <a:cubicBezTo>
                  <a:pt x="14656" y="1750"/>
                  <a:pt x="14625" y="1781"/>
                  <a:pt x="14625" y="1812"/>
                </a:cubicBezTo>
                <a:cubicBezTo>
                  <a:pt x="14594" y="1812"/>
                  <a:pt x="14563" y="1781"/>
                  <a:pt x="14531" y="1781"/>
                </a:cubicBezTo>
                <a:cubicBezTo>
                  <a:pt x="14563" y="1781"/>
                  <a:pt x="14594" y="1812"/>
                  <a:pt x="14625" y="1812"/>
                </a:cubicBezTo>
                <a:cubicBezTo>
                  <a:pt x="14656" y="1812"/>
                  <a:pt x="14656" y="1812"/>
                  <a:pt x="14688" y="1812"/>
                </a:cubicBezTo>
                <a:cubicBezTo>
                  <a:pt x="14688" y="1843"/>
                  <a:pt x="14688" y="1875"/>
                  <a:pt x="14688" y="1937"/>
                </a:cubicBezTo>
                <a:cubicBezTo>
                  <a:pt x="14688" y="1968"/>
                  <a:pt x="14656" y="1968"/>
                  <a:pt x="14625" y="2000"/>
                </a:cubicBezTo>
                <a:cubicBezTo>
                  <a:pt x="14656" y="2031"/>
                  <a:pt x="14656" y="2062"/>
                  <a:pt x="14719" y="2031"/>
                </a:cubicBezTo>
                <a:cubicBezTo>
                  <a:pt x="14719" y="2031"/>
                  <a:pt x="14719" y="2031"/>
                  <a:pt x="14750" y="2031"/>
                </a:cubicBezTo>
                <a:cubicBezTo>
                  <a:pt x="14750" y="2000"/>
                  <a:pt x="14719" y="2000"/>
                  <a:pt x="14688" y="2000"/>
                </a:cubicBezTo>
                <a:cubicBezTo>
                  <a:pt x="14688" y="2000"/>
                  <a:pt x="14719" y="2000"/>
                  <a:pt x="14719" y="2000"/>
                </a:cubicBezTo>
                <a:cubicBezTo>
                  <a:pt x="14719" y="1937"/>
                  <a:pt x="14719" y="1937"/>
                  <a:pt x="14688" y="1937"/>
                </a:cubicBezTo>
                <a:cubicBezTo>
                  <a:pt x="14688" y="1875"/>
                  <a:pt x="14688" y="1843"/>
                  <a:pt x="14688" y="1812"/>
                </a:cubicBezTo>
                <a:cubicBezTo>
                  <a:pt x="14688" y="1812"/>
                  <a:pt x="14719" y="1781"/>
                  <a:pt x="14719" y="1781"/>
                </a:cubicBezTo>
                <a:cubicBezTo>
                  <a:pt x="14750" y="1812"/>
                  <a:pt x="14750" y="1843"/>
                  <a:pt x="14750" y="1875"/>
                </a:cubicBezTo>
                <a:cubicBezTo>
                  <a:pt x="14750" y="1937"/>
                  <a:pt x="14813" y="1968"/>
                  <a:pt x="14844" y="2000"/>
                </a:cubicBezTo>
                <a:cubicBezTo>
                  <a:pt x="14875" y="2062"/>
                  <a:pt x="14875" y="2093"/>
                  <a:pt x="14813" y="2125"/>
                </a:cubicBezTo>
                <a:cubicBezTo>
                  <a:pt x="14781" y="2125"/>
                  <a:pt x="14781" y="2156"/>
                  <a:pt x="14813" y="2187"/>
                </a:cubicBezTo>
                <a:cubicBezTo>
                  <a:pt x="14813" y="2218"/>
                  <a:pt x="14875" y="2218"/>
                  <a:pt x="14875" y="2281"/>
                </a:cubicBezTo>
                <a:cubicBezTo>
                  <a:pt x="14906" y="2343"/>
                  <a:pt x="14875" y="2375"/>
                  <a:pt x="14813" y="2406"/>
                </a:cubicBezTo>
                <a:cubicBezTo>
                  <a:pt x="14813" y="2437"/>
                  <a:pt x="14813" y="2437"/>
                  <a:pt x="14844" y="2468"/>
                </a:cubicBezTo>
                <a:cubicBezTo>
                  <a:pt x="14906" y="2531"/>
                  <a:pt x="14938" y="2593"/>
                  <a:pt x="14938" y="2687"/>
                </a:cubicBezTo>
                <a:cubicBezTo>
                  <a:pt x="14906" y="2687"/>
                  <a:pt x="14844" y="2687"/>
                  <a:pt x="14813" y="2687"/>
                </a:cubicBezTo>
                <a:cubicBezTo>
                  <a:pt x="14813" y="2718"/>
                  <a:pt x="14844" y="2750"/>
                  <a:pt x="14844" y="2781"/>
                </a:cubicBezTo>
                <a:cubicBezTo>
                  <a:pt x="14844" y="2781"/>
                  <a:pt x="14875" y="2781"/>
                  <a:pt x="14875" y="2750"/>
                </a:cubicBezTo>
                <a:cubicBezTo>
                  <a:pt x="14875" y="2781"/>
                  <a:pt x="14875" y="2812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lnTo>
                  <a:pt x="14875" y="2843"/>
                </a:lnTo>
                <a:cubicBezTo>
                  <a:pt x="14875" y="2812"/>
                  <a:pt x="14844" y="2812"/>
                  <a:pt x="14844" y="2781"/>
                </a:cubicBezTo>
                <a:cubicBezTo>
                  <a:pt x="14813" y="2843"/>
                  <a:pt x="14781" y="2718"/>
                  <a:pt x="14750" y="2781"/>
                </a:cubicBezTo>
                <a:cubicBezTo>
                  <a:pt x="14719" y="2843"/>
                  <a:pt x="14656" y="2906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750" y="2968"/>
                  <a:pt x="14719" y="2968"/>
                  <a:pt x="14719" y="2968"/>
                </a:cubicBezTo>
                <a:cubicBezTo>
                  <a:pt x="14719" y="2968"/>
                  <a:pt x="14750" y="2968"/>
                  <a:pt x="14750" y="2968"/>
                </a:cubicBezTo>
                <a:cubicBezTo>
                  <a:pt x="14750" y="2968"/>
                  <a:pt x="14750" y="2968"/>
                  <a:pt x="14750" y="2968"/>
                </a:cubicBezTo>
                <a:cubicBezTo>
                  <a:pt x="14813" y="3000"/>
                  <a:pt x="14813" y="2937"/>
                  <a:pt x="14813" y="2875"/>
                </a:cubicBezTo>
                <a:cubicBezTo>
                  <a:pt x="14844" y="2906"/>
                  <a:pt x="14844" y="2937"/>
                  <a:pt x="14875" y="2937"/>
                </a:cubicBezTo>
                <a:cubicBezTo>
                  <a:pt x="14875" y="2937"/>
                  <a:pt x="14875" y="2937"/>
                  <a:pt x="14875" y="2937"/>
                </a:cubicBezTo>
                <a:cubicBezTo>
                  <a:pt x="14875" y="2906"/>
                  <a:pt x="14906" y="2875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ubicBezTo>
                  <a:pt x="14938" y="2843"/>
                  <a:pt x="14938" y="2843"/>
                  <a:pt x="14969" y="2875"/>
                </a:cubicBezTo>
                <a:cubicBezTo>
                  <a:pt x="14969" y="2906"/>
                  <a:pt x="15000" y="2937"/>
                  <a:pt x="14969" y="2968"/>
                </a:cubicBezTo>
                <a:cubicBezTo>
                  <a:pt x="14938" y="3000"/>
                  <a:pt x="14906" y="3031"/>
                  <a:pt x="14875" y="2968"/>
                </a:cubicBezTo>
                <a:cubicBezTo>
                  <a:pt x="14844" y="3000"/>
                  <a:pt x="14781" y="3000"/>
                  <a:pt x="14844" y="3031"/>
                </a:cubicBezTo>
                <a:cubicBezTo>
                  <a:pt x="14875" y="3062"/>
                  <a:pt x="14844" y="3093"/>
                  <a:pt x="14844" y="3093"/>
                </a:cubicBezTo>
                <a:cubicBezTo>
                  <a:pt x="14813" y="3093"/>
                  <a:pt x="14781" y="3093"/>
                  <a:pt x="14750" y="3093"/>
                </a:cubicBezTo>
                <a:cubicBezTo>
                  <a:pt x="14750" y="3093"/>
                  <a:pt x="14750" y="3125"/>
                  <a:pt x="14781" y="3125"/>
                </a:cubicBezTo>
                <a:cubicBezTo>
                  <a:pt x="14781" y="3156"/>
                  <a:pt x="14750" y="3156"/>
                  <a:pt x="14719" y="3156"/>
                </a:cubicBezTo>
                <a:cubicBezTo>
                  <a:pt x="14719" y="3187"/>
                  <a:pt x="14688" y="3187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688" y="3218"/>
                  <a:pt x="14688" y="3218"/>
                  <a:pt x="14688" y="3218"/>
                </a:cubicBezTo>
                <a:cubicBezTo>
                  <a:pt x="14719" y="3187"/>
                  <a:pt x="14719" y="3187"/>
                  <a:pt x="14719" y="3187"/>
                </a:cubicBezTo>
                <a:cubicBezTo>
                  <a:pt x="14656" y="3281"/>
                  <a:pt x="14813" y="3281"/>
                  <a:pt x="14813" y="3312"/>
                </a:cubicBezTo>
                <a:cubicBezTo>
                  <a:pt x="14813" y="3343"/>
                  <a:pt x="14813" y="3343"/>
                  <a:pt x="14813" y="3312"/>
                </a:cubicBezTo>
                <a:cubicBezTo>
                  <a:pt x="14844" y="3250"/>
                  <a:pt x="14906" y="3250"/>
                  <a:pt x="14938" y="3218"/>
                </a:cubicBezTo>
                <a:cubicBezTo>
                  <a:pt x="14969" y="3187"/>
                  <a:pt x="15000" y="3218"/>
                  <a:pt x="15031" y="3250"/>
                </a:cubicBezTo>
                <a:cubicBezTo>
                  <a:pt x="15063" y="3312"/>
                  <a:pt x="15063" y="3375"/>
                  <a:pt x="15063" y="3437"/>
                </a:cubicBezTo>
                <a:cubicBezTo>
                  <a:pt x="15031" y="3437"/>
                  <a:pt x="15031" y="3406"/>
                  <a:pt x="15031" y="3406"/>
                </a:cubicBezTo>
                <a:cubicBezTo>
                  <a:pt x="14969" y="3406"/>
                  <a:pt x="14938" y="3375"/>
                  <a:pt x="14906" y="3406"/>
                </a:cubicBezTo>
                <a:cubicBezTo>
                  <a:pt x="14844" y="3468"/>
                  <a:pt x="14938" y="3500"/>
                  <a:pt x="14938" y="3531"/>
                </a:cubicBezTo>
                <a:cubicBezTo>
                  <a:pt x="14938" y="3531"/>
                  <a:pt x="14969" y="3562"/>
                  <a:pt x="14969" y="3562"/>
                </a:cubicBezTo>
                <a:cubicBezTo>
                  <a:pt x="15000" y="3562"/>
                  <a:pt x="15031" y="3625"/>
                  <a:pt x="15063" y="3625"/>
                </a:cubicBezTo>
                <a:cubicBezTo>
                  <a:pt x="15125" y="3593"/>
                  <a:pt x="15063" y="3531"/>
                  <a:pt x="15094" y="3500"/>
                </a:cubicBezTo>
                <a:cubicBezTo>
                  <a:pt x="15125" y="3593"/>
                  <a:pt x="15125" y="3718"/>
                  <a:pt x="15125" y="3812"/>
                </a:cubicBezTo>
                <a:cubicBezTo>
                  <a:pt x="15125" y="3843"/>
                  <a:pt x="15094" y="3875"/>
                  <a:pt x="15094" y="3875"/>
                </a:cubicBezTo>
                <a:cubicBezTo>
                  <a:pt x="15031" y="3906"/>
                  <a:pt x="15063" y="3843"/>
                  <a:pt x="15031" y="3843"/>
                </a:cubicBezTo>
                <a:cubicBezTo>
                  <a:pt x="15031" y="3812"/>
                  <a:pt x="15000" y="3812"/>
                  <a:pt x="14969" y="3843"/>
                </a:cubicBezTo>
                <a:cubicBezTo>
                  <a:pt x="14938" y="3875"/>
                  <a:pt x="14875" y="3906"/>
                  <a:pt x="14844" y="3906"/>
                </a:cubicBezTo>
                <a:cubicBezTo>
                  <a:pt x="14781" y="3937"/>
                  <a:pt x="14719" y="3968"/>
                  <a:pt x="14781" y="4062"/>
                </a:cubicBezTo>
                <a:cubicBezTo>
                  <a:pt x="14813" y="4093"/>
                  <a:pt x="14813" y="4125"/>
                  <a:pt x="14813" y="4156"/>
                </a:cubicBezTo>
                <a:cubicBezTo>
                  <a:pt x="14813" y="4187"/>
                  <a:pt x="14813" y="4187"/>
                  <a:pt x="14813" y="4218"/>
                </a:cubicBezTo>
                <a:cubicBezTo>
                  <a:pt x="14813" y="4218"/>
                  <a:pt x="14844" y="4218"/>
                  <a:pt x="14844" y="4218"/>
                </a:cubicBezTo>
                <a:cubicBezTo>
                  <a:pt x="14906" y="4156"/>
                  <a:pt x="15063" y="4187"/>
                  <a:pt x="15094" y="4093"/>
                </a:cubicBezTo>
                <a:cubicBezTo>
                  <a:pt x="15094" y="4093"/>
                  <a:pt x="15156" y="4093"/>
                  <a:pt x="15156" y="4125"/>
                </a:cubicBezTo>
                <a:cubicBezTo>
                  <a:pt x="15188" y="4250"/>
                  <a:pt x="15219" y="4406"/>
                  <a:pt x="15219" y="4562"/>
                </a:cubicBezTo>
                <a:cubicBezTo>
                  <a:pt x="15219" y="4468"/>
                  <a:pt x="15188" y="4406"/>
                  <a:pt x="15188" y="4343"/>
                </a:cubicBezTo>
                <a:cubicBezTo>
                  <a:pt x="15156" y="4312"/>
                  <a:pt x="15188" y="4281"/>
                  <a:pt x="15125" y="4281"/>
                </a:cubicBezTo>
                <a:cubicBezTo>
                  <a:pt x="15094" y="4281"/>
                  <a:pt x="15063" y="4250"/>
                  <a:pt x="15000" y="4281"/>
                </a:cubicBezTo>
                <a:cubicBezTo>
                  <a:pt x="14969" y="4343"/>
                  <a:pt x="14906" y="4343"/>
                  <a:pt x="14875" y="4375"/>
                </a:cubicBezTo>
                <a:cubicBezTo>
                  <a:pt x="14875" y="4375"/>
                  <a:pt x="14844" y="4375"/>
                  <a:pt x="14844" y="4375"/>
                </a:cubicBezTo>
                <a:cubicBezTo>
                  <a:pt x="14844" y="4375"/>
                  <a:pt x="14844" y="4375"/>
                  <a:pt x="14844" y="4375"/>
                </a:cubicBezTo>
                <a:cubicBezTo>
                  <a:pt x="14781" y="4468"/>
                  <a:pt x="14813" y="4531"/>
                  <a:pt x="14813" y="4593"/>
                </a:cubicBezTo>
                <a:cubicBezTo>
                  <a:pt x="14813" y="4687"/>
                  <a:pt x="14906" y="4718"/>
                  <a:pt x="14906" y="4781"/>
                </a:cubicBezTo>
                <a:cubicBezTo>
                  <a:pt x="14938" y="4781"/>
                  <a:pt x="14938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906" y="4812"/>
                  <a:pt x="14906" y="4812"/>
                  <a:pt x="14906" y="4812"/>
                </a:cubicBezTo>
                <a:cubicBezTo>
                  <a:pt x="14875" y="4812"/>
                  <a:pt x="14844" y="4812"/>
                  <a:pt x="14844" y="4812"/>
                </a:cubicBezTo>
                <a:cubicBezTo>
                  <a:pt x="14906" y="4875"/>
                  <a:pt x="14844" y="4937"/>
                  <a:pt x="14875" y="5000"/>
                </a:cubicBezTo>
                <a:cubicBezTo>
                  <a:pt x="14875" y="5000"/>
                  <a:pt x="14875" y="5031"/>
                  <a:pt x="14875" y="5031"/>
                </a:cubicBezTo>
                <a:cubicBezTo>
                  <a:pt x="14875" y="5062"/>
                  <a:pt x="14875" y="5093"/>
                  <a:pt x="14875" y="5125"/>
                </a:cubicBezTo>
                <a:cubicBezTo>
                  <a:pt x="14875" y="5250"/>
                  <a:pt x="14969" y="5250"/>
                  <a:pt x="15031" y="5312"/>
                </a:cubicBezTo>
                <a:cubicBezTo>
                  <a:pt x="15031" y="5312"/>
                  <a:pt x="15031" y="5312"/>
                  <a:pt x="15031" y="5312"/>
                </a:cubicBezTo>
                <a:cubicBezTo>
                  <a:pt x="15094" y="5218"/>
                  <a:pt x="15188" y="5250"/>
                  <a:pt x="15250" y="5218"/>
                </a:cubicBezTo>
                <a:cubicBezTo>
                  <a:pt x="15281" y="5218"/>
                  <a:pt x="15281" y="5156"/>
                  <a:pt x="15313" y="5187"/>
                </a:cubicBezTo>
                <a:cubicBezTo>
                  <a:pt x="15344" y="5218"/>
                  <a:pt x="15406" y="5218"/>
                  <a:pt x="15406" y="5281"/>
                </a:cubicBezTo>
                <a:cubicBezTo>
                  <a:pt x="15406" y="5406"/>
                  <a:pt x="15500" y="5500"/>
                  <a:pt x="15469" y="5593"/>
                </a:cubicBezTo>
                <a:cubicBezTo>
                  <a:pt x="15469" y="5625"/>
                  <a:pt x="15500" y="5625"/>
                  <a:pt x="15500" y="5656"/>
                </a:cubicBezTo>
                <a:cubicBezTo>
                  <a:pt x="15406" y="5562"/>
                  <a:pt x="15438" y="5437"/>
                  <a:pt x="15375" y="5343"/>
                </a:cubicBezTo>
                <a:cubicBezTo>
                  <a:pt x="15344" y="5437"/>
                  <a:pt x="15313" y="5500"/>
                  <a:pt x="15281" y="5562"/>
                </a:cubicBezTo>
                <a:cubicBezTo>
                  <a:pt x="15281" y="5656"/>
                  <a:pt x="15156" y="5718"/>
                  <a:pt x="15094" y="5687"/>
                </a:cubicBezTo>
                <a:cubicBezTo>
                  <a:pt x="15063" y="5687"/>
                  <a:pt x="15000" y="5687"/>
                  <a:pt x="15031" y="5593"/>
                </a:cubicBezTo>
                <a:cubicBezTo>
                  <a:pt x="15031" y="5593"/>
                  <a:pt x="15000" y="5562"/>
                  <a:pt x="14969" y="5562"/>
                </a:cubicBezTo>
                <a:cubicBezTo>
                  <a:pt x="15031" y="5562"/>
                  <a:pt x="15094" y="5562"/>
                  <a:pt x="15125" y="5593"/>
                </a:cubicBezTo>
                <a:cubicBezTo>
                  <a:pt x="15125" y="5625"/>
                  <a:pt x="15156" y="5625"/>
                  <a:pt x="15188" y="5625"/>
                </a:cubicBezTo>
                <a:cubicBezTo>
                  <a:pt x="15188" y="5593"/>
                  <a:pt x="15188" y="5593"/>
                  <a:pt x="15188" y="5562"/>
                </a:cubicBezTo>
                <a:cubicBezTo>
                  <a:pt x="15156" y="5531"/>
                  <a:pt x="15188" y="5500"/>
                  <a:pt x="15219" y="5500"/>
                </a:cubicBezTo>
                <a:cubicBezTo>
                  <a:pt x="15281" y="5500"/>
                  <a:pt x="15281" y="5437"/>
                  <a:pt x="15281" y="5437"/>
                </a:cubicBezTo>
                <a:cubicBezTo>
                  <a:pt x="15313" y="5375"/>
                  <a:pt x="15313" y="5343"/>
                  <a:pt x="15281" y="5343"/>
                </a:cubicBezTo>
                <a:cubicBezTo>
                  <a:pt x="15281" y="5281"/>
                  <a:pt x="15250" y="5343"/>
                  <a:pt x="15219" y="5343"/>
                </a:cubicBezTo>
                <a:cubicBezTo>
                  <a:pt x="15188" y="5343"/>
                  <a:pt x="15125" y="5375"/>
                  <a:pt x="15094" y="5406"/>
                </a:cubicBezTo>
                <a:cubicBezTo>
                  <a:pt x="15094" y="5406"/>
                  <a:pt x="15063" y="5437"/>
                  <a:pt x="15031" y="5406"/>
                </a:cubicBezTo>
                <a:cubicBezTo>
                  <a:pt x="14969" y="5406"/>
                  <a:pt x="14906" y="5437"/>
                  <a:pt x="14938" y="5531"/>
                </a:cubicBezTo>
                <a:cubicBezTo>
                  <a:pt x="14938" y="5656"/>
                  <a:pt x="14969" y="5781"/>
                  <a:pt x="14938" y="5906"/>
                </a:cubicBezTo>
                <a:cubicBezTo>
                  <a:pt x="14938" y="5937"/>
                  <a:pt x="14938" y="5968"/>
                  <a:pt x="15000" y="5968"/>
                </a:cubicBezTo>
                <a:cubicBezTo>
                  <a:pt x="15031" y="5968"/>
                  <a:pt x="15031" y="5937"/>
                  <a:pt x="15031" y="5906"/>
                </a:cubicBezTo>
                <a:cubicBezTo>
                  <a:pt x="15031" y="5843"/>
                  <a:pt x="15031" y="5812"/>
                  <a:pt x="15125" y="5812"/>
                </a:cubicBezTo>
                <a:cubicBezTo>
                  <a:pt x="15094" y="5937"/>
                  <a:pt x="15125" y="5937"/>
                  <a:pt x="15250" y="5875"/>
                </a:cubicBezTo>
                <a:cubicBezTo>
                  <a:pt x="15281" y="5875"/>
                  <a:pt x="15313" y="5843"/>
                  <a:pt x="15375" y="5843"/>
                </a:cubicBezTo>
                <a:cubicBezTo>
                  <a:pt x="15375" y="5843"/>
                  <a:pt x="15375" y="5812"/>
                  <a:pt x="15406" y="5812"/>
                </a:cubicBezTo>
                <a:cubicBezTo>
                  <a:pt x="15438" y="5812"/>
                  <a:pt x="15375" y="5718"/>
                  <a:pt x="15469" y="5750"/>
                </a:cubicBezTo>
                <a:cubicBezTo>
                  <a:pt x="15500" y="5750"/>
                  <a:pt x="15469" y="5812"/>
                  <a:pt x="15531" y="5843"/>
                </a:cubicBezTo>
                <a:cubicBezTo>
                  <a:pt x="15531" y="5843"/>
                  <a:pt x="15531" y="5843"/>
                  <a:pt x="15531" y="5843"/>
                </a:cubicBezTo>
                <a:cubicBezTo>
                  <a:pt x="15531" y="5906"/>
                  <a:pt x="15563" y="5937"/>
                  <a:pt x="15563" y="5968"/>
                </a:cubicBezTo>
                <a:cubicBezTo>
                  <a:pt x="15625" y="6031"/>
                  <a:pt x="15625" y="6093"/>
                  <a:pt x="15625" y="6156"/>
                </a:cubicBezTo>
                <a:cubicBezTo>
                  <a:pt x="15625" y="6093"/>
                  <a:pt x="15531" y="6062"/>
                  <a:pt x="15531" y="5968"/>
                </a:cubicBezTo>
                <a:cubicBezTo>
                  <a:pt x="15531" y="5968"/>
                  <a:pt x="15531" y="5968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5937"/>
                  <a:pt x="15500" y="5937"/>
                  <a:pt x="15500" y="5937"/>
                </a:cubicBezTo>
                <a:cubicBezTo>
                  <a:pt x="15500" y="6000"/>
                  <a:pt x="15469" y="6062"/>
                  <a:pt x="15469" y="6093"/>
                </a:cubicBezTo>
                <a:cubicBezTo>
                  <a:pt x="15438" y="6156"/>
                  <a:pt x="15438" y="6187"/>
                  <a:pt x="15469" y="6187"/>
                </a:cubicBezTo>
                <a:cubicBezTo>
                  <a:pt x="15531" y="6218"/>
                  <a:pt x="15500" y="6156"/>
                  <a:pt x="15531" y="6125"/>
                </a:cubicBezTo>
                <a:cubicBezTo>
                  <a:pt x="15531" y="6187"/>
                  <a:pt x="15500" y="6281"/>
                  <a:pt x="15500" y="6343"/>
                </a:cubicBezTo>
                <a:cubicBezTo>
                  <a:pt x="15500" y="6375"/>
                  <a:pt x="15500" y="6406"/>
                  <a:pt x="15531" y="6406"/>
                </a:cubicBezTo>
                <a:cubicBezTo>
                  <a:pt x="15531" y="6437"/>
                  <a:pt x="15563" y="6437"/>
                  <a:pt x="15500" y="6437"/>
                </a:cubicBezTo>
                <a:cubicBezTo>
                  <a:pt x="15469" y="6437"/>
                  <a:pt x="15469" y="6437"/>
                  <a:pt x="15469" y="6468"/>
                </a:cubicBezTo>
                <a:cubicBezTo>
                  <a:pt x="15469" y="6468"/>
                  <a:pt x="15469" y="6468"/>
                  <a:pt x="15469" y="6468"/>
                </a:cubicBezTo>
                <a:cubicBezTo>
                  <a:pt x="15469" y="6468"/>
                  <a:pt x="15469" y="6437"/>
                  <a:pt x="15438" y="6437"/>
                </a:cubicBezTo>
                <a:cubicBezTo>
                  <a:pt x="15406" y="6375"/>
                  <a:pt x="15344" y="6343"/>
                  <a:pt x="15281" y="6343"/>
                </a:cubicBezTo>
                <a:cubicBezTo>
                  <a:pt x="15219" y="6375"/>
                  <a:pt x="15188" y="6343"/>
                  <a:pt x="15156" y="6312"/>
                </a:cubicBezTo>
                <a:cubicBezTo>
                  <a:pt x="15156" y="6312"/>
                  <a:pt x="15125" y="6250"/>
                  <a:pt x="15094" y="6281"/>
                </a:cubicBezTo>
                <a:cubicBezTo>
                  <a:pt x="15063" y="6312"/>
                  <a:pt x="15063" y="6375"/>
                  <a:pt x="15094" y="6406"/>
                </a:cubicBezTo>
                <a:cubicBezTo>
                  <a:pt x="15125" y="6406"/>
                  <a:pt x="15125" y="6437"/>
                  <a:pt x="15156" y="6468"/>
                </a:cubicBezTo>
                <a:cubicBezTo>
                  <a:pt x="15250" y="6500"/>
                  <a:pt x="15250" y="6531"/>
                  <a:pt x="15188" y="6593"/>
                </a:cubicBezTo>
                <a:cubicBezTo>
                  <a:pt x="15250" y="6593"/>
                  <a:pt x="15344" y="6562"/>
                  <a:pt x="15406" y="6531"/>
                </a:cubicBezTo>
                <a:cubicBezTo>
                  <a:pt x="15438" y="6531"/>
                  <a:pt x="15469" y="6500"/>
                  <a:pt x="15469" y="6500"/>
                </a:cubicBezTo>
                <a:cubicBezTo>
                  <a:pt x="15469" y="6500"/>
                  <a:pt x="15469" y="6500"/>
                  <a:pt x="15469" y="6500"/>
                </a:cubicBezTo>
                <a:cubicBezTo>
                  <a:pt x="15500" y="6531"/>
                  <a:pt x="15531" y="6531"/>
                  <a:pt x="15531" y="6531"/>
                </a:cubicBezTo>
                <a:cubicBezTo>
                  <a:pt x="15563" y="6500"/>
                  <a:pt x="15563" y="6500"/>
                  <a:pt x="15594" y="6500"/>
                </a:cubicBezTo>
                <a:cubicBezTo>
                  <a:pt x="15594" y="6468"/>
                  <a:pt x="15688" y="6468"/>
                  <a:pt x="15688" y="6468"/>
                </a:cubicBezTo>
                <a:cubicBezTo>
                  <a:pt x="15719" y="6500"/>
                  <a:pt x="15719" y="6500"/>
                  <a:pt x="15719" y="6500"/>
                </a:cubicBezTo>
                <a:cubicBezTo>
                  <a:pt x="15719" y="6531"/>
                  <a:pt x="15750" y="6531"/>
                  <a:pt x="15750" y="6531"/>
                </a:cubicBezTo>
                <a:cubicBezTo>
                  <a:pt x="15750" y="6562"/>
                  <a:pt x="15750" y="6562"/>
                  <a:pt x="15781" y="6562"/>
                </a:cubicBezTo>
                <a:cubicBezTo>
                  <a:pt x="15875" y="6906"/>
                  <a:pt x="15969" y="7250"/>
                  <a:pt x="16094" y="7593"/>
                </a:cubicBezTo>
                <a:cubicBezTo>
                  <a:pt x="16063" y="7500"/>
                  <a:pt x="16031" y="7406"/>
                  <a:pt x="15969" y="7375"/>
                </a:cubicBezTo>
                <a:cubicBezTo>
                  <a:pt x="15906" y="7343"/>
                  <a:pt x="15875" y="7250"/>
                  <a:pt x="15781" y="7281"/>
                </a:cubicBezTo>
                <a:cubicBezTo>
                  <a:pt x="15719" y="7343"/>
                  <a:pt x="15594" y="7312"/>
                  <a:pt x="15625" y="7468"/>
                </a:cubicBezTo>
                <a:cubicBezTo>
                  <a:pt x="15531" y="7406"/>
                  <a:pt x="15469" y="7406"/>
                  <a:pt x="15375" y="7437"/>
                </a:cubicBezTo>
                <a:cubicBezTo>
                  <a:pt x="15313" y="7468"/>
                  <a:pt x="15344" y="7500"/>
                  <a:pt x="15344" y="7562"/>
                </a:cubicBezTo>
                <a:cubicBezTo>
                  <a:pt x="15375" y="7625"/>
                  <a:pt x="15344" y="7718"/>
                  <a:pt x="15438" y="7750"/>
                </a:cubicBezTo>
                <a:cubicBezTo>
                  <a:pt x="15469" y="7718"/>
                  <a:pt x="15563" y="7843"/>
                  <a:pt x="15531" y="7687"/>
                </a:cubicBezTo>
                <a:cubicBezTo>
                  <a:pt x="15563" y="7812"/>
                  <a:pt x="15625" y="7812"/>
                  <a:pt x="15688" y="7750"/>
                </a:cubicBezTo>
                <a:cubicBezTo>
                  <a:pt x="15625" y="7812"/>
                  <a:pt x="15719" y="7843"/>
                  <a:pt x="15750" y="7843"/>
                </a:cubicBezTo>
                <a:cubicBezTo>
                  <a:pt x="15875" y="7843"/>
                  <a:pt x="15938" y="7937"/>
                  <a:pt x="16063" y="7968"/>
                </a:cubicBezTo>
                <a:cubicBezTo>
                  <a:pt x="16094" y="7968"/>
                  <a:pt x="16125" y="8000"/>
                  <a:pt x="16125" y="7906"/>
                </a:cubicBezTo>
                <a:cubicBezTo>
                  <a:pt x="16125" y="7906"/>
                  <a:pt x="16125" y="7875"/>
                  <a:pt x="16125" y="7875"/>
                </a:cubicBezTo>
                <a:cubicBezTo>
                  <a:pt x="16156" y="7875"/>
                  <a:pt x="16188" y="7875"/>
                  <a:pt x="16188" y="7906"/>
                </a:cubicBezTo>
                <a:cubicBezTo>
                  <a:pt x="16188" y="8031"/>
                  <a:pt x="16344" y="8062"/>
                  <a:pt x="16438" y="8125"/>
                </a:cubicBezTo>
                <a:cubicBezTo>
                  <a:pt x="16438" y="8125"/>
                  <a:pt x="16469" y="8125"/>
                  <a:pt x="16469" y="8156"/>
                </a:cubicBezTo>
                <a:cubicBezTo>
                  <a:pt x="16469" y="8187"/>
                  <a:pt x="16500" y="8218"/>
                  <a:pt x="16531" y="8218"/>
                </a:cubicBezTo>
                <a:cubicBezTo>
                  <a:pt x="16750" y="8187"/>
                  <a:pt x="16906" y="8312"/>
                  <a:pt x="17094" y="8375"/>
                </a:cubicBezTo>
                <a:cubicBezTo>
                  <a:pt x="17156" y="8375"/>
                  <a:pt x="17156" y="8437"/>
                  <a:pt x="17219" y="8468"/>
                </a:cubicBezTo>
                <a:cubicBezTo>
                  <a:pt x="17281" y="8625"/>
                  <a:pt x="17344" y="8781"/>
                  <a:pt x="17375" y="8937"/>
                </a:cubicBezTo>
                <a:cubicBezTo>
                  <a:pt x="17406" y="8937"/>
                  <a:pt x="17406" y="8968"/>
                  <a:pt x="17406" y="8968"/>
                </a:cubicBezTo>
                <a:cubicBezTo>
                  <a:pt x="17344" y="9062"/>
                  <a:pt x="17313" y="9156"/>
                  <a:pt x="17219" y="9218"/>
                </a:cubicBezTo>
                <a:cubicBezTo>
                  <a:pt x="17188" y="9281"/>
                  <a:pt x="17125" y="9375"/>
                  <a:pt x="17063" y="9437"/>
                </a:cubicBezTo>
                <a:cubicBezTo>
                  <a:pt x="17031" y="9406"/>
                  <a:pt x="17000" y="9343"/>
                  <a:pt x="16969" y="9312"/>
                </a:cubicBezTo>
                <a:cubicBezTo>
                  <a:pt x="16938" y="9312"/>
                  <a:pt x="16906" y="9312"/>
                  <a:pt x="16875" y="9281"/>
                </a:cubicBezTo>
                <a:cubicBezTo>
                  <a:pt x="16844" y="9281"/>
                  <a:pt x="16813" y="9250"/>
                  <a:pt x="16813" y="9281"/>
                </a:cubicBezTo>
                <a:cubicBezTo>
                  <a:pt x="16813" y="9281"/>
                  <a:pt x="16813" y="9281"/>
                  <a:pt x="16813" y="9281"/>
                </a:cubicBezTo>
                <a:cubicBezTo>
                  <a:pt x="16844" y="9281"/>
                  <a:pt x="16875" y="9281"/>
                  <a:pt x="16875" y="9312"/>
                </a:cubicBezTo>
                <a:cubicBezTo>
                  <a:pt x="16938" y="9312"/>
                  <a:pt x="16938" y="9375"/>
                  <a:pt x="16969" y="9406"/>
                </a:cubicBezTo>
                <a:cubicBezTo>
                  <a:pt x="17000" y="9468"/>
                  <a:pt x="17031" y="9531"/>
                  <a:pt x="17063" y="9593"/>
                </a:cubicBezTo>
                <a:cubicBezTo>
                  <a:pt x="17094" y="9593"/>
                  <a:pt x="17125" y="9656"/>
                  <a:pt x="17125" y="9687"/>
                </a:cubicBezTo>
                <a:cubicBezTo>
                  <a:pt x="17125" y="9718"/>
                  <a:pt x="17125" y="9750"/>
                  <a:pt x="17125" y="9750"/>
                </a:cubicBezTo>
                <a:cubicBezTo>
                  <a:pt x="17094" y="9781"/>
                  <a:pt x="17063" y="9750"/>
                  <a:pt x="17031" y="9750"/>
                </a:cubicBezTo>
                <a:cubicBezTo>
                  <a:pt x="17000" y="9687"/>
                  <a:pt x="16938" y="9687"/>
                  <a:pt x="16906" y="9687"/>
                </a:cubicBezTo>
                <a:cubicBezTo>
                  <a:pt x="16906" y="9718"/>
                  <a:pt x="16906" y="9750"/>
                  <a:pt x="16875" y="9750"/>
                </a:cubicBezTo>
                <a:cubicBezTo>
                  <a:pt x="16875" y="9750"/>
                  <a:pt x="16844" y="9750"/>
                  <a:pt x="16844" y="9718"/>
                </a:cubicBezTo>
                <a:cubicBezTo>
                  <a:pt x="16813" y="9687"/>
                  <a:pt x="16781" y="9687"/>
                  <a:pt x="16781" y="9687"/>
                </a:cubicBezTo>
                <a:cubicBezTo>
                  <a:pt x="16688" y="9750"/>
                  <a:pt x="16656" y="9718"/>
                  <a:pt x="16625" y="9656"/>
                </a:cubicBezTo>
                <a:cubicBezTo>
                  <a:pt x="16563" y="9593"/>
                  <a:pt x="16500" y="9687"/>
                  <a:pt x="16469" y="9656"/>
                </a:cubicBezTo>
                <a:cubicBezTo>
                  <a:pt x="16438" y="9656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lnTo>
                  <a:pt x="16469" y="9687"/>
                </a:lnTo>
                <a:cubicBezTo>
                  <a:pt x="16438" y="9687"/>
                  <a:pt x="16375" y="9593"/>
                  <a:pt x="16375" y="9718"/>
                </a:cubicBezTo>
                <a:cubicBezTo>
                  <a:pt x="16375" y="9718"/>
                  <a:pt x="16375" y="9718"/>
                  <a:pt x="16375" y="9718"/>
                </a:cubicBezTo>
                <a:cubicBezTo>
                  <a:pt x="16406" y="9718"/>
                  <a:pt x="16438" y="9750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ubicBezTo>
                  <a:pt x="16531" y="9687"/>
                  <a:pt x="16563" y="9750"/>
                  <a:pt x="16625" y="9812"/>
                </a:cubicBezTo>
                <a:cubicBezTo>
                  <a:pt x="16719" y="9750"/>
                  <a:pt x="16750" y="9812"/>
                  <a:pt x="16813" y="9875"/>
                </a:cubicBezTo>
                <a:cubicBezTo>
                  <a:pt x="16844" y="9875"/>
                  <a:pt x="16875" y="9875"/>
                  <a:pt x="16906" y="9843"/>
                </a:cubicBezTo>
                <a:cubicBezTo>
                  <a:pt x="16938" y="9843"/>
                  <a:pt x="16969" y="9875"/>
                  <a:pt x="16969" y="9875"/>
                </a:cubicBezTo>
                <a:cubicBezTo>
                  <a:pt x="17000" y="9906"/>
                  <a:pt x="17000" y="9937"/>
                  <a:pt x="16969" y="9937"/>
                </a:cubicBezTo>
                <a:cubicBezTo>
                  <a:pt x="16969" y="9937"/>
                  <a:pt x="16938" y="9937"/>
                  <a:pt x="16906" y="9937"/>
                </a:cubicBezTo>
                <a:lnTo>
                  <a:pt x="16906" y="9937"/>
                </a:lnTo>
                <a:cubicBezTo>
                  <a:pt x="16875" y="9906"/>
                  <a:pt x="16813" y="9906"/>
                  <a:pt x="16813" y="9875"/>
                </a:cubicBezTo>
                <a:cubicBezTo>
                  <a:pt x="16750" y="9875"/>
                  <a:pt x="16688" y="9843"/>
                  <a:pt x="16625" y="9812"/>
                </a:cubicBezTo>
                <a:cubicBezTo>
                  <a:pt x="16500" y="9812"/>
                  <a:pt x="16438" y="9750"/>
                  <a:pt x="16375" y="9750"/>
                </a:cubicBezTo>
                <a:cubicBezTo>
                  <a:pt x="16375" y="9750"/>
                  <a:pt x="16375" y="9750"/>
                  <a:pt x="16375" y="9750"/>
                </a:cubicBezTo>
                <a:cubicBezTo>
                  <a:pt x="16313" y="9718"/>
                  <a:pt x="16250" y="9687"/>
                  <a:pt x="16188" y="9687"/>
                </a:cubicBezTo>
                <a:cubicBezTo>
                  <a:pt x="16219" y="9625"/>
                  <a:pt x="16344" y="9625"/>
                  <a:pt x="16375" y="9562"/>
                </a:cubicBezTo>
                <a:cubicBezTo>
                  <a:pt x="16313" y="9562"/>
                  <a:pt x="16219" y="9593"/>
                  <a:pt x="16188" y="9656"/>
                </a:cubicBezTo>
                <a:cubicBezTo>
                  <a:pt x="16156" y="9656"/>
                  <a:pt x="16125" y="9656"/>
                  <a:pt x="16125" y="9656"/>
                </a:cubicBezTo>
                <a:cubicBezTo>
                  <a:pt x="16063" y="9656"/>
                  <a:pt x="16031" y="9625"/>
                  <a:pt x="16000" y="9625"/>
                </a:cubicBezTo>
                <a:cubicBezTo>
                  <a:pt x="15938" y="9625"/>
                  <a:pt x="15906" y="9656"/>
                  <a:pt x="15938" y="9750"/>
                </a:cubicBezTo>
                <a:cubicBezTo>
                  <a:pt x="16156" y="10218"/>
                  <a:pt x="16406" y="10687"/>
                  <a:pt x="16656" y="11187"/>
                </a:cubicBezTo>
                <a:cubicBezTo>
                  <a:pt x="16906" y="11624"/>
                  <a:pt x="17156" y="12062"/>
                  <a:pt x="17438" y="12468"/>
                </a:cubicBezTo>
                <a:cubicBezTo>
                  <a:pt x="17469" y="12562"/>
                  <a:pt x="17531" y="12624"/>
                  <a:pt x="17563" y="12687"/>
                </a:cubicBezTo>
                <a:cubicBezTo>
                  <a:pt x="17625" y="12781"/>
                  <a:pt x="17750" y="12812"/>
                  <a:pt x="17844" y="12843"/>
                </a:cubicBezTo>
                <a:cubicBezTo>
                  <a:pt x="17906" y="12843"/>
                  <a:pt x="17906" y="12812"/>
                  <a:pt x="17906" y="12781"/>
                </a:cubicBezTo>
                <a:cubicBezTo>
                  <a:pt x="17875" y="12687"/>
                  <a:pt x="17844" y="12656"/>
                  <a:pt x="17781" y="12718"/>
                </a:cubicBezTo>
                <a:cubicBezTo>
                  <a:pt x="17750" y="12749"/>
                  <a:pt x="17719" y="12749"/>
                  <a:pt x="17719" y="12718"/>
                </a:cubicBezTo>
                <a:cubicBezTo>
                  <a:pt x="17656" y="12624"/>
                  <a:pt x="17594" y="12562"/>
                  <a:pt x="17563" y="12468"/>
                </a:cubicBezTo>
                <a:cubicBezTo>
                  <a:pt x="17625" y="12499"/>
                  <a:pt x="17719" y="12437"/>
                  <a:pt x="17750" y="12531"/>
                </a:cubicBezTo>
                <a:cubicBezTo>
                  <a:pt x="17781" y="12499"/>
                  <a:pt x="17813" y="12499"/>
                  <a:pt x="17844" y="12468"/>
                </a:cubicBezTo>
                <a:cubicBezTo>
                  <a:pt x="17875" y="12437"/>
                  <a:pt x="17875" y="12437"/>
                  <a:pt x="17844" y="12406"/>
                </a:cubicBezTo>
                <a:cubicBezTo>
                  <a:pt x="17813" y="12374"/>
                  <a:pt x="17844" y="12343"/>
                  <a:pt x="17844" y="12312"/>
                </a:cubicBezTo>
                <a:cubicBezTo>
                  <a:pt x="17875" y="12312"/>
                  <a:pt x="17906" y="12374"/>
                  <a:pt x="17938" y="12374"/>
                </a:cubicBezTo>
                <a:cubicBezTo>
                  <a:pt x="18000" y="12281"/>
                  <a:pt x="17969" y="12249"/>
                  <a:pt x="17875" y="12249"/>
                </a:cubicBezTo>
                <a:cubicBezTo>
                  <a:pt x="17813" y="12249"/>
                  <a:pt x="17813" y="12156"/>
                  <a:pt x="17750" y="12156"/>
                </a:cubicBezTo>
                <a:cubicBezTo>
                  <a:pt x="17688" y="12156"/>
                  <a:pt x="17594" y="12187"/>
                  <a:pt x="17531" y="12156"/>
                </a:cubicBezTo>
                <a:cubicBezTo>
                  <a:pt x="17531" y="12156"/>
                  <a:pt x="17531" y="12156"/>
                  <a:pt x="17500" y="12187"/>
                </a:cubicBezTo>
                <a:cubicBezTo>
                  <a:pt x="17406" y="12249"/>
                  <a:pt x="17438" y="12249"/>
                  <a:pt x="17344" y="12156"/>
                </a:cubicBezTo>
                <a:cubicBezTo>
                  <a:pt x="17313" y="12093"/>
                  <a:pt x="17281" y="12031"/>
                  <a:pt x="17250" y="11968"/>
                </a:cubicBezTo>
                <a:cubicBezTo>
                  <a:pt x="17219" y="11968"/>
                  <a:pt x="17219" y="11937"/>
                  <a:pt x="17281" y="11937"/>
                </a:cubicBezTo>
                <a:cubicBezTo>
                  <a:pt x="17281" y="11874"/>
                  <a:pt x="17250" y="11874"/>
                  <a:pt x="17219" y="11874"/>
                </a:cubicBezTo>
                <a:cubicBezTo>
                  <a:pt x="17188" y="11874"/>
                  <a:pt x="17156" y="11843"/>
                  <a:pt x="17156" y="11843"/>
                </a:cubicBezTo>
                <a:cubicBezTo>
                  <a:pt x="17188" y="11781"/>
                  <a:pt x="17219" y="11812"/>
                  <a:pt x="17219" y="11812"/>
                </a:cubicBezTo>
                <a:cubicBezTo>
                  <a:pt x="17219" y="11812"/>
                  <a:pt x="17219" y="11843"/>
                  <a:pt x="17250" y="11843"/>
                </a:cubicBezTo>
                <a:cubicBezTo>
                  <a:pt x="17250" y="11843"/>
                  <a:pt x="17250" y="11812"/>
                  <a:pt x="17250" y="11812"/>
                </a:cubicBezTo>
                <a:cubicBezTo>
                  <a:pt x="17250" y="11812"/>
                  <a:pt x="17250" y="11812"/>
                  <a:pt x="17219" y="11812"/>
                </a:cubicBezTo>
                <a:cubicBezTo>
                  <a:pt x="17281" y="11749"/>
                  <a:pt x="17344" y="11781"/>
                  <a:pt x="17375" y="11843"/>
                </a:cubicBezTo>
                <a:cubicBezTo>
                  <a:pt x="17406" y="11968"/>
                  <a:pt x="17500" y="11906"/>
                  <a:pt x="17563" y="11937"/>
                </a:cubicBezTo>
                <a:cubicBezTo>
                  <a:pt x="17563" y="11874"/>
                  <a:pt x="17531" y="11906"/>
                  <a:pt x="17500" y="11874"/>
                </a:cubicBezTo>
                <a:cubicBezTo>
                  <a:pt x="17500" y="11812"/>
                  <a:pt x="17625" y="11812"/>
                  <a:pt x="17594" y="11749"/>
                </a:cubicBezTo>
                <a:cubicBezTo>
                  <a:pt x="17594" y="11718"/>
                  <a:pt x="17594" y="11687"/>
                  <a:pt x="17563" y="11687"/>
                </a:cubicBezTo>
                <a:cubicBezTo>
                  <a:pt x="17500" y="11718"/>
                  <a:pt x="17438" y="11624"/>
                  <a:pt x="17344" y="11687"/>
                </a:cubicBezTo>
                <a:cubicBezTo>
                  <a:pt x="17281" y="11718"/>
                  <a:pt x="17250" y="11718"/>
                  <a:pt x="17188" y="11718"/>
                </a:cubicBezTo>
                <a:cubicBezTo>
                  <a:pt x="17125" y="11749"/>
                  <a:pt x="17125" y="11687"/>
                  <a:pt x="17094" y="11656"/>
                </a:cubicBezTo>
                <a:cubicBezTo>
                  <a:pt x="17000" y="11656"/>
                  <a:pt x="17000" y="11531"/>
                  <a:pt x="16969" y="11499"/>
                </a:cubicBezTo>
                <a:cubicBezTo>
                  <a:pt x="16969" y="11468"/>
                  <a:pt x="17000" y="11437"/>
                  <a:pt x="17031" y="11437"/>
                </a:cubicBezTo>
                <a:cubicBezTo>
                  <a:pt x="17063" y="11468"/>
                  <a:pt x="17094" y="11468"/>
                  <a:pt x="17156" y="11468"/>
                </a:cubicBezTo>
                <a:cubicBezTo>
                  <a:pt x="17156" y="11468"/>
                  <a:pt x="17188" y="11468"/>
                  <a:pt x="17188" y="11468"/>
                </a:cubicBezTo>
                <a:cubicBezTo>
                  <a:pt x="17219" y="11312"/>
                  <a:pt x="17219" y="11406"/>
                  <a:pt x="17250" y="11437"/>
                </a:cubicBezTo>
                <a:cubicBezTo>
                  <a:pt x="17281" y="11468"/>
                  <a:pt x="17313" y="11437"/>
                  <a:pt x="17313" y="11437"/>
                </a:cubicBezTo>
                <a:cubicBezTo>
                  <a:pt x="17344" y="11406"/>
                  <a:pt x="17344" y="11374"/>
                  <a:pt x="17344" y="11343"/>
                </a:cubicBezTo>
                <a:cubicBezTo>
                  <a:pt x="17344" y="11312"/>
                  <a:pt x="17313" y="11343"/>
                  <a:pt x="17281" y="11343"/>
                </a:cubicBezTo>
                <a:cubicBezTo>
                  <a:pt x="17250" y="11343"/>
                  <a:pt x="17188" y="11343"/>
                  <a:pt x="17156" y="11281"/>
                </a:cubicBezTo>
                <a:cubicBezTo>
                  <a:pt x="17125" y="11218"/>
                  <a:pt x="17031" y="11249"/>
                  <a:pt x="17000" y="11312"/>
                </a:cubicBezTo>
                <a:cubicBezTo>
                  <a:pt x="16938" y="11406"/>
                  <a:pt x="16906" y="11406"/>
                  <a:pt x="16875" y="11312"/>
                </a:cubicBezTo>
                <a:cubicBezTo>
                  <a:pt x="16781" y="11187"/>
                  <a:pt x="16719" y="11031"/>
                  <a:pt x="16625" y="10874"/>
                </a:cubicBezTo>
                <a:cubicBezTo>
                  <a:pt x="16625" y="10843"/>
                  <a:pt x="16594" y="10812"/>
                  <a:pt x="16594" y="10812"/>
                </a:cubicBezTo>
                <a:cubicBezTo>
                  <a:pt x="16594" y="10812"/>
                  <a:pt x="16594" y="10781"/>
                  <a:pt x="16594" y="10781"/>
                </a:cubicBezTo>
                <a:cubicBezTo>
                  <a:pt x="16594" y="10781"/>
                  <a:pt x="16594" y="10812"/>
                  <a:pt x="16594" y="10812"/>
                </a:cubicBezTo>
                <a:cubicBezTo>
                  <a:pt x="16531" y="10781"/>
                  <a:pt x="16531" y="10718"/>
                  <a:pt x="16563" y="10687"/>
                </a:cubicBezTo>
                <a:cubicBezTo>
                  <a:pt x="16563" y="10656"/>
                  <a:pt x="16594" y="10624"/>
                  <a:pt x="16563" y="10593"/>
                </a:cubicBezTo>
                <a:cubicBezTo>
                  <a:pt x="16469" y="10593"/>
                  <a:pt x="16469" y="10531"/>
                  <a:pt x="16438" y="10468"/>
                </a:cubicBezTo>
                <a:cubicBezTo>
                  <a:pt x="16406" y="10468"/>
                  <a:pt x="16406" y="10468"/>
                  <a:pt x="16375" y="10437"/>
                </a:cubicBezTo>
                <a:cubicBezTo>
                  <a:pt x="16281" y="10218"/>
                  <a:pt x="16188" y="10000"/>
                  <a:pt x="16063" y="9812"/>
                </a:cubicBezTo>
                <a:cubicBezTo>
                  <a:pt x="16031" y="9781"/>
                  <a:pt x="16031" y="9750"/>
                  <a:pt x="16031" y="9718"/>
                </a:cubicBezTo>
                <a:cubicBezTo>
                  <a:pt x="16063" y="9687"/>
                  <a:pt x="16094" y="9687"/>
                  <a:pt x="16125" y="9687"/>
                </a:cubicBezTo>
                <a:cubicBezTo>
                  <a:pt x="16156" y="9687"/>
                  <a:pt x="16188" y="9718"/>
                  <a:pt x="16219" y="9718"/>
                </a:cubicBezTo>
                <a:cubicBezTo>
                  <a:pt x="16344" y="9781"/>
                  <a:pt x="16500" y="9843"/>
                  <a:pt x="16625" y="9875"/>
                </a:cubicBezTo>
                <a:cubicBezTo>
                  <a:pt x="16688" y="9875"/>
                  <a:pt x="16688" y="9968"/>
                  <a:pt x="16750" y="9968"/>
                </a:cubicBezTo>
                <a:cubicBezTo>
                  <a:pt x="16844" y="9906"/>
                  <a:pt x="16906" y="10000"/>
                  <a:pt x="17000" y="10031"/>
                </a:cubicBezTo>
                <a:cubicBezTo>
                  <a:pt x="17031" y="10031"/>
                  <a:pt x="17094" y="10000"/>
                  <a:pt x="17094" y="10062"/>
                </a:cubicBezTo>
                <a:cubicBezTo>
                  <a:pt x="17094" y="10062"/>
                  <a:pt x="17094" y="10062"/>
                  <a:pt x="17094" y="10062"/>
                </a:cubicBezTo>
                <a:cubicBezTo>
                  <a:pt x="17094" y="10093"/>
                  <a:pt x="17094" y="10093"/>
                  <a:pt x="17094" y="10125"/>
                </a:cubicBezTo>
                <a:cubicBezTo>
                  <a:pt x="17094" y="10125"/>
                  <a:pt x="17094" y="10125"/>
                  <a:pt x="17094" y="10125"/>
                </a:cubicBezTo>
                <a:cubicBezTo>
                  <a:pt x="17156" y="10031"/>
                  <a:pt x="17188" y="10062"/>
                  <a:pt x="17250" y="10093"/>
                </a:cubicBezTo>
                <a:cubicBezTo>
                  <a:pt x="17313" y="10125"/>
                  <a:pt x="17313" y="10156"/>
                  <a:pt x="17281" y="10187"/>
                </a:cubicBezTo>
                <a:cubicBezTo>
                  <a:pt x="17313" y="10218"/>
                  <a:pt x="17344" y="10187"/>
                  <a:pt x="17344" y="10156"/>
                </a:cubicBezTo>
                <a:cubicBezTo>
                  <a:pt x="17375" y="10156"/>
                  <a:pt x="17406" y="10156"/>
                  <a:pt x="17438" y="10156"/>
                </a:cubicBezTo>
                <a:cubicBezTo>
                  <a:pt x="17438" y="10187"/>
                  <a:pt x="17406" y="10218"/>
                  <a:pt x="17406" y="10218"/>
                </a:cubicBezTo>
                <a:cubicBezTo>
                  <a:pt x="17313" y="10250"/>
                  <a:pt x="17250" y="10312"/>
                  <a:pt x="17188" y="10250"/>
                </a:cubicBezTo>
                <a:cubicBezTo>
                  <a:pt x="17188" y="10250"/>
                  <a:pt x="17188" y="10250"/>
                  <a:pt x="17156" y="10250"/>
                </a:cubicBezTo>
                <a:cubicBezTo>
                  <a:pt x="17219" y="10343"/>
                  <a:pt x="17156" y="10343"/>
                  <a:pt x="17125" y="10343"/>
                </a:cubicBezTo>
                <a:cubicBezTo>
                  <a:pt x="17156" y="10343"/>
                  <a:pt x="17188" y="10375"/>
                  <a:pt x="17219" y="10406"/>
                </a:cubicBezTo>
                <a:cubicBezTo>
                  <a:pt x="17250" y="10312"/>
                  <a:pt x="17375" y="10250"/>
                  <a:pt x="17500" y="10250"/>
                </a:cubicBezTo>
                <a:cubicBezTo>
                  <a:pt x="17500" y="10250"/>
                  <a:pt x="17500" y="10250"/>
                  <a:pt x="17500" y="10250"/>
                </a:cubicBezTo>
                <a:cubicBezTo>
                  <a:pt x="17563" y="10281"/>
                  <a:pt x="17594" y="10375"/>
                  <a:pt x="17656" y="10468"/>
                </a:cubicBezTo>
                <a:cubicBezTo>
                  <a:pt x="17781" y="10624"/>
                  <a:pt x="17906" y="10781"/>
                  <a:pt x="18000" y="10968"/>
                </a:cubicBezTo>
                <a:cubicBezTo>
                  <a:pt x="18031" y="11062"/>
                  <a:pt x="18094" y="11156"/>
                  <a:pt x="18156" y="11249"/>
                </a:cubicBezTo>
                <a:cubicBezTo>
                  <a:pt x="18281" y="11343"/>
                  <a:pt x="18375" y="11499"/>
                  <a:pt x="18469" y="11624"/>
                </a:cubicBezTo>
                <a:cubicBezTo>
                  <a:pt x="18594" y="11812"/>
                  <a:pt x="18719" y="11999"/>
                  <a:pt x="18875" y="12156"/>
                </a:cubicBezTo>
                <a:cubicBezTo>
                  <a:pt x="18906" y="12218"/>
                  <a:pt x="18875" y="12312"/>
                  <a:pt x="19000" y="12312"/>
                </a:cubicBezTo>
                <a:cubicBezTo>
                  <a:pt x="18938" y="12343"/>
                  <a:pt x="18906" y="12281"/>
                  <a:pt x="18906" y="12312"/>
                </a:cubicBezTo>
                <a:cubicBezTo>
                  <a:pt x="18906" y="12343"/>
                  <a:pt x="18906" y="12343"/>
                  <a:pt x="18906" y="12343"/>
                </a:cubicBezTo>
                <a:cubicBezTo>
                  <a:pt x="19063" y="12406"/>
                  <a:pt x="19156" y="12562"/>
                  <a:pt x="19250" y="12687"/>
                </a:cubicBezTo>
                <a:cubicBezTo>
                  <a:pt x="19375" y="12812"/>
                  <a:pt x="19469" y="12937"/>
                  <a:pt x="19594" y="13093"/>
                </a:cubicBezTo>
                <a:cubicBezTo>
                  <a:pt x="19656" y="13187"/>
                  <a:pt x="19719" y="13281"/>
                  <a:pt x="19781" y="13343"/>
                </a:cubicBezTo>
                <a:cubicBezTo>
                  <a:pt x="19875" y="13437"/>
                  <a:pt x="20000" y="13468"/>
                  <a:pt x="20094" y="13499"/>
                </a:cubicBezTo>
                <a:cubicBezTo>
                  <a:pt x="20469" y="13624"/>
                  <a:pt x="20844" y="13718"/>
                  <a:pt x="21219" y="13843"/>
                </a:cubicBezTo>
                <a:cubicBezTo>
                  <a:pt x="21563" y="13937"/>
                  <a:pt x="21906" y="14031"/>
                  <a:pt x="22250" y="14156"/>
                </a:cubicBezTo>
                <a:cubicBezTo>
                  <a:pt x="22375" y="14187"/>
                  <a:pt x="22469" y="14218"/>
                  <a:pt x="22563" y="14281"/>
                </a:cubicBezTo>
                <a:cubicBezTo>
                  <a:pt x="22500" y="14249"/>
                  <a:pt x="22406" y="14249"/>
                  <a:pt x="22344" y="14218"/>
                </a:cubicBezTo>
                <a:cubicBezTo>
                  <a:pt x="21938" y="14093"/>
                  <a:pt x="21531" y="13968"/>
                  <a:pt x="21125" y="13843"/>
                </a:cubicBezTo>
                <a:cubicBezTo>
                  <a:pt x="20781" y="13749"/>
                  <a:pt x="20406" y="13624"/>
                  <a:pt x="20063" y="13531"/>
                </a:cubicBezTo>
                <a:cubicBezTo>
                  <a:pt x="19813" y="13468"/>
                  <a:pt x="19563" y="13374"/>
                  <a:pt x="19313" y="13312"/>
                </a:cubicBezTo>
                <a:cubicBezTo>
                  <a:pt x="19125" y="13249"/>
                  <a:pt x="18906" y="13218"/>
                  <a:pt x="18719" y="13124"/>
                </a:cubicBezTo>
                <a:cubicBezTo>
                  <a:pt x="18531" y="13062"/>
                  <a:pt x="18313" y="13031"/>
                  <a:pt x="18125" y="12968"/>
                </a:cubicBezTo>
                <a:cubicBezTo>
                  <a:pt x="17938" y="12937"/>
                  <a:pt x="17781" y="12874"/>
                  <a:pt x="17625" y="12812"/>
                </a:cubicBezTo>
                <a:cubicBezTo>
                  <a:pt x="17438" y="12781"/>
                  <a:pt x="17250" y="12718"/>
                  <a:pt x="17063" y="12656"/>
                </a:cubicBezTo>
                <a:cubicBezTo>
                  <a:pt x="16625" y="12531"/>
                  <a:pt x="16188" y="12406"/>
                  <a:pt x="15750" y="12281"/>
                </a:cubicBezTo>
                <a:cubicBezTo>
                  <a:pt x="15625" y="12249"/>
                  <a:pt x="15531" y="12218"/>
                  <a:pt x="15406" y="12218"/>
                </a:cubicBezTo>
                <a:cubicBezTo>
                  <a:pt x="15719" y="12312"/>
                  <a:pt x="16063" y="12406"/>
                  <a:pt x="16375" y="12531"/>
                </a:cubicBezTo>
                <a:cubicBezTo>
                  <a:pt x="16531" y="12562"/>
                  <a:pt x="16688" y="12593"/>
                  <a:pt x="16844" y="12656"/>
                </a:cubicBezTo>
                <a:cubicBezTo>
                  <a:pt x="16875" y="12656"/>
                  <a:pt x="16906" y="12656"/>
                  <a:pt x="16906" y="12687"/>
                </a:cubicBezTo>
                <a:cubicBezTo>
                  <a:pt x="16875" y="12812"/>
                  <a:pt x="16906" y="12937"/>
                  <a:pt x="16906" y="13062"/>
                </a:cubicBezTo>
                <a:cubicBezTo>
                  <a:pt x="16938" y="13093"/>
                  <a:pt x="16938" y="13156"/>
                  <a:pt x="16906" y="13187"/>
                </a:cubicBezTo>
                <a:cubicBezTo>
                  <a:pt x="16938" y="13249"/>
                  <a:pt x="16938" y="13343"/>
                  <a:pt x="16938" y="13406"/>
                </a:cubicBezTo>
                <a:cubicBezTo>
                  <a:pt x="16938" y="13406"/>
                  <a:pt x="16938" y="13406"/>
                  <a:pt x="16938" y="13406"/>
                </a:cubicBezTo>
                <a:cubicBezTo>
                  <a:pt x="16969" y="13343"/>
                  <a:pt x="16938" y="13281"/>
                  <a:pt x="16969" y="13218"/>
                </a:cubicBezTo>
                <a:cubicBezTo>
                  <a:pt x="16969" y="13187"/>
                  <a:pt x="16969" y="13187"/>
                  <a:pt x="16969" y="13156"/>
                </a:cubicBezTo>
                <a:cubicBezTo>
                  <a:pt x="16938" y="13124"/>
                  <a:pt x="16938" y="13093"/>
                  <a:pt x="16938" y="13062"/>
                </a:cubicBezTo>
                <a:cubicBezTo>
                  <a:pt x="16938" y="13062"/>
                  <a:pt x="16938" y="13062"/>
                  <a:pt x="16938" y="13062"/>
                </a:cubicBezTo>
                <a:cubicBezTo>
                  <a:pt x="16906" y="12999"/>
                  <a:pt x="16938" y="12937"/>
                  <a:pt x="16938" y="12874"/>
                </a:cubicBezTo>
                <a:cubicBezTo>
                  <a:pt x="16906" y="12656"/>
                  <a:pt x="16906" y="12656"/>
                  <a:pt x="17125" y="12718"/>
                </a:cubicBezTo>
                <a:cubicBezTo>
                  <a:pt x="17438" y="12812"/>
                  <a:pt x="17750" y="12906"/>
                  <a:pt x="18063" y="12999"/>
                </a:cubicBezTo>
                <a:cubicBezTo>
                  <a:pt x="18156" y="13031"/>
                  <a:pt x="18281" y="13062"/>
                  <a:pt x="18375" y="13093"/>
                </a:cubicBezTo>
                <a:cubicBezTo>
                  <a:pt x="18406" y="13093"/>
                  <a:pt x="18438" y="13093"/>
                  <a:pt x="18469" y="13124"/>
                </a:cubicBezTo>
                <a:cubicBezTo>
                  <a:pt x="18500" y="13124"/>
                  <a:pt x="18531" y="13156"/>
                  <a:pt x="18563" y="13156"/>
                </a:cubicBezTo>
                <a:cubicBezTo>
                  <a:pt x="18594" y="13156"/>
                  <a:pt x="18594" y="13156"/>
                  <a:pt x="18594" y="13156"/>
                </a:cubicBezTo>
                <a:cubicBezTo>
                  <a:pt x="18625" y="13156"/>
                  <a:pt x="18625" y="13156"/>
                  <a:pt x="18656" y="13187"/>
                </a:cubicBezTo>
                <a:cubicBezTo>
                  <a:pt x="18656" y="13156"/>
                  <a:pt x="18688" y="13187"/>
                  <a:pt x="18688" y="13187"/>
                </a:cubicBezTo>
                <a:cubicBezTo>
                  <a:pt x="18875" y="13249"/>
                  <a:pt x="19094" y="13312"/>
                  <a:pt x="19281" y="13343"/>
                </a:cubicBezTo>
                <a:cubicBezTo>
                  <a:pt x="19438" y="13406"/>
                  <a:pt x="19625" y="13468"/>
                  <a:pt x="19781" y="13499"/>
                </a:cubicBezTo>
                <a:cubicBezTo>
                  <a:pt x="19813" y="13499"/>
                  <a:pt x="19875" y="13499"/>
                  <a:pt x="19906" y="13531"/>
                </a:cubicBezTo>
                <a:cubicBezTo>
                  <a:pt x="19938" y="13531"/>
                  <a:pt x="19969" y="13562"/>
                  <a:pt x="20000" y="13562"/>
                </a:cubicBezTo>
                <a:cubicBezTo>
                  <a:pt x="20031" y="13562"/>
                  <a:pt x="20031" y="13562"/>
                  <a:pt x="20063" y="13593"/>
                </a:cubicBezTo>
                <a:cubicBezTo>
                  <a:pt x="20250" y="13624"/>
                  <a:pt x="20438" y="13687"/>
                  <a:pt x="20625" y="13749"/>
                </a:cubicBezTo>
                <a:cubicBezTo>
                  <a:pt x="20844" y="13812"/>
                  <a:pt x="21031" y="13874"/>
                  <a:pt x="21250" y="13937"/>
                </a:cubicBezTo>
                <a:cubicBezTo>
                  <a:pt x="21250" y="13937"/>
                  <a:pt x="21281" y="13937"/>
                  <a:pt x="21281" y="13937"/>
                </a:cubicBezTo>
                <a:cubicBezTo>
                  <a:pt x="21313" y="13937"/>
                  <a:pt x="21344" y="13937"/>
                  <a:pt x="21375" y="13999"/>
                </a:cubicBezTo>
                <a:cubicBezTo>
                  <a:pt x="21531" y="14031"/>
                  <a:pt x="21656" y="14062"/>
                  <a:pt x="21813" y="14093"/>
                </a:cubicBezTo>
                <a:cubicBezTo>
                  <a:pt x="22063" y="14187"/>
                  <a:pt x="22281" y="14249"/>
                  <a:pt x="22531" y="14312"/>
                </a:cubicBezTo>
                <a:cubicBezTo>
                  <a:pt x="22563" y="14343"/>
                  <a:pt x="22594" y="14343"/>
                  <a:pt x="22531" y="14406"/>
                </a:cubicBezTo>
                <a:cubicBezTo>
                  <a:pt x="22375" y="14531"/>
                  <a:pt x="22219" y="14656"/>
                  <a:pt x="22063" y="14781"/>
                </a:cubicBezTo>
                <a:cubicBezTo>
                  <a:pt x="22031" y="14812"/>
                  <a:pt x="22031" y="14812"/>
                  <a:pt x="22000" y="14843"/>
                </a:cubicBezTo>
                <a:cubicBezTo>
                  <a:pt x="21969" y="14843"/>
                  <a:pt x="21938" y="14906"/>
                  <a:pt x="21906" y="14937"/>
                </a:cubicBezTo>
                <a:cubicBezTo>
                  <a:pt x="21906" y="14968"/>
                  <a:pt x="21938" y="14968"/>
                  <a:pt x="21938" y="14968"/>
                </a:cubicBezTo>
                <a:cubicBezTo>
                  <a:pt x="22188" y="15031"/>
                  <a:pt x="22406" y="15124"/>
                  <a:pt x="22656" y="15187"/>
                </a:cubicBezTo>
                <a:cubicBezTo>
                  <a:pt x="22750" y="15187"/>
                  <a:pt x="22875" y="15187"/>
                  <a:pt x="22875" y="15343"/>
                </a:cubicBezTo>
                <a:cubicBezTo>
                  <a:pt x="22875" y="15374"/>
                  <a:pt x="22969" y="15374"/>
                  <a:pt x="23000" y="15406"/>
                </a:cubicBezTo>
                <a:cubicBezTo>
                  <a:pt x="23063" y="15437"/>
                  <a:pt x="23094" y="15437"/>
                  <a:pt x="23063" y="15499"/>
                </a:cubicBezTo>
                <a:cubicBezTo>
                  <a:pt x="23063" y="15531"/>
                  <a:pt x="23031" y="15531"/>
                  <a:pt x="23031" y="15531"/>
                </a:cubicBezTo>
                <a:cubicBezTo>
                  <a:pt x="23031" y="15562"/>
                  <a:pt x="23000" y="15593"/>
                  <a:pt x="23031" y="15624"/>
                </a:cubicBezTo>
                <a:cubicBezTo>
                  <a:pt x="23063" y="15656"/>
                  <a:pt x="23031" y="15718"/>
                  <a:pt x="23000" y="15718"/>
                </a:cubicBezTo>
                <a:cubicBezTo>
                  <a:pt x="22906" y="15781"/>
                  <a:pt x="22938" y="15843"/>
                  <a:pt x="22938" y="15874"/>
                </a:cubicBezTo>
                <a:cubicBezTo>
                  <a:pt x="22938" y="16062"/>
                  <a:pt x="22969" y="16249"/>
                  <a:pt x="23063" y="16437"/>
                </a:cubicBezTo>
                <a:cubicBezTo>
                  <a:pt x="23094" y="16468"/>
                  <a:pt x="23094" y="16499"/>
                  <a:pt x="23063" y="16531"/>
                </a:cubicBezTo>
                <a:cubicBezTo>
                  <a:pt x="23000" y="16562"/>
                  <a:pt x="23031" y="16656"/>
                  <a:pt x="22938" y="16593"/>
                </a:cubicBezTo>
                <a:cubicBezTo>
                  <a:pt x="22906" y="16593"/>
                  <a:pt x="22875" y="16562"/>
                  <a:pt x="22844" y="16624"/>
                </a:cubicBezTo>
                <a:cubicBezTo>
                  <a:pt x="22844" y="16593"/>
                  <a:pt x="22813" y="16593"/>
                  <a:pt x="22813" y="16593"/>
                </a:cubicBezTo>
                <a:cubicBezTo>
                  <a:pt x="22813" y="16593"/>
                  <a:pt x="22844" y="16593"/>
                  <a:pt x="22844" y="16624"/>
                </a:cubicBezTo>
                <a:cubicBezTo>
                  <a:pt x="22844" y="16624"/>
                  <a:pt x="22875" y="16624"/>
                  <a:pt x="22875" y="16624"/>
                </a:cubicBezTo>
                <a:cubicBezTo>
                  <a:pt x="22906" y="16624"/>
                  <a:pt x="22906" y="16624"/>
                  <a:pt x="22906" y="16656"/>
                </a:cubicBezTo>
                <a:cubicBezTo>
                  <a:pt x="22938" y="16656"/>
                  <a:pt x="22969" y="16656"/>
                  <a:pt x="22969" y="16687"/>
                </a:cubicBezTo>
                <a:cubicBezTo>
                  <a:pt x="22969" y="16718"/>
                  <a:pt x="22969" y="16718"/>
                  <a:pt x="22969" y="16718"/>
                </a:cubicBezTo>
                <a:cubicBezTo>
                  <a:pt x="22906" y="16749"/>
                  <a:pt x="22906" y="16718"/>
                  <a:pt x="22906" y="16718"/>
                </a:cubicBezTo>
                <a:cubicBezTo>
                  <a:pt x="22844" y="16687"/>
                  <a:pt x="22813" y="16624"/>
                  <a:pt x="22719" y="16624"/>
                </a:cubicBezTo>
                <a:cubicBezTo>
                  <a:pt x="22719" y="16656"/>
                  <a:pt x="22719" y="16656"/>
                  <a:pt x="22719" y="16656"/>
                </a:cubicBezTo>
                <a:cubicBezTo>
                  <a:pt x="22750" y="16687"/>
                  <a:pt x="22813" y="16718"/>
                  <a:pt x="22844" y="16718"/>
                </a:cubicBezTo>
                <a:cubicBezTo>
                  <a:pt x="22938" y="16781"/>
                  <a:pt x="22938" y="16843"/>
                  <a:pt x="22875" y="16906"/>
                </a:cubicBezTo>
                <a:cubicBezTo>
                  <a:pt x="22906" y="16968"/>
                  <a:pt x="22938" y="17031"/>
                  <a:pt x="23000" y="17062"/>
                </a:cubicBezTo>
                <a:cubicBezTo>
                  <a:pt x="23031" y="17093"/>
                  <a:pt x="23031" y="17156"/>
                  <a:pt x="22969" y="17156"/>
                </a:cubicBezTo>
                <a:cubicBezTo>
                  <a:pt x="22875" y="17156"/>
                  <a:pt x="22938" y="17218"/>
                  <a:pt x="22938" y="17249"/>
                </a:cubicBezTo>
                <a:cubicBezTo>
                  <a:pt x="22906" y="17281"/>
                  <a:pt x="22875" y="17218"/>
                  <a:pt x="22844" y="17249"/>
                </a:cubicBezTo>
                <a:cubicBezTo>
                  <a:pt x="22844" y="17281"/>
                  <a:pt x="22875" y="17281"/>
                  <a:pt x="22875" y="17312"/>
                </a:cubicBezTo>
                <a:cubicBezTo>
                  <a:pt x="22875" y="17312"/>
                  <a:pt x="22875" y="17312"/>
                  <a:pt x="22875" y="17312"/>
                </a:cubicBezTo>
                <a:cubicBezTo>
                  <a:pt x="22938" y="17312"/>
                  <a:pt x="22969" y="17374"/>
                  <a:pt x="23031" y="17374"/>
                </a:cubicBezTo>
                <a:cubicBezTo>
                  <a:pt x="23000" y="17281"/>
                  <a:pt x="23063" y="17249"/>
                  <a:pt x="23125" y="17218"/>
                </a:cubicBezTo>
                <a:cubicBezTo>
                  <a:pt x="23125" y="17187"/>
                  <a:pt x="23156" y="17187"/>
                  <a:pt x="23188" y="17218"/>
                </a:cubicBezTo>
                <a:cubicBezTo>
                  <a:pt x="23219" y="17218"/>
                  <a:pt x="23250" y="17249"/>
                  <a:pt x="23281" y="17249"/>
                </a:cubicBezTo>
                <a:cubicBezTo>
                  <a:pt x="23313" y="17249"/>
                  <a:pt x="23375" y="17249"/>
                  <a:pt x="23406" y="17281"/>
                </a:cubicBezTo>
                <a:cubicBezTo>
                  <a:pt x="23438" y="17312"/>
                  <a:pt x="23469" y="17281"/>
                  <a:pt x="23469" y="17249"/>
                </a:cubicBezTo>
                <a:cubicBezTo>
                  <a:pt x="23344" y="17156"/>
                  <a:pt x="23219" y="17031"/>
                  <a:pt x="23094" y="16937"/>
                </a:cubicBezTo>
                <a:cubicBezTo>
                  <a:pt x="23063" y="16937"/>
                  <a:pt x="23063" y="16906"/>
                  <a:pt x="23031" y="16906"/>
                </a:cubicBezTo>
                <a:cubicBezTo>
                  <a:pt x="23000" y="16906"/>
                  <a:pt x="22969" y="16906"/>
                  <a:pt x="23000" y="16874"/>
                </a:cubicBezTo>
                <a:cubicBezTo>
                  <a:pt x="23031" y="16843"/>
                  <a:pt x="23031" y="16874"/>
                  <a:pt x="23063" y="16874"/>
                </a:cubicBezTo>
                <a:cubicBezTo>
                  <a:pt x="23188" y="16999"/>
                  <a:pt x="23344" y="17062"/>
                  <a:pt x="23500" y="17124"/>
                </a:cubicBezTo>
                <a:cubicBezTo>
                  <a:pt x="23531" y="17093"/>
                  <a:pt x="23500" y="17093"/>
                  <a:pt x="23469" y="17062"/>
                </a:cubicBezTo>
                <a:cubicBezTo>
                  <a:pt x="23469" y="17062"/>
                  <a:pt x="23438" y="17062"/>
                  <a:pt x="23406" y="17031"/>
                </a:cubicBezTo>
                <a:cubicBezTo>
                  <a:pt x="23438" y="16999"/>
                  <a:pt x="23469" y="16968"/>
                  <a:pt x="23531" y="17031"/>
                </a:cubicBezTo>
                <a:cubicBezTo>
                  <a:pt x="23688" y="17218"/>
                  <a:pt x="23875" y="17343"/>
                  <a:pt x="24063" y="17499"/>
                </a:cubicBezTo>
                <a:cubicBezTo>
                  <a:pt x="24125" y="17531"/>
                  <a:pt x="24156" y="17624"/>
                  <a:pt x="24125" y="17687"/>
                </a:cubicBezTo>
                <a:cubicBezTo>
                  <a:pt x="24063" y="17749"/>
                  <a:pt x="24000" y="17687"/>
                  <a:pt x="23969" y="17656"/>
                </a:cubicBezTo>
                <a:cubicBezTo>
                  <a:pt x="23875" y="17593"/>
                  <a:pt x="23813" y="17499"/>
                  <a:pt x="23688" y="17499"/>
                </a:cubicBezTo>
                <a:cubicBezTo>
                  <a:pt x="23656" y="17499"/>
                  <a:pt x="23625" y="17437"/>
                  <a:pt x="23563" y="17406"/>
                </a:cubicBezTo>
                <a:cubicBezTo>
                  <a:pt x="23531" y="17374"/>
                  <a:pt x="23594" y="17312"/>
                  <a:pt x="23594" y="17281"/>
                </a:cubicBezTo>
                <a:cubicBezTo>
                  <a:pt x="23625" y="17187"/>
                  <a:pt x="23594" y="17187"/>
                  <a:pt x="23531" y="17187"/>
                </a:cubicBezTo>
                <a:cubicBezTo>
                  <a:pt x="23531" y="17187"/>
                  <a:pt x="23531" y="17187"/>
                  <a:pt x="23531" y="17187"/>
                </a:cubicBezTo>
                <a:cubicBezTo>
                  <a:pt x="23500" y="17218"/>
                  <a:pt x="23500" y="17249"/>
                  <a:pt x="23500" y="17281"/>
                </a:cubicBezTo>
                <a:cubicBezTo>
                  <a:pt x="23500" y="17312"/>
                  <a:pt x="23469" y="17374"/>
                  <a:pt x="23406" y="17312"/>
                </a:cubicBezTo>
                <a:cubicBezTo>
                  <a:pt x="23375" y="17312"/>
                  <a:pt x="23344" y="17312"/>
                  <a:pt x="23313" y="17312"/>
                </a:cubicBezTo>
                <a:cubicBezTo>
                  <a:pt x="23281" y="17312"/>
                  <a:pt x="23250" y="17312"/>
                  <a:pt x="23219" y="17281"/>
                </a:cubicBezTo>
                <a:cubicBezTo>
                  <a:pt x="23188" y="17281"/>
                  <a:pt x="23188" y="17249"/>
                  <a:pt x="23188" y="17249"/>
                </a:cubicBezTo>
                <a:cubicBezTo>
                  <a:pt x="23188" y="17249"/>
                  <a:pt x="23188" y="17281"/>
                  <a:pt x="23219" y="17281"/>
                </a:cubicBezTo>
                <a:cubicBezTo>
                  <a:pt x="23188" y="17281"/>
                  <a:pt x="23188" y="17312"/>
                  <a:pt x="23188" y="17343"/>
                </a:cubicBezTo>
                <a:cubicBezTo>
                  <a:pt x="23281" y="17406"/>
                  <a:pt x="23344" y="17499"/>
                  <a:pt x="23469" y="17562"/>
                </a:cubicBezTo>
                <a:cubicBezTo>
                  <a:pt x="23313" y="17562"/>
                  <a:pt x="23219" y="17499"/>
                  <a:pt x="23094" y="17468"/>
                </a:cubicBezTo>
                <a:cubicBezTo>
                  <a:pt x="23000" y="17468"/>
                  <a:pt x="22938" y="17437"/>
                  <a:pt x="22844" y="17437"/>
                </a:cubicBezTo>
                <a:cubicBezTo>
                  <a:pt x="22813" y="17437"/>
                  <a:pt x="22781" y="17406"/>
                  <a:pt x="22750" y="17374"/>
                </a:cubicBezTo>
                <a:cubicBezTo>
                  <a:pt x="22750" y="17343"/>
                  <a:pt x="22781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lnTo>
                  <a:pt x="22813" y="17312"/>
                </a:lnTo>
                <a:cubicBezTo>
                  <a:pt x="22813" y="17281"/>
                  <a:pt x="22781" y="17249"/>
                  <a:pt x="22844" y="17249"/>
                </a:cubicBezTo>
                <a:cubicBezTo>
                  <a:pt x="22844" y="17218"/>
                  <a:pt x="22844" y="17156"/>
                  <a:pt x="22875" y="17124"/>
                </a:cubicBezTo>
                <a:cubicBezTo>
                  <a:pt x="22906" y="17031"/>
                  <a:pt x="22875" y="16999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lnTo>
                  <a:pt x="22781" y="16937"/>
                </a:lnTo>
                <a:cubicBezTo>
                  <a:pt x="22781" y="16937"/>
                  <a:pt x="22813" y="16906"/>
                  <a:pt x="22813" y="16874"/>
                </a:cubicBezTo>
                <a:cubicBezTo>
                  <a:pt x="22813" y="16874"/>
                  <a:pt x="22813" y="16874"/>
                  <a:pt x="22813" y="16843"/>
                </a:cubicBezTo>
                <a:cubicBezTo>
                  <a:pt x="22781" y="16843"/>
                  <a:pt x="22813" y="16843"/>
                  <a:pt x="22813" y="16812"/>
                </a:cubicBezTo>
                <a:cubicBezTo>
                  <a:pt x="22813" y="16812"/>
                  <a:pt x="22813" y="16812"/>
                  <a:pt x="22813" y="16812"/>
                </a:cubicBezTo>
                <a:cubicBezTo>
                  <a:pt x="22813" y="16812"/>
                  <a:pt x="22844" y="16749"/>
                  <a:pt x="22750" y="16781"/>
                </a:cubicBezTo>
                <a:cubicBezTo>
                  <a:pt x="22750" y="16781"/>
                  <a:pt x="22719" y="16781"/>
                  <a:pt x="22688" y="16749"/>
                </a:cubicBezTo>
                <a:cubicBezTo>
                  <a:pt x="22688" y="16718"/>
                  <a:pt x="22656" y="16718"/>
                  <a:pt x="22656" y="16687"/>
                </a:cubicBezTo>
                <a:cubicBezTo>
                  <a:pt x="22656" y="16718"/>
                  <a:pt x="22688" y="16718"/>
                  <a:pt x="22688" y="16749"/>
                </a:cubicBezTo>
                <a:cubicBezTo>
                  <a:pt x="22688" y="16781"/>
                  <a:pt x="22688" y="16781"/>
                  <a:pt x="22656" y="16781"/>
                </a:cubicBezTo>
                <a:cubicBezTo>
                  <a:pt x="22656" y="16812"/>
                  <a:pt x="22625" y="16843"/>
                  <a:pt x="22594" y="16812"/>
                </a:cubicBezTo>
                <a:cubicBezTo>
                  <a:pt x="22563" y="16749"/>
                  <a:pt x="22500" y="16749"/>
                  <a:pt x="22406" y="16718"/>
                </a:cubicBezTo>
                <a:cubicBezTo>
                  <a:pt x="22469" y="16812"/>
                  <a:pt x="22594" y="16781"/>
                  <a:pt x="22594" y="16874"/>
                </a:cubicBezTo>
                <a:cubicBezTo>
                  <a:pt x="22656" y="16906"/>
                  <a:pt x="22719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ubicBezTo>
                  <a:pt x="22781" y="16999"/>
                  <a:pt x="22844" y="17062"/>
                  <a:pt x="22781" y="17093"/>
                </a:cubicBezTo>
                <a:cubicBezTo>
                  <a:pt x="22750" y="17031"/>
                  <a:pt x="22625" y="17062"/>
                  <a:pt x="22594" y="16968"/>
                </a:cubicBezTo>
                <a:cubicBezTo>
                  <a:pt x="22563" y="17031"/>
                  <a:pt x="22625" y="17031"/>
                  <a:pt x="22594" y="17093"/>
                </a:cubicBezTo>
                <a:cubicBezTo>
                  <a:pt x="22500" y="16999"/>
                  <a:pt x="22406" y="16937"/>
                  <a:pt x="22313" y="16906"/>
                </a:cubicBezTo>
                <a:cubicBezTo>
                  <a:pt x="22313" y="16906"/>
                  <a:pt x="22313" y="16937"/>
                  <a:pt x="22313" y="16937"/>
                </a:cubicBezTo>
                <a:cubicBezTo>
                  <a:pt x="22313" y="16937"/>
                  <a:pt x="22344" y="16937"/>
                  <a:pt x="22344" y="16937"/>
                </a:cubicBezTo>
                <a:cubicBezTo>
                  <a:pt x="22375" y="16968"/>
                  <a:pt x="22406" y="16968"/>
                  <a:pt x="22406" y="16999"/>
                </a:cubicBezTo>
                <a:cubicBezTo>
                  <a:pt x="22406" y="16999"/>
                  <a:pt x="22375" y="17031"/>
                  <a:pt x="22375" y="17031"/>
                </a:cubicBezTo>
                <a:cubicBezTo>
                  <a:pt x="22344" y="17031"/>
                  <a:pt x="22313" y="17031"/>
                  <a:pt x="22313" y="16999"/>
                </a:cubicBezTo>
                <a:cubicBezTo>
                  <a:pt x="22313" y="16999"/>
                  <a:pt x="22313" y="16968"/>
                  <a:pt x="22281" y="16968"/>
                </a:cubicBezTo>
                <a:cubicBezTo>
                  <a:pt x="22281" y="16968"/>
                  <a:pt x="22281" y="16968"/>
                  <a:pt x="22281" y="16968"/>
                </a:cubicBezTo>
                <a:cubicBezTo>
                  <a:pt x="22250" y="16906"/>
                  <a:pt x="22219" y="16874"/>
                  <a:pt x="22188" y="16843"/>
                </a:cubicBezTo>
                <a:cubicBezTo>
                  <a:pt x="22188" y="16843"/>
                  <a:pt x="22188" y="16843"/>
                  <a:pt x="22188" y="16843"/>
                </a:cubicBezTo>
                <a:cubicBezTo>
                  <a:pt x="22125" y="16812"/>
                  <a:pt x="22125" y="16843"/>
                  <a:pt x="22094" y="16874"/>
                </a:cubicBezTo>
                <a:cubicBezTo>
                  <a:pt x="22094" y="16906"/>
                  <a:pt x="22063" y="16937"/>
                  <a:pt x="22031" y="16937"/>
                </a:cubicBezTo>
                <a:cubicBezTo>
                  <a:pt x="22031" y="16999"/>
                  <a:pt x="22000" y="16968"/>
                  <a:pt x="21969" y="16968"/>
                </a:cubicBezTo>
                <a:cubicBezTo>
                  <a:pt x="21906" y="16937"/>
                  <a:pt x="21875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813" y="16874"/>
                  <a:pt x="21813" y="16874"/>
                  <a:pt x="21813" y="16874"/>
                </a:cubicBezTo>
                <a:cubicBezTo>
                  <a:pt x="21750" y="16812"/>
                  <a:pt x="21656" y="16749"/>
                  <a:pt x="21531" y="16718"/>
                </a:cubicBezTo>
                <a:cubicBezTo>
                  <a:pt x="21531" y="16749"/>
                  <a:pt x="21563" y="16749"/>
                  <a:pt x="21563" y="16781"/>
                </a:cubicBezTo>
                <a:cubicBezTo>
                  <a:pt x="21563" y="16781"/>
                  <a:pt x="21563" y="16781"/>
                  <a:pt x="21563" y="16781"/>
                </a:cubicBezTo>
                <a:cubicBezTo>
                  <a:pt x="21594" y="16781"/>
                  <a:pt x="21625" y="16812"/>
                  <a:pt x="21656" y="16812"/>
                </a:cubicBezTo>
                <a:cubicBezTo>
                  <a:pt x="21719" y="16843"/>
                  <a:pt x="21750" y="16906"/>
                  <a:pt x="21813" y="16874"/>
                </a:cubicBezTo>
                <a:cubicBezTo>
                  <a:pt x="21813" y="16937"/>
                  <a:pt x="21844" y="16937"/>
                  <a:pt x="21875" y="16937"/>
                </a:cubicBezTo>
                <a:cubicBezTo>
                  <a:pt x="22000" y="17031"/>
                  <a:pt x="22000" y="17062"/>
                  <a:pt x="21875" y="17187"/>
                </a:cubicBezTo>
                <a:cubicBezTo>
                  <a:pt x="21844" y="17187"/>
                  <a:pt x="21813" y="17187"/>
                  <a:pt x="21875" y="17249"/>
                </a:cubicBezTo>
                <a:cubicBezTo>
                  <a:pt x="21875" y="17249"/>
                  <a:pt x="21875" y="17249"/>
                  <a:pt x="21875" y="17249"/>
                </a:cubicBezTo>
                <a:cubicBezTo>
                  <a:pt x="21906" y="17281"/>
                  <a:pt x="21969" y="17312"/>
                  <a:pt x="21938" y="17343"/>
                </a:cubicBezTo>
                <a:cubicBezTo>
                  <a:pt x="21906" y="17406"/>
                  <a:pt x="21875" y="17312"/>
                  <a:pt x="21844" y="17312"/>
                </a:cubicBezTo>
                <a:cubicBezTo>
                  <a:pt x="21844" y="17312"/>
                  <a:pt x="21844" y="17312"/>
                  <a:pt x="21813" y="17312"/>
                </a:cubicBezTo>
                <a:cubicBezTo>
                  <a:pt x="21813" y="17343"/>
                  <a:pt x="21844" y="17374"/>
                  <a:pt x="21813" y="17374"/>
                </a:cubicBezTo>
                <a:cubicBezTo>
                  <a:pt x="21781" y="17374"/>
                  <a:pt x="21750" y="17343"/>
                  <a:pt x="21750" y="17312"/>
                </a:cubicBezTo>
                <a:cubicBezTo>
                  <a:pt x="21750" y="17312"/>
                  <a:pt x="21750" y="17312"/>
                  <a:pt x="21750" y="17312"/>
                </a:cubicBezTo>
                <a:cubicBezTo>
                  <a:pt x="21688" y="17312"/>
                  <a:pt x="21656" y="17249"/>
                  <a:pt x="21625" y="17218"/>
                </a:cubicBezTo>
                <a:cubicBezTo>
                  <a:pt x="21625" y="17218"/>
                  <a:pt x="21625" y="17218"/>
                  <a:pt x="21625" y="17218"/>
                </a:cubicBezTo>
                <a:cubicBezTo>
                  <a:pt x="21531" y="17187"/>
                  <a:pt x="21500" y="17124"/>
                  <a:pt x="21469" y="17062"/>
                </a:cubicBezTo>
                <a:cubicBezTo>
                  <a:pt x="21438" y="17062"/>
                  <a:pt x="21406" y="17062"/>
                  <a:pt x="21406" y="17062"/>
                </a:cubicBezTo>
                <a:cubicBezTo>
                  <a:pt x="21406" y="17062"/>
                  <a:pt x="21406" y="17093"/>
                  <a:pt x="21375" y="17093"/>
                </a:cubicBezTo>
                <a:cubicBezTo>
                  <a:pt x="21313" y="17124"/>
                  <a:pt x="21094" y="17031"/>
                  <a:pt x="21031" y="16968"/>
                </a:cubicBezTo>
                <a:cubicBezTo>
                  <a:pt x="20938" y="16843"/>
                  <a:pt x="20844" y="16718"/>
                  <a:pt x="20750" y="16593"/>
                </a:cubicBezTo>
                <a:cubicBezTo>
                  <a:pt x="20719" y="16562"/>
                  <a:pt x="20688" y="16531"/>
                  <a:pt x="20688" y="16531"/>
                </a:cubicBezTo>
                <a:cubicBezTo>
                  <a:pt x="20625" y="16499"/>
                  <a:pt x="20625" y="16531"/>
                  <a:pt x="20625" y="16562"/>
                </a:cubicBezTo>
                <a:cubicBezTo>
                  <a:pt x="20750" y="16687"/>
                  <a:pt x="20844" y="16843"/>
                  <a:pt x="20938" y="16968"/>
                </a:cubicBezTo>
                <a:cubicBezTo>
                  <a:pt x="20938" y="16999"/>
                  <a:pt x="20938" y="16999"/>
                  <a:pt x="20938" y="16999"/>
                </a:cubicBezTo>
                <a:cubicBezTo>
                  <a:pt x="20813" y="16906"/>
                  <a:pt x="20688" y="16812"/>
                  <a:pt x="20563" y="16749"/>
                </a:cubicBezTo>
                <a:cubicBezTo>
                  <a:pt x="20500" y="16718"/>
                  <a:pt x="20500" y="16718"/>
                  <a:pt x="20531" y="16687"/>
                </a:cubicBezTo>
                <a:cubicBezTo>
                  <a:pt x="20563" y="16656"/>
                  <a:pt x="20594" y="16593"/>
                  <a:pt x="20625" y="16562"/>
                </a:cubicBezTo>
                <a:cubicBezTo>
                  <a:pt x="20625" y="16531"/>
                  <a:pt x="20594" y="16499"/>
                  <a:pt x="20563" y="16499"/>
                </a:cubicBezTo>
                <a:cubicBezTo>
                  <a:pt x="20500" y="16562"/>
                  <a:pt x="20469" y="16624"/>
                  <a:pt x="20438" y="16656"/>
                </a:cubicBezTo>
                <a:cubicBezTo>
                  <a:pt x="20375" y="16656"/>
                  <a:pt x="20313" y="16593"/>
                  <a:pt x="20250" y="16562"/>
                </a:cubicBezTo>
                <a:cubicBezTo>
                  <a:pt x="20250" y="16531"/>
                  <a:pt x="20219" y="16531"/>
                  <a:pt x="20188" y="16531"/>
                </a:cubicBezTo>
                <a:cubicBezTo>
                  <a:pt x="20094" y="16562"/>
                  <a:pt x="20063" y="16437"/>
                  <a:pt x="19969" y="16437"/>
                </a:cubicBezTo>
                <a:lnTo>
                  <a:pt x="19969" y="16437"/>
                </a:lnTo>
                <a:cubicBezTo>
                  <a:pt x="20031" y="16531"/>
                  <a:pt x="20094" y="16593"/>
                  <a:pt x="20125" y="16656"/>
                </a:cubicBezTo>
                <a:cubicBezTo>
                  <a:pt x="20156" y="16718"/>
                  <a:pt x="20188" y="16749"/>
                  <a:pt x="20250" y="16812"/>
                </a:cubicBezTo>
                <a:cubicBezTo>
                  <a:pt x="20250" y="16843"/>
                  <a:pt x="20281" y="16843"/>
                  <a:pt x="20313" y="16812"/>
                </a:cubicBezTo>
                <a:cubicBezTo>
                  <a:pt x="20313" y="16781"/>
                  <a:pt x="20344" y="16781"/>
                  <a:pt x="20375" y="16749"/>
                </a:cubicBezTo>
                <a:cubicBezTo>
                  <a:pt x="20375" y="16718"/>
                  <a:pt x="20406" y="16687"/>
                  <a:pt x="20344" y="16656"/>
                </a:cubicBezTo>
                <a:cubicBezTo>
                  <a:pt x="20313" y="16656"/>
                  <a:pt x="20281" y="16624"/>
                  <a:pt x="20250" y="16593"/>
                </a:cubicBezTo>
                <a:cubicBezTo>
                  <a:pt x="20250" y="16593"/>
                  <a:pt x="20188" y="16593"/>
                  <a:pt x="20188" y="16531"/>
                </a:cubicBezTo>
                <a:cubicBezTo>
                  <a:pt x="20125" y="16437"/>
                  <a:pt x="20063" y="16406"/>
                  <a:pt x="19969" y="16374"/>
                </a:cubicBezTo>
                <a:cubicBezTo>
                  <a:pt x="19906" y="16343"/>
                  <a:pt x="19906" y="16312"/>
                  <a:pt x="19969" y="16249"/>
                </a:cubicBezTo>
                <a:cubicBezTo>
                  <a:pt x="19969" y="16218"/>
                  <a:pt x="20000" y="16187"/>
                  <a:pt x="20031" y="16156"/>
                </a:cubicBezTo>
                <a:cubicBezTo>
                  <a:pt x="20031" y="16124"/>
                  <a:pt x="20063" y="16093"/>
                  <a:pt x="20094" y="16093"/>
                </a:cubicBezTo>
                <a:cubicBezTo>
                  <a:pt x="20125" y="16031"/>
                  <a:pt x="20188" y="16031"/>
                  <a:pt x="20219" y="16062"/>
                </a:cubicBezTo>
                <a:cubicBezTo>
                  <a:pt x="20188" y="15999"/>
                  <a:pt x="20125" y="15968"/>
                  <a:pt x="20063" y="15968"/>
                </a:cubicBezTo>
                <a:cubicBezTo>
                  <a:pt x="20094" y="15999"/>
                  <a:pt x="20063" y="16031"/>
                  <a:pt x="20031" y="16031"/>
                </a:cubicBezTo>
                <a:cubicBezTo>
                  <a:pt x="20000" y="16062"/>
                  <a:pt x="20000" y="16062"/>
                  <a:pt x="19969" y="16031"/>
                </a:cubicBezTo>
                <a:cubicBezTo>
                  <a:pt x="19875" y="15968"/>
                  <a:pt x="19781" y="15906"/>
                  <a:pt x="19656" y="15874"/>
                </a:cubicBezTo>
                <a:cubicBezTo>
                  <a:pt x="19719" y="15937"/>
                  <a:pt x="19813" y="15999"/>
                  <a:pt x="19906" y="16031"/>
                </a:cubicBezTo>
                <a:cubicBezTo>
                  <a:pt x="19938" y="16062"/>
                  <a:pt x="19969" y="16093"/>
                  <a:pt x="19969" y="16124"/>
                </a:cubicBezTo>
                <a:cubicBezTo>
                  <a:pt x="19938" y="16156"/>
                  <a:pt x="19906" y="16187"/>
                  <a:pt x="19875" y="16218"/>
                </a:cubicBezTo>
                <a:cubicBezTo>
                  <a:pt x="19813" y="16249"/>
                  <a:pt x="19813" y="16187"/>
                  <a:pt x="19813" y="16156"/>
                </a:cubicBezTo>
                <a:cubicBezTo>
                  <a:pt x="19719" y="16062"/>
                  <a:pt x="19656" y="15968"/>
                  <a:pt x="19594" y="15874"/>
                </a:cubicBezTo>
                <a:cubicBezTo>
                  <a:pt x="19563" y="15843"/>
                  <a:pt x="19531" y="15812"/>
                  <a:pt x="19469" y="15812"/>
                </a:cubicBezTo>
                <a:cubicBezTo>
                  <a:pt x="19531" y="15968"/>
                  <a:pt x="19656" y="16031"/>
                  <a:pt x="19719" y="16187"/>
                </a:cubicBezTo>
                <a:cubicBezTo>
                  <a:pt x="19594" y="16124"/>
                  <a:pt x="19500" y="16031"/>
                  <a:pt x="19344" y="15999"/>
                </a:cubicBezTo>
                <a:cubicBezTo>
                  <a:pt x="19469" y="16093"/>
                  <a:pt x="19594" y="16187"/>
                  <a:pt x="19719" y="16249"/>
                </a:cubicBezTo>
                <a:cubicBezTo>
                  <a:pt x="19781" y="16281"/>
                  <a:pt x="19781" y="16312"/>
                  <a:pt x="19750" y="16343"/>
                </a:cubicBezTo>
                <a:cubicBezTo>
                  <a:pt x="19594" y="16468"/>
                  <a:pt x="19625" y="16468"/>
                  <a:pt x="19469" y="16374"/>
                </a:cubicBezTo>
                <a:cubicBezTo>
                  <a:pt x="19375" y="16281"/>
                  <a:pt x="19250" y="16218"/>
                  <a:pt x="19156" y="16156"/>
                </a:cubicBezTo>
                <a:cubicBezTo>
                  <a:pt x="19094" y="16124"/>
                  <a:pt x="19094" y="16124"/>
                  <a:pt x="19125" y="16062"/>
                </a:cubicBezTo>
                <a:cubicBezTo>
                  <a:pt x="19219" y="15999"/>
                  <a:pt x="19313" y="15937"/>
                  <a:pt x="19375" y="15874"/>
                </a:cubicBezTo>
                <a:cubicBezTo>
                  <a:pt x="19375" y="15843"/>
                  <a:pt x="19438" y="15843"/>
                  <a:pt x="19406" y="15812"/>
                </a:cubicBezTo>
                <a:cubicBezTo>
                  <a:pt x="19375" y="15781"/>
                  <a:pt x="19344" y="15781"/>
                  <a:pt x="19313" y="15812"/>
                </a:cubicBezTo>
                <a:cubicBezTo>
                  <a:pt x="19313" y="15812"/>
                  <a:pt x="19281" y="15843"/>
                  <a:pt x="19250" y="15874"/>
                </a:cubicBezTo>
                <a:cubicBezTo>
                  <a:pt x="19250" y="15906"/>
                  <a:pt x="19219" y="15906"/>
                  <a:pt x="19188" y="15906"/>
                </a:cubicBezTo>
                <a:cubicBezTo>
                  <a:pt x="19188" y="15906"/>
                  <a:pt x="19188" y="15937"/>
                  <a:pt x="19188" y="15937"/>
                </a:cubicBezTo>
                <a:cubicBezTo>
                  <a:pt x="19188" y="15937"/>
                  <a:pt x="19156" y="15937"/>
                  <a:pt x="19156" y="15937"/>
                </a:cubicBezTo>
                <a:cubicBezTo>
                  <a:pt x="19156" y="15937"/>
                  <a:pt x="19156" y="15937"/>
                  <a:pt x="19156" y="15937"/>
                </a:cubicBezTo>
                <a:cubicBezTo>
                  <a:pt x="19156" y="15937"/>
                  <a:pt x="19156" y="15968"/>
                  <a:pt x="19156" y="15968"/>
                </a:cubicBezTo>
                <a:cubicBezTo>
                  <a:pt x="19156" y="15968"/>
                  <a:pt x="19125" y="15968"/>
                  <a:pt x="19125" y="15968"/>
                </a:cubicBezTo>
                <a:cubicBezTo>
                  <a:pt x="19063" y="16062"/>
                  <a:pt x="19031" y="16062"/>
                  <a:pt x="19000" y="15968"/>
                </a:cubicBezTo>
                <a:cubicBezTo>
                  <a:pt x="18938" y="15874"/>
                  <a:pt x="18875" y="15812"/>
                  <a:pt x="18844" y="15718"/>
                </a:cubicBezTo>
                <a:cubicBezTo>
                  <a:pt x="18813" y="15718"/>
                  <a:pt x="18813" y="15687"/>
                  <a:pt x="18813" y="15687"/>
                </a:cubicBezTo>
                <a:cubicBezTo>
                  <a:pt x="18813" y="15656"/>
                  <a:pt x="18844" y="15656"/>
                  <a:pt x="18875" y="15656"/>
                </a:cubicBezTo>
                <a:cubicBezTo>
                  <a:pt x="18844" y="15656"/>
                  <a:pt x="18813" y="15656"/>
                  <a:pt x="18813" y="15687"/>
                </a:cubicBezTo>
                <a:cubicBezTo>
                  <a:pt x="18781" y="15656"/>
                  <a:pt x="18750" y="15624"/>
                  <a:pt x="18719" y="15624"/>
                </a:cubicBezTo>
                <a:cubicBezTo>
                  <a:pt x="18750" y="15749"/>
                  <a:pt x="18875" y="15874"/>
                  <a:pt x="18906" y="15999"/>
                </a:cubicBezTo>
                <a:cubicBezTo>
                  <a:pt x="18781" y="15906"/>
                  <a:pt x="18625" y="15812"/>
                  <a:pt x="18500" y="15718"/>
                </a:cubicBezTo>
                <a:cubicBezTo>
                  <a:pt x="18531" y="15687"/>
                  <a:pt x="18594" y="15656"/>
                  <a:pt x="18625" y="15593"/>
                </a:cubicBezTo>
                <a:cubicBezTo>
                  <a:pt x="18594" y="15562"/>
                  <a:pt x="18531" y="15593"/>
                  <a:pt x="18500" y="15624"/>
                </a:cubicBezTo>
                <a:cubicBezTo>
                  <a:pt x="18438" y="15687"/>
                  <a:pt x="18406" y="15656"/>
                  <a:pt x="18344" y="15624"/>
                </a:cubicBezTo>
                <a:cubicBezTo>
                  <a:pt x="18313" y="15624"/>
                  <a:pt x="18281" y="15562"/>
                  <a:pt x="18219" y="15562"/>
                </a:cubicBezTo>
                <a:cubicBezTo>
                  <a:pt x="18219" y="15562"/>
                  <a:pt x="18188" y="15562"/>
                  <a:pt x="18188" y="15562"/>
                </a:cubicBezTo>
                <a:cubicBezTo>
                  <a:pt x="18250" y="15593"/>
                  <a:pt x="18281" y="15624"/>
                  <a:pt x="18344" y="15687"/>
                </a:cubicBezTo>
                <a:cubicBezTo>
                  <a:pt x="18375" y="15687"/>
                  <a:pt x="18406" y="15718"/>
                  <a:pt x="18344" y="15749"/>
                </a:cubicBezTo>
                <a:cubicBezTo>
                  <a:pt x="18344" y="15749"/>
                  <a:pt x="18344" y="15749"/>
                  <a:pt x="18344" y="15749"/>
                </a:cubicBezTo>
                <a:cubicBezTo>
                  <a:pt x="18344" y="15781"/>
                  <a:pt x="18313" y="15812"/>
                  <a:pt x="18281" y="15812"/>
                </a:cubicBezTo>
                <a:cubicBezTo>
                  <a:pt x="18250" y="15843"/>
                  <a:pt x="18219" y="15874"/>
                  <a:pt x="18188" y="15812"/>
                </a:cubicBezTo>
                <a:cubicBezTo>
                  <a:pt x="18125" y="15687"/>
                  <a:pt x="18063" y="15593"/>
                  <a:pt x="18000" y="15499"/>
                </a:cubicBezTo>
                <a:cubicBezTo>
                  <a:pt x="17969" y="15499"/>
                  <a:pt x="17938" y="15437"/>
                  <a:pt x="17906" y="15437"/>
                </a:cubicBezTo>
                <a:cubicBezTo>
                  <a:pt x="17906" y="15437"/>
                  <a:pt x="17906" y="15406"/>
                  <a:pt x="17906" y="15406"/>
                </a:cubicBezTo>
                <a:cubicBezTo>
                  <a:pt x="17906" y="15406"/>
                  <a:pt x="17906" y="15437"/>
                  <a:pt x="17906" y="15437"/>
                </a:cubicBezTo>
                <a:cubicBezTo>
                  <a:pt x="17906" y="15531"/>
                  <a:pt x="18000" y="15593"/>
                  <a:pt x="18031" y="15687"/>
                </a:cubicBezTo>
                <a:cubicBezTo>
                  <a:pt x="18063" y="15718"/>
                  <a:pt x="18063" y="15749"/>
                  <a:pt x="18094" y="15812"/>
                </a:cubicBezTo>
                <a:cubicBezTo>
                  <a:pt x="17969" y="15749"/>
                  <a:pt x="17906" y="15624"/>
                  <a:pt x="17781" y="15624"/>
                </a:cubicBezTo>
                <a:cubicBezTo>
                  <a:pt x="17750" y="15656"/>
                  <a:pt x="17813" y="15656"/>
                  <a:pt x="17813" y="15687"/>
                </a:cubicBezTo>
                <a:cubicBezTo>
                  <a:pt x="17938" y="15749"/>
                  <a:pt x="18000" y="15812"/>
                  <a:pt x="18125" y="15874"/>
                </a:cubicBezTo>
                <a:cubicBezTo>
                  <a:pt x="18156" y="15874"/>
                  <a:pt x="18156" y="15906"/>
                  <a:pt x="18125" y="15937"/>
                </a:cubicBezTo>
                <a:cubicBezTo>
                  <a:pt x="17938" y="16062"/>
                  <a:pt x="17938" y="16062"/>
                  <a:pt x="17750" y="15968"/>
                </a:cubicBezTo>
                <a:cubicBezTo>
                  <a:pt x="17656" y="15874"/>
                  <a:pt x="17563" y="15812"/>
                  <a:pt x="17438" y="15749"/>
                </a:cubicBezTo>
                <a:cubicBezTo>
                  <a:pt x="17375" y="15718"/>
                  <a:pt x="17406" y="15718"/>
                  <a:pt x="17438" y="15687"/>
                </a:cubicBezTo>
                <a:cubicBezTo>
                  <a:pt x="17469" y="15656"/>
                  <a:pt x="17531" y="15624"/>
                  <a:pt x="17563" y="15593"/>
                </a:cubicBezTo>
                <a:cubicBezTo>
                  <a:pt x="17625" y="15531"/>
                  <a:pt x="17656" y="15562"/>
                  <a:pt x="17719" y="15593"/>
                </a:cubicBezTo>
                <a:lnTo>
                  <a:pt x="17719" y="15593"/>
                </a:lnTo>
                <a:cubicBezTo>
                  <a:pt x="17719" y="15624"/>
                  <a:pt x="17750" y="15624"/>
                  <a:pt x="17781" y="15624"/>
                </a:cubicBezTo>
                <a:cubicBezTo>
                  <a:pt x="17719" y="15562"/>
                  <a:pt x="17813" y="15499"/>
                  <a:pt x="17781" y="15437"/>
                </a:cubicBezTo>
                <a:cubicBezTo>
                  <a:pt x="17781" y="15437"/>
                  <a:pt x="17813" y="15406"/>
                  <a:pt x="17781" y="15406"/>
                </a:cubicBezTo>
                <a:cubicBezTo>
                  <a:pt x="17625" y="15374"/>
                  <a:pt x="17781" y="15343"/>
                  <a:pt x="17781" y="15312"/>
                </a:cubicBezTo>
                <a:cubicBezTo>
                  <a:pt x="17781" y="15281"/>
                  <a:pt x="17750" y="15281"/>
                  <a:pt x="17719" y="15281"/>
                </a:cubicBezTo>
                <a:cubicBezTo>
                  <a:pt x="17656" y="15343"/>
                  <a:pt x="17625" y="15343"/>
                  <a:pt x="17594" y="15281"/>
                </a:cubicBezTo>
                <a:cubicBezTo>
                  <a:pt x="17594" y="15249"/>
                  <a:pt x="17594" y="15249"/>
                  <a:pt x="17625" y="15218"/>
                </a:cubicBezTo>
                <a:cubicBezTo>
                  <a:pt x="17625" y="15218"/>
                  <a:pt x="17656" y="15187"/>
                  <a:pt x="17656" y="15187"/>
                </a:cubicBezTo>
                <a:cubicBezTo>
                  <a:pt x="17656" y="15156"/>
                  <a:pt x="17656" y="15156"/>
                  <a:pt x="17656" y="15124"/>
                </a:cubicBezTo>
                <a:cubicBezTo>
                  <a:pt x="17656" y="15124"/>
                  <a:pt x="17625" y="15124"/>
                  <a:pt x="17625" y="15124"/>
                </a:cubicBezTo>
                <a:cubicBezTo>
                  <a:pt x="17594" y="15156"/>
                  <a:pt x="17563" y="15187"/>
                  <a:pt x="17531" y="15187"/>
                </a:cubicBezTo>
                <a:cubicBezTo>
                  <a:pt x="17500" y="15281"/>
                  <a:pt x="17563" y="15312"/>
                  <a:pt x="17594" y="15374"/>
                </a:cubicBezTo>
                <a:cubicBezTo>
                  <a:pt x="17625" y="15406"/>
                  <a:pt x="17656" y="15406"/>
                  <a:pt x="17625" y="15468"/>
                </a:cubicBezTo>
                <a:cubicBezTo>
                  <a:pt x="17594" y="15499"/>
                  <a:pt x="17563" y="15468"/>
                  <a:pt x="17531" y="15437"/>
                </a:cubicBezTo>
                <a:cubicBezTo>
                  <a:pt x="17438" y="15374"/>
                  <a:pt x="17344" y="15312"/>
                  <a:pt x="17250" y="15249"/>
                </a:cubicBezTo>
                <a:cubicBezTo>
                  <a:pt x="17313" y="15374"/>
                  <a:pt x="17469" y="15406"/>
                  <a:pt x="17531" y="15531"/>
                </a:cubicBezTo>
                <a:cubicBezTo>
                  <a:pt x="17500" y="15562"/>
                  <a:pt x="17438" y="15593"/>
                  <a:pt x="17406" y="15624"/>
                </a:cubicBezTo>
                <a:cubicBezTo>
                  <a:pt x="17375" y="15656"/>
                  <a:pt x="17344" y="15624"/>
                  <a:pt x="17344" y="15593"/>
                </a:cubicBezTo>
                <a:cubicBezTo>
                  <a:pt x="17281" y="15499"/>
                  <a:pt x="17219" y="15406"/>
                  <a:pt x="17188" y="15312"/>
                </a:cubicBezTo>
                <a:cubicBezTo>
                  <a:pt x="17156" y="15249"/>
                  <a:pt x="17125" y="15218"/>
                  <a:pt x="17063" y="15218"/>
                </a:cubicBezTo>
                <a:cubicBezTo>
                  <a:pt x="17125" y="15343"/>
                  <a:pt x="17156" y="15437"/>
                  <a:pt x="17219" y="15562"/>
                </a:cubicBezTo>
                <a:cubicBezTo>
                  <a:pt x="17188" y="15593"/>
                  <a:pt x="17156" y="15562"/>
                  <a:pt x="17156" y="15562"/>
                </a:cubicBezTo>
                <a:cubicBezTo>
                  <a:pt x="17063" y="15499"/>
                  <a:pt x="16969" y="15437"/>
                  <a:pt x="16875" y="15374"/>
                </a:cubicBezTo>
                <a:cubicBezTo>
                  <a:pt x="16844" y="15343"/>
                  <a:pt x="16813" y="15312"/>
                  <a:pt x="16906" y="15249"/>
                </a:cubicBezTo>
                <a:cubicBezTo>
                  <a:pt x="16938" y="15249"/>
                  <a:pt x="16938" y="15218"/>
                  <a:pt x="16969" y="15218"/>
                </a:cubicBezTo>
                <a:cubicBezTo>
                  <a:pt x="16875" y="15156"/>
                  <a:pt x="16813" y="15281"/>
                  <a:pt x="16719" y="15281"/>
                </a:cubicBezTo>
                <a:cubicBezTo>
                  <a:pt x="16688" y="15249"/>
                  <a:pt x="16656" y="15218"/>
                  <a:pt x="16625" y="15187"/>
                </a:cubicBezTo>
                <a:cubicBezTo>
                  <a:pt x="16656" y="15218"/>
                  <a:pt x="16688" y="15249"/>
                  <a:pt x="16719" y="15281"/>
                </a:cubicBezTo>
                <a:cubicBezTo>
                  <a:pt x="16719" y="15281"/>
                  <a:pt x="16688" y="15281"/>
                  <a:pt x="16688" y="15312"/>
                </a:cubicBezTo>
                <a:cubicBezTo>
                  <a:pt x="16688" y="15312"/>
                  <a:pt x="16688" y="15312"/>
                  <a:pt x="16688" y="15312"/>
                </a:cubicBezTo>
                <a:cubicBezTo>
                  <a:pt x="16469" y="15468"/>
                  <a:pt x="16469" y="15437"/>
                  <a:pt x="16375" y="15218"/>
                </a:cubicBezTo>
                <a:cubicBezTo>
                  <a:pt x="16344" y="15156"/>
                  <a:pt x="16313" y="15093"/>
                  <a:pt x="16281" y="15031"/>
                </a:cubicBezTo>
                <a:cubicBezTo>
                  <a:pt x="16281" y="14999"/>
                  <a:pt x="16219" y="14999"/>
                  <a:pt x="16219" y="14999"/>
                </a:cubicBezTo>
                <a:cubicBezTo>
                  <a:pt x="16188" y="15031"/>
                  <a:pt x="16219" y="15062"/>
                  <a:pt x="16219" y="15062"/>
                </a:cubicBezTo>
                <a:cubicBezTo>
                  <a:pt x="16250" y="15156"/>
                  <a:pt x="16281" y="15249"/>
                  <a:pt x="16344" y="15312"/>
                </a:cubicBezTo>
                <a:cubicBezTo>
                  <a:pt x="16375" y="15406"/>
                  <a:pt x="16313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lnTo>
                  <a:pt x="16281" y="15374"/>
                </a:lnTo>
                <a:cubicBezTo>
                  <a:pt x="16281" y="15312"/>
                  <a:pt x="16250" y="15312"/>
                  <a:pt x="16188" y="15312"/>
                </a:cubicBezTo>
                <a:cubicBezTo>
                  <a:pt x="16219" y="15343"/>
                  <a:pt x="16250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406"/>
                  <a:pt x="16281" y="15406"/>
                </a:cubicBezTo>
                <a:cubicBezTo>
                  <a:pt x="16375" y="15468"/>
                  <a:pt x="16375" y="15468"/>
                  <a:pt x="16281" y="15531"/>
                </a:cubicBezTo>
                <a:cubicBezTo>
                  <a:pt x="16281" y="15562"/>
                  <a:pt x="16250" y="15562"/>
                  <a:pt x="16250" y="15562"/>
                </a:cubicBezTo>
                <a:cubicBezTo>
                  <a:pt x="16156" y="15656"/>
                  <a:pt x="16094" y="15656"/>
                  <a:pt x="16000" y="15562"/>
                </a:cubicBezTo>
                <a:cubicBezTo>
                  <a:pt x="15875" y="15468"/>
                  <a:pt x="15781" y="15406"/>
                  <a:pt x="15656" y="15312"/>
                </a:cubicBezTo>
                <a:cubicBezTo>
                  <a:pt x="15594" y="15281"/>
                  <a:pt x="15594" y="15281"/>
                  <a:pt x="15656" y="15249"/>
                </a:cubicBezTo>
                <a:cubicBezTo>
                  <a:pt x="15719" y="15218"/>
                  <a:pt x="15781" y="15187"/>
                  <a:pt x="15844" y="15124"/>
                </a:cubicBezTo>
                <a:cubicBezTo>
                  <a:pt x="15844" y="15093"/>
                  <a:pt x="15813" y="15093"/>
                  <a:pt x="15781" y="15093"/>
                </a:cubicBezTo>
                <a:cubicBezTo>
                  <a:pt x="15750" y="15031"/>
                  <a:pt x="15688" y="14999"/>
                  <a:pt x="15625" y="14937"/>
                </a:cubicBezTo>
                <a:cubicBezTo>
                  <a:pt x="15688" y="14999"/>
                  <a:pt x="15750" y="15031"/>
                  <a:pt x="15781" y="15093"/>
                </a:cubicBezTo>
                <a:cubicBezTo>
                  <a:pt x="15750" y="15124"/>
                  <a:pt x="15719" y="15124"/>
                  <a:pt x="15688" y="15156"/>
                </a:cubicBezTo>
                <a:cubicBezTo>
                  <a:pt x="15594" y="15249"/>
                  <a:pt x="15563" y="15156"/>
                  <a:pt x="15531" y="15093"/>
                </a:cubicBezTo>
                <a:cubicBezTo>
                  <a:pt x="15500" y="14999"/>
                  <a:pt x="15469" y="14937"/>
                  <a:pt x="15438" y="14843"/>
                </a:cubicBezTo>
                <a:cubicBezTo>
                  <a:pt x="15406" y="14812"/>
                  <a:pt x="15375" y="14781"/>
                  <a:pt x="15344" y="14781"/>
                </a:cubicBezTo>
                <a:cubicBezTo>
                  <a:pt x="15344" y="14906"/>
                  <a:pt x="15438" y="14999"/>
                  <a:pt x="15438" y="15156"/>
                </a:cubicBezTo>
                <a:cubicBezTo>
                  <a:pt x="15313" y="15062"/>
                  <a:pt x="15188" y="14968"/>
                  <a:pt x="15031" y="14874"/>
                </a:cubicBezTo>
                <a:cubicBezTo>
                  <a:pt x="15094" y="14812"/>
                  <a:pt x="15188" y="14812"/>
                  <a:pt x="15250" y="14749"/>
                </a:cubicBezTo>
                <a:cubicBezTo>
                  <a:pt x="15188" y="14718"/>
                  <a:pt x="15125" y="14749"/>
                  <a:pt x="15094" y="14781"/>
                </a:cubicBezTo>
                <a:cubicBezTo>
                  <a:pt x="15000" y="14812"/>
                  <a:pt x="14938" y="14843"/>
                  <a:pt x="14875" y="14781"/>
                </a:cubicBezTo>
                <a:cubicBezTo>
                  <a:pt x="14813" y="14718"/>
                  <a:pt x="14750" y="14687"/>
                  <a:pt x="14688" y="14656"/>
                </a:cubicBezTo>
                <a:cubicBezTo>
                  <a:pt x="14688" y="14656"/>
                  <a:pt x="14656" y="14656"/>
                  <a:pt x="14656" y="14656"/>
                </a:cubicBezTo>
                <a:cubicBezTo>
                  <a:pt x="14719" y="14718"/>
                  <a:pt x="14781" y="14749"/>
                  <a:pt x="14844" y="14781"/>
                </a:cubicBezTo>
                <a:cubicBezTo>
                  <a:pt x="14875" y="14812"/>
                  <a:pt x="14906" y="14843"/>
                  <a:pt x="14906" y="14843"/>
                </a:cubicBezTo>
                <a:cubicBezTo>
                  <a:pt x="14844" y="14906"/>
                  <a:pt x="14781" y="14906"/>
                  <a:pt x="14719" y="14937"/>
                </a:cubicBezTo>
                <a:cubicBezTo>
                  <a:pt x="14688" y="14968"/>
                  <a:pt x="14625" y="14968"/>
                  <a:pt x="14625" y="14906"/>
                </a:cubicBezTo>
                <a:cubicBezTo>
                  <a:pt x="14594" y="14812"/>
                  <a:pt x="14563" y="14749"/>
                  <a:pt x="14531" y="14656"/>
                </a:cubicBezTo>
                <a:cubicBezTo>
                  <a:pt x="14531" y="14624"/>
                  <a:pt x="14500" y="14593"/>
                  <a:pt x="14500" y="14593"/>
                </a:cubicBezTo>
                <a:cubicBezTo>
                  <a:pt x="14500" y="14562"/>
                  <a:pt x="14469" y="14562"/>
                  <a:pt x="14438" y="14562"/>
                </a:cubicBezTo>
                <a:cubicBezTo>
                  <a:pt x="14406" y="14562"/>
                  <a:pt x="14406" y="14593"/>
                  <a:pt x="14438" y="14624"/>
                </a:cubicBezTo>
                <a:cubicBezTo>
                  <a:pt x="14438" y="14718"/>
                  <a:pt x="14500" y="14812"/>
                  <a:pt x="14500" y="14937"/>
                </a:cubicBezTo>
                <a:cubicBezTo>
                  <a:pt x="14375" y="14843"/>
                  <a:pt x="14250" y="14749"/>
                  <a:pt x="14094" y="14656"/>
                </a:cubicBezTo>
                <a:cubicBezTo>
                  <a:pt x="14156" y="14593"/>
                  <a:pt x="14250" y="14593"/>
                  <a:pt x="14313" y="14531"/>
                </a:cubicBezTo>
                <a:cubicBezTo>
                  <a:pt x="14281" y="14499"/>
                  <a:pt x="14219" y="14499"/>
                  <a:pt x="14188" y="14531"/>
                </a:cubicBezTo>
                <a:cubicBezTo>
                  <a:pt x="14094" y="14593"/>
                  <a:pt x="14000" y="14593"/>
                  <a:pt x="13906" y="14531"/>
                </a:cubicBezTo>
                <a:cubicBezTo>
                  <a:pt x="13875" y="14468"/>
                  <a:pt x="13813" y="14437"/>
                  <a:pt x="13719" y="14406"/>
                </a:cubicBezTo>
                <a:cubicBezTo>
                  <a:pt x="13781" y="14468"/>
                  <a:pt x="13813" y="14531"/>
                  <a:pt x="13906" y="14531"/>
                </a:cubicBezTo>
                <a:cubicBezTo>
                  <a:pt x="13906" y="14562"/>
                  <a:pt x="13938" y="14562"/>
                  <a:pt x="13969" y="14624"/>
                </a:cubicBezTo>
                <a:cubicBezTo>
                  <a:pt x="13875" y="14656"/>
                  <a:pt x="13781" y="14687"/>
                  <a:pt x="13688" y="14718"/>
                </a:cubicBezTo>
                <a:cubicBezTo>
                  <a:pt x="13656" y="14718"/>
                  <a:pt x="13656" y="14718"/>
                  <a:pt x="13656" y="14687"/>
                </a:cubicBezTo>
                <a:cubicBezTo>
                  <a:pt x="13625" y="14593"/>
                  <a:pt x="13625" y="14531"/>
                  <a:pt x="13594" y="14468"/>
                </a:cubicBezTo>
                <a:cubicBezTo>
                  <a:pt x="13563" y="14374"/>
                  <a:pt x="13563" y="14312"/>
                  <a:pt x="13469" y="14312"/>
                </a:cubicBezTo>
                <a:cubicBezTo>
                  <a:pt x="13469" y="14437"/>
                  <a:pt x="13531" y="14562"/>
                  <a:pt x="13531" y="14718"/>
                </a:cubicBezTo>
                <a:cubicBezTo>
                  <a:pt x="13438" y="14624"/>
                  <a:pt x="13344" y="14593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81" y="14499"/>
                  <a:pt x="13281" y="14499"/>
                  <a:pt x="13281" y="14499"/>
                </a:cubicBezTo>
                <a:cubicBezTo>
                  <a:pt x="13219" y="14499"/>
                  <a:pt x="13188" y="14437"/>
                  <a:pt x="13156" y="14437"/>
                </a:cubicBezTo>
                <a:cubicBezTo>
                  <a:pt x="13125" y="14437"/>
                  <a:pt x="13094" y="14406"/>
                  <a:pt x="13063" y="14406"/>
                </a:cubicBezTo>
                <a:cubicBezTo>
                  <a:pt x="13219" y="14531"/>
                  <a:pt x="13344" y="14624"/>
                  <a:pt x="13500" y="14718"/>
                </a:cubicBezTo>
                <a:cubicBezTo>
                  <a:pt x="13500" y="14749"/>
                  <a:pt x="13531" y="14749"/>
                  <a:pt x="13531" y="14781"/>
                </a:cubicBezTo>
                <a:cubicBezTo>
                  <a:pt x="13531" y="14812"/>
                  <a:pt x="13500" y="14812"/>
                  <a:pt x="13469" y="14812"/>
                </a:cubicBezTo>
                <a:cubicBezTo>
                  <a:pt x="13438" y="14843"/>
                  <a:pt x="13375" y="14843"/>
                  <a:pt x="13313" y="14874"/>
                </a:cubicBezTo>
                <a:cubicBezTo>
                  <a:pt x="13219" y="14937"/>
                  <a:pt x="13125" y="14937"/>
                  <a:pt x="13031" y="14843"/>
                </a:cubicBezTo>
                <a:cubicBezTo>
                  <a:pt x="13031" y="14781"/>
                  <a:pt x="12938" y="14812"/>
                  <a:pt x="12938" y="14718"/>
                </a:cubicBezTo>
                <a:cubicBezTo>
                  <a:pt x="12844" y="14718"/>
                  <a:pt x="12781" y="14624"/>
                  <a:pt x="12688" y="14593"/>
                </a:cubicBezTo>
                <a:cubicBezTo>
                  <a:pt x="12656" y="14562"/>
                  <a:pt x="12719" y="14531"/>
                  <a:pt x="12750" y="14531"/>
                </a:cubicBezTo>
                <a:cubicBezTo>
                  <a:pt x="12844" y="14499"/>
                  <a:pt x="12938" y="14468"/>
                  <a:pt x="13031" y="14437"/>
                </a:cubicBezTo>
                <a:cubicBezTo>
                  <a:pt x="13031" y="14406"/>
                  <a:pt x="13000" y="14406"/>
                  <a:pt x="13000" y="14374"/>
                </a:cubicBezTo>
                <a:cubicBezTo>
                  <a:pt x="12938" y="14312"/>
                  <a:pt x="12844" y="14281"/>
                  <a:pt x="12781" y="14218"/>
                </a:cubicBezTo>
                <a:cubicBezTo>
                  <a:pt x="12844" y="14281"/>
                  <a:pt x="12938" y="14312"/>
                  <a:pt x="13000" y="14374"/>
                </a:cubicBezTo>
                <a:cubicBezTo>
                  <a:pt x="12906" y="14406"/>
                  <a:pt x="12813" y="14406"/>
                  <a:pt x="12719" y="14468"/>
                </a:cubicBezTo>
                <a:cubicBezTo>
                  <a:pt x="12688" y="14499"/>
                  <a:pt x="12625" y="14468"/>
                  <a:pt x="12625" y="14406"/>
                </a:cubicBezTo>
                <a:cubicBezTo>
                  <a:pt x="12625" y="14312"/>
                  <a:pt x="12625" y="14218"/>
                  <a:pt x="12594" y="14156"/>
                </a:cubicBezTo>
                <a:cubicBezTo>
                  <a:pt x="12594" y="14124"/>
                  <a:pt x="12594" y="14093"/>
                  <a:pt x="12563" y="14093"/>
                </a:cubicBezTo>
                <a:cubicBezTo>
                  <a:pt x="12531" y="14062"/>
                  <a:pt x="12531" y="14031"/>
                  <a:pt x="12500" y="14062"/>
                </a:cubicBezTo>
                <a:cubicBezTo>
                  <a:pt x="12469" y="14062"/>
                  <a:pt x="12469" y="14093"/>
                  <a:pt x="12469" y="14124"/>
                </a:cubicBezTo>
                <a:cubicBezTo>
                  <a:pt x="12500" y="14218"/>
                  <a:pt x="12500" y="14312"/>
                  <a:pt x="12531" y="14437"/>
                </a:cubicBezTo>
                <a:cubicBezTo>
                  <a:pt x="12375" y="14374"/>
                  <a:pt x="12281" y="14249"/>
                  <a:pt x="12125" y="14156"/>
                </a:cubicBezTo>
                <a:cubicBezTo>
                  <a:pt x="12125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lnTo>
                  <a:pt x="12094" y="14156"/>
                </a:ln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63" y="14156"/>
                </a:cubicBezTo>
                <a:cubicBezTo>
                  <a:pt x="12063" y="14156"/>
                  <a:pt x="12063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ubicBezTo>
                  <a:pt x="12219" y="14281"/>
                  <a:pt x="12344" y="14374"/>
                  <a:pt x="12469" y="14468"/>
                </a:cubicBezTo>
                <a:cubicBezTo>
                  <a:pt x="12531" y="14499"/>
                  <a:pt x="12531" y="14531"/>
                  <a:pt x="12469" y="14531"/>
                </a:cubicBezTo>
                <a:cubicBezTo>
                  <a:pt x="12375" y="14593"/>
                  <a:pt x="12250" y="14656"/>
                  <a:pt x="12125" y="14656"/>
                </a:cubicBezTo>
                <a:cubicBezTo>
                  <a:pt x="12094" y="14656"/>
                  <a:pt x="12094" y="14656"/>
                  <a:pt x="12063" y="14656"/>
                </a:cubicBezTo>
                <a:cubicBezTo>
                  <a:pt x="11969" y="14562"/>
                  <a:pt x="11875" y="14499"/>
                  <a:pt x="11781" y="14437"/>
                </a:cubicBezTo>
                <a:cubicBezTo>
                  <a:pt x="11750" y="14406"/>
                  <a:pt x="11719" y="14374"/>
                  <a:pt x="11656" y="14343"/>
                </a:cubicBezTo>
                <a:cubicBezTo>
                  <a:pt x="11625" y="14343"/>
                  <a:pt x="11594" y="14343"/>
                  <a:pt x="11594" y="14312"/>
                </a:cubicBezTo>
                <a:cubicBezTo>
                  <a:pt x="11594" y="14281"/>
                  <a:pt x="11594" y="14249"/>
                  <a:pt x="11594" y="14218"/>
                </a:cubicBezTo>
                <a:cubicBezTo>
                  <a:pt x="11594" y="14218"/>
                  <a:pt x="11594" y="14218"/>
                  <a:pt x="11594" y="14218"/>
                </a:cubicBezTo>
                <a:cubicBezTo>
                  <a:pt x="11594" y="14156"/>
                  <a:pt x="11594" y="14124"/>
                  <a:pt x="11594" y="14093"/>
                </a:cubicBezTo>
                <a:cubicBezTo>
                  <a:pt x="11563" y="14156"/>
                  <a:pt x="11531" y="14187"/>
                  <a:pt x="11531" y="14249"/>
                </a:cubicBezTo>
                <a:cubicBezTo>
                  <a:pt x="11500" y="14406"/>
                  <a:pt x="11531" y="14562"/>
                  <a:pt x="11531" y="14718"/>
                </a:cubicBezTo>
                <a:cubicBezTo>
                  <a:pt x="11531" y="14749"/>
                  <a:pt x="11531" y="14781"/>
                  <a:pt x="11500" y="14781"/>
                </a:cubicBezTo>
                <a:cubicBezTo>
                  <a:pt x="11344" y="14781"/>
                  <a:pt x="11219" y="14718"/>
                  <a:pt x="11094" y="14687"/>
                </a:cubicBezTo>
                <a:cubicBezTo>
                  <a:pt x="11000" y="14656"/>
                  <a:pt x="11000" y="14624"/>
                  <a:pt x="11063" y="14562"/>
                </a:cubicBezTo>
                <a:cubicBezTo>
                  <a:pt x="11125" y="14468"/>
                  <a:pt x="11219" y="14406"/>
                  <a:pt x="11313" y="14312"/>
                </a:cubicBezTo>
                <a:cubicBezTo>
                  <a:pt x="11344" y="14249"/>
                  <a:pt x="11406" y="14281"/>
                  <a:pt x="11438" y="14281"/>
                </a:cubicBezTo>
                <a:cubicBezTo>
                  <a:pt x="11469" y="14281"/>
                  <a:pt x="11500" y="14281"/>
                  <a:pt x="11469" y="14249"/>
                </a:cubicBezTo>
                <a:cubicBezTo>
                  <a:pt x="11469" y="14249"/>
                  <a:pt x="11469" y="14218"/>
                  <a:pt x="11438" y="14187"/>
                </a:cubicBezTo>
                <a:cubicBezTo>
                  <a:pt x="11375" y="14187"/>
                  <a:pt x="11344" y="14187"/>
                  <a:pt x="11313" y="14218"/>
                </a:cubicBezTo>
                <a:cubicBezTo>
                  <a:pt x="11281" y="14249"/>
                  <a:pt x="11281" y="14249"/>
                  <a:pt x="11250" y="14249"/>
                </a:cubicBezTo>
                <a:cubicBezTo>
                  <a:pt x="11250" y="14281"/>
                  <a:pt x="11219" y="14281"/>
                  <a:pt x="11219" y="14312"/>
                </a:cubicBezTo>
                <a:cubicBezTo>
                  <a:pt x="11219" y="14312"/>
                  <a:pt x="11219" y="14312"/>
                  <a:pt x="11219" y="14312"/>
                </a:cubicBezTo>
                <a:cubicBezTo>
                  <a:pt x="11125" y="14406"/>
                  <a:pt x="11031" y="14531"/>
                  <a:pt x="10875" y="14593"/>
                </a:cubicBezTo>
                <a:cubicBezTo>
                  <a:pt x="10781" y="14624"/>
                  <a:pt x="10750" y="14687"/>
                  <a:pt x="10688" y="14749"/>
                </a:cubicBezTo>
                <a:cubicBezTo>
                  <a:pt x="10656" y="14781"/>
                  <a:pt x="10625" y="14781"/>
                  <a:pt x="10625" y="14812"/>
                </a:cubicBezTo>
                <a:lnTo>
                  <a:pt x="10625" y="14812"/>
                </a:lnTo>
                <a:cubicBezTo>
                  <a:pt x="10625" y="14843"/>
                  <a:pt x="10656" y="14843"/>
                  <a:pt x="10656" y="14843"/>
                </a:cubicBezTo>
                <a:cubicBezTo>
                  <a:pt x="10688" y="14843"/>
                  <a:pt x="10688" y="14812"/>
                  <a:pt x="10719" y="14781"/>
                </a:cubicBezTo>
                <a:cubicBezTo>
                  <a:pt x="10781" y="14749"/>
                  <a:pt x="10844" y="14687"/>
                  <a:pt x="10875" y="14593"/>
                </a:cubicBezTo>
                <a:cubicBezTo>
                  <a:pt x="10969" y="14468"/>
                  <a:pt x="11063" y="14374"/>
                  <a:pt x="11188" y="14281"/>
                </a:cubicBezTo>
                <a:lnTo>
                  <a:pt x="11188" y="14281"/>
                </a:lnTo>
                <a:cubicBezTo>
                  <a:pt x="11188" y="14249"/>
                  <a:pt x="11219" y="14249"/>
                  <a:pt x="11219" y="14249"/>
                </a:cubicBezTo>
                <a:cubicBezTo>
                  <a:pt x="11281" y="14187"/>
                  <a:pt x="11344" y="14124"/>
                  <a:pt x="11406" y="14062"/>
                </a:cubicBezTo>
                <a:cubicBezTo>
                  <a:pt x="11344" y="14031"/>
                  <a:pt x="11313" y="14031"/>
                  <a:pt x="11281" y="14062"/>
                </a:cubicBezTo>
                <a:cubicBezTo>
                  <a:pt x="10969" y="14374"/>
                  <a:pt x="10625" y="14687"/>
                  <a:pt x="10313" y="14999"/>
                </a:cubicBezTo>
                <a:cubicBezTo>
                  <a:pt x="10156" y="15124"/>
                  <a:pt x="10000" y="15281"/>
                  <a:pt x="9844" y="15437"/>
                </a:cubicBezTo>
                <a:cubicBezTo>
                  <a:pt x="9844" y="15437"/>
                  <a:pt x="9813" y="15437"/>
                  <a:pt x="9813" y="15437"/>
                </a:cubicBezTo>
                <a:cubicBezTo>
                  <a:pt x="9750" y="15562"/>
                  <a:pt x="9656" y="15624"/>
                  <a:pt x="9563" y="15687"/>
                </a:cubicBezTo>
                <a:cubicBezTo>
                  <a:pt x="9531" y="15687"/>
                  <a:pt x="9531" y="15687"/>
                  <a:pt x="9531" y="15656"/>
                </a:cubicBezTo>
                <a:cubicBezTo>
                  <a:pt x="9531" y="15687"/>
                  <a:pt x="9531" y="15687"/>
                  <a:pt x="9563" y="15687"/>
                </a:cubicBezTo>
                <a:cubicBezTo>
                  <a:pt x="9438" y="15843"/>
                  <a:pt x="9250" y="15968"/>
                  <a:pt x="9125" y="16093"/>
                </a:cubicBezTo>
                <a:cubicBezTo>
                  <a:pt x="9063" y="16156"/>
                  <a:pt x="8969" y="16218"/>
                  <a:pt x="8938" y="16312"/>
                </a:cubicBezTo>
                <a:cubicBezTo>
                  <a:pt x="8906" y="16343"/>
                  <a:pt x="8875" y="16343"/>
                  <a:pt x="8844" y="16343"/>
                </a:cubicBezTo>
                <a:cubicBezTo>
                  <a:pt x="8813" y="16374"/>
                  <a:pt x="8813" y="16406"/>
                  <a:pt x="8750" y="16406"/>
                </a:cubicBezTo>
                <a:cubicBezTo>
                  <a:pt x="8688" y="16406"/>
                  <a:pt x="8656" y="16468"/>
                  <a:pt x="8625" y="16499"/>
                </a:cubicBezTo>
                <a:cubicBezTo>
                  <a:pt x="8406" y="16687"/>
                  <a:pt x="8219" y="16874"/>
                  <a:pt x="8031" y="17062"/>
                </a:cubicBezTo>
                <a:cubicBezTo>
                  <a:pt x="8000" y="17093"/>
                  <a:pt x="7938" y="17124"/>
                  <a:pt x="7906" y="17187"/>
                </a:cubicBezTo>
                <a:cubicBezTo>
                  <a:pt x="7875" y="17187"/>
                  <a:pt x="7844" y="17218"/>
                  <a:pt x="7844" y="17249"/>
                </a:cubicBezTo>
                <a:close/>
                <a:moveTo>
                  <a:pt x="22188" y="17624"/>
                </a:move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ubicBezTo>
                  <a:pt x="22188" y="17624"/>
                  <a:pt x="22188" y="17624"/>
                  <a:pt x="22188" y="17624"/>
                </a:cubicBezTo>
                <a:close/>
                <a:moveTo>
                  <a:pt x="22125" y="17999"/>
                </a:moveTo>
                <a:cubicBezTo>
                  <a:pt x="22125" y="17999"/>
                  <a:pt x="22188" y="18062"/>
                  <a:pt x="22094" y="18031"/>
                </a:cubicBezTo>
                <a:cubicBezTo>
                  <a:pt x="22063" y="18031"/>
                  <a:pt x="22031" y="17999"/>
                  <a:pt x="22000" y="17999"/>
                </a:cubicBezTo>
                <a:cubicBezTo>
                  <a:pt x="22031" y="17999"/>
                  <a:pt x="22000" y="17968"/>
                  <a:pt x="22000" y="17968"/>
                </a:cubicBezTo>
                <a:cubicBezTo>
                  <a:pt x="22063" y="17937"/>
                  <a:pt x="22094" y="17968"/>
                  <a:pt x="22125" y="17999"/>
                </a:cubicBezTo>
                <a:cubicBezTo>
                  <a:pt x="22156" y="17968"/>
                  <a:pt x="22156" y="17968"/>
                  <a:pt x="22188" y="17937"/>
                </a:cubicBezTo>
                <a:cubicBezTo>
                  <a:pt x="22156" y="17968"/>
                  <a:pt x="22156" y="17968"/>
                  <a:pt x="22125" y="17999"/>
                </a:cubicBezTo>
                <a:close/>
                <a:moveTo>
                  <a:pt x="20875" y="17687"/>
                </a:moveTo>
                <a:cubicBezTo>
                  <a:pt x="20906" y="17687"/>
                  <a:pt x="20938" y="17718"/>
                  <a:pt x="20938" y="17781"/>
                </a:cubicBezTo>
                <a:cubicBezTo>
                  <a:pt x="20938" y="17843"/>
                  <a:pt x="20969" y="17874"/>
                  <a:pt x="21031" y="17874"/>
                </a:cubicBezTo>
                <a:cubicBezTo>
                  <a:pt x="21031" y="17874"/>
                  <a:pt x="21031" y="17874"/>
                  <a:pt x="21031" y="17874"/>
                </a:cubicBezTo>
                <a:cubicBezTo>
                  <a:pt x="20969" y="17937"/>
                  <a:pt x="21000" y="17968"/>
                  <a:pt x="21031" y="18031"/>
                </a:cubicBezTo>
                <a:cubicBezTo>
                  <a:pt x="20938" y="18062"/>
                  <a:pt x="20906" y="17999"/>
                  <a:pt x="20844" y="17968"/>
                </a:cubicBezTo>
                <a:cubicBezTo>
                  <a:pt x="20844" y="17968"/>
                  <a:pt x="20813" y="17937"/>
                  <a:pt x="20813" y="17937"/>
                </a:cubicBezTo>
                <a:cubicBezTo>
                  <a:pt x="20906" y="17874"/>
                  <a:pt x="20844" y="17781"/>
                  <a:pt x="20875" y="17687"/>
                </a:cubicBezTo>
                <a:close/>
                <a:moveTo>
                  <a:pt x="20500" y="17749"/>
                </a:moveTo>
                <a:cubicBezTo>
                  <a:pt x="20500" y="17749"/>
                  <a:pt x="20500" y="17812"/>
                  <a:pt x="20563" y="17781"/>
                </a:cubicBezTo>
                <a:cubicBezTo>
                  <a:pt x="20563" y="17749"/>
                  <a:pt x="20563" y="17718"/>
                  <a:pt x="20563" y="17687"/>
                </a:cubicBezTo>
                <a:cubicBezTo>
                  <a:pt x="20563" y="17687"/>
                  <a:pt x="20563" y="17656"/>
                  <a:pt x="20563" y="17624"/>
                </a:cubicBezTo>
                <a:cubicBezTo>
                  <a:pt x="20594" y="17624"/>
                  <a:pt x="20563" y="17656"/>
                  <a:pt x="20594" y="17687"/>
                </a:cubicBezTo>
                <a:cubicBezTo>
                  <a:pt x="20625" y="17749"/>
                  <a:pt x="20594" y="17812"/>
                  <a:pt x="20656" y="17843"/>
                </a:cubicBezTo>
                <a:lnTo>
                  <a:pt x="20656" y="17843"/>
                </a:lnTo>
                <a:cubicBezTo>
                  <a:pt x="20656" y="17874"/>
                  <a:pt x="20719" y="17781"/>
                  <a:pt x="20750" y="17718"/>
                </a:cubicBezTo>
                <a:cubicBezTo>
                  <a:pt x="20781" y="17718"/>
                  <a:pt x="20750" y="17656"/>
                  <a:pt x="20781" y="17656"/>
                </a:cubicBezTo>
                <a:cubicBezTo>
                  <a:pt x="20813" y="17718"/>
                  <a:pt x="20750" y="17749"/>
                  <a:pt x="20750" y="17812"/>
                </a:cubicBezTo>
                <a:cubicBezTo>
                  <a:pt x="20750" y="17843"/>
                  <a:pt x="20688" y="17843"/>
                  <a:pt x="20719" y="17906"/>
                </a:cubicBezTo>
                <a:cubicBezTo>
                  <a:pt x="20750" y="17906"/>
                  <a:pt x="20719" y="17906"/>
                  <a:pt x="20688" y="17906"/>
                </a:cubicBezTo>
                <a:cubicBezTo>
                  <a:pt x="20656" y="17906"/>
                  <a:pt x="20500" y="17812"/>
                  <a:pt x="20469" y="17781"/>
                </a:cubicBezTo>
                <a:cubicBezTo>
                  <a:pt x="20469" y="17781"/>
                  <a:pt x="20469" y="17749"/>
                  <a:pt x="20500" y="17749"/>
                </a:cubicBezTo>
                <a:close/>
                <a:moveTo>
                  <a:pt x="20438" y="17718"/>
                </a:moveTo>
                <a:cubicBezTo>
                  <a:pt x="20438" y="17718"/>
                  <a:pt x="20438" y="17718"/>
                  <a:pt x="20438" y="17718"/>
                </a:cubicBezTo>
                <a:cubicBezTo>
                  <a:pt x="20406" y="17656"/>
                  <a:pt x="20406" y="17624"/>
                  <a:pt x="20375" y="17624"/>
                </a:cubicBezTo>
                <a:cubicBezTo>
                  <a:pt x="20406" y="17624"/>
                  <a:pt x="20406" y="17656"/>
                  <a:pt x="20438" y="17718"/>
                </a:cubicBezTo>
                <a:close/>
                <a:moveTo>
                  <a:pt x="20188" y="17593"/>
                </a:moveTo>
                <a:cubicBezTo>
                  <a:pt x="20188" y="17531"/>
                  <a:pt x="20188" y="17468"/>
                  <a:pt x="20188" y="17374"/>
                </a:cubicBezTo>
                <a:cubicBezTo>
                  <a:pt x="20281" y="17437"/>
                  <a:pt x="20250" y="17562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24"/>
                  <a:pt x="20313" y="17624"/>
                  <a:pt x="20313" y="17624"/>
                </a:cubicBezTo>
                <a:cubicBezTo>
                  <a:pt x="20313" y="17656"/>
                  <a:pt x="20313" y="17687"/>
                  <a:pt x="20313" y="17749"/>
                </a:cubicBezTo>
                <a:cubicBezTo>
                  <a:pt x="20313" y="17749"/>
                  <a:pt x="20344" y="17749"/>
                  <a:pt x="20344" y="17749"/>
                </a:cubicBezTo>
                <a:cubicBezTo>
                  <a:pt x="20344" y="17749"/>
                  <a:pt x="20344" y="17749"/>
                  <a:pt x="20344" y="17749"/>
                </a:cubicBezTo>
                <a:cubicBezTo>
                  <a:pt x="20344" y="17749"/>
                  <a:pt x="20313" y="17749"/>
                  <a:pt x="20313" y="17749"/>
                </a:cubicBezTo>
                <a:cubicBezTo>
                  <a:pt x="20250" y="17718"/>
                  <a:pt x="20156" y="17718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624"/>
                  <a:pt x="20188" y="17624"/>
                </a:cubicBezTo>
                <a:cubicBezTo>
                  <a:pt x="20188" y="17624"/>
                  <a:pt x="20188" y="17593"/>
                  <a:pt x="20188" y="17593"/>
                </a:cubicBezTo>
                <a:cubicBezTo>
                  <a:pt x="20188" y="17593"/>
                  <a:pt x="20188" y="17593"/>
                  <a:pt x="20188" y="17593"/>
                </a:cubicBezTo>
                <a:cubicBezTo>
                  <a:pt x="20156" y="17593"/>
                  <a:pt x="20156" y="17593"/>
                  <a:pt x="20125" y="17593"/>
                </a:cubicBezTo>
                <a:cubicBezTo>
                  <a:pt x="20156" y="17593"/>
                  <a:pt x="20156" y="17593"/>
                  <a:pt x="20188" y="17593"/>
                </a:cubicBezTo>
                <a:close/>
                <a:moveTo>
                  <a:pt x="19844" y="17499"/>
                </a:moveTo>
                <a:cubicBezTo>
                  <a:pt x="19875" y="17499"/>
                  <a:pt x="19875" y="17562"/>
                  <a:pt x="19875" y="17499"/>
                </a:cubicBezTo>
                <a:cubicBezTo>
                  <a:pt x="19906" y="17437"/>
                  <a:pt x="19875" y="17406"/>
                  <a:pt x="19844" y="17374"/>
                </a:cubicBezTo>
                <a:cubicBezTo>
                  <a:pt x="19875" y="17343"/>
                  <a:pt x="19875" y="17312"/>
                  <a:pt x="19906" y="17343"/>
                </a:cubicBezTo>
                <a:cubicBezTo>
                  <a:pt x="19906" y="17374"/>
                  <a:pt x="19906" y="17406"/>
                  <a:pt x="19938" y="17437"/>
                </a:cubicBezTo>
                <a:cubicBezTo>
                  <a:pt x="19938" y="17468"/>
                  <a:pt x="19938" y="17531"/>
                  <a:pt x="19969" y="17562"/>
                </a:cubicBezTo>
                <a:cubicBezTo>
                  <a:pt x="20000" y="17531"/>
                  <a:pt x="20031" y="17499"/>
                  <a:pt x="20031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63" y="17437"/>
                  <a:pt x="20063" y="17437"/>
                  <a:pt x="20063" y="17437"/>
                </a:cubicBezTo>
                <a:cubicBezTo>
                  <a:pt x="20094" y="17406"/>
                  <a:pt x="20063" y="17374"/>
                  <a:pt x="20094" y="17343"/>
                </a:cubicBezTo>
                <a:cubicBezTo>
                  <a:pt x="20094" y="17343"/>
                  <a:pt x="20125" y="17343"/>
                  <a:pt x="20125" y="17374"/>
                </a:cubicBezTo>
                <a:cubicBezTo>
                  <a:pt x="20125" y="17406"/>
                  <a:pt x="20094" y="17437"/>
                  <a:pt x="20063" y="17437"/>
                </a:cubicBezTo>
                <a:cubicBezTo>
                  <a:pt x="20063" y="17468"/>
                  <a:pt x="20063" y="17468"/>
                  <a:pt x="20063" y="17499"/>
                </a:cubicBezTo>
                <a:cubicBezTo>
                  <a:pt x="20063" y="17499"/>
                  <a:pt x="20063" y="17499"/>
                  <a:pt x="20063" y="17499"/>
                </a:cubicBezTo>
                <a:cubicBezTo>
                  <a:pt x="20094" y="17531"/>
                  <a:pt x="20000" y="17562"/>
                  <a:pt x="20063" y="17593"/>
                </a:cubicBezTo>
                <a:cubicBezTo>
                  <a:pt x="20031" y="17624"/>
                  <a:pt x="19875" y="17593"/>
                  <a:pt x="19844" y="17531"/>
                </a:cubicBezTo>
                <a:cubicBezTo>
                  <a:pt x="19813" y="17531"/>
                  <a:pt x="19813" y="17499"/>
                  <a:pt x="19844" y="17499"/>
                </a:cubicBezTo>
                <a:close/>
                <a:moveTo>
                  <a:pt x="19500" y="17187"/>
                </a:moveTo>
                <a:cubicBezTo>
                  <a:pt x="19500" y="17156"/>
                  <a:pt x="19469" y="17124"/>
                  <a:pt x="19500" y="17124"/>
                </a:cubicBezTo>
                <a:cubicBezTo>
                  <a:pt x="19531" y="17093"/>
                  <a:pt x="19563" y="17124"/>
                  <a:pt x="19563" y="17156"/>
                </a:cubicBezTo>
                <a:cubicBezTo>
                  <a:pt x="19563" y="17156"/>
                  <a:pt x="19594" y="17187"/>
                  <a:pt x="19594" y="17187"/>
                </a:cubicBezTo>
                <a:cubicBezTo>
                  <a:pt x="19563" y="17249"/>
                  <a:pt x="19625" y="17281"/>
                  <a:pt x="19656" y="17312"/>
                </a:cubicBezTo>
                <a:cubicBezTo>
                  <a:pt x="19656" y="17312"/>
                  <a:pt x="19656" y="17312"/>
                  <a:pt x="19656" y="17312"/>
                </a:cubicBezTo>
                <a:cubicBezTo>
                  <a:pt x="19656" y="17343"/>
                  <a:pt x="19656" y="17343"/>
                  <a:pt x="19656" y="17374"/>
                </a:cubicBezTo>
                <a:cubicBezTo>
                  <a:pt x="19656" y="17406"/>
                  <a:pt x="19656" y="17437"/>
                  <a:pt x="19656" y="17468"/>
                </a:cubicBezTo>
                <a:cubicBezTo>
                  <a:pt x="19656" y="17468"/>
                  <a:pt x="19688" y="17468"/>
                  <a:pt x="19688" y="17468"/>
                </a:cubicBezTo>
                <a:cubicBezTo>
                  <a:pt x="19688" y="17468"/>
                  <a:pt x="19688" y="17499"/>
                  <a:pt x="19688" y="17499"/>
                </a:cubicBezTo>
                <a:cubicBezTo>
                  <a:pt x="19656" y="17499"/>
                  <a:pt x="19656" y="17499"/>
                  <a:pt x="19656" y="17468"/>
                </a:cubicBezTo>
                <a:cubicBezTo>
                  <a:pt x="19594" y="17437"/>
                  <a:pt x="19500" y="17437"/>
                  <a:pt x="19531" y="17343"/>
                </a:cubicBezTo>
                <a:cubicBezTo>
                  <a:pt x="19531" y="17312"/>
                  <a:pt x="19500" y="17249"/>
                  <a:pt x="19469" y="17249"/>
                </a:cubicBezTo>
                <a:cubicBezTo>
                  <a:pt x="19469" y="17249"/>
                  <a:pt x="19469" y="17249"/>
                  <a:pt x="19469" y="17249"/>
                </a:cubicBezTo>
                <a:cubicBezTo>
                  <a:pt x="19469" y="17218"/>
                  <a:pt x="19438" y="17218"/>
                  <a:pt x="19438" y="17218"/>
                </a:cubicBezTo>
                <a:cubicBezTo>
                  <a:pt x="19438" y="17218"/>
                  <a:pt x="19469" y="17218"/>
                  <a:pt x="19469" y="17249"/>
                </a:cubicBezTo>
                <a:cubicBezTo>
                  <a:pt x="19500" y="17218"/>
                  <a:pt x="19500" y="17218"/>
                  <a:pt x="19500" y="17187"/>
                </a:cubicBezTo>
                <a:close/>
                <a:moveTo>
                  <a:pt x="19375" y="17187"/>
                </a:moveTo>
                <a:cubicBezTo>
                  <a:pt x="19375" y="17187"/>
                  <a:pt x="19406" y="17156"/>
                  <a:pt x="19406" y="17156"/>
                </a:cubicBezTo>
                <a:cubicBezTo>
                  <a:pt x="19406" y="17124"/>
                  <a:pt x="19375" y="17093"/>
                  <a:pt x="19438" y="17062"/>
                </a:cubicBezTo>
                <a:cubicBezTo>
                  <a:pt x="19438" y="17062"/>
                  <a:pt x="19438" y="17093"/>
                  <a:pt x="19438" y="17093"/>
                </a:cubicBezTo>
                <a:cubicBezTo>
                  <a:pt x="19438" y="17124"/>
                  <a:pt x="19438" y="17156"/>
                  <a:pt x="19406" y="17156"/>
                </a:cubicBezTo>
                <a:cubicBezTo>
                  <a:pt x="19406" y="17187"/>
                  <a:pt x="19406" y="17187"/>
                  <a:pt x="19406" y="17218"/>
                </a:cubicBezTo>
                <a:cubicBezTo>
                  <a:pt x="19406" y="17218"/>
                  <a:pt x="19406" y="17218"/>
                  <a:pt x="19406" y="17218"/>
                </a:cubicBezTo>
                <a:cubicBezTo>
                  <a:pt x="19438" y="17249"/>
                  <a:pt x="19313" y="17281"/>
                  <a:pt x="19406" y="17312"/>
                </a:cubicBezTo>
                <a:cubicBezTo>
                  <a:pt x="19406" y="17343"/>
                  <a:pt x="19406" y="17374"/>
                  <a:pt x="19344" y="17374"/>
                </a:cubicBezTo>
                <a:cubicBezTo>
                  <a:pt x="19313" y="17374"/>
                  <a:pt x="19313" y="17343"/>
                  <a:pt x="19313" y="17312"/>
                </a:cubicBezTo>
                <a:cubicBezTo>
                  <a:pt x="19344" y="17281"/>
                  <a:pt x="19344" y="17218"/>
                  <a:pt x="19375" y="17187"/>
                </a:cubicBezTo>
                <a:close/>
                <a:moveTo>
                  <a:pt x="18469" y="16968"/>
                </a:moveTo>
                <a:cubicBezTo>
                  <a:pt x="18500" y="16968"/>
                  <a:pt x="18500" y="17031"/>
                  <a:pt x="18563" y="17031"/>
                </a:cubicBezTo>
                <a:cubicBezTo>
                  <a:pt x="18563" y="16937"/>
                  <a:pt x="18531" y="16906"/>
                  <a:pt x="18500" y="16843"/>
                </a:cubicBezTo>
                <a:cubicBezTo>
                  <a:pt x="18531" y="16843"/>
                  <a:pt x="18563" y="16843"/>
                  <a:pt x="18563" y="16874"/>
                </a:cubicBezTo>
                <a:cubicBezTo>
                  <a:pt x="18563" y="16874"/>
                  <a:pt x="18563" y="16874"/>
                  <a:pt x="18563" y="16874"/>
                </a:cubicBezTo>
                <a:cubicBezTo>
                  <a:pt x="18594" y="16937"/>
                  <a:pt x="18594" y="16968"/>
                  <a:pt x="18625" y="17031"/>
                </a:cubicBezTo>
                <a:cubicBezTo>
                  <a:pt x="18625" y="17062"/>
                  <a:pt x="18625" y="17093"/>
                  <a:pt x="18656" y="17093"/>
                </a:cubicBezTo>
                <a:cubicBezTo>
                  <a:pt x="18656" y="17062"/>
                  <a:pt x="18688" y="17062"/>
                  <a:pt x="18688" y="17031"/>
                </a:cubicBezTo>
                <a:cubicBezTo>
                  <a:pt x="18688" y="17031"/>
                  <a:pt x="18688" y="16999"/>
                  <a:pt x="18688" y="16968"/>
                </a:cubicBezTo>
                <a:cubicBezTo>
                  <a:pt x="18719" y="16937"/>
                  <a:pt x="18750" y="16937"/>
                  <a:pt x="18688" y="16906"/>
                </a:cubicBezTo>
                <a:cubicBezTo>
                  <a:pt x="18688" y="16906"/>
                  <a:pt x="18688" y="16906"/>
                  <a:pt x="18688" y="16906"/>
                </a:cubicBezTo>
                <a:cubicBezTo>
                  <a:pt x="18688" y="16906"/>
                  <a:pt x="18688" y="16874"/>
                  <a:pt x="18688" y="16874"/>
                </a:cubicBezTo>
                <a:cubicBezTo>
                  <a:pt x="18719" y="16874"/>
                  <a:pt x="18719" y="16874"/>
                  <a:pt x="18719" y="16812"/>
                </a:cubicBezTo>
                <a:cubicBezTo>
                  <a:pt x="18781" y="16843"/>
                  <a:pt x="18781" y="16843"/>
                  <a:pt x="18750" y="16906"/>
                </a:cubicBezTo>
                <a:cubicBezTo>
                  <a:pt x="18750" y="16937"/>
                  <a:pt x="18750" y="16937"/>
                  <a:pt x="18750" y="16968"/>
                </a:cubicBezTo>
                <a:cubicBezTo>
                  <a:pt x="18750" y="16999"/>
                  <a:pt x="18750" y="16999"/>
                  <a:pt x="18750" y="16999"/>
                </a:cubicBezTo>
                <a:cubicBezTo>
                  <a:pt x="18750" y="17031"/>
                  <a:pt x="18688" y="17062"/>
                  <a:pt x="18750" y="17093"/>
                </a:cubicBezTo>
                <a:cubicBezTo>
                  <a:pt x="18781" y="17093"/>
                  <a:pt x="18813" y="17124"/>
                  <a:pt x="18844" y="17093"/>
                </a:cubicBezTo>
                <a:cubicBezTo>
                  <a:pt x="18875" y="17062"/>
                  <a:pt x="18813" y="17031"/>
                  <a:pt x="18813" y="16999"/>
                </a:cubicBezTo>
                <a:cubicBezTo>
                  <a:pt x="18844" y="16968"/>
                  <a:pt x="18844" y="16937"/>
                  <a:pt x="18813" y="16906"/>
                </a:cubicBezTo>
                <a:cubicBezTo>
                  <a:pt x="18813" y="16906"/>
                  <a:pt x="18813" y="16874"/>
                  <a:pt x="18813" y="16874"/>
                </a:cubicBezTo>
                <a:cubicBezTo>
                  <a:pt x="18844" y="16843"/>
                  <a:pt x="18844" y="16874"/>
                  <a:pt x="18875" y="16874"/>
                </a:cubicBezTo>
                <a:cubicBezTo>
                  <a:pt x="18906" y="16906"/>
                  <a:pt x="19000" y="17156"/>
                  <a:pt x="19000" y="17218"/>
                </a:cubicBezTo>
                <a:cubicBezTo>
                  <a:pt x="18969" y="17249"/>
                  <a:pt x="18938" y="17218"/>
                  <a:pt x="18938" y="17218"/>
                </a:cubicBezTo>
                <a:cubicBezTo>
                  <a:pt x="18906" y="17218"/>
                  <a:pt x="18906" y="17187"/>
                  <a:pt x="18875" y="17187"/>
                </a:cubicBezTo>
                <a:cubicBezTo>
                  <a:pt x="18813" y="17156"/>
                  <a:pt x="18781" y="17124"/>
                  <a:pt x="18688" y="17124"/>
                </a:cubicBezTo>
                <a:cubicBezTo>
                  <a:pt x="18625" y="17156"/>
                  <a:pt x="18531" y="17093"/>
                  <a:pt x="18500" y="17031"/>
                </a:cubicBezTo>
                <a:cubicBezTo>
                  <a:pt x="18469" y="16999"/>
                  <a:pt x="18469" y="16999"/>
                  <a:pt x="18438" y="16999"/>
                </a:cubicBezTo>
                <a:cubicBezTo>
                  <a:pt x="18469" y="16999"/>
                  <a:pt x="18469" y="16968"/>
                  <a:pt x="18469" y="16968"/>
                </a:cubicBezTo>
                <a:close/>
                <a:moveTo>
                  <a:pt x="18313" y="16656"/>
                </a:moveTo>
                <a:cubicBezTo>
                  <a:pt x="18313" y="16718"/>
                  <a:pt x="18313" y="16749"/>
                  <a:pt x="18344" y="16781"/>
                </a:cubicBezTo>
                <a:cubicBezTo>
                  <a:pt x="18375" y="16781"/>
                  <a:pt x="18375" y="16781"/>
                  <a:pt x="18406" y="16781"/>
                </a:cubicBezTo>
                <a:cubicBezTo>
                  <a:pt x="18375" y="16812"/>
                  <a:pt x="18375" y="16812"/>
                  <a:pt x="18313" y="16781"/>
                </a:cubicBezTo>
                <a:cubicBezTo>
                  <a:pt x="18313" y="16749"/>
                  <a:pt x="18250" y="16718"/>
                  <a:pt x="18313" y="16656"/>
                </a:cubicBezTo>
                <a:close/>
                <a:moveTo>
                  <a:pt x="18156" y="16656"/>
                </a:moveTo>
                <a:cubicBezTo>
                  <a:pt x="18188" y="16624"/>
                  <a:pt x="18188" y="16656"/>
                  <a:pt x="18219" y="16687"/>
                </a:cubicBezTo>
                <a:cubicBezTo>
                  <a:pt x="18219" y="16718"/>
                  <a:pt x="18250" y="16749"/>
                  <a:pt x="18250" y="16781"/>
                </a:cubicBezTo>
                <a:cubicBezTo>
                  <a:pt x="18250" y="16812"/>
                  <a:pt x="18281" y="16812"/>
                  <a:pt x="18313" y="16781"/>
                </a:cubicBezTo>
                <a:cubicBezTo>
                  <a:pt x="18313" y="16843"/>
                  <a:pt x="18313" y="16874"/>
                  <a:pt x="18313" y="16937"/>
                </a:cubicBezTo>
                <a:cubicBezTo>
                  <a:pt x="18344" y="16968"/>
                  <a:pt x="18375" y="16999"/>
                  <a:pt x="18406" y="16999"/>
                </a:cubicBezTo>
                <a:cubicBezTo>
                  <a:pt x="18406" y="16999"/>
                  <a:pt x="18406" y="16999"/>
                  <a:pt x="18438" y="16999"/>
                </a:cubicBezTo>
                <a:cubicBezTo>
                  <a:pt x="18406" y="16999"/>
                  <a:pt x="18406" y="16999"/>
                  <a:pt x="18406" y="16999"/>
                </a:cubicBezTo>
                <a:cubicBezTo>
                  <a:pt x="18313" y="17031"/>
                  <a:pt x="18250" y="16968"/>
                  <a:pt x="18156" y="16937"/>
                </a:cubicBezTo>
                <a:cubicBezTo>
                  <a:pt x="18156" y="16937"/>
                  <a:pt x="18156" y="16937"/>
                  <a:pt x="18156" y="16937"/>
                </a:cubicBezTo>
                <a:cubicBezTo>
                  <a:pt x="18250" y="16906"/>
                  <a:pt x="18188" y="16874"/>
                  <a:pt x="18156" y="16843"/>
                </a:cubicBezTo>
                <a:cubicBezTo>
                  <a:pt x="18156" y="16781"/>
                  <a:pt x="18188" y="16749"/>
                  <a:pt x="18156" y="16718"/>
                </a:cubicBezTo>
                <a:cubicBezTo>
                  <a:pt x="18125" y="16687"/>
                  <a:pt x="18125" y="16656"/>
                  <a:pt x="18156" y="16656"/>
                </a:cubicBezTo>
                <a:close/>
                <a:moveTo>
                  <a:pt x="17844" y="16781"/>
                </a:moveTo>
                <a:cubicBezTo>
                  <a:pt x="17844" y="16812"/>
                  <a:pt x="17844" y="16843"/>
                  <a:pt x="17875" y="16812"/>
                </a:cubicBezTo>
                <a:cubicBezTo>
                  <a:pt x="17906" y="16812"/>
                  <a:pt x="17906" y="16781"/>
                  <a:pt x="17875" y="16749"/>
                </a:cubicBezTo>
                <a:cubicBezTo>
                  <a:pt x="17875" y="16718"/>
                  <a:pt x="17844" y="16687"/>
                  <a:pt x="17844" y="16624"/>
                </a:cubicBezTo>
                <a:cubicBezTo>
                  <a:pt x="17875" y="16593"/>
                  <a:pt x="17875" y="16624"/>
                  <a:pt x="17906" y="16656"/>
                </a:cubicBezTo>
                <a:cubicBezTo>
                  <a:pt x="17906" y="16656"/>
                  <a:pt x="17906" y="16656"/>
                  <a:pt x="17906" y="16656"/>
                </a:cubicBezTo>
                <a:cubicBezTo>
                  <a:pt x="17906" y="16718"/>
                  <a:pt x="17938" y="16812"/>
                  <a:pt x="18000" y="16906"/>
                </a:cubicBezTo>
                <a:cubicBezTo>
                  <a:pt x="18000" y="16812"/>
                  <a:pt x="18031" y="16781"/>
                  <a:pt x="18031" y="16718"/>
                </a:cubicBezTo>
                <a:cubicBezTo>
                  <a:pt x="18063" y="16687"/>
                  <a:pt x="18063" y="16656"/>
                  <a:pt x="18031" y="16593"/>
                </a:cubicBezTo>
                <a:cubicBezTo>
                  <a:pt x="18063" y="16593"/>
                  <a:pt x="18094" y="16624"/>
                  <a:pt x="18094" y="16656"/>
                </a:cubicBezTo>
                <a:cubicBezTo>
                  <a:pt x="18063" y="16718"/>
                  <a:pt x="18125" y="16781"/>
                  <a:pt x="18031" y="16843"/>
                </a:cubicBezTo>
                <a:cubicBezTo>
                  <a:pt x="18031" y="16843"/>
                  <a:pt x="18031" y="16843"/>
                  <a:pt x="18031" y="16874"/>
                </a:cubicBezTo>
                <a:cubicBezTo>
                  <a:pt x="18031" y="16906"/>
                  <a:pt x="18094" y="16906"/>
                  <a:pt x="18063" y="16937"/>
                </a:cubicBezTo>
                <a:cubicBezTo>
                  <a:pt x="18031" y="16937"/>
                  <a:pt x="18000" y="16906"/>
                  <a:pt x="17969" y="16906"/>
                </a:cubicBezTo>
                <a:cubicBezTo>
                  <a:pt x="17906" y="16906"/>
                  <a:pt x="17844" y="16874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44" y="16781"/>
                </a:cubicBezTo>
                <a:cubicBezTo>
                  <a:pt x="17844" y="16781"/>
                  <a:pt x="17844" y="16781"/>
                  <a:pt x="17813" y="16749"/>
                </a:cubicBezTo>
                <a:cubicBezTo>
                  <a:pt x="17844" y="16781"/>
                  <a:pt x="17844" y="16781"/>
                  <a:pt x="17844" y="16781"/>
                </a:cubicBezTo>
                <a:close/>
                <a:moveTo>
                  <a:pt x="17469" y="16593"/>
                </a:moveTo>
                <a:cubicBezTo>
                  <a:pt x="17531" y="16562"/>
                  <a:pt x="17469" y="16531"/>
                  <a:pt x="17469" y="16499"/>
                </a:cubicBezTo>
                <a:cubicBezTo>
                  <a:pt x="17469" y="16468"/>
                  <a:pt x="17469" y="16468"/>
                  <a:pt x="17469" y="16437"/>
                </a:cubicBezTo>
                <a:cubicBezTo>
                  <a:pt x="17500" y="16437"/>
                  <a:pt x="17531" y="16437"/>
                  <a:pt x="17531" y="16468"/>
                </a:cubicBezTo>
                <a:cubicBezTo>
                  <a:pt x="17563" y="16562"/>
                  <a:pt x="17656" y="16624"/>
                  <a:pt x="17656" y="16749"/>
                </a:cubicBezTo>
                <a:cubicBezTo>
                  <a:pt x="17656" y="16781"/>
                  <a:pt x="17688" y="16781"/>
                  <a:pt x="17719" y="16749"/>
                </a:cubicBezTo>
                <a:cubicBezTo>
                  <a:pt x="17719" y="16749"/>
                  <a:pt x="17750" y="16749"/>
                  <a:pt x="17750" y="16781"/>
                </a:cubicBezTo>
                <a:cubicBezTo>
                  <a:pt x="17750" y="16781"/>
                  <a:pt x="17750" y="16812"/>
                  <a:pt x="17719" y="16812"/>
                </a:cubicBezTo>
                <a:cubicBezTo>
                  <a:pt x="17656" y="16874"/>
                  <a:pt x="17531" y="16812"/>
                  <a:pt x="17531" y="16718"/>
                </a:cubicBezTo>
                <a:cubicBezTo>
                  <a:pt x="17531" y="16687"/>
                  <a:pt x="17563" y="16656"/>
                  <a:pt x="17500" y="16656"/>
                </a:cubicBezTo>
                <a:cubicBezTo>
                  <a:pt x="17469" y="16624"/>
                  <a:pt x="17469" y="16624"/>
                  <a:pt x="17469" y="16593"/>
                </a:cubicBezTo>
                <a:cubicBezTo>
                  <a:pt x="17469" y="16593"/>
                  <a:pt x="17438" y="16593"/>
                  <a:pt x="17406" y="16593"/>
                </a:cubicBezTo>
                <a:cubicBezTo>
                  <a:pt x="17438" y="16593"/>
                  <a:pt x="17469" y="16593"/>
                  <a:pt x="17469" y="16593"/>
                </a:cubicBezTo>
                <a:close/>
                <a:moveTo>
                  <a:pt x="17344" y="16718"/>
                </a:moveTo>
                <a:cubicBezTo>
                  <a:pt x="17344" y="16718"/>
                  <a:pt x="17344" y="16718"/>
                  <a:pt x="17344" y="16718"/>
                </a:cubicBezTo>
                <a:cubicBezTo>
                  <a:pt x="17375" y="16656"/>
                  <a:pt x="17344" y="16593"/>
                  <a:pt x="17344" y="16562"/>
                </a:cubicBezTo>
                <a:cubicBezTo>
                  <a:pt x="17406" y="16531"/>
                  <a:pt x="17375" y="16468"/>
                  <a:pt x="17375" y="16437"/>
                </a:cubicBezTo>
                <a:cubicBezTo>
                  <a:pt x="17375" y="16437"/>
                  <a:pt x="17344" y="16406"/>
                  <a:pt x="17375" y="16406"/>
                </a:cubicBezTo>
                <a:cubicBezTo>
                  <a:pt x="17406" y="16406"/>
                  <a:pt x="17406" y="16406"/>
                  <a:pt x="17406" y="16437"/>
                </a:cubicBezTo>
                <a:cubicBezTo>
                  <a:pt x="17406" y="16499"/>
                  <a:pt x="17406" y="16531"/>
                  <a:pt x="17406" y="16593"/>
                </a:cubicBezTo>
                <a:cubicBezTo>
                  <a:pt x="17406" y="16593"/>
                  <a:pt x="17406" y="16593"/>
                  <a:pt x="17406" y="16593"/>
                </a:cubicBezTo>
                <a:cubicBezTo>
                  <a:pt x="17406" y="16624"/>
                  <a:pt x="17406" y="16656"/>
                  <a:pt x="17406" y="16687"/>
                </a:cubicBezTo>
                <a:cubicBezTo>
                  <a:pt x="17406" y="16718"/>
                  <a:pt x="17438" y="16718"/>
                  <a:pt x="17406" y="16749"/>
                </a:cubicBezTo>
                <a:cubicBezTo>
                  <a:pt x="17406" y="16781"/>
                  <a:pt x="17375" y="16781"/>
                  <a:pt x="17375" y="16749"/>
                </a:cubicBezTo>
                <a:cubicBezTo>
                  <a:pt x="17344" y="16718"/>
                  <a:pt x="17281" y="16718"/>
                  <a:pt x="17250" y="16718"/>
                </a:cubicBezTo>
                <a:cubicBezTo>
                  <a:pt x="17281" y="16718"/>
                  <a:pt x="17313" y="16718"/>
                  <a:pt x="17344" y="16718"/>
                </a:cubicBezTo>
                <a:close/>
                <a:moveTo>
                  <a:pt x="14500" y="16031"/>
                </a:moveTo>
                <a:cubicBezTo>
                  <a:pt x="14500" y="16031"/>
                  <a:pt x="14500" y="16031"/>
                  <a:pt x="14469" y="16031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99"/>
                </a:cubicBezTo>
                <a:cubicBezTo>
                  <a:pt x="14469" y="15999"/>
                  <a:pt x="14469" y="15999"/>
                  <a:pt x="14469" y="15968"/>
                </a:cubicBezTo>
                <a:cubicBezTo>
                  <a:pt x="14500" y="15999"/>
                  <a:pt x="14500" y="15999"/>
                  <a:pt x="14500" y="16031"/>
                </a:cubicBezTo>
                <a:close/>
                <a:moveTo>
                  <a:pt x="11000" y="16406"/>
                </a:moveTo>
                <a:cubicBezTo>
                  <a:pt x="11000" y="16437"/>
                  <a:pt x="10969" y="16437"/>
                  <a:pt x="10938" y="16437"/>
                </a:cubicBezTo>
                <a:cubicBezTo>
                  <a:pt x="10938" y="16437"/>
                  <a:pt x="10938" y="16437"/>
                  <a:pt x="10938" y="16437"/>
                </a:cubicBezTo>
                <a:cubicBezTo>
                  <a:pt x="10906" y="16406"/>
                  <a:pt x="10875" y="16374"/>
                  <a:pt x="10938" y="16343"/>
                </a:cubicBezTo>
                <a:cubicBezTo>
                  <a:pt x="10969" y="16343"/>
                  <a:pt x="11000" y="16343"/>
                  <a:pt x="11000" y="16406"/>
                </a:cubicBezTo>
                <a:close/>
                <a:moveTo>
                  <a:pt x="9000" y="16499"/>
                </a:moveTo>
                <a:cubicBezTo>
                  <a:pt x="9000" y="16468"/>
                  <a:pt x="8969" y="16468"/>
                  <a:pt x="8969" y="16468"/>
                </a:cubicBezTo>
                <a:cubicBezTo>
                  <a:pt x="8969" y="16468"/>
                  <a:pt x="8969" y="16468"/>
                  <a:pt x="9000" y="16468"/>
                </a:cubicBezTo>
                <a:cubicBezTo>
                  <a:pt x="9000" y="16468"/>
                  <a:pt x="9000" y="16468"/>
                  <a:pt x="9000" y="16499"/>
                </a:cubicBezTo>
                <a:close/>
                <a:moveTo>
                  <a:pt x="9188" y="16593"/>
                </a:moveTo>
                <a:cubicBezTo>
                  <a:pt x="9188" y="16562"/>
                  <a:pt x="9188" y="16531"/>
                  <a:pt x="9156" y="16531"/>
                </a:cubicBezTo>
                <a:cubicBezTo>
                  <a:pt x="9188" y="16531"/>
                  <a:pt x="9219" y="16562"/>
                  <a:pt x="9188" y="16593"/>
                </a:cubicBezTo>
                <a:close/>
                <a:moveTo>
                  <a:pt x="9125" y="16531"/>
                </a:moveTo>
                <a:cubicBezTo>
                  <a:pt x="9094" y="16531"/>
                  <a:pt x="9031" y="16531"/>
                  <a:pt x="9031" y="16562"/>
                </a:cubicBezTo>
                <a:cubicBezTo>
                  <a:pt x="9031" y="16593"/>
                  <a:pt x="9063" y="16624"/>
                  <a:pt x="9125" y="16656"/>
                </a:cubicBezTo>
                <a:cubicBezTo>
                  <a:pt x="9125" y="16656"/>
                  <a:pt x="9125" y="16687"/>
                  <a:pt x="9094" y="16687"/>
                </a:cubicBezTo>
                <a:cubicBezTo>
                  <a:pt x="9063" y="16656"/>
                  <a:pt x="9031" y="16624"/>
                  <a:pt x="9000" y="16593"/>
                </a:cubicBezTo>
                <a:cubicBezTo>
                  <a:pt x="9000" y="16562"/>
                  <a:pt x="9000" y="16531"/>
                  <a:pt x="9000" y="16499"/>
                </a:cubicBezTo>
                <a:cubicBezTo>
                  <a:pt x="9000" y="16499"/>
                  <a:pt x="9000" y="16499"/>
                  <a:pt x="9000" y="16499"/>
                </a:cubicBezTo>
                <a:cubicBezTo>
                  <a:pt x="9063" y="16499"/>
                  <a:pt x="9094" y="16499"/>
                  <a:pt x="9156" y="16531"/>
                </a:cubicBezTo>
                <a:cubicBezTo>
                  <a:pt x="9156" y="16531"/>
                  <a:pt x="9125" y="16531"/>
                  <a:pt x="9125" y="16531"/>
                </a:cubicBezTo>
                <a:close/>
                <a:moveTo>
                  <a:pt x="9219" y="16687"/>
                </a:moveTo>
                <a:cubicBezTo>
                  <a:pt x="9188" y="16687"/>
                  <a:pt x="9188" y="16687"/>
                  <a:pt x="9156" y="16687"/>
                </a:cubicBezTo>
                <a:cubicBezTo>
                  <a:pt x="9156" y="16656"/>
                  <a:pt x="9156" y="16656"/>
                  <a:pt x="9188" y="16656"/>
                </a:cubicBezTo>
                <a:cubicBezTo>
                  <a:pt x="9188" y="16656"/>
                  <a:pt x="9188" y="16656"/>
                  <a:pt x="9188" y="16656"/>
                </a:cubicBezTo>
                <a:cubicBezTo>
                  <a:pt x="9188" y="16624"/>
                  <a:pt x="9188" y="16624"/>
                  <a:pt x="9188" y="16624"/>
                </a:cubicBezTo>
                <a:cubicBezTo>
                  <a:pt x="9188" y="16624"/>
                  <a:pt x="9188" y="16593"/>
                  <a:pt x="9188" y="16593"/>
                </a:cubicBezTo>
                <a:cubicBezTo>
                  <a:pt x="9250" y="16624"/>
                  <a:pt x="9281" y="16562"/>
                  <a:pt x="9313" y="16593"/>
                </a:cubicBezTo>
                <a:cubicBezTo>
                  <a:pt x="9281" y="16624"/>
                  <a:pt x="9250" y="16656"/>
                  <a:pt x="9219" y="16687"/>
                </a:cubicBezTo>
                <a:close/>
                <a:moveTo>
                  <a:pt x="10688" y="16531"/>
                </a:moveTo>
                <a:cubicBezTo>
                  <a:pt x="10688" y="16531"/>
                  <a:pt x="10688" y="16562"/>
                  <a:pt x="10688" y="16562"/>
                </a:cubicBezTo>
                <a:cubicBezTo>
                  <a:pt x="10688" y="16562"/>
                  <a:pt x="10688" y="16531"/>
                  <a:pt x="10688" y="16531"/>
                </a:cubicBezTo>
                <a:close/>
                <a:moveTo>
                  <a:pt x="11031" y="16656"/>
                </a:moveTo>
                <a:cubicBezTo>
                  <a:pt x="11063" y="16656"/>
                  <a:pt x="11094" y="16656"/>
                  <a:pt x="11125" y="16656"/>
                </a:cubicBezTo>
                <a:cubicBezTo>
                  <a:pt x="11094" y="16656"/>
                  <a:pt x="11063" y="16656"/>
                  <a:pt x="11031" y="16656"/>
                </a:cubicBezTo>
                <a:close/>
                <a:moveTo>
                  <a:pt x="12531" y="15874"/>
                </a:moveTo>
                <a:cubicBezTo>
                  <a:pt x="12531" y="15874"/>
                  <a:pt x="12563" y="15874"/>
                  <a:pt x="12563" y="15874"/>
                </a:cubicBezTo>
                <a:cubicBezTo>
                  <a:pt x="12563" y="15874"/>
                  <a:pt x="12563" y="15906"/>
                  <a:pt x="12563" y="15906"/>
                </a:cubicBezTo>
                <a:cubicBezTo>
                  <a:pt x="12594" y="15937"/>
                  <a:pt x="12594" y="15968"/>
                  <a:pt x="12625" y="15999"/>
                </a:cubicBezTo>
                <a:cubicBezTo>
                  <a:pt x="12563" y="15999"/>
                  <a:pt x="12563" y="15968"/>
                  <a:pt x="12563" y="15937"/>
                </a:cubicBezTo>
                <a:cubicBezTo>
                  <a:pt x="12531" y="15937"/>
                  <a:pt x="12531" y="15906"/>
                  <a:pt x="12531" y="15874"/>
                </a:cubicBezTo>
                <a:close/>
                <a:moveTo>
                  <a:pt x="11125" y="16156"/>
                </a:moveTo>
                <a:cubicBezTo>
                  <a:pt x="11094" y="16156"/>
                  <a:pt x="11125" y="16124"/>
                  <a:pt x="11125" y="16093"/>
                </a:cubicBezTo>
                <a:cubicBezTo>
                  <a:pt x="11094" y="16093"/>
                  <a:pt x="11031" y="16093"/>
                  <a:pt x="11063" y="16031"/>
                </a:cubicBezTo>
                <a:cubicBezTo>
                  <a:pt x="11063" y="16031"/>
                  <a:pt x="11094" y="16031"/>
                  <a:pt x="11125" y="16031"/>
                </a:cubicBezTo>
                <a:cubicBezTo>
                  <a:pt x="11125" y="16062"/>
                  <a:pt x="11125" y="16093"/>
                  <a:pt x="11125" y="16093"/>
                </a:cubicBezTo>
                <a:cubicBezTo>
                  <a:pt x="11156" y="16124"/>
                  <a:pt x="11156" y="16124"/>
                  <a:pt x="11156" y="16156"/>
                </a:cubicBezTo>
                <a:cubicBezTo>
                  <a:pt x="11156" y="16156"/>
                  <a:pt x="11156" y="16156"/>
                  <a:pt x="11125" y="16156"/>
                </a:cubicBezTo>
                <a:close/>
                <a:moveTo>
                  <a:pt x="11500" y="16406"/>
                </a:moveTo>
                <a:cubicBezTo>
                  <a:pt x="11469" y="16406"/>
                  <a:pt x="11469" y="16343"/>
                  <a:pt x="11406" y="16374"/>
                </a:cubicBezTo>
                <a:cubicBezTo>
                  <a:pt x="11406" y="16374"/>
                  <a:pt x="11406" y="16374"/>
                  <a:pt x="11406" y="16374"/>
                </a:cubicBezTo>
                <a:cubicBezTo>
                  <a:pt x="11406" y="16281"/>
                  <a:pt x="11344" y="16281"/>
                  <a:pt x="11313" y="16249"/>
                </a:cubicBezTo>
                <a:cubicBezTo>
                  <a:pt x="11313" y="16249"/>
                  <a:pt x="11313" y="16249"/>
                  <a:pt x="11313" y="16249"/>
                </a:cubicBezTo>
                <a:cubicBezTo>
                  <a:pt x="11250" y="16156"/>
                  <a:pt x="11219" y="16093"/>
                  <a:pt x="11125" y="16031"/>
                </a:cubicBezTo>
                <a:cubicBezTo>
                  <a:pt x="11156" y="15999"/>
                  <a:pt x="11188" y="15999"/>
                  <a:pt x="11219" y="15999"/>
                </a:cubicBezTo>
                <a:cubicBezTo>
                  <a:pt x="11219" y="15999"/>
                  <a:pt x="11219" y="15999"/>
                  <a:pt x="11250" y="15999"/>
                </a:cubicBezTo>
                <a:cubicBezTo>
                  <a:pt x="11250" y="15999"/>
                  <a:pt x="11250" y="15999"/>
                  <a:pt x="11250" y="15999"/>
                </a:cubicBezTo>
                <a:cubicBezTo>
                  <a:pt x="11250" y="16062"/>
                  <a:pt x="11281" y="16062"/>
                  <a:pt x="11313" y="16093"/>
                </a:cubicBezTo>
                <a:cubicBezTo>
                  <a:pt x="11375" y="16124"/>
                  <a:pt x="11406" y="16156"/>
                  <a:pt x="11469" y="16187"/>
                </a:cubicBezTo>
                <a:cubicBezTo>
                  <a:pt x="11469" y="16187"/>
                  <a:pt x="11469" y="16218"/>
                  <a:pt x="11469" y="16218"/>
                </a:cubicBezTo>
                <a:cubicBezTo>
                  <a:pt x="11438" y="16281"/>
                  <a:pt x="11500" y="16343"/>
                  <a:pt x="11531" y="16406"/>
                </a:cubicBezTo>
                <a:cubicBezTo>
                  <a:pt x="11563" y="16437"/>
                  <a:pt x="11594" y="16468"/>
                  <a:pt x="11656" y="16499"/>
                </a:cubicBezTo>
                <a:cubicBezTo>
                  <a:pt x="11531" y="16531"/>
                  <a:pt x="11531" y="16468"/>
                  <a:pt x="11500" y="16406"/>
                </a:cubicBezTo>
                <a:close/>
                <a:moveTo>
                  <a:pt x="11656" y="16249"/>
                </a:moveTo>
                <a:cubicBezTo>
                  <a:pt x="11625" y="16281"/>
                  <a:pt x="11625" y="16281"/>
                  <a:pt x="11594" y="16249"/>
                </a:cubicBezTo>
                <a:cubicBezTo>
                  <a:pt x="11563" y="16218"/>
                  <a:pt x="11531" y="16187"/>
                  <a:pt x="11500" y="16156"/>
                </a:cubicBezTo>
                <a:cubicBezTo>
                  <a:pt x="11500" y="16156"/>
                  <a:pt x="11500" y="16156"/>
                  <a:pt x="11500" y="16156"/>
                </a:cubicBezTo>
                <a:cubicBezTo>
                  <a:pt x="11469" y="16124"/>
                  <a:pt x="11500" y="16093"/>
                  <a:pt x="11563" y="16093"/>
                </a:cubicBezTo>
                <a:cubicBezTo>
                  <a:pt x="11563" y="16156"/>
                  <a:pt x="11594" y="16156"/>
                  <a:pt x="11625" y="16187"/>
                </a:cubicBezTo>
                <a:cubicBezTo>
                  <a:pt x="11656" y="16218"/>
                  <a:pt x="11656" y="16218"/>
                  <a:pt x="11656" y="16249"/>
                </a:cubicBezTo>
                <a:close/>
                <a:moveTo>
                  <a:pt x="12156" y="16343"/>
                </a:moveTo>
                <a:cubicBezTo>
                  <a:pt x="12125" y="16312"/>
                  <a:pt x="12094" y="16343"/>
                  <a:pt x="12063" y="16343"/>
                </a:cubicBezTo>
                <a:cubicBezTo>
                  <a:pt x="12031" y="16343"/>
                  <a:pt x="12031" y="16374"/>
                  <a:pt x="12031" y="16374"/>
                </a:cubicBezTo>
                <a:cubicBezTo>
                  <a:pt x="12031" y="16406"/>
                  <a:pt x="12094" y="16437"/>
                  <a:pt x="12063" y="16437"/>
                </a:cubicBezTo>
                <a:cubicBezTo>
                  <a:pt x="12031" y="16437"/>
                  <a:pt x="11969" y="16437"/>
                  <a:pt x="11969" y="16374"/>
                </a:cubicBezTo>
                <a:cubicBezTo>
                  <a:pt x="11969" y="16374"/>
                  <a:pt x="11969" y="16343"/>
                  <a:pt x="11938" y="16343"/>
                </a:cubicBezTo>
                <a:cubicBezTo>
                  <a:pt x="11938" y="16281"/>
                  <a:pt x="11906" y="16249"/>
                  <a:pt x="11906" y="16187"/>
                </a:cubicBezTo>
                <a:cubicBezTo>
                  <a:pt x="11906" y="16187"/>
                  <a:pt x="11906" y="16156"/>
                  <a:pt x="11875" y="16156"/>
                </a:cubicBezTo>
                <a:cubicBezTo>
                  <a:pt x="11875" y="16156"/>
                  <a:pt x="11875" y="16156"/>
                  <a:pt x="11875" y="16156"/>
                </a:cubicBezTo>
                <a:cubicBezTo>
                  <a:pt x="11875" y="16124"/>
                  <a:pt x="11844" y="16093"/>
                  <a:pt x="11813" y="16093"/>
                </a:cubicBezTo>
                <a:cubicBezTo>
                  <a:pt x="11844" y="16093"/>
                  <a:pt x="11875" y="16124"/>
                  <a:pt x="11875" y="16156"/>
                </a:cubicBezTo>
                <a:cubicBezTo>
                  <a:pt x="11875" y="16124"/>
                  <a:pt x="11906" y="16093"/>
                  <a:pt x="11906" y="16124"/>
                </a:cubicBezTo>
                <a:cubicBezTo>
                  <a:pt x="11938" y="16156"/>
                  <a:pt x="11938" y="16156"/>
                  <a:pt x="11938" y="16156"/>
                </a:cubicBezTo>
                <a:cubicBezTo>
                  <a:pt x="11969" y="16218"/>
                  <a:pt x="11969" y="16249"/>
                  <a:pt x="11969" y="16281"/>
                </a:cubicBezTo>
                <a:cubicBezTo>
                  <a:pt x="12000" y="16343"/>
                  <a:pt x="12063" y="16312"/>
                  <a:pt x="12094" y="16312"/>
                </a:cubicBezTo>
                <a:cubicBezTo>
                  <a:pt x="12125" y="16312"/>
                  <a:pt x="12156" y="16312"/>
                  <a:pt x="12156" y="16312"/>
                </a:cubicBezTo>
                <a:cubicBezTo>
                  <a:pt x="12156" y="16249"/>
                  <a:pt x="12125" y="16249"/>
                  <a:pt x="12094" y="16218"/>
                </a:cubicBezTo>
                <a:cubicBezTo>
                  <a:pt x="12031" y="16218"/>
                  <a:pt x="12031" y="16187"/>
                  <a:pt x="12000" y="16156"/>
                </a:cubicBezTo>
                <a:cubicBezTo>
                  <a:pt x="12031" y="16124"/>
                  <a:pt x="12000" y="16093"/>
                  <a:pt x="12000" y="16062"/>
                </a:cubicBezTo>
                <a:cubicBezTo>
                  <a:pt x="11938" y="16031"/>
                  <a:pt x="11906" y="15968"/>
                  <a:pt x="11875" y="15937"/>
                </a:cubicBezTo>
                <a:cubicBezTo>
                  <a:pt x="11938" y="15874"/>
                  <a:pt x="11969" y="15937"/>
                  <a:pt x="12031" y="15968"/>
                </a:cubicBezTo>
                <a:cubicBezTo>
                  <a:pt x="12031" y="15968"/>
                  <a:pt x="12031" y="15968"/>
                  <a:pt x="12031" y="15968"/>
                </a:cubicBezTo>
                <a:cubicBezTo>
                  <a:pt x="12063" y="15999"/>
                  <a:pt x="12063" y="16093"/>
                  <a:pt x="12156" y="16093"/>
                </a:cubicBezTo>
                <a:cubicBezTo>
                  <a:pt x="12188" y="16093"/>
                  <a:pt x="12219" y="16093"/>
                  <a:pt x="12188" y="16124"/>
                </a:cubicBezTo>
                <a:cubicBezTo>
                  <a:pt x="12188" y="16249"/>
                  <a:pt x="12281" y="16312"/>
                  <a:pt x="12375" y="16406"/>
                </a:cubicBezTo>
                <a:cubicBezTo>
                  <a:pt x="12281" y="16406"/>
                  <a:pt x="12219" y="16406"/>
                  <a:pt x="12156" y="16343"/>
                </a:cubicBezTo>
                <a:close/>
                <a:moveTo>
                  <a:pt x="12688" y="16374"/>
                </a:moveTo>
                <a:cubicBezTo>
                  <a:pt x="12656" y="16374"/>
                  <a:pt x="12563" y="16406"/>
                  <a:pt x="12563" y="16312"/>
                </a:cubicBezTo>
                <a:cubicBezTo>
                  <a:pt x="12563" y="16281"/>
                  <a:pt x="12531" y="16249"/>
                  <a:pt x="12531" y="16249"/>
                </a:cubicBezTo>
                <a:cubicBezTo>
                  <a:pt x="12500" y="16187"/>
                  <a:pt x="12438" y="16156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ubicBezTo>
                  <a:pt x="12406" y="16093"/>
                  <a:pt x="12406" y="16062"/>
                  <a:pt x="12375" y="16031"/>
                </a:cubicBezTo>
                <a:cubicBezTo>
                  <a:pt x="12375" y="15999"/>
                  <a:pt x="12375" y="15999"/>
                  <a:pt x="12406" y="15999"/>
                </a:cubicBezTo>
                <a:cubicBezTo>
                  <a:pt x="12469" y="15999"/>
                  <a:pt x="12531" y="15999"/>
                  <a:pt x="12563" y="16031"/>
                </a:cubicBezTo>
                <a:cubicBezTo>
                  <a:pt x="12531" y="15999"/>
                  <a:pt x="12469" y="15999"/>
                  <a:pt x="12406" y="15999"/>
                </a:cubicBezTo>
                <a:cubicBezTo>
                  <a:pt x="12406" y="16031"/>
                  <a:pt x="12469" y="16062"/>
                  <a:pt x="12438" y="16093"/>
                </a:cubicBezTo>
                <a:lnTo>
                  <a:pt x="12438" y="16093"/>
                </a:lnTo>
                <a:cubicBezTo>
                  <a:pt x="12438" y="16093"/>
                  <a:pt x="12438" y="16093"/>
                  <a:pt x="12438" y="16093"/>
                </a:cubicBezTo>
                <a:cubicBezTo>
                  <a:pt x="12531" y="16124"/>
                  <a:pt x="12563" y="16218"/>
                  <a:pt x="12594" y="16281"/>
                </a:cubicBezTo>
                <a:cubicBezTo>
                  <a:pt x="12625" y="16312"/>
                  <a:pt x="12594" y="16343"/>
                  <a:pt x="12656" y="16343"/>
                </a:cubicBezTo>
                <a:cubicBezTo>
                  <a:pt x="12656" y="16343"/>
                  <a:pt x="12656" y="16312"/>
                  <a:pt x="12656" y="16281"/>
                </a:cubicBezTo>
                <a:cubicBezTo>
                  <a:pt x="12625" y="16218"/>
                  <a:pt x="12625" y="16124"/>
                  <a:pt x="12594" y="16062"/>
                </a:cubicBezTo>
                <a:cubicBezTo>
                  <a:pt x="12625" y="15999"/>
                  <a:pt x="12625" y="16093"/>
                  <a:pt x="12656" y="16093"/>
                </a:cubicBezTo>
                <a:cubicBezTo>
                  <a:pt x="12656" y="16093"/>
                  <a:pt x="12688" y="16093"/>
                  <a:pt x="12688" y="16093"/>
                </a:cubicBezTo>
                <a:cubicBezTo>
                  <a:pt x="12688" y="16093"/>
                  <a:pt x="12656" y="16093"/>
                  <a:pt x="12656" y="16093"/>
                </a:cubicBezTo>
                <a:cubicBezTo>
                  <a:pt x="12656" y="16124"/>
                  <a:pt x="12688" y="16156"/>
                  <a:pt x="12688" y="16187"/>
                </a:cubicBezTo>
                <a:cubicBezTo>
                  <a:pt x="12688" y="16249"/>
                  <a:pt x="12688" y="16281"/>
                  <a:pt x="12750" y="16249"/>
                </a:cubicBezTo>
                <a:cubicBezTo>
                  <a:pt x="12750" y="16312"/>
                  <a:pt x="12781" y="16374"/>
                  <a:pt x="12688" y="16374"/>
                </a:cubicBezTo>
                <a:close/>
                <a:moveTo>
                  <a:pt x="13438" y="16312"/>
                </a:moveTo>
                <a:cubicBezTo>
                  <a:pt x="13344" y="16343"/>
                  <a:pt x="13250" y="16343"/>
                  <a:pt x="13188" y="16281"/>
                </a:cubicBezTo>
                <a:cubicBezTo>
                  <a:pt x="13125" y="16218"/>
                  <a:pt x="13094" y="16218"/>
                  <a:pt x="13063" y="16312"/>
                </a:cubicBezTo>
                <a:cubicBezTo>
                  <a:pt x="13063" y="16312"/>
                  <a:pt x="13063" y="16343"/>
                  <a:pt x="13063" y="16343"/>
                </a:cubicBezTo>
                <a:cubicBezTo>
                  <a:pt x="13000" y="16374"/>
                  <a:pt x="12938" y="16281"/>
                  <a:pt x="12875" y="16343"/>
                </a:cubicBezTo>
                <a:cubicBezTo>
                  <a:pt x="12875" y="16312"/>
                  <a:pt x="12844" y="16281"/>
                  <a:pt x="12844" y="16249"/>
                </a:cubicBezTo>
                <a:cubicBezTo>
                  <a:pt x="12875" y="16218"/>
                  <a:pt x="12844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87"/>
                  <a:pt x="12813" y="16187"/>
                  <a:pt x="12813" y="16187"/>
                </a:cubicBezTo>
                <a:cubicBezTo>
                  <a:pt x="12813" y="16156"/>
                  <a:pt x="12781" y="16156"/>
                  <a:pt x="12750" y="16156"/>
                </a:cubicBezTo>
                <a:cubicBezTo>
                  <a:pt x="12750" y="16156"/>
                  <a:pt x="12750" y="16124"/>
                  <a:pt x="12750" y="16093"/>
                </a:cubicBezTo>
                <a:cubicBezTo>
                  <a:pt x="12750" y="16124"/>
                  <a:pt x="12719" y="16124"/>
                  <a:pt x="12719" y="16093"/>
                </a:cubicBezTo>
                <a:cubicBezTo>
                  <a:pt x="12719" y="16124"/>
                  <a:pt x="12750" y="16124"/>
                  <a:pt x="12750" y="16093"/>
                </a:cubicBezTo>
                <a:cubicBezTo>
                  <a:pt x="12750" y="15999"/>
                  <a:pt x="12625" y="15968"/>
                  <a:pt x="12625" y="15874"/>
                </a:cubicBezTo>
                <a:cubicBezTo>
                  <a:pt x="12719" y="15843"/>
                  <a:pt x="12750" y="15937"/>
                  <a:pt x="12781" y="15999"/>
                </a:cubicBezTo>
                <a:cubicBezTo>
                  <a:pt x="12813" y="16031"/>
                  <a:pt x="12813" y="16062"/>
                  <a:pt x="12875" y="16062"/>
                </a:cubicBezTo>
                <a:cubicBezTo>
                  <a:pt x="12875" y="16031"/>
                  <a:pt x="12906" y="15999"/>
                  <a:pt x="12875" y="15968"/>
                </a:cubicBezTo>
                <a:cubicBezTo>
                  <a:pt x="12844" y="15937"/>
                  <a:pt x="12875" y="15968"/>
                  <a:pt x="12875" y="15968"/>
                </a:cubicBezTo>
                <a:cubicBezTo>
                  <a:pt x="12906" y="15968"/>
                  <a:pt x="12938" y="15937"/>
                  <a:pt x="12938" y="15906"/>
                </a:cubicBezTo>
                <a:cubicBezTo>
                  <a:pt x="12938" y="15906"/>
                  <a:pt x="12906" y="15874"/>
                  <a:pt x="12938" y="15874"/>
                </a:cubicBezTo>
                <a:cubicBezTo>
                  <a:pt x="12969" y="15874"/>
                  <a:pt x="13031" y="15843"/>
                  <a:pt x="13063" y="15906"/>
                </a:cubicBezTo>
                <a:cubicBezTo>
                  <a:pt x="13094" y="15937"/>
                  <a:pt x="13125" y="15968"/>
                  <a:pt x="13156" y="16031"/>
                </a:cubicBezTo>
                <a:cubicBezTo>
                  <a:pt x="13219" y="16093"/>
                  <a:pt x="13281" y="16187"/>
                  <a:pt x="13344" y="16281"/>
                </a:cubicBezTo>
                <a:cubicBezTo>
                  <a:pt x="13344" y="16156"/>
                  <a:pt x="13313" y="16093"/>
                  <a:pt x="13281" y="15999"/>
                </a:cubicBezTo>
                <a:cubicBezTo>
                  <a:pt x="13313" y="15999"/>
                  <a:pt x="13344" y="16031"/>
                  <a:pt x="13375" y="16031"/>
                </a:cubicBezTo>
                <a:cubicBezTo>
                  <a:pt x="13375" y="16031"/>
                  <a:pt x="13375" y="16031"/>
                  <a:pt x="13375" y="16031"/>
                </a:cubicBezTo>
                <a:cubicBezTo>
                  <a:pt x="13344" y="16062"/>
                  <a:pt x="13375" y="16093"/>
                  <a:pt x="13375" y="16124"/>
                </a:cubicBezTo>
                <a:cubicBezTo>
                  <a:pt x="13375" y="16187"/>
                  <a:pt x="13469" y="16249"/>
                  <a:pt x="13438" y="16312"/>
                </a:cubicBezTo>
                <a:cubicBezTo>
                  <a:pt x="13500" y="16343"/>
                  <a:pt x="13531" y="16343"/>
                  <a:pt x="13594" y="16343"/>
                </a:cubicBezTo>
                <a:cubicBezTo>
                  <a:pt x="13531" y="16343"/>
                  <a:pt x="13500" y="16343"/>
                  <a:pt x="13438" y="16312"/>
                </a:cubicBezTo>
                <a:close/>
                <a:moveTo>
                  <a:pt x="13688" y="16312"/>
                </a:moveTo>
                <a:cubicBezTo>
                  <a:pt x="13625" y="16312"/>
                  <a:pt x="13563" y="16281"/>
                  <a:pt x="13500" y="16249"/>
                </a:cubicBezTo>
                <a:cubicBezTo>
                  <a:pt x="13500" y="16249"/>
                  <a:pt x="13500" y="16249"/>
                  <a:pt x="13500" y="16249"/>
                </a:cubicBezTo>
                <a:cubicBezTo>
                  <a:pt x="13531" y="16218"/>
                  <a:pt x="13531" y="16156"/>
                  <a:pt x="13469" y="16124"/>
                </a:cubicBezTo>
                <a:cubicBezTo>
                  <a:pt x="13438" y="16124"/>
                  <a:pt x="13438" y="16062"/>
                  <a:pt x="13406" y="16062"/>
                </a:cubicBezTo>
                <a:cubicBezTo>
                  <a:pt x="13469" y="16031"/>
                  <a:pt x="13406" y="15999"/>
                  <a:pt x="13406" y="15968"/>
                </a:cubicBezTo>
                <a:cubicBezTo>
                  <a:pt x="13375" y="15937"/>
                  <a:pt x="13344" y="15906"/>
                  <a:pt x="13344" y="15874"/>
                </a:cubicBezTo>
                <a:cubicBezTo>
                  <a:pt x="13406" y="15843"/>
                  <a:pt x="13438" y="15906"/>
                  <a:pt x="13469" y="15937"/>
                </a:cubicBezTo>
                <a:cubicBezTo>
                  <a:pt x="13500" y="15968"/>
                  <a:pt x="13500" y="16062"/>
                  <a:pt x="13594" y="16031"/>
                </a:cubicBezTo>
                <a:cubicBezTo>
                  <a:pt x="13594" y="16031"/>
                  <a:pt x="13625" y="16062"/>
                  <a:pt x="13594" y="16093"/>
                </a:cubicBezTo>
                <a:cubicBezTo>
                  <a:pt x="13594" y="16156"/>
                  <a:pt x="13625" y="16156"/>
                  <a:pt x="13656" y="16156"/>
                </a:cubicBezTo>
                <a:cubicBezTo>
                  <a:pt x="13688" y="16187"/>
                  <a:pt x="13688" y="16187"/>
                  <a:pt x="13688" y="16218"/>
                </a:cubicBezTo>
                <a:cubicBezTo>
                  <a:pt x="13688" y="16249"/>
                  <a:pt x="13750" y="16312"/>
                  <a:pt x="13688" y="16312"/>
                </a:cubicBezTo>
                <a:close/>
                <a:moveTo>
                  <a:pt x="14063" y="16156"/>
                </a:moveTo>
                <a:cubicBezTo>
                  <a:pt x="14063" y="16187"/>
                  <a:pt x="14094" y="16187"/>
                  <a:pt x="14094" y="16218"/>
                </a:cubicBezTo>
                <a:cubicBezTo>
                  <a:pt x="14094" y="16218"/>
                  <a:pt x="14094" y="16218"/>
                  <a:pt x="14094" y="16218"/>
                </a:cubicBezTo>
                <a:cubicBezTo>
                  <a:pt x="14063" y="16218"/>
                  <a:pt x="14031" y="16218"/>
                  <a:pt x="14031" y="16187"/>
                </a:cubicBezTo>
                <a:cubicBezTo>
                  <a:pt x="14031" y="16156"/>
                  <a:pt x="14031" y="16156"/>
                  <a:pt x="14063" y="16156"/>
                </a:cubicBezTo>
                <a:close/>
                <a:moveTo>
                  <a:pt x="13969" y="16312"/>
                </a:moveTo>
                <a:cubicBezTo>
                  <a:pt x="14000" y="16281"/>
                  <a:pt x="14063" y="16249"/>
                  <a:pt x="14094" y="16312"/>
                </a:cubicBezTo>
                <a:cubicBezTo>
                  <a:pt x="14063" y="16312"/>
                  <a:pt x="14000" y="16312"/>
                  <a:pt x="13969" y="16312"/>
                </a:cubicBezTo>
                <a:close/>
                <a:moveTo>
                  <a:pt x="14125" y="16249"/>
                </a:moveTo>
                <a:cubicBezTo>
                  <a:pt x="14125" y="16218"/>
                  <a:pt x="14125" y="16218"/>
                  <a:pt x="14125" y="16218"/>
                </a:cubicBezTo>
                <a:cubicBezTo>
                  <a:pt x="14125" y="16218"/>
                  <a:pt x="14125" y="16218"/>
                  <a:pt x="14125" y="16218"/>
                </a:cubicBezTo>
                <a:lnTo>
                  <a:pt x="14125" y="16249"/>
                </a:lnTo>
                <a:close/>
                <a:moveTo>
                  <a:pt x="15031" y="16343"/>
                </a:moveTo>
                <a:cubicBezTo>
                  <a:pt x="15000" y="16343"/>
                  <a:pt x="14969" y="16343"/>
                  <a:pt x="14938" y="16312"/>
                </a:cubicBezTo>
                <a:cubicBezTo>
                  <a:pt x="14938" y="16281"/>
                  <a:pt x="14938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218"/>
                  <a:pt x="14875" y="16218"/>
                </a:cubicBezTo>
                <a:cubicBezTo>
                  <a:pt x="14875" y="16218"/>
                  <a:pt x="14875" y="16187"/>
                  <a:pt x="14875" y="16187"/>
                </a:cubicBezTo>
                <a:cubicBezTo>
                  <a:pt x="14875" y="16187"/>
                  <a:pt x="14844" y="16187"/>
                  <a:pt x="14844" y="16187"/>
                </a:cubicBezTo>
                <a:cubicBezTo>
                  <a:pt x="14844" y="16156"/>
                  <a:pt x="14813" y="16156"/>
                  <a:pt x="14813" y="16124"/>
                </a:cubicBezTo>
                <a:cubicBezTo>
                  <a:pt x="14813" y="16062"/>
                  <a:pt x="14781" y="16031"/>
                  <a:pt x="14750" y="15999"/>
                </a:cubicBezTo>
                <a:cubicBezTo>
                  <a:pt x="14750" y="15968"/>
                  <a:pt x="14750" y="15937"/>
                  <a:pt x="14750" y="15937"/>
                </a:cubicBezTo>
                <a:cubicBezTo>
                  <a:pt x="14781" y="15906"/>
                  <a:pt x="14813" y="15937"/>
                  <a:pt x="14813" y="15937"/>
                </a:cubicBezTo>
                <a:cubicBezTo>
                  <a:pt x="14844" y="15968"/>
                  <a:pt x="14875" y="15999"/>
                  <a:pt x="14875" y="16031"/>
                </a:cubicBezTo>
                <a:cubicBezTo>
                  <a:pt x="14875" y="16062"/>
                  <a:pt x="14906" y="16093"/>
                  <a:pt x="14906" y="16093"/>
                </a:cubicBezTo>
                <a:cubicBezTo>
                  <a:pt x="15000" y="16093"/>
                  <a:pt x="15000" y="16156"/>
                  <a:pt x="15031" y="16218"/>
                </a:cubicBezTo>
                <a:cubicBezTo>
                  <a:pt x="15031" y="16218"/>
                  <a:pt x="15031" y="16218"/>
                  <a:pt x="15031" y="16187"/>
                </a:cubicBezTo>
                <a:cubicBezTo>
                  <a:pt x="15031" y="16218"/>
                  <a:pt x="15031" y="16218"/>
                  <a:pt x="15031" y="16218"/>
                </a:cubicBezTo>
                <a:cubicBezTo>
                  <a:pt x="15031" y="16249"/>
                  <a:pt x="15063" y="16281"/>
                  <a:pt x="15063" y="16312"/>
                </a:cubicBezTo>
                <a:cubicBezTo>
                  <a:pt x="15063" y="16343"/>
                  <a:pt x="15031" y="16343"/>
                  <a:pt x="15031" y="16343"/>
                </a:cubicBezTo>
                <a:close/>
                <a:moveTo>
                  <a:pt x="15594" y="16312"/>
                </a:moveTo>
                <a:cubicBezTo>
                  <a:pt x="15594" y="16249"/>
                  <a:pt x="15500" y="16187"/>
                  <a:pt x="15469" y="16124"/>
                </a:cubicBezTo>
                <a:cubicBezTo>
                  <a:pt x="15469" y="16093"/>
                  <a:pt x="15438" y="16031"/>
                  <a:pt x="15469" y="16031"/>
                </a:cubicBezTo>
                <a:cubicBezTo>
                  <a:pt x="15500" y="15999"/>
                  <a:pt x="15531" y="16031"/>
                  <a:pt x="15531" y="16062"/>
                </a:cubicBezTo>
                <a:cubicBezTo>
                  <a:pt x="15563" y="16156"/>
                  <a:pt x="15625" y="16156"/>
                  <a:pt x="15656" y="16218"/>
                </a:cubicBezTo>
                <a:cubicBezTo>
                  <a:pt x="15656" y="16218"/>
                  <a:pt x="15656" y="16249"/>
                  <a:pt x="15656" y="16281"/>
                </a:cubicBezTo>
                <a:cubicBezTo>
                  <a:pt x="15656" y="16343"/>
                  <a:pt x="15688" y="16374"/>
                  <a:pt x="15719" y="16437"/>
                </a:cubicBezTo>
                <a:cubicBezTo>
                  <a:pt x="15656" y="16406"/>
                  <a:pt x="15563" y="16437"/>
                  <a:pt x="15594" y="16312"/>
                </a:cubicBezTo>
                <a:close/>
                <a:moveTo>
                  <a:pt x="16063" y="16468"/>
                </a:moveTo>
                <a:cubicBezTo>
                  <a:pt x="16031" y="16499"/>
                  <a:pt x="16000" y="16468"/>
                  <a:pt x="15938" y="16468"/>
                </a:cubicBezTo>
                <a:cubicBezTo>
                  <a:pt x="15938" y="16468"/>
                  <a:pt x="15906" y="16468"/>
                  <a:pt x="15906" y="16468"/>
                </a:cubicBezTo>
                <a:cubicBezTo>
                  <a:pt x="15938" y="16437"/>
                  <a:pt x="15969" y="16406"/>
                  <a:pt x="15906" y="16374"/>
                </a:cubicBezTo>
                <a:cubicBezTo>
                  <a:pt x="15906" y="16343"/>
                  <a:pt x="15906" y="16343"/>
                  <a:pt x="15906" y="16312"/>
                </a:cubicBezTo>
                <a:cubicBezTo>
                  <a:pt x="15906" y="16312"/>
                  <a:pt x="15938" y="16312"/>
                  <a:pt x="15938" y="16343"/>
                </a:cubicBezTo>
                <a:cubicBezTo>
                  <a:pt x="15969" y="16374"/>
                  <a:pt x="15969" y="16406"/>
                  <a:pt x="16000" y="16437"/>
                </a:cubicBezTo>
                <a:cubicBezTo>
                  <a:pt x="16031" y="16374"/>
                  <a:pt x="16000" y="16281"/>
                  <a:pt x="16031" y="16218"/>
                </a:cubicBezTo>
                <a:cubicBezTo>
                  <a:pt x="16031" y="16218"/>
                  <a:pt x="16031" y="16218"/>
                  <a:pt x="16031" y="16218"/>
                </a:cubicBezTo>
                <a:cubicBezTo>
                  <a:pt x="16031" y="16249"/>
                  <a:pt x="16063" y="16281"/>
                  <a:pt x="16063" y="16281"/>
                </a:cubicBezTo>
                <a:cubicBezTo>
                  <a:pt x="16063" y="16281"/>
                  <a:pt x="16063" y="16281"/>
                  <a:pt x="16063" y="16281"/>
                </a:cubicBezTo>
                <a:cubicBezTo>
                  <a:pt x="16063" y="16312"/>
                  <a:pt x="16063" y="16312"/>
                  <a:pt x="16063" y="16343"/>
                </a:cubicBezTo>
                <a:cubicBezTo>
                  <a:pt x="16063" y="16343"/>
                  <a:pt x="16063" y="16374"/>
                  <a:pt x="16063" y="16374"/>
                </a:cubicBezTo>
                <a:cubicBezTo>
                  <a:pt x="16031" y="16406"/>
                  <a:pt x="16156" y="16437"/>
                  <a:pt x="16063" y="16468"/>
                </a:cubicBezTo>
                <a:close/>
                <a:moveTo>
                  <a:pt x="16219" y="16468"/>
                </a:moveTo>
                <a:cubicBezTo>
                  <a:pt x="16250" y="16437"/>
                  <a:pt x="16219" y="16406"/>
                  <a:pt x="16188" y="16374"/>
                </a:cubicBezTo>
                <a:cubicBezTo>
                  <a:pt x="16188" y="16374"/>
                  <a:pt x="16156" y="16343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25" y="16312"/>
                  <a:pt x="16125" y="16312"/>
                  <a:pt x="16125" y="16312"/>
                </a:cubicBezTo>
                <a:cubicBezTo>
                  <a:pt x="16188" y="16281"/>
                  <a:pt x="16125" y="16249"/>
                  <a:pt x="16125" y="16218"/>
                </a:cubicBezTo>
                <a:cubicBezTo>
                  <a:pt x="16125" y="16187"/>
                  <a:pt x="16094" y="16156"/>
                  <a:pt x="16125" y="16156"/>
                </a:cubicBezTo>
                <a:cubicBezTo>
                  <a:pt x="16125" y="16124"/>
                  <a:pt x="16188" y="16156"/>
                  <a:pt x="16188" y="16156"/>
                </a:cubicBezTo>
                <a:cubicBezTo>
                  <a:pt x="16188" y="16249"/>
                  <a:pt x="16250" y="16281"/>
                  <a:pt x="16313" y="16312"/>
                </a:cubicBezTo>
                <a:cubicBezTo>
                  <a:pt x="16313" y="16343"/>
                  <a:pt x="16313" y="16374"/>
                  <a:pt x="16313" y="16374"/>
                </a:cubicBezTo>
                <a:cubicBezTo>
                  <a:pt x="16313" y="16437"/>
                  <a:pt x="16344" y="16468"/>
                  <a:pt x="16375" y="16499"/>
                </a:cubicBezTo>
                <a:cubicBezTo>
                  <a:pt x="16313" y="16531"/>
                  <a:pt x="16281" y="16499"/>
                  <a:pt x="16219" y="16468"/>
                </a:cubicBezTo>
                <a:close/>
                <a:moveTo>
                  <a:pt x="1719" y="21749"/>
                </a:moveTo>
                <a:cubicBezTo>
                  <a:pt x="1719" y="21749"/>
                  <a:pt x="1719" y="21749"/>
                  <a:pt x="1719" y="21749"/>
                </a:cubicBezTo>
                <a:cubicBezTo>
                  <a:pt x="1750" y="21749"/>
                  <a:pt x="1750" y="21749"/>
                  <a:pt x="1750" y="21749"/>
                </a:cubicBezTo>
                <a:cubicBezTo>
                  <a:pt x="1750" y="21749"/>
                  <a:pt x="1781" y="21749"/>
                  <a:pt x="1813" y="21749"/>
                </a:cubicBezTo>
                <a:cubicBezTo>
                  <a:pt x="1813" y="21749"/>
                  <a:pt x="1844" y="21812"/>
                  <a:pt x="1781" y="21781"/>
                </a:cubicBezTo>
                <a:cubicBezTo>
                  <a:pt x="1750" y="21781"/>
                  <a:pt x="1688" y="21843"/>
                  <a:pt x="1688" y="21749"/>
                </a:cubicBezTo>
                <a:cubicBezTo>
                  <a:pt x="1688" y="21749"/>
                  <a:pt x="1719" y="21749"/>
                  <a:pt x="1719" y="21749"/>
                </a:cubicBezTo>
                <a:close/>
                <a:moveTo>
                  <a:pt x="1438" y="21718"/>
                </a:moveTo>
                <a:cubicBezTo>
                  <a:pt x="1438" y="21718"/>
                  <a:pt x="1438" y="21718"/>
                  <a:pt x="1438" y="21718"/>
                </a:cubicBezTo>
                <a:cubicBezTo>
                  <a:pt x="1469" y="21718"/>
                  <a:pt x="1500" y="21718"/>
                  <a:pt x="1500" y="21687"/>
                </a:cubicBezTo>
                <a:cubicBezTo>
                  <a:pt x="1531" y="21687"/>
                  <a:pt x="1531" y="21687"/>
                  <a:pt x="1531" y="21687"/>
                </a:cubicBezTo>
                <a:cubicBezTo>
                  <a:pt x="1531" y="21687"/>
                  <a:pt x="1531" y="21687"/>
                  <a:pt x="1500" y="21687"/>
                </a:cubicBezTo>
                <a:cubicBezTo>
                  <a:pt x="1563" y="21687"/>
                  <a:pt x="1594" y="21718"/>
                  <a:pt x="1625" y="21718"/>
                </a:cubicBezTo>
                <a:cubicBezTo>
                  <a:pt x="1563" y="21718"/>
                  <a:pt x="1500" y="21781"/>
                  <a:pt x="1438" y="21718"/>
                </a:cubicBezTo>
                <a:cubicBezTo>
                  <a:pt x="1438" y="21718"/>
                  <a:pt x="1438" y="21718"/>
                  <a:pt x="1438" y="21718"/>
                </a:cubicBezTo>
                <a:close/>
                <a:moveTo>
                  <a:pt x="1563" y="21781"/>
                </a:moveTo>
                <a:cubicBezTo>
                  <a:pt x="1531" y="21906"/>
                  <a:pt x="1406" y="21843"/>
                  <a:pt x="1313" y="21874"/>
                </a:cubicBezTo>
                <a:cubicBezTo>
                  <a:pt x="1375" y="21781"/>
                  <a:pt x="1500" y="21874"/>
                  <a:pt x="1563" y="21781"/>
                </a:cubicBezTo>
                <a:close/>
                <a:moveTo>
                  <a:pt x="2313" y="20937"/>
                </a:moveTo>
                <a:cubicBezTo>
                  <a:pt x="2344" y="20906"/>
                  <a:pt x="2375" y="20906"/>
                  <a:pt x="2406" y="20937"/>
                </a:cubicBezTo>
                <a:cubicBezTo>
                  <a:pt x="2438" y="20999"/>
                  <a:pt x="2531" y="20968"/>
                  <a:pt x="2531" y="21062"/>
                </a:cubicBezTo>
                <a:cubicBezTo>
                  <a:pt x="2469" y="21062"/>
                  <a:pt x="2406" y="21062"/>
                  <a:pt x="2344" y="21062"/>
                </a:cubicBezTo>
                <a:cubicBezTo>
                  <a:pt x="2344" y="21062"/>
                  <a:pt x="2344" y="21062"/>
                  <a:pt x="2344" y="21062"/>
                </a:cubicBezTo>
                <a:cubicBezTo>
                  <a:pt x="2281" y="21062"/>
                  <a:pt x="2250" y="21062"/>
                  <a:pt x="2250" y="21031"/>
                </a:cubicBezTo>
                <a:cubicBezTo>
                  <a:pt x="2250" y="20999"/>
                  <a:pt x="2281" y="20968"/>
                  <a:pt x="2313" y="20937"/>
                </a:cubicBezTo>
                <a:close/>
                <a:moveTo>
                  <a:pt x="2063" y="21124"/>
                </a:moveTo>
                <a:cubicBezTo>
                  <a:pt x="2063" y="21093"/>
                  <a:pt x="2125" y="21062"/>
                  <a:pt x="2156" y="21062"/>
                </a:cubicBezTo>
                <a:cubicBezTo>
                  <a:pt x="2156" y="21062"/>
                  <a:pt x="2156" y="21093"/>
                  <a:pt x="2156" y="21093"/>
                </a:cubicBezTo>
                <a:cubicBezTo>
                  <a:pt x="2125" y="21156"/>
                  <a:pt x="2094" y="21093"/>
                  <a:pt x="2063" y="21156"/>
                </a:cubicBezTo>
                <a:cubicBezTo>
                  <a:pt x="2063" y="21124"/>
                  <a:pt x="2031" y="21124"/>
                  <a:pt x="2063" y="21124"/>
                </a:cubicBezTo>
                <a:close/>
                <a:moveTo>
                  <a:pt x="563" y="20843"/>
                </a:moveTo>
                <a:cubicBezTo>
                  <a:pt x="469" y="20874"/>
                  <a:pt x="375" y="20874"/>
                  <a:pt x="281" y="20843"/>
                </a:cubicBezTo>
                <a:cubicBezTo>
                  <a:pt x="375" y="20812"/>
                  <a:pt x="469" y="20749"/>
                  <a:pt x="594" y="20749"/>
                </a:cubicBezTo>
                <a:cubicBezTo>
                  <a:pt x="563" y="20749"/>
                  <a:pt x="563" y="20749"/>
                  <a:pt x="531" y="20718"/>
                </a:cubicBezTo>
                <a:cubicBezTo>
                  <a:pt x="563" y="20749"/>
                  <a:pt x="563" y="20749"/>
                  <a:pt x="594" y="20749"/>
                </a:cubicBezTo>
                <a:cubicBezTo>
                  <a:pt x="594" y="20749"/>
                  <a:pt x="594" y="20749"/>
                  <a:pt x="594" y="20749"/>
                </a:cubicBezTo>
                <a:cubicBezTo>
                  <a:pt x="625" y="20812"/>
                  <a:pt x="594" y="20812"/>
                  <a:pt x="563" y="20843"/>
                </a:cubicBezTo>
                <a:close/>
                <a:moveTo>
                  <a:pt x="594" y="21406"/>
                </a:moveTo>
                <a:cubicBezTo>
                  <a:pt x="625" y="21374"/>
                  <a:pt x="656" y="21374"/>
                  <a:pt x="688" y="21374"/>
                </a:cubicBezTo>
                <a:cubicBezTo>
                  <a:pt x="719" y="21374"/>
                  <a:pt x="719" y="21374"/>
                  <a:pt x="750" y="21374"/>
                </a:cubicBezTo>
                <a:cubicBezTo>
                  <a:pt x="750" y="21374"/>
                  <a:pt x="750" y="21374"/>
                  <a:pt x="750" y="21374"/>
                </a:cubicBezTo>
                <a:cubicBezTo>
                  <a:pt x="750" y="21374"/>
                  <a:pt x="750" y="21406"/>
                  <a:pt x="750" y="21437"/>
                </a:cubicBezTo>
                <a:cubicBezTo>
                  <a:pt x="688" y="21437"/>
                  <a:pt x="656" y="21468"/>
                  <a:pt x="625" y="21437"/>
                </a:cubicBezTo>
                <a:cubicBezTo>
                  <a:pt x="594" y="21437"/>
                  <a:pt x="594" y="21406"/>
                  <a:pt x="594" y="21406"/>
                </a:cubicBezTo>
                <a:close/>
                <a:moveTo>
                  <a:pt x="406" y="22093"/>
                </a:moveTo>
                <a:cubicBezTo>
                  <a:pt x="344" y="22062"/>
                  <a:pt x="313" y="22093"/>
                  <a:pt x="250" y="22093"/>
                </a:cubicBezTo>
                <a:cubicBezTo>
                  <a:pt x="281" y="22062"/>
                  <a:pt x="281" y="22031"/>
                  <a:pt x="344" y="22031"/>
                </a:cubicBezTo>
                <a:cubicBezTo>
                  <a:pt x="375" y="22031"/>
                  <a:pt x="375" y="21999"/>
                  <a:pt x="375" y="21968"/>
                </a:cubicBezTo>
                <a:cubicBezTo>
                  <a:pt x="406" y="21999"/>
                  <a:pt x="438" y="21999"/>
                  <a:pt x="438" y="21999"/>
                </a:cubicBezTo>
                <a:cubicBezTo>
                  <a:pt x="469" y="21999"/>
                  <a:pt x="469" y="21999"/>
                  <a:pt x="469" y="21999"/>
                </a:cubicBezTo>
                <a:cubicBezTo>
                  <a:pt x="500" y="22062"/>
                  <a:pt x="406" y="22093"/>
                  <a:pt x="406" y="22093"/>
                </a:cubicBezTo>
                <a:close/>
                <a:moveTo>
                  <a:pt x="844" y="21781"/>
                </a:moveTo>
                <a:cubicBezTo>
                  <a:pt x="844" y="21812"/>
                  <a:pt x="813" y="21843"/>
                  <a:pt x="844" y="21843"/>
                </a:cubicBezTo>
                <a:cubicBezTo>
                  <a:pt x="844" y="21874"/>
                  <a:pt x="844" y="21874"/>
                  <a:pt x="844" y="21874"/>
                </a:cubicBezTo>
                <a:cubicBezTo>
                  <a:pt x="813" y="21874"/>
                  <a:pt x="813" y="21843"/>
                  <a:pt x="781" y="21843"/>
                </a:cubicBezTo>
                <a:cubicBezTo>
                  <a:pt x="750" y="21874"/>
                  <a:pt x="750" y="21874"/>
                  <a:pt x="719" y="21906"/>
                </a:cubicBezTo>
                <a:cubicBezTo>
                  <a:pt x="750" y="21874"/>
                  <a:pt x="750" y="21874"/>
                  <a:pt x="781" y="21843"/>
                </a:cubicBezTo>
                <a:cubicBezTo>
                  <a:pt x="656" y="21843"/>
                  <a:pt x="531" y="21937"/>
                  <a:pt x="438" y="21937"/>
                </a:cubicBezTo>
                <a:cubicBezTo>
                  <a:pt x="406" y="21937"/>
                  <a:pt x="375" y="21937"/>
                  <a:pt x="375" y="21968"/>
                </a:cubicBezTo>
                <a:cubicBezTo>
                  <a:pt x="344" y="21968"/>
                  <a:pt x="281" y="21968"/>
                  <a:pt x="219" y="21968"/>
                </a:cubicBezTo>
                <a:cubicBezTo>
                  <a:pt x="250" y="21968"/>
                  <a:pt x="250" y="21937"/>
                  <a:pt x="250" y="21937"/>
                </a:cubicBezTo>
                <a:cubicBezTo>
                  <a:pt x="250" y="21937"/>
                  <a:pt x="219" y="21937"/>
                  <a:pt x="219" y="21937"/>
                </a:cubicBezTo>
                <a:cubicBezTo>
                  <a:pt x="219" y="21937"/>
                  <a:pt x="250" y="21937"/>
                  <a:pt x="250" y="21937"/>
                </a:cubicBezTo>
                <a:cubicBezTo>
                  <a:pt x="375" y="21906"/>
                  <a:pt x="469" y="21874"/>
                  <a:pt x="594" y="21843"/>
                </a:cubicBezTo>
                <a:cubicBezTo>
                  <a:pt x="594" y="21843"/>
                  <a:pt x="781" y="21781"/>
                  <a:pt x="844" y="21781"/>
                </a:cubicBezTo>
                <a:cubicBezTo>
                  <a:pt x="844" y="21781"/>
                  <a:pt x="875" y="21749"/>
                  <a:pt x="844" y="21781"/>
                </a:cubicBezTo>
                <a:close/>
                <a:moveTo>
                  <a:pt x="1875" y="20999"/>
                </a:moveTo>
                <a:cubicBezTo>
                  <a:pt x="1875" y="20999"/>
                  <a:pt x="1875" y="20999"/>
                  <a:pt x="1875" y="20999"/>
                </a:cubicBezTo>
                <a:cubicBezTo>
                  <a:pt x="1875" y="20999"/>
                  <a:pt x="1875" y="20999"/>
                  <a:pt x="1875" y="20999"/>
                </a:cubicBezTo>
                <a:close/>
                <a:moveTo>
                  <a:pt x="1656" y="20906"/>
                </a:moveTo>
                <a:cubicBezTo>
                  <a:pt x="1656" y="20906"/>
                  <a:pt x="1656" y="20937"/>
                  <a:pt x="1656" y="20937"/>
                </a:cubicBezTo>
                <a:cubicBezTo>
                  <a:pt x="1750" y="20968"/>
                  <a:pt x="1813" y="20999"/>
                  <a:pt x="1875" y="20999"/>
                </a:cubicBezTo>
                <a:cubicBezTo>
                  <a:pt x="1813" y="20999"/>
                  <a:pt x="1750" y="20968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37"/>
                  <a:pt x="1656" y="20937"/>
                </a:cubicBezTo>
                <a:cubicBezTo>
                  <a:pt x="1656" y="20937"/>
                  <a:pt x="1656" y="20906"/>
                  <a:pt x="1656" y="20906"/>
                </a:cubicBezTo>
                <a:close/>
                <a:moveTo>
                  <a:pt x="1594" y="20874"/>
                </a:move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ubicBezTo>
                  <a:pt x="1594" y="20874"/>
                  <a:pt x="1594" y="20874"/>
                  <a:pt x="1594" y="20874"/>
                </a:cubicBezTo>
                <a:close/>
                <a:moveTo>
                  <a:pt x="1438" y="20906"/>
                </a:moveTo>
                <a:cubicBezTo>
                  <a:pt x="1438" y="20906"/>
                  <a:pt x="1469" y="20906"/>
                  <a:pt x="1469" y="20906"/>
                </a:cubicBezTo>
                <a:cubicBezTo>
                  <a:pt x="1500" y="20906"/>
                  <a:pt x="1469" y="20874"/>
                  <a:pt x="1469" y="20874"/>
                </a:cubicBezTo>
                <a:cubicBezTo>
                  <a:pt x="1469" y="20843"/>
                  <a:pt x="1469" y="20843"/>
                  <a:pt x="1500" y="20812"/>
                </a:cubicBezTo>
                <a:cubicBezTo>
                  <a:pt x="1531" y="20812"/>
                  <a:pt x="1531" y="20843"/>
                  <a:pt x="1531" y="20874"/>
                </a:cubicBezTo>
                <a:cubicBezTo>
                  <a:pt x="1531" y="20937"/>
                  <a:pt x="1563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25" y="20937"/>
                </a:cubicBezTo>
                <a:cubicBezTo>
                  <a:pt x="1625" y="20937"/>
                  <a:pt x="1625" y="20937"/>
                  <a:pt x="1656" y="20937"/>
                </a:cubicBezTo>
                <a:cubicBezTo>
                  <a:pt x="1625" y="20937"/>
                  <a:pt x="1625" y="20968"/>
                  <a:pt x="1625" y="20968"/>
                </a:cubicBezTo>
                <a:cubicBezTo>
                  <a:pt x="1625" y="20968"/>
                  <a:pt x="1625" y="20968"/>
                  <a:pt x="1594" y="20968"/>
                </a:cubicBezTo>
                <a:cubicBezTo>
                  <a:pt x="1625" y="20968"/>
                  <a:pt x="1625" y="20968"/>
                  <a:pt x="1625" y="20968"/>
                </a:cubicBezTo>
                <a:cubicBezTo>
                  <a:pt x="1594" y="20968"/>
                  <a:pt x="1563" y="20937"/>
                  <a:pt x="1563" y="20968"/>
                </a:cubicBezTo>
                <a:cubicBezTo>
                  <a:pt x="1500" y="20999"/>
                  <a:pt x="1469" y="20937"/>
                  <a:pt x="1438" y="20968"/>
                </a:cubicBezTo>
                <a:cubicBezTo>
                  <a:pt x="1438" y="20937"/>
                  <a:pt x="1406" y="20906"/>
                  <a:pt x="1375" y="20906"/>
                </a:cubicBezTo>
                <a:cubicBezTo>
                  <a:pt x="1344" y="20874"/>
                  <a:pt x="1313" y="20874"/>
                  <a:pt x="1313" y="20812"/>
                </a:cubicBezTo>
                <a:cubicBezTo>
                  <a:pt x="1375" y="20812"/>
                  <a:pt x="1438" y="20781"/>
                  <a:pt x="1438" y="20906"/>
                </a:cubicBezTo>
                <a:close/>
                <a:moveTo>
                  <a:pt x="1094" y="20781"/>
                </a:moveTo>
                <a:cubicBezTo>
                  <a:pt x="1125" y="20781"/>
                  <a:pt x="1188" y="20781"/>
                  <a:pt x="1219" y="20812"/>
                </a:cubicBezTo>
                <a:cubicBezTo>
                  <a:pt x="1188" y="20781"/>
                  <a:pt x="1125" y="20781"/>
                  <a:pt x="1094" y="20781"/>
                </a:cubicBezTo>
                <a:cubicBezTo>
                  <a:pt x="1094" y="20781"/>
                  <a:pt x="1094" y="20781"/>
                  <a:pt x="1094" y="20781"/>
                </a:cubicBezTo>
                <a:close/>
                <a:moveTo>
                  <a:pt x="1094" y="20781"/>
                </a:moveTo>
                <a:cubicBezTo>
                  <a:pt x="1094" y="20812"/>
                  <a:pt x="1125" y="20812"/>
                  <a:pt x="1188" y="20812"/>
                </a:cubicBezTo>
                <a:cubicBezTo>
                  <a:pt x="1250" y="20843"/>
                  <a:pt x="1281" y="20874"/>
                  <a:pt x="1281" y="20937"/>
                </a:cubicBezTo>
                <a:cubicBezTo>
                  <a:pt x="1219" y="20937"/>
                  <a:pt x="1156" y="20937"/>
                  <a:pt x="1125" y="20937"/>
                </a:cubicBezTo>
                <a:cubicBezTo>
                  <a:pt x="1094" y="20937"/>
                  <a:pt x="1063" y="20937"/>
                  <a:pt x="1031" y="20906"/>
                </a:cubicBezTo>
                <a:cubicBezTo>
                  <a:pt x="1063" y="20874"/>
                  <a:pt x="1031" y="20812"/>
                  <a:pt x="1094" y="20781"/>
                </a:cubicBezTo>
                <a:close/>
                <a:moveTo>
                  <a:pt x="1031" y="21031"/>
                </a:moveTo>
                <a:cubicBezTo>
                  <a:pt x="1125" y="20999"/>
                  <a:pt x="1188" y="20937"/>
                  <a:pt x="1250" y="21031"/>
                </a:cubicBezTo>
                <a:cubicBezTo>
                  <a:pt x="1281" y="21062"/>
                  <a:pt x="1313" y="20968"/>
                  <a:pt x="1375" y="20999"/>
                </a:cubicBezTo>
                <a:cubicBezTo>
                  <a:pt x="1406" y="21031"/>
                  <a:pt x="1438" y="20968"/>
                  <a:pt x="1438" y="21031"/>
                </a:cubicBezTo>
                <a:cubicBezTo>
                  <a:pt x="1438" y="21093"/>
                  <a:pt x="1406" y="21062"/>
                  <a:pt x="1375" y="21062"/>
                </a:cubicBezTo>
                <a:cubicBezTo>
                  <a:pt x="1344" y="21062"/>
                  <a:pt x="1344" y="21062"/>
                  <a:pt x="1313" y="21062"/>
                </a:cubicBezTo>
                <a:cubicBezTo>
                  <a:pt x="1344" y="21124"/>
                  <a:pt x="1344" y="21156"/>
                  <a:pt x="1281" y="21124"/>
                </a:cubicBezTo>
                <a:cubicBezTo>
                  <a:pt x="1188" y="21124"/>
                  <a:pt x="1125" y="21124"/>
                  <a:pt x="1063" y="21124"/>
                </a:cubicBezTo>
                <a:cubicBezTo>
                  <a:pt x="1031" y="21093"/>
                  <a:pt x="1031" y="21062"/>
                  <a:pt x="1031" y="21031"/>
                </a:cubicBezTo>
                <a:close/>
                <a:moveTo>
                  <a:pt x="1031" y="21281"/>
                </a:moveTo>
                <a:cubicBezTo>
                  <a:pt x="1063" y="21249"/>
                  <a:pt x="1094" y="21218"/>
                  <a:pt x="1156" y="21249"/>
                </a:cubicBezTo>
                <a:cubicBezTo>
                  <a:pt x="1156" y="21312"/>
                  <a:pt x="1094" y="21312"/>
                  <a:pt x="1063" y="21343"/>
                </a:cubicBezTo>
                <a:cubicBezTo>
                  <a:pt x="1063" y="21374"/>
                  <a:pt x="1000" y="21374"/>
                  <a:pt x="1000" y="21343"/>
                </a:cubicBezTo>
                <a:cubicBezTo>
                  <a:pt x="969" y="21281"/>
                  <a:pt x="1000" y="21281"/>
                  <a:pt x="1031" y="21281"/>
                </a:cubicBezTo>
                <a:close/>
                <a:moveTo>
                  <a:pt x="969" y="20812"/>
                </a:moveTo>
                <a:cubicBezTo>
                  <a:pt x="938" y="20781"/>
                  <a:pt x="938" y="20749"/>
                  <a:pt x="906" y="20749"/>
                </a:cubicBezTo>
                <a:cubicBezTo>
                  <a:pt x="938" y="20749"/>
                  <a:pt x="938" y="20781"/>
                  <a:pt x="969" y="20812"/>
                </a:cubicBezTo>
                <a:close/>
                <a:moveTo>
                  <a:pt x="750" y="20874"/>
                </a:moveTo>
                <a:cubicBezTo>
                  <a:pt x="688" y="20812"/>
                  <a:pt x="750" y="20812"/>
                  <a:pt x="750" y="20781"/>
                </a:cubicBezTo>
                <a:cubicBezTo>
                  <a:pt x="750" y="20781"/>
                  <a:pt x="750" y="20781"/>
                  <a:pt x="750" y="20781"/>
                </a:cubicBezTo>
                <a:cubicBezTo>
                  <a:pt x="781" y="20749"/>
                  <a:pt x="844" y="20749"/>
                  <a:pt x="875" y="20749"/>
                </a:cubicBezTo>
                <a:cubicBezTo>
                  <a:pt x="875" y="20749"/>
                  <a:pt x="875" y="20749"/>
                  <a:pt x="875" y="20749"/>
                </a:cubicBezTo>
                <a:cubicBezTo>
                  <a:pt x="906" y="20812"/>
                  <a:pt x="938" y="20812"/>
                  <a:pt x="969" y="20843"/>
                </a:cubicBezTo>
                <a:cubicBezTo>
                  <a:pt x="969" y="20874"/>
                  <a:pt x="969" y="20906"/>
                  <a:pt x="938" y="20937"/>
                </a:cubicBezTo>
                <a:cubicBezTo>
                  <a:pt x="875" y="20874"/>
                  <a:pt x="813" y="20906"/>
                  <a:pt x="750" y="20874"/>
                </a:cubicBezTo>
                <a:close/>
                <a:moveTo>
                  <a:pt x="156" y="24031"/>
                </a:moveTo>
                <a:cubicBezTo>
                  <a:pt x="156" y="24031"/>
                  <a:pt x="125" y="24062"/>
                  <a:pt x="94" y="23999"/>
                </a:cubicBezTo>
                <a:cubicBezTo>
                  <a:pt x="94" y="23968"/>
                  <a:pt x="156" y="23937"/>
                  <a:pt x="156" y="23937"/>
                </a:cubicBezTo>
                <a:cubicBezTo>
                  <a:pt x="219" y="23906"/>
                  <a:pt x="219" y="23937"/>
                  <a:pt x="219" y="23968"/>
                </a:cubicBezTo>
                <a:cubicBezTo>
                  <a:pt x="219" y="23999"/>
                  <a:pt x="188" y="23999"/>
                  <a:pt x="156" y="24031"/>
                </a:cubicBezTo>
                <a:close/>
                <a:moveTo>
                  <a:pt x="281" y="23937"/>
                </a:moveTo>
                <a:cubicBezTo>
                  <a:pt x="281" y="23937"/>
                  <a:pt x="281" y="23937"/>
                  <a:pt x="281" y="23937"/>
                </a:cubicBezTo>
                <a:cubicBezTo>
                  <a:pt x="281" y="23937"/>
                  <a:pt x="281" y="23937"/>
                  <a:pt x="281" y="23937"/>
                </a:cubicBezTo>
                <a:cubicBezTo>
                  <a:pt x="313" y="23906"/>
                  <a:pt x="344" y="23874"/>
                  <a:pt x="375" y="23874"/>
                </a:cubicBezTo>
                <a:cubicBezTo>
                  <a:pt x="344" y="23874"/>
                  <a:pt x="313" y="23906"/>
                  <a:pt x="281" y="23937"/>
                </a:cubicBezTo>
                <a:close/>
                <a:moveTo>
                  <a:pt x="469" y="23749"/>
                </a:moveTo>
                <a:cubicBezTo>
                  <a:pt x="469" y="23749"/>
                  <a:pt x="438" y="23749"/>
                  <a:pt x="438" y="23749"/>
                </a:cubicBezTo>
                <a:cubicBezTo>
                  <a:pt x="438" y="23749"/>
                  <a:pt x="438" y="23749"/>
                  <a:pt x="438" y="23749"/>
                </a:cubicBezTo>
                <a:cubicBezTo>
                  <a:pt x="438" y="23718"/>
                  <a:pt x="438" y="23718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38" y="23687"/>
                  <a:pt x="438" y="23687"/>
                  <a:pt x="438" y="23687"/>
                </a:cubicBezTo>
                <a:cubicBezTo>
                  <a:pt x="469" y="23687"/>
                  <a:pt x="469" y="23687"/>
                  <a:pt x="469" y="23656"/>
                </a:cubicBezTo>
                <a:cubicBezTo>
                  <a:pt x="500" y="23624"/>
                  <a:pt x="500" y="23593"/>
                  <a:pt x="563" y="23624"/>
                </a:cubicBezTo>
                <a:cubicBezTo>
                  <a:pt x="594" y="23562"/>
                  <a:pt x="656" y="23499"/>
                  <a:pt x="688" y="23437"/>
                </a:cubicBezTo>
                <a:cubicBezTo>
                  <a:pt x="656" y="23499"/>
                  <a:pt x="594" y="23562"/>
                  <a:pt x="563" y="23624"/>
                </a:cubicBezTo>
                <a:cubicBezTo>
                  <a:pt x="563" y="23687"/>
                  <a:pt x="500" y="23718"/>
                  <a:pt x="469" y="23749"/>
                </a:cubicBezTo>
                <a:close/>
                <a:moveTo>
                  <a:pt x="1656" y="22624"/>
                </a:moveTo>
                <a:cubicBezTo>
                  <a:pt x="1688" y="22624"/>
                  <a:pt x="1688" y="22624"/>
                  <a:pt x="1719" y="22624"/>
                </a:cubicBezTo>
                <a:cubicBezTo>
                  <a:pt x="1688" y="22624"/>
                  <a:pt x="1688" y="22624"/>
                  <a:pt x="1656" y="22624"/>
                </a:cubicBezTo>
                <a:close/>
                <a:moveTo>
                  <a:pt x="1656" y="22624"/>
                </a:moveTo>
                <a:cubicBezTo>
                  <a:pt x="1656" y="22656"/>
                  <a:pt x="1656" y="22656"/>
                  <a:pt x="1656" y="22687"/>
                </a:cubicBezTo>
                <a:cubicBezTo>
                  <a:pt x="1625" y="22687"/>
                  <a:pt x="1625" y="22718"/>
                  <a:pt x="1594" y="22718"/>
                </a:cubicBezTo>
                <a:cubicBezTo>
                  <a:pt x="1563" y="22781"/>
                  <a:pt x="1531" y="22749"/>
                  <a:pt x="1500" y="22687"/>
                </a:cubicBezTo>
                <a:cubicBezTo>
                  <a:pt x="1563" y="22687"/>
                  <a:pt x="1594" y="22593"/>
                  <a:pt x="1656" y="22624"/>
                </a:cubicBezTo>
                <a:close/>
                <a:moveTo>
                  <a:pt x="1313" y="22874"/>
                </a:moveTo>
                <a:cubicBezTo>
                  <a:pt x="1344" y="22843"/>
                  <a:pt x="1375" y="22843"/>
                  <a:pt x="1406" y="22812"/>
                </a:cubicBezTo>
                <a:cubicBezTo>
                  <a:pt x="1375" y="22843"/>
                  <a:pt x="1344" y="22843"/>
                  <a:pt x="1313" y="22874"/>
                </a:cubicBezTo>
                <a:cubicBezTo>
                  <a:pt x="1344" y="22874"/>
                  <a:pt x="1375" y="22874"/>
                  <a:pt x="1375" y="22906"/>
                </a:cubicBezTo>
                <a:cubicBezTo>
                  <a:pt x="1375" y="22937"/>
                  <a:pt x="1344" y="22968"/>
                  <a:pt x="1313" y="22968"/>
                </a:cubicBezTo>
                <a:cubicBezTo>
                  <a:pt x="1313" y="22968"/>
                  <a:pt x="1281" y="22937"/>
                  <a:pt x="1250" y="22937"/>
                </a:cubicBezTo>
                <a:cubicBezTo>
                  <a:pt x="1281" y="22906"/>
                  <a:pt x="1313" y="22906"/>
                  <a:pt x="1313" y="22874"/>
                </a:cubicBezTo>
                <a:close/>
                <a:moveTo>
                  <a:pt x="1375" y="23874"/>
                </a:moveTo>
                <a:cubicBezTo>
                  <a:pt x="1313" y="23874"/>
                  <a:pt x="1344" y="23812"/>
                  <a:pt x="1313" y="23812"/>
                </a:cubicBezTo>
                <a:cubicBezTo>
                  <a:pt x="1313" y="23687"/>
                  <a:pt x="1406" y="23624"/>
                  <a:pt x="1500" y="23624"/>
                </a:cubicBezTo>
                <a:cubicBezTo>
                  <a:pt x="1531" y="23624"/>
                  <a:pt x="1563" y="23656"/>
                  <a:pt x="1563" y="23687"/>
                </a:cubicBezTo>
                <a:cubicBezTo>
                  <a:pt x="1563" y="23718"/>
                  <a:pt x="1531" y="23718"/>
                  <a:pt x="1500" y="23718"/>
                </a:cubicBezTo>
                <a:cubicBezTo>
                  <a:pt x="1438" y="23718"/>
                  <a:pt x="1406" y="23749"/>
                  <a:pt x="1406" y="23812"/>
                </a:cubicBezTo>
                <a:cubicBezTo>
                  <a:pt x="1406" y="23843"/>
                  <a:pt x="1438" y="23874"/>
                  <a:pt x="1375" y="23874"/>
                </a:cubicBezTo>
                <a:close/>
                <a:moveTo>
                  <a:pt x="1469" y="24093"/>
                </a:moveTo>
                <a:cubicBezTo>
                  <a:pt x="1469" y="24062"/>
                  <a:pt x="1469" y="24031"/>
                  <a:pt x="1531" y="24031"/>
                </a:cubicBezTo>
                <a:cubicBezTo>
                  <a:pt x="1594" y="24031"/>
                  <a:pt x="1625" y="23999"/>
                  <a:pt x="1625" y="23968"/>
                </a:cubicBezTo>
                <a:cubicBezTo>
                  <a:pt x="1625" y="23906"/>
                  <a:pt x="1625" y="23874"/>
                  <a:pt x="1688" y="23874"/>
                </a:cubicBezTo>
                <a:cubicBezTo>
                  <a:pt x="1750" y="23906"/>
                  <a:pt x="1719" y="23937"/>
                  <a:pt x="1719" y="23968"/>
                </a:cubicBezTo>
                <a:cubicBezTo>
                  <a:pt x="1719" y="24093"/>
                  <a:pt x="1625" y="24156"/>
                  <a:pt x="1469" y="24093"/>
                </a:cubicBezTo>
                <a:close/>
                <a:moveTo>
                  <a:pt x="2063" y="22343"/>
                </a:moveTo>
                <a:cubicBezTo>
                  <a:pt x="2000" y="22312"/>
                  <a:pt x="1969" y="22406"/>
                  <a:pt x="1938" y="22312"/>
                </a:cubicBezTo>
                <a:cubicBezTo>
                  <a:pt x="1969" y="22281"/>
                  <a:pt x="2031" y="22249"/>
                  <a:pt x="2094" y="22187"/>
                </a:cubicBezTo>
                <a:cubicBezTo>
                  <a:pt x="2063" y="22249"/>
                  <a:pt x="2031" y="22281"/>
                  <a:pt x="2063" y="22343"/>
                </a:cubicBezTo>
                <a:close/>
                <a:moveTo>
                  <a:pt x="15188" y="22749"/>
                </a:moveTo>
                <a:cubicBezTo>
                  <a:pt x="15188" y="22749"/>
                  <a:pt x="15188" y="22749"/>
                  <a:pt x="15188" y="22781"/>
                </a:cubicBezTo>
                <a:cubicBezTo>
                  <a:pt x="15188" y="22781"/>
                  <a:pt x="15188" y="22781"/>
                  <a:pt x="15156" y="22781"/>
                </a:cubicBezTo>
                <a:cubicBezTo>
                  <a:pt x="15125" y="22781"/>
                  <a:pt x="15125" y="22781"/>
                  <a:pt x="15094" y="22749"/>
                </a:cubicBezTo>
                <a:cubicBezTo>
                  <a:pt x="15094" y="22687"/>
                  <a:pt x="15125" y="22687"/>
                  <a:pt x="15156" y="22687"/>
                </a:cubicBezTo>
                <a:cubicBezTo>
                  <a:pt x="15219" y="22687"/>
                  <a:pt x="15188" y="22718"/>
                  <a:pt x="15188" y="22749"/>
                </a:cubicBezTo>
                <a:close/>
                <a:moveTo>
                  <a:pt x="15125" y="22999"/>
                </a:moveTo>
                <a:cubicBezTo>
                  <a:pt x="15125" y="22999"/>
                  <a:pt x="15094" y="22999"/>
                  <a:pt x="15094" y="22968"/>
                </a:cubicBezTo>
                <a:cubicBezTo>
                  <a:pt x="15063" y="22937"/>
                  <a:pt x="15094" y="22906"/>
                  <a:pt x="15125" y="22906"/>
                </a:cubicBezTo>
                <a:cubicBezTo>
                  <a:pt x="15156" y="22906"/>
                  <a:pt x="15156" y="22937"/>
                  <a:pt x="15156" y="22937"/>
                </a:cubicBezTo>
                <a:cubicBezTo>
                  <a:pt x="15188" y="22999"/>
                  <a:pt x="15156" y="22999"/>
                  <a:pt x="15125" y="22999"/>
                </a:cubicBezTo>
                <a:close/>
                <a:moveTo>
                  <a:pt x="15156" y="23406"/>
                </a:moveTo>
                <a:cubicBezTo>
                  <a:pt x="15156" y="23468"/>
                  <a:pt x="15125" y="23499"/>
                  <a:pt x="15063" y="23499"/>
                </a:cubicBezTo>
                <a:cubicBezTo>
                  <a:pt x="15094" y="23468"/>
                  <a:pt x="15125" y="23437"/>
                  <a:pt x="15156" y="23406"/>
                </a:cubicBezTo>
                <a:close/>
                <a:moveTo>
                  <a:pt x="15156" y="22374"/>
                </a:moveTo>
                <a:cubicBezTo>
                  <a:pt x="15125" y="22406"/>
                  <a:pt x="15094" y="22374"/>
                  <a:pt x="15063" y="22406"/>
                </a:cubicBezTo>
                <a:cubicBezTo>
                  <a:pt x="15031" y="22374"/>
                  <a:pt x="15125" y="22374"/>
                  <a:pt x="15063" y="22343"/>
                </a:cubicBezTo>
                <a:cubicBezTo>
                  <a:pt x="15094" y="22343"/>
                  <a:pt x="15156" y="22312"/>
                  <a:pt x="15156" y="22374"/>
                </a:cubicBezTo>
                <a:close/>
                <a:moveTo>
                  <a:pt x="15031" y="22218"/>
                </a:moveTo>
                <a:cubicBezTo>
                  <a:pt x="15063" y="22218"/>
                  <a:pt x="15094" y="22249"/>
                  <a:pt x="15063" y="22281"/>
                </a:cubicBezTo>
                <a:cubicBezTo>
                  <a:pt x="15063" y="22281"/>
                  <a:pt x="15031" y="22312"/>
                  <a:pt x="15063" y="22343"/>
                </a:cubicBezTo>
                <a:cubicBezTo>
                  <a:pt x="15031" y="22312"/>
                  <a:pt x="15031" y="22374"/>
                  <a:pt x="14969" y="22374"/>
                </a:cubicBezTo>
                <a:cubicBezTo>
                  <a:pt x="14969" y="22343"/>
                  <a:pt x="15000" y="22312"/>
                  <a:pt x="15000" y="22249"/>
                </a:cubicBezTo>
                <a:cubicBezTo>
                  <a:pt x="14969" y="22218"/>
                  <a:pt x="15000" y="22187"/>
                  <a:pt x="15031" y="22218"/>
                </a:cubicBezTo>
                <a:close/>
                <a:moveTo>
                  <a:pt x="14938" y="21374"/>
                </a:moveTo>
                <a:cubicBezTo>
                  <a:pt x="14969" y="21374"/>
                  <a:pt x="14969" y="21343"/>
                  <a:pt x="15000" y="21343"/>
                </a:cubicBezTo>
                <a:cubicBezTo>
                  <a:pt x="15031" y="21374"/>
                  <a:pt x="14969" y="21406"/>
                  <a:pt x="15000" y="21437"/>
                </a:cubicBezTo>
                <a:cubicBezTo>
                  <a:pt x="14969" y="21437"/>
                  <a:pt x="14938" y="21468"/>
                  <a:pt x="14938" y="21468"/>
                </a:cubicBezTo>
                <a:cubicBezTo>
                  <a:pt x="14906" y="21437"/>
                  <a:pt x="14906" y="21406"/>
                  <a:pt x="14938" y="21374"/>
                </a:cubicBezTo>
                <a:close/>
                <a:moveTo>
                  <a:pt x="14906" y="21468"/>
                </a:moveTo>
                <a:cubicBezTo>
                  <a:pt x="14906" y="21468"/>
                  <a:pt x="14938" y="21468"/>
                  <a:pt x="14938" y="21468"/>
                </a:cubicBezTo>
                <a:cubicBezTo>
                  <a:pt x="14938" y="21468"/>
                  <a:pt x="14938" y="21499"/>
                  <a:pt x="14906" y="21468"/>
                </a:cubicBezTo>
                <a:cubicBezTo>
                  <a:pt x="14906" y="21468"/>
                  <a:pt x="14906" y="21468"/>
                  <a:pt x="14906" y="21468"/>
                </a:cubicBezTo>
                <a:close/>
                <a:moveTo>
                  <a:pt x="14938" y="22218"/>
                </a:moveTo>
                <a:cubicBezTo>
                  <a:pt x="14938" y="22249"/>
                  <a:pt x="14906" y="22312"/>
                  <a:pt x="14906" y="22343"/>
                </a:cubicBezTo>
                <a:cubicBezTo>
                  <a:pt x="14844" y="22249"/>
                  <a:pt x="14844" y="22218"/>
                  <a:pt x="14938" y="22218"/>
                </a:cubicBezTo>
                <a:close/>
                <a:moveTo>
                  <a:pt x="14906" y="22562"/>
                </a:moveTo>
                <a:cubicBezTo>
                  <a:pt x="14938" y="22624"/>
                  <a:pt x="15000" y="22718"/>
                  <a:pt x="14875" y="22781"/>
                </a:cubicBezTo>
                <a:cubicBezTo>
                  <a:pt x="14844" y="22687"/>
                  <a:pt x="14750" y="22593"/>
                  <a:pt x="14906" y="22562"/>
                </a:cubicBezTo>
                <a:close/>
                <a:moveTo>
                  <a:pt x="14938" y="23281"/>
                </a:moveTo>
                <a:cubicBezTo>
                  <a:pt x="15063" y="23281"/>
                  <a:pt x="14969" y="23374"/>
                  <a:pt x="14969" y="23406"/>
                </a:cubicBezTo>
                <a:cubicBezTo>
                  <a:pt x="14969" y="23437"/>
                  <a:pt x="14969" y="23437"/>
                  <a:pt x="15000" y="23437"/>
                </a:cubicBezTo>
                <a:cubicBezTo>
                  <a:pt x="14969" y="23437"/>
                  <a:pt x="14969" y="23468"/>
                  <a:pt x="14969" y="23468"/>
                </a:cubicBezTo>
                <a:cubicBezTo>
                  <a:pt x="14969" y="23468"/>
                  <a:pt x="14969" y="23468"/>
                  <a:pt x="14938" y="23499"/>
                </a:cubicBezTo>
                <a:cubicBezTo>
                  <a:pt x="14906" y="23406"/>
                  <a:pt x="14844" y="23343"/>
                  <a:pt x="14750" y="23312"/>
                </a:cubicBezTo>
                <a:cubicBezTo>
                  <a:pt x="14750" y="23281"/>
                  <a:pt x="14750" y="23281"/>
                  <a:pt x="14750" y="23249"/>
                </a:cubicBezTo>
                <a:cubicBezTo>
                  <a:pt x="14719" y="23249"/>
                  <a:pt x="14719" y="23249"/>
                  <a:pt x="14719" y="23249"/>
                </a:cubicBezTo>
                <a:cubicBezTo>
                  <a:pt x="14719" y="23249"/>
                  <a:pt x="14719" y="23249"/>
                  <a:pt x="14750" y="23249"/>
                </a:cubicBezTo>
                <a:cubicBezTo>
                  <a:pt x="14750" y="23249"/>
                  <a:pt x="14781" y="23187"/>
                  <a:pt x="14813" y="23249"/>
                </a:cubicBezTo>
                <a:cubicBezTo>
                  <a:pt x="14906" y="23187"/>
                  <a:pt x="14938" y="23187"/>
                  <a:pt x="14938" y="23281"/>
                </a:cubicBezTo>
                <a:close/>
                <a:moveTo>
                  <a:pt x="14750" y="21187"/>
                </a:moveTo>
                <a:cubicBezTo>
                  <a:pt x="14750" y="21156"/>
                  <a:pt x="14781" y="21156"/>
                  <a:pt x="14781" y="21156"/>
                </a:cubicBezTo>
                <a:cubicBezTo>
                  <a:pt x="14844" y="21187"/>
                  <a:pt x="14813" y="21249"/>
                  <a:pt x="14813" y="21281"/>
                </a:cubicBezTo>
                <a:cubicBezTo>
                  <a:pt x="14750" y="21249"/>
                  <a:pt x="14719" y="21218"/>
                  <a:pt x="14750" y="21187"/>
                </a:cubicBezTo>
                <a:close/>
                <a:moveTo>
                  <a:pt x="14750" y="17374"/>
                </a:moveTo>
                <a:cubicBezTo>
                  <a:pt x="14750" y="17374"/>
                  <a:pt x="14781" y="17374"/>
                  <a:pt x="14781" y="17374"/>
                </a:cubicBezTo>
                <a:cubicBezTo>
                  <a:pt x="14813" y="17406"/>
                  <a:pt x="14813" y="17437"/>
                  <a:pt x="14813" y="17499"/>
                </a:cubicBezTo>
                <a:cubicBezTo>
                  <a:pt x="14750" y="17468"/>
                  <a:pt x="14750" y="17437"/>
                  <a:pt x="14750" y="17374"/>
                </a:cubicBezTo>
                <a:close/>
                <a:moveTo>
                  <a:pt x="14656" y="21249"/>
                </a:moveTo>
                <a:cubicBezTo>
                  <a:pt x="14688" y="21218"/>
                  <a:pt x="14688" y="21249"/>
                  <a:pt x="14688" y="21281"/>
                </a:cubicBezTo>
                <a:cubicBezTo>
                  <a:pt x="14688" y="21312"/>
                  <a:pt x="14750" y="21312"/>
                  <a:pt x="14750" y="21374"/>
                </a:cubicBezTo>
                <a:cubicBezTo>
                  <a:pt x="14688" y="21374"/>
                  <a:pt x="14656" y="21343"/>
                  <a:pt x="14625" y="21281"/>
                </a:cubicBezTo>
                <a:cubicBezTo>
                  <a:pt x="14625" y="21281"/>
                  <a:pt x="14625" y="21249"/>
                  <a:pt x="14656" y="21249"/>
                </a:cubicBezTo>
                <a:close/>
                <a:moveTo>
                  <a:pt x="14625" y="21781"/>
                </a:moveTo>
                <a:cubicBezTo>
                  <a:pt x="14656" y="21781"/>
                  <a:pt x="14656" y="21843"/>
                  <a:pt x="14688" y="21874"/>
                </a:cubicBezTo>
                <a:cubicBezTo>
                  <a:pt x="14688" y="21906"/>
                  <a:pt x="14656" y="21906"/>
                  <a:pt x="14656" y="21937"/>
                </a:cubicBezTo>
                <a:cubicBezTo>
                  <a:pt x="14625" y="21874"/>
                  <a:pt x="14594" y="21843"/>
                  <a:pt x="14563" y="21812"/>
                </a:cubicBezTo>
                <a:cubicBezTo>
                  <a:pt x="14563" y="21781"/>
                  <a:pt x="14594" y="21781"/>
                  <a:pt x="14625" y="21781"/>
                </a:cubicBezTo>
                <a:close/>
                <a:moveTo>
                  <a:pt x="14250" y="24218"/>
                </a:moveTo>
                <a:cubicBezTo>
                  <a:pt x="14250" y="24187"/>
                  <a:pt x="14281" y="24187"/>
                  <a:pt x="14281" y="24124"/>
                </a:cubicBezTo>
                <a:cubicBezTo>
                  <a:pt x="14250" y="24093"/>
                  <a:pt x="14281" y="24062"/>
                  <a:pt x="14313" y="24062"/>
                </a:cubicBezTo>
                <a:cubicBezTo>
                  <a:pt x="14313" y="24062"/>
                  <a:pt x="14313" y="24062"/>
                  <a:pt x="14313" y="24031"/>
                </a:cubicBezTo>
                <a:cubicBezTo>
                  <a:pt x="14313" y="24062"/>
                  <a:pt x="14313" y="24062"/>
                  <a:pt x="14313" y="24062"/>
                </a:cubicBezTo>
                <a:cubicBezTo>
                  <a:pt x="14313" y="24062"/>
                  <a:pt x="14313" y="24093"/>
                  <a:pt x="14344" y="24093"/>
                </a:cubicBezTo>
                <a:cubicBezTo>
                  <a:pt x="14438" y="24187"/>
                  <a:pt x="14375" y="24249"/>
                  <a:pt x="14313" y="24281"/>
                </a:cubicBezTo>
                <a:cubicBezTo>
                  <a:pt x="14281" y="24281"/>
                  <a:pt x="14281" y="24281"/>
                  <a:pt x="14281" y="24249"/>
                </a:cubicBezTo>
                <a:cubicBezTo>
                  <a:pt x="14313" y="24218"/>
                  <a:pt x="14281" y="24218"/>
                  <a:pt x="14250" y="24218"/>
                </a:cubicBezTo>
                <a:close/>
                <a:moveTo>
                  <a:pt x="14313" y="23874"/>
                </a:moveTo>
                <a:cubicBezTo>
                  <a:pt x="14313" y="23874"/>
                  <a:pt x="14250" y="23874"/>
                  <a:pt x="14281" y="23812"/>
                </a:cubicBezTo>
                <a:cubicBezTo>
                  <a:pt x="14313" y="23812"/>
                  <a:pt x="14344" y="23781"/>
                  <a:pt x="14406" y="23812"/>
                </a:cubicBezTo>
                <a:cubicBezTo>
                  <a:pt x="14469" y="23843"/>
                  <a:pt x="14500" y="23937"/>
                  <a:pt x="14469" y="24093"/>
                </a:cubicBezTo>
                <a:cubicBezTo>
                  <a:pt x="14406" y="23999"/>
                  <a:pt x="14344" y="23968"/>
                  <a:pt x="14313" y="23874"/>
                </a:cubicBezTo>
                <a:close/>
                <a:moveTo>
                  <a:pt x="13906" y="23249"/>
                </a:moveTo>
                <a:cubicBezTo>
                  <a:pt x="13875" y="23218"/>
                  <a:pt x="13813" y="23218"/>
                  <a:pt x="13781" y="23281"/>
                </a:cubicBezTo>
                <a:cubicBezTo>
                  <a:pt x="13781" y="23312"/>
                  <a:pt x="13750" y="23343"/>
                  <a:pt x="13719" y="23312"/>
                </a:cubicBezTo>
                <a:cubicBezTo>
                  <a:pt x="13688" y="23281"/>
                  <a:pt x="13625" y="23281"/>
                  <a:pt x="13688" y="23187"/>
                </a:cubicBezTo>
                <a:cubicBezTo>
                  <a:pt x="13719" y="23124"/>
                  <a:pt x="13813" y="23093"/>
                  <a:pt x="13844" y="22999"/>
                </a:cubicBezTo>
                <a:cubicBezTo>
                  <a:pt x="13844" y="22999"/>
                  <a:pt x="13875" y="22999"/>
                  <a:pt x="13875" y="22999"/>
                </a:cubicBezTo>
                <a:cubicBezTo>
                  <a:pt x="13938" y="22999"/>
                  <a:pt x="14094" y="23124"/>
                  <a:pt x="14094" y="23218"/>
                </a:cubicBezTo>
                <a:cubicBezTo>
                  <a:pt x="14094" y="23312"/>
                  <a:pt x="14000" y="23343"/>
                  <a:pt x="13969" y="23406"/>
                </a:cubicBezTo>
                <a:cubicBezTo>
                  <a:pt x="13969" y="23437"/>
                  <a:pt x="13938" y="23531"/>
                  <a:pt x="13875" y="23437"/>
                </a:cubicBezTo>
                <a:cubicBezTo>
                  <a:pt x="13813" y="23406"/>
                  <a:pt x="13875" y="23374"/>
                  <a:pt x="13875" y="23343"/>
                </a:cubicBezTo>
                <a:cubicBezTo>
                  <a:pt x="13906" y="23312"/>
                  <a:pt x="13969" y="23281"/>
                  <a:pt x="13906" y="23249"/>
                </a:cubicBezTo>
                <a:close/>
                <a:moveTo>
                  <a:pt x="12938" y="22656"/>
                </a:moveTo>
                <a:cubicBezTo>
                  <a:pt x="12938" y="22718"/>
                  <a:pt x="12906" y="22749"/>
                  <a:pt x="12844" y="22687"/>
                </a:cubicBezTo>
                <a:cubicBezTo>
                  <a:pt x="12781" y="22656"/>
                  <a:pt x="12750" y="22656"/>
                  <a:pt x="12688" y="22624"/>
                </a:cubicBezTo>
                <a:cubicBezTo>
                  <a:pt x="12594" y="22593"/>
                  <a:pt x="12594" y="22468"/>
                  <a:pt x="12656" y="22406"/>
                </a:cubicBezTo>
                <a:cubicBezTo>
                  <a:pt x="12750" y="22343"/>
                  <a:pt x="12844" y="22468"/>
                  <a:pt x="12906" y="22468"/>
                </a:cubicBezTo>
                <a:cubicBezTo>
                  <a:pt x="12938" y="22468"/>
                  <a:pt x="13000" y="22499"/>
                  <a:pt x="12969" y="22562"/>
                </a:cubicBezTo>
                <a:cubicBezTo>
                  <a:pt x="12969" y="22562"/>
                  <a:pt x="12969" y="22562"/>
                  <a:pt x="12969" y="22562"/>
                </a:cubicBezTo>
                <a:cubicBezTo>
                  <a:pt x="13000" y="22624"/>
                  <a:pt x="12969" y="22656"/>
                  <a:pt x="12938" y="22656"/>
                </a:cubicBezTo>
                <a:close/>
                <a:moveTo>
                  <a:pt x="12094" y="21781"/>
                </a:moveTo>
                <a:cubicBezTo>
                  <a:pt x="12063" y="21687"/>
                  <a:pt x="12063" y="21656"/>
                  <a:pt x="12156" y="21656"/>
                </a:cubicBezTo>
                <a:cubicBezTo>
                  <a:pt x="12125" y="21687"/>
                  <a:pt x="12125" y="21749"/>
                  <a:pt x="12094" y="21781"/>
                </a:cubicBezTo>
                <a:close/>
                <a:moveTo>
                  <a:pt x="12125" y="21906"/>
                </a:moveTo>
                <a:cubicBezTo>
                  <a:pt x="12094" y="21937"/>
                  <a:pt x="12094" y="21999"/>
                  <a:pt x="12094" y="22062"/>
                </a:cubicBezTo>
                <a:cubicBezTo>
                  <a:pt x="12000" y="21999"/>
                  <a:pt x="12031" y="21937"/>
                  <a:pt x="12031" y="21874"/>
                </a:cubicBezTo>
                <a:cubicBezTo>
                  <a:pt x="12063" y="21843"/>
                  <a:pt x="12063" y="21843"/>
                  <a:pt x="12094" y="21843"/>
                </a:cubicBezTo>
                <a:cubicBezTo>
                  <a:pt x="12125" y="21843"/>
                  <a:pt x="12125" y="21874"/>
                  <a:pt x="12125" y="21906"/>
                </a:cubicBezTo>
                <a:close/>
                <a:moveTo>
                  <a:pt x="12094" y="17906"/>
                </a:moveTo>
                <a:cubicBezTo>
                  <a:pt x="12094" y="17874"/>
                  <a:pt x="12125" y="17874"/>
                  <a:pt x="12125" y="17874"/>
                </a:cubicBezTo>
                <a:cubicBezTo>
                  <a:pt x="12156" y="17843"/>
                  <a:pt x="12156" y="17906"/>
                  <a:pt x="12188" y="17906"/>
                </a:cubicBezTo>
                <a:cubicBezTo>
                  <a:pt x="12219" y="17937"/>
                  <a:pt x="12188" y="17937"/>
                  <a:pt x="12188" y="17968"/>
                </a:cubicBezTo>
                <a:cubicBezTo>
                  <a:pt x="12188" y="17968"/>
                  <a:pt x="12188" y="17968"/>
                  <a:pt x="12188" y="17968"/>
                </a:cubicBezTo>
                <a:cubicBezTo>
                  <a:pt x="12156" y="17968"/>
                  <a:pt x="12156" y="17968"/>
                  <a:pt x="12125" y="17937"/>
                </a:cubicBezTo>
                <a:cubicBezTo>
                  <a:pt x="12125" y="17937"/>
                  <a:pt x="12094" y="17968"/>
                  <a:pt x="12094" y="17906"/>
                </a:cubicBezTo>
                <a:close/>
                <a:moveTo>
                  <a:pt x="12188" y="21874"/>
                </a:moveTo>
                <a:cubicBezTo>
                  <a:pt x="12188" y="21874"/>
                  <a:pt x="12156" y="21906"/>
                  <a:pt x="12156" y="21937"/>
                </a:cubicBezTo>
                <a:cubicBezTo>
                  <a:pt x="12156" y="21906"/>
                  <a:pt x="12188" y="21874"/>
                  <a:pt x="12188" y="21874"/>
                </a:cubicBezTo>
                <a:close/>
                <a:moveTo>
                  <a:pt x="12156" y="21031"/>
                </a:moveTo>
                <a:cubicBezTo>
                  <a:pt x="12156" y="20968"/>
                  <a:pt x="12250" y="20937"/>
                  <a:pt x="12344" y="20874"/>
                </a:cubicBezTo>
                <a:cubicBezTo>
                  <a:pt x="12313" y="20999"/>
                  <a:pt x="12281" y="21124"/>
                  <a:pt x="12250" y="21218"/>
                </a:cubicBezTo>
                <a:cubicBezTo>
                  <a:pt x="12219" y="21156"/>
                  <a:pt x="12125" y="21093"/>
                  <a:pt x="12156" y="21031"/>
                </a:cubicBezTo>
                <a:close/>
                <a:moveTo>
                  <a:pt x="13250" y="17124"/>
                </a:moveTo>
                <a:cubicBezTo>
                  <a:pt x="13344" y="17156"/>
                  <a:pt x="13375" y="17249"/>
                  <a:pt x="13469" y="17281"/>
                </a:cubicBezTo>
                <a:cubicBezTo>
                  <a:pt x="13500" y="17281"/>
                  <a:pt x="13500" y="17312"/>
                  <a:pt x="13469" y="17343"/>
                </a:cubicBezTo>
                <a:cubicBezTo>
                  <a:pt x="13438" y="17343"/>
                  <a:pt x="13438" y="17374"/>
                  <a:pt x="13406" y="17374"/>
                </a:cubicBezTo>
                <a:cubicBezTo>
                  <a:pt x="13375" y="17374"/>
                  <a:pt x="13344" y="17406"/>
                  <a:pt x="13313" y="17374"/>
                </a:cubicBezTo>
                <a:cubicBezTo>
                  <a:pt x="13281" y="17343"/>
                  <a:pt x="13375" y="17343"/>
                  <a:pt x="13344" y="17312"/>
                </a:cubicBezTo>
                <a:cubicBezTo>
                  <a:pt x="13313" y="17312"/>
                  <a:pt x="13250" y="17281"/>
                  <a:pt x="13219" y="17343"/>
                </a:cubicBezTo>
                <a:cubicBezTo>
                  <a:pt x="13188" y="17374"/>
                  <a:pt x="13156" y="17374"/>
                  <a:pt x="13156" y="17343"/>
                </a:cubicBezTo>
                <a:cubicBezTo>
                  <a:pt x="13063" y="17281"/>
                  <a:pt x="13000" y="17249"/>
                  <a:pt x="12938" y="17187"/>
                </a:cubicBezTo>
                <a:cubicBezTo>
                  <a:pt x="12875" y="17124"/>
                  <a:pt x="12906" y="17124"/>
                  <a:pt x="12938" y="17093"/>
                </a:cubicBezTo>
                <a:cubicBezTo>
                  <a:pt x="13031" y="17031"/>
                  <a:pt x="13156" y="17031"/>
                  <a:pt x="13250" y="17124"/>
                </a:cubicBezTo>
                <a:close/>
                <a:moveTo>
                  <a:pt x="13031" y="16812"/>
                </a:moveTo>
                <a:cubicBezTo>
                  <a:pt x="13063" y="16812"/>
                  <a:pt x="13094" y="16812"/>
                  <a:pt x="13094" y="16843"/>
                </a:cubicBezTo>
                <a:cubicBezTo>
                  <a:pt x="13094" y="16874"/>
                  <a:pt x="13063" y="16874"/>
                  <a:pt x="13063" y="16874"/>
                </a:cubicBezTo>
                <a:cubicBezTo>
                  <a:pt x="13031" y="16874"/>
                  <a:pt x="13000" y="16874"/>
                  <a:pt x="13000" y="16843"/>
                </a:cubicBezTo>
                <a:cubicBezTo>
                  <a:pt x="13000" y="16812"/>
                  <a:pt x="13031" y="16812"/>
                  <a:pt x="13031" y="16812"/>
                </a:cubicBezTo>
                <a:close/>
                <a:moveTo>
                  <a:pt x="13219" y="16937"/>
                </a:moveTo>
                <a:cubicBezTo>
                  <a:pt x="13250" y="16937"/>
                  <a:pt x="13438" y="17093"/>
                  <a:pt x="13438" y="17124"/>
                </a:cubicBezTo>
                <a:cubicBezTo>
                  <a:pt x="13438" y="17156"/>
                  <a:pt x="13406" y="17156"/>
                  <a:pt x="13406" y="17156"/>
                </a:cubicBezTo>
                <a:cubicBezTo>
                  <a:pt x="13344" y="17124"/>
                  <a:pt x="13250" y="17062"/>
                  <a:pt x="13188" y="16999"/>
                </a:cubicBezTo>
                <a:cubicBezTo>
                  <a:pt x="13188" y="16999"/>
                  <a:pt x="13188" y="16968"/>
                  <a:pt x="13219" y="16937"/>
                </a:cubicBezTo>
                <a:close/>
                <a:moveTo>
                  <a:pt x="13469" y="17187"/>
                </a:moveTo>
                <a:cubicBezTo>
                  <a:pt x="13531" y="17187"/>
                  <a:pt x="13563" y="17187"/>
                  <a:pt x="13594" y="17249"/>
                </a:cubicBezTo>
                <a:cubicBezTo>
                  <a:pt x="13594" y="17249"/>
                  <a:pt x="13594" y="17281"/>
                  <a:pt x="13563" y="17281"/>
                </a:cubicBezTo>
                <a:cubicBezTo>
                  <a:pt x="13531" y="17281"/>
                  <a:pt x="13500" y="17249"/>
                  <a:pt x="13469" y="17187"/>
                </a:cubicBezTo>
                <a:close/>
                <a:moveTo>
                  <a:pt x="14125" y="22812"/>
                </a:moveTo>
                <a:cubicBezTo>
                  <a:pt x="14156" y="22812"/>
                  <a:pt x="14188" y="22812"/>
                  <a:pt x="14219" y="22781"/>
                </a:cubicBezTo>
                <a:cubicBezTo>
                  <a:pt x="14250" y="22781"/>
                  <a:pt x="14250" y="22781"/>
                  <a:pt x="14250" y="22812"/>
                </a:cubicBezTo>
                <a:cubicBezTo>
                  <a:pt x="14281" y="22906"/>
                  <a:pt x="14281" y="22968"/>
                  <a:pt x="14219" y="23031"/>
                </a:cubicBezTo>
                <a:cubicBezTo>
                  <a:pt x="14188" y="23031"/>
                  <a:pt x="14188" y="23062"/>
                  <a:pt x="14156" y="23062"/>
                </a:cubicBezTo>
                <a:cubicBezTo>
                  <a:pt x="14156" y="23062"/>
                  <a:pt x="14156" y="23062"/>
                  <a:pt x="14156" y="23031"/>
                </a:cubicBezTo>
                <a:cubicBezTo>
                  <a:pt x="14125" y="23031"/>
                  <a:pt x="14156" y="22999"/>
                  <a:pt x="14156" y="22999"/>
                </a:cubicBezTo>
                <a:cubicBezTo>
                  <a:pt x="14188" y="22968"/>
                  <a:pt x="14188" y="22968"/>
                  <a:pt x="14250" y="22968"/>
                </a:cubicBezTo>
                <a:cubicBezTo>
                  <a:pt x="14125" y="22937"/>
                  <a:pt x="14125" y="22874"/>
                  <a:pt x="14125" y="22812"/>
                </a:cubicBezTo>
                <a:close/>
                <a:moveTo>
                  <a:pt x="14094" y="22093"/>
                </a:moveTo>
                <a:cubicBezTo>
                  <a:pt x="14156" y="22093"/>
                  <a:pt x="14125" y="22156"/>
                  <a:pt x="14156" y="22156"/>
                </a:cubicBezTo>
                <a:cubicBezTo>
                  <a:pt x="14156" y="22187"/>
                  <a:pt x="14156" y="22249"/>
                  <a:pt x="14125" y="22249"/>
                </a:cubicBezTo>
                <a:cubicBezTo>
                  <a:pt x="14063" y="22218"/>
                  <a:pt x="14000" y="22187"/>
                  <a:pt x="14000" y="22156"/>
                </a:cubicBezTo>
                <a:cubicBezTo>
                  <a:pt x="14000" y="22093"/>
                  <a:pt x="14063" y="22124"/>
                  <a:pt x="14094" y="22093"/>
                </a:cubicBezTo>
                <a:close/>
                <a:moveTo>
                  <a:pt x="14000" y="22093"/>
                </a:moveTo>
                <a:cubicBezTo>
                  <a:pt x="13969" y="22093"/>
                  <a:pt x="13969" y="22062"/>
                  <a:pt x="13969" y="22031"/>
                </a:cubicBezTo>
                <a:cubicBezTo>
                  <a:pt x="13938" y="21937"/>
                  <a:pt x="14000" y="21843"/>
                  <a:pt x="14063" y="21843"/>
                </a:cubicBezTo>
                <a:cubicBezTo>
                  <a:pt x="14125" y="21874"/>
                  <a:pt x="14125" y="21968"/>
                  <a:pt x="14125" y="21999"/>
                </a:cubicBezTo>
                <a:cubicBezTo>
                  <a:pt x="14125" y="22093"/>
                  <a:pt x="14063" y="22062"/>
                  <a:pt x="14000" y="22093"/>
                </a:cubicBezTo>
                <a:close/>
                <a:moveTo>
                  <a:pt x="14094" y="22687"/>
                </a:moveTo>
                <a:cubicBezTo>
                  <a:pt x="14125" y="22687"/>
                  <a:pt x="14125" y="22687"/>
                  <a:pt x="14125" y="22687"/>
                </a:cubicBezTo>
                <a:cubicBezTo>
                  <a:pt x="14125" y="22687"/>
                  <a:pt x="14125" y="22718"/>
                  <a:pt x="14156" y="22718"/>
                </a:cubicBezTo>
                <a:cubicBezTo>
                  <a:pt x="14156" y="22749"/>
                  <a:pt x="14094" y="22781"/>
                  <a:pt x="14094" y="22812"/>
                </a:cubicBezTo>
                <a:cubicBezTo>
                  <a:pt x="14094" y="22812"/>
                  <a:pt x="14063" y="22812"/>
                  <a:pt x="14031" y="22781"/>
                </a:cubicBezTo>
                <a:cubicBezTo>
                  <a:pt x="14063" y="22749"/>
                  <a:pt x="14063" y="22718"/>
                  <a:pt x="14094" y="22687"/>
                </a:cubicBezTo>
                <a:close/>
                <a:moveTo>
                  <a:pt x="14250" y="18187"/>
                </a:moveTo>
                <a:cubicBezTo>
                  <a:pt x="14250" y="18218"/>
                  <a:pt x="14250" y="18218"/>
                  <a:pt x="14250" y="18218"/>
                </a:cubicBezTo>
                <a:cubicBezTo>
                  <a:pt x="14219" y="18218"/>
                  <a:pt x="14219" y="18187"/>
                  <a:pt x="14219" y="18187"/>
                </a:cubicBezTo>
                <a:cubicBezTo>
                  <a:pt x="14219" y="18124"/>
                  <a:pt x="14188" y="18093"/>
                  <a:pt x="14156" y="18062"/>
                </a:cubicBezTo>
                <a:cubicBezTo>
                  <a:pt x="14156" y="18124"/>
                  <a:pt x="14125" y="18156"/>
                  <a:pt x="14125" y="18187"/>
                </a:cubicBezTo>
                <a:cubicBezTo>
                  <a:pt x="14094" y="18156"/>
                  <a:pt x="14031" y="18124"/>
                  <a:pt x="14000" y="18062"/>
                </a:cubicBezTo>
                <a:cubicBezTo>
                  <a:pt x="14031" y="18031"/>
                  <a:pt x="14063" y="18031"/>
                  <a:pt x="14094" y="18031"/>
                </a:cubicBezTo>
                <a:cubicBezTo>
                  <a:pt x="14063" y="17999"/>
                  <a:pt x="14031" y="17968"/>
                  <a:pt x="14000" y="17999"/>
                </a:cubicBezTo>
                <a:cubicBezTo>
                  <a:pt x="14000" y="17999"/>
                  <a:pt x="13938" y="17968"/>
                  <a:pt x="14000" y="17968"/>
                </a:cubicBezTo>
                <a:cubicBezTo>
                  <a:pt x="14031" y="17937"/>
                  <a:pt x="14063" y="17874"/>
                  <a:pt x="14094" y="17968"/>
                </a:cubicBezTo>
                <a:cubicBezTo>
                  <a:pt x="14094" y="18031"/>
                  <a:pt x="14094" y="18062"/>
                  <a:pt x="14188" y="18031"/>
                </a:cubicBezTo>
                <a:cubicBezTo>
                  <a:pt x="14219" y="18031"/>
                  <a:pt x="14281" y="18156"/>
                  <a:pt x="14250" y="18187"/>
                </a:cubicBezTo>
                <a:close/>
                <a:moveTo>
                  <a:pt x="14094" y="17374"/>
                </a:moveTo>
                <a:cubicBezTo>
                  <a:pt x="14063" y="17406"/>
                  <a:pt x="14063" y="17406"/>
                  <a:pt x="14063" y="17437"/>
                </a:cubicBezTo>
                <a:cubicBezTo>
                  <a:pt x="14031" y="17499"/>
                  <a:pt x="14000" y="17531"/>
                  <a:pt x="13938" y="17468"/>
                </a:cubicBezTo>
                <a:cubicBezTo>
                  <a:pt x="13938" y="17437"/>
                  <a:pt x="13906" y="17437"/>
                  <a:pt x="13906" y="17437"/>
                </a:cubicBezTo>
                <a:cubicBezTo>
                  <a:pt x="13906" y="17406"/>
                  <a:pt x="13875" y="17374"/>
                  <a:pt x="13906" y="17374"/>
                </a:cubicBezTo>
                <a:cubicBezTo>
                  <a:pt x="13938" y="17374"/>
                  <a:pt x="14000" y="17343"/>
                  <a:pt x="14031" y="17374"/>
                </a:cubicBezTo>
                <a:cubicBezTo>
                  <a:pt x="14063" y="17437"/>
                  <a:pt x="14063" y="17406"/>
                  <a:pt x="14094" y="17374"/>
                </a:cubicBezTo>
                <a:close/>
                <a:moveTo>
                  <a:pt x="14094" y="17124"/>
                </a:moveTo>
                <a:cubicBezTo>
                  <a:pt x="14125" y="17124"/>
                  <a:pt x="14156" y="17156"/>
                  <a:pt x="14188" y="17218"/>
                </a:cubicBezTo>
                <a:cubicBezTo>
                  <a:pt x="14188" y="17218"/>
                  <a:pt x="14156" y="17218"/>
                  <a:pt x="14156" y="17249"/>
                </a:cubicBezTo>
                <a:cubicBezTo>
                  <a:pt x="14125" y="17218"/>
                  <a:pt x="14063" y="17218"/>
                  <a:pt x="14063" y="17156"/>
                </a:cubicBezTo>
                <a:cubicBezTo>
                  <a:pt x="14063" y="17124"/>
                  <a:pt x="14063" y="17124"/>
                  <a:pt x="14094" y="17124"/>
                </a:cubicBezTo>
                <a:close/>
                <a:moveTo>
                  <a:pt x="13781" y="17312"/>
                </a:moveTo>
                <a:cubicBezTo>
                  <a:pt x="13875" y="17218"/>
                  <a:pt x="13938" y="17187"/>
                  <a:pt x="14063" y="17281"/>
                </a:cubicBezTo>
                <a:cubicBezTo>
                  <a:pt x="13969" y="17281"/>
                  <a:pt x="13906" y="17312"/>
                  <a:pt x="13781" y="17312"/>
                </a:cubicBezTo>
                <a:close/>
                <a:moveTo>
                  <a:pt x="13813" y="17437"/>
                </a:moveTo>
                <a:cubicBezTo>
                  <a:pt x="13813" y="17406"/>
                  <a:pt x="13875" y="17468"/>
                  <a:pt x="13906" y="17437"/>
                </a:cubicBezTo>
                <a:cubicBezTo>
                  <a:pt x="13875" y="17499"/>
                  <a:pt x="13969" y="17499"/>
                  <a:pt x="13969" y="17531"/>
                </a:cubicBezTo>
                <a:cubicBezTo>
                  <a:pt x="13938" y="17562"/>
                  <a:pt x="13906" y="17531"/>
                  <a:pt x="13875" y="17531"/>
                </a:cubicBezTo>
                <a:cubicBezTo>
                  <a:pt x="13844" y="17499"/>
                  <a:pt x="13781" y="17499"/>
                  <a:pt x="13813" y="17437"/>
                </a:cubicBezTo>
                <a:close/>
                <a:moveTo>
                  <a:pt x="13938" y="21249"/>
                </a:moveTo>
                <a:cubicBezTo>
                  <a:pt x="13969" y="21249"/>
                  <a:pt x="13969" y="21312"/>
                  <a:pt x="13969" y="21343"/>
                </a:cubicBezTo>
                <a:cubicBezTo>
                  <a:pt x="14000" y="21406"/>
                  <a:pt x="13938" y="21437"/>
                  <a:pt x="13906" y="21437"/>
                </a:cubicBezTo>
                <a:cubicBezTo>
                  <a:pt x="13844" y="21437"/>
                  <a:pt x="13844" y="21374"/>
                  <a:pt x="13844" y="21374"/>
                </a:cubicBezTo>
                <a:cubicBezTo>
                  <a:pt x="13844" y="21312"/>
                  <a:pt x="13906" y="21281"/>
                  <a:pt x="13938" y="21249"/>
                </a:cubicBezTo>
                <a:close/>
                <a:moveTo>
                  <a:pt x="13844" y="22687"/>
                </a:moveTo>
                <a:cubicBezTo>
                  <a:pt x="13781" y="22749"/>
                  <a:pt x="13750" y="22687"/>
                  <a:pt x="13750" y="22624"/>
                </a:cubicBezTo>
                <a:cubicBezTo>
                  <a:pt x="13719" y="22624"/>
                  <a:pt x="13719" y="22656"/>
                  <a:pt x="13719" y="22656"/>
                </a:cubicBezTo>
                <a:cubicBezTo>
                  <a:pt x="13719" y="22656"/>
                  <a:pt x="13719" y="22687"/>
                  <a:pt x="13719" y="22687"/>
                </a:cubicBezTo>
                <a:cubicBezTo>
                  <a:pt x="13719" y="22718"/>
                  <a:pt x="13688" y="22749"/>
                  <a:pt x="13656" y="22718"/>
                </a:cubicBezTo>
                <a:cubicBezTo>
                  <a:pt x="13625" y="22687"/>
                  <a:pt x="13563" y="22687"/>
                  <a:pt x="13625" y="22656"/>
                </a:cubicBezTo>
                <a:cubicBezTo>
                  <a:pt x="13656" y="22624"/>
                  <a:pt x="13656" y="22562"/>
                  <a:pt x="13688" y="22499"/>
                </a:cubicBezTo>
                <a:cubicBezTo>
                  <a:pt x="13719" y="22468"/>
                  <a:pt x="13750" y="22374"/>
                  <a:pt x="13844" y="22406"/>
                </a:cubicBezTo>
                <a:cubicBezTo>
                  <a:pt x="13906" y="22406"/>
                  <a:pt x="13906" y="22499"/>
                  <a:pt x="13938" y="22562"/>
                </a:cubicBezTo>
                <a:cubicBezTo>
                  <a:pt x="13938" y="22624"/>
                  <a:pt x="13938" y="22718"/>
                  <a:pt x="13875" y="22781"/>
                </a:cubicBezTo>
                <a:cubicBezTo>
                  <a:pt x="13844" y="22781"/>
                  <a:pt x="13844" y="22843"/>
                  <a:pt x="13813" y="22812"/>
                </a:cubicBezTo>
                <a:cubicBezTo>
                  <a:pt x="13781" y="22781"/>
                  <a:pt x="13813" y="22749"/>
                  <a:pt x="13844" y="22749"/>
                </a:cubicBezTo>
                <a:cubicBezTo>
                  <a:pt x="13844" y="22718"/>
                  <a:pt x="13875" y="22718"/>
                  <a:pt x="13844" y="22687"/>
                </a:cubicBezTo>
                <a:close/>
                <a:moveTo>
                  <a:pt x="13781" y="21937"/>
                </a:moveTo>
                <a:cubicBezTo>
                  <a:pt x="13781" y="21906"/>
                  <a:pt x="13813" y="21906"/>
                  <a:pt x="13844" y="21874"/>
                </a:cubicBezTo>
                <a:cubicBezTo>
                  <a:pt x="13844" y="21874"/>
                  <a:pt x="13875" y="21906"/>
                  <a:pt x="13875" y="21906"/>
                </a:cubicBezTo>
                <a:cubicBezTo>
                  <a:pt x="13875" y="21937"/>
                  <a:pt x="13844" y="21968"/>
                  <a:pt x="13813" y="21968"/>
                </a:cubicBezTo>
                <a:cubicBezTo>
                  <a:pt x="13813" y="21968"/>
                  <a:pt x="13781" y="21968"/>
                  <a:pt x="13781" y="21937"/>
                </a:cubicBezTo>
                <a:close/>
                <a:moveTo>
                  <a:pt x="13875" y="21656"/>
                </a:moveTo>
                <a:cubicBezTo>
                  <a:pt x="13906" y="21749"/>
                  <a:pt x="13813" y="21749"/>
                  <a:pt x="13781" y="21749"/>
                </a:cubicBezTo>
                <a:cubicBezTo>
                  <a:pt x="13750" y="21781"/>
                  <a:pt x="13719" y="21749"/>
                  <a:pt x="13719" y="21812"/>
                </a:cubicBezTo>
                <a:cubicBezTo>
                  <a:pt x="13719" y="21843"/>
                  <a:pt x="13719" y="21843"/>
                  <a:pt x="13688" y="21843"/>
                </a:cubicBezTo>
                <a:cubicBezTo>
                  <a:pt x="13625" y="21874"/>
                  <a:pt x="13594" y="21812"/>
                  <a:pt x="13563" y="21781"/>
                </a:cubicBezTo>
                <a:cubicBezTo>
                  <a:pt x="13531" y="21781"/>
                  <a:pt x="13531" y="21749"/>
                  <a:pt x="13563" y="21718"/>
                </a:cubicBezTo>
                <a:cubicBezTo>
                  <a:pt x="13594" y="21656"/>
                  <a:pt x="13656" y="21593"/>
                  <a:pt x="13750" y="21593"/>
                </a:cubicBezTo>
                <a:cubicBezTo>
                  <a:pt x="13813" y="21593"/>
                  <a:pt x="13844" y="21624"/>
                  <a:pt x="13875" y="21656"/>
                </a:cubicBezTo>
                <a:close/>
                <a:moveTo>
                  <a:pt x="13688" y="21281"/>
                </a:moveTo>
                <a:cubicBezTo>
                  <a:pt x="13625" y="21281"/>
                  <a:pt x="13594" y="21343"/>
                  <a:pt x="13563" y="21374"/>
                </a:cubicBezTo>
                <a:cubicBezTo>
                  <a:pt x="13531" y="21406"/>
                  <a:pt x="13500" y="21343"/>
                  <a:pt x="13500" y="21281"/>
                </a:cubicBezTo>
                <a:cubicBezTo>
                  <a:pt x="13500" y="21218"/>
                  <a:pt x="13531" y="21156"/>
                  <a:pt x="13531" y="21093"/>
                </a:cubicBezTo>
                <a:cubicBezTo>
                  <a:pt x="13531" y="21062"/>
                  <a:pt x="13563" y="21062"/>
                  <a:pt x="13594" y="21062"/>
                </a:cubicBezTo>
                <a:cubicBezTo>
                  <a:pt x="13594" y="21062"/>
                  <a:pt x="13719" y="21249"/>
                  <a:pt x="13719" y="21281"/>
                </a:cubicBezTo>
                <a:cubicBezTo>
                  <a:pt x="13719" y="21281"/>
                  <a:pt x="13688" y="21281"/>
                  <a:pt x="13688" y="21281"/>
                </a:cubicBezTo>
                <a:close/>
                <a:moveTo>
                  <a:pt x="13500" y="21999"/>
                </a:moveTo>
                <a:cubicBezTo>
                  <a:pt x="13469" y="22031"/>
                  <a:pt x="13406" y="22031"/>
                  <a:pt x="13406" y="22093"/>
                </a:cubicBezTo>
                <a:cubicBezTo>
                  <a:pt x="13438" y="22124"/>
                  <a:pt x="13406" y="22156"/>
                  <a:pt x="13344" y="22156"/>
                </a:cubicBezTo>
                <a:cubicBezTo>
                  <a:pt x="13406" y="22031"/>
                  <a:pt x="13406" y="22031"/>
                  <a:pt x="13500" y="21999"/>
                </a:cubicBezTo>
                <a:close/>
                <a:moveTo>
                  <a:pt x="13469" y="21093"/>
                </a:moveTo>
                <a:cubicBezTo>
                  <a:pt x="13469" y="21124"/>
                  <a:pt x="13469" y="21187"/>
                  <a:pt x="13438" y="21187"/>
                </a:cubicBezTo>
                <a:cubicBezTo>
                  <a:pt x="13438" y="21187"/>
                  <a:pt x="13406" y="21156"/>
                  <a:pt x="13406" y="21124"/>
                </a:cubicBezTo>
                <a:cubicBezTo>
                  <a:pt x="13406" y="21093"/>
                  <a:pt x="13406" y="21062"/>
                  <a:pt x="13438" y="21062"/>
                </a:cubicBezTo>
                <a:cubicBezTo>
                  <a:pt x="13469" y="21062"/>
                  <a:pt x="13469" y="21093"/>
                  <a:pt x="13469" y="21093"/>
                </a:cubicBezTo>
                <a:close/>
                <a:moveTo>
                  <a:pt x="13406" y="21343"/>
                </a:moveTo>
                <a:cubicBezTo>
                  <a:pt x="13406" y="21374"/>
                  <a:pt x="13375" y="21374"/>
                  <a:pt x="13344" y="21374"/>
                </a:cubicBezTo>
                <a:cubicBezTo>
                  <a:pt x="13281" y="21374"/>
                  <a:pt x="13281" y="21312"/>
                  <a:pt x="13250" y="21249"/>
                </a:cubicBezTo>
                <a:cubicBezTo>
                  <a:pt x="13250" y="21218"/>
                  <a:pt x="13281" y="21156"/>
                  <a:pt x="13344" y="21187"/>
                </a:cubicBezTo>
                <a:cubicBezTo>
                  <a:pt x="13375" y="21218"/>
                  <a:pt x="13406" y="21249"/>
                  <a:pt x="13406" y="21343"/>
                </a:cubicBezTo>
                <a:close/>
                <a:moveTo>
                  <a:pt x="12938" y="17906"/>
                </a:moveTo>
                <a:cubicBezTo>
                  <a:pt x="12906" y="17906"/>
                  <a:pt x="12938" y="17874"/>
                  <a:pt x="12969" y="17874"/>
                </a:cubicBezTo>
                <a:cubicBezTo>
                  <a:pt x="13000" y="17874"/>
                  <a:pt x="13031" y="17874"/>
                  <a:pt x="13063" y="17874"/>
                </a:cubicBezTo>
                <a:cubicBezTo>
                  <a:pt x="13063" y="17937"/>
                  <a:pt x="13063" y="17999"/>
                  <a:pt x="13063" y="18093"/>
                </a:cubicBezTo>
                <a:cubicBezTo>
                  <a:pt x="13031" y="18093"/>
                  <a:pt x="13031" y="18124"/>
                  <a:pt x="13000" y="18156"/>
                </a:cubicBezTo>
                <a:cubicBezTo>
                  <a:pt x="13000" y="18124"/>
                  <a:pt x="12969" y="18093"/>
                  <a:pt x="12938" y="18062"/>
                </a:cubicBezTo>
                <a:cubicBezTo>
                  <a:pt x="12938" y="18031"/>
                  <a:pt x="12906" y="17999"/>
                  <a:pt x="12938" y="17968"/>
                </a:cubicBezTo>
                <a:cubicBezTo>
                  <a:pt x="13031" y="17968"/>
                  <a:pt x="13031" y="17937"/>
                  <a:pt x="12938" y="17906"/>
                </a:cubicBezTo>
                <a:close/>
                <a:moveTo>
                  <a:pt x="13000" y="20937"/>
                </a:moveTo>
                <a:cubicBezTo>
                  <a:pt x="13031" y="21031"/>
                  <a:pt x="13063" y="21062"/>
                  <a:pt x="13125" y="21124"/>
                </a:cubicBezTo>
                <a:cubicBezTo>
                  <a:pt x="13125" y="21062"/>
                  <a:pt x="13094" y="20999"/>
                  <a:pt x="13094" y="20937"/>
                </a:cubicBezTo>
                <a:cubicBezTo>
                  <a:pt x="13188" y="20906"/>
                  <a:pt x="13250" y="20937"/>
                  <a:pt x="13281" y="21031"/>
                </a:cubicBezTo>
                <a:cubicBezTo>
                  <a:pt x="13281" y="21093"/>
                  <a:pt x="13281" y="21124"/>
                  <a:pt x="13250" y="21124"/>
                </a:cubicBezTo>
                <a:cubicBezTo>
                  <a:pt x="13188" y="21156"/>
                  <a:pt x="13156" y="21218"/>
                  <a:pt x="13125" y="21249"/>
                </a:cubicBezTo>
                <a:cubicBezTo>
                  <a:pt x="13094" y="21281"/>
                  <a:pt x="13063" y="21312"/>
                  <a:pt x="13000" y="21249"/>
                </a:cubicBezTo>
                <a:cubicBezTo>
                  <a:pt x="12938" y="21156"/>
                  <a:pt x="12906" y="21062"/>
                  <a:pt x="13000" y="20937"/>
                </a:cubicBezTo>
                <a:close/>
                <a:moveTo>
                  <a:pt x="13094" y="17874"/>
                </a:moveTo>
                <a:cubicBezTo>
                  <a:pt x="13125" y="17874"/>
                  <a:pt x="13156" y="17874"/>
                  <a:pt x="13156" y="17906"/>
                </a:cubicBezTo>
                <a:cubicBezTo>
                  <a:pt x="13156" y="17874"/>
                  <a:pt x="13125" y="17874"/>
                  <a:pt x="13094" y="17874"/>
                </a:cubicBezTo>
                <a:close/>
                <a:moveTo>
                  <a:pt x="13156" y="17937"/>
                </a:moveTo>
                <a:cubicBezTo>
                  <a:pt x="13156" y="17937"/>
                  <a:pt x="13156" y="17937"/>
                  <a:pt x="13156" y="17937"/>
                </a:cubicBezTo>
                <a:cubicBezTo>
                  <a:pt x="13156" y="17968"/>
                  <a:pt x="13219" y="18031"/>
                  <a:pt x="13156" y="18062"/>
                </a:cubicBezTo>
                <a:cubicBezTo>
                  <a:pt x="13125" y="18031"/>
                  <a:pt x="13094" y="17999"/>
                  <a:pt x="13094" y="17937"/>
                </a:cubicBezTo>
                <a:cubicBezTo>
                  <a:pt x="13094" y="17937"/>
                  <a:pt x="13094" y="17906"/>
                  <a:pt x="13125" y="17906"/>
                </a:cubicBezTo>
                <a:cubicBezTo>
                  <a:pt x="13125" y="17906"/>
                  <a:pt x="13156" y="17937"/>
                  <a:pt x="13156" y="17937"/>
                </a:cubicBezTo>
                <a:close/>
                <a:moveTo>
                  <a:pt x="13344" y="21593"/>
                </a:moveTo>
                <a:cubicBezTo>
                  <a:pt x="13375" y="21593"/>
                  <a:pt x="13344" y="21624"/>
                  <a:pt x="13344" y="21624"/>
                </a:cubicBezTo>
                <a:cubicBezTo>
                  <a:pt x="13281" y="21624"/>
                  <a:pt x="13250" y="21624"/>
                  <a:pt x="13219" y="21562"/>
                </a:cubicBezTo>
                <a:cubicBezTo>
                  <a:pt x="13281" y="21531"/>
                  <a:pt x="13344" y="21531"/>
                  <a:pt x="13344" y="21593"/>
                </a:cubicBezTo>
                <a:close/>
                <a:moveTo>
                  <a:pt x="13063" y="21999"/>
                </a:moveTo>
                <a:cubicBezTo>
                  <a:pt x="13094" y="21999"/>
                  <a:pt x="13094" y="22031"/>
                  <a:pt x="13094" y="22062"/>
                </a:cubicBezTo>
                <a:cubicBezTo>
                  <a:pt x="13094" y="22093"/>
                  <a:pt x="13094" y="22124"/>
                  <a:pt x="13063" y="22124"/>
                </a:cubicBezTo>
                <a:cubicBezTo>
                  <a:pt x="13031" y="22093"/>
                  <a:pt x="13000" y="22093"/>
                  <a:pt x="13000" y="22062"/>
                </a:cubicBezTo>
                <a:cubicBezTo>
                  <a:pt x="13000" y="22031"/>
                  <a:pt x="13031" y="21999"/>
                  <a:pt x="13063" y="21999"/>
                </a:cubicBezTo>
                <a:close/>
                <a:moveTo>
                  <a:pt x="13094" y="21718"/>
                </a:moveTo>
                <a:cubicBezTo>
                  <a:pt x="13156" y="21656"/>
                  <a:pt x="13219" y="21687"/>
                  <a:pt x="13250" y="21656"/>
                </a:cubicBezTo>
                <a:cubicBezTo>
                  <a:pt x="13219" y="21781"/>
                  <a:pt x="13156" y="21718"/>
                  <a:pt x="13094" y="21718"/>
                </a:cubicBezTo>
                <a:close/>
                <a:moveTo>
                  <a:pt x="13250" y="22093"/>
                </a:moveTo>
                <a:cubicBezTo>
                  <a:pt x="13250" y="22124"/>
                  <a:pt x="13250" y="22124"/>
                  <a:pt x="13250" y="22156"/>
                </a:cubicBezTo>
                <a:cubicBezTo>
                  <a:pt x="13219" y="22124"/>
                  <a:pt x="13156" y="22093"/>
                  <a:pt x="13156" y="22031"/>
                </a:cubicBezTo>
                <a:cubicBezTo>
                  <a:pt x="13188" y="21999"/>
                  <a:pt x="13219" y="22031"/>
                  <a:pt x="13250" y="22093"/>
                </a:cubicBezTo>
                <a:close/>
                <a:moveTo>
                  <a:pt x="13250" y="22468"/>
                </a:moveTo>
                <a:cubicBezTo>
                  <a:pt x="13250" y="22406"/>
                  <a:pt x="13250" y="22343"/>
                  <a:pt x="13313" y="22343"/>
                </a:cubicBezTo>
                <a:cubicBezTo>
                  <a:pt x="13344" y="22343"/>
                  <a:pt x="13375" y="22406"/>
                  <a:pt x="13344" y="22437"/>
                </a:cubicBezTo>
                <a:cubicBezTo>
                  <a:pt x="13344" y="22468"/>
                  <a:pt x="13375" y="22531"/>
                  <a:pt x="13313" y="22531"/>
                </a:cubicBezTo>
                <a:cubicBezTo>
                  <a:pt x="13281" y="22499"/>
                  <a:pt x="13219" y="22499"/>
                  <a:pt x="13250" y="22468"/>
                </a:cubicBezTo>
                <a:close/>
                <a:moveTo>
                  <a:pt x="13000" y="17343"/>
                </a:moveTo>
                <a:cubicBezTo>
                  <a:pt x="12906" y="17343"/>
                  <a:pt x="12875" y="17249"/>
                  <a:pt x="12813" y="17249"/>
                </a:cubicBezTo>
                <a:cubicBezTo>
                  <a:pt x="12813" y="17218"/>
                  <a:pt x="12750" y="17218"/>
                  <a:pt x="12813" y="17187"/>
                </a:cubicBezTo>
                <a:cubicBezTo>
                  <a:pt x="12844" y="17156"/>
                  <a:pt x="12844" y="17187"/>
                  <a:pt x="12875" y="17187"/>
                </a:cubicBezTo>
                <a:cubicBezTo>
                  <a:pt x="12906" y="17249"/>
                  <a:pt x="12969" y="17281"/>
                  <a:pt x="13000" y="17343"/>
                </a:cubicBezTo>
                <a:close/>
                <a:moveTo>
                  <a:pt x="12688" y="21124"/>
                </a:moveTo>
                <a:cubicBezTo>
                  <a:pt x="12719" y="21124"/>
                  <a:pt x="12813" y="21281"/>
                  <a:pt x="12813" y="21281"/>
                </a:cubicBezTo>
                <a:cubicBezTo>
                  <a:pt x="12813" y="21312"/>
                  <a:pt x="12781" y="21312"/>
                  <a:pt x="12781" y="21312"/>
                </a:cubicBezTo>
                <a:cubicBezTo>
                  <a:pt x="12719" y="21281"/>
                  <a:pt x="12688" y="21218"/>
                  <a:pt x="12688" y="21156"/>
                </a:cubicBezTo>
                <a:cubicBezTo>
                  <a:pt x="12688" y="21156"/>
                  <a:pt x="12688" y="21124"/>
                  <a:pt x="12688" y="21124"/>
                </a:cubicBezTo>
                <a:close/>
                <a:moveTo>
                  <a:pt x="12688" y="17906"/>
                </a:moveTo>
                <a:cubicBezTo>
                  <a:pt x="12656" y="17874"/>
                  <a:pt x="12688" y="17843"/>
                  <a:pt x="12719" y="17874"/>
                </a:cubicBezTo>
                <a:cubicBezTo>
                  <a:pt x="12750" y="17874"/>
                  <a:pt x="12781" y="17906"/>
                  <a:pt x="12750" y="17906"/>
                </a:cubicBezTo>
                <a:cubicBezTo>
                  <a:pt x="12750" y="17937"/>
                  <a:pt x="12781" y="17968"/>
                  <a:pt x="12719" y="17968"/>
                </a:cubicBezTo>
                <a:cubicBezTo>
                  <a:pt x="12688" y="17968"/>
                  <a:pt x="12688" y="17937"/>
                  <a:pt x="12688" y="17906"/>
                </a:cubicBezTo>
                <a:close/>
                <a:moveTo>
                  <a:pt x="12781" y="21093"/>
                </a:moveTo>
                <a:cubicBezTo>
                  <a:pt x="12781" y="21062"/>
                  <a:pt x="12813" y="20999"/>
                  <a:pt x="12844" y="20999"/>
                </a:cubicBezTo>
                <a:cubicBezTo>
                  <a:pt x="12906" y="20999"/>
                  <a:pt x="12875" y="21062"/>
                  <a:pt x="12875" y="21093"/>
                </a:cubicBezTo>
                <a:cubicBezTo>
                  <a:pt x="12844" y="21124"/>
                  <a:pt x="12906" y="21187"/>
                  <a:pt x="12844" y="21187"/>
                </a:cubicBezTo>
                <a:cubicBezTo>
                  <a:pt x="12781" y="21187"/>
                  <a:pt x="12781" y="21124"/>
                  <a:pt x="12781" y="21093"/>
                </a:cubicBezTo>
                <a:close/>
                <a:moveTo>
                  <a:pt x="12906" y="21781"/>
                </a:moveTo>
                <a:cubicBezTo>
                  <a:pt x="12875" y="21812"/>
                  <a:pt x="12875" y="21874"/>
                  <a:pt x="12875" y="21906"/>
                </a:cubicBezTo>
                <a:cubicBezTo>
                  <a:pt x="12813" y="21874"/>
                  <a:pt x="12813" y="21843"/>
                  <a:pt x="12813" y="21812"/>
                </a:cubicBezTo>
                <a:cubicBezTo>
                  <a:pt x="12813" y="21749"/>
                  <a:pt x="12875" y="21812"/>
                  <a:pt x="12906" y="21781"/>
                </a:cubicBezTo>
                <a:close/>
                <a:moveTo>
                  <a:pt x="12906" y="18156"/>
                </a:moveTo>
                <a:cubicBezTo>
                  <a:pt x="12875" y="18093"/>
                  <a:pt x="12813" y="18093"/>
                  <a:pt x="12781" y="18031"/>
                </a:cubicBezTo>
                <a:cubicBezTo>
                  <a:pt x="12906" y="18031"/>
                  <a:pt x="12906" y="18031"/>
                  <a:pt x="12906" y="18156"/>
                </a:cubicBezTo>
                <a:close/>
                <a:moveTo>
                  <a:pt x="12813" y="17281"/>
                </a:moveTo>
                <a:cubicBezTo>
                  <a:pt x="12813" y="17281"/>
                  <a:pt x="12813" y="17312"/>
                  <a:pt x="12781" y="17312"/>
                </a:cubicBezTo>
                <a:cubicBezTo>
                  <a:pt x="12750" y="17312"/>
                  <a:pt x="12688" y="17312"/>
                  <a:pt x="12625" y="17281"/>
                </a:cubicBezTo>
                <a:cubicBezTo>
                  <a:pt x="12688" y="17249"/>
                  <a:pt x="12719" y="17218"/>
                  <a:pt x="12781" y="17249"/>
                </a:cubicBezTo>
                <a:cubicBezTo>
                  <a:pt x="12781" y="17249"/>
                  <a:pt x="12781" y="17281"/>
                  <a:pt x="12813" y="17281"/>
                </a:cubicBezTo>
                <a:close/>
                <a:moveTo>
                  <a:pt x="12875" y="17624"/>
                </a:moveTo>
                <a:cubicBezTo>
                  <a:pt x="12750" y="17624"/>
                  <a:pt x="12656" y="17624"/>
                  <a:pt x="12531" y="17624"/>
                </a:cubicBezTo>
                <a:cubicBezTo>
                  <a:pt x="12594" y="17531"/>
                  <a:pt x="12750" y="17531"/>
                  <a:pt x="12875" y="17624"/>
                </a:cubicBezTo>
                <a:close/>
                <a:moveTo>
                  <a:pt x="12563" y="20874"/>
                </a:moveTo>
                <a:cubicBezTo>
                  <a:pt x="12594" y="20906"/>
                  <a:pt x="12625" y="20937"/>
                  <a:pt x="12625" y="20999"/>
                </a:cubicBezTo>
                <a:cubicBezTo>
                  <a:pt x="12656" y="21031"/>
                  <a:pt x="12625" y="21062"/>
                  <a:pt x="12625" y="21062"/>
                </a:cubicBezTo>
                <a:cubicBezTo>
                  <a:pt x="12563" y="21062"/>
                  <a:pt x="12594" y="20999"/>
                  <a:pt x="12563" y="20999"/>
                </a:cubicBezTo>
                <a:cubicBezTo>
                  <a:pt x="12531" y="20937"/>
                  <a:pt x="12500" y="20937"/>
                  <a:pt x="12500" y="20874"/>
                </a:cubicBezTo>
                <a:cubicBezTo>
                  <a:pt x="12531" y="20874"/>
                  <a:pt x="12531" y="20874"/>
                  <a:pt x="12563" y="20874"/>
                </a:cubicBezTo>
                <a:close/>
                <a:moveTo>
                  <a:pt x="12406" y="21218"/>
                </a:moveTo>
                <a:cubicBezTo>
                  <a:pt x="12375" y="21249"/>
                  <a:pt x="12375" y="21218"/>
                  <a:pt x="12375" y="21187"/>
                </a:cubicBezTo>
                <a:cubicBezTo>
                  <a:pt x="12344" y="21093"/>
                  <a:pt x="12344" y="20999"/>
                  <a:pt x="12438" y="20906"/>
                </a:cubicBezTo>
                <a:cubicBezTo>
                  <a:pt x="12438" y="20906"/>
                  <a:pt x="12469" y="20937"/>
                  <a:pt x="12469" y="20937"/>
                </a:cubicBezTo>
                <a:cubicBezTo>
                  <a:pt x="12563" y="21093"/>
                  <a:pt x="12563" y="21124"/>
                  <a:pt x="12406" y="21218"/>
                </a:cubicBezTo>
                <a:close/>
                <a:moveTo>
                  <a:pt x="12313" y="21874"/>
                </a:moveTo>
                <a:cubicBezTo>
                  <a:pt x="12313" y="21906"/>
                  <a:pt x="12281" y="21937"/>
                  <a:pt x="12250" y="21968"/>
                </a:cubicBezTo>
                <a:cubicBezTo>
                  <a:pt x="12219" y="21906"/>
                  <a:pt x="12250" y="21874"/>
                  <a:pt x="12281" y="21812"/>
                </a:cubicBezTo>
                <a:cubicBezTo>
                  <a:pt x="12281" y="21781"/>
                  <a:pt x="12313" y="21781"/>
                  <a:pt x="12344" y="21812"/>
                </a:cubicBezTo>
                <a:cubicBezTo>
                  <a:pt x="12375" y="21843"/>
                  <a:pt x="12344" y="21843"/>
                  <a:pt x="12313" y="21874"/>
                </a:cubicBezTo>
                <a:close/>
                <a:moveTo>
                  <a:pt x="12406" y="17999"/>
                </a:moveTo>
                <a:cubicBezTo>
                  <a:pt x="12375" y="17906"/>
                  <a:pt x="12313" y="17937"/>
                  <a:pt x="12250" y="17906"/>
                </a:cubicBezTo>
                <a:cubicBezTo>
                  <a:pt x="12281" y="17843"/>
                  <a:pt x="12375" y="17906"/>
                  <a:pt x="12406" y="17874"/>
                </a:cubicBezTo>
                <a:cubicBezTo>
                  <a:pt x="12406" y="17906"/>
                  <a:pt x="12406" y="17937"/>
                  <a:pt x="12406" y="17999"/>
                </a:cubicBezTo>
                <a:close/>
                <a:moveTo>
                  <a:pt x="12281" y="22281"/>
                </a:moveTo>
                <a:cubicBezTo>
                  <a:pt x="12344" y="22249"/>
                  <a:pt x="12531" y="22343"/>
                  <a:pt x="12531" y="22437"/>
                </a:cubicBezTo>
                <a:cubicBezTo>
                  <a:pt x="12531" y="22468"/>
                  <a:pt x="12563" y="22593"/>
                  <a:pt x="12438" y="22499"/>
                </a:cubicBezTo>
                <a:cubicBezTo>
                  <a:pt x="12406" y="22499"/>
                  <a:pt x="12344" y="22468"/>
                  <a:pt x="12281" y="22437"/>
                </a:cubicBezTo>
                <a:cubicBezTo>
                  <a:pt x="12250" y="22437"/>
                  <a:pt x="12219" y="22437"/>
                  <a:pt x="12219" y="22406"/>
                </a:cubicBezTo>
                <a:cubicBezTo>
                  <a:pt x="12219" y="22343"/>
                  <a:pt x="12219" y="22312"/>
                  <a:pt x="12281" y="22281"/>
                </a:cubicBezTo>
                <a:close/>
                <a:moveTo>
                  <a:pt x="12625" y="21874"/>
                </a:moveTo>
                <a:cubicBezTo>
                  <a:pt x="12625" y="21874"/>
                  <a:pt x="12625" y="21874"/>
                  <a:pt x="12625" y="21874"/>
                </a:cubicBezTo>
                <a:cubicBezTo>
                  <a:pt x="12656" y="21874"/>
                  <a:pt x="12719" y="21843"/>
                  <a:pt x="12719" y="21812"/>
                </a:cubicBezTo>
                <a:cubicBezTo>
                  <a:pt x="12719" y="21843"/>
                  <a:pt x="12656" y="21874"/>
                  <a:pt x="12625" y="21874"/>
                </a:cubicBezTo>
                <a:cubicBezTo>
                  <a:pt x="12625" y="21906"/>
                  <a:pt x="12625" y="21906"/>
                  <a:pt x="12656" y="21906"/>
                </a:cubicBezTo>
                <a:cubicBezTo>
                  <a:pt x="12688" y="21906"/>
                  <a:pt x="12688" y="21937"/>
                  <a:pt x="12688" y="21968"/>
                </a:cubicBezTo>
                <a:cubicBezTo>
                  <a:pt x="12656" y="21999"/>
                  <a:pt x="12656" y="22031"/>
                  <a:pt x="12625" y="22031"/>
                </a:cubicBezTo>
                <a:cubicBezTo>
                  <a:pt x="12594" y="22031"/>
                  <a:pt x="12594" y="21968"/>
                  <a:pt x="12563" y="21968"/>
                </a:cubicBezTo>
                <a:cubicBezTo>
                  <a:pt x="12500" y="21874"/>
                  <a:pt x="12594" y="21906"/>
                  <a:pt x="12625" y="21874"/>
                </a:cubicBezTo>
                <a:close/>
                <a:moveTo>
                  <a:pt x="13000" y="22687"/>
                </a:moveTo>
                <a:cubicBezTo>
                  <a:pt x="13094" y="22531"/>
                  <a:pt x="13094" y="22531"/>
                  <a:pt x="13250" y="22624"/>
                </a:cubicBezTo>
                <a:cubicBezTo>
                  <a:pt x="13281" y="22656"/>
                  <a:pt x="13344" y="22656"/>
                  <a:pt x="13375" y="22687"/>
                </a:cubicBezTo>
                <a:cubicBezTo>
                  <a:pt x="13406" y="22687"/>
                  <a:pt x="13406" y="22718"/>
                  <a:pt x="13406" y="22749"/>
                </a:cubicBezTo>
                <a:cubicBezTo>
                  <a:pt x="13344" y="22781"/>
                  <a:pt x="13344" y="22874"/>
                  <a:pt x="13281" y="22937"/>
                </a:cubicBezTo>
                <a:cubicBezTo>
                  <a:pt x="13250" y="22937"/>
                  <a:pt x="13219" y="22937"/>
                  <a:pt x="13219" y="22937"/>
                </a:cubicBezTo>
                <a:cubicBezTo>
                  <a:pt x="13156" y="22874"/>
                  <a:pt x="13094" y="22843"/>
                  <a:pt x="13031" y="22812"/>
                </a:cubicBezTo>
                <a:cubicBezTo>
                  <a:pt x="12969" y="22781"/>
                  <a:pt x="12969" y="22749"/>
                  <a:pt x="13000" y="22687"/>
                </a:cubicBezTo>
                <a:close/>
                <a:moveTo>
                  <a:pt x="13344" y="22968"/>
                </a:moveTo>
                <a:cubicBezTo>
                  <a:pt x="13438" y="22718"/>
                  <a:pt x="13469" y="22718"/>
                  <a:pt x="13688" y="22843"/>
                </a:cubicBezTo>
                <a:cubicBezTo>
                  <a:pt x="13781" y="22937"/>
                  <a:pt x="13781" y="22937"/>
                  <a:pt x="13688" y="23062"/>
                </a:cubicBezTo>
                <a:cubicBezTo>
                  <a:pt x="13656" y="23093"/>
                  <a:pt x="13688" y="23156"/>
                  <a:pt x="13625" y="23156"/>
                </a:cubicBezTo>
                <a:cubicBezTo>
                  <a:pt x="13594" y="23156"/>
                  <a:pt x="13594" y="23187"/>
                  <a:pt x="13563" y="23156"/>
                </a:cubicBezTo>
                <a:cubicBezTo>
                  <a:pt x="13500" y="23124"/>
                  <a:pt x="13406" y="23062"/>
                  <a:pt x="13344" y="22999"/>
                </a:cubicBezTo>
                <a:cubicBezTo>
                  <a:pt x="13313" y="22999"/>
                  <a:pt x="13344" y="22968"/>
                  <a:pt x="13344" y="22968"/>
                </a:cubicBezTo>
                <a:close/>
                <a:moveTo>
                  <a:pt x="14063" y="23406"/>
                </a:moveTo>
                <a:cubicBezTo>
                  <a:pt x="14094" y="23374"/>
                  <a:pt x="14094" y="23343"/>
                  <a:pt x="14125" y="23343"/>
                </a:cubicBezTo>
                <a:cubicBezTo>
                  <a:pt x="14156" y="23312"/>
                  <a:pt x="14188" y="23218"/>
                  <a:pt x="14219" y="23249"/>
                </a:cubicBezTo>
                <a:cubicBezTo>
                  <a:pt x="14313" y="23312"/>
                  <a:pt x="14375" y="23343"/>
                  <a:pt x="14375" y="23437"/>
                </a:cubicBezTo>
                <a:cubicBezTo>
                  <a:pt x="14375" y="23562"/>
                  <a:pt x="14344" y="23687"/>
                  <a:pt x="14219" y="23749"/>
                </a:cubicBezTo>
                <a:cubicBezTo>
                  <a:pt x="14188" y="23749"/>
                  <a:pt x="14188" y="23749"/>
                  <a:pt x="14156" y="23718"/>
                </a:cubicBezTo>
                <a:cubicBezTo>
                  <a:pt x="14125" y="23718"/>
                  <a:pt x="14125" y="23687"/>
                  <a:pt x="14094" y="23656"/>
                </a:cubicBezTo>
                <a:cubicBezTo>
                  <a:pt x="13969" y="23562"/>
                  <a:pt x="13969" y="23531"/>
                  <a:pt x="14063" y="23406"/>
                </a:cubicBezTo>
                <a:close/>
                <a:moveTo>
                  <a:pt x="14469" y="21124"/>
                </a:moveTo>
                <a:cubicBezTo>
                  <a:pt x="14469" y="21218"/>
                  <a:pt x="14375" y="21218"/>
                  <a:pt x="14344" y="21249"/>
                </a:cubicBezTo>
                <a:cubicBezTo>
                  <a:pt x="14313" y="21249"/>
                  <a:pt x="14281" y="21218"/>
                  <a:pt x="14313" y="21187"/>
                </a:cubicBezTo>
                <a:cubicBezTo>
                  <a:pt x="14344" y="21062"/>
                  <a:pt x="14406" y="21124"/>
                  <a:pt x="14469" y="21124"/>
                </a:cubicBezTo>
                <a:close/>
                <a:moveTo>
                  <a:pt x="14281" y="17562"/>
                </a:moveTo>
                <a:cubicBezTo>
                  <a:pt x="14250" y="17562"/>
                  <a:pt x="14219" y="17593"/>
                  <a:pt x="14188" y="17531"/>
                </a:cubicBezTo>
                <a:cubicBezTo>
                  <a:pt x="14188" y="17499"/>
                  <a:pt x="14125" y="17499"/>
                  <a:pt x="14125" y="17437"/>
                </a:cubicBezTo>
                <a:cubicBezTo>
                  <a:pt x="14125" y="17406"/>
                  <a:pt x="14125" y="17374"/>
                  <a:pt x="14094" y="17374"/>
                </a:cubicBezTo>
                <a:cubicBezTo>
                  <a:pt x="14125" y="17343"/>
                  <a:pt x="14125" y="17312"/>
                  <a:pt x="14156" y="17343"/>
                </a:cubicBezTo>
                <a:cubicBezTo>
                  <a:pt x="14188" y="17406"/>
                  <a:pt x="14219" y="17406"/>
                  <a:pt x="14188" y="17437"/>
                </a:cubicBezTo>
                <a:cubicBezTo>
                  <a:pt x="14188" y="17468"/>
                  <a:pt x="14188" y="17468"/>
                  <a:pt x="14188" y="17499"/>
                </a:cubicBezTo>
                <a:cubicBezTo>
                  <a:pt x="14188" y="17499"/>
                  <a:pt x="14219" y="17499"/>
                  <a:pt x="14250" y="17499"/>
                </a:cubicBezTo>
                <a:cubicBezTo>
                  <a:pt x="14281" y="17468"/>
                  <a:pt x="14281" y="17468"/>
                  <a:pt x="14313" y="17499"/>
                </a:cubicBezTo>
                <a:cubicBezTo>
                  <a:pt x="14344" y="17531"/>
                  <a:pt x="14313" y="17531"/>
                  <a:pt x="14281" y="17562"/>
                </a:cubicBezTo>
                <a:close/>
                <a:moveTo>
                  <a:pt x="14313" y="17156"/>
                </a:moveTo>
                <a:cubicBezTo>
                  <a:pt x="14313" y="17156"/>
                  <a:pt x="14313" y="17187"/>
                  <a:pt x="14281" y="17187"/>
                </a:cubicBezTo>
                <a:cubicBezTo>
                  <a:pt x="14281" y="17187"/>
                  <a:pt x="14250" y="17187"/>
                  <a:pt x="14250" y="17187"/>
                </a:cubicBezTo>
                <a:cubicBezTo>
                  <a:pt x="14219" y="17156"/>
                  <a:pt x="14219" y="17124"/>
                  <a:pt x="14188" y="17124"/>
                </a:cubicBezTo>
                <a:cubicBezTo>
                  <a:pt x="14188" y="17124"/>
                  <a:pt x="14156" y="17093"/>
                  <a:pt x="14125" y="17093"/>
                </a:cubicBezTo>
                <a:cubicBezTo>
                  <a:pt x="14219" y="17031"/>
                  <a:pt x="14281" y="17062"/>
                  <a:pt x="14313" y="17156"/>
                </a:cubicBezTo>
                <a:close/>
                <a:moveTo>
                  <a:pt x="13781" y="16906"/>
                </a:moveTo>
                <a:cubicBezTo>
                  <a:pt x="13781" y="16874"/>
                  <a:pt x="13813" y="16906"/>
                  <a:pt x="13844" y="16906"/>
                </a:cubicBezTo>
                <a:cubicBezTo>
                  <a:pt x="13844" y="16937"/>
                  <a:pt x="13875" y="16968"/>
                  <a:pt x="13906" y="16937"/>
                </a:cubicBezTo>
                <a:cubicBezTo>
                  <a:pt x="13969" y="16843"/>
                  <a:pt x="13875" y="16906"/>
                  <a:pt x="13844" y="16874"/>
                </a:cubicBezTo>
                <a:cubicBezTo>
                  <a:pt x="13781" y="16843"/>
                  <a:pt x="13813" y="16781"/>
                  <a:pt x="13813" y="16718"/>
                </a:cubicBezTo>
                <a:cubicBezTo>
                  <a:pt x="13844" y="16718"/>
                  <a:pt x="13906" y="16687"/>
                  <a:pt x="13906" y="16718"/>
                </a:cubicBezTo>
                <a:cubicBezTo>
                  <a:pt x="14000" y="16781"/>
                  <a:pt x="14063" y="16843"/>
                  <a:pt x="14125" y="16906"/>
                </a:cubicBezTo>
                <a:cubicBezTo>
                  <a:pt x="14125" y="16906"/>
                  <a:pt x="14125" y="16937"/>
                  <a:pt x="14125" y="16937"/>
                </a:cubicBezTo>
                <a:cubicBezTo>
                  <a:pt x="14094" y="16968"/>
                  <a:pt x="14063" y="16968"/>
                  <a:pt x="14063" y="16968"/>
                </a:cubicBezTo>
                <a:cubicBezTo>
                  <a:pt x="14031" y="16906"/>
                  <a:pt x="13969" y="16968"/>
                  <a:pt x="13906" y="16937"/>
                </a:cubicBezTo>
                <a:cubicBezTo>
                  <a:pt x="13906" y="16968"/>
                  <a:pt x="13906" y="16968"/>
                  <a:pt x="13906" y="16968"/>
                </a:cubicBezTo>
                <a:cubicBezTo>
                  <a:pt x="13906" y="16999"/>
                  <a:pt x="13969" y="16999"/>
                  <a:pt x="13938" y="17031"/>
                </a:cubicBezTo>
                <a:cubicBezTo>
                  <a:pt x="13875" y="17062"/>
                  <a:pt x="13844" y="16999"/>
                  <a:pt x="13813" y="16999"/>
                </a:cubicBezTo>
                <a:cubicBezTo>
                  <a:pt x="13781" y="16968"/>
                  <a:pt x="13781" y="16937"/>
                  <a:pt x="13781" y="16906"/>
                </a:cubicBezTo>
                <a:close/>
                <a:moveTo>
                  <a:pt x="13875" y="21093"/>
                </a:moveTo>
                <a:cubicBezTo>
                  <a:pt x="13906" y="21093"/>
                  <a:pt x="13844" y="21156"/>
                  <a:pt x="13813" y="21187"/>
                </a:cubicBezTo>
                <a:cubicBezTo>
                  <a:pt x="13813" y="21187"/>
                  <a:pt x="13781" y="21218"/>
                  <a:pt x="13750" y="21249"/>
                </a:cubicBezTo>
                <a:cubicBezTo>
                  <a:pt x="13750" y="21187"/>
                  <a:pt x="13719" y="21124"/>
                  <a:pt x="13688" y="21093"/>
                </a:cubicBezTo>
                <a:cubicBezTo>
                  <a:pt x="13656" y="21031"/>
                  <a:pt x="13656" y="20999"/>
                  <a:pt x="13719" y="20999"/>
                </a:cubicBezTo>
                <a:cubicBezTo>
                  <a:pt x="13813" y="20999"/>
                  <a:pt x="13844" y="21062"/>
                  <a:pt x="13875" y="21093"/>
                </a:cubicBezTo>
                <a:close/>
                <a:moveTo>
                  <a:pt x="13688" y="18156"/>
                </a:moveTo>
                <a:cubicBezTo>
                  <a:pt x="13688" y="18218"/>
                  <a:pt x="13656" y="18249"/>
                  <a:pt x="13625" y="18187"/>
                </a:cubicBezTo>
                <a:cubicBezTo>
                  <a:pt x="13594" y="18156"/>
                  <a:pt x="13594" y="18093"/>
                  <a:pt x="13531" y="18031"/>
                </a:cubicBezTo>
                <a:cubicBezTo>
                  <a:pt x="13531" y="18124"/>
                  <a:pt x="13594" y="18156"/>
                  <a:pt x="13563" y="18218"/>
                </a:cubicBezTo>
                <a:cubicBezTo>
                  <a:pt x="13469" y="18187"/>
                  <a:pt x="13438" y="18093"/>
                  <a:pt x="13375" y="18031"/>
                </a:cubicBezTo>
                <a:cubicBezTo>
                  <a:pt x="13375" y="17999"/>
                  <a:pt x="13375" y="17999"/>
                  <a:pt x="13375" y="17999"/>
                </a:cubicBezTo>
                <a:cubicBezTo>
                  <a:pt x="13313" y="17968"/>
                  <a:pt x="13281" y="17937"/>
                  <a:pt x="13313" y="17906"/>
                </a:cubicBezTo>
                <a:cubicBezTo>
                  <a:pt x="13313" y="17874"/>
                  <a:pt x="13375" y="17874"/>
                  <a:pt x="13406" y="17874"/>
                </a:cubicBezTo>
                <a:cubicBezTo>
                  <a:pt x="13469" y="17906"/>
                  <a:pt x="13531" y="17874"/>
                  <a:pt x="13594" y="17906"/>
                </a:cubicBezTo>
                <a:cubicBezTo>
                  <a:pt x="13656" y="17906"/>
                  <a:pt x="13688" y="17937"/>
                  <a:pt x="13688" y="17999"/>
                </a:cubicBezTo>
                <a:cubicBezTo>
                  <a:pt x="13656" y="18062"/>
                  <a:pt x="13688" y="18124"/>
                  <a:pt x="13688" y="18156"/>
                </a:cubicBezTo>
                <a:close/>
                <a:moveTo>
                  <a:pt x="13563" y="16749"/>
                </a:moveTo>
                <a:cubicBezTo>
                  <a:pt x="13625" y="16718"/>
                  <a:pt x="13625" y="16749"/>
                  <a:pt x="13625" y="16781"/>
                </a:cubicBezTo>
                <a:cubicBezTo>
                  <a:pt x="13656" y="16874"/>
                  <a:pt x="13594" y="16812"/>
                  <a:pt x="13563" y="16812"/>
                </a:cubicBezTo>
                <a:cubicBezTo>
                  <a:pt x="13563" y="16812"/>
                  <a:pt x="13563" y="16812"/>
                  <a:pt x="13563" y="16812"/>
                </a:cubicBezTo>
                <a:cubicBezTo>
                  <a:pt x="13563" y="16812"/>
                  <a:pt x="13531" y="16812"/>
                  <a:pt x="13531" y="16812"/>
                </a:cubicBezTo>
                <a:cubicBezTo>
                  <a:pt x="13563" y="16781"/>
                  <a:pt x="13531" y="16749"/>
                  <a:pt x="13563" y="16749"/>
                </a:cubicBezTo>
                <a:close/>
                <a:moveTo>
                  <a:pt x="13531" y="16812"/>
                </a:moveTo>
                <a:cubicBezTo>
                  <a:pt x="13531" y="16812"/>
                  <a:pt x="13531" y="16843"/>
                  <a:pt x="13563" y="16843"/>
                </a:cubicBezTo>
                <a:cubicBezTo>
                  <a:pt x="13594" y="16874"/>
                  <a:pt x="13656" y="16906"/>
                  <a:pt x="13594" y="16999"/>
                </a:cubicBezTo>
                <a:cubicBezTo>
                  <a:pt x="13563" y="17031"/>
                  <a:pt x="13625" y="17031"/>
                  <a:pt x="13625" y="17031"/>
                </a:cubicBezTo>
                <a:cubicBezTo>
                  <a:pt x="13688" y="17062"/>
                  <a:pt x="13656" y="17124"/>
                  <a:pt x="13656" y="17187"/>
                </a:cubicBezTo>
                <a:cubicBezTo>
                  <a:pt x="13656" y="17187"/>
                  <a:pt x="13656" y="17187"/>
                  <a:pt x="13625" y="17187"/>
                </a:cubicBezTo>
                <a:cubicBezTo>
                  <a:pt x="13594" y="17187"/>
                  <a:pt x="13563" y="17156"/>
                  <a:pt x="13531" y="17093"/>
                </a:cubicBezTo>
                <a:cubicBezTo>
                  <a:pt x="13531" y="17093"/>
                  <a:pt x="13563" y="17062"/>
                  <a:pt x="13531" y="17062"/>
                </a:cubicBezTo>
                <a:cubicBezTo>
                  <a:pt x="13406" y="17093"/>
                  <a:pt x="13375" y="16968"/>
                  <a:pt x="13281" y="16937"/>
                </a:cubicBezTo>
                <a:cubicBezTo>
                  <a:pt x="13281" y="16937"/>
                  <a:pt x="13281" y="16906"/>
                  <a:pt x="13281" y="16906"/>
                </a:cubicBezTo>
                <a:cubicBezTo>
                  <a:pt x="13313" y="16874"/>
                  <a:pt x="13500" y="16812"/>
                  <a:pt x="13531" y="16812"/>
                </a:cubicBezTo>
                <a:close/>
                <a:moveTo>
                  <a:pt x="13031" y="16656"/>
                </a:moveTo>
                <a:cubicBezTo>
                  <a:pt x="13125" y="16656"/>
                  <a:pt x="13219" y="16624"/>
                  <a:pt x="13344" y="16656"/>
                </a:cubicBezTo>
                <a:cubicBezTo>
                  <a:pt x="13313" y="16718"/>
                  <a:pt x="13281" y="16718"/>
                  <a:pt x="13250" y="16718"/>
                </a:cubicBezTo>
                <a:cubicBezTo>
                  <a:pt x="13188" y="16718"/>
                  <a:pt x="13125" y="16718"/>
                  <a:pt x="13063" y="16718"/>
                </a:cubicBezTo>
                <a:cubicBezTo>
                  <a:pt x="13031" y="16749"/>
                  <a:pt x="13000" y="16718"/>
                  <a:pt x="13000" y="16687"/>
                </a:cubicBezTo>
                <a:cubicBezTo>
                  <a:pt x="12969" y="16656"/>
                  <a:pt x="13031" y="16656"/>
                  <a:pt x="13031" y="16656"/>
                </a:cubicBezTo>
                <a:close/>
                <a:moveTo>
                  <a:pt x="12938" y="16968"/>
                </a:moveTo>
                <a:cubicBezTo>
                  <a:pt x="12813" y="17062"/>
                  <a:pt x="12781" y="17062"/>
                  <a:pt x="12656" y="16906"/>
                </a:cubicBezTo>
                <a:cubicBezTo>
                  <a:pt x="12719" y="16843"/>
                  <a:pt x="12813" y="16843"/>
                  <a:pt x="12875" y="16843"/>
                </a:cubicBezTo>
                <a:cubicBezTo>
                  <a:pt x="12938" y="16812"/>
                  <a:pt x="12969" y="16874"/>
                  <a:pt x="13000" y="16906"/>
                </a:cubicBezTo>
                <a:cubicBezTo>
                  <a:pt x="13000" y="16937"/>
                  <a:pt x="12938" y="16937"/>
                  <a:pt x="12938" y="16968"/>
                </a:cubicBezTo>
                <a:close/>
                <a:moveTo>
                  <a:pt x="12500" y="16718"/>
                </a:moveTo>
                <a:cubicBezTo>
                  <a:pt x="12531" y="16687"/>
                  <a:pt x="12563" y="16718"/>
                  <a:pt x="12594" y="16718"/>
                </a:cubicBezTo>
                <a:cubicBezTo>
                  <a:pt x="12625" y="16687"/>
                  <a:pt x="12656" y="16687"/>
                  <a:pt x="12719" y="16687"/>
                </a:cubicBezTo>
                <a:cubicBezTo>
                  <a:pt x="12750" y="16718"/>
                  <a:pt x="12813" y="16718"/>
                  <a:pt x="12844" y="16687"/>
                </a:cubicBezTo>
                <a:cubicBezTo>
                  <a:pt x="12875" y="16656"/>
                  <a:pt x="12938" y="16687"/>
                  <a:pt x="12938" y="16718"/>
                </a:cubicBezTo>
                <a:cubicBezTo>
                  <a:pt x="12969" y="16749"/>
                  <a:pt x="12969" y="16781"/>
                  <a:pt x="12938" y="16781"/>
                </a:cubicBezTo>
                <a:cubicBezTo>
                  <a:pt x="12813" y="16718"/>
                  <a:pt x="12719" y="16843"/>
                  <a:pt x="12625" y="16812"/>
                </a:cubicBezTo>
                <a:cubicBezTo>
                  <a:pt x="12625" y="16812"/>
                  <a:pt x="12594" y="16843"/>
                  <a:pt x="12563" y="16812"/>
                </a:cubicBezTo>
                <a:cubicBezTo>
                  <a:pt x="12563" y="16781"/>
                  <a:pt x="12500" y="16781"/>
                  <a:pt x="12500" y="16718"/>
                </a:cubicBezTo>
                <a:close/>
                <a:moveTo>
                  <a:pt x="12688" y="17062"/>
                </a:moveTo>
                <a:cubicBezTo>
                  <a:pt x="12688" y="17062"/>
                  <a:pt x="12688" y="17093"/>
                  <a:pt x="12688" y="17093"/>
                </a:cubicBezTo>
                <a:cubicBezTo>
                  <a:pt x="12656" y="17093"/>
                  <a:pt x="12656" y="17093"/>
                  <a:pt x="12625" y="17093"/>
                </a:cubicBezTo>
                <a:cubicBezTo>
                  <a:pt x="12563" y="17031"/>
                  <a:pt x="12500" y="16999"/>
                  <a:pt x="12438" y="16937"/>
                </a:cubicBezTo>
                <a:cubicBezTo>
                  <a:pt x="12531" y="16906"/>
                  <a:pt x="12688" y="16999"/>
                  <a:pt x="12688" y="17062"/>
                </a:cubicBezTo>
                <a:close/>
                <a:moveTo>
                  <a:pt x="12313" y="16781"/>
                </a:moveTo>
                <a:cubicBezTo>
                  <a:pt x="12375" y="16749"/>
                  <a:pt x="12406" y="16812"/>
                  <a:pt x="12438" y="16843"/>
                </a:cubicBezTo>
                <a:cubicBezTo>
                  <a:pt x="12375" y="16874"/>
                  <a:pt x="12344" y="16874"/>
                  <a:pt x="12313" y="16843"/>
                </a:cubicBezTo>
                <a:cubicBezTo>
                  <a:pt x="12281" y="16812"/>
                  <a:pt x="12281" y="16781"/>
                  <a:pt x="12313" y="16781"/>
                </a:cubicBezTo>
                <a:close/>
                <a:moveTo>
                  <a:pt x="12156" y="16843"/>
                </a:moveTo>
                <a:cubicBezTo>
                  <a:pt x="12188" y="16843"/>
                  <a:pt x="12188" y="16843"/>
                  <a:pt x="12219" y="16874"/>
                </a:cubicBezTo>
                <a:cubicBezTo>
                  <a:pt x="12219" y="16874"/>
                  <a:pt x="12188" y="16906"/>
                  <a:pt x="12188" y="16906"/>
                </a:cubicBezTo>
                <a:cubicBezTo>
                  <a:pt x="12125" y="16906"/>
                  <a:pt x="12094" y="16937"/>
                  <a:pt x="12063" y="16906"/>
                </a:cubicBezTo>
                <a:cubicBezTo>
                  <a:pt x="12094" y="16874"/>
                  <a:pt x="12125" y="16874"/>
                  <a:pt x="12156" y="16843"/>
                </a:cubicBezTo>
                <a:close/>
                <a:moveTo>
                  <a:pt x="12344" y="16937"/>
                </a:moveTo>
                <a:cubicBezTo>
                  <a:pt x="12375" y="16937"/>
                  <a:pt x="12563" y="17093"/>
                  <a:pt x="12594" y="17124"/>
                </a:cubicBezTo>
                <a:cubicBezTo>
                  <a:pt x="12594" y="17124"/>
                  <a:pt x="12594" y="17124"/>
                  <a:pt x="12563" y="17156"/>
                </a:cubicBezTo>
                <a:cubicBezTo>
                  <a:pt x="12531" y="17187"/>
                  <a:pt x="12469" y="17218"/>
                  <a:pt x="12406" y="17249"/>
                </a:cubicBezTo>
                <a:cubicBezTo>
                  <a:pt x="12406" y="17249"/>
                  <a:pt x="12406" y="17249"/>
                  <a:pt x="12406" y="17249"/>
                </a:cubicBezTo>
                <a:cubicBezTo>
                  <a:pt x="12375" y="17156"/>
                  <a:pt x="12281" y="17187"/>
                  <a:pt x="12219" y="17156"/>
                </a:cubicBezTo>
                <a:cubicBezTo>
                  <a:pt x="12156" y="17124"/>
                  <a:pt x="12094" y="17062"/>
                  <a:pt x="12031" y="16999"/>
                </a:cubicBezTo>
                <a:cubicBezTo>
                  <a:pt x="12125" y="16968"/>
                  <a:pt x="12250" y="16968"/>
                  <a:pt x="12344" y="16937"/>
                </a:cubicBezTo>
                <a:close/>
                <a:moveTo>
                  <a:pt x="11906" y="17031"/>
                </a:moveTo>
                <a:cubicBezTo>
                  <a:pt x="11938" y="16999"/>
                  <a:pt x="11938" y="16999"/>
                  <a:pt x="11969" y="17031"/>
                </a:cubicBezTo>
                <a:cubicBezTo>
                  <a:pt x="12031" y="17093"/>
                  <a:pt x="12094" y="17124"/>
                  <a:pt x="12156" y="17187"/>
                </a:cubicBezTo>
                <a:cubicBezTo>
                  <a:pt x="12031" y="17187"/>
                  <a:pt x="11969" y="17124"/>
                  <a:pt x="11906" y="17062"/>
                </a:cubicBezTo>
                <a:cubicBezTo>
                  <a:pt x="11906" y="17062"/>
                  <a:pt x="11906" y="17031"/>
                  <a:pt x="11906" y="17031"/>
                </a:cubicBezTo>
                <a:close/>
                <a:moveTo>
                  <a:pt x="11875" y="17437"/>
                </a:moveTo>
                <a:cubicBezTo>
                  <a:pt x="12063" y="17374"/>
                  <a:pt x="12188" y="17468"/>
                  <a:pt x="12313" y="17562"/>
                </a:cubicBezTo>
                <a:cubicBezTo>
                  <a:pt x="12313" y="17562"/>
                  <a:pt x="12344" y="17593"/>
                  <a:pt x="12344" y="17593"/>
                </a:cubicBezTo>
                <a:cubicBezTo>
                  <a:pt x="12313" y="17624"/>
                  <a:pt x="12313" y="17624"/>
                  <a:pt x="12281" y="17624"/>
                </a:cubicBezTo>
                <a:cubicBezTo>
                  <a:pt x="12219" y="17624"/>
                  <a:pt x="12188" y="17624"/>
                  <a:pt x="12125" y="17656"/>
                </a:cubicBezTo>
                <a:cubicBezTo>
                  <a:pt x="12063" y="17624"/>
                  <a:pt x="12031" y="17624"/>
                  <a:pt x="11969" y="17656"/>
                </a:cubicBezTo>
                <a:cubicBezTo>
                  <a:pt x="11906" y="17656"/>
                  <a:pt x="11875" y="17624"/>
                  <a:pt x="11844" y="17562"/>
                </a:cubicBezTo>
                <a:cubicBezTo>
                  <a:pt x="11781" y="17437"/>
                  <a:pt x="11750" y="17437"/>
                  <a:pt x="11875" y="17437"/>
                </a:cubicBezTo>
                <a:close/>
                <a:moveTo>
                  <a:pt x="11906" y="21999"/>
                </a:moveTo>
                <a:cubicBezTo>
                  <a:pt x="11844" y="21968"/>
                  <a:pt x="11813" y="21968"/>
                  <a:pt x="11813" y="21906"/>
                </a:cubicBezTo>
                <a:cubicBezTo>
                  <a:pt x="11844" y="21906"/>
                  <a:pt x="11844" y="21874"/>
                  <a:pt x="11875" y="21874"/>
                </a:cubicBezTo>
                <a:cubicBezTo>
                  <a:pt x="11938" y="21906"/>
                  <a:pt x="11906" y="21937"/>
                  <a:pt x="11906" y="21999"/>
                </a:cubicBezTo>
                <a:close/>
                <a:moveTo>
                  <a:pt x="11875" y="21656"/>
                </a:moveTo>
                <a:cubicBezTo>
                  <a:pt x="11906" y="21624"/>
                  <a:pt x="11906" y="21624"/>
                  <a:pt x="11875" y="21624"/>
                </a:cubicBezTo>
                <a:cubicBezTo>
                  <a:pt x="11844" y="21593"/>
                  <a:pt x="11844" y="21593"/>
                  <a:pt x="11844" y="21593"/>
                </a:cubicBezTo>
                <a:cubicBezTo>
                  <a:pt x="11844" y="21531"/>
                  <a:pt x="11875" y="21562"/>
                  <a:pt x="11906" y="21562"/>
                </a:cubicBezTo>
                <a:cubicBezTo>
                  <a:pt x="11938" y="21531"/>
                  <a:pt x="11969" y="21562"/>
                  <a:pt x="12031" y="21531"/>
                </a:cubicBezTo>
                <a:cubicBezTo>
                  <a:pt x="11969" y="21562"/>
                  <a:pt x="12000" y="21718"/>
                  <a:pt x="11875" y="21656"/>
                </a:cubicBezTo>
                <a:close/>
                <a:moveTo>
                  <a:pt x="11688" y="20843"/>
                </a:moveTo>
                <a:cubicBezTo>
                  <a:pt x="11719" y="20843"/>
                  <a:pt x="11719" y="20874"/>
                  <a:pt x="11719" y="20906"/>
                </a:cubicBezTo>
                <a:cubicBezTo>
                  <a:pt x="11688" y="20937"/>
                  <a:pt x="11688" y="20968"/>
                  <a:pt x="11688" y="20999"/>
                </a:cubicBezTo>
                <a:cubicBezTo>
                  <a:pt x="11656" y="21031"/>
                  <a:pt x="11656" y="21062"/>
                  <a:pt x="11688" y="21062"/>
                </a:cubicBezTo>
                <a:cubicBezTo>
                  <a:pt x="11719" y="21062"/>
                  <a:pt x="11750" y="21062"/>
                  <a:pt x="11750" y="21031"/>
                </a:cubicBezTo>
                <a:cubicBezTo>
                  <a:pt x="11750" y="20968"/>
                  <a:pt x="11781" y="20937"/>
                  <a:pt x="11781" y="20874"/>
                </a:cubicBezTo>
                <a:cubicBezTo>
                  <a:pt x="11781" y="20843"/>
                  <a:pt x="11781" y="20812"/>
                  <a:pt x="11813" y="20812"/>
                </a:cubicBezTo>
                <a:cubicBezTo>
                  <a:pt x="11844" y="20812"/>
                  <a:pt x="11844" y="20843"/>
                  <a:pt x="11844" y="20843"/>
                </a:cubicBezTo>
                <a:cubicBezTo>
                  <a:pt x="11938" y="20937"/>
                  <a:pt x="11938" y="20999"/>
                  <a:pt x="11875" y="21093"/>
                </a:cubicBezTo>
                <a:cubicBezTo>
                  <a:pt x="11844" y="21124"/>
                  <a:pt x="11813" y="21156"/>
                  <a:pt x="11781" y="21156"/>
                </a:cubicBezTo>
                <a:cubicBezTo>
                  <a:pt x="11719" y="21187"/>
                  <a:pt x="11656" y="21093"/>
                  <a:pt x="11563" y="21124"/>
                </a:cubicBezTo>
                <a:cubicBezTo>
                  <a:pt x="11531" y="21156"/>
                  <a:pt x="11500" y="20999"/>
                  <a:pt x="11563" y="20937"/>
                </a:cubicBezTo>
                <a:cubicBezTo>
                  <a:pt x="11563" y="20906"/>
                  <a:pt x="11531" y="20906"/>
                  <a:pt x="11500" y="20906"/>
                </a:cubicBezTo>
                <a:cubicBezTo>
                  <a:pt x="11500" y="20906"/>
                  <a:pt x="11469" y="20968"/>
                  <a:pt x="11438" y="20906"/>
                </a:cubicBezTo>
                <a:cubicBezTo>
                  <a:pt x="11406" y="20874"/>
                  <a:pt x="11469" y="20874"/>
                  <a:pt x="11469" y="20843"/>
                </a:cubicBezTo>
                <a:cubicBezTo>
                  <a:pt x="11469" y="20812"/>
                  <a:pt x="11500" y="20812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00" y="20781"/>
                  <a:pt x="11500" y="20781"/>
                  <a:pt x="11500" y="20781"/>
                </a:cubicBezTo>
                <a:cubicBezTo>
                  <a:pt x="11531" y="20749"/>
                  <a:pt x="11563" y="20749"/>
                  <a:pt x="11594" y="20718"/>
                </a:cubicBezTo>
                <a:cubicBezTo>
                  <a:pt x="11656" y="20718"/>
                  <a:pt x="11656" y="20749"/>
                  <a:pt x="11656" y="20781"/>
                </a:cubicBezTo>
                <a:cubicBezTo>
                  <a:pt x="11625" y="20781"/>
                  <a:pt x="11625" y="20812"/>
                  <a:pt x="11594" y="20812"/>
                </a:cubicBezTo>
                <a:cubicBezTo>
                  <a:pt x="11594" y="20843"/>
                  <a:pt x="11594" y="20874"/>
                  <a:pt x="11594" y="20874"/>
                </a:cubicBezTo>
                <a:cubicBezTo>
                  <a:pt x="11625" y="20906"/>
                  <a:pt x="11656" y="20874"/>
                  <a:pt x="11656" y="20874"/>
                </a:cubicBezTo>
                <a:cubicBezTo>
                  <a:pt x="11656" y="20843"/>
                  <a:pt x="11656" y="20812"/>
                  <a:pt x="11688" y="20843"/>
                </a:cubicBezTo>
                <a:close/>
                <a:moveTo>
                  <a:pt x="11594" y="21749"/>
                </a:moveTo>
                <a:cubicBezTo>
                  <a:pt x="11625" y="21718"/>
                  <a:pt x="11625" y="21687"/>
                  <a:pt x="11594" y="21656"/>
                </a:cubicBezTo>
                <a:cubicBezTo>
                  <a:pt x="11594" y="21624"/>
                  <a:pt x="11625" y="21593"/>
                  <a:pt x="11656" y="21593"/>
                </a:cubicBezTo>
                <a:cubicBezTo>
                  <a:pt x="11688" y="21562"/>
                  <a:pt x="11719" y="21562"/>
                  <a:pt x="11719" y="21624"/>
                </a:cubicBezTo>
                <a:cubicBezTo>
                  <a:pt x="11719" y="21656"/>
                  <a:pt x="11781" y="21656"/>
                  <a:pt x="11781" y="21718"/>
                </a:cubicBezTo>
                <a:cubicBezTo>
                  <a:pt x="11781" y="21749"/>
                  <a:pt x="11844" y="21781"/>
                  <a:pt x="11813" y="21781"/>
                </a:cubicBezTo>
                <a:cubicBezTo>
                  <a:pt x="11750" y="21812"/>
                  <a:pt x="11750" y="21874"/>
                  <a:pt x="11688" y="21843"/>
                </a:cubicBezTo>
                <a:cubicBezTo>
                  <a:pt x="11563" y="21843"/>
                  <a:pt x="11563" y="21843"/>
                  <a:pt x="11594" y="21749"/>
                </a:cubicBezTo>
                <a:close/>
                <a:moveTo>
                  <a:pt x="11594" y="21999"/>
                </a:moveTo>
                <a:cubicBezTo>
                  <a:pt x="11563" y="21968"/>
                  <a:pt x="11563" y="21937"/>
                  <a:pt x="11594" y="21906"/>
                </a:cubicBezTo>
                <a:cubicBezTo>
                  <a:pt x="11594" y="21906"/>
                  <a:pt x="11625" y="21906"/>
                  <a:pt x="11625" y="21906"/>
                </a:cubicBezTo>
                <a:cubicBezTo>
                  <a:pt x="11656" y="21968"/>
                  <a:pt x="11594" y="21968"/>
                  <a:pt x="11594" y="21999"/>
                </a:cubicBezTo>
                <a:close/>
                <a:moveTo>
                  <a:pt x="11625" y="20656"/>
                </a:moveTo>
                <a:cubicBezTo>
                  <a:pt x="11625" y="20656"/>
                  <a:pt x="11625" y="20656"/>
                  <a:pt x="11656" y="20656"/>
                </a:cubicBezTo>
                <a:cubicBezTo>
                  <a:pt x="11625" y="20656"/>
                  <a:pt x="11625" y="20656"/>
                  <a:pt x="11625" y="20656"/>
                </a:cubicBezTo>
                <a:close/>
                <a:moveTo>
                  <a:pt x="11563" y="16874"/>
                </a:moveTo>
                <a:cubicBezTo>
                  <a:pt x="11594" y="16874"/>
                  <a:pt x="11656" y="16906"/>
                  <a:pt x="11656" y="16937"/>
                </a:cubicBezTo>
                <a:cubicBezTo>
                  <a:pt x="11625" y="16999"/>
                  <a:pt x="11563" y="17031"/>
                  <a:pt x="11500" y="17031"/>
                </a:cubicBezTo>
                <a:cubicBezTo>
                  <a:pt x="11438" y="17031"/>
                  <a:pt x="11469" y="16968"/>
                  <a:pt x="11469" y="16968"/>
                </a:cubicBezTo>
                <a:cubicBezTo>
                  <a:pt x="11438" y="16843"/>
                  <a:pt x="11531" y="16874"/>
                  <a:pt x="11563" y="16874"/>
                </a:cubicBezTo>
                <a:close/>
                <a:moveTo>
                  <a:pt x="11438" y="17624"/>
                </a:moveTo>
                <a:cubicBezTo>
                  <a:pt x="11438" y="17593"/>
                  <a:pt x="11438" y="17499"/>
                  <a:pt x="11531" y="17531"/>
                </a:cubicBezTo>
                <a:cubicBezTo>
                  <a:pt x="11563" y="17562"/>
                  <a:pt x="11563" y="17499"/>
                  <a:pt x="11594" y="17499"/>
                </a:cubicBezTo>
                <a:cubicBezTo>
                  <a:pt x="11594" y="17499"/>
                  <a:pt x="11594" y="17499"/>
                  <a:pt x="11594" y="17531"/>
                </a:cubicBezTo>
                <a:cubicBezTo>
                  <a:pt x="11625" y="17562"/>
                  <a:pt x="11688" y="17593"/>
                  <a:pt x="11656" y="17656"/>
                </a:cubicBezTo>
                <a:cubicBezTo>
                  <a:pt x="11625" y="17687"/>
                  <a:pt x="11563" y="17656"/>
                  <a:pt x="11531" y="17687"/>
                </a:cubicBezTo>
                <a:cubicBezTo>
                  <a:pt x="11469" y="17687"/>
                  <a:pt x="11406" y="17687"/>
                  <a:pt x="11438" y="17624"/>
                </a:cubicBezTo>
                <a:close/>
                <a:moveTo>
                  <a:pt x="11469" y="20749"/>
                </a:moveTo>
                <a:cubicBezTo>
                  <a:pt x="11438" y="20781"/>
                  <a:pt x="11406" y="20812"/>
                  <a:pt x="11375" y="20781"/>
                </a:cubicBezTo>
                <a:cubicBezTo>
                  <a:pt x="11375" y="20781"/>
                  <a:pt x="11344" y="20749"/>
                  <a:pt x="11375" y="20749"/>
                </a:cubicBezTo>
                <a:cubicBezTo>
                  <a:pt x="11375" y="20718"/>
                  <a:pt x="11406" y="20749"/>
                  <a:pt x="11469" y="20749"/>
                </a:cubicBezTo>
                <a:close/>
                <a:moveTo>
                  <a:pt x="11344" y="17281"/>
                </a:moveTo>
                <a:cubicBezTo>
                  <a:pt x="11344" y="17281"/>
                  <a:pt x="11313" y="17281"/>
                  <a:pt x="11313" y="17281"/>
                </a:cubicBezTo>
                <a:cubicBezTo>
                  <a:pt x="11313" y="17281"/>
                  <a:pt x="11344" y="17281"/>
                  <a:pt x="11344" y="17281"/>
                </a:cubicBezTo>
                <a:close/>
                <a:moveTo>
                  <a:pt x="11188" y="17249"/>
                </a:moveTo>
                <a:cubicBezTo>
                  <a:pt x="11156" y="17249"/>
                  <a:pt x="11125" y="17249"/>
                  <a:pt x="11125" y="17281"/>
                </a:cubicBezTo>
                <a:cubicBezTo>
                  <a:pt x="11125" y="17249"/>
                  <a:pt x="11156" y="17249"/>
                  <a:pt x="11188" y="17249"/>
                </a:cubicBezTo>
                <a:close/>
                <a:moveTo>
                  <a:pt x="11063" y="17312"/>
                </a:moveTo>
                <a:cubicBezTo>
                  <a:pt x="11063" y="17312"/>
                  <a:pt x="11094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25" y="17312"/>
                  <a:pt x="11125" y="17312"/>
                  <a:pt x="11125" y="17312"/>
                </a:cubicBezTo>
                <a:cubicBezTo>
                  <a:pt x="11156" y="17249"/>
                  <a:pt x="11188" y="17281"/>
                  <a:pt x="11219" y="17281"/>
                </a:cubicBezTo>
                <a:cubicBezTo>
                  <a:pt x="11250" y="17281"/>
                  <a:pt x="11250" y="17281"/>
                  <a:pt x="11281" y="17281"/>
                </a:cubicBezTo>
                <a:cubicBezTo>
                  <a:pt x="11281" y="17281"/>
                  <a:pt x="11281" y="17281"/>
                  <a:pt x="11281" y="17281"/>
                </a:cubicBezTo>
                <a:cubicBezTo>
                  <a:pt x="11313" y="17281"/>
                  <a:pt x="11344" y="17281"/>
                  <a:pt x="11375" y="17312"/>
                </a:cubicBezTo>
                <a:cubicBezTo>
                  <a:pt x="11344" y="17312"/>
                  <a:pt x="11344" y="17312"/>
                  <a:pt x="11344" y="17343"/>
                </a:cubicBezTo>
                <a:cubicBezTo>
                  <a:pt x="11313" y="17374"/>
                  <a:pt x="11281" y="17374"/>
                  <a:pt x="11250" y="17343"/>
                </a:cubicBezTo>
                <a:cubicBezTo>
                  <a:pt x="11219" y="17312"/>
                  <a:pt x="11188" y="17312"/>
                  <a:pt x="11125" y="17312"/>
                </a:cubicBezTo>
                <a:cubicBezTo>
                  <a:pt x="11188" y="17343"/>
                  <a:pt x="11250" y="17374"/>
                  <a:pt x="11313" y="17374"/>
                </a:cubicBezTo>
                <a:cubicBezTo>
                  <a:pt x="11250" y="17437"/>
                  <a:pt x="11313" y="17499"/>
                  <a:pt x="11344" y="17531"/>
                </a:cubicBezTo>
                <a:cubicBezTo>
                  <a:pt x="11406" y="17593"/>
                  <a:pt x="11344" y="17656"/>
                  <a:pt x="11313" y="17656"/>
                </a:cubicBezTo>
                <a:cubicBezTo>
                  <a:pt x="11281" y="17687"/>
                  <a:pt x="11219" y="17718"/>
                  <a:pt x="11156" y="17656"/>
                </a:cubicBezTo>
                <a:cubicBezTo>
                  <a:pt x="11125" y="17562"/>
                  <a:pt x="11063" y="17468"/>
                  <a:pt x="11000" y="17374"/>
                </a:cubicBezTo>
                <a:cubicBezTo>
                  <a:pt x="10969" y="17312"/>
                  <a:pt x="11000" y="17312"/>
                  <a:pt x="11063" y="17312"/>
                </a:cubicBezTo>
                <a:close/>
                <a:moveTo>
                  <a:pt x="11250" y="21031"/>
                </a:moveTo>
                <a:cubicBezTo>
                  <a:pt x="11250" y="20999"/>
                  <a:pt x="11313" y="20968"/>
                  <a:pt x="11313" y="20968"/>
                </a:cubicBezTo>
                <a:cubicBezTo>
                  <a:pt x="11344" y="20937"/>
                  <a:pt x="11375" y="20968"/>
                  <a:pt x="11344" y="20968"/>
                </a:cubicBezTo>
                <a:cubicBezTo>
                  <a:pt x="11344" y="21031"/>
                  <a:pt x="11344" y="21062"/>
                  <a:pt x="11281" y="21062"/>
                </a:cubicBezTo>
                <a:cubicBezTo>
                  <a:pt x="11281" y="21062"/>
                  <a:pt x="11219" y="21062"/>
                  <a:pt x="11250" y="21031"/>
                </a:cubicBezTo>
                <a:close/>
                <a:moveTo>
                  <a:pt x="11156" y="20999"/>
                </a:moveTo>
                <a:cubicBezTo>
                  <a:pt x="11125" y="20999"/>
                  <a:pt x="11125" y="20968"/>
                  <a:pt x="11125" y="20968"/>
                </a:cubicBezTo>
                <a:cubicBezTo>
                  <a:pt x="11156" y="20906"/>
                  <a:pt x="11188" y="20843"/>
                  <a:pt x="11188" y="20781"/>
                </a:cubicBezTo>
                <a:cubicBezTo>
                  <a:pt x="11188" y="20749"/>
                  <a:pt x="11219" y="20749"/>
                  <a:pt x="11219" y="20749"/>
                </a:cubicBezTo>
                <a:cubicBezTo>
                  <a:pt x="11250" y="20749"/>
                  <a:pt x="11250" y="20749"/>
                  <a:pt x="11250" y="20781"/>
                </a:cubicBezTo>
                <a:cubicBezTo>
                  <a:pt x="11281" y="20812"/>
                  <a:pt x="11281" y="20843"/>
                  <a:pt x="11313" y="20843"/>
                </a:cubicBezTo>
                <a:cubicBezTo>
                  <a:pt x="11313" y="20874"/>
                  <a:pt x="11188" y="20999"/>
                  <a:pt x="11156" y="20999"/>
                </a:cubicBezTo>
                <a:close/>
                <a:moveTo>
                  <a:pt x="11031" y="22281"/>
                </a:moveTo>
                <a:cubicBezTo>
                  <a:pt x="11031" y="22281"/>
                  <a:pt x="11031" y="22312"/>
                  <a:pt x="11000" y="22312"/>
                </a:cubicBezTo>
                <a:cubicBezTo>
                  <a:pt x="10969" y="22312"/>
                  <a:pt x="10938" y="22312"/>
                  <a:pt x="10906" y="22249"/>
                </a:cubicBezTo>
                <a:cubicBezTo>
                  <a:pt x="10969" y="22249"/>
                  <a:pt x="11000" y="22249"/>
                  <a:pt x="11031" y="22281"/>
                </a:cubicBezTo>
                <a:close/>
                <a:moveTo>
                  <a:pt x="11000" y="21687"/>
                </a:moveTo>
                <a:cubicBezTo>
                  <a:pt x="11000" y="21749"/>
                  <a:pt x="11000" y="21812"/>
                  <a:pt x="10969" y="21874"/>
                </a:cubicBezTo>
                <a:cubicBezTo>
                  <a:pt x="10906" y="21781"/>
                  <a:pt x="10969" y="21749"/>
                  <a:pt x="11000" y="21687"/>
                </a:cubicBezTo>
                <a:close/>
                <a:moveTo>
                  <a:pt x="11000" y="20937"/>
                </a:moveTo>
                <a:cubicBezTo>
                  <a:pt x="11000" y="20937"/>
                  <a:pt x="11000" y="20968"/>
                  <a:pt x="11000" y="20999"/>
                </a:cubicBezTo>
                <a:cubicBezTo>
                  <a:pt x="10969" y="20999"/>
                  <a:pt x="10969" y="21062"/>
                  <a:pt x="10938" y="21062"/>
                </a:cubicBezTo>
                <a:cubicBezTo>
                  <a:pt x="10906" y="21062"/>
                  <a:pt x="10906" y="21031"/>
                  <a:pt x="10875" y="20999"/>
                </a:cubicBezTo>
                <a:cubicBezTo>
                  <a:pt x="10875" y="20968"/>
                  <a:pt x="10844" y="20937"/>
                  <a:pt x="10875" y="20906"/>
                </a:cubicBezTo>
                <a:cubicBezTo>
                  <a:pt x="10969" y="20843"/>
                  <a:pt x="11031" y="20812"/>
                  <a:pt x="11125" y="20718"/>
                </a:cubicBezTo>
                <a:cubicBezTo>
                  <a:pt x="11125" y="20843"/>
                  <a:pt x="11063" y="20937"/>
                  <a:pt x="11063" y="21062"/>
                </a:cubicBezTo>
                <a:cubicBezTo>
                  <a:pt x="11000" y="21031"/>
                  <a:pt x="11031" y="20968"/>
                  <a:pt x="11000" y="20937"/>
                </a:cubicBezTo>
                <a:close/>
                <a:moveTo>
                  <a:pt x="10375" y="21562"/>
                </a:moveTo>
                <a:cubicBezTo>
                  <a:pt x="10469" y="21562"/>
                  <a:pt x="10438" y="21656"/>
                  <a:pt x="10500" y="21656"/>
                </a:cubicBezTo>
                <a:cubicBezTo>
                  <a:pt x="10469" y="21718"/>
                  <a:pt x="10406" y="21718"/>
                  <a:pt x="10375" y="21718"/>
                </a:cubicBezTo>
                <a:cubicBezTo>
                  <a:pt x="10313" y="21718"/>
                  <a:pt x="10344" y="21656"/>
                  <a:pt x="10344" y="21624"/>
                </a:cubicBezTo>
                <a:cubicBezTo>
                  <a:pt x="10344" y="21593"/>
                  <a:pt x="10375" y="21593"/>
                  <a:pt x="10375" y="21562"/>
                </a:cubicBezTo>
                <a:cubicBezTo>
                  <a:pt x="10375" y="21499"/>
                  <a:pt x="10375" y="21437"/>
                  <a:pt x="10406" y="21437"/>
                </a:cubicBezTo>
                <a:cubicBezTo>
                  <a:pt x="10469" y="21437"/>
                  <a:pt x="10500" y="21499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31" y="21562"/>
                  <a:pt x="10531" y="21562"/>
                  <a:pt x="10531" y="21562"/>
                </a:cubicBezTo>
                <a:cubicBezTo>
                  <a:pt x="10500" y="21562"/>
                  <a:pt x="10469" y="21624"/>
                  <a:pt x="10438" y="21562"/>
                </a:cubicBezTo>
                <a:cubicBezTo>
                  <a:pt x="10438" y="21531"/>
                  <a:pt x="10406" y="21531"/>
                  <a:pt x="10375" y="21562"/>
                </a:cubicBezTo>
                <a:cubicBezTo>
                  <a:pt x="10375" y="21562"/>
                  <a:pt x="10375" y="21562"/>
                  <a:pt x="10375" y="21562"/>
                </a:cubicBezTo>
                <a:close/>
                <a:moveTo>
                  <a:pt x="10313" y="20968"/>
                </a:moveTo>
                <a:cubicBezTo>
                  <a:pt x="10313" y="20843"/>
                  <a:pt x="10344" y="20749"/>
                  <a:pt x="10438" y="20687"/>
                </a:cubicBezTo>
                <a:cubicBezTo>
                  <a:pt x="10469" y="20687"/>
                  <a:pt x="10469" y="20656"/>
                  <a:pt x="10469" y="20656"/>
                </a:cubicBezTo>
                <a:cubicBezTo>
                  <a:pt x="10500" y="20656"/>
                  <a:pt x="10500" y="20687"/>
                  <a:pt x="10500" y="20687"/>
                </a:cubicBezTo>
                <a:cubicBezTo>
                  <a:pt x="10469" y="20781"/>
                  <a:pt x="10469" y="20906"/>
                  <a:pt x="10406" y="20968"/>
                </a:cubicBezTo>
                <a:cubicBezTo>
                  <a:pt x="10375" y="20999"/>
                  <a:pt x="10344" y="21031"/>
                  <a:pt x="10313" y="20968"/>
                </a:cubicBezTo>
                <a:close/>
                <a:moveTo>
                  <a:pt x="10500" y="21031"/>
                </a:moveTo>
                <a:cubicBezTo>
                  <a:pt x="10500" y="20968"/>
                  <a:pt x="10531" y="20968"/>
                  <a:pt x="10563" y="20937"/>
                </a:cubicBezTo>
                <a:cubicBezTo>
                  <a:pt x="10594" y="20906"/>
                  <a:pt x="10594" y="20906"/>
                  <a:pt x="10625" y="20874"/>
                </a:cubicBezTo>
                <a:cubicBezTo>
                  <a:pt x="10656" y="20874"/>
                  <a:pt x="10688" y="20812"/>
                  <a:pt x="10688" y="20874"/>
                </a:cubicBezTo>
                <a:cubicBezTo>
                  <a:pt x="10719" y="20906"/>
                  <a:pt x="10750" y="20906"/>
                  <a:pt x="10719" y="20968"/>
                </a:cubicBezTo>
                <a:cubicBezTo>
                  <a:pt x="10688" y="20999"/>
                  <a:pt x="10625" y="21031"/>
                  <a:pt x="10594" y="21031"/>
                </a:cubicBezTo>
                <a:cubicBezTo>
                  <a:pt x="10563" y="21031"/>
                  <a:pt x="10500" y="21031"/>
                  <a:pt x="10500" y="21031"/>
                </a:cubicBezTo>
                <a:close/>
                <a:moveTo>
                  <a:pt x="10531" y="20812"/>
                </a:moveTo>
                <a:cubicBezTo>
                  <a:pt x="10531" y="20749"/>
                  <a:pt x="10563" y="20718"/>
                  <a:pt x="10594" y="20656"/>
                </a:cubicBezTo>
                <a:cubicBezTo>
                  <a:pt x="10656" y="20718"/>
                  <a:pt x="10656" y="20781"/>
                  <a:pt x="10594" y="20843"/>
                </a:cubicBezTo>
                <a:cubicBezTo>
                  <a:pt x="10563" y="20843"/>
                  <a:pt x="10563" y="20843"/>
                  <a:pt x="10531" y="20843"/>
                </a:cubicBezTo>
                <a:cubicBezTo>
                  <a:pt x="10500" y="20843"/>
                  <a:pt x="10531" y="20812"/>
                  <a:pt x="10531" y="20812"/>
                </a:cubicBezTo>
                <a:close/>
                <a:moveTo>
                  <a:pt x="10813" y="21468"/>
                </a:moveTo>
                <a:cubicBezTo>
                  <a:pt x="10750" y="21499"/>
                  <a:pt x="10688" y="21562"/>
                  <a:pt x="10656" y="21624"/>
                </a:cubicBezTo>
                <a:cubicBezTo>
                  <a:pt x="10625" y="21562"/>
                  <a:pt x="10625" y="21499"/>
                  <a:pt x="10656" y="21437"/>
                </a:cubicBezTo>
                <a:cubicBezTo>
                  <a:pt x="10719" y="21374"/>
                  <a:pt x="10750" y="21468"/>
                  <a:pt x="10813" y="21468"/>
                </a:cubicBezTo>
                <a:close/>
                <a:moveTo>
                  <a:pt x="10625" y="21749"/>
                </a:moveTo>
                <a:cubicBezTo>
                  <a:pt x="10688" y="21781"/>
                  <a:pt x="10688" y="21843"/>
                  <a:pt x="10719" y="21906"/>
                </a:cubicBezTo>
                <a:cubicBezTo>
                  <a:pt x="10625" y="21906"/>
                  <a:pt x="10594" y="21874"/>
                  <a:pt x="10625" y="21749"/>
                </a:cubicBezTo>
                <a:close/>
                <a:moveTo>
                  <a:pt x="10719" y="21656"/>
                </a:moveTo>
                <a:cubicBezTo>
                  <a:pt x="10750" y="21624"/>
                  <a:pt x="10750" y="21562"/>
                  <a:pt x="10813" y="21562"/>
                </a:cubicBezTo>
                <a:cubicBezTo>
                  <a:pt x="10844" y="21562"/>
                  <a:pt x="10844" y="21624"/>
                  <a:pt x="10844" y="21624"/>
                </a:cubicBezTo>
                <a:cubicBezTo>
                  <a:pt x="10813" y="21656"/>
                  <a:pt x="10781" y="21687"/>
                  <a:pt x="10719" y="21656"/>
                </a:cubicBezTo>
                <a:close/>
                <a:moveTo>
                  <a:pt x="10781" y="20874"/>
                </a:moveTo>
                <a:cubicBezTo>
                  <a:pt x="10781" y="20843"/>
                  <a:pt x="10719" y="20812"/>
                  <a:pt x="10781" y="20749"/>
                </a:cubicBezTo>
                <a:cubicBezTo>
                  <a:pt x="10844" y="20718"/>
                  <a:pt x="10875" y="20656"/>
                  <a:pt x="10938" y="20656"/>
                </a:cubicBezTo>
                <a:cubicBezTo>
                  <a:pt x="10969" y="20687"/>
                  <a:pt x="11031" y="20656"/>
                  <a:pt x="11031" y="20687"/>
                </a:cubicBezTo>
                <a:cubicBezTo>
                  <a:pt x="11031" y="20718"/>
                  <a:pt x="11000" y="20749"/>
                  <a:pt x="10969" y="20749"/>
                </a:cubicBezTo>
                <a:cubicBezTo>
                  <a:pt x="10938" y="20781"/>
                  <a:pt x="10906" y="20812"/>
                  <a:pt x="10844" y="20843"/>
                </a:cubicBezTo>
                <a:cubicBezTo>
                  <a:pt x="10844" y="20874"/>
                  <a:pt x="10813" y="20906"/>
                  <a:pt x="10781" y="20874"/>
                </a:cubicBezTo>
                <a:close/>
                <a:moveTo>
                  <a:pt x="10563" y="17343"/>
                </a:moveTo>
                <a:cubicBezTo>
                  <a:pt x="10594" y="17374"/>
                  <a:pt x="10563" y="17406"/>
                  <a:pt x="10563" y="17406"/>
                </a:cubicBezTo>
                <a:cubicBezTo>
                  <a:pt x="10594" y="17437"/>
                  <a:pt x="10625" y="17437"/>
                  <a:pt x="10625" y="17437"/>
                </a:cubicBezTo>
                <a:cubicBezTo>
                  <a:pt x="10594" y="17343"/>
                  <a:pt x="10688" y="17374"/>
                  <a:pt x="10688" y="17343"/>
                </a:cubicBezTo>
                <a:cubicBezTo>
                  <a:pt x="10750" y="17281"/>
                  <a:pt x="10750" y="17312"/>
                  <a:pt x="10781" y="17343"/>
                </a:cubicBezTo>
                <a:cubicBezTo>
                  <a:pt x="10844" y="17468"/>
                  <a:pt x="10906" y="17562"/>
                  <a:pt x="11000" y="17687"/>
                </a:cubicBezTo>
                <a:cubicBezTo>
                  <a:pt x="11000" y="17687"/>
                  <a:pt x="11000" y="17718"/>
                  <a:pt x="10969" y="17749"/>
                </a:cubicBezTo>
                <a:cubicBezTo>
                  <a:pt x="10875" y="17781"/>
                  <a:pt x="10781" y="17718"/>
                  <a:pt x="10781" y="17624"/>
                </a:cubicBezTo>
                <a:cubicBezTo>
                  <a:pt x="10781" y="17562"/>
                  <a:pt x="10719" y="17562"/>
                  <a:pt x="10688" y="17531"/>
                </a:cubicBezTo>
                <a:cubicBezTo>
                  <a:pt x="10656" y="17531"/>
                  <a:pt x="10625" y="17593"/>
                  <a:pt x="10625" y="17624"/>
                </a:cubicBezTo>
                <a:cubicBezTo>
                  <a:pt x="10625" y="17624"/>
                  <a:pt x="10625" y="17656"/>
                  <a:pt x="10625" y="17656"/>
                </a:cubicBezTo>
                <a:cubicBezTo>
                  <a:pt x="10625" y="17687"/>
                  <a:pt x="10656" y="17749"/>
                  <a:pt x="10625" y="17749"/>
                </a:cubicBezTo>
                <a:cubicBezTo>
                  <a:pt x="10563" y="17749"/>
                  <a:pt x="10500" y="17749"/>
                  <a:pt x="10469" y="17687"/>
                </a:cubicBezTo>
                <a:cubicBezTo>
                  <a:pt x="10438" y="17656"/>
                  <a:pt x="10469" y="17624"/>
                  <a:pt x="10500" y="17593"/>
                </a:cubicBezTo>
                <a:cubicBezTo>
                  <a:pt x="10531" y="17562"/>
                  <a:pt x="10531" y="17499"/>
                  <a:pt x="10531" y="17468"/>
                </a:cubicBezTo>
                <a:cubicBezTo>
                  <a:pt x="10531" y="17437"/>
                  <a:pt x="10531" y="17374"/>
                  <a:pt x="10563" y="17343"/>
                </a:cubicBezTo>
                <a:close/>
                <a:moveTo>
                  <a:pt x="10313" y="17218"/>
                </a:moveTo>
                <a:cubicBezTo>
                  <a:pt x="10344" y="17218"/>
                  <a:pt x="10344" y="17218"/>
                  <a:pt x="10344" y="17218"/>
                </a:cubicBezTo>
                <a:cubicBezTo>
                  <a:pt x="10344" y="17187"/>
                  <a:pt x="10344" y="17187"/>
                  <a:pt x="10344" y="17187"/>
                </a:cubicBezTo>
                <a:cubicBezTo>
                  <a:pt x="10344" y="17187"/>
                  <a:pt x="10344" y="17218"/>
                  <a:pt x="10344" y="17218"/>
                </a:cubicBezTo>
                <a:cubicBezTo>
                  <a:pt x="10344" y="17218"/>
                  <a:pt x="10344" y="17187"/>
                  <a:pt x="10344" y="17187"/>
                </a:cubicBezTo>
                <a:cubicBezTo>
                  <a:pt x="10438" y="17156"/>
                  <a:pt x="10500" y="17187"/>
                  <a:pt x="10500" y="17281"/>
                </a:cubicBezTo>
                <a:cubicBezTo>
                  <a:pt x="10531" y="17312"/>
                  <a:pt x="10531" y="17343"/>
                  <a:pt x="10500" y="17343"/>
                </a:cubicBezTo>
                <a:cubicBezTo>
                  <a:pt x="10375" y="17281"/>
                  <a:pt x="10406" y="17406"/>
                  <a:pt x="10375" y="17437"/>
                </a:cubicBezTo>
                <a:cubicBezTo>
                  <a:pt x="10313" y="17374"/>
                  <a:pt x="10344" y="17281"/>
                  <a:pt x="10313" y="17218"/>
                </a:cubicBezTo>
                <a:close/>
                <a:moveTo>
                  <a:pt x="10188" y="20593"/>
                </a:moveTo>
                <a:cubicBezTo>
                  <a:pt x="10219" y="20656"/>
                  <a:pt x="10250" y="20593"/>
                  <a:pt x="10313" y="20593"/>
                </a:cubicBezTo>
                <a:cubicBezTo>
                  <a:pt x="10344" y="20593"/>
                  <a:pt x="10375" y="20593"/>
                  <a:pt x="10344" y="20656"/>
                </a:cubicBezTo>
                <a:cubicBezTo>
                  <a:pt x="10344" y="20687"/>
                  <a:pt x="10281" y="20718"/>
                  <a:pt x="10281" y="20718"/>
                </a:cubicBezTo>
                <a:cubicBezTo>
                  <a:pt x="10188" y="20812"/>
                  <a:pt x="10156" y="20812"/>
                  <a:pt x="10125" y="20687"/>
                </a:cubicBezTo>
                <a:cubicBezTo>
                  <a:pt x="10094" y="20656"/>
                  <a:pt x="10156" y="20593"/>
                  <a:pt x="10188" y="20593"/>
                </a:cubicBezTo>
                <a:close/>
                <a:moveTo>
                  <a:pt x="10281" y="21437"/>
                </a:moveTo>
                <a:cubicBezTo>
                  <a:pt x="10313" y="21531"/>
                  <a:pt x="10250" y="21562"/>
                  <a:pt x="10219" y="21593"/>
                </a:cubicBezTo>
                <a:cubicBezTo>
                  <a:pt x="10219" y="21624"/>
                  <a:pt x="10188" y="21624"/>
                  <a:pt x="10188" y="21624"/>
                </a:cubicBezTo>
                <a:cubicBezTo>
                  <a:pt x="10156" y="21624"/>
                  <a:pt x="10156" y="21593"/>
                  <a:pt x="10125" y="21562"/>
                </a:cubicBezTo>
                <a:cubicBezTo>
                  <a:pt x="10188" y="21562"/>
                  <a:pt x="10156" y="21499"/>
                  <a:pt x="10219" y="21499"/>
                </a:cubicBezTo>
                <a:cubicBezTo>
                  <a:pt x="10219" y="21468"/>
                  <a:pt x="10281" y="21499"/>
                  <a:pt x="10281" y="21437"/>
                </a:cubicBezTo>
                <a:close/>
                <a:moveTo>
                  <a:pt x="9969" y="20781"/>
                </a:moveTo>
                <a:cubicBezTo>
                  <a:pt x="10000" y="20749"/>
                  <a:pt x="10031" y="20812"/>
                  <a:pt x="10031" y="20843"/>
                </a:cubicBezTo>
                <a:cubicBezTo>
                  <a:pt x="10063" y="20874"/>
                  <a:pt x="10063" y="20906"/>
                  <a:pt x="10031" y="20937"/>
                </a:cubicBezTo>
                <a:cubicBezTo>
                  <a:pt x="10000" y="20937"/>
                  <a:pt x="10000" y="20999"/>
                  <a:pt x="9969" y="20937"/>
                </a:cubicBezTo>
                <a:cubicBezTo>
                  <a:pt x="9938" y="20906"/>
                  <a:pt x="9906" y="20937"/>
                  <a:pt x="9906" y="20937"/>
                </a:cubicBezTo>
                <a:cubicBezTo>
                  <a:pt x="9875" y="20968"/>
                  <a:pt x="9844" y="20937"/>
                  <a:pt x="9844" y="20906"/>
                </a:cubicBezTo>
                <a:cubicBezTo>
                  <a:pt x="9844" y="20843"/>
                  <a:pt x="9906" y="20781"/>
                  <a:pt x="9969" y="20781"/>
                </a:cubicBezTo>
                <a:close/>
                <a:moveTo>
                  <a:pt x="9906" y="21343"/>
                </a:moveTo>
                <a:cubicBezTo>
                  <a:pt x="9844" y="21343"/>
                  <a:pt x="9844" y="21249"/>
                  <a:pt x="9813" y="21218"/>
                </a:cubicBezTo>
                <a:cubicBezTo>
                  <a:pt x="9813" y="21187"/>
                  <a:pt x="9844" y="21156"/>
                  <a:pt x="9875" y="21156"/>
                </a:cubicBezTo>
                <a:cubicBezTo>
                  <a:pt x="9938" y="21156"/>
                  <a:pt x="10031" y="21249"/>
                  <a:pt x="10031" y="21312"/>
                </a:cubicBezTo>
                <a:cubicBezTo>
                  <a:pt x="10031" y="21374"/>
                  <a:pt x="9938" y="21343"/>
                  <a:pt x="9906" y="21343"/>
                </a:cubicBezTo>
                <a:close/>
                <a:moveTo>
                  <a:pt x="10000" y="21749"/>
                </a:moveTo>
                <a:cubicBezTo>
                  <a:pt x="9969" y="21812"/>
                  <a:pt x="9906" y="21749"/>
                  <a:pt x="9875" y="21781"/>
                </a:cubicBezTo>
                <a:cubicBezTo>
                  <a:pt x="9875" y="21812"/>
                  <a:pt x="9844" y="21781"/>
                  <a:pt x="9844" y="21781"/>
                </a:cubicBezTo>
                <a:cubicBezTo>
                  <a:pt x="9844" y="21718"/>
                  <a:pt x="9906" y="21718"/>
                  <a:pt x="9938" y="21718"/>
                </a:cubicBezTo>
                <a:cubicBezTo>
                  <a:pt x="9969" y="21718"/>
                  <a:pt x="10000" y="21687"/>
                  <a:pt x="10000" y="21749"/>
                </a:cubicBezTo>
                <a:close/>
                <a:moveTo>
                  <a:pt x="9719" y="20874"/>
                </a:moveTo>
                <a:cubicBezTo>
                  <a:pt x="9688" y="20874"/>
                  <a:pt x="9656" y="20937"/>
                  <a:pt x="9625" y="20874"/>
                </a:cubicBezTo>
                <a:cubicBezTo>
                  <a:pt x="9594" y="20843"/>
                  <a:pt x="9594" y="20781"/>
                  <a:pt x="9625" y="20749"/>
                </a:cubicBezTo>
                <a:cubicBezTo>
                  <a:pt x="9688" y="20687"/>
                  <a:pt x="9750" y="20624"/>
                  <a:pt x="9844" y="20562"/>
                </a:cubicBezTo>
                <a:cubicBezTo>
                  <a:pt x="9844" y="20687"/>
                  <a:pt x="9844" y="20812"/>
                  <a:pt x="9719" y="20874"/>
                </a:cubicBezTo>
                <a:close/>
                <a:moveTo>
                  <a:pt x="9719" y="21624"/>
                </a:moveTo>
                <a:cubicBezTo>
                  <a:pt x="9688" y="21624"/>
                  <a:pt x="9688" y="21624"/>
                  <a:pt x="9688" y="21593"/>
                </a:cubicBezTo>
                <a:cubicBezTo>
                  <a:pt x="9688" y="21531"/>
                  <a:pt x="9750" y="21531"/>
                  <a:pt x="9781" y="21531"/>
                </a:cubicBezTo>
                <a:cubicBezTo>
                  <a:pt x="9781" y="21499"/>
                  <a:pt x="9781" y="21531"/>
                  <a:pt x="9781" y="21562"/>
                </a:cubicBezTo>
                <a:cubicBezTo>
                  <a:pt x="9813" y="21593"/>
                  <a:pt x="9750" y="21624"/>
                  <a:pt x="9719" y="21624"/>
                </a:cubicBezTo>
                <a:close/>
                <a:moveTo>
                  <a:pt x="9781" y="21687"/>
                </a:moveTo>
                <a:cubicBezTo>
                  <a:pt x="9813" y="21749"/>
                  <a:pt x="9750" y="21749"/>
                  <a:pt x="9719" y="21812"/>
                </a:cubicBezTo>
                <a:cubicBezTo>
                  <a:pt x="9688" y="21718"/>
                  <a:pt x="9719" y="21687"/>
                  <a:pt x="9750" y="21656"/>
                </a:cubicBezTo>
                <a:cubicBezTo>
                  <a:pt x="9781" y="21656"/>
                  <a:pt x="9781" y="21656"/>
                  <a:pt x="9781" y="21687"/>
                </a:cubicBezTo>
                <a:close/>
                <a:moveTo>
                  <a:pt x="9813" y="20531"/>
                </a:moveTo>
                <a:cubicBezTo>
                  <a:pt x="9750" y="20562"/>
                  <a:pt x="9719" y="20593"/>
                  <a:pt x="9688" y="20624"/>
                </a:cubicBezTo>
                <a:cubicBezTo>
                  <a:pt x="9656" y="20499"/>
                  <a:pt x="9656" y="20499"/>
                  <a:pt x="9813" y="20531"/>
                </a:cubicBezTo>
                <a:close/>
                <a:moveTo>
                  <a:pt x="9094" y="22156"/>
                </a:moveTo>
                <a:cubicBezTo>
                  <a:pt x="9094" y="22156"/>
                  <a:pt x="9094" y="22124"/>
                  <a:pt x="9094" y="22093"/>
                </a:cubicBezTo>
                <a:cubicBezTo>
                  <a:pt x="9094" y="22062"/>
                  <a:pt x="9063" y="22031"/>
                  <a:pt x="9094" y="21968"/>
                </a:cubicBezTo>
                <a:cubicBezTo>
                  <a:pt x="9125" y="21906"/>
                  <a:pt x="9188" y="21999"/>
                  <a:pt x="9250" y="21937"/>
                </a:cubicBezTo>
                <a:cubicBezTo>
                  <a:pt x="9250" y="21937"/>
                  <a:pt x="9281" y="21968"/>
                  <a:pt x="9281" y="21968"/>
                </a:cubicBezTo>
                <a:cubicBezTo>
                  <a:pt x="9281" y="21999"/>
                  <a:pt x="9281" y="22031"/>
                  <a:pt x="9313" y="21999"/>
                </a:cubicBezTo>
                <a:cubicBezTo>
                  <a:pt x="9344" y="21999"/>
                  <a:pt x="9375" y="22031"/>
                  <a:pt x="9344" y="22062"/>
                </a:cubicBezTo>
                <a:cubicBezTo>
                  <a:pt x="9313" y="22093"/>
                  <a:pt x="9281" y="22093"/>
                  <a:pt x="9219" y="22031"/>
                </a:cubicBezTo>
                <a:cubicBezTo>
                  <a:pt x="9219" y="22156"/>
                  <a:pt x="9188" y="22156"/>
                  <a:pt x="9094" y="22156"/>
                </a:cubicBezTo>
                <a:close/>
                <a:moveTo>
                  <a:pt x="9094" y="21281"/>
                </a:moveTo>
                <a:cubicBezTo>
                  <a:pt x="9094" y="21218"/>
                  <a:pt x="9125" y="21218"/>
                  <a:pt x="9156" y="21281"/>
                </a:cubicBezTo>
                <a:cubicBezTo>
                  <a:pt x="9188" y="21281"/>
                  <a:pt x="9188" y="21312"/>
                  <a:pt x="9188" y="21312"/>
                </a:cubicBezTo>
                <a:cubicBezTo>
                  <a:pt x="9219" y="21374"/>
                  <a:pt x="9281" y="21437"/>
                  <a:pt x="9250" y="21468"/>
                </a:cubicBezTo>
                <a:cubicBezTo>
                  <a:pt x="9219" y="21531"/>
                  <a:pt x="9125" y="21499"/>
                  <a:pt x="9094" y="21531"/>
                </a:cubicBezTo>
                <a:cubicBezTo>
                  <a:pt x="9031" y="21531"/>
                  <a:pt x="9031" y="21531"/>
                  <a:pt x="9031" y="21499"/>
                </a:cubicBezTo>
                <a:cubicBezTo>
                  <a:pt x="9063" y="21406"/>
                  <a:pt x="9063" y="21343"/>
                  <a:pt x="9094" y="21281"/>
                </a:cubicBezTo>
                <a:close/>
                <a:moveTo>
                  <a:pt x="9063" y="20843"/>
                </a:moveTo>
                <a:cubicBezTo>
                  <a:pt x="9063" y="20812"/>
                  <a:pt x="9094" y="20781"/>
                  <a:pt x="9156" y="20749"/>
                </a:cubicBezTo>
                <a:cubicBezTo>
                  <a:pt x="9125" y="20812"/>
                  <a:pt x="9156" y="20843"/>
                  <a:pt x="9094" y="20843"/>
                </a:cubicBezTo>
                <a:cubicBezTo>
                  <a:pt x="9063" y="20874"/>
                  <a:pt x="9031" y="20843"/>
                  <a:pt x="9063" y="20843"/>
                </a:cubicBezTo>
                <a:close/>
                <a:moveTo>
                  <a:pt x="9281" y="21687"/>
                </a:moveTo>
                <a:cubicBezTo>
                  <a:pt x="9281" y="21656"/>
                  <a:pt x="9281" y="21593"/>
                  <a:pt x="9313" y="21593"/>
                </a:cubicBezTo>
                <a:cubicBezTo>
                  <a:pt x="9375" y="21593"/>
                  <a:pt x="9375" y="21656"/>
                  <a:pt x="9406" y="21687"/>
                </a:cubicBezTo>
                <a:cubicBezTo>
                  <a:pt x="9344" y="21718"/>
                  <a:pt x="9313" y="21718"/>
                  <a:pt x="9281" y="21687"/>
                </a:cubicBezTo>
                <a:close/>
                <a:moveTo>
                  <a:pt x="9375" y="21437"/>
                </a:moveTo>
                <a:cubicBezTo>
                  <a:pt x="9313" y="21468"/>
                  <a:pt x="9313" y="21437"/>
                  <a:pt x="9313" y="21406"/>
                </a:cubicBezTo>
                <a:cubicBezTo>
                  <a:pt x="9313" y="21343"/>
                  <a:pt x="9219" y="21343"/>
                  <a:pt x="9250" y="21312"/>
                </a:cubicBezTo>
                <a:cubicBezTo>
                  <a:pt x="9250" y="21281"/>
                  <a:pt x="9188" y="21249"/>
                  <a:pt x="9250" y="21249"/>
                </a:cubicBezTo>
                <a:cubicBezTo>
                  <a:pt x="9250" y="21218"/>
                  <a:pt x="9281" y="21218"/>
                  <a:pt x="9313" y="21218"/>
                </a:cubicBezTo>
                <a:cubicBezTo>
                  <a:pt x="9375" y="21249"/>
                  <a:pt x="9406" y="21281"/>
                  <a:pt x="9469" y="21312"/>
                </a:cubicBezTo>
                <a:cubicBezTo>
                  <a:pt x="9469" y="21312"/>
                  <a:pt x="9500" y="21343"/>
                  <a:pt x="9500" y="21343"/>
                </a:cubicBezTo>
                <a:cubicBezTo>
                  <a:pt x="9469" y="21406"/>
                  <a:pt x="9406" y="21437"/>
                  <a:pt x="9375" y="21437"/>
                </a:cubicBezTo>
                <a:close/>
                <a:moveTo>
                  <a:pt x="9250" y="21093"/>
                </a:moveTo>
                <a:cubicBezTo>
                  <a:pt x="9281" y="21093"/>
                  <a:pt x="9313" y="21093"/>
                  <a:pt x="9344" y="21093"/>
                </a:cubicBezTo>
                <a:cubicBezTo>
                  <a:pt x="9375" y="21093"/>
                  <a:pt x="9406" y="21124"/>
                  <a:pt x="9406" y="21124"/>
                </a:cubicBezTo>
                <a:cubicBezTo>
                  <a:pt x="9406" y="21156"/>
                  <a:pt x="9375" y="21156"/>
                  <a:pt x="9375" y="21187"/>
                </a:cubicBezTo>
                <a:cubicBezTo>
                  <a:pt x="9313" y="21187"/>
                  <a:pt x="9281" y="21187"/>
                  <a:pt x="9250" y="21156"/>
                </a:cubicBezTo>
                <a:cubicBezTo>
                  <a:pt x="9250" y="21124"/>
                  <a:pt x="9250" y="21124"/>
                  <a:pt x="9250" y="21093"/>
                </a:cubicBezTo>
                <a:close/>
                <a:moveTo>
                  <a:pt x="9219" y="20812"/>
                </a:moveTo>
                <a:cubicBezTo>
                  <a:pt x="9219" y="20749"/>
                  <a:pt x="9219" y="20718"/>
                  <a:pt x="9250" y="20656"/>
                </a:cubicBezTo>
                <a:cubicBezTo>
                  <a:pt x="9313" y="20687"/>
                  <a:pt x="9313" y="20749"/>
                  <a:pt x="9313" y="20749"/>
                </a:cubicBezTo>
                <a:cubicBezTo>
                  <a:pt x="9344" y="20781"/>
                  <a:pt x="9375" y="20843"/>
                  <a:pt x="9344" y="20874"/>
                </a:cubicBezTo>
                <a:cubicBezTo>
                  <a:pt x="9344" y="20906"/>
                  <a:pt x="9281" y="20874"/>
                  <a:pt x="9250" y="20874"/>
                </a:cubicBezTo>
                <a:cubicBezTo>
                  <a:pt x="9219" y="20874"/>
                  <a:pt x="9188" y="20843"/>
                  <a:pt x="9219" y="20812"/>
                </a:cubicBezTo>
                <a:close/>
                <a:moveTo>
                  <a:pt x="9188" y="20562"/>
                </a:moveTo>
                <a:cubicBezTo>
                  <a:pt x="9188" y="20624"/>
                  <a:pt x="9000" y="20812"/>
                  <a:pt x="8938" y="20812"/>
                </a:cubicBezTo>
                <a:cubicBezTo>
                  <a:pt x="8938" y="20781"/>
                  <a:pt x="8906" y="20718"/>
                  <a:pt x="8938" y="20718"/>
                </a:cubicBezTo>
                <a:cubicBezTo>
                  <a:pt x="8969" y="20624"/>
                  <a:pt x="9063" y="20562"/>
                  <a:pt x="9156" y="20531"/>
                </a:cubicBezTo>
                <a:cubicBezTo>
                  <a:pt x="9188" y="20499"/>
                  <a:pt x="9188" y="20531"/>
                  <a:pt x="9188" y="20562"/>
                </a:cubicBezTo>
                <a:close/>
                <a:moveTo>
                  <a:pt x="8750" y="20406"/>
                </a:moveTo>
                <a:cubicBezTo>
                  <a:pt x="8750" y="20406"/>
                  <a:pt x="8750" y="20406"/>
                  <a:pt x="8781" y="20406"/>
                </a:cubicBezTo>
                <a:cubicBezTo>
                  <a:pt x="8875" y="20468"/>
                  <a:pt x="8969" y="20406"/>
                  <a:pt x="9094" y="20437"/>
                </a:cubicBezTo>
                <a:cubicBezTo>
                  <a:pt x="9094" y="20437"/>
                  <a:pt x="9125" y="20437"/>
                  <a:pt x="9125" y="20437"/>
                </a:cubicBezTo>
                <a:cubicBezTo>
                  <a:pt x="9125" y="20468"/>
                  <a:pt x="9125" y="20468"/>
                  <a:pt x="9094" y="20499"/>
                </a:cubicBezTo>
                <a:cubicBezTo>
                  <a:pt x="9063" y="20531"/>
                  <a:pt x="9031" y="20562"/>
                  <a:pt x="8969" y="20593"/>
                </a:cubicBezTo>
                <a:cubicBezTo>
                  <a:pt x="8906" y="20624"/>
                  <a:pt x="8844" y="20593"/>
                  <a:pt x="8813" y="20531"/>
                </a:cubicBezTo>
                <a:cubicBezTo>
                  <a:pt x="8813" y="20499"/>
                  <a:pt x="8781" y="20468"/>
                  <a:pt x="8750" y="20437"/>
                </a:cubicBezTo>
                <a:cubicBezTo>
                  <a:pt x="8750" y="20437"/>
                  <a:pt x="8719" y="20406"/>
                  <a:pt x="8750" y="20406"/>
                </a:cubicBezTo>
                <a:close/>
                <a:moveTo>
                  <a:pt x="8656" y="20468"/>
                </a:moveTo>
                <a:cubicBezTo>
                  <a:pt x="8688" y="20437"/>
                  <a:pt x="8688" y="20468"/>
                  <a:pt x="8719" y="20499"/>
                </a:cubicBezTo>
                <a:cubicBezTo>
                  <a:pt x="8781" y="20562"/>
                  <a:pt x="8750" y="20624"/>
                  <a:pt x="8813" y="20656"/>
                </a:cubicBezTo>
                <a:cubicBezTo>
                  <a:pt x="8813" y="20718"/>
                  <a:pt x="8781" y="20718"/>
                  <a:pt x="8750" y="20749"/>
                </a:cubicBezTo>
                <a:cubicBezTo>
                  <a:pt x="8719" y="20781"/>
                  <a:pt x="8719" y="20749"/>
                  <a:pt x="8688" y="20718"/>
                </a:cubicBezTo>
                <a:cubicBezTo>
                  <a:pt x="8656" y="20687"/>
                  <a:pt x="8625" y="20624"/>
                  <a:pt x="8594" y="20562"/>
                </a:cubicBezTo>
                <a:cubicBezTo>
                  <a:pt x="8563" y="20531"/>
                  <a:pt x="8625" y="20499"/>
                  <a:pt x="8656" y="20468"/>
                </a:cubicBezTo>
                <a:close/>
                <a:moveTo>
                  <a:pt x="8906" y="21124"/>
                </a:moveTo>
                <a:cubicBezTo>
                  <a:pt x="8938" y="21187"/>
                  <a:pt x="8906" y="21218"/>
                  <a:pt x="8844" y="21249"/>
                </a:cubicBezTo>
                <a:cubicBezTo>
                  <a:pt x="8781" y="21249"/>
                  <a:pt x="8719" y="21249"/>
                  <a:pt x="8656" y="21281"/>
                </a:cubicBezTo>
                <a:cubicBezTo>
                  <a:pt x="8625" y="21281"/>
                  <a:pt x="8563" y="21281"/>
                  <a:pt x="8594" y="21187"/>
                </a:cubicBezTo>
                <a:cubicBezTo>
                  <a:pt x="8625" y="21124"/>
                  <a:pt x="8563" y="21124"/>
                  <a:pt x="8500" y="21124"/>
                </a:cubicBezTo>
                <a:cubicBezTo>
                  <a:pt x="8625" y="20999"/>
                  <a:pt x="8813" y="20999"/>
                  <a:pt x="8906" y="21124"/>
                </a:cubicBezTo>
                <a:close/>
                <a:moveTo>
                  <a:pt x="8656" y="21374"/>
                </a:moveTo>
                <a:cubicBezTo>
                  <a:pt x="8656" y="21374"/>
                  <a:pt x="8625" y="21343"/>
                  <a:pt x="8656" y="21343"/>
                </a:cubicBezTo>
                <a:cubicBezTo>
                  <a:pt x="8688" y="21281"/>
                  <a:pt x="8750" y="21312"/>
                  <a:pt x="8813" y="21312"/>
                </a:cubicBezTo>
                <a:cubicBezTo>
                  <a:pt x="8750" y="21343"/>
                  <a:pt x="8719" y="21406"/>
                  <a:pt x="8656" y="21374"/>
                </a:cubicBezTo>
                <a:close/>
                <a:moveTo>
                  <a:pt x="8688" y="21624"/>
                </a:moveTo>
                <a:cubicBezTo>
                  <a:pt x="8656" y="21624"/>
                  <a:pt x="8594" y="21656"/>
                  <a:pt x="8563" y="21656"/>
                </a:cubicBezTo>
                <a:cubicBezTo>
                  <a:pt x="8531" y="21656"/>
                  <a:pt x="8500" y="21656"/>
                  <a:pt x="8500" y="21656"/>
                </a:cubicBezTo>
                <a:cubicBezTo>
                  <a:pt x="8500" y="21624"/>
                  <a:pt x="8531" y="21624"/>
                  <a:pt x="8531" y="21593"/>
                </a:cubicBezTo>
                <a:cubicBezTo>
                  <a:pt x="8563" y="21593"/>
                  <a:pt x="8594" y="21562"/>
                  <a:pt x="8625" y="21531"/>
                </a:cubicBezTo>
                <a:cubicBezTo>
                  <a:pt x="8688" y="21499"/>
                  <a:pt x="8688" y="21531"/>
                  <a:pt x="8688" y="21562"/>
                </a:cubicBezTo>
                <a:cubicBezTo>
                  <a:pt x="8719" y="21562"/>
                  <a:pt x="8719" y="21624"/>
                  <a:pt x="8688" y="21624"/>
                </a:cubicBezTo>
                <a:close/>
                <a:moveTo>
                  <a:pt x="8531" y="21281"/>
                </a:moveTo>
                <a:cubicBezTo>
                  <a:pt x="8531" y="21312"/>
                  <a:pt x="8500" y="21312"/>
                  <a:pt x="8469" y="21312"/>
                </a:cubicBezTo>
                <a:cubicBezTo>
                  <a:pt x="8438" y="21312"/>
                  <a:pt x="8406" y="21281"/>
                  <a:pt x="8438" y="21249"/>
                </a:cubicBezTo>
                <a:cubicBezTo>
                  <a:pt x="8438" y="21218"/>
                  <a:pt x="8438" y="21187"/>
                  <a:pt x="8469" y="21187"/>
                </a:cubicBezTo>
                <a:cubicBezTo>
                  <a:pt x="8500" y="21187"/>
                  <a:pt x="8531" y="21249"/>
                  <a:pt x="8531" y="21281"/>
                </a:cubicBezTo>
                <a:close/>
                <a:moveTo>
                  <a:pt x="8500" y="20656"/>
                </a:moveTo>
                <a:cubicBezTo>
                  <a:pt x="8469" y="20718"/>
                  <a:pt x="8469" y="20749"/>
                  <a:pt x="8406" y="20781"/>
                </a:cubicBezTo>
                <a:cubicBezTo>
                  <a:pt x="8406" y="20781"/>
                  <a:pt x="8406" y="20781"/>
                  <a:pt x="8375" y="20781"/>
                </a:cubicBezTo>
                <a:cubicBezTo>
                  <a:pt x="8375" y="20749"/>
                  <a:pt x="8313" y="20781"/>
                  <a:pt x="8313" y="20749"/>
                </a:cubicBezTo>
                <a:cubicBezTo>
                  <a:pt x="8281" y="20718"/>
                  <a:pt x="8344" y="20687"/>
                  <a:pt x="8344" y="20687"/>
                </a:cubicBezTo>
                <a:cubicBezTo>
                  <a:pt x="8375" y="20656"/>
                  <a:pt x="8375" y="20656"/>
                  <a:pt x="8406" y="20656"/>
                </a:cubicBezTo>
                <a:cubicBezTo>
                  <a:pt x="8438" y="20624"/>
                  <a:pt x="8438" y="20593"/>
                  <a:pt x="8469" y="20593"/>
                </a:cubicBezTo>
                <a:cubicBezTo>
                  <a:pt x="8500" y="20593"/>
                  <a:pt x="8500" y="20656"/>
                  <a:pt x="8500" y="20656"/>
                </a:cubicBezTo>
                <a:close/>
                <a:moveTo>
                  <a:pt x="8094" y="21437"/>
                </a:moveTo>
                <a:cubicBezTo>
                  <a:pt x="8125" y="21406"/>
                  <a:pt x="8188" y="21406"/>
                  <a:pt x="8250" y="21374"/>
                </a:cubicBezTo>
                <a:cubicBezTo>
                  <a:pt x="8281" y="21374"/>
                  <a:pt x="8281" y="21406"/>
                  <a:pt x="8281" y="21406"/>
                </a:cubicBezTo>
                <a:cubicBezTo>
                  <a:pt x="8281" y="21499"/>
                  <a:pt x="8250" y="21562"/>
                  <a:pt x="8219" y="21624"/>
                </a:cubicBezTo>
                <a:cubicBezTo>
                  <a:pt x="8188" y="21687"/>
                  <a:pt x="8188" y="21656"/>
                  <a:pt x="8156" y="21624"/>
                </a:cubicBezTo>
                <a:cubicBezTo>
                  <a:pt x="8156" y="21593"/>
                  <a:pt x="8156" y="21562"/>
                  <a:pt x="8094" y="21562"/>
                </a:cubicBezTo>
                <a:cubicBezTo>
                  <a:pt x="8094" y="21531"/>
                  <a:pt x="8094" y="21531"/>
                  <a:pt x="8094" y="21531"/>
                </a:cubicBezTo>
                <a:cubicBezTo>
                  <a:pt x="8125" y="21499"/>
                  <a:pt x="8031" y="21468"/>
                  <a:pt x="8094" y="21437"/>
                </a:cubicBezTo>
                <a:close/>
                <a:moveTo>
                  <a:pt x="8094" y="21624"/>
                </a:moveTo>
                <a:cubicBezTo>
                  <a:pt x="8000" y="21624"/>
                  <a:pt x="7969" y="21562"/>
                  <a:pt x="7906" y="21531"/>
                </a:cubicBezTo>
                <a:cubicBezTo>
                  <a:pt x="7875" y="21531"/>
                  <a:pt x="7875" y="21499"/>
                  <a:pt x="7906" y="21468"/>
                </a:cubicBezTo>
                <a:cubicBezTo>
                  <a:pt x="7938" y="21437"/>
                  <a:pt x="7969" y="21437"/>
                  <a:pt x="8031" y="21468"/>
                </a:cubicBezTo>
                <a:cubicBezTo>
                  <a:pt x="8031" y="21499"/>
                  <a:pt x="8031" y="21562"/>
                  <a:pt x="8094" y="21562"/>
                </a:cubicBezTo>
                <a:cubicBezTo>
                  <a:pt x="8031" y="21562"/>
                  <a:pt x="8125" y="21593"/>
                  <a:pt x="8094" y="21624"/>
                </a:cubicBezTo>
                <a:close/>
                <a:moveTo>
                  <a:pt x="8156" y="21249"/>
                </a:moveTo>
                <a:cubicBezTo>
                  <a:pt x="8156" y="21249"/>
                  <a:pt x="8156" y="21249"/>
                  <a:pt x="8156" y="21249"/>
                </a:cubicBezTo>
                <a:cubicBezTo>
                  <a:pt x="8125" y="21218"/>
                  <a:pt x="8094" y="21249"/>
                  <a:pt x="8094" y="21249"/>
                </a:cubicBezTo>
                <a:cubicBezTo>
                  <a:pt x="8063" y="21281"/>
                  <a:pt x="8000" y="21343"/>
                  <a:pt x="7969" y="21312"/>
                </a:cubicBezTo>
                <a:cubicBezTo>
                  <a:pt x="7938" y="21249"/>
                  <a:pt x="7875" y="21187"/>
                  <a:pt x="7906" y="21093"/>
                </a:cubicBezTo>
                <a:cubicBezTo>
                  <a:pt x="7906" y="21062"/>
                  <a:pt x="7969" y="21062"/>
                  <a:pt x="8000" y="21093"/>
                </a:cubicBezTo>
                <a:cubicBezTo>
                  <a:pt x="8031" y="21093"/>
                  <a:pt x="8063" y="21156"/>
                  <a:pt x="8094" y="21093"/>
                </a:cubicBezTo>
                <a:cubicBezTo>
                  <a:pt x="8094" y="21156"/>
                  <a:pt x="8188" y="21187"/>
                  <a:pt x="8156" y="21249"/>
                </a:cubicBezTo>
                <a:cubicBezTo>
                  <a:pt x="8156" y="21249"/>
                  <a:pt x="8156" y="21249"/>
                  <a:pt x="8156" y="21249"/>
                </a:cubicBezTo>
                <a:close/>
                <a:moveTo>
                  <a:pt x="8250" y="21343"/>
                </a:moveTo>
                <a:cubicBezTo>
                  <a:pt x="8188" y="21374"/>
                  <a:pt x="8125" y="21374"/>
                  <a:pt x="8063" y="21374"/>
                </a:cubicBezTo>
                <a:cubicBezTo>
                  <a:pt x="8063" y="21343"/>
                  <a:pt x="8094" y="21312"/>
                  <a:pt x="8125" y="21312"/>
                </a:cubicBezTo>
                <a:cubicBezTo>
                  <a:pt x="8156" y="21281"/>
                  <a:pt x="8188" y="21281"/>
                  <a:pt x="8156" y="21249"/>
                </a:cubicBezTo>
                <a:cubicBezTo>
                  <a:pt x="8188" y="21281"/>
                  <a:pt x="8219" y="21249"/>
                  <a:pt x="8219" y="21249"/>
                </a:cubicBezTo>
                <a:cubicBezTo>
                  <a:pt x="8281" y="21249"/>
                  <a:pt x="8313" y="21249"/>
                  <a:pt x="8313" y="21281"/>
                </a:cubicBezTo>
                <a:cubicBezTo>
                  <a:pt x="8313" y="21343"/>
                  <a:pt x="8281" y="21343"/>
                  <a:pt x="8250" y="21343"/>
                </a:cubicBezTo>
                <a:close/>
                <a:moveTo>
                  <a:pt x="8469" y="20468"/>
                </a:moveTo>
                <a:cubicBezTo>
                  <a:pt x="8469" y="20468"/>
                  <a:pt x="8469" y="20499"/>
                  <a:pt x="8469" y="20499"/>
                </a:cubicBezTo>
                <a:cubicBezTo>
                  <a:pt x="8469" y="20531"/>
                  <a:pt x="8313" y="20624"/>
                  <a:pt x="8219" y="20624"/>
                </a:cubicBezTo>
                <a:cubicBezTo>
                  <a:pt x="8313" y="20562"/>
                  <a:pt x="8375" y="20531"/>
                  <a:pt x="8438" y="20468"/>
                </a:cubicBezTo>
                <a:cubicBezTo>
                  <a:pt x="8438" y="20468"/>
                  <a:pt x="8469" y="20468"/>
                  <a:pt x="8469" y="20468"/>
                </a:cubicBezTo>
                <a:close/>
                <a:moveTo>
                  <a:pt x="8188" y="20499"/>
                </a:moveTo>
                <a:cubicBezTo>
                  <a:pt x="8188" y="20468"/>
                  <a:pt x="8219" y="20437"/>
                  <a:pt x="8219" y="20406"/>
                </a:cubicBezTo>
                <a:cubicBezTo>
                  <a:pt x="8219" y="20343"/>
                  <a:pt x="8250" y="20312"/>
                  <a:pt x="8313" y="20343"/>
                </a:cubicBezTo>
                <a:cubicBezTo>
                  <a:pt x="8344" y="20343"/>
                  <a:pt x="8406" y="20312"/>
                  <a:pt x="8406" y="20374"/>
                </a:cubicBezTo>
                <a:cubicBezTo>
                  <a:pt x="8438" y="20406"/>
                  <a:pt x="8375" y="20437"/>
                  <a:pt x="8344" y="20468"/>
                </a:cubicBezTo>
                <a:cubicBezTo>
                  <a:pt x="8313" y="20499"/>
                  <a:pt x="8281" y="20499"/>
                  <a:pt x="8250" y="20531"/>
                </a:cubicBezTo>
                <a:cubicBezTo>
                  <a:pt x="8219" y="20562"/>
                  <a:pt x="8219" y="20562"/>
                  <a:pt x="8188" y="20562"/>
                </a:cubicBezTo>
                <a:cubicBezTo>
                  <a:pt x="8188" y="20531"/>
                  <a:pt x="8188" y="20531"/>
                  <a:pt x="8188" y="20499"/>
                </a:cubicBezTo>
                <a:close/>
                <a:moveTo>
                  <a:pt x="8250" y="21031"/>
                </a:moveTo>
                <a:cubicBezTo>
                  <a:pt x="8281" y="21062"/>
                  <a:pt x="8281" y="21093"/>
                  <a:pt x="8281" y="21124"/>
                </a:cubicBezTo>
                <a:cubicBezTo>
                  <a:pt x="8250" y="21124"/>
                  <a:pt x="8250" y="21156"/>
                  <a:pt x="8188" y="21156"/>
                </a:cubicBezTo>
                <a:cubicBezTo>
                  <a:pt x="8156" y="21124"/>
                  <a:pt x="8125" y="21093"/>
                  <a:pt x="8094" y="21093"/>
                </a:cubicBezTo>
                <a:cubicBezTo>
                  <a:pt x="8125" y="21062"/>
                  <a:pt x="8219" y="20999"/>
                  <a:pt x="8250" y="21031"/>
                </a:cubicBezTo>
                <a:close/>
                <a:moveTo>
                  <a:pt x="8156" y="20999"/>
                </a:moveTo>
                <a:cubicBezTo>
                  <a:pt x="8094" y="20999"/>
                  <a:pt x="8063" y="21031"/>
                  <a:pt x="8000" y="20999"/>
                </a:cubicBezTo>
                <a:cubicBezTo>
                  <a:pt x="7969" y="20999"/>
                  <a:pt x="7969" y="20999"/>
                  <a:pt x="7969" y="20999"/>
                </a:cubicBezTo>
                <a:cubicBezTo>
                  <a:pt x="7969" y="20968"/>
                  <a:pt x="7969" y="20968"/>
                  <a:pt x="8000" y="20968"/>
                </a:cubicBezTo>
                <a:cubicBezTo>
                  <a:pt x="8031" y="20937"/>
                  <a:pt x="8031" y="20937"/>
                  <a:pt x="8063" y="20937"/>
                </a:cubicBezTo>
                <a:cubicBezTo>
                  <a:pt x="8094" y="20937"/>
                  <a:pt x="8125" y="20937"/>
                  <a:pt x="8125" y="20937"/>
                </a:cubicBezTo>
                <a:cubicBezTo>
                  <a:pt x="8156" y="20968"/>
                  <a:pt x="8188" y="20999"/>
                  <a:pt x="8156" y="20999"/>
                </a:cubicBezTo>
                <a:close/>
                <a:moveTo>
                  <a:pt x="7875" y="20593"/>
                </a:moveTo>
                <a:cubicBezTo>
                  <a:pt x="7906" y="20562"/>
                  <a:pt x="7938" y="20499"/>
                  <a:pt x="7969" y="20468"/>
                </a:cubicBezTo>
                <a:cubicBezTo>
                  <a:pt x="8031" y="20406"/>
                  <a:pt x="8063" y="20437"/>
                  <a:pt x="8094" y="20468"/>
                </a:cubicBezTo>
                <a:cubicBezTo>
                  <a:pt x="8125" y="20562"/>
                  <a:pt x="8031" y="20718"/>
                  <a:pt x="7938" y="20718"/>
                </a:cubicBezTo>
                <a:cubicBezTo>
                  <a:pt x="7875" y="20718"/>
                  <a:pt x="7844" y="20656"/>
                  <a:pt x="7875" y="20593"/>
                </a:cubicBezTo>
                <a:close/>
                <a:moveTo>
                  <a:pt x="7875" y="18406"/>
                </a:moveTo>
                <a:cubicBezTo>
                  <a:pt x="7875" y="18406"/>
                  <a:pt x="7875" y="18406"/>
                  <a:pt x="7875" y="18406"/>
                </a:cubicBezTo>
                <a:cubicBezTo>
                  <a:pt x="7844" y="18406"/>
                  <a:pt x="7844" y="18406"/>
                  <a:pt x="7844" y="18437"/>
                </a:cubicBezTo>
                <a:cubicBezTo>
                  <a:pt x="7844" y="18406"/>
                  <a:pt x="7844" y="18406"/>
                  <a:pt x="7875" y="18406"/>
                </a:cubicBezTo>
                <a:close/>
                <a:moveTo>
                  <a:pt x="7813" y="21124"/>
                </a:moveTo>
                <a:cubicBezTo>
                  <a:pt x="7844" y="21187"/>
                  <a:pt x="7875" y="21249"/>
                  <a:pt x="7906" y="21312"/>
                </a:cubicBezTo>
                <a:cubicBezTo>
                  <a:pt x="7969" y="21374"/>
                  <a:pt x="7906" y="21406"/>
                  <a:pt x="7875" y="21437"/>
                </a:cubicBezTo>
                <a:cubicBezTo>
                  <a:pt x="7813" y="21437"/>
                  <a:pt x="7781" y="21468"/>
                  <a:pt x="7750" y="21374"/>
                </a:cubicBezTo>
                <a:cubicBezTo>
                  <a:pt x="7750" y="21281"/>
                  <a:pt x="7719" y="21218"/>
                  <a:pt x="7813" y="21124"/>
                </a:cubicBezTo>
                <a:close/>
                <a:moveTo>
                  <a:pt x="7750" y="22499"/>
                </a:moveTo>
                <a:cubicBezTo>
                  <a:pt x="7688" y="22468"/>
                  <a:pt x="7688" y="22406"/>
                  <a:pt x="7656" y="22343"/>
                </a:cubicBezTo>
                <a:cubicBezTo>
                  <a:pt x="7656" y="22343"/>
                  <a:pt x="7656" y="22343"/>
                  <a:pt x="7656" y="22312"/>
                </a:cubicBezTo>
                <a:cubicBezTo>
                  <a:pt x="7656" y="22249"/>
                  <a:pt x="7719" y="22281"/>
                  <a:pt x="7750" y="22281"/>
                </a:cubicBezTo>
                <a:cubicBezTo>
                  <a:pt x="7813" y="22249"/>
                  <a:pt x="7781" y="22343"/>
                  <a:pt x="7844" y="22374"/>
                </a:cubicBezTo>
                <a:cubicBezTo>
                  <a:pt x="7875" y="22374"/>
                  <a:pt x="7844" y="22406"/>
                  <a:pt x="7813" y="22437"/>
                </a:cubicBezTo>
                <a:cubicBezTo>
                  <a:pt x="7750" y="22437"/>
                  <a:pt x="7813" y="22531"/>
                  <a:pt x="7750" y="22499"/>
                </a:cubicBezTo>
                <a:close/>
                <a:moveTo>
                  <a:pt x="7781" y="22843"/>
                </a:moveTo>
                <a:cubicBezTo>
                  <a:pt x="7750" y="22843"/>
                  <a:pt x="7750" y="22843"/>
                  <a:pt x="7719" y="22843"/>
                </a:cubicBezTo>
                <a:cubicBezTo>
                  <a:pt x="7750" y="22843"/>
                  <a:pt x="7750" y="22843"/>
                  <a:pt x="7781" y="22843"/>
                </a:cubicBezTo>
                <a:close/>
                <a:moveTo>
                  <a:pt x="7594" y="22281"/>
                </a:moveTo>
                <a:cubicBezTo>
                  <a:pt x="7656" y="22343"/>
                  <a:pt x="7594" y="22468"/>
                  <a:pt x="7688" y="22531"/>
                </a:cubicBezTo>
                <a:cubicBezTo>
                  <a:pt x="7656" y="22562"/>
                  <a:pt x="7625" y="22562"/>
                  <a:pt x="7625" y="22531"/>
                </a:cubicBezTo>
                <a:cubicBezTo>
                  <a:pt x="7594" y="22468"/>
                  <a:pt x="7531" y="22437"/>
                  <a:pt x="7500" y="22406"/>
                </a:cubicBezTo>
                <a:cubicBezTo>
                  <a:pt x="7531" y="22343"/>
                  <a:pt x="7563" y="22343"/>
                  <a:pt x="7594" y="22281"/>
                </a:cubicBezTo>
                <a:close/>
                <a:moveTo>
                  <a:pt x="7500" y="22249"/>
                </a:moveTo>
                <a:cubicBezTo>
                  <a:pt x="7500" y="22218"/>
                  <a:pt x="7531" y="22187"/>
                  <a:pt x="7563" y="22187"/>
                </a:cubicBezTo>
                <a:cubicBezTo>
                  <a:pt x="7594" y="22187"/>
                  <a:pt x="7594" y="22218"/>
                  <a:pt x="7594" y="22249"/>
                </a:cubicBezTo>
                <a:cubicBezTo>
                  <a:pt x="7625" y="22281"/>
                  <a:pt x="7563" y="22281"/>
                  <a:pt x="7531" y="22312"/>
                </a:cubicBezTo>
                <a:cubicBezTo>
                  <a:pt x="7531" y="22312"/>
                  <a:pt x="7500" y="22281"/>
                  <a:pt x="7500" y="22249"/>
                </a:cubicBezTo>
                <a:close/>
                <a:moveTo>
                  <a:pt x="7750" y="22218"/>
                </a:moveTo>
                <a:cubicBezTo>
                  <a:pt x="7719" y="22218"/>
                  <a:pt x="7688" y="22249"/>
                  <a:pt x="7656" y="22249"/>
                </a:cubicBezTo>
                <a:cubicBezTo>
                  <a:pt x="7625" y="22249"/>
                  <a:pt x="7625" y="22218"/>
                  <a:pt x="7625" y="22187"/>
                </a:cubicBezTo>
                <a:cubicBezTo>
                  <a:pt x="7625" y="22156"/>
                  <a:pt x="7656" y="22124"/>
                  <a:pt x="7688" y="22124"/>
                </a:cubicBezTo>
                <a:cubicBezTo>
                  <a:pt x="7688" y="22156"/>
                  <a:pt x="7750" y="22156"/>
                  <a:pt x="7750" y="22218"/>
                </a:cubicBezTo>
                <a:close/>
                <a:moveTo>
                  <a:pt x="7625" y="21562"/>
                </a:moveTo>
                <a:cubicBezTo>
                  <a:pt x="7656" y="21499"/>
                  <a:pt x="7688" y="21499"/>
                  <a:pt x="7719" y="21531"/>
                </a:cubicBezTo>
                <a:cubicBezTo>
                  <a:pt x="7688" y="21531"/>
                  <a:pt x="7688" y="21624"/>
                  <a:pt x="7625" y="21593"/>
                </a:cubicBezTo>
                <a:cubicBezTo>
                  <a:pt x="7625" y="21593"/>
                  <a:pt x="7625" y="21562"/>
                  <a:pt x="7625" y="21562"/>
                </a:cubicBezTo>
                <a:close/>
                <a:moveTo>
                  <a:pt x="7500" y="21187"/>
                </a:moveTo>
                <a:cubicBezTo>
                  <a:pt x="7563" y="21187"/>
                  <a:pt x="7594" y="21218"/>
                  <a:pt x="7594" y="21281"/>
                </a:cubicBezTo>
                <a:cubicBezTo>
                  <a:pt x="7625" y="21312"/>
                  <a:pt x="7594" y="21343"/>
                  <a:pt x="7531" y="21343"/>
                </a:cubicBezTo>
                <a:cubicBezTo>
                  <a:pt x="7469" y="21343"/>
                  <a:pt x="7438" y="21281"/>
                  <a:pt x="7438" y="21218"/>
                </a:cubicBezTo>
                <a:cubicBezTo>
                  <a:pt x="7406" y="21187"/>
                  <a:pt x="7469" y="21187"/>
                  <a:pt x="7500" y="21187"/>
                </a:cubicBezTo>
                <a:close/>
                <a:moveTo>
                  <a:pt x="7469" y="21406"/>
                </a:moveTo>
                <a:cubicBezTo>
                  <a:pt x="7469" y="21374"/>
                  <a:pt x="7438" y="21343"/>
                  <a:pt x="7500" y="21374"/>
                </a:cubicBezTo>
                <a:cubicBezTo>
                  <a:pt x="7563" y="21374"/>
                  <a:pt x="7594" y="21406"/>
                  <a:pt x="7531" y="21499"/>
                </a:cubicBezTo>
                <a:cubicBezTo>
                  <a:pt x="7531" y="21468"/>
                  <a:pt x="7469" y="21531"/>
                  <a:pt x="7469" y="21468"/>
                </a:cubicBezTo>
                <a:cubicBezTo>
                  <a:pt x="7469" y="21437"/>
                  <a:pt x="7469" y="21437"/>
                  <a:pt x="7469" y="21437"/>
                </a:cubicBezTo>
                <a:cubicBezTo>
                  <a:pt x="7469" y="21437"/>
                  <a:pt x="7469" y="21406"/>
                  <a:pt x="7469" y="21406"/>
                </a:cubicBezTo>
                <a:close/>
                <a:moveTo>
                  <a:pt x="7344" y="21281"/>
                </a:moveTo>
                <a:cubicBezTo>
                  <a:pt x="7375" y="21281"/>
                  <a:pt x="7406" y="21281"/>
                  <a:pt x="7406" y="21281"/>
                </a:cubicBezTo>
                <a:cubicBezTo>
                  <a:pt x="7375" y="21343"/>
                  <a:pt x="7469" y="21374"/>
                  <a:pt x="7406" y="21437"/>
                </a:cubicBezTo>
                <a:cubicBezTo>
                  <a:pt x="7406" y="21437"/>
                  <a:pt x="7375" y="21437"/>
                  <a:pt x="7375" y="21437"/>
                </a:cubicBezTo>
                <a:cubicBezTo>
                  <a:pt x="7375" y="21406"/>
                  <a:pt x="7375" y="21406"/>
                  <a:pt x="7375" y="21406"/>
                </a:cubicBezTo>
                <a:cubicBezTo>
                  <a:pt x="7313" y="21343"/>
                  <a:pt x="7313" y="21406"/>
                  <a:pt x="7313" y="21437"/>
                </a:cubicBezTo>
                <a:cubicBezTo>
                  <a:pt x="7313" y="21468"/>
                  <a:pt x="7281" y="21499"/>
                  <a:pt x="7281" y="21531"/>
                </a:cubicBezTo>
                <a:cubicBezTo>
                  <a:pt x="7250" y="21562"/>
                  <a:pt x="7219" y="21562"/>
                  <a:pt x="7219" y="21531"/>
                </a:cubicBezTo>
                <a:cubicBezTo>
                  <a:pt x="7219" y="21406"/>
                  <a:pt x="7313" y="21374"/>
                  <a:pt x="7344" y="21281"/>
                </a:cubicBezTo>
                <a:close/>
                <a:moveTo>
                  <a:pt x="7219" y="22406"/>
                </a:moveTo>
                <a:cubicBezTo>
                  <a:pt x="7250" y="22406"/>
                  <a:pt x="7250" y="22437"/>
                  <a:pt x="7250" y="22468"/>
                </a:cubicBezTo>
                <a:cubicBezTo>
                  <a:pt x="7219" y="22499"/>
                  <a:pt x="7188" y="22562"/>
                  <a:pt x="7281" y="22562"/>
                </a:cubicBezTo>
                <a:cubicBezTo>
                  <a:pt x="7313" y="22593"/>
                  <a:pt x="7313" y="22656"/>
                  <a:pt x="7313" y="22687"/>
                </a:cubicBezTo>
                <a:cubicBezTo>
                  <a:pt x="7219" y="22718"/>
                  <a:pt x="7125" y="22749"/>
                  <a:pt x="7125" y="22593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93"/>
                  <a:pt x="7094" y="22593"/>
                  <a:pt x="7094" y="22624"/>
                </a:cubicBezTo>
                <a:cubicBezTo>
                  <a:pt x="7063" y="22656"/>
                  <a:pt x="7094" y="22718"/>
                  <a:pt x="7125" y="22749"/>
                </a:cubicBezTo>
                <a:cubicBezTo>
                  <a:pt x="7094" y="22843"/>
                  <a:pt x="7000" y="22812"/>
                  <a:pt x="6938" y="22843"/>
                </a:cubicBezTo>
                <a:cubicBezTo>
                  <a:pt x="6875" y="22874"/>
                  <a:pt x="6938" y="22781"/>
                  <a:pt x="6875" y="22749"/>
                </a:cubicBezTo>
                <a:cubicBezTo>
                  <a:pt x="6844" y="22718"/>
                  <a:pt x="6813" y="22656"/>
                  <a:pt x="6813" y="22593"/>
                </a:cubicBezTo>
                <a:cubicBezTo>
                  <a:pt x="6844" y="22593"/>
                  <a:pt x="6844" y="22624"/>
                  <a:pt x="6875" y="22624"/>
                </a:cubicBezTo>
                <a:cubicBezTo>
                  <a:pt x="6906" y="22656"/>
                  <a:pt x="6906" y="22687"/>
                  <a:pt x="6906" y="22718"/>
                </a:cubicBezTo>
                <a:cubicBezTo>
                  <a:pt x="6906" y="22718"/>
                  <a:pt x="6906" y="22749"/>
                  <a:pt x="6938" y="22718"/>
                </a:cubicBezTo>
                <a:cubicBezTo>
                  <a:pt x="6969" y="22718"/>
                  <a:pt x="6969" y="22718"/>
                  <a:pt x="6938" y="22687"/>
                </a:cubicBezTo>
                <a:cubicBezTo>
                  <a:pt x="6938" y="22624"/>
                  <a:pt x="7000" y="22624"/>
                  <a:pt x="7031" y="22593"/>
                </a:cubicBezTo>
                <a:cubicBezTo>
                  <a:pt x="7063" y="22562"/>
                  <a:pt x="7063" y="22593"/>
                  <a:pt x="7094" y="22624"/>
                </a:cubicBezTo>
                <a:cubicBezTo>
                  <a:pt x="7094" y="22593"/>
                  <a:pt x="7094" y="22593"/>
                  <a:pt x="7094" y="22593"/>
                </a:cubicBezTo>
                <a:cubicBezTo>
                  <a:pt x="7094" y="22562"/>
                  <a:pt x="7156" y="22531"/>
                  <a:pt x="7063" y="22499"/>
                </a:cubicBezTo>
                <a:cubicBezTo>
                  <a:pt x="7063" y="22499"/>
                  <a:pt x="7031" y="22437"/>
                  <a:pt x="7063" y="22406"/>
                </a:cubicBezTo>
                <a:cubicBezTo>
                  <a:pt x="7125" y="22374"/>
                  <a:pt x="7156" y="22374"/>
                  <a:pt x="7219" y="22406"/>
                </a:cubicBezTo>
                <a:close/>
                <a:moveTo>
                  <a:pt x="7313" y="22687"/>
                </a:moveTo>
                <a:cubicBezTo>
                  <a:pt x="7313" y="22687"/>
                  <a:pt x="7313" y="22687"/>
                  <a:pt x="7313" y="22687"/>
                </a:cubicBezTo>
                <a:cubicBezTo>
                  <a:pt x="7281" y="22749"/>
                  <a:pt x="7219" y="22749"/>
                  <a:pt x="7188" y="22749"/>
                </a:cubicBezTo>
                <a:cubicBezTo>
                  <a:pt x="7219" y="22749"/>
                  <a:pt x="7281" y="22749"/>
                  <a:pt x="7313" y="22687"/>
                </a:cubicBezTo>
                <a:close/>
                <a:moveTo>
                  <a:pt x="6844" y="22531"/>
                </a:moveTo>
                <a:cubicBezTo>
                  <a:pt x="6844" y="22499"/>
                  <a:pt x="6906" y="22531"/>
                  <a:pt x="6938" y="22499"/>
                </a:cubicBezTo>
                <a:cubicBezTo>
                  <a:pt x="6969" y="22437"/>
                  <a:pt x="7000" y="22437"/>
                  <a:pt x="7031" y="22468"/>
                </a:cubicBezTo>
                <a:cubicBezTo>
                  <a:pt x="7063" y="22499"/>
                  <a:pt x="7063" y="22562"/>
                  <a:pt x="7000" y="22562"/>
                </a:cubicBezTo>
                <a:cubicBezTo>
                  <a:pt x="6969" y="22593"/>
                  <a:pt x="6938" y="22656"/>
                  <a:pt x="6875" y="22624"/>
                </a:cubicBezTo>
                <a:cubicBezTo>
                  <a:pt x="6906" y="22562"/>
                  <a:pt x="6813" y="22593"/>
                  <a:pt x="6844" y="22531"/>
                </a:cubicBezTo>
                <a:close/>
                <a:moveTo>
                  <a:pt x="7188" y="22093"/>
                </a:moveTo>
                <a:cubicBezTo>
                  <a:pt x="7219" y="22156"/>
                  <a:pt x="7219" y="22187"/>
                  <a:pt x="7125" y="22218"/>
                </a:cubicBezTo>
                <a:cubicBezTo>
                  <a:pt x="7031" y="22281"/>
                  <a:pt x="6938" y="22343"/>
                  <a:pt x="6844" y="22374"/>
                </a:cubicBezTo>
                <a:cubicBezTo>
                  <a:pt x="6750" y="22437"/>
                  <a:pt x="6688" y="22406"/>
                  <a:pt x="6688" y="22281"/>
                </a:cubicBezTo>
                <a:cubicBezTo>
                  <a:pt x="6688" y="22281"/>
                  <a:pt x="6688" y="22249"/>
                  <a:pt x="6688" y="22249"/>
                </a:cubicBezTo>
                <a:cubicBezTo>
                  <a:pt x="6688" y="22124"/>
                  <a:pt x="6750" y="22062"/>
                  <a:pt x="6938" y="21999"/>
                </a:cubicBezTo>
                <a:cubicBezTo>
                  <a:pt x="7031" y="21968"/>
                  <a:pt x="7125" y="21999"/>
                  <a:pt x="7188" y="22093"/>
                </a:cubicBezTo>
                <a:close/>
                <a:moveTo>
                  <a:pt x="6406" y="22999"/>
                </a:moveTo>
                <a:cubicBezTo>
                  <a:pt x="6406" y="22999"/>
                  <a:pt x="6406" y="22968"/>
                  <a:pt x="6375" y="22968"/>
                </a:cubicBezTo>
                <a:cubicBezTo>
                  <a:pt x="6344" y="22968"/>
                  <a:pt x="6344" y="22999"/>
                  <a:pt x="6344" y="22999"/>
                </a:cubicBezTo>
                <a:cubicBezTo>
                  <a:pt x="6344" y="23031"/>
                  <a:pt x="6344" y="23031"/>
                  <a:pt x="6344" y="23062"/>
                </a:cubicBezTo>
                <a:cubicBezTo>
                  <a:pt x="6250" y="23031"/>
                  <a:pt x="6281" y="22968"/>
                  <a:pt x="6281" y="22906"/>
                </a:cubicBezTo>
                <a:cubicBezTo>
                  <a:pt x="6250" y="22874"/>
                  <a:pt x="6281" y="22843"/>
                  <a:pt x="6313" y="22843"/>
                </a:cubicBezTo>
                <a:cubicBezTo>
                  <a:pt x="6344" y="22843"/>
                  <a:pt x="6375" y="22812"/>
                  <a:pt x="6406" y="22781"/>
                </a:cubicBezTo>
                <a:cubicBezTo>
                  <a:pt x="6438" y="22687"/>
                  <a:pt x="6594" y="22718"/>
                  <a:pt x="6656" y="22624"/>
                </a:cubicBezTo>
                <a:cubicBezTo>
                  <a:pt x="6656" y="22624"/>
                  <a:pt x="6656" y="22687"/>
                  <a:pt x="6688" y="22718"/>
                </a:cubicBezTo>
                <a:cubicBezTo>
                  <a:pt x="6688" y="22718"/>
                  <a:pt x="6688" y="22718"/>
                  <a:pt x="6688" y="22718"/>
                </a:cubicBezTo>
                <a:cubicBezTo>
                  <a:pt x="6688" y="22749"/>
                  <a:pt x="6656" y="22812"/>
                  <a:pt x="6688" y="22874"/>
                </a:cubicBezTo>
                <a:cubicBezTo>
                  <a:pt x="6688" y="22843"/>
                  <a:pt x="6719" y="22843"/>
                  <a:pt x="6750" y="22843"/>
                </a:cubicBezTo>
                <a:cubicBezTo>
                  <a:pt x="6781" y="22937"/>
                  <a:pt x="6781" y="22906"/>
                  <a:pt x="6688" y="22937"/>
                </a:cubicBezTo>
                <a:cubicBezTo>
                  <a:pt x="6656" y="22968"/>
                  <a:pt x="6625" y="22999"/>
                  <a:pt x="6563" y="23031"/>
                </a:cubicBezTo>
                <a:cubicBezTo>
                  <a:pt x="6531" y="23093"/>
                  <a:pt x="6500" y="23093"/>
                  <a:pt x="6438" y="23062"/>
                </a:cubicBezTo>
                <a:cubicBezTo>
                  <a:pt x="6438" y="23062"/>
                  <a:pt x="6438" y="23093"/>
                  <a:pt x="6438" y="23093"/>
                </a:cubicBezTo>
                <a:cubicBezTo>
                  <a:pt x="6438" y="23093"/>
                  <a:pt x="6438" y="23062"/>
                  <a:pt x="6438" y="23062"/>
                </a:cubicBezTo>
                <a:cubicBezTo>
                  <a:pt x="6438" y="23031"/>
                  <a:pt x="6406" y="23031"/>
                  <a:pt x="6406" y="22999"/>
                </a:cubicBezTo>
                <a:close/>
                <a:moveTo>
                  <a:pt x="6938" y="20468"/>
                </a:moveTo>
                <a:cubicBezTo>
                  <a:pt x="6969" y="20437"/>
                  <a:pt x="7000" y="20468"/>
                  <a:pt x="7031" y="20499"/>
                </a:cubicBezTo>
                <a:cubicBezTo>
                  <a:pt x="7000" y="20531"/>
                  <a:pt x="6938" y="20499"/>
                  <a:pt x="6938" y="20562"/>
                </a:cubicBezTo>
                <a:cubicBezTo>
                  <a:pt x="6938" y="20593"/>
                  <a:pt x="6906" y="20562"/>
                  <a:pt x="6938" y="20562"/>
                </a:cubicBezTo>
                <a:cubicBezTo>
                  <a:pt x="6938" y="20531"/>
                  <a:pt x="6875" y="20531"/>
                  <a:pt x="6906" y="20499"/>
                </a:cubicBezTo>
                <a:cubicBezTo>
                  <a:pt x="6906" y="20468"/>
                  <a:pt x="6906" y="20468"/>
                  <a:pt x="6938" y="20468"/>
                </a:cubicBezTo>
                <a:close/>
                <a:moveTo>
                  <a:pt x="6844" y="20812"/>
                </a:moveTo>
                <a:cubicBezTo>
                  <a:pt x="6875" y="20781"/>
                  <a:pt x="6906" y="20781"/>
                  <a:pt x="6938" y="20812"/>
                </a:cubicBezTo>
                <a:cubicBezTo>
                  <a:pt x="6969" y="20843"/>
                  <a:pt x="6938" y="20874"/>
                  <a:pt x="6906" y="20874"/>
                </a:cubicBezTo>
                <a:cubicBezTo>
                  <a:pt x="6875" y="20937"/>
                  <a:pt x="6844" y="20937"/>
                  <a:pt x="6813" y="20999"/>
                </a:cubicBezTo>
                <a:cubicBezTo>
                  <a:pt x="6781" y="20968"/>
                  <a:pt x="6750" y="20968"/>
                  <a:pt x="6781" y="20937"/>
                </a:cubicBezTo>
                <a:cubicBezTo>
                  <a:pt x="6844" y="20906"/>
                  <a:pt x="6813" y="20843"/>
                  <a:pt x="6844" y="20812"/>
                </a:cubicBezTo>
                <a:close/>
                <a:moveTo>
                  <a:pt x="6656" y="20781"/>
                </a:moveTo>
                <a:cubicBezTo>
                  <a:pt x="6688" y="20812"/>
                  <a:pt x="6688" y="20749"/>
                  <a:pt x="6719" y="20718"/>
                </a:cubicBezTo>
                <a:cubicBezTo>
                  <a:pt x="6750" y="20718"/>
                  <a:pt x="6781" y="20749"/>
                  <a:pt x="6750" y="20781"/>
                </a:cubicBezTo>
                <a:cubicBezTo>
                  <a:pt x="6719" y="20781"/>
                  <a:pt x="6688" y="20843"/>
                  <a:pt x="6656" y="20812"/>
                </a:cubicBezTo>
                <a:cubicBezTo>
                  <a:pt x="6656" y="20812"/>
                  <a:pt x="6656" y="20781"/>
                  <a:pt x="6656" y="20781"/>
                </a:cubicBezTo>
                <a:cubicBezTo>
                  <a:pt x="6656" y="20781"/>
                  <a:pt x="6656" y="20781"/>
                  <a:pt x="6625" y="20781"/>
                </a:cubicBezTo>
                <a:cubicBezTo>
                  <a:pt x="6656" y="20781"/>
                  <a:pt x="6656" y="20781"/>
                  <a:pt x="6656" y="20781"/>
                </a:cubicBezTo>
                <a:close/>
                <a:moveTo>
                  <a:pt x="6688" y="20843"/>
                </a:moveTo>
                <a:cubicBezTo>
                  <a:pt x="6719" y="20843"/>
                  <a:pt x="6750" y="20812"/>
                  <a:pt x="6781" y="20812"/>
                </a:cubicBezTo>
                <a:cubicBezTo>
                  <a:pt x="6719" y="20968"/>
                  <a:pt x="6625" y="20999"/>
                  <a:pt x="6563" y="20937"/>
                </a:cubicBezTo>
                <a:cubicBezTo>
                  <a:pt x="6563" y="20906"/>
                  <a:pt x="6594" y="20874"/>
                  <a:pt x="6594" y="20874"/>
                </a:cubicBezTo>
                <a:cubicBezTo>
                  <a:pt x="6625" y="20874"/>
                  <a:pt x="6656" y="20843"/>
                  <a:pt x="6688" y="20843"/>
                </a:cubicBezTo>
                <a:close/>
                <a:moveTo>
                  <a:pt x="6500" y="20812"/>
                </a:moveTo>
                <a:cubicBezTo>
                  <a:pt x="6531" y="20781"/>
                  <a:pt x="6563" y="20749"/>
                  <a:pt x="6594" y="20781"/>
                </a:cubicBezTo>
                <a:cubicBezTo>
                  <a:pt x="6594" y="20781"/>
                  <a:pt x="6594" y="20781"/>
                  <a:pt x="6594" y="20781"/>
                </a:cubicBezTo>
                <a:cubicBezTo>
                  <a:pt x="6594" y="20781"/>
                  <a:pt x="6594" y="20781"/>
                  <a:pt x="6594" y="20812"/>
                </a:cubicBezTo>
                <a:cubicBezTo>
                  <a:pt x="6594" y="20843"/>
                  <a:pt x="6563" y="20874"/>
                  <a:pt x="6531" y="20843"/>
                </a:cubicBezTo>
                <a:cubicBezTo>
                  <a:pt x="6531" y="20843"/>
                  <a:pt x="6500" y="20812"/>
                  <a:pt x="6500" y="20812"/>
                </a:cubicBezTo>
                <a:close/>
                <a:moveTo>
                  <a:pt x="6500" y="21312"/>
                </a:moveTo>
                <a:cubicBezTo>
                  <a:pt x="6500" y="21312"/>
                  <a:pt x="6531" y="21312"/>
                  <a:pt x="6531" y="21343"/>
                </a:cubicBezTo>
                <a:cubicBezTo>
                  <a:pt x="6531" y="21343"/>
                  <a:pt x="6531" y="21343"/>
                  <a:pt x="6531" y="21343"/>
                </a:cubicBezTo>
                <a:cubicBezTo>
                  <a:pt x="6531" y="21437"/>
                  <a:pt x="6469" y="21468"/>
                  <a:pt x="6406" y="21531"/>
                </a:cubicBezTo>
                <a:cubicBezTo>
                  <a:pt x="6406" y="21468"/>
                  <a:pt x="6438" y="21343"/>
                  <a:pt x="6500" y="21312"/>
                </a:cubicBezTo>
                <a:close/>
                <a:moveTo>
                  <a:pt x="6375" y="21249"/>
                </a:moveTo>
                <a:cubicBezTo>
                  <a:pt x="6406" y="21249"/>
                  <a:pt x="6406" y="21187"/>
                  <a:pt x="6406" y="21187"/>
                </a:cubicBezTo>
                <a:cubicBezTo>
                  <a:pt x="6438" y="21187"/>
                  <a:pt x="6438" y="21187"/>
                  <a:pt x="6438" y="21187"/>
                </a:cubicBezTo>
                <a:cubicBezTo>
                  <a:pt x="6406" y="21218"/>
                  <a:pt x="6406" y="21218"/>
                  <a:pt x="6406" y="21249"/>
                </a:cubicBezTo>
                <a:cubicBezTo>
                  <a:pt x="6406" y="21249"/>
                  <a:pt x="6406" y="21249"/>
                  <a:pt x="6406" y="21249"/>
                </a:cubicBezTo>
                <a:cubicBezTo>
                  <a:pt x="6406" y="21249"/>
                  <a:pt x="6344" y="21218"/>
                  <a:pt x="6375" y="21281"/>
                </a:cubicBezTo>
                <a:cubicBezTo>
                  <a:pt x="6375" y="21406"/>
                  <a:pt x="6250" y="21374"/>
                  <a:pt x="6219" y="21437"/>
                </a:cubicBezTo>
                <a:cubicBezTo>
                  <a:pt x="6219" y="21343"/>
                  <a:pt x="6250" y="21249"/>
                  <a:pt x="6375" y="21249"/>
                </a:cubicBezTo>
                <a:close/>
                <a:moveTo>
                  <a:pt x="6031" y="21406"/>
                </a:moveTo>
                <a:cubicBezTo>
                  <a:pt x="6063" y="21374"/>
                  <a:pt x="6094" y="21343"/>
                  <a:pt x="6125" y="21312"/>
                </a:cubicBezTo>
                <a:cubicBezTo>
                  <a:pt x="6094" y="21343"/>
                  <a:pt x="6094" y="21374"/>
                  <a:pt x="6094" y="21406"/>
                </a:cubicBezTo>
                <a:cubicBezTo>
                  <a:pt x="6094" y="21437"/>
                  <a:pt x="6063" y="21437"/>
                  <a:pt x="6063" y="21437"/>
                </a:cubicBezTo>
                <a:cubicBezTo>
                  <a:pt x="6031" y="21437"/>
                  <a:pt x="6031" y="21406"/>
                  <a:pt x="6031" y="21406"/>
                </a:cubicBezTo>
                <a:close/>
                <a:moveTo>
                  <a:pt x="6031" y="21687"/>
                </a:moveTo>
                <a:cubicBezTo>
                  <a:pt x="6063" y="21656"/>
                  <a:pt x="6063" y="21687"/>
                  <a:pt x="6063" y="21718"/>
                </a:cubicBezTo>
                <a:cubicBezTo>
                  <a:pt x="6125" y="21781"/>
                  <a:pt x="6031" y="21781"/>
                  <a:pt x="6031" y="21812"/>
                </a:cubicBezTo>
                <a:cubicBezTo>
                  <a:pt x="6031" y="21781"/>
                  <a:pt x="5938" y="21718"/>
                  <a:pt x="6031" y="21687"/>
                </a:cubicBezTo>
                <a:close/>
                <a:moveTo>
                  <a:pt x="5969" y="22062"/>
                </a:moveTo>
                <a:cubicBezTo>
                  <a:pt x="5969" y="22062"/>
                  <a:pt x="6000" y="22062"/>
                  <a:pt x="6000" y="22093"/>
                </a:cubicBezTo>
                <a:cubicBezTo>
                  <a:pt x="5969" y="22124"/>
                  <a:pt x="5969" y="22156"/>
                  <a:pt x="5906" y="22156"/>
                </a:cubicBezTo>
                <a:cubicBezTo>
                  <a:pt x="5906" y="22156"/>
                  <a:pt x="5906" y="22156"/>
                  <a:pt x="5875" y="22156"/>
                </a:cubicBezTo>
                <a:cubicBezTo>
                  <a:pt x="5875" y="22124"/>
                  <a:pt x="5875" y="22093"/>
                  <a:pt x="5906" y="22093"/>
                </a:cubicBezTo>
                <a:cubicBezTo>
                  <a:pt x="5938" y="22093"/>
                  <a:pt x="5938" y="22031"/>
                  <a:pt x="5969" y="22062"/>
                </a:cubicBezTo>
                <a:close/>
                <a:moveTo>
                  <a:pt x="5875" y="21312"/>
                </a:moveTo>
                <a:cubicBezTo>
                  <a:pt x="5906" y="21312"/>
                  <a:pt x="5906" y="21343"/>
                  <a:pt x="5938" y="21374"/>
                </a:cubicBezTo>
                <a:cubicBezTo>
                  <a:pt x="5938" y="21406"/>
                  <a:pt x="5906" y="21437"/>
                  <a:pt x="5875" y="21437"/>
                </a:cubicBezTo>
                <a:cubicBezTo>
                  <a:pt x="5844" y="21437"/>
                  <a:pt x="5813" y="21406"/>
                  <a:pt x="5813" y="21374"/>
                </a:cubicBezTo>
                <a:cubicBezTo>
                  <a:pt x="5813" y="21343"/>
                  <a:pt x="5844" y="21312"/>
                  <a:pt x="5875" y="21312"/>
                </a:cubicBezTo>
                <a:close/>
                <a:moveTo>
                  <a:pt x="5813" y="21906"/>
                </a:moveTo>
                <a:cubicBezTo>
                  <a:pt x="5813" y="21874"/>
                  <a:pt x="5844" y="21874"/>
                  <a:pt x="5844" y="21843"/>
                </a:cubicBezTo>
                <a:cubicBezTo>
                  <a:pt x="5875" y="21906"/>
                  <a:pt x="5906" y="21937"/>
                  <a:pt x="5906" y="21968"/>
                </a:cubicBezTo>
                <a:cubicBezTo>
                  <a:pt x="5906" y="22031"/>
                  <a:pt x="5875" y="21968"/>
                  <a:pt x="5875" y="21968"/>
                </a:cubicBezTo>
                <a:cubicBezTo>
                  <a:pt x="5844" y="21999"/>
                  <a:pt x="5813" y="22031"/>
                  <a:pt x="5781" y="22062"/>
                </a:cubicBezTo>
                <a:cubicBezTo>
                  <a:pt x="5781" y="22093"/>
                  <a:pt x="5750" y="22093"/>
                  <a:pt x="5719" y="22093"/>
                </a:cubicBezTo>
                <a:cubicBezTo>
                  <a:pt x="5719" y="22062"/>
                  <a:pt x="5688" y="22031"/>
                  <a:pt x="5719" y="21999"/>
                </a:cubicBezTo>
                <a:cubicBezTo>
                  <a:pt x="5750" y="21968"/>
                  <a:pt x="5781" y="21937"/>
                  <a:pt x="5813" y="21906"/>
                </a:cubicBezTo>
                <a:close/>
                <a:moveTo>
                  <a:pt x="5813" y="22562"/>
                </a:moveTo>
                <a:cubicBezTo>
                  <a:pt x="5813" y="22593"/>
                  <a:pt x="5813" y="22593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781" y="22624"/>
                  <a:pt x="5781" y="22624"/>
                  <a:pt x="5781" y="22624"/>
                </a:cubicBezTo>
                <a:cubicBezTo>
                  <a:pt x="5813" y="22593"/>
                  <a:pt x="5813" y="22593"/>
                  <a:pt x="5813" y="22562"/>
                </a:cubicBezTo>
                <a:close/>
                <a:moveTo>
                  <a:pt x="5750" y="23843"/>
                </a:moveTo>
                <a:cubicBezTo>
                  <a:pt x="5750" y="23843"/>
                  <a:pt x="5750" y="23843"/>
                  <a:pt x="5719" y="23843"/>
                </a:cubicBezTo>
                <a:cubicBezTo>
                  <a:pt x="5719" y="23843"/>
                  <a:pt x="5719" y="23843"/>
                  <a:pt x="5719" y="23843"/>
                </a:cubicBezTo>
                <a:cubicBezTo>
                  <a:pt x="5719" y="23718"/>
                  <a:pt x="5656" y="23812"/>
                  <a:pt x="5594" y="23812"/>
                </a:cubicBezTo>
                <a:cubicBezTo>
                  <a:pt x="5594" y="23812"/>
                  <a:pt x="5594" y="23812"/>
                  <a:pt x="5563" y="23812"/>
                </a:cubicBezTo>
                <a:cubicBezTo>
                  <a:pt x="5594" y="23781"/>
                  <a:pt x="5625" y="23781"/>
                  <a:pt x="5656" y="23718"/>
                </a:cubicBezTo>
                <a:cubicBezTo>
                  <a:pt x="5656" y="23687"/>
                  <a:pt x="5688" y="23687"/>
                  <a:pt x="5719" y="23718"/>
                </a:cubicBezTo>
                <a:cubicBezTo>
                  <a:pt x="5750" y="23718"/>
                  <a:pt x="5781" y="23749"/>
                  <a:pt x="5750" y="23781"/>
                </a:cubicBezTo>
                <a:cubicBezTo>
                  <a:pt x="5719" y="23812"/>
                  <a:pt x="5750" y="23812"/>
                  <a:pt x="5750" y="23843"/>
                </a:cubicBezTo>
                <a:close/>
                <a:moveTo>
                  <a:pt x="5438" y="22812"/>
                </a:moveTo>
                <a:cubicBezTo>
                  <a:pt x="5438" y="22812"/>
                  <a:pt x="5438" y="22812"/>
                  <a:pt x="5438" y="22812"/>
                </a:cubicBezTo>
                <a:cubicBezTo>
                  <a:pt x="5438" y="22812"/>
                  <a:pt x="5438" y="22812"/>
                  <a:pt x="5406" y="22812"/>
                </a:cubicBezTo>
                <a:cubicBezTo>
                  <a:pt x="5438" y="22812"/>
                  <a:pt x="5438" y="22812"/>
                  <a:pt x="5438" y="22812"/>
                </a:cubicBezTo>
                <a:cubicBezTo>
                  <a:pt x="5438" y="22781"/>
                  <a:pt x="5438" y="22749"/>
                  <a:pt x="5438" y="22718"/>
                </a:cubicBezTo>
                <a:cubicBezTo>
                  <a:pt x="5469" y="22656"/>
                  <a:pt x="5531" y="22562"/>
                  <a:pt x="5594" y="22499"/>
                </a:cubicBezTo>
                <a:cubicBezTo>
                  <a:pt x="5625" y="22437"/>
                  <a:pt x="5688" y="22437"/>
                  <a:pt x="5719" y="22437"/>
                </a:cubicBezTo>
                <a:cubicBezTo>
                  <a:pt x="5656" y="22562"/>
                  <a:pt x="5563" y="22687"/>
                  <a:pt x="5438" y="22812"/>
                </a:cubicBezTo>
                <a:close/>
                <a:moveTo>
                  <a:pt x="5500" y="22999"/>
                </a:moveTo>
                <a:cubicBezTo>
                  <a:pt x="5500" y="23062"/>
                  <a:pt x="5469" y="23093"/>
                  <a:pt x="5438" y="23093"/>
                </a:cubicBezTo>
                <a:cubicBezTo>
                  <a:pt x="5438" y="23062"/>
                  <a:pt x="5469" y="23031"/>
                  <a:pt x="5500" y="22999"/>
                </a:cubicBezTo>
                <a:close/>
                <a:moveTo>
                  <a:pt x="5063" y="22968"/>
                </a:moveTo>
                <a:cubicBezTo>
                  <a:pt x="5094" y="22937"/>
                  <a:pt x="5125" y="22968"/>
                  <a:pt x="5094" y="22999"/>
                </a:cubicBezTo>
                <a:cubicBezTo>
                  <a:pt x="5094" y="22999"/>
                  <a:pt x="5094" y="22999"/>
                  <a:pt x="5094" y="23031"/>
                </a:cubicBezTo>
                <a:cubicBezTo>
                  <a:pt x="5094" y="23031"/>
                  <a:pt x="5094" y="23031"/>
                  <a:pt x="5094" y="23031"/>
                </a:cubicBezTo>
                <a:cubicBezTo>
                  <a:pt x="5094" y="23031"/>
                  <a:pt x="5063" y="23062"/>
                  <a:pt x="5063" y="23062"/>
                </a:cubicBezTo>
                <a:cubicBezTo>
                  <a:pt x="5063" y="23062"/>
                  <a:pt x="5063" y="23062"/>
                  <a:pt x="5063" y="23062"/>
                </a:cubicBezTo>
                <a:cubicBezTo>
                  <a:pt x="5031" y="23062"/>
                  <a:pt x="4969" y="23093"/>
                  <a:pt x="4938" y="23062"/>
                </a:cubicBezTo>
                <a:cubicBezTo>
                  <a:pt x="4938" y="22999"/>
                  <a:pt x="5000" y="22968"/>
                  <a:pt x="5063" y="22968"/>
                </a:cubicBezTo>
                <a:close/>
                <a:moveTo>
                  <a:pt x="4875" y="23031"/>
                </a:moveTo>
                <a:cubicBezTo>
                  <a:pt x="4844" y="23031"/>
                  <a:pt x="4844" y="23062"/>
                  <a:pt x="4813" y="23031"/>
                </a:cubicBezTo>
                <a:cubicBezTo>
                  <a:pt x="4781" y="22999"/>
                  <a:pt x="4813" y="22968"/>
                  <a:pt x="4813" y="22968"/>
                </a:cubicBezTo>
                <a:cubicBezTo>
                  <a:pt x="4906" y="22937"/>
                  <a:pt x="4906" y="22874"/>
                  <a:pt x="4938" y="22812"/>
                </a:cubicBezTo>
                <a:cubicBezTo>
                  <a:pt x="4969" y="22781"/>
                  <a:pt x="5000" y="22781"/>
                  <a:pt x="5031" y="22781"/>
                </a:cubicBezTo>
                <a:cubicBezTo>
                  <a:pt x="5031" y="22843"/>
                  <a:pt x="5031" y="22874"/>
                  <a:pt x="4969" y="22874"/>
                </a:cubicBezTo>
                <a:cubicBezTo>
                  <a:pt x="4906" y="22906"/>
                  <a:pt x="4938" y="22999"/>
                  <a:pt x="4875" y="23031"/>
                </a:cubicBezTo>
                <a:close/>
                <a:moveTo>
                  <a:pt x="5031" y="22718"/>
                </a:moveTo>
                <a:cubicBezTo>
                  <a:pt x="5094" y="22624"/>
                  <a:pt x="5156" y="22562"/>
                  <a:pt x="5219" y="22468"/>
                </a:cubicBezTo>
                <a:cubicBezTo>
                  <a:pt x="5250" y="22406"/>
                  <a:pt x="5281" y="22437"/>
                  <a:pt x="5313" y="22437"/>
                </a:cubicBezTo>
                <a:cubicBezTo>
                  <a:pt x="5281" y="22531"/>
                  <a:pt x="5188" y="22624"/>
                  <a:pt x="5125" y="22718"/>
                </a:cubicBezTo>
                <a:cubicBezTo>
                  <a:pt x="5094" y="22749"/>
                  <a:pt x="5063" y="22749"/>
                  <a:pt x="5031" y="22718"/>
                </a:cubicBezTo>
                <a:close/>
                <a:moveTo>
                  <a:pt x="5375" y="22312"/>
                </a:moveTo>
                <a:cubicBezTo>
                  <a:pt x="5406" y="22249"/>
                  <a:pt x="5406" y="22312"/>
                  <a:pt x="5406" y="22343"/>
                </a:cubicBezTo>
                <a:cubicBezTo>
                  <a:pt x="5406" y="22343"/>
                  <a:pt x="5406" y="22343"/>
                  <a:pt x="5406" y="22343"/>
                </a:cubicBezTo>
                <a:cubicBezTo>
                  <a:pt x="5375" y="22374"/>
                  <a:pt x="5375" y="22437"/>
                  <a:pt x="5313" y="22374"/>
                </a:cubicBezTo>
                <a:cubicBezTo>
                  <a:pt x="5281" y="22343"/>
                  <a:pt x="5344" y="22312"/>
                  <a:pt x="5375" y="22312"/>
                </a:cubicBezTo>
                <a:close/>
                <a:moveTo>
                  <a:pt x="5250" y="22593"/>
                </a:moveTo>
                <a:cubicBezTo>
                  <a:pt x="5313" y="22562"/>
                  <a:pt x="5344" y="22468"/>
                  <a:pt x="5406" y="22437"/>
                </a:cubicBezTo>
                <a:cubicBezTo>
                  <a:pt x="5438" y="22406"/>
                  <a:pt x="5438" y="22374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38" y="22343"/>
                  <a:pt x="5438" y="22343"/>
                  <a:pt x="5438" y="22343"/>
                </a:cubicBezTo>
                <a:cubicBezTo>
                  <a:pt x="5469" y="22343"/>
                  <a:pt x="5500" y="22312"/>
                  <a:pt x="5531" y="22281"/>
                </a:cubicBezTo>
                <a:cubicBezTo>
                  <a:pt x="5563" y="22281"/>
                  <a:pt x="5656" y="22343"/>
                  <a:pt x="5594" y="22374"/>
                </a:cubicBezTo>
                <a:cubicBezTo>
                  <a:pt x="5531" y="22406"/>
                  <a:pt x="5531" y="22499"/>
                  <a:pt x="5500" y="22531"/>
                </a:cubicBezTo>
                <a:cubicBezTo>
                  <a:pt x="5438" y="22593"/>
                  <a:pt x="5406" y="22656"/>
                  <a:pt x="5375" y="22718"/>
                </a:cubicBezTo>
                <a:cubicBezTo>
                  <a:pt x="5344" y="22749"/>
                  <a:pt x="5281" y="22781"/>
                  <a:pt x="5219" y="22749"/>
                </a:cubicBezTo>
                <a:cubicBezTo>
                  <a:pt x="5188" y="22687"/>
                  <a:pt x="5219" y="22656"/>
                  <a:pt x="5250" y="22593"/>
                </a:cubicBezTo>
                <a:close/>
                <a:moveTo>
                  <a:pt x="5531" y="22249"/>
                </a:moveTo>
                <a:cubicBezTo>
                  <a:pt x="5563" y="22249"/>
                  <a:pt x="5625" y="22249"/>
                  <a:pt x="5656" y="22249"/>
                </a:cubicBezTo>
                <a:cubicBezTo>
                  <a:pt x="5625" y="22249"/>
                  <a:pt x="5563" y="22249"/>
                  <a:pt x="5531" y="22249"/>
                </a:cubicBezTo>
                <a:close/>
                <a:moveTo>
                  <a:pt x="5375" y="22812"/>
                </a:moveTo>
                <a:cubicBezTo>
                  <a:pt x="5406" y="22812"/>
                  <a:pt x="5406" y="22843"/>
                  <a:pt x="5406" y="22843"/>
                </a:cubicBezTo>
                <a:cubicBezTo>
                  <a:pt x="5406" y="22874"/>
                  <a:pt x="5406" y="22906"/>
                  <a:pt x="5344" y="22906"/>
                </a:cubicBezTo>
                <a:cubicBezTo>
                  <a:pt x="5344" y="22906"/>
                  <a:pt x="5313" y="22874"/>
                  <a:pt x="5313" y="22874"/>
                </a:cubicBezTo>
                <a:cubicBezTo>
                  <a:pt x="5313" y="22843"/>
                  <a:pt x="5344" y="22812"/>
                  <a:pt x="5375" y="22812"/>
                </a:cubicBezTo>
                <a:close/>
                <a:moveTo>
                  <a:pt x="5375" y="23187"/>
                </a:moveTo>
                <a:cubicBezTo>
                  <a:pt x="5375" y="23156"/>
                  <a:pt x="5406" y="23124"/>
                  <a:pt x="5438" y="23124"/>
                </a:cubicBezTo>
                <a:cubicBezTo>
                  <a:pt x="5438" y="23156"/>
                  <a:pt x="5406" y="23187"/>
                  <a:pt x="5375" y="23187"/>
                </a:cubicBezTo>
                <a:cubicBezTo>
                  <a:pt x="5375" y="23249"/>
                  <a:pt x="5313" y="23249"/>
                  <a:pt x="5281" y="23312"/>
                </a:cubicBezTo>
                <a:cubicBezTo>
                  <a:pt x="5313" y="23249"/>
                  <a:pt x="5313" y="23187"/>
                  <a:pt x="5375" y="23187"/>
                </a:cubicBezTo>
                <a:close/>
                <a:moveTo>
                  <a:pt x="5313" y="21874"/>
                </a:moveTo>
                <a:cubicBezTo>
                  <a:pt x="5375" y="21812"/>
                  <a:pt x="5406" y="21749"/>
                  <a:pt x="5500" y="21812"/>
                </a:cubicBezTo>
                <a:cubicBezTo>
                  <a:pt x="5500" y="21812"/>
                  <a:pt x="5500" y="21812"/>
                  <a:pt x="5500" y="21781"/>
                </a:cubicBezTo>
                <a:cubicBezTo>
                  <a:pt x="5500" y="21843"/>
                  <a:pt x="5500" y="21843"/>
                  <a:pt x="5563" y="21843"/>
                </a:cubicBezTo>
                <a:cubicBezTo>
                  <a:pt x="5563" y="21812"/>
                  <a:pt x="5563" y="21781"/>
                  <a:pt x="5531" y="21781"/>
                </a:cubicBezTo>
                <a:cubicBezTo>
                  <a:pt x="5563" y="21781"/>
                  <a:pt x="5531" y="21718"/>
                  <a:pt x="5594" y="21718"/>
                </a:cubicBezTo>
                <a:cubicBezTo>
                  <a:pt x="5563" y="21656"/>
                  <a:pt x="5625" y="21656"/>
                  <a:pt x="5656" y="21624"/>
                </a:cubicBezTo>
                <a:cubicBezTo>
                  <a:pt x="5656" y="21593"/>
                  <a:pt x="5688" y="21624"/>
                  <a:pt x="5719" y="21656"/>
                </a:cubicBezTo>
                <a:cubicBezTo>
                  <a:pt x="5750" y="21687"/>
                  <a:pt x="5688" y="21687"/>
                  <a:pt x="5688" y="21687"/>
                </a:cubicBezTo>
                <a:cubicBezTo>
                  <a:pt x="5625" y="21718"/>
                  <a:pt x="5625" y="21812"/>
                  <a:pt x="5563" y="21843"/>
                </a:cubicBezTo>
                <a:cubicBezTo>
                  <a:pt x="5531" y="21937"/>
                  <a:pt x="5469" y="21968"/>
                  <a:pt x="5406" y="22031"/>
                </a:cubicBezTo>
                <a:cubicBezTo>
                  <a:pt x="5375" y="22093"/>
                  <a:pt x="5344" y="22062"/>
                  <a:pt x="5313" y="21999"/>
                </a:cubicBezTo>
                <a:cubicBezTo>
                  <a:pt x="5313" y="21968"/>
                  <a:pt x="5281" y="21906"/>
                  <a:pt x="5313" y="21874"/>
                </a:cubicBezTo>
                <a:close/>
                <a:moveTo>
                  <a:pt x="5281" y="22031"/>
                </a:moveTo>
                <a:cubicBezTo>
                  <a:pt x="5250" y="22062"/>
                  <a:pt x="5219" y="22093"/>
                  <a:pt x="5219" y="22093"/>
                </a:cubicBezTo>
                <a:cubicBezTo>
                  <a:pt x="5188" y="22093"/>
                  <a:pt x="5156" y="22093"/>
                  <a:pt x="5188" y="22062"/>
                </a:cubicBezTo>
                <a:cubicBezTo>
                  <a:pt x="5188" y="22031"/>
                  <a:pt x="5188" y="21999"/>
                  <a:pt x="5219" y="21999"/>
                </a:cubicBezTo>
                <a:cubicBezTo>
                  <a:pt x="5250" y="21999"/>
                  <a:pt x="5250" y="22031"/>
                  <a:pt x="5281" y="22031"/>
                </a:cubicBezTo>
                <a:close/>
                <a:moveTo>
                  <a:pt x="4781" y="20656"/>
                </a:moveTo>
                <a:cubicBezTo>
                  <a:pt x="4844" y="20656"/>
                  <a:pt x="4938" y="20656"/>
                  <a:pt x="4969" y="20718"/>
                </a:cubicBezTo>
                <a:cubicBezTo>
                  <a:pt x="5031" y="20687"/>
                  <a:pt x="5125" y="20624"/>
                  <a:pt x="5219" y="20593"/>
                </a:cubicBezTo>
                <a:cubicBezTo>
                  <a:pt x="5125" y="20624"/>
                  <a:pt x="5031" y="20687"/>
                  <a:pt x="4969" y="20718"/>
                </a:cubicBezTo>
                <a:cubicBezTo>
                  <a:pt x="4969" y="20718"/>
                  <a:pt x="4938" y="20749"/>
                  <a:pt x="4938" y="20749"/>
                </a:cubicBezTo>
                <a:cubicBezTo>
                  <a:pt x="4844" y="20749"/>
                  <a:pt x="4813" y="20843"/>
                  <a:pt x="4781" y="20937"/>
                </a:cubicBezTo>
                <a:cubicBezTo>
                  <a:pt x="4688" y="20906"/>
                  <a:pt x="4688" y="20843"/>
                  <a:pt x="4688" y="20781"/>
                </a:cubicBezTo>
                <a:cubicBezTo>
                  <a:pt x="4688" y="20718"/>
                  <a:pt x="4750" y="20687"/>
                  <a:pt x="4781" y="20656"/>
                </a:cubicBezTo>
                <a:close/>
                <a:moveTo>
                  <a:pt x="5063" y="20937"/>
                </a:moveTo>
                <a:cubicBezTo>
                  <a:pt x="5094" y="20937"/>
                  <a:pt x="5094" y="20968"/>
                  <a:pt x="5094" y="20999"/>
                </a:cubicBezTo>
                <a:cubicBezTo>
                  <a:pt x="5094" y="21093"/>
                  <a:pt x="5031" y="21187"/>
                  <a:pt x="4938" y="21156"/>
                </a:cubicBezTo>
                <a:cubicBezTo>
                  <a:pt x="4906" y="21156"/>
                  <a:pt x="4875" y="21156"/>
                  <a:pt x="4875" y="21124"/>
                </a:cubicBezTo>
                <a:cubicBezTo>
                  <a:pt x="4875" y="21062"/>
                  <a:pt x="4906" y="21062"/>
                  <a:pt x="4938" y="21062"/>
                </a:cubicBezTo>
                <a:cubicBezTo>
                  <a:pt x="4969" y="21062"/>
                  <a:pt x="5000" y="21062"/>
                  <a:pt x="5000" y="20999"/>
                </a:cubicBezTo>
                <a:cubicBezTo>
                  <a:pt x="5000" y="20968"/>
                  <a:pt x="5000" y="20937"/>
                  <a:pt x="5063" y="20937"/>
                </a:cubicBezTo>
                <a:close/>
                <a:moveTo>
                  <a:pt x="4719" y="21374"/>
                </a:moveTo>
                <a:cubicBezTo>
                  <a:pt x="4719" y="21343"/>
                  <a:pt x="4750" y="21312"/>
                  <a:pt x="4750" y="21312"/>
                </a:cubicBezTo>
                <a:cubicBezTo>
                  <a:pt x="4750" y="21312"/>
                  <a:pt x="4750" y="21312"/>
                  <a:pt x="4750" y="21312"/>
                </a:cubicBezTo>
                <a:cubicBezTo>
                  <a:pt x="4781" y="21312"/>
                  <a:pt x="4750" y="21343"/>
                  <a:pt x="4750" y="21343"/>
                </a:cubicBezTo>
                <a:cubicBezTo>
                  <a:pt x="4750" y="21343"/>
                  <a:pt x="4781" y="21312"/>
                  <a:pt x="4750" y="21312"/>
                </a:cubicBezTo>
                <a:cubicBezTo>
                  <a:pt x="4750" y="21312"/>
                  <a:pt x="4719" y="21343"/>
                  <a:pt x="4719" y="21374"/>
                </a:cubicBezTo>
                <a:cubicBezTo>
                  <a:pt x="4688" y="21374"/>
                  <a:pt x="4688" y="21374"/>
                  <a:pt x="4656" y="21374"/>
                </a:cubicBezTo>
                <a:cubicBezTo>
                  <a:pt x="4688" y="21374"/>
                  <a:pt x="4688" y="21374"/>
                  <a:pt x="4719" y="21374"/>
                </a:cubicBezTo>
                <a:close/>
                <a:moveTo>
                  <a:pt x="4719" y="21374"/>
                </a:move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ubicBezTo>
                  <a:pt x="4719" y="21374"/>
                  <a:pt x="4719" y="21374"/>
                  <a:pt x="4719" y="21374"/>
                </a:cubicBezTo>
                <a:close/>
                <a:moveTo>
                  <a:pt x="4656" y="22656"/>
                </a:move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ubicBezTo>
                  <a:pt x="4656" y="22656"/>
                  <a:pt x="4656" y="22656"/>
                  <a:pt x="4656" y="22656"/>
                </a:cubicBezTo>
                <a:close/>
                <a:moveTo>
                  <a:pt x="4656" y="21437"/>
                </a:move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ubicBezTo>
                  <a:pt x="4656" y="21437"/>
                  <a:pt x="4656" y="21437"/>
                  <a:pt x="4656" y="21437"/>
                </a:cubicBezTo>
                <a:close/>
                <a:moveTo>
                  <a:pt x="4625" y="22687"/>
                </a:moveTo>
                <a:cubicBezTo>
                  <a:pt x="4594" y="22718"/>
                  <a:pt x="4594" y="22749"/>
                  <a:pt x="4563" y="22781"/>
                </a:cubicBezTo>
                <a:cubicBezTo>
                  <a:pt x="4531" y="22812"/>
                  <a:pt x="4531" y="22812"/>
                  <a:pt x="4469" y="22812"/>
                </a:cubicBezTo>
                <a:cubicBezTo>
                  <a:pt x="4438" y="22843"/>
                  <a:pt x="4438" y="22874"/>
                  <a:pt x="4438" y="22906"/>
                </a:cubicBezTo>
                <a:cubicBezTo>
                  <a:pt x="4438" y="22906"/>
                  <a:pt x="4438" y="22937"/>
                  <a:pt x="4469" y="22937"/>
                </a:cubicBezTo>
                <a:cubicBezTo>
                  <a:pt x="4500" y="22937"/>
                  <a:pt x="4500" y="22906"/>
                  <a:pt x="4531" y="22906"/>
                </a:cubicBezTo>
                <a:cubicBezTo>
                  <a:pt x="4563" y="22874"/>
                  <a:pt x="4594" y="22812"/>
                  <a:pt x="4594" y="22781"/>
                </a:cubicBezTo>
                <a:cubicBezTo>
                  <a:pt x="4625" y="22749"/>
                  <a:pt x="4656" y="22749"/>
                  <a:pt x="4656" y="22718"/>
                </a:cubicBezTo>
                <a:cubicBezTo>
                  <a:pt x="4656" y="22718"/>
                  <a:pt x="4656" y="22718"/>
                  <a:pt x="4656" y="22718"/>
                </a:cubicBezTo>
                <a:cubicBezTo>
                  <a:pt x="4688" y="22687"/>
                  <a:pt x="4719" y="22781"/>
                  <a:pt x="4750" y="22718"/>
                </a:cubicBezTo>
                <a:cubicBezTo>
                  <a:pt x="4781" y="22687"/>
                  <a:pt x="4688" y="22718"/>
                  <a:pt x="4688" y="22687"/>
                </a:cubicBezTo>
                <a:cubicBezTo>
                  <a:pt x="4688" y="22656"/>
                  <a:pt x="4688" y="22656"/>
                  <a:pt x="4688" y="22656"/>
                </a:cubicBezTo>
                <a:cubicBezTo>
                  <a:pt x="4750" y="22593"/>
                  <a:pt x="4813" y="22531"/>
                  <a:pt x="4906" y="22531"/>
                </a:cubicBezTo>
                <a:cubicBezTo>
                  <a:pt x="4938" y="22499"/>
                  <a:pt x="4969" y="22499"/>
                  <a:pt x="4969" y="22437"/>
                </a:cubicBezTo>
                <a:cubicBezTo>
                  <a:pt x="4969" y="22406"/>
                  <a:pt x="5000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31" y="22374"/>
                  <a:pt x="5031" y="22374"/>
                  <a:pt x="5031" y="22374"/>
                </a:cubicBezTo>
                <a:cubicBezTo>
                  <a:pt x="5063" y="22343"/>
                  <a:pt x="5094" y="22312"/>
                  <a:pt x="5094" y="22281"/>
                </a:cubicBezTo>
                <a:cubicBezTo>
                  <a:pt x="5125" y="22281"/>
                  <a:pt x="5125" y="22281"/>
                  <a:pt x="5125" y="22281"/>
                </a:cubicBezTo>
                <a:cubicBezTo>
                  <a:pt x="5188" y="22281"/>
                  <a:pt x="5219" y="22187"/>
                  <a:pt x="5250" y="22249"/>
                </a:cubicBezTo>
                <a:cubicBezTo>
                  <a:pt x="5250" y="22281"/>
                  <a:pt x="5219" y="22343"/>
                  <a:pt x="5156" y="22374"/>
                </a:cubicBezTo>
                <a:cubicBezTo>
                  <a:pt x="5094" y="22374"/>
                  <a:pt x="5094" y="22406"/>
                  <a:pt x="5094" y="22437"/>
                </a:cubicBezTo>
                <a:cubicBezTo>
                  <a:pt x="5063" y="22531"/>
                  <a:pt x="5000" y="22624"/>
                  <a:pt x="4938" y="22687"/>
                </a:cubicBezTo>
                <a:cubicBezTo>
                  <a:pt x="4781" y="22874"/>
                  <a:pt x="4656" y="23031"/>
                  <a:pt x="4531" y="23187"/>
                </a:cubicBezTo>
                <a:cubicBezTo>
                  <a:pt x="4469" y="23249"/>
                  <a:pt x="4469" y="23343"/>
                  <a:pt x="4375" y="23343"/>
                </a:cubicBezTo>
                <a:cubicBezTo>
                  <a:pt x="4375" y="23343"/>
                  <a:pt x="4344" y="23343"/>
                  <a:pt x="4344" y="23343"/>
                </a:cubicBezTo>
                <a:cubicBezTo>
                  <a:pt x="4375" y="23374"/>
                  <a:pt x="4375" y="23406"/>
                  <a:pt x="4344" y="23406"/>
                </a:cubicBezTo>
                <a:cubicBezTo>
                  <a:pt x="4313" y="23406"/>
                  <a:pt x="4313" y="23374"/>
                  <a:pt x="4313" y="23343"/>
                </a:cubicBezTo>
                <a:cubicBezTo>
                  <a:pt x="4281" y="23281"/>
                  <a:pt x="4250" y="23187"/>
                  <a:pt x="4313" y="23124"/>
                </a:cubicBezTo>
                <a:cubicBezTo>
                  <a:pt x="4344" y="23124"/>
                  <a:pt x="4344" y="23124"/>
                  <a:pt x="4375" y="23124"/>
                </a:cubicBezTo>
                <a:cubicBezTo>
                  <a:pt x="4375" y="23156"/>
                  <a:pt x="4406" y="23187"/>
                  <a:pt x="4406" y="23218"/>
                </a:cubicBezTo>
                <a:cubicBezTo>
                  <a:pt x="4406" y="23249"/>
                  <a:pt x="4406" y="23249"/>
                  <a:pt x="4438" y="23249"/>
                </a:cubicBezTo>
                <a:lnTo>
                  <a:pt x="4438" y="23249"/>
                </a:lnTo>
                <a:cubicBezTo>
                  <a:pt x="4469" y="23218"/>
                  <a:pt x="4469" y="23218"/>
                  <a:pt x="4438" y="23187"/>
                </a:cubicBezTo>
                <a:cubicBezTo>
                  <a:pt x="4438" y="23156"/>
                  <a:pt x="4406" y="23156"/>
                  <a:pt x="4375" y="23124"/>
                </a:cubicBezTo>
                <a:cubicBezTo>
                  <a:pt x="4375" y="23093"/>
                  <a:pt x="4313" y="22968"/>
                  <a:pt x="4313" y="22968"/>
                </a:cubicBezTo>
                <a:cubicBezTo>
                  <a:pt x="4313" y="22968"/>
                  <a:pt x="4313" y="22968"/>
                  <a:pt x="4313" y="22968"/>
                </a:cubicBezTo>
                <a:cubicBezTo>
                  <a:pt x="4313" y="22999"/>
                  <a:pt x="4344" y="23031"/>
                  <a:pt x="4281" y="23062"/>
                </a:cubicBezTo>
                <a:cubicBezTo>
                  <a:pt x="4281" y="23062"/>
                  <a:pt x="4250" y="23062"/>
                  <a:pt x="4250" y="23031"/>
                </a:cubicBezTo>
                <a:cubicBezTo>
                  <a:pt x="4250" y="22999"/>
                  <a:pt x="4281" y="22968"/>
                  <a:pt x="4313" y="22968"/>
                </a:cubicBezTo>
                <a:cubicBezTo>
                  <a:pt x="4375" y="22812"/>
                  <a:pt x="4500" y="22749"/>
                  <a:pt x="4625" y="22687"/>
                </a:cubicBezTo>
                <a:close/>
                <a:moveTo>
                  <a:pt x="4719" y="23312"/>
                </a:moveTo>
                <a:cubicBezTo>
                  <a:pt x="4625" y="23312"/>
                  <a:pt x="4625" y="23374"/>
                  <a:pt x="4594" y="23406"/>
                </a:cubicBezTo>
                <a:cubicBezTo>
                  <a:pt x="4563" y="23437"/>
                  <a:pt x="4563" y="23437"/>
                  <a:pt x="4531" y="23437"/>
                </a:cubicBezTo>
                <a:cubicBezTo>
                  <a:pt x="4500" y="23406"/>
                  <a:pt x="4500" y="23374"/>
                  <a:pt x="4531" y="23343"/>
                </a:cubicBezTo>
                <a:cubicBezTo>
                  <a:pt x="4625" y="23312"/>
                  <a:pt x="4625" y="23218"/>
                  <a:pt x="4688" y="23156"/>
                </a:cubicBezTo>
                <a:cubicBezTo>
                  <a:pt x="4719" y="23124"/>
                  <a:pt x="4719" y="23124"/>
                  <a:pt x="4750" y="23124"/>
                </a:cubicBezTo>
                <a:cubicBezTo>
                  <a:pt x="4750" y="23124"/>
                  <a:pt x="4750" y="23156"/>
                  <a:pt x="4750" y="23187"/>
                </a:cubicBezTo>
                <a:cubicBezTo>
                  <a:pt x="4719" y="23218"/>
                  <a:pt x="4688" y="23249"/>
                  <a:pt x="4719" y="23312"/>
                </a:cubicBezTo>
                <a:close/>
                <a:moveTo>
                  <a:pt x="4469" y="21624"/>
                </a:moveTo>
                <a:cubicBezTo>
                  <a:pt x="4469" y="21624"/>
                  <a:pt x="4469" y="21624"/>
                  <a:pt x="4469" y="21624"/>
                </a:cubicBezTo>
                <a:cubicBezTo>
                  <a:pt x="4469" y="21624"/>
                  <a:pt x="4469" y="21593"/>
                  <a:pt x="4469" y="21593"/>
                </a:cubicBezTo>
                <a:cubicBezTo>
                  <a:pt x="4438" y="21624"/>
                  <a:pt x="4406" y="21656"/>
                  <a:pt x="4406" y="21656"/>
                </a:cubicBezTo>
                <a:cubicBezTo>
                  <a:pt x="4406" y="21656"/>
                  <a:pt x="4406" y="21687"/>
                  <a:pt x="4406" y="21687"/>
                </a:cubicBezTo>
                <a:cubicBezTo>
                  <a:pt x="4406" y="21687"/>
                  <a:pt x="4406" y="21687"/>
                  <a:pt x="4406" y="21687"/>
                </a:cubicBezTo>
                <a:cubicBezTo>
                  <a:pt x="4406" y="21687"/>
                  <a:pt x="4406" y="21656"/>
                  <a:pt x="4406" y="21656"/>
                </a:cubicBezTo>
                <a:cubicBezTo>
                  <a:pt x="4406" y="21656"/>
                  <a:pt x="4438" y="21624"/>
                  <a:pt x="4469" y="21593"/>
                </a:cubicBezTo>
                <a:cubicBezTo>
                  <a:pt x="4469" y="21593"/>
                  <a:pt x="4500" y="21562"/>
                  <a:pt x="4500" y="21562"/>
                </a:cubicBezTo>
                <a:cubicBezTo>
                  <a:pt x="4500" y="21562"/>
                  <a:pt x="4469" y="21593"/>
                  <a:pt x="4469" y="21593"/>
                </a:cubicBezTo>
                <a:cubicBezTo>
                  <a:pt x="4469" y="21593"/>
                  <a:pt x="4469" y="21624"/>
                  <a:pt x="4469" y="21624"/>
                </a:cubicBezTo>
                <a:close/>
                <a:moveTo>
                  <a:pt x="3594" y="21124"/>
                </a:moveTo>
                <a:cubicBezTo>
                  <a:pt x="3625" y="21124"/>
                  <a:pt x="3625" y="21124"/>
                  <a:pt x="3625" y="21124"/>
                </a:cubicBezTo>
                <a:cubicBezTo>
                  <a:pt x="3625" y="21156"/>
                  <a:pt x="3594" y="21156"/>
                  <a:pt x="3594" y="21156"/>
                </a:cubicBezTo>
                <a:cubicBezTo>
                  <a:pt x="3594" y="21156"/>
                  <a:pt x="3594" y="21124"/>
                  <a:pt x="3594" y="21124"/>
                </a:cubicBezTo>
                <a:close/>
                <a:moveTo>
                  <a:pt x="3813" y="21499"/>
                </a:moveTo>
                <a:cubicBezTo>
                  <a:pt x="3906" y="21312"/>
                  <a:pt x="4063" y="21187"/>
                  <a:pt x="4188" y="21093"/>
                </a:cubicBezTo>
                <a:cubicBezTo>
                  <a:pt x="4250" y="20999"/>
                  <a:pt x="4344" y="20937"/>
                  <a:pt x="4406" y="20843"/>
                </a:cubicBezTo>
                <a:cubicBezTo>
                  <a:pt x="4438" y="20843"/>
                  <a:pt x="4438" y="20812"/>
                  <a:pt x="4469" y="20812"/>
                </a:cubicBezTo>
                <a:cubicBezTo>
                  <a:pt x="4500" y="20812"/>
                  <a:pt x="4500" y="20874"/>
                  <a:pt x="4500" y="20874"/>
                </a:cubicBezTo>
                <a:cubicBezTo>
                  <a:pt x="4469" y="20968"/>
                  <a:pt x="4500" y="21062"/>
                  <a:pt x="4438" y="21124"/>
                </a:cubicBezTo>
                <a:cubicBezTo>
                  <a:pt x="4188" y="21374"/>
                  <a:pt x="3969" y="21624"/>
                  <a:pt x="3750" y="21874"/>
                </a:cubicBezTo>
                <a:cubicBezTo>
                  <a:pt x="3688" y="21937"/>
                  <a:pt x="3656" y="21999"/>
                  <a:pt x="3594" y="22062"/>
                </a:cubicBezTo>
                <a:cubicBezTo>
                  <a:pt x="3656" y="21874"/>
                  <a:pt x="3719" y="21687"/>
                  <a:pt x="3813" y="21499"/>
                </a:cubicBezTo>
                <a:close/>
                <a:moveTo>
                  <a:pt x="3438" y="21656"/>
                </a:moveTo>
                <a:cubicBezTo>
                  <a:pt x="3438" y="21656"/>
                  <a:pt x="3438" y="21656"/>
                  <a:pt x="3438" y="21656"/>
                </a:cubicBezTo>
                <a:cubicBezTo>
                  <a:pt x="3438" y="21687"/>
                  <a:pt x="3438" y="21687"/>
                  <a:pt x="3438" y="21718"/>
                </a:cubicBezTo>
                <a:cubicBezTo>
                  <a:pt x="3438" y="21687"/>
                  <a:pt x="3438" y="21687"/>
                  <a:pt x="3438" y="21656"/>
                </a:cubicBezTo>
                <a:close/>
                <a:moveTo>
                  <a:pt x="3094" y="24531"/>
                </a:moveTo>
                <a:cubicBezTo>
                  <a:pt x="3125" y="24499"/>
                  <a:pt x="3125" y="24468"/>
                  <a:pt x="3156" y="24437"/>
                </a:cubicBezTo>
                <a:cubicBezTo>
                  <a:pt x="3188" y="24468"/>
                  <a:pt x="3250" y="24531"/>
                  <a:pt x="3125" y="24562"/>
                </a:cubicBezTo>
                <a:cubicBezTo>
                  <a:pt x="3125" y="24562"/>
                  <a:pt x="3125" y="24624"/>
                  <a:pt x="3094" y="24562"/>
                </a:cubicBezTo>
                <a:cubicBezTo>
                  <a:pt x="3094" y="24562"/>
                  <a:pt x="3063" y="24531"/>
                  <a:pt x="3094" y="24531"/>
                </a:cubicBezTo>
                <a:close/>
                <a:moveTo>
                  <a:pt x="3063" y="24718"/>
                </a:moveTo>
                <a:cubicBezTo>
                  <a:pt x="3063" y="24718"/>
                  <a:pt x="3063" y="24718"/>
                  <a:pt x="3063" y="24718"/>
                </a:cubicBezTo>
                <a:cubicBezTo>
                  <a:pt x="3063" y="24687"/>
                  <a:pt x="3031" y="24687"/>
                  <a:pt x="3031" y="24687"/>
                </a:cubicBezTo>
                <a:cubicBezTo>
                  <a:pt x="3031" y="24687"/>
                  <a:pt x="3063" y="24687"/>
                  <a:pt x="3063" y="24718"/>
                </a:cubicBezTo>
                <a:close/>
                <a:moveTo>
                  <a:pt x="2281" y="24156"/>
                </a:moveTo>
                <a:cubicBezTo>
                  <a:pt x="2281" y="24156"/>
                  <a:pt x="2281" y="24156"/>
                  <a:pt x="2313" y="24156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81" y="24156"/>
                  <a:pt x="2281" y="24187"/>
                </a:cubicBezTo>
                <a:cubicBezTo>
                  <a:pt x="2281" y="24187"/>
                  <a:pt x="2281" y="24187"/>
                  <a:pt x="2281" y="24187"/>
                </a:cubicBezTo>
                <a:cubicBezTo>
                  <a:pt x="2281" y="24156"/>
                  <a:pt x="2281" y="24156"/>
                  <a:pt x="2281" y="24156"/>
                </a:cubicBezTo>
                <a:cubicBezTo>
                  <a:pt x="2281" y="24156"/>
                  <a:pt x="2250" y="24156"/>
                  <a:pt x="2250" y="24156"/>
                </a:cubicBezTo>
                <a:cubicBezTo>
                  <a:pt x="2250" y="24156"/>
                  <a:pt x="2281" y="24156"/>
                  <a:pt x="2281" y="24156"/>
                </a:cubicBezTo>
                <a:close/>
                <a:moveTo>
                  <a:pt x="2531" y="24562"/>
                </a:moveTo>
                <a:cubicBezTo>
                  <a:pt x="2531" y="24624"/>
                  <a:pt x="2469" y="24656"/>
                  <a:pt x="2438" y="24687"/>
                </a:cubicBezTo>
                <a:cubicBezTo>
                  <a:pt x="2375" y="24718"/>
                  <a:pt x="2344" y="24781"/>
                  <a:pt x="2313" y="24812"/>
                </a:cubicBezTo>
                <a:cubicBezTo>
                  <a:pt x="2313" y="24874"/>
                  <a:pt x="2250" y="24874"/>
                  <a:pt x="2219" y="24874"/>
                </a:cubicBezTo>
                <a:cubicBezTo>
                  <a:pt x="2219" y="24812"/>
                  <a:pt x="2219" y="24749"/>
                  <a:pt x="2313" y="24718"/>
                </a:cubicBezTo>
                <a:cubicBezTo>
                  <a:pt x="2344" y="24687"/>
                  <a:pt x="2344" y="24656"/>
                  <a:pt x="2375" y="24593"/>
                </a:cubicBezTo>
                <a:cubicBezTo>
                  <a:pt x="2406" y="24562"/>
                  <a:pt x="2438" y="24468"/>
                  <a:pt x="2531" y="24468"/>
                </a:cubicBezTo>
                <a:cubicBezTo>
                  <a:pt x="2531" y="24499"/>
                  <a:pt x="2500" y="24531"/>
                  <a:pt x="2531" y="24562"/>
                </a:cubicBezTo>
                <a:close/>
                <a:moveTo>
                  <a:pt x="2594" y="22093"/>
                </a:moveTo>
                <a:cubicBezTo>
                  <a:pt x="2594" y="22062"/>
                  <a:pt x="2625" y="22031"/>
                  <a:pt x="2656" y="22031"/>
                </a:cubicBezTo>
                <a:cubicBezTo>
                  <a:pt x="2656" y="22062"/>
                  <a:pt x="2625" y="22062"/>
                  <a:pt x="2594" y="22093"/>
                </a:cubicBezTo>
                <a:close/>
                <a:moveTo>
                  <a:pt x="2656" y="22031"/>
                </a:moveTo>
                <a:cubicBezTo>
                  <a:pt x="2656" y="21999"/>
                  <a:pt x="2688" y="21968"/>
                  <a:pt x="2719" y="21968"/>
                </a:cubicBezTo>
                <a:cubicBezTo>
                  <a:pt x="2719" y="21999"/>
                  <a:pt x="2688" y="22031"/>
                  <a:pt x="2656" y="22031"/>
                </a:cubicBezTo>
                <a:close/>
                <a:moveTo>
                  <a:pt x="2844" y="24968"/>
                </a:moveTo>
                <a:cubicBezTo>
                  <a:pt x="2813" y="25031"/>
                  <a:pt x="2781" y="25124"/>
                  <a:pt x="2688" y="25031"/>
                </a:cubicBezTo>
                <a:cubicBezTo>
                  <a:pt x="2719" y="24999"/>
                  <a:pt x="2750" y="24906"/>
                  <a:pt x="2813" y="24937"/>
                </a:cubicBezTo>
                <a:cubicBezTo>
                  <a:pt x="2844" y="24937"/>
                  <a:pt x="2844" y="24968"/>
                  <a:pt x="2844" y="24968"/>
                </a:cubicBezTo>
                <a:close/>
                <a:moveTo>
                  <a:pt x="2969" y="25093"/>
                </a:moveTo>
                <a:cubicBezTo>
                  <a:pt x="2938" y="25124"/>
                  <a:pt x="2906" y="25124"/>
                  <a:pt x="2906" y="25093"/>
                </a:cubicBezTo>
                <a:cubicBezTo>
                  <a:pt x="2906" y="25062"/>
                  <a:pt x="2938" y="25031"/>
                  <a:pt x="2938" y="25031"/>
                </a:cubicBezTo>
                <a:cubicBezTo>
                  <a:pt x="2938" y="25031"/>
                  <a:pt x="2938" y="25062"/>
                  <a:pt x="2938" y="25062"/>
                </a:cubicBezTo>
                <a:cubicBezTo>
                  <a:pt x="2938" y="25093"/>
                  <a:pt x="3000" y="25062"/>
                  <a:pt x="2969" y="25093"/>
                </a:cubicBezTo>
                <a:close/>
                <a:moveTo>
                  <a:pt x="3156" y="24937"/>
                </a:moveTo>
                <a:cubicBezTo>
                  <a:pt x="3188" y="24937"/>
                  <a:pt x="3188" y="24906"/>
                  <a:pt x="3188" y="24874"/>
                </a:cubicBezTo>
                <a:cubicBezTo>
                  <a:pt x="3188" y="24781"/>
                  <a:pt x="3094" y="24874"/>
                  <a:pt x="3094" y="24812"/>
                </a:cubicBezTo>
                <a:cubicBezTo>
                  <a:pt x="3063" y="24843"/>
                  <a:pt x="3063" y="24843"/>
                  <a:pt x="3094" y="24874"/>
                </a:cubicBezTo>
                <a:cubicBezTo>
                  <a:pt x="3156" y="24906"/>
                  <a:pt x="3063" y="24906"/>
                  <a:pt x="3063" y="24937"/>
                </a:cubicBezTo>
                <a:cubicBezTo>
                  <a:pt x="3094" y="24937"/>
                  <a:pt x="3125" y="24937"/>
                  <a:pt x="3156" y="24937"/>
                </a:cubicBezTo>
                <a:cubicBezTo>
                  <a:pt x="3094" y="24968"/>
                  <a:pt x="3094" y="24968"/>
                  <a:pt x="3125" y="24999"/>
                </a:cubicBezTo>
                <a:cubicBezTo>
                  <a:pt x="3094" y="25031"/>
                  <a:pt x="3094" y="25062"/>
                  <a:pt x="3031" y="25031"/>
                </a:cubicBezTo>
                <a:cubicBezTo>
                  <a:pt x="3031" y="24999"/>
                  <a:pt x="3000" y="24999"/>
                  <a:pt x="2938" y="24999"/>
                </a:cubicBezTo>
                <a:cubicBezTo>
                  <a:pt x="2938" y="24968"/>
                  <a:pt x="2906" y="25031"/>
                  <a:pt x="2906" y="24968"/>
                </a:cubicBezTo>
                <a:cubicBezTo>
                  <a:pt x="2906" y="24968"/>
                  <a:pt x="2938" y="24937"/>
                  <a:pt x="2938" y="24937"/>
                </a:cubicBezTo>
                <a:cubicBezTo>
                  <a:pt x="3000" y="24937"/>
                  <a:pt x="3031" y="24906"/>
                  <a:pt x="3031" y="24843"/>
                </a:cubicBezTo>
                <a:cubicBezTo>
                  <a:pt x="3031" y="24781"/>
                  <a:pt x="3063" y="24781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063" y="24718"/>
                  <a:pt x="3063" y="24718"/>
                  <a:pt x="3063" y="24718"/>
                </a:cubicBezTo>
                <a:cubicBezTo>
                  <a:pt x="3125" y="24718"/>
                  <a:pt x="3125" y="24687"/>
                  <a:pt x="3156" y="24656"/>
                </a:cubicBezTo>
                <a:cubicBezTo>
                  <a:pt x="3219" y="24687"/>
                  <a:pt x="3281" y="24718"/>
                  <a:pt x="3344" y="24749"/>
                </a:cubicBezTo>
                <a:cubicBezTo>
                  <a:pt x="3344" y="24749"/>
                  <a:pt x="3344" y="24749"/>
                  <a:pt x="3344" y="24749"/>
                </a:cubicBezTo>
                <a:cubicBezTo>
                  <a:pt x="3281" y="24781"/>
                  <a:pt x="3281" y="24874"/>
                  <a:pt x="3188" y="24874"/>
                </a:cubicBezTo>
                <a:cubicBezTo>
                  <a:pt x="3188" y="24906"/>
                  <a:pt x="3188" y="24937"/>
                  <a:pt x="3156" y="24937"/>
                </a:cubicBezTo>
                <a:close/>
                <a:moveTo>
                  <a:pt x="3375" y="24968"/>
                </a:moveTo>
                <a:cubicBezTo>
                  <a:pt x="3375" y="24999"/>
                  <a:pt x="3344" y="25031"/>
                  <a:pt x="3344" y="25062"/>
                </a:cubicBezTo>
                <a:cubicBezTo>
                  <a:pt x="3281" y="25031"/>
                  <a:pt x="3281" y="25124"/>
                  <a:pt x="3219" y="25124"/>
                </a:cubicBezTo>
                <a:cubicBezTo>
                  <a:pt x="3250" y="25062"/>
                  <a:pt x="3313" y="25031"/>
                  <a:pt x="3313" y="24937"/>
                </a:cubicBezTo>
                <a:cubicBezTo>
                  <a:pt x="3313" y="24937"/>
                  <a:pt x="3344" y="24937"/>
                  <a:pt x="3375" y="24937"/>
                </a:cubicBezTo>
                <a:cubicBezTo>
                  <a:pt x="3375" y="24937"/>
                  <a:pt x="3375" y="24968"/>
                  <a:pt x="3375" y="24968"/>
                </a:cubicBezTo>
                <a:close/>
                <a:moveTo>
                  <a:pt x="3656" y="24812"/>
                </a:moveTo>
                <a:cubicBezTo>
                  <a:pt x="3625" y="24843"/>
                  <a:pt x="3594" y="24906"/>
                  <a:pt x="3531" y="24843"/>
                </a:cubicBezTo>
                <a:cubicBezTo>
                  <a:pt x="3563" y="24812"/>
                  <a:pt x="3594" y="24781"/>
                  <a:pt x="3625" y="24749"/>
                </a:cubicBezTo>
                <a:cubicBezTo>
                  <a:pt x="3656" y="24781"/>
                  <a:pt x="3688" y="24781"/>
                  <a:pt x="3656" y="24812"/>
                </a:cubicBezTo>
                <a:close/>
                <a:moveTo>
                  <a:pt x="3688" y="24624"/>
                </a:moveTo>
                <a:cubicBezTo>
                  <a:pt x="3625" y="24656"/>
                  <a:pt x="3563" y="24718"/>
                  <a:pt x="3469" y="24718"/>
                </a:cubicBezTo>
                <a:cubicBezTo>
                  <a:pt x="3531" y="24656"/>
                  <a:pt x="3563" y="24593"/>
                  <a:pt x="3625" y="24562"/>
                </a:cubicBezTo>
                <a:cubicBezTo>
                  <a:pt x="3688" y="24531"/>
                  <a:pt x="3656" y="24624"/>
                  <a:pt x="3688" y="24624"/>
                </a:cubicBezTo>
                <a:cubicBezTo>
                  <a:pt x="3688" y="24624"/>
                  <a:pt x="3688" y="24656"/>
                  <a:pt x="3688" y="24656"/>
                </a:cubicBezTo>
                <a:cubicBezTo>
                  <a:pt x="3688" y="24656"/>
                  <a:pt x="3688" y="24624"/>
                  <a:pt x="3688" y="24624"/>
                </a:cubicBezTo>
                <a:close/>
                <a:moveTo>
                  <a:pt x="3844" y="24687"/>
                </a:moveTo>
                <a:cubicBezTo>
                  <a:pt x="3781" y="24718"/>
                  <a:pt x="3688" y="24687"/>
                  <a:pt x="3688" y="24656"/>
                </a:cubicBezTo>
                <a:cubicBezTo>
                  <a:pt x="3688" y="24656"/>
                  <a:pt x="3688" y="24656"/>
                  <a:pt x="3719" y="24656"/>
                </a:cubicBezTo>
                <a:cubicBezTo>
                  <a:pt x="3750" y="24624"/>
                  <a:pt x="3781" y="24593"/>
                  <a:pt x="3813" y="24562"/>
                </a:cubicBezTo>
                <a:cubicBezTo>
                  <a:pt x="3813" y="24593"/>
                  <a:pt x="3750" y="24656"/>
                  <a:pt x="3844" y="24656"/>
                </a:cubicBezTo>
                <a:cubicBezTo>
                  <a:pt x="3875" y="24656"/>
                  <a:pt x="3844" y="24687"/>
                  <a:pt x="3844" y="24687"/>
                </a:cubicBezTo>
                <a:close/>
                <a:moveTo>
                  <a:pt x="3844" y="24062"/>
                </a:moveTo>
                <a:cubicBezTo>
                  <a:pt x="3719" y="24218"/>
                  <a:pt x="3625" y="24406"/>
                  <a:pt x="3469" y="24531"/>
                </a:cubicBezTo>
                <a:cubicBezTo>
                  <a:pt x="3438" y="24562"/>
                  <a:pt x="3438" y="24656"/>
                  <a:pt x="3344" y="24687"/>
                </a:cubicBezTo>
                <a:cubicBezTo>
                  <a:pt x="3344" y="24687"/>
                  <a:pt x="3313" y="24718"/>
                  <a:pt x="3313" y="24687"/>
                </a:cubicBezTo>
                <a:cubicBezTo>
                  <a:pt x="3313" y="24624"/>
                  <a:pt x="3313" y="24624"/>
                  <a:pt x="3281" y="24624"/>
                </a:cubicBezTo>
                <a:cubicBezTo>
                  <a:pt x="3250" y="24656"/>
                  <a:pt x="3219" y="24656"/>
                  <a:pt x="3188" y="24624"/>
                </a:cubicBezTo>
                <a:cubicBezTo>
                  <a:pt x="3188" y="24562"/>
                  <a:pt x="3219" y="24562"/>
                  <a:pt x="3250" y="24531"/>
                </a:cubicBezTo>
                <a:cubicBezTo>
                  <a:pt x="3313" y="24499"/>
                  <a:pt x="3313" y="24437"/>
                  <a:pt x="3313" y="24374"/>
                </a:cubicBezTo>
                <a:cubicBezTo>
                  <a:pt x="3281" y="24437"/>
                  <a:pt x="3219" y="24437"/>
                  <a:pt x="3156" y="24437"/>
                </a:cubicBezTo>
                <a:cubicBezTo>
                  <a:pt x="3156" y="24406"/>
                  <a:pt x="3156" y="24406"/>
                  <a:pt x="3188" y="24374"/>
                </a:cubicBezTo>
                <a:cubicBezTo>
                  <a:pt x="3156" y="24343"/>
                  <a:pt x="3125" y="24406"/>
                  <a:pt x="3094" y="24374"/>
                </a:cubicBezTo>
                <a:cubicBezTo>
                  <a:pt x="3156" y="24312"/>
                  <a:pt x="3219" y="24249"/>
                  <a:pt x="3250" y="24187"/>
                </a:cubicBezTo>
                <a:cubicBezTo>
                  <a:pt x="3313" y="24187"/>
                  <a:pt x="3219" y="24249"/>
                  <a:pt x="3250" y="24281"/>
                </a:cubicBezTo>
                <a:cubicBezTo>
                  <a:pt x="3250" y="24281"/>
                  <a:pt x="3219" y="24281"/>
                  <a:pt x="3219" y="24281"/>
                </a:cubicBezTo>
                <a:cubicBezTo>
                  <a:pt x="3219" y="24281"/>
                  <a:pt x="3219" y="24312"/>
                  <a:pt x="3219" y="24312"/>
                </a:cubicBezTo>
                <a:cubicBezTo>
                  <a:pt x="3250" y="24312"/>
                  <a:pt x="3250" y="24281"/>
                  <a:pt x="3281" y="24281"/>
                </a:cubicBezTo>
                <a:cubicBezTo>
                  <a:pt x="3281" y="24249"/>
                  <a:pt x="3313" y="24218"/>
                  <a:pt x="3313" y="24187"/>
                </a:cubicBezTo>
                <a:cubicBezTo>
                  <a:pt x="3344" y="24156"/>
                  <a:pt x="3406" y="24156"/>
                  <a:pt x="3406" y="24187"/>
                </a:cubicBezTo>
                <a:cubicBezTo>
                  <a:pt x="3406" y="24249"/>
                  <a:pt x="3438" y="24249"/>
                  <a:pt x="3469" y="24249"/>
                </a:cubicBezTo>
                <a:cubicBezTo>
                  <a:pt x="3594" y="24281"/>
                  <a:pt x="3625" y="24156"/>
                  <a:pt x="3688" y="24093"/>
                </a:cubicBezTo>
                <a:cubicBezTo>
                  <a:pt x="3719" y="24062"/>
                  <a:pt x="3656" y="24093"/>
                  <a:pt x="3656" y="24062"/>
                </a:cubicBezTo>
                <a:cubicBezTo>
                  <a:pt x="3625" y="24031"/>
                  <a:pt x="3625" y="23999"/>
                  <a:pt x="3656" y="23999"/>
                </a:cubicBezTo>
                <a:cubicBezTo>
                  <a:pt x="3688" y="23937"/>
                  <a:pt x="3750" y="23874"/>
                  <a:pt x="3781" y="23812"/>
                </a:cubicBezTo>
                <a:cubicBezTo>
                  <a:pt x="3813" y="23812"/>
                  <a:pt x="3844" y="23781"/>
                  <a:pt x="3844" y="23718"/>
                </a:cubicBezTo>
                <a:cubicBezTo>
                  <a:pt x="3781" y="23718"/>
                  <a:pt x="3750" y="23781"/>
                  <a:pt x="3781" y="23812"/>
                </a:cubicBezTo>
                <a:cubicBezTo>
                  <a:pt x="3750" y="23812"/>
                  <a:pt x="3719" y="23843"/>
                  <a:pt x="3719" y="23874"/>
                </a:cubicBezTo>
                <a:cubicBezTo>
                  <a:pt x="3688" y="23906"/>
                  <a:pt x="3625" y="23968"/>
                  <a:pt x="3594" y="24031"/>
                </a:cubicBezTo>
                <a:cubicBezTo>
                  <a:pt x="3531" y="24093"/>
                  <a:pt x="3438" y="23999"/>
                  <a:pt x="3344" y="24031"/>
                </a:cubicBezTo>
                <a:cubicBezTo>
                  <a:pt x="3406" y="23968"/>
                  <a:pt x="3469" y="23874"/>
                  <a:pt x="3563" y="23843"/>
                </a:cubicBezTo>
                <a:cubicBezTo>
                  <a:pt x="3500" y="23874"/>
                  <a:pt x="3469" y="23906"/>
                  <a:pt x="3500" y="23968"/>
                </a:cubicBezTo>
                <a:lnTo>
                  <a:pt x="3500" y="23968"/>
                </a:lnTo>
                <a:cubicBezTo>
                  <a:pt x="3563" y="23937"/>
                  <a:pt x="3563" y="23906"/>
                  <a:pt x="3563" y="23843"/>
                </a:cubicBezTo>
                <a:cubicBezTo>
                  <a:pt x="3594" y="23843"/>
                  <a:pt x="3625" y="23843"/>
                  <a:pt x="3656" y="23781"/>
                </a:cubicBezTo>
                <a:cubicBezTo>
                  <a:pt x="3656" y="23781"/>
                  <a:pt x="3688" y="23781"/>
                  <a:pt x="3688" y="23781"/>
                </a:cubicBezTo>
                <a:cubicBezTo>
                  <a:pt x="3719" y="23718"/>
                  <a:pt x="3719" y="23624"/>
                  <a:pt x="3813" y="23656"/>
                </a:cubicBezTo>
                <a:cubicBezTo>
                  <a:pt x="3906" y="23687"/>
                  <a:pt x="3969" y="23562"/>
                  <a:pt x="4063" y="23624"/>
                </a:cubicBezTo>
                <a:cubicBezTo>
                  <a:pt x="4063" y="23624"/>
                  <a:pt x="4063" y="23624"/>
                  <a:pt x="4063" y="23624"/>
                </a:cubicBezTo>
                <a:cubicBezTo>
                  <a:pt x="4031" y="23499"/>
                  <a:pt x="4156" y="23531"/>
                  <a:pt x="4188" y="23468"/>
                </a:cubicBezTo>
                <a:cubicBezTo>
                  <a:pt x="4219" y="23468"/>
                  <a:pt x="4219" y="23437"/>
                  <a:pt x="4219" y="23437"/>
                </a:cubicBezTo>
                <a:cubicBezTo>
                  <a:pt x="4188" y="23374"/>
                  <a:pt x="4188" y="23437"/>
                  <a:pt x="4156" y="23437"/>
                </a:cubicBezTo>
                <a:cubicBezTo>
                  <a:pt x="4125" y="23406"/>
                  <a:pt x="4063" y="23343"/>
                  <a:pt x="4000" y="23374"/>
                </a:cubicBezTo>
                <a:cubicBezTo>
                  <a:pt x="4063" y="23249"/>
                  <a:pt x="4094" y="23249"/>
                  <a:pt x="4156" y="23312"/>
                </a:cubicBezTo>
                <a:cubicBezTo>
                  <a:pt x="4125" y="23343"/>
                  <a:pt x="4125" y="23343"/>
                  <a:pt x="4125" y="23343"/>
                </a:cubicBezTo>
                <a:cubicBezTo>
                  <a:pt x="4125" y="23343"/>
                  <a:pt x="4125" y="23374"/>
                  <a:pt x="4125" y="23374"/>
                </a:cubicBezTo>
                <a:cubicBezTo>
                  <a:pt x="4156" y="23374"/>
                  <a:pt x="4156" y="23343"/>
                  <a:pt x="4156" y="23343"/>
                </a:cubicBezTo>
                <a:cubicBezTo>
                  <a:pt x="4156" y="23343"/>
                  <a:pt x="4156" y="23312"/>
                  <a:pt x="4156" y="23312"/>
                </a:cubicBezTo>
                <a:cubicBezTo>
                  <a:pt x="4188" y="23343"/>
                  <a:pt x="4219" y="23312"/>
                  <a:pt x="4250" y="23343"/>
                </a:cubicBezTo>
                <a:cubicBezTo>
                  <a:pt x="4281" y="23374"/>
                  <a:pt x="4281" y="23531"/>
                  <a:pt x="4250" y="23562"/>
                </a:cubicBezTo>
                <a:cubicBezTo>
                  <a:pt x="4156" y="23656"/>
                  <a:pt x="4094" y="23781"/>
                  <a:pt x="4000" y="23874"/>
                </a:cubicBezTo>
                <a:cubicBezTo>
                  <a:pt x="3938" y="23906"/>
                  <a:pt x="3906" y="23999"/>
                  <a:pt x="3844" y="24062"/>
                </a:cubicBezTo>
                <a:close/>
                <a:moveTo>
                  <a:pt x="3875" y="24187"/>
                </a:moveTo>
                <a:cubicBezTo>
                  <a:pt x="3938" y="24124"/>
                  <a:pt x="3969" y="24062"/>
                  <a:pt x="4031" y="23999"/>
                </a:cubicBezTo>
                <a:cubicBezTo>
                  <a:pt x="4156" y="23906"/>
                  <a:pt x="4219" y="23749"/>
                  <a:pt x="4313" y="23656"/>
                </a:cubicBezTo>
                <a:cubicBezTo>
                  <a:pt x="4313" y="23624"/>
                  <a:pt x="4344" y="23593"/>
                  <a:pt x="4375" y="23624"/>
                </a:cubicBezTo>
                <a:cubicBezTo>
                  <a:pt x="4375" y="23624"/>
                  <a:pt x="4375" y="23687"/>
                  <a:pt x="4375" y="23718"/>
                </a:cubicBezTo>
                <a:cubicBezTo>
                  <a:pt x="4281" y="23812"/>
                  <a:pt x="4219" y="23906"/>
                  <a:pt x="4125" y="23999"/>
                </a:cubicBezTo>
                <a:cubicBezTo>
                  <a:pt x="4063" y="24062"/>
                  <a:pt x="4000" y="24093"/>
                  <a:pt x="3969" y="24187"/>
                </a:cubicBezTo>
                <a:cubicBezTo>
                  <a:pt x="3969" y="24218"/>
                  <a:pt x="3906" y="24156"/>
                  <a:pt x="3875" y="24187"/>
                </a:cubicBezTo>
                <a:close/>
                <a:moveTo>
                  <a:pt x="4063" y="24624"/>
                </a:moveTo>
                <a:cubicBezTo>
                  <a:pt x="4063" y="24656"/>
                  <a:pt x="4031" y="24656"/>
                  <a:pt x="4000" y="24624"/>
                </a:cubicBezTo>
                <a:cubicBezTo>
                  <a:pt x="4000" y="24593"/>
                  <a:pt x="4000" y="24562"/>
                  <a:pt x="4031" y="24562"/>
                </a:cubicBezTo>
                <a:cubicBezTo>
                  <a:pt x="4094" y="24562"/>
                  <a:pt x="4094" y="24468"/>
                  <a:pt x="4156" y="24499"/>
                </a:cubicBezTo>
                <a:cubicBezTo>
                  <a:pt x="4125" y="24562"/>
                  <a:pt x="4094" y="24593"/>
                  <a:pt x="4063" y="24624"/>
                </a:cubicBezTo>
                <a:close/>
                <a:moveTo>
                  <a:pt x="4531" y="23968"/>
                </a:moveTo>
                <a:cubicBezTo>
                  <a:pt x="4531" y="23968"/>
                  <a:pt x="4531" y="23968"/>
                  <a:pt x="4531" y="23999"/>
                </a:cubicBezTo>
                <a:cubicBezTo>
                  <a:pt x="4531" y="24124"/>
                  <a:pt x="4406" y="24156"/>
                  <a:pt x="4344" y="24249"/>
                </a:cubicBezTo>
                <a:cubicBezTo>
                  <a:pt x="4313" y="24156"/>
                  <a:pt x="4406" y="24093"/>
                  <a:pt x="4406" y="23999"/>
                </a:cubicBezTo>
                <a:cubicBezTo>
                  <a:pt x="4344" y="24031"/>
                  <a:pt x="4313" y="24062"/>
                  <a:pt x="4250" y="24093"/>
                </a:cubicBezTo>
                <a:cubicBezTo>
                  <a:pt x="4219" y="24093"/>
                  <a:pt x="4188" y="24093"/>
                  <a:pt x="4188" y="24093"/>
                </a:cubicBezTo>
                <a:cubicBezTo>
                  <a:pt x="4156" y="24062"/>
                  <a:pt x="4188" y="24031"/>
                  <a:pt x="4188" y="24031"/>
                </a:cubicBezTo>
                <a:cubicBezTo>
                  <a:pt x="4219" y="23906"/>
                  <a:pt x="4313" y="23843"/>
                  <a:pt x="4406" y="23749"/>
                </a:cubicBezTo>
                <a:cubicBezTo>
                  <a:pt x="4406" y="23718"/>
                  <a:pt x="4438" y="23687"/>
                  <a:pt x="4469" y="23656"/>
                </a:cubicBezTo>
                <a:cubicBezTo>
                  <a:pt x="4469" y="23656"/>
                  <a:pt x="4469" y="23593"/>
                  <a:pt x="4531" y="23593"/>
                </a:cubicBezTo>
                <a:cubicBezTo>
                  <a:pt x="4563" y="23593"/>
                  <a:pt x="4563" y="23656"/>
                  <a:pt x="4594" y="23687"/>
                </a:cubicBezTo>
                <a:cubicBezTo>
                  <a:pt x="4625" y="23687"/>
                  <a:pt x="4594" y="23749"/>
                  <a:pt x="4563" y="23749"/>
                </a:cubicBezTo>
                <a:cubicBezTo>
                  <a:pt x="4469" y="23812"/>
                  <a:pt x="4469" y="23906"/>
                  <a:pt x="4406" y="23968"/>
                </a:cubicBezTo>
                <a:cubicBezTo>
                  <a:pt x="4375" y="23999"/>
                  <a:pt x="4375" y="23999"/>
                  <a:pt x="4406" y="23999"/>
                </a:cubicBezTo>
                <a:cubicBezTo>
                  <a:pt x="4438" y="23999"/>
                  <a:pt x="4531" y="23937"/>
                  <a:pt x="4531" y="23906"/>
                </a:cubicBezTo>
                <a:cubicBezTo>
                  <a:pt x="4563" y="23843"/>
                  <a:pt x="4563" y="23812"/>
                  <a:pt x="4625" y="23781"/>
                </a:cubicBezTo>
                <a:cubicBezTo>
                  <a:pt x="4656" y="23781"/>
                  <a:pt x="4656" y="23749"/>
                  <a:pt x="4656" y="23718"/>
                </a:cubicBezTo>
                <a:cubicBezTo>
                  <a:pt x="4656" y="23687"/>
                  <a:pt x="4688" y="23656"/>
                  <a:pt x="4719" y="23656"/>
                </a:cubicBezTo>
                <a:cubicBezTo>
                  <a:pt x="4750" y="23687"/>
                  <a:pt x="4781" y="23749"/>
                  <a:pt x="4750" y="23749"/>
                </a:cubicBezTo>
                <a:cubicBezTo>
                  <a:pt x="4656" y="23812"/>
                  <a:pt x="4656" y="23937"/>
                  <a:pt x="4531" y="23968"/>
                </a:cubicBezTo>
                <a:close/>
                <a:moveTo>
                  <a:pt x="4750" y="25062"/>
                </a:moveTo>
                <a:cubicBezTo>
                  <a:pt x="4750" y="25062"/>
                  <a:pt x="4719" y="25062"/>
                  <a:pt x="4719" y="25062"/>
                </a:cubicBezTo>
                <a:cubicBezTo>
                  <a:pt x="4719" y="25124"/>
                  <a:pt x="4688" y="25124"/>
                  <a:pt x="4656" y="25124"/>
                </a:cubicBezTo>
                <a:cubicBezTo>
                  <a:pt x="4625" y="25093"/>
                  <a:pt x="4656" y="25062"/>
                  <a:pt x="4625" y="25062"/>
                </a:cubicBezTo>
                <a:cubicBezTo>
                  <a:pt x="4656" y="25031"/>
                  <a:pt x="4625" y="24999"/>
                  <a:pt x="4688" y="24968"/>
                </a:cubicBezTo>
                <a:cubicBezTo>
                  <a:pt x="4719" y="24968"/>
                  <a:pt x="4719" y="24968"/>
                  <a:pt x="4750" y="24968"/>
                </a:cubicBezTo>
                <a:cubicBezTo>
                  <a:pt x="4781" y="24999"/>
                  <a:pt x="4781" y="25031"/>
                  <a:pt x="4750" y="25062"/>
                </a:cubicBezTo>
                <a:close/>
                <a:moveTo>
                  <a:pt x="4781" y="23624"/>
                </a:moveTo>
                <a:cubicBezTo>
                  <a:pt x="4750" y="23593"/>
                  <a:pt x="4750" y="23562"/>
                  <a:pt x="4781" y="23531"/>
                </a:cubicBezTo>
                <a:cubicBezTo>
                  <a:pt x="4781" y="23531"/>
                  <a:pt x="4813" y="23531"/>
                  <a:pt x="4813" y="23531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13" y="23499"/>
                  <a:pt x="4813" y="23499"/>
                  <a:pt x="4813" y="23499"/>
                </a:cubicBezTo>
                <a:cubicBezTo>
                  <a:pt x="4844" y="23499"/>
                  <a:pt x="4875" y="23499"/>
                  <a:pt x="4875" y="23468"/>
                </a:cubicBezTo>
                <a:cubicBezTo>
                  <a:pt x="4875" y="23468"/>
                  <a:pt x="4844" y="23437"/>
                  <a:pt x="4813" y="23437"/>
                </a:cubicBezTo>
                <a:cubicBezTo>
                  <a:pt x="4813" y="23374"/>
                  <a:pt x="4844" y="23374"/>
                  <a:pt x="4875" y="23343"/>
                </a:cubicBezTo>
                <a:cubicBezTo>
                  <a:pt x="4875" y="23343"/>
                  <a:pt x="4875" y="23312"/>
                  <a:pt x="4938" y="23312"/>
                </a:cubicBezTo>
                <a:cubicBezTo>
                  <a:pt x="4938" y="23281"/>
                  <a:pt x="4938" y="23281"/>
                  <a:pt x="4938" y="23281"/>
                </a:cubicBezTo>
                <a:cubicBezTo>
                  <a:pt x="4938" y="23281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12"/>
                  <a:pt x="4938" y="23312"/>
                  <a:pt x="4938" y="23312"/>
                </a:cubicBezTo>
                <a:cubicBezTo>
                  <a:pt x="4938" y="23343"/>
                  <a:pt x="4906" y="23343"/>
                  <a:pt x="4875" y="23374"/>
                </a:cubicBezTo>
                <a:lnTo>
                  <a:pt x="4875" y="23374"/>
                </a:lnTo>
                <a:cubicBezTo>
                  <a:pt x="4875" y="23406"/>
                  <a:pt x="4875" y="23437"/>
                  <a:pt x="4813" y="23437"/>
                </a:cubicBezTo>
                <a:cubicBezTo>
                  <a:pt x="4781" y="23468"/>
                  <a:pt x="4719" y="23499"/>
                  <a:pt x="4719" y="23562"/>
                </a:cubicBezTo>
                <a:cubicBezTo>
                  <a:pt x="4688" y="23624"/>
                  <a:pt x="4625" y="23624"/>
                  <a:pt x="4594" y="23593"/>
                </a:cubicBezTo>
                <a:cubicBezTo>
                  <a:pt x="4563" y="23562"/>
                  <a:pt x="4563" y="23499"/>
                  <a:pt x="4594" y="23468"/>
                </a:cubicBezTo>
                <a:cubicBezTo>
                  <a:pt x="4625" y="23406"/>
                  <a:pt x="4688" y="23374"/>
                  <a:pt x="4719" y="23312"/>
                </a:cubicBezTo>
                <a:cubicBezTo>
                  <a:pt x="4781" y="23249"/>
                  <a:pt x="4844" y="23187"/>
                  <a:pt x="4875" y="23156"/>
                </a:cubicBezTo>
                <a:cubicBezTo>
                  <a:pt x="4906" y="23124"/>
                  <a:pt x="4938" y="23124"/>
                  <a:pt x="4938" y="23093"/>
                </a:cubicBezTo>
                <a:cubicBezTo>
                  <a:pt x="4938" y="23124"/>
                  <a:pt x="4906" y="23124"/>
                  <a:pt x="4875" y="23156"/>
                </a:cubicBezTo>
                <a:cubicBezTo>
                  <a:pt x="4938" y="23156"/>
                  <a:pt x="5000" y="23093"/>
                  <a:pt x="5000" y="23187"/>
                </a:cubicBezTo>
                <a:cubicBezTo>
                  <a:pt x="4969" y="23187"/>
                  <a:pt x="4969" y="23218"/>
                  <a:pt x="4969" y="23281"/>
                </a:cubicBezTo>
                <a:cubicBezTo>
                  <a:pt x="5000" y="23249"/>
                  <a:pt x="5000" y="23218"/>
                  <a:pt x="5000" y="23187"/>
                </a:cubicBezTo>
                <a:cubicBezTo>
                  <a:pt x="5031" y="23187"/>
                  <a:pt x="5031" y="23187"/>
                  <a:pt x="5031" y="23187"/>
                </a:cubicBezTo>
                <a:cubicBezTo>
                  <a:pt x="5031" y="23156"/>
                  <a:pt x="5031" y="23124"/>
                  <a:pt x="5031" y="23124"/>
                </a:cubicBezTo>
                <a:cubicBezTo>
                  <a:pt x="5031" y="23124"/>
                  <a:pt x="5031" y="23156"/>
                  <a:pt x="5031" y="23187"/>
                </a:cubicBezTo>
                <a:cubicBezTo>
                  <a:pt x="5125" y="23093"/>
                  <a:pt x="5188" y="22999"/>
                  <a:pt x="5313" y="22999"/>
                </a:cubicBezTo>
                <a:cubicBezTo>
                  <a:pt x="5188" y="23156"/>
                  <a:pt x="5094" y="23312"/>
                  <a:pt x="4969" y="23437"/>
                </a:cubicBezTo>
                <a:cubicBezTo>
                  <a:pt x="4938" y="23468"/>
                  <a:pt x="4906" y="23499"/>
                  <a:pt x="4875" y="23562"/>
                </a:cubicBezTo>
                <a:cubicBezTo>
                  <a:pt x="4875" y="23593"/>
                  <a:pt x="4844" y="23624"/>
                  <a:pt x="4781" y="23624"/>
                </a:cubicBezTo>
                <a:close/>
                <a:moveTo>
                  <a:pt x="4938" y="23781"/>
                </a:moveTo>
                <a:cubicBezTo>
                  <a:pt x="4906" y="23843"/>
                  <a:pt x="4875" y="23874"/>
                  <a:pt x="4844" y="23906"/>
                </a:cubicBezTo>
                <a:cubicBezTo>
                  <a:pt x="4844" y="23843"/>
                  <a:pt x="4844" y="23843"/>
                  <a:pt x="4938" y="23781"/>
                </a:cubicBezTo>
                <a:close/>
                <a:moveTo>
                  <a:pt x="4906" y="24906"/>
                </a:moveTo>
                <a:cubicBezTo>
                  <a:pt x="4875" y="24906"/>
                  <a:pt x="4906" y="24843"/>
                  <a:pt x="4875" y="24843"/>
                </a:cubicBezTo>
                <a:cubicBezTo>
                  <a:pt x="4875" y="24781"/>
                  <a:pt x="4906" y="24749"/>
                  <a:pt x="4938" y="24718"/>
                </a:cubicBezTo>
                <a:cubicBezTo>
                  <a:pt x="4969" y="24718"/>
                  <a:pt x="5031" y="24749"/>
                  <a:pt x="5031" y="24781"/>
                </a:cubicBezTo>
                <a:cubicBezTo>
                  <a:pt x="5000" y="24843"/>
                  <a:pt x="4969" y="24874"/>
                  <a:pt x="4906" y="24906"/>
                </a:cubicBezTo>
                <a:close/>
                <a:moveTo>
                  <a:pt x="5250" y="24624"/>
                </a:moveTo>
                <a:cubicBezTo>
                  <a:pt x="5250" y="24656"/>
                  <a:pt x="5188" y="24687"/>
                  <a:pt x="5156" y="24718"/>
                </a:cubicBezTo>
                <a:cubicBezTo>
                  <a:pt x="5094" y="24687"/>
                  <a:pt x="5125" y="24624"/>
                  <a:pt x="5063" y="24624"/>
                </a:cubicBezTo>
                <a:cubicBezTo>
                  <a:pt x="5094" y="24593"/>
                  <a:pt x="5125" y="24562"/>
                  <a:pt x="5188" y="24562"/>
                </a:cubicBezTo>
                <a:cubicBezTo>
                  <a:pt x="5188" y="24562"/>
                  <a:pt x="5250" y="24562"/>
                  <a:pt x="5250" y="24624"/>
                </a:cubicBezTo>
                <a:close/>
                <a:moveTo>
                  <a:pt x="5188" y="24281"/>
                </a:moveTo>
                <a:cubicBezTo>
                  <a:pt x="5156" y="24281"/>
                  <a:pt x="5156" y="24249"/>
                  <a:pt x="5156" y="24218"/>
                </a:cubicBezTo>
                <a:cubicBezTo>
                  <a:pt x="5188" y="24187"/>
                  <a:pt x="5219" y="24218"/>
                  <a:pt x="5281" y="24187"/>
                </a:cubicBezTo>
                <a:cubicBezTo>
                  <a:pt x="5250" y="24249"/>
                  <a:pt x="5219" y="24281"/>
                  <a:pt x="5188" y="24281"/>
                </a:cubicBezTo>
                <a:close/>
                <a:moveTo>
                  <a:pt x="5375" y="24499"/>
                </a:moveTo>
                <a:cubicBezTo>
                  <a:pt x="5344" y="24499"/>
                  <a:pt x="5313" y="24468"/>
                  <a:pt x="5281" y="24437"/>
                </a:cubicBezTo>
                <a:cubicBezTo>
                  <a:pt x="5281" y="24406"/>
                  <a:pt x="5406" y="24281"/>
                  <a:pt x="5438" y="24312"/>
                </a:cubicBezTo>
                <a:cubicBezTo>
                  <a:pt x="5469" y="24312"/>
                  <a:pt x="5438" y="24374"/>
                  <a:pt x="5531" y="24406"/>
                </a:cubicBezTo>
                <a:cubicBezTo>
                  <a:pt x="5469" y="24437"/>
                  <a:pt x="5438" y="24499"/>
                  <a:pt x="5375" y="24499"/>
                </a:cubicBezTo>
                <a:close/>
                <a:moveTo>
                  <a:pt x="5938" y="24093"/>
                </a:moveTo>
                <a:cubicBezTo>
                  <a:pt x="5906" y="24124"/>
                  <a:pt x="5906" y="24156"/>
                  <a:pt x="5844" y="24187"/>
                </a:cubicBezTo>
                <a:cubicBezTo>
                  <a:pt x="5844" y="24124"/>
                  <a:pt x="5844" y="24124"/>
                  <a:pt x="5844" y="24093"/>
                </a:cubicBezTo>
                <a:cubicBezTo>
                  <a:pt x="5844" y="24062"/>
                  <a:pt x="5844" y="24062"/>
                  <a:pt x="5813" y="24062"/>
                </a:cubicBezTo>
                <a:cubicBezTo>
                  <a:pt x="5781" y="24062"/>
                  <a:pt x="5813" y="24093"/>
                  <a:pt x="5813" y="24093"/>
                </a:cubicBezTo>
                <a:cubicBezTo>
                  <a:pt x="5813" y="24187"/>
                  <a:pt x="5750" y="24187"/>
                  <a:pt x="5688" y="24156"/>
                </a:cubicBezTo>
                <a:cubicBezTo>
                  <a:pt x="5656" y="24218"/>
                  <a:pt x="5719" y="24218"/>
                  <a:pt x="5719" y="24249"/>
                </a:cubicBezTo>
                <a:cubicBezTo>
                  <a:pt x="5719" y="24281"/>
                  <a:pt x="5688" y="24281"/>
                  <a:pt x="5688" y="24281"/>
                </a:cubicBezTo>
                <a:cubicBezTo>
                  <a:pt x="5656" y="24312"/>
                  <a:pt x="5625" y="24374"/>
                  <a:pt x="5594" y="24312"/>
                </a:cubicBezTo>
                <a:cubicBezTo>
                  <a:pt x="5563" y="24281"/>
                  <a:pt x="5500" y="24187"/>
                  <a:pt x="5594" y="24156"/>
                </a:cubicBezTo>
                <a:cubicBezTo>
                  <a:pt x="5688" y="24124"/>
                  <a:pt x="5750" y="24062"/>
                  <a:pt x="5813" y="23968"/>
                </a:cubicBezTo>
                <a:cubicBezTo>
                  <a:pt x="5844" y="23937"/>
                  <a:pt x="5906" y="23937"/>
                  <a:pt x="5938" y="23968"/>
                </a:cubicBezTo>
                <a:cubicBezTo>
                  <a:pt x="5938" y="23999"/>
                  <a:pt x="6031" y="24062"/>
                  <a:pt x="5938" y="24093"/>
                </a:cubicBezTo>
                <a:close/>
                <a:moveTo>
                  <a:pt x="6000" y="23343"/>
                </a:moveTo>
                <a:cubicBezTo>
                  <a:pt x="6000" y="23406"/>
                  <a:pt x="5906" y="23374"/>
                  <a:pt x="5875" y="23406"/>
                </a:cubicBezTo>
                <a:cubicBezTo>
                  <a:pt x="5844" y="23437"/>
                  <a:pt x="5875" y="23406"/>
                  <a:pt x="5875" y="23406"/>
                </a:cubicBezTo>
                <a:cubicBezTo>
                  <a:pt x="5844" y="23374"/>
                  <a:pt x="5844" y="23343"/>
                  <a:pt x="5875" y="23312"/>
                </a:cubicBezTo>
                <a:cubicBezTo>
                  <a:pt x="5906" y="23249"/>
                  <a:pt x="5969" y="23187"/>
                  <a:pt x="6031" y="23187"/>
                </a:cubicBezTo>
                <a:cubicBezTo>
                  <a:pt x="6063" y="23156"/>
                  <a:pt x="6094" y="23156"/>
                  <a:pt x="6125" y="23187"/>
                </a:cubicBezTo>
                <a:cubicBezTo>
                  <a:pt x="6156" y="23218"/>
                  <a:pt x="6156" y="23249"/>
                  <a:pt x="6125" y="23281"/>
                </a:cubicBezTo>
                <a:cubicBezTo>
                  <a:pt x="6125" y="23312"/>
                  <a:pt x="6094" y="23343"/>
                  <a:pt x="6063" y="23343"/>
                </a:cubicBezTo>
                <a:cubicBezTo>
                  <a:pt x="6031" y="23312"/>
                  <a:pt x="6031" y="23312"/>
                  <a:pt x="6000" y="23343"/>
                </a:cubicBezTo>
                <a:close/>
                <a:moveTo>
                  <a:pt x="6438" y="23781"/>
                </a:moveTo>
                <a:cubicBezTo>
                  <a:pt x="6438" y="23781"/>
                  <a:pt x="6406" y="23874"/>
                  <a:pt x="6344" y="23843"/>
                </a:cubicBezTo>
                <a:cubicBezTo>
                  <a:pt x="6344" y="23843"/>
                  <a:pt x="6344" y="23812"/>
                  <a:pt x="6344" y="23812"/>
                </a:cubicBezTo>
                <a:cubicBezTo>
                  <a:pt x="6344" y="23781"/>
                  <a:pt x="6344" y="23749"/>
                  <a:pt x="6313" y="23749"/>
                </a:cubicBezTo>
                <a:cubicBezTo>
                  <a:pt x="6313" y="23749"/>
                  <a:pt x="6281" y="23781"/>
                  <a:pt x="6281" y="23781"/>
                </a:cubicBezTo>
                <a:cubicBezTo>
                  <a:pt x="6281" y="23874"/>
                  <a:pt x="6219" y="23843"/>
                  <a:pt x="6125" y="23812"/>
                </a:cubicBezTo>
                <a:cubicBezTo>
                  <a:pt x="6313" y="23968"/>
                  <a:pt x="6125" y="23968"/>
                  <a:pt x="6094" y="24031"/>
                </a:cubicBezTo>
                <a:cubicBezTo>
                  <a:pt x="6063" y="23999"/>
                  <a:pt x="6063" y="23999"/>
                  <a:pt x="6063" y="23968"/>
                </a:cubicBezTo>
                <a:cubicBezTo>
                  <a:pt x="6000" y="23812"/>
                  <a:pt x="6031" y="23781"/>
                  <a:pt x="6219" y="23749"/>
                </a:cubicBezTo>
                <a:cubicBezTo>
                  <a:pt x="6250" y="23718"/>
                  <a:pt x="6281" y="23687"/>
                  <a:pt x="6281" y="23656"/>
                </a:cubicBezTo>
                <a:cubicBezTo>
                  <a:pt x="6313" y="23593"/>
                  <a:pt x="6344" y="23593"/>
                  <a:pt x="6406" y="23593"/>
                </a:cubicBezTo>
                <a:cubicBezTo>
                  <a:pt x="6406" y="23656"/>
                  <a:pt x="6469" y="23718"/>
                  <a:pt x="6438" y="23781"/>
                </a:cubicBezTo>
                <a:close/>
                <a:moveTo>
                  <a:pt x="6469" y="23312"/>
                </a:moveTo>
                <a:cubicBezTo>
                  <a:pt x="6438" y="23312"/>
                  <a:pt x="6438" y="23281"/>
                  <a:pt x="6469" y="23249"/>
                </a:cubicBezTo>
                <a:cubicBezTo>
                  <a:pt x="6500" y="23187"/>
                  <a:pt x="6531" y="23218"/>
                  <a:pt x="6594" y="23249"/>
                </a:cubicBezTo>
                <a:cubicBezTo>
                  <a:pt x="6531" y="23281"/>
                  <a:pt x="6531" y="23343"/>
                  <a:pt x="6469" y="23312"/>
                </a:cubicBezTo>
                <a:close/>
                <a:moveTo>
                  <a:pt x="6813" y="23593"/>
                </a:moveTo>
                <a:cubicBezTo>
                  <a:pt x="6813" y="23562"/>
                  <a:pt x="6813" y="23531"/>
                  <a:pt x="6813" y="23468"/>
                </a:cubicBezTo>
                <a:cubicBezTo>
                  <a:pt x="6781" y="23562"/>
                  <a:pt x="6719" y="23593"/>
                  <a:pt x="6656" y="23531"/>
                </a:cubicBezTo>
                <a:cubicBezTo>
                  <a:pt x="6656" y="23562"/>
                  <a:pt x="6656" y="23562"/>
                  <a:pt x="6656" y="23593"/>
                </a:cubicBezTo>
                <a:cubicBezTo>
                  <a:pt x="6656" y="23624"/>
                  <a:pt x="6719" y="23624"/>
                  <a:pt x="6688" y="23656"/>
                </a:cubicBezTo>
                <a:cubicBezTo>
                  <a:pt x="6656" y="23687"/>
                  <a:pt x="6625" y="23718"/>
                  <a:pt x="6563" y="23718"/>
                </a:cubicBezTo>
                <a:cubicBezTo>
                  <a:pt x="6531" y="23718"/>
                  <a:pt x="6563" y="23656"/>
                  <a:pt x="6531" y="23656"/>
                </a:cubicBezTo>
                <a:cubicBezTo>
                  <a:pt x="6500" y="23499"/>
                  <a:pt x="6469" y="23468"/>
                  <a:pt x="6625" y="23437"/>
                </a:cubicBezTo>
                <a:cubicBezTo>
                  <a:pt x="6688" y="23406"/>
                  <a:pt x="6750" y="23343"/>
                  <a:pt x="6813" y="23312"/>
                </a:cubicBezTo>
                <a:cubicBezTo>
                  <a:pt x="6844" y="23281"/>
                  <a:pt x="6875" y="23249"/>
                  <a:pt x="6875" y="23343"/>
                </a:cubicBezTo>
                <a:cubicBezTo>
                  <a:pt x="6875" y="23343"/>
                  <a:pt x="6875" y="23374"/>
                  <a:pt x="6906" y="23374"/>
                </a:cubicBezTo>
                <a:cubicBezTo>
                  <a:pt x="6969" y="23468"/>
                  <a:pt x="6938" y="23531"/>
                  <a:pt x="6813" y="23593"/>
                </a:cubicBezTo>
                <a:close/>
                <a:moveTo>
                  <a:pt x="7313" y="23374"/>
                </a:moveTo>
                <a:cubicBezTo>
                  <a:pt x="7313" y="23312"/>
                  <a:pt x="7313" y="23281"/>
                  <a:pt x="7313" y="23218"/>
                </a:cubicBezTo>
                <a:cubicBezTo>
                  <a:pt x="7250" y="23312"/>
                  <a:pt x="7219" y="23343"/>
                  <a:pt x="7094" y="23281"/>
                </a:cubicBezTo>
                <a:cubicBezTo>
                  <a:pt x="7250" y="23437"/>
                  <a:pt x="7094" y="23437"/>
                  <a:pt x="7063" y="23468"/>
                </a:cubicBezTo>
                <a:cubicBezTo>
                  <a:pt x="7031" y="23406"/>
                  <a:pt x="7031" y="23374"/>
                  <a:pt x="7000" y="23343"/>
                </a:cubicBezTo>
                <a:cubicBezTo>
                  <a:pt x="7000" y="23281"/>
                  <a:pt x="6969" y="23187"/>
                  <a:pt x="7063" y="23156"/>
                </a:cubicBezTo>
                <a:cubicBezTo>
                  <a:pt x="7156" y="23124"/>
                  <a:pt x="7250" y="23062"/>
                  <a:pt x="7313" y="23031"/>
                </a:cubicBezTo>
                <a:cubicBezTo>
                  <a:pt x="7344" y="22999"/>
                  <a:pt x="7344" y="23031"/>
                  <a:pt x="7375" y="23062"/>
                </a:cubicBezTo>
                <a:cubicBezTo>
                  <a:pt x="7406" y="23124"/>
                  <a:pt x="7406" y="23218"/>
                  <a:pt x="7406" y="23281"/>
                </a:cubicBezTo>
                <a:cubicBezTo>
                  <a:pt x="7438" y="23312"/>
                  <a:pt x="7344" y="23343"/>
                  <a:pt x="7313" y="23374"/>
                </a:cubicBezTo>
                <a:close/>
                <a:moveTo>
                  <a:pt x="7406" y="22093"/>
                </a:moveTo>
                <a:cubicBezTo>
                  <a:pt x="7375" y="22093"/>
                  <a:pt x="7344" y="22156"/>
                  <a:pt x="7313" y="22124"/>
                </a:cubicBezTo>
                <a:cubicBezTo>
                  <a:pt x="7281" y="22093"/>
                  <a:pt x="7281" y="22062"/>
                  <a:pt x="7281" y="21999"/>
                </a:cubicBezTo>
                <a:cubicBezTo>
                  <a:pt x="7281" y="21874"/>
                  <a:pt x="7469" y="21749"/>
                  <a:pt x="7594" y="21781"/>
                </a:cubicBezTo>
                <a:cubicBezTo>
                  <a:pt x="7594" y="21781"/>
                  <a:pt x="7625" y="21781"/>
                  <a:pt x="7625" y="21812"/>
                </a:cubicBezTo>
                <a:cubicBezTo>
                  <a:pt x="7563" y="21874"/>
                  <a:pt x="7594" y="21937"/>
                  <a:pt x="7594" y="21968"/>
                </a:cubicBezTo>
                <a:cubicBezTo>
                  <a:pt x="7594" y="22062"/>
                  <a:pt x="7500" y="22031"/>
                  <a:pt x="7469" y="22062"/>
                </a:cubicBezTo>
                <a:cubicBezTo>
                  <a:pt x="7438" y="22093"/>
                  <a:pt x="7406" y="22093"/>
                  <a:pt x="7406" y="22093"/>
                </a:cubicBezTo>
                <a:close/>
                <a:moveTo>
                  <a:pt x="7500" y="22562"/>
                </a:moveTo>
                <a:cubicBezTo>
                  <a:pt x="7469" y="22531"/>
                  <a:pt x="7500" y="22499"/>
                  <a:pt x="7500" y="22468"/>
                </a:cubicBezTo>
                <a:cubicBezTo>
                  <a:pt x="7500" y="22468"/>
                  <a:pt x="7531" y="22468"/>
                  <a:pt x="7531" y="22499"/>
                </a:cubicBezTo>
                <a:cubicBezTo>
                  <a:pt x="7563" y="22531"/>
                  <a:pt x="7594" y="22531"/>
                  <a:pt x="7594" y="22562"/>
                </a:cubicBezTo>
                <a:cubicBezTo>
                  <a:pt x="7563" y="22593"/>
                  <a:pt x="7531" y="22562"/>
                  <a:pt x="7500" y="22562"/>
                </a:cubicBezTo>
                <a:close/>
                <a:moveTo>
                  <a:pt x="7688" y="22531"/>
                </a:moveTo>
                <a:cubicBezTo>
                  <a:pt x="7688" y="22531"/>
                  <a:pt x="7688" y="22531"/>
                  <a:pt x="7688" y="22531"/>
                </a:cubicBezTo>
                <a:cubicBezTo>
                  <a:pt x="7656" y="22593"/>
                  <a:pt x="7563" y="22624"/>
                  <a:pt x="7500" y="22593"/>
                </a:cubicBezTo>
                <a:cubicBezTo>
                  <a:pt x="7563" y="22624"/>
                  <a:pt x="7656" y="22593"/>
                  <a:pt x="7688" y="22531"/>
                </a:cubicBezTo>
                <a:close/>
                <a:moveTo>
                  <a:pt x="7750" y="23093"/>
                </a:moveTo>
                <a:cubicBezTo>
                  <a:pt x="7750" y="23124"/>
                  <a:pt x="7719" y="23124"/>
                  <a:pt x="7719" y="23124"/>
                </a:cubicBezTo>
                <a:cubicBezTo>
                  <a:pt x="7688" y="23156"/>
                  <a:pt x="7656" y="23062"/>
                  <a:pt x="7656" y="23093"/>
                </a:cubicBezTo>
                <a:cubicBezTo>
                  <a:pt x="7625" y="23124"/>
                  <a:pt x="7625" y="23124"/>
                  <a:pt x="7656" y="23124"/>
                </a:cubicBezTo>
                <a:cubicBezTo>
                  <a:pt x="7656" y="23156"/>
                  <a:pt x="7688" y="23187"/>
                  <a:pt x="7656" y="23218"/>
                </a:cubicBezTo>
                <a:cubicBezTo>
                  <a:pt x="7625" y="23218"/>
                  <a:pt x="7594" y="23218"/>
                  <a:pt x="7563" y="23249"/>
                </a:cubicBezTo>
                <a:cubicBezTo>
                  <a:pt x="7531" y="23249"/>
                  <a:pt x="7531" y="23218"/>
                  <a:pt x="7531" y="23218"/>
                </a:cubicBezTo>
                <a:cubicBezTo>
                  <a:pt x="7594" y="23156"/>
                  <a:pt x="7531" y="23062"/>
                  <a:pt x="7531" y="22968"/>
                </a:cubicBezTo>
                <a:cubicBezTo>
                  <a:pt x="7563" y="22937"/>
                  <a:pt x="7563" y="22874"/>
                  <a:pt x="7625" y="22874"/>
                </a:cubicBezTo>
                <a:cubicBezTo>
                  <a:pt x="7656" y="22874"/>
                  <a:pt x="7625" y="22937"/>
                  <a:pt x="7656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99"/>
                  <a:pt x="7688" y="22999"/>
                </a:cubicBezTo>
                <a:cubicBezTo>
                  <a:pt x="7719" y="23031"/>
                  <a:pt x="7719" y="23062"/>
                  <a:pt x="7719" y="23124"/>
                </a:cubicBezTo>
                <a:cubicBezTo>
                  <a:pt x="7719" y="23124"/>
                  <a:pt x="7750" y="23124"/>
                  <a:pt x="7750" y="23093"/>
                </a:cubicBezTo>
                <a:cubicBezTo>
                  <a:pt x="7750" y="23093"/>
                  <a:pt x="7750" y="23093"/>
                  <a:pt x="7750" y="23093"/>
                </a:cubicBezTo>
                <a:close/>
                <a:moveTo>
                  <a:pt x="7781" y="23156"/>
                </a:moveTo>
                <a:cubicBezTo>
                  <a:pt x="7781" y="23124"/>
                  <a:pt x="7781" y="23062"/>
                  <a:pt x="7781" y="23031"/>
                </a:cubicBezTo>
                <a:cubicBezTo>
                  <a:pt x="7750" y="23031"/>
                  <a:pt x="7750" y="23093"/>
                  <a:pt x="7750" y="23093"/>
                </a:cubicBezTo>
                <a:cubicBezTo>
                  <a:pt x="7719" y="23062"/>
                  <a:pt x="7750" y="22999"/>
                  <a:pt x="7688" y="22968"/>
                </a:cubicBezTo>
                <a:cubicBezTo>
                  <a:pt x="7688" y="22968"/>
                  <a:pt x="7688" y="22999"/>
                  <a:pt x="7688" y="22999"/>
                </a:cubicBezTo>
                <a:cubicBezTo>
                  <a:pt x="7688" y="22999"/>
                  <a:pt x="7688" y="22968"/>
                  <a:pt x="7688" y="22968"/>
                </a:cubicBezTo>
                <a:cubicBezTo>
                  <a:pt x="7688" y="22968"/>
                  <a:pt x="7688" y="22968"/>
                  <a:pt x="7688" y="22937"/>
                </a:cubicBezTo>
                <a:cubicBezTo>
                  <a:pt x="7719" y="22937"/>
                  <a:pt x="7719" y="22906"/>
                  <a:pt x="7688" y="22906"/>
                </a:cubicBezTo>
                <a:cubicBezTo>
                  <a:pt x="7688" y="22874"/>
                  <a:pt x="7719" y="22874"/>
                  <a:pt x="7719" y="22874"/>
                </a:cubicBezTo>
                <a:cubicBezTo>
                  <a:pt x="7750" y="22843"/>
                  <a:pt x="7813" y="22906"/>
                  <a:pt x="7813" y="22812"/>
                </a:cubicBezTo>
                <a:cubicBezTo>
                  <a:pt x="7875" y="22812"/>
                  <a:pt x="7875" y="22874"/>
                  <a:pt x="7875" y="22937"/>
                </a:cubicBezTo>
                <a:cubicBezTo>
                  <a:pt x="7938" y="23093"/>
                  <a:pt x="7938" y="23093"/>
                  <a:pt x="7781" y="23156"/>
                </a:cubicBezTo>
                <a:close/>
                <a:moveTo>
                  <a:pt x="7938" y="22187"/>
                </a:moveTo>
                <a:cubicBezTo>
                  <a:pt x="7938" y="22187"/>
                  <a:pt x="7938" y="22218"/>
                  <a:pt x="7938" y="22249"/>
                </a:cubicBezTo>
                <a:cubicBezTo>
                  <a:pt x="7938" y="22218"/>
                  <a:pt x="7938" y="22187"/>
                  <a:pt x="7938" y="22187"/>
                </a:cubicBezTo>
                <a:close/>
                <a:moveTo>
                  <a:pt x="7938" y="22156"/>
                </a:moveTo>
                <a:cubicBezTo>
                  <a:pt x="7906" y="22062"/>
                  <a:pt x="7938" y="22031"/>
                  <a:pt x="8031" y="21999"/>
                </a:cubicBezTo>
                <a:cubicBezTo>
                  <a:pt x="8094" y="21968"/>
                  <a:pt x="8156" y="21999"/>
                  <a:pt x="8219" y="21906"/>
                </a:cubicBezTo>
                <a:cubicBezTo>
                  <a:pt x="8219" y="21906"/>
                  <a:pt x="8281" y="21906"/>
                  <a:pt x="8313" y="21937"/>
                </a:cubicBezTo>
                <a:cubicBezTo>
                  <a:pt x="8344" y="21937"/>
                  <a:pt x="8344" y="21968"/>
                  <a:pt x="8313" y="21999"/>
                </a:cubicBezTo>
                <a:cubicBezTo>
                  <a:pt x="8281" y="22062"/>
                  <a:pt x="8313" y="22124"/>
                  <a:pt x="8344" y="22187"/>
                </a:cubicBezTo>
                <a:cubicBezTo>
                  <a:pt x="8375" y="22249"/>
                  <a:pt x="8313" y="22281"/>
                  <a:pt x="8313" y="22312"/>
                </a:cubicBezTo>
                <a:cubicBezTo>
                  <a:pt x="8313" y="22343"/>
                  <a:pt x="8313" y="22343"/>
                  <a:pt x="8281" y="22343"/>
                </a:cubicBezTo>
                <a:cubicBezTo>
                  <a:pt x="8219" y="22343"/>
                  <a:pt x="8156" y="22374"/>
                  <a:pt x="8063" y="22406"/>
                </a:cubicBezTo>
                <a:cubicBezTo>
                  <a:pt x="8031" y="22437"/>
                  <a:pt x="8031" y="22406"/>
                  <a:pt x="8000" y="22374"/>
                </a:cubicBezTo>
                <a:cubicBezTo>
                  <a:pt x="8000" y="22281"/>
                  <a:pt x="8031" y="22218"/>
                  <a:pt x="8094" y="22124"/>
                </a:cubicBezTo>
                <a:cubicBezTo>
                  <a:pt x="8094" y="22093"/>
                  <a:pt x="8125" y="22093"/>
                  <a:pt x="8156" y="22093"/>
                </a:cubicBezTo>
                <a:cubicBezTo>
                  <a:pt x="8188" y="22093"/>
                  <a:pt x="8188" y="22124"/>
                  <a:pt x="8188" y="22156"/>
                </a:cubicBezTo>
                <a:cubicBezTo>
                  <a:pt x="8188" y="22187"/>
                  <a:pt x="8219" y="22218"/>
                  <a:pt x="8219" y="22281"/>
                </a:cubicBezTo>
                <a:cubicBezTo>
                  <a:pt x="8250" y="22218"/>
                  <a:pt x="8219" y="22156"/>
                  <a:pt x="8219" y="22124"/>
                </a:cubicBezTo>
                <a:cubicBezTo>
                  <a:pt x="8219" y="21999"/>
                  <a:pt x="8219" y="21999"/>
                  <a:pt x="8125" y="22062"/>
                </a:cubicBezTo>
                <a:cubicBezTo>
                  <a:pt x="8094" y="22062"/>
                  <a:pt x="8094" y="22093"/>
                  <a:pt x="8063" y="22093"/>
                </a:cubicBezTo>
                <a:cubicBezTo>
                  <a:pt x="8031" y="22124"/>
                  <a:pt x="8000" y="22187"/>
                  <a:pt x="7938" y="22156"/>
                </a:cubicBezTo>
                <a:close/>
                <a:moveTo>
                  <a:pt x="8000" y="22374"/>
                </a:moveTo>
                <a:cubicBezTo>
                  <a:pt x="8000" y="22374"/>
                  <a:pt x="8000" y="22374"/>
                  <a:pt x="8000" y="22374"/>
                </a:cubicBezTo>
                <a:cubicBezTo>
                  <a:pt x="8000" y="22374"/>
                  <a:pt x="8000" y="22374"/>
                  <a:pt x="8000" y="22343"/>
                </a:cubicBezTo>
                <a:cubicBezTo>
                  <a:pt x="8000" y="22374"/>
                  <a:pt x="8000" y="22374"/>
                  <a:pt x="8000" y="22374"/>
                </a:cubicBezTo>
                <a:close/>
                <a:moveTo>
                  <a:pt x="8313" y="22999"/>
                </a:moveTo>
                <a:cubicBezTo>
                  <a:pt x="8281" y="22999"/>
                  <a:pt x="8281" y="22999"/>
                  <a:pt x="8281" y="22968"/>
                </a:cubicBezTo>
                <a:cubicBezTo>
                  <a:pt x="8281" y="22937"/>
                  <a:pt x="8281" y="22906"/>
                  <a:pt x="8281" y="22874"/>
                </a:cubicBezTo>
                <a:cubicBezTo>
                  <a:pt x="8219" y="22906"/>
                  <a:pt x="8188" y="22999"/>
                  <a:pt x="8125" y="22937"/>
                </a:cubicBezTo>
                <a:cubicBezTo>
                  <a:pt x="8125" y="22937"/>
                  <a:pt x="8125" y="22937"/>
                  <a:pt x="8125" y="22968"/>
                </a:cubicBezTo>
                <a:cubicBezTo>
                  <a:pt x="8125" y="22968"/>
                  <a:pt x="8188" y="22999"/>
                  <a:pt x="8156" y="23031"/>
                </a:cubicBezTo>
                <a:cubicBezTo>
                  <a:pt x="8125" y="23062"/>
                  <a:pt x="8063" y="23062"/>
                  <a:pt x="8031" y="23062"/>
                </a:cubicBezTo>
                <a:cubicBezTo>
                  <a:pt x="8000" y="23062"/>
                  <a:pt x="8031" y="22999"/>
                  <a:pt x="8031" y="22999"/>
                </a:cubicBezTo>
                <a:cubicBezTo>
                  <a:pt x="8000" y="22968"/>
                  <a:pt x="8000" y="22906"/>
                  <a:pt x="8000" y="22906"/>
                </a:cubicBezTo>
                <a:cubicBezTo>
                  <a:pt x="7969" y="22812"/>
                  <a:pt x="8031" y="22749"/>
                  <a:pt x="8063" y="22687"/>
                </a:cubicBezTo>
                <a:cubicBezTo>
                  <a:pt x="8094" y="22624"/>
                  <a:pt x="8156" y="22687"/>
                  <a:pt x="8188" y="22656"/>
                </a:cubicBezTo>
                <a:cubicBezTo>
                  <a:pt x="8219" y="22593"/>
                  <a:pt x="8281" y="22624"/>
                  <a:pt x="8344" y="22656"/>
                </a:cubicBezTo>
                <a:cubicBezTo>
                  <a:pt x="8375" y="22687"/>
                  <a:pt x="8375" y="22718"/>
                  <a:pt x="8375" y="22749"/>
                </a:cubicBezTo>
                <a:cubicBezTo>
                  <a:pt x="8406" y="22781"/>
                  <a:pt x="8375" y="22843"/>
                  <a:pt x="8406" y="22874"/>
                </a:cubicBezTo>
                <a:cubicBezTo>
                  <a:pt x="8438" y="22968"/>
                  <a:pt x="8344" y="22968"/>
                  <a:pt x="8313" y="22999"/>
                </a:cubicBezTo>
                <a:close/>
                <a:moveTo>
                  <a:pt x="8438" y="21499"/>
                </a:moveTo>
                <a:cubicBezTo>
                  <a:pt x="8438" y="21468"/>
                  <a:pt x="8438" y="21406"/>
                  <a:pt x="8406" y="21374"/>
                </a:cubicBezTo>
                <a:cubicBezTo>
                  <a:pt x="8469" y="21406"/>
                  <a:pt x="8531" y="21343"/>
                  <a:pt x="8563" y="21374"/>
                </a:cubicBezTo>
                <a:cubicBezTo>
                  <a:pt x="8563" y="21406"/>
                  <a:pt x="8625" y="21437"/>
                  <a:pt x="8594" y="21468"/>
                </a:cubicBezTo>
                <a:cubicBezTo>
                  <a:pt x="8563" y="21499"/>
                  <a:pt x="8500" y="21562"/>
                  <a:pt x="8469" y="21562"/>
                </a:cubicBezTo>
                <a:cubicBezTo>
                  <a:pt x="8438" y="21562"/>
                  <a:pt x="8438" y="21531"/>
                  <a:pt x="8438" y="21499"/>
                </a:cubicBezTo>
                <a:close/>
                <a:moveTo>
                  <a:pt x="8688" y="22593"/>
                </a:moveTo>
                <a:cubicBezTo>
                  <a:pt x="8688" y="22656"/>
                  <a:pt x="8688" y="22749"/>
                  <a:pt x="8688" y="22812"/>
                </a:cubicBezTo>
                <a:cubicBezTo>
                  <a:pt x="8625" y="22843"/>
                  <a:pt x="8656" y="22781"/>
                  <a:pt x="8625" y="22781"/>
                </a:cubicBezTo>
                <a:cubicBezTo>
                  <a:pt x="8625" y="22781"/>
                  <a:pt x="8594" y="22812"/>
                  <a:pt x="8594" y="22812"/>
                </a:cubicBezTo>
                <a:cubicBezTo>
                  <a:pt x="8625" y="22843"/>
                  <a:pt x="8656" y="22874"/>
                  <a:pt x="8625" y="22906"/>
                </a:cubicBezTo>
                <a:cubicBezTo>
                  <a:pt x="8594" y="22937"/>
                  <a:pt x="8563" y="22874"/>
                  <a:pt x="8500" y="22906"/>
                </a:cubicBezTo>
                <a:cubicBezTo>
                  <a:pt x="8500" y="22937"/>
                  <a:pt x="8500" y="22906"/>
                  <a:pt x="8500" y="22874"/>
                </a:cubicBezTo>
                <a:cubicBezTo>
                  <a:pt x="8500" y="22787"/>
                  <a:pt x="8500" y="22700"/>
                  <a:pt x="8475" y="22613"/>
                </a:cubicBezTo>
                <a:cubicBezTo>
                  <a:pt x="8484" y="22624"/>
                  <a:pt x="8500" y="22624"/>
                  <a:pt x="8500" y="22624"/>
                </a:cubicBezTo>
                <a:cubicBezTo>
                  <a:pt x="8531" y="22593"/>
                  <a:pt x="8531" y="22593"/>
                  <a:pt x="8531" y="22562"/>
                </a:cubicBezTo>
                <a:cubicBezTo>
                  <a:pt x="8531" y="22562"/>
                  <a:pt x="8469" y="22562"/>
                  <a:pt x="8469" y="22593"/>
                </a:cubicBezTo>
                <a:cubicBezTo>
                  <a:pt x="8438" y="22531"/>
                  <a:pt x="8469" y="22531"/>
                  <a:pt x="8500" y="22531"/>
                </a:cubicBezTo>
                <a:cubicBezTo>
                  <a:pt x="8531" y="22531"/>
                  <a:pt x="8594" y="22531"/>
                  <a:pt x="8625" y="22499"/>
                </a:cubicBezTo>
                <a:cubicBezTo>
                  <a:pt x="8656" y="22499"/>
                  <a:pt x="8688" y="22531"/>
                  <a:pt x="8688" y="22593"/>
                </a:cubicBezTo>
                <a:close/>
                <a:moveTo>
                  <a:pt x="8781" y="22187"/>
                </a:moveTo>
                <a:cubicBezTo>
                  <a:pt x="8781" y="22156"/>
                  <a:pt x="8781" y="22124"/>
                  <a:pt x="8781" y="22093"/>
                </a:cubicBezTo>
                <a:cubicBezTo>
                  <a:pt x="8781" y="22093"/>
                  <a:pt x="8750" y="22093"/>
                  <a:pt x="8750" y="22093"/>
                </a:cubicBezTo>
                <a:cubicBezTo>
                  <a:pt x="8750" y="22124"/>
                  <a:pt x="8750" y="22156"/>
                  <a:pt x="8750" y="22187"/>
                </a:cubicBezTo>
                <a:cubicBezTo>
                  <a:pt x="8750" y="22218"/>
                  <a:pt x="8750" y="22249"/>
                  <a:pt x="8719" y="22218"/>
                </a:cubicBezTo>
                <a:cubicBezTo>
                  <a:pt x="8719" y="22187"/>
                  <a:pt x="8688" y="22218"/>
                  <a:pt x="8688" y="22249"/>
                </a:cubicBezTo>
                <a:cubicBezTo>
                  <a:pt x="8688" y="22312"/>
                  <a:pt x="8656" y="22281"/>
                  <a:pt x="8625" y="22281"/>
                </a:cubicBezTo>
                <a:cubicBezTo>
                  <a:pt x="8594" y="22281"/>
                  <a:pt x="8563" y="22249"/>
                  <a:pt x="8563" y="22218"/>
                </a:cubicBezTo>
                <a:cubicBezTo>
                  <a:pt x="8531" y="22156"/>
                  <a:pt x="8563" y="22093"/>
                  <a:pt x="8500" y="22031"/>
                </a:cubicBezTo>
                <a:cubicBezTo>
                  <a:pt x="8500" y="21999"/>
                  <a:pt x="8531" y="21937"/>
                  <a:pt x="8563" y="21937"/>
                </a:cubicBezTo>
                <a:cubicBezTo>
                  <a:pt x="8656" y="21874"/>
                  <a:pt x="8719" y="21906"/>
                  <a:pt x="8750" y="21999"/>
                </a:cubicBezTo>
                <a:cubicBezTo>
                  <a:pt x="8750" y="21968"/>
                  <a:pt x="8750" y="21937"/>
                  <a:pt x="8813" y="21937"/>
                </a:cubicBezTo>
                <a:cubicBezTo>
                  <a:pt x="8844" y="21937"/>
                  <a:pt x="8844" y="21968"/>
                  <a:pt x="8844" y="21999"/>
                </a:cubicBezTo>
                <a:cubicBezTo>
                  <a:pt x="8844" y="22062"/>
                  <a:pt x="8906" y="22156"/>
                  <a:pt x="8781" y="22187"/>
                </a:cubicBezTo>
                <a:close/>
                <a:moveTo>
                  <a:pt x="8906" y="21531"/>
                </a:moveTo>
                <a:cubicBezTo>
                  <a:pt x="8875" y="21562"/>
                  <a:pt x="8750" y="21468"/>
                  <a:pt x="8750" y="21437"/>
                </a:cubicBezTo>
                <a:cubicBezTo>
                  <a:pt x="8781" y="21374"/>
                  <a:pt x="8844" y="21312"/>
                  <a:pt x="8906" y="21312"/>
                </a:cubicBezTo>
                <a:cubicBezTo>
                  <a:pt x="8969" y="21312"/>
                  <a:pt x="8906" y="21406"/>
                  <a:pt x="8938" y="21437"/>
                </a:cubicBezTo>
                <a:cubicBezTo>
                  <a:pt x="8906" y="21468"/>
                  <a:pt x="8969" y="21531"/>
                  <a:pt x="8906" y="21531"/>
                </a:cubicBezTo>
                <a:close/>
                <a:moveTo>
                  <a:pt x="9344" y="22656"/>
                </a:moveTo>
                <a:cubicBezTo>
                  <a:pt x="9344" y="22718"/>
                  <a:pt x="9313" y="22749"/>
                  <a:pt x="9250" y="22781"/>
                </a:cubicBezTo>
                <a:cubicBezTo>
                  <a:pt x="9250" y="22781"/>
                  <a:pt x="9250" y="22781"/>
                  <a:pt x="9219" y="22781"/>
                </a:cubicBezTo>
                <a:cubicBezTo>
                  <a:pt x="9188" y="22749"/>
                  <a:pt x="9219" y="22718"/>
                  <a:pt x="9188" y="22687"/>
                </a:cubicBezTo>
                <a:cubicBezTo>
                  <a:pt x="9250" y="22718"/>
                  <a:pt x="9250" y="22687"/>
                  <a:pt x="9219" y="22624"/>
                </a:cubicBezTo>
                <a:lnTo>
                  <a:pt x="9219" y="22624"/>
                </a:lnTo>
                <a:cubicBezTo>
                  <a:pt x="9219" y="22656"/>
                  <a:pt x="9219" y="22687"/>
                  <a:pt x="9188" y="22687"/>
                </a:cubicBezTo>
                <a:cubicBezTo>
                  <a:pt x="9188" y="22687"/>
                  <a:pt x="9156" y="22718"/>
                  <a:pt x="9125" y="22718"/>
                </a:cubicBezTo>
                <a:cubicBezTo>
                  <a:pt x="9094" y="22687"/>
                  <a:pt x="9094" y="22687"/>
                  <a:pt x="9094" y="22718"/>
                </a:cubicBezTo>
                <a:cubicBezTo>
                  <a:pt x="9125" y="22843"/>
                  <a:pt x="9031" y="22781"/>
                  <a:pt x="9000" y="22812"/>
                </a:cubicBezTo>
                <a:cubicBezTo>
                  <a:pt x="8969" y="22812"/>
                  <a:pt x="8969" y="22812"/>
                  <a:pt x="8969" y="22718"/>
                </a:cubicBezTo>
                <a:cubicBezTo>
                  <a:pt x="8969" y="22624"/>
                  <a:pt x="8969" y="22531"/>
                  <a:pt x="9063" y="22437"/>
                </a:cubicBezTo>
                <a:cubicBezTo>
                  <a:pt x="9031" y="22406"/>
                  <a:pt x="9000" y="22437"/>
                  <a:pt x="9000" y="22468"/>
                </a:cubicBezTo>
                <a:cubicBezTo>
                  <a:pt x="8969" y="22468"/>
                  <a:pt x="8938" y="22437"/>
                  <a:pt x="8938" y="22406"/>
                </a:cubicBezTo>
                <a:cubicBezTo>
                  <a:pt x="8938" y="22374"/>
                  <a:pt x="9000" y="22374"/>
                  <a:pt x="9031" y="22374"/>
                </a:cubicBezTo>
                <a:cubicBezTo>
                  <a:pt x="9063" y="22343"/>
                  <a:pt x="9125" y="22312"/>
                  <a:pt x="9156" y="22343"/>
                </a:cubicBezTo>
                <a:cubicBezTo>
                  <a:pt x="9188" y="22374"/>
                  <a:pt x="9125" y="22374"/>
                  <a:pt x="9094" y="22374"/>
                </a:cubicBezTo>
                <a:cubicBezTo>
                  <a:pt x="9125" y="22406"/>
                  <a:pt x="9156" y="22406"/>
                  <a:pt x="9188" y="22374"/>
                </a:cubicBezTo>
                <a:cubicBezTo>
                  <a:pt x="9188" y="22374"/>
                  <a:pt x="9188" y="22374"/>
                  <a:pt x="9188" y="22374"/>
                </a:cubicBezTo>
                <a:cubicBezTo>
                  <a:pt x="9250" y="22374"/>
                  <a:pt x="9281" y="22468"/>
                  <a:pt x="9344" y="22468"/>
                </a:cubicBezTo>
                <a:cubicBezTo>
                  <a:pt x="9344" y="22531"/>
                  <a:pt x="9344" y="22593"/>
                  <a:pt x="9344" y="22656"/>
                </a:cubicBezTo>
                <a:close/>
                <a:moveTo>
                  <a:pt x="9344" y="22468"/>
                </a:moveTo>
                <a:cubicBezTo>
                  <a:pt x="9313" y="22374"/>
                  <a:pt x="9250" y="22343"/>
                  <a:pt x="9188" y="22374"/>
                </a:cubicBezTo>
                <a:cubicBezTo>
                  <a:pt x="9156" y="22281"/>
                  <a:pt x="9250" y="22281"/>
                  <a:pt x="9281" y="22312"/>
                </a:cubicBezTo>
                <a:cubicBezTo>
                  <a:pt x="9313" y="22312"/>
                  <a:pt x="9344" y="22281"/>
                  <a:pt x="9375" y="22281"/>
                </a:cubicBezTo>
                <a:cubicBezTo>
                  <a:pt x="9375" y="22312"/>
                  <a:pt x="9375" y="22343"/>
                  <a:pt x="9375" y="22374"/>
                </a:cubicBezTo>
                <a:cubicBezTo>
                  <a:pt x="9406" y="22374"/>
                  <a:pt x="9438" y="22374"/>
                  <a:pt x="9438" y="22374"/>
                </a:cubicBezTo>
                <a:cubicBezTo>
                  <a:pt x="9469" y="22312"/>
                  <a:pt x="9500" y="22249"/>
                  <a:pt x="9594" y="22249"/>
                </a:cubicBezTo>
                <a:cubicBezTo>
                  <a:pt x="9594" y="22249"/>
                  <a:pt x="9625" y="22218"/>
                  <a:pt x="9625" y="22249"/>
                </a:cubicBezTo>
                <a:cubicBezTo>
                  <a:pt x="9625" y="22281"/>
                  <a:pt x="9625" y="22312"/>
                  <a:pt x="9594" y="22312"/>
                </a:cubicBezTo>
                <a:cubicBezTo>
                  <a:pt x="9531" y="22312"/>
                  <a:pt x="9500" y="22374"/>
                  <a:pt x="9438" y="22406"/>
                </a:cubicBezTo>
                <a:cubicBezTo>
                  <a:pt x="9438" y="22374"/>
                  <a:pt x="9438" y="22374"/>
                  <a:pt x="9438" y="22374"/>
                </a:cubicBezTo>
                <a:cubicBezTo>
                  <a:pt x="9438" y="22374"/>
                  <a:pt x="9406" y="22374"/>
                  <a:pt x="9375" y="22374"/>
                </a:cubicBezTo>
                <a:cubicBezTo>
                  <a:pt x="9375" y="22406"/>
                  <a:pt x="9406" y="22437"/>
                  <a:pt x="9344" y="22468"/>
                </a:cubicBezTo>
                <a:close/>
                <a:moveTo>
                  <a:pt x="9750" y="22718"/>
                </a:moveTo>
                <a:cubicBezTo>
                  <a:pt x="9750" y="22718"/>
                  <a:pt x="9750" y="22718"/>
                  <a:pt x="9750" y="22749"/>
                </a:cubicBezTo>
                <a:cubicBezTo>
                  <a:pt x="9688" y="22749"/>
                  <a:pt x="9563" y="22656"/>
                  <a:pt x="9563" y="22593"/>
                </a:cubicBezTo>
                <a:cubicBezTo>
                  <a:pt x="9531" y="22624"/>
                  <a:pt x="9563" y="22687"/>
                  <a:pt x="9563" y="22718"/>
                </a:cubicBezTo>
                <a:cubicBezTo>
                  <a:pt x="9531" y="22749"/>
                  <a:pt x="9500" y="22687"/>
                  <a:pt x="9469" y="22718"/>
                </a:cubicBezTo>
                <a:cubicBezTo>
                  <a:pt x="9469" y="22749"/>
                  <a:pt x="9438" y="22718"/>
                  <a:pt x="9438" y="22687"/>
                </a:cubicBezTo>
                <a:cubicBezTo>
                  <a:pt x="9438" y="22624"/>
                  <a:pt x="9438" y="22531"/>
                  <a:pt x="9469" y="22468"/>
                </a:cubicBezTo>
                <a:cubicBezTo>
                  <a:pt x="9500" y="22437"/>
                  <a:pt x="9500" y="22406"/>
                  <a:pt x="9531" y="22374"/>
                </a:cubicBezTo>
                <a:cubicBezTo>
                  <a:pt x="9594" y="22312"/>
                  <a:pt x="9625" y="22312"/>
                  <a:pt x="9656" y="22437"/>
                </a:cubicBezTo>
                <a:cubicBezTo>
                  <a:pt x="9656" y="22343"/>
                  <a:pt x="9688" y="22312"/>
                  <a:pt x="9750" y="22343"/>
                </a:cubicBezTo>
                <a:cubicBezTo>
                  <a:pt x="9719" y="22281"/>
                  <a:pt x="9625" y="22312"/>
                  <a:pt x="9656" y="22218"/>
                </a:cubicBezTo>
                <a:cubicBezTo>
                  <a:pt x="9719" y="22187"/>
                  <a:pt x="9781" y="22218"/>
                  <a:pt x="9844" y="22218"/>
                </a:cubicBezTo>
                <a:cubicBezTo>
                  <a:pt x="9844" y="22218"/>
                  <a:pt x="9844" y="22218"/>
                  <a:pt x="9844" y="22218"/>
                </a:cubicBezTo>
                <a:cubicBezTo>
                  <a:pt x="9844" y="22218"/>
                  <a:pt x="9906" y="22218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75" y="22281"/>
                  <a:pt x="9875" y="22281"/>
                  <a:pt x="9875" y="22281"/>
                </a:cubicBezTo>
                <a:cubicBezTo>
                  <a:pt x="9844" y="22281"/>
                  <a:pt x="9813" y="22281"/>
                  <a:pt x="9844" y="22312"/>
                </a:cubicBezTo>
                <a:cubicBezTo>
                  <a:pt x="9844" y="22343"/>
                  <a:pt x="9844" y="22374"/>
                  <a:pt x="9844" y="22406"/>
                </a:cubicBezTo>
                <a:cubicBezTo>
                  <a:pt x="9844" y="22437"/>
                  <a:pt x="9844" y="22468"/>
                  <a:pt x="9813" y="22499"/>
                </a:cubicBezTo>
                <a:cubicBezTo>
                  <a:pt x="9781" y="22593"/>
                  <a:pt x="9813" y="22687"/>
                  <a:pt x="9750" y="22718"/>
                </a:cubicBezTo>
                <a:close/>
                <a:moveTo>
                  <a:pt x="10781" y="22312"/>
                </a:moveTo>
                <a:cubicBezTo>
                  <a:pt x="10750" y="22437"/>
                  <a:pt x="10688" y="22531"/>
                  <a:pt x="10688" y="22656"/>
                </a:cubicBezTo>
                <a:cubicBezTo>
                  <a:pt x="10688" y="22718"/>
                  <a:pt x="10625" y="22687"/>
                  <a:pt x="10594" y="22687"/>
                </a:cubicBezTo>
                <a:cubicBezTo>
                  <a:pt x="10531" y="22687"/>
                  <a:pt x="10594" y="22656"/>
                  <a:pt x="10563" y="22624"/>
                </a:cubicBezTo>
                <a:cubicBezTo>
                  <a:pt x="10531" y="22624"/>
                  <a:pt x="10469" y="22656"/>
                  <a:pt x="10469" y="22593"/>
                </a:cubicBezTo>
                <a:cubicBezTo>
                  <a:pt x="10438" y="22624"/>
                  <a:pt x="10500" y="22687"/>
                  <a:pt x="10406" y="22687"/>
                </a:cubicBezTo>
                <a:cubicBezTo>
                  <a:pt x="10406" y="22687"/>
                  <a:pt x="10313" y="22718"/>
                  <a:pt x="10344" y="22624"/>
                </a:cubicBezTo>
                <a:cubicBezTo>
                  <a:pt x="10344" y="22593"/>
                  <a:pt x="10375" y="22531"/>
                  <a:pt x="10375" y="22468"/>
                </a:cubicBezTo>
                <a:cubicBezTo>
                  <a:pt x="10375" y="22437"/>
                  <a:pt x="10406" y="22437"/>
                  <a:pt x="10375" y="22406"/>
                </a:cubicBezTo>
                <a:cubicBezTo>
                  <a:pt x="10344" y="22374"/>
                  <a:pt x="10313" y="22406"/>
                  <a:pt x="10313" y="22406"/>
                </a:cubicBezTo>
                <a:cubicBezTo>
                  <a:pt x="10250" y="22406"/>
                  <a:pt x="10281" y="22437"/>
                  <a:pt x="10281" y="22468"/>
                </a:cubicBezTo>
                <a:cubicBezTo>
                  <a:pt x="10281" y="22531"/>
                  <a:pt x="10313" y="22593"/>
                  <a:pt x="10281" y="22656"/>
                </a:cubicBezTo>
                <a:cubicBezTo>
                  <a:pt x="10250" y="22687"/>
                  <a:pt x="10188" y="22656"/>
                  <a:pt x="10156" y="22687"/>
                </a:cubicBezTo>
                <a:cubicBezTo>
                  <a:pt x="10094" y="22687"/>
                  <a:pt x="10094" y="22656"/>
                  <a:pt x="10125" y="22624"/>
                </a:cubicBezTo>
                <a:cubicBezTo>
                  <a:pt x="10188" y="22562"/>
                  <a:pt x="10063" y="22593"/>
                  <a:pt x="10094" y="22562"/>
                </a:cubicBezTo>
                <a:cubicBezTo>
                  <a:pt x="10063" y="22562"/>
                  <a:pt x="10094" y="22593"/>
                  <a:pt x="10063" y="22593"/>
                </a:cubicBezTo>
                <a:cubicBezTo>
                  <a:pt x="10063" y="22593"/>
                  <a:pt x="10031" y="22593"/>
                  <a:pt x="10031" y="22593"/>
                </a:cubicBezTo>
                <a:cubicBezTo>
                  <a:pt x="10031" y="22593"/>
                  <a:pt x="10031" y="22562"/>
                  <a:pt x="10031" y="22531"/>
                </a:cubicBezTo>
                <a:cubicBezTo>
                  <a:pt x="9969" y="22562"/>
                  <a:pt x="10031" y="22656"/>
                  <a:pt x="10000" y="22687"/>
                </a:cubicBezTo>
                <a:cubicBezTo>
                  <a:pt x="9906" y="22687"/>
                  <a:pt x="9875" y="22687"/>
                  <a:pt x="9906" y="22593"/>
                </a:cubicBezTo>
                <a:cubicBezTo>
                  <a:pt x="9906" y="22562"/>
                  <a:pt x="9906" y="22499"/>
                  <a:pt x="9906" y="22468"/>
                </a:cubicBezTo>
                <a:cubicBezTo>
                  <a:pt x="9906" y="22499"/>
                  <a:pt x="9875" y="22531"/>
                  <a:pt x="9844" y="22531"/>
                </a:cubicBezTo>
                <a:cubicBezTo>
                  <a:pt x="9875" y="22531"/>
                  <a:pt x="9906" y="22499"/>
                  <a:pt x="9906" y="22468"/>
                </a:cubicBezTo>
                <a:cubicBezTo>
                  <a:pt x="9906" y="22437"/>
                  <a:pt x="9906" y="22437"/>
                  <a:pt x="9906" y="22406"/>
                </a:cubicBezTo>
                <a:cubicBezTo>
                  <a:pt x="9938" y="22406"/>
                  <a:pt x="10000" y="22374"/>
                  <a:pt x="9938" y="22343"/>
                </a:cubicBezTo>
                <a:cubicBezTo>
                  <a:pt x="9906" y="22312"/>
                  <a:pt x="9906" y="22312"/>
                  <a:pt x="9906" y="22281"/>
                </a:cubicBezTo>
                <a:cubicBezTo>
                  <a:pt x="9938" y="22218"/>
                  <a:pt x="9969" y="22218"/>
                  <a:pt x="10031" y="22218"/>
                </a:cubicBezTo>
                <a:cubicBezTo>
                  <a:pt x="10094" y="22218"/>
                  <a:pt x="10156" y="22187"/>
                  <a:pt x="10219" y="22156"/>
                </a:cubicBezTo>
                <a:cubicBezTo>
                  <a:pt x="10219" y="22124"/>
                  <a:pt x="10250" y="22093"/>
                  <a:pt x="10219" y="22062"/>
                </a:cubicBezTo>
                <a:cubicBezTo>
                  <a:pt x="10250" y="22093"/>
                  <a:pt x="10219" y="22124"/>
                  <a:pt x="10219" y="22156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187"/>
                  <a:pt x="10250" y="22187"/>
                  <a:pt x="10250" y="22187"/>
                </a:cubicBezTo>
                <a:cubicBezTo>
                  <a:pt x="10250" y="22218"/>
                  <a:pt x="10281" y="22249"/>
                  <a:pt x="10281" y="22249"/>
                </a:cubicBezTo>
                <a:cubicBezTo>
                  <a:pt x="10281" y="22249"/>
                  <a:pt x="10313" y="22218"/>
                  <a:pt x="10313" y="22218"/>
                </a:cubicBezTo>
                <a:cubicBezTo>
                  <a:pt x="10344" y="22312"/>
                  <a:pt x="10344" y="22312"/>
                  <a:pt x="10438" y="22218"/>
                </a:cubicBezTo>
                <a:cubicBezTo>
                  <a:pt x="10469" y="22218"/>
                  <a:pt x="10469" y="22218"/>
                  <a:pt x="10500" y="22218"/>
                </a:cubicBezTo>
                <a:cubicBezTo>
                  <a:pt x="10563" y="22218"/>
                  <a:pt x="10625" y="22218"/>
                  <a:pt x="10719" y="22218"/>
                </a:cubicBezTo>
                <a:cubicBezTo>
                  <a:pt x="10781" y="22218"/>
                  <a:pt x="10813" y="22249"/>
                  <a:pt x="10781" y="22312"/>
                </a:cubicBezTo>
                <a:close/>
                <a:moveTo>
                  <a:pt x="10875" y="22656"/>
                </a:moveTo>
                <a:cubicBezTo>
                  <a:pt x="10875" y="22656"/>
                  <a:pt x="10844" y="22687"/>
                  <a:pt x="10844" y="22687"/>
                </a:cubicBezTo>
                <a:cubicBezTo>
                  <a:pt x="10813" y="22687"/>
                  <a:pt x="10813" y="22656"/>
                  <a:pt x="10813" y="22656"/>
                </a:cubicBezTo>
                <a:cubicBezTo>
                  <a:pt x="10813" y="22593"/>
                  <a:pt x="10813" y="22531"/>
                  <a:pt x="10813" y="22437"/>
                </a:cubicBezTo>
                <a:cubicBezTo>
                  <a:pt x="10906" y="22406"/>
                  <a:pt x="10875" y="22499"/>
                  <a:pt x="10875" y="22531"/>
                </a:cubicBezTo>
                <a:cubicBezTo>
                  <a:pt x="10875" y="22562"/>
                  <a:pt x="10844" y="22593"/>
                  <a:pt x="10875" y="22656"/>
                </a:cubicBezTo>
                <a:close/>
                <a:moveTo>
                  <a:pt x="10813" y="21937"/>
                </a:moveTo>
                <a:cubicBezTo>
                  <a:pt x="10844" y="21843"/>
                  <a:pt x="10719" y="21843"/>
                  <a:pt x="10750" y="21781"/>
                </a:cubicBezTo>
                <a:cubicBezTo>
                  <a:pt x="10750" y="21687"/>
                  <a:pt x="10750" y="21687"/>
                  <a:pt x="10813" y="21718"/>
                </a:cubicBezTo>
                <a:cubicBezTo>
                  <a:pt x="10906" y="21718"/>
                  <a:pt x="10906" y="21781"/>
                  <a:pt x="10813" y="21937"/>
                </a:cubicBezTo>
                <a:close/>
                <a:moveTo>
                  <a:pt x="10938" y="22687"/>
                </a:moveTo>
                <a:cubicBezTo>
                  <a:pt x="10938" y="22687"/>
                  <a:pt x="10938" y="22687"/>
                  <a:pt x="10938" y="22687"/>
                </a:cubicBezTo>
                <a:cubicBezTo>
                  <a:pt x="10938" y="22687"/>
                  <a:pt x="10938" y="22687"/>
                  <a:pt x="10938" y="22687"/>
                </a:cubicBezTo>
                <a:close/>
                <a:moveTo>
                  <a:pt x="11125" y="22687"/>
                </a:moveTo>
                <a:cubicBezTo>
                  <a:pt x="11094" y="22781"/>
                  <a:pt x="11063" y="22749"/>
                  <a:pt x="11000" y="22749"/>
                </a:cubicBezTo>
                <a:cubicBezTo>
                  <a:pt x="10938" y="22749"/>
                  <a:pt x="11000" y="22687"/>
                  <a:pt x="11000" y="22687"/>
                </a:cubicBezTo>
                <a:cubicBezTo>
                  <a:pt x="11000" y="22656"/>
                  <a:pt x="11000" y="22656"/>
                  <a:pt x="10969" y="22656"/>
                </a:cubicBezTo>
                <a:cubicBezTo>
                  <a:pt x="10969" y="22656"/>
                  <a:pt x="10969" y="22656"/>
                  <a:pt x="10969" y="22656"/>
                </a:cubicBezTo>
                <a:cubicBezTo>
                  <a:pt x="10969" y="22656"/>
                  <a:pt x="10938" y="22656"/>
                  <a:pt x="10906" y="22656"/>
                </a:cubicBezTo>
                <a:cubicBezTo>
                  <a:pt x="10906" y="22656"/>
                  <a:pt x="10906" y="22624"/>
                  <a:pt x="10906" y="22624"/>
                </a:cubicBezTo>
                <a:cubicBezTo>
                  <a:pt x="10906" y="22593"/>
                  <a:pt x="10906" y="22593"/>
                  <a:pt x="10906" y="22562"/>
                </a:cubicBezTo>
                <a:cubicBezTo>
                  <a:pt x="10906" y="22562"/>
                  <a:pt x="10906" y="22562"/>
                  <a:pt x="10906" y="22562"/>
                </a:cubicBezTo>
                <a:cubicBezTo>
                  <a:pt x="10938" y="22593"/>
                  <a:pt x="10938" y="22593"/>
                  <a:pt x="10938" y="22624"/>
                </a:cubicBezTo>
                <a:cubicBezTo>
                  <a:pt x="11000" y="22562"/>
                  <a:pt x="11000" y="22468"/>
                  <a:pt x="11063" y="22437"/>
                </a:cubicBezTo>
                <a:cubicBezTo>
                  <a:pt x="11094" y="22406"/>
                  <a:pt x="11094" y="22374"/>
                  <a:pt x="11094" y="22437"/>
                </a:cubicBezTo>
                <a:cubicBezTo>
                  <a:pt x="11094" y="22499"/>
                  <a:pt x="11156" y="22437"/>
                  <a:pt x="11156" y="22468"/>
                </a:cubicBezTo>
                <a:cubicBezTo>
                  <a:pt x="11156" y="22531"/>
                  <a:pt x="11125" y="22624"/>
                  <a:pt x="11125" y="22687"/>
                </a:cubicBezTo>
                <a:close/>
                <a:moveTo>
                  <a:pt x="11188" y="21437"/>
                </a:moveTo>
                <a:cubicBezTo>
                  <a:pt x="11250" y="21437"/>
                  <a:pt x="11250" y="21468"/>
                  <a:pt x="11250" y="21499"/>
                </a:cubicBezTo>
                <a:cubicBezTo>
                  <a:pt x="11219" y="21499"/>
                  <a:pt x="11250" y="21562"/>
                  <a:pt x="11219" y="21562"/>
                </a:cubicBezTo>
                <a:cubicBezTo>
                  <a:pt x="11156" y="21562"/>
                  <a:pt x="11219" y="21499"/>
                  <a:pt x="11188" y="21468"/>
                </a:cubicBezTo>
                <a:cubicBezTo>
                  <a:pt x="11156" y="21468"/>
                  <a:pt x="11188" y="21437"/>
                  <a:pt x="11188" y="21437"/>
                </a:cubicBezTo>
                <a:close/>
                <a:moveTo>
                  <a:pt x="11375" y="22812"/>
                </a:moveTo>
                <a:cubicBezTo>
                  <a:pt x="11406" y="22781"/>
                  <a:pt x="11406" y="22749"/>
                  <a:pt x="11438" y="22718"/>
                </a:cubicBezTo>
                <a:cubicBezTo>
                  <a:pt x="11375" y="22749"/>
                  <a:pt x="11344" y="22749"/>
                  <a:pt x="11313" y="22656"/>
                </a:cubicBezTo>
                <a:cubicBezTo>
                  <a:pt x="11281" y="22812"/>
                  <a:pt x="11281" y="22812"/>
                  <a:pt x="11188" y="22749"/>
                </a:cubicBezTo>
                <a:cubicBezTo>
                  <a:pt x="11188" y="22749"/>
                  <a:pt x="11188" y="22749"/>
                  <a:pt x="11188" y="22749"/>
                </a:cubicBezTo>
                <a:cubicBezTo>
                  <a:pt x="11250" y="22656"/>
                  <a:pt x="11188" y="22562"/>
                  <a:pt x="11281" y="22499"/>
                </a:cubicBezTo>
                <a:cubicBezTo>
                  <a:pt x="11313" y="22468"/>
                  <a:pt x="11375" y="22437"/>
                  <a:pt x="11281" y="22406"/>
                </a:cubicBezTo>
                <a:cubicBezTo>
                  <a:pt x="11281" y="22406"/>
                  <a:pt x="11344" y="22312"/>
                  <a:pt x="11375" y="22312"/>
                </a:cubicBezTo>
                <a:cubicBezTo>
                  <a:pt x="11438" y="22343"/>
                  <a:pt x="11531" y="22343"/>
                  <a:pt x="11594" y="22343"/>
                </a:cubicBezTo>
                <a:cubicBezTo>
                  <a:pt x="11656" y="22374"/>
                  <a:pt x="11688" y="22406"/>
                  <a:pt x="11656" y="22468"/>
                </a:cubicBezTo>
                <a:cubicBezTo>
                  <a:pt x="11625" y="22499"/>
                  <a:pt x="11625" y="22531"/>
                  <a:pt x="11594" y="22562"/>
                </a:cubicBezTo>
                <a:cubicBezTo>
                  <a:pt x="11563" y="22593"/>
                  <a:pt x="11531" y="22656"/>
                  <a:pt x="11531" y="22718"/>
                </a:cubicBezTo>
                <a:cubicBezTo>
                  <a:pt x="11531" y="22812"/>
                  <a:pt x="11500" y="22843"/>
                  <a:pt x="11375" y="22812"/>
                </a:cubicBezTo>
                <a:close/>
                <a:moveTo>
                  <a:pt x="11781" y="22937"/>
                </a:moveTo>
                <a:cubicBezTo>
                  <a:pt x="11781" y="22937"/>
                  <a:pt x="11781" y="22874"/>
                  <a:pt x="11813" y="22874"/>
                </a:cubicBezTo>
                <a:cubicBezTo>
                  <a:pt x="11813" y="22843"/>
                  <a:pt x="11813" y="22843"/>
                  <a:pt x="11844" y="22812"/>
                </a:cubicBezTo>
                <a:cubicBezTo>
                  <a:pt x="11781" y="22843"/>
                  <a:pt x="11719" y="22874"/>
                  <a:pt x="11719" y="22781"/>
                </a:cubicBezTo>
                <a:cubicBezTo>
                  <a:pt x="11688" y="22781"/>
                  <a:pt x="11688" y="22812"/>
                  <a:pt x="11688" y="22843"/>
                </a:cubicBezTo>
                <a:cubicBezTo>
                  <a:pt x="11688" y="22874"/>
                  <a:pt x="11688" y="22906"/>
                  <a:pt x="11656" y="22874"/>
                </a:cubicBezTo>
                <a:cubicBezTo>
                  <a:pt x="11625" y="22874"/>
                  <a:pt x="11594" y="22843"/>
                  <a:pt x="11594" y="22812"/>
                </a:cubicBezTo>
                <a:cubicBezTo>
                  <a:pt x="11656" y="22718"/>
                  <a:pt x="11625" y="22624"/>
                  <a:pt x="11719" y="22562"/>
                </a:cubicBezTo>
                <a:cubicBezTo>
                  <a:pt x="11719" y="22562"/>
                  <a:pt x="11719" y="22468"/>
                  <a:pt x="11750" y="22437"/>
                </a:cubicBezTo>
                <a:cubicBezTo>
                  <a:pt x="11750" y="22406"/>
                  <a:pt x="11781" y="22406"/>
                  <a:pt x="11781" y="22406"/>
                </a:cubicBezTo>
                <a:cubicBezTo>
                  <a:pt x="11875" y="22437"/>
                  <a:pt x="11969" y="22468"/>
                  <a:pt x="12031" y="22499"/>
                </a:cubicBezTo>
                <a:cubicBezTo>
                  <a:pt x="12063" y="22499"/>
                  <a:pt x="12094" y="22531"/>
                  <a:pt x="12063" y="22562"/>
                </a:cubicBezTo>
                <a:cubicBezTo>
                  <a:pt x="12000" y="22687"/>
                  <a:pt x="11906" y="22781"/>
                  <a:pt x="11906" y="22937"/>
                </a:cubicBezTo>
                <a:cubicBezTo>
                  <a:pt x="11906" y="22968"/>
                  <a:pt x="11813" y="22937"/>
                  <a:pt x="11781" y="22937"/>
                </a:cubicBezTo>
                <a:close/>
                <a:moveTo>
                  <a:pt x="12219" y="22937"/>
                </a:moveTo>
                <a:cubicBezTo>
                  <a:pt x="12156" y="22999"/>
                  <a:pt x="12125" y="22968"/>
                  <a:pt x="12094" y="22906"/>
                </a:cubicBezTo>
                <a:cubicBezTo>
                  <a:pt x="12063" y="22968"/>
                  <a:pt x="12094" y="23062"/>
                  <a:pt x="12000" y="22968"/>
                </a:cubicBezTo>
                <a:cubicBezTo>
                  <a:pt x="12000" y="22968"/>
                  <a:pt x="11969" y="22968"/>
                  <a:pt x="11969" y="22968"/>
                </a:cubicBezTo>
                <a:cubicBezTo>
                  <a:pt x="12063" y="22874"/>
                  <a:pt x="12000" y="22749"/>
                  <a:pt x="12125" y="22687"/>
                </a:cubicBezTo>
                <a:cubicBezTo>
                  <a:pt x="12125" y="22687"/>
                  <a:pt x="12125" y="22687"/>
                  <a:pt x="12125" y="22687"/>
                </a:cubicBezTo>
                <a:cubicBezTo>
                  <a:pt x="12188" y="22624"/>
                  <a:pt x="12250" y="22718"/>
                  <a:pt x="12344" y="22687"/>
                </a:cubicBezTo>
                <a:cubicBezTo>
                  <a:pt x="12313" y="22656"/>
                  <a:pt x="12281" y="22624"/>
                  <a:pt x="12219" y="22624"/>
                </a:cubicBezTo>
                <a:cubicBezTo>
                  <a:pt x="12188" y="22624"/>
                  <a:pt x="12156" y="22656"/>
                  <a:pt x="12156" y="22593"/>
                </a:cubicBezTo>
                <a:cubicBezTo>
                  <a:pt x="12156" y="22562"/>
                  <a:pt x="12156" y="22562"/>
                  <a:pt x="12156" y="22531"/>
                </a:cubicBezTo>
                <a:cubicBezTo>
                  <a:pt x="12219" y="22562"/>
                  <a:pt x="12313" y="22562"/>
                  <a:pt x="12375" y="22624"/>
                </a:cubicBezTo>
                <a:cubicBezTo>
                  <a:pt x="12469" y="22687"/>
                  <a:pt x="12500" y="22749"/>
                  <a:pt x="12406" y="22812"/>
                </a:cubicBezTo>
                <a:cubicBezTo>
                  <a:pt x="12313" y="22874"/>
                  <a:pt x="12344" y="22999"/>
                  <a:pt x="12250" y="23093"/>
                </a:cubicBezTo>
                <a:cubicBezTo>
                  <a:pt x="12156" y="23062"/>
                  <a:pt x="12156" y="23062"/>
                  <a:pt x="12219" y="22937"/>
                </a:cubicBezTo>
                <a:close/>
                <a:moveTo>
                  <a:pt x="12594" y="23249"/>
                </a:moveTo>
                <a:cubicBezTo>
                  <a:pt x="12563" y="23249"/>
                  <a:pt x="12531" y="23249"/>
                  <a:pt x="12531" y="23218"/>
                </a:cubicBezTo>
                <a:cubicBezTo>
                  <a:pt x="12500" y="23187"/>
                  <a:pt x="12531" y="23187"/>
                  <a:pt x="12563" y="23156"/>
                </a:cubicBezTo>
                <a:cubicBezTo>
                  <a:pt x="12563" y="23156"/>
                  <a:pt x="12563" y="23156"/>
                  <a:pt x="12563" y="23124"/>
                </a:cubicBezTo>
                <a:cubicBezTo>
                  <a:pt x="12500" y="23156"/>
                  <a:pt x="12469" y="23124"/>
                  <a:pt x="12469" y="23062"/>
                </a:cubicBezTo>
                <a:cubicBezTo>
                  <a:pt x="12469" y="23062"/>
                  <a:pt x="12438" y="23062"/>
                  <a:pt x="12438" y="23093"/>
                </a:cubicBezTo>
                <a:cubicBezTo>
                  <a:pt x="12438" y="23124"/>
                  <a:pt x="12438" y="23156"/>
                  <a:pt x="12406" y="23156"/>
                </a:cubicBezTo>
                <a:cubicBezTo>
                  <a:pt x="12406" y="23187"/>
                  <a:pt x="12406" y="23156"/>
                  <a:pt x="12375" y="23156"/>
                </a:cubicBezTo>
                <a:cubicBezTo>
                  <a:pt x="12375" y="23124"/>
                  <a:pt x="12344" y="23093"/>
                  <a:pt x="12375" y="23062"/>
                </a:cubicBezTo>
                <a:cubicBezTo>
                  <a:pt x="12406" y="22999"/>
                  <a:pt x="12438" y="22937"/>
                  <a:pt x="12469" y="22874"/>
                </a:cubicBezTo>
                <a:cubicBezTo>
                  <a:pt x="12469" y="22874"/>
                  <a:pt x="12500" y="22874"/>
                  <a:pt x="12500" y="22874"/>
                </a:cubicBezTo>
                <a:cubicBezTo>
                  <a:pt x="12500" y="22874"/>
                  <a:pt x="12500" y="22843"/>
                  <a:pt x="12500" y="22843"/>
                </a:cubicBezTo>
                <a:cubicBezTo>
                  <a:pt x="12563" y="22843"/>
                  <a:pt x="12594" y="22812"/>
                  <a:pt x="12625" y="22874"/>
                </a:cubicBezTo>
                <a:cubicBezTo>
                  <a:pt x="12594" y="22906"/>
                  <a:pt x="12594" y="22937"/>
                  <a:pt x="12594" y="22968"/>
                </a:cubicBezTo>
                <a:cubicBezTo>
                  <a:pt x="12594" y="22937"/>
                  <a:pt x="12625" y="22906"/>
                  <a:pt x="12625" y="22874"/>
                </a:cubicBezTo>
                <a:cubicBezTo>
                  <a:pt x="12656" y="22874"/>
                  <a:pt x="12688" y="22874"/>
                  <a:pt x="12719" y="22906"/>
                </a:cubicBezTo>
                <a:cubicBezTo>
                  <a:pt x="12688" y="22781"/>
                  <a:pt x="12594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812"/>
                  <a:pt x="12500" y="22812"/>
                  <a:pt x="12500" y="22812"/>
                </a:cubicBezTo>
                <a:cubicBezTo>
                  <a:pt x="12500" y="22781"/>
                  <a:pt x="12563" y="22749"/>
                  <a:pt x="12531" y="22718"/>
                </a:cubicBezTo>
                <a:cubicBezTo>
                  <a:pt x="12531" y="22687"/>
                  <a:pt x="12563" y="22687"/>
                  <a:pt x="12563" y="22687"/>
                </a:cubicBezTo>
                <a:cubicBezTo>
                  <a:pt x="12656" y="22749"/>
                  <a:pt x="12750" y="22781"/>
                  <a:pt x="12813" y="22812"/>
                </a:cubicBezTo>
                <a:cubicBezTo>
                  <a:pt x="12844" y="22843"/>
                  <a:pt x="12875" y="22874"/>
                  <a:pt x="12813" y="22874"/>
                </a:cubicBezTo>
                <a:cubicBezTo>
                  <a:pt x="12781" y="22874"/>
                  <a:pt x="12781" y="22937"/>
                  <a:pt x="12750" y="22968"/>
                </a:cubicBezTo>
                <a:cubicBezTo>
                  <a:pt x="12750" y="22968"/>
                  <a:pt x="12750" y="22999"/>
                  <a:pt x="12750" y="22999"/>
                </a:cubicBezTo>
                <a:cubicBezTo>
                  <a:pt x="12750" y="22999"/>
                  <a:pt x="12750" y="22968"/>
                  <a:pt x="12750" y="22968"/>
                </a:cubicBezTo>
                <a:cubicBezTo>
                  <a:pt x="12750" y="22937"/>
                  <a:pt x="12719" y="22937"/>
                  <a:pt x="12719" y="22937"/>
                </a:cubicBezTo>
                <a:cubicBezTo>
                  <a:pt x="12688" y="22968"/>
                  <a:pt x="12719" y="22999"/>
                  <a:pt x="12750" y="22999"/>
                </a:cubicBezTo>
                <a:cubicBezTo>
                  <a:pt x="12719" y="23062"/>
                  <a:pt x="12688" y="23156"/>
                  <a:pt x="12625" y="23218"/>
                </a:cubicBezTo>
                <a:cubicBezTo>
                  <a:pt x="12625" y="23218"/>
                  <a:pt x="12625" y="23249"/>
                  <a:pt x="12594" y="23249"/>
                </a:cubicBezTo>
                <a:close/>
                <a:moveTo>
                  <a:pt x="12906" y="23437"/>
                </a:moveTo>
                <a:cubicBezTo>
                  <a:pt x="12906" y="23437"/>
                  <a:pt x="12844" y="23437"/>
                  <a:pt x="12875" y="23406"/>
                </a:cubicBezTo>
                <a:cubicBezTo>
                  <a:pt x="12906" y="23343"/>
                  <a:pt x="12875" y="23312"/>
                  <a:pt x="12844" y="23312"/>
                </a:cubicBezTo>
                <a:cubicBezTo>
                  <a:pt x="12813" y="23312"/>
                  <a:pt x="12813" y="23281"/>
                  <a:pt x="12813" y="23249"/>
                </a:cubicBezTo>
                <a:cubicBezTo>
                  <a:pt x="12781" y="23281"/>
                  <a:pt x="12781" y="23343"/>
                  <a:pt x="12750" y="23343"/>
                </a:cubicBezTo>
                <a:cubicBezTo>
                  <a:pt x="12719" y="23343"/>
                  <a:pt x="12688" y="23312"/>
                  <a:pt x="12719" y="23249"/>
                </a:cubicBezTo>
                <a:cubicBezTo>
                  <a:pt x="12781" y="23187"/>
                  <a:pt x="12781" y="23093"/>
                  <a:pt x="12875" y="23031"/>
                </a:cubicBezTo>
                <a:cubicBezTo>
                  <a:pt x="12906" y="22999"/>
                  <a:pt x="12906" y="22937"/>
                  <a:pt x="12906" y="22874"/>
                </a:cubicBezTo>
                <a:cubicBezTo>
                  <a:pt x="12969" y="22937"/>
                  <a:pt x="13063" y="22968"/>
                  <a:pt x="13125" y="22999"/>
                </a:cubicBezTo>
                <a:cubicBezTo>
                  <a:pt x="13219" y="23031"/>
                  <a:pt x="13188" y="23093"/>
                  <a:pt x="13156" y="23156"/>
                </a:cubicBezTo>
                <a:cubicBezTo>
                  <a:pt x="13156" y="23156"/>
                  <a:pt x="13125" y="23187"/>
                  <a:pt x="13125" y="23187"/>
                </a:cubicBezTo>
                <a:cubicBezTo>
                  <a:pt x="13094" y="23187"/>
                  <a:pt x="13125" y="23124"/>
                  <a:pt x="13063" y="23124"/>
                </a:cubicBezTo>
                <a:cubicBezTo>
                  <a:pt x="13063" y="23124"/>
                  <a:pt x="13063" y="23124"/>
                  <a:pt x="13063" y="23124"/>
                </a:cubicBezTo>
                <a:cubicBezTo>
                  <a:pt x="13063" y="23156"/>
                  <a:pt x="13063" y="23218"/>
                  <a:pt x="13063" y="23249"/>
                </a:cubicBezTo>
                <a:cubicBezTo>
                  <a:pt x="13063" y="23312"/>
                  <a:pt x="12969" y="23374"/>
                  <a:pt x="12969" y="23437"/>
                </a:cubicBezTo>
                <a:cubicBezTo>
                  <a:pt x="12969" y="23468"/>
                  <a:pt x="12938" y="23468"/>
                  <a:pt x="12906" y="23437"/>
                </a:cubicBezTo>
                <a:close/>
                <a:moveTo>
                  <a:pt x="13188" y="23656"/>
                </a:moveTo>
                <a:cubicBezTo>
                  <a:pt x="13156" y="23624"/>
                  <a:pt x="13188" y="23593"/>
                  <a:pt x="13219" y="23562"/>
                </a:cubicBezTo>
                <a:cubicBezTo>
                  <a:pt x="13219" y="23562"/>
                  <a:pt x="13219" y="23562"/>
                  <a:pt x="13219" y="23531"/>
                </a:cubicBezTo>
                <a:cubicBezTo>
                  <a:pt x="13188" y="23562"/>
                  <a:pt x="13125" y="23531"/>
                  <a:pt x="13125" y="23468"/>
                </a:cubicBezTo>
                <a:cubicBezTo>
                  <a:pt x="13094" y="23499"/>
                  <a:pt x="13156" y="23562"/>
                  <a:pt x="13063" y="23562"/>
                </a:cubicBezTo>
                <a:cubicBezTo>
                  <a:pt x="13000" y="23531"/>
                  <a:pt x="13031" y="23499"/>
                  <a:pt x="13063" y="23437"/>
                </a:cubicBezTo>
                <a:cubicBezTo>
                  <a:pt x="13094" y="23374"/>
                  <a:pt x="13156" y="23281"/>
                  <a:pt x="13250" y="23218"/>
                </a:cubicBezTo>
                <a:cubicBezTo>
                  <a:pt x="13250" y="23218"/>
                  <a:pt x="13250" y="23218"/>
                  <a:pt x="13250" y="23218"/>
                </a:cubicBezTo>
                <a:cubicBezTo>
                  <a:pt x="13250" y="23249"/>
                  <a:pt x="13250" y="23249"/>
                  <a:pt x="13281" y="23249"/>
                </a:cubicBezTo>
                <a:cubicBezTo>
                  <a:pt x="13313" y="23249"/>
                  <a:pt x="13344" y="23343"/>
                  <a:pt x="13375" y="23312"/>
                </a:cubicBezTo>
                <a:cubicBezTo>
                  <a:pt x="13438" y="23281"/>
                  <a:pt x="13344" y="23218"/>
                  <a:pt x="13375" y="23187"/>
                </a:cubicBezTo>
                <a:cubicBezTo>
                  <a:pt x="13344" y="23187"/>
                  <a:pt x="13375" y="23249"/>
                  <a:pt x="13313" y="23218"/>
                </a:cubicBezTo>
                <a:cubicBezTo>
                  <a:pt x="13281" y="23187"/>
                  <a:pt x="13250" y="23218"/>
                  <a:pt x="13250" y="23218"/>
                </a:cubicBezTo>
                <a:cubicBezTo>
                  <a:pt x="13219" y="23187"/>
                  <a:pt x="13250" y="23156"/>
                  <a:pt x="13250" y="23124"/>
                </a:cubicBezTo>
                <a:cubicBezTo>
                  <a:pt x="13281" y="23093"/>
                  <a:pt x="13281" y="23062"/>
                  <a:pt x="13313" y="23124"/>
                </a:cubicBezTo>
                <a:cubicBezTo>
                  <a:pt x="13313" y="23156"/>
                  <a:pt x="13375" y="23124"/>
                  <a:pt x="13375" y="23187"/>
                </a:cubicBezTo>
                <a:cubicBezTo>
                  <a:pt x="13438" y="23187"/>
                  <a:pt x="13469" y="23218"/>
                  <a:pt x="13500" y="23281"/>
                </a:cubicBezTo>
                <a:cubicBezTo>
                  <a:pt x="13563" y="23343"/>
                  <a:pt x="13469" y="23374"/>
                  <a:pt x="13469" y="23406"/>
                </a:cubicBezTo>
                <a:cubicBezTo>
                  <a:pt x="13406" y="23406"/>
                  <a:pt x="13406" y="23374"/>
                  <a:pt x="13438" y="23312"/>
                </a:cubicBezTo>
                <a:cubicBezTo>
                  <a:pt x="13375" y="23374"/>
                  <a:pt x="13375" y="23406"/>
                  <a:pt x="13406" y="23437"/>
                </a:cubicBezTo>
                <a:cubicBezTo>
                  <a:pt x="13344" y="23499"/>
                  <a:pt x="13344" y="23593"/>
                  <a:pt x="13313" y="23624"/>
                </a:cubicBezTo>
                <a:cubicBezTo>
                  <a:pt x="13250" y="23687"/>
                  <a:pt x="13219" y="23687"/>
                  <a:pt x="13188" y="23656"/>
                </a:cubicBezTo>
                <a:close/>
                <a:moveTo>
                  <a:pt x="13531" y="23937"/>
                </a:moveTo>
                <a:cubicBezTo>
                  <a:pt x="13531" y="23906"/>
                  <a:pt x="13500" y="23906"/>
                  <a:pt x="13469" y="23874"/>
                </a:cubicBezTo>
                <a:cubicBezTo>
                  <a:pt x="13469" y="23843"/>
                  <a:pt x="13500" y="23843"/>
                  <a:pt x="13531" y="23843"/>
                </a:cubicBezTo>
                <a:cubicBezTo>
                  <a:pt x="13531" y="23812"/>
                  <a:pt x="13531" y="23812"/>
                  <a:pt x="13531" y="23781"/>
                </a:cubicBezTo>
                <a:cubicBezTo>
                  <a:pt x="13500" y="23812"/>
                  <a:pt x="13438" y="23781"/>
                  <a:pt x="13438" y="23718"/>
                </a:cubicBezTo>
                <a:cubicBezTo>
                  <a:pt x="13406" y="23749"/>
                  <a:pt x="13438" y="23812"/>
                  <a:pt x="13406" y="23781"/>
                </a:cubicBezTo>
                <a:cubicBezTo>
                  <a:pt x="13375" y="23781"/>
                  <a:pt x="13375" y="23781"/>
                  <a:pt x="13344" y="23781"/>
                </a:cubicBezTo>
                <a:cubicBezTo>
                  <a:pt x="13344" y="23749"/>
                  <a:pt x="13375" y="23718"/>
                  <a:pt x="13375" y="23718"/>
                </a:cubicBezTo>
                <a:cubicBezTo>
                  <a:pt x="13438" y="23624"/>
                  <a:pt x="13563" y="23593"/>
                  <a:pt x="13563" y="23499"/>
                </a:cubicBezTo>
                <a:cubicBezTo>
                  <a:pt x="13594" y="23499"/>
                  <a:pt x="13625" y="23531"/>
                  <a:pt x="13594" y="23593"/>
                </a:cubicBezTo>
                <a:cubicBezTo>
                  <a:pt x="13625" y="23562"/>
                  <a:pt x="13656" y="23562"/>
                  <a:pt x="13688" y="23531"/>
                </a:cubicBezTo>
                <a:cubicBezTo>
                  <a:pt x="13688" y="23499"/>
                  <a:pt x="13688" y="23468"/>
                  <a:pt x="13750" y="23468"/>
                </a:cubicBezTo>
                <a:cubicBezTo>
                  <a:pt x="13875" y="23562"/>
                  <a:pt x="13844" y="23624"/>
                  <a:pt x="13719" y="23718"/>
                </a:cubicBezTo>
                <a:cubicBezTo>
                  <a:pt x="13719" y="23656"/>
                  <a:pt x="13750" y="23593"/>
                  <a:pt x="13688" y="23531"/>
                </a:cubicBezTo>
                <a:cubicBezTo>
                  <a:pt x="13719" y="23593"/>
                  <a:pt x="13688" y="23656"/>
                  <a:pt x="13688" y="23718"/>
                </a:cubicBezTo>
                <a:cubicBezTo>
                  <a:pt x="13688" y="23718"/>
                  <a:pt x="13719" y="23718"/>
                  <a:pt x="13719" y="23718"/>
                </a:cubicBezTo>
                <a:cubicBezTo>
                  <a:pt x="13688" y="23718"/>
                  <a:pt x="13688" y="23718"/>
                  <a:pt x="13688" y="23718"/>
                </a:cubicBezTo>
                <a:cubicBezTo>
                  <a:pt x="13656" y="23781"/>
                  <a:pt x="13625" y="23843"/>
                  <a:pt x="13594" y="23906"/>
                </a:cubicBezTo>
                <a:cubicBezTo>
                  <a:pt x="13563" y="23906"/>
                  <a:pt x="13563" y="23937"/>
                  <a:pt x="13531" y="23937"/>
                </a:cubicBezTo>
                <a:close/>
                <a:moveTo>
                  <a:pt x="13875" y="24156"/>
                </a:moveTo>
                <a:cubicBezTo>
                  <a:pt x="13844" y="24187"/>
                  <a:pt x="13844" y="24249"/>
                  <a:pt x="13781" y="24187"/>
                </a:cubicBezTo>
                <a:cubicBezTo>
                  <a:pt x="13750" y="24124"/>
                  <a:pt x="13781" y="24124"/>
                  <a:pt x="13813" y="24093"/>
                </a:cubicBezTo>
                <a:cubicBezTo>
                  <a:pt x="13813" y="24093"/>
                  <a:pt x="13813" y="24093"/>
                  <a:pt x="13844" y="24062"/>
                </a:cubicBezTo>
                <a:cubicBezTo>
                  <a:pt x="13750" y="24093"/>
                  <a:pt x="13750" y="24031"/>
                  <a:pt x="13750" y="23968"/>
                </a:cubicBezTo>
                <a:cubicBezTo>
                  <a:pt x="13719" y="23999"/>
                  <a:pt x="13719" y="24062"/>
                  <a:pt x="13656" y="24062"/>
                </a:cubicBezTo>
                <a:cubicBezTo>
                  <a:pt x="13656" y="23968"/>
                  <a:pt x="13719" y="23874"/>
                  <a:pt x="13781" y="23812"/>
                </a:cubicBezTo>
                <a:cubicBezTo>
                  <a:pt x="13844" y="23749"/>
                  <a:pt x="13875" y="23687"/>
                  <a:pt x="13906" y="23624"/>
                </a:cubicBezTo>
                <a:cubicBezTo>
                  <a:pt x="13969" y="23687"/>
                  <a:pt x="14031" y="23749"/>
                  <a:pt x="14094" y="23781"/>
                </a:cubicBezTo>
                <a:cubicBezTo>
                  <a:pt x="14125" y="23812"/>
                  <a:pt x="14156" y="23843"/>
                  <a:pt x="14125" y="23906"/>
                </a:cubicBezTo>
                <a:cubicBezTo>
                  <a:pt x="14094" y="23937"/>
                  <a:pt x="14063" y="23968"/>
                  <a:pt x="14031" y="23906"/>
                </a:cubicBezTo>
                <a:cubicBezTo>
                  <a:pt x="14000" y="23906"/>
                  <a:pt x="13969" y="23968"/>
                  <a:pt x="14000" y="23968"/>
                </a:cubicBezTo>
                <a:cubicBezTo>
                  <a:pt x="14094" y="23999"/>
                  <a:pt x="14000" y="23999"/>
                  <a:pt x="13969" y="24031"/>
                </a:cubicBezTo>
                <a:cubicBezTo>
                  <a:pt x="13938" y="24062"/>
                  <a:pt x="13906" y="24124"/>
                  <a:pt x="13875" y="24156"/>
                </a:cubicBezTo>
                <a:close/>
                <a:moveTo>
                  <a:pt x="14125" y="24468"/>
                </a:moveTo>
                <a:cubicBezTo>
                  <a:pt x="14094" y="24468"/>
                  <a:pt x="14094" y="24562"/>
                  <a:pt x="14063" y="24499"/>
                </a:cubicBezTo>
                <a:cubicBezTo>
                  <a:pt x="14000" y="24437"/>
                  <a:pt x="14031" y="24406"/>
                  <a:pt x="14063" y="24406"/>
                </a:cubicBezTo>
                <a:cubicBezTo>
                  <a:pt x="14094" y="24374"/>
                  <a:pt x="14094" y="24374"/>
                  <a:pt x="14094" y="24374"/>
                </a:cubicBezTo>
                <a:cubicBezTo>
                  <a:pt x="14000" y="24406"/>
                  <a:pt x="14000" y="24343"/>
                  <a:pt x="14031" y="24281"/>
                </a:cubicBezTo>
                <a:cubicBezTo>
                  <a:pt x="14000" y="24281"/>
                  <a:pt x="14000" y="24281"/>
                  <a:pt x="14000" y="24281"/>
                </a:cubicBezTo>
                <a:cubicBezTo>
                  <a:pt x="13969" y="24312"/>
                  <a:pt x="13969" y="24374"/>
                  <a:pt x="13938" y="24343"/>
                </a:cubicBezTo>
                <a:cubicBezTo>
                  <a:pt x="13875" y="24312"/>
                  <a:pt x="13938" y="24281"/>
                  <a:pt x="13938" y="24249"/>
                </a:cubicBezTo>
                <a:cubicBezTo>
                  <a:pt x="14000" y="24156"/>
                  <a:pt x="14031" y="24093"/>
                  <a:pt x="14156" y="24062"/>
                </a:cubicBezTo>
                <a:cubicBezTo>
                  <a:pt x="14125" y="23999"/>
                  <a:pt x="14156" y="23968"/>
                  <a:pt x="14188" y="23937"/>
                </a:cubicBezTo>
                <a:cubicBezTo>
                  <a:pt x="14219" y="23937"/>
                  <a:pt x="14250" y="23999"/>
                  <a:pt x="14281" y="24031"/>
                </a:cubicBezTo>
                <a:cubicBezTo>
                  <a:pt x="14250" y="24062"/>
                  <a:pt x="14250" y="24093"/>
                  <a:pt x="14219" y="24093"/>
                </a:cubicBezTo>
                <a:cubicBezTo>
                  <a:pt x="14188" y="24031"/>
                  <a:pt x="14156" y="24062"/>
                  <a:pt x="14156" y="24062"/>
                </a:cubicBezTo>
                <a:cubicBezTo>
                  <a:pt x="14156" y="24093"/>
                  <a:pt x="14188" y="24093"/>
                  <a:pt x="14188" y="24093"/>
                </a:cubicBezTo>
                <a:cubicBezTo>
                  <a:pt x="14188" y="24093"/>
                  <a:pt x="14188" y="24124"/>
                  <a:pt x="14188" y="24156"/>
                </a:cubicBezTo>
                <a:cubicBezTo>
                  <a:pt x="14125" y="24187"/>
                  <a:pt x="14094" y="24249"/>
                  <a:pt x="14063" y="24312"/>
                </a:cubicBezTo>
                <a:cubicBezTo>
                  <a:pt x="14125" y="24249"/>
                  <a:pt x="14188" y="24218"/>
                  <a:pt x="14188" y="24156"/>
                </a:cubicBezTo>
                <a:cubicBezTo>
                  <a:pt x="14250" y="24156"/>
                  <a:pt x="14250" y="24187"/>
                  <a:pt x="14250" y="24218"/>
                </a:cubicBezTo>
                <a:cubicBezTo>
                  <a:pt x="14250" y="24249"/>
                  <a:pt x="14219" y="24281"/>
                  <a:pt x="14250" y="24343"/>
                </a:cubicBezTo>
                <a:cubicBezTo>
                  <a:pt x="14250" y="24343"/>
                  <a:pt x="14281" y="24343"/>
                  <a:pt x="14281" y="24343"/>
                </a:cubicBezTo>
                <a:cubicBezTo>
                  <a:pt x="14281" y="24343"/>
                  <a:pt x="14250" y="24343"/>
                  <a:pt x="14250" y="24343"/>
                </a:cubicBezTo>
                <a:cubicBezTo>
                  <a:pt x="14188" y="24374"/>
                  <a:pt x="14188" y="24437"/>
                  <a:pt x="14125" y="24468"/>
                </a:cubicBezTo>
                <a:close/>
                <a:moveTo>
                  <a:pt x="14500" y="24656"/>
                </a:moveTo>
                <a:cubicBezTo>
                  <a:pt x="14438" y="24718"/>
                  <a:pt x="14406" y="24812"/>
                  <a:pt x="14313" y="24843"/>
                </a:cubicBezTo>
                <a:cubicBezTo>
                  <a:pt x="14250" y="24781"/>
                  <a:pt x="14250" y="24749"/>
                  <a:pt x="14344" y="24718"/>
                </a:cubicBezTo>
                <a:cubicBezTo>
                  <a:pt x="14281" y="24718"/>
                  <a:pt x="14250" y="24624"/>
                  <a:pt x="14188" y="24656"/>
                </a:cubicBezTo>
                <a:cubicBezTo>
                  <a:pt x="14188" y="24656"/>
                  <a:pt x="14156" y="24624"/>
                  <a:pt x="14156" y="24624"/>
                </a:cubicBezTo>
                <a:cubicBezTo>
                  <a:pt x="14219" y="24562"/>
                  <a:pt x="14188" y="24468"/>
                  <a:pt x="14313" y="24437"/>
                </a:cubicBezTo>
                <a:cubicBezTo>
                  <a:pt x="14406" y="24406"/>
                  <a:pt x="14406" y="24312"/>
                  <a:pt x="14469" y="24281"/>
                </a:cubicBezTo>
                <a:cubicBezTo>
                  <a:pt x="14563" y="24343"/>
                  <a:pt x="14563" y="24468"/>
                  <a:pt x="14625" y="24562"/>
                </a:cubicBezTo>
                <a:cubicBezTo>
                  <a:pt x="14594" y="24593"/>
                  <a:pt x="14531" y="24624"/>
                  <a:pt x="14500" y="24656"/>
                </a:cubicBezTo>
                <a:close/>
                <a:moveTo>
                  <a:pt x="14625" y="22343"/>
                </a:moveTo>
                <a:cubicBezTo>
                  <a:pt x="14594" y="22343"/>
                  <a:pt x="14531" y="22343"/>
                  <a:pt x="14500" y="22343"/>
                </a:cubicBezTo>
                <a:cubicBezTo>
                  <a:pt x="14531" y="22312"/>
                  <a:pt x="14563" y="22281"/>
                  <a:pt x="14594" y="22281"/>
                </a:cubicBezTo>
                <a:cubicBezTo>
                  <a:pt x="14594" y="22249"/>
                  <a:pt x="14656" y="22249"/>
                  <a:pt x="14688" y="22187"/>
                </a:cubicBezTo>
                <a:cubicBezTo>
                  <a:pt x="14688" y="22187"/>
                  <a:pt x="14719" y="22218"/>
                  <a:pt x="14719" y="22218"/>
                </a:cubicBezTo>
                <a:cubicBezTo>
                  <a:pt x="14750" y="22281"/>
                  <a:pt x="14688" y="22343"/>
                  <a:pt x="14625" y="22343"/>
                </a:cubicBezTo>
                <a:close/>
                <a:moveTo>
                  <a:pt x="15250" y="23937"/>
                </a:moveTo>
                <a:cubicBezTo>
                  <a:pt x="15219" y="23999"/>
                  <a:pt x="15188" y="24093"/>
                  <a:pt x="15250" y="24156"/>
                </a:cubicBezTo>
                <a:cubicBezTo>
                  <a:pt x="15188" y="24093"/>
                  <a:pt x="15125" y="24062"/>
                  <a:pt x="15063" y="24093"/>
                </a:cubicBezTo>
                <a:cubicBezTo>
                  <a:pt x="15031" y="24124"/>
                  <a:pt x="15063" y="24156"/>
                  <a:pt x="15063" y="24156"/>
                </a:cubicBezTo>
                <a:cubicBezTo>
                  <a:pt x="14969" y="24156"/>
                  <a:pt x="14906" y="24156"/>
                  <a:pt x="14813" y="24156"/>
                </a:cubicBezTo>
                <a:cubicBezTo>
                  <a:pt x="14813" y="24156"/>
                  <a:pt x="14813" y="24156"/>
                  <a:pt x="14813" y="24156"/>
                </a:cubicBezTo>
                <a:cubicBezTo>
                  <a:pt x="14813" y="24124"/>
                  <a:pt x="14844" y="24124"/>
                  <a:pt x="14844" y="24093"/>
                </a:cubicBezTo>
                <a:cubicBezTo>
                  <a:pt x="14875" y="24093"/>
                  <a:pt x="14906" y="24093"/>
                  <a:pt x="14906" y="24062"/>
                </a:cubicBezTo>
                <a:lnTo>
                  <a:pt x="14906" y="24062"/>
                </a:lnTo>
                <a:cubicBezTo>
                  <a:pt x="14875" y="24062"/>
                  <a:pt x="14875" y="24062"/>
                  <a:pt x="14844" y="24093"/>
                </a:cubicBezTo>
                <a:cubicBezTo>
                  <a:pt x="14813" y="24093"/>
                  <a:pt x="14781" y="24124"/>
                  <a:pt x="14750" y="24093"/>
                </a:cubicBezTo>
                <a:cubicBezTo>
                  <a:pt x="14750" y="24124"/>
                  <a:pt x="14750" y="24124"/>
                  <a:pt x="14750" y="24124"/>
                </a:cubicBezTo>
                <a:cubicBezTo>
                  <a:pt x="14750" y="24124"/>
                  <a:pt x="14750" y="24124"/>
                  <a:pt x="14750" y="24093"/>
                </a:cubicBezTo>
                <a:cubicBezTo>
                  <a:pt x="14750" y="23968"/>
                  <a:pt x="14688" y="23843"/>
                  <a:pt x="14688" y="23718"/>
                </a:cubicBezTo>
                <a:cubicBezTo>
                  <a:pt x="14750" y="23749"/>
                  <a:pt x="14781" y="23812"/>
                  <a:pt x="14844" y="23843"/>
                </a:cubicBezTo>
                <a:cubicBezTo>
                  <a:pt x="14875" y="23843"/>
                  <a:pt x="14844" y="23812"/>
                  <a:pt x="14875" y="23781"/>
                </a:cubicBezTo>
                <a:cubicBezTo>
                  <a:pt x="14875" y="23749"/>
                  <a:pt x="14875" y="23718"/>
                  <a:pt x="14906" y="23687"/>
                </a:cubicBezTo>
                <a:cubicBezTo>
                  <a:pt x="14938" y="23593"/>
                  <a:pt x="15063" y="23593"/>
                  <a:pt x="15125" y="23562"/>
                </a:cubicBezTo>
                <a:cubicBezTo>
                  <a:pt x="15156" y="23562"/>
                  <a:pt x="15156" y="23531"/>
                  <a:pt x="15156" y="23562"/>
                </a:cubicBezTo>
                <a:cubicBezTo>
                  <a:pt x="15188" y="23624"/>
                  <a:pt x="15125" y="23718"/>
                  <a:pt x="15063" y="23718"/>
                </a:cubicBezTo>
                <a:cubicBezTo>
                  <a:pt x="15000" y="23718"/>
                  <a:pt x="14969" y="23718"/>
                  <a:pt x="15000" y="23781"/>
                </a:cubicBezTo>
                <a:cubicBezTo>
                  <a:pt x="15000" y="23812"/>
                  <a:pt x="14969" y="23843"/>
                  <a:pt x="14938" y="23874"/>
                </a:cubicBezTo>
                <a:cubicBezTo>
                  <a:pt x="14844" y="23874"/>
                  <a:pt x="14875" y="23906"/>
                  <a:pt x="14906" y="23937"/>
                </a:cubicBezTo>
                <a:cubicBezTo>
                  <a:pt x="14906" y="23968"/>
                  <a:pt x="14938" y="23999"/>
                  <a:pt x="14938" y="24031"/>
                </a:cubicBezTo>
                <a:cubicBezTo>
                  <a:pt x="14938" y="24031"/>
                  <a:pt x="14938" y="24031"/>
                  <a:pt x="14906" y="24031"/>
                </a:cubicBezTo>
                <a:cubicBezTo>
                  <a:pt x="14938" y="24062"/>
                  <a:pt x="14938" y="24062"/>
                  <a:pt x="14938" y="24031"/>
                </a:cubicBezTo>
                <a:cubicBezTo>
                  <a:pt x="14969" y="24031"/>
                  <a:pt x="15000" y="24124"/>
                  <a:pt x="15031" y="24031"/>
                </a:cubicBezTo>
                <a:cubicBezTo>
                  <a:pt x="15031" y="24031"/>
                  <a:pt x="15031" y="23999"/>
                  <a:pt x="15063" y="23999"/>
                </a:cubicBezTo>
                <a:cubicBezTo>
                  <a:pt x="15156" y="24031"/>
                  <a:pt x="15156" y="23937"/>
                  <a:pt x="15156" y="23874"/>
                </a:cubicBezTo>
                <a:cubicBezTo>
                  <a:pt x="15156" y="23843"/>
                  <a:pt x="15156" y="23843"/>
                  <a:pt x="15156" y="23812"/>
                </a:cubicBezTo>
                <a:cubicBezTo>
                  <a:pt x="15219" y="23843"/>
                  <a:pt x="15250" y="23874"/>
                  <a:pt x="15250" y="23937"/>
                </a:cubicBezTo>
                <a:close/>
                <a:moveTo>
                  <a:pt x="15281" y="22937"/>
                </a:moveTo>
                <a:cubicBezTo>
                  <a:pt x="15281" y="22968"/>
                  <a:pt x="15250" y="22968"/>
                  <a:pt x="15219" y="22937"/>
                </a:cubicBezTo>
                <a:cubicBezTo>
                  <a:pt x="15219" y="22906"/>
                  <a:pt x="15188" y="22874"/>
                  <a:pt x="15188" y="22843"/>
                </a:cubicBezTo>
                <a:cubicBezTo>
                  <a:pt x="15219" y="22843"/>
                  <a:pt x="15219" y="22812"/>
                  <a:pt x="15219" y="22812"/>
                </a:cubicBezTo>
                <a:cubicBezTo>
                  <a:pt x="15250" y="22812"/>
                  <a:pt x="15250" y="22749"/>
                  <a:pt x="15281" y="22781"/>
                </a:cubicBezTo>
                <a:cubicBezTo>
                  <a:pt x="15313" y="22812"/>
                  <a:pt x="15281" y="22874"/>
                  <a:pt x="15281" y="22937"/>
                </a:cubicBezTo>
                <a:close/>
                <a:moveTo>
                  <a:pt x="15344" y="17343"/>
                </a:moveTo>
                <a:cubicBezTo>
                  <a:pt x="15313" y="17374"/>
                  <a:pt x="15281" y="17406"/>
                  <a:pt x="15281" y="17374"/>
                </a:cubicBezTo>
                <a:cubicBezTo>
                  <a:pt x="15250" y="17343"/>
                  <a:pt x="15219" y="17281"/>
                  <a:pt x="15250" y="17218"/>
                </a:cubicBezTo>
                <a:cubicBezTo>
                  <a:pt x="15250" y="17218"/>
                  <a:pt x="15250" y="17218"/>
                  <a:pt x="15281" y="17218"/>
                </a:cubicBezTo>
                <a:cubicBezTo>
                  <a:pt x="15281" y="17218"/>
                  <a:pt x="15281" y="17218"/>
                  <a:pt x="15281" y="17218"/>
                </a:cubicBezTo>
                <a:cubicBezTo>
                  <a:pt x="15281" y="17249"/>
                  <a:pt x="15313" y="17249"/>
                  <a:pt x="15344" y="17249"/>
                </a:cubicBezTo>
                <a:cubicBezTo>
                  <a:pt x="15344" y="17281"/>
                  <a:pt x="15406" y="17343"/>
                  <a:pt x="15344" y="17343"/>
                </a:cubicBezTo>
                <a:close/>
                <a:moveTo>
                  <a:pt x="15344" y="17249"/>
                </a:moveTo>
                <a:cubicBezTo>
                  <a:pt x="15344" y="17218"/>
                  <a:pt x="15313" y="17218"/>
                  <a:pt x="15281" y="17218"/>
                </a:cubicBezTo>
                <a:cubicBezTo>
                  <a:pt x="15281" y="17218"/>
                  <a:pt x="15281" y="17187"/>
                  <a:pt x="15313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87"/>
                  <a:pt x="15281" y="17187"/>
                  <a:pt x="15281" y="17187"/>
                </a:cubicBezTo>
                <a:cubicBezTo>
                  <a:pt x="15281" y="17156"/>
                  <a:pt x="15250" y="17156"/>
                  <a:pt x="15250" y="17124"/>
                </a:cubicBezTo>
                <a:cubicBezTo>
                  <a:pt x="15313" y="17093"/>
                  <a:pt x="15344" y="17156"/>
                  <a:pt x="15375" y="17218"/>
                </a:cubicBezTo>
                <a:cubicBezTo>
                  <a:pt x="15438" y="17249"/>
                  <a:pt x="15375" y="17249"/>
                  <a:pt x="15344" y="17249"/>
                </a:cubicBezTo>
                <a:close/>
                <a:moveTo>
                  <a:pt x="17438" y="24343"/>
                </a:moveTo>
                <a:cubicBezTo>
                  <a:pt x="17438" y="24437"/>
                  <a:pt x="17406" y="24374"/>
                  <a:pt x="17375" y="24374"/>
                </a:cubicBezTo>
                <a:cubicBezTo>
                  <a:pt x="17375" y="24374"/>
                  <a:pt x="17375" y="24374"/>
                  <a:pt x="17375" y="24406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74"/>
                  <a:pt x="17375" y="24374"/>
                  <a:pt x="17375" y="24374"/>
                </a:cubicBezTo>
                <a:cubicBezTo>
                  <a:pt x="17375" y="24343"/>
                  <a:pt x="17281" y="24312"/>
                  <a:pt x="17344" y="24281"/>
                </a:cubicBezTo>
                <a:cubicBezTo>
                  <a:pt x="17406" y="24249"/>
                  <a:pt x="17406" y="24312"/>
                  <a:pt x="17438" y="24343"/>
                </a:cubicBezTo>
                <a:close/>
                <a:moveTo>
                  <a:pt x="17156" y="23937"/>
                </a:moveTo>
                <a:cubicBezTo>
                  <a:pt x="17156" y="23937"/>
                  <a:pt x="17156" y="23937"/>
                  <a:pt x="17156" y="23968"/>
                </a:cubicBezTo>
                <a:cubicBezTo>
                  <a:pt x="17156" y="23968"/>
                  <a:pt x="17156" y="23968"/>
                  <a:pt x="17156" y="23968"/>
                </a:cubicBezTo>
                <a:cubicBezTo>
                  <a:pt x="17156" y="23968"/>
                  <a:pt x="17156" y="23937"/>
                  <a:pt x="17156" y="23937"/>
                </a:cubicBezTo>
                <a:cubicBezTo>
                  <a:pt x="17156" y="23937"/>
                  <a:pt x="17156" y="23937"/>
                  <a:pt x="17156" y="23937"/>
                </a:cubicBezTo>
                <a:close/>
                <a:moveTo>
                  <a:pt x="17125" y="21624"/>
                </a:moveTo>
                <a:cubicBezTo>
                  <a:pt x="17188" y="21593"/>
                  <a:pt x="17188" y="21656"/>
                  <a:pt x="17219" y="21687"/>
                </a:cubicBezTo>
                <a:cubicBezTo>
                  <a:pt x="17188" y="21687"/>
                  <a:pt x="17125" y="21687"/>
                  <a:pt x="17125" y="21656"/>
                </a:cubicBezTo>
                <a:cubicBezTo>
                  <a:pt x="17094" y="21624"/>
                  <a:pt x="17125" y="21624"/>
                  <a:pt x="17125" y="21624"/>
                </a:cubicBezTo>
                <a:close/>
                <a:moveTo>
                  <a:pt x="17219" y="21906"/>
                </a:moveTo>
                <a:cubicBezTo>
                  <a:pt x="17219" y="21906"/>
                  <a:pt x="17219" y="21906"/>
                  <a:pt x="17219" y="21906"/>
                </a:cubicBezTo>
                <a:cubicBezTo>
                  <a:pt x="17219" y="21937"/>
                  <a:pt x="17188" y="21937"/>
                  <a:pt x="17188" y="21906"/>
                </a:cubicBezTo>
                <a:cubicBezTo>
                  <a:pt x="17125" y="21906"/>
                  <a:pt x="17125" y="21843"/>
                  <a:pt x="17125" y="21812"/>
                </a:cubicBezTo>
                <a:cubicBezTo>
                  <a:pt x="17125" y="21812"/>
                  <a:pt x="17156" y="21812"/>
                  <a:pt x="17156" y="21812"/>
                </a:cubicBezTo>
                <a:cubicBezTo>
                  <a:pt x="17188" y="21812"/>
                  <a:pt x="17188" y="21812"/>
                  <a:pt x="17219" y="21843"/>
                </a:cubicBezTo>
                <a:cubicBezTo>
                  <a:pt x="17125" y="21874"/>
                  <a:pt x="17188" y="21874"/>
                  <a:pt x="17219" y="21906"/>
                </a:cubicBezTo>
                <a:close/>
                <a:moveTo>
                  <a:pt x="17094" y="21906"/>
                </a:moveTo>
                <a:cubicBezTo>
                  <a:pt x="17094" y="21937"/>
                  <a:pt x="17063" y="21937"/>
                  <a:pt x="17031" y="21937"/>
                </a:cubicBezTo>
                <a:cubicBezTo>
                  <a:pt x="17000" y="21968"/>
                  <a:pt x="17000" y="21968"/>
                  <a:pt x="16969" y="21906"/>
                </a:cubicBezTo>
                <a:cubicBezTo>
                  <a:pt x="16969" y="21874"/>
                  <a:pt x="17000" y="21843"/>
                  <a:pt x="17031" y="21843"/>
                </a:cubicBezTo>
                <a:cubicBezTo>
                  <a:pt x="17063" y="21843"/>
                  <a:pt x="17094" y="21874"/>
                  <a:pt x="17094" y="21906"/>
                </a:cubicBezTo>
                <a:close/>
                <a:moveTo>
                  <a:pt x="16781" y="16562"/>
                </a:moveTo>
                <a:cubicBezTo>
                  <a:pt x="16750" y="16593"/>
                  <a:pt x="16750" y="16624"/>
                  <a:pt x="16719" y="16624"/>
                </a:cubicBezTo>
                <a:cubicBezTo>
                  <a:pt x="16656" y="16624"/>
                  <a:pt x="16688" y="16562"/>
                  <a:pt x="16688" y="16531"/>
                </a:cubicBezTo>
                <a:cubicBezTo>
                  <a:pt x="16688" y="16531"/>
                  <a:pt x="16688" y="16531"/>
                  <a:pt x="16688" y="16531"/>
                </a:cubicBezTo>
                <a:cubicBezTo>
                  <a:pt x="16688" y="16499"/>
                  <a:pt x="16688" y="16437"/>
                  <a:pt x="16688" y="16406"/>
                </a:cubicBezTo>
                <a:cubicBezTo>
                  <a:pt x="16719" y="16374"/>
                  <a:pt x="16750" y="16374"/>
                  <a:pt x="16750" y="16406"/>
                </a:cubicBezTo>
                <a:cubicBezTo>
                  <a:pt x="16750" y="16406"/>
                  <a:pt x="16750" y="16406"/>
                  <a:pt x="16750" y="16406"/>
                </a:cubicBezTo>
                <a:cubicBezTo>
                  <a:pt x="16750" y="16437"/>
                  <a:pt x="16688" y="16531"/>
                  <a:pt x="16813" y="16531"/>
                </a:cubicBezTo>
                <a:cubicBezTo>
                  <a:pt x="16781" y="16531"/>
                  <a:pt x="16781" y="16562"/>
                  <a:pt x="16781" y="16562"/>
                </a:cubicBezTo>
                <a:close/>
                <a:moveTo>
                  <a:pt x="17000" y="16656"/>
                </a:moveTo>
                <a:cubicBezTo>
                  <a:pt x="16969" y="16656"/>
                  <a:pt x="16938" y="16656"/>
                  <a:pt x="16906" y="16624"/>
                </a:cubicBezTo>
                <a:cubicBezTo>
                  <a:pt x="16813" y="16624"/>
                  <a:pt x="16875" y="16593"/>
                  <a:pt x="16875" y="16562"/>
                </a:cubicBezTo>
                <a:cubicBezTo>
                  <a:pt x="16844" y="16468"/>
                  <a:pt x="16813" y="16406"/>
                  <a:pt x="16813" y="16343"/>
                </a:cubicBezTo>
                <a:cubicBezTo>
                  <a:pt x="16781" y="16312"/>
                  <a:pt x="16781" y="16281"/>
                  <a:pt x="16781" y="16249"/>
                </a:cubicBezTo>
                <a:cubicBezTo>
                  <a:pt x="16906" y="16312"/>
                  <a:pt x="16875" y="16437"/>
                  <a:pt x="17000" y="16468"/>
                </a:cubicBezTo>
                <a:cubicBezTo>
                  <a:pt x="17000" y="16468"/>
                  <a:pt x="17000" y="16499"/>
                  <a:pt x="17000" y="16499"/>
                </a:cubicBezTo>
                <a:cubicBezTo>
                  <a:pt x="16969" y="16499"/>
                  <a:pt x="16969" y="16531"/>
                  <a:pt x="16969" y="16531"/>
                </a:cubicBezTo>
                <a:cubicBezTo>
                  <a:pt x="16969" y="16531"/>
                  <a:pt x="16969" y="16531"/>
                  <a:pt x="17000" y="16531"/>
                </a:cubicBezTo>
                <a:cubicBezTo>
                  <a:pt x="17000" y="16531"/>
                  <a:pt x="17000" y="16531"/>
                  <a:pt x="17000" y="16531"/>
                </a:cubicBezTo>
                <a:cubicBezTo>
                  <a:pt x="17000" y="16562"/>
                  <a:pt x="16969" y="16593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31" y="16624"/>
                  <a:pt x="17031" y="16624"/>
                  <a:pt x="17031" y="16624"/>
                </a:cubicBezTo>
                <a:cubicBezTo>
                  <a:pt x="17000" y="16624"/>
                  <a:pt x="17063" y="16656"/>
                  <a:pt x="17000" y="16656"/>
                </a:cubicBezTo>
                <a:close/>
                <a:moveTo>
                  <a:pt x="16719" y="21281"/>
                </a:moveTo>
                <a:cubicBezTo>
                  <a:pt x="16750" y="21249"/>
                  <a:pt x="16781" y="21249"/>
                  <a:pt x="16813" y="21312"/>
                </a:cubicBezTo>
                <a:cubicBezTo>
                  <a:pt x="16813" y="21343"/>
                  <a:pt x="16781" y="21374"/>
                  <a:pt x="16750" y="21374"/>
                </a:cubicBezTo>
                <a:cubicBezTo>
                  <a:pt x="16750" y="21374"/>
                  <a:pt x="16750" y="21374"/>
                  <a:pt x="16750" y="21374"/>
                </a:cubicBezTo>
                <a:cubicBezTo>
                  <a:pt x="16750" y="21343"/>
                  <a:pt x="16656" y="21343"/>
                  <a:pt x="16719" y="21281"/>
                </a:cubicBezTo>
                <a:close/>
                <a:moveTo>
                  <a:pt x="16719" y="22406"/>
                </a:moveTo>
                <a:cubicBezTo>
                  <a:pt x="16719" y="22374"/>
                  <a:pt x="16688" y="22343"/>
                  <a:pt x="16688" y="22281"/>
                </a:cubicBezTo>
                <a:cubicBezTo>
                  <a:pt x="16688" y="22281"/>
                  <a:pt x="16688" y="22249"/>
                  <a:pt x="16688" y="22249"/>
                </a:cubicBezTo>
                <a:cubicBezTo>
                  <a:pt x="16813" y="22249"/>
                  <a:pt x="16750" y="22124"/>
                  <a:pt x="16781" y="22093"/>
                </a:cubicBezTo>
                <a:cubicBezTo>
                  <a:pt x="16781" y="22093"/>
                  <a:pt x="16813" y="22093"/>
                  <a:pt x="16813" y="22093"/>
                </a:cubicBezTo>
                <a:cubicBezTo>
                  <a:pt x="16813" y="22093"/>
                  <a:pt x="16813" y="22093"/>
                  <a:pt x="16813" y="22093"/>
                </a:cubicBezTo>
                <a:cubicBezTo>
                  <a:pt x="16813" y="22124"/>
                  <a:pt x="16813" y="22124"/>
                  <a:pt x="16813" y="22124"/>
                </a:cubicBezTo>
                <a:cubicBezTo>
                  <a:pt x="16844" y="22124"/>
                  <a:pt x="16813" y="22187"/>
                  <a:pt x="16844" y="22187"/>
                </a:cubicBezTo>
                <a:cubicBezTo>
                  <a:pt x="16844" y="22187"/>
                  <a:pt x="16844" y="22187"/>
                  <a:pt x="16844" y="22187"/>
                </a:cubicBezTo>
                <a:cubicBezTo>
                  <a:pt x="16875" y="22218"/>
                  <a:pt x="16875" y="22249"/>
                  <a:pt x="16906" y="22281"/>
                </a:cubicBezTo>
                <a:cubicBezTo>
                  <a:pt x="16844" y="22312"/>
                  <a:pt x="16781" y="22343"/>
                  <a:pt x="16719" y="22406"/>
                </a:cubicBezTo>
                <a:close/>
                <a:moveTo>
                  <a:pt x="16906" y="22656"/>
                </a:moveTo>
                <a:cubicBezTo>
                  <a:pt x="16875" y="22687"/>
                  <a:pt x="16906" y="22781"/>
                  <a:pt x="16875" y="22812"/>
                </a:cubicBezTo>
                <a:cubicBezTo>
                  <a:pt x="16781" y="22812"/>
                  <a:pt x="16844" y="22749"/>
                  <a:pt x="16844" y="22718"/>
                </a:cubicBezTo>
                <a:cubicBezTo>
                  <a:pt x="16875" y="22687"/>
                  <a:pt x="16875" y="22656"/>
                  <a:pt x="16844" y="22624"/>
                </a:cubicBezTo>
                <a:cubicBezTo>
                  <a:pt x="16813" y="22593"/>
                  <a:pt x="16813" y="22531"/>
                  <a:pt x="16844" y="22531"/>
                </a:cubicBezTo>
                <a:cubicBezTo>
                  <a:pt x="16906" y="22499"/>
                  <a:pt x="16875" y="22593"/>
                  <a:pt x="16906" y="22593"/>
                </a:cubicBezTo>
                <a:cubicBezTo>
                  <a:pt x="16938" y="22593"/>
                  <a:pt x="16906" y="22624"/>
                  <a:pt x="16906" y="22656"/>
                </a:cubicBezTo>
                <a:close/>
                <a:moveTo>
                  <a:pt x="17000" y="21062"/>
                </a:moveTo>
                <a:cubicBezTo>
                  <a:pt x="17031" y="21062"/>
                  <a:pt x="17031" y="21093"/>
                  <a:pt x="17063" y="21124"/>
                </a:cubicBezTo>
                <a:cubicBezTo>
                  <a:pt x="17063" y="21156"/>
                  <a:pt x="17031" y="21156"/>
                  <a:pt x="17000" y="21156"/>
                </a:cubicBezTo>
                <a:cubicBezTo>
                  <a:pt x="16969" y="21156"/>
                  <a:pt x="16969" y="21124"/>
                  <a:pt x="16969" y="21093"/>
                </a:cubicBezTo>
                <a:cubicBezTo>
                  <a:pt x="16969" y="21062"/>
                  <a:pt x="16969" y="21062"/>
                  <a:pt x="17000" y="21062"/>
                </a:cubicBezTo>
                <a:close/>
                <a:moveTo>
                  <a:pt x="17063" y="22781"/>
                </a:moveTo>
                <a:cubicBezTo>
                  <a:pt x="16969" y="22749"/>
                  <a:pt x="16969" y="22718"/>
                  <a:pt x="17000" y="22687"/>
                </a:cubicBezTo>
                <a:cubicBezTo>
                  <a:pt x="17000" y="22656"/>
                  <a:pt x="17000" y="22656"/>
                  <a:pt x="17031" y="22656"/>
                </a:cubicBezTo>
                <a:cubicBezTo>
                  <a:pt x="17063" y="22687"/>
                  <a:pt x="17031" y="22718"/>
                  <a:pt x="17063" y="22781"/>
                </a:cubicBezTo>
                <a:close/>
                <a:moveTo>
                  <a:pt x="17063" y="22624"/>
                </a:moveTo>
                <a:cubicBezTo>
                  <a:pt x="17000" y="22624"/>
                  <a:pt x="17000" y="22531"/>
                  <a:pt x="16969" y="22499"/>
                </a:cubicBezTo>
                <a:cubicBezTo>
                  <a:pt x="16969" y="22499"/>
                  <a:pt x="16969" y="22468"/>
                  <a:pt x="17000" y="22468"/>
                </a:cubicBezTo>
                <a:cubicBezTo>
                  <a:pt x="17063" y="22468"/>
                  <a:pt x="17094" y="22531"/>
                  <a:pt x="17094" y="22562"/>
                </a:cubicBezTo>
                <a:cubicBezTo>
                  <a:pt x="17094" y="22593"/>
                  <a:pt x="17094" y="22624"/>
                  <a:pt x="17063" y="22624"/>
                </a:cubicBezTo>
                <a:close/>
                <a:moveTo>
                  <a:pt x="17063" y="21999"/>
                </a:moveTo>
                <a:cubicBezTo>
                  <a:pt x="17094" y="21999"/>
                  <a:pt x="17125" y="21968"/>
                  <a:pt x="17125" y="21999"/>
                </a:cubicBezTo>
                <a:cubicBezTo>
                  <a:pt x="17156" y="22031"/>
                  <a:pt x="17188" y="22062"/>
                  <a:pt x="17188" y="22124"/>
                </a:cubicBezTo>
                <a:cubicBezTo>
                  <a:pt x="17125" y="22124"/>
                  <a:pt x="17125" y="22093"/>
                  <a:pt x="17094" y="22031"/>
                </a:cubicBezTo>
                <a:cubicBezTo>
                  <a:pt x="17094" y="22031"/>
                  <a:pt x="17063" y="22031"/>
                  <a:pt x="17063" y="21999"/>
                </a:cubicBezTo>
                <a:close/>
                <a:moveTo>
                  <a:pt x="17219" y="22749"/>
                </a:moveTo>
                <a:cubicBezTo>
                  <a:pt x="17188" y="22749"/>
                  <a:pt x="17156" y="22749"/>
                  <a:pt x="17156" y="22718"/>
                </a:cubicBezTo>
                <a:cubicBezTo>
                  <a:pt x="17188" y="22656"/>
                  <a:pt x="17031" y="22624"/>
                  <a:pt x="17156" y="22531"/>
                </a:cubicBezTo>
                <a:cubicBezTo>
                  <a:pt x="17188" y="22499"/>
                  <a:pt x="17094" y="22499"/>
                  <a:pt x="17125" y="22437"/>
                </a:cubicBezTo>
                <a:cubicBezTo>
                  <a:pt x="17156" y="22437"/>
                  <a:pt x="17188" y="22437"/>
                  <a:pt x="17219" y="22468"/>
                </a:cubicBezTo>
                <a:cubicBezTo>
                  <a:pt x="17219" y="22531"/>
                  <a:pt x="17219" y="22624"/>
                  <a:pt x="17219" y="22718"/>
                </a:cubicBezTo>
                <a:cubicBezTo>
                  <a:pt x="17219" y="22749"/>
                  <a:pt x="17219" y="22749"/>
                  <a:pt x="17219" y="22749"/>
                </a:cubicBezTo>
                <a:close/>
                <a:moveTo>
                  <a:pt x="17969" y="25062"/>
                </a:move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ubicBezTo>
                  <a:pt x="17969" y="25062"/>
                  <a:pt x="17969" y="25062"/>
                  <a:pt x="17969" y="25062"/>
                </a:cubicBezTo>
                <a:close/>
                <a:moveTo>
                  <a:pt x="17969" y="25156"/>
                </a:moveTo>
                <a:cubicBezTo>
                  <a:pt x="17906" y="25093"/>
                  <a:pt x="17906" y="25093"/>
                  <a:pt x="17969" y="25062"/>
                </a:cubicBezTo>
                <a:cubicBezTo>
                  <a:pt x="18000" y="25093"/>
                  <a:pt x="17969" y="25124"/>
                  <a:pt x="17969" y="25156"/>
                </a:cubicBezTo>
                <a:close/>
                <a:moveTo>
                  <a:pt x="19750" y="19687"/>
                </a:moveTo>
                <a:cubicBezTo>
                  <a:pt x="19750" y="19656"/>
                  <a:pt x="19813" y="19718"/>
                  <a:pt x="19813" y="19718"/>
                </a:cubicBezTo>
                <a:cubicBezTo>
                  <a:pt x="19844" y="19749"/>
                  <a:pt x="19875" y="19718"/>
                  <a:pt x="19875" y="19718"/>
                </a:cubicBezTo>
                <a:cubicBezTo>
                  <a:pt x="19906" y="19749"/>
                  <a:pt x="19906" y="19781"/>
                  <a:pt x="19906" y="19812"/>
                </a:cubicBezTo>
                <a:cubicBezTo>
                  <a:pt x="19906" y="19843"/>
                  <a:pt x="19906" y="19843"/>
                  <a:pt x="19875" y="19843"/>
                </a:cubicBezTo>
                <a:cubicBezTo>
                  <a:pt x="19844" y="19843"/>
                  <a:pt x="19813" y="19781"/>
                  <a:pt x="19750" y="19781"/>
                </a:cubicBezTo>
                <a:cubicBezTo>
                  <a:pt x="19750" y="19749"/>
                  <a:pt x="19719" y="19718"/>
                  <a:pt x="19750" y="19687"/>
                </a:cubicBezTo>
                <a:close/>
                <a:moveTo>
                  <a:pt x="19719" y="20531"/>
                </a:moveTo>
                <a:cubicBezTo>
                  <a:pt x="19719" y="20562"/>
                  <a:pt x="19719" y="20593"/>
                  <a:pt x="19656" y="20624"/>
                </a:cubicBezTo>
                <a:cubicBezTo>
                  <a:pt x="19625" y="20624"/>
                  <a:pt x="19656" y="20593"/>
                  <a:pt x="19656" y="20562"/>
                </a:cubicBezTo>
                <a:cubicBezTo>
                  <a:pt x="19656" y="20531"/>
                  <a:pt x="19656" y="20499"/>
                  <a:pt x="19688" y="20499"/>
                </a:cubicBezTo>
                <a:cubicBezTo>
                  <a:pt x="19719" y="20499"/>
                  <a:pt x="19750" y="20499"/>
                  <a:pt x="19719" y="20531"/>
                </a:cubicBezTo>
                <a:close/>
                <a:moveTo>
                  <a:pt x="19781" y="19499"/>
                </a:moveTo>
                <a:cubicBezTo>
                  <a:pt x="19781" y="19531"/>
                  <a:pt x="19813" y="19562"/>
                  <a:pt x="19844" y="19562"/>
                </a:cubicBezTo>
                <a:cubicBezTo>
                  <a:pt x="19813" y="19593"/>
                  <a:pt x="19781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50" y="19624"/>
                  <a:pt x="19750" y="19624"/>
                  <a:pt x="19750" y="19624"/>
                </a:cubicBezTo>
                <a:cubicBezTo>
                  <a:pt x="19719" y="19593"/>
                  <a:pt x="19688" y="19562"/>
                  <a:pt x="19719" y="19499"/>
                </a:cubicBezTo>
                <a:cubicBezTo>
                  <a:pt x="19688" y="19499"/>
                  <a:pt x="19688" y="19499"/>
                  <a:pt x="19656" y="19468"/>
                </a:cubicBezTo>
                <a:cubicBezTo>
                  <a:pt x="19688" y="19499"/>
                  <a:pt x="19688" y="19499"/>
                  <a:pt x="19719" y="19499"/>
                </a:cubicBezTo>
                <a:cubicBezTo>
                  <a:pt x="19719" y="19499"/>
                  <a:pt x="19750" y="19499"/>
                  <a:pt x="19781" y="19499"/>
                </a:cubicBezTo>
                <a:cubicBezTo>
                  <a:pt x="19813" y="19468"/>
                  <a:pt x="19875" y="19437"/>
                  <a:pt x="19938" y="19437"/>
                </a:cubicBezTo>
                <a:cubicBezTo>
                  <a:pt x="19875" y="19437"/>
                  <a:pt x="19813" y="19468"/>
                  <a:pt x="19781" y="19499"/>
                </a:cubicBezTo>
                <a:close/>
                <a:moveTo>
                  <a:pt x="19750" y="19249"/>
                </a:moveTo>
                <a:cubicBezTo>
                  <a:pt x="19813" y="19281"/>
                  <a:pt x="19813" y="19343"/>
                  <a:pt x="19813" y="19374"/>
                </a:cubicBezTo>
                <a:cubicBezTo>
                  <a:pt x="19844" y="19406"/>
                  <a:pt x="19813" y="19406"/>
                  <a:pt x="19781" y="19406"/>
                </a:cubicBezTo>
                <a:cubicBezTo>
                  <a:pt x="19750" y="19406"/>
                  <a:pt x="19719" y="19374"/>
                  <a:pt x="19688" y="19406"/>
                </a:cubicBezTo>
                <a:cubicBezTo>
                  <a:pt x="19656" y="19374"/>
                  <a:pt x="19625" y="19343"/>
                  <a:pt x="19625" y="19312"/>
                </a:cubicBezTo>
                <a:cubicBezTo>
                  <a:pt x="19656" y="19218"/>
                  <a:pt x="19719" y="19249"/>
                  <a:pt x="19750" y="19249"/>
                </a:cubicBezTo>
                <a:close/>
                <a:moveTo>
                  <a:pt x="19625" y="21031"/>
                </a:moveTo>
                <a:cubicBezTo>
                  <a:pt x="19656" y="21062"/>
                  <a:pt x="19656" y="21093"/>
                  <a:pt x="19656" y="21124"/>
                </a:cubicBezTo>
                <a:cubicBezTo>
                  <a:pt x="19594" y="21124"/>
                  <a:pt x="19563" y="21218"/>
                  <a:pt x="19500" y="21187"/>
                </a:cubicBezTo>
                <a:cubicBezTo>
                  <a:pt x="19469" y="21187"/>
                  <a:pt x="19469" y="21218"/>
                  <a:pt x="19469" y="21249"/>
                </a:cubicBezTo>
                <a:cubicBezTo>
                  <a:pt x="19469" y="21218"/>
                  <a:pt x="19469" y="21187"/>
                  <a:pt x="19500" y="21187"/>
                </a:cubicBezTo>
                <a:cubicBezTo>
                  <a:pt x="19500" y="21156"/>
                  <a:pt x="19500" y="21156"/>
                  <a:pt x="19500" y="21156"/>
                </a:cubicBezTo>
                <a:cubicBezTo>
                  <a:pt x="19500" y="21124"/>
                  <a:pt x="19500" y="21124"/>
                  <a:pt x="19500" y="21124"/>
                </a:cubicBezTo>
                <a:cubicBezTo>
                  <a:pt x="19500" y="21124"/>
                  <a:pt x="19500" y="21124"/>
                  <a:pt x="19531" y="21124"/>
                </a:cubicBezTo>
                <a:cubicBezTo>
                  <a:pt x="19531" y="21124"/>
                  <a:pt x="19531" y="21093"/>
                  <a:pt x="19531" y="21093"/>
                </a:cubicBezTo>
                <a:cubicBezTo>
                  <a:pt x="19531" y="21062"/>
                  <a:pt x="19563" y="21031"/>
                  <a:pt x="19625" y="21031"/>
                </a:cubicBezTo>
                <a:close/>
                <a:moveTo>
                  <a:pt x="19469" y="19843"/>
                </a:moveTo>
                <a:cubicBezTo>
                  <a:pt x="19500" y="19843"/>
                  <a:pt x="19531" y="19874"/>
                  <a:pt x="19563" y="19937"/>
                </a:cubicBezTo>
                <a:cubicBezTo>
                  <a:pt x="19563" y="19937"/>
                  <a:pt x="19531" y="19968"/>
                  <a:pt x="19531" y="19968"/>
                </a:cubicBezTo>
                <a:cubicBezTo>
                  <a:pt x="19469" y="19937"/>
                  <a:pt x="19438" y="19937"/>
                  <a:pt x="19406" y="19874"/>
                </a:cubicBezTo>
                <a:cubicBezTo>
                  <a:pt x="19375" y="19874"/>
                  <a:pt x="19438" y="19843"/>
                  <a:pt x="19469" y="19843"/>
                </a:cubicBezTo>
                <a:close/>
                <a:moveTo>
                  <a:pt x="19031" y="19593"/>
                </a:moveTo>
                <a:cubicBezTo>
                  <a:pt x="19063" y="19593"/>
                  <a:pt x="19094" y="19593"/>
                  <a:pt x="19094" y="19656"/>
                </a:cubicBezTo>
                <a:cubicBezTo>
                  <a:pt x="19094" y="19687"/>
                  <a:pt x="19094" y="19687"/>
                  <a:pt x="19063" y="19687"/>
                </a:cubicBezTo>
                <a:cubicBezTo>
                  <a:pt x="19031" y="19687"/>
                  <a:pt x="19031" y="19656"/>
                  <a:pt x="19000" y="19624"/>
                </a:cubicBezTo>
                <a:cubicBezTo>
                  <a:pt x="19000" y="19593"/>
                  <a:pt x="19000" y="19593"/>
                  <a:pt x="19031" y="19593"/>
                </a:cubicBezTo>
                <a:close/>
                <a:moveTo>
                  <a:pt x="18969" y="20218"/>
                </a:moveTo>
                <a:cubicBezTo>
                  <a:pt x="19000" y="20187"/>
                  <a:pt x="19063" y="20218"/>
                  <a:pt x="19094" y="20218"/>
                </a:cubicBezTo>
                <a:cubicBezTo>
                  <a:pt x="19125" y="20218"/>
                  <a:pt x="19156" y="20249"/>
                  <a:pt x="19156" y="20281"/>
                </a:cubicBezTo>
                <a:cubicBezTo>
                  <a:pt x="19094" y="20312"/>
                  <a:pt x="19156" y="20343"/>
                  <a:pt x="19156" y="20406"/>
                </a:cubicBezTo>
                <a:cubicBezTo>
                  <a:pt x="19156" y="20406"/>
                  <a:pt x="19156" y="20437"/>
                  <a:pt x="19156" y="20468"/>
                </a:cubicBezTo>
                <a:cubicBezTo>
                  <a:pt x="19125" y="20406"/>
                  <a:pt x="19063" y="20499"/>
                  <a:pt x="19063" y="20437"/>
                </a:cubicBezTo>
                <a:cubicBezTo>
                  <a:pt x="19031" y="20406"/>
                  <a:pt x="19000" y="20406"/>
                  <a:pt x="19031" y="20374"/>
                </a:cubicBezTo>
                <a:cubicBezTo>
                  <a:pt x="19094" y="20312"/>
                  <a:pt x="19031" y="20312"/>
                  <a:pt x="19000" y="20312"/>
                </a:cubicBezTo>
                <a:cubicBezTo>
                  <a:pt x="18969" y="20281"/>
                  <a:pt x="18969" y="20249"/>
                  <a:pt x="18969" y="20218"/>
                </a:cubicBezTo>
                <a:close/>
                <a:moveTo>
                  <a:pt x="18875" y="20937"/>
                </a:moveTo>
                <a:cubicBezTo>
                  <a:pt x="18938" y="20906"/>
                  <a:pt x="18938" y="20999"/>
                  <a:pt x="18969" y="20999"/>
                </a:cubicBezTo>
                <a:cubicBezTo>
                  <a:pt x="18938" y="20968"/>
                  <a:pt x="18875" y="21093"/>
                  <a:pt x="18844" y="20968"/>
                </a:cubicBezTo>
                <a:cubicBezTo>
                  <a:pt x="18844" y="20968"/>
                  <a:pt x="18875" y="20937"/>
                  <a:pt x="18875" y="20937"/>
                </a:cubicBezTo>
                <a:close/>
                <a:moveTo>
                  <a:pt x="18563" y="21031"/>
                </a:moveTo>
                <a:cubicBezTo>
                  <a:pt x="18563" y="20968"/>
                  <a:pt x="18594" y="20968"/>
                  <a:pt x="18625" y="20968"/>
                </a:cubicBezTo>
                <a:cubicBezTo>
                  <a:pt x="18719" y="20968"/>
                  <a:pt x="18750" y="21031"/>
                  <a:pt x="18750" y="21093"/>
                </a:cubicBezTo>
                <a:cubicBezTo>
                  <a:pt x="18688" y="21031"/>
                  <a:pt x="18594" y="21062"/>
                  <a:pt x="18563" y="21031"/>
                </a:cubicBezTo>
                <a:close/>
                <a:moveTo>
                  <a:pt x="18688" y="21156"/>
                </a:moveTo>
                <a:cubicBezTo>
                  <a:pt x="18688" y="21156"/>
                  <a:pt x="18656" y="21156"/>
                  <a:pt x="18656" y="21124"/>
                </a:cubicBezTo>
                <a:cubicBezTo>
                  <a:pt x="18656" y="21156"/>
                  <a:pt x="18688" y="21156"/>
                  <a:pt x="18688" y="21156"/>
                </a:cubicBezTo>
                <a:close/>
                <a:moveTo>
                  <a:pt x="18719" y="21406"/>
                </a:moveTo>
                <a:cubicBezTo>
                  <a:pt x="18781" y="21437"/>
                  <a:pt x="18813" y="21499"/>
                  <a:pt x="18813" y="21531"/>
                </a:cubicBezTo>
                <a:cubicBezTo>
                  <a:pt x="18813" y="21562"/>
                  <a:pt x="18719" y="21687"/>
                  <a:pt x="18688" y="21687"/>
                </a:cubicBezTo>
                <a:cubicBezTo>
                  <a:pt x="18656" y="21656"/>
                  <a:pt x="18656" y="21593"/>
                  <a:pt x="18656" y="21499"/>
                </a:cubicBezTo>
                <a:cubicBezTo>
                  <a:pt x="18656" y="21468"/>
                  <a:pt x="18656" y="21406"/>
                  <a:pt x="18719" y="21406"/>
                </a:cubicBezTo>
                <a:close/>
                <a:moveTo>
                  <a:pt x="18688" y="19843"/>
                </a:moveTo>
                <a:cubicBezTo>
                  <a:pt x="18750" y="19874"/>
                  <a:pt x="18750" y="19906"/>
                  <a:pt x="18750" y="19937"/>
                </a:cubicBezTo>
                <a:cubicBezTo>
                  <a:pt x="18750" y="19968"/>
                  <a:pt x="18719" y="19999"/>
                  <a:pt x="18719" y="19999"/>
                </a:cubicBezTo>
                <a:cubicBezTo>
                  <a:pt x="18688" y="19968"/>
                  <a:pt x="18688" y="19937"/>
                  <a:pt x="18656" y="19874"/>
                </a:cubicBezTo>
                <a:cubicBezTo>
                  <a:pt x="18656" y="19874"/>
                  <a:pt x="18688" y="19843"/>
                  <a:pt x="18688" y="19843"/>
                </a:cubicBezTo>
                <a:close/>
                <a:moveTo>
                  <a:pt x="18750" y="20374"/>
                </a:moveTo>
                <a:cubicBezTo>
                  <a:pt x="18813" y="20406"/>
                  <a:pt x="18781" y="20437"/>
                  <a:pt x="18781" y="20468"/>
                </a:cubicBezTo>
                <a:cubicBezTo>
                  <a:pt x="18813" y="20531"/>
                  <a:pt x="18750" y="20562"/>
                  <a:pt x="18719" y="20562"/>
                </a:cubicBezTo>
                <a:cubicBezTo>
                  <a:pt x="18688" y="20593"/>
                  <a:pt x="18688" y="20531"/>
                  <a:pt x="18656" y="20499"/>
                </a:cubicBezTo>
                <a:cubicBezTo>
                  <a:pt x="18656" y="20468"/>
                  <a:pt x="18625" y="20406"/>
                  <a:pt x="18563" y="20406"/>
                </a:cubicBezTo>
                <a:cubicBezTo>
                  <a:pt x="18625" y="20343"/>
                  <a:pt x="18688" y="20312"/>
                  <a:pt x="18750" y="20374"/>
                </a:cubicBezTo>
                <a:close/>
                <a:moveTo>
                  <a:pt x="18563" y="19843"/>
                </a:moveTo>
                <a:cubicBezTo>
                  <a:pt x="18594" y="19843"/>
                  <a:pt x="18594" y="19843"/>
                  <a:pt x="18594" y="19874"/>
                </a:cubicBezTo>
                <a:cubicBezTo>
                  <a:pt x="18625" y="19906"/>
                  <a:pt x="18594" y="19906"/>
                  <a:pt x="18563" y="19906"/>
                </a:cubicBezTo>
                <a:cubicBezTo>
                  <a:pt x="18563" y="19937"/>
                  <a:pt x="18531" y="19906"/>
                  <a:pt x="18531" y="19874"/>
                </a:cubicBezTo>
                <a:cubicBezTo>
                  <a:pt x="18500" y="19843"/>
                  <a:pt x="18531" y="19843"/>
                  <a:pt x="18563" y="19843"/>
                </a:cubicBezTo>
                <a:close/>
                <a:moveTo>
                  <a:pt x="18531" y="21187"/>
                </a:moveTo>
                <a:cubicBezTo>
                  <a:pt x="18563" y="21124"/>
                  <a:pt x="18594" y="21156"/>
                  <a:pt x="18625" y="21187"/>
                </a:cubicBezTo>
                <a:cubicBezTo>
                  <a:pt x="18625" y="21187"/>
                  <a:pt x="18625" y="21187"/>
                  <a:pt x="18625" y="21187"/>
                </a:cubicBezTo>
                <a:cubicBezTo>
                  <a:pt x="18625" y="21249"/>
                  <a:pt x="18594" y="21249"/>
                  <a:pt x="18531" y="21249"/>
                </a:cubicBezTo>
                <a:cubicBezTo>
                  <a:pt x="18500" y="21249"/>
                  <a:pt x="18500" y="21218"/>
                  <a:pt x="18531" y="21187"/>
                </a:cubicBezTo>
                <a:close/>
                <a:moveTo>
                  <a:pt x="18500" y="21624"/>
                </a:moveTo>
                <a:cubicBezTo>
                  <a:pt x="18531" y="21656"/>
                  <a:pt x="18563" y="21687"/>
                  <a:pt x="18563" y="21718"/>
                </a:cubicBezTo>
                <a:cubicBezTo>
                  <a:pt x="18625" y="21812"/>
                  <a:pt x="18625" y="21874"/>
                  <a:pt x="18531" y="21968"/>
                </a:cubicBezTo>
                <a:cubicBezTo>
                  <a:pt x="18500" y="21999"/>
                  <a:pt x="18469" y="21968"/>
                  <a:pt x="18469" y="21937"/>
                </a:cubicBezTo>
                <a:cubicBezTo>
                  <a:pt x="18406" y="21843"/>
                  <a:pt x="18375" y="21781"/>
                  <a:pt x="18375" y="21687"/>
                </a:cubicBezTo>
                <a:cubicBezTo>
                  <a:pt x="18375" y="21624"/>
                  <a:pt x="18406" y="21593"/>
                  <a:pt x="18438" y="21562"/>
                </a:cubicBezTo>
                <a:cubicBezTo>
                  <a:pt x="18469" y="21562"/>
                  <a:pt x="18500" y="21593"/>
                  <a:pt x="18500" y="21624"/>
                </a:cubicBezTo>
                <a:close/>
                <a:moveTo>
                  <a:pt x="18438" y="21156"/>
                </a:moveTo>
                <a:cubicBezTo>
                  <a:pt x="18406" y="21156"/>
                  <a:pt x="18469" y="21218"/>
                  <a:pt x="18406" y="21218"/>
                </a:cubicBezTo>
                <a:cubicBezTo>
                  <a:pt x="18375" y="21218"/>
                  <a:pt x="18375" y="21187"/>
                  <a:pt x="18375" y="21156"/>
                </a:cubicBezTo>
                <a:cubicBezTo>
                  <a:pt x="18375" y="21093"/>
                  <a:pt x="18281" y="21062"/>
                  <a:pt x="18406" y="21031"/>
                </a:cubicBezTo>
                <a:cubicBezTo>
                  <a:pt x="18406" y="21062"/>
                  <a:pt x="18406" y="21124"/>
                  <a:pt x="18438" y="21156"/>
                </a:cubicBezTo>
                <a:close/>
                <a:moveTo>
                  <a:pt x="18406" y="20062"/>
                </a:moveTo>
                <a:cubicBezTo>
                  <a:pt x="18313" y="20062"/>
                  <a:pt x="18281" y="20031"/>
                  <a:pt x="18250" y="19999"/>
                </a:cubicBezTo>
                <a:cubicBezTo>
                  <a:pt x="18281" y="19968"/>
                  <a:pt x="18281" y="19968"/>
                  <a:pt x="18406" y="20062"/>
                </a:cubicBezTo>
                <a:close/>
                <a:moveTo>
                  <a:pt x="18250" y="21124"/>
                </a:moveTo>
                <a:cubicBezTo>
                  <a:pt x="18250" y="21124"/>
                  <a:pt x="18250" y="21093"/>
                  <a:pt x="18281" y="21093"/>
                </a:cubicBezTo>
                <a:cubicBezTo>
                  <a:pt x="18313" y="21156"/>
                  <a:pt x="18344" y="21187"/>
                  <a:pt x="18375" y="21249"/>
                </a:cubicBezTo>
                <a:cubicBezTo>
                  <a:pt x="18375" y="21281"/>
                  <a:pt x="18375" y="21281"/>
                  <a:pt x="18375" y="21312"/>
                </a:cubicBezTo>
                <a:cubicBezTo>
                  <a:pt x="18344" y="21312"/>
                  <a:pt x="18313" y="21312"/>
                  <a:pt x="18313" y="21281"/>
                </a:cubicBezTo>
                <a:cubicBezTo>
                  <a:pt x="18313" y="21249"/>
                  <a:pt x="18281" y="21249"/>
                  <a:pt x="18250" y="21249"/>
                </a:cubicBezTo>
                <a:cubicBezTo>
                  <a:pt x="18219" y="21218"/>
                  <a:pt x="18156" y="21187"/>
                  <a:pt x="18250" y="21124"/>
                </a:cubicBezTo>
                <a:close/>
                <a:moveTo>
                  <a:pt x="18281" y="21374"/>
                </a:moveTo>
                <a:cubicBezTo>
                  <a:pt x="18281" y="21374"/>
                  <a:pt x="18281" y="21374"/>
                  <a:pt x="18281" y="21374"/>
                </a:cubicBezTo>
                <a:cubicBezTo>
                  <a:pt x="18281" y="21374"/>
                  <a:pt x="18281" y="21374"/>
                  <a:pt x="18281" y="21374"/>
                </a:cubicBezTo>
                <a:close/>
                <a:moveTo>
                  <a:pt x="18156" y="21406"/>
                </a:moveTo>
                <a:cubicBezTo>
                  <a:pt x="18188" y="21343"/>
                  <a:pt x="18219" y="21374"/>
                  <a:pt x="18250" y="21406"/>
                </a:cubicBezTo>
                <a:cubicBezTo>
                  <a:pt x="18250" y="21406"/>
                  <a:pt x="18281" y="21406"/>
                  <a:pt x="18281" y="21406"/>
                </a:cubicBezTo>
                <a:cubicBezTo>
                  <a:pt x="18281" y="21406"/>
                  <a:pt x="18281" y="21406"/>
                  <a:pt x="18281" y="21406"/>
                </a:cubicBezTo>
                <a:cubicBezTo>
                  <a:pt x="18250" y="21437"/>
                  <a:pt x="18250" y="21468"/>
                  <a:pt x="18188" y="21468"/>
                </a:cubicBezTo>
                <a:cubicBezTo>
                  <a:pt x="18156" y="21468"/>
                  <a:pt x="18156" y="21437"/>
                  <a:pt x="18156" y="21406"/>
                </a:cubicBezTo>
                <a:close/>
                <a:moveTo>
                  <a:pt x="18125" y="21781"/>
                </a:moveTo>
                <a:cubicBezTo>
                  <a:pt x="18156" y="21718"/>
                  <a:pt x="18156" y="21687"/>
                  <a:pt x="18219" y="21749"/>
                </a:cubicBezTo>
                <a:cubicBezTo>
                  <a:pt x="18281" y="21843"/>
                  <a:pt x="18375" y="21937"/>
                  <a:pt x="18438" y="22031"/>
                </a:cubicBezTo>
                <a:cubicBezTo>
                  <a:pt x="18469" y="22093"/>
                  <a:pt x="18438" y="22124"/>
                  <a:pt x="18438" y="22156"/>
                </a:cubicBezTo>
                <a:cubicBezTo>
                  <a:pt x="18406" y="22218"/>
                  <a:pt x="18375" y="22249"/>
                  <a:pt x="18344" y="22281"/>
                </a:cubicBezTo>
                <a:cubicBezTo>
                  <a:pt x="18281" y="22187"/>
                  <a:pt x="18219" y="22093"/>
                  <a:pt x="18125" y="21999"/>
                </a:cubicBezTo>
                <a:cubicBezTo>
                  <a:pt x="18156" y="21937"/>
                  <a:pt x="18094" y="21874"/>
                  <a:pt x="18125" y="21781"/>
                </a:cubicBezTo>
                <a:close/>
                <a:moveTo>
                  <a:pt x="18063" y="21312"/>
                </a:moveTo>
                <a:cubicBezTo>
                  <a:pt x="18063" y="21343"/>
                  <a:pt x="18031" y="21343"/>
                  <a:pt x="18031" y="21312"/>
                </a:cubicBezTo>
                <a:cubicBezTo>
                  <a:pt x="18000" y="21281"/>
                  <a:pt x="18000" y="21249"/>
                  <a:pt x="17969" y="21218"/>
                </a:cubicBezTo>
                <a:cubicBezTo>
                  <a:pt x="18031" y="21249"/>
                  <a:pt x="18063" y="21249"/>
                  <a:pt x="18063" y="21312"/>
                </a:cubicBezTo>
                <a:close/>
                <a:moveTo>
                  <a:pt x="17875" y="20749"/>
                </a:moveTo>
                <a:cubicBezTo>
                  <a:pt x="17906" y="20749"/>
                  <a:pt x="17938" y="20781"/>
                  <a:pt x="17938" y="20781"/>
                </a:cubicBezTo>
                <a:cubicBezTo>
                  <a:pt x="17906" y="20843"/>
                  <a:pt x="18000" y="20874"/>
                  <a:pt x="17938" y="20937"/>
                </a:cubicBezTo>
                <a:cubicBezTo>
                  <a:pt x="17938" y="20968"/>
                  <a:pt x="17875" y="20968"/>
                  <a:pt x="17875" y="20937"/>
                </a:cubicBezTo>
                <a:cubicBezTo>
                  <a:pt x="17844" y="20874"/>
                  <a:pt x="17844" y="20812"/>
                  <a:pt x="17844" y="20781"/>
                </a:cubicBezTo>
                <a:cubicBezTo>
                  <a:pt x="17844" y="20749"/>
                  <a:pt x="17875" y="20749"/>
                  <a:pt x="17875" y="20749"/>
                </a:cubicBezTo>
                <a:close/>
                <a:moveTo>
                  <a:pt x="17844" y="21093"/>
                </a:moveTo>
                <a:cubicBezTo>
                  <a:pt x="17875" y="21093"/>
                  <a:pt x="17906" y="21093"/>
                  <a:pt x="17906" y="21124"/>
                </a:cubicBezTo>
                <a:cubicBezTo>
                  <a:pt x="17906" y="21187"/>
                  <a:pt x="17938" y="21249"/>
                  <a:pt x="17969" y="21312"/>
                </a:cubicBezTo>
                <a:cubicBezTo>
                  <a:pt x="18000" y="21343"/>
                  <a:pt x="17969" y="21343"/>
                  <a:pt x="17938" y="21343"/>
                </a:cubicBezTo>
                <a:cubicBezTo>
                  <a:pt x="17906" y="21343"/>
                  <a:pt x="17875" y="21343"/>
                  <a:pt x="17875" y="21312"/>
                </a:cubicBezTo>
                <a:cubicBezTo>
                  <a:pt x="17813" y="21249"/>
                  <a:pt x="17875" y="21187"/>
                  <a:pt x="17844" y="21124"/>
                </a:cubicBezTo>
                <a:cubicBezTo>
                  <a:pt x="17844" y="21093"/>
                  <a:pt x="17844" y="21093"/>
                  <a:pt x="17844" y="21093"/>
                </a:cubicBezTo>
                <a:close/>
                <a:moveTo>
                  <a:pt x="17844" y="22124"/>
                </a:moveTo>
                <a:cubicBezTo>
                  <a:pt x="17875" y="22093"/>
                  <a:pt x="17844" y="22062"/>
                  <a:pt x="17844" y="22062"/>
                </a:cubicBezTo>
                <a:cubicBezTo>
                  <a:pt x="17844" y="22031"/>
                  <a:pt x="17844" y="21999"/>
                  <a:pt x="17844" y="21968"/>
                </a:cubicBezTo>
                <a:cubicBezTo>
                  <a:pt x="17844" y="21937"/>
                  <a:pt x="17844" y="21906"/>
                  <a:pt x="17875" y="21874"/>
                </a:cubicBezTo>
                <a:cubicBezTo>
                  <a:pt x="17906" y="21874"/>
                  <a:pt x="17938" y="21906"/>
                  <a:pt x="17969" y="21937"/>
                </a:cubicBezTo>
                <a:cubicBezTo>
                  <a:pt x="18000" y="21999"/>
                  <a:pt x="18031" y="22031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62"/>
                  <a:pt x="18063" y="22062"/>
                  <a:pt x="18063" y="22062"/>
                </a:cubicBezTo>
                <a:cubicBezTo>
                  <a:pt x="18063" y="22093"/>
                  <a:pt x="18063" y="22093"/>
                  <a:pt x="18094" y="22124"/>
                </a:cubicBezTo>
                <a:cubicBezTo>
                  <a:pt x="18156" y="22187"/>
                  <a:pt x="18219" y="22281"/>
                  <a:pt x="18281" y="22343"/>
                </a:cubicBezTo>
                <a:cubicBezTo>
                  <a:pt x="18313" y="22343"/>
                  <a:pt x="18313" y="22343"/>
                  <a:pt x="18344" y="22312"/>
                </a:cubicBezTo>
                <a:cubicBezTo>
                  <a:pt x="18313" y="22343"/>
                  <a:pt x="18313" y="22343"/>
                  <a:pt x="18281" y="22343"/>
                </a:cubicBezTo>
                <a:cubicBezTo>
                  <a:pt x="18281" y="22343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374"/>
                  <a:pt x="18313" y="22374"/>
                  <a:pt x="18313" y="22374"/>
                </a:cubicBezTo>
                <a:cubicBezTo>
                  <a:pt x="18313" y="22468"/>
                  <a:pt x="18250" y="22499"/>
                  <a:pt x="18250" y="22562"/>
                </a:cubicBezTo>
                <a:cubicBezTo>
                  <a:pt x="18219" y="22593"/>
                  <a:pt x="18219" y="22562"/>
                  <a:pt x="18188" y="22562"/>
                </a:cubicBezTo>
                <a:cubicBezTo>
                  <a:pt x="18094" y="22406"/>
                  <a:pt x="17969" y="22281"/>
                  <a:pt x="17875" y="22156"/>
                </a:cubicBezTo>
                <a:cubicBezTo>
                  <a:pt x="17844" y="22156"/>
                  <a:pt x="17813" y="22156"/>
                  <a:pt x="17813" y="22187"/>
                </a:cubicBezTo>
                <a:cubicBezTo>
                  <a:pt x="17813" y="22156"/>
                  <a:pt x="17844" y="22156"/>
                  <a:pt x="17875" y="22156"/>
                </a:cubicBezTo>
                <a:cubicBezTo>
                  <a:pt x="17875" y="22156"/>
                  <a:pt x="17844" y="22124"/>
                  <a:pt x="17844" y="22124"/>
                </a:cubicBezTo>
                <a:close/>
                <a:moveTo>
                  <a:pt x="17281" y="21937"/>
                </a:moveTo>
                <a:cubicBezTo>
                  <a:pt x="17250" y="21906"/>
                  <a:pt x="17281" y="21906"/>
                  <a:pt x="17313" y="21906"/>
                </a:cubicBezTo>
                <a:cubicBezTo>
                  <a:pt x="17344" y="21906"/>
                  <a:pt x="17375" y="21906"/>
                  <a:pt x="17406" y="21937"/>
                </a:cubicBezTo>
                <a:cubicBezTo>
                  <a:pt x="17406" y="21937"/>
                  <a:pt x="17438" y="21968"/>
                  <a:pt x="17406" y="21999"/>
                </a:cubicBezTo>
                <a:cubicBezTo>
                  <a:pt x="17344" y="22031"/>
                  <a:pt x="17344" y="22093"/>
                  <a:pt x="17281" y="22093"/>
                </a:cubicBezTo>
                <a:cubicBezTo>
                  <a:pt x="17281" y="22031"/>
                  <a:pt x="17313" y="21968"/>
                  <a:pt x="17281" y="21937"/>
                </a:cubicBezTo>
                <a:close/>
                <a:moveTo>
                  <a:pt x="17344" y="22656"/>
                </a:moveTo>
                <a:cubicBezTo>
                  <a:pt x="17281" y="22656"/>
                  <a:pt x="17281" y="22593"/>
                  <a:pt x="17250" y="22562"/>
                </a:cubicBezTo>
                <a:cubicBezTo>
                  <a:pt x="17250" y="22531"/>
                  <a:pt x="17250" y="22499"/>
                  <a:pt x="17281" y="22531"/>
                </a:cubicBezTo>
                <a:cubicBezTo>
                  <a:pt x="17375" y="22531"/>
                  <a:pt x="17375" y="22593"/>
                  <a:pt x="17375" y="22624"/>
                </a:cubicBezTo>
                <a:cubicBezTo>
                  <a:pt x="17375" y="22656"/>
                  <a:pt x="17375" y="22687"/>
                  <a:pt x="17344" y="22656"/>
                </a:cubicBezTo>
                <a:close/>
                <a:moveTo>
                  <a:pt x="17500" y="22374"/>
                </a:moveTo>
                <a:cubicBezTo>
                  <a:pt x="17469" y="22374"/>
                  <a:pt x="17438" y="22343"/>
                  <a:pt x="17438" y="22312"/>
                </a:cubicBezTo>
                <a:cubicBezTo>
                  <a:pt x="17406" y="22312"/>
                  <a:pt x="17406" y="22281"/>
                  <a:pt x="17406" y="22281"/>
                </a:cubicBezTo>
                <a:cubicBezTo>
                  <a:pt x="17406" y="22281"/>
                  <a:pt x="17406" y="22281"/>
                  <a:pt x="17406" y="22249"/>
                </a:cubicBezTo>
                <a:cubicBezTo>
                  <a:pt x="17406" y="22249"/>
                  <a:pt x="17406" y="22249"/>
                  <a:pt x="17406" y="22218"/>
                </a:cubicBezTo>
                <a:cubicBezTo>
                  <a:pt x="17406" y="22187"/>
                  <a:pt x="17406" y="22187"/>
                  <a:pt x="17438" y="22187"/>
                </a:cubicBezTo>
                <a:cubicBezTo>
                  <a:pt x="17469" y="22156"/>
                  <a:pt x="17469" y="22187"/>
                  <a:pt x="17469" y="22218"/>
                </a:cubicBezTo>
                <a:cubicBezTo>
                  <a:pt x="17500" y="22249"/>
                  <a:pt x="17500" y="22281"/>
                  <a:pt x="17500" y="22312"/>
                </a:cubicBezTo>
                <a:cubicBezTo>
                  <a:pt x="17500" y="22343"/>
                  <a:pt x="17500" y="22374"/>
                  <a:pt x="17500" y="22374"/>
                </a:cubicBezTo>
                <a:close/>
                <a:moveTo>
                  <a:pt x="17625" y="21687"/>
                </a:moveTo>
                <a:cubicBezTo>
                  <a:pt x="17594" y="21687"/>
                  <a:pt x="17594" y="21718"/>
                  <a:pt x="17594" y="21687"/>
                </a:cubicBezTo>
                <a:cubicBezTo>
                  <a:pt x="17563" y="21687"/>
                  <a:pt x="17531" y="21656"/>
                  <a:pt x="17531" y="21624"/>
                </a:cubicBezTo>
                <a:cubicBezTo>
                  <a:pt x="17531" y="21593"/>
                  <a:pt x="17531" y="21562"/>
                  <a:pt x="17531" y="21499"/>
                </a:cubicBezTo>
                <a:cubicBezTo>
                  <a:pt x="17531" y="21468"/>
                  <a:pt x="17563" y="21468"/>
                  <a:pt x="17563" y="21499"/>
                </a:cubicBezTo>
                <a:cubicBezTo>
                  <a:pt x="17531" y="21562"/>
                  <a:pt x="17594" y="21562"/>
                  <a:pt x="17625" y="21593"/>
                </a:cubicBezTo>
                <a:cubicBezTo>
                  <a:pt x="17625" y="21624"/>
                  <a:pt x="17656" y="21656"/>
                  <a:pt x="17625" y="21687"/>
                </a:cubicBezTo>
                <a:close/>
                <a:moveTo>
                  <a:pt x="17594" y="21281"/>
                </a:moveTo>
                <a:cubicBezTo>
                  <a:pt x="17656" y="21281"/>
                  <a:pt x="17656" y="21187"/>
                  <a:pt x="17719" y="21187"/>
                </a:cubicBezTo>
                <a:cubicBezTo>
                  <a:pt x="17719" y="21187"/>
                  <a:pt x="17750" y="21187"/>
                  <a:pt x="17750" y="21218"/>
                </a:cubicBezTo>
                <a:cubicBezTo>
                  <a:pt x="17750" y="21249"/>
                  <a:pt x="17750" y="21281"/>
                  <a:pt x="17719" y="21312"/>
                </a:cubicBezTo>
                <a:cubicBezTo>
                  <a:pt x="17688" y="21281"/>
                  <a:pt x="17688" y="21249"/>
                  <a:pt x="17625" y="21281"/>
                </a:cubicBezTo>
                <a:cubicBezTo>
                  <a:pt x="17656" y="21312"/>
                  <a:pt x="17656" y="21312"/>
                  <a:pt x="17688" y="21312"/>
                </a:cubicBezTo>
                <a:cubicBezTo>
                  <a:pt x="17688" y="21343"/>
                  <a:pt x="17719" y="21374"/>
                  <a:pt x="17719" y="21374"/>
                </a:cubicBezTo>
                <a:cubicBezTo>
                  <a:pt x="17688" y="21406"/>
                  <a:pt x="17656" y="21374"/>
                  <a:pt x="17656" y="21374"/>
                </a:cubicBezTo>
                <a:cubicBezTo>
                  <a:pt x="17625" y="21343"/>
                  <a:pt x="17594" y="21312"/>
                  <a:pt x="17594" y="21281"/>
                </a:cubicBezTo>
                <a:close/>
                <a:moveTo>
                  <a:pt x="17688" y="21468"/>
                </a:moveTo>
                <a:cubicBezTo>
                  <a:pt x="17656" y="21437"/>
                  <a:pt x="17688" y="21437"/>
                  <a:pt x="17688" y="21437"/>
                </a:cubicBezTo>
                <a:cubicBezTo>
                  <a:pt x="17750" y="21437"/>
                  <a:pt x="17750" y="21468"/>
                  <a:pt x="17750" y="21531"/>
                </a:cubicBezTo>
                <a:cubicBezTo>
                  <a:pt x="17750" y="21531"/>
                  <a:pt x="17750" y="21562"/>
                  <a:pt x="17719" y="21562"/>
                </a:cubicBezTo>
                <a:cubicBezTo>
                  <a:pt x="17719" y="21531"/>
                  <a:pt x="17688" y="21499"/>
                  <a:pt x="17688" y="21468"/>
                </a:cubicBezTo>
                <a:close/>
                <a:moveTo>
                  <a:pt x="17813" y="22562"/>
                </a:moveTo>
                <a:cubicBezTo>
                  <a:pt x="17781" y="22562"/>
                  <a:pt x="17813" y="22531"/>
                  <a:pt x="17813" y="22531"/>
                </a:cubicBezTo>
                <a:cubicBezTo>
                  <a:pt x="17813" y="22531"/>
                  <a:pt x="17844" y="22499"/>
                  <a:pt x="17813" y="22499"/>
                </a:cubicBezTo>
                <a:cubicBezTo>
                  <a:pt x="17750" y="22468"/>
                  <a:pt x="17750" y="22406"/>
                  <a:pt x="17719" y="22374"/>
                </a:cubicBezTo>
                <a:cubicBezTo>
                  <a:pt x="17719" y="22374"/>
                  <a:pt x="17719" y="22374"/>
                  <a:pt x="17719" y="22406"/>
                </a:cubicBezTo>
                <a:cubicBezTo>
                  <a:pt x="17719" y="22374"/>
                  <a:pt x="17719" y="22374"/>
                  <a:pt x="17719" y="22374"/>
                </a:cubicBezTo>
                <a:cubicBezTo>
                  <a:pt x="17719" y="22312"/>
                  <a:pt x="17719" y="22281"/>
                  <a:pt x="17781" y="22249"/>
                </a:cubicBezTo>
                <a:cubicBezTo>
                  <a:pt x="17813" y="22281"/>
                  <a:pt x="17875" y="22343"/>
                  <a:pt x="17906" y="22374"/>
                </a:cubicBezTo>
                <a:cubicBezTo>
                  <a:pt x="17938" y="22437"/>
                  <a:pt x="18031" y="22468"/>
                  <a:pt x="17969" y="22562"/>
                </a:cubicBezTo>
                <a:cubicBezTo>
                  <a:pt x="17969" y="22562"/>
                  <a:pt x="17969" y="22562"/>
                  <a:pt x="18000" y="22562"/>
                </a:cubicBezTo>
                <a:cubicBezTo>
                  <a:pt x="18031" y="22624"/>
                  <a:pt x="18094" y="22593"/>
                  <a:pt x="18125" y="22656"/>
                </a:cubicBezTo>
                <a:cubicBezTo>
                  <a:pt x="18156" y="22656"/>
                  <a:pt x="18156" y="22687"/>
                  <a:pt x="18188" y="22687"/>
                </a:cubicBezTo>
                <a:cubicBezTo>
                  <a:pt x="18219" y="22781"/>
                  <a:pt x="18125" y="22843"/>
                  <a:pt x="18125" y="22937"/>
                </a:cubicBezTo>
                <a:cubicBezTo>
                  <a:pt x="18063" y="22874"/>
                  <a:pt x="18063" y="22781"/>
                  <a:pt x="17969" y="22749"/>
                </a:cubicBezTo>
                <a:cubicBezTo>
                  <a:pt x="17906" y="22718"/>
                  <a:pt x="17875" y="22624"/>
                  <a:pt x="17813" y="22562"/>
                </a:cubicBezTo>
                <a:close/>
                <a:moveTo>
                  <a:pt x="18094" y="22999"/>
                </a:moveTo>
                <a:cubicBezTo>
                  <a:pt x="18094" y="22999"/>
                  <a:pt x="18063" y="22999"/>
                  <a:pt x="18063" y="22968"/>
                </a:cubicBezTo>
                <a:cubicBezTo>
                  <a:pt x="18063" y="22999"/>
                  <a:pt x="18094" y="22999"/>
                  <a:pt x="18094" y="22999"/>
                </a:cubicBezTo>
                <a:close/>
                <a:moveTo>
                  <a:pt x="18000" y="23593"/>
                </a:moveTo>
                <a:cubicBezTo>
                  <a:pt x="17969" y="23531"/>
                  <a:pt x="17969" y="23468"/>
                  <a:pt x="18000" y="23406"/>
                </a:cubicBezTo>
                <a:cubicBezTo>
                  <a:pt x="18031" y="23468"/>
                  <a:pt x="18000" y="23531"/>
                  <a:pt x="18000" y="23593"/>
                </a:cubicBezTo>
                <a:close/>
                <a:moveTo>
                  <a:pt x="18063" y="23281"/>
                </a:moveTo>
                <a:cubicBezTo>
                  <a:pt x="18031" y="23343"/>
                  <a:pt x="18031" y="23343"/>
                  <a:pt x="18000" y="23343"/>
                </a:cubicBezTo>
                <a:cubicBezTo>
                  <a:pt x="18031" y="23343"/>
                  <a:pt x="18031" y="23343"/>
                  <a:pt x="18063" y="23281"/>
                </a:cubicBezTo>
                <a:cubicBezTo>
                  <a:pt x="18000" y="23281"/>
                  <a:pt x="17969" y="23187"/>
                  <a:pt x="17906" y="23156"/>
                </a:cubicBezTo>
                <a:cubicBezTo>
                  <a:pt x="17906" y="23156"/>
                  <a:pt x="17906" y="23156"/>
                  <a:pt x="17906" y="23156"/>
                </a:cubicBezTo>
                <a:cubicBezTo>
                  <a:pt x="17906" y="23124"/>
                  <a:pt x="17906" y="23124"/>
                  <a:pt x="17906" y="23124"/>
                </a:cubicBezTo>
                <a:cubicBezTo>
                  <a:pt x="17875" y="23062"/>
                  <a:pt x="17875" y="22999"/>
                  <a:pt x="17875" y="22937"/>
                </a:cubicBezTo>
                <a:cubicBezTo>
                  <a:pt x="17844" y="22874"/>
                  <a:pt x="17875" y="22843"/>
                  <a:pt x="17938" y="22874"/>
                </a:cubicBezTo>
                <a:cubicBezTo>
                  <a:pt x="17938" y="22843"/>
                  <a:pt x="17906" y="22812"/>
                  <a:pt x="17906" y="22781"/>
                </a:cubicBezTo>
                <a:cubicBezTo>
                  <a:pt x="17906" y="22812"/>
                  <a:pt x="17938" y="22843"/>
                  <a:pt x="17938" y="22874"/>
                </a:cubicBezTo>
                <a:cubicBezTo>
                  <a:pt x="17938" y="22937"/>
                  <a:pt x="17969" y="22937"/>
                  <a:pt x="18000" y="22968"/>
                </a:cubicBezTo>
                <a:cubicBezTo>
                  <a:pt x="18031" y="22968"/>
                  <a:pt x="18031" y="22999"/>
                  <a:pt x="18031" y="22999"/>
                </a:cubicBezTo>
                <a:cubicBezTo>
                  <a:pt x="18125" y="23093"/>
                  <a:pt x="18094" y="23187"/>
                  <a:pt x="18063" y="23281"/>
                </a:cubicBezTo>
                <a:close/>
                <a:moveTo>
                  <a:pt x="18344" y="24812"/>
                </a:moveTo>
                <a:cubicBezTo>
                  <a:pt x="18219" y="24749"/>
                  <a:pt x="18188" y="24656"/>
                  <a:pt x="18188" y="24562"/>
                </a:cubicBezTo>
                <a:cubicBezTo>
                  <a:pt x="18188" y="24531"/>
                  <a:pt x="18125" y="24468"/>
                  <a:pt x="18188" y="24468"/>
                </a:cubicBezTo>
                <a:cubicBezTo>
                  <a:pt x="18219" y="24437"/>
                  <a:pt x="18250" y="24499"/>
                  <a:pt x="18281" y="24531"/>
                </a:cubicBezTo>
                <a:cubicBezTo>
                  <a:pt x="18375" y="24593"/>
                  <a:pt x="18313" y="24718"/>
                  <a:pt x="18344" y="24812"/>
                </a:cubicBezTo>
                <a:close/>
                <a:moveTo>
                  <a:pt x="18344" y="24406"/>
                </a:moveTo>
                <a:cubicBezTo>
                  <a:pt x="18281" y="24374"/>
                  <a:pt x="18250" y="24343"/>
                  <a:pt x="18219" y="24312"/>
                </a:cubicBezTo>
                <a:cubicBezTo>
                  <a:pt x="18125" y="24281"/>
                  <a:pt x="18063" y="24093"/>
                  <a:pt x="18094" y="24031"/>
                </a:cubicBezTo>
                <a:cubicBezTo>
                  <a:pt x="18094" y="23999"/>
                  <a:pt x="18125" y="23968"/>
                  <a:pt x="18156" y="23999"/>
                </a:cubicBezTo>
                <a:cubicBezTo>
                  <a:pt x="18188" y="24062"/>
                  <a:pt x="18250" y="24062"/>
                  <a:pt x="18281" y="24093"/>
                </a:cubicBezTo>
                <a:cubicBezTo>
                  <a:pt x="18344" y="24218"/>
                  <a:pt x="18375" y="24281"/>
                  <a:pt x="18344" y="24406"/>
                </a:cubicBezTo>
                <a:close/>
                <a:moveTo>
                  <a:pt x="18375" y="24031"/>
                </a:moveTo>
                <a:cubicBezTo>
                  <a:pt x="18313" y="23968"/>
                  <a:pt x="18250" y="23937"/>
                  <a:pt x="18188" y="23874"/>
                </a:cubicBezTo>
                <a:cubicBezTo>
                  <a:pt x="18125" y="23874"/>
                  <a:pt x="18125" y="23624"/>
                  <a:pt x="18156" y="23624"/>
                </a:cubicBezTo>
                <a:cubicBezTo>
                  <a:pt x="18156" y="23593"/>
                  <a:pt x="18188" y="23593"/>
                  <a:pt x="18188" y="23624"/>
                </a:cubicBezTo>
                <a:cubicBezTo>
                  <a:pt x="18188" y="23687"/>
                  <a:pt x="18250" y="23656"/>
                  <a:pt x="18281" y="23687"/>
                </a:cubicBezTo>
                <a:cubicBezTo>
                  <a:pt x="18406" y="23812"/>
                  <a:pt x="18406" y="23812"/>
                  <a:pt x="18375" y="24031"/>
                </a:cubicBezTo>
                <a:close/>
                <a:moveTo>
                  <a:pt x="18438" y="23656"/>
                </a:moveTo>
                <a:cubicBezTo>
                  <a:pt x="18438" y="23687"/>
                  <a:pt x="18406" y="23656"/>
                  <a:pt x="18375" y="23656"/>
                </a:cubicBezTo>
                <a:cubicBezTo>
                  <a:pt x="18344" y="23562"/>
                  <a:pt x="18281" y="23562"/>
                  <a:pt x="18219" y="23499"/>
                </a:cubicBezTo>
                <a:cubicBezTo>
                  <a:pt x="18156" y="23468"/>
                  <a:pt x="18156" y="23437"/>
                  <a:pt x="18188" y="23374"/>
                </a:cubicBezTo>
                <a:cubicBezTo>
                  <a:pt x="18188" y="23343"/>
                  <a:pt x="18188" y="23312"/>
                  <a:pt x="18188" y="23281"/>
                </a:cubicBezTo>
                <a:cubicBezTo>
                  <a:pt x="18188" y="23249"/>
                  <a:pt x="18219" y="23218"/>
                  <a:pt x="18250" y="23218"/>
                </a:cubicBezTo>
                <a:cubicBezTo>
                  <a:pt x="18313" y="23312"/>
                  <a:pt x="18406" y="23374"/>
                  <a:pt x="18469" y="23499"/>
                </a:cubicBezTo>
                <a:cubicBezTo>
                  <a:pt x="18469" y="23499"/>
                  <a:pt x="18469" y="23499"/>
                  <a:pt x="18469" y="23531"/>
                </a:cubicBezTo>
                <a:cubicBezTo>
                  <a:pt x="18438" y="23562"/>
                  <a:pt x="18438" y="23593"/>
                  <a:pt x="18438" y="23656"/>
                </a:cubicBezTo>
                <a:close/>
                <a:moveTo>
                  <a:pt x="18531" y="23312"/>
                </a:moveTo>
                <a:cubicBezTo>
                  <a:pt x="18500" y="23343"/>
                  <a:pt x="18469" y="23312"/>
                  <a:pt x="18469" y="23312"/>
                </a:cubicBezTo>
                <a:cubicBezTo>
                  <a:pt x="18438" y="23249"/>
                  <a:pt x="18375" y="23218"/>
                  <a:pt x="18313" y="23187"/>
                </a:cubicBezTo>
                <a:cubicBezTo>
                  <a:pt x="18250" y="23062"/>
                  <a:pt x="18250" y="23062"/>
                  <a:pt x="18406" y="23062"/>
                </a:cubicBezTo>
                <a:cubicBezTo>
                  <a:pt x="18375" y="23031"/>
                  <a:pt x="18375" y="23031"/>
                  <a:pt x="18375" y="22999"/>
                </a:cubicBezTo>
                <a:cubicBezTo>
                  <a:pt x="18375" y="23031"/>
                  <a:pt x="18375" y="23031"/>
                  <a:pt x="18406" y="23062"/>
                </a:cubicBezTo>
                <a:cubicBezTo>
                  <a:pt x="18406" y="23062"/>
                  <a:pt x="18406" y="23062"/>
                  <a:pt x="18406" y="23062"/>
                </a:cubicBezTo>
                <a:cubicBezTo>
                  <a:pt x="18438" y="23124"/>
                  <a:pt x="18469" y="23124"/>
                  <a:pt x="18500" y="23124"/>
                </a:cubicBezTo>
                <a:cubicBezTo>
                  <a:pt x="18563" y="23156"/>
                  <a:pt x="18563" y="23281"/>
                  <a:pt x="18531" y="23312"/>
                </a:cubicBezTo>
                <a:close/>
                <a:moveTo>
                  <a:pt x="18625" y="22937"/>
                </a:moveTo>
                <a:cubicBezTo>
                  <a:pt x="18625" y="22937"/>
                  <a:pt x="18625" y="22968"/>
                  <a:pt x="18625" y="22968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625" y="22999"/>
                  <a:pt x="18625" y="22999"/>
                  <a:pt x="18625" y="22999"/>
                </a:cubicBezTo>
                <a:cubicBezTo>
                  <a:pt x="18594" y="22999"/>
                  <a:pt x="18563" y="22999"/>
                  <a:pt x="18563" y="22968"/>
                </a:cubicBezTo>
                <a:cubicBezTo>
                  <a:pt x="18500" y="22906"/>
                  <a:pt x="18469" y="22812"/>
                  <a:pt x="18375" y="22812"/>
                </a:cubicBezTo>
                <a:cubicBezTo>
                  <a:pt x="18313" y="22718"/>
                  <a:pt x="18375" y="22656"/>
                  <a:pt x="18375" y="22562"/>
                </a:cubicBezTo>
                <a:cubicBezTo>
                  <a:pt x="18375" y="22562"/>
                  <a:pt x="18406" y="22531"/>
                  <a:pt x="18438" y="22562"/>
                </a:cubicBezTo>
                <a:cubicBezTo>
                  <a:pt x="18500" y="22656"/>
                  <a:pt x="18625" y="22749"/>
                  <a:pt x="18656" y="22874"/>
                </a:cubicBezTo>
                <a:cubicBezTo>
                  <a:pt x="18656" y="22906"/>
                  <a:pt x="18625" y="22906"/>
                  <a:pt x="18625" y="22937"/>
                </a:cubicBezTo>
                <a:close/>
                <a:moveTo>
                  <a:pt x="18656" y="22937"/>
                </a:moveTo>
                <a:cubicBezTo>
                  <a:pt x="18656" y="22937"/>
                  <a:pt x="18688" y="22906"/>
                  <a:pt x="18688" y="22874"/>
                </a:cubicBezTo>
                <a:cubicBezTo>
                  <a:pt x="18688" y="22906"/>
                  <a:pt x="18656" y="22937"/>
                  <a:pt x="18656" y="22937"/>
                </a:cubicBezTo>
                <a:close/>
                <a:moveTo>
                  <a:pt x="18750" y="22687"/>
                </a:moveTo>
                <a:cubicBezTo>
                  <a:pt x="18688" y="22718"/>
                  <a:pt x="18688" y="22656"/>
                  <a:pt x="18656" y="22624"/>
                </a:cubicBezTo>
                <a:cubicBezTo>
                  <a:pt x="18625" y="22593"/>
                  <a:pt x="18594" y="22562"/>
                  <a:pt x="18563" y="22531"/>
                </a:cubicBezTo>
                <a:cubicBezTo>
                  <a:pt x="18438" y="22437"/>
                  <a:pt x="18438" y="22374"/>
                  <a:pt x="18531" y="22281"/>
                </a:cubicBezTo>
                <a:cubicBezTo>
                  <a:pt x="18531" y="22249"/>
                  <a:pt x="18563" y="22218"/>
                  <a:pt x="18594" y="22249"/>
                </a:cubicBezTo>
                <a:cubicBezTo>
                  <a:pt x="18625" y="22343"/>
                  <a:pt x="18750" y="22406"/>
                  <a:pt x="18781" y="22531"/>
                </a:cubicBezTo>
                <a:cubicBezTo>
                  <a:pt x="18781" y="22562"/>
                  <a:pt x="18781" y="22562"/>
                  <a:pt x="18813" y="22593"/>
                </a:cubicBezTo>
                <a:cubicBezTo>
                  <a:pt x="18750" y="22624"/>
                  <a:pt x="18781" y="22687"/>
                  <a:pt x="18750" y="22687"/>
                </a:cubicBezTo>
                <a:close/>
                <a:moveTo>
                  <a:pt x="18906" y="22406"/>
                </a:moveTo>
                <a:cubicBezTo>
                  <a:pt x="18906" y="22437"/>
                  <a:pt x="18906" y="22437"/>
                  <a:pt x="18875" y="22437"/>
                </a:cubicBezTo>
                <a:cubicBezTo>
                  <a:pt x="18875" y="22437"/>
                  <a:pt x="18813" y="22406"/>
                  <a:pt x="18813" y="22374"/>
                </a:cubicBezTo>
                <a:cubicBezTo>
                  <a:pt x="18781" y="22312"/>
                  <a:pt x="18719" y="22281"/>
                  <a:pt x="18688" y="22218"/>
                </a:cubicBezTo>
                <a:cubicBezTo>
                  <a:pt x="18594" y="22124"/>
                  <a:pt x="18594" y="22031"/>
                  <a:pt x="18688" y="21968"/>
                </a:cubicBezTo>
                <a:cubicBezTo>
                  <a:pt x="18688" y="21968"/>
                  <a:pt x="18719" y="21937"/>
                  <a:pt x="18719" y="21968"/>
                </a:cubicBezTo>
                <a:cubicBezTo>
                  <a:pt x="18750" y="21968"/>
                  <a:pt x="18781" y="21999"/>
                  <a:pt x="18750" y="22031"/>
                </a:cubicBezTo>
                <a:cubicBezTo>
                  <a:pt x="18750" y="22062"/>
                  <a:pt x="18750" y="22062"/>
                  <a:pt x="18781" y="22062"/>
                </a:cubicBezTo>
                <a:cubicBezTo>
                  <a:pt x="18875" y="22062"/>
                  <a:pt x="18969" y="22343"/>
                  <a:pt x="18906" y="22406"/>
                </a:cubicBezTo>
                <a:close/>
                <a:moveTo>
                  <a:pt x="19094" y="22156"/>
                </a:moveTo>
                <a:cubicBezTo>
                  <a:pt x="19094" y="22156"/>
                  <a:pt x="19094" y="22187"/>
                  <a:pt x="19063" y="22187"/>
                </a:cubicBezTo>
                <a:cubicBezTo>
                  <a:pt x="19031" y="22218"/>
                  <a:pt x="19031" y="22187"/>
                  <a:pt x="19031" y="22156"/>
                </a:cubicBezTo>
                <a:cubicBezTo>
                  <a:pt x="18969" y="22062"/>
                  <a:pt x="18875" y="21999"/>
                  <a:pt x="18813" y="21906"/>
                </a:cubicBezTo>
                <a:cubicBezTo>
                  <a:pt x="18781" y="21874"/>
                  <a:pt x="18813" y="21718"/>
                  <a:pt x="18875" y="21687"/>
                </a:cubicBezTo>
                <a:cubicBezTo>
                  <a:pt x="18906" y="21687"/>
                  <a:pt x="18906" y="21656"/>
                  <a:pt x="18906" y="21687"/>
                </a:cubicBezTo>
                <a:cubicBezTo>
                  <a:pt x="18906" y="21718"/>
                  <a:pt x="18969" y="21718"/>
                  <a:pt x="18938" y="21749"/>
                </a:cubicBezTo>
                <a:cubicBezTo>
                  <a:pt x="18938" y="21781"/>
                  <a:pt x="18875" y="21812"/>
                  <a:pt x="18906" y="21874"/>
                </a:cubicBezTo>
                <a:cubicBezTo>
                  <a:pt x="18938" y="21749"/>
                  <a:pt x="19000" y="21781"/>
                  <a:pt x="19031" y="21843"/>
                </a:cubicBezTo>
                <a:cubicBezTo>
                  <a:pt x="19063" y="21937"/>
                  <a:pt x="19156" y="22031"/>
                  <a:pt x="19094" y="22156"/>
                </a:cubicBezTo>
                <a:close/>
                <a:moveTo>
                  <a:pt x="19281" y="21937"/>
                </a:moveTo>
                <a:cubicBezTo>
                  <a:pt x="19281" y="21968"/>
                  <a:pt x="19250" y="21968"/>
                  <a:pt x="19219" y="21968"/>
                </a:cubicBezTo>
                <a:cubicBezTo>
                  <a:pt x="19188" y="21874"/>
                  <a:pt x="19125" y="21812"/>
                  <a:pt x="19094" y="21718"/>
                </a:cubicBezTo>
                <a:cubicBezTo>
                  <a:pt x="19094" y="21718"/>
                  <a:pt x="19094" y="21687"/>
                  <a:pt x="19094" y="21656"/>
                </a:cubicBezTo>
                <a:lnTo>
                  <a:pt x="19094" y="21656"/>
                </a:lnTo>
                <a:cubicBezTo>
                  <a:pt x="19094" y="21687"/>
                  <a:pt x="19094" y="21718"/>
                  <a:pt x="19094" y="21718"/>
                </a:cubicBezTo>
                <a:cubicBezTo>
                  <a:pt x="18938" y="21624"/>
                  <a:pt x="18938" y="21562"/>
                  <a:pt x="19063" y="21468"/>
                </a:cubicBezTo>
                <a:cubicBezTo>
                  <a:pt x="19125" y="21437"/>
                  <a:pt x="19125" y="21468"/>
                  <a:pt x="19156" y="21468"/>
                </a:cubicBezTo>
                <a:cubicBezTo>
                  <a:pt x="19188" y="21593"/>
                  <a:pt x="19281" y="21656"/>
                  <a:pt x="19313" y="21781"/>
                </a:cubicBezTo>
                <a:cubicBezTo>
                  <a:pt x="19344" y="21843"/>
                  <a:pt x="19281" y="21906"/>
                  <a:pt x="19281" y="21937"/>
                </a:cubicBezTo>
                <a:close/>
                <a:moveTo>
                  <a:pt x="19469" y="21781"/>
                </a:moveTo>
                <a:cubicBezTo>
                  <a:pt x="19469" y="21749"/>
                  <a:pt x="19406" y="21718"/>
                  <a:pt x="19406" y="21687"/>
                </a:cubicBezTo>
                <a:cubicBezTo>
                  <a:pt x="19375" y="21624"/>
                  <a:pt x="19344" y="21593"/>
                  <a:pt x="19313" y="21562"/>
                </a:cubicBezTo>
                <a:cubicBezTo>
                  <a:pt x="19313" y="21531"/>
                  <a:pt x="19281" y="21531"/>
                  <a:pt x="19281" y="21499"/>
                </a:cubicBezTo>
                <a:cubicBezTo>
                  <a:pt x="19281" y="21468"/>
                  <a:pt x="19313" y="21499"/>
                  <a:pt x="19344" y="21499"/>
                </a:cubicBezTo>
                <a:cubicBezTo>
                  <a:pt x="19406" y="21499"/>
                  <a:pt x="19438" y="21468"/>
                  <a:pt x="19375" y="21406"/>
                </a:cubicBezTo>
                <a:cubicBezTo>
                  <a:pt x="19375" y="21374"/>
                  <a:pt x="19375" y="21374"/>
                  <a:pt x="19375" y="21343"/>
                </a:cubicBezTo>
                <a:cubicBezTo>
                  <a:pt x="19406" y="21343"/>
                  <a:pt x="19438" y="21343"/>
                  <a:pt x="19438" y="21374"/>
                </a:cubicBezTo>
                <a:cubicBezTo>
                  <a:pt x="19469" y="21437"/>
                  <a:pt x="19531" y="21531"/>
                  <a:pt x="19563" y="21624"/>
                </a:cubicBezTo>
                <a:cubicBezTo>
                  <a:pt x="19563" y="21656"/>
                  <a:pt x="19500" y="21781"/>
                  <a:pt x="19469" y="21781"/>
                </a:cubicBezTo>
                <a:close/>
                <a:moveTo>
                  <a:pt x="19531" y="21312"/>
                </a:moveTo>
                <a:cubicBezTo>
                  <a:pt x="19531" y="21281"/>
                  <a:pt x="19594" y="21343"/>
                  <a:pt x="19594" y="21281"/>
                </a:cubicBezTo>
                <a:cubicBezTo>
                  <a:pt x="19563" y="21187"/>
                  <a:pt x="19625" y="21187"/>
                  <a:pt x="19688" y="21156"/>
                </a:cubicBezTo>
                <a:cubicBezTo>
                  <a:pt x="19750" y="21249"/>
                  <a:pt x="19813" y="21312"/>
                  <a:pt x="19750" y="21437"/>
                </a:cubicBezTo>
                <a:cubicBezTo>
                  <a:pt x="19719" y="21406"/>
                  <a:pt x="19688" y="21468"/>
                  <a:pt x="19656" y="21468"/>
                </a:cubicBezTo>
                <a:cubicBezTo>
                  <a:pt x="19594" y="21406"/>
                  <a:pt x="19563" y="21343"/>
                  <a:pt x="19531" y="21312"/>
                </a:cubicBezTo>
                <a:close/>
                <a:moveTo>
                  <a:pt x="19719" y="21593"/>
                </a:moveTo>
                <a:cubicBezTo>
                  <a:pt x="19688" y="21624"/>
                  <a:pt x="19688" y="21562"/>
                  <a:pt x="19719" y="21562"/>
                </a:cubicBezTo>
                <a:cubicBezTo>
                  <a:pt x="19719" y="21531"/>
                  <a:pt x="19688" y="21531"/>
                  <a:pt x="19656" y="21531"/>
                </a:cubicBezTo>
                <a:cubicBezTo>
                  <a:pt x="19688" y="21468"/>
                  <a:pt x="19719" y="21499"/>
                  <a:pt x="19750" y="21499"/>
                </a:cubicBezTo>
                <a:cubicBezTo>
                  <a:pt x="19781" y="21499"/>
                  <a:pt x="19781" y="21499"/>
                  <a:pt x="19781" y="21468"/>
                </a:cubicBezTo>
                <a:cubicBezTo>
                  <a:pt x="19781" y="21499"/>
                  <a:pt x="19781" y="21499"/>
                  <a:pt x="19750" y="21499"/>
                </a:cubicBezTo>
                <a:cubicBezTo>
                  <a:pt x="19781" y="21531"/>
                  <a:pt x="19781" y="21531"/>
                  <a:pt x="19781" y="21562"/>
                </a:cubicBezTo>
                <a:cubicBezTo>
                  <a:pt x="19781" y="21593"/>
                  <a:pt x="19750" y="21593"/>
                  <a:pt x="19719" y="21593"/>
                </a:cubicBezTo>
                <a:close/>
                <a:moveTo>
                  <a:pt x="20063" y="21249"/>
                </a:moveTo>
                <a:cubicBezTo>
                  <a:pt x="20063" y="21281"/>
                  <a:pt x="20063" y="21312"/>
                  <a:pt x="20063" y="21343"/>
                </a:cubicBezTo>
                <a:cubicBezTo>
                  <a:pt x="20000" y="21343"/>
                  <a:pt x="20094" y="21437"/>
                  <a:pt x="20031" y="21437"/>
                </a:cubicBezTo>
                <a:cubicBezTo>
                  <a:pt x="20000" y="21437"/>
                  <a:pt x="19969" y="21468"/>
                  <a:pt x="19969" y="21437"/>
                </a:cubicBezTo>
                <a:cubicBezTo>
                  <a:pt x="19906" y="21312"/>
                  <a:pt x="19813" y="21187"/>
                  <a:pt x="19750" y="21062"/>
                </a:cubicBezTo>
                <a:cubicBezTo>
                  <a:pt x="19750" y="21062"/>
                  <a:pt x="19750" y="21062"/>
                  <a:pt x="19750" y="21031"/>
                </a:cubicBezTo>
                <a:cubicBezTo>
                  <a:pt x="19875" y="21093"/>
                  <a:pt x="20063" y="21031"/>
                  <a:pt x="20063" y="21249"/>
                </a:cubicBezTo>
                <a:cubicBezTo>
                  <a:pt x="20063" y="21249"/>
                  <a:pt x="20063" y="21249"/>
                  <a:pt x="20063" y="21249"/>
                </a:cubicBezTo>
                <a:close/>
                <a:moveTo>
                  <a:pt x="20281" y="21312"/>
                </a:moveTo>
                <a:cubicBezTo>
                  <a:pt x="20219" y="21312"/>
                  <a:pt x="20250" y="21218"/>
                  <a:pt x="20219" y="21187"/>
                </a:cubicBezTo>
                <a:cubicBezTo>
                  <a:pt x="20188" y="21187"/>
                  <a:pt x="20219" y="21156"/>
                  <a:pt x="20250" y="21187"/>
                </a:cubicBezTo>
                <a:cubicBezTo>
                  <a:pt x="20281" y="21218"/>
                  <a:pt x="20344" y="21187"/>
                  <a:pt x="20344" y="21312"/>
                </a:cubicBezTo>
                <a:cubicBezTo>
                  <a:pt x="20344" y="21312"/>
                  <a:pt x="20313" y="21343"/>
                  <a:pt x="20281" y="21312"/>
                </a:cubicBezTo>
                <a:close/>
                <a:moveTo>
                  <a:pt x="20406" y="20781"/>
                </a:moveTo>
                <a:cubicBezTo>
                  <a:pt x="20375" y="20781"/>
                  <a:pt x="20375" y="20781"/>
                  <a:pt x="20375" y="20749"/>
                </a:cubicBezTo>
                <a:cubicBezTo>
                  <a:pt x="20375" y="20718"/>
                  <a:pt x="20375" y="20718"/>
                  <a:pt x="20406" y="20718"/>
                </a:cubicBezTo>
                <a:cubicBezTo>
                  <a:pt x="20406" y="20718"/>
                  <a:pt x="20438" y="20749"/>
                  <a:pt x="20438" y="20749"/>
                </a:cubicBezTo>
                <a:cubicBezTo>
                  <a:pt x="20438" y="20781"/>
                  <a:pt x="20406" y="20781"/>
                  <a:pt x="20406" y="20781"/>
                </a:cubicBezTo>
                <a:close/>
                <a:moveTo>
                  <a:pt x="20625" y="21062"/>
                </a:moveTo>
                <a:cubicBezTo>
                  <a:pt x="20625" y="21062"/>
                  <a:pt x="20625" y="21062"/>
                  <a:pt x="20625" y="21062"/>
                </a:cubicBezTo>
                <a:cubicBezTo>
                  <a:pt x="20594" y="21062"/>
                  <a:pt x="20563" y="21031"/>
                  <a:pt x="20563" y="20999"/>
                </a:cubicBezTo>
                <a:cubicBezTo>
                  <a:pt x="20531" y="20999"/>
                  <a:pt x="20531" y="20968"/>
                  <a:pt x="20531" y="20968"/>
                </a:cubicBezTo>
                <a:cubicBezTo>
                  <a:pt x="20563" y="20937"/>
                  <a:pt x="20625" y="20968"/>
                  <a:pt x="20656" y="20968"/>
                </a:cubicBezTo>
                <a:cubicBezTo>
                  <a:pt x="20656" y="20968"/>
                  <a:pt x="20688" y="20968"/>
                  <a:pt x="20688" y="20999"/>
                </a:cubicBezTo>
                <a:cubicBezTo>
                  <a:pt x="20656" y="21031"/>
                  <a:pt x="20625" y="21031"/>
                  <a:pt x="20625" y="21062"/>
                </a:cubicBezTo>
                <a:close/>
                <a:moveTo>
                  <a:pt x="21656" y="18999"/>
                </a:moveTo>
                <a:cubicBezTo>
                  <a:pt x="21625" y="18999"/>
                  <a:pt x="21594" y="18937"/>
                  <a:pt x="21594" y="18906"/>
                </a:cubicBezTo>
                <a:cubicBezTo>
                  <a:pt x="21563" y="18906"/>
                  <a:pt x="21594" y="18874"/>
                  <a:pt x="21625" y="18874"/>
                </a:cubicBezTo>
                <a:cubicBezTo>
                  <a:pt x="21656" y="18906"/>
                  <a:pt x="21656" y="18937"/>
                  <a:pt x="21688" y="18968"/>
                </a:cubicBezTo>
                <a:cubicBezTo>
                  <a:pt x="21688" y="18999"/>
                  <a:pt x="21656" y="18999"/>
                  <a:pt x="21656" y="18999"/>
                </a:cubicBezTo>
                <a:close/>
                <a:moveTo>
                  <a:pt x="21875" y="19249"/>
                </a:moveTo>
                <a:cubicBezTo>
                  <a:pt x="21906" y="19218"/>
                  <a:pt x="21906" y="19187"/>
                  <a:pt x="21906" y="19124"/>
                </a:cubicBezTo>
                <a:cubicBezTo>
                  <a:pt x="21906" y="19156"/>
                  <a:pt x="21875" y="19156"/>
                  <a:pt x="21875" y="19156"/>
                </a:cubicBezTo>
                <a:cubicBezTo>
                  <a:pt x="21813" y="19156"/>
                  <a:pt x="21781" y="19124"/>
                  <a:pt x="21750" y="19093"/>
                </a:cubicBezTo>
                <a:cubicBezTo>
                  <a:pt x="21813" y="19031"/>
                  <a:pt x="21844" y="19124"/>
                  <a:pt x="21906" y="19124"/>
                </a:cubicBezTo>
                <a:cubicBezTo>
                  <a:pt x="21906" y="19124"/>
                  <a:pt x="21906" y="19124"/>
                  <a:pt x="21906" y="19124"/>
                </a:cubicBezTo>
                <a:cubicBezTo>
                  <a:pt x="21906" y="19187"/>
                  <a:pt x="21906" y="19218"/>
                  <a:pt x="21875" y="19249"/>
                </a:cubicBezTo>
                <a:close/>
                <a:moveTo>
                  <a:pt x="22000" y="21406"/>
                </a:moveTo>
                <a:cubicBezTo>
                  <a:pt x="22000" y="21437"/>
                  <a:pt x="22000" y="21437"/>
                  <a:pt x="22000" y="21437"/>
                </a:cubicBezTo>
                <a:cubicBezTo>
                  <a:pt x="22000" y="21437"/>
                  <a:pt x="22000" y="21468"/>
                  <a:pt x="21969" y="21468"/>
                </a:cubicBezTo>
                <a:cubicBezTo>
                  <a:pt x="21969" y="21499"/>
                  <a:pt x="21938" y="21499"/>
                  <a:pt x="21938" y="21468"/>
                </a:cubicBezTo>
                <a:cubicBezTo>
                  <a:pt x="21906" y="21437"/>
                  <a:pt x="21906" y="21437"/>
                  <a:pt x="21906" y="21406"/>
                </a:cubicBezTo>
                <a:cubicBezTo>
                  <a:pt x="21938" y="21374"/>
                  <a:pt x="21969" y="21374"/>
                  <a:pt x="21969" y="21374"/>
                </a:cubicBezTo>
                <a:cubicBezTo>
                  <a:pt x="22000" y="21374"/>
                  <a:pt x="22031" y="21374"/>
                  <a:pt x="22000" y="21406"/>
                </a:cubicBezTo>
                <a:close/>
                <a:moveTo>
                  <a:pt x="22125" y="21562"/>
                </a:moveTo>
                <a:cubicBezTo>
                  <a:pt x="22094" y="21562"/>
                  <a:pt x="22063" y="21562"/>
                  <a:pt x="22063" y="21531"/>
                </a:cubicBezTo>
                <a:cubicBezTo>
                  <a:pt x="22063" y="21499"/>
                  <a:pt x="22031" y="21499"/>
                  <a:pt x="22031" y="21499"/>
                </a:cubicBezTo>
                <a:cubicBezTo>
                  <a:pt x="22063" y="21499"/>
                  <a:pt x="22063" y="21468"/>
                  <a:pt x="22094" y="21468"/>
                </a:cubicBezTo>
                <a:cubicBezTo>
                  <a:pt x="22125" y="21468"/>
                  <a:pt x="22125" y="21468"/>
                  <a:pt x="22156" y="21499"/>
                </a:cubicBezTo>
                <a:cubicBezTo>
                  <a:pt x="22156" y="21531"/>
                  <a:pt x="22156" y="21531"/>
                  <a:pt x="22125" y="21562"/>
                </a:cubicBezTo>
                <a:close/>
                <a:moveTo>
                  <a:pt x="22125" y="18999"/>
                </a:moveTo>
                <a:cubicBezTo>
                  <a:pt x="22125" y="18999"/>
                  <a:pt x="22125" y="18968"/>
                  <a:pt x="22156" y="18937"/>
                </a:cubicBezTo>
                <a:cubicBezTo>
                  <a:pt x="22188" y="18937"/>
                  <a:pt x="22219" y="18937"/>
                  <a:pt x="22219" y="18968"/>
                </a:cubicBezTo>
                <a:cubicBezTo>
                  <a:pt x="22281" y="19031"/>
                  <a:pt x="22313" y="19062"/>
                  <a:pt x="22344" y="19124"/>
                </a:cubicBezTo>
                <a:cubicBezTo>
                  <a:pt x="22250" y="19124"/>
                  <a:pt x="22219" y="19031"/>
                  <a:pt x="22125" y="18999"/>
                </a:cubicBezTo>
                <a:close/>
                <a:moveTo>
                  <a:pt x="29625" y="23124"/>
                </a:moveTo>
                <a:cubicBezTo>
                  <a:pt x="29625" y="23187"/>
                  <a:pt x="29594" y="23187"/>
                  <a:pt x="29563" y="23187"/>
                </a:cubicBezTo>
                <a:cubicBezTo>
                  <a:pt x="29531" y="23187"/>
                  <a:pt x="29500" y="23187"/>
                  <a:pt x="29500" y="23156"/>
                </a:cubicBezTo>
                <a:cubicBezTo>
                  <a:pt x="29500" y="23093"/>
                  <a:pt x="29563" y="23124"/>
                  <a:pt x="29594" y="23093"/>
                </a:cubicBezTo>
                <a:cubicBezTo>
                  <a:pt x="29594" y="23093"/>
                  <a:pt x="29625" y="23124"/>
                  <a:pt x="29625" y="23124"/>
                </a:cubicBezTo>
                <a:close/>
                <a:moveTo>
                  <a:pt x="30000" y="22937"/>
                </a:moveTo>
                <a:cubicBezTo>
                  <a:pt x="30031" y="22937"/>
                  <a:pt x="30031" y="22937"/>
                  <a:pt x="30063" y="22968"/>
                </a:cubicBezTo>
                <a:cubicBezTo>
                  <a:pt x="30094" y="22968"/>
                  <a:pt x="30125" y="22999"/>
                  <a:pt x="30125" y="23031"/>
                </a:cubicBezTo>
                <a:cubicBezTo>
                  <a:pt x="30125" y="23031"/>
                  <a:pt x="30125" y="23031"/>
                  <a:pt x="30125" y="23031"/>
                </a:cubicBezTo>
                <a:cubicBezTo>
                  <a:pt x="30094" y="23031"/>
                  <a:pt x="30063" y="22999"/>
                  <a:pt x="30031" y="22968"/>
                </a:cubicBezTo>
                <a:cubicBezTo>
                  <a:pt x="30031" y="22968"/>
                  <a:pt x="30000" y="22968"/>
                  <a:pt x="30000" y="22937"/>
                </a:cubicBezTo>
                <a:cubicBezTo>
                  <a:pt x="30000" y="22937"/>
                  <a:pt x="30000" y="22937"/>
                  <a:pt x="30000" y="22937"/>
                </a:cubicBezTo>
                <a:close/>
                <a:moveTo>
                  <a:pt x="29969" y="23124"/>
                </a:moveTo>
                <a:cubicBezTo>
                  <a:pt x="29969" y="23124"/>
                  <a:pt x="30000" y="23124"/>
                  <a:pt x="30000" y="23156"/>
                </a:cubicBezTo>
                <a:cubicBezTo>
                  <a:pt x="29969" y="23187"/>
                  <a:pt x="29969" y="23187"/>
                  <a:pt x="29938" y="23187"/>
                </a:cubicBezTo>
                <a:cubicBezTo>
                  <a:pt x="29906" y="23187"/>
                  <a:pt x="29875" y="23156"/>
                  <a:pt x="29844" y="23156"/>
                </a:cubicBezTo>
                <a:cubicBezTo>
                  <a:pt x="29813" y="23124"/>
                  <a:pt x="29781" y="23062"/>
                  <a:pt x="29719" y="23062"/>
                </a:cubicBezTo>
                <a:cubicBezTo>
                  <a:pt x="29719" y="23093"/>
                  <a:pt x="29719" y="23093"/>
                  <a:pt x="29750" y="23124"/>
                </a:cubicBezTo>
                <a:cubicBezTo>
                  <a:pt x="29750" y="23124"/>
                  <a:pt x="29750" y="23124"/>
                  <a:pt x="29750" y="23156"/>
                </a:cubicBezTo>
                <a:cubicBezTo>
                  <a:pt x="29719" y="23156"/>
                  <a:pt x="29719" y="23156"/>
                  <a:pt x="29688" y="23156"/>
                </a:cubicBezTo>
                <a:cubicBezTo>
                  <a:pt x="29656" y="23124"/>
                  <a:pt x="29625" y="23062"/>
                  <a:pt x="29656" y="23031"/>
                </a:cubicBezTo>
                <a:cubicBezTo>
                  <a:pt x="29688" y="22999"/>
                  <a:pt x="29750" y="22968"/>
                  <a:pt x="29813" y="23031"/>
                </a:cubicBezTo>
                <a:cubicBezTo>
                  <a:pt x="29844" y="23062"/>
                  <a:pt x="29906" y="23093"/>
                  <a:pt x="29969" y="23124"/>
                </a:cubicBezTo>
                <a:close/>
                <a:moveTo>
                  <a:pt x="29656" y="22812"/>
                </a:moveTo>
                <a:cubicBezTo>
                  <a:pt x="29688" y="22812"/>
                  <a:pt x="29688" y="22812"/>
                  <a:pt x="29719" y="22812"/>
                </a:cubicBezTo>
                <a:cubicBezTo>
                  <a:pt x="29719" y="22812"/>
                  <a:pt x="29719" y="22781"/>
                  <a:pt x="29750" y="22781"/>
                </a:cubicBezTo>
                <a:cubicBezTo>
                  <a:pt x="29750" y="22781"/>
                  <a:pt x="29750" y="22812"/>
                  <a:pt x="29750" y="22812"/>
                </a:cubicBezTo>
                <a:cubicBezTo>
                  <a:pt x="29750" y="22812"/>
                  <a:pt x="29719" y="22812"/>
                  <a:pt x="29719" y="22812"/>
                </a:cubicBezTo>
                <a:cubicBezTo>
                  <a:pt x="29688" y="22812"/>
                  <a:pt x="29688" y="22812"/>
                  <a:pt x="29656" y="22812"/>
                </a:cubicBezTo>
                <a:cubicBezTo>
                  <a:pt x="29625" y="22812"/>
                  <a:pt x="29563" y="22781"/>
                  <a:pt x="29531" y="22781"/>
                </a:cubicBezTo>
                <a:cubicBezTo>
                  <a:pt x="29563" y="22749"/>
                  <a:pt x="29625" y="22749"/>
                  <a:pt x="29656" y="22812"/>
                </a:cubicBezTo>
                <a:close/>
                <a:moveTo>
                  <a:pt x="29469" y="22874"/>
                </a:moveTo>
                <a:cubicBezTo>
                  <a:pt x="29563" y="22812"/>
                  <a:pt x="29563" y="22812"/>
                  <a:pt x="29656" y="22874"/>
                </a:cubicBezTo>
                <a:cubicBezTo>
                  <a:pt x="29688" y="22874"/>
                  <a:pt x="29719" y="22874"/>
                  <a:pt x="29719" y="22874"/>
                </a:cubicBezTo>
                <a:cubicBezTo>
                  <a:pt x="29688" y="22968"/>
                  <a:pt x="29625" y="22999"/>
                  <a:pt x="29563" y="22906"/>
                </a:cubicBezTo>
                <a:cubicBezTo>
                  <a:pt x="29563" y="22874"/>
                  <a:pt x="29563" y="22874"/>
                  <a:pt x="29531" y="22874"/>
                </a:cubicBezTo>
                <a:cubicBezTo>
                  <a:pt x="29531" y="22874"/>
                  <a:pt x="29531" y="22874"/>
                  <a:pt x="29531" y="22906"/>
                </a:cubicBezTo>
                <a:cubicBezTo>
                  <a:pt x="29500" y="22968"/>
                  <a:pt x="29500" y="22937"/>
                  <a:pt x="29438" y="22937"/>
                </a:cubicBezTo>
                <a:cubicBezTo>
                  <a:pt x="29438" y="22937"/>
                  <a:pt x="29406" y="22937"/>
                  <a:pt x="29375" y="22906"/>
                </a:cubicBezTo>
                <a:cubicBezTo>
                  <a:pt x="29375" y="22874"/>
                  <a:pt x="29375" y="22843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ubicBezTo>
                  <a:pt x="29406" y="22843"/>
                  <a:pt x="29438" y="22874"/>
                  <a:pt x="29469" y="22874"/>
                </a:cubicBezTo>
                <a:close/>
                <a:moveTo>
                  <a:pt x="29375" y="22562"/>
                </a:moveTo>
                <a:cubicBezTo>
                  <a:pt x="29375" y="22593"/>
                  <a:pt x="29375" y="22624"/>
                  <a:pt x="29406" y="22624"/>
                </a:cubicBezTo>
                <a:cubicBezTo>
                  <a:pt x="29438" y="22656"/>
                  <a:pt x="29469" y="22656"/>
                  <a:pt x="29438" y="22687"/>
                </a:cubicBezTo>
                <a:cubicBezTo>
                  <a:pt x="29438" y="22718"/>
                  <a:pt x="29406" y="22718"/>
                  <a:pt x="29406" y="22687"/>
                </a:cubicBezTo>
                <a:cubicBezTo>
                  <a:pt x="29375" y="22687"/>
                  <a:pt x="29313" y="22656"/>
                  <a:pt x="29313" y="22593"/>
                </a:cubicBezTo>
                <a:cubicBezTo>
                  <a:pt x="29313" y="22562"/>
                  <a:pt x="29375" y="22593"/>
                  <a:pt x="29375" y="22562"/>
                </a:cubicBezTo>
                <a:close/>
                <a:moveTo>
                  <a:pt x="29188" y="22562"/>
                </a:moveTo>
                <a:cubicBezTo>
                  <a:pt x="29188" y="22593"/>
                  <a:pt x="29156" y="22593"/>
                  <a:pt x="29156" y="22562"/>
                </a:cubicBezTo>
                <a:cubicBezTo>
                  <a:pt x="29125" y="22531"/>
                  <a:pt x="29125" y="22499"/>
                  <a:pt x="29094" y="22531"/>
                </a:cubicBezTo>
                <a:cubicBezTo>
                  <a:pt x="29094" y="22531"/>
                  <a:pt x="29094" y="22499"/>
                  <a:pt x="29063" y="22499"/>
                </a:cubicBezTo>
                <a:cubicBezTo>
                  <a:pt x="29063" y="22499"/>
                  <a:pt x="29063" y="22499"/>
                  <a:pt x="29063" y="22499"/>
                </a:cubicBezTo>
                <a:cubicBezTo>
                  <a:pt x="29063" y="22499"/>
                  <a:pt x="29031" y="22468"/>
                  <a:pt x="29094" y="22468"/>
                </a:cubicBezTo>
                <a:cubicBezTo>
                  <a:pt x="29125" y="22437"/>
                  <a:pt x="29156" y="22468"/>
                  <a:pt x="29188" y="22499"/>
                </a:cubicBezTo>
                <a:cubicBezTo>
                  <a:pt x="29188" y="22531"/>
                  <a:pt x="29219" y="22531"/>
                  <a:pt x="29188" y="22562"/>
                </a:cubicBezTo>
                <a:close/>
                <a:moveTo>
                  <a:pt x="29094" y="22562"/>
                </a:moveTo>
                <a:cubicBezTo>
                  <a:pt x="29063" y="22593"/>
                  <a:pt x="29031" y="22593"/>
                  <a:pt x="29000" y="22656"/>
                </a:cubicBezTo>
                <a:cubicBezTo>
                  <a:pt x="29000" y="22687"/>
                  <a:pt x="29000" y="22718"/>
                  <a:pt x="28938" y="22687"/>
                </a:cubicBezTo>
                <a:cubicBezTo>
                  <a:pt x="28906" y="22656"/>
                  <a:pt x="28844" y="22624"/>
                  <a:pt x="28844" y="22562"/>
                </a:cubicBezTo>
                <a:cubicBezTo>
                  <a:pt x="28844" y="22531"/>
                  <a:pt x="28875" y="22562"/>
                  <a:pt x="28906" y="22562"/>
                </a:cubicBezTo>
                <a:cubicBezTo>
                  <a:pt x="28938" y="22593"/>
                  <a:pt x="28969" y="22624"/>
                  <a:pt x="29000" y="22656"/>
                </a:cubicBezTo>
                <a:cubicBezTo>
                  <a:pt x="29031" y="22593"/>
                  <a:pt x="29063" y="22593"/>
                  <a:pt x="29094" y="22562"/>
                </a:cubicBezTo>
                <a:close/>
                <a:moveTo>
                  <a:pt x="28969" y="21312"/>
                </a:moveTo>
                <a:cubicBezTo>
                  <a:pt x="29031" y="21343"/>
                  <a:pt x="29063" y="21374"/>
                  <a:pt x="29125" y="21437"/>
                </a:cubicBezTo>
                <a:cubicBezTo>
                  <a:pt x="29156" y="21468"/>
                  <a:pt x="29094" y="21437"/>
                  <a:pt x="29094" y="21437"/>
                </a:cubicBezTo>
                <a:cubicBezTo>
                  <a:pt x="29094" y="21437"/>
                  <a:pt x="29094" y="21437"/>
                  <a:pt x="29094" y="21437"/>
                </a:cubicBezTo>
                <a:cubicBezTo>
                  <a:pt x="29063" y="21499"/>
                  <a:pt x="29125" y="21562"/>
                  <a:pt x="29125" y="21624"/>
                </a:cubicBezTo>
                <a:cubicBezTo>
                  <a:pt x="29125" y="21562"/>
                  <a:pt x="29063" y="21499"/>
                  <a:pt x="29094" y="21437"/>
                </a:cubicBezTo>
                <a:cubicBezTo>
                  <a:pt x="29063" y="21437"/>
                  <a:pt x="29031" y="21437"/>
                  <a:pt x="29000" y="21406"/>
                </a:cubicBezTo>
                <a:cubicBezTo>
                  <a:pt x="28938" y="21343"/>
                  <a:pt x="28906" y="21343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ubicBezTo>
                  <a:pt x="28875" y="21374"/>
                  <a:pt x="28875" y="21374"/>
                  <a:pt x="28875" y="21406"/>
                </a:cubicBezTo>
                <a:cubicBezTo>
                  <a:pt x="28875" y="21437"/>
                  <a:pt x="28875" y="21437"/>
                  <a:pt x="28844" y="21468"/>
                </a:cubicBezTo>
                <a:cubicBezTo>
                  <a:pt x="28844" y="21437"/>
                  <a:pt x="28844" y="21406"/>
                  <a:pt x="28844" y="21374"/>
                </a:cubicBezTo>
                <a:lnTo>
                  <a:pt x="28844" y="21374"/>
                </a:lnTo>
                <a:cubicBezTo>
                  <a:pt x="28844" y="21374"/>
                  <a:pt x="28844" y="21374"/>
                  <a:pt x="28844" y="21374"/>
                </a:cubicBezTo>
                <a:cubicBezTo>
                  <a:pt x="28813" y="21374"/>
                  <a:pt x="28813" y="21312"/>
                  <a:pt x="28813" y="21312"/>
                </a:cubicBezTo>
                <a:cubicBezTo>
                  <a:pt x="28844" y="21249"/>
                  <a:pt x="28906" y="21249"/>
                  <a:pt x="28969" y="21312"/>
                </a:cubicBezTo>
                <a:close/>
                <a:moveTo>
                  <a:pt x="28781" y="21124"/>
                </a:moveTo>
                <a:cubicBezTo>
                  <a:pt x="28781" y="21187"/>
                  <a:pt x="28813" y="21187"/>
                  <a:pt x="28844" y="21218"/>
                </a:cubicBezTo>
                <a:cubicBezTo>
                  <a:pt x="28813" y="21249"/>
                  <a:pt x="28750" y="21218"/>
                  <a:pt x="28719" y="21218"/>
                </a:cubicBezTo>
                <a:cubicBezTo>
                  <a:pt x="28750" y="21249"/>
                  <a:pt x="28781" y="21281"/>
                  <a:pt x="28813" y="21312"/>
                </a:cubicBezTo>
                <a:cubicBezTo>
                  <a:pt x="28781" y="21281"/>
                  <a:pt x="28750" y="21249"/>
                  <a:pt x="28719" y="21218"/>
                </a:cubicBezTo>
                <a:cubicBezTo>
                  <a:pt x="28719" y="21218"/>
                  <a:pt x="28719" y="21218"/>
                  <a:pt x="28719" y="21218"/>
                </a:cubicBezTo>
                <a:cubicBezTo>
                  <a:pt x="28719" y="21218"/>
                  <a:pt x="28719" y="21218"/>
                  <a:pt x="28688" y="21218"/>
                </a:cubicBezTo>
                <a:cubicBezTo>
                  <a:pt x="28688" y="21218"/>
                  <a:pt x="28656" y="21218"/>
                  <a:pt x="28656" y="21218"/>
                </a:cubicBezTo>
                <a:cubicBezTo>
                  <a:pt x="28625" y="21218"/>
                  <a:pt x="28594" y="21218"/>
                  <a:pt x="28594" y="21187"/>
                </a:cubicBezTo>
                <a:cubicBezTo>
                  <a:pt x="28594" y="21218"/>
                  <a:pt x="28625" y="21218"/>
                  <a:pt x="28656" y="21218"/>
                </a:cubicBezTo>
                <a:cubicBezTo>
                  <a:pt x="28594" y="21156"/>
                  <a:pt x="28531" y="21124"/>
                  <a:pt x="28500" y="21062"/>
                </a:cubicBezTo>
                <a:cubicBezTo>
                  <a:pt x="28594" y="21093"/>
                  <a:pt x="28688" y="21062"/>
                  <a:pt x="28781" y="21124"/>
                </a:cubicBezTo>
                <a:close/>
                <a:moveTo>
                  <a:pt x="28406" y="20937"/>
                </a:moveTo>
                <a:cubicBezTo>
                  <a:pt x="28406" y="20906"/>
                  <a:pt x="28406" y="20874"/>
                  <a:pt x="28406" y="20874"/>
                </a:cubicBezTo>
                <a:cubicBezTo>
                  <a:pt x="28500" y="20937"/>
                  <a:pt x="28563" y="20968"/>
                  <a:pt x="28594" y="21031"/>
                </a:cubicBezTo>
                <a:cubicBezTo>
                  <a:pt x="28531" y="21031"/>
                  <a:pt x="28469" y="21031"/>
                  <a:pt x="28438" y="20968"/>
                </a:cubicBezTo>
                <a:lnTo>
                  <a:pt x="28438" y="20968"/>
                </a:lnTo>
                <a:lnTo>
                  <a:pt x="28438" y="20968"/>
                </a:lnTo>
                <a:lnTo>
                  <a:pt x="28438" y="20968"/>
                </a:lnTo>
                <a:cubicBezTo>
                  <a:pt x="28438" y="20937"/>
                  <a:pt x="28437" y="20937"/>
                  <a:pt x="28406" y="20937"/>
                </a:cubicBezTo>
                <a:lnTo>
                  <a:pt x="28406" y="20937"/>
                </a:lnTo>
                <a:cubicBezTo>
                  <a:pt x="28438" y="20937"/>
                  <a:pt x="28438" y="20968"/>
                  <a:pt x="28438" y="20968"/>
                </a:cubicBezTo>
                <a:cubicBezTo>
                  <a:pt x="28406" y="20999"/>
                  <a:pt x="28406" y="20999"/>
                  <a:pt x="28406" y="20999"/>
                </a:cubicBezTo>
                <a:cubicBezTo>
                  <a:pt x="28406" y="20999"/>
                  <a:pt x="28406" y="20999"/>
                  <a:pt x="28438" y="20968"/>
                </a:cubicBezTo>
                <a:moveTo>
                  <a:pt x="28375" y="21062"/>
                </a:moveTo>
                <a:cubicBezTo>
                  <a:pt x="28438" y="21062"/>
                  <a:pt x="28469" y="21156"/>
                  <a:pt x="28531" y="21187"/>
                </a:cubicBezTo>
                <a:cubicBezTo>
                  <a:pt x="28469" y="21187"/>
                  <a:pt x="28469" y="21187"/>
                  <a:pt x="28438" y="21156"/>
                </a:cubicBezTo>
                <a:cubicBezTo>
                  <a:pt x="28438" y="21124"/>
                  <a:pt x="28344" y="21124"/>
                  <a:pt x="28375" y="21062"/>
                </a:cubicBezTo>
                <a:close/>
                <a:moveTo>
                  <a:pt x="28313" y="21656"/>
                </a:moveTo>
                <a:cubicBezTo>
                  <a:pt x="28344" y="21624"/>
                  <a:pt x="28375" y="21687"/>
                  <a:pt x="28406" y="21687"/>
                </a:cubicBezTo>
                <a:cubicBezTo>
                  <a:pt x="28406" y="21718"/>
                  <a:pt x="28438" y="21749"/>
                  <a:pt x="28406" y="21781"/>
                </a:cubicBezTo>
                <a:cubicBezTo>
                  <a:pt x="28375" y="21781"/>
                  <a:pt x="28375" y="21781"/>
                  <a:pt x="28406" y="21781"/>
                </a:cubicBezTo>
                <a:cubicBezTo>
                  <a:pt x="28469" y="21812"/>
                  <a:pt x="28500" y="21906"/>
                  <a:pt x="28531" y="21968"/>
                </a:cubicBezTo>
                <a:cubicBezTo>
                  <a:pt x="28563" y="21843"/>
                  <a:pt x="28469" y="21781"/>
                  <a:pt x="28406" y="21687"/>
                </a:cubicBezTo>
                <a:cubicBezTo>
                  <a:pt x="28406" y="21687"/>
                  <a:pt x="28406" y="21687"/>
                  <a:pt x="28406" y="21687"/>
                </a:cubicBezTo>
                <a:cubicBezTo>
                  <a:pt x="28406" y="21656"/>
                  <a:pt x="28375" y="21593"/>
                  <a:pt x="28438" y="21562"/>
                </a:cubicBezTo>
                <a:cubicBezTo>
                  <a:pt x="28500" y="21562"/>
                  <a:pt x="28594" y="21468"/>
                  <a:pt x="28656" y="21593"/>
                </a:cubicBezTo>
                <a:cubicBezTo>
                  <a:pt x="28688" y="21593"/>
                  <a:pt x="28750" y="21593"/>
                  <a:pt x="28781" y="21593"/>
                </a:cubicBezTo>
                <a:cubicBezTo>
                  <a:pt x="28813" y="21593"/>
                  <a:pt x="28844" y="21593"/>
                  <a:pt x="28844" y="21624"/>
                </a:cubicBezTo>
                <a:cubicBezTo>
                  <a:pt x="28875" y="21593"/>
                  <a:pt x="28875" y="21562"/>
                  <a:pt x="28875" y="21531"/>
                </a:cubicBezTo>
                <a:cubicBezTo>
                  <a:pt x="28875" y="21562"/>
                  <a:pt x="28875" y="21593"/>
                  <a:pt x="28844" y="21624"/>
                </a:cubicBezTo>
                <a:cubicBezTo>
                  <a:pt x="28875" y="21687"/>
                  <a:pt x="28844" y="21749"/>
                  <a:pt x="28875" y="21812"/>
                </a:cubicBezTo>
                <a:cubicBezTo>
                  <a:pt x="28906" y="21843"/>
                  <a:pt x="28906" y="21906"/>
                  <a:pt x="28969" y="21906"/>
                </a:cubicBezTo>
                <a:cubicBezTo>
                  <a:pt x="28875" y="21906"/>
                  <a:pt x="28875" y="21937"/>
                  <a:pt x="28875" y="21999"/>
                </a:cubicBezTo>
                <a:cubicBezTo>
                  <a:pt x="28875" y="22031"/>
                  <a:pt x="28969" y="22124"/>
                  <a:pt x="28844" y="22156"/>
                </a:cubicBezTo>
                <a:cubicBezTo>
                  <a:pt x="28844" y="22156"/>
                  <a:pt x="28875" y="22218"/>
                  <a:pt x="28906" y="22218"/>
                </a:cubicBezTo>
                <a:cubicBezTo>
                  <a:pt x="28938" y="22249"/>
                  <a:pt x="28969" y="22281"/>
                  <a:pt x="29000" y="22281"/>
                </a:cubicBezTo>
                <a:cubicBezTo>
                  <a:pt x="29031" y="22281"/>
                  <a:pt x="28969" y="22249"/>
                  <a:pt x="29031" y="22218"/>
                </a:cubicBezTo>
                <a:cubicBezTo>
                  <a:pt x="29063" y="22187"/>
                  <a:pt x="29094" y="22218"/>
                  <a:pt x="29094" y="22249"/>
                </a:cubicBezTo>
                <a:cubicBezTo>
                  <a:pt x="29094" y="22281"/>
                  <a:pt x="29125" y="22281"/>
                  <a:pt x="29156" y="22281"/>
                </a:cubicBezTo>
                <a:cubicBezTo>
                  <a:pt x="29156" y="22281"/>
                  <a:pt x="29188" y="22312"/>
                  <a:pt x="29156" y="22312"/>
                </a:cubicBezTo>
                <a:cubicBezTo>
                  <a:pt x="29156" y="22343"/>
                  <a:pt x="29125" y="22343"/>
                  <a:pt x="29125" y="22343"/>
                </a:cubicBezTo>
                <a:cubicBezTo>
                  <a:pt x="29094" y="22312"/>
                  <a:pt x="29031" y="22374"/>
                  <a:pt x="29000" y="22343"/>
                </a:cubicBezTo>
                <a:cubicBezTo>
                  <a:pt x="28938" y="22312"/>
                  <a:pt x="28938" y="22218"/>
                  <a:pt x="28844" y="22312"/>
                </a:cubicBezTo>
                <a:cubicBezTo>
                  <a:pt x="28844" y="22249"/>
                  <a:pt x="28781" y="22218"/>
                  <a:pt x="28781" y="22187"/>
                </a:cubicBezTo>
                <a:cubicBezTo>
                  <a:pt x="28781" y="22156"/>
                  <a:pt x="28750" y="22156"/>
                  <a:pt x="28750" y="22156"/>
                </a:cubicBezTo>
                <a:cubicBezTo>
                  <a:pt x="28688" y="22031"/>
                  <a:pt x="28813" y="22156"/>
                  <a:pt x="28813" y="22093"/>
                </a:cubicBezTo>
                <a:lnTo>
                  <a:pt x="28813" y="22093"/>
                </a:lnTo>
                <a:cubicBezTo>
                  <a:pt x="28813" y="22062"/>
                  <a:pt x="28781" y="21999"/>
                  <a:pt x="28719" y="22031"/>
                </a:cubicBezTo>
                <a:cubicBezTo>
                  <a:pt x="28688" y="22062"/>
                  <a:pt x="28656" y="22031"/>
                  <a:pt x="28656" y="22093"/>
                </a:cubicBezTo>
                <a:cubicBezTo>
                  <a:pt x="28656" y="22124"/>
                  <a:pt x="28688" y="22156"/>
                  <a:pt x="28750" y="22156"/>
                </a:cubicBezTo>
                <a:cubicBezTo>
                  <a:pt x="28781" y="22187"/>
                  <a:pt x="28750" y="22218"/>
                  <a:pt x="28750" y="22281"/>
                </a:cubicBezTo>
                <a:cubicBezTo>
                  <a:pt x="28656" y="22187"/>
                  <a:pt x="28594" y="22093"/>
                  <a:pt x="28563" y="21968"/>
                </a:cubicBezTo>
                <a:cubicBezTo>
                  <a:pt x="28500" y="21999"/>
                  <a:pt x="28375" y="21937"/>
                  <a:pt x="28344" y="21874"/>
                </a:cubicBezTo>
                <a:cubicBezTo>
                  <a:pt x="28344" y="21843"/>
                  <a:pt x="28344" y="21812"/>
                  <a:pt x="28313" y="21781"/>
                </a:cubicBezTo>
                <a:cubicBezTo>
                  <a:pt x="28281" y="21749"/>
                  <a:pt x="28281" y="21687"/>
                  <a:pt x="28313" y="21656"/>
                </a:cubicBezTo>
                <a:close/>
                <a:moveTo>
                  <a:pt x="28813" y="23187"/>
                </a:moveTo>
                <a:cubicBezTo>
                  <a:pt x="28813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781" y="23187"/>
                </a:cubicBezTo>
                <a:cubicBezTo>
                  <a:pt x="28781" y="23187"/>
                  <a:pt x="28781" y="23187"/>
                  <a:pt x="28813" y="23187"/>
                </a:cubicBezTo>
                <a:close/>
                <a:moveTo>
                  <a:pt x="28781" y="23187"/>
                </a:moveTo>
                <a:cubicBezTo>
                  <a:pt x="28750" y="23187"/>
                  <a:pt x="28719" y="23156"/>
                  <a:pt x="28719" y="23124"/>
                </a:cubicBezTo>
                <a:cubicBezTo>
                  <a:pt x="28750" y="23124"/>
                  <a:pt x="28781" y="23156"/>
                  <a:pt x="28781" y="23187"/>
                </a:cubicBezTo>
                <a:close/>
                <a:moveTo>
                  <a:pt x="28000" y="23781"/>
                </a:moveTo>
                <a:cubicBezTo>
                  <a:pt x="28000" y="23749"/>
                  <a:pt x="28031" y="23749"/>
                  <a:pt x="28063" y="23718"/>
                </a:cubicBezTo>
                <a:cubicBezTo>
                  <a:pt x="28000" y="23749"/>
                  <a:pt x="27969" y="23749"/>
                  <a:pt x="27906" y="23749"/>
                </a:cubicBezTo>
                <a:cubicBezTo>
                  <a:pt x="27969" y="23749"/>
                  <a:pt x="28000" y="23749"/>
                  <a:pt x="28063" y="23718"/>
                </a:cubicBezTo>
                <a:cubicBezTo>
                  <a:pt x="28063" y="23718"/>
                  <a:pt x="28063" y="23718"/>
                  <a:pt x="28094" y="23718"/>
                </a:cubicBezTo>
                <a:cubicBezTo>
                  <a:pt x="28094" y="23749"/>
                  <a:pt x="28094" y="23718"/>
                  <a:pt x="28094" y="23718"/>
                </a:cubicBezTo>
                <a:cubicBezTo>
                  <a:pt x="28156" y="23687"/>
                  <a:pt x="28188" y="23749"/>
                  <a:pt x="28219" y="23718"/>
                </a:cubicBezTo>
                <a:cubicBezTo>
                  <a:pt x="28219" y="23718"/>
                  <a:pt x="28219" y="23718"/>
                  <a:pt x="28219" y="23718"/>
                </a:cubicBezTo>
                <a:cubicBezTo>
                  <a:pt x="28219" y="23749"/>
                  <a:pt x="28219" y="23749"/>
                  <a:pt x="28219" y="23781"/>
                </a:cubicBezTo>
                <a:cubicBezTo>
                  <a:pt x="28250" y="23781"/>
                  <a:pt x="28281" y="23812"/>
                  <a:pt x="28281" y="23843"/>
                </a:cubicBezTo>
                <a:cubicBezTo>
                  <a:pt x="28250" y="23874"/>
                  <a:pt x="28219" y="23843"/>
                  <a:pt x="28188" y="23843"/>
                </a:cubicBezTo>
                <a:cubicBezTo>
                  <a:pt x="28156" y="23843"/>
                  <a:pt x="28188" y="23812"/>
                  <a:pt x="28219" y="23781"/>
                </a:cubicBezTo>
                <a:cubicBezTo>
                  <a:pt x="28125" y="23781"/>
                  <a:pt x="28063" y="23812"/>
                  <a:pt x="28000" y="23781"/>
                </a:cubicBezTo>
                <a:close/>
                <a:moveTo>
                  <a:pt x="27688" y="23343"/>
                </a:moveTo>
                <a:cubicBezTo>
                  <a:pt x="27688" y="23343"/>
                  <a:pt x="27688" y="23312"/>
                  <a:pt x="27688" y="23312"/>
                </a:cubicBezTo>
                <a:cubicBezTo>
                  <a:pt x="27500" y="23312"/>
                  <a:pt x="27438" y="23187"/>
                  <a:pt x="27406" y="23031"/>
                </a:cubicBezTo>
                <a:cubicBezTo>
                  <a:pt x="27406" y="22999"/>
                  <a:pt x="27375" y="22968"/>
                  <a:pt x="27375" y="22937"/>
                </a:cubicBezTo>
                <a:cubicBezTo>
                  <a:pt x="27469" y="23031"/>
                  <a:pt x="27625" y="22968"/>
                  <a:pt x="27719" y="23062"/>
                </a:cubicBezTo>
                <a:cubicBezTo>
                  <a:pt x="27781" y="23124"/>
                  <a:pt x="27813" y="23218"/>
                  <a:pt x="27875" y="23312"/>
                </a:cubicBezTo>
                <a:cubicBezTo>
                  <a:pt x="27875" y="23343"/>
                  <a:pt x="27813" y="23312"/>
                  <a:pt x="27813" y="23343"/>
                </a:cubicBezTo>
                <a:cubicBezTo>
                  <a:pt x="27781" y="23374"/>
                  <a:pt x="27719" y="23374"/>
                  <a:pt x="27688" y="23343"/>
                </a:cubicBezTo>
                <a:close/>
                <a:moveTo>
                  <a:pt x="27719" y="23656"/>
                </a:moveTo>
                <a:cubicBezTo>
                  <a:pt x="27719" y="23656"/>
                  <a:pt x="27688" y="23656"/>
                  <a:pt x="27688" y="23656"/>
                </a:cubicBezTo>
                <a:cubicBezTo>
                  <a:pt x="27688" y="23624"/>
                  <a:pt x="27688" y="23624"/>
                  <a:pt x="27719" y="23624"/>
                </a:cubicBezTo>
                <a:cubicBezTo>
                  <a:pt x="27719" y="23624"/>
                  <a:pt x="27750" y="23624"/>
                  <a:pt x="27750" y="23656"/>
                </a:cubicBezTo>
                <a:cubicBezTo>
                  <a:pt x="27750" y="23656"/>
                  <a:pt x="27719" y="23656"/>
                  <a:pt x="27719" y="23656"/>
                </a:cubicBezTo>
                <a:close/>
                <a:moveTo>
                  <a:pt x="27125" y="22749"/>
                </a:moveTo>
                <a:cubicBezTo>
                  <a:pt x="27094" y="22749"/>
                  <a:pt x="27094" y="22749"/>
                  <a:pt x="27125" y="22718"/>
                </a:cubicBezTo>
                <a:cubicBezTo>
                  <a:pt x="27156" y="22687"/>
                  <a:pt x="27188" y="22687"/>
                  <a:pt x="27250" y="22687"/>
                </a:cubicBezTo>
                <a:cubicBezTo>
                  <a:pt x="27281" y="22687"/>
                  <a:pt x="27344" y="22718"/>
                  <a:pt x="27375" y="22656"/>
                </a:cubicBezTo>
                <a:cubicBezTo>
                  <a:pt x="27406" y="22624"/>
                  <a:pt x="27438" y="22624"/>
                  <a:pt x="27438" y="22624"/>
                </a:cubicBezTo>
                <a:cubicBezTo>
                  <a:pt x="27531" y="22687"/>
                  <a:pt x="27656" y="22687"/>
                  <a:pt x="27719" y="22781"/>
                </a:cubicBezTo>
                <a:cubicBezTo>
                  <a:pt x="27719" y="22812"/>
                  <a:pt x="27688" y="22812"/>
                  <a:pt x="27656" y="22812"/>
                </a:cubicBezTo>
                <a:cubicBezTo>
                  <a:pt x="27594" y="22781"/>
                  <a:pt x="27531" y="22781"/>
                  <a:pt x="27469" y="22718"/>
                </a:cubicBezTo>
                <a:cubicBezTo>
                  <a:pt x="27438" y="22687"/>
                  <a:pt x="27406" y="22687"/>
                  <a:pt x="27375" y="22687"/>
                </a:cubicBezTo>
                <a:cubicBezTo>
                  <a:pt x="27375" y="22781"/>
                  <a:pt x="27469" y="22749"/>
                  <a:pt x="27469" y="22843"/>
                </a:cubicBezTo>
                <a:cubicBezTo>
                  <a:pt x="27375" y="22812"/>
                  <a:pt x="27250" y="22781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ubicBezTo>
                  <a:pt x="27125" y="22749"/>
                  <a:pt x="27125" y="22749"/>
                  <a:pt x="27125" y="22749"/>
                </a:cubicBezTo>
                <a:close/>
                <a:moveTo>
                  <a:pt x="26969" y="22656"/>
                </a:moveTo>
                <a:cubicBezTo>
                  <a:pt x="26969" y="22687"/>
                  <a:pt x="26969" y="22687"/>
                  <a:pt x="26938" y="22687"/>
                </a:cubicBezTo>
                <a:cubicBezTo>
                  <a:pt x="26906" y="22687"/>
                  <a:pt x="26844" y="22718"/>
                  <a:pt x="26844" y="22656"/>
                </a:cubicBezTo>
                <a:cubicBezTo>
                  <a:pt x="26844" y="22624"/>
                  <a:pt x="26813" y="22562"/>
                  <a:pt x="26844" y="22531"/>
                </a:cubicBezTo>
                <a:cubicBezTo>
                  <a:pt x="26844" y="22531"/>
                  <a:pt x="26844" y="22531"/>
                  <a:pt x="26844" y="22499"/>
                </a:cubicBezTo>
                <a:cubicBezTo>
                  <a:pt x="26844" y="22531"/>
                  <a:pt x="26844" y="22531"/>
                  <a:pt x="26844" y="22531"/>
                </a:cubicBezTo>
                <a:cubicBezTo>
                  <a:pt x="26906" y="22499"/>
                  <a:pt x="26969" y="22562"/>
                  <a:pt x="27031" y="22499"/>
                </a:cubicBezTo>
                <a:cubicBezTo>
                  <a:pt x="27031" y="22499"/>
                  <a:pt x="27063" y="22499"/>
                  <a:pt x="27063" y="22531"/>
                </a:cubicBezTo>
                <a:cubicBezTo>
                  <a:pt x="27063" y="22531"/>
                  <a:pt x="27000" y="22593"/>
                  <a:pt x="27094" y="22593"/>
                </a:cubicBezTo>
                <a:cubicBezTo>
                  <a:pt x="27125" y="22593"/>
                  <a:pt x="27125" y="22531"/>
                  <a:pt x="27156" y="22593"/>
                </a:cubicBezTo>
                <a:cubicBezTo>
                  <a:pt x="27125" y="22656"/>
                  <a:pt x="27125" y="22624"/>
                  <a:pt x="27063" y="22656"/>
                </a:cubicBezTo>
                <a:cubicBezTo>
                  <a:pt x="27000" y="22656"/>
                  <a:pt x="26969" y="22562"/>
                  <a:pt x="26906" y="22624"/>
                </a:cubicBezTo>
                <a:cubicBezTo>
                  <a:pt x="26938" y="22656"/>
                  <a:pt x="26969" y="22624"/>
                  <a:pt x="26969" y="22656"/>
                </a:cubicBezTo>
                <a:close/>
                <a:moveTo>
                  <a:pt x="26156" y="22531"/>
                </a:moveTo>
                <a:cubicBezTo>
                  <a:pt x="26156" y="22499"/>
                  <a:pt x="26125" y="22468"/>
                  <a:pt x="26125" y="22437"/>
                </a:cubicBezTo>
                <a:cubicBezTo>
                  <a:pt x="26188" y="22406"/>
                  <a:pt x="26219" y="22437"/>
                  <a:pt x="26250" y="22437"/>
                </a:cubicBezTo>
                <a:cubicBezTo>
                  <a:pt x="26344" y="22499"/>
                  <a:pt x="26250" y="22562"/>
                  <a:pt x="26313" y="22593"/>
                </a:cubicBezTo>
                <a:cubicBezTo>
                  <a:pt x="26281" y="22656"/>
                  <a:pt x="26219" y="22656"/>
                  <a:pt x="26188" y="22656"/>
                </a:cubicBezTo>
                <a:cubicBezTo>
                  <a:pt x="26156" y="22656"/>
                  <a:pt x="26125" y="22624"/>
                  <a:pt x="26125" y="22624"/>
                </a:cubicBezTo>
                <a:cubicBezTo>
                  <a:pt x="26125" y="22593"/>
                  <a:pt x="26125" y="22562"/>
                  <a:pt x="26156" y="22562"/>
                </a:cubicBezTo>
                <a:cubicBezTo>
                  <a:pt x="26188" y="22562"/>
                  <a:pt x="26188" y="22562"/>
                  <a:pt x="26156" y="22531"/>
                </a:cubicBezTo>
                <a:close/>
                <a:moveTo>
                  <a:pt x="26281" y="22031"/>
                </a:moveTo>
                <a:cubicBezTo>
                  <a:pt x="26156" y="22062"/>
                  <a:pt x="26156" y="22062"/>
                  <a:pt x="26125" y="21906"/>
                </a:cubicBezTo>
                <a:cubicBezTo>
                  <a:pt x="26063" y="21781"/>
                  <a:pt x="26000" y="21624"/>
                  <a:pt x="25969" y="21468"/>
                </a:cubicBezTo>
                <a:cubicBezTo>
                  <a:pt x="25969" y="21437"/>
                  <a:pt x="25969" y="21406"/>
                  <a:pt x="26000" y="21374"/>
                </a:cubicBezTo>
                <a:cubicBezTo>
                  <a:pt x="26031" y="21343"/>
                  <a:pt x="26063" y="21406"/>
                  <a:pt x="26094" y="21406"/>
                </a:cubicBezTo>
                <a:cubicBezTo>
                  <a:pt x="26219" y="21499"/>
                  <a:pt x="26313" y="21593"/>
                  <a:pt x="26438" y="21687"/>
                </a:cubicBezTo>
                <a:cubicBezTo>
                  <a:pt x="26469" y="21687"/>
                  <a:pt x="26469" y="21687"/>
                  <a:pt x="26469" y="21718"/>
                </a:cubicBezTo>
                <a:cubicBezTo>
                  <a:pt x="26469" y="21687"/>
                  <a:pt x="26469" y="21687"/>
                  <a:pt x="26438" y="21687"/>
                </a:cubicBezTo>
                <a:cubicBezTo>
                  <a:pt x="26406" y="21718"/>
                  <a:pt x="26406" y="21781"/>
                  <a:pt x="26438" y="21812"/>
                </a:cubicBezTo>
                <a:cubicBezTo>
                  <a:pt x="26500" y="21937"/>
                  <a:pt x="26500" y="21937"/>
                  <a:pt x="26344" y="21999"/>
                </a:cubicBezTo>
                <a:cubicBezTo>
                  <a:pt x="26344" y="22031"/>
                  <a:pt x="26313" y="22031"/>
                  <a:pt x="26281" y="22031"/>
                </a:cubicBezTo>
                <a:close/>
                <a:moveTo>
                  <a:pt x="26594" y="21906"/>
                </a:moveTo>
                <a:cubicBezTo>
                  <a:pt x="26563" y="21937"/>
                  <a:pt x="26500" y="21937"/>
                  <a:pt x="26500" y="21874"/>
                </a:cubicBezTo>
                <a:cubicBezTo>
                  <a:pt x="26500" y="21812"/>
                  <a:pt x="26469" y="21781"/>
                  <a:pt x="26469" y="21718"/>
                </a:cubicBezTo>
                <a:cubicBezTo>
                  <a:pt x="26469" y="21718"/>
                  <a:pt x="26469" y="21718"/>
                  <a:pt x="26469" y="21718"/>
                </a:cubicBezTo>
                <a:cubicBezTo>
                  <a:pt x="26531" y="21749"/>
                  <a:pt x="26594" y="21812"/>
                  <a:pt x="26656" y="21874"/>
                </a:cubicBezTo>
                <a:cubicBezTo>
                  <a:pt x="26656" y="21874"/>
                  <a:pt x="26625" y="21906"/>
                  <a:pt x="26594" y="21906"/>
                </a:cubicBezTo>
                <a:close/>
                <a:moveTo>
                  <a:pt x="26750" y="21968"/>
                </a:moveTo>
                <a:cubicBezTo>
                  <a:pt x="26750" y="21968"/>
                  <a:pt x="26750" y="21968"/>
                  <a:pt x="26750" y="21968"/>
                </a:cubicBezTo>
                <a:cubicBezTo>
                  <a:pt x="26750" y="22062"/>
                  <a:pt x="26656" y="21999"/>
                  <a:pt x="26594" y="22031"/>
                </a:cubicBezTo>
                <a:cubicBezTo>
                  <a:pt x="26594" y="21968"/>
                  <a:pt x="26625" y="21968"/>
                  <a:pt x="26656" y="21968"/>
                </a:cubicBezTo>
                <a:cubicBezTo>
                  <a:pt x="26688" y="21968"/>
                  <a:pt x="26719" y="21999"/>
                  <a:pt x="26750" y="21968"/>
                </a:cubicBezTo>
                <a:close/>
                <a:moveTo>
                  <a:pt x="26563" y="22562"/>
                </a:moveTo>
                <a:cubicBezTo>
                  <a:pt x="26531" y="22531"/>
                  <a:pt x="26500" y="22593"/>
                  <a:pt x="26438" y="22562"/>
                </a:cubicBezTo>
                <a:cubicBezTo>
                  <a:pt x="26500" y="22499"/>
                  <a:pt x="26531" y="22499"/>
                  <a:pt x="26563" y="22562"/>
                </a:cubicBezTo>
                <a:close/>
                <a:moveTo>
                  <a:pt x="26500" y="22468"/>
                </a:moveTo>
                <a:cubicBezTo>
                  <a:pt x="26531" y="22468"/>
                  <a:pt x="26594" y="22437"/>
                  <a:pt x="26688" y="22437"/>
                </a:cubicBezTo>
                <a:cubicBezTo>
                  <a:pt x="26688" y="22437"/>
                  <a:pt x="26719" y="22468"/>
                  <a:pt x="26719" y="22437"/>
                </a:cubicBezTo>
                <a:cubicBezTo>
                  <a:pt x="26781" y="22374"/>
                  <a:pt x="26813" y="22406"/>
                  <a:pt x="26875" y="22406"/>
                </a:cubicBezTo>
                <a:cubicBezTo>
                  <a:pt x="26906" y="22406"/>
                  <a:pt x="26906" y="22406"/>
                  <a:pt x="26906" y="22437"/>
                </a:cubicBezTo>
                <a:cubicBezTo>
                  <a:pt x="26906" y="22437"/>
                  <a:pt x="26875" y="22437"/>
                  <a:pt x="26875" y="22437"/>
                </a:cubicBezTo>
                <a:cubicBezTo>
                  <a:pt x="26844" y="22468"/>
                  <a:pt x="26813" y="22468"/>
                  <a:pt x="26750" y="22468"/>
                </a:cubicBezTo>
                <a:cubicBezTo>
                  <a:pt x="26688" y="22562"/>
                  <a:pt x="26594" y="22468"/>
                  <a:pt x="26500" y="22468"/>
                </a:cubicBezTo>
                <a:close/>
                <a:moveTo>
                  <a:pt x="26656" y="22593"/>
                </a:moveTo>
                <a:cubicBezTo>
                  <a:pt x="26688" y="22562"/>
                  <a:pt x="26719" y="22593"/>
                  <a:pt x="26750" y="22593"/>
                </a:cubicBezTo>
                <a:cubicBezTo>
                  <a:pt x="26781" y="22593"/>
                  <a:pt x="26813" y="22562"/>
                  <a:pt x="26813" y="22624"/>
                </a:cubicBezTo>
                <a:cubicBezTo>
                  <a:pt x="26813" y="22656"/>
                  <a:pt x="26781" y="22624"/>
                  <a:pt x="26750" y="22656"/>
                </a:cubicBezTo>
                <a:cubicBezTo>
                  <a:pt x="26719" y="22656"/>
                  <a:pt x="26688" y="22624"/>
                  <a:pt x="26656" y="22624"/>
                </a:cubicBezTo>
                <a:cubicBezTo>
                  <a:pt x="26656" y="22624"/>
                  <a:pt x="26656" y="22624"/>
                  <a:pt x="26656" y="22624"/>
                </a:cubicBezTo>
                <a:cubicBezTo>
                  <a:pt x="26656" y="22624"/>
                  <a:pt x="26656" y="22593"/>
                  <a:pt x="26656" y="22593"/>
                </a:cubicBezTo>
                <a:close/>
                <a:moveTo>
                  <a:pt x="26844" y="22749"/>
                </a:moveTo>
                <a:cubicBezTo>
                  <a:pt x="26813" y="22812"/>
                  <a:pt x="26781" y="22812"/>
                  <a:pt x="26750" y="22812"/>
                </a:cubicBezTo>
                <a:cubicBezTo>
                  <a:pt x="26719" y="22812"/>
                  <a:pt x="26719" y="22781"/>
                  <a:pt x="26719" y="22781"/>
                </a:cubicBezTo>
                <a:cubicBezTo>
                  <a:pt x="26750" y="22749"/>
                  <a:pt x="26781" y="22749"/>
                  <a:pt x="26844" y="22749"/>
                </a:cubicBezTo>
                <a:close/>
                <a:moveTo>
                  <a:pt x="27031" y="22156"/>
                </a:moveTo>
                <a:cubicBezTo>
                  <a:pt x="27094" y="22156"/>
                  <a:pt x="27125" y="22218"/>
                  <a:pt x="27188" y="22249"/>
                </a:cubicBezTo>
                <a:cubicBezTo>
                  <a:pt x="27219" y="22281"/>
                  <a:pt x="27219" y="22281"/>
                  <a:pt x="27219" y="22312"/>
                </a:cubicBezTo>
                <a:cubicBezTo>
                  <a:pt x="27188" y="22312"/>
                  <a:pt x="27188" y="22312"/>
                  <a:pt x="27156" y="22343"/>
                </a:cubicBezTo>
                <a:cubicBezTo>
                  <a:pt x="27094" y="22343"/>
                  <a:pt x="27031" y="22281"/>
                  <a:pt x="26969" y="22281"/>
                </a:cubicBezTo>
                <a:cubicBezTo>
                  <a:pt x="26969" y="22281"/>
                  <a:pt x="26969" y="22281"/>
                  <a:pt x="26969" y="22281"/>
                </a:cubicBezTo>
                <a:cubicBezTo>
                  <a:pt x="26938" y="22218"/>
                  <a:pt x="27000" y="22187"/>
                  <a:pt x="27031" y="22156"/>
                </a:cubicBezTo>
                <a:close/>
                <a:moveTo>
                  <a:pt x="27750" y="22781"/>
                </a:moveTo>
                <a:cubicBezTo>
                  <a:pt x="27750" y="22781"/>
                  <a:pt x="27750" y="22781"/>
                  <a:pt x="27750" y="22781"/>
                </a:cubicBezTo>
                <a:cubicBezTo>
                  <a:pt x="27781" y="22781"/>
                  <a:pt x="27813" y="22781"/>
                  <a:pt x="27844" y="22812"/>
                </a:cubicBezTo>
                <a:cubicBezTo>
                  <a:pt x="27844" y="22812"/>
                  <a:pt x="27844" y="22812"/>
                  <a:pt x="27844" y="22812"/>
                </a:cubicBezTo>
                <a:cubicBezTo>
                  <a:pt x="27875" y="22843"/>
                  <a:pt x="27906" y="22843"/>
                  <a:pt x="27938" y="22874"/>
                </a:cubicBezTo>
                <a:cubicBezTo>
                  <a:pt x="27875" y="22874"/>
                  <a:pt x="27813" y="22843"/>
                  <a:pt x="27750" y="22781"/>
                </a:cubicBezTo>
                <a:close/>
                <a:moveTo>
                  <a:pt x="27844" y="22374"/>
                </a:moveTo>
                <a:cubicBezTo>
                  <a:pt x="27875" y="22374"/>
                  <a:pt x="27875" y="22437"/>
                  <a:pt x="27906" y="22437"/>
                </a:cubicBezTo>
                <a:cubicBezTo>
                  <a:pt x="27875" y="22437"/>
                  <a:pt x="27875" y="22406"/>
                  <a:pt x="27844" y="22374"/>
                </a:cubicBezTo>
                <a:close/>
                <a:moveTo>
                  <a:pt x="27906" y="22468"/>
                </a:moveTo>
                <a:cubicBezTo>
                  <a:pt x="27969" y="22468"/>
                  <a:pt x="27969" y="22468"/>
                  <a:pt x="28000" y="22499"/>
                </a:cubicBezTo>
                <a:cubicBezTo>
                  <a:pt x="27969" y="22531"/>
                  <a:pt x="27938" y="22468"/>
                  <a:pt x="27906" y="22468"/>
                </a:cubicBezTo>
                <a:close/>
                <a:moveTo>
                  <a:pt x="28000" y="22531"/>
                </a:moveTo>
                <a:cubicBezTo>
                  <a:pt x="28031" y="22531"/>
                  <a:pt x="28063" y="22531"/>
                  <a:pt x="28063" y="22562"/>
                </a:cubicBezTo>
                <a:cubicBezTo>
                  <a:pt x="28031" y="22562"/>
                  <a:pt x="28000" y="22562"/>
                  <a:pt x="28000" y="22531"/>
                </a:cubicBezTo>
                <a:close/>
                <a:moveTo>
                  <a:pt x="28063" y="22562"/>
                </a:moveTo>
                <a:cubicBezTo>
                  <a:pt x="28094" y="22562"/>
                  <a:pt x="28125" y="22593"/>
                  <a:pt x="28125" y="22624"/>
                </a:cubicBezTo>
                <a:cubicBezTo>
                  <a:pt x="28094" y="22624"/>
                  <a:pt x="28063" y="22593"/>
                  <a:pt x="28063" y="22562"/>
                </a:cubicBezTo>
                <a:close/>
                <a:moveTo>
                  <a:pt x="28125" y="22624"/>
                </a:moveTo>
                <a:cubicBezTo>
                  <a:pt x="28219" y="22687"/>
                  <a:pt x="28281" y="22718"/>
                  <a:pt x="28344" y="22812"/>
                </a:cubicBezTo>
                <a:cubicBezTo>
                  <a:pt x="28250" y="22781"/>
                  <a:pt x="28188" y="22687"/>
                  <a:pt x="28125" y="22624"/>
                </a:cubicBezTo>
                <a:close/>
                <a:moveTo>
                  <a:pt x="28375" y="23781"/>
                </a:moveTo>
                <a:cubicBezTo>
                  <a:pt x="28406" y="23781"/>
                  <a:pt x="28406" y="23812"/>
                  <a:pt x="28438" y="23812"/>
                </a:cubicBezTo>
                <a:cubicBezTo>
                  <a:pt x="28438" y="23812"/>
                  <a:pt x="28438" y="23812"/>
                  <a:pt x="28438" y="23812"/>
                </a:cubicBezTo>
                <a:cubicBezTo>
                  <a:pt x="28438" y="23812"/>
                  <a:pt x="28438" y="23812"/>
                  <a:pt x="28469" y="23812"/>
                </a:cubicBezTo>
                <a:cubicBezTo>
                  <a:pt x="28469" y="23812"/>
                  <a:pt x="28469" y="23812"/>
                  <a:pt x="28469" y="23812"/>
                </a:cubicBezTo>
                <a:cubicBezTo>
                  <a:pt x="28469" y="23843"/>
                  <a:pt x="28469" y="23843"/>
                  <a:pt x="28500" y="23812"/>
                </a:cubicBezTo>
                <a:cubicBezTo>
                  <a:pt x="28531" y="23843"/>
                  <a:pt x="28563" y="23843"/>
                  <a:pt x="28563" y="23874"/>
                </a:cubicBezTo>
                <a:cubicBezTo>
                  <a:pt x="28500" y="23906"/>
                  <a:pt x="28438" y="23906"/>
                  <a:pt x="28375" y="23874"/>
                </a:cubicBezTo>
                <a:cubicBezTo>
                  <a:pt x="28313" y="23874"/>
                  <a:pt x="28281" y="23874"/>
                  <a:pt x="28281" y="23812"/>
                </a:cubicBezTo>
                <a:cubicBezTo>
                  <a:pt x="28313" y="23749"/>
                  <a:pt x="28344" y="23781"/>
                  <a:pt x="28375" y="23781"/>
                </a:cubicBezTo>
                <a:close/>
                <a:moveTo>
                  <a:pt x="28344" y="22812"/>
                </a:moveTo>
                <a:cubicBezTo>
                  <a:pt x="28406" y="22812"/>
                  <a:pt x="28406" y="22843"/>
                  <a:pt x="28406" y="22874"/>
                </a:cubicBezTo>
                <a:cubicBezTo>
                  <a:pt x="28375" y="22874"/>
                  <a:pt x="28375" y="22843"/>
                  <a:pt x="28344" y="22812"/>
                </a:cubicBezTo>
                <a:close/>
                <a:moveTo>
                  <a:pt x="28406" y="23437"/>
                </a:moveTo>
                <a:cubicBezTo>
                  <a:pt x="28406" y="23437"/>
                  <a:pt x="28406" y="23437"/>
                  <a:pt x="28406" y="23437"/>
                </a:cubicBezTo>
                <a:cubicBezTo>
                  <a:pt x="28406" y="23437"/>
                  <a:pt x="28438" y="23468"/>
                  <a:pt x="28438" y="23468"/>
                </a:cubicBezTo>
                <a:cubicBezTo>
                  <a:pt x="28438" y="23468"/>
                  <a:pt x="28406" y="23437"/>
                  <a:pt x="28406" y="23437"/>
                </a:cubicBezTo>
                <a:close/>
                <a:moveTo>
                  <a:pt x="28406" y="22874"/>
                </a:moveTo>
                <a:cubicBezTo>
                  <a:pt x="28531" y="22937"/>
                  <a:pt x="28625" y="23031"/>
                  <a:pt x="28719" y="23124"/>
                </a:cubicBezTo>
                <a:cubicBezTo>
                  <a:pt x="28594" y="23062"/>
                  <a:pt x="28500" y="22968"/>
                  <a:pt x="28406" y="22874"/>
                </a:cubicBezTo>
                <a:close/>
                <a:moveTo>
                  <a:pt x="28281" y="21843"/>
                </a:moveTo>
                <a:cubicBezTo>
                  <a:pt x="28281" y="21843"/>
                  <a:pt x="28250" y="21843"/>
                  <a:pt x="28250" y="21843"/>
                </a:cubicBezTo>
                <a:cubicBezTo>
                  <a:pt x="28281" y="21874"/>
                  <a:pt x="28313" y="21906"/>
                  <a:pt x="28344" y="21968"/>
                </a:cubicBezTo>
                <a:cubicBezTo>
                  <a:pt x="28281" y="21968"/>
                  <a:pt x="28250" y="21937"/>
                  <a:pt x="28219" y="21906"/>
                </a:cubicBezTo>
                <a:cubicBezTo>
                  <a:pt x="28219" y="21906"/>
                  <a:pt x="28188" y="21906"/>
                  <a:pt x="28188" y="21906"/>
                </a:cubicBezTo>
                <a:cubicBezTo>
                  <a:pt x="28188" y="21937"/>
                  <a:pt x="28188" y="21968"/>
                  <a:pt x="28188" y="21968"/>
                </a:cubicBezTo>
                <a:cubicBezTo>
                  <a:pt x="28250" y="21999"/>
                  <a:pt x="28313" y="22031"/>
                  <a:pt x="28375" y="22062"/>
                </a:cubicBezTo>
                <a:cubicBezTo>
                  <a:pt x="28406" y="22093"/>
                  <a:pt x="28438" y="22124"/>
                  <a:pt x="28406" y="22156"/>
                </a:cubicBezTo>
                <a:cubicBezTo>
                  <a:pt x="28406" y="22218"/>
                  <a:pt x="28469" y="22249"/>
                  <a:pt x="28438" y="22312"/>
                </a:cubicBezTo>
                <a:cubicBezTo>
                  <a:pt x="28438" y="22312"/>
                  <a:pt x="28469" y="22312"/>
                  <a:pt x="28500" y="22312"/>
                </a:cubicBezTo>
                <a:cubicBezTo>
                  <a:pt x="28531" y="22281"/>
                  <a:pt x="28563" y="22312"/>
                  <a:pt x="28594" y="22343"/>
                </a:cubicBezTo>
                <a:cubicBezTo>
                  <a:pt x="28594" y="22374"/>
                  <a:pt x="28625" y="22406"/>
                  <a:pt x="28563" y="22406"/>
                </a:cubicBezTo>
                <a:cubicBezTo>
                  <a:pt x="28531" y="22374"/>
                  <a:pt x="28469" y="22437"/>
                  <a:pt x="28438" y="22468"/>
                </a:cubicBezTo>
                <a:cubicBezTo>
                  <a:pt x="28438" y="22468"/>
                  <a:pt x="28438" y="22468"/>
                  <a:pt x="28438" y="22499"/>
                </a:cubicBezTo>
                <a:cubicBezTo>
                  <a:pt x="28438" y="22499"/>
                  <a:pt x="28469" y="22531"/>
                  <a:pt x="28469" y="22499"/>
                </a:cubicBezTo>
                <a:cubicBezTo>
                  <a:pt x="28563" y="22437"/>
                  <a:pt x="28594" y="22531"/>
                  <a:pt x="28594" y="22593"/>
                </a:cubicBezTo>
                <a:cubicBezTo>
                  <a:pt x="28594" y="22656"/>
                  <a:pt x="28656" y="22718"/>
                  <a:pt x="28688" y="22781"/>
                </a:cubicBezTo>
                <a:cubicBezTo>
                  <a:pt x="28688" y="22781"/>
                  <a:pt x="28688" y="22781"/>
                  <a:pt x="28688" y="22749"/>
                </a:cubicBezTo>
                <a:cubicBezTo>
                  <a:pt x="28688" y="22781"/>
                  <a:pt x="28688" y="22781"/>
                  <a:pt x="28688" y="22781"/>
                </a:cubicBezTo>
                <a:cubicBezTo>
                  <a:pt x="28688" y="22812"/>
                  <a:pt x="28719" y="22843"/>
                  <a:pt x="28656" y="22874"/>
                </a:cubicBezTo>
                <a:cubicBezTo>
                  <a:pt x="28531" y="22843"/>
                  <a:pt x="28406" y="22749"/>
                  <a:pt x="28344" y="22624"/>
                </a:cubicBezTo>
                <a:cubicBezTo>
                  <a:pt x="28344" y="22593"/>
                  <a:pt x="28344" y="22531"/>
                  <a:pt x="28281" y="22593"/>
                </a:cubicBezTo>
                <a:cubicBezTo>
                  <a:pt x="28281" y="22593"/>
                  <a:pt x="28250" y="22562"/>
                  <a:pt x="28250" y="22562"/>
                </a:cubicBezTo>
                <a:cubicBezTo>
                  <a:pt x="28219" y="22531"/>
                  <a:pt x="28219" y="22468"/>
                  <a:pt x="28156" y="22499"/>
                </a:cubicBezTo>
                <a:cubicBezTo>
                  <a:pt x="28156" y="22499"/>
                  <a:pt x="28125" y="22468"/>
                  <a:pt x="28125" y="22468"/>
                </a:cubicBezTo>
                <a:cubicBezTo>
                  <a:pt x="28188" y="22468"/>
                  <a:pt x="28188" y="22374"/>
                  <a:pt x="28219" y="22406"/>
                </a:cubicBezTo>
                <a:cubicBezTo>
                  <a:pt x="28250" y="22437"/>
                  <a:pt x="28281" y="22437"/>
                  <a:pt x="28281" y="22437"/>
                </a:cubicBezTo>
                <a:cubicBezTo>
                  <a:pt x="28313" y="22406"/>
                  <a:pt x="28313" y="22406"/>
                  <a:pt x="28313" y="22374"/>
                </a:cubicBezTo>
                <a:cubicBezTo>
                  <a:pt x="28281" y="22343"/>
                  <a:pt x="28250" y="22312"/>
                  <a:pt x="28219" y="22312"/>
                </a:cubicBezTo>
                <a:cubicBezTo>
                  <a:pt x="28188" y="22343"/>
                  <a:pt x="28156" y="22343"/>
                  <a:pt x="28156" y="22312"/>
                </a:cubicBezTo>
                <a:cubicBezTo>
                  <a:pt x="28156" y="22312"/>
                  <a:pt x="28156" y="22312"/>
                  <a:pt x="28156" y="22312"/>
                </a:cubicBezTo>
                <a:cubicBezTo>
                  <a:pt x="28125" y="22312"/>
                  <a:pt x="28125" y="22312"/>
                  <a:pt x="28125" y="22312"/>
                </a:cubicBezTo>
                <a:cubicBezTo>
                  <a:pt x="28125" y="22312"/>
                  <a:pt x="28125" y="22343"/>
                  <a:pt x="28125" y="22343"/>
                </a:cubicBezTo>
                <a:cubicBezTo>
                  <a:pt x="28125" y="22343"/>
                  <a:pt x="28156" y="22374"/>
                  <a:pt x="28125" y="22374"/>
                </a:cubicBezTo>
                <a:cubicBezTo>
                  <a:pt x="28094" y="22374"/>
                  <a:pt x="28094" y="22343"/>
                  <a:pt x="28063" y="22343"/>
                </a:cubicBezTo>
                <a:cubicBezTo>
                  <a:pt x="27906" y="22406"/>
                  <a:pt x="27844" y="22249"/>
                  <a:pt x="27750" y="22218"/>
                </a:cubicBezTo>
                <a:cubicBezTo>
                  <a:pt x="27781" y="22218"/>
                  <a:pt x="27844" y="22218"/>
                  <a:pt x="27906" y="22218"/>
                </a:cubicBezTo>
                <a:cubicBezTo>
                  <a:pt x="27906" y="22156"/>
                  <a:pt x="27875" y="22156"/>
                  <a:pt x="27844" y="22187"/>
                </a:cubicBezTo>
                <a:cubicBezTo>
                  <a:pt x="27750" y="22187"/>
                  <a:pt x="27719" y="22156"/>
                  <a:pt x="27656" y="22093"/>
                </a:cubicBezTo>
                <a:cubicBezTo>
                  <a:pt x="27625" y="22062"/>
                  <a:pt x="27594" y="22031"/>
                  <a:pt x="27563" y="22031"/>
                </a:cubicBezTo>
                <a:cubicBezTo>
                  <a:pt x="27469" y="21968"/>
                  <a:pt x="27438" y="21906"/>
                  <a:pt x="27406" y="21843"/>
                </a:cubicBezTo>
                <a:cubicBezTo>
                  <a:pt x="27406" y="21812"/>
                  <a:pt x="27406" y="21812"/>
                  <a:pt x="27438" y="21781"/>
                </a:cubicBezTo>
                <a:cubicBezTo>
                  <a:pt x="27438" y="21781"/>
                  <a:pt x="27469" y="21781"/>
                  <a:pt x="27469" y="21812"/>
                </a:cubicBezTo>
                <a:cubicBezTo>
                  <a:pt x="27469" y="21843"/>
                  <a:pt x="27469" y="21937"/>
                  <a:pt x="27531" y="21874"/>
                </a:cubicBezTo>
                <a:cubicBezTo>
                  <a:pt x="27625" y="21812"/>
                  <a:pt x="27531" y="21812"/>
                  <a:pt x="27500" y="21781"/>
                </a:cubicBezTo>
                <a:cubicBezTo>
                  <a:pt x="27500" y="21749"/>
                  <a:pt x="27500" y="21749"/>
                  <a:pt x="27500" y="21749"/>
                </a:cubicBezTo>
                <a:cubicBezTo>
                  <a:pt x="27438" y="21749"/>
                  <a:pt x="27406" y="21718"/>
                  <a:pt x="27375" y="21718"/>
                </a:cubicBezTo>
                <a:cubicBezTo>
                  <a:pt x="27406" y="21718"/>
                  <a:pt x="27438" y="21749"/>
                  <a:pt x="27500" y="21749"/>
                </a:cubicBezTo>
                <a:cubicBezTo>
                  <a:pt x="27500" y="21718"/>
                  <a:pt x="27531" y="21718"/>
                  <a:pt x="27531" y="21718"/>
                </a:cubicBezTo>
                <a:cubicBezTo>
                  <a:pt x="27594" y="21812"/>
                  <a:pt x="27656" y="21843"/>
                  <a:pt x="27750" y="21781"/>
                </a:cubicBezTo>
                <a:cubicBezTo>
                  <a:pt x="27781" y="21781"/>
                  <a:pt x="27844" y="21781"/>
                  <a:pt x="27844" y="21812"/>
                </a:cubicBezTo>
                <a:cubicBezTo>
                  <a:pt x="27813" y="21906"/>
                  <a:pt x="27875" y="21906"/>
                  <a:pt x="27906" y="21968"/>
                </a:cubicBezTo>
                <a:cubicBezTo>
                  <a:pt x="27938" y="22031"/>
                  <a:pt x="27938" y="22093"/>
                  <a:pt x="27969" y="22156"/>
                </a:cubicBezTo>
                <a:cubicBezTo>
                  <a:pt x="28000" y="22124"/>
                  <a:pt x="28000" y="22062"/>
                  <a:pt x="28031" y="22124"/>
                </a:cubicBezTo>
                <a:cubicBezTo>
                  <a:pt x="28063" y="22156"/>
                  <a:pt x="28125" y="22156"/>
                  <a:pt x="28156" y="22156"/>
                </a:cubicBezTo>
                <a:cubicBezTo>
                  <a:pt x="28188" y="22187"/>
                  <a:pt x="28250" y="22218"/>
                  <a:pt x="28281" y="22218"/>
                </a:cubicBezTo>
                <a:cubicBezTo>
                  <a:pt x="28250" y="22312"/>
                  <a:pt x="28156" y="22218"/>
                  <a:pt x="28094" y="22249"/>
                </a:cubicBezTo>
                <a:cubicBezTo>
                  <a:pt x="28094" y="22249"/>
                  <a:pt x="28094" y="22249"/>
                  <a:pt x="28094" y="22249"/>
                </a:cubicBezTo>
                <a:cubicBezTo>
                  <a:pt x="28063" y="22218"/>
                  <a:pt x="28094" y="22218"/>
                  <a:pt x="28125" y="22218"/>
                </a:cubicBezTo>
                <a:lnTo>
                  <a:pt x="28125" y="22218"/>
                </a:lnTo>
                <a:cubicBezTo>
                  <a:pt x="28156" y="22218"/>
                  <a:pt x="28156" y="22187"/>
                  <a:pt x="28156" y="22156"/>
                </a:cubicBezTo>
                <a:cubicBezTo>
                  <a:pt x="28156" y="22031"/>
                  <a:pt x="28063" y="21937"/>
                  <a:pt x="28063" y="21812"/>
                </a:cubicBezTo>
                <a:cubicBezTo>
                  <a:pt x="28125" y="21874"/>
                  <a:pt x="28188" y="21874"/>
                  <a:pt x="28250" y="21843"/>
                </a:cubicBezTo>
                <a:cubicBezTo>
                  <a:pt x="28188" y="21812"/>
                  <a:pt x="28094" y="21781"/>
                  <a:pt x="28031" y="21749"/>
                </a:cubicBezTo>
                <a:cubicBezTo>
                  <a:pt x="28031" y="21749"/>
                  <a:pt x="28000" y="21749"/>
                  <a:pt x="28000" y="21781"/>
                </a:cubicBezTo>
                <a:cubicBezTo>
                  <a:pt x="28000" y="21843"/>
                  <a:pt x="27969" y="21843"/>
                  <a:pt x="27938" y="21843"/>
                </a:cubicBezTo>
                <a:cubicBezTo>
                  <a:pt x="27938" y="21781"/>
                  <a:pt x="27938" y="21718"/>
                  <a:pt x="28000" y="21718"/>
                </a:cubicBezTo>
                <a:cubicBezTo>
                  <a:pt x="28031" y="21718"/>
                  <a:pt x="28063" y="21687"/>
                  <a:pt x="28094" y="21687"/>
                </a:cubicBezTo>
                <a:cubicBezTo>
                  <a:pt x="28188" y="21656"/>
                  <a:pt x="28313" y="21718"/>
                  <a:pt x="28281" y="21843"/>
                </a:cubicBezTo>
                <a:close/>
                <a:moveTo>
                  <a:pt x="27781" y="22343"/>
                </a:moveTo>
                <a:cubicBezTo>
                  <a:pt x="27719" y="22312"/>
                  <a:pt x="27688" y="22281"/>
                  <a:pt x="27625" y="22218"/>
                </a:cubicBezTo>
                <a:cubicBezTo>
                  <a:pt x="27719" y="22218"/>
                  <a:pt x="27750" y="22281"/>
                  <a:pt x="27781" y="22343"/>
                </a:cubicBezTo>
                <a:close/>
                <a:moveTo>
                  <a:pt x="27219" y="21843"/>
                </a:moveTo>
                <a:cubicBezTo>
                  <a:pt x="27250" y="21843"/>
                  <a:pt x="27250" y="21874"/>
                  <a:pt x="27281" y="21906"/>
                </a:cubicBezTo>
                <a:cubicBezTo>
                  <a:pt x="27250" y="21906"/>
                  <a:pt x="27219" y="21874"/>
                  <a:pt x="27219" y="21843"/>
                </a:cubicBezTo>
                <a:cubicBezTo>
                  <a:pt x="27125" y="21843"/>
                  <a:pt x="27094" y="21781"/>
                  <a:pt x="27063" y="21718"/>
                </a:cubicBezTo>
                <a:cubicBezTo>
                  <a:pt x="27125" y="21749"/>
                  <a:pt x="27156" y="21781"/>
                  <a:pt x="27219" y="21843"/>
                </a:cubicBezTo>
                <a:close/>
                <a:moveTo>
                  <a:pt x="27219" y="21656"/>
                </a:moveTo>
                <a:cubicBezTo>
                  <a:pt x="27219" y="21656"/>
                  <a:pt x="27250" y="21656"/>
                  <a:pt x="27250" y="21624"/>
                </a:cubicBezTo>
                <a:cubicBezTo>
                  <a:pt x="27250" y="21656"/>
                  <a:pt x="27219" y="21656"/>
                  <a:pt x="27219" y="21656"/>
                </a:cubicBezTo>
                <a:close/>
                <a:moveTo>
                  <a:pt x="27250" y="21593"/>
                </a:moveTo>
                <a:cubicBezTo>
                  <a:pt x="27125" y="21624"/>
                  <a:pt x="26969" y="21562"/>
                  <a:pt x="26906" y="21437"/>
                </a:cubicBezTo>
                <a:cubicBezTo>
                  <a:pt x="26906" y="21406"/>
                  <a:pt x="26875" y="21343"/>
                  <a:pt x="26906" y="21312"/>
                </a:cubicBezTo>
                <a:cubicBezTo>
                  <a:pt x="26938" y="21281"/>
                  <a:pt x="27000" y="21312"/>
                  <a:pt x="27031" y="21343"/>
                </a:cubicBezTo>
                <a:cubicBezTo>
                  <a:pt x="27063" y="21406"/>
                  <a:pt x="27094" y="21437"/>
                  <a:pt x="27156" y="21468"/>
                </a:cubicBezTo>
                <a:cubicBezTo>
                  <a:pt x="27188" y="21468"/>
                  <a:pt x="27219" y="21468"/>
                  <a:pt x="27250" y="21499"/>
                </a:cubicBezTo>
                <a:cubicBezTo>
                  <a:pt x="27250" y="21406"/>
                  <a:pt x="27125" y="21437"/>
                  <a:pt x="27125" y="21374"/>
                </a:cubicBezTo>
                <a:cubicBezTo>
                  <a:pt x="27219" y="21374"/>
                  <a:pt x="27313" y="21406"/>
                  <a:pt x="27313" y="21499"/>
                </a:cubicBezTo>
                <a:cubicBezTo>
                  <a:pt x="27375" y="21531"/>
                  <a:pt x="27438" y="21562"/>
                  <a:pt x="27469" y="21593"/>
                </a:cubicBezTo>
                <a:cubicBezTo>
                  <a:pt x="27438" y="21562"/>
                  <a:pt x="27375" y="21531"/>
                  <a:pt x="27313" y="21499"/>
                </a:cubicBezTo>
                <a:cubicBezTo>
                  <a:pt x="27313" y="21531"/>
                  <a:pt x="27313" y="21531"/>
                  <a:pt x="27313" y="21562"/>
                </a:cubicBezTo>
                <a:cubicBezTo>
                  <a:pt x="27313" y="21562"/>
                  <a:pt x="27281" y="21562"/>
                  <a:pt x="27281" y="21593"/>
                </a:cubicBezTo>
                <a:cubicBezTo>
                  <a:pt x="27281" y="21593"/>
                  <a:pt x="27250" y="21593"/>
                  <a:pt x="27250" y="21593"/>
                </a:cubicBezTo>
                <a:close/>
                <a:moveTo>
                  <a:pt x="27031" y="21718"/>
                </a:moveTo>
                <a:cubicBezTo>
                  <a:pt x="27000" y="21687"/>
                  <a:pt x="26938" y="21656"/>
                  <a:pt x="26906" y="21593"/>
                </a:cubicBezTo>
                <a:cubicBezTo>
                  <a:pt x="26969" y="21624"/>
                  <a:pt x="27031" y="21656"/>
                  <a:pt x="27031" y="21718"/>
                </a:cubicBezTo>
                <a:close/>
                <a:moveTo>
                  <a:pt x="26531" y="21156"/>
                </a:moveTo>
                <a:cubicBezTo>
                  <a:pt x="26625" y="21124"/>
                  <a:pt x="26688" y="21156"/>
                  <a:pt x="26750" y="21218"/>
                </a:cubicBezTo>
                <a:cubicBezTo>
                  <a:pt x="26656" y="21281"/>
                  <a:pt x="26594" y="21218"/>
                  <a:pt x="26531" y="21156"/>
                </a:cubicBezTo>
                <a:close/>
                <a:moveTo>
                  <a:pt x="26563" y="21312"/>
                </a:move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ubicBezTo>
                  <a:pt x="26563" y="21312"/>
                  <a:pt x="26563" y="21312"/>
                  <a:pt x="26563" y="21312"/>
                </a:cubicBezTo>
                <a:close/>
                <a:moveTo>
                  <a:pt x="26469" y="21249"/>
                </a:moveTo>
                <a:cubicBezTo>
                  <a:pt x="26531" y="21249"/>
                  <a:pt x="26531" y="21281"/>
                  <a:pt x="26531" y="21312"/>
                </a:cubicBezTo>
                <a:cubicBezTo>
                  <a:pt x="26531" y="21281"/>
                  <a:pt x="26500" y="21281"/>
                  <a:pt x="26469" y="21249"/>
                </a:cubicBezTo>
                <a:close/>
                <a:moveTo>
                  <a:pt x="26531" y="21406"/>
                </a:moveTo>
                <a:cubicBezTo>
                  <a:pt x="26500" y="21406"/>
                  <a:pt x="26500" y="21406"/>
                  <a:pt x="26469" y="21374"/>
                </a:cubicBezTo>
                <a:cubicBezTo>
                  <a:pt x="26469" y="21374"/>
                  <a:pt x="26469" y="21374"/>
                  <a:pt x="26469" y="21374"/>
                </a:cubicBezTo>
                <a:cubicBezTo>
                  <a:pt x="26500" y="21406"/>
                  <a:pt x="26500" y="21406"/>
                  <a:pt x="26531" y="21406"/>
                </a:cubicBezTo>
                <a:close/>
                <a:moveTo>
                  <a:pt x="26844" y="21531"/>
                </a:moveTo>
                <a:cubicBezTo>
                  <a:pt x="26750" y="21499"/>
                  <a:pt x="26688" y="21437"/>
                  <a:pt x="26625" y="21374"/>
                </a:cubicBezTo>
                <a:cubicBezTo>
                  <a:pt x="26719" y="21406"/>
                  <a:pt x="26781" y="21468"/>
                  <a:pt x="26844" y="21531"/>
                </a:cubicBezTo>
                <a:close/>
                <a:moveTo>
                  <a:pt x="26563" y="20937"/>
                </a:moveTo>
                <a:cubicBezTo>
                  <a:pt x="26563" y="20937"/>
                  <a:pt x="26531" y="20906"/>
                  <a:pt x="26500" y="20937"/>
                </a:cubicBezTo>
                <a:cubicBezTo>
                  <a:pt x="26500" y="20937"/>
                  <a:pt x="26469" y="20937"/>
                  <a:pt x="26469" y="20937"/>
                </a:cubicBezTo>
                <a:cubicBezTo>
                  <a:pt x="26531" y="20906"/>
                  <a:pt x="26406" y="20843"/>
                  <a:pt x="26500" y="20843"/>
                </a:cubicBezTo>
                <a:cubicBezTo>
                  <a:pt x="26563" y="20843"/>
                  <a:pt x="26625" y="20874"/>
                  <a:pt x="26656" y="20874"/>
                </a:cubicBezTo>
                <a:cubicBezTo>
                  <a:pt x="26750" y="20906"/>
                  <a:pt x="26813" y="20906"/>
                  <a:pt x="26875" y="20906"/>
                </a:cubicBezTo>
                <a:cubicBezTo>
                  <a:pt x="26938" y="20906"/>
                  <a:pt x="26938" y="20906"/>
                  <a:pt x="26938" y="20968"/>
                </a:cubicBezTo>
                <a:cubicBezTo>
                  <a:pt x="26938" y="20999"/>
                  <a:pt x="26969" y="21031"/>
                  <a:pt x="27000" y="21031"/>
                </a:cubicBezTo>
                <a:cubicBezTo>
                  <a:pt x="27063" y="21031"/>
                  <a:pt x="27094" y="21031"/>
                  <a:pt x="27125" y="21093"/>
                </a:cubicBezTo>
                <a:cubicBezTo>
                  <a:pt x="27125" y="21124"/>
                  <a:pt x="27125" y="21124"/>
                  <a:pt x="27156" y="21124"/>
                </a:cubicBezTo>
                <a:cubicBezTo>
                  <a:pt x="27219" y="21093"/>
                  <a:pt x="27281" y="21093"/>
                  <a:pt x="27344" y="21031"/>
                </a:cubicBezTo>
                <a:cubicBezTo>
                  <a:pt x="27375" y="20999"/>
                  <a:pt x="27375" y="21031"/>
                  <a:pt x="27406" y="21031"/>
                </a:cubicBezTo>
                <a:cubicBezTo>
                  <a:pt x="27344" y="21124"/>
                  <a:pt x="27438" y="21093"/>
                  <a:pt x="27469" y="21124"/>
                </a:cubicBezTo>
                <a:cubicBezTo>
                  <a:pt x="27469" y="21124"/>
                  <a:pt x="27500" y="21156"/>
                  <a:pt x="27531" y="21124"/>
                </a:cubicBezTo>
                <a:cubicBezTo>
                  <a:pt x="27531" y="21093"/>
                  <a:pt x="27531" y="21062"/>
                  <a:pt x="27500" y="21062"/>
                </a:cubicBezTo>
                <a:cubicBezTo>
                  <a:pt x="27469" y="21031"/>
                  <a:pt x="27438" y="20999"/>
                  <a:pt x="27406" y="20968"/>
                </a:cubicBezTo>
                <a:cubicBezTo>
                  <a:pt x="27531" y="20843"/>
                  <a:pt x="27656" y="20874"/>
                  <a:pt x="27750" y="21031"/>
                </a:cubicBezTo>
                <a:cubicBezTo>
                  <a:pt x="27688" y="20999"/>
                  <a:pt x="27625" y="20968"/>
                  <a:pt x="27563" y="20937"/>
                </a:cubicBezTo>
                <a:cubicBezTo>
                  <a:pt x="27563" y="20937"/>
                  <a:pt x="27531" y="20906"/>
                  <a:pt x="27500" y="20937"/>
                </a:cubicBezTo>
                <a:cubicBezTo>
                  <a:pt x="27469" y="20968"/>
                  <a:pt x="27531" y="20968"/>
                  <a:pt x="27531" y="20999"/>
                </a:cubicBezTo>
                <a:cubicBezTo>
                  <a:pt x="27563" y="21031"/>
                  <a:pt x="27594" y="21062"/>
                  <a:pt x="27656" y="21093"/>
                </a:cubicBezTo>
                <a:cubicBezTo>
                  <a:pt x="27625" y="21124"/>
                  <a:pt x="27594" y="21093"/>
                  <a:pt x="27594" y="21093"/>
                </a:cubicBezTo>
                <a:cubicBezTo>
                  <a:pt x="27563" y="21124"/>
                  <a:pt x="27594" y="21156"/>
                  <a:pt x="27625" y="21156"/>
                </a:cubicBezTo>
                <a:cubicBezTo>
                  <a:pt x="27656" y="21156"/>
                  <a:pt x="27625" y="21249"/>
                  <a:pt x="27688" y="21249"/>
                </a:cubicBezTo>
                <a:cubicBezTo>
                  <a:pt x="27688" y="21249"/>
                  <a:pt x="27688" y="21249"/>
                  <a:pt x="27688" y="21281"/>
                </a:cubicBezTo>
                <a:cubicBezTo>
                  <a:pt x="27656" y="21343"/>
                  <a:pt x="27438" y="21312"/>
                  <a:pt x="27406" y="21249"/>
                </a:cubicBezTo>
                <a:cubicBezTo>
                  <a:pt x="27406" y="21249"/>
                  <a:pt x="27375" y="21249"/>
                  <a:pt x="27406" y="21218"/>
                </a:cubicBezTo>
                <a:cubicBezTo>
                  <a:pt x="27406" y="21156"/>
                  <a:pt x="27406" y="21187"/>
                  <a:pt x="27344" y="21156"/>
                </a:cubicBezTo>
                <a:cubicBezTo>
                  <a:pt x="27281" y="21156"/>
                  <a:pt x="27219" y="21156"/>
                  <a:pt x="27156" y="21156"/>
                </a:cubicBezTo>
                <a:cubicBezTo>
                  <a:pt x="27094" y="21187"/>
                  <a:pt x="27031" y="21093"/>
                  <a:pt x="26938" y="21124"/>
                </a:cubicBezTo>
                <a:cubicBezTo>
                  <a:pt x="26906" y="21156"/>
                  <a:pt x="26938" y="21156"/>
                  <a:pt x="26938" y="21156"/>
                </a:cubicBezTo>
                <a:cubicBezTo>
                  <a:pt x="26938" y="21156"/>
                  <a:pt x="26906" y="21156"/>
                  <a:pt x="26938" y="21124"/>
                </a:cubicBezTo>
                <a:cubicBezTo>
                  <a:pt x="26938" y="21093"/>
                  <a:pt x="26938" y="21062"/>
                  <a:pt x="26875" y="21062"/>
                </a:cubicBezTo>
                <a:cubicBezTo>
                  <a:pt x="26781" y="21062"/>
                  <a:pt x="26688" y="20999"/>
                  <a:pt x="26563" y="20937"/>
                </a:cubicBezTo>
                <a:close/>
                <a:moveTo>
                  <a:pt x="26313" y="21093"/>
                </a:moveTo>
                <a:cubicBezTo>
                  <a:pt x="26375" y="21156"/>
                  <a:pt x="26469" y="21156"/>
                  <a:pt x="26469" y="21249"/>
                </a:cubicBezTo>
                <a:cubicBezTo>
                  <a:pt x="26406" y="21218"/>
                  <a:pt x="26375" y="21156"/>
                  <a:pt x="26313" y="21093"/>
                </a:cubicBezTo>
                <a:close/>
                <a:moveTo>
                  <a:pt x="26469" y="21374"/>
                </a:moveTo>
                <a:cubicBezTo>
                  <a:pt x="26469" y="21374"/>
                  <a:pt x="26469" y="21374"/>
                  <a:pt x="26438" y="21374"/>
                </a:cubicBezTo>
                <a:cubicBezTo>
                  <a:pt x="26438" y="21374"/>
                  <a:pt x="26438" y="21374"/>
                  <a:pt x="26438" y="21374"/>
                </a:cubicBezTo>
                <a:cubicBezTo>
                  <a:pt x="26469" y="21374"/>
                  <a:pt x="26469" y="21374"/>
                  <a:pt x="26469" y="21374"/>
                </a:cubicBezTo>
                <a:close/>
                <a:moveTo>
                  <a:pt x="25500" y="20499"/>
                </a:moveTo>
                <a:cubicBezTo>
                  <a:pt x="25563" y="20562"/>
                  <a:pt x="25625" y="20624"/>
                  <a:pt x="25688" y="20656"/>
                </a:cubicBezTo>
                <a:cubicBezTo>
                  <a:pt x="25688" y="20656"/>
                  <a:pt x="25719" y="20687"/>
                  <a:pt x="25719" y="20687"/>
                </a:cubicBezTo>
                <a:cubicBezTo>
                  <a:pt x="25688" y="20687"/>
                  <a:pt x="25656" y="20687"/>
                  <a:pt x="25656" y="20718"/>
                </a:cubicBezTo>
                <a:cubicBezTo>
                  <a:pt x="25656" y="20812"/>
                  <a:pt x="25594" y="20718"/>
                  <a:pt x="25594" y="20718"/>
                </a:cubicBezTo>
                <a:cubicBezTo>
                  <a:pt x="25563" y="20687"/>
                  <a:pt x="25531" y="20687"/>
                  <a:pt x="25531" y="20687"/>
                </a:cubicBezTo>
                <a:cubicBezTo>
                  <a:pt x="25531" y="20656"/>
                  <a:pt x="25500" y="20656"/>
                  <a:pt x="25469" y="20656"/>
                </a:cubicBezTo>
                <a:cubicBezTo>
                  <a:pt x="25406" y="20624"/>
                  <a:pt x="25375" y="20562"/>
                  <a:pt x="25438" y="20499"/>
                </a:cubicBezTo>
                <a:cubicBezTo>
                  <a:pt x="25438" y="20499"/>
                  <a:pt x="25406" y="20499"/>
                  <a:pt x="25406" y="20499"/>
                </a:cubicBezTo>
                <a:cubicBezTo>
                  <a:pt x="25406" y="20499"/>
                  <a:pt x="25406" y="20499"/>
                  <a:pt x="25406" y="20499"/>
                </a:cubicBezTo>
                <a:cubicBezTo>
                  <a:pt x="25406" y="20499"/>
                  <a:pt x="25375" y="20499"/>
                  <a:pt x="25375" y="20468"/>
                </a:cubicBezTo>
                <a:cubicBezTo>
                  <a:pt x="25375" y="20499"/>
                  <a:pt x="25406" y="20499"/>
                  <a:pt x="25406" y="20499"/>
                </a:cubicBezTo>
                <a:cubicBezTo>
                  <a:pt x="25406" y="20468"/>
                  <a:pt x="25406" y="20468"/>
                  <a:pt x="25406" y="20437"/>
                </a:cubicBezTo>
                <a:cubicBezTo>
                  <a:pt x="25469" y="20437"/>
                  <a:pt x="25469" y="20437"/>
                  <a:pt x="25406" y="20343"/>
                </a:cubicBezTo>
                <a:cubicBezTo>
                  <a:pt x="25531" y="20437"/>
                  <a:pt x="25656" y="20499"/>
                  <a:pt x="25750" y="20624"/>
                </a:cubicBezTo>
                <a:cubicBezTo>
                  <a:pt x="25813" y="20656"/>
                  <a:pt x="25875" y="20687"/>
                  <a:pt x="25906" y="20749"/>
                </a:cubicBezTo>
                <a:cubicBezTo>
                  <a:pt x="25844" y="20718"/>
                  <a:pt x="25781" y="20687"/>
                  <a:pt x="25750" y="20624"/>
                </a:cubicBezTo>
                <a:cubicBezTo>
                  <a:pt x="25750" y="20624"/>
                  <a:pt x="25719" y="20624"/>
                  <a:pt x="25719" y="20624"/>
                </a:cubicBezTo>
                <a:cubicBezTo>
                  <a:pt x="25719" y="20624"/>
                  <a:pt x="25719" y="20624"/>
                  <a:pt x="25719" y="20624"/>
                </a:cubicBezTo>
                <a:cubicBezTo>
                  <a:pt x="25656" y="20562"/>
                  <a:pt x="25594" y="20499"/>
                  <a:pt x="25531" y="20468"/>
                </a:cubicBezTo>
                <a:cubicBezTo>
                  <a:pt x="25531" y="20468"/>
                  <a:pt x="25531" y="20468"/>
                  <a:pt x="25531" y="20499"/>
                </a:cubicBezTo>
                <a:cubicBezTo>
                  <a:pt x="25500" y="20499"/>
                  <a:pt x="25500" y="20468"/>
                  <a:pt x="25500" y="20468"/>
                </a:cubicBezTo>
                <a:cubicBezTo>
                  <a:pt x="25500" y="20499"/>
                  <a:pt x="25500" y="20499"/>
                  <a:pt x="25500" y="20499"/>
                </a:cubicBezTo>
                <a:close/>
                <a:moveTo>
                  <a:pt x="25344" y="20406"/>
                </a:moveTo>
                <a:cubicBezTo>
                  <a:pt x="25375" y="20406"/>
                  <a:pt x="25406" y="20406"/>
                  <a:pt x="25406" y="20437"/>
                </a:cubicBezTo>
                <a:cubicBezTo>
                  <a:pt x="25375" y="20437"/>
                  <a:pt x="25344" y="20437"/>
                  <a:pt x="25344" y="20406"/>
                </a:cubicBezTo>
                <a:close/>
                <a:moveTo>
                  <a:pt x="25875" y="20656"/>
                </a:moveTo>
                <a:cubicBezTo>
                  <a:pt x="25875" y="20656"/>
                  <a:pt x="25875" y="20624"/>
                  <a:pt x="25875" y="20624"/>
                </a:cubicBezTo>
                <a:cubicBezTo>
                  <a:pt x="25938" y="20624"/>
                  <a:pt x="26000" y="20624"/>
                  <a:pt x="26031" y="20656"/>
                </a:cubicBezTo>
                <a:cubicBezTo>
                  <a:pt x="26094" y="20687"/>
                  <a:pt x="26125" y="20687"/>
                  <a:pt x="26188" y="20687"/>
                </a:cubicBezTo>
                <a:cubicBezTo>
                  <a:pt x="26281" y="20656"/>
                  <a:pt x="26375" y="20718"/>
                  <a:pt x="26469" y="20718"/>
                </a:cubicBezTo>
                <a:cubicBezTo>
                  <a:pt x="26469" y="20718"/>
                  <a:pt x="26500" y="20749"/>
                  <a:pt x="26531" y="20749"/>
                </a:cubicBezTo>
                <a:cubicBezTo>
                  <a:pt x="26531" y="20718"/>
                  <a:pt x="26563" y="20749"/>
                  <a:pt x="26563" y="20749"/>
                </a:cubicBezTo>
                <a:cubicBezTo>
                  <a:pt x="26563" y="20749"/>
                  <a:pt x="26531" y="20781"/>
                  <a:pt x="26531" y="20781"/>
                </a:cubicBezTo>
                <a:cubicBezTo>
                  <a:pt x="26500" y="20781"/>
                  <a:pt x="26438" y="20812"/>
                  <a:pt x="26406" y="20781"/>
                </a:cubicBezTo>
                <a:cubicBezTo>
                  <a:pt x="26344" y="20749"/>
                  <a:pt x="26281" y="20749"/>
                  <a:pt x="26250" y="20781"/>
                </a:cubicBezTo>
                <a:cubicBezTo>
                  <a:pt x="26188" y="20812"/>
                  <a:pt x="26156" y="20749"/>
                  <a:pt x="26125" y="20749"/>
                </a:cubicBezTo>
                <a:cubicBezTo>
                  <a:pt x="26000" y="20781"/>
                  <a:pt x="25938" y="20718"/>
                  <a:pt x="25875" y="20656"/>
                </a:cubicBezTo>
                <a:close/>
                <a:moveTo>
                  <a:pt x="26219" y="20812"/>
                </a:moveTo>
                <a:cubicBezTo>
                  <a:pt x="26344" y="20812"/>
                  <a:pt x="26281" y="20937"/>
                  <a:pt x="26344" y="20937"/>
                </a:cubicBezTo>
                <a:cubicBezTo>
                  <a:pt x="26313" y="20968"/>
                  <a:pt x="26313" y="20999"/>
                  <a:pt x="26250" y="20968"/>
                </a:cubicBezTo>
                <a:cubicBezTo>
                  <a:pt x="26188" y="20906"/>
                  <a:pt x="26125" y="20874"/>
                  <a:pt x="26063" y="20812"/>
                </a:cubicBezTo>
                <a:cubicBezTo>
                  <a:pt x="26125" y="20812"/>
                  <a:pt x="26188" y="20812"/>
                  <a:pt x="26219" y="20812"/>
                </a:cubicBezTo>
                <a:close/>
                <a:moveTo>
                  <a:pt x="26625" y="20781"/>
                </a:moveTo>
                <a:cubicBezTo>
                  <a:pt x="26656" y="20781"/>
                  <a:pt x="26688" y="20781"/>
                  <a:pt x="26688" y="20812"/>
                </a:cubicBezTo>
                <a:cubicBezTo>
                  <a:pt x="26688" y="20812"/>
                  <a:pt x="26688" y="20843"/>
                  <a:pt x="26688" y="20843"/>
                </a:cubicBezTo>
                <a:cubicBezTo>
                  <a:pt x="26656" y="20843"/>
                  <a:pt x="26625" y="20812"/>
                  <a:pt x="26625" y="20781"/>
                </a:cubicBezTo>
                <a:close/>
                <a:moveTo>
                  <a:pt x="26719" y="20812"/>
                </a:moveTo>
                <a:cubicBezTo>
                  <a:pt x="26719" y="20781"/>
                  <a:pt x="26750" y="20781"/>
                  <a:pt x="26781" y="20781"/>
                </a:cubicBezTo>
                <a:cubicBezTo>
                  <a:pt x="26781" y="20781"/>
                  <a:pt x="26813" y="20781"/>
                  <a:pt x="26813" y="20812"/>
                </a:cubicBezTo>
                <a:cubicBezTo>
                  <a:pt x="26813" y="20843"/>
                  <a:pt x="26781" y="20843"/>
                  <a:pt x="26781" y="20843"/>
                </a:cubicBezTo>
                <a:cubicBezTo>
                  <a:pt x="26750" y="20843"/>
                  <a:pt x="26719" y="20843"/>
                  <a:pt x="26719" y="20812"/>
                </a:cubicBezTo>
                <a:close/>
                <a:moveTo>
                  <a:pt x="27813" y="21624"/>
                </a:moveTo>
                <a:cubicBezTo>
                  <a:pt x="27813" y="21624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13" y="21593"/>
                  <a:pt x="27813" y="21593"/>
                  <a:pt x="27813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593"/>
                  <a:pt x="27844" y="21593"/>
                </a:cubicBezTo>
                <a:cubicBezTo>
                  <a:pt x="27844" y="21593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24"/>
                  <a:pt x="27844" y="21624"/>
                </a:cubicBezTo>
                <a:cubicBezTo>
                  <a:pt x="27844" y="21624"/>
                  <a:pt x="27844" y="21687"/>
                  <a:pt x="27813" y="21656"/>
                </a:cubicBezTo>
                <a:cubicBezTo>
                  <a:pt x="27781" y="21624"/>
                  <a:pt x="27781" y="21624"/>
                  <a:pt x="27750" y="21624"/>
                </a:cubicBezTo>
                <a:cubicBezTo>
                  <a:pt x="27719" y="21656"/>
                  <a:pt x="27688" y="21624"/>
                  <a:pt x="27688" y="21624"/>
                </a:cubicBezTo>
                <a:cubicBezTo>
                  <a:pt x="27688" y="21593"/>
                  <a:pt x="27719" y="21593"/>
                  <a:pt x="27750" y="21593"/>
                </a:cubicBezTo>
                <a:cubicBezTo>
                  <a:pt x="27750" y="21624"/>
                  <a:pt x="27781" y="21624"/>
                  <a:pt x="27813" y="21624"/>
                </a:cubicBezTo>
                <a:close/>
                <a:moveTo>
                  <a:pt x="27688" y="21749"/>
                </a:moveTo>
                <a:cubicBezTo>
                  <a:pt x="27688" y="21781"/>
                  <a:pt x="27656" y="21749"/>
                  <a:pt x="27625" y="21749"/>
                </a:cubicBezTo>
                <a:cubicBezTo>
                  <a:pt x="27594" y="21749"/>
                  <a:pt x="27563" y="21718"/>
                  <a:pt x="27531" y="21718"/>
                </a:cubicBezTo>
                <a:cubicBezTo>
                  <a:pt x="27500" y="21687"/>
                  <a:pt x="27500" y="21656"/>
                  <a:pt x="27531" y="21624"/>
                </a:cubicBezTo>
                <a:cubicBezTo>
                  <a:pt x="27594" y="21656"/>
                  <a:pt x="27625" y="21718"/>
                  <a:pt x="27656" y="21718"/>
                </a:cubicBezTo>
                <a:cubicBezTo>
                  <a:pt x="27688" y="21718"/>
                  <a:pt x="27688" y="21718"/>
                  <a:pt x="27688" y="21749"/>
                </a:cubicBezTo>
                <a:close/>
                <a:moveTo>
                  <a:pt x="26906" y="21593"/>
                </a:moveTo>
                <a:cubicBezTo>
                  <a:pt x="26875" y="21593"/>
                  <a:pt x="26844" y="21593"/>
                  <a:pt x="26844" y="21562"/>
                </a:cubicBezTo>
                <a:cubicBezTo>
                  <a:pt x="26875" y="21562"/>
                  <a:pt x="26906" y="21562"/>
                  <a:pt x="26906" y="21593"/>
                </a:cubicBezTo>
                <a:close/>
                <a:moveTo>
                  <a:pt x="28125" y="21562"/>
                </a:moveTo>
                <a:cubicBezTo>
                  <a:pt x="28125" y="21562"/>
                  <a:pt x="28125" y="21562"/>
                  <a:pt x="28125" y="21593"/>
                </a:cubicBezTo>
                <a:cubicBezTo>
                  <a:pt x="28125" y="21593"/>
                  <a:pt x="28156" y="21593"/>
                  <a:pt x="28156" y="21593"/>
                </a:cubicBezTo>
                <a:cubicBezTo>
                  <a:pt x="28156" y="21593"/>
                  <a:pt x="28156" y="21593"/>
                  <a:pt x="28188" y="21593"/>
                </a:cubicBezTo>
                <a:cubicBezTo>
                  <a:pt x="28156" y="21593"/>
                  <a:pt x="28156" y="21593"/>
                  <a:pt x="28156" y="21593"/>
                </a:cubicBezTo>
                <a:cubicBezTo>
                  <a:pt x="28094" y="21593"/>
                  <a:pt x="28031" y="21624"/>
                  <a:pt x="28000" y="21562"/>
                </a:cubicBezTo>
                <a:cubicBezTo>
                  <a:pt x="28031" y="21499"/>
                  <a:pt x="28063" y="21531"/>
                  <a:pt x="28094" y="21562"/>
                </a:cubicBezTo>
                <a:cubicBezTo>
                  <a:pt x="28094" y="21562"/>
                  <a:pt x="28125" y="21593"/>
                  <a:pt x="28125" y="21593"/>
                </a:cubicBezTo>
                <a:cubicBezTo>
                  <a:pt x="28125" y="21562"/>
                  <a:pt x="28125" y="21562"/>
                  <a:pt x="28125" y="21562"/>
                </a:cubicBezTo>
                <a:close/>
                <a:moveTo>
                  <a:pt x="28031" y="21374"/>
                </a:moveTo>
                <a:cubicBezTo>
                  <a:pt x="28000" y="21343"/>
                  <a:pt x="28000" y="21343"/>
                  <a:pt x="28000" y="21312"/>
                </a:cubicBezTo>
                <a:cubicBezTo>
                  <a:pt x="28031" y="21281"/>
                  <a:pt x="28031" y="21218"/>
                  <a:pt x="27969" y="21249"/>
                </a:cubicBezTo>
                <a:cubicBezTo>
                  <a:pt x="27906" y="21249"/>
                  <a:pt x="27906" y="21187"/>
                  <a:pt x="27875" y="21156"/>
                </a:cubicBezTo>
                <a:cubicBezTo>
                  <a:pt x="27969" y="21156"/>
                  <a:pt x="28031" y="21156"/>
                  <a:pt x="28125" y="21156"/>
                </a:cubicBezTo>
                <a:cubicBezTo>
                  <a:pt x="28125" y="21187"/>
                  <a:pt x="28156" y="21187"/>
                  <a:pt x="28156" y="21218"/>
                </a:cubicBezTo>
                <a:cubicBezTo>
                  <a:pt x="28156" y="21343"/>
                  <a:pt x="28125" y="21374"/>
                  <a:pt x="28031" y="21374"/>
                </a:cubicBezTo>
                <a:close/>
                <a:moveTo>
                  <a:pt x="27938" y="21843"/>
                </a:moveTo>
                <a:cubicBezTo>
                  <a:pt x="27938" y="21874"/>
                  <a:pt x="28000" y="21843"/>
                  <a:pt x="28000" y="21874"/>
                </a:cubicBezTo>
                <a:cubicBezTo>
                  <a:pt x="28063" y="21906"/>
                  <a:pt x="28063" y="21937"/>
                  <a:pt x="28063" y="21968"/>
                </a:cubicBezTo>
                <a:cubicBezTo>
                  <a:pt x="28031" y="21999"/>
                  <a:pt x="28000" y="21968"/>
                  <a:pt x="28000" y="21937"/>
                </a:cubicBezTo>
                <a:cubicBezTo>
                  <a:pt x="27969" y="21906"/>
                  <a:pt x="27938" y="21906"/>
                  <a:pt x="27938" y="21906"/>
                </a:cubicBezTo>
                <a:cubicBezTo>
                  <a:pt x="27906" y="21906"/>
                  <a:pt x="27875" y="21874"/>
                  <a:pt x="27875" y="21874"/>
                </a:cubicBezTo>
                <a:cubicBezTo>
                  <a:pt x="27875" y="21843"/>
                  <a:pt x="27906" y="21843"/>
                  <a:pt x="27938" y="21843"/>
                </a:cubicBezTo>
                <a:close/>
                <a:moveTo>
                  <a:pt x="26938" y="19749"/>
                </a:moveTo>
                <a:cubicBezTo>
                  <a:pt x="27000" y="19781"/>
                  <a:pt x="27063" y="19812"/>
                  <a:pt x="27094" y="19874"/>
                </a:cubicBezTo>
                <a:cubicBezTo>
                  <a:pt x="27063" y="19874"/>
                  <a:pt x="27000" y="19843"/>
                  <a:pt x="26969" y="19843"/>
                </a:cubicBezTo>
                <a:cubicBezTo>
                  <a:pt x="26938" y="19843"/>
                  <a:pt x="26906" y="19812"/>
                  <a:pt x="26875" y="19781"/>
                </a:cubicBezTo>
                <a:cubicBezTo>
                  <a:pt x="26875" y="19781"/>
                  <a:pt x="26875" y="19781"/>
                  <a:pt x="26875" y="19781"/>
                </a:cubicBezTo>
                <a:cubicBezTo>
                  <a:pt x="26906" y="19749"/>
                  <a:pt x="26938" y="19749"/>
                  <a:pt x="26938" y="19749"/>
                </a:cubicBezTo>
                <a:close/>
                <a:moveTo>
                  <a:pt x="26469" y="19218"/>
                </a:moveTo>
                <a:cubicBezTo>
                  <a:pt x="26469" y="19218"/>
                  <a:pt x="26469" y="19218"/>
                  <a:pt x="26469" y="19218"/>
                </a:cubicBezTo>
                <a:cubicBezTo>
                  <a:pt x="26500" y="19218"/>
                  <a:pt x="26500" y="19218"/>
                  <a:pt x="26531" y="19218"/>
                </a:cubicBezTo>
                <a:cubicBezTo>
                  <a:pt x="26531" y="19218"/>
                  <a:pt x="26531" y="19218"/>
                  <a:pt x="26531" y="19218"/>
                </a:cubicBezTo>
                <a:cubicBezTo>
                  <a:pt x="26594" y="19312"/>
                  <a:pt x="26656" y="19406"/>
                  <a:pt x="26781" y="19437"/>
                </a:cubicBezTo>
                <a:cubicBezTo>
                  <a:pt x="26813" y="19437"/>
                  <a:pt x="26813" y="19468"/>
                  <a:pt x="26844" y="19499"/>
                </a:cubicBezTo>
                <a:cubicBezTo>
                  <a:pt x="26875" y="19499"/>
                  <a:pt x="26906" y="19499"/>
                  <a:pt x="26906" y="19562"/>
                </a:cubicBezTo>
                <a:cubicBezTo>
                  <a:pt x="26875" y="19593"/>
                  <a:pt x="26844" y="19593"/>
                  <a:pt x="26813" y="19593"/>
                </a:cubicBezTo>
                <a:cubicBezTo>
                  <a:pt x="26813" y="19593"/>
                  <a:pt x="26781" y="19624"/>
                  <a:pt x="26781" y="19656"/>
                </a:cubicBezTo>
                <a:cubicBezTo>
                  <a:pt x="26781" y="19624"/>
                  <a:pt x="26813" y="19593"/>
                  <a:pt x="26813" y="19593"/>
                </a:cubicBezTo>
                <a:cubicBezTo>
                  <a:pt x="26813" y="19593"/>
                  <a:pt x="26813" y="19593"/>
                  <a:pt x="26781" y="19562"/>
                </a:cubicBezTo>
                <a:cubicBezTo>
                  <a:pt x="26781" y="19593"/>
                  <a:pt x="26781" y="19593"/>
                  <a:pt x="26781" y="19593"/>
                </a:cubicBezTo>
                <a:cubicBezTo>
                  <a:pt x="26781" y="19593"/>
                  <a:pt x="26781" y="19593"/>
                  <a:pt x="26781" y="19562"/>
                </a:cubicBezTo>
                <a:cubicBezTo>
                  <a:pt x="26750" y="19468"/>
                  <a:pt x="26656" y="19437"/>
                  <a:pt x="26563" y="19406"/>
                </a:cubicBezTo>
                <a:cubicBezTo>
                  <a:pt x="26531" y="19343"/>
                  <a:pt x="26469" y="19312"/>
                  <a:pt x="26469" y="19218"/>
                </a:cubicBezTo>
                <a:cubicBezTo>
                  <a:pt x="26469" y="19218"/>
                  <a:pt x="26469" y="19218"/>
                  <a:pt x="26469" y="19218"/>
                </a:cubicBezTo>
                <a:close/>
                <a:moveTo>
                  <a:pt x="26688" y="20156"/>
                </a:moveTo>
                <a:cubicBezTo>
                  <a:pt x="26719" y="20187"/>
                  <a:pt x="26688" y="20187"/>
                  <a:pt x="26656" y="20187"/>
                </a:cubicBezTo>
                <a:cubicBezTo>
                  <a:pt x="26594" y="20187"/>
                  <a:pt x="26563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469" y="20124"/>
                  <a:pt x="26469" y="20093"/>
                  <a:pt x="26531" y="20093"/>
                </a:cubicBezTo>
                <a:cubicBezTo>
                  <a:pt x="26594" y="20062"/>
                  <a:pt x="26688" y="19999"/>
                  <a:pt x="26750" y="20031"/>
                </a:cubicBezTo>
                <a:cubicBezTo>
                  <a:pt x="26781" y="20062"/>
                  <a:pt x="26813" y="20062"/>
                  <a:pt x="26813" y="20093"/>
                </a:cubicBezTo>
                <a:cubicBezTo>
                  <a:pt x="26813" y="20156"/>
                  <a:pt x="26813" y="20187"/>
                  <a:pt x="26750" y="20124"/>
                </a:cubicBezTo>
                <a:cubicBezTo>
                  <a:pt x="26719" y="20093"/>
                  <a:pt x="26719" y="20093"/>
                  <a:pt x="26688" y="20093"/>
                </a:cubicBezTo>
                <a:cubicBezTo>
                  <a:pt x="26656" y="20124"/>
                  <a:pt x="26656" y="20124"/>
                  <a:pt x="26688" y="20156"/>
                </a:cubicBezTo>
                <a:close/>
                <a:moveTo>
                  <a:pt x="26531" y="19437"/>
                </a:moveTo>
                <a:cubicBezTo>
                  <a:pt x="26531" y="19437"/>
                  <a:pt x="26531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63" y="19437"/>
                  <a:pt x="26563" y="19437"/>
                  <a:pt x="26563" y="19437"/>
                </a:cubicBezTo>
                <a:cubicBezTo>
                  <a:pt x="26531" y="19437"/>
                  <a:pt x="26531" y="19437"/>
                  <a:pt x="26531" y="19437"/>
                </a:cubicBezTo>
                <a:cubicBezTo>
                  <a:pt x="26563" y="19499"/>
                  <a:pt x="26625" y="19531"/>
                  <a:pt x="26656" y="19562"/>
                </a:cubicBezTo>
                <a:cubicBezTo>
                  <a:pt x="26625" y="19531"/>
                  <a:pt x="26563" y="19499"/>
                  <a:pt x="26531" y="19437"/>
                </a:cubicBezTo>
                <a:cubicBezTo>
                  <a:pt x="26500" y="19437"/>
                  <a:pt x="26469" y="19406"/>
                  <a:pt x="26469" y="19406"/>
                </a:cubicBezTo>
                <a:cubicBezTo>
                  <a:pt x="26469" y="19406"/>
                  <a:pt x="26500" y="19437"/>
                  <a:pt x="26531" y="19437"/>
                </a:cubicBezTo>
                <a:close/>
                <a:moveTo>
                  <a:pt x="25531" y="19124"/>
                </a:moveTo>
                <a:cubicBezTo>
                  <a:pt x="25563" y="19156"/>
                  <a:pt x="25594" y="19312"/>
                  <a:pt x="25563" y="19343"/>
                </a:cubicBezTo>
                <a:cubicBezTo>
                  <a:pt x="25563" y="19374"/>
                  <a:pt x="25531" y="19343"/>
                  <a:pt x="25531" y="19343"/>
                </a:cubicBezTo>
                <a:cubicBezTo>
                  <a:pt x="25531" y="19249"/>
                  <a:pt x="25500" y="19187"/>
                  <a:pt x="25531" y="19124"/>
                </a:cubicBezTo>
                <a:close/>
                <a:moveTo>
                  <a:pt x="25531" y="18999"/>
                </a:moveTo>
                <a:cubicBezTo>
                  <a:pt x="25500" y="18968"/>
                  <a:pt x="25531" y="18937"/>
                  <a:pt x="25500" y="18937"/>
                </a:cubicBezTo>
                <a:cubicBezTo>
                  <a:pt x="25500" y="18937"/>
                  <a:pt x="25500" y="18937"/>
                  <a:pt x="25500" y="18937"/>
                </a:cubicBezTo>
                <a:cubicBezTo>
                  <a:pt x="25500" y="18874"/>
                  <a:pt x="25469" y="18843"/>
                  <a:pt x="25500" y="18781"/>
                </a:cubicBezTo>
                <a:cubicBezTo>
                  <a:pt x="25500" y="18749"/>
                  <a:pt x="25500" y="18718"/>
                  <a:pt x="25469" y="18718"/>
                </a:cubicBezTo>
                <a:cubicBezTo>
                  <a:pt x="25469" y="18718"/>
                  <a:pt x="25469" y="18687"/>
                  <a:pt x="25469" y="18687"/>
                </a:cubicBezTo>
                <a:cubicBezTo>
                  <a:pt x="25469" y="18718"/>
                  <a:pt x="25500" y="18687"/>
                  <a:pt x="25531" y="18718"/>
                </a:cubicBezTo>
                <a:cubicBezTo>
                  <a:pt x="25469" y="18812"/>
                  <a:pt x="25563" y="18906"/>
                  <a:pt x="25531" y="18999"/>
                </a:cubicBezTo>
                <a:close/>
                <a:moveTo>
                  <a:pt x="25500" y="18624"/>
                </a:moveTo>
                <a:cubicBezTo>
                  <a:pt x="25469" y="18656"/>
                  <a:pt x="25438" y="18624"/>
                  <a:pt x="25406" y="18656"/>
                </a:cubicBezTo>
                <a:cubicBezTo>
                  <a:pt x="25406" y="18656"/>
                  <a:pt x="25375" y="18656"/>
                  <a:pt x="25344" y="18624"/>
                </a:cubicBezTo>
                <a:cubicBezTo>
                  <a:pt x="25344" y="18593"/>
                  <a:pt x="25281" y="18593"/>
                  <a:pt x="25281" y="18531"/>
                </a:cubicBezTo>
                <a:cubicBezTo>
                  <a:pt x="25344" y="18593"/>
                  <a:pt x="25438" y="18562"/>
                  <a:pt x="25500" y="18624"/>
                </a:cubicBezTo>
                <a:close/>
                <a:moveTo>
                  <a:pt x="25281" y="18531"/>
                </a:moveTo>
                <a:cubicBezTo>
                  <a:pt x="25281" y="18531"/>
                  <a:pt x="25250" y="18531"/>
                  <a:pt x="25250" y="18531"/>
                </a:cubicBezTo>
                <a:cubicBezTo>
                  <a:pt x="25250" y="18531"/>
                  <a:pt x="25281" y="18531"/>
                  <a:pt x="25281" y="18531"/>
                </a:cubicBezTo>
                <a:close/>
                <a:moveTo>
                  <a:pt x="25313" y="18968"/>
                </a:moveTo>
                <a:cubicBezTo>
                  <a:pt x="25281" y="18968"/>
                  <a:pt x="25281" y="18968"/>
                  <a:pt x="25250" y="18968"/>
                </a:cubicBezTo>
                <a:cubicBezTo>
                  <a:pt x="25281" y="18968"/>
                  <a:pt x="25281" y="18968"/>
                  <a:pt x="25313" y="18968"/>
                </a:cubicBezTo>
                <a:close/>
                <a:moveTo>
                  <a:pt x="25094" y="18531"/>
                </a:moveTo>
                <a:cubicBezTo>
                  <a:pt x="25156" y="18499"/>
                  <a:pt x="25188" y="18531"/>
                  <a:pt x="25188" y="18593"/>
                </a:cubicBezTo>
                <a:cubicBezTo>
                  <a:pt x="25188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56" y="18593"/>
                  <a:pt x="25156" y="18593"/>
                  <a:pt x="25156" y="18593"/>
                </a:cubicBezTo>
                <a:cubicBezTo>
                  <a:pt x="25125" y="18593"/>
                  <a:pt x="25125" y="18593"/>
                  <a:pt x="25125" y="18593"/>
                </a:cubicBezTo>
                <a:cubicBezTo>
                  <a:pt x="25125" y="18562"/>
                  <a:pt x="25063" y="18531"/>
                  <a:pt x="25094" y="18531"/>
                </a:cubicBezTo>
                <a:close/>
                <a:moveTo>
                  <a:pt x="24875" y="18593"/>
                </a:moveTo>
                <a:cubicBezTo>
                  <a:pt x="24906" y="18593"/>
                  <a:pt x="24938" y="18593"/>
                  <a:pt x="24969" y="18624"/>
                </a:cubicBezTo>
                <a:cubicBezTo>
                  <a:pt x="24969" y="18656"/>
                  <a:pt x="24938" y="18656"/>
                  <a:pt x="24906" y="18687"/>
                </a:cubicBezTo>
                <a:cubicBezTo>
                  <a:pt x="24906" y="18687"/>
                  <a:pt x="24906" y="18656"/>
                  <a:pt x="24906" y="18656"/>
                </a:cubicBezTo>
                <a:lnTo>
                  <a:pt x="24906" y="18656"/>
                </a:lnTo>
                <a:cubicBezTo>
                  <a:pt x="24906" y="18656"/>
                  <a:pt x="24875" y="18656"/>
                  <a:pt x="24875" y="18656"/>
                </a:cubicBezTo>
                <a:cubicBezTo>
                  <a:pt x="24875" y="18687"/>
                  <a:pt x="24906" y="18687"/>
                  <a:pt x="24906" y="18687"/>
                </a:cubicBezTo>
                <a:cubicBezTo>
                  <a:pt x="24906" y="18687"/>
                  <a:pt x="24906" y="18718"/>
                  <a:pt x="24875" y="18718"/>
                </a:cubicBezTo>
                <a:cubicBezTo>
                  <a:pt x="24844" y="18687"/>
                  <a:pt x="24844" y="18656"/>
                  <a:pt x="24844" y="18624"/>
                </a:cubicBezTo>
                <a:cubicBezTo>
                  <a:pt x="24844" y="18593"/>
                  <a:pt x="24844" y="18593"/>
                  <a:pt x="24875" y="18593"/>
                </a:cubicBezTo>
                <a:close/>
                <a:moveTo>
                  <a:pt x="24906" y="18968"/>
                </a:moveTo>
                <a:cubicBezTo>
                  <a:pt x="24875" y="18968"/>
                  <a:pt x="24875" y="18968"/>
                  <a:pt x="24844" y="18968"/>
                </a:cubicBezTo>
                <a:cubicBezTo>
                  <a:pt x="24875" y="18968"/>
                  <a:pt x="24875" y="18968"/>
                  <a:pt x="24906" y="18968"/>
                </a:cubicBezTo>
                <a:close/>
                <a:moveTo>
                  <a:pt x="24656" y="18624"/>
                </a:moveTo>
                <a:cubicBezTo>
                  <a:pt x="24688" y="18624"/>
                  <a:pt x="24719" y="18624"/>
                  <a:pt x="24719" y="18624"/>
                </a:cubicBezTo>
                <a:cubicBezTo>
                  <a:pt x="24719" y="18624"/>
                  <a:pt x="24688" y="18624"/>
                  <a:pt x="24656" y="18624"/>
                </a:cubicBezTo>
                <a:cubicBezTo>
                  <a:pt x="24656" y="18656"/>
                  <a:pt x="24563" y="18624"/>
                  <a:pt x="24594" y="18687"/>
                </a:cubicBezTo>
                <a:cubicBezTo>
                  <a:pt x="24594" y="18656"/>
                  <a:pt x="24563" y="18624"/>
                  <a:pt x="24531" y="18593"/>
                </a:cubicBezTo>
                <a:cubicBezTo>
                  <a:pt x="24594" y="18562"/>
                  <a:pt x="24625" y="18562"/>
                  <a:pt x="24656" y="18624"/>
                </a:cubicBezTo>
                <a:close/>
                <a:moveTo>
                  <a:pt x="24625" y="18968"/>
                </a:moveTo>
                <a:cubicBezTo>
                  <a:pt x="24594" y="18968"/>
                  <a:pt x="24594" y="18968"/>
                  <a:pt x="24594" y="18968"/>
                </a:cubicBezTo>
                <a:cubicBezTo>
                  <a:pt x="24594" y="18968"/>
                  <a:pt x="24625" y="18968"/>
                  <a:pt x="24625" y="18968"/>
                </a:cubicBezTo>
                <a:close/>
                <a:moveTo>
                  <a:pt x="24219" y="18343"/>
                </a:moveTo>
                <a:cubicBezTo>
                  <a:pt x="24250" y="18312"/>
                  <a:pt x="24281" y="18312"/>
                  <a:pt x="24313" y="18343"/>
                </a:cubicBezTo>
                <a:cubicBezTo>
                  <a:pt x="24344" y="18343"/>
                  <a:pt x="24344" y="18343"/>
                  <a:pt x="24375" y="18374"/>
                </a:cubicBezTo>
                <a:cubicBezTo>
                  <a:pt x="24406" y="18374"/>
                  <a:pt x="24438" y="18374"/>
                  <a:pt x="24438" y="18406"/>
                </a:cubicBezTo>
                <a:cubicBezTo>
                  <a:pt x="24438" y="18437"/>
                  <a:pt x="24406" y="18437"/>
                  <a:pt x="24375" y="18437"/>
                </a:cubicBezTo>
                <a:cubicBezTo>
                  <a:pt x="24375" y="18437"/>
                  <a:pt x="24375" y="18468"/>
                  <a:pt x="24344" y="18468"/>
                </a:cubicBezTo>
                <a:cubicBezTo>
                  <a:pt x="24344" y="18468"/>
                  <a:pt x="24344" y="18468"/>
                  <a:pt x="24344" y="18468"/>
                </a:cubicBezTo>
                <a:cubicBezTo>
                  <a:pt x="24313" y="18531"/>
                  <a:pt x="24406" y="18531"/>
                  <a:pt x="24375" y="18593"/>
                </a:cubicBezTo>
                <a:cubicBezTo>
                  <a:pt x="24344" y="18593"/>
                  <a:pt x="24313" y="18562"/>
                  <a:pt x="24281" y="18531"/>
                </a:cubicBezTo>
                <a:cubicBezTo>
                  <a:pt x="24250" y="18531"/>
                  <a:pt x="24250" y="18499"/>
                  <a:pt x="24281" y="18499"/>
                </a:cubicBezTo>
                <a:cubicBezTo>
                  <a:pt x="24344" y="18468"/>
                  <a:pt x="24281" y="18468"/>
                  <a:pt x="24281" y="18437"/>
                </a:cubicBezTo>
                <a:cubicBezTo>
                  <a:pt x="24250" y="18437"/>
                  <a:pt x="24188" y="18406"/>
                  <a:pt x="24219" y="18343"/>
                </a:cubicBezTo>
                <a:close/>
                <a:moveTo>
                  <a:pt x="24313" y="18749"/>
                </a:moveTo>
                <a:cubicBezTo>
                  <a:pt x="24281" y="18718"/>
                  <a:pt x="24250" y="18687"/>
                  <a:pt x="24219" y="18687"/>
                </a:cubicBezTo>
                <a:cubicBezTo>
                  <a:pt x="24281" y="18593"/>
                  <a:pt x="24344" y="18718"/>
                  <a:pt x="24406" y="18718"/>
                </a:cubicBezTo>
                <a:cubicBezTo>
                  <a:pt x="24375" y="18749"/>
                  <a:pt x="24344" y="18781"/>
                  <a:pt x="24313" y="18749"/>
                </a:cubicBezTo>
                <a:close/>
                <a:moveTo>
                  <a:pt x="24375" y="18906"/>
                </a:moveTo>
                <a:cubicBezTo>
                  <a:pt x="24344" y="18906"/>
                  <a:pt x="24344" y="18874"/>
                  <a:pt x="24313" y="18874"/>
                </a:cubicBezTo>
                <a:cubicBezTo>
                  <a:pt x="24313" y="18874"/>
                  <a:pt x="24281" y="18843"/>
                  <a:pt x="24281" y="18843"/>
                </a:cubicBezTo>
                <a:cubicBezTo>
                  <a:pt x="24281" y="18843"/>
                  <a:pt x="24313" y="18874"/>
                  <a:pt x="24313" y="18874"/>
                </a:cubicBezTo>
                <a:cubicBezTo>
                  <a:pt x="24344" y="18874"/>
                  <a:pt x="24344" y="18906"/>
                  <a:pt x="24375" y="18906"/>
                </a:cubicBezTo>
                <a:close/>
                <a:moveTo>
                  <a:pt x="23906" y="18593"/>
                </a:moveTo>
                <a:cubicBezTo>
                  <a:pt x="23906" y="18593"/>
                  <a:pt x="23906" y="18593"/>
                  <a:pt x="23875" y="18624"/>
                </a:cubicBezTo>
                <a:cubicBezTo>
                  <a:pt x="23906" y="18624"/>
                  <a:pt x="23906" y="18624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56"/>
                  <a:pt x="23906" y="18656"/>
                  <a:pt x="23906" y="18656"/>
                </a:cubicBezTo>
                <a:cubicBezTo>
                  <a:pt x="23906" y="18624"/>
                  <a:pt x="23906" y="18624"/>
                  <a:pt x="23875" y="18624"/>
                </a:cubicBezTo>
                <a:cubicBezTo>
                  <a:pt x="23906" y="18593"/>
                  <a:pt x="23906" y="18593"/>
                  <a:pt x="23906" y="18593"/>
                </a:cubicBezTo>
                <a:close/>
                <a:moveTo>
                  <a:pt x="23906" y="18812"/>
                </a:moveTo>
                <a:cubicBezTo>
                  <a:pt x="23938" y="18812"/>
                  <a:pt x="23969" y="18874"/>
                  <a:pt x="24000" y="18874"/>
                </a:cubicBezTo>
                <a:cubicBezTo>
                  <a:pt x="24125" y="18906"/>
                  <a:pt x="24156" y="19031"/>
                  <a:pt x="24094" y="19124"/>
                </a:cubicBezTo>
                <a:cubicBezTo>
                  <a:pt x="24000" y="19062"/>
                  <a:pt x="23938" y="18999"/>
                  <a:pt x="23875" y="18937"/>
                </a:cubicBezTo>
                <a:cubicBezTo>
                  <a:pt x="23906" y="18906"/>
                  <a:pt x="23844" y="18843"/>
                  <a:pt x="23906" y="18812"/>
                </a:cubicBezTo>
                <a:close/>
                <a:moveTo>
                  <a:pt x="23750" y="18781"/>
                </a:moveTo>
                <a:cubicBezTo>
                  <a:pt x="23781" y="18781"/>
                  <a:pt x="23781" y="18812"/>
                  <a:pt x="23781" y="18843"/>
                </a:cubicBezTo>
                <a:cubicBezTo>
                  <a:pt x="23781" y="18812"/>
                  <a:pt x="23781" y="18781"/>
                  <a:pt x="23750" y="18781"/>
                </a:cubicBezTo>
                <a:cubicBezTo>
                  <a:pt x="23719" y="18781"/>
                  <a:pt x="23656" y="18749"/>
                  <a:pt x="23594" y="18718"/>
                </a:cubicBezTo>
                <a:cubicBezTo>
                  <a:pt x="23656" y="18656"/>
                  <a:pt x="23750" y="18687"/>
                  <a:pt x="23750" y="18781"/>
                </a:cubicBezTo>
                <a:close/>
                <a:moveTo>
                  <a:pt x="23750" y="18937"/>
                </a:moveTo>
                <a:cubicBezTo>
                  <a:pt x="23719" y="18937"/>
                  <a:pt x="23688" y="18937"/>
                  <a:pt x="23688" y="18906"/>
                </a:cubicBezTo>
                <a:cubicBezTo>
                  <a:pt x="23719" y="18906"/>
                  <a:pt x="23750" y="18906"/>
                  <a:pt x="23750" y="18937"/>
                </a:cubicBezTo>
                <a:close/>
                <a:moveTo>
                  <a:pt x="23656" y="18874"/>
                </a:moveTo>
                <a:cubicBezTo>
                  <a:pt x="23594" y="18812"/>
                  <a:pt x="23531" y="18781"/>
                  <a:pt x="23469" y="18718"/>
                </a:cubicBezTo>
                <a:cubicBezTo>
                  <a:pt x="23563" y="18749"/>
                  <a:pt x="23594" y="18812"/>
                  <a:pt x="23656" y="18874"/>
                </a:cubicBezTo>
                <a:close/>
                <a:moveTo>
                  <a:pt x="23563" y="18874"/>
                </a:moveTo>
                <a:cubicBezTo>
                  <a:pt x="23563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31" y="18874"/>
                  <a:pt x="23531" y="18874"/>
                  <a:pt x="23531" y="18874"/>
                </a:cubicBezTo>
                <a:cubicBezTo>
                  <a:pt x="23563" y="18874"/>
                  <a:pt x="23563" y="18874"/>
                  <a:pt x="23563" y="18874"/>
                </a:cubicBezTo>
                <a:close/>
                <a:moveTo>
                  <a:pt x="23375" y="18374"/>
                </a:moveTo>
                <a:cubicBezTo>
                  <a:pt x="23344" y="18374"/>
                  <a:pt x="23344" y="18406"/>
                  <a:pt x="23344" y="18406"/>
                </a:cubicBezTo>
                <a:cubicBezTo>
                  <a:pt x="23313" y="18406"/>
                  <a:pt x="23313" y="18374"/>
                  <a:pt x="23281" y="18374"/>
                </a:cubicBezTo>
                <a:cubicBezTo>
                  <a:pt x="23281" y="18343"/>
                  <a:pt x="23281" y="18312"/>
                  <a:pt x="23281" y="18281"/>
                </a:cubicBezTo>
                <a:cubicBezTo>
                  <a:pt x="23281" y="18281"/>
                  <a:pt x="23281" y="18281"/>
                  <a:pt x="23281" y="18281"/>
                </a:cubicBezTo>
                <a:cubicBezTo>
                  <a:pt x="23375" y="18249"/>
                  <a:pt x="23313" y="18343"/>
                  <a:pt x="23375" y="18374"/>
                </a:cubicBezTo>
                <a:close/>
                <a:moveTo>
                  <a:pt x="23438" y="18687"/>
                </a:moveTo>
                <a:cubicBezTo>
                  <a:pt x="23375" y="18656"/>
                  <a:pt x="23344" y="18593"/>
                  <a:pt x="23281" y="18562"/>
                </a:cubicBezTo>
                <a:cubicBezTo>
                  <a:pt x="23344" y="18593"/>
                  <a:pt x="23406" y="18624"/>
                  <a:pt x="23438" y="18687"/>
                </a:cubicBezTo>
                <a:close/>
                <a:moveTo>
                  <a:pt x="23125" y="18031"/>
                </a:moveTo>
                <a:cubicBezTo>
                  <a:pt x="23125" y="18031"/>
                  <a:pt x="23156" y="18031"/>
                  <a:pt x="23188" y="18062"/>
                </a:cubicBezTo>
                <a:cubicBezTo>
                  <a:pt x="23156" y="18124"/>
                  <a:pt x="23125" y="18124"/>
                  <a:pt x="23125" y="18124"/>
                </a:cubicBezTo>
                <a:cubicBezTo>
                  <a:pt x="23094" y="18124"/>
                  <a:pt x="23063" y="18093"/>
                  <a:pt x="23063" y="18062"/>
                </a:cubicBezTo>
                <a:cubicBezTo>
                  <a:pt x="23063" y="18031"/>
                  <a:pt x="23094" y="18031"/>
                  <a:pt x="23125" y="18031"/>
                </a:cubicBezTo>
                <a:close/>
                <a:moveTo>
                  <a:pt x="22906" y="18124"/>
                </a:moveTo>
                <a:cubicBezTo>
                  <a:pt x="22906" y="18124"/>
                  <a:pt x="22906" y="18124"/>
                  <a:pt x="22906" y="18124"/>
                </a:cubicBezTo>
                <a:cubicBezTo>
                  <a:pt x="22906" y="18124"/>
                  <a:pt x="22906" y="18124"/>
                  <a:pt x="22906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38" y="18124"/>
                  <a:pt x="22938" y="18124"/>
                  <a:pt x="22938" y="18124"/>
                </a:cubicBezTo>
                <a:cubicBezTo>
                  <a:pt x="22969" y="18124"/>
                  <a:pt x="22969" y="18124"/>
                  <a:pt x="22969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24"/>
                  <a:pt x="23000" y="18124"/>
                  <a:pt x="23000" y="18124"/>
                </a:cubicBezTo>
                <a:cubicBezTo>
                  <a:pt x="23000" y="18156"/>
                  <a:pt x="23000" y="18156"/>
                  <a:pt x="23000" y="18124"/>
                </a:cubicBezTo>
                <a:cubicBezTo>
                  <a:pt x="23031" y="18156"/>
                  <a:pt x="23094" y="18124"/>
                  <a:pt x="23094" y="18187"/>
                </a:cubicBezTo>
                <a:cubicBezTo>
                  <a:pt x="23094" y="18187"/>
                  <a:pt x="23094" y="18187"/>
                  <a:pt x="23094" y="18187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94" y="18218"/>
                  <a:pt x="23094" y="18218"/>
                  <a:pt x="23094" y="18218"/>
                </a:cubicBezTo>
                <a:cubicBezTo>
                  <a:pt x="23063" y="18249"/>
                  <a:pt x="23063" y="18281"/>
                  <a:pt x="23000" y="18249"/>
                </a:cubicBezTo>
                <a:cubicBezTo>
                  <a:pt x="22969" y="18218"/>
                  <a:pt x="22938" y="18187"/>
                  <a:pt x="22906" y="18156"/>
                </a:cubicBezTo>
                <a:cubicBezTo>
                  <a:pt x="22875" y="18124"/>
                  <a:pt x="22906" y="18124"/>
                  <a:pt x="22906" y="18124"/>
                </a:cubicBezTo>
                <a:close/>
                <a:moveTo>
                  <a:pt x="22875" y="18187"/>
                </a:moveTo>
                <a:cubicBezTo>
                  <a:pt x="22875" y="18218"/>
                  <a:pt x="22875" y="18218"/>
                  <a:pt x="22906" y="18218"/>
                </a:cubicBezTo>
                <a:cubicBezTo>
                  <a:pt x="22906" y="18218"/>
                  <a:pt x="22906" y="18218"/>
                  <a:pt x="22906" y="18218"/>
                </a:cubicBezTo>
                <a:cubicBezTo>
                  <a:pt x="22906" y="18249"/>
                  <a:pt x="22906" y="18218"/>
                  <a:pt x="22906" y="18218"/>
                </a:cubicBezTo>
                <a:cubicBezTo>
                  <a:pt x="22875" y="18218"/>
                  <a:pt x="22875" y="18218"/>
                  <a:pt x="22875" y="18218"/>
                </a:cubicBezTo>
                <a:cubicBezTo>
                  <a:pt x="22875" y="18218"/>
                  <a:pt x="22875" y="18218"/>
                  <a:pt x="22875" y="18187"/>
                </a:cubicBezTo>
                <a:close/>
                <a:moveTo>
                  <a:pt x="22813" y="18156"/>
                </a:moveTo>
                <a:cubicBezTo>
                  <a:pt x="22813" y="18156"/>
                  <a:pt x="22844" y="18156"/>
                  <a:pt x="22844" y="18156"/>
                </a:cubicBezTo>
                <a:cubicBezTo>
                  <a:pt x="22844" y="18187"/>
                  <a:pt x="22844" y="18187"/>
                  <a:pt x="22813" y="18187"/>
                </a:cubicBezTo>
                <a:cubicBezTo>
                  <a:pt x="22813" y="18156"/>
                  <a:pt x="22813" y="18156"/>
                  <a:pt x="22813" y="18156"/>
                </a:cubicBezTo>
                <a:cubicBezTo>
                  <a:pt x="22813" y="18156"/>
                  <a:pt x="22813" y="18156"/>
                  <a:pt x="22813" y="18156"/>
                </a:cubicBezTo>
                <a:close/>
                <a:moveTo>
                  <a:pt x="21938" y="18218"/>
                </a:moveTo>
                <a:cubicBezTo>
                  <a:pt x="21969" y="18218"/>
                  <a:pt x="21969" y="18218"/>
                  <a:pt x="21969" y="18218"/>
                </a:cubicBezTo>
                <a:cubicBezTo>
                  <a:pt x="21969" y="18249"/>
                  <a:pt x="21969" y="18249"/>
                  <a:pt x="21969" y="18249"/>
                </a:cubicBezTo>
                <a:cubicBezTo>
                  <a:pt x="21969" y="18249"/>
                  <a:pt x="21938" y="18249"/>
                  <a:pt x="21938" y="18249"/>
                </a:cubicBezTo>
                <a:cubicBezTo>
                  <a:pt x="21938" y="18249"/>
                  <a:pt x="21938" y="18218"/>
                  <a:pt x="21938" y="18218"/>
                </a:cubicBezTo>
                <a:close/>
                <a:moveTo>
                  <a:pt x="22500" y="18812"/>
                </a:moveTo>
                <a:cubicBezTo>
                  <a:pt x="22469" y="18812"/>
                  <a:pt x="22469" y="18781"/>
                  <a:pt x="22500" y="18749"/>
                </a:cubicBezTo>
                <a:cubicBezTo>
                  <a:pt x="22531" y="18749"/>
                  <a:pt x="22531" y="18718"/>
                  <a:pt x="22531" y="18687"/>
                </a:cubicBezTo>
                <a:cubicBezTo>
                  <a:pt x="22563" y="18718"/>
                  <a:pt x="22563" y="18781"/>
                  <a:pt x="22625" y="18781"/>
                </a:cubicBezTo>
                <a:cubicBezTo>
                  <a:pt x="22625" y="18749"/>
                  <a:pt x="22625" y="18718"/>
                  <a:pt x="22625" y="18687"/>
                </a:cubicBezTo>
                <a:cubicBezTo>
                  <a:pt x="22656" y="18656"/>
                  <a:pt x="22656" y="18656"/>
                  <a:pt x="22688" y="18718"/>
                </a:cubicBezTo>
                <a:cubicBezTo>
                  <a:pt x="22688" y="18718"/>
                  <a:pt x="22688" y="18718"/>
                  <a:pt x="22688" y="18718"/>
                </a:cubicBezTo>
                <a:cubicBezTo>
                  <a:pt x="22688" y="18718"/>
                  <a:pt x="22656" y="18749"/>
                  <a:pt x="22688" y="18749"/>
                </a:cubicBezTo>
                <a:cubicBezTo>
                  <a:pt x="22688" y="18781"/>
                  <a:pt x="22656" y="18843"/>
                  <a:pt x="22688" y="18843"/>
                </a:cubicBezTo>
                <a:cubicBezTo>
                  <a:pt x="22750" y="18843"/>
                  <a:pt x="22781" y="18843"/>
                  <a:pt x="22813" y="18812"/>
                </a:cubicBezTo>
                <a:cubicBezTo>
                  <a:pt x="22813" y="18781"/>
                  <a:pt x="22813" y="18781"/>
                  <a:pt x="22813" y="18781"/>
                </a:cubicBezTo>
                <a:cubicBezTo>
                  <a:pt x="22844" y="18781"/>
                  <a:pt x="22844" y="18781"/>
                  <a:pt x="22844" y="18781"/>
                </a:cubicBezTo>
                <a:cubicBezTo>
                  <a:pt x="22875" y="18781"/>
                  <a:pt x="22875" y="18687"/>
                  <a:pt x="22906" y="18718"/>
                </a:cubicBezTo>
                <a:cubicBezTo>
                  <a:pt x="22938" y="18749"/>
                  <a:pt x="22875" y="18781"/>
                  <a:pt x="22875" y="18812"/>
                </a:cubicBezTo>
                <a:cubicBezTo>
                  <a:pt x="22875" y="18812"/>
                  <a:pt x="22875" y="18812"/>
                  <a:pt x="22875" y="18812"/>
                </a:cubicBezTo>
                <a:cubicBezTo>
                  <a:pt x="22813" y="18843"/>
                  <a:pt x="22750" y="18874"/>
                  <a:pt x="22844" y="18937"/>
                </a:cubicBezTo>
                <a:cubicBezTo>
                  <a:pt x="22719" y="18968"/>
                  <a:pt x="22625" y="18843"/>
                  <a:pt x="22500" y="18812"/>
                </a:cubicBezTo>
                <a:close/>
                <a:moveTo>
                  <a:pt x="23719" y="19531"/>
                </a:moveTo>
                <a:cubicBezTo>
                  <a:pt x="23688" y="19499"/>
                  <a:pt x="23688" y="19468"/>
                  <a:pt x="23656" y="19468"/>
                </a:cubicBezTo>
                <a:cubicBezTo>
                  <a:pt x="23656" y="19437"/>
                  <a:pt x="23563" y="19406"/>
                  <a:pt x="23625" y="19374"/>
                </a:cubicBezTo>
                <a:cubicBezTo>
                  <a:pt x="23563" y="19281"/>
                  <a:pt x="23625" y="19281"/>
                  <a:pt x="23688" y="19249"/>
                </a:cubicBezTo>
                <a:cubicBezTo>
                  <a:pt x="23719" y="19249"/>
                  <a:pt x="23688" y="19187"/>
                  <a:pt x="23750" y="19187"/>
                </a:cubicBezTo>
                <a:cubicBezTo>
                  <a:pt x="23781" y="19218"/>
                  <a:pt x="23781" y="19249"/>
                  <a:pt x="23781" y="19281"/>
                </a:cubicBezTo>
                <a:cubicBezTo>
                  <a:pt x="23750" y="19343"/>
                  <a:pt x="23781" y="19374"/>
                  <a:pt x="23813" y="19406"/>
                </a:cubicBezTo>
                <a:cubicBezTo>
                  <a:pt x="23813" y="19406"/>
                  <a:pt x="23813" y="19437"/>
                  <a:pt x="23813" y="19437"/>
                </a:cubicBezTo>
                <a:cubicBezTo>
                  <a:pt x="23813" y="19437"/>
                  <a:pt x="23813" y="19437"/>
                  <a:pt x="23813" y="19437"/>
                </a:cubicBezTo>
                <a:cubicBezTo>
                  <a:pt x="23781" y="19562"/>
                  <a:pt x="23875" y="19531"/>
                  <a:pt x="23906" y="19562"/>
                </a:cubicBezTo>
                <a:cubicBezTo>
                  <a:pt x="23844" y="19593"/>
                  <a:pt x="23781" y="19531"/>
                  <a:pt x="23719" y="19531"/>
                </a:cubicBezTo>
                <a:close/>
                <a:moveTo>
                  <a:pt x="24031" y="19187"/>
                </a:moveTo>
                <a:cubicBezTo>
                  <a:pt x="24000" y="19187"/>
                  <a:pt x="23969" y="19156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ubicBezTo>
                  <a:pt x="23909" y="19124"/>
                  <a:pt x="23906" y="19039"/>
                  <a:pt x="23824" y="19059"/>
                </a:cubicBezTo>
                <a:cubicBezTo>
                  <a:pt x="23833" y="19050"/>
                  <a:pt x="23813" y="19025"/>
                  <a:pt x="23813" y="18999"/>
                </a:cubicBezTo>
                <a:cubicBezTo>
                  <a:pt x="23875" y="19031"/>
                  <a:pt x="23938" y="19062"/>
                  <a:pt x="23969" y="19124"/>
                </a:cubicBezTo>
                <a:lnTo>
                  <a:pt x="23969" y="19124"/>
                </a:lnTo>
                <a:cubicBezTo>
                  <a:pt x="23969" y="19124"/>
                  <a:pt x="23969" y="19124"/>
                  <a:pt x="23969" y="19124"/>
                </a:cubicBezTo>
                <a:cubicBezTo>
                  <a:pt x="24000" y="19124"/>
                  <a:pt x="24031" y="19156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3813" y="19062"/>
                </a:moveTo>
                <a:cubicBezTo>
                  <a:pt x="23844" y="19156"/>
                  <a:pt x="23875" y="19218"/>
                  <a:pt x="23938" y="19249"/>
                </a:cubicBezTo>
                <a:cubicBezTo>
                  <a:pt x="24000" y="19281"/>
                  <a:pt x="24063" y="19312"/>
                  <a:pt x="24125" y="19343"/>
                </a:cubicBezTo>
                <a:cubicBezTo>
                  <a:pt x="24063" y="19343"/>
                  <a:pt x="23969" y="19312"/>
                  <a:pt x="23938" y="19249"/>
                </a:cubicBezTo>
                <a:cubicBezTo>
                  <a:pt x="23875" y="19249"/>
                  <a:pt x="23844" y="19187"/>
                  <a:pt x="23781" y="19187"/>
                </a:cubicBezTo>
                <a:cubicBezTo>
                  <a:pt x="23781" y="19187"/>
                  <a:pt x="23781" y="19187"/>
                  <a:pt x="23781" y="19187"/>
                </a:cubicBezTo>
                <a:cubicBezTo>
                  <a:pt x="23719" y="19124"/>
                  <a:pt x="23656" y="19093"/>
                  <a:pt x="23625" y="19062"/>
                </a:cubicBezTo>
                <a:cubicBezTo>
                  <a:pt x="23563" y="19062"/>
                  <a:pt x="23531" y="19062"/>
                  <a:pt x="23469" y="19093"/>
                </a:cubicBezTo>
                <a:cubicBezTo>
                  <a:pt x="23438" y="19062"/>
                  <a:pt x="23406" y="19062"/>
                  <a:pt x="23406" y="19093"/>
                </a:cubicBezTo>
                <a:cubicBezTo>
                  <a:pt x="23375" y="19156"/>
                  <a:pt x="23438" y="19187"/>
                  <a:pt x="23469" y="19218"/>
                </a:cubicBezTo>
                <a:cubicBezTo>
                  <a:pt x="23500" y="19281"/>
                  <a:pt x="23500" y="19218"/>
                  <a:pt x="23531" y="19218"/>
                </a:cubicBezTo>
                <a:cubicBezTo>
                  <a:pt x="23563" y="19187"/>
                  <a:pt x="23594" y="19156"/>
                  <a:pt x="23563" y="19093"/>
                </a:cubicBezTo>
                <a:cubicBezTo>
                  <a:pt x="23625" y="19124"/>
                  <a:pt x="23688" y="19156"/>
                  <a:pt x="23594" y="19187"/>
                </a:cubicBezTo>
                <a:cubicBezTo>
                  <a:pt x="23563" y="19218"/>
                  <a:pt x="23500" y="19281"/>
                  <a:pt x="23469" y="19312"/>
                </a:cubicBezTo>
                <a:cubicBezTo>
                  <a:pt x="23438" y="19312"/>
                  <a:pt x="23438" y="19312"/>
                  <a:pt x="23438" y="19312"/>
                </a:cubicBezTo>
                <a:cubicBezTo>
                  <a:pt x="23375" y="19343"/>
                  <a:pt x="23156" y="19156"/>
                  <a:pt x="23125" y="19093"/>
                </a:cubicBezTo>
                <a:cubicBezTo>
                  <a:pt x="23125" y="19031"/>
                  <a:pt x="23188" y="19062"/>
                  <a:pt x="23188" y="19031"/>
                </a:cubicBezTo>
                <a:cubicBezTo>
                  <a:pt x="23219" y="19031"/>
                  <a:pt x="23219" y="19062"/>
                  <a:pt x="23219" y="19093"/>
                </a:cubicBezTo>
                <a:cubicBezTo>
                  <a:pt x="23250" y="19124"/>
                  <a:pt x="23156" y="19093"/>
                  <a:pt x="23188" y="19124"/>
                </a:cubicBezTo>
                <a:cubicBezTo>
                  <a:pt x="23219" y="19156"/>
                  <a:pt x="23250" y="19156"/>
                  <a:pt x="23281" y="19187"/>
                </a:cubicBezTo>
                <a:cubicBezTo>
                  <a:pt x="23281" y="19218"/>
                  <a:pt x="23281" y="19218"/>
                  <a:pt x="23344" y="19249"/>
                </a:cubicBezTo>
                <a:cubicBezTo>
                  <a:pt x="23313" y="19156"/>
                  <a:pt x="23344" y="19062"/>
                  <a:pt x="23406" y="18999"/>
                </a:cubicBezTo>
                <a:cubicBezTo>
                  <a:pt x="23406" y="18968"/>
                  <a:pt x="23406" y="18968"/>
                  <a:pt x="23406" y="18937"/>
                </a:cubicBezTo>
                <a:cubicBezTo>
                  <a:pt x="23250" y="18906"/>
                  <a:pt x="23188" y="18781"/>
                  <a:pt x="23031" y="18749"/>
                </a:cubicBezTo>
                <a:cubicBezTo>
                  <a:pt x="23031" y="18874"/>
                  <a:pt x="23094" y="18968"/>
                  <a:pt x="23094" y="19093"/>
                </a:cubicBezTo>
                <a:cubicBezTo>
                  <a:pt x="23094" y="19124"/>
                  <a:pt x="23063" y="19124"/>
                  <a:pt x="23031" y="19124"/>
                </a:cubicBezTo>
                <a:cubicBezTo>
                  <a:pt x="22969" y="19062"/>
                  <a:pt x="22875" y="19031"/>
                  <a:pt x="22844" y="18937"/>
                </a:cubicBezTo>
                <a:cubicBezTo>
                  <a:pt x="22844" y="18937"/>
                  <a:pt x="22844" y="18937"/>
                  <a:pt x="22844" y="18937"/>
                </a:cubicBezTo>
                <a:cubicBezTo>
                  <a:pt x="22844" y="18906"/>
                  <a:pt x="22906" y="19031"/>
                  <a:pt x="22906" y="18937"/>
                </a:cubicBezTo>
                <a:cubicBezTo>
                  <a:pt x="22938" y="18874"/>
                  <a:pt x="22969" y="18874"/>
                  <a:pt x="22969" y="18812"/>
                </a:cubicBezTo>
                <a:cubicBezTo>
                  <a:pt x="22969" y="18749"/>
                  <a:pt x="23000" y="18781"/>
                  <a:pt x="23031" y="18749"/>
                </a:cubicBezTo>
                <a:cubicBezTo>
                  <a:pt x="23031" y="18749"/>
                  <a:pt x="23031" y="18749"/>
                  <a:pt x="23000" y="18718"/>
                </a:cubicBezTo>
                <a:cubicBezTo>
                  <a:pt x="22813" y="18624"/>
                  <a:pt x="22625" y="18531"/>
                  <a:pt x="22406" y="18406"/>
                </a:cubicBezTo>
                <a:cubicBezTo>
                  <a:pt x="22406" y="18406"/>
                  <a:pt x="22375" y="18406"/>
                  <a:pt x="22375" y="18406"/>
                </a:cubicBezTo>
                <a:cubicBezTo>
                  <a:pt x="22344" y="18406"/>
                  <a:pt x="22375" y="18437"/>
                  <a:pt x="22375" y="18437"/>
                </a:cubicBezTo>
                <a:cubicBezTo>
                  <a:pt x="22313" y="18531"/>
                  <a:pt x="22375" y="18562"/>
                  <a:pt x="22438" y="18593"/>
                </a:cubicBezTo>
                <a:cubicBezTo>
                  <a:pt x="22375" y="18656"/>
                  <a:pt x="22406" y="18687"/>
                  <a:pt x="22438" y="18718"/>
                </a:cubicBezTo>
                <a:cubicBezTo>
                  <a:pt x="22375" y="18749"/>
                  <a:pt x="22344" y="18749"/>
                  <a:pt x="22281" y="18687"/>
                </a:cubicBezTo>
                <a:cubicBezTo>
                  <a:pt x="22219" y="18624"/>
                  <a:pt x="22094" y="18624"/>
                  <a:pt x="22031" y="18562"/>
                </a:cubicBezTo>
                <a:cubicBezTo>
                  <a:pt x="22000" y="18531"/>
                  <a:pt x="22000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844" y="18499"/>
                  <a:pt x="21844" y="18468"/>
                  <a:pt x="21813" y="18312"/>
                </a:cubicBezTo>
                <a:cubicBezTo>
                  <a:pt x="21875" y="18343"/>
                  <a:pt x="21875" y="18406"/>
                  <a:pt x="21906" y="18468"/>
                </a:cubicBezTo>
                <a:cubicBezTo>
                  <a:pt x="21938" y="18406"/>
                  <a:pt x="21938" y="18374"/>
                  <a:pt x="21938" y="18312"/>
                </a:cubicBezTo>
                <a:cubicBezTo>
                  <a:pt x="21938" y="18312"/>
                  <a:pt x="21938" y="18249"/>
                  <a:pt x="21969" y="18312"/>
                </a:cubicBezTo>
                <a:cubicBezTo>
                  <a:pt x="21969" y="18312"/>
                  <a:pt x="21969" y="18312"/>
                  <a:pt x="21969" y="18312"/>
                </a:cubicBezTo>
                <a:cubicBezTo>
                  <a:pt x="21969" y="18374"/>
                  <a:pt x="21969" y="18437"/>
                  <a:pt x="21969" y="18531"/>
                </a:cubicBezTo>
                <a:lnTo>
                  <a:pt x="21969" y="18531"/>
                </a:lnTo>
                <a:cubicBezTo>
                  <a:pt x="21969" y="18531"/>
                  <a:pt x="21969" y="18531"/>
                  <a:pt x="21969" y="18531"/>
                </a:cubicBezTo>
                <a:cubicBezTo>
                  <a:pt x="22063" y="18499"/>
                  <a:pt x="22063" y="18468"/>
                  <a:pt x="22031" y="18406"/>
                </a:cubicBezTo>
                <a:cubicBezTo>
                  <a:pt x="22063" y="18406"/>
                  <a:pt x="22094" y="18406"/>
                  <a:pt x="22094" y="18406"/>
                </a:cubicBezTo>
                <a:cubicBezTo>
                  <a:pt x="22156" y="18406"/>
                  <a:pt x="22156" y="18437"/>
                  <a:pt x="22156" y="18468"/>
                </a:cubicBezTo>
                <a:cubicBezTo>
                  <a:pt x="22125" y="18468"/>
                  <a:pt x="22094" y="18468"/>
                  <a:pt x="22094" y="18499"/>
                </a:cubicBezTo>
                <a:cubicBezTo>
                  <a:pt x="22094" y="18531"/>
                  <a:pt x="22094" y="18531"/>
                  <a:pt x="22125" y="18531"/>
                </a:cubicBezTo>
                <a:cubicBezTo>
                  <a:pt x="22156" y="18531"/>
                  <a:pt x="22156" y="18624"/>
                  <a:pt x="22219" y="18562"/>
                </a:cubicBezTo>
                <a:cubicBezTo>
                  <a:pt x="22219" y="18562"/>
                  <a:pt x="22219" y="18562"/>
                  <a:pt x="22219" y="18531"/>
                </a:cubicBezTo>
                <a:cubicBezTo>
                  <a:pt x="22219" y="18531"/>
                  <a:pt x="22250" y="18499"/>
                  <a:pt x="22250" y="18499"/>
                </a:cubicBezTo>
                <a:cubicBezTo>
                  <a:pt x="22219" y="18374"/>
                  <a:pt x="22313" y="18406"/>
                  <a:pt x="22375" y="18406"/>
                </a:cubicBezTo>
                <a:cubicBezTo>
                  <a:pt x="22406" y="18374"/>
                  <a:pt x="22250" y="18343"/>
                  <a:pt x="22375" y="18343"/>
                </a:cubicBezTo>
                <a:cubicBezTo>
                  <a:pt x="22531" y="18437"/>
                  <a:pt x="22688" y="18499"/>
                  <a:pt x="22844" y="18593"/>
                </a:cubicBezTo>
                <a:cubicBezTo>
                  <a:pt x="22875" y="18624"/>
                  <a:pt x="22938" y="18656"/>
                  <a:pt x="22969" y="18624"/>
                </a:cubicBezTo>
                <a:cubicBezTo>
                  <a:pt x="23000" y="18593"/>
                  <a:pt x="22969" y="18531"/>
                  <a:pt x="22969" y="18499"/>
                </a:cubicBezTo>
                <a:cubicBezTo>
                  <a:pt x="22969" y="18437"/>
                  <a:pt x="22938" y="18406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ubicBezTo>
                  <a:pt x="22875" y="18343"/>
                  <a:pt x="22875" y="18312"/>
                  <a:pt x="22844" y="18312"/>
                </a:cubicBezTo>
                <a:cubicBezTo>
                  <a:pt x="22906" y="18281"/>
                  <a:pt x="22906" y="18312"/>
                  <a:pt x="22906" y="18343"/>
                </a:cubicBezTo>
                <a:lnTo>
                  <a:pt x="22906" y="18343"/>
                </a:lnTo>
                <a:cubicBezTo>
                  <a:pt x="22906" y="18343"/>
                  <a:pt x="22906" y="18343"/>
                  <a:pt x="22906" y="18343"/>
                </a:cubicBezTo>
                <a:cubicBezTo>
                  <a:pt x="23031" y="18374"/>
                  <a:pt x="23063" y="18468"/>
                  <a:pt x="23156" y="18531"/>
                </a:cubicBezTo>
                <a:cubicBezTo>
                  <a:pt x="23250" y="18624"/>
                  <a:pt x="23344" y="18718"/>
                  <a:pt x="23438" y="18781"/>
                </a:cubicBezTo>
                <a:cubicBezTo>
                  <a:pt x="23438" y="18781"/>
                  <a:pt x="23531" y="18812"/>
                  <a:pt x="23469" y="18812"/>
                </a:cubicBezTo>
                <a:cubicBezTo>
                  <a:pt x="23406" y="18812"/>
                  <a:pt x="23375" y="18781"/>
                  <a:pt x="23313" y="18749"/>
                </a:cubicBez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3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2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1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10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9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8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7" y="18749"/>
                </a:lnTo>
                <a:lnTo>
                  <a:pt x="23306" y="18749"/>
                </a:lnTo>
                <a:lnTo>
                  <a:pt x="23306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5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4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3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2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1" y="18749"/>
                </a:lnTo>
                <a:lnTo>
                  <a:pt x="23300" y="18749"/>
                </a:lnTo>
                <a:lnTo>
                  <a:pt x="23300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9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8" y="18749"/>
                </a:lnTo>
                <a:lnTo>
                  <a:pt x="23297" y="18749"/>
                </a:lnTo>
                <a:lnTo>
                  <a:pt x="23297" y="18749"/>
                </a:lnTo>
                <a:lnTo>
                  <a:pt x="23296" y="18749"/>
                </a:lnTo>
                <a:lnTo>
                  <a:pt x="23296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5" y="18749"/>
                </a:lnTo>
                <a:lnTo>
                  <a:pt x="23294" y="18749"/>
                </a:lnTo>
                <a:lnTo>
                  <a:pt x="23294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3" y="18749"/>
                </a:lnTo>
                <a:lnTo>
                  <a:pt x="23292" y="18749"/>
                </a:lnTo>
                <a:lnTo>
                  <a:pt x="23292" y="18749"/>
                </a:lnTo>
                <a:lnTo>
                  <a:pt x="23291" y="18749"/>
                </a:lnTo>
                <a:lnTo>
                  <a:pt x="23291" y="18749"/>
                </a:lnTo>
                <a:lnTo>
                  <a:pt x="23290" y="18749"/>
                </a:lnTo>
                <a:lnTo>
                  <a:pt x="23290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9" y="18749"/>
                </a:lnTo>
                <a:lnTo>
                  <a:pt x="23288" y="18749"/>
                </a:lnTo>
                <a:lnTo>
                  <a:pt x="23288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7" y="18749"/>
                </a:lnTo>
                <a:lnTo>
                  <a:pt x="23286" y="18749"/>
                </a:lnTo>
                <a:lnTo>
                  <a:pt x="23286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5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4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3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2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lnTo>
                  <a:pt x="23281" y="18749"/>
                </a:lnTo>
                <a:cubicBezTo>
                  <a:pt x="23281" y="18749"/>
                  <a:pt x="23281" y="18749"/>
                  <a:pt x="23281" y="18718"/>
                </a:cubicBezTo>
                <a:cubicBezTo>
                  <a:pt x="23188" y="18656"/>
                  <a:pt x="23094" y="18718"/>
                  <a:pt x="23031" y="18687"/>
                </a:cubicBezTo>
                <a:cubicBezTo>
                  <a:pt x="23063" y="18718"/>
                  <a:pt x="23094" y="18749"/>
                  <a:pt x="23156" y="18749"/>
                </a:cubicBezTo>
                <a:cubicBezTo>
                  <a:pt x="23281" y="18812"/>
                  <a:pt x="23375" y="18906"/>
                  <a:pt x="23500" y="18937"/>
                </a:cubicBezTo>
                <a:cubicBezTo>
                  <a:pt x="23531" y="19031"/>
                  <a:pt x="23625" y="19031"/>
                  <a:pt x="23688" y="19062"/>
                </a:cubicBezTo>
                <a:cubicBezTo>
                  <a:pt x="23656" y="18999"/>
                  <a:pt x="23594" y="18937"/>
                  <a:pt x="23563" y="18874"/>
                </a:cubicBezTo>
                <a:cubicBezTo>
                  <a:pt x="23625" y="18906"/>
                  <a:pt x="23656" y="18937"/>
                  <a:pt x="23688" y="18968"/>
                </a:cubicBezTo>
                <a:cubicBezTo>
                  <a:pt x="23719" y="18999"/>
                  <a:pt x="23719" y="19031"/>
                  <a:pt x="23750" y="18999"/>
                </a:cubicBezTo>
                <a:cubicBezTo>
                  <a:pt x="23750" y="19062"/>
                  <a:pt x="23781" y="19062"/>
                  <a:pt x="23813" y="19062"/>
                </a:cubicBezTo>
                <a:close/>
                <a:moveTo>
                  <a:pt x="23750" y="18999"/>
                </a:moveTo>
                <a:cubicBezTo>
                  <a:pt x="23750" y="18999"/>
                  <a:pt x="23750" y="18968"/>
                  <a:pt x="23750" y="18937"/>
                </a:cubicBezTo>
                <a:cubicBezTo>
                  <a:pt x="23781" y="18968"/>
                  <a:pt x="23813" y="18968"/>
                  <a:pt x="23813" y="18999"/>
                </a:cubicBezTo>
                <a:cubicBezTo>
                  <a:pt x="23813" y="18999"/>
                  <a:pt x="23781" y="18999"/>
                  <a:pt x="23750" y="18999"/>
                </a:cubicBezTo>
                <a:close/>
                <a:moveTo>
                  <a:pt x="24031" y="19187"/>
                </a:moveTo>
                <a:cubicBezTo>
                  <a:pt x="24063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56"/>
                  <a:pt x="24094" y="19156"/>
                </a:cubicBezTo>
                <a:cubicBezTo>
                  <a:pt x="24094" y="19156"/>
                  <a:pt x="24094" y="19156"/>
                  <a:pt x="24094" y="19156"/>
                </a:cubicBezTo>
                <a:cubicBezTo>
                  <a:pt x="24125" y="19156"/>
                  <a:pt x="24125" y="19187"/>
                  <a:pt x="24125" y="19187"/>
                </a:cubicBezTo>
                <a:cubicBezTo>
                  <a:pt x="24125" y="19187"/>
                  <a:pt x="24125" y="19187"/>
                  <a:pt x="24094" y="19187"/>
                </a:cubicBezTo>
                <a:lnTo>
                  <a:pt x="24094" y="19187"/>
                </a:lnTo>
                <a:cubicBezTo>
                  <a:pt x="24094" y="19187"/>
                  <a:pt x="24094" y="19187"/>
                  <a:pt x="24094" y="19187"/>
                </a:cubicBezTo>
                <a:cubicBezTo>
                  <a:pt x="24094" y="19249"/>
                  <a:pt x="24156" y="19249"/>
                  <a:pt x="24156" y="19281"/>
                </a:cubicBezTo>
                <a:cubicBezTo>
                  <a:pt x="24188" y="19312"/>
                  <a:pt x="24250" y="19312"/>
                  <a:pt x="24250" y="19374"/>
                </a:cubicBezTo>
                <a:cubicBezTo>
                  <a:pt x="24156" y="19312"/>
                  <a:pt x="24094" y="19281"/>
                  <a:pt x="24031" y="19187"/>
                </a:cubicBezTo>
                <a:lnTo>
                  <a:pt x="24031" y="19187"/>
                </a:ln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ubicBezTo>
                  <a:pt x="24031" y="19187"/>
                  <a:pt x="24031" y="19187"/>
                  <a:pt x="24031" y="19187"/>
                </a:cubicBezTo>
                <a:close/>
                <a:moveTo>
                  <a:pt x="24313" y="19437"/>
                </a:moveTo>
                <a:cubicBezTo>
                  <a:pt x="24281" y="19437"/>
                  <a:pt x="24281" y="19406"/>
                  <a:pt x="24250" y="19374"/>
                </a:cubicBezTo>
                <a:cubicBezTo>
                  <a:pt x="24281" y="19374"/>
                  <a:pt x="24313" y="19406"/>
                  <a:pt x="24313" y="19437"/>
                </a:cubicBezTo>
                <a:cubicBezTo>
                  <a:pt x="24375" y="19437"/>
                  <a:pt x="24375" y="19468"/>
                  <a:pt x="24406" y="19499"/>
                </a:cubicBezTo>
                <a:cubicBezTo>
                  <a:pt x="24375" y="19499"/>
                  <a:pt x="24344" y="19468"/>
                  <a:pt x="24313" y="19437"/>
                </a:cubicBezTo>
                <a:close/>
                <a:moveTo>
                  <a:pt x="24656" y="19718"/>
                </a:moveTo>
                <a:cubicBezTo>
                  <a:pt x="24625" y="19718"/>
                  <a:pt x="24594" y="19687"/>
                  <a:pt x="24594" y="19687"/>
                </a:cubicBezTo>
                <a:cubicBezTo>
                  <a:pt x="24563" y="19656"/>
                  <a:pt x="24563" y="19656"/>
                  <a:pt x="24563" y="19624"/>
                </a:cubicBezTo>
                <a:cubicBezTo>
                  <a:pt x="24594" y="19624"/>
                  <a:pt x="24594" y="19624"/>
                  <a:pt x="24594" y="19687"/>
                </a:cubicBezTo>
                <a:cubicBezTo>
                  <a:pt x="24625" y="19687"/>
                  <a:pt x="24656" y="19687"/>
                  <a:pt x="24656" y="19718"/>
                </a:cubicBezTo>
                <a:cubicBezTo>
                  <a:pt x="24688" y="19718"/>
                  <a:pt x="24688" y="19718"/>
                  <a:pt x="24719" y="19749"/>
                </a:cubicBezTo>
                <a:cubicBezTo>
                  <a:pt x="24688" y="19749"/>
                  <a:pt x="24656" y="19718"/>
                  <a:pt x="24656" y="19718"/>
                </a:cubicBezTo>
                <a:close/>
                <a:moveTo>
                  <a:pt x="24781" y="19812"/>
                </a:moveTo>
                <a:cubicBezTo>
                  <a:pt x="24750" y="19812"/>
                  <a:pt x="24750" y="19812"/>
                  <a:pt x="24750" y="19781"/>
                </a:cubicBezTo>
                <a:cubicBezTo>
                  <a:pt x="24750" y="19781"/>
                  <a:pt x="24750" y="19781"/>
                  <a:pt x="24719" y="19781"/>
                </a:cubicBezTo>
                <a:cubicBezTo>
                  <a:pt x="24750" y="19781"/>
                  <a:pt x="24750" y="19781"/>
                  <a:pt x="24750" y="19781"/>
                </a:cubicBezTo>
                <a:cubicBezTo>
                  <a:pt x="24750" y="19781"/>
                  <a:pt x="24781" y="19812"/>
                  <a:pt x="24781" y="19812"/>
                </a:cubicBezTo>
                <a:cubicBezTo>
                  <a:pt x="24781" y="19812"/>
                  <a:pt x="24781" y="19812"/>
                  <a:pt x="24781" y="19812"/>
                </a:cubicBezTo>
                <a:close/>
                <a:moveTo>
                  <a:pt x="24844" y="19874"/>
                </a:moveTo>
                <a:cubicBezTo>
                  <a:pt x="24844" y="19874"/>
                  <a:pt x="24813" y="19843"/>
                  <a:pt x="24813" y="19843"/>
                </a:cubicBezTo>
                <a:cubicBezTo>
                  <a:pt x="24844" y="19812"/>
                  <a:pt x="24844" y="19843"/>
                  <a:pt x="24844" y="19874"/>
                </a:cubicBezTo>
                <a:cubicBezTo>
                  <a:pt x="24875" y="19874"/>
                  <a:pt x="24906" y="19874"/>
                  <a:pt x="24906" y="19906"/>
                </a:cubicBezTo>
                <a:cubicBezTo>
                  <a:pt x="24875" y="19906"/>
                  <a:pt x="24844" y="19906"/>
                  <a:pt x="24844" y="19874"/>
                </a:cubicBezTo>
                <a:close/>
                <a:moveTo>
                  <a:pt x="24938" y="19937"/>
                </a:moveTo>
                <a:cubicBezTo>
                  <a:pt x="24906" y="19937"/>
                  <a:pt x="24906" y="19937"/>
                  <a:pt x="24906" y="19906"/>
                </a:cubicBezTo>
                <a:cubicBezTo>
                  <a:pt x="24906" y="19906"/>
                  <a:pt x="24938" y="19937"/>
                  <a:pt x="24938" y="19937"/>
                </a:cubicBezTo>
                <a:cubicBezTo>
                  <a:pt x="24938" y="19937"/>
                  <a:pt x="24969" y="19937"/>
                  <a:pt x="24969" y="19968"/>
                </a:cubicBezTo>
                <a:cubicBezTo>
                  <a:pt x="24938" y="19968"/>
                  <a:pt x="24938" y="19968"/>
                  <a:pt x="24938" y="19937"/>
                </a:cubicBezTo>
                <a:close/>
                <a:moveTo>
                  <a:pt x="24969" y="19968"/>
                </a:moveTo>
                <a:cubicBezTo>
                  <a:pt x="25000" y="19968"/>
                  <a:pt x="25031" y="19999"/>
                  <a:pt x="25031" y="20031"/>
                </a:cubicBezTo>
                <a:cubicBezTo>
                  <a:pt x="25000" y="20031"/>
                  <a:pt x="24969" y="19999"/>
                  <a:pt x="24969" y="19968"/>
                </a:cubicBezTo>
                <a:close/>
                <a:moveTo>
                  <a:pt x="25031" y="20031"/>
                </a:moveTo>
                <a:cubicBezTo>
                  <a:pt x="25094" y="20031"/>
                  <a:pt x="25094" y="20093"/>
                  <a:pt x="25125" y="20093"/>
                </a:cubicBezTo>
                <a:cubicBezTo>
                  <a:pt x="25094" y="20093"/>
                  <a:pt x="25063" y="20062"/>
                  <a:pt x="25031" y="20031"/>
                </a:cubicBezTo>
                <a:close/>
                <a:moveTo>
                  <a:pt x="25156" y="20156"/>
                </a:moveTo>
                <a:cubicBezTo>
                  <a:pt x="25188" y="20124"/>
                  <a:pt x="25188" y="20156"/>
                  <a:pt x="25156" y="20156"/>
                </a:cubicBezTo>
                <a:cubicBezTo>
                  <a:pt x="25156" y="20156"/>
                  <a:pt x="25156" y="20156"/>
                  <a:pt x="25156" y="20156"/>
                </a:cubicBezTo>
                <a:close/>
                <a:moveTo>
                  <a:pt x="25313" y="19999"/>
                </a:moveTo>
                <a:cubicBezTo>
                  <a:pt x="25156" y="20062"/>
                  <a:pt x="25094" y="19968"/>
                  <a:pt x="25000" y="19843"/>
                </a:cubicBezTo>
                <a:cubicBezTo>
                  <a:pt x="24938" y="19812"/>
                  <a:pt x="24938" y="19718"/>
                  <a:pt x="24813" y="19718"/>
                </a:cubicBezTo>
                <a:cubicBezTo>
                  <a:pt x="24813" y="19749"/>
                  <a:pt x="24781" y="19718"/>
                  <a:pt x="24781" y="19687"/>
                </a:cubicBezTo>
                <a:cubicBezTo>
                  <a:pt x="24750" y="19624"/>
                  <a:pt x="24656" y="19593"/>
                  <a:pt x="24594" y="19531"/>
                </a:cubicBezTo>
                <a:cubicBezTo>
                  <a:pt x="24563" y="19531"/>
                  <a:pt x="24500" y="19468"/>
                  <a:pt x="24469" y="19437"/>
                </a:cubicBezTo>
                <a:cubicBezTo>
                  <a:pt x="24438" y="19374"/>
                  <a:pt x="24500" y="19374"/>
                  <a:pt x="24531" y="19374"/>
                </a:cubicBezTo>
                <a:cubicBezTo>
                  <a:pt x="24531" y="19374"/>
                  <a:pt x="24563" y="19374"/>
                  <a:pt x="24563" y="19343"/>
                </a:cubicBezTo>
                <a:cubicBezTo>
                  <a:pt x="24563" y="19312"/>
                  <a:pt x="24531" y="19312"/>
                  <a:pt x="24500" y="19312"/>
                </a:cubicBezTo>
                <a:cubicBezTo>
                  <a:pt x="24375" y="19406"/>
                  <a:pt x="24281" y="19312"/>
                  <a:pt x="24188" y="19218"/>
                </a:cubicBezTo>
                <a:cubicBezTo>
                  <a:pt x="24156" y="19218"/>
                  <a:pt x="24156" y="19218"/>
                  <a:pt x="24125" y="19187"/>
                </a:cubicBezTo>
                <a:cubicBezTo>
                  <a:pt x="24188" y="19218"/>
                  <a:pt x="24281" y="19218"/>
                  <a:pt x="24344" y="19249"/>
                </a:cubicBezTo>
                <a:cubicBezTo>
                  <a:pt x="24375" y="19249"/>
                  <a:pt x="24406" y="19249"/>
                  <a:pt x="24406" y="19218"/>
                </a:cubicBezTo>
                <a:cubicBezTo>
                  <a:pt x="24406" y="19156"/>
                  <a:pt x="24500" y="19156"/>
                  <a:pt x="24531" y="19156"/>
                </a:cubicBezTo>
                <a:cubicBezTo>
                  <a:pt x="24563" y="19156"/>
                  <a:pt x="24594" y="19124"/>
                  <a:pt x="24594" y="19093"/>
                </a:cubicBezTo>
                <a:cubicBezTo>
                  <a:pt x="24656" y="19124"/>
                  <a:pt x="24688" y="19156"/>
                  <a:pt x="24719" y="19156"/>
                </a:cubicBezTo>
                <a:cubicBezTo>
                  <a:pt x="24656" y="19249"/>
                  <a:pt x="24594" y="19281"/>
                  <a:pt x="24500" y="19218"/>
                </a:cubicBezTo>
                <a:cubicBezTo>
                  <a:pt x="24531" y="19281"/>
                  <a:pt x="24594" y="19312"/>
                  <a:pt x="24625" y="19312"/>
                </a:cubicBezTo>
                <a:cubicBezTo>
                  <a:pt x="24719" y="19281"/>
                  <a:pt x="24750" y="19343"/>
                  <a:pt x="24781" y="19406"/>
                </a:cubicBezTo>
                <a:cubicBezTo>
                  <a:pt x="24781" y="19437"/>
                  <a:pt x="24813" y="19499"/>
                  <a:pt x="24844" y="19437"/>
                </a:cubicBezTo>
                <a:cubicBezTo>
                  <a:pt x="24875" y="19374"/>
                  <a:pt x="24906" y="19312"/>
                  <a:pt x="24844" y="19281"/>
                </a:cubicBezTo>
                <a:cubicBezTo>
                  <a:pt x="24813" y="19281"/>
                  <a:pt x="24781" y="19249"/>
                  <a:pt x="24813" y="19218"/>
                </a:cubicBezTo>
                <a:cubicBezTo>
                  <a:pt x="24844" y="19187"/>
                  <a:pt x="24875" y="19187"/>
                  <a:pt x="24875" y="19218"/>
                </a:cubicBezTo>
                <a:cubicBezTo>
                  <a:pt x="24906" y="19249"/>
                  <a:pt x="24969" y="19249"/>
                  <a:pt x="25000" y="19281"/>
                </a:cubicBezTo>
                <a:cubicBezTo>
                  <a:pt x="24938" y="19249"/>
                  <a:pt x="25000" y="19187"/>
                  <a:pt x="24938" y="19187"/>
                </a:cubicBezTo>
                <a:cubicBezTo>
                  <a:pt x="24938" y="19187"/>
                  <a:pt x="24906" y="19218"/>
                  <a:pt x="24906" y="19187"/>
                </a:cubicBezTo>
                <a:cubicBezTo>
                  <a:pt x="24906" y="19156"/>
                  <a:pt x="24906" y="19156"/>
                  <a:pt x="24938" y="19156"/>
                </a:cubicBezTo>
                <a:cubicBezTo>
                  <a:pt x="24938" y="19156"/>
                  <a:pt x="24938" y="19124"/>
                  <a:pt x="24938" y="19124"/>
                </a:cubicBezTo>
                <a:cubicBezTo>
                  <a:pt x="24875" y="19124"/>
                  <a:pt x="24875" y="19031"/>
                  <a:pt x="24781" y="19062"/>
                </a:cubicBezTo>
                <a:cubicBezTo>
                  <a:pt x="24781" y="19062"/>
                  <a:pt x="24750" y="19031"/>
                  <a:pt x="24781" y="18999"/>
                </a:cubicBezTo>
                <a:cubicBezTo>
                  <a:pt x="24781" y="18999"/>
                  <a:pt x="24813" y="18999"/>
                  <a:pt x="24813" y="18999"/>
                </a:cubicBezTo>
                <a:cubicBezTo>
                  <a:pt x="24844" y="18999"/>
                  <a:pt x="24875" y="18999"/>
                  <a:pt x="24906" y="18968"/>
                </a:cubicBezTo>
                <a:cubicBezTo>
                  <a:pt x="25000" y="18937"/>
                  <a:pt x="25000" y="18937"/>
                  <a:pt x="25063" y="19062"/>
                </a:cubicBezTo>
                <a:cubicBezTo>
                  <a:pt x="25031" y="19031"/>
                  <a:pt x="25000" y="18999"/>
                  <a:pt x="24969" y="19031"/>
                </a:cubicBezTo>
                <a:cubicBezTo>
                  <a:pt x="24969" y="19062"/>
                  <a:pt x="25000" y="19093"/>
                  <a:pt x="25031" y="19093"/>
                </a:cubicBezTo>
                <a:cubicBezTo>
                  <a:pt x="25094" y="19156"/>
                  <a:pt x="25094" y="19062"/>
                  <a:pt x="25156" y="19031"/>
                </a:cubicBezTo>
                <a:cubicBezTo>
                  <a:pt x="25156" y="19031"/>
                  <a:pt x="25188" y="18999"/>
                  <a:pt x="25219" y="18999"/>
                </a:cubicBezTo>
                <a:cubicBezTo>
                  <a:pt x="25281" y="18999"/>
                  <a:pt x="25313" y="18968"/>
                  <a:pt x="25375" y="18968"/>
                </a:cubicBezTo>
                <a:cubicBezTo>
                  <a:pt x="25375" y="18968"/>
                  <a:pt x="25375" y="18968"/>
                  <a:pt x="25375" y="18968"/>
                </a:cubicBezTo>
                <a:cubicBezTo>
                  <a:pt x="25406" y="18999"/>
                  <a:pt x="25375" y="19031"/>
                  <a:pt x="25438" y="19031"/>
                </a:cubicBezTo>
                <a:cubicBezTo>
                  <a:pt x="25500" y="18999"/>
                  <a:pt x="25563" y="19031"/>
                  <a:pt x="25531" y="19124"/>
                </a:cubicBezTo>
                <a:cubicBezTo>
                  <a:pt x="25500" y="19124"/>
                  <a:pt x="25469" y="19124"/>
                  <a:pt x="25500" y="19156"/>
                </a:cubicBezTo>
                <a:cubicBezTo>
                  <a:pt x="25500" y="19218"/>
                  <a:pt x="25438" y="19312"/>
                  <a:pt x="25438" y="19374"/>
                </a:cubicBezTo>
                <a:cubicBezTo>
                  <a:pt x="25469" y="19437"/>
                  <a:pt x="25406" y="19437"/>
                  <a:pt x="25406" y="19437"/>
                </a:cubicBezTo>
                <a:cubicBezTo>
                  <a:pt x="25281" y="19406"/>
                  <a:pt x="25219" y="19343"/>
                  <a:pt x="25219" y="19218"/>
                </a:cubicBezTo>
                <a:cubicBezTo>
                  <a:pt x="25219" y="19187"/>
                  <a:pt x="25188" y="19187"/>
                  <a:pt x="25188" y="19187"/>
                </a:cubicBezTo>
                <a:cubicBezTo>
                  <a:pt x="25156" y="19156"/>
                  <a:pt x="25156" y="19218"/>
                  <a:pt x="25156" y="19218"/>
                </a:cubicBezTo>
                <a:cubicBezTo>
                  <a:pt x="25094" y="19249"/>
                  <a:pt x="25063" y="19281"/>
                  <a:pt x="25125" y="19343"/>
                </a:cubicBezTo>
                <a:cubicBezTo>
                  <a:pt x="25125" y="19343"/>
                  <a:pt x="25125" y="19343"/>
                  <a:pt x="25125" y="19343"/>
                </a:cubicBezTo>
                <a:cubicBezTo>
                  <a:pt x="25125" y="19374"/>
                  <a:pt x="25094" y="19374"/>
                  <a:pt x="25094" y="19374"/>
                </a:cubicBezTo>
                <a:cubicBezTo>
                  <a:pt x="25031" y="19343"/>
                  <a:pt x="25000" y="19312"/>
                  <a:pt x="24969" y="19374"/>
                </a:cubicBezTo>
                <a:cubicBezTo>
                  <a:pt x="25031" y="19374"/>
                  <a:pt x="25094" y="19406"/>
                  <a:pt x="25156" y="19499"/>
                </a:cubicBezTo>
                <a:cubicBezTo>
                  <a:pt x="25063" y="19468"/>
                  <a:pt x="25031" y="19437"/>
                  <a:pt x="24906" y="19437"/>
                </a:cubicBezTo>
                <a:cubicBezTo>
                  <a:pt x="25031" y="19531"/>
                  <a:pt x="25188" y="19499"/>
                  <a:pt x="25250" y="19624"/>
                </a:cubicBezTo>
                <a:cubicBezTo>
                  <a:pt x="25313" y="19749"/>
                  <a:pt x="25375" y="19874"/>
                  <a:pt x="25313" y="19999"/>
                </a:cubicBezTo>
                <a:close/>
                <a:moveTo>
                  <a:pt x="25281" y="19437"/>
                </a:moveTo>
                <a:cubicBezTo>
                  <a:pt x="25344" y="19406"/>
                  <a:pt x="25375" y="19437"/>
                  <a:pt x="25406" y="19499"/>
                </a:cubicBezTo>
                <a:cubicBezTo>
                  <a:pt x="25438" y="19499"/>
                  <a:pt x="25406" y="19531"/>
                  <a:pt x="25406" y="19531"/>
                </a:cubicBezTo>
                <a:cubicBezTo>
                  <a:pt x="25375" y="19531"/>
                  <a:pt x="25344" y="19531"/>
                  <a:pt x="25344" y="19531"/>
                </a:cubicBezTo>
                <a:cubicBezTo>
                  <a:pt x="25344" y="19531"/>
                  <a:pt x="25344" y="19531"/>
                  <a:pt x="25344" y="19531"/>
                </a:cubicBezTo>
                <a:cubicBezTo>
                  <a:pt x="25313" y="19499"/>
                  <a:pt x="25281" y="19468"/>
                  <a:pt x="25281" y="19437"/>
                </a:cubicBezTo>
                <a:close/>
                <a:moveTo>
                  <a:pt x="25344" y="19687"/>
                </a:moveTo>
                <a:cubicBezTo>
                  <a:pt x="25375" y="19656"/>
                  <a:pt x="25406" y="19687"/>
                  <a:pt x="25406" y="19687"/>
                </a:cubicBezTo>
                <a:cubicBezTo>
                  <a:pt x="25531" y="19718"/>
                  <a:pt x="25500" y="19843"/>
                  <a:pt x="25531" y="19937"/>
                </a:cubicBezTo>
                <a:cubicBezTo>
                  <a:pt x="25563" y="19874"/>
                  <a:pt x="25531" y="19843"/>
                  <a:pt x="25594" y="19812"/>
                </a:cubicBezTo>
                <a:cubicBezTo>
                  <a:pt x="25656" y="19781"/>
                  <a:pt x="25625" y="19718"/>
                  <a:pt x="25563" y="19687"/>
                </a:cubicBezTo>
                <a:cubicBezTo>
                  <a:pt x="25563" y="19656"/>
                  <a:pt x="25531" y="19656"/>
                  <a:pt x="25500" y="19624"/>
                </a:cubicBezTo>
                <a:cubicBezTo>
                  <a:pt x="25500" y="19624"/>
                  <a:pt x="25500" y="19624"/>
                  <a:pt x="25500" y="19624"/>
                </a:cubicBezTo>
                <a:cubicBezTo>
                  <a:pt x="25594" y="19593"/>
                  <a:pt x="25625" y="19624"/>
                  <a:pt x="25656" y="19687"/>
                </a:cubicBezTo>
                <a:cubicBezTo>
                  <a:pt x="25625" y="19718"/>
                  <a:pt x="25656" y="19749"/>
                  <a:pt x="25656" y="19781"/>
                </a:cubicBezTo>
                <a:cubicBezTo>
                  <a:pt x="25656" y="19874"/>
                  <a:pt x="25719" y="19937"/>
                  <a:pt x="25688" y="20031"/>
                </a:cubicBezTo>
                <a:cubicBezTo>
                  <a:pt x="25719" y="19999"/>
                  <a:pt x="25719" y="19968"/>
                  <a:pt x="25719" y="19937"/>
                </a:cubicBezTo>
                <a:cubicBezTo>
                  <a:pt x="25719" y="19937"/>
                  <a:pt x="25719" y="19906"/>
                  <a:pt x="25719" y="19906"/>
                </a:cubicBezTo>
                <a:cubicBezTo>
                  <a:pt x="25719" y="19874"/>
                  <a:pt x="25844" y="19843"/>
                  <a:pt x="25719" y="19781"/>
                </a:cubicBezTo>
                <a:cubicBezTo>
                  <a:pt x="25750" y="19749"/>
                  <a:pt x="25781" y="19749"/>
                  <a:pt x="25813" y="19718"/>
                </a:cubicBezTo>
                <a:cubicBezTo>
                  <a:pt x="25844" y="19718"/>
                  <a:pt x="25906" y="19781"/>
                  <a:pt x="25875" y="19687"/>
                </a:cubicBezTo>
                <a:cubicBezTo>
                  <a:pt x="25875" y="19687"/>
                  <a:pt x="25938" y="19687"/>
                  <a:pt x="25938" y="19656"/>
                </a:cubicBezTo>
                <a:cubicBezTo>
                  <a:pt x="25906" y="19656"/>
                  <a:pt x="25906" y="19624"/>
                  <a:pt x="25875" y="19624"/>
                </a:cubicBezTo>
                <a:cubicBezTo>
                  <a:pt x="25750" y="19593"/>
                  <a:pt x="25750" y="19499"/>
                  <a:pt x="25750" y="19437"/>
                </a:cubicBezTo>
                <a:cubicBezTo>
                  <a:pt x="25750" y="19406"/>
                  <a:pt x="25750" y="19406"/>
                  <a:pt x="25750" y="19406"/>
                </a:cubicBezTo>
                <a:cubicBezTo>
                  <a:pt x="25719" y="19406"/>
                  <a:pt x="25719" y="19406"/>
                  <a:pt x="25719" y="19437"/>
                </a:cubicBezTo>
                <a:cubicBezTo>
                  <a:pt x="25688" y="19468"/>
                  <a:pt x="25656" y="19468"/>
                  <a:pt x="25656" y="19437"/>
                </a:cubicBezTo>
                <a:cubicBezTo>
                  <a:pt x="25625" y="19406"/>
                  <a:pt x="25656" y="19406"/>
                  <a:pt x="25688" y="19406"/>
                </a:cubicBezTo>
                <a:cubicBezTo>
                  <a:pt x="25719" y="19312"/>
                  <a:pt x="25688" y="19218"/>
                  <a:pt x="25688" y="19124"/>
                </a:cubicBezTo>
                <a:cubicBezTo>
                  <a:pt x="25688" y="19093"/>
                  <a:pt x="25688" y="19062"/>
                  <a:pt x="25719" y="19031"/>
                </a:cubicBezTo>
                <a:cubicBezTo>
                  <a:pt x="25906" y="19156"/>
                  <a:pt x="26094" y="19281"/>
                  <a:pt x="26250" y="19468"/>
                </a:cubicBezTo>
                <a:cubicBezTo>
                  <a:pt x="26281" y="19499"/>
                  <a:pt x="26344" y="19499"/>
                  <a:pt x="26375" y="19531"/>
                </a:cubicBezTo>
                <a:cubicBezTo>
                  <a:pt x="26438" y="19562"/>
                  <a:pt x="26500" y="19656"/>
                  <a:pt x="26594" y="19687"/>
                </a:cubicBezTo>
                <a:cubicBezTo>
                  <a:pt x="26594" y="19749"/>
                  <a:pt x="26625" y="19749"/>
                  <a:pt x="26656" y="19749"/>
                </a:cubicBezTo>
                <a:cubicBezTo>
                  <a:pt x="26688" y="19749"/>
                  <a:pt x="26656" y="19843"/>
                  <a:pt x="26719" y="19812"/>
                </a:cubicBezTo>
                <a:cubicBezTo>
                  <a:pt x="26719" y="19781"/>
                  <a:pt x="26719" y="19749"/>
                  <a:pt x="26750" y="19687"/>
                </a:cubicBezTo>
                <a:cubicBezTo>
                  <a:pt x="26719" y="19749"/>
                  <a:pt x="26719" y="19781"/>
                  <a:pt x="26719" y="19812"/>
                </a:cubicBezTo>
                <a:cubicBezTo>
                  <a:pt x="26750" y="19843"/>
                  <a:pt x="26719" y="19874"/>
                  <a:pt x="26750" y="19874"/>
                </a:cubicBezTo>
                <a:cubicBezTo>
                  <a:pt x="26781" y="19937"/>
                  <a:pt x="26719" y="19937"/>
                  <a:pt x="26688" y="19968"/>
                </a:cubicBezTo>
                <a:cubicBezTo>
                  <a:pt x="26594" y="19999"/>
                  <a:pt x="26469" y="19937"/>
                  <a:pt x="26375" y="19968"/>
                </a:cubicBezTo>
                <a:cubicBezTo>
                  <a:pt x="26375" y="19968"/>
                  <a:pt x="26406" y="19999"/>
                  <a:pt x="26438" y="19999"/>
                </a:cubicBezTo>
                <a:cubicBezTo>
                  <a:pt x="26438" y="20031"/>
                  <a:pt x="26500" y="20031"/>
                  <a:pt x="26469" y="20062"/>
                </a:cubicBezTo>
                <a:cubicBezTo>
                  <a:pt x="26469" y="20093"/>
                  <a:pt x="26438" y="20093"/>
                  <a:pt x="26406" y="20062"/>
                </a:cubicBezTo>
                <a:cubicBezTo>
                  <a:pt x="26344" y="19999"/>
                  <a:pt x="26250" y="20031"/>
                  <a:pt x="26156" y="19968"/>
                </a:cubicBezTo>
                <a:cubicBezTo>
                  <a:pt x="26188" y="20031"/>
                  <a:pt x="26250" y="20031"/>
                  <a:pt x="26281" y="20062"/>
                </a:cubicBezTo>
                <a:cubicBezTo>
                  <a:pt x="26250" y="20187"/>
                  <a:pt x="26125" y="20187"/>
                  <a:pt x="26031" y="20281"/>
                </a:cubicBezTo>
                <a:cubicBezTo>
                  <a:pt x="26094" y="20249"/>
                  <a:pt x="26125" y="20281"/>
                  <a:pt x="26156" y="20249"/>
                </a:cubicBezTo>
                <a:cubicBezTo>
                  <a:pt x="26250" y="20187"/>
                  <a:pt x="26313" y="20124"/>
                  <a:pt x="26438" y="20218"/>
                </a:cubicBezTo>
                <a:cubicBezTo>
                  <a:pt x="26438" y="20187"/>
                  <a:pt x="26375" y="20156"/>
                  <a:pt x="26406" y="20156"/>
                </a:cubicBezTo>
                <a:cubicBezTo>
                  <a:pt x="26438" y="20124"/>
                  <a:pt x="26469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00" y="20156"/>
                  <a:pt x="26500" y="20156"/>
                  <a:pt x="26500" y="20156"/>
                </a:cubicBezTo>
                <a:cubicBezTo>
                  <a:pt x="26594" y="20218"/>
                  <a:pt x="26469" y="20218"/>
                  <a:pt x="26469" y="20249"/>
                </a:cubicBezTo>
                <a:cubicBezTo>
                  <a:pt x="26438" y="20249"/>
                  <a:pt x="26438" y="20281"/>
                  <a:pt x="26438" y="20281"/>
                </a:cubicBezTo>
                <a:cubicBezTo>
                  <a:pt x="26438" y="20281"/>
                  <a:pt x="26438" y="20281"/>
                  <a:pt x="26438" y="20281"/>
                </a:cubicBezTo>
                <a:cubicBezTo>
                  <a:pt x="26438" y="20281"/>
                  <a:pt x="26469" y="20281"/>
                  <a:pt x="26469" y="20249"/>
                </a:cubicBezTo>
                <a:cubicBezTo>
                  <a:pt x="26500" y="20312"/>
                  <a:pt x="26563" y="20312"/>
                  <a:pt x="26594" y="20312"/>
                </a:cubicBezTo>
                <a:cubicBezTo>
                  <a:pt x="26688" y="20218"/>
                  <a:pt x="26781" y="20218"/>
                  <a:pt x="26875" y="20124"/>
                </a:cubicBezTo>
                <a:cubicBezTo>
                  <a:pt x="26969" y="20093"/>
                  <a:pt x="27031" y="20031"/>
                  <a:pt x="27125" y="20124"/>
                </a:cubicBezTo>
                <a:cubicBezTo>
                  <a:pt x="27219" y="20187"/>
                  <a:pt x="27344" y="20281"/>
                  <a:pt x="27438" y="20374"/>
                </a:cubicBezTo>
                <a:cubicBezTo>
                  <a:pt x="27563" y="20468"/>
                  <a:pt x="27656" y="20562"/>
                  <a:pt x="27781" y="20593"/>
                </a:cubicBezTo>
                <a:cubicBezTo>
                  <a:pt x="27813" y="20656"/>
                  <a:pt x="27844" y="20687"/>
                  <a:pt x="27875" y="20718"/>
                </a:cubicBezTo>
                <a:cubicBezTo>
                  <a:pt x="27938" y="20812"/>
                  <a:pt x="28031" y="20843"/>
                  <a:pt x="28125" y="20874"/>
                </a:cubicBezTo>
                <a:cubicBezTo>
                  <a:pt x="28125" y="20937"/>
                  <a:pt x="28188" y="20937"/>
                  <a:pt x="28188" y="20968"/>
                </a:cubicBezTo>
                <a:cubicBezTo>
                  <a:pt x="28156" y="21062"/>
                  <a:pt x="28219" y="20999"/>
                  <a:pt x="28250" y="21031"/>
                </a:cubicBezTo>
                <a:cubicBezTo>
                  <a:pt x="28250" y="21062"/>
                  <a:pt x="28250" y="21062"/>
                  <a:pt x="28250" y="21093"/>
                </a:cubicBezTo>
                <a:cubicBezTo>
                  <a:pt x="28250" y="21093"/>
                  <a:pt x="28219" y="21093"/>
                  <a:pt x="28188" y="21093"/>
                </a:cubicBezTo>
                <a:cubicBezTo>
                  <a:pt x="28156" y="21062"/>
                  <a:pt x="28125" y="21062"/>
                  <a:pt x="28094" y="21093"/>
                </a:cubicBezTo>
                <a:cubicBezTo>
                  <a:pt x="28063" y="21124"/>
                  <a:pt x="28031" y="21093"/>
                  <a:pt x="28031" y="21093"/>
                </a:cubicBezTo>
                <a:cubicBezTo>
                  <a:pt x="28031" y="21062"/>
                  <a:pt x="28063" y="20999"/>
                  <a:pt x="28031" y="21031"/>
                </a:cubicBezTo>
                <a:cubicBezTo>
                  <a:pt x="27969" y="21062"/>
                  <a:pt x="27875" y="20968"/>
                  <a:pt x="27813" y="21031"/>
                </a:cubicBezTo>
                <a:cubicBezTo>
                  <a:pt x="27844" y="20999"/>
                  <a:pt x="27781" y="20968"/>
                  <a:pt x="27844" y="20937"/>
                </a:cubicBezTo>
                <a:cubicBezTo>
                  <a:pt x="27875" y="20937"/>
                  <a:pt x="27844" y="20937"/>
                  <a:pt x="27844" y="20906"/>
                </a:cubicBezTo>
                <a:cubicBezTo>
                  <a:pt x="27813" y="20906"/>
                  <a:pt x="27781" y="20874"/>
                  <a:pt x="27750" y="20874"/>
                </a:cubicBezTo>
                <a:cubicBezTo>
                  <a:pt x="27719" y="20843"/>
                  <a:pt x="27688" y="20781"/>
                  <a:pt x="27688" y="20874"/>
                </a:cubicBezTo>
                <a:cubicBezTo>
                  <a:pt x="27688" y="20874"/>
                  <a:pt x="27656" y="20874"/>
                  <a:pt x="27656" y="20874"/>
                </a:cubicBezTo>
                <a:cubicBezTo>
                  <a:pt x="27563" y="20812"/>
                  <a:pt x="27438" y="20874"/>
                  <a:pt x="27313" y="20812"/>
                </a:cubicBezTo>
                <a:cubicBezTo>
                  <a:pt x="27281" y="20781"/>
                  <a:pt x="27250" y="20749"/>
                  <a:pt x="27188" y="20718"/>
                </a:cubicBezTo>
                <a:cubicBezTo>
                  <a:pt x="27188" y="20718"/>
                  <a:pt x="27219" y="20749"/>
                  <a:pt x="27188" y="20781"/>
                </a:cubicBezTo>
                <a:cubicBezTo>
                  <a:pt x="27156" y="20781"/>
                  <a:pt x="27125" y="20749"/>
                  <a:pt x="27125" y="20718"/>
                </a:cubicBezTo>
                <a:cubicBezTo>
                  <a:pt x="27125" y="20562"/>
                  <a:pt x="27063" y="20624"/>
                  <a:pt x="27000" y="20656"/>
                </a:cubicBezTo>
                <a:cubicBezTo>
                  <a:pt x="27000" y="20656"/>
                  <a:pt x="27063" y="20718"/>
                  <a:pt x="27031" y="20718"/>
                </a:cubicBezTo>
                <a:cubicBezTo>
                  <a:pt x="27000" y="20749"/>
                  <a:pt x="26938" y="20749"/>
                  <a:pt x="26906" y="20749"/>
                </a:cubicBezTo>
                <a:cubicBezTo>
                  <a:pt x="26844" y="20718"/>
                  <a:pt x="26781" y="20718"/>
                  <a:pt x="26719" y="20687"/>
                </a:cubicBezTo>
                <a:cubicBezTo>
                  <a:pt x="26688" y="20656"/>
                  <a:pt x="26594" y="20718"/>
                  <a:pt x="26531" y="20687"/>
                </a:cubicBezTo>
                <a:cubicBezTo>
                  <a:pt x="26344" y="20624"/>
                  <a:pt x="26125" y="20624"/>
                  <a:pt x="25938" y="20593"/>
                </a:cubicBezTo>
                <a:cubicBezTo>
                  <a:pt x="25906" y="20562"/>
                  <a:pt x="25844" y="20562"/>
                  <a:pt x="25813" y="20562"/>
                </a:cubicBezTo>
                <a:cubicBezTo>
                  <a:pt x="25719" y="20562"/>
                  <a:pt x="25688" y="20499"/>
                  <a:pt x="25625" y="20406"/>
                </a:cubicBezTo>
                <a:cubicBezTo>
                  <a:pt x="25656" y="20343"/>
                  <a:pt x="25594" y="20281"/>
                  <a:pt x="25688" y="20218"/>
                </a:cubicBezTo>
                <a:cubicBezTo>
                  <a:pt x="25750" y="20218"/>
                  <a:pt x="25750" y="20218"/>
                  <a:pt x="25750" y="20249"/>
                </a:cubicBezTo>
                <a:cubicBezTo>
                  <a:pt x="25750" y="20312"/>
                  <a:pt x="25750" y="20343"/>
                  <a:pt x="25844" y="20312"/>
                </a:cubicBezTo>
                <a:cubicBezTo>
                  <a:pt x="25844" y="20312"/>
                  <a:pt x="25875" y="20343"/>
                  <a:pt x="25875" y="20343"/>
                </a:cubicBezTo>
                <a:cubicBezTo>
                  <a:pt x="25875" y="20374"/>
                  <a:pt x="25844" y="20374"/>
                  <a:pt x="25844" y="20374"/>
                </a:cubicBezTo>
                <a:cubicBezTo>
                  <a:pt x="25719" y="20437"/>
                  <a:pt x="25719" y="20437"/>
                  <a:pt x="25719" y="20281"/>
                </a:cubicBezTo>
                <a:lnTo>
                  <a:pt x="25719" y="20281"/>
                </a:lnTo>
                <a:cubicBezTo>
                  <a:pt x="25625" y="20281"/>
                  <a:pt x="25688" y="20374"/>
                  <a:pt x="25625" y="20406"/>
                </a:cubicBezTo>
                <a:cubicBezTo>
                  <a:pt x="25594" y="20406"/>
                  <a:pt x="25563" y="20406"/>
                  <a:pt x="25563" y="20343"/>
                </a:cubicBezTo>
                <a:cubicBezTo>
                  <a:pt x="25594" y="20343"/>
                  <a:pt x="25594" y="20312"/>
                  <a:pt x="25563" y="20281"/>
                </a:cubicBezTo>
                <a:cubicBezTo>
                  <a:pt x="25563" y="20218"/>
                  <a:pt x="25531" y="20187"/>
                  <a:pt x="25469" y="20249"/>
                </a:cubicBezTo>
                <a:cubicBezTo>
                  <a:pt x="25438" y="20249"/>
                  <a:pt x="25406" y="20218"/>
                  <a:pt x="25406" y="20187"/>
                </a:cubicBezTo>
                <a:cubicBezTo>
                  <a:pt x="25406" y="20218"/>
                  <a:pt x="25438" y="20249"/>
                  <a:pt x="25469" y="20249"/>
                </a:cubicBezTo>
                <a:cubicBezTo>
                  <a:pt x="25500" y="20062"/>
                  <a:pt x="25438" y="19906"/>
                  <a:pt x="25375" y="19718"/>
                </a:cubicBezTo>
                <a:cubicBezTo>
                  <a:pt x="25344" y="19718"/>
                  <a:pt x="25313" y="19687"/>
                  <a:pt x="25344" y="19687"/>
                </a:cubicBezTo>
                <a:close/>
                <a:moveTo>
                  <a:pt x="25656" y="19656"/>
                </a:moveTo>
                <a:cubicBezTo>
                  <a:pt x="25656" y="19624"/>
                  <a:pt x="25688" y="19624"/>
                  <a:pt x="25750" y="19624"/>
                </a:cubicBezTo>
                <a:cubicBezTo>
                  <a:pt x="25750" y="19656"/>
                  <a:pt x="25781" y="19687"/>
                  <a:pt x="25781" y="19687"/>
                </a:cubicBezTo>
                <a:cubicBezTo>
                  <a:pt x="25750" y="19718"/>
                  <a:pt x="25719" y="19718"/>
                  <a:pt x="25688" y="19687"/>
                </a:cubicBezTo>
                <a:cubicBezTo>
                  <a:pt x="25688" y="19687"/>
                  <a:pt x="25688" y="19656"/>
                  <a:pt x="25656" y="19656"/>
                </a:cubicBezTo>
                <a:close/>
                <a:moveTo>
                  <a:pt x="24156" y="20093"/>
                </a:moveTo>
                <a:cubicBezTo>
                  <a:pt x="24156" y="20093"/>
                  <a:pt x="24156" y="20093"/>
                  <a:pt x="24156" y="20093"/>
                </a:cubicBezTo>
                <a:cubicBezTo>
                  <a:pt x="24156" y="20093"/>
                  <a:pt x="24156" y="20093"/>
                  <a:pt x="24156" y="20093"/>
                </a:cubicBezTo>
                <a:cubicBezTo>
                  <a:pt x="24156" y="20124"/>
                  <a:pt x="24156" y="20124"/>
                  <a:pt x="24188" y="20124"/>
                </a:cubicBezTo>
                <a:cubicBezTo>
                  <a:pt x="24219" y="20156"/>
                  <a:pt x="24281" y="20156"/>
                  <a:pt x="24313" y="20187"/>
                </a:cubicBezTo>
                <a:cubicBezTo>
                  <a:pt x="24313" y="20218"/>
                  <a:pt x="24281" y="20218"/>
                  <a:pt x="24250" y="20218"/>
                </a:cubicBezTo>
                <a:cubicBezTo>
                  <a:pt x="24219" y="20218"/>
                  <a:pt x="24188" y="20187"/>
                  <a:pt x="24156" y="20156"/>
                </a:cubicBezTo>
                <a:cubicBezTo>
                  <a:pt x="24156" y="20156"/>
                  <a:pt x="24156" y="20156"/>
                  <a:pt x="24156" y="20156"/>
                </a:cubicBezTo>
                <a:cubicBezTo>
                  <a:pt x="24125" y="20156"/>
                  <a:pt x="24125" y="20124"/>
                  <a:pt x="24156" y="20093"/>
                </a:cubicBezTo>
                <a:close/>
                <a:moveTo>
                  <a:pt x="23250" y="20406"/>
                </a:moveTo>
                <a:cubicBezTo>
                  <a:pt x="23250" y="20406"/>
                  <a:pt x="23281" y="20406"/>
                  <a:pt x="23281" y="20406"/>
                </a:cubicBezTo>
                <a:cubicBezTo>
                  <a:pt x="23313" y="20437"/>
                  <a:pt x="23375" y="20468"/>
                  <a:pt x="23313" y="20499"/>
                </a:cubicBezTo>
                <a:cubicBezTo>
                  <a:pt x="23281" y="20531"/>
                  <a:pt x="23281" y="20499"/>
                  <a:pt x="23250" y="20468"/>
                </a:cubicBezTo>
                <a:cubicBezTo>
                  <a:pt x="23219" y="20437"/>
                  <a:pt x="23156" y="20437"/>
                  <a:pt x="23156" y="20374"/>
                </a:cubicBezTo>
                <a:cubicBezTo>
                  <a:pt x="23188" y="20374"/>
                  <a:pt x="23219" y="20374"/>
                  <a:pt x="23250" y="20406"/>
                </a:cubicBezTo>
                <a:close/>
                <a:moveTo>
                  <a:pt x="22688" y="19187"/>
                </a:moveTo>
                <a:cubicBezTo>
                  <a:pt x="22656" y="19218"/>
                  <a:pt x="22688" y="19281"/>
                  <a:pt x="22625" y="19312"/>
                </a:cubicBezTo>
                <a:cubicBezTo>
                  <a:pt x="22625" y="19312"/>
                  <a:pt x="22594" y="19281"/>
                  <a:pt x="22594" y="19281"/>
                </a:cubicBezTo>
                <a:cubicBezTo>
                  <a:pt x="22594" y="19218"/>
                  <a:pt x="22625" y="19218"/>
                  <a:pt x="22688" y="19187"/>
                </a:cubicBezTo>
                <a:close/>
                <a:moveTo>
                  <a:pt x="22438" y="19906"/>
                </a:moveTo>
                <a:cubicBezTo>
                  <a:pt x="22438" y="19874"/>
                  <a:pt x="22469" y="19906"/>
                  <a:pt x="22500" y="19874"/>
                </a:cubicBezTo>
                <a:cubicBezTo>
                  <a:pt x="22531" y="19906"/>
                  <a:pt x="22563" y="19906"/>
                  <a:pt x="22531" y="19906"/>
                </a:cubicBezTo>
                <a:cubicBezTo>
                  <a:pt x="22500" y="19906"/>
                  <a:pt x="22469" y="19906"/>
                  <a:pt x="22438" y="19906"/>
                </a:cubicBezTo>
                <a:close/>
                <a:moveTo>
                  <a:pt x="22719" y="20406"/>
                </a:moveTo>
                <a:cubicBezTo>
                  <a:pt x="22688" y="20437"/>
                  <a:pt x="22656" y="20406"/>
                  <a:pt x="22656" y="20406"/>
                </a:cubicBezTo>
                <a:cubicBezTo>
                  <a:pt x="22594" y="20343"/>
                  <a:pt x="22531" y="20281"/>
                  <a:pt x="22469" y="20218"/>
                </a:cubicBezTo>
                <a:cubicBezTo>
                  <a:pt x="22531" y="20218"/>
                  <a:pt x="22531" y="20218"/>
                  <a:pt x="22500" y="20187"/>
                </a:cubicBezTo>
                <a:cubicBezTo>
                  <a:pt x="22500" y="20187"/>
                  <a:pt x="22531" y="20156"/>
                  <a:pt x="22563" y="20156"/>
                </a:cubicBezTo>
                <a:cubicBezTo>
                  <a:pt x="22563" y="20156"/>
                  <a:pt x="22563" y="20156"/>
                  <a:pt x="22563" y="20156"/>
                </a:cubicBezTo>
                <a:cubicBezTo>
                  <a:pt x="22594" y="20156"/>
                  <a:pt x="22625" y="20156"/>
                  <a:pt x="22625" y="20218"/>
                </a:cubicBezTo>
                <a:cubicBezTo>
                  <a:pt x="22594" y="20218"/>
                  <a:pt x="22563" y="20249"/>
                  <a:pt x="22594" y="20281"/>
                </a:cubicBezTo>
                <a:cubicBezTo>
                  <a:pt x="22594" y="20281"/>
                  <a:pt x="22625" y="20281"/>
                  <a:pt x="22625" y="20249"/>
                </a:cubicBezTo>
                <a:cubicBezTo>
                  <a:pt x="22656" y="20249"/>
                  <a:pt x="22688" y="20218"/>
                  <a:pt x="22719" y="20281"/>
                </a:cubicBezTo>
                <a:cubicBezTo>
                  <a:pt x="22750" y="20312"/>
                  <a:pt x="22719" y="20374"/>
                  <a:pt x="22719" y="20406"/>
                </a:cubicBezTo>
                <a:close/>
                <a:moveTo>
                  <a:pt x="22750" y="19312"/>
                </a:moveTo>
                <a:cubicBezTo>
                  <a:pt x="22750" y="19312"/>
                  <a:pt x="22719" y="19312"/>
                  <a:pt x="22750" y="19281"/>
                </a:cubicBezTo>
                <a:cubicBezTo>
                  <a:pt x="22781" y="19281"/>
                  <a:pt x="22813" y="19281"/>
                  <a:pt x="22813" y="19281"/>
                </a:cubicBezTo>
                <a:cubicBezTo>
                  <a:pt x="22844" y="19343"/>
                  <a:pt x="22938" y="19343"/>
                  <a:pt x="22906" y="19406"/>
                </a:cubicBezTo>
                <a:cubicBezTo>
                  <a:pt x="22875" y="19406"/>
                  <a:pt x="22813" y="19374"/>
                  <a:pt x="22781" y="19374"/>
                </a:cubicBezTo>
                <a:cubicBezTo>
                  <a:pt x="22750" y="19343"/>
                  <a:pt x="22750" y="19374"/>
                  <a:pt x="22750" y="19312"/>
                </a:cubicBezTo>
                <a:close/>
                <a:moveTo>
                  <a:pt x="22906" y="19687"/>
                </a:moveTo>
                <a:cubicBezTo>
                  <a:pt x="22844" y="19593"/>
                  <a:pt x="22750" y="19562"/>
                  <a:pt x="22750" y="19468"/>
                </a:cubicBezTo>
                <a:cubicBezTo>
                  <a:pt x="22875" y="19468"/>
                  <a:pt x="22938" y="19531"/>
                  <a:pt x="22906" y="19687"/>
                </a:cubicBezTo>
                <a:close/>
                <a:moveTo>
                  <a:pt x="23063" y="19499"/>
                </a:moveTo>
                <a:cubicBezTo>
                  <a:pt x="23063" y="19468"/>
                  <a:pt x="23094" y="19468"/>
                  <a:pt x="23094" y="19468"/>
                </a:cubicBezTo>
                <a:cubicBezTo>
                  <a:pt x="23156" y="19468"/>
                  <a:pt x="23125" y="19531"/>
                  <a:pt x="23156" y="19562"/>
                </a:cubicBezTo>
                <a:cubicBezTo>
                  <a:pt x="23094" y="19531"/>
                  <a:pt x="23063" y="19531"/>
                  <a:pt x="23063" y="19499"/>
                </a:cubicBezTo>
                <a:close/>
                <a:moveTo>
                  <a:pt x="23281" y="20749"/>
                </a:moveTo>
                <a:cubicBezTo>
                  <a:pt x="23188" y="20749"/>
                  <a:pt x="23156" y="20781"/>
                  <a:pt x="23094" y="20718"/>
                </a:cubicBezTo>
                <a:cubicBezTo>
                  <a:pt x="23094" y="20687"/>
                  <a:pt x="23125" y="20687"/>
                  <a:pt x="23125" y="20687"/>
                </a:cubicBezTo>
                <a:cubicBezTo>
                  <a:pt x="23125" y="20656"/>
                  <a:pt x="23125" y="20624"/>
                  <a:pt x="23156" y="20624"/>
                </a:cubicBezTo>
                <a:lnTo>
                  <a:pt x="23156" y="20624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5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6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7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8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29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0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1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2"/>
                </a:lnTo>
                <a:lnTo>
                  <a:pt x="23156" y="20633"/>
                </a:lnTo>
                <a:lnTo>
                  <a:pt x="23156" y="20633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5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7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cubicBezTo>
                  <a:pt x="23156" y="20656"/>
                  <a:pt x="23156" y="20656"/>
                  <a:pt x="23156" y="20656"/>
                </a:cubicBez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6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5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4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3"/>
                </a:lnTo>
                <a:lnTo>
                  <a:pt x="23156" y="20652"/>
                </a:lnTo>
                <a:lnTo>
                  <a:pt x="23156" y="20652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1"/>
                </a:lnTo>
                <a:lnTo>
                  <a:pt x="23156" y="20650"/>
                </a:lnTo>
                <a:lnTo>
                  <a:pt x="23156" y="20650"/>
                </a:lnTo>
                <a:lnTo>
                  <a:pt x="23156" y="20649"/>
                </a:lnTo>
                <a:lnTo>
                  <a:pt x="23156" y="20649"/>
                </a:lnTo>
                <a:lnTo>
                  <a:pt x="23156" y="20648"/>
                </a:lnTo>
                <a:lnTo>
                  <a:pt x="23156" y="20648"/>
                </a:lnTo>
                <a:lnTo>
                  <a:pt x="23156" y="20647"/>
                </a:lnTo>
                <a:lnTo>
                  <a:pt x="23156" y="20646"/>
                </a:lnTo>
                <a:lnTo>
                  <a:pt x="23156" y="20646"/>
                </a:lnTo>
                <a:lnTo>
                  <a:pt x="23156" y="20645"/>
                </a:lnTo>
                <a:lnTo>
                  <a:pt x="23156" y="20644"/>
                </a:lnTo>
                <a:lnTo>
                  <a:pt x="23156" y="20644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3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2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1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40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9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8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7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6"/>
                </a:lnTo>
                <a:lnTo>
                  <a:pt x="23156" y="20635"/>
                </a:lnTo>
                <a:lnTo>
                  <a:pt x="23156" y="20635"/>
                </a:lnTo>
                <a:lnTo>
                  <a:pt x="23156" y="20634"/>
                </a:lnTo>
                <a:lnTo>
                  <a:pt x="23156" y="20634"/>
                </a:lnTo>
                <a:lnTo>
                  <a:pt x="23156" y="20633"/>
                </a:lnTo>
                <a:lnTo>
                  <a:pt x="23156" y="20632"/>
                </a:lnTo>
                <a:lnTo>
                  <a:pt x="23156" y="20631"/>
                </a:lnTo>
                <a:lnTo>
                  <a:pt x="23156" y="20630"/>
                </a:lnTo>
                <a:lnTo>
                  <a:pt x="23156" y="20629"/>
                </a:lnTo>
                <a:lnTo>
                  <a:pt x="23156" y="20627"/>
                </a:lnTo>
                <a:lnTo>
                  <a:pt x="23156" y="20626"/>
                </a:lnTo>
                <a:lnTo>
                  <a:pt x="23156" y="20624"/>
                </a:lnTo>
                <a:cubicBezTo>
                  <a:pt x="23156" y="20562"/>
                  <a:pt x="23094" y="20531"/>
                  <a:pt x="23094" y="20468"/>
                </a:cubicBezTo>
                <a:cubicBezTo>
                  <a:pt x="23219" y="20499"/>
                  <a:pt x="23250" y="20624"/>
                  <a:pt x="23344" y="20656"/>
                </a:cubicBezTo>
                <a:cubicBezTo>
                  <a:pt x="23313" y="20687"/>
                  <a:pt x="23406" y="20749"/>
                  <a:pt x="23281" y="20749"/>
                </a:cubicBezTo>
                <a:close/>
                <a:moveTo>
                  <a:pt x="23500" y="20093"/>
                </a:moveTo>
                <a:cubicBezTo>
                  <a:pt x="23500" y="20093"/>
                  <a:pt x="23469" y="20093"/>
                  <a:pt x="23469" y="20124"/>
                </a:cubicBezTo>
                <a:cubicBezTo>
                  <a:pt x="23469" y="20187"/>
                  <a:pt x="23469" y="20218"/>
                  <a:pt x="23500" y="20249"/>
                </a:cubicBezTo>
                <a:cubicBezTo>
                  <a:pt x="23469" y="20218"/>
                  <a:pt x="23469" y="20187"/>
                  <a:pt x="23469" y="20124"/>
                </a:cubicBezTo>
                <a:cubicBezTo>
                  <a:pt x="23438" y="20093"/>
                  <a:pt x="23438" y="20031"/>
                  <a:pt x="23406" y="19999"/>
                </a:cubicBezTo>
                <a:cubicBezTo>
                  <a:pt x="23438" y="19999"/>
                  <a:pt x="23438" y="19999"/>
                  <a:pt x="23438" y="19999"/>
                </a:cubicBezTo>
                <a:cubicBezTo>
                  <a:pt x="23406" y="19874"/>
                  <a:pt x="23469" y="19906"/>
                  <a:pt x="23531" y="19874"/>
                </a:cubicBezTo>
                <a:cubicBezTo>
                  <a:pt x="23563" y="19874"/>
                  <a:pt x="23594" y="19874"/>
                  <a:pt x="23625" y="19843"/>
                </a:cubicBezTo>
                <a:cubicBezTo>
                  <a:pt x="23656" y="19812"/>
                  <a:pt x="23688" y="19812"/>
                  <a:pt x="23719" y="19812"/>
                </a:cubicBezTo>
                <a:cubicBezTo>
                  <a:pt x="23750" y="19812"/>
                  <a:pt x="23750" y="19843"/>
                  <a:pt x="23750" y="19843"/>
                </a:cubicBezTo>
                <a:cubicBezTo>
                  <a:pt x="23750" y="19843"/>
                  <a:pt x="23750" y="19843"/>
                  <a:pt x="23781" y="19843"/>
                </a:cubicBezTo>
                <a:cubicBezTo>
                  <a:pt x="23875" y="19906"/>
                  <a:pt x="23969" y="19968"/>
                  <a:pt x="24063" y="20031"/>
                </a:cubicBezTo>
                <a:cubicBezTo>
                  <a:pt x="24063" y="20062"/>
                  <a:pt x="24063" y="20062"/>
                  <a:pt x="24063" y="20062"/>
                </a:cubicBezTo>
                <a:cubicBezTo>
                  <a:pt x="24094" y="20156"/>
                  <a:pt x="24063" y="20156"/>
                  <a:pt x="24000" y="20156"/>
                </a:cubicBezTo>
                <a:cubicBezTo>
                  <a:pt x="23875" y="20156"/>
                  <a:pt x="23781" y="20062"/>
                  <a:pt x="23656" y="20093"/>
                </a:cubicBezTo>
                <a:cubicBezTo>
                  <a:pt x="23656" y="20093"/>
                  <a:pt x="23656" y="20062"/>
                  <a:pt x="23656" y="20062"/>
                </a:cubicBezTo>
                <a:cubicBezTo>
                  <a:pt x="23594" y="19874"/>
                  <a:pt x="23563" y="20093"/>
                  <a:pt x="23500" y="20093"/>
                </a:cubicBezTo>
                <a:close/>
                <a:moveTo>
                  <a:pt x="24000" y="20343"/>
                </a:moveTo>
                <a:cubicBezTo>
                  <a:pt x="23938" y="20374"/>
                  <a:pt x="23906" y="20406"/>
                  <a:pt x="23875" y="20312"/>
                </a:cubicBezTo>
                <a:cubicBezTo>
                  <a:pt x="23844" y="20312"/>
                  <a:pt x="23844" y="20343"/>
                  <a:pt x="23813" y="20312"/>
                </a:cubicBezTo>
                <a:cubicBezTo>
                  <a:pt x="23813" y="20281"/>
                  <a:pt x="23813" y="20281"/>
                  <a:pt x="23844" y="20281"/>
                </a:cubicBezTo>
                <a:cubicBezTo>
                  <a:pt x="23875" y="20281"/>
                  <a:pt x="23875" y="20281"/>
                  <a:pt x="23875" y="20312"/>
                </a:cubicBezTo>
                <a:cubicBezTo>
                  <a:pt x="23938" y="20312"/>
                  <a:pt x="23969" y="20312"/>
                  <a:pt x="24000" y="20343"/>
                </a:cubicBezTo>
                <a:close/>
                <a:moveTo>
                  <a:pt x="23656" y="20812"/>
                </a:moveTo>
                <a:cubicBezTo>
                  <a:pt x="23656" y="20812"/>
                  <a:pt x="23625" y="20812"/>
                  <a:pt x="23656" y="20781"/>
                </a:cubicBezTo>
                <a:cubicBezTo>
                  <a:pt x="23656" y="20781"/>
                  <a:pt x="23656" y="20781"/>
                  <a:pt x="23688" y="20781"/>
                </a:cubicBezTo>
                <a:cubicBezTo>
                  <a:pt x="23719" y="20812"/>
                  <a:pt x="23750" y="20812"/>
                  <a:pt x="23781" y="20874"/>
                </a:cubicBezTo>
                <a:cubicBezTo>
                  <a:pt x="23719" y="20906"/>
                  <a:pt x="23688" y="20812"/>
                  <a:pt x="23656" y="20812"/>
                </a:cubicBezTo>
                <a:close/>
                <a:moveTo>
                  <a:pt x="23875" y="22812"/>
                </a:moveTo>
                <a:cubicBezTo>
                  <a:pt x="23813" y="22781"/>
                  <a:pt x="23781" y="22749"/>
                  <a:pt x="23750" y="22687"/>
                </a:cubicBezTo>
                <a:cubicBezTo>
                  <a:pt x="23813" y="22687"/>
                  <a:pt x="23844" y="22749"/>
                  <a:pt x="23906" y="22812"/>
                </a:cubicBezTo>
                <a:cubicBezTo>
                  <a:pt x="23906" y="22812"/>
                  <a:pt x="23938" y="22812"/>
                  <a:pt x="23938" y="22843"/>
                </a:cubicBezTo>
                <a:cubicBezTo>
                  <a:pt x="23906" y="22843"/>
                  <a:pt x="23875" y="22843"/>
                  <a:pt x="23875" y="22812"/>
                </a:cubicBezTo>
                <a:close/>
                <a:moveTo>
                  <a:pt x="24094" y="22624"/>
                </a:moveTo>
                <a:cubicBezTo>
                  <a:pt x="24063" y="22593"/>
                  <a:pt x="24031" y="22562"/>
                  <a:pt x="24031" y="22562"/>
                </a:cubicBezTo>
                <a:cubicBezTo>
                  <a:pt x="24031" y="22562"/>
                  <a:pt x="24063" y="22562"/>
                  <a:pt x="24063" y="22531"/>
                </a:cubicBezTo>
                <a:cubicBezTo>
                  <a:pt x="24063" y="22499"/>
                  <a:pt x="24063" y="22499"/>
                  <a:pt x="24063" y="22468"/>
                </a:cubicBezTo>
                <a:cubicBezTo>
                  <a:pt x="24063" y="22499"/>
                  <a:pt x="24063" y="22499"/>
                  <a:pt x="24063" y="22531"/>
                </a:cubicBezTo>
                <a:cubicBezTo>
                  <a:pt x="24125" y="22562"/>
                  <a:pt x="24156" y="22562"/>
                  <a:pt x="24188" y="22593"/>
                </a:cubicBezTo>
                <a:cubicBezTo>
                  <a:pt x="24156" y="22624"/>
                  <a:pt x="24125" y="22593"/>
                  <a:pt x="24094" y="22624"/>
                </a:cubicBezTo>
                <a:close/>
                <a:moveTo>
                  <a:pt x="24219" y="21749"/>
                </a:moveTo>
                <a:cubicBezTo>
                  <a:pt x="24219" y="21749"/>
                  <a:pt x="24219" y="21749"/>
                  <a:pt x="24219" y="21749"/>
                </a:cubicBezTo>
                <a:cubicBezTo>
                  <a:pt x="24219" y="21749"/>
                  <a:pt x="24219" y="21781"/>
                  <a:pt x="24219" y="21781"/>
                </a:cubicBezTo>
                <a:cubicBezTo>
                  <a:pt x="24219" y="21781"/>
                  <a:pt x="24219" y="21749"/>
                  <a:pt x="24219" y="21749"/>
                </a:cubicBezTo>
                <a:close/>
                <a:moveTo>
                  <a:pt x="24563" y="20999"/>
                </a:moveTo>
                <a:cubicBezTo>
                  <a:pt x="24531" y="20937"/>
                  <a:pt x="24594" y="20937"/>
                  <a:pt x="24625" y="20906"/>
                </a:cubicBezTo>
                <a:cubicBezTo>
                  <a:pt x="24656" y="20874"/>
                  <a:pt x="24719" y="20906"/>
                  <a:pt x="24750" y="20843"/>
                </a:cubicBezTo>
                <a:cubicBezTo>
                  <a:pt x="24781" y="20843"/>
                  <a:pt x="24781" y="20843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719" y="20812"/>
                  <a:pt x="24688" y="20812"/>
                  <a:pt x="24625" y="20812"/>
                </a:cubicBezTo>
                <a:cubicBezTo>
                  <a:pt x="24656" y="20812"/>
                  <a:pt x="24656" y="20812"/>
                  <a:pt x="24688" y="20812"/>
                </a:cubicBezTo>
                <a:cubicBezTo>
                  <a:pt x="24688" y="20843"/>
                  <a:pt x="24656" y="20874"/>
                  <a:pt x="24656" y="20874"/>
                </a:cubicBezTo>
                <a:cubicBezTo>
                  <a:pt x="24531" y="20874"/>
                  <a:pt x="24469" y="20937"/>
                  <a:pt x="24375" y="20999"/>
                </a:cubicBezTo>
                <a:cubicBezTo>
                  <a:pt x="24344" y="20999"/>
                  <a:pt x="24313" y="20999"/>
                  <a:pt x="24313" y="20968"/>
                </a:cubicBezTo>
                <a:cubicBezTo>
                  <a:pt x="24281" y="20906"/>
                  <a:pt x="24219" y="20906"/>
                  <a:pt x="24219" y="20874"/>
                </a:cubicBezTo>
                <a:cubicBezTo>
                  <a:pt x="24156" y="20812"/>
                  <a:pt x="24063" y="20781"/>
                  <a:pt x="24000" y="20687"/>
                </a:cubicBezTo>
                <a:cubicBezTo>
                  <a:pt x="23969" y="20656"/>
                  <a:pt x="23906" y="20593"/>
                  <a:pt x="23844" y="20562"/>
                </a:cubicBezTo>
                <a:cubicBezTo>
                  <a:pt x="23813" y="20531"/>
                  <a:pt x="23781" y="20499"/>
                  <a:pt x="23781" y="20468"/>
                </a:cubicBezTo>
                <a:cubicBezTo>
                  <a:pt x="23781" y="20406"/>
                  <a:pt x="23750" y="20406"/>
                  <a:pt x="23719" y="20406"/>
                </a:cubicBezTo>
                <a:cubicBezTo>
                  <a:pt x="23688" y="20406"/>
                  <a:pt x="23656" y="20374"/>
                  <a:pt x="23656" y="20343"/>
                </a:cubicBezTo>
                <a:cubicBezTo>
                  <a:pt x="23656" y="20312"/>
                  <a:pt x="23688" y="20343"/>
                  <a:pt x="23719" y="20343"/>
                </a:cubicBezTo>
                <a:cubicBezTo>
                  <a:pt x="23688" y="20312"/>
                  <a:pt x="23625" y="20343"/>
                  <a:pt x="23625" y="20281"/>
                </a:cubicBezTo>
                <a:cubicBezTo>
                  <a:pt x="23688" y="20281"/>
                  <a:pt x="23750" y="20249"/>
                  <a:pt x="23750" y="20312"/>
                </a:cubicBezTo>
                <a:cubicBezTo>
                  <a:pt x="23781" y="20374"/>
                  <a:pt x="23844" y="20406"/>
                  <a:pt x="23938" y="20406"/>
                </a:cubicBezTo>
                <a:cubicBezTo>
                  <a:pt x="24000" y="20406"/>
                  <a:pt x="24094" y="20406"/>
                  <a:pt x="24188" y="20468"/>
                </a:cubicBezTo>
                <a:cubicBezTo>
                  <a:pt x="24188" y="20562"/>
                  <a:pt x="24250" y="20624"/>
                  <a:pt x="24281" y="20718"/>
                </a:cubicBezTo>
                <a:cubicBezTo>
                  <a:pt x="24281" y="20781"/>
                  <a:pt x="24438" y="20781"/>
                  <a:pt x="24500" y="20749"/>
                </a:cubicBezTo>
                <a:cubicBezTo>
                  <a:pt x="24469" y="20781"/>
                  <a:pt x="24469" y="20781"/>
                  <a:pt x="24469" y="20812"/>
                </a:cubicBezTo>
                <a:cubicBezTo>
                  <a:pt x="24469" y="20843"/>
                  <a:pt x="24469" y="20843"/>
                  <a:pt x="24500" y="20843"/>
                </a:cubicBezTo>
                <a:cubicBezTo>
                  <a:pt x="24531" y="20843"/>
                  <a:pt x="24563" y="20843"/>
                  <a:pt x="24563" y="20812"/>
                </a:cubicBezTo>
                <a:cubicBezTo>
                  <a:pt x="24531" y="20749"/>
                  <a:pt x="24531" y="20749"/>
                  <a:pt x="24625" y="20749"/>
                </a:cubicBezTo>
                <a:cubicBezTo>
                  <a:pt x="24625" y="20749"/>
                  <a:pt x="24625" y="20749"/>
                  <a:pt x="24656" y="20749"/>
                </a:cubicBezTo>
                <a:cubicBezTo>
                  <a:pt x="24656" y="20749"/>
                  <a:pt x="24688" y="20749"/>
                  <a:pt x="24688" y="20718"/>
                </a:cubicBezTo>
                <a:cubicBezTo>
                  <a:pt x="24719" y="20718"/>
                  <a:pt x="24719" y="20718"/>
                  <a:pt x="24719" y="20718"/>
                </a:cubicBezTo>
                <a:cubicBezTo>
                  <a:pt x="24750" y="20749"/>
                  <a:pt x="24781" y="20781"/>
                  <a:pt x="24781" y="20812"/>
                </a:cubicBezTo>
                <a:cubicBezTo>
                  <a:pt x="24781" y="20812"/>
                  <a:pt x="24781" y="20812"/>
                  <a:pt x="24781" y="20812"/>
                </a:cubicBezTo>
                <a:cubicBezTo>
                  <a:pt x="24813" y="20812"/>
                  <a:pt x="24813" y="20843"/>
                  <a:pt x="24844" y="20812"/>
                </a:cubicBezTo>
                <a:cubicBezTo>
                  <a:pt x="24875" y="20781"/>
                  <a:pt x="24938" y="20812"/>
                  <a:pt x="24938" y="20749"/>
                </a:cubicBezTo>
                <a:cubicBezTo>
                  <a:pt x="25000" y="20781"/>
                  <a:pt x="25031" y="20718"/>
                  <a:pt x="25063" y="20749"/>
                </a:cubicBezTo>
                <a:cubicBezTo>
                  <a:pt x="25063" y="20749"/>
                  <a:pt x="25094" y="20781"/>
                  <a:pt x="25094" y="20781"/>
                </a:cubicBezTo>
                <a:cubicBezTo>
                  <a:pt x="25031" y="20812"/>
                  <a:pt x="25063" y="20843"/>
                  <a:pt x="25125" y="20874"/>
                </a:cubicBezTo>
                <a:cubicBezTo>
                  <a:pt x="25000" y="20874"/>
                  <a:pt x="24938" y="20968"/>
                  <a:pt x="24844" y="20968"/>
                </a:cubicBezTo>
                <a:cubicBezTo>
                  <a:pt x="24781" y="20968"/>
                  <a:pt x="24719" y="21031"/>
                  <a:pt x="24688" y="21062"/>
                </a:cubicBezTo>
                <a:cubicBezTo>
                  <a:pt x="24594" y="21093"/>
                  <a:pt x="24594" y="21062"/>
                  <a:pt x="24563" y="20999"/>
                </a:cubicBezTo>
                <a:close/>
                <a:moveTo>
                  <a:pt x="24656" y="21249"/>
                </a:moveTo>
                <a:cubicBezTo>
                  <a:pt x="24625" y="21249"/>
                  <a:pt x="24594" y="21218"/>
                  <a:pt x="24625" y="21187"/>
                </a:cubicBezTo>
                <a:cubicBezTo>
                  <a:pt x="24688" y="21124"/>
                  <a:pt x="24719" y="21031"/>
                  <a:pt x="24844" y="21093"/>
                </a:cubicBezTo>
                <a:cubicBezTo>
                  <a:pt x="24844" y="21093"/>
                  <a:pt x="24844" y="21093"/>
                  <a:pt x="24844" y="21093"/>
                </a:cubicBezTo>
                <a:cubicBezTo>
                  <a:pt x="24938" y="20968"/>
                  <a:pt x="25094" y="20999"/>
                  <a:pt x="25188" y="20906"/>
                </a:cubicBezTo>
                <a:cubicBezTo>
                  <a:pt x="25219" y="20874"/>
                  <a:pt x="25281" y="20937"/>
                  <a:pt x="25313" y="20906"/>
                </a:cubicBezTo>
                <a:cubicBezTo>
                  <a:pt x="25313" y="20968"/>
                  <a:pt x="25344" y="20937"/>
                  <a:pt x="25375" y="20937"/>
                </a:cubicBezTo>
                <a:cubicBezTo>
                  <a:pt x="25406" y="20937"/>
                  <a:pt x="25469" y="20937"/>
                  <a:pt x="25469" y="20968"/>
                </a:cubicBezTo>
                <a:cubicBezTo>
                  <a:pt x="25469" y="21031"/>
                  <a:pt x="25406" y="20999"/>
                  <a:pt x="25406" y="20999"/>
                </a:cubicBezTo>
                <a:cubicBezTo>
                  <a:pt x="25344" y="20999"/>
                  <a:pt x="25344" y="21031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13" y="21062"/>
                  <a:pt x="25281" y="21062"/>
                  <a:pt x="25281" y="21093"/>
                </a:cubicBezTo>
                <a:cubicBezTo>
                  <a:pt x="25281" y="21093"/>
                  <a:pt x="25281" y="21093"/>
                  <a:pt x="25281" y="21093"/>
                </a:cubicBezTo>
                <a:cubicBezTo>
                  <a:pt x="25156" y="21093"/>
                  <a:pt x="25063" y="21156"/>
                  <a:pt x="24969" y="21187"/>
                </a:cubicBezTo>
                <a:cubicBezTo>
                  <a:pt x="24875" y="21249"/>
                  <a:pt x="24781" y="21249"/>
                  <a:pt x="24656" y="21249"/>
                </a:cubicBezTo>
                <a:close/>
                <a:moveTo>
                  <a:pt x="25313" y="20906"/>
                </a:moveTo>
                <a:cubicBezTo>
                  <a:pt x="25313" y="20906"/>
                  <a:pt x="25313" y="20906"/>
                  <a:pt x="25344" y="20874"/>
                </a:cubicBezTo>
                <a:cubicBezTo>
                  <a:pt x="25344" y="20906"/>
                  <a:pt x="25344" y="20906"/>
                  <a:pt x="25344" y="20906"/>
                </a:cubicBezTo>
                <a:cubicBezTo>
                  <a:pt x="25344" y="20906"/>
                  <a:pt x="25313" y="20906"/>
                  <a:pt x="25313" y="20906"/>
                </a:cubicBezTo>
                <a:close/>
                <a:moveTo>
                  <a:pt x="25406" y="21062"/>
                </a:moveTo>
                <a:cubicBezTo>
                  <a:pt x="25375" y="21062"/>
                  <a:pt x="25344" y="21062"/>
                  <a:pt x="25344" y="21062"/>
                </a:cubicBezTo>
                <a:cubicBezTo>
                  <a:pt x="25344" y="21062"/>
                  <a:pt x="25344" y="21062"/>
                  <a:pt x="25344" y="21062"/>
                </a:cubicBezTo>
                <a:cubicBezTo>
                  <a:pt x="25344" y="21062"/>
                  <a:pt x="25375" y="21062"/>
                  <a:pt x="25406" y="21062"/>
                </a:cubicBezTo>
                <a:cubicBezTo>
                  <a:pt x="25406" y="21062"/>
                  <a:pt x="25438" y="21062"/>
                  <a:pt x="25438" y="21062"/>
                </a:cubicBezTo>
                <a:cubicBezTo>
                  <a:pt x="25469" y="21062"/>
                  <a:pt x="25531" y="20999"/>
                  <a:pt x="25563" y="21062"/>
                </a:cubicBezTo>
                <a:cubicBezTo>
                  <a:pt x="25563" y="21093"/>
                  <a:pt x="25563" y="21124"/>
                  <a:pt x="25531" y="21156"/>
                </a:cubicBezTo>
                <a:cubicBezTo>
                  <a:pt x="25469" y="21218"/>
                  <a:pt x="25438" y="21156"/>
                  <a:pt x="25406" y="21124"/>
                </a:cubicBezTo>
                <a:cubicBezTo>
                  <a:pt x="25406" y="21124"/>
                  <a:pt x="25406" y="21124"/>
                  <a:pt x="25406" y="21124"/>
                </a:cubicBezTo>
                <a:cubicBezTo>
                  <a:pt x="25406" y="21093"/>
                  <a:pt x="25406" y="21093"/>
                  <a:pt x="25406" y="21062"/>
                </a:cubicBezTo>
                <a:close/>
                <a:moveTo>
                  <a:pt x="25406" y="21124"/>
                </a:moveTo>
                <a:cubicBezTo>
                  <a:pt x="25344" y="21187"/>
                  <a:pt x="25281" y="21187"/>
                  <a:pt x="25219" y="21187"/>
                </a:cubicBezTo>
                <a:cubicBezTo>
                  <a:pt x="25219" y="21124"/>
                  <a:pt x="25250" y="21124"/>
                  <a:pt x="25281" y="21124"/>
                </a:cubicBezTo>
                <a:cubicBezTo>
                  <a:pt x="25313" y="21124"/>
                  <a:pt x="25344" y="21124"/>
                  <a:pt x="25406" y="21124"/>
                </a:cubicBezTo>
                <a:close/>
                <a:moveTo>
                  <a:pt x="24906" y="22499"/>
                </a:moveTo>
                <a:cubicBezTo>
                  <a:pt x="25000" y="22531"/>
                  <a:pt x="25063" y="22562"/>
                  <a:pt x="25125" y="22624"/>
                </a:cubicBezTo>
                <a:cubicBezTo>
                  <a:pt x="25031" y="22624"/>
                  <a:pt x="24969" y="22562"/>
                  <a:pt x="24906" y="22499"/>
                </a:cubicBezTo>
                <a:close/>
                <a:moveTo>
                  <a:pt x="25031" y="21624"/>
                </a:moveTo>
                <a:cubicBezTo>
                  <a:pt x="25000" y="21593"/>
                  <a:pt x="24938" y="21531"/>
                  <a:pt x="24875" y="21499"/>
                </a:cubicBezTo>
                <a:cubicBezTo>
                  <a:pt x="24844" y="21468"/>
                  <a:pt x="24844" y="21468"/>
                  <a:pt x="24844" y="21437"/>
                </a:cubicBezTo>
                <a:cubicBezTo>
                  <a:pt x="24875" y="21406"/>
                  <a:pt x="24875" y="21406"/>
                  <a:pt x="24906" y="21374"/>
                </a:cubicBezTo>
                <a:cubicBezTo>
                  <a:pt x="25125" y="21374"/>
                  <a:pt x="25313" y="21343"/>
                  <a:pt x="25531" y="21312"/>
                </a:cubicBezTo>
                <a:cubicBezTo>
                  <a:pt x="25563" y="21312"/>
                  <a:pt x="25594" y="21312"/>
                  <a:pt x="25594" y="21374"/>
                </a:cubicBezTo>
                <a:cubicBezTo>
                  <a:pt x="25625" y="21406"/>
                  <a:pt x="25625" y="21437"/>
                  <a:pt x="25563" y="21468"/>
                </a:cubicBezTo>
                <a:cubicBezTo>
                  <a:pt x="25563" y="21468"/>
                  <a:pt x="25531" y="21468"/>
                  <a:pt x="25531" y="21499"/>
                </a:cubicBezTo>
                <a:cubicBezTo>
                  <a:pt x="25531" y="21531"/>
                  <a:pt x="25594" y="21499"/>
                  <a:pt x="25625" y="21562"/>
                </a:cubicBezTo>
                <a:cubicBezTo>
                  <a:pt x="25531" y="21531"/>
                  <a:pt x="25531" y="21562"/>
                  <a:pt x="25531" y="21593"/>
                </a:cubicBezTo>
                <a:cubicBezTo>
                  <a:pt x="25531" y="21749"/>
                  <a:pt x="25531" y="21749"/>
                  <a:pt x="25406" y="21687"/>
                </a:cubicBezTo>
                <a:cubicBezTo>
                  <a:pt x="25375" y="21687"/>
                  <a:pt x="25375" y="21718"/>
                  <a:pt x="25344" y="21749"/>
                </a:cubicBezTo>
                <a:cubicBezTo>
                  <a:pt x="25219" y="21781"/>
                  <a:pt x="25125" y="21687"/>
                  <a:pt x="25031" y="21624"/>
                </a:cubicBezTo>
                <a:close/>
                <a:moveTo>
                  <a:pt x="25375" y="22937"/>
                </a:moveTo>
                <a:cubicBezTo>
                  <a:pt x="25344" y="22906"/>
                  <a:pt x="25313" y="22906"/>
                  <a:pt x="25313" y="22843"/>
                </a:cubicBezTo>
                <a:cubicBezTo>
                  <a:pt x="25313" y="22843"/>
                  <a:pt x="25313" y="22812"/>
                  <a:pt x="25344" y="22843"/>
                </a:cubicBezTo>
                <a:cubicBezTo>
                  <a:pt x="25375" y="22843"/>
                  <a:pt x="25406" y="22843"/>
                  <a:pt x="25438" y="22906"/>
                </a:cubicBezTo>
                <a:cubicBezTo>
                  <a:pt x="25438" y="22906"/>
                  <a:pt x="25406" y="22937"/>
                  <a:pt x="25375" y="22937"/>
                </a:cubicBezTo>
                <a:close/>
                <a:moveTo>
                  <a:pt x="25625" y="21937"/>
                </a:moveTo>
                <a:cubicBezTo>
                  <a:pt x="25625" y="21937"/>
                  <a:pt x="25625" y="21937"/>
                  <a:pt x="25625" y="21937"/>
                </a:cubicBezTo>
                <a:cubicBezTo>
                  <a:pt x="25625" y="21937"/>
                  <a:pt x="25625" y="21937"/>
                  <a:pt x="25625" y="21937"/>
                </a:cubicBezTo>
                <a:cubicBezTo>
                  <a:pt x="25531" y="21906"/>
                  <a:pt x="25531" y="21906"/>
                  <a:pt x="25531" y="22031"/>
                </a:cubicBezTo>
                <a:cubicBezTo>
                  <a:pt x="25469" y="22031"/>
                  <a:pt x="25438" y="21999"/>
                  <a:pt x="25438" y="21968"/>
                </a:cubicBezTo>
                <a:cubicBezTo>
                  <a:pt x="25406" y="21937"/>
                  <a:pt x="25375" y="21906"/>
                  <a:pt x="25344" y="21906"/>
                </a:cubicBezTo>
                <a:cubicBezTo>
                  <a:pt x="25406" y="21812"/>
                  <a:pt x="25594" y="21843"/>
                  <a:pt x="25625" y="21906"/>
                </a:cubicBezTo>
                <a:cubicBezTo>
                  <a:pt x="25625" y="21906"/>
                  <a:pt x="25625" y="21937"/>
                  <a:pt x="25625" y="21937"/>
                </a:cubicBezTo>
                <a:close/>
                <a:moveTo>
                  <a:pt x="25844" y="21531"/>
                </a:moveTo>
                <a:cubicBezTo>
                  <a:pt x="25875" y="21562"/>
                  <a:pt x="25844" y="21593"/>
                  <a:pt x="25875" y="21624"/>
                </a:cubicBezTo>
                <a:cubicBezTo>
                  <a:pt x="25875" y="21656"/>
                  <a:pt x="25875" y="21656"/>
                  <a:pt x="25844" y="21656"/>
                </a:cubicBezTo>
                <a:cubicBezTo>
                  <a:pt x="25813" y="21656"/>
                  <a:pt x="25813" y="21624"/>
                  <a:pt x="25813" y="21593"/>
                </a:cubicBezTo>
                <a:cubicBezTo>
                  <a:pt x="25813" y="21593"/>
                  <a:pt x="25813" y="21562"/>
                  <a:pt x="25844" y="21531"/>
                </a:cubicBezTo>
                <a:close/>
                <a:moveTo>
                  <a:pt x="25844" y="22031"/>
                </a:moveTo>
                <a:cubicBezTo>
                  <a:pt x="25781" y="22031"/>
                  <a:pt x="25844" y="21999"/>
                  <a:pt x="25813" y="21968"/>
                </a:cubicBezTo>
                <a:cubicBezTo>
                  <a:pt x="25813" y="21937"/>
                  <a:pt x="25844" y="21906"/>
                  <a:pt x="25875" y="21906"/>
                </a:cubicBezTo>
                <a:cubicBezTo>
                  <a:pt x="25875" y="21937"/>
                  <a:pt x="25844" y="21937"/>
                  <a:pt x="25844" y="21968"/>
                </a:cubicBezTo>
                <a:cubicBezTo>
                  <a:pt x="25844" y="21999"/>
                  <a:pt x="25906" y="22031"/>
                  <a:pt x="25844" y="22031"/>
                </a:cubicBezTo>
                <a:close/>
                <a:moveTo>
                  <a:pt x="25875" y="20999"/>
                </a:moveTo>
                <a:cubicBezTo>
                  <a:pt x="25750" y="20968"/>
                  <a:pt x="25656" y="20874"/>
                  <a:pt x="25531" y="20812"/>
                </a:cubicBezTo>
                <a:cubicBezTo>
                  <a:pt x="25406" y="20718"/>
                  <a:pt x="25250" y="20624"/>
                  <a:pt x="25125" y="20499"/>
                </a:cubicBezTo>
                <a:cubicBezTo>
                  <a:pt x="25094" y="20499"/>
                  <a:pt x="25094" y="20499"/>
                  <a:pt x="25094" y="20468"/>
                </a:cubicBezTo>
                <a:cubicBezTo>
                  <a:pt x="25219" y="20499"/>
                  <a:pt x="25313" y="20593"/>
                  <a:pt x="25438" y="20656"/>
                </a:cubicBezTo>
                <a:cubicBezTo>
                  <a:pt x="25469" y="20687"/>
                  <a:pt x="25469" y="20718"/>
                  <a:pt x="25500" y="20687"/>
                </a:cubicBezTo>
                <a:cubicBezTo>
                  <a:pt x="25500" y="20718"/>
                  <a:pt x="25531" y="20749"/>
                  <a:pt x="25531" y="20749"/>
                </a:cubicBezTo>
                <a:cubicBezTo>
                  <a:pt x="25625" y="20812"/>
                  <a:pt x="25719" y="20874"/>
                  <a:pt x="25813" y="20937"/>
                </a:cubicBezTo>
                <a:cubicBezTo>
                  <a:pt x="25813" y="20906"/>
                  <a:pt x="25813" y="20906"/>
                  <a:pt x="25844" y="20906"/>
                </a:cubicBezTo>
                <a:cubicBezTo>
                  <a:pt x="25813" y="20812"/>
                  <a:pt x="25750" y="20781"/>
                  <a:pt x="25719" y="20718"/>
                </a:cubicBezTo>
                <a:cubicBezTo>
                  <a:pt x="25813" y="20781"/>
                  <a:pt x="25906" y="20843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ubicBezTo>
                  <a:pt x="26031" y="20937"/>
                  <a:pt x="26031" y="20937"/>
                  <a:pt x="26063" y="20937"/>
                </a:cubicBezTo>
                <a:cubicBezTo>
                  <a:pt x="26063" y="20906"/>
                  <a:pt x="26063" y="20906"/>
                  <a:pt x="26031" y="20874"/>
                </a:cubicBezTo>
                <a:cubicBezTo>
                  <a:pt x="25969" y="20843"/>
                  <a:pt x="25938" y="20812"/>
                  <a:pt x="25906" y="20749"/>
                </a:cubicBezTo>
                <a:cubicBezTo>
                  <a:pt x="25969" y="20749"/>
                  <a:pt x="26000" y="20812"/>
                  <a:pt x="26031" y="20843"/>
                </a:cubicBezTo>
                <a:cubicBezTo>
                  <a:pt x="26125" y="20937"/>
                  <a:pt x="26219" y="20999"/>
                  <a:pt x="26281" y="21062"/>
                </a:cubicBezTo>
                <a:cubicBezTo>
                  <a:pt x="26219" y="21062"/>
                  <a:pt x="26188" y="20999"/>
                  <a:pt x="26156" y="20968"/>
                </a:cubicBezTo>
                <a:cubicBezTo>
                  <a:pt x="26125" y="20968"/>
                  <a:pt x="26094" y="20937"/>
                  <a:pt x="26063" y="20937"/>
                </a:cubicBezTo>
                <a:cubicBezTo>
                  <a:pt x="26063" y="20968"/>
                  <a:pt x="26063" y="20968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ubicBezTo>
                  <a:pt x="26125" y="20999"/>
                  <a:pt x="26156" y="21062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ubicBezTo>
                  <a:pt x="26219" y="21124"/>
                  <a:pt x="26281" y="21156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ubicBezTo>
                  <a:pt x="26344" y="21187"/>
                  <a:pt x="26344" y="21218"/>
                  <a:pt x="26375" y="21249"/>
                </a:cubicBezTo>
                <a:cubicBezTo>
                  <a:pt x="26344" y="21249"/>
                  <a:pt x="26281" y="21218"/>
                  <a:pt x="26313" y="21187"/>
                </a:cubicBezTo>
                <a:lnTo>
                  <a:pt x="26313" y="21187"/>
                </a:lnTo>
                <a:cubicBezTo>
                  <a:pt x="26313" y="21187"/>
                  <a:pt x="26313" y="21187"/>
                  <a:pt x="26313" y="21187"/>
                </a:cubicBezTo>
                <a:cubicBezTo>
                  <a:pt x="26219" y="21187"/>
                  <a:pt x="26219" y="21124"/>
                  <a:pt x="26188" y="21093"/>
                </a:cubicBezTo>
                <a:lnTo>
                  <a:pt x="26188" y="21093"/>
                </a:lnTo>
                <a:cubicBezTo>
                  <a:pt x="26188" y="21093"/>
                  <a:pt x="26188" y="21093"/>
                  <a:pt x="26188" y="21093"/>
                </a:cubicBezTo>
                <a:cubicBezTo>
                  <a:pt x="26125" y="21093"/>
                  <a:pt x="26094" y="21031"/>
                  <a:pt x="26063" y="20999"/>
                </a:cubicBezTo>
                <a:lnTo>
                  <a:pt x="26063" y="20999"/>
                </a:lnTo>
                <a:cubicBezTo>
                  <a:pt x="26063" y="20999"/>
                  <a:pt x="26063" y="20999"/>
                  <a:pt x="26063" y="20999"/>
                </a:cubicBezTo>
                <a:cubicBezTo>
                  <a:pt x="26031" y="20999"/>
                  <a:pt x="26000" y="20968"/>
                  <a:pt x="26000" y="20937"/>
                </a:cubicBezTo>
                <a:lnTo>
                  <a:pt x="26000" y="20937"/>
                </a:lnTo>
                <a:cubicBezTo>
                  <a:pt x="26000" y="20937"/>
                  <a:pt x="26000" y="20937"/>
                  <a:pt x="26000" y="20937"/>
                </a:cubicBezTo>
                <a:cubicBezTo>
                  <a:pt x="25969" y="20968"/>
                  <a:pt x="25969" y="20968"/>
                  <a:pt x="25938" y="20999"/>
                </a:cubicBezTo>
                <a:cubicBezTo>
                  <a:pt x="25906" y="20968"/>
                  <a:pt x="25875" y="20906"/>
                  <a:pt x="25844" y="20906"/>
                </a:cubicBezTo>
                <a:cubicBezTo>
                  <a:pt x="25813" y="20906"/>
                  <a:pt x="25813" y="20906"/>
                  <a:pt x="25813" y="20937"/>
                </a:cubicBezTo>
                <a:cubicBezTo>
                  <a:pt x="25844" y="20968"/>
                  <a:pt x="25875" y="20968"/>
                  <a:pt x="25875" y="20999"/>
                </a:cubicBezTo>
                <a:cubicBezTo>
                  <a:pt x="25906" y="20999"/>
                  <a:pt x="25906" y="20999"/>
                  <a:pt x="25938" y="20999"/>
                </a:cubicBezTo>
                <a:cubicBezTo>
                  <a:pt x="25969" y="21062"/>
                  <a:pt x="26031" y="21062"/>
                  <a:pt x="26063" y="21093"/>
                </a:cubicBezTo>
                <a:cubicBezTo>
                  <a:pt x="26188" y="21187"/>
                  <a:pt x="26313" y="21312"/>
                  <a:pt x="26438" y="21374"/>
                </a:cubicBezTo>
                <a:cubicBezTo>
                  <a:pt x="26438" y="21374"/>
                  <a:pt x="26469" y="21406"/>
                  <a:pt x="26469" y="21374"/>
                </a:cubicBezTo>
                <a:cubicBezTo>
                  <a:pt x="26469" y="21437"/>
                  <a:pt x="26531" y="21437"/>
                  <a:pt x="26531" y="21437"/>
                </a:cubicBezTo>
                <a:cubicBezTo>
                  <a:pt x="26594" y="21531"/>
                  <a:pt x="26656" y="21562"/>
                  <a:pt x="26719" y="21593"/>
                </a:cubicBezTo>
                <a:cubicBezTo>
                  <a:pt x="26750" y="21624"/>
                  <a:pt x="26781" y="21624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cubicBezTo>
                  <a:pt x="26813" y="21656"/>
                  <a:pt x="26844" y="21687"/>
                  <a:pt x="26844" y="21718"/>
                </a:cubicBezTo>
                <a:cubicBezTo>
                  <a:pt x="26938" y="21718"/>
                  <a:pt x="27000" y="21812"/>
                  <a:pt x="27094" y="21874"/>
                </a:cubicBezTo>
                <a:cubicBezTo>
                  <a:pt x="27219" y="21968"/>
                  <a:pt x="27344" y="22093"/>
                  <a:pt x="27500" y="22187"/>
                </a:cubicBezTo>
                <a:cubicBezTo>
                  <a:pt x="27531" y="22218"/>
                  <a:pt x="27531" y="22249"/>
                  <a:pt x="27563" y="22218"/>
                </a:cubicBezTo>
                <a:cubicBezTo>
                  <a:pt x="27594" y="22187"/>
                  <a:pt x="27563" y="22156"/>
                  <a:pt x="27531" y="22156"/>
                </a:cubicBezTo>
                <a:cubicBezTo>
                  <a:pt x="27438" y="22062"/>
                  <a:pt x="27344" y="21999"/>
                  <a:pt x="27281" y="21906"/>
                </a:cubicBezTo>
                <a:cubicBezTo>
                  <a:pt x="27406" y="21999"/>
                  <a:pt x="27531" y="22093"/>
                  <a:pt x="27625" y="22218"/>
                </a:cubicBezTo>
                <a:cubicBezTo>
                  <a:pt x="27625" y="22218"/>
                  <a:pt x="27594" y="22187"/>
                  <a:pt x="27563" y="22218"/>
                </a:cubicBezTo>
                <a:cubicBezTo>
                  <a:pt x="27563" y="22281"/>
                  <a:pt x="27656" y="22281"/>
                  <a:pt x="27656" y="22343"/>
                </a:cubicBezTo>
                <a:cubicBezTo>
                  <a:pt x="27688" y="22374"/>
                  <a:pt x="27781" y="22374"/>
                  <a:pt x="27750" y="22468"/>
                </a:cubicBezTo>
                <a:cubicBezTo>
                  <a:pt x="27750" y="22468"/>
                  <a:pt x="27781" y="22499"/>
                  <a:pt x="27813" y="22531"/>
                </a:cubicBezTo>
                <a:cubicBezTo>
                  <a:pt x="27781" y="22499"/>
                  <a:pt x="27750" y="22468"/>
                  <a:pt x="27750" y="22468"/>
                </a:cubicBezTo>
                <a:cubicBezTo>
                  <a:pt x="27469" y="22218"/>
                  <a:pt x="27156" y="21999"/>
                  <a:pt x="26875" y="21781"/>
                </a:cubicBezTo>
                <a:cubicBezTo>
                  <a:pt x="26875" y="21781"/>
                  <a:pt x="26844" y="21749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44" y="21718"/>
                  <a:pt x="26844" y="21718"/>
                  <a:pt x="26844" y="21718"/>
                </a:cubicBezTo>
                <a:cubicBezTo>
                  <a:pt x="26813" y="21718"/>
                  <a:pt x="26781" y="21718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ubicBezTo>
                  <a:pt x="26688" y="21656"/>
                  <a:pt x="26625" y="21593"/>
                  <a:pt x="26563" y="21531"/>
                </a:cubicBezTo>
                <a:cubicBezTo>
                  <a:pt x="26344" y="21374"/>
                  <a:pt x="26125" y="21218"/>
                  <a:pt x="25875" y="21062"/>
                </a:cubicBezTo>
                <a:cubicBezTo>
                  <a:pt x="25875" y="21031"/>
                  <a:pt x="25875" y="21031"/>
                  <a:pt x="25875" y="20999"/>
                </a:cubicBezTo>
                <a:close/>
                <a:moveTo>
                  <a:pt x="25906" y="21999"/>
                </a:moveTo>
                <a:cubicBezTo>
                  <a:pt x="25938" y="21968"/>
                  <a:pt x="25938" y="21906"/>
                  <a:pt x="25938" y="21874"/>
                </a:cubicBezTo>
                <a:cubicBezTo>
                  <a:pt x="26031" y="21906"/>
                  <a:pt x="25969" y="21968"/>
                  <a:pt x="26000" y="22031"/>
                </a:cubicBezTo>
                <a:cubicBezTo>
                  <a:pt x="26000" y="22031"/>
                  <a:pt x="26000" y="22031"/>
                  <a:pt x="26000" y="22031"/>
                </a:cubicBezTo>
                <a:cubicBezTo>
                  <a:pt x="26031" y="22093"/>
                  <a:pt x="25969" y="22156"/>
                  <a:pt x="25969" y="22218"/>
                </a:cubicBezTo>
                <a:cubicBezTo>
                  <a:pt x="25875" y="22156"/>
                  <a:pt x="25906" y="22062"/>
                  <a:pt x="25906" y="21999"/>
                </a:cubicBezTo>
                <a:close/>
                <a:moveTo>
                  <a:pt x="25969" y="22281"/>
                </a:moveTo>
                <a:cubicBezTo>
                  <a:pt x="25969" y="22281"/>
                  <a:pt x="25969" y="22249"/>
                  <a:pt x="25969" y="22249"/>
                </a:cubicBezTo>
                <a:cubicBezTo>
                  <a:pt x="25969" y="22249"/>
                  <a:pt x="25969" y="22249"/>
                  <a:pt x="25969" y="22249"/>
                </a:cubicBezTo>
                <a:cubicBezTo>
                  <a:pt x="26000" y="22218"/>
                  <a:pt x="26031" y="22312"/>
                  <a:pt x="26031" y="22249"/>
                </a:cubicBezTo>
                <a:cubicBezTo>
                  <a:pt x="26031" y="22218"/>
                  <a:pt x="26031" y="22187"/>
                  <a:pt x="26063" y="22156"/>
                </a:cubicBezTo>
                <a:cubicBezTo>
                  <a:pt x="26063" y="22156"/>
                  <a:pt x="26063" y="22156"/>
                  <a:pt x="26063" y="22156"/>
                </a:cubicBezTo>
                <a:cubicBezTo>
                  <a:pt x="26094" y="22187"/>
                  <a:pt x="26063" y="22281"/>
                  <a:pt x="26125" y="22312"/>
                </a:cubicBezTo>
                <a:cubicBezTo>
                  <a:pt x="26125" y="22312"/>
                  <a:pt x="26125" y="22343"/>
                  <a:pt x="26094" y="22343"/>
                </a:cubicBezTo>
                <a:cubicBezTo>
                  <a:pt x="26031" y="22312"/>
                  <a:pt x="26000" y="22343"/>
                  <a:pt x="25969" y="22281"/>
                </a:cubicBezTo>
                <a:close/>
                <a:moveTo>
                  <a:pt x="26281" y="24031"/>
                </a:moveTo>
                <a:cubicBezTo>
                  <a:pt x="26281" y="24031"/>
                  <a:pt x="26281" y="24031"/>
                  <a:pt x="26281" y="24031"/>
                </a:cubicBezTo>
                <a:cubicBezTo>
                  <a:pt x="26281" y="24031"/>
                  <a:pt x="26281" y="23999"/>
                  <a:pt x="26313" y="23999"/>
                </a:cubicBezTo>
                <a:cubicBezTo>
                  <a:pt x="26281" y="23999"/>
                  <a:pt x="26281" y="24031"/>
                  <a:pt x="26281" y="24031"/>
                </a:cubicBezTo>
                <a:close/>
                <a:moveTo>
                  <a:pt x="26219" y="23468"/>
                </a:moveTo>
                <a:cubicBezTo>
                  <a:pt x="26188" y="23437"/>
                  <a:pt x="26156" y="23468"/>
                  <a:pt x="26125" y="23437"/>
                </a:cubicBezTo>
                <a:cubicBezTo>
                  <a:pt x="26125" y="23437"/>
                  <a:pt x="26125" y="23437"/>
                  <a:pt x="26125" y="23437"/>
                </a:cubicBezTo>
                <a:cubicBezTo>
                  <a:pt x="26156" y="23437"/>
                  <a:pt x="26188" y="23406"/>
                  <a:pt x="26156" y="23374"/>
                </a:cubicBezTo>
                <a:cubicBezTo>
                  <a:pt x="26125" y="23343"/>
                  <a:pt x="26094" y="23312"/>
                  <a:pt x="26094" y="23281"/>
                </a:cubicBezTo>
                <a:cubicBezTo>
                  <a:pt x="26063" y="23281"/>
                  <a:pt x="26063" y="23312"/>
                  <a:pt x="26031" y="23312"/>
                </a:cubicBezTo>
                <a:cubicBezTo>
                  <a:pt x="26063" y="23312"/>
                  <a:pt x="26063" y="23281"/>
                  <a:pt x="26094" y="23281"/>
                </a:cubicBezTo>
                <a:cubicBezTo>
                  <a:pt x="26094" y="23281"/>
                  <a:pt x="26094" y="23249"/>
                  <a:pt x="26094" y="23249"/>
                </a:cubicBezTo>
                <a:cubicBezTo>
                  <a:pt x="26188" y="23312"/>
                  <a:pt x="26250" y="23437"/>
                  <a:pt x="26344" y="23499"/>
                </a:cubicBezTo>
                <a:cubicBezTo>
                  <a:pt x="26281" y="23531"/>
                  <a:pt x="26250" y="23499"/>
                  <a:pt x="26219" y="23468"/>
                </a:cubicBezTo>
                <a:close/>
                <a:moveTo>
                  <a:pt x="26469" y="24218"/>
                </a:moveTo>
                <a:cubicBezTo>
                  <a:pt x="26469" y="24218"/>
                  <a:pt x="26469" y="24218"/>
                  <a:pt x="26469" y="24218"/>
                </a:cubicBezTo>
                <a:cubicBezTo>
                  <a:pt x="26500" y="24218"/>
                  <a:pt x="26500" y="24218"/>
                  <a:pt x="26531" y="24187"/>
                </a:cubicBezTo>
                <a:cubicBezTo>
                  <a:pt x="26500" y="24218"/>
                  <a:pt x="26500" y="24218"/>
                  <a:pt x="26469" y="24218"/>
                </a:cubicBezTo>
                <a:close/>
                <a:moveTo>
                  <a:pt x="26844" y="23218"/>
                </a:moveTo>
                <a:cubicBezTo>
                  <a:pt x="26813" y="23218"/>
                  <a:pt x="26813" y="23218"/>
                  <a:pt x="26813" y="23218"/>
                </a:cubicBezTo>
                <a:cubicBezTo>
                  <a:pt x="26844" y="23218"/>
                  <a:pt x="26844" y="23218"/>
                  <a:pt x="26844" y="23218"/>
                </a:cubicBezTo>
                <a:cubicBezTo>
                  <a:pt x="26844" y="23218"/>
                  <a:pt x="26844" y="23218"/>
                  <a:pt x="26844" y="23218"/>
                </a:cubicBezTo>
                <a:close/>
                <a:moveTo>
                  <a:pt x="27250" y="24624"/>
                </a:moveTo>
                <a:cubicBezTo>
                  <a:pt x="27125" y="24624"/>
                  <a:pt x="27094" y="24562"/>
                  <a:pt x="27031" y="24499"/>
                </a:cubicBezTo>
                <a:cubicBezTo>
                  <a:pt x="27094" y="24531"/>
                  <a:pt x="27156" y="24562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ubicBezTo>
                  <a:pt x="27250" y="24624"/>
                  <a:pt x="27250" y="24624"/>
                  <a:pt x="27250" y="24624"/>
                </a:cubicBezTo>
                <a:close/>
                <a:moveTo>
                  <a:pt x="27281" y="23593"/>
                </a:moveTo>
                <a:cubicBezTo>
                  <a:pt x="27219" y="23562"/>
                  <a:pt x="27188" y="23468"/>
                  <a:pt x="27094" y="23468"/>
                </a:cubicBezTo>
                <a:cubicBezTo>
                  <a:pt x="27094" y="23343"/>
                  <a:pt x="26938" y="23343"/>
                  <a:pt x="26938" y="23249"/>
                </a:cubicBezTo>
                <a:cubicBezTo>
                  <a:pt x="26906" y="23187"/>
                  <a:pt x="26875" y="23218"/>
                  <a:pt x="26844" y="23218"/>
                </a:cubicBezTo>
                <a:cubicBezTo>
                  <a:pt x="26813" y="23156"/>
                  <a:pt x="26781" y="23124"/>
                  <a:pt x="26688" y="23124"/>
                </a:cubicBezTo>
                <a:cubicBezTo>
                  <a:pt x="26656" y="23124"/>
                  <a:pt x="26625" y="23062"/>
                  <a:pt x="26625" y="23031"/>
                </a:cubicBezTo>
                <a:cubicBezTo>
                  <a:pt x="26625" y="22999"/>
                  <a:pt x="26594" y="22968"/>
                  <a:pt x="26563" y="22968"/>
                </a:cubicBezTo>
                <a:cubicBezTo>
                  <a:pt x="26500" y="22968"/>
                  <a:pt x="26500" y="22937"/>
                  <a:pt x="26500" y="22906"/>
                </a:cubicBezTo>
                <a:cubicBezTo>
                  <a:pt x="26469" y="22843"/>
                  <a:pt x="26406" y="22812"/>
                  <a:pt x="26344" y="22812"/>
                </a:cubicBezTo>
                <a:cubicBezTo>
                  <a:pt x="26313" y="22812"/>
                  <a:pt x="26281" y="22781"/>
                  <a:pt x="26313" y="22749"/>
                </a:cubicBezTo>
                <a:cubicBezTo>
                  <a:pt x="26313" y="22718"/>
                  <a:pt x="26344" y="22749"/>
                  <a:pt x="26375" y="22749"/>
                </a:cubicBezTo>
                <a:cubicBezTo>
                  <a:pt x="26406" y="22749"/>
                  <a:pt x="26438" y="22781"/>
                  <a:pt x="26406" y="22718"/>
                </a:cubicBezTo>
                <a:cubicBezTo>
                  <a:pt x="26406" y="22687"/>
                  <a:pt x="26469" y="22687"/>
                  <a:pt x="26469" y="22687"/>
                </a:cubicBezTo>
                <a:cubicBezTo>
                  <a:pt x="26531" y="22687"/>
                  <a:pt x="26594" y="22718"/>
                  <a:pt x="26656" y="22718"/>
                </a:cubicBezTo>
                <a:cubicBezTo>
                  <a:pt x="26688" y="22718"/>
                  <a:pt x="26688" y="22749"/>
                  <a:pt x="26688" y="22749"/>
                </a:cubicBezTo>
                <a:cubicBezTo>
                  <a:pt x="26688" y="22749"/>
                  <a:pt x="26688" y="22781"/>
                  <a:pt x="26656" y="22781"/>
                </a:cubicBezTo>
                <a:cubicBezTo>
                  <a:pt x="26625" y="22781"/>
                  <a:pt x="26594" y="22781"/>
                  <a:pt x="26563" y="22781"/>
                </a:cubicBezTo>
                <a:cubicBezTo>
                  <a:pt x="26563" y="22781"/>
                  <a:pt x="26531" y="22781"/>
                  <a:pt x="26531" y="22812"/>
                </a:cubicBezTo>
                <a:cubicBezTo>
                  <a:pt x="26531" y="22843"/>
                  <a:pt x="26563" y="22812"/>
                  <a:pt x="26563" y="22812"/>
                </a:cubicBezTo>
                <a:cubicBezTo>
                  <a:pt x="26625" y="22843"/>
                  <a:pt x="26594" y="22843"/>
                  <a:pt x="26594" y="22874"/>
                </a:cubicBezTo>
                <a:cubicBezTo>
                  <a:pt x="26594" y="22906"/>
                  <a:pt x="26563" y="22906"/>
                  <a:pt x="26563" y="22906"/>
                </a:cubicBezTo>
                <a:lnTo>
                  <a:pt x="26563" y="22906"/>
                </a:lnTo>
                <a:cubicBezTo>
                  <a:pt x="26563" y="22906"/>
                  <a:pt x="26531" y="22906"/>
                  <a:pt x="26531" y="22906"/>
                </a:cubicBezTo>
                <a:cubicBezTo>
                  <a:pt x="26563" y="22874"/>
                  <a:pt x="26563" y="22874"/>
                  <a:pt x="26594" y="22874"/>
                </a:cubicBezTo>
                <a:cubicBezTo>
                  <a:pt x="26688" y="22843"/>
                  <a:pt x="26781" y="22874"/>
                  <a:pt x="26875" y="22812"/>
                </a:cubicBezTo>
                <a:cubicBezTo>
                  <a:pt x="26906" y="22781"/>
                  <a:pt x="26906" y="22812"/>
                  <a:pt x="26938" y="22812"/>
                </a:cubicBezTo>
                <a:cubicBezTo>
                  <a:pt x="27000" y="22812"/>
                  <a:pt x="27031" y="22843"/>
                  <a:pt x="27094" y="22843"/>
                </a:cubicBezTo>
                <a:cubicBezTo>
                  <a:pt x="27125" y="22843"/>
                  <a:pt x="27156" y="22874"/>
                  <a:pt x="27188" y="22874"/>
                </a:cubicBezTo>
                <a:cubicBezTo>
                  <a:pt x="27219" y="22906"/>
                  <a:pt x="27250" y="22906"/>
                  <a:pt x="27250" y="22874"/>
                </a:cubicBezTo>
                <a:cubicBezTo>
                  <a:pt x="27250" y="22843"/>
                  <a:pt x="27188" y="22812"/>
                  <a:pt x="27250" y="22812"/>
                </a:cubicBezTo>
                <a:cubicBezTo>
                  <a:pt x="27281" y="22812"/>
                  <a:pt x="27250" y="22843"/>
                  <a:pt x="27250" y="22874"/>
                </a:cubicBezTo>
                <a:cubicBezTo>
                  <a:pt x="27250" y="22968"/>
                  <a:pt x="27250" y="23062"/>
                  <a:pt x="27313" y="23124"/>
                </a:cubicBezTo>
                <a:cubicBezTo>
                  <a:pt x="27313" y="23156"/>
                  <a:pt x="27344" y="23187"/>
                  <a:pt x="27313" y="23218"/>
                </a:cubicBezTo>
                <a:cubicBezTo>
                  <a:pt x="27281" y="23249"/>
                  <a:pt x="27313" y="23249"/>
                  <a:pt x="27344" y="23249"/>
                </a:cubicBezTo>
                <a:cubicBezTo>
                  <a:pt x="27344" y="23281"/>
                  <a:pt x="27375" y="23312"/>
                  <a:pt x="27344" y="23343"/>
                </a:cubicBezTo>
                <a:cubicBezTo>
                  <a:pt x="27344" y="23343"/>
                  <a:pt x="27344" y="23343"/>
                  <a:pt x="27344" y="23343"/>
                </a:cubicBezTo>
                <a:cubicBezTo>
                  <a:pt x="27313" y="23343"/>
                  <a:pt x="27313" y="23343"/>
                  <a:pt x="27281" y="23343"/>
                </a:cubicBezTo>
                <a:cubicBezTo>
                  <a:pt x="27281" y="23343"/>
                  <a:pt x="27281" y="23343"/>
                  <a:pt x="27281" y="23343"/>
                </a:cubicBezTo>
                <a:cubicBezTo>
                  <a:pt x="27313" y="23343"/>
                  <a:pt x="27313" y="23374"/>
                  <a:pt x="27313" y="23374"/>
                </a:cubicBezTo>
                <a:cubicBezTo>
                  <a:pt x="27344" y="23406"/>
                  <a:pt x="27375" y="23374"/>
                  <a:pt x="27375" y="23374"/>
                </a:cubicBezTo>
                <a:cubicBezTo>
                  <a:pt x="27406" y="23374"/>
                  <a:pt x="27406" y="23312"/>
                  <a:pt x="27438" y="23312"/>
                </a:cubicBezTo>
                <a:cubicBezTo>
                  <a:pt x="27406" y="23312"/>
                  <a:pt x="27406" y="23374"/>
                  <a:pt x="27375" y="23374"/>
                </a:cubicBezTo>
                <a:cubicBezTo>
                  <a:pt x="27375" y="23374"/>
                  <a:pt x="27375" y="23374"/>
                  <a:pt x="27375" y="23374"/>
                </a:cubicBezTo>
                <a:cubicBezTo>
                  <a:pt x="27375" y="23406"/>
                  <a:pt x="27406" y="23437"/>
                  <a:pt x="27406" y="23437"/>
                </a:cubicBezTo>
                <a:cubicBezTo>
                  <a:pt x="27438" y="23437"/>
                  <a:pt x="27438" y="23437"/>
                  <a:pt x="27438" y="23437"/>
                </a:cubicBezTo>
                <a:cubicBezTo>
                  <a:pt x="27375" y="23437"/>
                  <a:pt x="27344" y="23406"/>
                  <a:pt x="27313" y="23406"/>
                </a:cubicBezTo>
                <a:cubicBezTo>
                  <a:pt x="27313" y="23437"/>
                  <a:pt x="27281" y="23406"/>
                  <a:pt x="27281" y="23437"/>
                </a:cubicBezTo>
                <a:cubicBezTo>
                  <a:pt x="27250" y="23499"/>
                  <a:pt x="27281" y="23499"/>
                  <a:pt x="27313" y="23499"/>
                </a:cubicBezTo>
                <a:cubicBezTo>
                  <a:pt x="27375" y="23499"/>
                  <a:pt x="27406" y="23499"/>
                  <a:pt x="27438" y="23499"/>
                </a:cubicBezTo>
                <a:cubicBezTo>
                  <a:pt x="27438" y="23499"/>
                  <a:pt x="27438" y="23499"/>
                  <a:pt x="27438" y="23499"/>
                </a:cubicBezTo>
                <a:cubicBezTo>
                  <a:pt x="27438" y="23593"/>
                  <a:pt x="27344" y="23562"/>
                  <a:pt x="27281" y="23593"/>
                </a:cubicBezTo>
                <a:close/>
                <a:moveTo>
                  <a:pt x="28125" y="24343"/>
                </a:moveTo>
                <a:cubicBezTo>
                  <a:pt x="27969" y="24374"/>
                  <a:pt x="27969" y="24187"/>
                  <a:pt x="27875" y="24187"/>
                </a:cubicBezTo>
                <a:cubicBezTo>
                  <a:pt x="27844" y="24187"/>
                  <a:pt x="27781" y="24124"/>
                  <a:pt x="27781" y="24062"/>
                </a:cubicBezTo>
                <a:cubicBezTo>
                  <a:pt x="27781" y="24031"/>
                  <a:pt x="27750" y="24031"/>
                  <a:pt x="27719" y="24031"/>
                </a:cubicBezTo>
                <a:cubicBezTo>
                  <a:pt x="27656" y="24031"/>
                  <a:pt x="27625" y="23999"/>
                  <a:pt x="27625" y="23937"/>
                </a:cubicBezTo>
                <a:cubicBezTo>
                  <a:pt x="27594" y="23874"/>
                  <a:pt x="27563" y="23843"/>
                  <a:pt x="27500" y="23843"/>
                </a:cubicBezTo>
                <a:cubicBezTo>
                  <a:pt x="27563" y="23781"/>
                  <a:pt x="27625" y="23749"/>
                  <a:pt x="27531" y="23656"/>
                </a:cubicBezTo>
                <a:cubicBezTo>
                  <a:pt x="27594" y="23656"/>
                  <a:pt x="27656" y="23687"/>
                  <a:pt x="27656" y="23718"/>
                </a:cubicBezTo>
                <a:cubicBezTo>
                  <a:pt x="27688" y="23749"/>
                  <a:pt x="27719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50" y="23749"/>
                  <a:pt x="27750" y="23749"/>
                  <a:pt x="27750" y="23749"/>
                </a:cubicBezTo>
                <a:cubicBezTo>
                  <a:pt x="27719" y="23781"/>
                  <a:pt x="27688" y="23812"/>
                  <a:pt x="27625" y="23843"/>
                </a:cubicBezTo>
                <a:cubicBezTo>
                  <a:pt x="27688" y="23843"/>
                  <a:pt x="27688" y="23843"/>
                  <a:pt x="27719" y="23843"/>
                </a:cubicBezTo>
                <a:cubicBezTo>
                  <a:pt x="27844" y="23781"/>
                  <a:pt x="27969" y="23781"/>
                  <a:pt x="28094" y="23843"/>
                </a:cubicBezTo>
                <a:cubicBezTo>
                  <a:pt x="28250" y="23906"/>
                  <a:pt x="28406" y="23968"/>
                  <a:pt x="28594" y="23968"/>
                </a:cubicBezTo>
                <a:cubicBezTo>
                  <a:pt x="28563" y="23968"/>
                  <a:pt x="28531" y="23968"/>
                  <a:pt x="28500" y="23906"/>
                </a:cubicBezTo>
                <a:cubicBezTo>
                  <a:pt x="28594" y="23906"/>
                  <a:pt x="28656" y="23906"/>
                  <a:pt x="28719" y="23906"/>
                </a:cubicBezTo>
                <a:cubicBezTo>
                  <a:pt x="28750" y="23937"/>
                  <a:pt x="28781" y="23968"/>
                  <a:pt x="28875" y="23968"/>
                </a:cubicBezTo>
                <a:cubicBezTo>
                  <a:pt x="28813" y="23999"/>
                  <a:pt x="28750" y="23968"/>
                  <a:pt x="28719" y="24031"/>
                </a:cubicBezTo>
                <a:cubicBezTo>
                  <a:pt x="28750" y="24093"/>
                  <a:pt x="28813" y="24062"/>
                  <a:pt x="28844" y="24093"/>
                </a:cubicBezTo>
                <a:cubicBezTo>
                  <a:pt x="28844" y="24093"/>
                  <a:pt x="28844" y="24124"/>
                  <a:pt x="28844" y="24124"/>
                </a:cubicBezTo>
                <a:cubicBezTo>
                  <a:pt x="28844" y="24124"/>
                  <a:pt x="28844" y="24156"/>
                  <a:pt x="28813" y="24156"/>
                </a:cubicBezTo>
                <a:cubicBezTo>
                  <a:pt x="28813" y="24156"/>
                  <a:pt x="28813" y="24156"/>
                  <a:pt x="28813" y="24156"/>
                </a:cubicBezTo>
                <a:cubicBezTo>
                  <a:pt x="28781" y="24218"/>
                  <a:pt x="28750" y="24281"/>
                  <a:pt x="28656" y="24281"/>
                </a:cubicBezTo>
                <a:cubicBezTo>
                  <a:pt x="28563" y="24281"/>
                  <a:pt x="28469" y="24281"/>
                  <a:pt x="28406" y="24343"/>
                </a:cubicBezTo>
                <a:cubicBezTo>
                  <a:pt x="28375" y="24312"/>
                  <a:pt x="28375" y="24281"/>
                  <a:pt x="28344" y="24249"/>
                </a:cubicBezTo>
                <a:cubicBezTo>
                  <a:pt x="28313" y="24187"/>
                  <a:pt x="28281" y="24187"/>
                  <a:pt x="28250" y="24218"/>
                </a:cubicBezTo>
                <a:cubicBezTo>
                  <a:pt x="28219" y="24249"/>
                  <a:pt x="28219" y="24281"/>
                  <a:pt x="28250" y="24312"/>
                </a:cubicBezTo>
                <a:cubicBezTo>
                  <a:pt x="28344" y="24343"/>
                  <a:pt x="28281" y="24374"/>
                  <a:pt x="28250" y="24374"/>
                </a:cubicBezTo>
                <a:cubicBezTo>
                  <a:pt x="28188" y="24374"/>
                  <a:pt x="28125" y="24437"/>
                  <a:pt x="28125" y="24343"/>
                </a:cubicBezTo>
                <a:close/>
                <a:moveTo>
                  <a:pt x="28781" y="24499"/>
                </a:moveTo>
                <a:cubicBezTo>
                  <a:pt x="28813" y="24531"/>
                  <a:pt x="28781" y="24562"/>
                  <a:pt x="28750" y="24562"/>
                </a:cubicBezTo>
                <a:cubicBezTo>
                  <a:pt x="28719" y="24562"/>
                  <a:pt x="28688" y="24593"/>
                  <a:pt x="28656" y="24562"/>
                </a:cubicBezTo>
                <a:cubicBezTo>
                  <a:pt x="28656" y="24531"/>
                  <a:pt x="28688" y="24499"/>
                  <a:pt x="28688" y="24499"/>
                </a:cubicBezTo>
                <a:cubicBezTo>
                  <a:pt x="28781" y="24374"/>
                  <a:pt x="28781" y="24374"/>
                  <a:pt x="28844" y="24437"/>
                </a:cubicBezTo>
                <a:cubicBezTo>
                  <a:pt x="28844" y="24437"/>
                  <a:pt x="28844" y="24468"/>
                  <a:pt x="28844" y="24468"/>
                </a:cubicBezTo>
                <a:cubicBezTo>
                  <a:pt x="28844" y="24468"/>
                  <a:pt x="28844" y="24468"/>
                  <a:pt x="28844" y="24468"/>
                </a:cubicBezTo>
                <a:cubicBezTo>
                  <a:pt x="28813" y="24468"/>
                  <a:pt x="28750" y="24437"/>
                  <a:pt x="28781" y="24499"/>
                </a:cubicBezTo>
                <a:close/>
                <a:moveTo>
                  <a:pt x="28344" y="24624"/>
                </a:moveTo>
                <a:cubicBezTo>
                  <a:pt x="28344" y="24624"/>
                  <a:pt x="28344" y="24562"/>
                  <a:pt x="28281" y="24531"/>
                </a:cubicBezTo>
                <a:cubicBezTo>
                  <a:pt x="28344" y="24468"/>
                  <a:pt x="28438" y="24562"/>
                  <a:pt x="28469" y="24468"/>
                </a:cubicBezTo>
                <a:cubicBezTo>
                  <a:pt x="28531" y="24593"/>
                  <a:pt x="28406" y="24562"/>
                  <a:pt x="28344" y="24624"/>
                </a:cubicBezTo>
                <a:close/>
                <a:moveTo>
                  <a:pt x="28625" y="24718"/>
                </a:moveTo>
                <a:cubicBezTo>
                  <a:pt x="28750" y="24718"/>
                  <a:pt x="28813" y="24843"/>
                  <a:pt x="28906" y="24937"/>
                </a:cubicBezTo>
                <a:cubicBezTo>
                  <a:pt x="28813" y="24874"/>
                  <a:pt x="28688" y="24812"/>
                  <a:pt x="28625" y="24718"/>
                </a:cubicBezTo>
                <a:close/>
                <a:moveTo>
                  <a:pt x="28875" y="23812"/>
                </a:moveTo>
                <a:cubicBezTo>
                  <a:pt x="28875" y="23781"/>
                  <a:pt x="28938" y="23781"/>
                  <a:pt x="28969" y="23781"/>
                </a:cubicBezTo>
                <a:cubicBezTo>
                  <a:pt x="28969" y="23812"/>
                  <a:pt x="28969" y="23812"/>
                  <a:pt x="28969" y="23843"/>
                </a:cubicBezTo>
                <a:cubicBezTo>
                  <a:pt x="29031" y="23843"/>
                  <a:pt x="29094" y="23874"/>
                  <a:pt x="29125" y="23906"/>
                </a:cubicBezTo>
                <a:cubicBezTo>
                  <a:pt x="29094" y="23874"/>
                  <a:pt x="29031" y="23843"/>
                  <a:pt x="28969" y="23843"/>
                </a:cubicBezTo>
                <a:cubicBezTo>
                  <a:pt x="28938" y="23843"/>
                  <a:pt x="28875" y="23843"/>
                  <a:pt x="28875" y="23812"/>
                </a:cubicBezTo>
                <a:close/>
                <a:moveTo>
                  <a:pt x="29000" y="24781"/>
                </a:moveTo>
                <a:cubicBezTo>
                  <a:pt x="28938" y="24781"/>
                  <a:pt x="28938" y="24749"/>
                  <a:pt x="28938" y="24718"/>
                </a:cubicBezTo>
                <a:cubicBezTo>
                  <a:pt x="28938" y="24687"/>
                  <a:pt x="28938" y="24656"/>
                  <a:pt x="28969" y="24656"/>
                </a:cubicBezTo>
                <a:cubicBezTo>
                  <a:pt x="29000" y="24687"/>
                  <a:pt x="29031" y="24718"/>
                  <a:pt x="29031" y="24749"/>
                </a:cubicBezTo>
                <a:cubicBezTo>
                  <a:pt x="29031" y="24781"/>
                  <a:pt x="29031" y="24812"/>
                  <a:pt x="29000" y="24781"/>
                </a:cubicBezTo>
                <a:close/>
                <a:moveTo>
                  <a:pt x="29188" y="24656"/>
                </a:moveTo>
                <a:cubicBezTo>
                  <a:pt x="29188" y="24687"/>
                  <a:pt x="29188" y="24718"/>
                  <a:pt x="29125" y="24749"/>
                </a:cubicBezTo>
                <a:cubicBezTo>
                  <a:pt x="29094" y="24718"/>
                  <a:pt x="29063" y="24718"/>
                  <a:pt x="29063" y="24687"/>
                </a:cubicBezTo>
                <a:cubicBezTo>
                  <a:pt x="29125" y="24687"/>
                  <a:pt x="29094" y="24593"/>
                  <a:pt x="29156" y="24593"/>
                </a:cubicBezTo>
                <a:cubicBezTo>
                  <a:pt x="29188" y="24624"/>
                  <a:pt x="29219" y="24624"/>
                  <a:pt x="29188" y="24656"/>
                </a:cubicBezTo>
                <a:close/>
                <a:moveTo>
                  <a:pt x="29281" y="24437"/>
                </a:moveTo>
                <a:cubicBezTo>
                  <a:pt x="29219" y="24437"/>
                  <a:pt x="29250" y="24499"/>
                  <a:pt x="29188" y="24531"/>
                </a:cubicBezTo>
                <a:cubicBezTo>
                  <a:pt x="29281" y="24437"/>
                  <a:pt x="29250" y="24406"/>
                  <a:pt x="29156" y="24406"/>
                </a:cubicBezTo>
                <a:cubicBezTo>
                  <a:pt x="29125" y="24374"/>
                  <a:pt x="29125" y="24374"/>
                  <a:pt x="29156" y="24281"/>
                </a:cubicBezTo>
                <a:cubicBezTo>
                  <a:pt x="29188" y="24312"/>
                  <a:pt x="29219" y="24312"/>
                  <a:pt x="29219" y="24312"/>
                </a:cubicBezTo>
                <a:cubicBezTo>
                  <a:pt x="29281" y="24312"/>
                  <a:pt x="29313" y="24406"/>
                  <a:pt x="29281" y="24437"/>
                </a:cubicBezTo>
                <a:close/>
                <a:moveTo>
                  <a:pt x="29313" y="23187"/>
                </a:moveTo>
                <a:cubicBezTo>
                  <a:pt x="29281" y="23312"/>
                  <a:pt x="29156" y="23281"/>
                  <a:pt x="29094" y="23312"/>
                </a:cubicBezTo>
                <a:cubicBezTo>
                  <a:pt x="29094" y="23281"/>
                  <a:pt x="29063" y="23281"/>
                  <a:pt x="29063" y="23281"/>
                </a:cubicBezTo>
                <a:cubicBezTo>
                  <a:pt x="29063" y="23281"/>
                  <a:pt x="29094" y="23281"/>
                  <a:pt x="29094" y="23312"/>
                </a:cubicBezTo>
                <a:cubicBezTo>
                  <a:pt x="29094" y="23281"/>
                  <a:pt x="29125" y="23249"/>
                  <a:pt x="29094" y="23218"/>
                </a:cubicBezTo>
                <a:cubicBezTo>
                  <a:pt x="29063" y="23187"/>
                  <a:pt x="29063" y="23156"/>
                  <a:pt x="29031" y="23124"/>
                </a:cubicBezTo>
                <a:cubicBezTo>
                  <a:pt x="29156" y="23124"/>
                  <a:pt x="29250" y="23093"/>
                  <a:pt x="29313" y="23031"/>
                </a:cubicBezTo>
                <a:cubicBezTo>
                  <a:pt x="29219" y="23062"/>
                  <a:pt x="29125" y="23093"/>
                  <a:pt x="29031" y="23124"/>
                </a:cubicBezTo>
                <a:cubicBezTo>
                  <a:pt x="29063" y="23062"/>
                  <a:pt x="28875" y="23031"/>
                  <a:pt x="29031" y="22937"/>
                </a:cubicBezTo>
                <a:cubicBezTo>
                  <a:pt x="28969" y="22937"/>
                  <a:pt x="28938" y="22937"/>
                  <a:pt x="28938" y="22874"/>
                </a:cubicBezTo>
                <a:cubicBezTo>
                  <a:pt x="28938" y="22843"/>
                  <a:pt x="28938" y="22812"/>
                  <a:pt x="28938" y="22749"/>
                </a:cubicBezTo>
                <a:cubicBezTo>
                  <a:pt x="29125" y="22749"/>
                  <a:pt x="29250" y="22781"/>
                  <a:pt x="29375" y="22906"/>
                </a:cubicBezTo>
                <a:cubicBezTo>
                  <a:pt x="29406" y="22968"/>
                  <a:pt x="29375" y="23031"/>
                  <a:pt x="29438" y="23093"/>
                </a:cubicBezTo>
                <a:cubicBezTo>
                  <a:pt x="29469" y="23124"/>
                  <a:pt x="29469" y="23156"/>
                  <a:pt x="29438" y="23187"/>
                </a:cubicBezTo>
                <a:cubicBezTo>
                  <a:pt x="29406" y="23218"/>
                  <a:pt x="29375" y="23218"/>
                  <a:pt x="29344" y="23187"/>
                </a:cubicBezTo>
                <a:cubicBezTo>
                  <a:pt x="29344" y="23187"/>
                  <a:pt x="29313" y="23156"/>
                  <a:pt x="29313" y="23187"/>
                </a:cubicBezTo>
                <a:close/>
                <a:moveTo>
                  <a:pt x="29438" y="23656"/>
                </a:moveTo>
                <a:cubicBezTo>
                  <a:pt x="29406" y="23687"/>
                  <a:pt x="29406" y="23718"/>
                  <a:pt x="29375" y="23718"/>
                </a:cubicBezTo>
                <a:cubicBezTo>
                  <a:pt x="29375" y="23749"/>
                  <a:pt x="29344" y="23781"/>
                  <a:pt x="29313" y="23812"/>
                </a:cubicBezTo>
                <a:cubicBezTo>
                  <a:pt x="29313" y="23749"/>
                  <a:pt x="29375" y="23624"/>
                  <a:pt x="29406" y="23593"/>
                </a:cubicBezTo>
                <a:cubicBezTo>
                  <a:pt x="29438" y="23593"/>
                  <a:pt x="29438" y="23593"/>
                  <a:pt x="29438" y="23624"/>
                </a:cubicBezTo>
                <a:cubicBezTo>
                  <a:pt x="29438" y="23624"/>
                  <a:pt x="29438" y="23656"/>
                  <a:pt x="29438" y="23656"/>
                </a:cubicBezTo>
                <a:close/>
                <a:moveTo>
                  <a:pt x="29344" y="23406"/>
                </a:moveTo>
                <a:cubicBezTo>
                  <a:pt x="29344" y="23374"/>
                  <a:pt x="29344" y="23374"/>
                  <a:pt x="29344" y="23374"/>
                </a:cubicBezTo>
                <a:cubicBezTo>
                  <a:pt x="29438" y="23374"/>
                  <a:pt x="29500" y="23343"/>
                  <a:pt x="29563" y="23406"/>
                </a:cubicBezTo>
                <a:cubicBezTo>
                  <a:pt x="29563" y="23406"/>
                  <a:pt x="29563" y="23406"/>
                  <a:pt x="29563" y="23437"/>
                </a:cubicBezTo>
                <a:cubicBezTo>
                  <a:pt x="29563" y="23437"/>
                  <a:pt x="29531" y="23437"/>
                  <a:pt x="29531" y="23437"/>
                </a:cubicBezTo>
                <a:cubicBezTo>
                  <a:pt x="29500" y="23437"/>
                  <a:pt x="29469" y="23437"/>
                  <a:pt x="29438" y="23437"/>
                </a:cubicBezTo>
                <a:cubicBezTo>
                  <a:pt x="29406" y="23406"/>
                  <a:pt x="29375" y="23437"/>
                  <a:pt x="29344" y="23406"/>
                </a:cubicBezTo>
                <a:close/>
                <a:moveTo>
                  <a:pt x="29969" y="24968"/>
                </a:moveTo>
                <a:cubicBezTo>
                  <a:pt x="29969" y="24999"/>
                  <a:pt x="29938" y="24999"/>
                  <a:pt x="29906" y="24999"/>
                </a:cubicBezTo>
                <a:cubicBezTo>
                  <a:pt x="29875" y="24968"/>
                  <a:pt x="29906" y="24937"/>
                  <a:pt x="29906" y="24906"/>
                </a:cubicBezTo>
                <a:cubicBezTo>
                  <a:pt x="29875" y="24906"/>
                  <a:pt x="29906" y="24874"/>
                  <a:pt x="29906" y="24874"/>
                </a:cubicBezTo>
                <a:cubicBezTo>
                  <a:pt x="29906" y="24874"/>
                  <a:pt x="29938" y="24874"/>
                  <a:pt x="29938" y="24843"/>
                </a:cubicBezTo>
                <a:cubicBezTo>
                  <a:pt x="29969" y="24874"/>
                  <a:pt x="29969" y="24874"/>
                  <a:pt x="29969" y="24906"/>
                </a:cubicBezTo>
                <a:cubicBezTo>
                  <a:pt x="30000" y="24937"/>
                  <a:pt x="29969" y="24968"/>
                  <a:pt x="29969" y="24968"/>
                </a:cubicBezTo>
                <a:close/>
                <a:moveTo>
                  <a:pt x="3969" y="15687"/>
                </a:moveTo>
                <a:cubicBezTo>
                  <a:pt x="3969" y="15687"/>
                  <a:pt x="3969" y="15656"/>
                  <a:pt x="4000" y="15656"/>
                </a:cubicBezTo>
                <a:cubicBezTo>
                  <a:pt x="4000" y="15656"/>
                  <a:pt x="3969" y="15656"/>
                  <a:pt x="3969" y="15656"/>
                </a:cubicBezTo>
                <a:cubicBezTo>
                  <a:pt x="3969" y="15656"/>
                  <a:pt x="3969" y="15656"/>
                  <a:pt x="3969" y="15656"/>
                </a:cubicBezTo>
                <a:cubicBezTo>
                  <a:pt x="3938" y="15687"/>
                  <a:pt x="3969" y="15687"/>
                  <a:pt x="3969" y="15687"/>
                </a:cubicBezTo>
                <a:close/>
                <a:moveTo>
                  <a:pt x="2250" y="16281"/>
                </a:moveTo>
                <a:cubicBezTo>
                  <a:pt x="2188" y="16249"/>
                  <a:pt x="2125" y="16249"/>
                  <a:pt x="2063" y="16249"/>
                </a:cubicBezTo>
                <a:cubicBezTo>
                  <a:pt x="2125" y="16312"/>
                  <a:pt x="2156" y="16312"/>
                  <a:pt x="2250" y="16281"/>
                </a:cubicBezTo>
                <a:close/>
                <a:moveTo>
                  <a:pt x="2156" y="16749"/>
                </a:moveTo>
                <a:cubicBezTo>
                  <a:pt x="2156" y="16749"/>
                  <a:pt x="2156" y="16749"/>
                  <a:pt x="2156" y="16749"/>
                </a:cubicBezTo>
                <a:cubicBezTo>
                  <a:pt x="2094" y="16781"/>
                  <a:pt x="2000" y="16718"/>
                  <a:pt x="1969" y="16843"/>
                </a:cubicBezTo>
                <a:cubicBezTo>
                  <a:pt x="2031" y="16812"/>
                  <a:pt x="2094" y="16812"/>
                  <a:pt x="2125" y="16781"/>
                </a:cubicBezTo>
                <a:cubicBezTo>
                  <a:pt x="2156" y="16781"/>
                  <a:pt x="2156" y="16781"/>
                  <a:pt x="2156" y="16749"/>
                </a:cubicBezTo>
                <a:close/>
                <a:moveTo>
                  <a:pt x="1969" y="16843"/>
                </a:moveTo>
                <a:cubicBezTo>
                  <a:pt x="1938" y="16874"/>
                  <a:pt x="1875" y="16874"/>
                  <a:pt x="1813" y="16843"/>
                </a:cubicBezTo>
                <a:cubicBezTo>
                  <a:pt x="1844" y="16812"/>
                  <a:pt x="1875" y="16812"/>
                  <a:pt x="1875" y="16781"/>
                </a:cubicBezTo>
                <a:cubicBezTo>
                  <a:pt x="1844" y="16749"/>
                  <a:pt x="1813" y="16781"/>
                  <a:pt x="1813" y="16781"/>
                </a:cubicBezTo>
                <a:cubicBezTo>
                  <a:pt x="1750" y="16812"/>
                  <a:pt x="1719" y="16843"/>
                  <a:pt x="1688" y="16812"/>
                </a:cubicBezTo>
                <a:cubicBezTo>
                  <a:pt x="1656" y="16781"/>
                  <a:pt x="1688" y="16749"/>
                  <a:pt x="1688" y="16718"/>
                </a:cubicBezTo>
                <a:cubicBezTo>
                  <a:pt x="1688" y="16656"/>
                  <a:pt x="1750" y="16656"/>
                  <a:pt x="1813" y="16656"/>
                </a:cubicBezTo>
                <a:cubicBezTo>
                  <a:pt x="1813" y="16656"/>
                  <a:pt x="1813" y="16656"/>
                  <a:pt x="1813" y="16624"/>
                </a:cubicBezTo>
                <a:lnTo>
                  <a:pt x="1813" y="16624"/>
                </a:lnTo>
                <a:cubicBezTo>
                  <a:pt x="1781" y="16593"/>
                  <a:pt x="1688" y="16593"/>
                  <a:pt x="1719" y="16562"/>
                </a:cubicBezTo>
                <a:cubicBezTo>
                  <a:pt x="1719" y="16499"/>
                  <a:pt x="1781" y="16593"/>
                  <a:pt x="1813" y="16562"/>
                </a:cubicBezTo>
                <a:cubicBezTo>
                  <a:pt x="1844" y="16562"/>
                  <a:pt x="1906" y="16562"/>
                  <a:pt x="1938" y="16531"/>
                </a:cubicBezTo>
                <a:cubicBezTo>
                  <a:pt x="2000" y="16468"/>
                  <a:pt x="2094" y="16468"/>
                  <a:pt x="2156" y="16437"/>
                </a:cubicBezTo>
                <a:cubicBezTo>
                  <a:pt x="2125" y="16499"/>
                  <a:pt x="2094" y="16531"/>
                  <a:pt x="2031" y="16499"/>
                </a:cubicBezTo>
                <a:cubicBezTo>
                  <a:pt x="2000" y="16499"/>
                  <a:pt x="2000" y="16562"/>
                  <a:pt x="1969" y="16593"/>
                </a:cubicBezTo>
                <a:cubicBezTo>
                  <a:pt x="2031" y="16593"/>
                  <a:pt x="2094" y="16593"/>
                  <a:pt x="2125" y="16624"/>
                </a:cubicBezTo>
                <a:cubicBezTo>
                  <a:pt x="2156" y="16624"/>
                  <a:pt x="2219" y="16656"/>
                  <a:pt x="2250" y="16593"/>
                </a:cubicBezTo>
                <a:cubicBezTo>
                  <a:pt x="2281" y="16499"/>
                  <a:pt x="2344" y="16562"/>
                  <a:pt x="2406" y="16593"/>
                </a:cubicBezTo>
                <a:cubicBezTo>
                  <a:pt x="2375" y="16593"/>
                  <a:pt x="2313" y="16562"/>
                  <a:pt x="2281" y="16624"/>
                </a:cubicBezTo>
                <a:cubicBezTo>
                  <a:pt x="2250" y="16624"/>
                  <a:pt x="2219" y="16687"/>
                  <a:pt x="2188" y="16718"/>
                </a:cubicBezTo>
                <a:cubicBezTo>
                  <a:pt x="2219" y="16718"/>
                  <a:pt x="2250" y="16718"/>
                  <a:pt x="2281" y="16718"/>
                </a:cubicBezTo>
                <a:cubicBezTo>
                  <a:pt x="2281" y="16718"/>
                  <a:pt x="2281" y="16718"/>
                  <a:pt x="2281" y="16718"/>
                </a:cubicBezTo>
                <a:cubicBezTo>
                  <a:pt x="2250" y="16718"/>
                  <a:pt x="2250" y="16718"/>
                  <a:pt x="2250" y="16749"/>
                </a:cubicBezTo>
                <a:cubicBezTo>
                  <a:pt x="2250" y="16749"/>
                  <a:pt x="2250" y="16781"/>
                  <a:pt x="2250" y="16781"/>
                </a:cubicBezTo>
                <a:cubicBezTo>
                  <a:pt x="2281" y="16781"/>
                  <a:pt x="2281" y="16749"/>
                  <a:pt x="2281" y="16718"/>
                </a:cubicBezTo>
                <a:cubicBezTo>
                  <a:pt x="2344" y="16749"/>
                  <a:pt x="2344" y="16718"/>
                  <a:pt x="2375" y="16687"/>
                </a:cubicBezTo>
                <a:cubicBezTo>
                  <a:pt x="2375" y="16687"/>
                  <a:pt x="2375" y="16687"/>
                  <a:pt x="2406" y="16687"/>
                </a:cubicBezTo>
                <a:cubicBezTo>
                  <a:pt x="2406" y="16656"/>
                  <a:pt x="2406" y="16656"/>
                  <a:pt x="2406" y="16624"/>
                </a:cubicBezTo>
                <a:cubicBezTo>
                  <a:pt x="2406" y="16656"/>
                  <a:pt x="2406" y="16656"/>
                  <a:pt x="2406" y="16687"/>
                </a:cubicBezTo>
                <a:cubicBezTo>
                  <a:pt x="2406" y="16718"/>
                  <a:pt x="2406" y="16718"/>
                  <a:pt x="2375" y="16749"/>
                </a:cubicBezTo>
                <a:cubicBezTo>
                  <a:pt x="2344" y="16781"/>
                  <a:pt x="2281" y="16781"/>
                  <a:pt x="2313" y="16843"/>
                </a:cubicBezTo>
                <a:cubicBezTo>
                  <a:pt x="2313" y="16874"/>
                  <a:pt x="2281" y="16874"/>
                  <a:pt x="2250" y="16906"/>
                </a:cubicBezTo>
                <a:cubicBezTo>
                  <a:pt x="2188" y="16906"/>
                  <a:pt x="2219" y="16874"/>
                  <a:pt x="2219" y="16843"/>
                </a:cubicBezTo>
                <a:cubicBezTo>
                  <a:pt x="2188" y="16812"/>
                  <a:pt x="2188" y="16843"/>
                  <a:pt x="2156" y="16874"/>
                </a:cubicBezTo>
                <a:cubicBezTo>
                  <a:pt x="2125" y="16937"/>
                  <a:pt x="2063" y="16874"/>
                  <a:pt x="2031" y="16874"/>
                </a:cubicBezTo>
                <a:cubicBezTo>
                  <a:pt x="2000" y="16906"/>
                  <a:pt x="1969" y="16874"/>
                  <a:pt x="1969" y="16843"/>
                </a:cubicBezTo>
                <a:close/>
                <a:moveTo>
                  <a:pt x="3531" y="15624"/>
                </a:moveTo>
                <a:cubicBezTo>
                  <a:pt x="3531" y="15624"/>
                  <a:pt x="3500" y="15624"/>
                  <a:pt x="3500" y="15624"/>
                </a:cubicBezTo>
                <a:cubicBezTo>
                  <a:pt x="3438" y="15656"/>
                  <a:pt x="3469" y="15718"/>
                  <a:pt x="3469" y="15749"/>
                </a:cubicBezTo>
                <a:cubicBezTo>
                  <a:pt x="3469" y="15718"/>
                  <a:pt x="3500" y="15687"/>
                  <a:pt x="3531" y="15656"/>
                </a:cubicBezTo>
                <a:cubicBezTo>
                  <a:pt x="3563" y="15656"/>
                  <a:pt x="3563" y="15624"/>
                  <a:pt x="3531" y="15624"/>
                </a:cubicBezTo>
                <a:close/>
                <a:moveTo>
                  <a:pt x="3469" y="15749"/>
                </a:moveTo>
                <a:cubicBezTo>
                  <a:pt x="3469" y="15781"/>
                  <a:pt x="3469" y="15781"/>
                  <a:pt x="3469" y="15781"/>
                </a:cubicBezTo>
                <a:cubicBezTo>
                  <a:pt x="3469" y="15812"/>
                  <a:pt x="3531" y="15781"/>
                  <a:pt x="3531" y="15812"/>
                </a:cubicBezTo>
                <a:cubicBezTo>
                  <a:pt x="3500" y="15843"/>
                  <a:pt x="3500" y="15874"/>
                  <a:pt x="3438" y="15874"/>
                </a:cubicBezTo>
                <a:cubicBezTo>
                  <a:pt x="3406" y="15874"/>
                  <a:pt x="3375" y="15906"/>
                  <a:pt x="3344" y="15937"/>
                </a:cubicBezTo>
                <a:lnTo>
                  <a:pt x="3344" y="15937"/>
                </a:lnTo>
                <a:cubicBezTo>
                  <a:pt x="3281" y="15999"/>
                  <a:pt x="3219" y="15999"/>
                  <a:pt x="3156" y="15968"/>
                </a:cubicBezTo>
                <a:cubicBezTo>
                  <a:pt x="3250" y="15968"/>
                  <a:pt x="3313" y="15906"/>
                  <a:pt x="3375" y="15812"/>
                </a:cubicBezTo>
                <a:cubicBezTo>
                  <a:pt x="3375" y="15812"/>
                  <a:pt x="3438" y="15781"/>
                  <a:pt x="3469" y="15749"/>
                </a:cubicBezTo>
                <a:close/>
                <a:moveTo>
                  <a:pt x="2719" y="15562"/>
                </a:moveTo>
                <a:cubicBezTo>
                  <a:pt x="2719" y="15562"/>
                  <a:pt x="2719" y="15593"/>
                  <a:pt x="2719" y="15593"/>
                </a:cubicBezTo>
                <a:cubicBezTo>
                  <a:pt x="2719" y="15656"/>
                  <a:pt x="2750" y="15687"/>
                  <a:pt x="2781" y="15718"/>
                </a:cubicBezTo>
                <a:cubicBezTo>
                  <a:pt x="2813" y="15656"/>
                  <a:pt x="2750" y="15624"/>
                  <a:pt x="2750" y="15593"/>
                </a:cubicBezTo>
                <a:cubicBezTo>
                  <a:pt x="2719" y="15562"/>
                  <a:pt x="2688" y="15531"/>
                  <a:pt x="2656" y="15531"/>
                </a:cubicBezTo>
                <a:cubicBezTo>
                  <a:pt x="2625" y="15593"/>
                  <a:pt x="2719" y="15531"/>
                  <a:pt x="2719" y="15562"/>
                </a:cubicBezTo>
                <a:close/>
                <a:moveTo>
                  <a:pt x="2656" y="16031"/>
                </a:moveTo>
                <a:cubicBezTo>
                  <a:pt x="2719" y="16062"/>
                  <a:pt x="2750" y="16062"/>
                  <a:pt x="2781" y="16031"/>
                </a:cubicBezTo>
                <a:cubicBezTo>
                  <a:pt x="2781" y="15999"/>
                  <a:pt x="2750" y="15937"/>
                  <a:pt x="2750" y="15906"/>
                </a:cubicBezTo>
                <a:cubicBezTo>
                  <a:pt x="2719" y="15843"/>
                  <a:pt x="2688" y="15874"/>
                  <a:pt x="2625" y="15874"/>
                </a:cubicBezTo>
                <a:cubicBezTo>
                  <a:pt x="2781" y="15906"/>
                  <a:pt x="2656" y="15999"/>
                  <a:pt x="2656" y="16031"/>
                </a:cubicBezTo>
                <a:close/>
                <a:moveTo>
                  <a:pt x="3469" y="15749"/>
                </a:moveTo>
                <a:cubicBezTo>
                  <a:pt x="3469" y="15749"/>
                  <a:pt x="3469" y="15749"/>
                  <a:pt x="3469" y="15749"/>
                </a:cubicBezTo>
                <a:cubicBezTo>
                  <a:pt x="3469" y="15749"/>
                  <a:pt x="3469" y="15749"/>
                  <a:pt x="3469" y="15749"/>
                </a:cubicBezTo>
                <a:close/>
                <a:moveTo>
                  <a:pt x="1344" y="17437"/>
                </a:moveTo>
                <a:cubicBezTo>
                  <a:pt x="1313" y="17437"/>
                  <a:pt x="1281" y="17437"/>
                  <a:pt x="1313" y="17468"/>
                </a:cubicBezTo>
                <a:cubicBezTo>
                  <a:pt x="1313" y="17468"/>
                  <a:pt x="1313" y="17531"/>
                  <a:pt x="1344" y="17531"/>
                </a:cubicBezTo>
                <a:cubicBezTo>
                  <a:pt x="1375" y="17531"/>
                  <a:pt x="1375" y="17499"/>
                  <a:pt x="1375" y="17468"/>
                </a:cubicBezTo>
                <a:cubicBezTo>
                  <a:pt x="1375" y="17437"/>
                  <a:pt x="1375" y="17437"/>
                  <a:pt x="1344" y="17437"/>
                </a:cubicBezTo>
                <a:close/>
                <a:moveTo>
                  <a:pt x="4219" y="16781"/>
                </a:moveTo>
                <a:cubicBezTo>
                  <a:pt x="4219" y="16781"/>
                  <a:pt x="4156" y="16781"/>
                  <a:pt x="4156" y="16812"/>
                </a:cubicBezTo>
                <a:cubicBezTo>
                  <a:pt x="4156" y="16843"/>
                  <a:pt x="4063" y="16843"/>
                  <a:pt x="4125" y="16874"/>
                </a:cubicBezTo>
                <a:cubicBezTo>
                  <a:pt x="4156" y="16906"/>
                  <a:pt x="4219" y="16937"/>
                  <a:pt x="4281" y="16874"/>
                </a:cubicBezTo>
                <a:cubicBezTo>
                  <a:pt x="4281" y="16874"/>
                  <a:pt x="4313" y="16874"/>
                  <a:pt x="4313" y="16812"/>
                </a:cubicBezTo>
                <a:cubicBezTo>
                  <a:pt x="4281" y="16812"/>
                  <a:pt x="4250" y="16843"/>
                  <a:pt x="4219" y="16781"/>
                </a:cubicBezTo>
                <a:close/>
                <a:moveTo>
                  <a:pt x="3438" y="18749"/>
                </a:moveTo>
                <a:cubicBezTo>
                  <a:pt x="3438" y="18718"/>
                  <a:pt x="3406" y="18749"/>
                  <a:pt x="3406" y="18781"/>
                </a:cubicBezTo>
                <a:cubicBezTo>
                  <a:pt x="3375" y="18781"/>
                  <a:pt x="3375" y="18812"/>
                  <a:pt x="3375" y="18812"/>
                </a:cubicBezTo>
                <a:cubicBezTo>
                  <a:pt x="3438" y="18843"/>
                  <a:pt x="3469" y="18874"/>
                  <a:pt x="3469" y="18906"/>
                </a:cubicBezTo>
                <a:cubicBezTo>
                  <a:pt x="3469" y="18906"/>
                  <a:pt x="3500" y="18937"/>
                  <a:pt x="3500" y="18906"/>
                </a:cubicBezTo>
                <a:cubicBezTo>
                  <a:pt x="3531" y="18843"/>
                  <a:pt x="3594" y="18874"/>
                  <a:pt x="3625" y="18843"/>
                </a:cubicBezTo>
                <a:cubicBezTo>
                  <a:pt x="3563" y="18812"/>
                  <a:pt x="3469" y="18874"/>
                  <a:pt x="3438" y="18749"/>
                </a:cubicBezTo>
                <a:close/>
                <a:moveTo>
                  <a:pt x="12750" y="12281"/>
                </a:moveTo>
                <a:cubicBezTo>
                  <a:pt x="12750" y="12281"/>
                  <a:pt x="12750" y="12249"/>
                  <a:pt x="12750" y="12218"/>
                </a:cubicBezTo>
                <a:cubicBezTo>
                  <a:pt x="12750" y="12218"/>
                  <a:pt x="12750" y="12218"/>
                  <a:pt x="12750" y="12218"/>
                </a:cubicBezTo>
                <a:cubicBezTo>
                  <a:pt x="12781" y="12218"/>
                  <a:pt x="12781" y="12187"/>
                  <a:pt x="12781" y="12187"/>
                </a:cubicBezTo>
                <a:cubicBezTo>
                  <a:pt x="12781" y="12187"/>
                  <a:pt x="12750" y="12187"/>
                  <a:pt x="12750" y="12187"/>
                </a:cubicBezTo>
                <a:cubicBezTo>
                  <a:pt x="12750" y="12187"/>
                  <a:pt x="12750" y="12218"/>
                  <a:pt x="12750" y="12218"/>
                </a:cubicBezTo>
                <a:cubicBezTo>
                  <a:pt x="12719" y="12218"/>
                  <a:pt x="12719" y="12218"/>
                  <a:pt x="12719" y="12249"/>
                </a:cubicBezTo>
                <a:cubicBezTo>
                  <a:pt x="12719" y="12249"/>
                  <a:pt x="12719" y="12281"/>
                  <a:pt x="12750" y="12281"/>
                </a:cubicBezTo>
                <a:close/>
                <a:moveTo>
                  <a:pt x="14313" y="16031"/>
                </a:moveTo>
                <a:cubicBezTo>
                  <a:pt x="14313" y="16031"/>
                  <a:pt x="14313" y="15999"/>
                  <a:pt x="14313" y="16031"/>
                </a:cubicBezTo>
                <a:close/>
                <a:moveTo>
                  <a:pt x="12969" y="15968"/>
                </a:moveTo>
                <a:cubicBezTo>
                  <a:pt x="12969" y="15968"/>
                  <a:pt x="12938" y="15999"/>
                  <a:pt x="12969" y="15999"/>
                </a:cubicBezTo>
                <a:cubicBezTo>
                  <a:pt x="12969" y="16031"/>
                  <a:pt x="12969" y="16031"/>
                  <a:pt x="12969" y="16031"/>
                </a:cubicBezTo>
                <a:cubicBezTo>
                  <a:pt x="13000" y="16062"/>
                  <a:pt x="13031" y="16062"/>
                  <a:pt x="13063" y="16093"/>
                </a:cubicBezTo>
                <a:cubicBezTo>
                  <a:pt x="13031" y="16062"/>
                  <a:pt x="13000" y="16062"/>
                  <a:pt x="12969" y="16031"/>
                </a:cubicBezTo>
                <a:cubicBezTo>
                  <a:pt x="12938" y="16093"/>
                  <a:pt x="12938" y="16124"/>
                  <a:pt x="12969" y="16156"/>
                </a:cubicBezTo>
                <a:cubicBezTo>
                  <a:pt x="13000" y="16281"/>
                  <a:pt x="13094" y="16249"/>
                  <a:pt x="13156" y="16218"/>
                </a:cubicBezTo>
                <a:cubicBezTo>
                  <a:pt x="13188" y="16187"/>
                  <a:pt x="13188" y="16249"/>
                  <a:pt x="13250" y="16218"/>
                </a:cubicBezTo>
                <a:cubicBezTo>
                  <a:pt x="13188" y="16156"/>
                  <a:pt x="13156" y="16093"/>
                  <a:pt x="13094" y="15999"/>
                </a:cubicBezTo>
                <a:cubicBezTo>
                  <a:pt x="13063" y="15968"/>
                  <a:pt x="13031" y="15937"/>
                  <a:pt x="12969" y="15968"/>
                </a:cubicBezTo>
                <a:close/>
                <a:moveTo>
                  <a:pt x="13156" y="16218"/>
                </a:moveTo>
                <a:cubicBezTo>
                  <a:pt x="13125" y="16187"/>
                  <a:pt x="13125" y="16187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25" y="16156"/>
                  <a:pt x="13125" y="16156"/>
                </a:cubicBezTo>
                <a:cubicBezTo>
                  <a:pt x="13125" y="16156"/>
                  <a:pt x="13156" y="16187"/>
                  <a:pt x="13156" y="16218"/>
                </a:cubicBezTo>
                <a:close/>
                <a:moveTo>
                  <a:pt x="9719" y="16874"/>
                </a:moveTo>
                <a:cubicBezTo>
                  <a:pt x="9719" y="16874"/>
                  <a:pt x="9719" y="16874"/>
                  <a:pt x="9719" y="16874"/>
                </a:cubicBezTo>
                <a:cubicBezTo>
                  <a:pt x="9719" y="16874"/>
                  <a:pt x="9719" y="16874"/>
                  <a:pt x="9719" y="16874"/>
                </a:cubicBezTo>
                <a:lnTo>
                  <a:pt x="9719" y="16874"/>
                </a:lnTo>
                <a:cubicBezTo>
                  <a:pt x="9719" y="16874"/>
                  <a:pt x="9719" y="16874"/>
                  <a:pt x="9719" y="16874"/>
                </a:cubicBezTo>
                <a:close/>
                <a:moveTo>
                  <a:pt x="26969" y="21468"/>
                </a:moveTo>
                <a:cubicBezTo>
                  <a:pt x="27063" y="21468"/>
                  <a:pt x="27094" y="21562"/>
                  <a:pt x="27219" y="21531"/>
                </a:cubicBezTo>
                <a:cubicBezTo>
                  <a:pt x="27125" y="21499"/>
                  <a:pt x="27063" y="21468"/>
                  <a:pt x="27000" y="21437"/>
                </a:cubicBezTo>
                <a:cubicBezTo>
                  <a:pt x="27000" y="21437"/>
                  <a:pt x="26969" y="21437"/>
                  <a:pt x="26969" y="21468"/>
                </a:cubicBezTo>
                <a:close/>
                <a:moveTo>
                  <a:pt x="26000" y="20937"/>
                </a:moveTo>
                <a:cubicBezTo>
                  <a:pt x="26000" y="20937"/>
                  <a:pt x="26000" y="20937"/>
                  <a:pt x="26000" y="20937"/>
                </a:cubicBezTo>
                <a:cubicBezTo>
                  <a:pt x="26000" y="20937"/>
                  <a:pt x="26000" y="20937"/>
                  <a:pt x="26000" y="20937"/>
                </a:cubicBezTo>
                <a:close/>
                <a:moveTo>
                  <a:pt x="28781" y="21999"/>
                </a:moveTo>
                <a:cubicBezTo>
                  <a:pt x="28781" y="21937"/>
                  <a:pt x="28781" y="21906"/>
                  <a:pt x="28781" y="21874"/>
                </a:cubicBezTo>
                <a:cubicBezTo>
                  <a:pt x="28688" y="21937"/>
                  <a:pt x="28688" y="21937"/>
                  <a:pt x="28781" y="21999"/>
                </a:cubicBezTo>
                <a:close/>
                <a:moveTo>
                  <a:pt x="23281" y="18749"/>
                </a:moveTo>
                <a:cubicBezTo>
                  <a:pt x="23281" y="18749"/>
                  <a:pt x="23313" y="18749"/>
                  <a:pt x="23313" y="18749"/>
                </a:cubicBezTo>
                <a:moveTo>
                  <a:pt x="23281" y="18749"/>
                </a:moveTo>
                <a:close/>
                <a:moveTo>
                  <a:pt x="28281" y="22468"/>
                </a:moveTo>
                <a:cubicBezTo>
                  <a:pt x="28281" y="22468"/>
                  <a:pt x="28250" y="22468"/>
                  <a:pt x="28250" y="22468"/>
                </a:cubicBezTo>
                <a:cubicBezTo>
                  <a:pt x="28281" y="22499"/>
                  <a:pt x="28281" y="22499"/>
                  <a:pt x="28281" y="22499"/>
                </a:cubicBezTo>
                <a:cubicBezTo>
                  <a:pt x="28313" y="22499"/>
                  <a:pt x="28313" y="22499"/>
                  <a:pt x="28313" y="22499"/>
                </a:cubicBezTo>
                <a:cubicBezTo>
                  <a:pt x="28313" y="22468"/>
                  <a:pt x="28313" y="22468"/>
                  <a:pt x="28281" y="22468"/>
                </a:cubicBezTo>
                <a:close/>
                <a:moveTo>
                  <a:pt x="28156" y="22156"/>
                </a:moveTo>
                <a:cubicBezTo>
                  <a:pt x="28156" y="22156"/>
                  <a:pt x="28156" y="22156"/>
                  <a:pt x="28156" y="22156"/>
                </a:cubicBezTo>
                <a:cubicBezTo>
                  <a:pt x="28156" y="22156"/>
                  <a:pt x="28156" y="22156"/>
                  <a:pt x="28156" y="22156"/>
                </a:cubicBezTo>
                <a:lnTo>
                  <a:pt x="28156" y="22156"/>
                </a:lnTo>
                <a:cubicBezTo>
                  <a:pt x="28156" y="22156"/>
                  <a:pt x="28156" y="22156"/>
                  <a:pt x="28156" y="22156"/>
                </a:cubicBezTo>
                <a:close/>
                <a:moveTo>
                  <a:pt x="25156" y="19156"/>
                </a:moveTo>
                <a:cubicBezTo>
                  <a:pt x="25156" y="19156"/>
                  <a:pt x="25156" y="19124"/>
                  <a:pt x="25156" y="19124"/>
                </a:cubicBezTo>
                <a:cubicBezTo>
                  <a:pt x="25156" y="19124"/>
                  <a:pt x="25125" y="19124"/>
                  <a:pt x="25125" y="19124"/>
                </a:cubicBezTo>
                <a:cubicBezTo>
                  <a:pt x="25125" y="19124"/>
                  <a:pt x="25125" y="19156"/>
                  <a:pt x="25125" y="19156"/>
                </a:cubicBezTo>
                <a:cubicBezTo>
                  <a:pt x="25156" y="19156"/>
                  <a:pt x="25156" y="19156"/>
                  <a:pt x="25156" y="19156"/>
                </a:cubicBezTo>
                <a:close/>
                <a:moveTo>
                  <a:pt x="25063" y="19249"/>
                </a:move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49"/>
                  <a:pt x="25031" y="19249"/>
                </a:cubicBezTo>
                <a:cubicBezTo>
                  <a:pt x="25031" y="19249"/>
                  <a:pt x="25031" y="19281"/>
                  <a:pt x="25031" y="19281"/>
                </a:cubicBezTo>
                <a:cubicBezTo>
                  <a:pt x="25031" y="19281"/>
                  <a:pt x="25031" y="19281"/>
                  <a:pt x="25063" y="19249"/>
                </a:cubicBezTo>
                <a:close/>
                <a:moveTo>
                  <a:pt x="24906" y="19562"/>
                </a:moveTo>
                <a:cubicBezTo>
                  <a:pt x="24906" y="19531"/>
                  <a:pt x="24844" y="19531"/>
                  <a:pt x="24844" y="19499"/>
                </a:cubicBezTo>
                <a:cubicBezTo>
                  <a:pt x="24844" y="19531"/>
                  <a:pt x="24813" y="19531"/>
                  <a:pt x="24813" y="19531"/>
                </a:cubicBezTo>
                <a:cubicBezTo>
                  <a:pt x="24781" y="19562"/>
                  <a:pt x="24844" y="19593"/>
                  <a:pt x="24844" y="19656"/>
                </a:cubicBezTo>
                <a:cubicBezTo>
                  <a:pt x="24844" y="19687"/>
                  <a:pt x="24875" y="19687"/>
                  <a:pt x="24875" y="19687"/>
                </a:cubicBezTo>
                <a:cubicBezTo>
                  <a:pt x="24906" y="19687"/>
                  <a:pt x="24906" y="19687"/>
                  <a:pt x="24906" y="19687"/>
                </a:cubicBezTo>
                <a:cubicBezTo>
                  <a:pt x="24938" y="19624"/>
                  <a:pt x="24875" y="19593"/>
                  <a:pt x="24906" y="19562"/>
                </a:cubicBezTo>
                <a:close/>
                <a:moveTo>
                  <a:pt x="26906" y="20468"/>
                </a:moveTo>
                <a:cubicBezTo>
                  <a:pt x="26906" y="20499"/>
                  <a:pt x="26938" y="20499"/>
                  <a:pt x="26969" y="20531"/>
                </a:cubicBezTo>
                <a:cubicBezTo>
                  <a:pt x="26938" y="20499"/>
                  <a:pt x="26938" y="20468"/>
                  <a:pt x="26906" y="20468"/>
                </a:cubicBezTo>
                <a:cubicBezTo>
                  <a:pt x="26906" y="20437"/>
                  <a:pt x="26875" y="20437"/>
                  <a:pt x="26844" y="20406"/>
                </a:cubicBezTo>
                <a:cubicBezTo>
                  <a:pt x="26844" y="20437"/>
                  <a:pt x="26875" y="20468"/>
                  <a:pt x="26906" y="20468"/>
                </a:cubicBezTo>
                <a:close/>
                <a:moveTo>
                  <a:pt x="25938" y="19874"/>
                </a:moveTo>
                <a:cubicBezTo>
                  <a:pt x="25906" y="19843"/>
                  <a:pt x="25875" y="19781"/>
                  <a:pt x="25813" y="19812"/>
                </a:cubicBezTo>
                <a:cubicBezTo>
                  <a:pt x="25813" y="19812"/>
                  <a:pt x="25813" y="19812"/>
                  <a:pt x="25813" y="19843"/>
                </a:cubicBezTo>
                <a:cubicBezTo>
                  <a:pt x="25844" y="19874"/>
                  <a:pt x="25906" y="19874"/>
                  <a:pt x="25938" y="19874"/>
                </a:cubicBezTo>
                <a:close/>
                <a:moveTo>
                  <a:pt x="26000" y="19843"/>
                </a:moveTo>
                <a:cubicBezTo>
                  <a:pt x="26000" y="19937"/>
                  <a:pt x="26063" y="19906"/>
                  <a:pt x="26125" y="19968"/>
                </a:cubicBezTo>
                <a:cubicBezTo>
                  <a:pt x="26125" y="19874"/>
                  <a:pt x="26063" y="19874"/>
                  <a:pt x="26000" y="19843"/>
                </a:cubicBezTo>
                <a:close/>
                <a:moveTo>
                  <a:pt x="25625" y="19906"/>
                </a:moveTo>
                <a:cubicBezTo>
                  <a:pt x="25594" y="19968"/>
                  <a:pt x="25594" y="20031"/>
                  <a:pt x="25656" y="20093"/>
                </a:cubicBezTo>
                <a:cubicBezTo>
                  <a:pt x="25688" y="20031"/>
                  <a:pt x="25625" y="19968"/>
                  <a:pt x="25625" y="19906"/>
                </a:cubicBezTo>
                <a:close/>
                <a:moveTo>
                  <a:pt x="25969" y="19781"/>
                </a:moveTo>
                <a:cubicBezTo>
                  <a:pt x="26031" y="19781"/>
                  <a:pt x="26031" y="19812"/>
                  <a:pt x="26063" y="19812"/>
                </a:cubicBezTo>
                <a:cubicBezTo>
                  <a:pt x="26125" y="19843"/>
                  <a:pt x="26156" y="19812"/>
                  <a:pt x="26156" y="19781"/>
                </a:cubicBezTo>
                <a:cubicBezTo>
                  <a:pt x="26094" y="19781"/>
                  <a:pt x="26031" y="19781"/>
                  <a:pt x="26000" y="19749"/>
                </a:cubicBezTo>
                <a:cubicBezTo>
                  <a:pt x="25969" y="19718"/>
                  <a:pt x="25938" y="19749"/>
                  <a:pt x="25938" y="19781"/>
                </a:cubicBezTo>
                <a:cubicBezTo>
                  <a:pt x="25938" y="19812"/>
                  <a:pt x="25969" y="19812"/>
                  <a:pt x="25969" y="19781"/>
                </a:cubicBezTo>
                <a:close/>
                <a:moveTo>
                  <a:pt x="26250" y="19968"/>
                </a:moveTo>
                <a:cubicBezTo>
                  <a:pt x="26281" y="19968"/>
                  <a:pt x="26313" y="19937"/>
                  <a:pt x="26313" y="19906"/>
                </a:cubicBezTo>
                <a:cubicBezTo>
                  <a:pt x="26313" y="19874"/>
                  <a:pt x="26250" y="19874"/>
                  <a:pt x="26219" y="19843"/>
                </a:cubicBezTo>
                <a:cubicBezTo>
                  <a:pt x="26188" y="19843"/>
                  <a:pt x="26156" y="19843"/>
                  <a:pt x="26156" y="19874"/>
                </a:cubicBezTo>
                <a:cubicBezTo>
                  <a:pt x="26156" y="19937"/>
                  <a:pt x="26219" y="19937"/>
                  <a:pt x="26250" y="19968"/>
                </a:cubicBezTo>
                <a:close/>
                <a:moveTo>
                  <a:pt x="26313" y="20406"/>
                </a:moveTo>
                <a:cubicBezTo>
                  <a:pt x="26344" y="20406"/>
                  <a:pt x="26375" y="20374"/>
                  <a:pt x="26438" y="20343"/>
                </a:cubicBezTo>
                <a:cubicBezTo>
                  <a:pt x="26406" y="20312"/>
                  <a:pt x="26406" y="20312"/>
                  <a:pt x="26406" y="20312"/>
                </a:cubicBezTo>
                <a:cubicBezTo>
                  <a:pt x="26344" y="20281"/>
                  <a:pt x="26344" y="20281"/>
                  <a:pt x="26313" y="20343"/>
                </a:cubicBezTo>
                <a:cubicBezTo>
                  <a:pt x="26313" y="20343"/>
                  <a:pt x="26281" y="20343"/>
                  <a:pt x="26281" y="20343"/>
                </a:cubicBezTo>
                <a:cubicBezTo>
                  <a:pt x="26250" y="20312"/>
                  <a:pt x="26250" y="20343"/>
                  <a:pt x="26250" y="20374"/>
                </a:cubicBezTo>
                <a:cubicBezTo>
                  <a:pt x="26250" y="20437"/>
                  <a:pt x="26281" y="20437"/>
                  <a:pt x="26313" y="20406"/>
                </a:cubicBezTo>
                <a:close/>
                <a:moveTo>
                  <a:pt x="25969" y="20437"/>
                </a:moveTo>
                <a:cubicBezTo>
                  <a:pt x="25969" y="20437"/>
                  <a:pt x="25969" y="20437"/>
                  <a:pt x="25969" y="20468"/>
                </a:cubicBezTo>
                <a:cubicBezTo>
                  <a:pt x="26000" y="20499"/>
                  <a:pt x="25938" y="20499"/>
                  <a:pt x="25969" y="20531"/>
                </a:cubicBezTo>
                <a:cubicBezTo>
                  <a:pt x="25969" y="20531"/>
                  <a:pt x="25969" y="20531"/>
                  <a:pt x="26000" y="20531"/>
                </a:cubicBezTo>
                <a:cubicBezTo>
                  <a:pt x="26063" y="20499"/>
                  <a:pt x="26094" y="20499"/>
                  <a:pt x="26156" y="20468"/>
                </a:cubicBezTo>
                <a:cubicBezTo>
                  <a:pt x="26188" y="20468"/>
                  <a:pt x="26219" y="20468"/>
                  <a:pt x="26188" y="20437"/>
                </a:cubicBezTo>
                <a:cubicBezTo>
                  <a:pt x="26188" y="20406"/>
                  <a:pt x="26156" y="20406"/>
                  <a:pt x="26156" y="20406"/>
                </a:cubicBezTo>
                <a:cubicBezTo>
                  <a:pt x="26094" y="20406"/>
                  <a:pt x="26063" y="20468"/>
                  <a:pt x="25969" y="20437"/>
                </a:cubicBezTo>
                <a:close/>
                <a:moveTo>
                  <a:pt x="25625" y="20406"/>
                </a:move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lnTo>
                  <a:pt x="25625" y="20406"/>
                </a:lnTo>
                <a:cubicBezTo>
                  <a:pt x="25625" y="20406"/>
                  <a:pt x="25625" y="20406"/>
                  <a:pt x="25625" y="20406"/>
                </a:cubicBezTo>
                <a:cubicBezTo>
                  <a:pt x="25625" y="20406"/>
                  <a:pt x="25625" y="20406"/>
                  <a:pt x="25625" y="20406"/>
                </a:cubicBezTo>
                <a:close/>
                <a:moveTo>
                  <a:pt x="21397" y="16897"/>
                </a:moveTo>
                <a:cubicBezTo>
                  <a:pt x="21384" y="16944"/>
                  <a:pt x="21415" y="16964"/>
                  <a:pt x="21469" y="16937"/>
                </a:cubicBezTo>
                <a:cubicBezTo>
                  <a:pt x="21438" y="17031"/>
                  <a:pt x="21531" y="17031"/>
                  <a:pt x="21563" y="17062"/>
                </a:cubicBezTo>
                <a:cubicBezTo>
                  <a:pt x="21625" y="17156"/>
                  <a:pt x="21750" y="17218"/>
                  <a:pt x="21813" y="17312"/>
                </a:cubicBezTo>
                <a:cubicBezTo>
                  <a:pt x="21813" y="17312"/>
                  <a:pt x="21781" y="17312"/>
                  <a:pt x="21781" y="17312"/>
                </a:cubicBezTo>
                <a:cubicBezTo>
                  <a:pt x="21750" y="17249"/>
                  <a:pt x="21688" y="17218"/>
                  <a:pt x="21625" y="17187"/>
                </a:cubicBezTo>
                <a:lnTo>
                  <a:pt x="21625" y="17187"/>
                </a:lnTo>
                <a:cubicBezTo>
                  <a:pt x="21625" y="17187"/>
                  <a:pt x="21625" y="17187"/>
                  <a:pt x="21625" y="17187"/>
                </a:cubicBezTo>
                <a:cubicBezTo>
                  <a:pt x="21594" y="17124"/>
                  <a:pt x="21531" y="17093"/>
                  <a:pt x="21469" y="17062"/>
                </a:cubicBezTo>
                <a:cubicBezTo>
                  <a:pt x="21469" y="17031"/>
                  <a:pt x="21438" y="16999"/>
                  <a:pt x="21406" y="16999"/>
                </a:cubicBezTo>
                <a:cubicBezTo>
                  <a:pt x="21406" y="16999"/>
                  <a:pt x="21406" y="16999"/>
                  <a:pt x="21406" y="16999"/>
                </a:cubicBezTo>
                <a:cubicBezTo>
                  <a:pt x="21344" y="16906"/>
                  <a:pt x="21281" y="16874"/>
                  <a:pt x="21188" y="16812"/>
                </a:cubicBezTo>
                <a:cubicBezTo>
                  <a:pt x="21188" y="16812"/>
                  <a:pt x="21188" y="16812"/>
                  <a:pt x="21188" y="16812"/>
                </a:cubicBezTo>
                <a:cubicBezTo>
                  <a:pt x="21188" y="16812"/>
                  <a:pt x="21156" y="16812"/>
                  <a:pt x="21156" y="16812"/>
                </a:cubicBezTo>
                <a:cubicBezTo>
                  <a:pt x="21156" y="16812"/>
                  <a:pt x="21156" y="16812"/>
                  <a:pt x="21188" y="16843"/>
                </a:cubicBezTo>
                <a:cubicBezTo>
                  <a:pt x="21188" y="16874"/>
                  <a:pt x="21219" y="16874"/>
                  <a:pt x="21219" y="16874"/>
                </a:cubicBezTo>
                <a:cubicBezTo>
                  <a:pt x="21250" y="16906"/>
                  <a:pt x="21281" y="16906"/>
                  <a:pt x="21250" y="16937"/>
                </a:cubicBezTo>
                <a:cubicBezTo>
                  <a:pt x="21250" y="16937"/>
                  <a:pt x="21219" y="16937"/>
                  <a:pt x="21219" y="16906"/>
                </a:cubicBezTo>
                <a:cubicBezTo>
                  <a:pt x="21219" y="16906"/>
                  <a:pt x="21219" y="16906"/>
                  <a:pt x="21219" y="16874"/>
                </a:cubicBezTo>
                <a:cubicBezTo>
                  <a:pt x="21219" y="16874"/>
                  <a:pt x="21219" y="16906"/>
                  <a:pt x="21219" y="16906"/>
                </a:cubicBezTo>
                <a:cubicBezTo>
                  <a:pt x="21156" y="16906"/>
                  <a:pt x="21125" y="16843"/>
                  <a:pt x="21094" y="16812"/>
                </a:cubicBezTo>
                <a:cubicBezTo>
                  <a:pt x="21063" y="16781"/>
                  <a:pt x="21031" y="16781"/>
                  <a:pt x="21031" y="16749"/>
                </a:cubicBezTo>
                <a:cubicBezTo>
                  <a:pt x="21031" y="16781"/>
                  <a:pt x="21063" y="16781"/>
                  <a:pt x="21094" y="16812"/>
                </a:cubicBezTo>
                <a:cubicBezTo>
                  <a:pt x="21125" y="16812"/>
                  <a:pt x="21125" y="16812"/>
                  <a:pt x="21156" y="16781"/>
                </a:cubicBezTo>
                <a:cubicBezTo>
                  <a:pt x="21125" y="16749"/>
                  <a:pt x="21094" y="16687"/>
                  <a:pt x="21031" y="16687"/>
                </a:cubicBezTo>
                <a:cubicBezTo>
                  <a:pt x="20969" y="16687"/>
                  <a:pt x="21000" y="16624"/>
                  <a:pt x="20969" y="16624"/>
                </a:cubicBezTo>
                <a:cubicBezTo>
                  <a:pt x="20969" y="16624"/>
                  <a:pt x="20969" y="16624"/>
                  <a:pt x="20969" y="16624"/>
                </a:cubicBezTo>
                <a:cubicBezTo>
                  <a:pt x="20938" y="16593"/>
                  <a:pt x="20906" y="16562"/>
                  <a:pt x="20875" y="16531"/>
                </a:cubicBezTo>
                <a:cubicBezTo>
                  <a:pt x="20906" y="16499"/>
                  <a:pt x="20938" y="16531"/>
                  <a:pt x="20938" y="16562"/>
                </a:cubicBezTo>
                <a:cubicBezTo>
                  <a:pt x="20969" y="16562"/>
                  <a:pt x="21000" y="16624"/>
                  <a:pt x="21031" y="16593"/>
                </a:cubicBezTo>
                <a:cubicBezTo>
                  <a:pt x="21031" y="16593"/>
                  <a:pt x="21031" y="16593"/>
                  <a:pt x="21031" y="16624"/>
                </a:cubicBezTo>
                <a:cubicBezTo>
                  <a:pt x="21125" y="16718"/>
                  <a:pt x="21250" y="16812"/>
                  <a:pt x="21375" y="16906"/>
                </a:cubicBezTo>
                <a:cubicBezTo>
                  <a:pt x="21375" y="16906"/>
                  <a:pt x="21388" y="16906"/>
                  <a:pt x="21397" y="16897"/>
                </a:cubicBezTo>
                <a:close/>
                <a:moveTo>
                  <a:pt x="21469" y="16937"/>
                </a:moveTo>
                <a:cubicBezTo>
                  <a:pt x="21469" y="16906"/>
                  <a:pt x="21438" y="16874"/>
                  <a:pt x="21406" y="16874"/>
                </a:cubicBezTo>
                <a:cubicBezTo>
                  <a:pt x="21375" y="16812"/>
                  <a:pt x="21313" y="16812"/>
                  <a:pt x="21281" y="16749"/>
                </a:cubicBezTo>
                <a:cubicBezTo>
                  <a:pt x="21250" y="16749"/>
                  <a:pt x="21250" y="16718"/>
                  <a:pt x="21219" y="16718"/>
                </a:cubicBezTo>
                <a:cubicBezTo>
                  <a:pt x="21250" y="16718"/>
                  <a:pt x="21281" y="16718"/>
                  <a:pt x="21281" y="16749"/>
                </a:cubicBezTo>
                <a:cubicBezTo>
                  <a:pt x="21344" y="16718"/>
                  <a:pt x="21344" y="16687"/>
                  <a:pt x="21375" y="16656"/>
                </a:cubicBezTo>
                <a:cubicBezTo>
                  <a:pt x="21406" y="16656"/>
                  <a:pt x="21438" y="16687"/>
                  <a:pt x="21469" y="16718"/>
                </a:cubicBezTo>
                <a:cubicBezTo>
                  <a:pt x="21469" y="16718"/>
                  <a:pt x="21469" y="16718"/>
                  <a:pt x="21469" y="16718"/>
                </a:cubicBezTo>
                <a:cubicBezTo>
                  <a:pt x="21375" y="16749"/>
                  <a:pt x="21344" y="16812"/>
                  <a:pt x="21438" y="16843"/>
                </a:cubicBezTo>
                <a:cubicBezTo>
                  <a:pt x="21500" y="16874"/>
                  <a:pt x="21531" y="16937"/>
                  <a:pt x="21594" y="16999"/>
                </a:cubicBezTo>
                <a:cubicBezTo>
                  <a:pt x="21594" y="16999"/>
                  <a:pt x="21625" y="16999"/>
                  <a:pt x="21656" y="16999"/>
                </a:cubicBezTo>
                <a:cubicBezTo>
                  <a:pt x="21656" y="17031"/>
                  <a:pt x="21656" y="17031"/>
                  <a:pt x="21656" y="17062"/>
                </a:cubicBezTo>
                <a:cubicBezTo>
                  <a:pt x="21656" y="17062"/>
                  <a:pt x="21625" y="17062"/>
                  <a:pt x="21625" y="17062"/>
                </a:cubicBezTo>
                <a:cubicBezTo>
                  <a:pt x="21563" y="17031"/>
                  <a:pt x="21531" y="16937"/>
                  <a:pt x="21469" y="16937"/>
                </a:cubicBezTo>
                <a:close/>
                <a:moveTo>
                  <a:pt x="21094" y="16593"/>
                </a:moveTo>
                <a:cubicBezTo>
                  <a:pt x="21094" y="16593"/>
                  <a:pt x="21063" y="16593"/>
                  <a:pt x="21031" y="16593"/>
                </a:cubicBezTo>
                <a:cubicBezTo>
                  <a:pt x="21063" y="16531"/>
                  <a:pt x="20969" y="16531"/>
                  <a:pt x="20969" y="16499"/>
                </a:cubicBezTo>
                <a:cubicBezTo>
                  <a:pt x="21031" y="16531"/>
                  <a:pt x="21094" y="16499"/>
                  <a:pt x="21094" y="16593"/>
                </a:cubicBezTo>
                <a:cubicBezTo>
                  <a:pt x="21156" y="16624"/>
                  <a:pt x="21219" y="16624"/>
                  <a:pt x="21219" y="16718"/>
                </a:cubicBezTo>
                <a:cubicBezTo>
                  <a:pt x="21188" y="16656"/>
                  <a:pt x="21125" y="16656"/>
                  <a:pt x="21094" y="16593"/>
                </a:cubicBezTo>
                <a:close/>
                <a:moveTo>
                  <a:pt x="19188" y="14374"/>
                </a:moveTo>
                <a:cubicBezTo>
                  <a:pt x="19219" y="14374"/>
                  <a:pt x="19250" y="14374"/>
                  <a:pt x="19250" y="14343"/>
                </a:cubicBezTo>
                <a:cubicBezTo>
                  <a:pt x="19250" y="14312"/>
                  <a:pt x="19219" y="14312"/>
                  <a:pt x="19219" y="14312"/>
                </a:cubicBezTo>
                <a:cubicBezTo>
                  <a:pt x="19188" y="14312"/>
                  <a:pt x="19156" y="14312"/>
                  <a:pt x="19156" y="14343"/>
                </a:cubicBezTo>
                <a:cubicBezTo>
                  <a:pt x="19156" y="14374"/>
                  <a:pt x="19188" y="14374"/>
                  <a:pt x="19188" y="14374"/>
                </a:cubicBezTo>
                <a:close/>
                <a:moveTo>
                  <a:pt x="18219" y="14874"/>
                </a:moveTo>
                <a:cubicBezTo>
                  <a:pt x="18188" y="14874"/>
                  <a:pt x="18156" y="14906"/>
                  <a:pt x="18156" y="14937"/>
                </a:cubicBezTo>
                <a:cubicBezTo>
                  <a:pt x="18188" y="14999"/>
                  <a:pt x="18219" y="15062"/>
                  <a:pt x="18281" y="15062"/>
                </a:cubicBezTo>
                <a:cubicBezTo>
                  <a:pt x="18313" y="15062"/>
                  <a:pt x="18313" y="15031"/>
                  <a:pt x="18313" y="14999"/>
                </a:cubicBezTo>
                <a:cubicBezTo>
                  <a:pt x="18313" y="14968"/>
                  <a:pt x="18281" y="14906"/>
                  <a:pt x="18219" y="14874"/>
                </a:cubicBezTo>
                <a:close/>
                <a:moveTo>
                  <a:pt x="8250" y="11937"/>
                </a:moveTo>
                <a:cubicBezTo>
                  <a:pt x="8219" y="11937"/>
                  <a:pt x="8188" y="11968"/>
                  <a:pt x="8219" y="11999"/>
                </a:cubicBezTo>
                <a:cubicBezTo>
                  <a:pt x="8219" y="12031"/>
                  <a:pt x="8250" y="12093"/>
                  <a:pt x="8313" y="12093"/>
                </a:cubicBezTo>
                <a:cubicBezTo>
                  <a:pt x="8344" y="12093"/>
                  <a:pt x="8344" y="12062"/>
                  <a:pt x="8344" y="12031"/>
                </a:cubicBezTo>
                <a:cubicBezTo>
                  <a:pt x="8344" y="11999"/>
                  <a:pt x="8313" y="11937"/>
                  <a:pt x="8250" y="11937"/>
                </a:cubicBezTo>
                <a:close/>
                <a:moveTo>
                  <a:pt x="15969" y="9531"/>
                </a:moveTo>
                <a:cubicBezTo>
                  <a:pt x="16000" y="9531"/>
                  <a:pt x="16000" y="9531"/>
                  <a:pt x="16000" y="9500"/>
                </a:cubicBezTo>
                <a:cubicBezTo>
                  <a:pt x="16000" y="9468"/>
                  <a:pt x="15969" y="9437"/>
                  <a:pt x="15938" y="9437"/>
                </a:cubicBezTo>
                <a:cubicBezTo>
                  <a:pt x="15906" y="9437"/>
                  <a:pt x="15906" y="9437"/>
                  <a:pt x="15906" y="9468"/>
                </a:cubicBezTo>
                <a:cubicBezTo>
                  <a:pt x="15906" y="9500"/>
                  <a:pt x="15938" y="9531"/>
                  <a:pt x="15969" y="9531"/>
                </a:cubicBezTo>
                <a:close/>
                <a:moveTo>
                  <a:pt x="14625" y="7312"/>
                </a:moveTo>
                <a:cubicBezTo>
                  <a:pt x="14594" y="7312"/>
                  <a:pt x="14594" y="7312"/>
                  <a:pt x="14594" y="7312"/>
                </a:cubicBezTo>
                <a:cubicBezTo>
                  <a:pt x="14594" y="7343"/>
                  <a:pt x="14625" y="7343"/>
                  <a:pt x="14625" y="7343"/>
                </a:cubicBezTo>
                <a:cubicBezTo>
                  <a:pt x="14656" y="7343"/>
                  <a:pt x="14656" y="7375"/>
                  <a:pt x="14656" y="7375"/>
                </a:cubicBezTo>
                <a:cubicBezTo>
                  <a:pt x="14625" y="7406"/>
                  <a:pt x="14563" y="7375"/>
                  <a:pt x="14531" y="7375"/>
                </a:cubicBezTo>
                <a:cubicBezTo>
                  <a:pt x="14531" y="7375"/>
                  <a:pt x="14500" y="7375"/>
                  <a:pt x="14500" y="7343"/>
                </a:cubicBezTo>
                <a:cubicBezTo>
                  <a:pt x="14500" y="7375"/>
                  <a:pt x="14531" y="7375"/>
                  <a:pt x="14531" y="7375"/>
                </a:cubicBezTo>
                <a:cubicBezTo>
                  <a:pt x="14531" y="7343"/>
                  <a:pt x="14531" y="7343"/>
                  <a:pt x="14531" y="7343"/>
                </a:cubicBezTo>
                <a:lnTo>
                  <a:pt x="14531" y="7343"/>
                </a:lnTo>
                <a:cubicBezTo>
                  <a:pt x="14563" y="7343"/>
                  <a:pt x="14563" y="7312"/>
                  <a:pt x="14531" y="7312"/>
                </a:cubicBezTo>
                <a:cubicBezTo>
                  <a:pt x="14531" y="7250"/>
                  <a:pt x="14500" y="7218"/>
                  <a:pt x="14531" y="7156"/>
                </a:cubicBezTo>
                <a:cubicBezTo>
                  <a:pt x="14531" y="7156"/>
                  <a:pt x="14531" y="7156"/>
                  <a:pt x="14531" y="7156"/>
                </a:cubicBezTo>
                <a:cubicBezTo>
                  <a:pt x="14531" y="7125"/>
                  <a:pt x="14531" y="7125"/>
                  <a:pt x="14531" y="7125"/>
                </a:cubicBezTo>
                <a:cubicBezTo>
                  <a:pt x="14531" y="7125"/>
                  <a:pt x="14531" y="7093"/>
                  <a:pt x="14531" y="7093"/>
                </a:cubicBezTo>
                <a:cubicBezTo>
                  <a:pt x="14531" y="7093"/>
                  <a:pt x="14563" y="7062"/>
                  <a:pt x="14563" y="7062"/>
                </a:cubicBezTo>
                <a:cubicBezTo>
                  <a:pt x="14563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62"/>
                  <a:pt x="14531" y="7062"/>
                  <a:pt x="14531" y="7062"/>
                </a:cubicBezTo>
                <a:cubicBezTo>
                  <a:pt x="14531" y="7031"/>
                  <a:pt x="14531" y="7000"/>
                  <a:pt x="14531" y="7000"/>
                </a:cubicBezTo>
                <a:cubicBezTo>
                  <a:pt x="14625" y="6968"/>
                  <a:pt x="14656" y="7062"/>
                  <a:pt x="14656" y="7125"/>
                </a:cubicBezTo>
                <a:cubicBezTo>
                  <a:pt x="14625" y="7187"/>
                  <a:pt x="14688" y="7218"/>
                  <a:pt x="14719" y="7250"/>
                </a:cubicBezTo>
                <a:cubicBezTo>
                  <a:pt x="14750" y="7281"/>
                  <a:pt x="14781" y="7281"/>
                  <a:pt x="14750" y="7343"/>
                </a:cubicBezTo>
                <a:cubicBezTo>
                  <a:pt x="14750" y="7375"/>
                  <a:pt x="14719" y="7312"/>
                  <a:pt x="14688" y="7312"/>
                </a:cubicBezTo>
                <a:cubicBezTo>
                  <a:pt x="14688" y="7312"/>
                  <a:pt x="14656" y="7312"/>
                  <a:pt x="14656" y="7312"/>
                </a:cubicBezTo>
                <a:cubicBezTo>
                  <a:pt x="14656" y="7312"/>
                  <a:pt x="14625" y="7312"/>
                  <a:pt x="14625" y="7312"/>
                </a:cubicBezTo>
                <a:close/>
                <a:moveTo>
                  <a:pt x="15656" y="6718"/>
                </a:moveTo>
                <a:cubicBezTo>
                  <a:pt x="15625" y="6750"/>
                  <a:pt x="15594" y="6750"/>
                  <a:pt x="15594" y="6812"/>
                </a:cubicBezTo>
                <a:cubicBezTo>
                  <a:pt x="15656" y="6781"/>
                  <a:pt x="15656" y="6750"/>
                  <a:pt x="15656" y="6718"/>
                </a:cubicBezTo>
                <a:close/>
                <a:moveTo>
                  <a:pt x="15594" y="6812"/>
                </a:moveTo>
                <a:cubicBezTo>
                  <a:pt x="15531" y="6843"/>
                  <a:pt x="15531" y="6750"/>
                  <a:pt x="15469" y="6781"/>
                </a:cubicBezTo>
                <a:cubicBezTo>
                  <a:pt x="15500" y="6843"/>
                  <a:pt x="15500" y="6906"/>
                  <a:pt x="15438" y="6937"/>
                </a:cubicBezTo>
                <a:cubicBezTo>
                  <a:pt x="15375" y="6968"/>
                  <a:pt x="15344" y="6906"/>
                  <a:pt x="15281" y="6875"/>
                </a:cubicBezTo>
                <a:cubicBezTo>
                  <a:pt x="15281" y="6937"/>
                  <a:pt x="15281" y="6968"/>
                  <a:pt x="15281" y="7031"/>
                </a:cubicBezTo>
                <a:cubicBezTo>
                  <a:pt x="15281" y="7031"/>
                  <a:pt x="15250" y="7062"/>
                  <a:pt x="15250" y="7062"/>
                </a:cubicBezTo>
                <a:cubicBezTo>
                  <a:pt x="15219" y="7062"/>
                  <a:pt x="15219" y="7031"/>
                  <a:pt x="15219" y="7031"/>
                </a:cubicBezTo>
                <a:cubicBezTo>
                  <a:pt x="15250" y="6937"/>
                  <a:pt x="15188" y="6875"/>
                  <a:pt x="15188" y="6812"/>
                </a:cubicBezTo>
                <a:cubicBezTo>
                  <a:pt x="15156" y="6781"/>
                  <a:pt x="15125" y="6750"/>
                  <a:pt x="15188" y="6718"/>
                </a:cubicBezTo>
                <a:lnTo>
                  <a:pt x="15188" y="6718"/>
                </a:lnTo>
                <a:cubicBezTo>
                  <a:pt x="15219" y="6687"/>
                  <a:pt x="15281" y="6656"/>
                  <a:pt x="15344" y="6687"/>
                </a:cubicBezTo>
                <a:cubicBezTo>
                  <a:pt x="15375" y="6718"/>
                  <a:pt x="15375" y="6750"/>
                  <a:pt x="15406" y="6750"/>
                </a:cubicBezTo>
                <a:cubicBezTo>
                  <a:pt x="15469" y="6718"/>
                  <a:pt x="15406" y="6656"/>
                  <a:pt x="15469" y="6625"/>
                </a:cubicBezTo>
                <a:cubicBezTo>
                  <a:pt x="15500" y="6593"/>
                  <a:pt x="15563" y="6625"/>
                  <a:pt x="15594" y="6562"/>
                </a:cubicBezTo>
                <a:cubicBezTo>
                  <a:pt x="15656" y="6562"/>
                  <a:pt x="15656" y="6593"/>
                  <a:pt x="15688" y="6625"/>
                </a:cubicBezTo>
                <a:cubicBezTo>
                  <a:pt x="15813" y="6687"/>
                  <a:pt x="15813" y="6812"/>
                  <a:pt x="15844" y="6906"/>
                </a:cubicBezTo>
                <a:cubicBezTo>
                  <a:pt x="15875" y="6968"/>
                  <a:pt x="15875" y="7031"/>
                  <a:pt x="15875" y="7093"/>
                </a:cubicBezTo>
                <a:cubicBezTo>
                  <a:pt x="15844" y="7125"/>
                  <a:pt x="15813" y="7031"/>
                  <a:pt x="15750" y="7062"/>
                </a:cubicBezTo>
                <a:cubicBezTo>
                  <a:pt x="15813" y="7093"/>
                  <a:pt x="15844" y="7125"/>
                  <a:pt x="15844" y="7156"/>
                </a:cubicBezTo>
                <a:cubicBezTo>
                  <a:pt x="15781" y="7218"/>
                  <a:pt x="15719" y="7250"/>
                  <a:pt x="15656" y="7250"/>
                </a:cubicBezTo>
                <a:cubicBezTo>
                  <a:pt x="15594" y="7281"/>
                  <a:pt x="15531" y="7281"/>
                  <a:pt x="15438" y="7281"/>
                </a:cubicBezTo>
                <a:cubicBezTo>
                  <a:pt x="15406" y="7281"/>
                  <a:pt x="15406" y="7312"/>
                  <a:pt x="15406" y="7343"/>
                </a:cubicBezTo>
                <a:cubicBezTo>
                  <a:pt x="15313" y="7343"/>
                  <a:pt x="15344" y="7281"/>
                  <a:pt x="15344" y="7250"/>
                </a:cubicBezTo>
                <a:cubicBezTo>
                  <a:pt x="15344" y="7250"/>
                  <a:pt x="15375" y="7218"/>
                  <a:pt x="15375" y="7218"/>
                </a:cubicBezTo>
                <a:cubicBezTo>
                  <a:pt x="15375" y="7218"/>
                  <a:pt x="15375" y="7218"/>
                  <a:pt x="15375" y="7218"/>
                </a:cubicBezTo>
                <a:cubicBezTo>
                  <a:pt x="15406" y="7187"/>
                  <a:pt x="15406" y="7156"/>
                  <a:pt x="15406" y="7125"/>
                </a:cubicBezTo>
                <a:cubicBezTo>
                  <a:pt x="15406" y="7156"/>
                  <a:pt x="15375" y="7187"/>
                  <a:pt x="15344" y="7156"/>
                </a:cubicBezTo>
                <a:cubicBezTo>
                  <a:pt x="15344" y="7125"/>
                  <a:pt x="15344" y="7062"/>
                  <a:pt x="15406" y="7062"/>
                </a:cubicBezTo>
                <a:cubicBezTo>
                  <a:pt x="15406" y="7031"/>
                  <a:pt x="15406" y="7000"/>
                  <a:pt x="15438" y="7031"/>
                </a:cubicBezTo>
                <a:cubicBezTo>
                  <a:pt x="15438" y="7031"/>
                  <a:pt x="15438" y="7062"/>
                  <a:pt x="15438" y="7062"/>
                </a:cubicBezTo>
                <a:cubicBezTo>
                  <a:pt x="15406" y="7093"/>
                  <a:pt x="15406" y="7125"/>
                  <a:pt x="15406" y="7125"/>
                </a:cubicBezTo>
                <a:cubicBezTo>
                  <a:pt x="15500" y="7031"/>
                  <a:pt x="15563" y="6937"/>
                  <a:pt x="15594" y="6812"/>
                </a:cubicBezTo>
                <a:close/>
                <a:moveTo>
                  <a:pt x="18406" y="12343"/>
                </a:moveTo>
                <a:cubicBezTo>
                  <a:pt x="18375" y="12343"/>
                  <a:pt x="18375" y="12343"/>
                  <a:pt x="18375" y="12343"/>
                </a:cubicBezTo>
                <a:cubicBezTo>
                  <a:pt x="18375" y="12374"/>
                  <a:pt x="18375" y="12374"/>
                  <a:pt x="18406" y="12374"/>
                </a:cubicBezTo>
                <a:cubicBezTo>
                  <a:pt x="18406" y="12374"/>
                  <a:pt x="18406" y="12374"/>
                  <a:pt x="18406" y="12374"/>
                </a:cubicBezTo>
                <a:cubicBezTo>
                  <a:pt x="18406" y="12343"/>
                  <a:pt x="18406" y="12343"/>
                  <a:pt x="18406" y="12343"/>
                </a:cubicBezTo>
                <a:close/>
                <a:moveTo>
                  <a:pt x="4031" y="14437"/>
                </a:moveTo>
                <a:cubicBezTo>
                  <a:pt x="4031" y="14468"/>
                  <a:pt x="4031" y="14468"/>
                  <a:pt x="4031" y="14468"/>
                </a:cubicBezTo>
                <a:cubicBezTo>
                  <a:pt x="4031" y="14468"/>
                  <a:pt x="4031" y="14468"/>
                  <a:pt x="4031" y="14437"/>
                </a:cubicBezTo>
                <a:cubicBezTo>
                  <a:pt x="4063" y="14406"/>
                  <a:pt x="4125" y="14374"/>
                  <a:pt x="4156" y="14343"/>
                </a:cubicBezTo>
                <a:cubicBezTo>
                  <a:pt x="4375" y="14249"/>
                  <a:pt x="4563" y="14156"/>
                  <a:pt x="4750" y="14062"/>
                </a:cubicBezTo>
                <a:cubicBezTo>
                  <a:pt x="4781" y="14031"/>
                  <a:pt x="4781" y="14031"/>
                  <a:pt x="4781" y="14031"/>
                </a:cubicBezTo>
                <a:cubicBezTo>
                  <a:pt x="4781" y="13999"/>
                  <a:pt x="4813" y="14031"/>
                  <a:pt x="4813" y="13999"/>
                </a:cubicBezTo>
                <a:cubicBezTo>
                  <a:pt x="5000" y="14062"/>
                  <a:pt x="5188" y="14093"/>
                  <a:pt x="5375" y="14124"/>
                </a:cubicBezTo>
                <a:cubicBezTo>
                  <a:pt x="5344" y="14187"/>
                  <a:pt x="5281" y="14218"/>
                  <a:pt x="5250" y="14218"/>
                </a:cubicBezTo>
                <a:cubicBezTo>
                  <a:pt x="5219" y="14218"/>
                  <a:pt x="5219" y="14218"/>
                  <a:pt x="5188" y="14218"/>
                </a:cubicBezTo>
                <a:cubicBezTo>
                  <a:pt x="5219" y="14218"/>
                  <a:pt x="5219" y="14218"/>
                  <a:pt x="5250" y="14218"/>
                </a:cubicBezTo>
                <a:cubicBezTo>
                  <a:pt x="5125" y="14156"/>
                  <a:pt x="4969" y="14156"/>
                  <a:pt x="4844" y="14124"/>
                </a:cubicBezTo>
                <a:cubicBezTo>
                  <a:pt x="4813" y="14093"/>
                  <a:pt x="4781" y="14124"/>
                  <a:pt x="4781" y="14124"/>
                </a:cubicBezTo>
                <a:cubicBezTo>
                  <a:pt x="4781" y="14156"/>
                  <a:pt x="4813" y="14156"/>
                  <a:pt x="4813" y="14156"/>
                </a:cubicBezTo>
                <a:cubicBezTo>
                  <a:pt x="4875" y="14156"/>
                  <a:pt x="4938" y="14187"/>
                  <a:pt x="5000" y="14218"/>
                </a:cubicBezTo>
                <a:cubicBezTo>
                  <a:pt x="5063" y="14218"/>
                  <a:pt x="5031" y="14249"/>
                  <a:pt x="5000" y="14281"/>
                </a:cubicBezTo>
                <a:cubicBezTo>
                  <a:pt x="5000" y="14249"/>
                  <a:pt x="4969" y="14249"/>
                  <a:pt x="4938" y="14249"/>
                </a:cubicBezTo>
                <a:cubicBezTo>
                  <a:pt x="4906" y="14218"/>
                  <a:pt x="4844" y="14218"/>
                  <a:pt x="4813" y="14249"/>
                </a:cubicBezTo>
                <a:cubicBezTo>
                  <a:pt x="4750" y="14312"/>
                  <a:pt x="4813" y="14343"/>
                  <a:pt x="4844" y="14374"/>
                </a:cubicBezTo>
                <a:cubicBezTo>
                  <a:pt x="4906" y="14437"/>
                  <a:pt x="5000" y="14468"/>
                  <a:pt x="4938" y="14562"/>
                </a:cubicBezTo>
                <a:cubicBezTo>
                  <a:pt x="4938" y="14562"/>
                  <a:pt x="4938" y="14562"/>
                  <a:pt x="4938" y="14562"/>
                </a:cubicBezTo>
                <a:cubicBezTo>
                  <a:pt x="4906" y="14499"/>
                  <a:pt x="4844" y="14437"/>
                  <a:pt x="4781" y="14374"/>
                </a:cubicBezTo>
                <a:cubicBezTo>
                  <a:pt x="4719" y="14249"/>
                  <a:pt x="4625" y="14249"/>
                  <a:pt x="4500" y="14281"/>
                </a:cubicBezTo>
                <a:cubicBezTo>
                  <a:pt x="4406" y="14312"/>
                  <a:pt x="4344" y="14374"/>
                  <a:pt x="4250" y="14406"/>
                </a:cubicBezTo>
                <a:cubicBezTo>
                  <a:pt x="3938" y="14562"/>
                  <a:pt x="3625" y="14718"/>
                  <a:pt x="3344" y="14906"/>
                </a:cubicBezTo>
                <a:cubicBezTo>
                  <a:pt x="3281" y="14906"/>
                  <a:pt x="3250" y="14937"/>
                  <a:pt x="3188" y="14968"/>
                </a:cubicBezTo>
                <a:cubicBezTo>
                  <a:pt x="3313" y="14999"/>
                  <a:pt x="3438" y="15031"/>
                  <a:pt x="3531" y="14937"/>
                </a:cubicBezTo>
                <a:cubicBezTo>
                  <a:pt x="3656" y="14843"/>
                  <a:pt x="3844" y="14812"/>
                  <a:pt x="4000" y="14718"/>
                </a:cubicBezTo>
                <a:cubicBezTo>
                  <a:pt x="4063" y="14656"/>
                  <a:pt x="4125" y="14687"/>
                  <a:pt x="4188" y="14593"/>
                </a:cubicBezTo>
                <a:cubicBezTo>
                  <a:pt x="4219" y="14562"/>
                  <a:pt x="4281" y="14499"/>
                  <a:pt x="4313" y="14562"/>
                </a:cubicBezTo>
                <a:cubicBezTo>
                  <a:pt x="4375" y="14593"/>
                  <a:pt x="4344" y="14656"/>
                  <a:pt x="4281" y="14718"/>
                </a:cubicBezTo>
                <a:cubicBezTo>
                  <a:pt x="4281" y="14718"/>
                  <a:pt x="4281" y="14718"/>
                  <a:pt x="4281" y="14749"/>
                </a:cubicBezTo>
                <a:cubicBezTo>
                  <a:pt x="4281" y="14749"/>
                  <a:pt x="4281" y="14749"/>
                  <a:pt x="4250" y="14781"/>
                </a:cubicBezTo>
                <a:cubicBezTo>
                  <a:pt x="4188" y="14812"/>
                  <a:pt x="4156" y="14874"/>
                  <a:pt x="4094" y="14937"/>
                </a:cubicBezTo>
                <a:cubicBezTo>
                  <a:pt x="4156" y="14937"/>
                  <a:pt x="4188" y="14874"/>
                  <a:pt x="4250" y="14906"/>
                </a:cubicBezTo>
                <a:cubicBezTo>
                  <a:pt x="4281" y="14874"/>
                  <a:pt x="4281" y="14843"/>
                  <a:pt x="4281" y="14843"/>
                </a:cubicBezTo>
                <a:cubicBezTo>
                  <a:pt x="4281" y="14843"/>
                  <a:pt x="4281" y="14843"/>
                  <a:pt x="4281" y="14843"/>
                </a:cubicBezTo>
                <a:cubicBezTo>
                  <a:pt x="4281" y="14843"/>
                  <a:pt x="4281" y="14874"/>
                  <a:pt x="4250" y="14906"/>
                </a:cubicBezTo>
                <a:cubicBezTo>
                  <a:pt x="4313" y="14937"/>
                  <a:pt x="4281" y="14999"/>
                  <a:pt x="4281" y="15031"/>
                </a:cubicBezTo>
                <a:cubicBezTo>
                  <a:pt x="4375" y="14999"/>
                  <a:pt x="4344" y="14937"/>
                  <a:pt x="4344" y="14906"/>
                </a:cubicBezTo>
                <a:cubicBezTo>
                  <a:pt x="4344" y="14843"/>
                  <a:pt x="4344" y="14812"/>
                  <a:pt x="4375" y="14781"/>
                </a:cubicBezTo>
                <a:cubicBezTo>
                  <a:pt x="4375" y="14749"/>
                  <a:pt x="4469" y="14718"/>
                  <a:pt x="4375" y="14687"/>
                </a:cubicBezTo>
                <a:cubicBezTo>
                  <a:pt x="4375" y="14687"/>
                  <a:pt x="4375" y="14656"/>
                  <a:pt x="4375" y="14656"/>
                </a:cubicBezTo>
                <a:cubicBezTo>
                  <a:pt x="4406" y="14656"/>
                  <a:pt x="4406" y="14656"/>
                  <a:pt x="4406" y="14656"/>
                </a:cubicBezTo>
                <a:cubicBezTo>
                  <a:pt x="4500" y="14687"/>
                  <a:pt x="4500" y="14718"/>
                  <a:pt x="4438" y="14812"/>
                </a:cubicBezTo>
                <a:cubicBezTo>
                  <a:pt x="4406" y="14843"/>
                  <a:pt x="4344" y="14874"/>
                  <a:pt x="4406" y="14906"/>
                </a:cubicBezTo>
                <a:cubicBezTo>
                  <a:pt x="4469" y="14937"/>
                  <a:pt x="4438" y="14968"/>
                  <a:pt x="4438" y="14999"/>
                </a:cubicBezTo>
                <a:cubicBezTo>
                  <a:pt x="4438" y="15031"/>
                  <a:pt x="4406" y="15062"/>
                  <a:pt x="4344" y="15062"/>
                </a:cubicBezTo>
                <a:cubicBezTo>
                  <a:pt x="4313" y="15062"/>
                  <a:pt x="4250" y="15062"/>
                  <a:pt x="4250" y="15124"/>
                </a:cubicBezTo>
                <a:cubicBezTo>
                  <a:pt x="4250" y="15124"/>
                  <a:pt x="4219" y="15124"/>
                  <a:pt x="4188" y="15124"/>
                </a:cubicBezTo>
                <a:cubicBezTo>
                  <a:pt x="4188" y="15124"/>
                  <a:pt x="4156" y="15124"/>
                  <a:pt x="4156" y="15156"/>
                </a:cubicBezTo>
                <a:cubicBezTo>
                  <a:pt x="4156" y="15187"/>
                  <a:pt x="4188" y="15187"/>
                  <a:pt x="4219" y="15187"/>
                </a:cubicBezTo>
                <a:cubicBezTo>
                  <a:pt x="4250" y="15218"/>
                  <a:pt x="4219" y="15281"/>
                  <a:pt x="4219" y="15312"/>
                </a:cubicBezTo>
                <a:cubicBezTo>
                  <a:pt x="4219" y="15312"/>
                  <a:pt x="4188" y="15312"/>
                  <a:pt x="4188" y="15343"/>
                </a:cubicBezTo>
                <a:cubicBezTo>
                  <a:pt x="4188" y="15343"/>
                  <a:pt x="4219" y="15343"/>
                  <a:pt x="4219" y="15343"/>
                </a:cubicBezTo>
                <a:cubicBezTo>
                  <a:pt x="4219" y="15374"/>
                  <a:pt x="4219" y="15406"/>
                  <a:pt x="4188" y="15406"/>
                </a:cubicBezTo>
                <a:cubicBezTo>
                  <a:pt x="4156" y="15437"/>
                  <a:pt x="4156" y="15437"/>
                  <a:pt x="4219" y="15468"/>
                </a:cubicBezTo>
                <a:cubicBezTo>
                  <a:pt x="4219" y="15499"/>
                  <a:pt x="4188" y="15531"/>
                  <a:pt x="4156" y="15531"/>
                </a:cubicBezTo>
                <a:cubicBezTo>
                  <a:pt x="4125" y="15468"/>
                  <a:pt x="4125" y="15499"/>
                  <a:pt x="4094" y="15531"/>
                </a:cubicBezTo>
                <a:cubicBezTo>
                  <a:pt x="4063" y="15562"/>
                  <a:pt x="4031" y="15624"/>
                  <a:pt x="3969" y="15562"/>
                </a:cubicBezTo>
                <a:cubicBezTo>
                  <a:pt x="4000" y="15531"/>
                  <a:pt x="4031" y="15531"/>
                  <a:pt x="4031" y="15499"/>
                </a:cubicBezTo>
                <a:lnTo>
                  <a:pt x="4031" y="15499"/>
                </a:lnTo>
                <a:cubicBezTo>
                  <a:pt x="3969" y="15499"/>
                  <a:pt x="3969" y="15531"/>
                  <a:pt x="3969" y="15562"/>
                </a:cubicBezTo>
                <a:cubicBezTo>
                  <a:pt x="3906" y="15562"/>
                  <a:pt x="3813" y="15562"/>
                  <a:pt x="3750" y="15531"/>
                </a:cubicBezTo>
                <a:cubicBezTo>
                  <a:pt x="3719" y="15499"/>
                  <a:pt x="3688" y="15468"/>
                  <a:pt x="3656" y="15499"/>
                </a:cubicBezTo>
                <a:cubicBezTo>
                  <a:pt x="3563" y="15531"/>
                  <a:pt x="3563" y="15468"/>
                  <a:pt x="3563" y="15406"/>
                </a:cubicBezTo>
                <a:cubicBezTo>
                  <a:pt x="3563" y="15343"/>
                  <a:pt x="3594" y="15343"/>
                  <a:pt x="3625" y="15281"/>
                </a:cubicBezTo>
                <a:cubicBezTo>
                  <a:pt x="3594" y="15281"/>
                  <a:pt x="3563" y="15281"/>
                  <a:pt x="3563" y="15312"/>
                </a:cubicBezTo>
                <a:cubicBezTo>
                  <a:pt x="3531" y="15343"/>
                  <a:pt x="3500" y="15374"/>
                  <a:pt x="3469" y="15406"/>
                </a:cubicBezTo>
                <a:cubicBezTo>
                  <a:pt x="3438" y="15406"/>
                  <a:pt x="3500" y="15468"/>
                  <a:pt x="3438" y="15468"/>
                </a:cubicBezTo>
                <a:cubicBezTo>
                  <a:pt x="3406" y="15468"/>
                  <a:pt x="3406" y="15406"/>
                  <a:pt x="3375" y="15406"/>
                </a:cubicBezTo>
                <a:cubicBezTo>
                  <a:pt x="3375" y="15406"/>
                  <a:pt x="3344" y="15437"/>
                  <a:pt x="3313" y="15437"/>
                </a:cubicBezTo>
                <a:cubicBezTo>
                  <a:pt x="3281" y="15437"/>
                  <a:pt x="3250" y="15468"/>
                  <a:pt x="3250" y="15437"/>
                </a:cubicBezTo>
                <a:cubicBezTo>
                  <a:pt x="3219" y="15406"/>
                  <a:pt x="3250" y="15374"/>
                  <a:pt x="3250" y="15343"/>
                </a:cubicBezTo>
                <a:cubicBezTo>
                  <a:pt x="3344" y="15249"/>
                  <a:pt x="3281" y="15249"/>
                  <a:pt x="3219" y="15249"/>
                </a:cubicBezTo>
                <a:cubicBezTo>
                  <a:pt x="3156" y="15249"/>
                  <a:pt x="3094" y="15249"/>
                  <a:pt x="3094" y="15218"/>
                </a:cubicBezTo>
                <a:cubicBezTo>
                  <a:pt x="3063" y="15156"/>
                  <a:pt x="3156" y="15156"/>
                  <a:pt x="3156" y="15124"/>
                </a:cubicBezTo>
                <a:cubicBezTo>
                  <a:pt x="3188" y="15124"/>
                  <a:pt x="3188" y="15124"/>
                  <a:pt x="3188" y="15124"/>
                </a:cubicBezTo>
                <a:cubicBezTo>
                  <a:pt x="3063" y="15093"/>
                  <a:pt x="3000" y="15062"/>
                  <a:pt x="2875" y="15124"/>
                </a:cubicBezTo>
                <a:cubicBezTo>
                  <a:pt x="2406" y="15374"/>
                  <a:pt x="1906" y="15624"/>
                  <a:pt x="1438" y="15874"/>
                </a:cubicBezTo>
                <a:cubicBezTo>
                  <a:pt x="1375" y="15906"/>
                  <a:pt x="1313" y="15906"/>
                  <a:pt x="1250" y="15999"/>
                </a:cubicBezTo>
                <a:cubicBezTo>
                  <a:pt x="1406" y="15968"/>
                  <a:pt x="1531" y="15999"/>
                  <a:pt x="1656" y="15937"/>
                </a:cubicBezTo>
                <a:cubicBezTo>
                  <a:pt x="1906" y="15812"/>
                  <a:pt x="2156" y="15687"/>
                  <a:pt x="2406" y="15562"/>
                </a:cubicBezTo>
                <a:cubicBezTo>
                  <a:pt x="2438" y="15531"/>
                  <a:pt x="2438" y="15499"/>
                  <a:pt x="2469" y="15531"/>
                </a:cubicBezTo>
                <a:cubicBezTo>
                  <a:pt x="2500" y="15562"/>
                  <a:pt x="2500" y="15593"/>
                  <a:pt x="2500" y="15624"/>
                </a:cubicBezTo>
                <a:cubicBezTo>
                  <a:pt x="2469" y="15718"/>
                  <a:pt x="2469" y="15843"/>
                  <a:pt x="2469" y="15968"/>
                </a:cubicBezTo>
                <a:cubicBezTo>
                  <a:pt x="2500" y="16062"/>
                  <a:pt x="2438" y="16093"/>
                  <a:pt x="2344" y="16093"/>
                </a:cubicBezTo>
                <a:cubicBezTo>
                  <a:pt x="2281" y="16124"/>
                  <a:pt x="2281" y="16062"/>
                  <a:pt x="2250" y="16031"/>
                </a:cubicBezTo>
                <a:cubicBezTo>
                  <a:pt x="2156" y="16031"/>
                  <a:pt x="2250" y="16124"/>
                  <a:pt x="2188" y="16124"/>
                </a:cubicBezTo>
                <a:cubicBezTo>
                  <a:pt x="2125" y="16124"/>
                  <a:pt x="2063" y="16156"/>
                  <a:pt x="2000" y="16093"/>
                </a:cubicBezTo>
                <a:cubicBezTo>
                  <a:pt x="1969" y="16062"/>
                  <a:pt x="1938" y="16062"/>
                  <a:pt x="1938" y="16093"/>
                </a:cubicBezTo>
                <a:cubicBezTo>
                  <a:pt x="1906" y="16218"/>
                  <a:pt x="1844" y="16156"/>
                  <a:pt x="1781" y="16156"/>
                </a:cubicBezTo>
                <a:cubicBezTo>
                  <a:pt x="1750" y="16156"/>
                  <a:pt x="1750" y="16124"/>
                  <a:pt x="1719" y="16124"/>
                </a:cubicBezTo>
                <a:cubicBezTo>
                  <a:pt x="1563" y="16218"/>
                  <a:pt x="1406" y="16218"/>
                  <a:pt x="1250" y="16156"/>
                </a:cubicBezTo>
                <a:cubicBezTo>
                  <a:pt x="1156" y="16156"/>
                  <a:pt x="1063" y="16156"/>
                  <a:pt x="1000" y="16124"/>
                </a:cubicBezTo>
                <a:cubicBezTo>
                  <a:pt x="969" y="16124"/>
                  <a:pt x="938" y="16124"/>
                  <a:pt x="906" y="16156"/>
                </a:cubicBezTo>
                <a:cubicBezTo>
                  <a:pt x="906" y="16187"/>
                  <a:pt x="969" y="16187"/>
                  <a:pt x="969" y="16187"/>
                </a:cubicBezTo>
                <a:cubicBezTo>
                  <a:pt x="1125" y="16218"/>
                  <a:pt x="1281" y="16249"/>
                  <a:pt x="1438" y="16281"/>
                </a:cubicBezTo>
                <a:cubicBezTo>
                  <a:pt x="1406" y="16312"/>
                  <a:pt x="1375" y="16343"/>
                  <a:pt x="1344" y="16343"/>
                </a:cubicBezTo>
                <a:cubicBezTo>
                  <a:pt x="1250" y="16374"/>
                  <a:pt x="1375" y="16406"/>
                  <a:pt x="1344" y="16406"/>
                </a:cubicBezTo>
                <a:cubicBezTo>
                  <a:pt x="1281" y="16437"/>
                  <a:pt x="1219" y="16374"/>
                  <a:pt x="1156" y="16406"/>
                </a:cubicBezTo>
                <a:cubicBezTo>
                  <a:pt x="1125" y="16406"/>
                  <a:pt x="1125" y="16406"/>
                  <a:pt x="1094" y="16406"/>
                </a:cubicBezTo>
                <a:cubicBezTo>
                  <a:pt x="938" y="16343"/>
                  <a:pt x="781" y="16343"/>
                  <a:pt x="625" y="16312"/>
                </a:cubicBezTo>
                <a:cubicBezTo>
                  <a:pt x="625" y="16312"/>
                  <a:pt x="594" y="16312"/>
                  <a:pt x="563" y="16343"/>
                </a:cubicBezTo>
                <a:cubicBezTo>
                  <a:pt x="563" y="16343"/>
                  <a:pt x="594" y="16374"/>
                  <a:pt x="625" y="16374"/>
                </a:cubicBezTo>
                <a:cubicBezTo>
                  <a:pt x="719" y="16374"/>
                  <a:pt x="813" y="16406"/>
                  <a:pt x="906" y="16406"/>
                </a:cubicBezTo>
                <a:cubicBezTo>
                  <a:pt x="906" y="16406"/>
                  <a:pt x="906" y="16406"/>
                  <a:pt x="938" y="16406"/>
                </a:cubicBezTo>
                <a:cubicBezTo>
                  <a:pt x="938" y="16406"/>
                  <a:pt x="938" y="16406"/>
                  <a:pt x="938" y="16437"/>
                </a:cubicBezTo>
                <a:cubicBezTo>
                  <a:pt x="938" y="16437"/>
                  <a:pt x="938" y="16437"/>
                  <a:pt x="938" y="16437"/>
                </a:cubicBezTo>
                <a:cubicBezTo>
                  <a:pt x="906" y="16437"/>
                  <a:pt x="906" y="16437"/>
                  <a:pt x="906" y="16468"/>
                </a:cubicBezTo>
                <a:cubicBezTo>
                  <a:pt x="875" y="16499"/>
                  <a:pt x="875" y="16531"/>
                  <a:pt x="906" y="16531"/>
                </a:cubicBezTo>
                <a:cubicBezTo>
                  <a:pt x="1000" y="16656"/>
                  <a:pt x="1031" y="16781"/>
                  <a:pt x="1125" y="16906"/>
                </a:cubicBezTo>
                <a:cubicBezTo>
                  <a:pt x="1125" y="16906"/>
                  <a:pt x="1156" y="16937"/>
                  <a:pt x="1094" y="16937"/>
                </a:cubicBezTo>
                <a:cubicBezTo>
                  <a:pt x="1063" y="16874"/>
                  <a:pt x="1000" y="16781"/>
                  <a:pt x="969" y="16718"/>
                </a:cubicBezTo>
                <a:cubicBezTo>
                  <a:pt x="906" y="16624"/>
                  <a:pt x="875" y="16562"/>
                  <a:pt x="781" y="16656"/>
                </a:cubicBezTo>
                <a:cubicBezTo>
                  <a:pt x="781" y="16593"/>
                  <a:pt x="844" y="16593"/>
                  <a:pt x="844" y="16531"/>
                </a:cubicBezTo>
                <a:cubicBezTo>
                  <a:pt x="719" y="16562"/>
                  <a:pt x="625" y="16562"/>
                  <a:pt x="500" y="16593"/>
                </a:cubicBezTo>
                <a:cubicBezTo>
                  <a:pt x="563" y="16656"/>
                  <a:pt x="563" y="16749"/>
                  <a:pt x="656" y="16812"/>
                </a:cubicBezTo>
                <a:cubicBezTo>
                  <a:pt x="656" y="16906"/>
                  <a:pt x="750" y="16968"/>
                  <a:pt x="781" y="17062"/>
                </a:cubicBezTo>
                <a:cubicBezTo>
                  <a:pt x="781" y="17124"/>
                  <a:pt x="844" y="17031"/>
                  <a:pt x="875" y="17062"/>
                </a:cubicBezTo>
                <a:cubicBezTo>
                  <a:pt x="875" y="17062"/>
                  <a:pt x="906" y="17062"/>
                  <a:pt x="938" y="17093"/>
                </a:cubicBezTo>
                <a:cubicBezTo>
                  <a:pt x="969" y="17093"/>
                  <a:pt x="1000" y="17187"/>
                  <a:pt x="969" y="17218"/>
                </a:cubicBezTo>
                <a:cubicBezTo>
                  <a:pt x="938" y="17281"/>
                  <a:pt x="938" y="17187"/>
                  <a:pt x="906" y="17187"/>
                </a:cubicBezTo>
                <a:cubicBezTo>
                  <a:pt x="875" y="17187"/>
                  <a:pt x="875" y="17187"/>
                  <a:pt x="875" y="17187"/>
                </a:cubicBezTo>
                <a:cubicBezTo>
                  <a:pt x="875" y="17249"/>
                  <a:pt x="906" y="17312"/>
                  <a:pt x="969" y="17343"/>
                </a:cubicBezTo>
                <a:cubicBezTo>
                  <a:pt x="1000" y="17374"/>
                  <a:pt x="1000" y="17249"/>
                  <a:pt x="1063" y="17281"/>
                </a:cubicBezTo>
                <a:cubicBezTo>
                  <a:pt x="1094" y="17343"/>
                  <a:pt x="1094" y="17343"/>
                  <a:pt x="1063" y="17343"/>
                </a:cubicBezTo>
                <a:cubicBezTo>
                  <a:pt x="1000" y="17343"/>
                  <a:pt x="1000" y="17374"/>
                  <a:pt x="969" y="17406"/>
                </a:cubicBezTo>
                <a:cubicBezTo>
                  <a:pt x="969" y="17437"/>
                  <a:pt x="1000" y="17437"/>
                  <a:pt x="1000" y="17437"/>
                </a:cubicBezTo>
                <a:cubicBezTo>
                  <a:pt x="1031" y="17468"/>
                  <a:pt x="1063" y="17468"/>
                  <a:pt x="1094" y="17437"/>
                </a:cubicBezTo>
                <a:cubicBezTo>
                  <a:pt x="1094" y="17406"/>
                  <a:pt x="1125" y="17406"/>
                  <a:pt x="1156" y="17406"/>
                </a:cubicBezTo>
                <a:cubicBezTo>
                  <a:pt x="1156" y="17437"/>
                  <a:pt x="1125" y="17437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125" y="17499"/>
                  <a:pt x="1063" y="17499"/>
                  <a:pt x="1063" y="17562"/>
                </a:cubicBezTo>
                <a:cubicBezTo>
                  <a:pt x="1031" y="17562"/>
                  <a:pt x="1031" y="17562"/>
                  <a:pt x="1031" y="17562"/>
                </a:cubicBezTo>
                <a:cubicBezTo>
                  <a:pt x="969" y="17437"/>
                  <a:pt x="906" y="17343"/>
                  <a:pt x="844" y="17249"/>
                </a:cubicBezTo>
                <a:cubicBezTo>
                  <a:pt x="813" y="17249"/>
                  <a:pt x="813" y="17249"/>
                  <a:pt x="781" y="17218"/>
                </a:cubicBezTo>
                <a:cubicBezTo>
                  <a:pt x="813" y="17249"/>
                  <a:pt x="813" y="17249"/>
                  <a:pt x="844" y="17249"/>
                </a:cubicBezTo>
                <a:cubicBezTo>
                  <a:pt x="844" y="17218"/>
                  <a:pt x="813" y="17187"/>
                  <a:pt x="844" y="17156"/>
                </a:cubicBezTo>
                <a:cubicBezTo>
                  <a:pt x="844" y="17156"/>
                  <a:pt x="844" y="17124"/>
                  <a:pt x="844" y="17124"/>
                </a:cubicBezTo>
                <a:cubicBezTo>
                  <a:pt x="813" y="17093"/>
                  <a:pt x="813" y="17124"/>
                  <a:pt x="813" y="17124"/>
                </a:cubicBezTo>
                <a:cubicBezTo>
                  <a:pt x="750" y="17156"/>
                  <a:pt x="750" y="17187"/>
                  <a:pt x="781" y="17218"/>
                </a:cubicBezTo>
                <a:cubicBezTo>
                  <a:pt x="750" y="17281"/>
                  <a:pt x="781" y="17343"/>
                  <a:pt x="781" y="17374"/>
                </a:cubicBezTo>
                <a:cubicBezTo>
                  <a:pt x="719" y="17406"/>
                  <a:pt x="688" y="17437"/>
                  <a:pt x="656" y="17468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56" y="17499"/>
                  <a:pt x="656" y="17499"/>
                  <a:pt x="656" y="17499"/>
                </a:cubicBezTo>
                <a:cubicBezTo>
                  <a:pt x="625" y="17499"/>
                  <a:pt x="594" y="17499"/>
                  <a:pt x="594" y="17499"/>
                </a:cubicBezTo>
                <a:cubicBezTo>
                  <a:pt x="563" y="17468"/>
                  <a:pt x="594" y="17437"/>
                  <a:pt x="594" y="17437"/>
                </a:cubicBezTo>
                <a:cubicBezTo>
                  <a:pt x="625" y="17406"/>
                  <a:pt x="656" y="17406"/>
                  <a:pt x="625" y="17374"/>
                </a:cubicBezTo>
                <a:cubicBezTo>
                  <a:pt x="594" y="17374"/>
                  <a:pt x="563" y="17374"/>
                  <a:pt x="531" y="17406"/>
                </a:cubicBezTo>
                <a:cubicBezTo>
                  <a:pt x="500" y="17437"/>
                  <a:pt x="469" y="17499"/>
                  <a:pt x="500" y="17562"/>
                </a:cubicBezTo>
                <a:cubicBezTo>
                  <a:pt x="469" y="17562"/>
                  <a:pt x="438" y="17593"/>
                  <a:pt x="438" y="17593"/>
                </a:cubicBezTo>
                <a:cubicBezTo>
                  <a:pt x="406" y="17624"/>
                  <a:pt x="344" y="17656"/>
                  <a:pt x="344" y="17593"/>
                </a:cubicBezTo>
                <a:cubicBezTo>
                  <a:pt x="344" y="17562"/>
                  <a:pt x="344" y="17531"/>
                  <a:pt x="313" y="17562"/>
                </a:cubicBezTo>
                <a:cubicBezTo>
                  <a:pt x="219" y="17562"/>
                  <a:pt x="250" y="17499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37"/>
                  <a:pt x="250" y="17437"/>
                  <a:pt x="250" y="17437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250" y="17406"/>
                  <a:pt x="250" y="17406"/>
                  <a:pt x="250" y="17406"/>
                </a:cubicBezTo>
                <a:cubicBezTo>
                  <a:pt x="250" y="17406"/>
                  <a:pt x="250" y="17406"/>
                  <a:pt x="281" y="17406"/>
                </a:cubicBezTo>
                <a:cubicBezTo>
                  <a:pt x="313" y="17406"/>
                  <a:pt x="344" y="17406"/>
                  <a:pt x="313" y="17343"/>
                </a:cubicBezTo>
                <a:cubicBezTo>
                  <a:pt x="313" y="17312"/>
                  <a:pt x="281" y="17343"/>
                  <a:pt x="250" y="17281"/>
                </a:cubicBezTo>
                <a:cubicBezTo>
                  <a:pt x="281" y="17281"/>
                  <a:pt x="313" y="17281"/>
                  <a:pt x="313" y="17281"/>
                </a:cubicBezTo>
                <a:cubicBezTo>
                  <a:pt x="281" y="17156"/>
                  <a:pt x="219" y="17093"/>
                  <a:pt x="219" y="16999"/>
                </a:cubicBezTo>
                <a:cubicBezTo>
                  <a:pt x="219" y="16999"/>
                  <a:pt x="250" y="17031"/>
                  <a:pt x="250" y="16999"/>
                </a:cubicBezTo>
                <a:cubicBezTo>
                  <a:pt x="313" y="16906"/>
                  <a:pt x="375" y="17031"/>
                  <a:pt x="406" y="17031"/>
                </a:cubicBezTo>
                <a:cubicBezTo>
                  <a:pt x="406" y="17031"/>
                  <a:pt x="406" y="17031"/>
                  <a:pt x="406" y="17031"/>
                </a:cubicBezTo>
                <a:cubicBezTo>
                  <a:pt x="438" y="17062"/>
                  <a:pt x="438" y="17062"/>
                  <a:pt x="469" y="17093"/>
                </a:cubicBezTo>
                <a:cubicBezTo>
                  <a:pt x="438" y="17124"/>
                  <a:pt x="469" y="17156"/>
                  <a:pt x="500" y="17124"/>
                </a:cubicBezTo>
                <a:cubicBezTo>
                  <a:pt x="563" y="17156"/>
                  <a:pt x="531" y="17218"/>
                  <a:pt x="594" y="17249"/>
                </a:cubicBezTo>
                <a:cubicBezTo>
                  <a:pt x="625" y="17218"/>
                  <a:pt x="594" y="17124"/>
                  <a:pt x="656" y="17124"/>
                </a:cubicBezTo>
                <a:cubicBezTo>
                  <a:pt x="719" y="17124"/>
                  <a:pt x="719" y="17062"/>
                  <a:pt x="719" y="17031"/>
                </a:cubicBezTo>
                <a:cubicBezTo>
                  <a:pt x="625" y="16874"/>
                  <a:pt x="531" y="16749"/>
                  <a:pt x="469" y="16593"/>
                </a:cubicBezTo>
                <a:cubicBezTo>
                  <a:pt x="406" y="16531"/>
                  <a:pt x="313" y="16531"/>
                  <a:pt x="219" y="16531"/>
                </a:cubicBezTo>
                <a:cubicBezTo>
                  <a:pt x="188" y="16531"/>
                  <a:pt x="156" y="16562"/>
                  <a:pt x="125" y="16562"/>
                </a:cubicBezTo>
                <a:cubicBezTo>
                  <a:pt x="63" y="16531"/>
                  <a:pt x="94" y="16499"/>
                  <a:pt x="125" y="16468"/>
                </a:cubicBezTo>
                <a:cubicBezTo>
                  <a:pt x="438" y="16249"/>
                  <a:pt x="813" y="16093"/>
                  <a:pt x="1156" y="15906"/>
                </a:cubicBezTo>
                <a:cubicBezTo>
                  <a:pt x="1344" y="15843"/>
                  <a:pt x="1500" y="15749"/>
                  <a:pt x="1656" y="15656"/>
                </a:cubicBezTo>
                <a:cubicBezTo>
                  <a:pt x="1969" y="15468"/>
                  <a:pt x="2281" y="15343"/>
                  <a:pt x="2594" y="15156"/>
                </a:cubicBezTo>
                <a:cubicBezTo>
                  <a:pt x="3031" y="14937"/>
                  <a:pt x="3469" y="14718"/>
                  <a:pt x="3875" y="14499"/>
                </a:cubicBezTo>
                <a:cubicBezTo>
                  <a:pt x="3938" y="14468"/>
                  <a:pt x="3969" y="14468"/>
                  <a:pt x="4031" y="14437"/>
                </a:cubicBezTo>
                <a:close/>
                <a:moveTo>
                  <a:pt x="3844" y="14843"/>
                </a:moveTo>
                <a:cubicBezTo>
                  <a:pt x="3813" y="14874"/>
                  <a:pt x="3750" y="14937"/>
                  <a:pt x="3719" y="14999"/>
                </a:cubicBezTo>
                <a:cubicBezTo>
                  <a:pt x="3781" y="14968"/>
                  <a:pt x="3813" y="14906"/>
                  <a:pt x="3844" y="14843"/>
                </a:cubicBezTo>
                <a:close/>
                <a:moveTo>
                  <a:pt x="406" y="17218"/>
                </a:moveTo>
                <a:cubicBezTo>
                  <a:pt x="469" y="17249"/>
                  <a:pt x="500" y="17312"/>
                  <a:pt x="469" y="17374"/>
                </a:cubicBezTo>
                <a:cubicBezTo>
                  <a:pt x="531" y="17343"/>
                  <a:pt x="563" y="17312"/>
                  <a:pt x="531" y="17281"/>
                </a:cubicBezTo>
                <a:cubicBezTo>
                  <a:pt x="531" y="17249"/>
                  <a:pt x="500" y="17187"/>
                  <a:pt x="406" y="17218"/>
                </a:cubicBezTo>
                <a:close/>
                <a:moveTo>
                  <a:pt x="3531" y="15249"/>
                </a:moveTo>
                <a:cubicBezTo>
                  <a:pt x="3594" y="15249"/>
                  <a:pt x="3625" y="15218"/>
                  <a:pt x="3625" y="15156"/>
                </a:cubicBezTo>
                <a:cubicBezTo>
                  <a:pt x="3625" y="15124"/>
                  <a:pt x="3625" y="15124"/>
                  <a:pt x="3594" y="15124"/>
                </a:cubicBezTo>
                <a:cubicBezTo>
                  <a:pt x="3563" y="15124"/>
                  <a:pt x="3500" y="15156"/>
                  <a:pt x="3500" y="15218"/>
                </a:cubicBezTo>
                <a:cubicBezTo>
                  <a:pt x="3500" y="15218"/>
                  <a:pt x="3531" y="15249"/>
                  <a:pt x="3531" y="15249"/>
                </a:cubicBezTo>
                <a:close/>
                <a:moveTo>
                  <a:pt x="3719" y="15093"/>
                </a:moveTo>
                <a:cubicBezTo>
                  <a:pt x="3719" y="15124"/>
                  <a:pt x="3656" y="15124"/>
                  <a:pt x="3688" y="15156"/>
                </a:cubicBezTo>
                <a:cubicBezTo>
                  <a:pt x="3719" y="15187"/>
                  <a:pt x="3750" y="15156"/>
                  <a:pt x="3750" y="15124"/>
                </a:cubicBezTo>
                <a:cubicBezTo>
                  <a:pt x="3813" y="15093"/>
                  <a:pt x="3875" y="15093"/>
                  <a:pt x="3938" y="15124"/>
                </a:cubicBezTo>
                <a:cubicBezTo>
                  <a:pt x="4000" y="15218"/>
                  <a:pt x="4094" y="15156"/>
                  <a:pt x="4094" y="15062"/>
                </a:cubicBezTo>
                <a:cubicBezTo>
                  <a:pt x="4031" y="15187"/>
                  <a:pt x="4031" y="15031"/>
                  <a:pt x="3969" y="15062"/>
                </a:cubicBezTo>
                <a:cubicBezTo>
                  <a:pt x="3875" y="15124"/>
                  <a:pt x="3813" y="15031"/>
                  <a:pt x="3719" y="15031"/>
                </a:cubicBezTo>
                <a:cubicBezTo>
                  <a:pt x="3719" y="15062"/>
                  <a:pt x="3688" y="14999"/>
                  <a:pt x="3656" y="15031"/>
                </a:cubicBezTo>
                <a:cubicBezTo>
                  <a:pt x="3656" y="15062"/>
                  <a:pt x="3656" y="15062"/>
                  <a:pt x="3656" y="15062"/>
                </a:cubicBezTo>
                <a:cubicBezTo>
                  <a:pt x="3656" y="15093"/>
                  <a:pt x="3688" y="15062"/>
                  <a:pt x="3719" y="15093"/>
                </a:cubicBezTo>
                <a:close/>
                <a:moveTo>
                  <a:pt x="3969" y="15249"/>
                </a:moveTo>
                <a:cubicBezTo>
                  <a:pt x="3844" y="15218"/>
                  <a:pt x="3813" y="15343"/>
                  <a:pt x="3719" y="15374"/>
                </a:cubicBezTo>
                <a:cubicBezTo>
                  <a:pt x="3688" y="15406"/>
                  <a:pt x="3688" y="15406"/>
                  <a:pt x="3719" y="15437"/>
                </a:cubicBezTo>
                <a:cubicBezTo>
                  <a:pt x="3719" y="15437"/>
                  <a:pt x="3750" y="15437"/>
                  <a:pt x="3750" y="15406"/>
                </a:cubicBezTo>
                <a:cubicBezTo>
                  <a:pt x="3781" y="15406"/>
                  <a:pt x="3781" y="15374"/>
                  <a:pt x="3813" y="15406"/>
                </a:cubicBezTo>
                <a:cubicBezTo>
                  <a:pt x="3875" y="15468"/>
                  <a:pt x="3875" y="15374"/>
                  <a:pt x="3906" y="15374"/>
                </a:cubicBezTo>
                <a:cubicBezTo>
                  <a:pt x="3906" y="15281"/>
                  <a:pt x="4000" y="15312"/>
                  <a:pt x="4063" y="15312"/>
                </a:cubicBezTo>
                <a:cubicBezTo>
                  <a:pt x="4000" y="15312"/>
                  <a:pt x="4031" y="15249"/>
                  <a:pt x="3969" y="15249"/>
                </a:cubicBezTo>
                <a:close/>
                <a:moveTo>
                  <a:pt x="4031" y="20562"/>
                </a:moveTo>
                <a:lnTo>
                  <a:pt x="4031" y="20562"/>
                </a:lnTo>
                <a:lnTo>
                  <a:pt x="4031" y="20562"/>
                </a:lnTo>
                <a:close/>
                <a:moveTo>
                  <a:pt x="7250" y="16906"/>
                </a:moveTo>
                <a:cubicBezTo>
                  <a:pt x="7250" y="16874"/>
                  <a:pt x="7250" y="16874"/>
                  <a:pt x="7250" y="16874"/>
                </a:cubicBezTo>
                <a:cubicBezTo>
                  <a:pt x="7219" y="16874"/>
                  <a:pt x="7250" y="16843"/>
                  <a:pt x="7250" y="16843"/>
                </a:cubicBezTo>
                <a:cubicBezTo>
                  <a:pt x="7250" y="16812"/>
                  <a:pt x="7281" y="16843"/>
                  <a:pt x="7281" y="16843"/>
                </a:cubicBezTo>
                <a:cubicBezTo>
                  <a:pt x="7344" y="16906"/>
                  <a:pt x="7375" y="16968"/>
                  <a:pt x="7438" y="17031"/>
                </a:cubicBezTo>
                <a:cubicBezTo>
                  <a:pt x="7344" y="17031"/>
                  <a:pt x="7344" y="16968"/>
                  <a:pt x="7313" y="16937"/>
                </a:cubicBezTo>
                <a:lnTo>
                  <a:pt x="7313" y="16937"/>
                </a:lnTo>
                <a:cubicBezTo>
                  <a:pt x="7281" y="16906"/>
                  <a:pt x="7281" y="16874"/>
                  <a:pt x="7250" y="16906"/>
                </a:cubicBezTo>
                <a:cubicBezTo>
                  <a:pt x="7250" y="16906"/>
                  <a:pt x="7250" y="16937"/>
                  <a:pt x="7219" y="16937"/>
                </a:cubicBezTo>
                <a:cubicBezTo>
                  <a:pt x="7219" y="16937"/>
                  <a:pt x="7219" y="16906"/>
                  <a:pt x="7219" y="16906"/>
                </a:cubicBezTo>
                <a:cubicBezTo>
                  <a:pt x="7219" y="16906"/>
                  <a:pt x="7219" y="16874"/>
                  <a:pt x="7250" y="16874"/>
                </a:cubicBezTo>
                <a:cubicBezTo>
                  <a:pt x="7250" y="16874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16813" y="22218"/>
                </a:moveTo>
                <a:cubicBezTo>
                  <a:pt x="16781" y="22218"/>
                  <a:pt x="16781" y="22249"/>
                  <a:pt x="16781" y="22249"/>
                </a:cubicBezTo>
                <a:cubicBezTo>
                  <a:pt x="16813" y="22281"/>
                  <a:pt x="16813" y="22281"/>
                  <a:pt x="16813" y="22281"/>
                </a:cubicBezTo>
                <a:cubicBezTo>
                  <a:pt x="16844" y="22281"/>
                  <a:pt x="16844" y="22281"/>
                  <a:pt x="16844" y="22249"/>
                </a:cubicBezTo>
                <a:cubicBezTo>
                  <a:pt x="16844" y="22249"/>
                  <a:pt x="16844" y="22218"/>
                  <a:pt x="16813" y="22218"/>
                </a:cubicBezTo>
                <a:close/>
                <a:moveTo>
                  <a:pt x="13625" y="21249"/>
                </a:moveTo>
                <a:cubicBezTo>
                  <a:pt x="13625" y="21249"/>
                  <a:pt x="13625" y="21249"/>
                  <a:pt x="13625" y="21249"/>
                </a:cubicBezTo>
                <a:cubicBezTo>
                  <a:pt x="13625" y="21249"/>
                  <a:pt x="13625" y="21249"/>
                  <a:pt x="13594" y="21249"/>
                </a:cubicBezTo>
                <a:cubicBezTo>
                  <a:pt x="13625" y="21249"/>
                  <a:pt x="13625" y="21281"/>
                  <a:pt x="13625" y="21281"/>
                </a:cubicBezTo>
                <a:cubicBezTo>
                  <a:pt x="13625" y="21281"/>
                  <a:pt x="13656" y="21281"/>
                  <a:pt x="13625" y="21249"/>
                </a:cubicBezTo>
                <a:close/>
                <a:moveTo>
                  <a:pt x="19125" y="21562"/>
                </a:moveTo>
                <a:cubicBezTo>
                  <a:pt x="19094" y="21562"/>
                  <a:pt x="19094" y="21562"/>
                  <a:pt x="19094" y="21593"/>
                </a:cubicBezTo>
                <a:cubicBezTo>
                  <a:pt x="19094" y="21593"/>
                  <a:pt x="19094" y="21593"/>
                  <a:pt x="19094" y="21593"/>
                </a:cubicBezTo>
                <a:cubicBezTo>
                  <a:pt x="19125" y="21593"/>
                  <a:pt x="19125" y="21593"/>
                  <a:pt x="19125" y="21562"/>
                </a:cubicBezTo>
                <a:cubicBezTo>
                  <a:pt x="19125" y="21562"/>
                  <a:pt x="19125" y="21562"/>
                  <a:pt x="19125" y="21562"/>
                </a:cubicBezTo>
                <a:close/>
                <a:moveTo>
                  <a:pt x="19094" y="21718"/>
                </a:move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lnTo>
                  <a:pt x="19094" y="21718"/>
                </a:lnTo>
                <a:cubicBezTo>
                  <a:pt x="19094" y="21718"/>
                  <a:pt x="19094" y="21718"/>
                  <a:pt x="19094" y="21718"/>
                </a:cubicBezTo>
                <a:cubicBezTo>
                  <a:pt x="19094" y="21718"/>
                  <a:pt x="19094" y="21718"/>
                  <a:pt x="19094" y="21718"/>
                </a:cubicBezTo>
                <a:close/>
                <a:moveTo>
                  <a:pt x="13469" y="17968"/>
                </a:moveTo>
                <a:cubicBezTo>
                  <a:pt x="13469" y="17968"/>
                  <a:pt x="13469" y="17968"/>
                  <a:pt x="13500" y="17968"/>
                </a:cubicBezTo>
                <a:cubicBezTo>
                  <a:pt x="13500" y="17968"/>
                  <a:pt x="13500" y="17968"/>
                  <a:pt x="13500" y="17968"/>
                </a:cubicBezTo>
                <a:cubicBezTo>
                  <a:pt x="13500" y="17937"/>
                  <a:pt x="13500" y="17937"/>
                  <a:pt x="13500" y="17937"/>
                </a:cubicBezTo>
                <a:cubicBezTo>
                  <a:pt x="13500" y="17937"/>
                  <a:pt x="13469" y="17937"/>
                  <a:pt x="13469" y="17968"/>
                </a:cubicBezTo>
                <a:close/>
                <a:moveTo>
                  <a:pt x="6469" y="22781"/>
                </a:moveTo>
                <a:cubicBezTo>
                  <a:pt x="6469" y="22874"/>
                  <a:pt x="6531" y="22906"/>
                  <a:pt x="6563" y="22968"/>
                </a:cubicBezTo>
                <a:cubicBezTo>
                  <a:pt x="6531" y="22906"/>
                  <a:pt x="6594" y="22812"/>
                  <a:pt x="6469" y="22781"/>
                </a:cubicBezTo>
                <a:close/>
                <a:moveTo>
                  <a:pt x="14250" y="24624"/>
                </a:moveTo>
                <a:cubicBezTo>
                  <a:pt x="14219" y="24624"/>
                  <a:pt x="14250" y="24624"/>
                  <a:pt x="14250" y="24624"/>
                </a:cubicBezTo>
                <a:cubicBezTo>
                  <a:pt x="14250" y="24624"/>
                  <a:pt x="14250" y="24624"/>
                  <a:pt x="14250" y="24624"/>
                </a:cubicBezTo>
                <a:cubicBezTo>
                  <a:pt x="14250" y="24593"/>
                  <a:pt x="14250" y="24593"/>
                  <a:pt x="14250" y="24593"/>
                </a:cubicBezTo>
                <a:cubicBezTo>
                  <a:pt x="14250" y="24593"/>
                  <a:pt x="14250" y="24593"/>
                  <a:pt x="14250" y="24624"/>
                </a:cubicBezTo>
                <a:close/>
                <a:moveTo>
                  <a:pt x="14469" y="24406"/>
                </a:moveTo>
                <a:cubicBezTo>
                  <a:pt x="14438" y="24437"/>
                  <a:pt x="14438" y="24468"/>
                  <a:pt x="14469" y="24468"/>
                </a:cubicBezTo>
                <a:cubicBezTo>
                  <a:pt x="14469" y="24499"/>
                  <a:pt x="14500" y="24531"/>
                  <a:pt x="14500" y="24562"/>
                </a:cubicBezTo>
                <a:cubicBezTo>
                  <a:pt x="14500" y="24593"/>
                  <a:pt x="14438" y="24593"/>
                  <a:pt x="14469" y="24624"/>
                </a:cubicBezTo>
                <a:cubicBezTo>
                  <a:pt x="14500" y="24624"/>
                  <a:pt x="14500" y="24624"/>
                  <a:pt x="14531" y="24624"/>
                </a:cubicBezTo>
                <a:cubicBezTo>
                  <a:pt x="14531" y="24624"/>
                  <a:pt x="14531" y="24593"/>
                  <a:pt x="14531" y="24593"/>
                </a:cubicBezTo>
                <a:cubicBezTo>
                  <a:pt x="14531" y="24531"/>
                  <a:pt x="14531" y="24499"/>
                  <a:pt x="14500" y="24437"/>
                </a:cubicBezTo>
                <a:cubicBezTo>
                  <a:pt x="14500" y="24406"/>
                  <a:pt x="14469" y="24406"/>
                  <a:pt x="14469" y="24406"/>
                </a:cubicBezTo>
                <a:close/>
                <a:moveTo>
                  <a:pt x="11938" y="22562"/>
                </a:moveTo>
                <a:cubicBezTo>
                  <a:pt x="11938" y="22624"/>
                  <a:pt x="11938" y="22656"/>
                  <a:pt x="11969" y="22656"/>
                </a:cubicBezTo>
                <a:cubicBezTo>
                  <a:pt x="12000" y="22624"/>
                  <a:pt x="12000" y="22593"/>
                  <a:pt x="11938" y="22562"/>
                </a:cubicBezTo>
                <a:close/>
                <a:moveTo>
                  <a:pt x="3688" y="26249"/>
                </a:moveTo>
                <a:cubicBezTo>
                  <a:pt x="3625" y="26249"/>
                  <a:pt x="3594" y="26249"/>
                  <a:pt x="3563" y="26343"/>
                </a:cubicBezTo>
                <a:cubicBezTo>
                  <a:pt x="3563" y="26406"/>
                  <a:pt x="3656" y="26374"/>
                  <a:pt x="3688" y="26374"/>
                </a:cubicBezTo>
                <a:cubicBezTo>
                  <a:pt x="3719" y="26374"/>
                  <a:pt x="3781" y="26406"/>
                  <a:pt x="3781" y="26343"/>
                </a:cubicBezTo>
                <a:cubicBezTo>
                  <a:pt x="3781" y="26281"/>
                  <a:pt x="3750" y="26249"/>
                  <a:pt x="3688" y="26249"/>
                </a:cubicBezTo>
                <a:close/>
                <a:moveTo>
                  <a:pt x="25531" y="21406"/>
                </a:moveTo>
                <a:cubicBezTo>
                  <a:pt x="25563" y="21406"/>
                  <a:pt x="25563" y="21406"/>
                  <a:pt x="25563" y="21374"/>
                </a:cubicBezTo>
                <a:cubicBezTo>
                  <a:pt x="25563" y="21374"/>
                  <a:pt x="25563" y="21374"/>
                  <a:pt x="25563" y="21343"/>
                </a:cubicBezTo>
                <a:cubicBezTo>
                  <a:pt x="25531" y="21343"/>
                  <a:pt x="25531" y="21374"/>
                  <a:pt x="25531" y="21374"/>
                </a:cubicBezTo>
                <a:cubicBezTo>
                  <a:pt x="25531" y="21374"/>
                  <a:pt x="25531" y="21406"/>
                  <a:pt x="25531" y="21406"/>
                </a:cubicBezTo>
                <a:close/>
                <a:moveTo>
                  <a:pt x="26594" y="22874"/>
                </a:move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lnTo>
                  <a:pt x="26594" y="22874"/>
                </a:lnTo>
                <a:cubicBezTo>
                  <a:pt x="26594" y="22874"/>
                  <a:pt x="26594" y="22874"/>
                  <a:pt x="26594" y="22874"/>
                </a:cubicBezTo>
                <a:cubicBezTo>
                  <a:pt x="26594" y="22874"/>
                  <a:pt x="26594" y="22874"/>
                  <a:pt x="26594" y="22874"/>
                </a:cubicBezTo>
                <a:close/>
                <a:moveTo>
                  <a:pt x="27000" y="23249"/>
                </a:moveTo>
                <a:cubicBezTo>
                  <a:pt x="27031" y="23281"/>
                  <a:pt x="27063" y="23312"/>
                  <a:pt x="27156" y="23281"/>
                </a:cubicBezTo>
                <a:cubicBezTo>
                  <a:pt x="27094" y="23218"/>
                  <a:pt x="27031" y="23249"/>
                  <a:pt x="27000" y="23249"/>
                </a:cubicBezTo>
                <a:close/>
                <a:moveTo>
                  <a:pt x="15281" y="24937"/>
                </a:moveTo>
                <a:cubicBezTo>
                  <a:pt x="15188" y="24968"/>
                  <a:pt x="15188" y="25093"/>
                  <a:pt x="15094" y="25124"/>
                </a:cubicBezTo>
                <a:cubicBezTo>
                  <a:pt x="15094" y="25124"/>
                  <a:pt x="15094" y="25156"/>
                  <a:pt x="15094" y="25156"/>
                </a:cubicBezTo>
                <a:cubicBezTo>
                  <a:pt x="15125" y="25187"/>
                  <a:pt x="15125" y="25187"/>
                  <a:pt x="15156" y="25156"/>
                </a:cubicBezTo>
                <a:cubicBezTo>
                  <a:pt x="15188" y="25124"/>
                  <a:pt x="15188" y="25093"/>
                  <a:pt x="15219" y="25062"/>
                </a:cubicBezTo>
                <a:cubicBezTo>
                  <a:pt x="15250" y="25031"/>
                  <a:pt x="15313" y="24999"/>
                  <a:pt x="15281" y="24937"/>
                </a:cubicBezTo>
                <a:close/>
                <a:moveTo>
                  <a:pt x="3781" y="23812"/>
                </a:move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lnTo>
                  <a:pt x="3781" y="23812"/>
                </a:lnTo>
                <a:cubicBezTo>
                  <a:pt x="3781" y="23812"/>
                  <a:pt x="3781" y="23812"/>
                  <a:pt x="3781" y="23812"/>
                </a:cubicBezTo>
                <a:cubicBezTo>
                  <a:pt x="3781" y="23812"/>
                  <a:pt x="3781" y="23812"/>
                  <a:pt x="3781" y="23812"/>
                </a:cubicBezTo>
                <a:close/>
                <a:moveTo>
                  <a:pt x="28469" y="24249"/>
                </a:moveTo>
                <a:cubicBezTo>
                  <a:pt x="28438" y="24187"/>
                  <a:pt x="28438" y="24156"/>
                  <a:pt x="28469" y="24124"/>
                </a:cubicBezTo>
                <a:cubicBezTo>
                  <a:pt x="28469" y="24062"/>
                  <a:pt x="28438" y="24031"/>
                  <a:pt x="28406" y="23999"/>
                </a:cubicBezTo>
                <a:cubicBezTo>
                  <a:pt x="28375" y="23999"/>
                  <a:pt x="28344" y="23999"/>
                  <a:pt x="28313" y="24031"/>
                </a:cubicBezTo>
                <a:cubicBezTo>
                  <a:pt x="28281" y="24062"/>
                  <a:pt x="28313" y="24093"/>
                  <a:pt x="28344" y="24124"/>
                </a:cubicBezTo>
                <a:cubicBezTo>
                  <a:pt x="28375" y="24156"/>
                  <a:pt x="28406" y="24187"/>
                  <a:pt x="28469" y="24249"/>
                </a:cubicBezTo>
                <a:close/>
                <a:moveTo>
                  <a:pt x="17219" y="23281"/>
                </a:moveTo>
                <a:cubicBezTo>
                  <a:pt x="17219" y="23249"/>
                  <a:pt x="17219" y="23249"/>
                  <a:pt x="17219" y="23187"/>
                </a:cubicBezTo>
                <a:cubicBezTo>
                  <a:pt x="17219" y="23249"/>
                  <a:pt x="17188" y="23249"/>
                  <a:pt x="17219" y="23281"/>
                </a:cubicBezTo>
                <a:cubicBezTo>
                  <a:pt x="17219" y="23312"/>
                  <a:pt x="17219" y="23343"/>
                  <a:pt x="17188" y="23374"/>
                </a:cubicBezTo>
                <a:cubicBezTo>
                  <a:pt x="17156" y="23374"/>
                  <a:pt x="17156" y="23437"/>
                  <a:pt x="17156" y="23437"/>
                </a:cubicBezTo>
                <a:cubicBezTo>
                  <a:pt x="17156" y="23468"/>
                  <a:pt x="17188" y="23468"/>
                  <a:pt x="17188" y="23468"/>
                </a:cubicBezTo>
                <a:cubicBezTo>
                  <a:pt x="17219" y="23437"/>
                  <a:pt x="17250" y="23437"/>
                  <a:pt x="17281" y="23437"/>
                </a:cubicBezTo>
                <a:cubicBezTo>
                  <a:pt x="17219" y="23406"/>
                  <a:pt x="17344" y="23312"/>
                  <a:pt x="17219" y="23281"/>
                </a:cubicBezTo>
                <a:close/>
                <a:moveTo>
                  <a:pt x="17250" y="25124"/>
                </a:moveTo>
                <a:cubicBezTo>
                  <a:pt x="17313" y="25124"/>
                  <a:pt x="17313" y="25156"/>
                  <a:pt x="17344" y="25124"/>
                </a:cubicBezTo>
                <a:cubicBezTo>
                  <a:pt x="17344" y="25124"/>
                  <a:pt x="17344" y="25093"/>
                  <a:pt x="17344" y="25093"/>
                </a:cubicBezTo>
                <a:cubicBezTo>
                  <a:pt x="17313" y="25062"/>
                  <a:pt x="17281" y="25093"/>
                  <a:pt x="17250" y="25124"/>
                </a:cubicBezTo>
                <a:close/>
                <a:moveTo>
                  <a:pt x="17219" y="23093"/>
                </a:moveTo>
                <a:cubicBezTo>
                  <a:pt x="17156" y="23124"/>
                  <a:pt x="17063" y="23124"/>
                  <a:pt x="17031" y="23187"/>
                </a:cubicBezTo>
                <a:cubicBezTo>
                  <a:pt x="17000" y="23187"/>
                  <a:pt x="17031" y="23218"/>
                  <a:pt x="17063" y="23218"/>
                </a:cubicBezTo>
                <a:cubicBezTo>
                  <a:pt x="17094" y="23156"/>
                  <a:pt x="17188" y="23156"/>
                  <a:pt x="17219" y="23124"/>
                </a:cubicBezTo>
                <a:cubicBezTo>
                  <a:pt x="17250" y="23093"/>
                  <a:pt x="17219" y="23062"/>
                  <a:pt x="17219" y="23093"/>
                </a:cubicBezTo>
                <a:close/>
                <a:moveTo>
                  <a:pt x="21969" y="18531"/>
                </a:move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ubicBezTo>
                  <a:pt x="21969" y="18531"/>
                  <a:pt x="21969" y="18531"/>
                  <a:pt x="21969" y="18531"/>
                </a:cubicBezTo>
                <a:close/>
                <a:moveTo>
                  <a:pt x="12438" y="16093"/>
                </a:moveTo>
                <a:cubicBezTo>
                  <a:pt x="12438" y="16093"/>
                  <a:pt x="12438" y="16093"/>
                  <a:pt x="12438" y="16093"/>
                </a:cubicBezTo>
                <a:cubicBezTo>
                  <a:pt x="12438" y="16093"/>
                  <a:pt x="12438" y="16093"/>
                  <a:pt x="12438" y="16093"/>
                </a:cubicBezTo>
                <a:close/>
                <a:moveTo>
                  <a:pt x="29375" y="22812"/>
                </a:moveTo>
                <a:cubicBezTo>
                  <a:pt x="29375" y="22812"/>
                  <a:pt x="29375" y="22812"/>
                  <a:pt x="29375" y="22812"/>
                </a:cubicBezTo>
                <a:lnTo>
                  <a:pt x="29375" y="22812"/>
                </a:lnTo>
                <a:lnTo>
                  <a:pt x="29375" y="22812"/>
                </a:lnTo>
                <a:cubicBezTo>
                  <a:pt x="29375" y="22812"/>
                  <a:pt x="29375" y="22812"/>
                  <a:pt x="29375" y="22812"/>
                </a:cubicBezTo>
                <a:cubicBezTo>
                  <a:pt x="29375" y="22812"/>
                  <a:pt x="29375" y="22812"/>
                  <a:pt x="29375" y="22812"/>
                </a:cubicBezTo>
                <a:close/>
                <a:moveTo>
                  <a:pt x="26063" y="20999"/>
                </a:moveTo>
                <a:cubicBezTo>
                  <a:pt x="26063" y="20999"/>
                  <a:pt x="26063" y="20999"/>
                  <a:pt x="26063" y="20999"/>
                </a:cubicBezTo>
                <a:cubicBezTo>
                  <a:pt x="26063" y="20999"/>
                  <a:pt x="26063" y="20999"/>
                  <a:pt x="26063" y="20999"/>
                </a:cubicBezTo>
                <a:close/>
                <a:moveTo>
                  <a:pt x="26188" y="21093"/>
                </a:moveTo>
                <a:cubicBezTo>
                  <a:pt x="26188" y="21093"/>
                  <a:pt x="26188" y="21093"/>
                  <a:pt x="26188" y="21093"/>
                </a:cubicBezTo>
                <a:cubicBezTo>
                  <a:pt x="26188" y="21093"/>
                  <a:pt x="26188" y="21093"/>
                  <a:pt x="26188" y="21093"/>
                </a:cubicBezTo>
                <a:close/>
                <a:moveTo>
                  <a:pt x="28844" y="21374"/>
                </a:moveTo>
                <a:cubicBezTo>
                  <a:pt x="28844" y="21374"/>
                  <a:pt x="28844" y="21374"/>
                  <a:pt x="28844" y="21374"/>
                </a:cubicBezTo>
                <a:cubicBezTo>
                  <a:pt x="28844" y="21374"/>
                  <a:pt x="28844" y="21374"/>
                  <a:pt x="28844" y="21374"/>
                </a:cubicBezTo>
                <a:close/>
                <a:moveTo>
                  <a:pt x="2531" y="20062"/>
                </a:moveTo>
                <a:cubicBezTo>
                  <a:pt x="2531" y="20062"/>
                  <a:pt x="2531" y="20062"/>
                  <a:pt x="2531" y="20062"/>
                </a:cubicBezTo>
                <a:moveTo>
                  <a:pt x="2750" y="19312"/>
                </a:moveTo>
                <a:cubicBezTo>
                  <a:pt x="2813" y="19281"/>
                  <a:pt x="2875" y="19312"/>
                  <a:pt x="2938" y="19281"/>
                </a:cubicBezTo>
                <a:cubicBezTo>
                  <a:pt x="2875" y="19281"/>
                  <a:pt x="2813" y="19281"/>
                  <a:pt x="2750" y="19312"/>
                </a:cubicBezTo>
                <a:close/>
                <a:moveTo>
                  <a:pt x="1438" y="20156"/>
                </a:moveTo>
                <a:cubicBezTo>
                  <a:pt x="1406" y="20124"/>
                  <a:pt x="1406" y="20062"/>
                  <a:pt x="1375" y="20031"/>
                </a:cubicBezTo>
                <a:cubicBezTo>
                  <a:pt x="1344" y="20124"/>
                  <a:pt x="1344" y="20124"/>
                  <a:pt x="1438" y="20156"/>
                </a:cubicBezTo>
                <a:close/>
                <a:moveTo>
                  <a:pt x="2500" y="19187"/>
                </a:moveTo>
                <a:cubicBezTo>
                  <a:pt x="2469" y="19187"/>
                  <a:pt x="2469" y="19218"/>
                  <a:pt x="2469" y="19218"/>
                </a:cubicBezTo>
                <a:cubicBezTo>
                  <a:pt x="2469" y="19281"/>
                  <a:pt x="2531" y="19281"/>
                  <a:pt x="2563" y="19343"/>
                </a:cubicBezTo>
                <a:cubicBezTo>
                  <a:pt x="2563" y="19343"/>
                  <a:pt x="2594" y="19343"/>
                  <a:pt x="2594" y="19312"/>
                </a:cubicBezTo>
                <a:cubicBezTo>
                  <a:pt x="2594" y="19249"/>
                  <a:pt x="2500" y="19249"/>
                  <a:pt x="2500" y="19187"/>
                </a:cubicBezTo>
                <a:close/>
                <a:moveTo>
                  <a:pt x="1125" y="19937"/>
                </a:moveTo>
                <a:cubicBezTo>
                  <a:pt x="1125" y="19937"/>
                  <a:pt x="1125" y="19937"/>
                  <a:pt x="1125" y="19937"/>
                </a:cubicBezTo>
                <a:cubicBezTo>
                  <a:pt x="1094" y="19874"/>
                  <a:pt x="1063" y="19812"/>
                  <a:pt x="1063" y="19781"/>
                </a:cubicBezTo>
                <a:cubicBezTo>
                  <a:pt x="1063" y="19749"/>
                  <a:pt x="1031" y="19718"/>
                  <a:pt x="1000" y="19749"/>
                </a:cubicBezTo>
                <a:cubicBezTo>
                  <a:pt x="969" y="19749"/>
                  <a:pt x="1000" y="19781"/>
                  <a:pt x="1000" y="19781"/>
                </a:cubicBezTo>
                <a:cubicBezTo>
                  <a:pt x="1063" y="19843"/>
                  <a:pt x="1063" y="19906"/>
                  <a:pt x="1125" y="19937"/>
                </a:cubicBezTo>
                <a:cubicBezTo>
                  <a:pt x="1125" y="20031"/>
                  <a:pt x="1156" y="20093"/>
                  <a:pt x="1250" y="20156"/>
                </a:cubicBezTo>
                <a:cubicBezTo>
                  <a:pt x="1219" y="20093"/>
                  <a:pt x="1219" y="19968"/>
                  <a:pt x="1125" y="19937"/>
                </a:cubicBezTo>
                <a:close/>
                <a:moveTo>
                  <a:pt x="1969" y="19562"/>
                </a:moveTo>
                <a:cubicBezTo>
                  <a:pt x="2031" y="19656"/>
                  <a:pt x="2063" y="19718"/>
                  <a:pt x="2094" y="19781"/>
                </a:cubicBezTo>
                <a:cubicBezTo>
                  <a:pt x="2094" y="19687"/>
                  <a:pt x="2063" y="19624"/>
                  <a:pt x="1969" y="19562"/>
                </a:cubicBezTo>
                <a:close/>
                <a:moveTo>
                  <a:pt x="21406" y="17062"/>
                </a:moveTo>
                <a:cubicBezTo>
                  <a:pt x="21375" y="17031"/>
                  <a:pt x="21313" y="17031"/>
                  <a:pt x="21313" y="16968"/>
                </a:cubicBezTo>
                <a:cubicBezTo>
                  <a:pt x="21344" y="16968"/>
                  <a:pt x="21344" y="17031"/>
                  <a:pt x="21406" y="17031"/>
                </a:cubicBezTo>
                <a:cubicBezTo>
                  <a:pt x="21406" y="17031"/>
                  <a:pt x="21406" y="17062"/>
                  <a:pt x="21406" y="17062"/>
                </a:cubicBezTo>
                <a:close/>
                <a:moveTo>
                  <a:pt x="20969" y="16499"/>
                </a:moveTo>
                <a:cubicBezTo>
                  <a:pt x="20875" y="16437"/>
                  <a:pt x="20813" y="16343"/>
                  <a:pt x="20719" y="16281"/>
                </a:cubicBezTo>
                <a:cubicBezTo>
                  <a:pt x="20750" y="16249"/>
                  <a:pt x="20813" y="16281"/>
                  <a:pt x="20813" y="16218"/>
                </a:cubicBezTo>
                <a:cubicBezTo>
                  <a:pt x="20813" y="16218"/>
                  <a:pt x="20813" y="16218"/>
                  <a:pt x="20813" y="16218"/>
                </a:cubicBezTo>
                <a:cubicBezTo>
                  <a:pt x="20844" y="16187"/>
                  <a:pt x="20875" y="16156"/>
                  <a:pt x="20875" y="16124"/>
                </a:cubicBezTo>
                <a:cubicBezTo>
                  <a:pt x="20938" y="16124"/>
                  <a:pt x="21000" y="16062"/>
                  <a:pt x="20969" y="16156"/>
                </a:cubicBezTo>
                <a:cubicBezTo>
                  <a:pt x="20938" y="16187"/>
                  <a:pt x="20906" y="16249"/>
                  <a:pt x="20875" y="16281"/>
                </a:cubicBezTo>
                <a:cubicBezTo>
                  <a:pt x="20938" y="16312"/>
                  <a:pt x="20969" y="16312"/>
                  <a:pt x="21000" y="16343"/>
                </a:cubicBezTo>
                <a:cubicBezTo>
                  <a:pt x="21031" y="16374"/>
                  <a:pt x="21125" y="16406"/>
                  <a:pt x="21125" y="16468"/>
                </a:cubicBezTo>
                <a:cubicBezTo>
                  <a:pt x="21188" y="16437"/>
                  <a:pt x="21219" y="16499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50" y="16531"/>
                  <a:pt x="21250" y="16531"/>
                </a:cubicBezTo>
                <a:cubicBezTo>
                  <a:pt x="21250" y="16531"/>
                  <a:pt x="21219" y="16531"/>
                  <a:pt x="21219" y="16531"/>
                </a:cubicBezTo>
                <a:cubicBezTo>
                  <a:pt x="21219" y="16531"/>
                  <a:pt x="21219" y="16562"/>
                  <a:pt x="21250" y="16562"/>
                </a:cubicBezTo>
                <a:cubicBezTo>
                  <a:pt x="21219" y="16562"/>
                  <a:pt x="21219" y="16531"/>
                  <a:pt x="21219" y="16531"/>
                </a:cubicBezTo>
                <a:cubicBezTo>
                  <a:pt x="21188" y="16531"/>
                  <a:pt x="21156" y="16499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125" y="16468"/>
                  <a:pt x="21125" y="16468"/>
                  <a:pt x="21125" y="16468"/>
                </a:cubicBezTo>
                <a:cubicBezTo>
                  <a:pt x="21063" y="16437"/>
                  <a:pt x="21031" y="16406"/>
                  <a:pt x="20969" y="16374"/>
                </a:cubicBezTo>
                <a:cubicBezTo>
                  <a:pt x="20938" y="16343"/>
                  <a:pt x="20906" y="16312"/>
                  <a:pt x="20875" y="16343"/>
                </a:cubicBezTo>
                <a:cubicBezTo>
                  <a:pt x="20844" y="16406"/>
                  <a:pt x="20906" y="16406"/>
                  <a:pt x="20906" y="16437"/>
                </a:cubicBezTo>
                <a:cubicBezTo>
                  <a:pt x="20938" y="16437"/>
                  <a:pt x="21000" y="16437"/>
                  <a:pt x="20969" y="16499"/>
                </a:cubicBezTo>
                <a:close/>
                <a:moveTo>
                  <a:pt x="12063" y="8093"/>
                </a:moveTo>
                <a:cubicBezTo>
                  <a:pt x="12094" y="8093"/>
                  <a:pt x="12094" y="8093"/>
                  <a:pt x="12094" y="8125"/>
                </a:cubicBezTo>
                <a:cubicBezTo>
                  <a:pt x="12063" y="8125"/>
                  <a:pt x="12063" y="8125"/>
                  <a:pt x="12063" y="8093"/>
                </a:cubicBezTo>
                <a:close/>
                <a:moveTo>
                  <a:pt x="10125" y="10406"/>
                </a:moveTo>
                <a:cubicBezTo>
                  <a:pt x="10188" y="10406"/>
                  <a:pt x="10156" y="10468"/>
                  <a:pt x="10156" y="10499"/>
                </a:cubicBezTo>
                <a:cubicBezTo>
                  <a:pt x="10156" y="10531"/>
                  <a:pt x="10125" y="10531"/>
                  <a:pt x="10094" y="10531"/>
                </a:cubicBezTo>
                <a:cubicBezTo>
                  <a:pt x="10063" y="10499"/>
                  <a:pt x="10094" y="10468"/>
                  <a:pt x="10125" y="10406"/>
                </a:cubicBezTo>
                <a:close/>
                <a:moveTo>
                  <a:pt x="4250" y="14781"/>
                </a:moveTo>
                <a:cubicBezTo>
                  <a:pt x="4313" y="14781"/>
                  <a:pt x="4281" y="14812"/>
                  <a:pt x="4281" y="14843"/>
                </a:cubicBezTo>
                <a:cubicBezTo>
                  <a:pt x="4250" y="14812"/>
                  <a:pt x="4250" y="14812"/>
                  <a:pt x="4250" y="14781"/>
                </a:cubicBezTo>
                <a:close/>
                <a:moveTo>
                  <a:pt x="2563" y="20468"/>
                </a:moveTo>
                <a:cubicBezTo>
                  <a:pt x="2500" y="20437"/>
                  <a:pt x="2469" y="20281"/>
                  <a:pt x="2500" y="20249"/>
                </a:cubicBezTo>
                <a:cubicBezTo>
                  <a:pt x="2531" y="20218"/>
                  <a:pt x="2531" y="20187"/>
                  <a:pt x="2563" y="20187"/>
                </a:cubicBezTo>
                <a:cubicBezTo>
                  <a:pt x="2594" y="20218"/>
                  <a:pt x="2563" y="20249"/>
                  <a:pt x="2531" y="20281"/>
                </a:cubicBezTo>
                <a:cubicBezTo>
                  <a:pt x="2625" y="20218"/>
                  <a:pt x="2625" y="20312"/>
                  <a:pt x="2656" y="20343"/>
                </a:cubicBezTo>
                <a:cubicBezTo>
                  <a:pt x="2688" y="20406"/>
                  <a:pt x="2594" y="20406"/>
                  <a:pt x="2594" y="20437"/>
                </a:cubicBezTo>
                <a:cubicBezTo>
                  <a:pt x="2594" y="20468"/>
                  <a:pt x="2563" y="20468"/>
                  <a:pt x="2563" y="20468"/>
                </a:cubicBezTo>
                <a:close/>
                <a:moveTo>
                  <a:pt x="2625" y="20593"/>
                </a:moveTo>
                <a:cubicBezTo>
                  <a:pt x="2594" y="20593"/>
                  <a:pt x="2594" y="20562"/>
                  <a:pt x="2594" y="20531"/>
                </a:cubicBezTo>
                <a:cubicBezTo>
                  <a:pt x="2594" y="20499"/>
                  <a:pt x="2594" y="20468"/>
                  <a:pt x="2625" y="20468"/>
                </a:cubicBezTo>
                <a:cubicBezTo>
                  <a:pt x="2656" y="20468"/>
                  <a:pt x="2656" y="20531"/>
                  <a:pt x="2688" y="20531"/>
                </a:cubicBezTo>
                <a:cubicBezTo>
                  <a:pt x="2688" y="20593"/>
                  <a:pt x="2656" y="20593"/>
                  <a:pt x="2625" y="20593"/>
                </a:cubicBezTo>
                <a:close/>
                <a:moveTo>
                  <a:pt x="2750" y="20499"/>
                </a:moveTo>
                <a:cubicBezTo>
                  <a:pt x="2750" y="20499"/>
                  <a:pt x="2719" y="20531"/>
                  <a:pt x="2719" y="20531"/>
                </a:cubicBezTo>
                <a:cubicBezTo>
                  <a:pt x="2688" y="20499"/>
                  <a:pt x="2656" y="20437"/>
                  <a:pt x="2688" y="20406"/>
                </a:cubicBezTo>
                <a:cubicBezTo>
                  <a:pt x="2750" y="20437"/>
                  <a:pt x="2781" y="20437"/>
                  <a:pt x="2750" y="20499"/>
                </a:cubicBezTo>
                <a:close/>
                <a:moveTo>
                  <a:pt x="2844" y="20374"/>
                </a:moveTo>
                <a:cubicBezTo>
                  <a:pt x="2781" y="20406"/>
                  <a:pt x="2750" y="20374"/>
                  <a:pt x="2719" y="20343"/>
                </a:cubicBezTo>
                <a:cubicBezTo>
                  <a:pt x="2656" y="20281"/>
                  <a:pt x="2656" y="20187"/>
                  <a:pt x="2594" y="20124"/>
                </a:cubicBezTo>
                <a:cubicBezTo>
                  <a:pt x="2656" y="20156"/>
                  <a:pt x="2688" y="20156"/>
                  <a:pt x="2688" y="20218"/>
                </a:cubicBezTo>
                <a:cubicBezTo>
                  <a:pt x="2719" y="20312"/>
                  <a:pt x="2781" y="20249"/>
                  <a:pt x="2781" y="20218"/>
                </a:cubicBezTo>
                <a:cubicBezTo>
                  <a:pt x="2844" y="20187"/>
                  <a:pt x="2844" y="20187"/>
                  <a:pt x="2875" y="20249"/>
                </a:cubicBezTo>
                <a:cubicBezTo>
                  <a:pt x="2906" y="20312"/>
                  <a:pt x="2875" y="20343"/>
                  <a:pt x="2844" y="20374"/>
                </a:cubicBezTo>
                <a:close/>
                <a:moveTo>
                  <a:pt x="12938" y="14718"/>
                </a:move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ubicBezTo>
                  <a:pt x="12938" y="14718"/>
                  <a:pt x="12938" y="14718"/>
                  <a:pt x="12938" y="14718"/>
                </a:cubicBezTo>
                <a:close/>
                <a:moveTo>
                  <a:pt x="22000" y="16718"/>
                </a:moveTo>
                <a:cubicBezTo>
                  <a:pt x="22031" y="16718"/>
                  <a:pt x="22094" y="16718"/>
                  <a:pt x="22125" y="16781"/>
                </a:cubicBezTo>
                <a:cubicBezTo>
                  <a:pt x="22063" y="16781"/>
                  <a:pt x="22000" y="16749"/>
                  <a:pt x="22000" y="16718"/>
                </a:cubicBezTo>
                <a:close/>
                <a:moveTo>
                  <a:pt x="22281" y="16218"/>
                </a:move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ubicBezTo>
                  <a:pt x="22281" y="16218"/>
                  <a:pt x="22281" y="16218"/>
                  <a:pt x="22281" y="16218"/>
                </a:cubicBezTo>
                <a:close/>
                <a:moveTo>
                  <a:pt x="22000" y="16406"/>
                </a:moveTo>
                <a:cubicBezTo>
                  <a:pt x="22000" y="16468"/>
                  <a:pt x="22094" y="16468"/>
                  <a:pt x="22125" y="16531"/>
                </a:cubicBezTo>
                <a:cubicBezTo>
                  <a:pt x="22156" y="16531"/>
                  <a:pt x="22156" y="16531"/>
                  <a:pt x="22188" y="16531"/>
                </a:cubicBezTo>
                <a:cubicBezTo>
                  <a:pt x="22281" y="16593"/>
                  <a:pt x="22281" y="16593"/>
                  <a:pt x="22313" y="16499"/>
                </a:cubicBezTo>
                <a:cubicBezTo>
                  <a:pt x="22375" y="16468"/>
                  <a:pt x="22406" y="16468"/>
                  <a:pt x="22406" y="16499"/>
                </a:cubicBezTo>
                <a:cubicBezTo>
                  <a:pt x="22375" y="16531"/>
                  <a:pt x="22375" y="16562"/>
                  <a:pt x="22344" y="16624"/>
                </a:cubicBezTo>
                <a:cubicBezTo>
                  <a:pt x="22313" y="16687"/>
                  <a:pt x="22406" y="16656"/>
                  <a:pt x="22406" y="16718"/>
                </a:cubicBezTo>
                <a:cubicBezTo>
                  <a:pt x="22375" y="16718"/>
                  <a:pt x="22313" y="16656"/>
                  <a:pt x="22281" y="16718"/>
                </a:cubicBezTo>
                <a:cubicBezTo>
                  <a:pt x="22281" y="16718"/>
                  <a:pt x="22281" y="16718"/>
                  <a:pt x="22281" y="16718"/>
                </a:cubicBezTo>
                <a:cubicBezTo>
                  <a:pt x="22250" y="16749"/>
                  <a:pt x="22250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88" y="16812"/>
                  <a:pt x="22188" y="16812"/>
                  <a:pt x="22188" y="16812"/>
                </a:cubicBezTo>
                <a:cubicBezTo>
                  <a:pt x="22156" y="16749"/>
                  <a:pt x="22219" y="16718"/>
                  <a:pt x="22219" y="16656"/>
                </a:cubicBezTo>
                <a:cubicBezTo>
                  <a:pt x="22188" y="16656"/>
                  <a:pt x="22188" y="16656"/>
                  <a:pt x="22156" y="16624"/>
                </a:cubicBezTo>
                <a:cubicBezTo>
                  <a:pt x="22188" y="16656"/>
                  <a:pt x="22188" y="16656"/>
                  <a:pt x="22219" y="16656"/>
                </a:cubicBezTo>
                <a:cubicBezTo>
                  <a:pt x="22219" y="16593"/>
                  <a:pt x="22156" y="16593"/>
                  <a:pt x="22125" y="16531"/>
                </a:cubicBezTo>
                <a:cubicBezTo>
                  <a:pt x="22063" y="16499"/>
                  <a:pt x="22031" y="16499"/>
                  <a:pt x="21969" y="16468"/>
                </a:cubicBezTo>
                <a:cubicBezTo>
                  <a:pt x="21938" y="16406"/>
                  <a:pt x="21875" y="16374"/>
                  <a:pt x="21813" y="16343"/>
                </a:cubicBezTo>
                <a:cubicBezTo>
                  <a:pt x="21906" y="16343"/>
                  <a:pt x="21938" y="16374"/>
                  <a:pt x="22000" y="16406"/>
                </a:cubicBezTo>
                <a:close/>
                <a:moveTo>
                  <a:pt x="21438" y="16343"/>
                </a:moveTo>
                <a:cubicBezTo>
                  <a:pt x="21469" y="16343"/>
                  <a:pt x="21531" y="16468"/>
                  <a:pt x="21594" y="16343"/>
                </a:cubicBezTo>
                <a:cubicBezTo>
                  <a:pt x="21625" y="16343"/>
                  <a:pt x="21625" y="16281"/>
                  <a:pt x="21688" y="16281"/>
                </a:cubicBezTo>
                <a:cubicBezTo>
                  <a:pt x="21719" y="16312"/>
                  <a:pt x="21688" y="16312"/>
                  <a:pt x="21688" y="16343"/>
                </a:cubicBezTo>
                <a:cubicBezTo>
                  <a:pt x="21688" y="16374"/>
                  <a:pt x="21656" y="16406"/>
                  <a:pt x="21656" y="16437"/>
                </a:cubicBezTo>
                <a:cubicBezTo>
                  <a:pt x="21625" y="16437"/>
                  <a:pt x="21625" y="16468"/>
                  <a:pt x="21656" y="16499"/>
                </a:cubicBezTo>
                <a:cubicBezTo>
                  <a:pt x="21750" y="16531"/>
                  <a:pt x="21844" y="16624"/>
                  <a:pt x="21938" y="16656"/>
                </a:cubicBezTo>
                <a:cubicBezTo>
                  <a:pt x="21938" y="16656"/>
                  <a:pt x="21938" y="16656"/>
                  <a:pt x="21938" y="16656"/>
                </a:cubicBezTo>
                <a:cubicBezTo>
                  <a:pt x="21938" y="16687"/>
                  <a:pt x="21969" y="16687"/>
                  <a:pt x="22000" y="16687"/>
                </a:cubicBezTo>
                <a:cubicBezTo>
                  <a:pt x="21969" y="16687"/>
                  <a:pt x="22000" y="16687"/>
                  <a:pt x="22000" y="16718"/>
                </a:cubicBezTo>
                <a:cubicBezTo>
                  <a:pt x="21938" y="16718"/>
                  <a:pt x="21906" y="16656"/>
                  <a:pt x="21844" y="16656"/>
                </a:cubicBezTo>
                <a:cubicBezTo>
                  <a:pt x="21813" y="16624"/>
                  <a:pt x="21781" y="16624"/>
                  <a:pt x="21781" y="16593"/>
                </a:cubicBezTo>
                <a:cubicBezTo>
                  <a:pt x="21719" y="16562"/>
                  <a:pt x="21656" y="16499"/>
                  <a:pt x="21594" y="16499"/>
                </a:cubicBezTo>
                <a:cubicBezTo>
                  <a:pt x="21563" y="16499"/>
                  <a:pt x="21531" y="16593"/>
                  <a:pt x="21469" y="16656"/>
                </a:cubicBezTo>
                <a:cubicBezTo>
                  <a:pt x="21469" y="16624"/>
                  <a:pt x="21469" y="16593"/>
                  <a:pt x="21438" y="16593"/>
                </a:cubicBezTo>
                <a:cubicBezTo>
                  <a:pt x="21438" y="16562"/>
                  <a:pt x="21438" y="16562"/>
                  <a:pt x="21438" y="16562"/>
                </a:cubicBezTo>
                <a:cubicBezTo>
                  <a:pt x="21469" y="16562"/>
                  <a:pt x="21469" y="16531"/>
                  <a:pt x="21469" y="16531"/>
                </a:cubicBezTo>
                <a:cubicBezTo>
                  <a:pt x="21531" y="16468"/>
                  <a:pt x="21531" y="16437"/>
                  <a:pt x="21438" y="16406"/>
                </a:cubicBezTo>
                <a:cubicBezTo>
                  <a:pt x="21438" y="16374"/>
                  <a:pt x="21406" y="16374"/>
                  <a:pt x="21406" y="16374"/>
                </a:cubicBezTo>
                <a:cubicBezTo>
                  <a:pt x="21406" y="16343"/>
                  <a:pt x="21406" y="16343"/>
                  <a:pt x="21438" y="16343"/>
                </a:cubicBezTo>
                <a:close/>
                <a:moveTo>
                  <a:pt x="20313" y="16062"/>
                </a:moveTo>
                <a:cubicBezTo>
                  <a:pt x="20375" y="16062"/>
                  <a:pt x="20375" y="16062"/>
                  <a:pt x="20375" y="16093"/>
                </a:cubicBezTo>
                <a:cubicBezTo>
                  <a:pt x="20344" y="16093"/>
                  <a:pt x="20344" y="16062"/>
                  <a:pt x="20313" y="16062"/>
                </a:cubicBezTo>
                <a:close/>
                <a:moveTo>
                  <a:pt x="20500" y="16093"/>
                </a:moveTo>
                <a:cubicBezTo>
                  <a:pt x="20438" y="16062"/>
                  <a:pt x="20406" y="15999"/>
                  <a:pt x="20344" y="15968"/>
                </a:cubicBezTo>
                <a:cubicBezTo>
                  <a:pt x="20406" y="15999"/>
                  <a:pt x="20531" y="15937"/>
                  <a:pt x="20500" y="16093"/>
                </a:cubicBezTo>
                <a:close/>
                <a:moveTo>
                  <a:pt x="20375" y="15468"/>
                </a:move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406" y="15499"/>
                </a:cubicBezTo>
                <a:cubicBezTo>
                  <a:pt x="20406" y="15499"/>
                  <a:pt x="20406" y="15499"/>
                  <a:pt x="20375" y="15468"/>
                </a:cubicBezTo>
                <a:close/>
                <a:moveTo>
                  <a:pt x="20375" y="16093"/>
                </a:moveTo>
                <a:cubicBezTo>
                  <a:pt x="20469" y="16124"/>
                  <a:pt x="20531" y="16218"/>
                  <a:pt x="20625" y="16281"/>
                </a:cubicBezTo>
                <a:cubicBezTo>
                  <a:pt x="20531" y="16249"/>
                  <a:pt x="20438" y="16156"/>
                  <a:pt x="20375" y="16093"/>
                </a:cubicBezTo>
                <a:close/>
                <a:moveTo>
                  <a:pt x="20844" y="16468"/>
                </a:moveTo>
                <a:cubicBezTo>
                  <a:pt x="20844" y="16468"/>
                  <a:pt x="20844" y="16468"/>
                  <a:pt x="20844" y="16468"/>
                </a:cubicBezTo>
                <a:cubicBezTo>
                  <a:pt x="20844" y="16468"/>
                  <a:pt x="20844" y="16468"/>
                  <a:pt x="20844" y="16468"/>
                </a:cubicBezTo>
                <a:close/>
                <a:moveTo>
                  <a:pt x="20781" y="16468"/>
                </a:moveTo>
                <a:cubicBezTo>
                  <a:pt x="20750" y="16437"/>
                  <a:pt x="20719" y="16406"/>
                  <a:pt x="20688" y="16374"/>
                </a:cubicBezTo>
                <a:cubicBezTo>
                  <a:pt x="20750" y="16374"/>
                  <a:pt x="20781" y="16406"/>
                  <a:pt x="20781" y="16468"/>
                </a:cubicBezTo>
                <a:close/>
                <a:moveTo>
                  <a:pt x="20375" y="14437"/>
                </a:moveTo>
                <a:cubicBezTo>
                  <a:pt x="20469" y="14468"/>
                  <a:pt x="20594" y="14468"/>
                  <a:pt x="20688" y="14562"/>
                </a:cubicBezTo>
                <a:cubicBezTo>
                  <a:pt x="20688" y="14531"/>
                  <a:pt x="20688" y="14531"/>
                  <a:pt x="20688" y="14499"/>
                </a:cubicBezTo>
                <a:cubicBezTo>
                  <a:pt x="20688" y="14531"/>
                  <a:pt x="20688" y="14531"/>
                  <a:pt x="20688" y="14562"/>
                </a:cubicBezTo>
                <a:cubicBezTo>
                  <a:pt x="20688" y="14593"/>
                  <a:pt x="20750" y="14593"/>
                  <a:pt x="20719" y="14624"/>
                </a:cubicBezTo>
                <a:cubicBezTo>
                  <a:pt x="20688" y="14656"/>
                  <a:pt x="20656" y="14624"/>
                  <a:pt x="20625" y="14624"/>
                </a:cubicBezTo>
                <a:cubicBezTo>
                  <a:pt x="20563" y="14593"/>
                  <a:pt x="20531" y="14593"/>
                  <a:pt x="20469" y="14562"/>
                </a:cubicBezTo>
                <a:cubicBezTo>
                  <a:pt x="20406" y="14562"/>
                  <a:pt x="20344" y="14531"/>
                  <a:pt x="20344" y="14468"/>
                </a:cubicBezTo>
                <a:cubicBezTo>
                  <a:pt x="20344" y="14437"/>
                  <a:pt x="20344" y="14437"/>
                  <a:pt x="20375" y="14437"/>
                </a:cubicBezTo>
                <a:close/>
                <a:moveTo>
                  <a:pt x="20156" y="14374"/>
                </a:moveTo>
                <a:cubicBezTo>
                  <a:pt x="20219" y="14406"/>
                  <a:pt x="20281" y="14406"/>
                  <a:pt x="20313" y="14499"/>
                </a:cubicBezTo>
                <a:cubicBezTo>
                  <a:pt x="20313" y="14499"/>
                  <a:pt x="20313" y="14499"/>
                  <a:pt x="20344" y="14499"/>
                </a:cubicBezTo>
                <a:cubicBezTo>
                  <a:pt x="20313" y="14499"/>
                  <a:pt x="20313" y="14499"/>
                  <a:pt x="20313" y="14499"/>
                </a:cubicBezTo>
                <a:cubicBezTo>
                  <a:pt x="20219" y="14531"/>
                  <a:pt x="20125" y="14468"/>
                  <a:pt x="20125" y="14374"/>
                </a:cubicBezTo>
                <a:cubicBezTo>
                  <a:pt x="20156" y="14374"/>
                  <a:pt x="20156" y="14374"/>
                  <a:pt x="20156" y="14374"/>
                </a:cubicBezTo>
                <a:close/>
                <a:moveTo>
                  <a:pt x="20000" y="14343"/>
                </a:moveTo>
                <a:cubicBezTo>
                  <a:pt x="20031" y="14343"/>
                  <a:pt x="20063" y="14343"/>
                  <a:pt x="20094" y="14343"/>
                </a:cubicBezTo>
                <a:cubicBezTo>
                  <a:pt x="20094" y="14374"/>
                  <a:pt x="20125" y="14437"/>
                  <a:pt x="20063" y="14437"/>
                </a:cubicBezTo>
                <a:cubicBezTo>
                  <a:pt x="19969" y="14437"/>
                  <a:pt x="20031" y="14374"/>
                  <a:pt x="20000" y="14343"/>
                </a:cubicBezTo>
                <a:cubicBezTo>
                  <a:pt x="20000" y="14312"/>
                  <a:pt x="20000" y="14249"/>
                  <a:pt x="20000" y="14218"/>
                </a:cubicBezTo>
                <a:cubicBezTo>
                  <a:pt x="20000" y="14249"/>
                  <a:pt x="20000" y="14312"/>
                  <a:pt x="20000" y="14343"/>
                </a:cubicBezTo>
                <a:close/>
                <a:moveTo>
                  <a:pt x="19656" y="14249"/>
                </a:move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ubicBezTo>
                  <a:pt x="19656" y="14249"/>
                  <a:pt x="19656" y="14249"/>
                  <a:pt x="19656" y="14249"/>
                </a:cubicBezTo>
                <a:close/>
                <a:moveTo>
                  <a:pt x="19063" y="14187"/>
                </a:moveTo>
                <a:cubicBezTo>
                  <a:pt x="19063" y="14187"/>
                  <a:pt x="19063" y="14187"/>
                  <a:pt x="19063" y="14187"/>
                </a:cubicBezTo>
                <a:cubicBezTo>
                  <a:pt x="19125" y="14156"/>
                  <a:pt x="19188" y="14156"/>
                  <a:pt x="19250" y="14218"/>
                </a:cubicBezTo>
                <a:cubicBezTo>
                  <a:pt x="19250" y="14218"/>
                  <a:pt x="19281" y="14187"/>
                  <a:pt x="19281" y="14187"/>
                </a:cubicBezTo>
                <a:cubicBezTo>
                  <a:pt x="19281" y="14187"/>
                  <a:pt x="19250" y="14218"/>
                  <a:pt x="19250" y="14218"/>
                </a:cubicBezTo>
                <a:cubicBezTo>
                  <a:pt x="19250" y="14218"/>
                  <a:pt x="19250" y="14218"/>
                  <a:pt x="19250" y="14249"/>
                </a:cubicBezTo>
                <a:cubicBezTo>
                  <a:pt x="19344" y="14343"/>
                  <a:pt x="19344" y="14343"/>
                  <a:pt x="19250" y="14437"/>
                </a:cubicBezTo>
                <a:cubicBezTo>
                  <a:pt x="19250" y="14437"/>
                  <a:pt x="19281" y="14437"/>
                  <a:pt x="19281" y="14468"/>
                </a:cubicBezTo>
                <a:cubicBezTo>
                  <a:pt x="19281" y="14437"/>
                  <a:pt x="19250" y="14437"/>
                  <a:pt x="19250" y="14437"/>
                </a:cubicBezTo>
                <a:cubicBezTo>
                  <a:pt x="19156" y="14499"/>
                  <a:pt x="19125" y="14437"/>
                  <a:pt x="19094" y="14406"/>
                </a:cubicBezTo>
                <a:cubicBezTo>
                  <a:pt x="19094" y="14406"/>
                  <a:pt x="19094" y="14406"/>
                  <a:pt x="19094" y="14406"/>
                </a:cubicBezTo>
                <a:cubicBezTo>
                  <a:pt x="19063" y="14343"/>
                  <a:pt x="19125" y="14312"/>
                  <a:pt x="19156" y="14281"/>
                </a:cubicBezTo>
                <a:cubicBezTo>
                  <a:pt x="19156" y="14281"/>
                  <a:pt x="19188" y="14249"/>
                  <a:pt x="19156" y="14249"/>
                </a:cubicBezTo>
                <a:cubicBezTo>
                  <a:pt x="19156" y="14218"/>
                  <a:pt x="19125" y="14218"/>
                  <a:pt x="19094" y="14249"/>
                </a:cubicBezTo>
                <a:cubicBezTo>
                  <a:pt x="19094" y="14249"/>
                  <a:pt x="19094" y="14312"/>
                  <a:pt x="19063" y="14281"/>
                </a:cubicBezTo>
                <a:cubicBezTo>
                  <a:pt x="19000" y="14249"/>
                  <a:pt x="19063" y="14218"/>
                  <a:pt x="19063" y="14187"/>
                </a:cubicBezTo>
                <a:close/>
                <a:moveTo>
                  <a:pt x="18563" y="14562"/>
                </a:moveTo>
                <a:cubicBezTo>
                  <a:pt x="18594" y="14531"/>
                  <a:pt x="18625" y="14562"/>
                  <a:pt x="18625" y="14593"/>
                </a:cubicBezTo>
                <a:cubicBezTo>
                  <a:pt x="18656" y="14624"/>
                  <a:pt x="18688" y="14656"/>
                  <a:pt x="18719" y="14687"/>
                </a:cubicBezTo>
                <a:cubicBezTo>
                  <a:pt x="18750" y="14718"/>
                  <a:pt x="18750" y="14749"/>
                  <a:pt x="18781" y="14718"/>
                </a:cubicBezTo>
                <a:cubicBezTo>
                  <a:pt x="18813" y="14718"/>
                  <a:pt x="18844" y="14687"/>
                  <a:pt x="18813" y="14656"/>
                </a:cubicBezTo>
                <a:cubicBezTo>
                  <a:pt x="18781" y="14593"/>
                  <a:pt x="18750" y="14562"/>
                  <a:pt x="18750" y="14531"/>
                </a:cubicBezTo>
                <a:cubicBezTo>
                  <a:pt x="18719" y="14499"/>
                  <a:pt x="18688" y="14499"/>
                  <a:pt x="18719" y="14468"/>
                </a:cubicBezTo>
                <a:cubicBezTo>
                  <a:pt x="18781" y="14406"/>
                  <a:pt x="18688" y="14406"/>
                  <a:pt x="18688" y="14374"/>
                </a:cubicBezTo>
                <a:cubicBezTo>
                  <a:pt x="18750" y="14343"/>
                  <a:pt x="18781" y="14406"/>
                  <a:pt x="18844" y="14406"/>
                </a:cubicBezTo>
                <a:cubicBezTo>
                  <a:pt x="18875" y="14406"/>
                  <a:pt x="18906" y="14437"/>
                  <a:pt x="18906" y="14406"/>
                </a:cubicBezTo>
                <a:cubicBezTo>
                  <a:pt x="18938" y="14374"/>
                  <a:pt x="18906" y="14343"/>
                  <a:pt x="18875" y="14343"/>
                </a:cubicBezTo>
                <a:cubicBezTo>
                  <a:pt x="18875" y="14343"/>
                  <a:pt x="18875" y="14343"/>
                  <a:pt x="18875" y="14343"/>
                </a:cubicBezTo>
                <a:cubicBezTo>
                  <a:pt x="18906" y="14281"/>
                  <a:pt x="18938" y="14281"/>
                  <a:pt x="18969" y="14312"/>
                </a:cubicBezTo>
                <a:cubicBezTo>
                  <a:pt x="19000" y="14343"/>
                  <a:pt x="19000" y="14343"/>
                  <a:pt x="19000" y="14374"/>
                </a:cubicBezTo>
                <a:cubicBezTo>
                  <a:pt x="19000" y="14374"/>
                  <a:pt x="19031" y="14374"/>
                  <a:pt x="19031" y="14374"/>
                </a:cubicBezTo>
                <a:cubicBezTo>
                  <a:pt x="19031" y="14374"/>
                  <a:pt x="19000" y="14374"/>
                  <a:pt x="19000" y="14374"/>
                </a:cubicBezTo>
                <a:cubicBezTo>
                  <a:pt x="18969" y="14468"/>
                  <a:pt x="19031" y="14468"/>
                  <a:pt x="19094" y="14499"/>
                </a:cubicBezTo>
                <a:cubicBezTo>
                  <a:pt x="19094" y="14499"/>
                  <a:pt x="19125" y="14499"/>
                  <a:pt x="19125" y="14531"/>
                </a:cubicBezTo>
                <a:cubicBezTo>
                  <a:pt x="19125" y="14562"/>
                  <a:pt x="19094" y="14562"/>
                  <a:pt x="19094" y="14562"/>
                </a:cubicBezTo>
                <a:cubicBezTo>
                  <a:pt x="19000" y="14499"/>
                  <a:pt x="19000" y="14562"/>
                  <a:pt x="19000" y="14624"/>
                </a:cubicBezTo>
                <a:cubicBezTo>
                  <a:pt x="19000" y="14624"/>
                  <a:pt x="18969" y="14656"/>
                  <a:pt x="18969" y="14656"/>
                </a:cubicBezTo>
                <a:cubicBezTo>
                  <a:pt x="18938" y="14624"/>
                  <a:pt x="18938" y="14593"/>
                  <a:pt x="18938" y="14562"/>
                </a:cubicBezTo>
                <a:cubicBezTo>
                  <a:pt x="18938" y="14468"/>
                  <a:pt x="18875" y="14468"/>
                  <a:pt x="18781" y="14437"/>
                </a:cubicBezTo>
                <a:cubicBezTo>
                  <a:pt x="18750" y="14437"/>
                  <a:pt x="18750" y="14468"/>
                  <a:pt x="18781" y="14499"/>
                </a:cubicBezTo>
                <a:cubicBezTo>
                  <a:pt x="18813" y="14562"/>
                  <a:pt x="18844" y="14593"/>
                  <a:pt x="18875" y="14656"/>
                </a:cubicBezTo>
                <a:cubicBezTo>
                  <a:pt x="18906" y="14656"/>
                  <a:pt x="18938" y="14687"/>
                  <a:pt x="18906" y="14718"/>
                </a:cubicBezTo>
                <a:cubicBezTo>
                  <a:pt x="18844" y="14718"/>
                  <a:pt x="18813" y="14812"/>
                  <a:pt x="18750" y="14812"/>
                </a:cubicBezTo>
                <a:cubicBezTo>
                  <a:pt x="18719" y="14781"/>
                  <a:pt x="18688" y="14781"/>
                  <a:pt x="18656" y="14781"/>
                </a:cubicBezTo>
                <a:cubicBezTo>
                  <a:pt x="18656" y="14781"/>
                  <a:pt x="18656" y="14812"/>
                  <a:pt x="18656" y="14812"/>
                </a:cubicBezTo>
                <a:cubicBezTo>
                  <a:pt x="18656" y="14812"/>
                  <a:pt x="18656" y="14781"/>
                  <a:pt x="18656" y="14781"/>
                </a:cubicBezTo>
                <a:cubicBezTo>
                  <a:pt x="18656" y="14781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49"/>
                  <a:pt x="18656" y="14749"/>
                </a:cubicBezTo>
                <a:cubicBezTo>
                  <a:pt x="18656" y="14749"/>
                  <a:pt x="18656" y="14718"/>
                  <a:pt x="18656" y="14718"/>
                </a:cubicBezTo>
                <a:cubicBezTo>
                  <a:pt x="18625" y="14687"/>
                  <a:pt x="18594" y="14656"/>
                  <a:pt x="18594" y="14624"/>
                </a:cubicBezTo>
                <a:cubicBezTo>
                  <a:pt x="18594" y="14593"/>
                  <a:pt x="18531" y="14593"/>
                  <a:pt x="18563" y="14562"/>
                </a:cubicBezTo>
                <a:close/>
                <a:moveTo>
                  <a:pt x="18406" y="14531"/>
                </a:moveTo>
                <a:cubicBezTo>
                  <a:pt x="18438" y="14531"/>
                  <a:pt x="18469" y="14531"/>
                  <a:pt x="18469" y="14562"/>
                </a:cubicBezTo>
                <a:cubicBezTo>
                  <a:pt x="18469" y="14562"/>
                  <a:pt x="18438" y="14593"/>
                  <a:pt x="18438" y="14593"/>
                </a:cubicBezTo>
                <a:cubicBezTo>
                  <a:pt x="18406" y="14624"/>
                  <a:pt x="18375" y="14656"/>
                  <a:pt x="18406" y="14687"/>
                </a:cubicBezTo>
                <a:cubicBezTo>
                  <a:pt x="18438" y="14718"/>
                  <a:pt x="18469" y="14749"/>
                  <a:pt x="18500" y="14718"/>
                </a:cubicBezTo>
                <a:cubicBezTo>
                  <a:pt x="18531" y="14687"/>
                  <a:pt x="18531" y="14656"/>
                  <a:pt x="18563" y="14687"/>
                </a:cubicBezTo>
                <a:cubicBezTo>
                  <a:pt x="18594" y="14718"/>
                  <a:pt x="18563" y="14749"/>
                  <a:pt x="18531" y="14749"/>
                </a:cubicBezTo>
                <a:cubicBezTo>
                  <a:pt x="18469" y="14812"/>
                  <a:pt x="18531" y="14843"/>
                  <a:pt x="18531" y="14874"/>
                </a:cubicBezTo>
                <a:cubicBezTo>
                  <a:pt x="18563" y="14874"/>
                  <a:pt x="18594" y="14906"/>
                  <a:pt x="18563" y="14937"/>
                </a:cubicBezTo>
                <a:cubicBezTo>
                  <a:pt x="18531" y="14968"/>
                  <a:pt x="18500" y="14906"/>
                  <a:pt x="18500" y="14906"/>
                </a:cubicBezTo>
                <a:cubicBezTo>
                  <a:pt x="18438" y="14812"/>
                  <a:pt x="18375" y="14749"/>
                  <a:pt x="18313" y="14656"/>
                </a:cubicBezTo>
                <a:cubicBezTo>
                  <a:pt x="18281" y="14624"/>
                  <a:pt x="18281" y="14593"/>
                  <a:pt x="18313" y="14593"/>
                </a:cubicBezTo>
                <a:cubicBezTo>
                  <a:pt x="18344" y="14562"/>
                  <a:pt x="18375" y="14562"/>
                  <a:pt x="18406" y="14531"/>
                </a:cubicBezTo>
                <a:close/>
                <a:moveTo>
                  <a:pt x="18406" y="15031"/>
                </a:moveTo>
                <a:cubicBezTo>
                  <a:pt x="18406" y="15031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406" y="15062"/>
                  <a:pt x="18406" y="15062"/>
                  <a:pt x="18406" y="15062"/>
                </a:cubicBezTo>
                <a:cubicBezTo>
                  <a:pt x="18375" y="15062"/>
                  <a:pt x="18375" y="15093"/>
                  <a:pt x="18375" y="15093"/>
                </a:cubicBezTo>
                <a:cubicBezTo>
                  <a:pt x="18375" y="15093"/>
                  <a:pt x="18375" y="15093"/>
                  <a:pt x="18375" y="15093"/>
                </a:cubicBezTo>
                <a:cubicBezTo>
                  <a:pt x="18313" y="15093"/>
                  <a:pt x="18281" y="15124"/>
                  <a:pt x="18344" y="15187"/>
                </a:cubicBezTo>
                <a:cubicBezTo>
                  <a:pt x="18344" y="15218"/>
                  <a:pt x="18375" y="15218"/>
                  <a:pt x="18344" y="15249"/>
                </a:cubicBezTo>
                <a:cubicBezTo>
                  <a:pt x="18313" y="15281"/>
                  <a:pt x="18281" y="15249"/>
                  <a:pt x="18281" y="15218"/>
                </a:cubicBezTo>
                <a:cubicBezTo>
                  <a:pt x="18219" y="15156"/>
                  <a:pt x="18156" y="15062"/>
                  <a:pt x="18094" y="14999"/>
                </a:cubicBezTo>
                <a:cubicBezTo>
                  <a:pt x="18063" y="14937"/>
                  <a:pt x="18031" y="14906"/>
                  <a:pt x="18125" y="14874"/>
                </a:cubicBezTo>
                <a:cubicBezTo>
                  <a:pt x="18125" y="14874"/>
                  <a:pt x="18156" y="14843"/>
                  <a:pt x="18156" y="14843"/>
                </a:cubicBezTo>
                <a:cubicBezTo>
                  <a:pt x="18125" y="14843"/>
                  <a:pt x="18125" y="14843"/>
                  <a:pt x="18125" y="14812"/>
                </a:cubicBezTo>
                <a:cubicBezTo>
                  <a:pt x="18125" y="14843"/>
                  <a:pt x="18125" y="14843"/>
                  <a:pt x="18156" y="14843"/>
                </a:cubicBezTo>
                <a:cubicBezTo>
                  <a:pt x="18281" y="14781"/>
                  <a:pt x="18313" y="14874"/>
                  <a:pt x="18375" y="14937"/>
                </a:cubicBezTo>
                <a:cubicBezTo>
                  <a:pt x="18375" y="14968"/>
                  <a:pt x="18375" y="14999"/>
                  <a:pt x="18406" y="15031"/>
                </a:cubicBezTo>
                <a:cubicBezTo>
                  <a:pt x="18406" y="15031"/>
                  <a:pt x="18406" y="15031"/>
                  <a:pt x="18438" y="15031"/>
                </a:cubicBezTo>
                <a:cubicBezTo>
                  <a:pt x="18406" y="15031"/>
                  <a:pt x="18406" y="15031"/>
                  <a:pt x="18406" y="15031"/>
                </a:cubicBezTo>
                <a:close/>
                <a:moveTo>
                  <a:pt x="18125" y="13843"/>
                </a:moveTo>
                <a:cubicBezTo>
                  <a:pt x="18125" y="13874"/>
                  <a:pt x="18156" y="13874"/>
                  <a:pt x="18188" y="13874"/>
                </a:cubicBezTo>
                <a:cubicBezTo>
                  <a:pt x="18219" y="13874"/>
                  <a:pt x="18281" y="13874"/>
                  <a:pt x="18313" y="13937"/>
                </a:cubicBezTo>
                <a:cubicBezTo>
                  <a:pt x="18219" y="13937"/>
                  <a:pt x="18094" y="13906"/>
                  <a:pt x="18000" y="13874"/>
                </a:cubicBezTo>
                <a:cubicBezTo>
                  <a:pt x="18031" y="13812"/>
                  <a:pt x="18094" y="13843"/>
                  <a:pt x="18125" y="13843"/>
                </a:cubicBezTo>
                <a:close/>
                <a:moveTo>
                  <a:pt x="18000" y="14968"/>
                </a:moveTo>
                <a:cubicBezTo>
                  <a:pt x="18000" y="14968"/>
                  <a:pt x="18031" y="14968"/>
                  <a:pt x="18031" y="14968"/>
                </a:cubicBezTo>
                <a:cubicBezTo>
                  <a:pt x="18063" y="15031"/>
                  <a:pt x="18125" y="15093"/>
                  <a:pt x="18188" y="15156"/>
                </a:cubicBezTo>
                <a:cubicBezTo>
                  <a:pt x="18188" y="15187"/>
                  <a:pt x="18188" y="15187"/>
                  <a:pt x="18188" y="15218"/>
                </a:cubicBezTo>
                <a:cubicBezTo>
                  <a:pt x="18156" y="15249"/>
                  <a:pt x="18125" y="15218"/>
                  <a:pt x="18125" y="15187"/>
                </a:cubicBezTo>
                <a:cubicBezTo>
                  <a:pt x="18094" y="15156"/>
                  <a:pt x="18031" y="15093"/>
                  <a:pt x="18000" y="15031"/>
                </a:cubicBezTo>
                <a:cubicBezTo>
                  <a:pt x="17969" y="14999"/>
                  <a:pt x="17969" y="14968"/>
                  <a:pt x="18000" y="14968"/>
                </a:cubicBezTo>
                <a:close/>
                <a:moveTo>
                  <a:pt x="17813" y="14999"/>
                </a:moveTo>
                <a:cubicBezTo>
                  <a:pt x="17813" y="14937"/>
                  <a:pt x="17844" y="14968"/>
                  <a:pt x="17875" y="14999"/>
                </a:cubicBezTo>
                <a:cubicBezTo>
                  <a:pt x="17938" y="15062"/>
                  <a:pt x="18000" y="15156"/>
                  <a:pt x="18063" y="15249"/>
                </a:cubicBezTo>
                <a:cubicBezTo>
                  <a:pt x="18063" y="15249"/>
                  <a:pt x="18094" y="15281"/>
                  <a:pt x="18063" y="15312"/>
                </a:cubicBezTo>
                <a:cubicBezTo>
                  <a:pt x="18031" y="15312"/>
                  <a:pt x="18031" y="15281"/>
                  <a:pt x="18000" y="15281"/>
                </a:cubicBezTo>
                <a:cubicBezTo>
                  <a:pt x="17938" y="15187"/>
                  <a:pt x="17906" y="15124"/>
                  <a:pt x="17844" y="15062"/>
                </a:cubicBezTo>
                <a:cubicBezTo>
                  <a:pt x="17844" y="15031"/>
                  <a:pt x="17781" y="15031"/>
                  <a:pt x="17813" y="14999"/>
                </a:cubicBezTo>
                <a:close/>
                <a:moveTo>
                  <a:pt x="17844" y="15156"/>
                </a:moveTo>
                <a:cubicBezTo>
                  <a:pt x="17875" y="15218"/>
                  <a:pt x="17938" y="15281"/>
                  <a:pt x="18000" y="15343"/>
                </a:cubicBezTo>
                <a:cubicBezTo>
                  <a:pt x="18156" y="15374"/>
                  <a:pt x="18344" y="15406"/>
                  <a:pt x="18500" y="15468"/>
                </a:cubicBezTo>
                <a:cubicBezTo>
                  <a:pt x="18344" y="15406"/>
                  <a:pt x="18156" y="15374"/>
                  <a:pt x="18000" y="15343"/>
                </a:cubicBezTo>
                <a:cubicBezTo>
                  <a:pt x="18000" y="15343"/>
                  <a:pt x="17969" y="15343"/>
                  <a:pt x="17969" y="15374"/>
                </a:cubicBezTo>
                <a:cubicBezTo>
                  <a:pt x="17969" y="15374"/>
                  <a:pt x="17938" y="15374"/>
                  <a:pt x="17938" y="15374"/>
                </a:cubicBezTo>
                <a:cubicBezTo>
                  <a:pt x="17906" y="15343"/>
                  <a:pt x="17906" y="15312"/>
                  <a:pt x="17875" y="15312"/>
                </a:cubicBezTo>
                <a:cubicBezTo>
                  <a:pt x="17844" y="15249"/>
                  <a:pt x="17813" y="15218"/>
                  <a:pt x="17781" y="15187"/>
                </a:cubicBezTo>
                <a:cubicBezTo>
                  <a:pt x="17781" y="15156"/>
                  <a:pt x="17781" y="15156"/>
                  <a:pt x="17781" y="15156"/>
                </a:cubicBezTo>
                <a:cubicBezTo>
                  <a:pt x="17813" y="15124"/>
                  <a:pt x="17813" y="15124"/>
                  <a:pt x="17844" y="15156"/>
                </a:cubicBezTo>
                <a:close/>
                <a:moveTo>
                  <a:pt x="17219" y="13593"/>
                </a:moveTo>
                <a:cubicBezTo>
                  <a:pt x="17406" y="13656"/>
                  <a:pt x="17594" y="13718"/>
                  <a:pt x="17781" y="13749"/>
                </a:cubicBezTo>
                <a:cubicBezTo>
                  <a:pt x="17781" y="13749"/>
                  <a:pt x="17781" y="13749"/>
                  <a:pt x="17781" y="13749"/>
                </a:cubicBezTo>
                <a:cubicBezTo>
                  <a:pt x="17813" y="13781"/>
                  <a:pt x="17813" y="13812"/>
                  <a:pt x="17781" y="13812"/>
                </a:cubicBezTo>
                <a:cubicBezTo>
                  <a:pt x="17719" y="13812"/>
                  <a:pt x="17688" y="13781"/>
                  <a:pt x="17656" y="13781"/>
                </a:cubicBezTo>
                <a:cubicBezTo>
                  <a:pt x="17531" y="13749"/>
                  <a:pt x="17406" y="13718"/>
                  <a:pt x="17250" y="13687"/>
                </a:cubicBezTo>
                <a:cubicBezTo>
                  <a:pt x="17250" y="13656"/>
                  <a:pt x="17188" y="13656"/>
                  <a:pt x="17188" y="13624"/>
                </a:cubicBezTo>
                <a:cubicBezTo>
                  <a:pt x="17188" y="13593"/>
                  <a:pt x="17219" y="13624"/>
                  <a:pt x="17219" y="13593"/>
                </a:cubicBezTo>
                <a:close/>
                <a:moveTo>
                  <a:pt x="16813" y="13531"/>
                </a:moveTo>
                <a:cubicBezTo>
                  <a:pt x="16813" y="13531"/>
                  <a:pt x="16844" y="13531"/>
                  <a:pt x="16844" y="13531"/>
                </a:cubicBezTo>
                <a:cubicBezTo>
                  <a:pt x="16844" y="13531"/>
                  <a:pt x="16813" y="13531"/>
                  <a:pt x="16813" y="13531"/>
                </a:cubicBezTo>
                <a:cubicBezTo>
                  <a:pt x="16750" y="13531"/>
                  <a:pt x="16688" y="13531"/>
                  <a:pt x="16625" y="13468"/>
                </a:cubicBezTo>
                <a:cubicBezTo>
                  <a:pt x="16719" y="13437"/>
                  <a:pt x="16750" y="13468"/>
                  <a:pt x="16813" y="13531"/>
                </a:cubicBezTo>
                <a:close/>
                <a:moveTo>
                  <a:pt x="15469" y="14531"/>
                </a:moveTo>
                <a:cubicBezTo>
                  <a:pt x="15469" y="14531"/>
                  <a:pt x="15500" y="14531"/>
                  <a:pt x="15500" y="14531"/>
                </a:cubicBezTo>
                <a:cubicBezTo>
                  <a:pt x="15500" y="14531"/>
                  <a:pt x="15469" y="14531"/>
                  <a:pt x="15469" y="14531"/>
                </a:cubicBezTo>
                <a:close/>
                <a:moveTo>
                  <a:pt x="16344" y="14749"/>
                </a:moveTo>
                <a:cubicBezTo>
                  <a:pt x="16344" y="14749"/>
                  <a:pt x="16344" y="14749"/>
                  <a:pt x="16344" y="14749"/>
                </a:cubicBezTo>
                <a:cubicBezTo>
                  <a:pt x="16344" y="14749"/>
                  <a:pt x="16313" y="14749"/>
                  <a:pt x="16313" y="14749"/>
                </a:cubicBezTo>
                <a:cubicBezTo>
                  <a:pt x="16313" y="14749"/>
                  <a:pt x="16344" y="14749"/>
                  <a:pt x="16344" y="14749"/>
                </a:cubicBezTo>
                <a:cubicBezTo>
                  <a:pt x="16344" y="14749"/>
                  <a:pt x="16344" y="14749"/>
                  <a:pt x="16344" y="14749"/>
                </a:cubicBezTo>
                <a:close/>
                <a:moveTo>
                  <a:pt x="16281" y="13343"/>
                </a:moveTo>
                <a:cubicBezTo>
                  <a:pt x="16313" y="13374"/>
                  <a:pt x="16344" y="13374"/>
                  <a:pt x="16344" y="13406"/>
                </a:cubicBezTo>
                <a:cubicBezTo>
                  <a:pt x="16250" y="13374"/>
                  <a:pt x="16188" y="13374"/>
                  <a:pt x="16125" y="13343"/>
                </a:cubicBezTo>
                <a:cubicBezTo>
                  <a:pt x="16094" y="13343"/>
                  <a:pt x="16063" y="13343"/>
                  <a:pt x="16063" y="13281"/>
                </a:cubicBezTo>
                <a:cubicBezTo>
                  <a:pt x="16125" y="13312"/>
                  <a:pt x="16219" y="13312"/>
                  <a:pt x="16281" y="13343"/>
                </a:cubicBezTo>
                <a:close/>
                <a:moveTo>
                  <a:pt x="16000" y="13281"/>
                </a:moveTo>
                <a:cubicBezTo>
                  <a:pt x="16000" y="13281"/>
                  <a:pt x="16031" y="13249"/>
                  <a:pt x="16031" y="13281"/>
                </a:cubicBezTo>
                <a:cubicBezTo>
                  <a:pt x="16031" y="13249"/>
                  <a:pt x="16000" y="13281"/>
                  <a:pt x="16000" y="13281"/>
                </a:cubicBezTo>
                <a:cubicBezTo>
                  <a:pt x="16000" y="13312"/>
                  <a:pt x="16000" y="13312"/>
                  <a:pt x="15969" y="13312"/>
                </a:cubicBezTo>
                <a:cubicBezTo>
                  <a:pt x="15844" y="13281"/>
                  <a:pt x="15688" y="13249"/>
                  <a:pt x="15563" y="13187"/>
                </a:cubicBezTo>
                <a:cubicBezTo>
                  <a:pt x="15500" y="13187"/>
                  <a:pt x="15500" y="13156"/>
                  <a:pt x="15531" y="13124"/>
                </a:cubicBezTo>
                <a:cubicBezTo>
                  <a:pt x="15688" y="13187"/>
                  <a:pt x="15844" y="13218"/>
                  <a:pt x="16000" y="13281"/>
                </a:cubicBezTo>
                <a:close/>
                <a:moveTo>
                  <a:pt x="15469" y="12312"/>
                </a:moveTo>
                <a:cubicBezTo>
                  <a:pt x="15469" y="12312"/>
                  <a:pt x="15500" y="12312"/>
                  <a:pt x="15500" y="12312"/>
                </a:cubicBezTo>
                <a:cubicBezTo>
                  <a:pt x="15500" y="12312"/>
                  <a:pt x="15500" y="12312"/>
                  <a:pt x="15500" y="12312"/>
                </a:cubicBezTo>
                <a:cubicBezTo>
                  <a:pt x="15500" y="12374"/>
                  <a:pt x="15500" y="12437"/>
                  <a:pt x="15500" y="12499"/>
                </a:cubicBezTo>
                <a:cubicBezTo>
                  <a:pt x="15500" y="12437"/>
                  <a:pt x="15500" y="12374"/>
                  <a:pt x="15500" y="12312"/>
                </a:cubicBezTo>
                <a:cubicBezTo>
                  <a:pt x="15500" y="12437"/>
                  <a:pt x="15500" y="12562"/>
                  <a:pt x="15500" y="12687"/>
                </a:cubicBezTo>
                <a:cubicBezTo>
                  <a:pt x="15500" y="12687"/>
                  <a:pt x="15500" y="12687"/>
                  <a:pt x="15500" y="12718"/>
                </a:cubicBezTo>
                <a:cubicBezTo>
                  <a:pt x="15500" y="12718"/>
                  <a:pt x="15500" y="12718"/>
                  <a:pt x="15500" y="12718"/>
                </a:cubicBezTo>
                <a:cubicBezTo>
                  <a:pt x="15500" y="12812"/>
                  <a:pt x="15500" y="12906"/>
                  <a:pt x="15500" y="12968"/>
                </a:cubicBezTo>
                <a:cubicBezTo>
                  <a:pt x="15500" y="13031"/>
                  <a:pt x="15500" y="13062"/>
                  <a:pt x="15469" y="13093"/>
                </a:cubicBezTo>
                <a:cubicBezTo>
                  <a:pt x="15469" y="12874"/>
                  <a:pt x="15469" y="12624"/>
                  <a:pt x="15469" y="12406"/>
                </a:cubicBezTo>
                <a:cubicBezTo>
                  <a:pt x="15469" y="12374"/>
                  <a:pt x="15438" y="12343"/>
                  <a:pt x="15469" y="12312"/>
                </a:cubicBezTo>
                <a:close/>
                <a:moveTo>
                  <a:pt x="16469" y="10000"/>
                </a:moveTo>
                <a:cubicBezTo>
                  <a:pt x="16469" y="10000"/>
                  <a:pt x="16469" y="10000"/>
                  <a:pt x="16469" y="10000"/>
                </a:cubicBezTo>
                <a:cubicBezTo>
                  <a:pt x="16469" y="10000"/>
                  <a:pt x="16469" y="10000"/>
                  <a:pt x="16469" y="10000"/>
                </a:cubicBezTo>
                <a:cubicBezTo>
                  <a:pt x="16500" y="10000"/>
                  <a:pt x="16500" y="10000"/>
                  <a:pt x="16500" y="10000"/>
                </a:cubicBezTo>
                <a:cubicBezTo>
                  <a:pt x="16500" y="10000"/>
                  <a:pt x="16500" y="10000"/>
                  <a:pt x="16469" y="10000"/>
                </a:cubicBezTo>
                <a:close/>
                <a:moveTo>
                  <a:pt x="16750" y="10343"/>
                </a:moveTo>
                <a:cubicBezTo>
                  <a:pt x="16719" y="10343"/>
                  <a:pt x="16719" y="10375"/>
                  <a:pt x="16719" y="10375"/>
                </a:cubicBezTo>
                <a:cubicBezTo>
                  <a:pt x="16719" y="10375"/>
                  <a:pt x="16719" y="10343"/>
                  <a:pt x="16750" y="10343"/>
                </a:cubicBezTo>
                <a:cubicBezTo>
                  <a:pt x="16719" y="10343"/>
                  <a:pt x="16688" y="10343"/>
                  <a:pt x="16688" y="10375"/>
                </a:cubicBezTo>
                <a:cubicBezTo>
                  <a:pt x="16656" y="10375"/>
                  <a:pt x="16594" y="10375"/>
                  <a:pt x="16594" y="10343"/>
                </a:cubicBezTo>
                <a:cubicBezTo>
                  <a:pt x="16594" y="10312"/>
                  <a:pt x="16625" y="10281"/>
                  <a:pt x="16594" y="10250"/>
                </a:cubicBezTo>
                <a:cubicBezTo>
                  <a:pt x="16594" y="10250"/>
                  <a:pt x="16625" y="10218"/>
                  <a:pt x="16656" y="10250"/>
                </a:cubicBezTo>
                <a:cubicBezTo>
                  <a:pt x="16656" y="10250"/>
                  <a:pt x="16688" y="10281"/>
                  <a:pt x="16688" y="10281"/>
                </a:cubicBezTo>
                <a:cubicBezTo>
                  <a:pt x="16688" y="10281"/>
                  <a:pt x="16688" y="10281"/>
                  <a:pt x="16688" y="10281"/>
                </a:cubicBezTo>
                <a:cubicBezTo>
                  <a:pt x="16719" y="10281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19" y="10250"/>
                  <a:pt x="16719" y="10250"/>
                  <a:pt x="16719" y="10250"/>
                </a:cubicBezTo>
                <a:cubicBezTo>
                  <a:pt x="16781" y="10281"/>
                  <a:pt x="16750" y="10312"/>
                  <a:pt x="16750" y="10343"/>
                </a:cubicBezTo>
                <a:close/>
                <a:moveTo>
                  <a:pt x="16938" y="10718"/>
                </a:moveTo>
                <a:cubicBezTo>
                  <a:pt x="16906" y="10718"/>
                  <a:pt x="16906" y="10718"/>
                  <a:pt x="16906" y="10656"/>
                </a:cubicBezTo>
                <a:cubicBezTo>
                  <a:pt x="16906" y="10656"/>
                  <a:pt x="16875" y="10656"/>
                  <a:pt x="16875" y="10656"/>
                </a:cubicBezTo>
                <a:cubicBezTo>
                  <a:pt x="16875" y="10624"/>
                  <a:pt x="16875" y="10593"/>
                  <a:pt x="16875" y="10562"/>
                </a:cubicBezTo>
                <a:cubicBezTo>
                  <a:pt x="16875" y="10562"/>
                  <a:pt x="16844" y="10562"/>
                  <a:pt x="16844" y="10562"/>
                </a:cubicBezTo>
                <a:cubicBezTo>
                  <a:pt x="16844" y="10562"/>
                  <a:pt x="16875" y="10562"/>
                  <a:pt x="16875" y="10562"/>
                </a:cubicBezTo>
                <a:cubicBezTo>
                  <a:pt x="16875" y="10562"/>
                  <a:pt x="16906" y="10562"/>
                  <a:pt x="16938" y="10562"/>
                </a:cubicBezTo>
                <a:cubicBezTo>
                  <a:pt x="16938" y="10593"/>
                  <a:pt x="16938" y="10624"/>
                  <a:pt x="16906" y="10656"/>
                </a:cubicBezTo>
                <a:cubicBezTo>
                  <a:pt x="16906" y="10718"/>
                  <a:pt x="16906" y="10718"/>
                  <a:pt x="16938" y="10718"/>
                </a:cubicBezTo>
                <a:close/>
                <a:moveTo>
                  <a:pt x="16906" y="10312"/>
                </a:moveTo>
                <a:cubicBezTo>
                  <a:pt x="16938" y="10250"/>
                  <a:pt x="17000" y="10312"/>
                  <a:pt x="17031" y="10343"/>
                </a:cubicBezTo>
                <a:cubicBezTo>
                  <a:pt x="17063" y="10375"/>
                  <a:pt x="17094" y="10343"/>
                  <a:pt x="17094" y="10343"/>
                </a:cubicBezTo>
                <a:cubicBezTo>
                  <a:pt x="17094" y="10437"/>
                  <a:pt x="17031" y="10437"/>
                  <a:pt x="17000" y="10406"/>
                </a:cubicBezTo>
                <a:cubicBezTo>
                  <a:pt x="16969" y="10375"/>
                  <a:pt x="16875" y="10375"/>
                  <a:pt x="16906" y="10312"/>
                </a:cubicBezTo>
                <a:close/>
                <a:moveTo>
                  <a:pt x="17031" y="11093"/>
                </a:moveTo>
                <a:cubicBezTo>
                  <a:pt x="16969" y="11093"/>
                  <a:pt x="16938" y="11062"/>
                  <a:pt x="17000" y="10999"/>
                </a:cubicBezTo>
                <a:cubicBezTo>
                  <a:pt x="17000" y="10999"/>
                  <a:pt x="17000" y="10968"/>
                  <a:pt x="17031" y="10968"/>
                </a:cubicBezTo>
                <a:cubicBezTo>
                  <a:pt x="17063" y="10937"/>
                  <a:pt x="17063" y="10906"/>
                  <a:pt x="17094" y="10937"/>
                </a:cubicBezTo>
                <a:cubicBezTo>
                  <a:pt x="17188" y="10999"/>
                  <a:pt x="17063" y="11031"/>
                  <a:pt x="17094" y="11062"/>
                </a:cubicBezTo>
                <a:cubicBezTo>
                  <a:pt x="17094" y="11062"/>
                  <a:pt x="17094" y="11093"/>
                  <a:pt x="17094" y="11093"/>
                </a:cubicBezTo>
                <a:cubicBezTo>
                  <a:pt x="17094" y="11093"/>
                  <a:pt x="17094" y="11062"/>
                  <a:pt x="17094" y="11062"/>
                </a:cubicBezTo>
                <a:cubicBezTo>
                  <a:pt x="17063" y="11062"/>
                  <a:pt x="17063" y="11062"/>
                  <a:pt x="17031" y="11093"/>
                </a:cubicBezTo>
                <a:close/>
                <a:moveTo>
                  <a:pt x="18938" y="12656"/>
                </a:moveTo>
                <a:cubicBezTo>
                  <a:pt x="19000" y="12656"/>
                  <a:pt x="19094" y="12624"/>
                  <a:pt x="19188" y="12718"/>
                </a:cubicBezTo>
                <a:cubicBezTo>
                  <a:pt x="19281" y="12874"/>
                  <a:pt x="19406" y="13031"/>
                  <a:pt x="19500" y="13156"/>
                </a:cubicBezTo>
                <a:cubicBezTo>
                  <a:pt x="19531" y="13218"/>
                  <a:pt x="19563" y="13249"/>
                  <a:pt x="19563" y="13312"/>
                </a:cubicBezTo>
                <a:cubicBezTo>
                  <a:pt x="19500" y="13343"/>
                  <a:pt x="19469" y="13312"/>
                  <a:pt x="19406" y="13281"/>
                </a:cubicBezTo>
                <a:cubicBezTo>
                  <a:pt x="19313" y="13249"/>
                  <a:pt x="19219" y="13218"/>
                  <a:pt x="19125" y="13218"/>
                </a:cubicBezTo>
                <a:cubicBezTo>
                  <a:pt x="19094" y="13187"/>
                  <a:pt x="19031" y="13187"/>
                  <a:pt x="19000" y="13124"/>
                </a:cubicBezTo>
                <a:cubicBezTo>
                  <a:pt x="18969" y="13093"/>
                  <a:pt x="18938" y="13031"/>
                  <a:pt x="18844" y="13093"/>
                </a:cubicBezTo>
                <a:cubicBezTo>
                  <a:pt x="18813" y="13124"/>
                  <a:pt x="18750" y="13093"/>
                  <a:pt x="18781" y="13031"/>
                </a:cubicBezTo>
                <a:cubicBezTo>
                  <a:pt x="18781" y="12999"/>
                  <a:pt x="18781" y="12937"/>
                  <a:pt x="18813" y="12937"/>
                </a:cubicBezTo>
                <a:cubicBezTo>
                  <a:pt x="18875" y="12874"/>
                  <a:pt x="18875" y="12812"/>
                  <a:pt x="18875" y="12781"/>
                </a:cubicBezTo>
                <a:cubicBezTo>
                  <a:pt x="18844" y="12718"/>
                  <a:pt x="18875" y="12656"/>
                  <a:pt x="18938" y="12656"/>
                </a:cubicBezTo>
                <a:close/>
                <a:moveTo>
                  <a:pt x="18688" y="12718"/>
                </a:moveTo>
                <a:cubicBezTo>
                  <a:pt x="18719" y="12687"/>
                  <a:pt x="18750" y="12656"/>
                  <a:pt x="18813" y="12656"/>
                </a:cubicBezTo>
                <a:cubicBezTo>
                  <a:pt x="18750" y="12687"/>
                  <a:pt x="18719" y="12718"/>
                  <a:pt x="18688" y="12718"/>
                </a:cubicBezTo>
                <a:close/>
                <a:moveTo>
                  <a:pt x="17250" y="10843"/>
                </a:moveTo>
                <a:cubicBezTo>
                  <a:pt x="17313" y="10843"/>
                  <a:pt x="17344" y="10843"/>
                  <a:pt x="17375" y="10906"/>
                </a:cubicBezTo>
                <a:cubicBezTo>
                  <a:pt x="17313" y="10906"/>
                  <a:pt x="17281" y="10906"/>
                  <a:pt x="17250" y="10843"/>
                </a:cubicBezTo>
                <a:close/>
                <a:moveTo>
                  <a:pt x="17969" y="12781"/>
                </a:moveTo>
                <a:cubicBezTo>
                  <a:pt x="18000" y="12749"/>
                  <a:pt x="18000" y="12749"/>
                  <a:pt x="18000" y="12718"/>
                </a:cubicBezTo>
                <a:cubicBezTo>
                  <a:pt x="18125" y="12749"/>
                  <a:pt x="18250" y="12843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18"/>
                  <a:pt x="18438" y="12718"/>
                  <a:pt x="18438" y="12687"/>
                </a:cubicBezTo>
                <a:cubicBezTo>
                  <a:pt x="18406" y="12656"/>
                  <a:pt x="18375" y="12624"/>
                  <a:pt x="18344" y="12593"/>
                </a:cubicBezTo>
                <a:cubicBezTo>
                  <a:pt x="18344" y="12593"/>
                  <a:pt x="18313" y="12593"/>
                  <a:pt x="18313" y="12593"/>
                </a:cubicBezTo>
                <a:cubicBezTo>
                  <a:pt x="18281" y="12656"/>
                  <a:pt x="18250" y="12656"/>
                  <a:pt x="18219" y="12624"/>
                </a:cubicBezTo>
                <a:cubicBezTo>
                  <a:pt x="18156" y="12593"/>
                  <a:pt x="18125" y="12593"/>
                  <a:pt x="18094" y="12593"/>
                </a:cubicBezTo>
                <a:cubicBezTo>
                  <a:pt x="18063" y="12562"/>
                  <a:pt x="18094" y="12531"/>
                  <a:pt x="18125" y="12531"/>
                </a:cubicBezTo>
                <a:cubicBezTo>
                  <a:pt x="18094" y="12468"/>
                  <a:pt x="18063" y="12468"/>
                  <a:pt x="18000" y="12437"/>
                </a:cubicBezTo>
                <a:cubicBezTo>
                  <a:pt x="18063" y="12468"/>
                  <a:pt x="18094" y="12468"/>
                  <a:pt x="18125" y="12531"/>
                </a:cubicBezTo>
                <a:cubicBezTo>
                  <a:pt x="18156" y="12531"/>
                  <a:pt x="18250" y="12562"/>
                  <a:pt x="18156" y="12437"/>
                </a:cubicBezTo>
                <a:cubicBezTo>
                  <a:pt x="18156" y="12437"/>
                  <a:pt x="18156" y="12437"/>
                  <a:pt x="18156" y="12406"/>
                </a:cubicBezTo>
                <a:cubicBezTo>
                  <a:pt x="18188" y="12406"/>
                  <a:pt x="18219" y="12374"/>
                  <a:pt x="18250" y="12406"/>
                </a:cubicBezTo>
                <a:cubicBezTo>
                  <a:pt x="18344" y="12437"/>
                  <a:pt x="18344" y="12374"/>
                  <a:pt x="18344" y="12312"/>
                </a:cubicBezTo>
                <a:cubicBezTo>
                  <a:pt x="18344" y="12312"/>
                  <a:pt x="18344" y="12312"/>
                  <a:pt x="18344" y="12312"/>
                </a:cubicBezTo>
                <a:cubicBezTo>
                  <a:pt x="18375" y="12281"/>
                  <a:pt x="18438" y="12281"/>
                  <a:pt x="18438" y="12187"/>
                </a:cubicBezTo>
                <a:cubicBezTo>
                  <a:pt x="18406" y="12093"/>
                  <a:pt x="18250" y="12031"/>
                  <a:pt x="18156" y="12062"/>
                </a:cubicBezTo>
                <a:cubicBezTo>
                  <a:pt x="18094" y="12062"/>
                  <a:pt x="18188" y="12124"/>
                  <a:pt x="18156" y="12124"/>
                </a:cubicBezTo>
                <a:cubicBezTo>
                  <a:pt x="18125" y="12124"/>
                  <a:pt x="18094" y="12124"/>
                  <a:pt x="18063" y="12093"/>
                </a:cubicBezTo>
                <a:cubicBezTo>
                  <a:pt x="18063" y="12093"/>
                  <a:pt x="18031" y="12062"/>
                  <a:pt x="18063" y="12062"/>
                </a:cubicBezTo>
                <a:cubicBezTo>
                  <a:pt x="18063" y="12031"/>
                  <a:pt x="18125" y="12062"/>
                  <a:pt x="18094" y="11999"/>
                </a:cubicBezTo>
                <a:cubicBezTo>
                  <a:pt x="18063" y="11968"/>
                  <a:pt x="18031" y="12031"/>
                  <a:pt x="18000" y="11968"/>
                </a:cubicBezTo>
                <a:cubicBezTo>
                  <a:pt x="18000" y="11937"/>
                  <a:pt x="17938" y="11906"/>
                  <a:pt x="18000" y="11843"/>
                </a:cubicBezTo>
                <a:cubicBezTo>
                  <a:pt x="18063" y="11781"/>
                  <a:pt x="18094" y="11749"/>
                  <a:pt x="18031" y="11656"/>
                </a:cubicBezTo>
                <a:cubicBezTo>
                  <a:pt x="18000" y="11624"/>
                  <a:pt x="18000" y="11562"/>
                  <a:pt x="18063" y="11499"/>
                </a:cubicBezTo>
                <a:cubicBezTo>
                  <a:pt x="18031" y="11499"/>
                  <a:pt x="18031" y="11531"/>
                  <a:pt x="18000" y="11531"/>
                </a:cubicBezTo>
                <a:cubicBezTo>
                  <a:pt x="18000" y="11562"/>
                  <a:pt x="18000" y="11593"/>
                  <a:pt x="17938" y="11593"/>
                </a:cubicBezTo>
                <a:cubicBezTo>
                  <a:pt x="17906" y="11593"/>
                  <a:pt x="17875" y="11531"/>
                  <a:pt x="17875" y="11499"/>
                </a:cubicBezTo>
                <a:cubicBezTo>
                  <a:pt x="17875" y="11499"/>
                  <a:pt x="17875" y="11468"/>
                  <a:pt x="17875" y="11468"/>
                </a:cubicBezTo>
                <a:cubicBezTo>
                  <a:pt x="17844" y="11437"/>
                  <a:pt x="17844" y="11437"/>
                  <a:pt x="17813" y="11437"/>
                </a:cubicBezTo>
                <a:cubicBezTo>
                  <a:pt x="17781" y="11437"/>
                  <a:pt x="17781" y="11468"/>
                  <a:pt x="17781" y="11468"/>
                </a:cubicBezTo>
                <a:cubicBezTo>
                  <a:pt x="17813" y="11531"/>
                  <a:pt x="17781" y="11531"/>
                  <a:pt x="17750" y="11531"/>
                </a:cubicBezTo>
                <a:cubicBezTo>
                  <a:pt x="17719" y="11499"/>
                  <a:pt x="17656" y="11499"/>
                  <a:pt x="17594" y="11468"/>
                </a:cubicBezTo>
                <a:cubicBezTo>
                  <a:pt x="17594" y="11468"/>
                  <a:pt x="17563" y="11437"/>
                  <a:pt x="17594" y="11406"/>
                </a:cubicBezTo>
                <a:cubicBezTo>
                  <a:pt x="17594" y="11374"/>
                  <a:pt x="17594" y="11374"/>
                  <a:pt x="17625" y="11374"/>
                </a:cubicBezTo>
                <a:cubicBezTo>
                  <a:pt x="17750" y="11374"/>
                  <a:pt x="17813" y="11312"/>
                  <a:pt x="17750" y="11187"/>
                </a:cubicBezTo>
                <a:cubicBezTo>
                  <a:pt x="17719" y="11124"/>
                  <a:pt x="17688" y="11062"/>
                  <a:pt x="17719" y="10968"/>
                </a:cubicBezTo>
                <a:cubicBezTo>
                  <a:pt x="17688" y="10968"/>
                  <a:pt x="17688" y="10906"/>
                  <a:pt x="17656" y="10937"/>
                </a:cubicBezTo>
                <a:cubicBezTo>
                  <a:pt x="17625" y="10937"/>
                  <a:pt x="17594" y="10937"/>
                  <a:pt x="17594" y="10999"/>
                </a:cubicBezTo>
                <a:cubicBezTo>
                  <a:pt x="17594" y="10999"/>
                  <a:pt x="17594" y="10999"/>
                  <a:pt x="17594" y="10999"/>
                </a:cubicBezTo>
                <a:cubicBezTo>
                  <a:pt x="17625" y="11062"/>
                  <a:pt x="17656" y="11124"/>
                  <a:pt x="17625" y="11124"/>
                </a:cubicBezTo>
                <a:cubicBezTo>
                  <a:pt x="17594" y="11156"/>
                  <a:pt x="17500" y="11156"/>
                  <a:pt x="17469" y="11124"/>
                </a:cubicBezTo>
                <a:cubicBezTo>
                  <a:pt x="17375" y="11093"/>
                  <a:pt x="17438" y="11031"/>
                  <a:pt x="17469" y="10999"/>
                </a:cubicBezTo>
                <a:cubicBezTo>
                  <a:pt x="17469" y="10968"/>
                  <a:pt x="17531" y="10937"/>
                  <a:pt x="17500" y="10874"/>
                </a:cubicBezTo>
                <a:cubicBezTo>
                  <a:pt x="17469" y="10843"/>
                  <a:pt x="17500" y="10812"/>
                  <a:pt x="17438" y="10781"/>
                </a:cubicBezTo>
                <a:cubicBezTo>
                  <a:pt x="17406" y="10749"/>
                  <a:pt x="17344" y="10749"/>
                  <a:pt x="17281" y="10749"/>
                </a:cubicBezTo>
                <a:cubicBezTo>
                  <a:pt x="17250" y="10749"/>
                  <a:pt x="17219" y="10781"/>
                  <a:pt x="17219" y="10749"/>
                </a:cubicBezTo>
                <a:cubicBezTo>
                  <a:pt x="17219" y="10718"/>
                  <a:pt x="17219" y="10687"/>
                  <a:pt x="17250" y="10656"/>
                </a:cubicBezTo>
                <a:cubicBezTo>
                  <a:pt x="17281" y="10624"/>
                  <a:pt x="17313" y="10593"/>
                  <a:pt x="17313" y="10562"/>
                </a:cubicBezTo>
                <a:cubicBezTo>
                  <a:pt x="17344" y="10531"/>
                  <a:pt x="17375" y="10468"/>
                  <a:pt x="17406" y="10437"/>
                </a:cubicBezTo>
                <a:cubicBezTo>
                  <a:pt x="17438" y="10406"/>
                  <a:pt x="17469" y="10375"/>
                  <a:pt x="17500" y="10375"/>
                </a:cubicBezTo>
                <a:cubicBezTo>
                  <a:pt x="17500" y="10375"/>
                  <a:pt x="17500" y="10375"/>
                  <a:pt x="17500" y="10375"/>
                </a:cubicBezTo>
                <a:cubicBezTo>
                  <a:pt x="17625" y="10562"/>
                  <a:pt x="17688" y="10749"/>
                  <a:pt x="17844" y="10906"/>
                </a:cubicBezTo>
                <a:cubicBezTo>
                  <a:pt x="17906" y="10937"/>
                  <a:pt x="17906" y="11031"/>
                  <a:pt x="17938" y="11062"/>
                </a:cubicBezTo>
                <a:cubicBezTo>
                  <a:pt x="17969" y="11093"/>
                  <a:pt x="17938" y="11124"/>
                  <a:pt x="17906" y="11124"/>
                </a:cubicBezTo>
                <a:cubicBezTo>
                  <a:pt x="17875" y="11156"/>
                  <a:pt x="17844" y="11156"/>
                  <a:pt x="17813" y="11187"/>
                </a:cubicBezTo>
                <a:cubicBezTo>
                  <a:pt x="17875" y="11218"/>
                  <a:pt x="18000" y="11249"/>
                  <a:pt x="17906" y="11374"/>
                </a:cubicBezTo>
                <a:cubicBezTo>
                  <a:pt x="17969" y="11343"/>
                  <a:pt x="18000" y="11312"/>
                  <a:pt x="18031" y="11406"/>
                </a:cubicBezTo>
                <a:cubicBezTo>
                  <a:pt x="18031" y="11406"/>
                  <a:pt x="18094" y="11437"/>
                  <a:pt x="18125" y="11406"/>
                </a:cubicBezTo>
                <a:cubicBezTo>
                  <a:pt x="18188" y="11406"/>
                  <a:pt x="18219" y="11437"/>
                  <a:pt x="18250" y="11499"/>
                </a:cubicBezTo>
                <a:cubicBezTo>
                  <a:pt x="18344" y="11624"/>
                  <a:pt x="18469" y="11749"/>
                  <a:pt x="18531" y="11906"/>
                </a:cubicBezTo>
                <a:cubicBezTo>
                  <a:pt x="18531" y="11999"/>
                  <a:pt x="18625" y="11968"/>
                  <a:pt x="18656" y="12062"/>
                </a:cubicBezTo>
                <a:cubicBezTo>
                  <a:pt x="18688" y="12124"/>
                  <a:pt x="18750" y="12187"/>
                  <a:pt x="18813" y="12249"/>
                </a:cubicBezTo>
                <a:cubicBezTo>
                  <a:pt x="18813" y="12281"/>
                  <a:pt x="18844" y="12281"/>
                  <a:pt x="18813" y="12343"/>
                </a:cubicBezTo>
                <a:cubicBezTo>
                  <a:pt x="18781" y="12374"/>
                  <a:pt x="18750" y="12406"/>
                  <a:pt x="18688" y="12374"/>
                </a:cubicBezTo>
                <a:cubicBezTo>
                  <a:pt x="18656" y="12374"/>
                  <a:pt x="18625" y="12374"/>
                  <a:pt x="18625" y="12343"/>
                </a:cubicBezTo>
                <a:cubicBezTo>
                  <a:pt x="18625" y="12312"/>
                  <a:pt x="18625" y="12281"/>
                  <a:pt x="18625" y="12249"/>
                </a:cubicBezTo>
                <a:cubicBezTo>
                  <a:pt x="18625" y="12187"/>
                  <a:pt x="18594" y="12156"/>
                  <a:pt x="18531" y="12187"/>
                </a:cubicBezTo>
                <a:cubicBezTo>
                  <a:pt x="18500" y="12187"/>
                  <a:pt x="18500" y="12218"/>
                  <a:pt x="18500" y="12249"/>
                </a:cubicBezTo>
                <a:cubicBezTo>
                  <a:pt x="18500" y="12281"/>
                  <a:pt x="18531" y="12312"/>
                  <a:pt x="18531" y="12312"/>
                </a:cubicBezTo>
                <a:cubicBezTo>
                  <a:pt x="18500" y="12406"/>
                  <a:pt x="18563" y="12437"/>
                  <a:pt x="18594" y="12499"/>
                </a:cubicBezTo>
                <a:cubicBezTo>
                  <a:pt x="18625" y="12531"/>
                  <a:pt x="18656" y="12593"/>
                  <a:pt x="18750" y="12531"/>
                </a:cubicBezTo>
                <a:cubicBezTo>
                  <a:pt x="18750" y="12531"/>
                  <a:pt x="18781" y="12531"/>
                  <a:pt x="18813" y="12499"/>
                </a:cubicBezTo>
                <a:cubicBezTo>
                  <a:pt x="18781" y="12562"/>
                  <a:pt x="18781" y="12624"/>
                  <a:pt x="18688" y="12593"/>
                </a:cubicBezTo>
                <a:cubicBezTo>
                  <a:pt x="18656" y="12593"/>
                  <a:pt x="18594" y="12624"/>
                  <a:pt x="18594" y="12656"/>
                </a:cubicBezTo>
                <a:cubicBezTo>
                  <a:pt x="18563" y="12749"/>
                  <a:pt x="18625" y="12718"/>
                  <a:pt x="18688" y="12718"/>
                </a:cubicBezTo>
                <a:cubicBezTo>
                  <a:pt x="18688" y="12718"/>
                  <a:pt x="18688" y="12749"/>
                  <a:pt x="18688" y="12749"/>
                </a:cubicBezTo>
                <a:cubicBezTo>
                  <a:pt x="18688" y="12781"/>
                  <a:pt x="18719" y="12781"/>
                  <a:pt x="18688" y="12812"/>
                </a:cubicBezTo>
                <a:cubicBezTo>
                  <a:pt x="18656" y="12812"/>
                  <a:pt x="18656" y="12812"/>
                  <a:pt x="18625" y="12812"/>
                </a:cubicBezTo>
                <a:cubicBezTo>
                  <a:pt x="18594" y="12812"/>
                  <a:pt x="18563" y="12781"/>
                  <a:pt x="18563" y="12781"/>
                </a:cubicBezTo>
                <a:cubicBezTo>
                  <a:pt x="18500" y="12718"/>
                  <a:pt x="18469" y="12718"/>
                  <a:pt x="18406" y="12749"/>
                </a:cubicBezTo>
                <a:lnTo>
                  <a:pt x="18406" y="12749"/>
                </a:lnTo>
                <a:cubicBezTo>
                  <a:pt x="18406" y="12749"/>
                  <a:pt x="18406" y="12749"/>
                  <a:pt x="18406" y="12749"/>
                </a:cubicBezTo>
                <a:cubicBezTo>
                  <a:pt x="18375" y="12812"/>
                  <a:pt x="18375" y="12843"/>
                  <a:pt x="18375" y="12906"/>
                </a:cubicBezTo>
                <a:cubicBezTo>
                  <a:pt x="18281" y="12812"/>
                  <a:pt x="18250" y="12906"/>
                  <a:pt x="18156" y="12906"/>
                </a:cubicBezTo>
                <a:cubicBezTo>
                  <a:pt x="18063" y="12906"/>
                  <a:pt x="17969" y="12843"/>
                  <a:pt x="17969" y="12781"/>
                </a:cubicBezTo>
                <a:close/>
                <a:moveTo>
                  <a:pt x="18813" y="12437"/>
                </a:moveTo>
                <a:cubicBezTo>
                  <a:pt x="18813" y="12468"/>
                  <a:pt x="18750" y="12406"/>
                  <a:pt x="18750" y="12468"/>
                </a:cubicBezTo>
                <a:cubicBezTo>
                  <a:pt x="18719" y="12468"/>
                  <a:pt x="18719" y="12499"/>
                  <a:pt x="18688" y="12468"/>
                </a:cubicBezTo>
                <a:cubicBezTo>
                  <a:pt x="18688" y="12468"/>
                  <a:pt x="18688" y="12468"/>
                  <a:pt x="18688" y="12437"/>
                </a:cubicBezTo>
                <a:cubicBezTo>
                  <a:pt x="18688" y="12437"/>
                  <a:pt x="18719" y="12406"/>
                  <a:pt x="18719" y="12406"/>
                </a:cubicBezTo>
                <a:cubicBezTo>
                  <a:pt x="18750" y="12406"/>
                  <a:pt x="18781" y="12406"/>
                  <a:pt x="18813" y="12437"/>
                </a:cubicBezTo>
                <a:close/>
                <a:moveTo>
                  <a:pt x="17281" y="12531"/>
                </a:move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ubicBezTo>
                  <a:pt x="17281" y="12531"/>
                  <a:pt x="17281" y="12531"/>
                  <a:pt x="17281" y="12531"/>
                </a:cubicBezTo>
                <a:close/>
                <a:moveTo>
                  <a:pt x="16781" y="12499"/>
                </a:moveTo>
                <a:cubicBezTo>
                  <a:pt x="16719" y="12499"/>
                  <a:pt x="16656" y="12499"/>
                  <a:pt x="16625" y="12437"/>
                </a:cubicBezTo>
                <a:cubicBezTo>
                  <a:pt x="16625" y="12437"/>
                  <a:pt x="16594" y="12406"/>
                  <a:pt x="16594" y="12406"/>
                </a:cubicBezTo>
                <a:cubicBezTo>
                  <a:pt x="16594" y="12374"/>
                  <a:pt x="16625" y="12343"/>
                  <a:pt x="16625" y="12374"/>
                </a:cubicBezTo>
                <a:cubicBezTo>
                  <a:pt x="16719" y="12437"/>
                  <a:pt x="16750" y="12343"/>
                  <a:pt x="16813" y="12343"/>
                </a:cubicBezTo>
                <a:cubicBezTo>
                  <a:pt x="16750" y="12374"/>
                  <a:pt x="16844" y="12468"/>
                  <a:pt x="16781" y="12499"/>
                </a:cubicBezTo>
                <a:close/>
                <a:moveTo>
                  <a:pt x="16625" y="11531"/>
                </a:moveTo>
                <a:cubicBezTo>
                  <a:pt x="16656" y="11499"/>
                  <a:pt x="16656" y="11531"/>
                  <a:pt x="16656" y="11562"/>
                </a:cubicBezTo>
                <a:cubicBezTo>
                  <a:pt x="16688" y="11624"/>
                  <a:pt x="16750" y="11656"/>
                  <a:pt x="16750" y="11749"/>
                </a:cubicBezTo>
                <a:cubicBezTo>
                  <a:pt x="16750" y="11749"/>
                  <a:pt x="16781" y="11749"/>
                  <a:pt x="16750" y="11781"/>
                </a:cubicBezTo>
                <a:cubicBezTo>
                  <a:pt x="16750" y="11781"/>
                  <a:pt x="16750" y="11749"/>
                  <a:pt x="16719" y="11749"/>
                </a:cubicBezTo>
                <a:cubicBezTo>
                  <a:pt x="16625" y="11781"/>
                  <a:pt x="16594" y="11687"/>
                  <a:pt x="16563" y="11624"/>
                </a:cubicBezTo>
                <a:cubicBezTo>
                  <a:pt x="16531" y="11593"/>
                  <a:pt x="16594" y="11531"/>
                  <a:pt x="16625" y="11531"/>
                </a:cubicBezTo>
                <a:close/>
                <a:moveTo>
                  <a:pt x="16750" y="11812"/>
                </a:moveTo>
                <a:cubicBezTo>
                  <a:pt x="16719" y="11874"/>
                  <a:pt x="16656" y="11874"/>
                  <a:pt x="16625" y="11874"/>
                </a:cubicBezTo>
                <a:cubicBezTo>
                  <a:pt x="16594" y="11874"/>
                  <a:pt x="16594" y="11843"/>
                  <a:pt x="16594" y="11843"/>
                </a:cubicBezTo>
                <a:cubicBezTo>
                  <a:pt x="16625" y="11781"/>
                  <a:pt x="16688" y="11843"/>
                  <a:pt x="16750" y="11812"/>
                </a:cubicBezTo>
                <a:close/>
                <a:moveTo>
                  <a:pt x="16594" y="11937"/>
                </a:moveTo>
                <a:cubicBezTo>
                  <a:pt x="16625" y="11937"/>
                  <a:pt x="16688" y="11906"/>
                  <a:pt x="16781" y="11937"/>
                </a:cubicBezTo>
                <a:cubicBezTo>
                  <a:pt x="16719" y="11999"/>
                  <a:pt x="16656" y="12031"/>
                  <a:pt x="16625" y="12093"/>
                </a:cubicBezTo>
                <a:cubicBezTo>
                  <a:pt x="16625" y="12124"/>
                  <a:pt x="16594" y="12124"/>
                  <a:pt x="16563" y="12124"/>
                </a:cubicBezTo>
                <a:cubicBezTo>
                  <a:pt x="16500" y="12093"/>
                  <a:pt x="16500" y="12093"/>
                  <a:pt x="16500" y="12031"/>
                </a:cubicBezTo>
                <a:cubicBezTo>
                  <a:pt x="16500" y="11968"/>
                  <a:pt x="16500" y="11937"/>
                  <a:pt x="16594" y="11937"/>
                </a:cubicBezTo>
                <a:close/>
                <a:moveTo>
                  <a:pt x="16313" y="12156"/>
                </a:move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ubicBezTo>
                  <a:pt x="16313" y="12156"/>
                  <a:pt x="16313" y="12156"/>
                  <a:pt x="16313" y="12156"/>
                </a:cubicBezTo>
                <a:close/>
                <a:moveTo>
                  <a:pt x="16906" y="9687"/>
                </a:moveTo>
                <a:cubicBezTo>
                  <a:pt x="16906" y="9687"/>
                  <a:pt x="16906" y="9687"/>
                  <a:pt x="16906" y="9687"/>
                </a:cubicBezTo>
                <a:cubicBezTo>
                  <a:pt x="16906" y="9687"/>
                  <a:pt x="16906" y="9687"/>
                  <a:pt x="16906" y="9687"/>
                </a:cubicBezTo>
                <a:cubicBezTo>
                  <a:pt x="16875" y="9687"/>
                  <a:pt x="16844" y="9687"/>
                  <a:pt x="16844" y="9656"/>
                </a:cubicBezTo>
                <a:cubicBezTo>
                  <a:pt x="16875" y="9656"/>
                  <a:pt x="16875" y="9656"/>
                  <a:pt x="16906" y="9687"/>
                </a:cubicBezTo>
                <a:close/>
                <a:moveTo>
                  <a:pt x="15188" y="5281"/>
                </a:moveTo>
                <a:cubicBezTo>
                  <a:pt x="15188" y="5281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312"/>
                </a:cubicBezTo>
                <a:cubicBezTo>
                  <a:pt x="15188" y="5312"/>
                  <a:pt x="15188" y="5281"/>
                  <a:pt x="15188" y="5281"/>
                </a:cubicBezTo>
                <a:cubicBezTo>
                  <a:pt x="15188" y="5281"/>
                  <a:pt x="15188" y="5281"/>
                  <a:pt x="15188" y="5281"/>
                </a:cubicBezTo>
                <a:close/>
                <a:moveTo>
                  <a:pt x="14875" y="531"/>
                </a:moveTo>
                <a:cubicBezTo>
                  <a:pt x="14875" y="562"/>
                  <a:pt x="14875" y="562"/>
                  <a:pt x="14875" y="562"/>
                </a:cubicBezTo>
                <a:cubicBezTo>
                  <a:pt x="14875" y="593"/>
                  <a:pt x="14844" y="562"/>
                  <a:pt x="14844" y="562"/>
                </a:cubicBezTo>
                <a:cubicBezTo>
                  <a:pt x="14813" y="562"/>
                  <a:pt x="14813" y="562"/>
                  <a:pt x="14781" y="562"/>
                </a:cubicBezTo>
                <a:cubicBezTo>
                  <a:pt x="14750" y="562"/>
                  <a:pt x="14719" y="531"/>
                  <a:pt x="14719" y="531"/>
                </a:cubicBezTo>
                <a:cubicBezTo>
                  <a:pt x="14750" y="437"/>
                  <a:pt x="14813" y="562"/>
                  <a:pt x="14875" y="531"/>
                </a:cubicBezTo>
                <a:close/>
                <a:moveTo>
                  <a:pt x="13594" y="1375"/>
                </a:moveTo>
                <a:cubicBezTo>
                  <a:pt x="13594" y="1375"/>
                  <a:pt x="13594" y="1406"/>
                  <a:pt x="13594" y="1406"/>
                </a:cubicBezTo>
                <a:cubicBezTo>
                  <a:pt x="13563" y="1375"/>
                  <a:pt x="13563" y="1375"/>
                  <a:pt x="13563" y="1375"/>
                </a:cubicBezTo>
                <a:cubicBezTo>
                  <a:pt x="13563" y="1375"/>
                  <a:pt x="13563" y="1343"/>
                  <a:pt x="13594" y="1343"/>
                </a:cubicBezTo>
                <a:cubicBezTo>
                  <a:pt x="13594" y="1343"/>
                  <a:pt x="13594" y="1375"/>
                  <a:pt x="13594" y="1375"/>
                </a:cubicBezTo>
                <a:close/>
                <a:moveTo>
                  <a:pt x="11219" y="9812"/>
                </a:moveTo>
                <a:cubicBezTo>
                  <a:pt x="11219" y="9812"/>
                  <a:pt x="11219" y="9812"/>
                  <a:pt x="11219" y="9812"/>
                </a:cubicBezTo>
                <a:cubicBezTo>
                  <a:pt x="11219" y="9812"/>
                  <a:pt x="11250" y="9812"/>
                  <a:pt x="11250" y="9812"/>
                </a:cubicBezTo>
                <a:cubicBezTo>
                  <a:pt x="11250" y="9812"/>
                  <a:pt x="11219" y="9812"/>
                  <a:pt x="11219" y="9812"/>
                </a:cubicBezTo>
                <a:close/>
                <a:moveTo>
                  <a:pt x="12750" y="8625"/>
                </a:move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ubicBezTo>
                  <a:pt x="12750" y="8625"/>
                  <a:pt x="12750" y="8625"/>
                  <a:pt x="12750" y="8625"/>
                </a:cubicBezTo>
                <a:close/>
                <a:moveTo>
                  <a:pt x="12500" y="8656"/>
                </a:moveTo>
                <a:cubicBezTo>
                  <a:pt x="12500" y="8687"/>
                  <a:pt x="12469" y="8718"/>
                  <a:pt x="12469" y="8718"/>
                </a:cubicBezTo>
                <a:cubicBezTo>
                  <a:pt x="12469" y="8750"/>
                  <a:pt x="12438" y="8750"/>
                  <a:pt x="12438" y="8781"/>
                </a:cubicBezTo>
                <a:cubicBezTo>
                  <a:pt x="12469" y="8781"/>
                  <a:pt x="12531" y="8781"/>
                  <a:pt x="12563" y="8781"/>
                </a:cubicBezTo>
                <a:cubicBezTo>
                  <a:pt x="12594" y="8812"/>
                  <a:pt x="12625" y="8843"/>
                  <a:pt x="12625" y="8875"/>
                </a:cubicBezTo>
                <a:cubicBezTo>
                  <a:pt x="12625" y="8875"/>
                  <a:pt x="12563" y="8906"/>
                  <a:pt x="12563" y="8906"/>
                </a:cubicBezTo>
                <a:cubicBezTo>
                  <a:pt x="12500" y="8875"/>
                  <a:pt x="12438" y="8843"/>
                  <a:pt x="12406" y="8812"/>
                </a:cubicBezTo>
                <a:cubicBezTo>
                  <a:pt x="12375" y="8781"/>
                  <a:pt x="12406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81"/>
                  <a:pt x="12438" y="8781"/>
                  <a:pt x="12438" y="8781"/>
                </a:cubicBezTo>
                <a:cubicBezTo>
                  <a:pt x="12438" y="8750"/>
                  <a:pt x="12469" y="8750"/>
                  <a:pt x="12469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38" y="8718"/>
                </a:cubicBezTo>
                <a:cubicBezTo>
                  <a:pt x="12438" y="8718"/>
                  <a:pt x="12438" y="8718"/>
                  <a:pt x="12469" y="8718"/>
                </a:cubicBezTo>
                <a:cubicBezTo>
                  <a:pt x="12469" y="8718"/>
                  <a:pt x="12500" y="8687"/>
                  <a:pt x="12500" y="8656"/>
                </a:cubicBezTo>
                <a:close/>
                <a:moveTo>
                  <a:pt x="12344" y="9187"/>
                </a:moveTo>
                <a:cubicBezTo>
                  <a:pt x="12344" y="9218"/>
                  <a:pt x="12375" y="9218"/>
                  <a:pt x="12375" y="9218"/>
                </a:cubicBezTo>
                <a:cubicBezTo>
                  <a:pt x="12375" y="9218"/>
                  <a:pt x="12375" y="9218"/>
                  <a:pt x="12375" y="9218"/>
                </a:cubicBezTo>
                <a:cubicBezTo>
                  <a:pt x="12406" y="9218"/>
                  <a:pt x="12406" y="9250"/>
                  <a:pt x="12406" y="9281"/>
                </a:cubicBezTo>
                <a:cubicBezTo>
                  <a:pt x="12406" y="9281"/>
                  <a:pt x="12406" y="9281"/>
                  <a:pt x="12406" y="9281"/>
                </a:cubicBezTo>
                <a:cubicBezTo>
                  <a:pt x="12406" y="9281"/>
                  <a:pt x="12375" y="9281"/>
                  <a:pt x="12375" y="9281"/>
                </a:cubicBezTo>
                <a:cubicBezTo>
                  <a:pt x="12375" y="9312"/>
                  <a:pt x="12375" y="9312"/>
                  <a:pt x="12375" y="9312"/>
                </a:cubicBezTo>
                <a:cubicBezTo>
                  <a:pt x="12344" y="9312"/>
                  <a:pt x="12375" y="9250"/>
                  <a:pt x="12313" y="9281"/>
                </a:cubicBezTo>
                <a:cubicBezTo>
                  <a:pt x="12281" y="9281"/>
                  <a:pt x="12281" y="9250"/>
                  <a:pt x="12281" y="9218"/>
                </a:cubicBezTo>
                <a:cubicBezTo>
                  <a:pt x="12281" y="9187"/>
                  <a:pt x="12313" y="9187"/>
                  <a:pt x="12344" y="9187"/>
                </a:cubicBezTo>
                <a:close/>
                <a:moveTo>
                  <a:pt x="12188" y="8593"/>
                </a:moveTo>
                <a:cubicBezTo>
                  <a:pt x="12188" y="8593"/>
                  <a:pt x="12188" y="8593"/>
                  <a:pt x="12188" y="8593"/>
                </a:cubicBezTo>
                <a:cubicBezTo>
                  <a:pt x="12094" y="8531"/>
                  <a:pt x="12031" y="8468"/>
                  <a:pt x="11938" y="8406"/>
                </a:cubicBezTo>
                <a:cubicBezTo>
                  <a:pt x="12031" y="8468"/>
                  <a:pt x="12094" y="8531"/>
                  <a:pt x="12188" y="8593"/>
                </a:cubicBezTo>
                <a:close/>
                <a:moveTo>
                  <a:pt x="11969" y="9906"/>
                </a:moveTo>
                <a:cubicBezTo>
                  <a:pt x="11969" y="9906"/>
                  <a:pt x="11969" y="9937"/>
                  <a:pt x="11969" y="9937"/>
                </a:cubicBezTo>
                <a:cubicBezTo>
                  <a:pt x="11969" y="9937"/>
                  <a:pt x="11969" y="9906"/>
                  <a:pt x="11969" y="9906"/>
                </a:cubicBezTo>
                <a:cubicBezTo>
                  <a:pt x="11969" y="9906"/>
                  <a:pt x="11969" y="9906"/>
                  <a:pt x="11969" y="9906"/>
                </a:cubicBezTo>
                <a:close/>
                <a:moveTo>
                  <a:pt x="11906" y="9968"/>
                </a:moveTo>
                <a:cubicBezTo>
                  <a:pt x="11906" y="9968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68"/>
                  <a:pt x="11906" y="9968"/>
                </a:cubicBezTo>
                <a:close/>
                <a:moveTo>
                  <a:pt x="11906" y="9937"/>
                </a:moveTo>
                <a:cubicBezTo>
                  <a:pt x="11906" y="9937"/>
                  <a:pt x="11906" y="9937"/>
                  <a:pt x="11906" y="9937"/>
                </a:cubicBezTo>
                <a:cubicBezTo>
                  <a:pt x="11906" y="9937"/>
                  <a:pt x="11906" y="9937"/>
                  <a:pt x="11906" y="9906"/>
                </a:cubicBezTo>
                <a:cubicBezTo>
                  <a:pt x="11906" y="9937"/>
                  <a:pt x="11906" y="9937"/>
                  <a:pt x="11906" y="9937"/>
                </a:cubicBezTo>
                <a:close/>
                <a:moveTo>
                  <a:pt x="11563" y="8843"/>
                </a:moveTo>
                <a:cubicBezTo>
                  <a:pt x="11563" y="8812"/>
                  <a:pt x="11625" y="8812"/>
                  <a:pt x="11656" y="8812"/>
                </a:cubicBezTo>
                <a:cubicBezTo>
                  <a:pt x="11594" y="8812"/>
                  <a:pt x="11656" y="8968"/>
                  <a:pt x="11563" y="8906"/>
                </a:cubicBezTo>
                <a:cubicBezTo>
                  <a:pt x="11531" y="8906"/>
                  <a:pt x="11531" y="8875"/>
                  <a:pt x="11563" y="8843"/>
                </a:cubicBezTo>
                <a:close/>
                <a:moveTo>
                  <a:pt x="11438" y="10562"/>
                </a:moveTo>
                <a:cubicBezTo>
                  <a:pt x="11531" y="10562"/>
                  <a:pt x="11563" y="10531"/>
                  <a:pt x="11594" y="10468"/>
                </a:cubicBezTo>
                <a:cubicBezTo>
                  <a:pt x="11594" y="10531"/>
                  <a:pt x="11594" y="10593"/>
                  <a:pt x="11688" y="10593"/>
                </a:cubicBezTo>
                <a:cubicBezTo>
                  <a:pt x="11719" y="10593"/>
                  <a:pt x="11719" y="10656"/>
                  <a:pt x="11781" y="10656"/>
                </a:cubicBezTo>
                <a:cubicBezTo>
                  <a:pt x="11625" y="10749"/>
                  <a:pt x="11469" y="10687"/>
                  <a:pt x="11438" y="10562"/>
                </a:cubicBezTo>
                <a:close/>
                <a:moveTo>
                  <a:pt x="11844" y="10343"/>
                </a:move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13" y="10312"/>
                </a:cubicBezTo>
                <a:cubicBezTo>
                  <a:pt x="11844" y="10343"/>
                  <a:pt x="11844" y="10343"/>
                  <a:pt x="11844" y="10343"/>
                </a:cubicBezTo>
                <a:cubicBezTo>
                  <a:pt x="11844" y="10343"/>
                  <a:pt x="11844" y="10343"/>
                  <a:pt x="11875" y="10343"/>
                </a:cubicBezTo>
                <a:cubicBezTo>
                  <a:pt x="11844" y="10343"/>
                  <a:pt x="11844" y="10343"/>
                  <a:pt x="11844" y="10343"/>
                </a:cubicBezTo>
                <a:close/>
                <a:moveTo>
                  <a:pt x="11906" y="10281"/>
                </a:moveTo>
                <a:cubicBezTo>
                  <a:pt x="11906" y="10281"/>
                  <a:pt x="11906" y="10312"/>
                  <a:pt x="11906" y="10312"/>
                </a:cubicBezTo>
                <a:cubicBezTo>
                  <a:pt x="11906" y="10312"/>
                  <a:pt x="11906" y="10281"/>
                  <a:pt x="11906" y="10281"/>
                </a:cubicBezTo>
                <a:cubicBezTo>
                  <a:pt x="11906" y="10156"/>
                  <a:pt x="11844" y="10156"/>
                  <a:pt x="11781" y="10187"/>
                </a:cubicBezTo>
                <a:cubicBezTo>
                  <a:pt x="11781" y="10125"/>
                  <a:pt x="11781" y="10093"/>
                  <a:pt x="11813" y="10062"/>
                </a:cubicBezTo>
                <a:cubicBezTo>
                  <a:pt x="11844" y="10062"/>
                  <a:pt x="11844" y="10062"/>
                  <a:pt x="11875" y="10062"/>
                </a:cubicBezTo>
                <a:cubicBezTo>
                  <a:pt x="11875" y="10125"/>
                  <a:pt x="11906" y="10125"/>
                  <a:pt x="11969" y="10093"/>
                </a:cubicBezTo>
                <a:cubicBezTo>
                  <a:pt x="11969" y="10125"/>
                  <a:pt x="11969" y="10125"/>
                  <a:pt x="11969" y="10125"/>
                </a:cubicBezTo>
                <a:cubicBezTo>
                  <a:pt x="11969" y="10187"/>
                  <a:pt x="11938" y="10218"/>
                  <a:pt x="11906" y="10281"/>
                </a:cubicBezTo>
                <a:close/>
                <a:moveTo>
                  <a:pt x="12000" y="9875"/>
                </a:moveTo>
                <a:cubicBezTo>
                  <a:pt x="12031" y="9875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75"/>
                  <a:pt x="12000" y="9875"/>
                </a:cubicBezTo>
                <a:close/>
                <a:moveTo>
                  <a:pt x="12031" y="9843"/>
                </a:move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ubicBezTo>
                  <a:pt x="12031" y="9843"/>
                  <a:pt x="12031" y="9843"/>
                  <a:pt x="12031" y="9843"/>
                </a:cubicBezTo>
                <a:close/>
                <a:moveTo>
                  <a:pt x="12281" y="9687"/>
                </a:moveTo>
                <a:cubicBezTo>
                  <a:pt x="12281" y="9687"/>
                  <a:pt x="12250" y="9687"/>
                  <a:pt x="12250" y="9718"/>
                </a:cubicBezTo>
                <a:cubicBezTo>
                  <a:pt x="12250" y="9718"/>
                  <a:pt x="12250" y="9718"/>
                  <a:pt x="12250" y="9718"/>
                </a:cubicBezTo>
                <a:cubicBezTo>
                  <a:pt x="12188" y="9718"/>
                  <a:pt x="12094" y="9718"/>
                  <a:pt x="12000" y="9656"/>
                </a:cubicBezTo>
                <a:cubicBezTo>
                  <a:pt x="11969" y="9625"/>
                  <a:pt x="12000" y="9625"/>
                  <a:pt x="12031" y="9593"/>
                </a:cubicBezTo>
                <a:cubicBezTo>
                  <a:pt x="12063" y="9593"/>
                  <a:pt x="12063" y="9593"/>
                  <a:pt x="12094" y="9562"/>
                </a:cubicBezTo>
                <a:cubicBezTo>
                  <a:pt x="12125" y="9625"/>
                  <a:pt x="12219" y="9625"/>
                  <a:pt x="12281" y="9687"/>
                </a:cubicBezTo>
                <a:cubicBezTo>
                  <a:pt x="12375" y="9687"/>
                  <a:pt x="12469" y="9687"/>
                  <a:pt x="12563" y="9687"/>
                </a:cubicBezTo>
                <a:cubicBezTo>
                  <a:pt x="12469" y="9687"/>
                  <a:pt x="12375" y="9687"/>
                  <a:pt x="12281" y="9687"/>
                </a:cubicBezTo>
                <a:close/>
                <a:moveTo>
                  <a:pt x="14906" y="7281"/>
                </a:moveTo>
                <a:cubicBezTo>
                  <a:pt x="14938" y="7281"/>
                  <a:pt x="14844" y="7281"/>
                  <a:pt x="14844" y="7312"/>
                </a:cubicBezTo>
                <a:cubicBezTo>
                  <a:pt x="14875" y="7250"/>
                  <a:pt x="14875" y="7218"/>
                  <a:pt x="14875" y="7156"/>
                </a:cubicBezTo>
                <a:cubicBezTo>
                  <a:pt x="14875" y="7156"/>
                  <a:pt x="14906" y="7156"/>
                  <a:pt x="14938" y="7156"/>
                </a:cubicBezTo>
                <a:cubicBezTo>
                  <a:pt x="14938" y="7187"/>
                  <a:pt x="14875" y="7218"/>
                  <a:pt x="14906" y="7281"/>
                </a:cubicBezTo>
                <a:close/>
                <a:moveTo>
                  <a:pt x="14875" y="7156"/>
                </a:moveTo>
                <a:cubicBezTo>
                  <a:pt x="14875" y="7156"/>
                  <a:pt x="14875" y="7156"/>
                  <a:pt x="14875" y="7156"/>
                </a:cubicBezTo>
                <a:cubicBezTo>
                  <a:pt x="14844" y="7156"/>
                  <a:pt x="14844" y="7187"/>
                  <a:pt x="14813" y="7218"/>
                </a:cubicBezTo>
                <a:cubicBezTo>
                  <a:pt x="14781" y="7156"/>
                  <a:pt x="14813" y="7093"/>
                  <a:pt x="14719" y="7093"/>
                </a:cubicBezTo>
                <a:cubicBezTo>
                  <a:pt x="14688" y="7093"/>
                  <a:pt x="14750" y="7031"/>
                  <a:pt x="14750" y="7000"/>
                </a:cubicBezTo>
                <a:cubicBezTo>
                  <a:pt x="14750" y="6968"/>
                  <a:pt x="14781" y="7000"/>
                  <a:pt x="14781" y="7000"/>
                </a:cubicBezTo>
                <a:cubicBezTo>
                  <a:pt x="14875" y="7031"/>
                  <a:pt x="14906" y="7062"/>
                  <a:pt x="14875" y="7156"/>
                </a:cubicBezTo>
                <a:close/>
                <a:moveTo>
                  <a:pt x="14813" y="9156"/>
                </a:move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ubicBezTo>
                  <a:pt x="14813" y="9156"/>
                  <a:pt x="14813" y="9156"/>
                  <a:pt x="14813" y="9156"/>
                </a:cubicBezTo>
                <a:close/>
                <a:moveTo>
                  <a:pt x="14938" y="11937"/>
                </a:moveTo>
                <a:cubicBezTo>
                  <a:pt x="14938" y="11937"/>
                  <a:pt x="14938" y="11937"/>
                  <a:pt x="14938" y="11937"/>
                </a:cubicBezTo>
                <a:cubicBezTo>
                  <a:pt x="14938" y="11937"/>
                  <a:pt x="14938" y="11937"/>
                  <a:pt x="14938" y="11937"/>
                </a:cubicBezTo>
                <a:cubicBezTo>
                  <a:pt x="14906" y="11749"/>
                  <a:pt x="14969" y="11656"/>
                  <a:pt x="15094" y="11687"/>
                </a:cubicBezTo>
                <a:cubicBezTo>
                  <a:pt x="15125" y="11687"/>
                  <a:pt x="15156" y="11687"/>
                  <a:pt x="15156" y="11718"/>
                </a:cubicBezTo>
                <a:cubicBezTo>
                  <a:pt x="15156" y="11749"/>
                  <a:pt x="15125" y="11781"/>
                  <a:pt x="15094" y="11781"/>
                </a:cubicBezTo>
                <a:cubicBezTo>
                  <a:pt x="15031" y="11749"/>
                  <a:pt x="15000" y="11812"/>
                  <a:pt x="15000" y="11874"/>
                </a:cubicBezTo>
                <a:cubicBezTo>
                  <a:pt x="15000" y="11937"/>
                  <a:pt x="14969" y="11937"/>
                  <a:pt x="14938" y="11937"/>
                </a:cubicBezTo>
                <a:close/>
                <a:moveTo>
                  <a:pt x="15000" y="14218"/>
                </a:moveTo>
                <a:cubicBezTo>
                  <a:pt x="15000" y="14218"/>
                  <a:pt x="15000" y="14218"/>
                  <a:pt x="15000" y="14218"/>
                </a:cubicBezTo>
                <a:cubicBezTo>
                  <a:pt x="15031" y="14218"/>
                  <a:pt x="15031" y="14218"/>
                  <a:pt x="15063" y="14218"/>
                </a:cubicBezTo>
                <a:cubicBezTo>
                  <a:pt x="15031" y="14218"/>
                  <a:pt x="15031" y="14218"/>
                  <a:pt x="15000" y="14218"/>
                </a:cubicBezTo>
                <a:close/>
                <a:moveTo>
                  <a:pt x="15250" y="13062"/>
                </a:moveTo>
                <a:cubicBezTo>
                  <a:pt x="15156" y="13093"/>
                  <a:pt x="15094" y="13093"/>
                  <a:pt x="15000" y="13031"/>
                </a:cubicBezTo>
                <a:cubicBezTo>
                  <a:pt x="15094" y="12999"/>
                  <a:pt x="15156" y="13062"/>
                  <a:pt x="15250" y="13062"/>
                </a:cubicBezTo>
                <a:cubicBezTo>
                  <a:pt x="15250" y="13062"/>
                  <a:pt x="15281" y="13031"/>
                  <a:pt x="15281" y="13031"/>
                </a:cubicBezTo>
                <a:cubicBezTo>
                  <a:pt x="15281" y="13031"/>
                  <a:pt x="15250" y="13062"/>
                  <a:pt x="15250" y="13062"/>
                </a:cubicBezTo>
                <a:close/>
                <a:moveTo>
                  <a:pt x="15281" y="12187"/>
                </a:moveTo>
                <a:cubicBezTo>
                  <a:pt x="15188" y="12156"/>
                  <a:pt x="15063" y="12156"/>
                  <a:pt x="15000" y="12093"/>
                </a:cubicBezTo>
                <a:cubicBezTo>
                  <a:pt x="15063" y="12062"/>
                  <a:pt x="15156" y="12062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2031"/>
                  <a:pt x="15219" y="12031"/>
                  <a:pt x="15219" y="12031"/>
                </a:cubicBezTo>
                <a:cubicBezTo>
                  <a:pt x="15219" y="11999"/>
                  <a:pt x="15219" y="11999"/>
                  <a:pt x="15219" y="11968"/>
                </a:cubicBezTo>
                <a:cubicBezTo>
                  <a:pt x="15219" y="11937"/>
                  <a:pt x="15219" y="11906"/>
                  <a:pt x="15250" y="11906"/>
                </a:cubicBezTo>
                <a:cubicBezTo>
                  <a:pt x="15313" y="11906"/>
                  <a:pt x="15313" y="11937"/>
                  <a:pt x="15313" y="11968"/>
                </a:cubicBezTo>
                <a:cubicBezTo>
                  <a:pt x="15313" y="11999"/>
                  <a:pt x="15313" y="12062"/>
                  <a:pt x="15313" y="12093"/>
                </a:cubicBezTo>
                <a:cubicBezTo>
                  <a:pt x="15281" y="12093"/>
                  <a:pt x="15281" y="12156"/>
                  <a:pt x="15281" y="12187"/>
                </a:cubicBezTo>
                <a:close/>
                <a:moveTo>
                  <a:pt x="15281" y="12999"/>
                </a:moveTo>
                <a:cubicBezTo>
                  <a:pt x="15281" y="12749"/>
                  <a:pt x="15281" y="12499"/>
                  <a:pt x="15281" y="12281"/>
                </a:cubicBezTo>
                <a:cubicBezTo>
                  <a:pt x="15281" y="12249"/>
                  <a:pt x="15313" y="12249"/>
                  <a:pt x="15313" y="12249"/>
                </a:cubicBezTo>
                <a:cubicBezTo>
                  <a:pt x="15313" y="12249"/>
                  <a:pt x="15313" y="12249"/>
                  <a:pt x="15313" y="12281"/>
                </a:cubicBezTo>
                <a:cubicBezTo>
                  <a:pt x="15313" y="12468"/>
                  <a:pt x="15313" y="12687"/>
                  <a:pt x="15313" y="12874"/>
                </a:cubicBezTo>
                <a:cubicBezTo>
                  <a:pt x="15313" y="12937"/>
                  <a:pt x="15313" y="12968"/>
                  <a:pt x="15281" y="12999"/>
                </a:cubicBezTo>
                <a:close/>
                <a:moveTo>
                  <a:pt x="15813" y="9593"/>
                </a:moveTo>
                <a:cubicBezTo>
                  <a:pt x="15781" y="9593"/>
                  <a:pt x="15781" y="9593"/>
                  <a:pt x="15781" y="9593"/>
                </a:cubicBezTo>
                <a:cubicBezTo>
                  <a:pt x="15781" y="9593"/>
                  <a:pt x="15781" y="9593"/>
                  <a:pt x="15813" y="9593"/>
                </a:cubicBezTo>
                <a:cubicBezTo>
                  <a:pt x="15813" y="9593"/>
                  <a:pt x="15813" y="9593"/>
                  <a:pt x="15844" y="9593"/>
                </a:cubicBezTo>
                <a:cubicBezTo>
                  <a:pt x="15813" y="9593"/>
                  <a:pt x="15813" y="9593"/>
                  <a:pt x="15813" y="9593"/>
                </a:cubicBezTo>
                <a:close/>
                <a:moveTo>
                  <a:pt x="15813" y="9343"/>
                </a:move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13" y="9343"/>
                  <a:pt x="15813" y="9343"/>
                </a:cubicBezTo>
                <a:cubicBezTo>
                  <a:pt x="15813" y="9343"/>
                  <a:pt x="15844" y="9343"/>
                  <a:pt x="15844" y="9343"/>
                </a:cubicBezTo>
                <a:cubicBezTo>
                  <a:pt x="15813" y="9343"/>
                  <a:pt x="15813" y="9343"/>
                  <a:pt x="15813" y="9343"/>
                </a:cubicBezTo>
                <a:close/>
                <a:moveTo>
                  <a:pt x="16188" y="9500"/>
                </a:moveTo>
                <a:cubicBezTo>
                  <a:pt x="16156" y="9500"/>
                  <a:pt x="16125" y="9500"/>
                  <a:pt x="16125" y="9500"/>
                </a:cubicBezTo>
                <a:cubicBezTo>
                  <a:pt x="16125" y="9468"/>
                  <a:pt x="16156" y="9468"/>
                  <a:pt x="16188" y="9500"/>
                </a:cubicBezTo>
                <a:close/>
                <a:moveTo>
                  <a:pt x="15969" y="9375"/>
                </a:moveTo>
                <a:cubicBezTo>
                  <a:pt x="15969" y="9375"/>
                  <a:pt x="16000" y="9375"/>
                  <a:pt x="16031" y="9375"/>
                </a:cubicBezTo>
                <a:cubicBezTo>
                  <a:pt x="16031" y="9375"/>
                  <a:pt x="16063" y="9375"/>
                  <a:pt x="16063" y="9375"/>
                </a:cubicBezTo>
                <a:cubicBezTo>
                  <a:pt x="16063" y="9375"/>
                  <a:pt x="16031" y="9375"/>
                  <a:pt x="16031" y="9375"/>
                </a:cubicBezTo>
                <a:cubicBezTo>
                  <a:pt x="16000" y="9375"/>
                  <a:pt x="15969" y="9406"/>
                  <a:pt x="15969" y="9437"/>
                </a:cubicBezTo>
                <a:cubicBezTo>
                  <a:pt x="16000" y="9468"/>
                  <a:pt x="16063" y="9531"/>
                  <a:pt x="16125" y="9500"/>
                </a:cubicBezTo>
                <a:cubicBezTo>
                  <a:pt x="16125" y="9531"/>
                  <a:pt x="16094" y="9562"/>
                  <a:pt x="16125" y="9562"/>
                </a:cubicBezTo>
                <a:cubicBezTo>
                  <a:pt x="16063" y="9531"/>
                  <a:pt x="16031" y="9562"/>
                  <a:pt x="15969" y="9562"/>
                </a:cubicBezTo>
                <a:cubicBezTo>
                  <a:pt x="15938" y="9593"/>
                  <a:pt x="15906" y="9593"/>
                  <a:pt x="15875" y="9562"/>
                </a:cubicBezTo>
                <a:cubicBezTo>
                  <a:pt x="15844" y="9531"/>
                  <a:pt x="15844" y="9468"/>
                  <a:pt x="15844" y="9437"/>
                </a:cubicBezTo>
                <a:cubicBezTo>
                  <a:pt x="15844" y="9406"/>
                  <a:pt x="15844" y="9406"/>
                  <a:pt x="15875" y="9406"/>
                </a:cubicBezTo>
                <a:cubicBezTo>
                  <a:pt x="15906" y="9406"/>
                  <a:pt x="15938" y="9406"/>
                  <a:pt x="15969" y="9375"/>
                </a:cubicBezTo>
                <a:cubicBezTo>
                  <a:pt x="15969" y="9375"/>
                  <a:pt x="15969" y="9343"/>
                  <a:pt x="15969" y="9343"/>
                </a:cubicBezTo>
                <a:cubicBezTo>
                  <a:pt x="15938" y="9343"/>
                  <a:pt x="15906" y="9343"/>
                  <a:pt x="15906" y="9312"/>
                </a:cubicBezTo>
                <a:cubicBezTo>
                  <a:pt x="15906" y="9343"/>
                  <a:pt x="15938" y="9312"/>
                  <a:pt x="15969" y="9343"/>
                </a:cubicBezTo>
                <a:cubicBezTo>
                  <a:pt x="15969" y="9343"/>
                  <a:pt x="15969" y="9375"/>
                  <a:pt x="15969" y="9375"/>
                </a:cubicBezTo>
                <a:close/>
                <a:moveTo>
                  <a:pt x="15781" y="9218"/>
                </a:moveTo>
                <a:cubicBezTo>
                  <a:pt x="15781" y="9218"/>
                  <a:pt x="15781" y="9218"/>
                  <a:pt x="15813" y="9218"/>
                </a:cubicBezTo>
                <a:cubicBezTo>
                  <a:pt x="15813" y="9218"/>
                  <a:pt x="15844" y="9218"/>
                  <a:pt x="15844" y="9187"/>
                </a:cubicBezTo>
                <a:cubicBezTo>
                  <a:pt x="15844" y="9218"/>
                  <a:pt x="15813" y="9218"/>
                  <a:pt x="15813" y="9218"/>
                </a:cubicBezTo>
                <a:cubicBezTo>
                  <a:pt x="15813" y="9250"/>
                  <a:pt x="15813" y="9250"/>
                  <a:pt x="15813" y="9250"/>
                </a:cubicBezTo>
                <a:cubicBezTo>
                  <a:pt x="15813" y="9281"/>
                  <a:pt x="15781" y="9281"/>
                  <a:pt x="15781" y="9250"/>
                </a:cubicBezTo>
                <a:cubicBezTo>
                  <a:pt x="15750" y="9250"/>
                  <a:pt x="15750" y="9218"/>
                  <a:pt x="15781" y="9218"/>
                </a:cubicBezTo>
                <a:close/>
                <a:moveTo>
                  <a:pt x="15750" y="9531"/>
                </a:moveTo>
                <a:cubicBezTo>
                  <a:pt x="15781" y="9562"/>
                  <a:pt x="15750" y="9562"/>
                  <a:pt x="15750" y="9562"/>
                </a:cubicBezTo>
                <a:cubicBezTo>
                  <a:pt x="15719" y="9562"/>
                  <a:pt x="15688" y="9562"/>
                  <a:pt x="15656" y="9562"/>
                </a:cubicBezTo>
                <a:cubicBezTo>
                  <a:pt x="15688" y="9468"/>
                  <a:pt x="15719" y="9531"/>
                  <a:pt x="15750" y="9531"/>
                </a:cubicBezTo>
                <a:close/>
                <a:moveTo>
                  <a:pt x="15750" y="9437"/>
                </a:moveTo>
                <a:cubicBezTo>
                  <a:pt x="15750" y="9468"/>
                  <a:pt x="15719" y="9468"/>
                  <a:pt x="15719" y="9468"/>
                </a:cubicBezTo>
                <a:cubicBezTo>
                  <a:pt x="15719" y="9468"/>
                  <a:pt x="15719" y="9437"/>
                  <a:pt x="15719" y="9437"/>
                </a:cubicBezTo>
                <a:cubicBezTo>
                  <a:pt x="15719" y="9437"/>
                  <a:pt x="15719" y="9406"/>
                  <a:pt x="15750" y="9437"/>
                </a:cubicBezTo>
                <a:close/>
                <a:moveTo>
                  <a:pt x="15719" y="9093"/>
                </a:moveTo>
                <a:cubicBezTo>
                  <a:pt x="15719" y="9093"/>
                  <a:pt x="15719" y="9125"/>
                  <a:pt x="15719" y="9125"/>
                </a:cubicBezTo>
                <a:cubicBezTo>
                  <a:pt x="15719" y="9125"/>
                  <a:pt x="15688" y="9125"/>
                  <a:pt x="15688" y="9125"/>
                </a:cubicBezTo>
                <a:cubicBezTo>
                  <a:pt x="15688" y="9093"/>
                  <a:pt x="15688" y="9093"/>
                  <a:pt x="15719" y="9093"/>
                </a:cubicBezTo>
                <a:close/>
                <a:moveTo>
                  <a:pt x="15688" y="9406"/>
                </a:moveTo>
                <a:cubicBezTo>
                  <a:pt x="15688" y="9406"/>
                  <a:pt x="15688" y="9406"/>
                  <a:pt x="15688" y="9406"/>
                </a:cubicBezTo>
                <a:cubicBezTo>
                  <a:pt x="15625" y="9375"/>
                  <a:pt x="15563" y="9437"/>
                  <a:pt x="15531" y="9468"/>
                </a:cubicBezTo>
                <a:cubicBezTo>
                  <a:pt x="15531" y="9468"/>
                  <a:pt x="15531" y="9500"/>
                  <a:pt x="15500" y="9500"/>
                </a:cubicBezTo>
                <a:cubicBezTo>
                  <a:pt x="15438" y="9500"/>
                  <a:pt x="15406" y="9437"/>
                  <a:pt x="15344" y="9437"/>
                </a:cubicBezTo>
                <a:cubicBezTo>
                  <a:pt x="15313" y="9406"/>
                  <a:pt x="15313" y="9406"/>
                  <a:pt x="15344" y="9406"/>
                </a:cubicBezTo>
                <a:cubicBezTo>
                  <a:pt x="15344" y="9406"/>
                  <a:pt x="15344" y="9406"/>
                  <a:pt x="15344" y="9406"/>
                </a:cubicBezTo>
                <a:cubicBezTo>
                  <a:pt x="15375" y="9437"/>
                  <a:pt x="15406" y="9437"/>
                  <a:pt x="15438" y="9437"/>
                </a:cubicBezTo>
                <a:cubicBezTo>
                  <a:pt x="15500" y="9468"/>
                  <a:pt x="15500" y="9437"/>
                  <a:pt x="15500" y="9375"/>
                </a:cubicBezTo>
                <a:cubicBezTo>
                  <a:pt x="15531" y="9375"/>
                  <a:pt x="15563" y="9406"/>
                  <a:pt x="15594" y="9375"/>
                </a:cubicBezTo>
                <a:cubicBezTo>
                  <a:pt x="15594" y="9375"/>
                  <a:pt x="15594" y="9343"/>
                  <a:pt x="15594" y="9343"/>
                </a:cubicBezTo>
                <a:cubicBezTo>
                  <a:pt x="15594" y="9343"/>
                  <a:pt x="15625" y="9343"/>
                  <a:pt x="15656" y="9343"/>
                </a:cubicBezTo>
                <a:cubicBezTo>
                  <a:pt x="15688" y="9375"/>
                  <a:pt x="15688" y="9406"/>
                  <a:pt x="15688" y="9406"/>
                </a:cubicBezTo>
                <a:close/>
                <a:moveTo>
                  <a:pt x="15500" y="9375"/>
                </a:moveTo>
                <a:cubicBezTo>
                  <a:pt x="15438" y="9375"/>
                  <a:pt x="15438" y="9343"/>
                  <a:pt x="15438" y="9312"/>
                </a:cubicBezTo>
                <a:cubicBezTo>
                  <a:pt x="15438" y="9343"/>
                  <a:pt x="15469" y="9343"/>
                  <a:pt x="15469" y="9343"/>
                </a:cubicBezTo>
                <a:cubicBezTo>
                  <a:pt x="15469" y="9312"/>
                  <a:pt x="15500" y="9312"/>
                  <a:pt x="15531" y="9312"/>
                </a:cubicBezTo>
                <a:cubicBezTo>
                  <a:pt x="15500" y="9312"/>
                  <a:pt x="15469" y="9312"/>
                  <a:pt x="15469" y="9343"/>
                </a:cubicBezTo>
                <a:cubicBezTo>
                  <a:pt x="15469" y="9343"/>
                  <a:pt x="15500" y="9375"/>
                  <a:pt x="15500" y="9375"/>
                </a:cubicBezTo>
                <a:close/>
                <a:moveTo>
                  <a:pt x="15438" y="8812"/>
                </a:moveTo>
                <a:cubicBezTo>
                  <a:pt x="15438" y="8812"/>
                  <a:pt x="15438" y="8781"/>
                  <a:pt x="15469" y="8781"/>
                </a:cubicBezTo>
                <a:cubicBezTo>
                  <a:pt x="15438" y="8750"/>
                  <a:pt x="15438" y="8750"/>
                  <a:pt x="15406" y="8750"/>
                </a:cubicBezTo>
                <a:cubicBezTo>
                  <a:pt x="15438" y="8750"/>
                  <a:pt x="15438" y="8750"/>
                  <a:pt x="15469" y="8781"/>
                </a:cubicBezTo>
                <a:cubicBezTo>
                  <a:pt x="15531" y="8812"/>
                  <a:pt x="15594" y="8812"/>
                  <a:pt x="15656" y="8843"/>
                </a:cubicBezTo>
                <a:cubicBezTo>
                  <a:pt x="15656" y="8843"/>
                  <a:pt x="15656" y="8843"/>
                  <a:pt x="15656" y="8843"/>
                </a:cubicBezTo>
                <a:cubicBezTo>
                  <a:pt x="15594" y="8906"/>
                  <a:pt x="15594" y="8937"/>
                  <a:pt x="15656" y="8968"/>
                </a:cubicBezTo>
                <a:cubicBezTo>
                  <a:pt x="15656" y="9000"/>
                  <a:pt x="15656" y="9000"/>
                  <a:pt x="15688" y="9031"/>
                </a:cubicBezTo>
                <a:cubicBezTo>
                  <a:pt x="15656" y="9062"/>
                  <a:pt x="15719" y="9125"/>
                  <a:pt x="15625" y="9125"/>
                </a:cubicBezTo>
                <a:cubicBezTo>
                  <a:pt x="15594" y="9062"/>
                  <a:pt x="15563" y="9000"/>
                  <a:pt x="15531" y="8906"/>
                </a:cubicBezTo>
                <a:cubicBezTo>
                  <a:pt x="15500" y="8875"/>
                  <a:pt x="15469" y="8843"/>
                  <a:pt x="15438" y="8812"/>
                </a:cubicBezTo>
                <a:cubicBezTo>
                  <a:pt x="15406" y="8812"/>
                  <a:pt x="15375" y="8843"/>
                  <a:pt x="15344" y="8843"/>
                </a:cubicBezTo>
                <a:cubicBezTo>
                  <a:pt x="15375" y="8843"/>
                  <a:pt x="15406" y="8812"/>
                  <a:pt x="15438" y="8812"/>
                </a:cubicBezTo>
                <a:close/>
                <a:moveTo>
                  <a:pt x="15375" y="9343"/>
                </a:move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75" y="9343"/>
                  <a:pt x="15375" y="9343"/>
                </a:cubicBezTo>
                <a:cubicBezTo>
                  <a:pt x="15375" y="9343"/>
                  <a:pt x="15344" y="9343"/>
                  <a:pt x="15344" y="9312"/>
                </a:cubicBezTo>
                <a:cubicBezTo>
                  <a:pt x="15344" y="9312"/>
                  <a:pt x="15344" y="9281"/>
                  <a:pt x="15344" y="9281"/>
                </a:cubicBezTo>
                <a:cubicBezTo>
                  <a:pt x="15313" y="9281"/>
                  <a:pt x="15313" y="9281"/>
                  <a:pt x="15281" y="9281"/>
                </a:cubicBezTo>
                <a:cubicBezTo>
                  <a:pt x="15313" y="9281"/>
                  <a:pt x="15313" y="9281"/>
                  <a:pt x="15344" y="9281"/>
                </a:cubicBezTo>
                <a:cubicBezTo>
                  <a:pt x="15375" y="9281"/>
                  <a:pt x="15406" y="9281"/>
                  <a:pt x="15375" y="9343"/>
                </a:cubicBezTo>
                <a:close/>
                <a:moveTo>
                  <a:pt x="15313" y="7093"/>
                </a:moveTo>
                <a:cubicBezTo>
                  <a:pt x="15281" y="7093"/>
                  <a:pt x="15281" y="7093"/>
                  <a:pt x="15281" y="7062"/>
                </a:cubicBezTo>
                <a:cubicBezTo>
                  <a:pt x="15281" y="7031"/>
                  <a:pt x="15281" y="7031"/>
                  <a:pt x="15313" y="7031"/>
                </a:cubicBezTo>
                <a:cubicBezTo>
                  <a:pt x="15344" y="7031"/>
                  <a:pt x="15344" y="7031"/>
                  <a:pt x="15344" y="7062"/>
                </a:cubicBezTo>
                <a:cubicBezTo>
                  <a:pt x="15344" y="7062"/>
                  <a:pt x="15344" y="7093"/>
                  <a:pt x="15313" y="7093"/>
                </a:cubicBezTo>
                <a:close/>
                <a:moveTo>
                  <a:pt x="15094" y="7156"/>
                </a:moveTo>
                <a:cubicBezTo>
                  <a:pt x="15125" y="7156"/>
                  <a:pt x="15125" y="7125"/>
                  <a:pt x="15156" y="7125"/>
                </a:cubicBezTo>
                <a:cubicBezTo>
                  <a:pt x="15156" y="7156"/>
                  <a:pt x="15188" y="7156"/>
                  <a:pt x="15156" y="7187"/>
                </a:cubicBezTo>
                <a:cubicBezTo>
                  <a:pt x="15125" y="7218"/>
                  <a:pt x="15219" y="7281"/>
                  <a:pt x="15156" y="7343"/>
                </a:cubicBezTo>
                <a:cubicBezTo>
                  <a:pt x="15125" y="7343"/>
                  <a:pt x="15125" y="7343"/>
                  <a:pt x="15094" y="7343"/>
                </a:cubicBezTo>
                <a:cubicBezTo>
                  <a:pt x="15125" y="7281"/>
                  <a:pt x="15094" y="7218"/>
                  <a:pt x="15094" y="7156"/>
                </a:cubicBezTo>
                <a:close/>
                <a:moveTo>
                  <a:pt x="15406" y="6281"/>
                </a:moveTo>
                <a:cubicBezTo>
                  <a:pt x="15375" y="6312"/>
                  <a:pt x="15375" y="6281"/>
                  <a:pt x="15375" y="6281"/>
                </a:cubicBezTo>
                <a:cubicBezTo>
                  <a:pt x="15375" y="6250"/>
                  <a:pt x="15375" y="6250"/>
                  <a:pt x="15375" y="6250"/>
                </a:cubicBezTo>
                <a:cubicBezTo>
                  <a:pt x="15406" y="6218"/>
                  <a:pt x="15406" y="6250"/>
                  <a:pt x="15406" y="6281"/>
                </a:cubicBezTo>
                <a:cubicBezTo>
                  <a:pt x="15406" y="6281"/>
                  <a:pt x="15406" y="6281"/>
                  <a:pt x="15406" y="6281"/>
                </a:cubicBezTo>
                <a:close/>
                <a:moveTo>
                  <a:pt x="15125" y="6000"/>
                </a:moveTo>
                <a:cubicBezTo>
                  <a:pt x="15219" y="6031"/>
                  <a:pt x="15219" y="6000"/>
                  <a:pt x="15250" y="5937"/>
                </a:cubicBezTo>
                <a:cubicBezTo>
                  <a:pt x="15250" y="5937"/>
                  <a:pt x="15281" y="5937"/>
                  <a:pt x="15281" y="5937"/>
                </a:cubicBezTo>
                <a:cubicBezTo>
                  <a:pt x="15344" y="5937"/>
                  <a:pt x="15406" y="5875"/>
                  <a:pt x="15469" y="5937"/>
                </a:cubicBezTo>
                <a:cubicBezTo>
                  <a:pt x="15469" y="6000"/>
                  <a:pt x="15438" y="6031"/>
                  <a:pt x="15438" y="6093"/>
                </a:cubicBezTo>
                <a:cubicBezTo>
                  <a:pt x="15438" y="6125"/>
                  <a:pt x="15406" y="6156"/>
                  <a:pt x="15375" y="6125"/>
                </a:cubicBezTo>
                <a:cubicBezTo>
                  <a:pt x="15344" y="6125"/>
                  <a:pt x="15344" y="6125"/>
                  <a:pt x="15313" y="6125"/>
                </a:cubicBezTo>
                <a:cubicBezTo>
                  <a:pt x="15313" y="6156"/>
                  <a:pt x="15313" y="6156"/>
                  <a:pt x="15344" y="6187"/>
                </a:cubicBezTo>
                <a:cubicBezTo>
                  <a:pt x="15375" y="6250"/>
                  <a:pt x="15375" y="6250"/>
                  <a:pt x="15281" y="6250"/>
                </a:cubicBezTo>
                <a:cubicBezTo>
                  <a:pt x="15219" y="6218"/>
                  <a:pt x="15125" y="6250"/>
                  <a:pt x="15063" y="6156"/>
                </a:cubicBezTo>
                <a:cubicBezTo>
                  <a:pt x="15000" y="6093"/>
                  <a:pt x="15063" y="6000"/>
                  <a:pt x="15125" y="6000"/>
                </a:cubicBezTo>
                <a:close/>
                <a:moveTo>
                  <a:pt x="15031" y="6593"/>
                </a:moveTo>
                <a:cubicBezTo>
                  <a:pt x="15031" y="6625"/>
                  <a:pt x="15063" y="6625"/>
                  <a:pt x="15063" y="6656"/>
                </a:cubicBezTo>
                <a:cubicBezTo>
                  <a:pt x="15031" y="6656"/>
                  <a:pt x="15000" y="6656"/>
                  <a:pt x="15000" y="6656"/>
                </a:cubicBezTo>
                <a:cubicBezTo>
                  <a:pt x="14969" y="6656"/>
                  <a:pt x="14969" y="6687"/>
                  <a:pt x="14938" y="6687"/>
                </a:cubicBezTo>
                <a:cubicBezTo>
                  <a:pt x="14969" y="6687"/>
                  <a:pt x="14969" y="6656"/>
                  <a:pt x="15000" y="6656"/>
                </a:cubicBezTo>
                <a:cubicBezTo>
                  <a:pt x="15000" y="6625"/>
                  <a:pt x="14969" y="6593"/>
                  <a:pt x="15000" y="6562"/>
                </a:cubicBezTo>
                <a:cubicBezTo>
                  <a:pt x="15000" y="6562"/>
                  <a:pt x="15031" y="6562"/>
                  <a:pt x="15031" y="6562"/>
                </a:cubicBezTo>
                <a:cubicBezTo>
                  <a:pt x="15031" y="6593"/>
                  <a:pt x="15031" y="6593"/>
                  <a:pt x="15031" y="6593"/>
                </a:cubicBezTo>
                <a:close/>
                <a:moveTo>
                  <a:pt x="15000" y="6406"/>
                </a:moveTo>
                <a:cubicBezTo>
                  <a:pt x="15000" y="6406"/>
                  <a:pt x="15000" y="6406"/>
                  <a:pt x="15000" y="6406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37"/>
                  <a:pt x="15000" y="6437"/>
                  <a:pt x="15000" y="6468"/>
                </a:cubicBezTo>
                <a:cubicBezTo>
                  <a:pt x="15000" y="6437"/>
                  <a:pt x="15000" y="6437"/>
                  <a:pt x="15000" y="6437"/>
                </a:cubicBezTo>
                <a:cubicBezTo>
                  <a:pt x="15000" y="6468"/>
                  <a:pt x="15000" y="6500"/>
                  <a:pt x="15000" y="6531"/>
                </a:cubicBezTo>
                <a:cubicBezTo>
                  <a:pt x="14938" y="6531"/>
                  <a:pt x="14938" y="6500"/>
                  <a:pt x="14938" y="6468"/>
                </a:cubicBezTo>
                <a:cubicBezTo>
                  <a:pt x="14938" y="6437"/>
                  <a:pt x="14938" y="6406"/>
                  <a:pt x="15000" y="6406"/>
                </a:cubicBezTo>
                <a:close/>
                <a:moveTo>
                  <a:pt x="14844" y="3562"/>
                </a:moveTo>
                <a:cubicBezTo>
                  <a:pt x="14844" y="3593"/>
                  <a:pt x="14813" y="3625"/>
                  <a:pt x="14844" y="3625"/>
                </a:cubicBezTo>
                <a:cubicBezTo>
                  <a:pt x="14875" y="3625"/>
                  <a:pt x="14875" y="3531"/>
                  <a:pt x="14938" y="3593"/>
                </a:cubicBezTo>
                <a:cubicBezTo>
                  <a:pt x="14938" y="3625"/>
                  <a:pt x="15000" y="3593"/>
                  <a:pt x="15000" y="3656"/>
                </a:cubicBezTo>
                <a:cubicBezTo>
                  <a:pt x="14969" y="3718"/>
                  <a:pt x="14938" y="3781"/>
                  <a:pt x="14875" y="3812"/>
                </a:cubicBezTo>
                <a:cubicBezTo>
                  <a:pt x="14813" y="3843"/>
                  <a:pt x="14813" y="3781"/>
                  <a:pt x="14813" y="3750"/>
                </a:cubicBezTo>
                <a:cubicBezTo>
                  <a:pt x="14813" y="3750"/>
                  <a:pt x="14844" y="3718"/>
                  <a:pt x="14781" y="3687"/>
                </a:cubicBezTo>
                <a:cubicBezTo>
                  <a:pt x="14750" y="3687"/>
                  <a:pt x="14750" y="3687"/>
                  <a:pt x="14750" y="3656"/>
                </a:cubicBezTo>
                <a:cubicBezTo>
                  <a:pt x="14750" y="3593"/>
                  <a:pt x="14719" y="3500"/>
                  <a:pt x="14844" y="3562"/>
                </a:cubicBezTo>
                <a:close/>
                <a:moveTo>
                  <a:pt x="14688" y="5250"/>
                </a:moveTo>
                <a:cubicBezTo>
                  <a:pt x="14719" y="5218"/>
                  <a:pt x="14750" y="5218"/>
                  <a:pt x="14750" y="5187"/>
                </a:cubicBezTo>
                <a:cubicBezTo>
                  <a:pt x="14750" y="5156"/>
                  <a:pt x="14750" y="5156"/>
                  <a:pt x="14781" y="5156"/>
                </a:cubicBezTo>
                <a:cubicBezTo>
                  <a:pt x="14813" y="5156"/>
                  <a:pt x="14813" y="5187"/>
                  <a:pt x="14813" y="5187"/>
                </a:cubicBezTo>
                <a:cubicBezTo>
                  <a:pt x="14813" y="5218"/>
                  <a:pt x="14813" y="5250"/>
                  <a:pt x="14813" y="5281"/>
                </a:cubicBezTo>
                <a:cubicBezTo>
                  <a:pt x="14813" y="5312"/>
                  <a:pt x="14813" y="5343"/>
                  <a:pt x="14781" y="5375"/>
                </a:cubicBezTo>
                <a:cubicBezTo>
                  <a:pt x="14781" y="5375"/>
                  <a:pt x="14750" y="5406"/>
                  <a:pt x="14750" y="5375"/>
                </a:cubicBezTo>
                <a:cubicBezTo>
                  <a:pt x="14719" y="5343"/>
                  <a:pt x="14656" y="5312"/>
                  <a:pt x="14688" y="5250"/>
                </a:cubicBezTo>
                <a:close/>
                <a:moveTo>
                  <a:pt x="14813" y="6000"/>
                </a:moveTo>
                <a:cubicBezTo>
                  <a:pt x="14750" y="6000"/>
                  <a:pt x="14781" y="5968"/>
                  <a:pt x="14781" y="5937"/>
                </a:cubicBezTo>
                <a:cubicBezTo>
                  <a:pt x="14813" y="5937"/>
                  <a:pt x="14813" y="5968"/>
                  <a:pt x="14813" y="6000"/>
                </a:cubicBezTo>
                <a:close/>
                <a:moveTo>
                  <a:pt x="14688" y="3625"/>
                </a:moveTo>
                <a:cubicBezTo>
                  <a:pt x="14688" y="3625"/>
                  <a:pt x="14688" y="3625"/>
                  <a:pt x="14688" y="3625"/>
                </a:cubicBezTo>
                <a:cubicBezTo>
                  <a:pt x="14688" y="3625"/>
                  <a:pt x="14688" y="3656"/>
                  <a:pt x="14688" y="3656"/>
                </a:cubicBezTo>
                <a:cubicBezTo>
                  <a:pt x="14688" y="3656"/>
                  <a:pt x="14688" y="3625"/>
                  <a:pt x="14688" y="3625"/>
                </a:cubicBezTo>
                <a:close/>
                <a:moveTo>
                  <a:pt x="14844" y="2562"/>
                </a:moveTo>
                <a:cubicBezTo>
                  <a:pt x="14875" y="2593"/>
                  <a:pt x="14813" y="2625"/>
                  <a:pt x="14781" y="2625"/>
                </a:cubicBezTo>
                <a:cubicBezTo>
                  <a:pt x="14719" y="2625"/>
                  <a:pt x="14688" y="2593"/>
                  <a:pt x="14688" y="2562"/>
                </a:cubicBezTo>
                <a:cubicBezTo>
                  <a:pt x="14688" y="2500"/>
                  <a:pt x="14719" y="2468"/>
                  <a:pt x="14750" y="2468"/>
                </a:cubicBezTo>
                <a:cubicBezTo>
                  <a:pt x="14813" y="2468"/>
                  <a:pt x="14844" y="2531"/>
                  <a:pt x="14844" y="2562"/>
                </a:cubicBezTo>
                <a:close/>
                <a:moveTo>
                  <a:pt x="14656" y="2281"/>
                </a:moveTo>
                <a:cubicBezTo>
                  <a:pt x="14656" y="2281"/>
                  <a:pt x="14656" y="2250"/>
                  <a:pt x="14656" y="2250"/>
                </a:cubicBezTo>
                <a:cubicBezTo>
                  <a:pt x="14688" y="2250"/>
                  <a:pt x="14688" y="2156"/>
                  <a:pt x="14750" y="2187"/>
                </a:cubicBezTo>
                <a:cubicBezTo>
                  <a:pt x="14750" y="2218"/>
                  <a:pt x="14781" y="2218"/>
                  <a:pt x="14781" y="2250"/>
                </a:cubicBezTo>
                <a:cubicBezTo>
                  <a:pt x="14781" y="2281"/>
                  <a:pt x="14750" y="2343"/>
                  <a:pt x="14688" y="2343"/>
                </a:cubicBezTo>
                <a:cubicBezTo>
                  <a:pt x="14688" y="2343"/>
                  <a:pt x="14688" y="2312"/>
                  <a:pt x="14688" y="2312"/>
                </a:cubicBezTo>
                <a:cubicBezTo>
                  <a:pt x="14688" y="2312"/>
                  <a:pt x="14688" y="2312"/>
                  <a:pt x="14688" y="2312"/>
                </a:cubicBezTo>
                <a:cubicBezTo>
                  <a:pt x="14656" y="2312"/>
                  <a:pt x="14656" y="2312"/>
                  <a:pt x="14656" y="2312"/>
                </a:cubicBezTo>
                <a:cubicBezTo>
                  <a:pt x="14656" y="2312"/>
                  <a:pt x="14656" y="2312"/>
                  <a:pt x="14656" y="2281"/>
                </a:cubicBezTo>
                <a:cubicBezTo>
                  <a:pt x="14625" y="2281"/>
                  <a:pt x="14594" y="2281"/>
                  <a:pt x="14594" y="2281"/>
                </a:cubicBezTo>
                <a:cubicBezTo>
                  <a:pt x="14594" y="2281"/>
                  <a:pt x="14625" y="2281"/>
                  <a:pt x="14656" y="2281"/>
                </a:cubicBezTo>
                <a:close/>
                <a:moveTo>
                  <a:pt x="14563" y="5218"/>
                </a:moveTo>
                <a:cubicBezTo>
                  <a:pt x="14594" y="5156"/>
                  <a:pt x="14625" y="5156"/>
                  <a:pt x="14625" y="5093"/>
                </a:cubicBezTo>
                <a:cubicBezTo>
                  <a:pt x="14625" y="5062"/>
                  <a:pt x="14625" y="5031"/>
                  <a:pt x="14656" y="5062"/>
                </a:cubicBezTo>
                <a:cubicBezTo>
                  <a:pt x="14656" y="5062"/>
                  <a:pt x="14656" y="5093"/>
                  <a:pt x="14656" y="5093"/>
                </a:cubicBezTo>
                <a:cubicBezTo>
                  <a:pt x="14656" y="5156"/>
                  <a:pt x="14750" y="5218"/>
                  <a:pt x="14625" y="5218"/>
                </a:cubicBezTo>
                <a:cubicBezTo>
                  <a:pt x="14656" y="5281"/>
                  <a:pt x="14594" y="5375"/>
                  <a:pt x="14625" y="5437"/>
                </a:cubicBezTo>
                <a:cubicBezTo>
                  <a:pt x="14656" y="5437"/>
                  <a:pt x="14656" y="5468"/>
                  <a:pt x="14656" y="5468"/>
                </a:cubicBezTo>
                <a:cubicBezTo>
                  <a:pt x="14656" y="5500"/>
                  <a:pt x="14656" y="5500"/>
                  <a:pt x="14688" y="5531"/>
                </a:cubicBezTo>
                <a:cubicBezTo>
                  <a:pt x="14656" y="5500"/>
                  <a:pt x="14656" y="5500"/>
                  <a:pt x="14656" y="5468"/>
                </a:cubicBezTo>
                <a:cubicBezTo>
                  <a:pt x="14594" y="5562"/>
                  <a:pt x="14656" y="5593"/>
                  <a:pt x="14688" y="5656"/>
                </a:cubicBezTo>
                <a:cubicBezTo>
                  <a:pt x="14719" y="5750"/>
                  <a:pt x="14688" y="5875"/>
                  <a:pt x="14781" y="5937"/>
                </a:cubicBezTo>
                <a:cubicBezTo>
                  <a:pt x="14781" y="5937"/>
                  <a:pt x="14781" y="5937"/>
                  <a:pt x="14781" y="5937"/>
                </a:cubicBezTo>
                <a:cubicBezTo>
                  <a:pt x="14750" y="6000"/>
                  <a:pt x="14719" y="6062"/>
                  <a:pt x="14781" y="6093"/>
                </a:cubicBezTo>
                <a:cubicBezTo>
                  <a:pt x="14813" y="6125"/>
                  <a:pt x="14781" y="6125"/>
                  <a:pt x="14750" y="6125"/>
                </a:cubicBezTo>
                <a:cubicBezTo>
                  <a:pt x="14750" y="6156"/>
                  <a:pt x="14750" y="6156"/>
                  <a:pt x="14781" y="6156"/>
                </a:cubicBezTo>
                <a:cubicBezTo>
                  <a:pt x="14781" y="6156"/>
                  <a:pt x="14813" y="6156"/>
                  <a:pt x="14813" y="6187"/>
                </a:cubicBezTo>
                <a:cubicBezTo>
                  <a:pt x="14813" y="6156"/>
                  <a:pt x="14781" y="6156"/>
                  <a:pt x="14781" y="6156"/>
                </a:cubicBezTo>
                <a:cubicBezTo>
                  <a:pt x="14813" y="6281"/>
                  <a:pt x="14813" y="6375"/>
                  <a:pt x="14875" y="6500"/>
                </a:cubicBezTo>
                <a:cubicBezTo>
                  <a:pt x="14875" y="6562"/>
                  <a:pt x="14844" y="6625"/>
                  <a:pt x="14906" y="6687"/>
                </a:cubicBezTo>
                <a:cubicBezTo>
                  <a:pt x="14906" y="6687"/>
                  <a:pt x="14906" y="6687"/>
                  <a:pt x="14938" y="6687"/>
                </a:cubicBezTo>
                <a:cubicBezTo>
                  <a:pt x="14938" y="6750"/>
                  <a:pt x="14938" y="6812"/>
                  <a:pt x="15000" y="6812"/>
                </a:cubicBezTo>
                <a:cubicBezTo>
                  <a:pt x="15031" y="6812"/>
                  <a:pt x="15000" y="6843"/>
                  <a:pt x="15000" y="6843"/>
                </a:cubicBezTo>
                <a:cubicBezTo>
                  <a:pt x="15000" y="6875"/>
                  <a:pt x="15000" y="6875"/>
                  <a:pt x="15000" y="6875"/>
                </a:cubicBezTo>
                <a:cubicBezTo>
                  <a:pt x="15000" y="6875"/>
                  <a:pt x="15000" y="6875"/>
                  <a:pt x="15000" y="6843"/>
                </a:cubicBezTo>
                <a:cubicBezTo>
                  <a:pt x="14938" y="6843"/>
                  <a:pt x="14938" y="6843"/>
                  <a:pt x="14938" y="6906"/>
                </a:cubicBezTo>
                <a:cubicBezTo>
                  <a:pt x="14969" y="7031"/>
                  <a:pt x="15063" y="7156"/>
                  <a:pt x="15063" y="7281"/>
                </a:cubicBezTo>
                <a:cubicBezTo>
                  <a:pt x="15063" y="7312"/>
                  <a:pt x="15094" y="7312"/>
                  <a:pt x="15094" y="7343"/>
                </a:cubicBezTo>
                <a:cubicBezTo>
                  <a:pt x="15125" y="7343"/>
                  <a:pt x="15125" y="7375"/>
                  <a:pt x="15094" y="7406"/>
                </a:cubicBezTo>
                <a:cubicBezTo>
                  <a:pt x="15094" y="7437"/>
                  <a:pt x="15094" y="7468"/>
                  <a:pt x="15156" y="7437"/>
                </a:cubicBezTo>
                <a:cubicBezTo>
                  <a:pt x="15094" y="7531"/>
                  <a:pt x="15094" y="7531"/>
                  <a:pt x="15156" y="7593"/>
                </a:cubicBezTo>
                <a:cubicBezTo>
                  <a:pt x="15063" y="7625"/>
                  <a:pt x="15063" y="7562"/>
                  <a:pt x="15031" y="7500"/>
                </a:cubicBezTo>
                <a:cubicBezTo>
                  <a:pt x="14969" y="7375"/>
                  <a:pt x="15000" y="7250"/>
                  <a:pt x="14938" y="7156"/>
                </a:cubicBezTo>
                <a:cubicBezTo>
                  <a:pt x="14938" y="7156"/>
                  <a:pt x="14938" y="7156"/>
                  <a:pt x="14938" y="7156"/>
                </a:cubicBezTo>
                <a:cubicBezTo>
                  <a:pt x="14938" y="7031"/>
                  <a:pt x="14875" y="6937"/>
                  <a:pt x="14875" y="6812"/>
                </a:cubicBezTo>
                <a:cubicBezTo>
                  <a:pt x="14875" y="6812"/>
                  <a:pt x="14875" y="6812"/>
                  <a:pt x="14875" y="6812"/>
                </a:cubicBezTo>
                <a:cubicBezTo>
                  <a:pt x="14750" y="6812"/>
                  <a:pt x="14813" y="6687"/>
                  <a:pt x="14750" y="6656"/>
                </a:cubicBezTo>
                <a:cubicBezTo>
                  <a:pt x="14750" y="6656"/>
                  <a:pt x="14750" y="6625"/>
                  <a:pt x="14750" y="6625"/>
                </a:cubicBezTo>
                <a:cubicBezTo>
                  <a:pt x="14844" y="6593"/>
                  <a:pt x="14781" y="6531"/>
                  <a:pt x="14781" y="6500"/>
                </a:cubicBezTo>
                <a:cubicBezTo>
                  <a:pt x="14750" y="6437"/>
                  <a:pt x="14750" y="6375"/>
                  <a:pt x="14750" y="6312"/>
                </a:cubicBezTo>
                <a:cubicBezTo>
                  <a:pt x="14750" y="6281"/>
                  <a:pt x="14750" y="6218"/>
                  <a:pt x="14688" y="6187"/>
                </a:cubicBezTo>
                <a:cubicBezTo>
                  <a:pt x="14688" y="6218"/>
                  <a:pt x="14688" y="6250"/>
                  <a:pt x="14688" y="6250"/>
                </a:cubicBezTo>
                <a:cubicBezTo>
                  <a:pt x="14688" y="6250"/>
                  <a:pt x="14688" y="6218"/>
                  <a:pt x="14688" y="6187"/>
                </a:cubicBezTo>
                <a:cubicBezTo>
                  <a:pt x="14688" y="6156"/>
                  <a:pt x="14688" y="6125"/>
                  <a:pt x="14688" y="6093"/>
                </a:cubicBezTo>
                <a:cubicBezTo>
                  <a:pt x="14656" y="6093"/>
                  <a:pt x="14625" y="6062"/>
                  <a:pt x="14625" y="6062"/>
                </a:cubicBezTo>
                <a:cubicBezTo>
                  <a:pt x="14625" y="6031"/>
                  <a:pt x="14625" y="6031"/>
                  <a:pt x="14625" y="6031"/>
                </a:cubicBezTo>
                <a:cubicBezTo>
                  <a:pt x="14656" y="6031"/>
                  <a:pt x="14656" y="6000"/>
                  <a:pt x="14656" y="6000"/>
                </a:cubicBezTo>
                <a:cubicBezTo>
                  <a:pt x="14656" y="5968"/>
                  <a:pt x="14656" y="5968"/>
                  <a:pt x="14625" y="5968"/>
                </a:cubicBezTo>
                <a:cubicBezTo>
                  <a:pt x="14625" y="5968"/>
                  <a:pt x="14625" y="6000"/>
                  <a:pt x="14625" y="6000"/>
                </a:cubicBezTo>
                <a:cubicBezTo>
                  <a:pt x="14594" y="6000"/>
                  <a:pt x="14563" y="6000"/>
                  <a:pt x="14563" y="5968"/>
                </a:cubicBezTo>
                <a:cubicBezTo>
                  <a:pt x="14531" y="5968"/>
                  <a:pt x="14469" y="5937"/>
                  <a:pt x="14438" y="5937"/>
                </a:cubicBezTo>
                <a:cubicBezTo>
                  <a:pt x="14438" y="5937"/>
                  <a:pt x="14438" y="5937"/>
                  <a:pt x="14438" y="5937"/>
                </a:cubicBezTo>
                <a:cubicBezTo>
                  <a:pt x="14406" y="5937"/>
                  <a:pt x="14375" y="5937"/>
                  <a:pt x="14375" y="5937"/>
                </a:cubicBezTo>
                <a:cubicBezTo>
                  <a:pt x="14375" y="5968"/>
                  <a:pt x="14406" y="5968"/>
                  <a:pt x="14406" y="6000"/>
                </a:cubicBezTo>
                <a:cubicBezTo>
                  <a:pt x="14406" y="5968"/>
                  <a:pt x="14375" y="5968"/>
                  <a:pt x="14375" y="5937"/>
                </a:cubicBezTo>
                <a:cubicBezTo>
                  <a:pt x="14344" y="5937"/>
                  <a:pt x="14344" y="5875"/>
                  <a:pt x="14313" y="5875"/>
                </a:cubicBezTo>
                <a:cubicBezTo>
                  <a:pt x="14281" y="5812"/>
                  <a:pt x="14313" y="5750"/>
                  <a:pt x="14344" y="5718"/>
                </a:cubicBezTo>
                <a:cubicBezTo>
                  <a:pt x="14344" y="5687"/>
                  <a:pt x="14406" y="5656"/>
                  <a:pt x="14438" y="5718"/>
                </a:cubicBezTo>
                <a:cubicBezTo>
                  <a:pt x="14438" y="5781"/>
                  <a:pt x="14438" y="5875"/>
                  <a:pt x="14438" y="5937"/>
                </a:cubicBezTo>
                <a:cubicBezTo>
                  <a:pt x="14469" y="5937"/>
                  <a:pt x="14531" y="5968"/>
                  <a:pt x="14563" y="5968"/>
                </a:cubicBezTo>
                <a:cubicBezTo>
                  <a:pt x="14563" y="5968"/>
                  <a:pt x="14563" y="5937"/>
                  <a:pt x="14563" y="5937"/>
                </a:cubicBezTo>
                <a:cubicBezTo>
                  <a:pt x="14563" y="5937"/>
                  <a:pt x="14563" y="5937"/>
                  <a:pt x="14563" y="5937"/>
                </a:cubicBezTo>
                <a:cubicBezTo>
                  <a:pt x="14656" y="5875"/>
                  <a:pt x="14656" y="5781"/>
                  <a:pt x="14594" y="5656"/>
                </a:cubicBezTo>
                <a:cubicBezTo>
                  <a:pt x="14594" y="5625"/>
                  <a:pt x="14563" y="5562"/>
                  <a:pt x="14563" y="5531"/>
                </a:cubicBezTo>
                <a:cubicBezTo>
                  <a:pt x="14563" y="5500"/>
                  <a:pt x="14563" y="5500"/>
                  <a:pt x="14563" y="5500"/>
                </a:cubicBezTo>
                <a:cubicBezTo>
                  <a:pt x="14469" y="5437"/>
                  <a:pt x="14531" y="5343"/>
                  <a:pt x="14500" y="5281"/>
                </a:cubicBezTo>
                <a:cubicBezTo>
                  <a:pt x="14438" y="5187"/>
                  <a:pt x="14531" y="5062"/>
                  <a:pt x="14469" y="4968"/>
                </a:cubicBezTo>
                <a:cubicBezTo>
                  <a:pt x="14469" y="4937"/>
                  <a:pt x="14469" y="4906"/>
                  <a:pt x="14438" y="4906"/>
                </a:cubicBezTo>
                <a:cubicBezTo>
                  <a:pt x="14375" y="4875"/>
                  <a:pt x="14406" y="4843"/>
                  <a:pt x="14406" y="4812"/>
                </a:cubicBezTo>
                <a:cubicBezTo>
                  <a:pt x="14406" y="4781"/>
                  <a:pt x="14438" y="4750"/>
                  <a:pt x="14469" y="4781"/>
                </a:cubicBezTo>
                <a:cubicBezTo>
                  <a:pt x="14500" y="4812"/>
                  <a:pt x="14531" y="4812"/>
                  <a:pt x="14500" y="4875"/>
                </a:cubicBezTo>
                <a:cubicBezTo>
                  <a:pt x="14500" y="4875"/>
                  <a:pt x="14500" y="4875"/>
                  <a:pt x="14500" y="4906"/>
                </a:cubicBezTo>
                <a:cubicBezTo>
                  <a:pt x="14531" y="5000"/>
                  <a:pt x="14563" y="5093"/>
                  <a:pt x="14563" y="5218"/>
                </a:cubicBezTo>
                <a:close/>
                <a:moveTo>
                  <a:pt x="14281" y="7093"/>
                </a:moveTo>
                <a:cubicBezTo>
                  <a:pt x="14313" y="7093"/>
                  <a:pt x="14313" y="7125"/>
                  <a:pt x="14313" y="7125"/>
                </a:cubicBezTo>
                <a:cubicBezTo>
                  <a:pt x="14313" y="7125"/>
                  <a:pt x="14344" y="7125"/>
                  <a:pt x="14344" y="7125"/>
                </a:cubicBezTo>
                <a:cubicBezTo>
                  <a:pt x="14313" y="7062"/>
                  <a:pt x="14406" y="7062"/>
                  <a:pt x="14406" y="7000"/>
                </a:cubicBezTo>
                <a:cubicBezTo>
                  <a:pt x="14469" y="7000"/>
                  <a:pt x="14469" y="7031"/>
                  <a:pt x="14469" y="7093"/>
                </a:cubicBezTo>
                <a:cubicBezTo>
                  <a:pt x="14469" y="7156"/>
                  <a:pt x="14469" y="7250"/>
                  <a:pt x="14469" y="7312"/>
                </a:cubicBezTo>
                <a:cubicBezTo>
                  <a:pt x="14469" y="7343"/>
                  <a:pt x="14406" y="7312"/>
                  <a:pt x="14375" y="7375"/>
                </a:cubicBezTo>
                <a:cubicBezTo>
                  <a:pt x="14344" y="7281"/>
                  <a:pt x="14281" y="7218"/>
                  <a:pt x="14313" y="7125"/>
                </a:cubicBezTo>
                <a:cubicBezTo>
                  <a:pt x="14313" y="7125"/>
                  <a:pt x="14313" y="7093"/>
                  <a:pt x="14281" y="7093"/>
                </a:cubicBezTo>
                <a:close/>
                <a:moveTo>
                  <a:pt x="14438" y="6781"/>
                </a:moveTo>
                <a:cubicBezTo>
                  <a:pt x="14406" y="6687"/>
                  <a:pt x="14375" y="6593"/>
                  <a:pt x="14344" y="6500"/>
                </a:cubicBezTo>
                <a:cubicBezTo>
                  <a:pt x="14313" y="6468"/>
                  <a:pt x="14313" y="6437"/>
                  <a:pt x="14375" y="6437"/>
                </a:cubicBezTo>
                <a:cubicBezTo>
                  <a:pt x="14406" y="6531"/>
                  <a:pt x="14469" y="6625"/>
                  <a:pt x="14469" y="6718"/>
                </a:cubicBezTo>
                <a:cubicBezTo>
                  <a:pt x="14469" y="6750"/>
                  <a:pt x="14438" y="6750"/>
                  <a:pt x="14438" y="6781"/>
                </a:cubicBezTo>
                <a:close/>
                <a:moveTo>
                  <a:pt x="14500" y="8906"/>
                </a:moveTo>
                <a:cubicBezTo>
                  <a:pt x="14438" y="8906"/>
                  <a:pt x="14375" y="8906"/>
                  <a:pt x="14313" y="8968"/>
                </a:cubicBezTo>
                <a:cubicBezTo>
                  <a:pt x="14313" y="8968"/>
                  <a:pt x="14313" y="8968"/>
                  <a:pt x="14313" y="8968"/>
                </a:cubicBezTo>
                <a:cubicBezTo>
                  <a:pt x="14375" y="8906"/>
                  <a:pt x="14438" y="8906"/>
                  <a:pt x="14500" y="8906"/>
                </a:cubicBezTo>
                <a:close/>
                <a:moveTo>
                  <a:pt x="14250" y="4468"/>
                </a:moveTo>
                <a:cubicBezTo>
                  <a:pt x="14250" y="4500"/>
                  <a:pt x="14250" y="4531"/>
                  <a:pt x="14250" y="4531"/>
                </a:cubicBezTo>
                <a:cubicBezTo>
                  <a:pt x="14250" y="4531"/>
                  <a:pt x="14250" y="4500"/>
                  <a:pt x="14250" y="4468"/>
                </a:cubicBezTo>
                <a:cubicBezTo>
                  <a:pt x="14281" y="4406"/>
                  <a:pt x="14281" y="4375"/>
                  <a:pt x="14281" y="4312"/>
                </a:cubicBezTo>
                <a:cubicBezTo>
                  <a:pt x="14281" y="4281"/>
                  <a:pt x="14281" y="4250"/>
                  <a:pt x="14219" y="4250"/>
                </a:cubicBezTo>
                <a:cubicBezTo>
                  <a:pt x="14313" y="4187"/>
                  <a:pt x="14344" y="4156"/>
                  <a:pt x="14313" y="4062"/>
                </a:cubicBezTo>
                <a:cubicBezTo>
                  <a:pt x="14313" y="4125"/>
                  <a:pt x="14281" y="4125"/>
                  <a:pt x="14250" y="4125"/>
                </a:cubicBezTo>
                <a:cubicBezTo>
                  <a:pt x="14281" y="4125"/>
                  <a:pt x="14313" y="4125"/>
                  <a:pt x="14313" y="4062"/>
                </a:cubicBezTo>
                <a:cubicBezTo>
                  <a:pt x="14313" y="3968"/>
                  <a:pt x="14344" y="3875"/>
                  <a:pt x="14281" y="3781"/>
                </a:cubicBezTo>
                <a:cubicBezTo>
                  <a:pt x="14313" y="3687"/>
                  <a:pt x="14344" y="3593"/>
                  <a:pt x="14313" y="3531"/>
                </a:cubicBezTo>
                <a:cubicBezTo>
                  <a:pt x="14281" y="3531"/>
                  <a:pt x="14250" y="3531"/>
                  <a:pt x="14250" y="3531"/>
                </a:cubicBezTo>
                <a:cubicBezTo>
                  <a:pt x="14250" y="3531"/>
                  <a:pt x="14281" y="3531"/>
                  <a:pt x="14313" y="3531"/>
                </a:cubicBezTo>
                <a:cubicBezTo>
                  <a:pt x="14313" y="3468"/>
                  <a:pt x="14313" y="3437"/>
                  <a:pt x="14313" y="3375"/>
                </a:cubicBezTo>
                <a:cubicBezTo>
                  <a:pt x="14344" y="3406"/>
                  <a:pt x="14375" y="3437"/>
                  <a:pt x="14375" y="3468"/>
                </a:cubicBezTo>
                <a:cubicBezTo>
                  <a:pt x="14375" y="3531"/>
                  <a:pt x="14375" y="3625"/>
                  <a:pt x="14375" y="3718"/>
                </a:cubicBezTo>
                <a:cubicBezTo>
                  <a:pt x="14406" y="3750"/>
                  <a:pt x="14406" y="3781"/>
                  <a:pt x="14438" y="3812"/>
                </a:cubicBezTo>
                <a:cubicBezTo>
                  <a:pt x="14406" y="3812"/>
                  <a:pt x="14375" y="3843"/>
                  <a:pt x="14375" y="3843"/>
                </a:cubicBezTo>
                <a:cubicBezTo>
                  <a:pt x="14406" y="3968"/>
                  <a:pt x="14344" y="4093"/>
                  <a:pt x="14438" y="4218"/>
                </a:cubicBezTo>
                <a:cubicBezTo>
                  <a:pt x="14438" y="4281"/>
                  <a:pt x="14438" y="4312"/>
                  <a:pt x="14438" y="4343"/>
                </a:cubicBezTo>
                <a:cubicBezTo>
                  <a:pt x="14438" y="4437"/>
                  <a:pt x="14469" y="4531"/>
                  <a:pt x="14469" y="4656"/>
                </a:cubicBezTo>
                <a:cubicBezTo>
                  <a:pt x="14469" y="4656"/>
                  <a:pt x="14469" y="4687"/>
                  <a:pt x="14438" y="4718"/>
                </a:cubicBezTo>
                <a:cubicBezTo>
                  <a:pt x="14406" y="4687"/>
                  <a:pt x="14406" y="4593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562"/>
                  <a:pt x="14375" y="4562"/>
                  <a:pt x="14375" y="4562"/>
                </a:cubicBezTo>
                <a:cubicBezTo>
                  <a:pt x="14375" y="4468"/>
                  <a:pt x="14375" y="4406"/>
                  <a:pt x="14375" y="4343"/>
                </a:cubicBezTo>
                <a:cubicBezTo>
                  <a:pt x="14375" y="4343"/>
                  <a:pt x="14344" y="4343"/>
                  <a:pt x="14344" y="4343"/>
                </a:cubicBezTo>
                <a:cubicBezTo>
                  <a:pt x="14313" y="4437"/>
                  <a:pt x="14344" y="4562"/>
                  <a:pt x="14313" y="4656"/>
                </a:cubicBezTo>
                <a:cubicBezTo>
                  <a:pt x="14281" y="4656"/>
                  <a:pt x="14250" y="4625"/>
                  <a:pt x="14250" y="4562"/>
                </a:cubicBezTo>
                <a:cubicBezTo>
                  <a:pt x="14250" y="4531"/>
                  <a:pt x="14250" y="4500"/>
                  <a:pt x="14250" y="4468"/>
                </a:cubicBezTo>
                <a:close/>
                <a:moveTo>
                  <a:pt x="14438" y="3812"/>
                </a:moveTo>
                <a:cubicBezTo>
                  <a:pt x="14438" y="3812"/>
                  <a:pt x="14438" y="3812"/>
                  <a:pt x="14438" y="3812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43"/>
                </a:cubicBezTo>
                <a:cubicBezTo>
                  <a:pt x="14438" y="3843"/>
                  <a:pt x="14438" y="3843"/>
                  <a:pt x="14438" y="3812"/>
                </a:cubicBezTo>
                <a:close/>
                <a:moveTo>
                  <a:pt x="14500" y="2781"/>
                </a:moveTo>
                <a:cubicBezTo>
                  <a:pt x="14500" y="2781"/>
                  <a:pt x="14500" y="2781"/>
                  <a:pt x="14469" y="2781"/>
                </a:cubicBezTo>
                <a:cubicBezTo>
                  <a:pt x="14500" y="2781"/>
                  <a:pt x="14500" y="2781"/>
                  <a:pt x="14500" y="2781"/>
                </a:cubicBezTo>
                <a:cubicBezTo>
                  <a:pt x="14531" y="2843"/>
                  <a:pt x="14531" y="2906"/>
                  <a:pt x="14438" y="2906"/>
                </a:cubicBezTo>
                <a:cubicBezTo>
                  <a:pt x="14469" y="2875"/>
                  <a:pt x="14438" y="2812"/>
                  <a:pt x="14500" y="2781"/>
                </a:cubicBezTo>
                <a:close/>
                <a:moveTo>
                  <a:pt x="14375" y="5156"/>
                </a:moveTo>
                <a:cubicBezTo>
                  <a:pt x="14406" y="5156"/>
                  <a:pt x="14406" y="5187"/>
                  <a:pt x="14438" y="5218"/>
                </a:cubicBezTo>
                <a:cubicBezTo>
                  <a:pt x="14438" y="5281"/>
                  <a:pt x="14438" y="5343"/>
                  <a:pt x="14438" y="5406"/>
                </a:cubicBezTo>
                <a:cubicBezTo>
                  <a:pt x="14344" y="5343"/>
                  <a:pt x="14344" y="5281"/>
                  <a:pt x="14344" y="5218"/>
                </a:cubicBezTo>
                <a:cubicBezTo>
                  <a:pt x="14344" y="5187"/>
                  <a:pt x="14313" y="5156"/>
                  <a:pt x="14375" y="5156"/>
                </a:cubicBezTo>
                <a:close/>
                <a:moveTo>
                  <a:pt x="14563" y="5750"/>
                </a:moveTo>
                <a:cubicBezTo>
                  <a:pt x="14531" y="5750"/>
                  <a:pt x="14500" y="5718"/>
                  <a:pt x="14500" y="5687"/>
                </a:cubicBezTo>
                <a:cubicBezTo>
                  <a:pt x="14500" y="5656"/>
                  <a:pt x="14500" y="5656"/>
                  <a:pt x="14531" y="5656"/>
                </a:cubicBezTo>
                <a:cubicBezTo>
                  <a:pt x="14594" y="5625"/>
                  <a:pt x="14563" y="5687"/>
                  <a:pt x="14563" y="5687"/>
                </a:cubicBezTo>
                <a:cubicBezTo>
                  <a:pt x="14594" y="5718"/>
                  <a:pt x="14594" y="5750"/>
                  <a:pt x="14563" y="5750"/>
                </a:cubicBezTo>
                <a:close/>
                <a:moveTo>
                  <a:pt x="14563" y="5937"/>
                </a:moveTo>
                <a:cubicBezTo>
                  <a:pt x="14563" y="5937"/>
                  <a:pt x="14563" y="5937"/>
                  <a:pt x="14563" y="5937"/>
                </a:cubicBezTo>
                <a:cubicBezTo>
                  <a:pt x="14563" y="5937"/>
                  <a:pt x="14563" y="5906"/>
                  <a:pt x="14563" y="5906"/>
                </a:cubicBezTo>
                <a:cubicBezTo>
                  <a:pt x="14563" y="5937"/>
                  <a:pt x="14563" y="5937"/>
                  <a:pt x="14563" y="5937"/>
                </a:cubicBezTo>
                <a:close/>
                <a:moveTo>
                  <a:pt x="14219" y="2187"/>
                </a:moveTo>
                <a:cubicBezTo>
                  <a:pt x="14219" y="2187"/>
                  <a:pt x="14250" y="2187"/>
                  <a:pt x="14250" y="2187"/>
                </a:cubicBezTo>
                <a:cubicBezTo>
                  <a:pt x="14250" y="2187"/>
                  <a:pt x="14219" y="2187"/>
                  <a:pt x="14219" y="2187"/>
                </a:cubicBezTo>
                <a:close/>
                <a:moveTo>
                  <a:pt x="14313" y="2625"/>
                </a:moveTo>
                <a:cubicBezTo>
                  <a:pt x="14313" y="2593"/>
                  <a:pt x="14313" y="2562"/>
                  <a:pt x="14313" y="2500"/>
                </a:cubicBezTo>
                <a:cubicBezTo>
                  <a:pt x="14250" y="2500"/>
                  <a:pt x="14219" y="2437"/>
                  <a:pt x="14188" y="2406"/>
                </a:cubicBezTo>
                <a:cubicBezTo>
                  <a:pt x="14219" y="2437"/>
                  <a:pt x="14250" y="2500"/>
                  <a:pt x="14313" y="2500"/>
                </a:cubicBezTo>
                <a:cubicBezTo>
                  <a:pt x="14313" y="2437"/>
                  <a:pt x="14344" y="2375"/>
                  <a:pt x="14281" y="2312"/>
                </a:cubicBezTo>
                <a:cubicBezTo>
                  <a:pt x="14344" y="2250"/>
                  <a:pt x="14313" y="2187"/>
                  <a:pt x="14313" y="2125"/>
                </a:cubicBezTo>
                <a:cubicBezTo>
                  <a:pt x="14313" y="2156"/>
                  <a:pt x="14313" y="2187"/>
                  <a:pt x="14281" y="2187"/>
                </a:cubicBezTo>
                <a:cubicBezTo>
                  <a:pt x="14313" y="2187"/>
                  <a:pt x="14313" y="2156"/>
                  <a:pt x="14313" y="2125"/>
                </a:cubicBezTo>
                <a:cubicBezTo>
                  <a:pt x="14313" y="2093"/>
                  <a:pt x="14344" y="2062"/>
                  <a:pt x="14281" y="2031"/>
                </a:cubicBezTo>
                <a:cubicBezTo>
                  <a:pt x="14344" y="1906"/>
                  <a:pt x="14313" y="1750"/>
                  <a:pt x="14313" y="1625"/>
                </a:cubicBezTo>
                <a:cubicBezTo>
                  <a:pt x="14344" y="1437"/>
                  <a:pt x="14313" y="1281"/>
                  <a:pt x="14313" y="1093"/>
                </a:cubicBezTo>
                <a:cubicBezTo>
                  <a:pt x="14313" y="1093"/>
                  <a:pt x="14313" y="1062"/>
                  <a:pt x="14344" y="1062"/>
                </a:cubicBezTo>
                <a:cubicBezTo>
                  <a:pt x="14344" y="1062"/>
                  <a:pt x="14406" y="1218"/>
                  <a:pt x="14375" y="1218"/>
                </a:cubicBezTo>
                <a:cubicBezTo>
                  <a:pt x="14344" y="1250"/>
                  <a:pt x="14375" y="1281"/>
                  <a:pt x="14375" y="1312"/>
                </a:cubicBezTo>
                <a:cubicBezTo>
                  <a:pt x="14438" y="1343"/>
                  <a:pt x="14500" y="1343"/>
                  <a:pt x="14563" y="1343"/>
                </a:cubicBezTo>
                <a:cubicBezTo>
                  <a:pt x="14500" y="1343"/>
                  <a:pt x="14438" y="1343"/>
                  <a:pt x="14375" y="1312"/>
                </a:cubicBezTo>
                <a:cubicBezTo>
                  <a:pt x="14406" y="1375"/>
                  <a:pt x="14344" y="1468"/>
                  <a:pt x="14375" y="1531"/>
                </a:cubicBezTo>
                <a:cubicBezTo>
                  <a:pt x="14375" y="1531"/>
                  <a:pt x="14375" y="1531"/>
                  <a:pt x="14375" y="1531"/>
                </a:cubicBezTo>
                <a:cubicBezTo>
                  <a:pt x="14375" y="1562"/>
                  <a:pt x="14375" y="1593"/>
                  <a:pt x="14375" y="1625"/>
                </a:cubicBezTo>
                <a:cubicBezTo>
                  <a:pt x="14406" y="1625"/>
                  <a:pt x="14438" y="1625"/>
                  <a:pt x="14438" y="1656"/>
                </a:cubicBezTo>
                <a:cubicBezTo>
                  <a:pt x="14438" y="1625"/>
                  <a:pt x="14406" y="1625"/>
                  <a:pt x="14375" y="1625"/>
                </a:cubicBezTo>
                <a:cubicBezTo>
                  <a:pt x="14375" y="1625"/>
                  <a:pt x="14375" y="1625"/>
                  <a:pt x="14375" y="1625"/>
                </a:cubicBezTo>
                <a:cubicBezTo>
                  <a:pt x="14375" y="1656"/>
                  <a:pt x="14375" y="1656"/>
                  <a:pt x="14375" y="1687"/>
                </a:cubicBezTo>
                <a:cubicBezTo>
                  <a:pt x="14375" y="1718"/>
                  <a:pt x="14375" y="1750"/>
                  <a:pt x="14375" y="1781"/>
                </a:cubicBezTo>
                <a:cubicBezTo>
                  <a:pt x="14375" y="1781"/>
                  <a:pt x="14375" y="1812"/>
                  <a:pt x="14375" y="1843"/>
                </a:cubicBezTo>
                <a:cubicBezTo>
                  <a:pt x="14406" y="1843"/>
                  <a:pt x="14406" y="1875"/>
                  <a:pt x="14438" y="1875"/>
                </a:cubicBezTo>
                <a:cubicBezTo>
                  <a:pt x="14406" y="1875"/>
                  <a:pt x="14406" y="1843"/>
                  <a:pt x="14375" y="1843"/>
                </a:cubicBezTo>
                <a:cubicBezTo>
                  <a:pt x="14375" y="1906"/>
                  <a:pt x="14375" y="1968"/>
                  <a:pt x="14375" y="2000"/>
                </a:cubicBezTo>
                <a:cubicBezTo>
                  <a:pt x="14375" y="2031"/>
                  <a:pt x="14375" y="2062"/>
                  <a:pt x="14375" y="2093"/>
                </a:cubicBezTo>
                <a:cubicBezTo>
                  <a:pt x="14438" y="2125"/>
                  <a:pt x="14469" y="2156"/>
                  <a:pt x="14469" y="2187"/>
                </a:cubicBezTo>
                <a:cubicBezTo>
                  <a:pt x="14469" y="2156"/>
                  <a:pt x="14438" y="2125"/>
                  <a:pt x="14375" y="2093"/>
                </a:cubicBezTo>
                <a:cubicBezTo>
                  <a:pt x="14375" y="2156"/>
                  <a:pt x="14375" y="2218"/>
                  <a:pt x="14375" y="2281"/>
                </a:cubicBezTo>
                <a:cubicBezTo>
                  <a:pt x="14375" y="2312"/>
                  <a:pt x="14375" y="2343"/>
                  <a:pt x="14375" y="2375"/>
                </a:cubicBezTo>
                <a:cubicBezTo>
                  <a:pt x="14406" y="2375"/>
                  <a:pt x="14438" y="2406"/>
                  <a:pt x="14438" y="2437"/>
                </a:cubicBezTo>
                <a:cubicBezTo>
                  <a:pt x="14438" y="2406"/>
                  <a:pt x="14406" y="2375"/>
                  <a:pt x="14375" y="2375"/>
                </a:cubicBezTo>
                <a:cubicBezTo>
                  <a:pt x="14375" y="2437"/>
                  <a:pt x="14375" y="2468"/>
                  <a:pt x="14375" y="2531"/>
                </a:cubicBezTo>
                <a:cubicBezTo>
                  <a:pt x="14375" y="2593"/>
                  <a:pt x="14375" y="2625"/>
                  <a:pt x="14406" y="2656"/>
                </a:cubicBezTo>
                <a:cubicBezTo>
                  <a:pt x="14438" y="2687"/>
                  <a:pt x="14438" y="2718"/>
                  <a:pt x="14469" y="2750"/>
                </a:cubicBezTo>
                <a:cubicBezTo>
                  <a:pt x="14438" y="2718"/>
                  <a:pt x="14438" y="2687"/>
                  <a:pt x="14406" y="2656"/>
                </a:cubicBezTo>
                <a:cubicBezTo>
                  <a:pt x="14344" y="2750"/>
                  <a:pt x="14406" y="2843"/>
                  <a:pt x="14375" y="2906"/>
                </a:cubicBezTo>
                <a:cubicBezTo>
                  <a:pt x="14375" y="2937"/>
                  <a:pt x="14406" y="2968"/>
                  <a:pt x="14375" y="2968"/>
                </a:cubicBezTo>
                <a:cubicBezTo>
                  <a:pt x="14344" y="2968"/>
                  <a:pt x="14313" y="2937"/>
                  <a:pt x="14313" y="2937"/>
                </a:cubicBezTo>
                <a:cubicBezTo>
                  <a:pt x="14313" y="2906"/>
                  <a:pt x="14313" y="2875"/>
                  <a:pt x="14313" y="2843"/>
                </a:cubicBezTo>
                <a:cubicBezTo>
                  <a:pt x="14250" y="2843"/>
                  <a:pt x="14219" y="2781"/>
                  <a:pt x="14188" y="2750"/>
                </a:cubicBezTo>
                <a:cubicBezTo>
                  <a:pt x="14219" y="2781"/>
                  <a:pt x="14250" y="2843"/>
                  <a:pt x="14313" y="2843"/>
                </a:cubicBezTo>
                <a:cubicBezTo>
                  <a:pt x="14313" y="2781"/>
                  <a:pt x="14313" y="2718"/>
                  <a:pt x="14313" y="2625"/>
                </a:cubicBezTo>
                <a:close/>
                <a:moveTo>
                  <a:pt x="14438" y="1437"/>
                </a:move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06"/>
                </a:cubicBezTo>
                <a:cubicBezTo>
                  <a:pt x="14438" y="1437"/>
                  <a:pt x="14438" y="1437"/>
                  <a:pt x="14438" y="1437"/>
                </a:cubicBezTo>
                <a:cubicBezTo>
                  <a:pt x="14438" y="1437"/>
                  <a:pt x="14438" y="1437"/>
                  <a:pt x="14438" y="1437"/>
                </a:cubicBezTo>
                <a:close/>
                <a:moveTo>
                  <a:pt x="14094" y="2812"/>
                </a:moveTo>
                <a:cubicBezTo>
                  <a:pt x="14094" y="2812"/>
                  <a:pt x="14094" y="2812"/>
                  <a:pt x="14094" y="2812"/>
                </a:cubicBezTo>
                <a:cubicBezTo>
                  <a:pt x="14094" y="2812"/>
                  <a:pt x="14094" y="2812"/>
                  <a:pt x="14094" y="2843"/>
                </a:cubicBezTo>
                <a:cubicBezTo>
                  <a:pt x="14094" y="2812"/>
                  <a:pt x="14094" y="2812"/>
                  <a:pt x="14094" y="2812"/>
                </a:cubicBezTo>
                <a:cubicBezTo>
                  <a:pt x="14063" y="2812"/>
                  <a:pt x="14063" y="2812"/>
                  <a:pt x="14031" y="2812"/>
                </a:cubicBezTo>
                <a:cubicBezTo>
                  <a:pt x="14063" y="2812"/>
                  <a:pt x="14063" y="2812"/>
                  <a:pt x="14094" y="2812"/>
                </a:cubicBezTo>
                <a:close/>
                <a:moveTo>
                  <a:pt x="14031" y="1468"/>
                </a:move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ubicBezTo>
                  <a:pt x="14031" y="1468"/>
                  <a:pt x="14031" y="1468"/>
                  <a:pt x="14031" y="1468"/>
                </a:cubicBezTo>
                <a:close/>
                <a:moveTo>
                  <a:pt x="14031" y="2812"/>
                </a:moveTo>
                <a:cubicBezTo>
                  <a:pt x="14031" y="2812"/>
                  <a:pt x="14031" y="2812"/>
                  <a:pt x="14000" y="2812"/>
                </a:cubicBezTo>
                <a:cubicBezTo>
                  <a:pt x="14031" y="2812"/>
                  <a:pt x="14031" y="2812"/>
                  <a:pt x="14031" y="2812"/>
                </a:cubicBezTo>
                <a:close/>
                <a:moveTo>
                  <a:pt x="13938" y="5781"/>
                </a:moveTo>
                <a:cubicBezTo>
                  <a:pt x="13906" y="5781"/>
                  <a:pt x="13906" y="5781"/>
                  <a:pt x="13875" y="5781"/>
                </a:cubicBezTo>
                <a:cubicBezTo>
                  <a:pt x="13906" y="5781"/>
                  <a:pt x="13906" y="5781"/>
                  <a:pt x="13938" y="5781"/>
                </a:cubicBezTo>
                <a:close/>
                <a:moveTo>
                  <a:pt x="13344" y="4187"/>
                </a:moveTo>
                <a:cubicBezTo>
                  <a:pt x="13281" y="4218"/>
                  <a:pt x="13250" y="4187"/>
                  <a:pt x="13281" y="4125"/>
                </a:cubicBezTo>
                <a:cubicBezTo>
                  <a:pt x="13313" y="3937"/>
                  <a:pt x="13344" y="3750"/>
                  <a:pt x="13406" y="3562"/>
                </a:cubicBezTo>
                <a:cubicBezTo>
                  <a:pt x="13438" y="3406"/>
                  <a:pt x="13438" y="3250"/>
                  <a:pt x="13469" y="3093"/>
                </a:cubicBezTo>
                <a:cubicBezTo>
                  <a:pt x="13500" y="3062"/>
                  <a:pt x="13500" y="3031"/>
                  <a:pt x="13531" y="3000"/>
                </a:cubicBezTo>
                <a:cubicBezTo>
                  <a:pt x="13563" y="3000"/>
                  <a:pt x="13563" y="3031"/>
                  <a:pt x="13563" y="3031"/>
                </a:cubicBezTo>
                <a:cubicBezTo>
                  <a:pt x="13563" y="3062"/>
                  <a:pt x="13563" y="3093"/>
                  <a:pt x="13563" y="3156"/>
                </a:cubicBezTo>
                <a:cubicBezTo>
                  <a:pt x="13563" y="3156"/>
                  <a:pt x="13563" y="3187"/>
                  <a:pt x="13563" y="3218"/>
                </a:cubicBezTo>
                <a:cubicBezTo>
                  <a:pt x="13625" y="3250"/>
                  <a:pt x="13656" y="3281"/>
                  <a:pt x="13656" y="3343"/>
                </a:cubicBezTo>
                <a:cubicBezTo>
                  <a:pt x="13688" y="3343"/>
                  <a:pt x="13750" y="3343"/>
                  <a:pt x="13781" y="3343"/>
                </a:cubicBezTo>
                <a:cubicBezTo>
                  <a:pt x="13750" y="3343"/>
                  <a:pt x="13688" y="3343"/>
                  <a:pt x="13656" y="3343"/>
                </a:cubicBezTo>
                <a:cubicBezTo>
                  <a:pt x="13563" y="3343"/>
                  <a:pt x="13563" y="3281"/>
                  <a:pt x="13563" y="3218"/>
                </a:cubicBezTo>
                <a:cubicBezTo>
                  <a:pt x="13563" y="3187"/>
                  <a:pt x="13563" y="3156"/>
                  <a:pt x="13563" y="3156"/>
                </a:cubicBezTo>
                <a:cubicBezTo>
                  <a:pt x="13531" y="3187"/>
                  <a:pt x="13500" y="3250"/>
                  <a:pt x="13563" y="3312"/>
                </a:cubicBezTo>
                <a:cubicBezTo>
                  <a:pt x="13594" y="3375"/>
                  <a:pt x="13500" y="3375"/>
                  <a:pt x="13531" y="3437"/>
                </a:cubicBezTo>
                <a:cubicBezTo>
                  <a:pt x="13531" y="3437"/>
                  <a:pt x="13531" y="3437"/>
                  <a:pt x="13531" y="3437"/>
                </a:cubicBezTo>
                <a:cubicBezTo>
                  <a:pt x="13500" y="3437"/>
                  <a:pt x="13500" y="3437"/>
                  <a:pt x="13500" y="3437"/>
                </a:cubicBezTo>
                <a:cubicBezTo>
                  <a:pt x="13500" y="3437"/>
                  <a:pt x="13500" y="3468"/>
                  <a:pt x="13500" y="3468"/>
                </a:cubicBezTo>
                <a:cubicBezTo>
                  <a:pt x="13469" y="3468"/>
                  <a:pt x="13469" y="3500"/>
                  <a:pt x="13500" y="3500"/>
                </a:cubicBezTo>
                <a:cubicBezTo>
                  <a:pt x="13500" y="3562"/>
                  <a:pt x="13469" y="3625"/>
                  <a:pt x="13469" y="3656"/>
                </a:cubicBezTo>
                <a:cubicBezTo>
                  <a:pt x="13438" y="3718"/>
                  <a:pt x="13406" y="3750"/>
                  <a:pt x="13469" y="3781"/>
                </a:cubicBezTo>
                <a:cubicBezTo>
                  <a:pt x="13469" y="3812"/>
                  <a:pt x="13500" y="3812"/>
                  <a:pt x="13469" y="3812"/>
                </a:cubicBezTo>
                <a:cubicBezTo>
                  <a:pt x="13406" y="3843"/>
                  <a:pt x="13406" y="3843"/>
                  <a:pt x="13406" y="3875"/>
                </a:cubicBezTo>
                <a:cubicBezTo>
                  <a:pt x="13469" y="3906"/>
                  <a:pt x="13469" y="3937"/>
                  <a:pt x="13500" y="3968"/>
                </a:cubicBezTo>
                <a:cubicBezTo>
                  <a:pt x="13469" y="3937"/>
                  <a:pt x="13469" y="3906"/>
                  <a:pt x="13406" y="3875"/>
                </a:cubicBezTo>
                <a:cubicBezTo>
                  <a:pt x="13406" y="3968"/>
                  <a:pt x="13344" y="4093"/>
                  <a:pt x="13344" y="4187"/>
                </a:cubicBezTo>
                <a:close/>
                <a:moveTo>
                  <a:pt x="13500" y="4843"/>
                </a:moveTo>
                <a:cubicBezTo>
                  <a:pt x="13500" y="4875"/>
                  <a:pt x="13500" y="4906"/>
                  <a:pt x="13500" y="4906"/>
                </a:cubicBezTo>
                <a:cubicBezTo>
                  <a:pt x="13563" y="4937"/>
                  <a:pt x="13594" y="4937"/>
                  <a:pt x="13625" y="4968"/>
                </a:cubicBezTo>
                <a:cubicBezTo>
                  <a:pt x="13594" y="4937"/>
                  <a:pt x="13563" y="4937"/>
                  <a:pt x="13500" y="4906"/>
                </a:cubicBezTo>
                <a:cubicBezTo>
                  <a:pt x="13500" y="4906"/>
                  <a:pt x="13469" y="4906"/>
                  <a:pt x="13469" y="4906"/>
                </a:cubicBezTo>
                <a:cubicBezTo>
                  <a:pt x="13406" y="5031"/>
                  <a:pt x="13375" y="4937"/>
                  <a:pt x="13313" y="4906"/>
                </a:cubicBezTo>
                <a:cubicBezTo>
                  <a:pt x="13375" y="4843"/>
                  <a:pt x="13438" y="4843"/>
                  <a:pt x="13500" y="4843"/>
                </a:cubicBezTo>
                <a:close/>
                <a:moveTo>
                  <a:pt x="13500" y="5812"/>
                </a:moveTo>
                <a:cubicBezTo>
                  <a:pt x="13563" y="5812"/>
                  <a:pt x="13594" y="5812"/>
                  <a:pt x="13625" y="5781"/>
                </a:cubicBezTo>
                <a:cubicBezTo>
                  <a:pt x="13594" y="5812"/>
                  <a:pt x="13563" y="5812"/>
                  <a:pt x="13500" y="5812"/>
                </a:cubicBezTo>
                <a:cubicBezTo>
                  <a:pt x="13500" y="5812"/>
                  <a:pt x="13500" y="5812"/>
                  <a:pt x="13500" y="5812"/>
                </a:cubicBezTo>
                <a:close/>
                <a:moveTo>
                  <a:pt x="13500" y="5625"/>
                </a:moveTo>
                <a:cubicBezTo>
                  <a:pt x="13531" y="5656"/>
                  <a:pt x="13531" y="5656"/>
                  <a:pt x="13531" y="5687"/>
                </a:cubicBezTo>
                <a:cubicBezTo>
                  <a:pt x="13531" y="5656"/>
                  <a:pt x="13531" y="5656"/>
                  <a:pt x="13500" y="5625"/>
                </a:cubicBezTo>
                <a:close/>
                <a:moveTo>
                  <a:pt x="13406" y="5281"/>
                </a:moveTo>
                <a:cubicBezTo>
                  <a:pt x="13375" y="5250"/>
                  <a:pt x="13344" y="5218"/>
                  <a:pt x="13375" y="5156"/>
                </a:cubicBezTo>
                <a:cubicBezTo>
                  <a:pt x="13375" y="5156"/>
                  <a:pt x="13406" y="5156"/>
                  <a:pt x="13406" y="5156"/>
                </a:cubicBezTo>
                <a:cubicBezTo>
                  <a:pt x="13438" y="5187"/>
                  <a:pt x="13406" y="5250"/>
                  <a:pt x="13406" y="5281"/>
                </a:cubicBezTo>
                <a:close/>
                <a:moveTo>
                  <a:pt x="13313" y="5062"/>
                </a:moveTo>
                <a:cubicBezTo>
                  <a:pt x="13344" y="5031"/>
                  <a:pt x="13219" y="5000"/>
                  <a:pt x="13281" y="4937"/>
                </a:cubicBezTo>
                <a:cubicBezTo>
                  <a:pt x="13313" y="4968"/>
                  <a:pt x="13344" y="5000"/>
                  <a:pt x="13375" y="5062"/>
                </a:cubicBezTo>
                <a:cubicBezTo>
                  <a:pt x="13375" y="5062"/>
                  <a:pt x="13406" y="5062"/>
                  <a:pt x="13375" y="5093"/>
                </a:cubicBezTo>
                <a:cubicBezTo>
                  <a:pt x="13375" y="5125"/>
                  <a:pt x="13344" y="5125"/>
                  <a:pt x="13313" y="5125"/>
                </a:cubicBezTo>
                <a:cubicBezTo>
                  <a:pt x="13313" y="5125"/>
                  <a:pt x="13281" y="5093"/>
                  <a:pt x="13313" y="5062"/>
                </a:cubicBezTo>
                <a:close/>
                <a:moveTo>
                  <a:pt x="13281" y="5593"/>
                </a:moveTo>
                <a:cubicBezTo>
                  <a:pt x="13281" y="5562"/>
                  <a:pt x="13250" y="5531"/>
                  <a:pt x="13250" y="5500"/>
                </a:cubicBezTo>
                <a:cubicBezTo>
                  <a:pt x="13250" y="5500"/>
                  <a:pt x="13344" y="5531"/>
                  <a:pt x="13281" y="5468"/>
                </a:cubicBezTo>
                <a:cubicBezTo>
                  <a:pt x="13219" y="5375"/>
                  <a:pt x="13313" y="5375"/>
                  <a:pt x="13344" y="5312"/>
                </a:cubicBezTo>
                <a:cubicBezTo>
                  <a:pt x="13375" y="5343"/>
                  <a:pt x="13344" y="5375"/>
                  <a:pt x="13375" y="5375"/>
                </a:cubicBezTo>
                <a:cubicBezTo>
                  <a:pt x="13406" y="5375"/>
                  <a:pt x="13406" y="5406"/>
                  <a:pt x="13406" y="5437"/>
                </a:cubicBezTo>
                <a:cubicBezTo>
                  <a:pt x="13375" y="5468"/>
                  <a:pt x="13375" y="5562"/>
                  <a:pt x="13344" y="5625"/>
                </a:cubicBezTo>
                <a:cubicBezTo>
                  <a:pt x="13313" y="5656"/>
                  <a:pt x="13313" y="5656"/>
                  <a:pt x="13313" y="5687"/>
                </a:cubicBezTo>
                <a:cubicBezTo>
                  <a:pt x="13344" y="5718"/>
                  <a:pt x="13250" y="5750"/>
                  <a:pt x="13250" y="5781"/>
                </a:cubicBezTo>
                <a:cubicBezTo>
                  <a:pt x="13250" y="5781"/>
                  <a:pt x="13219" y="5781"/>
                  <a:pt x="13219" y="5781"/>
                </a:cubicBezTo>
                <a:cubicBezTo>
                  <a:pt x="13219" y="5656"/>
                  <a:pt x="13125" y="5593"/>
                  <a:pt x="13094" y="5500"/>
                </a:cubicBezTo>
                <a:cubicBezTo>
                  <a:pt x="13219" y="5437"/>
                  <a:pt x="13188" y="5656"/>
                  <a:pt x="13281" y="5593"/>
                </a:cubicBezTo>
                <a:close/>
                <a:moveTo>
                  <a:pt x="13344" y="6843"/>
                </a:moveTo>
                <a:cubicBezTo>
                  <a:pt x="13344" y="6875"/>
                  <a:pt x="13344" y="6875"/>
                  <a:pt x="13344" y="6875"/>
                </a:cubicBezTo>
                <a:cubicBezTo>
                  <a:pt x="13344" y="6875"/>
                  <a:pt x="13344" y="6875"/>
                  <a:pt x="13344" y="6843"/>
                </a:cubicBezTo>
                <a:cubicBezTo>
                  <a:pt x="13344" y="6843"/>
                  <a:pt x="13344" y="6843"/>
                  <a:pt x="13344" y="6843"/>
                </a:cubicBezTo>
                <a:close/>
                <a:moveTo>
                  <a:pt x="13094" y="6187"/>
                </a:moveTo>
                <a:cubicBezTo>
                  <a:pt x="13125" y="6187"/>
                  <a:pt x="13125" y="6156"/>
                  <a:pt x="13125" y="6156"/>
                </a:cubicBezTo>
                <a:cubicBezTo>
                  <a:pt x="13094" y="6156"/>
                  <a:pt x="13094" y="6156"/>
                  <a:pt x="13063" y="6125"/>
                </a:cubicBezTo>
                <a:cubicBezTo>
                  <a:pt x="13094" y="6156"/>
                  <a:pt x="13094" y="6156"/>
                  <a:pt x="13125" y="6156"/>
                </a:cubicBezTo>
                <a:cubicBezTo>
                  <a:pt x="13156" y="6156"/>
                  <a:pt x="13156" y="6156"/>
                  <a:pt x="13188" y="6156"/>
                </a:cubicBezTo>
                <a:cubicBezTo>
                  <a:pt x="13188" y="6156"/>
                  <a:pt x="13188" y="6187"/>
                  <a:pt x="13188" y="6187"/>
                </a:cubicBezTo>
                <a:cubicBezTo>
                  <a:pt x="13188" y="6218"/>
                  <a:pt x="13156" y="6281"/>
                  <a:pt x="13156" y="6281"/>
                </a:cubicBezTo>
                <a:cubicBezTo>
                  <a:pt x="13125" y="6312"/>
                  <a:pt x="13094" y="6343"/>
                  <a:pt x="13063" y="6312"/>
                </a:cubicBezTo>
                <a:cubicBezTo>
                  <a:pt x="13031" y="6312"/>
                  <a:pt x="13031" y="6281"/>
                  <a:pt x="13031" y="6250"/>
                </a:cubicBezTo>
                <a:cubicBezTo>
                  <a:pt x="13000" y="6187"/>
                  <a:pt x="13063" y="6187"/>
                  <a:pt x="13094" y="6187"/>
                </a:cubicBezTo>
                <a:close/>
                <a:moveTo>
                  <a:pt x="13250" y="6875"/>
                </a:moveTo>
                <a:cubicBezTo>
                  <a:pt x="13156" y="6875"/>
                  <a:pt x="13094" y="6812"/>
                  <a:pt x="13000" y="6812"/>
                </a:cubicBezTo>
                <a:cubicBezTo>
                  <a:pt x="13000" y="6812"/>
                  <a:pt x="13000" y="6781"/>
                  <a:pt x="13000" y="6781"/>
                </a:cubicBezTo>
                <a:cubicBezTo>
                  <a:pt x="13000" y="6750"/>
                  <a:pt x="13031" y="6750"/>
                  <a:pt x="13031" y="6750"/>
                </a:cubicBezTo>
                <a:cubicBezTo>
                  <a:pt x="13094" y="6781"/>
                  <a:pt x="13156" y="6718"/>
                  <a:pt x="13219" y="6781"/>
                </a:cubicBezTo>
                <a:cubicBezTo>
                  <a:pt x="13219" y="6812"/>
                  <a:pt x="13219" y="6843"/>
                  <a:pt x="13250" y="6875"/>
                </a:cubicBezTo>
                <a:cubicBezTo>
                  <a:pt x="13281" y="6875"/>
                  <a:pt x="13281" y="6875"/>
                  <a:pt x="13281" y="6875"/>
                </a:cubicBezTo>
                <a:cubicBezTo>
                  <a:pt x="13281" y="6875"/>
                  <a:pt x="13281" y="6875"/>
                  <a:pt x="13250" y="6875"/>
                </a:cubicBezTo>
                <a:close/>
                <a:moveTo>
                  <a:pt x="13719" y="8093"/>
                </a:moveTo>
                <a:cubicBezTo>
                  <a:pt x="13594" y="8062"/>
                  <a:pt x="13438" y="8000"/>
                  <a:pt x="13281" y="7937"/>
                </a:cubicBezTo>
                <a:cubicBezTo>
                  <a:pt x="13438" y="8000"/>
                  <a:pt x="13594" y="8062"/>
                  <a:pt x="13719" y="8093"/>
                </a:cubicBezTo>
                <a:cubicBezTo>
                  <a:pt x="13781" y="8125"/>
                  <a:pt x="13813" y="8125"/>
                  <a:pt x="13875" y="8156"/>
                </a:cubicBezTo>
                <a:cubicBezTo>
                  <a:pt x="13813" y="8125"/>
                  <a:pt x="13781" y="8125"/>
                  <a:pt x="13719" y="8093"/>
                </a:cubicBezTo>
                <a:close/>
                <a:moveTo>
                  <a:pt x="14094" y="6437"/>
                </a:moveTo>
                <a:cubicBezTo>
                  <a:pt x="14094" y="6437"/>
                  <a:pt x="14094" y="6468"/>
                  <a:pt x="14094" y="6500"/>
                </a:cubicBezTo>
                <a:cubicBezTo>
                  <a:pt x="14031" y="6468"/>
                  <a:pt x="14031" y="6500"/>
                  <a:pt x="14031" y="6531"/>
                </a:cubicBezTo>
                <a:cubicBezTo>
                  <a:pt x="14000" y="6656"/>
                  <a:pt x="14000" y="6781"/>
                  <a:pt x="13969" y="6906"/>
                </a:cubicBezTo>
                <a:cubicBezTo>
                  <a:pt x="13969" y="6968"/>
                  <a:pt x="13969" y="7000"/>
                  <a:pt x="14031" y="7000"/>
                </a:cubicBezTo>
                <a:cubicBezTo>
                  <a:pt x="14031" y="7031"/>
                  <a:pt x="14063" y="7031"/>
                  <a:pt x="14063" y="7062"/>
                </a:cubicBezTo>
                <a:cubicBezTo>
                  <a:pt x="14063" y="7062"/>
                  <a:pt x="14063" y="7062"/>
                  <a:pt x="14031" y="7093"/>
                </a:cubicBezTo>
                <a:cubicBezTo>
                  <a:pt x="14063" y="7093"/>
                  <a:pt x="14063" y="7093"/>
                  <a:pt x="14063" y="7093"/>
                </a:cubicBezTo>
                <a:cubicBezTo>
                  <a:pt x="14063" y="7093"/>
                  <a:pt x="14063" y="7093"/>
                  <a:pt x="14031" y="7093"/>
                </a:cubicBezTo>
                <a:cubicBezTo>
                  <a:pt x="14000" y="7062"/>
                  <a:pt x="13969" y="7062"/>
                  <a:pt x="13969" y="7093"/>
                </a:cubicBezTo>
                <a:cubicBezTo>
                  <a:pt x="13938" y="7156"/>
                  <a:pt x="13938" y="7156"/>
                  <a:pt x="13906" y="7125"/>
                </a:cubicBezTo>
                <a:cubicBezTo>
                  <a:pt x="13875" y="7125"/>
                  <a:pt x="13875" y="7093"/>
                  <a:pt x="13875" y="7062"/>
                </a:cubicBezTo>
                <a:cubicBezTo>
                  <a:pt x="13906" y="7031"/>
                  <a:pt x="13906" y="7000"/>
                  <a:pt x="13906" y="6968"/>
                </a:cubicBezTo>
                <a:cubicBezTo>
                  <a:pt x="13906" y="6968"/>
                  <a:pt x="13906" y="6968"/>
                  <a:pt x="13906" y="6968"/>
                </a:cubicBezTo>
                <a:cubicBezTo>
                  <a:pt x="13906" y="6812"/>
                  <a:pt x="13938" y="6656"/>
                  <a:pt x="13969" y="6500"/>
                </a:cubicBezTo>
                <a:cubicBezTo>
                  <a:pt x="13969" y="6468"/>
                  <a:pt x="13969" y="6437"/>
                  <a:pt x="13906" y="6437"/>
                </a:cubicBezTo>
                <a:cubicBezTo>
                  <a:pt x="13906" y="6406"/>
                  <a:pt x="13906" y="6375"/>
                  <a:pt x="13906" y="6406"/>
                </a:cubicBezTo>
                <a:cubicBezTo>
                  <a:pt x="14000" y="6406"/>
                  <a:pt x="13969" y="6343"/>
                  <a:pt x="13969" y="6312"/>
                </a:cubicBezTo>
                <a:cubicBezTo>
                  <a:pt x="14000" y="6312"/>
                  <a:pt x="14000" y="6281"/>
                  <a:pt x="14000" y="6250"/>
                </a:cubicBezTo>
                <a:cubicBezTo>
                  <a:pt x="14031" y="6218"/>
                  <a:pt x="14031" y="6187"/>
                  <a:pt x="14000" y="6156"/>
                </a:cubicBezTo>
                <a:cubicBezTo>
                  <a:pt x="14031" y="6062"/>
                  <a:pt x="14031" y="6000"/>
                  <a:pt x="14063" y="5906"/>
                </a:cubicBezTo>
                <a:cubicBezTo>
                  <a:pt x="14063" y="5875"/>
                  <a:pt x="14063" y="5812"/>
                  <a:pt x="14000" y="5812"/>
                </a:cubicBezTo>
                <a:cubicBezTo>
                  <a:pt x="14000" y="5812"/>
                  <a:pt x="14000" y="5812"/>
                  <a:pt x="14000" y="5812"/>
                </a:cubicBezTo>
                <a:cubicBezTo>
                  <a:pt x="14000" y="5812"/>
                  <a:pt x="14000" y="5781"/>
                  <a:pt x="13969" y="5781"/>
                </a:cubicBezTo>
                <a:cubicBezTo>
                  <a:pt x="13969" y="5781"/>
                  <a:pt x="13938" y="5781"/>
                  <a:pt x="13938" y="5781"/>
                </a:cubicBezTo>
                <a:cubicBezTo>
                  <a:pt x="13938" y="5781"/>
                  <a:pt x="13969" y="5781"/>
                  <a:pt x="13969" y="5781"/>
                </a:cubicBezTo>
                <a:cubicBezTo>
                  <a:pt x="13969" y="5781"/>
                  <a:pt x="13969" y="5781"/>
                  <a:pt x="13969" y="5781"/>
                </a:cubicBezTo>
                <a:cubicBezTo>
                  <a:pt x="14031" y="5781"/>
                  <a:pt x="14094" y="5781"/>
                  <a:pt x="14094" y="5687"/>
                </a:cubicBezTo>
                <a:cubicBezTo>
                  <a:pt x="14094" y="5687"/>
                  <a:pt x="14094" y="5687"/>
                  <a:pt x="14094" y="5687"/>
                </a:cubicBezTo>
                <a:cubicBezTo>
                  <a:pt x="14094" y="5562"/>
                  <a:pt x="14156" y="5406"/>
                  <a:pt x="14156" y="5281"/>
                </a:cubicBezTo>
                <a:cubicBezTo>
                  <a:pt x="14156" y="5187"/>
                  <a:pt x="14219" y="5125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5031"/>
                  <a:pt x="14188" y="5031"/>
                  <a:pt x="14188" y="5031"/>
                </a:cubicBezTo>
                <a:cubicBezTo>
                  <a:pt x="14188" y="4937"/>
                  <a:pt x="14219" y="4875"/>
                  <a:pt x="14219" y="4781"/>
                </a:cubicBezTo>
                <a:cubicBezTo>
                  <a:pt x="14219" y="4750"/>
                  <a:pt x="14250" y="4750"/>
                  <a:pt x="14188" y="4718"/>
                </a:cubicBezTo>
                <a:cubicBezTo>
                  <a:pt x="14250" y="4656"/>
                  <a:pt x="14281" y="4687"/>
                  <a:pt x="14313" y="4750"/>
                </a:cubicBezTo>
                <a:cubicBezTo>
                  <a:pt x="14313" y="4781"/>
                  <a:pt x="14375" y="4812"/>
                  <a:pt x="14313" y="4843"/>
                </a:cubicBezTo>
                <a:cubicBezTo>
                  <a:pt x="14344" y="4906"/>
                  <a:pt x="14344" y="4937"/>
                  <a:pt x="14313" y="4968"/>
                </a:cubicBezTo>
                <a:cubicBezTo>
                  <a:pt x="14344" y="4937"/>
                  <a:pt x="14344" y="4906"/>
                  <a:pt x="14313" y="4843"/>
                </a:cubicBezTo>
                <a:cubicBezTo>
                  <a:pt x="14313" y="4843"/>
                  <a:pt x="14313" y="4812"/>
                  <a:pt x="14281" y="4843"/>
                </a:cubicBezTo>
                <a:cubicBezTo>
                  <a:pt x="14281" y="4906"/>
                  <a:pt x="14250" y="4968"/>
                  <a:pt x="14281" y="5031"/>
                </a:cubicBezTo>
                <a:cubicBezTo>
                  <a:pt x="14313" y="5062"/>
                  <a:pt x="14344" y="5093"/>
                  <a:pt x="14281" y="5156"/>
                </a:cubicBezTo>
                <a:cubicBezTo>
                  <a:pt x="14250" y="5187"/>
                  <a:pt x="14250" y="5218"/>
                  <a:pt x="14281" y="5281"/>
                </a:cubicBezTo>
                <a:cubicBezTo>
                  <a:pt x="14281" y="5281"/>
                  <a:pt x="14281" y="5312"/>
                  <a:pt x="14250" y="5343"/>
                </a:cubicBezTo>
                <a:cubicBezTo>
                  <a:pt x="14281" y="5343"/>
                  <a:pt x="14281" y="5375"/>
                  <a:pt x="14281" y="5375"/>
                </a:cubicBezTo>
                <a:cubicBezTo>
                  <a:pt x="14281" y="5375"/>
                  <a:pt x="14281" y="5343"/>
                  <a:pt x="14250" y="5343"/>
                </a:cubicBezTo>
                <a:cubicBezTo>
                  <a:pt x="14219" y="5343"/>
                  <a:pt x="14219" y="5343"/>
                  <a:pt x="14219" y="5375"/>
                </a:cubicBezTo>
                <a:cubicBezTo>
                  <a:pt x="14188" y="5468"/>
                  <a:pt x="14188" y="5531"/>
                  <a:pt x="14188" y="5625"/>
                </a:cubicBezTo>
                <a:cubicBezTo>
                  <a:pt x="14188" y="5625"/>
                  <a:pt x="14156" y="5656"/>
                  <a:pt x="14188" y="5687"/>
                </a:cubicBezTo>
                <a:cubicBezTo>
                  <a:pt x="14219" y="5718"/>
                  <a:pt x="14250" y="5781"/>
                  <a:pt x="14188" y="5812"/>
                </a:cubicBezTo>
                <a:cubicBezTo>
                  <a:pt x="14156" y="5843"/>
                  <a:pt x="14219" y="5875"/>
                  <a:pt x="14188" y="5875"/>
                </a:cubicBezTo>
                <a:cubicBezTo>
                  <a:pt x="14188" y="5906"/>
                  <a:pt x="14188" y="5937"/>
                  <a:pt x="14188" y="5937"/>
                </a:cubicBezTo>
                <a:cubicBezTo>
                  <a:pt x="14188" y="5937"/>
                  <a:pt x="14188" y="5906"/>
                  <a:pt x="14188" y="5875"/>
                </a:cubicBezTo>
                <a:cubicBezTo>
                  <a:pt x="14156" y="5875"/>
                  <a:pt x="14125" y="5875"/>
                  <a:pt x="14125" y="5906"/>
                </a:cubicBezTo>
                <a:cubicBezTo>
                  <a:pt x="14125" y="6031"/>
                  <a:pt x="14063" y="6187"/>
                  <a:pt x="14094" y="6312"/>
                </a:cubicBezTo>
                <a:cubicBezTo>
                  <a:pt x="14125" y="6343"/>
                  <a:pt x="14219" y="6375"/>
                  <a:pt x="14094" y="6437"/>
                </a:cubicBezTo>
                <a:close/>
                <a:moveTo>
                  <a:pt x="14188" y="8843"/>
                </a:moveTo>
                <a:cubicBezTo>
                  <a:pt x="14188" y="8843"/>
                  <a:pt x="14188" y="8843"/>
                  <a:pt x="14188" y="8843"/>
                </a:cubicBezTo>
                <a:cubicBezTo>
                  <a:pt x="14188" y="8843"/>
                  <a:pt x="14188" y="8843"/>
                  <a:pt x="14188" y="8843"/>
                </a:cubicBezTo>
                <a:cubicBezTo>
                  <a:pt x="14219" y="8843"/>
                  <a:pt x="14219" y="8843"/>
                  <a:pt x="14219" y="8843"/>
                </a:cubicBezTo>
                <a:cubicBezTo>
                  <a:pt x="14219" y="8843"/>
                  <a:pt x="14219" y="8843"/>
                  <a:pt x="14188" y="8843"/>
                </a:cubicBezTo>
                <a:close/>
                <a:moveTo>
                  <a:pt x="14375" y="9093"/>
                </a:moveTo>
                <a:cubicBezTo>
                  <a:pt x="14313" y="9093"/>
                  <a:pt x="14250" y="9062"/>
                  <a:pt x="14219" y="9031"/>
                </a:cubicBezTo>
                <a:cubicBezTo>
                  <a:pt x="14219" y="9031"/>
                  <a:pt x="14219" y="9031"/>
                  <a:pt x="14219" y="9031"/>
                </a:cubicBezTo>
                <a:cubicBezTo>
                  <a:pt x="14219" y="9031"/>
                  <a:pt x="14219" y="9031"/>
                  <a:pt x="14250" y="9031"/>
                </a:cubicBezTo>
                <a:cubicBezTo>
                  <a:pt x="14250" y="9031"/>
                  <a:pt x="14250" y="9031"/>
                  <a:pt x="14250" y="9031"/>
                </a:cubicBezTo>
                <a:cubicBezTo>
                  <a:pt x="14281" y="9000"/>
                  <a:pt x="14313" y="9062"/>
                  <a:pt x="14375" y="9031"/>
                </a:cubicBezTo>
                <a:cubicBezTo>
                  <a:pt x="14375" y="9000"/>
                  <a:pt x="14344" y="9000"/>
                  <a:pt x="14344" y="8968"/>
                </a:cubicBezTo>
                <a:cubicBezTo>
                  <a:pt x="14406" y="9000"/>
                  <a:pt x="14469" y="9000"/>
                  <a:pt x="14531" y="8968"/>
                </a:cubicBezTo>
                <a:cubicBezTo>
                  <a:pt x="14563" y="8968"/>
                  <a:pt x="14594" y="8937"/>
                  <a:pt x="14625" y="8968"/>
                </a:cubicBezTo>
                <a:cubicBezTo>
                  <a:pt x="14656" y="8968"/>
                  <a:pt x="14656" y="9000"/>
                  <a:pt x="14625" y="9000"/>
                </a:cubicBezTo>
                <a:cubicBezTo>
                  <a:pt x="14594" y="9000"/>
                  <a:pt x="14563" y="9000"/>
                  <a:pt x="14563" y="9031"/>
                </a:cubicBezTo>
                <a:cubicBezTo>
                  <a:pt x="14563" y="9031"/>
                  <a:pt x="14563" y="9031"/>
                  <a:pt x="14563" y="9031"/>
                </a:cubicBezTo>
                <a:cubicBezTo>
                  <a:pt x="14500" y="9000"/>
                  <a:pt x="14438" y="9031"/>
                  <a:pt x="14375" y="9093"/>
                </a:cubicBezTo>
                <a:cubicBezTo>
                  <a:pt x="14438" y="9062"/>
                  <a:pt x="14500" y="9125"/>
                  <a:pt x="14531" y="9125"/>
                </a:cubicBezTo>
                <a:cubicBezTo>
                  <a:pt x="14531" y="9125"/>
                  <a:pt x="14531" y="9125"/>
                  <a:pt x="14531" y="9125"/>
                </a:cubicBezTo>
                <a:cubicBezTo>
                  <a:pt x="14563" y="9156"/>
                  <a:pt x="14531" y="9156"/>
                  <a:pt x="14531" y="9156"/>
                </a:cubicBezTo>
                <a:cubicBezTo>
                  <a:pt x="14500" y="9125"/>
                  <a:pt x="14406" y="9156"/>
                  <a:pt x="14375" y="9093"/>
                </a:cubicBezTo>
                <a:close/>
                <a:moveTo>
                  <a:pt x="13781" y="11781"/>
                </a:moveTo>
                <a:cubicBezTo>
                  <a:pt x="13813" y="11812"/>
                  <a:pt x="13813" y="11843"/>
                  <a:pt x="13813" y="11874"/>
                </a:cubicBezTo>
                <a:cubicBezTo>
                  <a:pt x="13781" y="12093"/>
                  <a:pt x="13781" y="12312"/>
                  <a:pt x="13781" y="12562"/>
                </a:cubicBezTo>
                <a:cubicBezTo>
                  <a:pt x="13781" y="12624"/>
                  <a:pt x="13781" y="12656"/>
                  <a:pt x="13844" y="12656"/>
                </a:cubicBezTo>
                <a:cubicBezTo>
                  <a:pt x="14094" y="12718"/>
                  <a:pt x="14344" y="12812"/>
                  <a:pt x="14594" y="12874"/>
                </a:cubicBezTo>
                <a:cubicBezTo>
                  <a:pt x="14625" y="12874"/>
                  <a:pt x="14656" y="12874"/>
                  <a:pt x="14688" y="12906"/>
                </a:cubicBezTo>
                <a:cubicBezTo>
                  <a:pt x="14688" y="12937"/>
                  <a:pt x="14719" y="12937"/>
                  <a:pt x="14750" y="12937"/>
                </a:cubicBezTo>
                <a:cubicBezTo>
                  <a:pt x="14719" y="12937"/>
                  <a:pt x="14688" y="12937"/>
                  <a:pt x="14688" y="12906"/>
                </a:cubicBezTo>
                <a:cubicBezTo>
                  <a:pt x="14563" y="12999"/>
                  <a:pt x="14563" y="12999"/>
                  <a:pt x="14781" y="13093"/>
                </a:cubicBezTo>
                <a:cubicBezTo>
                  <a:pt x="14656" y="13093"/>
                  <a:pt x="14594" y="13062"/>
                  <a:pt x="14563" y="12968"/>
                </a:cubicBezTo>
                <a:cubicBezTo>
                  <a:pt x="14563" y="12906"/>
                  <a:pt x="14531" y="12906"/>
                  <a:pt x="14500" y="12906"/>
                </a:cubicBezTo>
                <a:cubicBezTo>
                  <a:pt x="14313" y="12843"/>
                  <a:pt x="14125" y="12781"/>
                  <a:pt x="13938" y="12749"/>
                </a:cubicBezTo>
                <a:cubicBezTo>
                  <a:pt x="13906" y="12718"/>
                  <a:pt x="13906" y="12718"/>
                  <a:pt x="13875" y="12718"/>
                </a:cubicBezTo>
                <a:cubicBezTo>
                  <a:pt x="13813" y="12718"/>
                  <a:pt x="13750" y="12687"/>
                  <a:pt x="13719" y="12624"/>
                </a:cubicBezTo>
                <a:cubicBezTo>
                  <a:pt x="13750" y="12343"/>
                  <a:pt x="13750" y="12062"/>
                  <a:pt x="13781" y="11781"/>
                </a:cubicBezTo>
                <a:close/>
                <a:moveTo>
                  <a:pt x="13375" y="13968"/>
                </a:move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ubicBezTo>
                  <a:pt x="13375" y="13968"/>
                  <a:pt x="13375" y="13968"/>
                  <a:pt x="13375" y="13968"/>
                </a:cubicBezTo>
                <a:close/>
                <a:moveTo>
                  <a:pt x="13438" y="12562"/>
                </a:moveTo>
                <a:cubicBezTo>
                  <a:pt x="13469" y="12562"/>
                  <a:pt x="13500" y="12562"/>
                  <a:pt x="13531" y="12562"/>
                </a:cubicBezTo>
                <a:cubicBezTo>
                  <a:pt x="13500" y="12624"/>
                  <a:pt x="13438" y="12624"/>
                  <a:pt x="13344" y="12562"/>
                </a:cubicBezTo>
                <a:cubicBezTo>
                  <a:pt x="13375" y="12499"/>
                  <a:pt x="13406" y="12531"/>
                  <a:pt x="13438" y="12562"/>
                </a:cubicBezTo>
                <a:close/>
                <a:moveTo>
                  <a:pt x="12719" y="12718"/>
                </a:moveTo>
                <a:cubicBezTo>
                  <a:pt x="12750" y="12718"/>
                  <a:pt x="12750" y="12718"/>
                  <a:pt x="12781" y="12718"/>
                </a:cubicBezTo>
                <a:cubicBezTo>
                  <a:pt x="12750" y="12718"/>
                  <a:pt x="12750" y="12718"/>
                  <a:pt x="12719" y="12718"/>
                </a:cubicBezTo>
                <a:close/>
                <a:moveTo>
                  <a:pt x="12563" y="12249"/>
                </a:moveTo>
                <a:cubicBezTo>
                  <a:pt x="12563" y="12249"/>
                  <a:pt x="12563" y="12218"/>
                  <a:pt x="12563" y="12218"/>
                </a:cubicBezTo>
                <a:cubicBezTo>
                  <a:pt x="12563" y="12187"/>
                  <a:pt x="12563" y="12124"/>
                  <a:pt x="12563" y="12093"/>
                </a:cubicBezTo>
                <a:cubicBezTo>
                  <a:pt x="12563" y="12124"/>
                  <a:pt x="12563" y="12187"/>
                  <a:pt x="12563" y="12218"/>
                </a:cubicBezTo>
                <a:cubicBezTo>
                  <a:pt x="12594" y="12187"/>
                  <a:pt x="12594" y="12124"/>
                  <a:pt x="12594" y="12093"/>
                </a:cubicBezTo>
                <a:cubicBezTo>
                  <a:pt x="12594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25" y="12093"/>
                </a:cubicBezTo>
                <a:cubicBezTo>
                  <a:pt x="12625" y="12093"/>
                  <a:pt x="12625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093"/>
                  <a:pt x="12656" y="12093"/>
                  <a:pt x="12656" y="12093"/>
                </a:cubicBezTo>
                <a:cubicBezTo>
                  <a:pt x="12656" y="12124"/>
                  <a:pt x="12688" y="12093"/>
                  <a:pt x="12688" y="12093"/>
                </a:cubicBezTo>
                <a:cubicBezTo>
                  <a:pt x="12719" y="12124"/>
                  <a:pt x="12719" y="12124"/>
                  <a:pt x="12719" y="12124"/>
                </a:cubicBezTo>
                <a:cubicBezTo>
                  <a:pt x="12750" y="12156"/>
                  <a:pt x="12813" y="12124"/>
                  <a:pt x="12844" y="12156"/>
                </a:cubicBezTo>
                <a:cubicBezTo>
                  <a:pt x="12875" y="12156"/>
                  <a:pt x="12906" y="12156"/>
                  <a:pt x="12906" y="12218"/>
                </a:cubicBezTo>
                <a:cubicBezTo>
                  <a:pt x="12844" y="12281"/>
                  <a:pt x="12813" y="12312"/>
                  <a:pt x="12688" y="12312"/>
                </a:cubicBezTo>
                <a:cubicBezTo>
                  <a:pt x="12594" y="12312"/>
                  <a:pt x="12594" y="12312"/>
                  <a:pt x="12563" y="12249"/>
                </a:cubicBezTo>
                <a:cubicBezTo>
                  <a:pt x="12563" y="12218"/>
                  <a:pt x="12531" y="12218"/>
                  <a:pt x="12531" y="12187"/>
                </a:cubicBezTo>
                <a:cubicBezTo>
                  <a:pt x="12531" y="12218"/>
                  <a:pt x="12563" y="12218"/>
                  <a:pt x="12563" y="12249"/>
                </a:cubicBezTo>
                <a:close/>
                <a:moveTo>
                  <a:pt x="12500" y="12093"/>
                </a:moveTo>
                <a:cubicBezTo>
                  <a:pt x="12500" y="12062"/>
                  <a:pt x="12500" y="12062"/>
                  <a:pt x="12531" y="12062"/>
                </a:cubicBezTo>
                <a:cubicBezTo>
                  <a:pt x="12531" y="12062"/>
                  <a:pt x="12531" y="12093"/>
                  <a:pt x="12531" y="12093"/>
                </a:cubicBezTo>
                <a:cubicBezTo>
                  <a:pt x="12500" y="12156"/>
                  <a:pt x="12500" y="12218"/>
                  <a:pt x="12500" y="12281"/>
                </a:cubicBezTo>
                <a:cubicBezTo>
                  <a:pt x="12469" y="12249"/>
                  <a:pt x="12469" y="12218"/>
                  <a:pt x="12438" y="12187"/>
                </a:cubicBezTo>
                <a:cubicBezTo>
                  <a:pt x="12469" y="12156"/>
                  <a:pt x="12469" y="12124"/>
                  <a:pt x="12500" y="12093"/>
                </a:cubicBezTo>
                <a:close/>
                <a:moveTo>
                  <a:pt x="12438" y="14031"/>
                </a:moveTo>
                <a:cubicBezTo>
                  <a:pt x="12344" y="14062"/>
                  <a:pt x="12281" y="14093"/>
                  <a:pt x="12219" y="14093"/>
                </a:cubicBezTo>
                <a:cubicBezTo>
                  <a:pt x="12188" y="14093"/>
                  <a:pt x="12125" y="14156"/>
                  <a:pt x="12094" y="14062"/>
                </a:cubicBezTo>
                <a:cubicBezTo>
                  <a:pt x="12188" y="14062"/>
                  <a:pt x="12281" y="13999"/>
                  <a:pt x="12438" y="14031"/>
                </a:cubicBezTo>
                <a:close/>
                <a:moveTo>
                  <a:pt x="8219" y="11281"/>
                </a:moveTo>
                <a:cubicBezTo>
                  <a:pt x="8188" y="11218"/>
                  <a:pt x="8250" y="11187"/>
                  <a:pt x="8250" y="11156"/>
                </a:cubicBezTo>
                <a:cubicBezTo>
                  <a:pt x="8250" y="11156"/>
                  <a:pt x="8250" y="11156"/>
                  <a:pt x="8281" y="11156"/>
                </a:cubicBezTo>
                <a:cubicBezTo>
                  <a:pt x="8281" y="11187"/>
                  <a:pt x="8250" y="11249"/>
                  <a:pt x="8219" y="11281"/>
                </a:cubicBezTo>
                <a:close/>
                <a:moveTo>
                  <a:pt x="8719" y="11437"/>
                </a:moveTo>
                <a:cubicBezTo>
                  <a:pt x="8688" y="11374"/>
                  <a:pt x="8750" y="11343"/>
                  <a:pt x="8750" y="11281"/>
                </a:cubicBezTo>
                <a:cubicBezTo>
                  <a:pt x="8750" y="11343"/>
                  <a:pt x="8750" y="11374"/>
                  <a:pt x="8719" y="11437"/>
                </a:cubicBezTo>
                <a:close/>
                <a:moveTo>
                  <a:pt x="9406" y="11437"/>
                </a:moveTo>
                <a:cubicBezTo>
                  <a:pt x="9313" y="11437"/>
                  <a:pt x="9250" y="11468"/>
                  <a:pt x="9250" y="11531"/>
                </a:cubicBezTo>
                <a:cubicBezTo>
                  <a:pt x="9250" y="11562"/>
                  <a:pt x="9219" y="11562"/>
                  <a:pt x="9219" y="11562"/>
                </a:cubicBezTo>
                <a:cubicBezTo>
                  <a:pt x="9125" y="11499"/>
                  <a:pt x="9094" y="11406"/>
                  <a:pt x="9156" y="11312"/>
                </a:cubicBezTo>
                <a:cubicBezTo>
                  <a:pt x="9188" y="11281"/>
                  <a:pt x="9219" y="11281"/>
                  <a:pt x="9188" y="11249"/>
                </a:cubicBezTo>
                <a:cubicBezTo>
                  <a:pt x="9156" y="11249"/>
                  <a:pt x="9156" y="11249"/>
                  <a:pt x="9125" y="11281"/>
                </a:cubicBezTo>
                <a:cubicBezTo>
                  <a:pt x="9125" y="11281"/>
                  <a:pt x="9125" y="11343"/>
                  <a:pt x="9094" y="11312"/>
                </a:cubicBezTo>
                <a:cubicBezTo>
                  <a:pt x="9031" y="11312"/>
                  <a:pt x="9063" y="11281"/>
                  <a:pt x="9063" y="11249"/>
                </a:cubicBezTo>
                <a:cubicBezTo>
                  <a:pt x="9156" y="11156"/>
                  <a:pt x="9188" y="11156"/>
                  <a:pt x="9250" y="11249"/>
                </a:cubicBezTo>
                <a:cubicBezTo>
                  <a:pt x="9281" y="11281"/>
                  <a:pt x="9344" y="11312"/>
                  <a:pt x="9375" y="11343"/>
                </a:cubicBezTo>
                <a:cubicBezTo>
                  <a:pt x="9344" y="11374"/>
                  <a:pt x="9375" y="11374"/>
                  <a:pt x="9406" y="11406"/>
                </a:cubicBezTo>
                <a:cubicBezTo>
                  <a:pt x="9406" y="11406"/>
                  <a:pt x="9406" y="11437"/>
                  <a:pt x="9406" y="11437"/>
                </a:cubicBezTo>
                <a:close/>
                <a:moveTo>
                  <a:pt x="9438" y="11374"/>
                </a:moveTo>
                <a:cubicBezTo>
                  <a:pt x="9438" y="11406"/>
                  <a:pt x="9438" y="11406"/>
                  <a:pt x="9406" y="11406"/>
                </a:cubicBezTo>
                <a:cubicBezTo>
                  <a:pt x="9438" y="11406"/>
                  <a:pt x="9438" y="11406"/>
                  <a:pt x="9438" y="11374"/>
                </a:cubicBezTo>
                <a:cubicBezTo>
                  <a:pt x="9438" y="11374"/>
                  <a:pt x="9438" y="11374"/>
                  <a:pt x="9438" y="11374"/>
                </a:cubicBezTo>
                <a:close/>
                <a:moveTo>
                  <a:pt x="10531" y="11718"/>
                </a:moveTo>
                <a:cubicBezTo>
                  <a:pt x="10531" y="11781"/>
                  <a:pt x="10531" y="11781"/>
                  <a:pt x="10469" y="11749"/>
                </a:cubicBezTo>
                <a:cubicBezTo>
                  <a:pt x="10438" y="11624"/>
                  <a:pt x="10531" y="11718"/>
                  <a:pt x="10563" y="11687"/>
                </a:cubicBezTo>
                <a:cubicBezTo>
                  <a:pt x="10563" y="11687"/>
                  <a:pt x="10563" y="11687"/>
                  <a:pt x="10563" y="11687"/>
                </a:cubicBezTo>
                <a:cubicBezTo>
                  <a:pt x="10563" y="11687"/>
                  <a:pt x="10531" y="11718"/>
                  <a:pt x="10531" y="11718"/>
                </a:cubicBezTo>
                <a:close/>
                <a:moveTo>
                  <a:pt x="11219" y="11937"/>
                </a:moveTo>
                <a:cubicBezTo>
                  <a:pt x="11188" y="11937"/>
                  <a:pt x="11188" y="11937"/>
                  <a:pt x="11188" y="11937"/>
                </a:cubicBezTo>
                <a:cubicBezTo>
                  <a:pt x="11188" y="11937"/>
                  <a:pt x="11188" y="11937"/>
                  <a:pt x="11219" y="11937"/>
                </a:cubicBezTo>
                <a:cubicBezTo>
                  <a:pt x="11219" y="11937"/>
                  <a:pt x="11219" y="11937"/>
                  <a:pt x="11219" y="11937"/>
                </a:cubicBezTo>
                <a:close/>
                <a:moveTo>
                  <a:pt x="11938" y="14124"/>
                </a:moveTo>
                <a:cubicBezTo>
                  <a:pt x="11969" y="14156"/>
                  <a:pt x="12000" y="14124"/>
                  <a:pt x="12031" y="14156"/>
                </a:cubicBezTo>
                <a:cubicBezTo>
                  <a:pt x="12031" y="14156"/>
                  <a:pt x="12063" y="14156"/>
                  <a:pt x="12063" y="14156"/>
                </a:cubicBezTo>
                <a:cubicBezTo>
                  <a:pt x="12063" y="14156"/>
                  <a:pt x="12031" y="14156"/>
                  <a:pt x="12031" y="14156"/>
                </a:cubicBezTo>
                <a:cubicBezTo>
                  <a:pt x="11906" y="14218"/>
                  <a:pt x="11781" y="14249"/>
                  <a:pt x="11656" y="14281"/>
                </a:cubicBezTo>
                <a:cubicBezTo>
                  <a:pt x="11625" y="14281"/>
                  <a:pt x="11625" y="14249"/>
                  <a:pt x="11625" y="14218"/>
                </a:cubicBezTo>
                <a:cubicBezTo>
                  <a:pt x="11625" y="14218"/>
                  <a:pt x="11625" y="14218"/>
                  <a:pt x="11594" y="14218"/>
                </a:cubicBezTo>
                <a:cubicBezTo>
                  <a:pt x="11625" y="14218"/>
                  <a:pt x="11625" y="14218"/>
                  <a:pt x="11625" y="14218"/>
                </a:cubicBezTo>
                <a:cubicBezTo>
                  <a:pt x="11719" y="14187"/>
                  <a:pt x="11813" y="14156"/>
                  <a:pt x="11938" y="14124"/>
                </a:cubicBezTo>
                <a:close/>
                <a:moveTo>
                  <a:pt x="11563" y="13999"/>
                </a:moveTo>
                <a:cubicBezTo>
                  <a:pt x="11594" y="13999"/>
                  <a:pt x="11625" y="13906"/>
                  <a:pt x="11688" y="13937"/>
                </a:cubicBezTo>
                <a:cubicBezTo>
                  <a:pt x="11656" y="13968"/>
                  <a:pt x="11594" y="13999"/>
                  <a:pt x="11594" y="14031"/>
                </a:cubicBezTo>
                <a:cubicBezTo>
                  <a:pt x="11563" y="14031"/>
                  <a:pt x="11531" y="13999"/>
                  <a:pt x="11563" y="13999"/>
                </a:cubicBezTo>
                <a:close/>
                <a:moveTo>
                  <a:pt x="8344" y="11624"/>
                </a:moveTo>
                <a:cubicBezTo>
                  <a:pt x="8375" y="11593"/>
                  <a:pt x="8438" y="11562"/>
                  <a:pt x="8469" y="11531"/>
                </a:cubicBezTo>
                <a:cubicBezTo>
                  <a:pt x="8500" y="11531"/>
                  <a:pt x="8500" y="11562"/>
                  <a:pt x="8500" y="11562"/>
                </a:cubicBezTo>
                <a:cubicBezTo>
                  <a:pt x="8500" y="11593"/>
                  <a:pt x="8500" y="11593"/>
                  <a:pt x="8469" y="11624"/>
                </a:cubicBezTo>
                <a:cubicBezTo>
                  <a:pt x="8438" y="11656"/>
                  <a:pt x="8406" y="11656"/>
                  <a:pt x="8438" y="11718"/>
                </a:cubicBezTo>
                <a:cubicBezTo>
                  <a:pt x="8469" y="11749"/>
                  <a:pt x="8500" y="11749"/>
                  <a:pt x="8531" y="11718"/>
                </a:cubicBezTo>
                <a:cubicBezTo>
                  <a:pt x="8563" y="11718"/>
                  <a:pt x="8563" y="11687"/>
                  <a:pt x="8563" y="11687"/>
                </a:cubicBezTo>
                <a:cubicBezTo>
                  <a:pt x="8563" y="11687"/>
                  <a:pt x="8563" y="11687"/>
                  <a:pt x="8563" y="11687"/>
                </a:cubicBezTo>
                <a:cubicBezTo>
                  <a:pt x="8594" y="11687"/>
                  <a:pt x="8625" y="11718"/>
                  <a:pt x="8594" y="11749"/>
                </a:cubicBezTo>
                <a:cubicBezTo>
                  <a:pt x="8500" y="11812"/>
                  <a:pt x="8563" y="11874"/>
                  <a:pt x="8625" y="11906"/>
                </a:cubicBezTo>
                <a:cubicBezTo>
                  <a:pt x="8625" y="11906"/>
                  <a:pt x="8625" y="11906"/>
                  <a:pt x="8625" y="11874"/>
                </a:cubicBezTo>
                <a:cubicBezTo>
                  <a:pt x="8625" y="11906"/>
                  <a:pt x="8625" y="11906"/>
                  <a:pt x="8625" y="11906"/>
                </a:cubicBezTo>
                <a:cubicBezTo>
                  <a:pt x="8625" y="11937"/>
                  <a:pt x="8625" y="11968"/>
                  <a:pt x="8594" y="11968"/>
                </a:cubicBezTo>
                <a:cubicBezTo>
                  <a:pt x="8563" y="11968"/>
                  <a:pt x="8531" y="11937"/>
                  <a:pt x="8531" y="11937"/>
                </a:cubicBezTo>
                <a:cubicBezTo>
                  <a:pt x="8500" y="11937"/>
                  <a:pt x="8469" y="11968"/>
                  <a:pt x="8469" y="11999"/>
                </a:cubicBezTo>
                <a:cubicBezTo>
                  <a:pt x="8469" y="11968"/>
                  <a:pt x="8500" y="11937"/>
                  <a:pt x="8531" y="11937"/>
                </a:cubicBezTo>
                <a:cubicBezTo>
                  <a:pt x="8500" y="11843"/>
                  <a:pt x="8406" y="11781"/>
                  <a:pt x="8375" y="11718"/>
                </a:cubicBezTo>
                <a:cubicBezTo>
                  <a:pt x="8344" y="11687"/>
                  <a:pt x="8313" y="11656"/>
                  <a:pt x="8344" y="11624"/>
                </a:cubicBezTo>
                <a:close/>
                <a:moveTo>
                  <a:pt x="7844" y="12031"/>
                </a:moveTo>
                <a:cubicBezTo>
                  <a:pt x="7875" y="12031"/>
                  <a:pt x="7906" y="12062"/>
                  <a:pt x="7938" y="12093"/>
                </a:cubicBezTo>
                <a:cubicBezTo>
                  <a:pt x="7969" y="12156"/>
                  <a:pt x="8031" y="12218"/>
                  <a:pt x="8094" y="12281"/>
                </a:cubicBezTo>
                <a:cubicBezTo>
                  <a:pt x="8094" y="12312"/>
                  <a:pt x="8125" y="12343"/>
                  <a:pt x="8094" y="12374"/>
                </a:cubicBezTo>
                <a:cubicBezTo>
                  <a:pt x="8063" y="12406"/>
                  <a:pt x="8063" y="12343"/>
                  <a:pt x="8031" y="12343"/>
                </a:cubicBezTo>
                <a:cubicBezTo>
                  <a:pt x="7969" y="12281"/>
                  <a:pt x="7906" y="12187"/>
                  <a:pt x="7875" y="12124"/>
                </a:cubicBezTo>
                <a:cubicBezTo>
                  <a:pt x="7844" y="12093"/>
                  <a:pt x="7844" y="12062"/>
                  <a:pt x="7844" y="12031"/>
                </a:cubicBezTo>
                <a:close/>
                <a:moveTo>
                  <a:pt x="7250" y="12281"/>
                </a:moveTo>
                <a:cubicBezTo>
                  <a:pt x="7219" y="12374"/>
                  <a:pt x="7156" y="12437"/>
                  <a:pt x="7125" y="12531"/>
                </a:cubicBezTo>
                <a:cubicBezTo>
                  <a:pt x="7094" y="12562"/>
                  <a:pt x="7094" y="12562"/>
                  <a:pt x="7063" y="12562"/>
                </a:cubicBezTo>
                <a:cubicBezTo>
                  <a:pt x="7063" y="12499"/>
                  <a:pt x="7094" y="12468"/>
                  <a:pt x="7125" y="12437"/>
                </a:cubicBezTo>
                <a:cubicBezTo>
                  <a:pt x="7250" y="12218"/>
                  <a:pt x="7281" y="11968"/>
                  <a:pt x="7344" y="11718"/>
                </a:cubicBezTo>
                <a:cubicBezTo>
                  <a:pt x="7344" y="11687"/>
                  <a:pt x="7344" y="11687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56"/>
                  <a:pt x="7375" y="11656"/>
                  <a:pt x="7375" y="11656"/>
                </a:cubicBezTo>
                <a:cubicBezTo>
                  <a:pt x="7375" y="11687"/>
                  <a:pt x="7406" y="11687"/>
                  <a:pt x="7438" y="11656"/>
                </a:cubicBezTo>
                <a:cubicBezTo>
                  <a:pt x="7438" y="11656"/>
                  <a:pt x="7438" y="11687"/>
                  <a:pt x="7438" y="11687"/>
                </a:cubicBezTo>
                <a:cubicBezTo>
                  <a:pt x="7438" y="11687"/>
                  <a:pt x="7438" y="11687"/>
                  <a:pt x="7438" y="11687"/>
                </a:cubicBezTo>
                <a:cubicBezTo>
                  <a:pt x="7375" y="11874"/>
                  <a:pt x="7313" y="12062"/>
                  <a:pt x="7250" y="12281"/>
                </a:cubicBezTo>
                <a:close/>
                <a:moveTo>
                  <a:pt x="7813" y="12624"/>
                </a:moveTo>
                <a:cubicBezTo>
                  <a:pt x="7750" y="12656"/>
                  <a:pt x="7750" y="12593"/>
                  <a:pt x="7750" y="12593"/>
                </a:cubicBezTo>
                <a:cubicBezTo>
                  <a:pt x="7656" y="12499"/>
                  <a:pt x="7563" y="12437"/>
                  <a:pt x="7531" y="12312"/>
                </a:cubicBezTo>
                <a:cubicBezTo>
                  <a:pt x="7531" y="12312"/>
                  <a:pt x="7531" y="12312"/>
                  <a:pt x="7563" y="12281"/>
                </a:cubicBezTo>
                <a:cubicBezTo>
                  <a:pt x="7594" y="12281"/>
                  <a:pt x="7594" y="12249"/>
                  <a:pt x="7625" y="12218"/>
                </a:cubicBezTo>
                <a:cubicBezTo>
                  <a:pt x="7656" y="12218"/>
                  <a:pt x="7688" y="12187"/>
                  <a:pt x="7719" y="12218"/>
                </a:cubicBezTo>
                <a:cubicBezTo>
                  <a:pt x="7719" y="12249"/>
                  <a:pt x="7719" y="12249"/>
                  <a:pt x="7688" y="12281"/>
                </a:cubicBezTo>
                <a:cubicBezTo>
                  <a:pt x="7656" y="12312"/>
                  <a:pt x="7625" y="12312"/>
                  <a:pt x="7656" y="12374"/>
                </a:cubicBezTo>
                <a:cubicBezTo>
                  <a:pt x="7688" y="12406"/>
                  <a:pt x="7719" y="12406"/>
                  <a:pt x="7750" y="12374"/>
                </a:cubicBezTo>
                <a:cubicBezTo>
                  <a:pt x="7750" y="12343"/>
                  <a:pt x="7781" y="12343"/>
                  <a:pt x="7813" y="12374"/>
                </a:cubicBezTo>
                <a:cubicBezTo>
                  <a:pt x="7813" y="12374"/>
                  <a:pt x="7813" y="12406"/>
                  <a:pt x="7781" y="12406"/>
                </a:cubicBezTo>
                <a:cubicBezTo>
                  <a:pt x="7750" y="12468"/>
                  <a:pt x="7750" y="12499"/>
                  <a:pt x="7781" y="12531"/>
                </a:cubicBezTo>
                <a:cubicBezTo>
                  <a:pt x="7813" y="12562"/>
                  <a:pt x="7813" y="12593"/>
                  <a:pt x="7813" y="12624"/>
                </a:cubicBezTo>
                <a:close/>
                <a:moveTo>
                  <a:pt x="8031" y="12406"/>
                </a:moveTo>
                <a:cubicBezTo>
                  <a:pt x="8031" y="12406"/>
                  <a:pt x="8031" y="12437"/>
                  <a:pt x="8031" y="12437"/>
                </a:cubicBezTo>
                <a:cubicBezTo>
                  <a:pt x="8000" y="12437"/>
                  <a:pt x="8000" y="12468"/>
                  <a:pt x="7969" y="12437"/>
                </a:cubicBezTo>
                <a:cubicBezTo>
                  <a:pt x="7906" y="12374"/>
                  <a:pt x="7844" y="12312"/>
                  <a:pt x="7813" y="12249"/>
                </a:cubicBezTo>
                <a:cubicBezTo>
                  <a:pt x="7781" y="12249"/>
                  <a:pt x="7781" y="12218"/>
                  <a:pt x="7813" y="12218"/>
                </a:cubicBezTo>
                <a:cubicBezTo>
                  <a:pt x="7844" y="12187"/>
                  <a:pt x="7844" y="12218"/>
                  <a:pt x="7875" y="12218"/>
                </a:cubicBezTo>
                <a:cubicBezTo>
                  <a:pt x="7938" y="12281"/>
                  <a:pt x="7969" y="12343"/>
                  <a:pt x="8031" y="12406"/>
                </a:cubicBezTo>
                <a:cubicBezTo>
                  <a:pt x="8063" y="12406"/>
                  <a:pt x="8094" y="12406"/>
                  <a:pt x="8125" y="12406"/>
                </a:cubicBezTo>
                <a:cubicBezTo>
                  <a:pt x="8094" y="12406"/>
                  <a:pt x="8063" y="12406"/>
                  <a:pt x="8031" y="12406"/>
                </a:cubicBezTo>
                <a:close/>
                <a:moveTo>
                  <a:pt x="8188" y="12281"/>
                </a:moveTo>
                <a:cubicBezTo>
                  <a:pt x="8156" y="12312"/>
                  <a:pt x="8125" y="12218"/>
                  <a:pt x="8094" y="12187"/>
                </a:cubicBezTo>
                <a:cubicBezTo>
                  <a:pt x="8063" y="12156"/>
                  <a:pt x="8031" y="12093"/>
                  <a:pt x="8000" y="12062"/>
                </a:cubicBezTo>
                <a:cubicBezTo>
                  <a:pt x="7969" y="12062"/>
                  <a:pt x="7969" y="12093"/>
                  <a:pt x="7938" y="12093"/>
                </a:cubicBezTo>
                <a:cubicBezTo>
                  <a:pt x="7969" y="12093"/>
                  <a:pt x="7969" y="12062"/>
                  <a:pt x="8000" y="12062"/>
                </a:cubicBezTo>
                <a:cubicBezTo>
                  <a:pt x="8000" y="12062"/>
                  <a:pt x="8000" y="12062"/>
                  <a:pt x="8000" y="12062"/>
                </a:cubicBezTo>
                <a:cubicBezTo>
                  <a:pt x="7969" y="12062"/>
                  <a:pt x="7969" y="12062"/>
                  <a:pt x="7969" y="12031"/>
                </a:cubicBezTo>
                <a:cubicBezTo>
                  <a:pt x="7969" y="12062"/>
                  <a:pt x="7969" y="12062"/>
                  <a:pt x="8000" y="12062"/>
                </a:cubicBezTo>
                <a:cubicBezTo>
                  <a:pt x="8000" y="12031"/>
                  <a:pt x="8031" y="12031"/>
                  <a:pt x="8031" y="11999"/>
                </a:cubicBezTo>
                <a:cubicBezTo>
                  <a:pt x="8063" y="12062"/>
                  <a:pt x="8125" y="12093"/>
                  <a:pt x="8156" y="12124"/>
                </a:cubicBezTo>
                <a:cubicBezTo>
                  <a:pt x="8156" y="12187"/>
                  <a:pt x="8250" y="12218"/>
                  <a:pt x="8188" y="12281"/>
                </a:cubicBezTo>
                <a:close/>
                <a:moveTo>
                  <a:pt x="8188" y="12093"/>
                </a:moveTo>
                <a:cubicBezTo>
                  <a:pt x="8125" y="12062"/>
                  <a:pt x="8125" y="12031"/>
                  <a:pt x="8063" y="11968"/>
                </a:cubicBezTo>
                <a:cubicBezTo>
                  <a:pt x="8125" y="11937"/>
                  <a:pt x="8156" y="11937"/>
                  <a:pt x="8188" y="11874"/>
                </a:cubicBezTo>
                <a:cubicBezTo>
                  <a:pt x="8219" y="11843"/>
                  <a:pt x="8281" y="11843"/>
                  <a:pt x="8313" y="11874"/>
                </a:cubicBezTo>
                <a:cubicBezTo>
                  <a:pt x="8438" y="11937"/>
                  <a:pt x="8438" y="12062"/>
                  <a:pt x="8375" y="12156"/>
                </a:cubicBezTo>
                <a:cubicBezTo>
                  <a:pt x="8313" y="12187"/>
                  <a:pt x="8375" y="12218"/>
                  <a:pt x="8406" y="12249"/>
                </a:cubicBezTo>
                <a:cubicBezTo>
                  <a:pt x="8406" y="12218"/>
                  <a:pt x="8438" y="12187"/>
                  <a:pt x="8438" y="12187"/>
                </a:cubicBezTo>
                <a:cubicBezTo>
                  <a:pt x="8438" y="12187"/>
                  <a:pt x="8406" y="12218"/>
                  <a:pt x="8406" y="12249"/>
                </a:cubicBezTo>
                <a:cubicBezTo>
                  <a:pt x="8375" y="12281"/>
                  <a:pt x="8375" y="12312"/>
                  <a:pt x="8375" y="12343"/>
                </a:cubicBezTo>
                <a:cubicBezTo>
                  <a:pt x="8375" y="12312"/>
                  <a:pt x="8344" y="12312"/>
                  <a:pt x="8344" y="12312"/>
                </a:cubicBezTo>
                <a:cubicBezTo>
                  <a:pt x="8281" y="12218"/>
                  <a:pt x="8250" y="12156"/>
                  <a:pt x="8188" y="12093"/>
                </a:cubicBezTo>
                <a:close/>
                <a:moveTo>
                  <a:pt x="8375" y="12468"/>
                </a:moveTo>
                <a:cubicBezTo>
                  <a:pt x="8344" y="12468"/>
                  <a:pt x="8344" y="12468"/>
                  <a:pt x="8344" y="12468"/>
                </a:cubicBezTo>
                <a:cubicBezTo>
                  <a:pt x="8344" y="12468"/>
                  <a:pt x="8344" y="12468"/>
                  <a:pt x="8375" y="12468"/>
                </a:cubicBezTo>
                <a:cubicBezTo>
                  <a:pt x="8406" y="12562"/>
                  <a:pt x="8469" y="12593"/>
                  <a:pt x="8563" y="12593"/>
                </a:cubicBezTo>
                <a:cubicBezTo>
                  <a:pt x="8469" y="12593"/>
                  <a:pt x="8406" y="12562"/>
                  <a:pt x="8375" y="12468"/>
                </a:cubicBezTo>
                <a:close/>
                <a:moveTo>
                  <a:pt x="10250" y="13749"/>
                </a:moveTo>
                <a:cubicBezTo>
                  <a:pt x="10281" y="13718"/>
                  <a:pt x="10313" y="13749"/>
                  <a:pt x="10375" y="13718"/>
                </a:cubicBezTo>
                <a:cubicBezTo>
                  <a:pt x="10344" y="13749"/>
                  <a:pt x="10281" y="13749"/>
                  <a:pt x="10250" y="13749"/>
                </a:cubicBezTo>
                <a:close/>
                <a:moveTo>
                  <a:pt x="9844" y="13874"/>
                </a:moveTo>
                <a:cubicBezTo>
                  <a:pt x="9875" y="13812"/>
                  <a:pt x="9906" y="13874"/>
                  <a:pt x="9938" y="13843"/>
                </a:cubicBezTo>
                <a:cubicBezTo>
                  <a:pt x="9938" y="13781"/>
                  <a:pt x="9938" y="13781"/>
                  <a:pt x="9969" y="13749"/>
                </a:cubicBezTo>
                <a:cubicBezTo>
                  <a:pt x="9938" y="13781"/>
                  <a:pt x="9938" y="13781"/>
                  <a:pt x="9938" y="13843"/>
                </a:cubicBezTo>
                <a:cubicBezTo>
                  <a:pt x="9938" y="13843"/>
                  <a:pt x="9969" y="13843"/>
                  <a:pt x="9969" y="13843"/>
                </a:cubicBezTo>
                <a:cubicBezTo>
                  <a:pt x="9969" y="13843"/>
                  <a:pt x="9969" y="13843"/>
                  <a:pt x="9969" y="13843"/>
                </a:cubicBezTo>
                <a:cubicBezTo>
                  <a:pt x="10000" y="13843"/>
                  <a:pt x="10000" y="13843"/>
                  <a:pt x="10031" y="13843"/>
                </a:cubicBezTo>
                <a:cubicBezTo>
                  <a:pt x="10031" y="13843"/>
                  <a:pt x="10063" y="13843"/>
                  <a:pt x="10063" y="13843"/>
                </a:cubicBezTo>
                <a:cubicBezTo>
                  <a:pt x="10094" y="13812"/>
                  <a:pt x="10094" y="13812"/>
                  <a:pt x="10125" y="13812"/>
                </a:cubicBezTo>
                <a:cubicBezTo>
                  <a:pt x="10094" y="13812"/>
                  <a:pt x="10094" y="13812"/>
                  <a:pt x="10063" y="13843"/>
                </a:cubicBezTo>
                <a:cubicBezTo>
                  <a:pt x="10094" y="13843"/>
                  <a:pt x="10125" y="13843"/>
                  <a:pt x="10156" y="13843"/>
                </a:cubicBezTo>
                <a:cubicBezTo>
                  <a:pt x="10063" y="13874"/>
                  <a:pt x="9938" y="13874"/>
                  <a:pt x="9844" y="13874"/>
                </a:cubicBezTo>
                <a:close/>
                <a:moveTo>
                  <a:pt x="10438" y="14468"/>
                </a:moveTo>
                <a:cubicBezTo>
                  <a:pt x="10438" y="14468"/>
                  <a:pt x="10438" y="14468"/>
                  <a:pt x="10438" y="14468"/>
                </a:cubicBezTo>
                <a:cubicBezTo>
                  <a:pt x="10438" y="14312"/>
                  <a:pt x="10438" y="14187"/>
                  <a:pt x="10438" y="14062"/>
                </a:cubicBezTo>
                <a:cubicBezTo>
                  <a:pt x="10438" y="14062"/>
                  <a:pt x="10438" y="14062"/>
                  <a:pt x="10438" y="14062"/>
                </a:cubicBezTo>
                <a:cubicBezTo>
                  <a:pt x="10438" y="14187"/>
                  <a:pt x="10438" y="14312"/>
                  <a:pt x="10438" y="14468"/>
                </a:cubicBezTo>
                <a:close/>
                <a:moveTo>
                  <a:pt x="10531" y="14468"/>
                </a:moveTo>
                <a:cubicBezTo>
                  <a:pt x="10531" y="14468"/>
                  <a:pt x="10531" y="14468"/>
                  <a:pt x="10531" y="14468"/>
                </a:cubicBezTo>
                <a:cubicBezTo>
                  <a:pt x="10531" y="14343"/>
                  <a:pt x="10531" y="14187"/>
                  <a:pt x="10531" y="14062"/>
                </a:cubicBezTo>
                <a:cubicBezTo>
                  <a:pt x="10531" y="14062"/>
                  <a:pt x="10531" y="14062"/>
                  <a:pt x="10531" y="14062"/>
                </a:cubicBezTo>
                <a:cubicBezTo>
                  <a:pt x="10531" y="14187"/>
                  <a:pt x="10531" y="14343"/>
                  <a:pt x="10531" y="14468"/>
                </a:cubicBezTo>
                <a:close/>
                <a:moveTo>
                  <a:pt x="10656" y="13968"/>
                </a:moveTo>
                <a:cubicBezTo>
                  <a:pt x="10625" y="13968"/>
                  <a:pt x="10625" y="13968"/>
                  <a:pt x="10594" y="13968"/>
                </a:cubicBezTo>
                <a:cubicBezTo>
                  <a:pt x="10594" y="13968"/>
                  <a:pt x="10594" y="13999"/>
                  <a:pt x="10563" y="13999"/>
                </a:cubicBezTo>
                <a:cubicBezTo>
                  <a:pt x="10563" y="13999"/>
                  <a:pt x="10563" y="13999"/>
                  <a:pt x="10563" y="13999"/>
                </a:cubicBezTo>
                <a:cubicBezTo>
                  <a:pt x="10563" y="13968"/>
                  <a:pt x="10563" y="13937"/>
                  <a:pt x="10594" y="13906"/>
                </a:cubicBezTo>
                <a:cubicBezTo>
                  <a:pt x="10719" y="13874"/>
                  <a:pt x="10844" y="13874"/>
                  <a:pt x="10938" y="13843"/>
                </a:cubicBezTo>
                <a:cubicBezTo>
                  <a:pt x="10969" y="13843"/>
                  <a:pt x="11000" y="13843"/>
                  <a:pt x="11000" y="13874"/>
                </a:cubicBezTo>
                <a:cubicBezTo>
                  <a:pt x="10875" y="13906"/>
                  <a:pt x="10781" y="13937"/>
                  <a:pt x="10656" y="13968"/>
                </a:cubicBezTo>
                <a:close/>
                <a:moveTo>
                  <a:pt x="10844" y="13593"/>
                </a:moveTo>
                <a:cubicBezTo>
                  <a:pt x="10844" y="13593"/>
                  <a:pt x="10813" y="13593"/>
                  <a:pt x="10813" y="13593"/>
                </a:cubicBezTo>
                <a:cubicBezTo>
                  <a:pt x="10813" y="13593"/>
                  <a:pt x="10844" y="13593"/>
                  <a:pt x="10844" y="13593"/>
                </a:cubicBezTo>
                <a:cubicBezTo>
                  <a:pt x="10969" y="13624"/>
                  <a:pt x="11063" y="13624"/>
                  <a:pt x="11188" y="13656"/>
                </a:cubicBezTo>
                <a:cubicBezTo>
                  <a:pt x="11063" y="13624"/>
                  <a:pt x="10969" y="13624"/>
                  <a:pt x="10844" y="13593"/>
                </a:cubicBezTo>
                <a:close/>
                <a:moveTo>
                  <a:pt x="9000" y="15312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00" y="15312"/>
                </a:cubicBezTo>
                <a:close/>
                <a:moveTo>
                  <a:pt x="9000" y="15281"/>
                </a:moveTo>
                <a:cubicBezTo>
                  <a:pt x="9000" y="15281"/>
                  <a:pt x="9000" y="15281"/>
                  <a:pt x="9000" y="15281"/>
                </a:cubicBezTo>
                <a:cubicBezTo>
                  <a:pt x="9000" y="15281"/>
                  <a:pt x="9000" y="15281"/>
                  <a:pt x="9031" y="15281"/>
                </a:cubicBezTo>
                <a:cubicBezTo>
                  <a:pt x="9000" y="15281"/>
                  <a:pt x="9000" y="15281"/>
                  <a:pt x="9000" y="15281"/>
                </a:cubicBezTo>
                <a:close/>
                <a:moveTo>
                  <a:pt x="8656" y="15312"/>
                </a:move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ubicBezTo>
                  <a:pt x="8656" y="15312"/>
                  <a:pt x="8656" y="15312"/>
                  <a:pt x="8656" y="15312"/>
                </a:cubicBezTo>
                <a:close/>
                <a:moveTo>
                  <a:pt x="781" y="16687"/>
                </a:move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56"/>
                </a:cubicBezTo>
                <a:cubicBezTo>
                  <a:pt x="781" y="16656"/>
                  <a:pt x="781" y="16656"/>
                  <a:pt x="781" y="16687"/>
                </a:cubicBezTo>
                <a:close/>
                <a:moveTo>
                  <a:pt x="344" y="17968"/>
                </a:moveTo>
                <a:cubicBezTo>
                  <a:pt x="375" y="17968"/>
                  <a:pt x="406" y="17999"/>
                  <a:pt x="406" y="17968"/>
                </a:cubicBezTo>
                <a:cubicBezTo>
                  <a:pt x="375" y="17937"/>
                  <a:pt x="406" y="17906"/>
                  <a:pt x="406" y="17874"/>
                </a:cubicBezTo>
                <a:cubicBezTo>
                  <a:pt x="375" y="17812"/>
                  <a:pt x="469" y="17781"/>
                  <a:pt x="469" y="17749"/>
                </a:cubicBezTo>
                <a:cubicBezTo>
                  <a:pt x="531" y="17718"/>
                  <a:pt x="531" y="17749"/>
                  <a:pt x="531" y="17781"/>
                </a:cubicBezTo>
                <a:cubicBezTo>
                  <a:pt x="531" y="17812"/>
                  <a:pt x="531" y="17812"/>
                  <a:pt x="531" y="17812"/>
                </a:cubicBezTo>
                <a:cubicBezTo>
                  <a:pt x="500" y="17906"/>
                  <a:pt x="531" y="17999"/>
                  <a:pt x="469" y="18062"/>
                </a:cubicBezTo>
                <a:cubicBezTo>
                  <a:pt x="469" y="18093"/>
                  <a:pt x="469" y="18093"/>
                  <a:pt x="438" y="18124"/>
                </a:cubicBezTo>
                <a:cubicBezTo>
                  <a:pt x="469" y="18093"/>
                  <a:pt x="469" y="18093"/>
                  <a:pt x="469" y="18062"/>
                </a:cubicBezTo>
                <a:cubicBezTo>
                  <a:pt x="438" y="18031"/>
                  <a:pt x="406" y="18093"/>
                  <a:pt x="375" y="18062"/>
                </a:cubicBezTo>
                <a:cubicBezTo>
                  <a:pt x="375" y="18062"/>
                  <a:pt x="375" y="18031"/>
                  <a:pt x="375" y="18031"/>
                </a:cubicBezTo>
                <a:cubicBezTo>
                  <a:pt x="281" y="18031"/>
                  <a:pt x="344" y="17999"/>
                  <a:pt x="344" y="17968"/>
                </a:cubicBezTo>
                <a:close/>
                <a:moveTo>
                  <a:pt x="469" y="17749"/>
                </a:moveTo>
                <a:cubicBezTo>
                  <a:pt x="438" y="17718"/>
                  <a:pt x="406" y="17749"/>
                  <a:pt x="375" y="17781"/>
                </a:cubicBezTo>
                <a:cubicBezTo>
                  <a:pt x="344" y="17812"/>
                  <a:pt x="344" y="17781"/>
                  <a:pt x="344" y="17749"/>
                </a:cubicBezTo>
                <a:cubicBezTo>
                  <a:pt x="375" y="17718"/>
                  <a:pt x="344" y="17687"/>
                  <a:pt x="406" y="17687"/>
                </a:cubicBezTo>
                <a:cubicBezTo>
                  <a:pt x="438" y="17656"/>
                  <a:pt x="438" y="17593"/>
                  <a:pt x="500" y="17656"/>
                </a:cubicBezTo>
                <a:cubicBezTo>
                  <a:pt x="531" y="17687"/>
                  <a:pt x="469" y="17718"/>
                  <a:pt x="469" y="17749"/>
                </a:cubicBezTo>
                <a:close/>
                <a:moveTo>
                  <a:pt x="438" y="18374"/>
                </a:moveTo>
                <a:cubicBezTo>
                  <a:pt x="438" y="18281"/>
                  <a:pt x="531" y="18312"/>
                  <a:pt x="563" y="18249"/>
                </a:cubicBezTo>
                <a:cubicBezTo>
                  <a:pt x="500" y="18249"/>
                  <a:pt x="438" y="18218"/>
                  <a:pt x="406" y="18281"/>
                </a:cubicBezTo>
                <a:cubicBezTo>
                  <a:pt x="406" y="18281"/>
                  <a:pt x="375" y="18281"/>
                  <a:pt x="344" y="18281"/>
                </a:cubicBezTo>
                <a:cubicBezTo>
                  <a:pt x="344" y="18249"/>
                  <a:pt x="344" y="18218"/>
                  <a:pt x="375" y="18218"/>
                </a:cubicBezTo>
                <a:cubicBezTo>
                  <a:pt x="438" y="18218"/>
                  <a:pt x="438" y="18187"/>
                  <a:pt x="438" y="18156"/>
                </a:cubicBezTo>
                <a:cubicBezTo>
                  <a:pt x="469" y="18156"/>
                  <a:pt x="469" y="18156"/>
                  <a:pt x="500" y="18156"/>
                </a:cubicBezTo>
                <a:cubicBezTo>
                  <a:pt x="531" y="18187"/>
                  <a:pt x="531" y="18218"/>
                  <a:pt x="563" y="18249"/>
                </a:cubicBezTo>
                <a:cubicBezTo>
                  <a:pt x="594" y="18406"/>
                  <a:pt x="469" y="18312"/>
                  <a:pt x="438" y="18374"/>
                </a:cubicBezTo>
                <a:close/>
                <a:moveTo>
                  <a:pt x="344" y="19968"/>
                </a:moveTo>
                <a:cubicBezTo>
                  <a:pt x="344" y="19999"/>
                  <a:pt x="125" y="20156"/>
                  <a:pt x="31" y="20156"/>
                </a:cubicBezTo>
                <a:cubicBezTo>
                  <a:pt x="156" y="20062"/>
                  <a:pt x="219" y="19999"/>
                  <a:pt x="313" y="19968"/>
                </a:cubicBezTo>
                <a:cubicBezTo>
                  <a:pt x="313" y="19937"/>
                  <a:pt x="344" y="19937"/>
                  <a:pt x="344" y="19968"/>
                </a:cubicBezTo>
                <a:cubicBezTo>
                  <a:pt x="344" y="19968"/>
                  <a:pt x="344" y="19968"/>
                  <a:pt x="344" y="19968"/>
                </a:cubicBezTo>
                <a:close/>
                <a:moveTo>
                  <a:pt x="1000" y="19499"/>
                </a:moveTo>
                <a:cubicBezTo>
                  <a:pt x="969" y="19468"/>
                  <a:pt x="875" y="19562"/>
                  <a:pt x="906" y="19437"/>
                </a:cubicBezTo>
                <a:cubicBezTo>
                  <a:pt x="938" y="19374"/>
                  <a:pt x="1000" y="19406"/>
                  <a:pt x="1031" y="19437"/>
                </a:cubicBezTo>
                <a:cubicBezTo>
                  <a:pt x="1031" y="19499"/>
                  <a:pt x="1000" y="19531"/>
                  <a:pt x="1000" y="19499"/>
                </a:cubicBezTo>
                <a:close/>
                <a:moveTo>
                  <a:pt x="1094" y="19437"/>
                </a:moveTo>
                <a:cubicBezTo>
                  <a:pt x="1063" y="19468"/>
                  <a:pt x="1063" y="19406"/>
                  <a:pt x="1031" y="19406"/>
                </a:cubicBezTo>
                <a:cubicBezTo>
                  <a:pt x="1031" y="19374"/>
                  <a:pt x="1000" y="19374"/>
                  <a:pt x="1031" y="19343"/>
                </a:cubicBezTo>
                <a:cubicBezTo>
                  <a:pt x="1125" y="19312"/>
                  <a:pt x="1188" y="19281"/>
                  <a:pt x="1250" y="19312"/>
                </a:cubicBezTo>
                <a:cubicBezTo>
                  <a:pt x="1219" y="19374"/>
                  <a:pt x="1156" y="19406"/>
                  <a:pt x="1094" y="19437"/>
                </a:cubicBezTo>
                <a:close/>
                <a:moveTo>
                  <a:pt x="1156" y="18437"/>
                </a:moveTo>
                <a:cubicBezTo>
                  <a:pt x="1156" y="18437"/>
                  <a:pt x="1156" y="18437"/>
                  <a:pt x="1125" y="18468"/>
                </a:cubicBezTo>
                <a:cubicBezTo>
                  <a:pt x="1156" y="18468"/>
                  <a:pt x="1156" y="18468"/>
                  <a:pt x="1188" y="18437"/>
                </a:cubicBezTo>
                <a:cubicBezTo>
                  <a:pt x="1188" y="18437"/>
                  <a:pt x="1188" y="18437"/>
                  <a:pt x="1188" y="18437"/>
                </a:cubicBezTo>
                <a:cubicBezTo>
                  <a:pt x="1188" y="18437"/>
                  <a:pt x="1219" y="18437"/>
                  <a:pt x="1250" y="18437"/>
                </a:cubicBezTo>
                <a:cubicBezTo>
                  <a:pt x="1250" y="18437"/>
                  <a:pt x="1281" y="18437"/>
                  <a:pt x="1281" y="18437"/>
                </a:cubicBezTo>
                <a:cubicBezTo>
                  <a:pt x="1281" y="18437"/>
                  <a:pt x="1281" y="18437"/>
                  <a:pt x="1281" y="18437"/>
                </a:cubicBezTo>
                <a:cubicBezTo>
                  <a:pt x="1313" y="18406"/>
                  <a:pt x="1344" y="18406"/>
                  <a:pt x="1375" y="18406"/>
                </a:cubicBezTo>
                <a:cubicBezTo>
                  <a:pt x="1438" y="18406"/>
                  <a:pt x="1500" y="18437"/>
                  <a:pt x="1531" y="18343"/>
                </a:cubicBezTo>
                <a:cubicBezTo>
                  <a:pt x="1531" y="18312"/>
                  <a:pt x="1594" y="18343"/>
                  <a:pt x="1656" y="18343"/>
                </a:cubicBezTo>
                <a:cubicBezTo>
                  <a:pt x="1594" y="18406"/>
                  <a:pt x="1531" y="18406"/>
                  <a:pt x="1500" y="18499"/>
                </a:cubicBezTo>
                <a:cubicBezTo>
                  <a:pt x="1500" y="18531"/>
                  <a:pt x="1500" y="18531"/>
                  <a:pt x="1531" y="18531"/>
                </a:cubicBezTo>
                <a:cubicBezTo>
                  <a:pt x="1500" y="18531"/>
                  <a:pt x="1500" y="18531"/>
                  <a:pt x="1500" y="18499"/>
                </a:cubicBezTo>
                <a:cubicBezTo>
                  <a:pt x="1500" y="18499"/>
                  <a:pt x="1469" y="18499"/>
                  <a:pt x="1469" y="18499"/>
                </a:cubicBezTo>
                <a:cubicBezTo>
                  <a:pt x="1469" y="18531"/>
                  <a:pt x="1469" y="18562"/>
                  <a:pt x="1438" y="18593"/>
                </a:cubicBezTo>
                <a:cubicBezTo>
                  <a:pt x="1469" y="18562"/>
                  <a:pt x="1469" y="18531"/>
                  <a:pt x="1469" y="18499"/>
                </a:cubicBezTo>
                <a:cubicBezTo>
                  <a:pt x="1469" y="18499"/>
                  <a:pt x="1469" y="18499"/>
                  <a:pt x="1438" y="18499"/>
                </a:cubicBezTo>
                <a:cubicBezTo>
                  <a:pt x="1375" y="18374"/>
                  <a:pt x="1313" y="18468"/>
                  <a:pt x="1250" y="18468"/>
                </a:cubicBezTo>
                <a:cubicBezTo>
                  <a:pt x="1188" y="18468"/>
                  <a:pt x="1125" y="18499"/>
                  <a:pt x="1094" y="18499"/>
                </a:cubicBezTo>
                <a:cubicBezTo>
                  <a:pt x="1094" y="18468"/>
                  <a:pt x="1125" y="18468"/>
                  <a:pt x="1125" y="18468"/>
                </a:cubicBezTo>
                <a:cubicBezTo>
                  <a:pt x="1156" y="18437"/>
                  <a:pt x="1156" y="18437"/>
                  <a:pt x="1156" y="18437"/>
                </a:cubicBezTo>
                <a:close/>
                <a:moveTo>
                  <a:pt x="2594" y="16156"/>
                </a:moveTo>
                <a:cubicBezTo>
                  <a:pt x="2594" y="16156"/>
                  <a:pt x="2594" y="16124"/>
                  <a:pt x="2594" y="16124"/>
                </a:cubicBezTo>
                <a:cubicBezTo>
                  <a:pt x="2594" y="16124"/>
                  <a:pt x="2594" y="16156"/>
                  <a:pt x="2594" y="16156"/>
                </a:cubicBezTo>
                <a:cubicBezTo>
                  <a:pt x="2625" y="16156"/>
                  <a:pt x="2625" y="16156"/>
                  <a:pt x="2656" y="16156"/>
                </a:cubicBezTo>
                <a:cubicBezTo>
                  <a:pt x="2656" y="16156"/>
                  <a:pt x="2719" y="16156"/>
                  <a:pt x="2719" y="16187"/>
                </a:cubicBezTo>
                <a:cubicBezTo>
                  <a:pt x="2688" y="16249"/>
                  <a:pt x="2656" y="16249"/>
                  <a:pt x="2625" y="16218"/>
                </a:cubicBezTo>
                <a:cubicBezTo>
                  <a:pt x="2594" y="16218"/>
                  <a:pt x="2563" y="16187"/>
                  <a:pt x="2594" y="16156"/>
                </a:cubicBezTo>
                <a:close/>
                <a:moveTo>
                  <a:pt x="2656" y="18187"/>
                </a:moveTo>
                <a:cubicBezTo>
                  <a:pt x="2656" y="18218"/>
                  <a:pt x="2719" y="18187"/>
                  <a:pt x="2688" y="18218"/>
                </a:cubicBezTo>
                <a:cubicBezTo>
                  <a:pt x="2719" y="18249"/>
                  <a:pt x="2750" y="18249"/>
                  <a:pt x="2781" y="18281"/>
                </a:cubicBezTo>
                <a:cubicBezTo>
                  <a:pt x="2781" y="18281"/>
                  <a:pt x="2781" y="18281"/>
                  <a:pt x="2781" y="18281"/>
                </a:cubicBezTo>
                <a:cubicBezTo>
                  <a:pt x="2750" y="18249"/>
                  <a:pt x="2719" y="18249"/>
                  <a:pt x="2688" y="18218"/>
                </a:cubicBezTo>
                <a:cubicBezTo>
                  <a:pt x="2688" y="18218"/>
                  <a:pt x="2656" y="18218"/>
                  <a:pt x="2656" y="18218"/>
                </a:cubicBezTo>
                <a:cubicBezTo>
                  <a:pt x="2656" y="18218"/>
                  <a:pt x="2656" y="18218"/>
                  <a:pt x="2656" y="18187"/>
                </a:cubicBezTo>
                <a:cubicBezTo>
                  <a:pt x="2656" y="18187"/>
                  <a:pt x="2656" y="18187"/>
                  <a:pt x="2656" y="18187"/>
                </a:cubicBezTo>
                <a:close/>
                <a:moveTo>
                  <a:pt x="2656" y="17093"/>
                </a:move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lose/>
                <a:moveTo>
                  <a:pt x="3188" y="16281"/>
                </a:moveTo>
                <a:cubicBezTo>
                  <a:pt x="3188" y="16281"/>
                  <a:pt x="3156" y="16281"/>
                  <a:pt x="3156" y="16281"/>
                </a:cubicBezTo>
                <a:cubicBezTo>
                  <a:pt x="3125" y="16281"/>
                  <a:pt x="3063" y="16281"/>
                  <a:pt x="3063" y="16343"/>
                </a:cubicBezTo>
                <a:cubicBezTo>
                  <a:pt x="3063" y="16343"/>
                  <a:pt x="3031" y="16343"/>
                  <a:pt x="3031" y="16343"/>
                </a:cubicBezTo>
                <a:cubicBezTo>
                  <a:pt x="3000" y="16312"/>
                  <a:pt x="3031" y="16312"/>
                  <a:pt x="3031" y="16281"/>
                </a:cubicBezTo>
                <a:cubicBezTo>
                  <a:pt x="3031" y="16281"/>
                  <a:pt x="3000" y="16281"/>
                  <a:pt x="3000" y="16281"/>
                </a:cubicBezTo>
                <a:cubicBezTo>
                  <a:pt x="3000" y="16281"/>
                  <a:pt x="3031" y="16281"/>
                  <a:pt x="3031" y="16281"/>
                </a:cubicBezTo>
                <a:cubicBezTo>
                  <a:pt x="3125" y="16249"/>
                  <a:pt x="3125" y="16156"/>
                  <a:pt x="3188" y="16124"/>
                </a:cubicBezTo>
                <a:cubicBezTo>
                  <a:pt x="3219" y="16124"/>
                  <a:pt x="3188" y="16156"/>
                  <a:pt x="3219" y="16156"/>
                </a:cubicBezTo>
                <a:cubicBezTo>
                  <a:pt x="3219" y="16187"/>
                  <a:pt x="3125" y="16187"/>
                  <a:pt x="3188" y="16281"/>
                </a:cubicBezTo>
                <a:close/>
                <a:moveTo>
                  <a:pt x="3031" y="18062"/>
                </a:moveTo>
                <a:cubicBezTo>
                  <a:pt x="3031" y="18031"/>
                  <a:pt x="3063" y="17999"/>
                  <a:pt x="3094" y="17999"/>
                </a:cubicBezTo>
                <a:cubicBezTo>
                  <a:pt x="3094" y="18031"/>
                  <a:pt x="3063" y="18062"/>
                  <a:pt x="3031" y="18093"/>
                </a:cubicBezTo>
                <a:cubicBezTo>
                  <a:pt x="3125" y="18124"/>
                  <a:pt x="3188" y="18093"/>
                  <a:pt x="3250" y="18093"/>
                </a:cubicBezTo>
                <a:cubicBezTo>
                  <a:pt x="3250" y="18093"/>
                  <a:pt x="3250" y="18124"/>
                  <a:pt x="3281" y="18124"/>
                </a:cubicBezTo>
                <a:cubicBezTo>
                  <a:pt x="3281" y="18124"/>
                  <a:pt x="3281" y="18124"/>
                  <a:pt x="3281" y="18124"/>
                </a:cubicBezTo>
                <a:cubicBezTo>
                  <a:pt x="3281" y="18124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281" y="18156"/>
                  <a:pt x="3281" y="18156"/>
                  <a:pt x="3281" y="18156"/>
                </a:cubicBezTo>
                <a:cubicBezTo>
                  <a:pt x="3313" y="18156"/>
                  <a:pt x="3344" y="18187"/>
                  <a:pt x="3375" y="18218"/>
                </a:cubicBezTo>
                <a:cubicBezTo>
                  <a:pt x="3344" y="18187"/>
                  <a:pt x="3313" y="18156"/>
                  <a:pt x="3281" y="18156"/>
                </a:cubicBezTo>
                <a:cubicBezTo>
                  <a:pt x="3281" y="18156"/>
                  <a:pt x="3250" y="18187"/>
                  <a:pt x="3219" y="18156"/>
                </a:cubicBezTo>
                <a:cubicBezTo>
                  <a:pt x="3188" y="18093"/>
                  <a:pt x="3125" y="18124"/>
                  <a:pt x="3094" y="18156"/>
                </a:cubicBezTo>
                <a:cubicBezTo>
                  <a:pt x="3063" y="18187"/>
                  <a:pt x="3063" y="18218"/>
                  <a:pt x="3000" y="18218"/>
                </a:cubicBezTo>
                <a:cubicBezTo>
                  <a:pt x="3031" y="18187"/>
                  <a:pt x="3063" y="18218"/>
                  <a:pt x="3063" y="18187"/>
                </a:cubicBezTo>
                <a:cubicBezTo>
                  <a:pt x="3031" y="18156"/>
                  <a:pt x="3031" y="18156"/>
                  <a:pt x="3000" y="18156"/>
                </a:cubicBezTo>
                <a:cubicBezTo>
                  <a:pt x="2969" y="18156"/>
                  <a:pt x="2969" y="18156"/>
                  <a:pt x="2938" y="18156"/>
                </a:cubicBezTo>
                <a:cubicBezTo>
                  <a:pt x="2938" y="18156"/>
                  <a:pt x="2938" y="18156"/>
                  <a:pt x="2938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187"/>
                  <a:pt x="2906" y="18187"/>
                </a:cubicBezTo>
                <a:cubicBezTo>
                  <a:pt x="2906" y="18187"/>
                  <a:pt x="2906" y="18218"/>
                  <a:pt x="2906" y="18218"/>
                </a:cubicBezTo>
                <a:cubicBezTo>
                  <a:pt x="2844" y="18156"/>
                  <a:pt x="2781" y="18187"/>
                  <a:pt x="2750" y="18156"/>
                </a:cubicBezTo>
                <a:cubicBezTo>
                  <a:pt x="2781" y="18156"/>
                  <a:pt x="2813" y="18156"/>
                  <a:pt x="2875" y="18156"/>
                </a:cubicBezTo>
                <a:cubicBezTo>
                  <a:pt x="2906" y="18156"/>
                  <a:pt x="3000" y="18156"/>
                  <a:pt x="3031" y="18062"/>
                </a:cubicBezTo>
                <a:close/>
                <a:moveTo>
                  <a:pt x="3250" y="16156"/>
                </a:moveTo>
                <a:cubicBezTo>
                  <a:pt x="3250" y="16124"/>
                  <a:pt x="3250" y="16093"/>
                  <a:pt x="3313" y="16093"/>
                </a:cubicBezTo>
                <a:cubicBezTo>
                  <a:pt x="3344" y="16124"/>
                  <a:pt x="3344" y="16124"/>
                  <a:pt x="3344" y="16156"/>
                </a:cubicBezTo>
                <a:cubicBezTo>
                  <a:pt x="3313" y="16156"/>
                  <a:pt x="3281" y="16218"/>
                  <a:pt x="3250" y="16156"/>
                </a:cubicBezTo>
                <a:close/>
                <a:moveTo>
                  <a:pt x="3188" y="18468"/>
                </a:moveTo>
                <a:cubicBezTo>
                  <a:pt x="3188" y="18468"/>
                  <a:pt x="3188" y="18468"/>
                  <a:pt x="3156" y="18499"/>
                </a:cubicBezTo>
                <a:cubicBezTo>
                  <a:pt x="3188" y="18468"/>
                  <a:pt x="3188" y="18468"/>
                  <a:pt x="3188" y="18468"/>
                </a:cubicBezTo>
                <a:cubicBezTo>
                  <a:pt x="3188" y="18468"/>
                  <a:pt x="3188" y="18468"/>
                  <a:pt x="3188" y="18468"/>
                </a:cubicBezTo>
                <a:close/>
                <a:moveTo>
                  <a:pt x="3063" y="18468"/>
                </a:move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ubicBezTo>
                  <a:pt x="3063" y="18468"/>
                  <a:pt x="3063" y="18468"/>
                  <a:pt x="3063" y="18468"/>
                </a:cubicBezTo>
                <a:close/>
                <a:moveTo>
                  <a:pt x="2781" y="16468"/>
                </a:moveTo>
                <a:cubicBezTo>
                  <a:pt x="2750" y="16437"/>
                  <a:pt x="2719" y="16406"/>
                  <a:pt x="2781" y="16374"/>
                </a:cubicBezTo>
                <a:cubicBezTo>
                  <a:pt x="2813" y="16343"/>
                  <a:pt x="2875" y="16312"/>
                  <a:pt x="2906" y="16374"/>
                </a:cubicBezTo>
                <a:cubicBezTo>
                  <a:pt x="2875" y="16437"/>
                  <a:pt x="2844" y="16468"/>
                  <a:pt x="2781" y="16468"/>
                </a:cubicBezTo>
                <a:close/>
                <a:moveTo>
                  <a:pt x="2625" y="17124"/>
                </a:moveTo>
                <a:cubicBezTo>
                  <a:pt x="2625" y="17093"/>
                  <a:pt x="2656" y="17093"/>
                  <a:pt x="2656" y="17093"/>
                </a:cubicBezTo>
                <a:cubicBezTo>
                  <a:pt x="2656" y="17093"/>
                  <a:pt x="2656" y="17093"/>
                  <a:pt x="2656" y="17093"/>
                </a:cubicBezTo>
                <a:cubicBezTo>
                  <a:pt x="2656" y="17093"/>
                  <a:pt x="2625" y="17093"/>
                  <a:pt x="2625" y="17124"/>
                </a:cubicBezTo>
                <a:close/>
                <a:moveTo>
                  <a:pt x="2594" y="18187"/>
                </a:moveTo>
                <a:cubicBezTo>
                  <a:pt x="2625" y="18187"/>
                  <a:pt x="2625" y="18187"/>
                  <a:pt x="2625" y="18187"/>
                </a:cubicBezTo>
                <a:cubicBezTo>
                  <a:pt x="2625" y="18187"/>
                  <a:pt x="2625" y="18187"/>
                  <a:pt x="2625" y="18187"/>
                </a:cubicBezTo>
                <a:cubicBezTo>
                  <a:pt x="2625" y="18218"/>
                  <a:pt x="2625" y="18218"/>
                  <a:pt x="2625" y="18218"/>
                </a:cubicBezTo>
                <a:cubicBezTo>
                  <a:pt x="2594" y="18218"/>
                  <a:pt x="2594" y="18281"/>
                  <a:pt x="2563" y="18281"/>
                </a:cubicBezTo>
                <a:cubicBezTo>
                  <a:pt x="2531" y="18281"/>
                  <a:pt x="2531" y="18343"/>
                  <a:pt x="2500" y="18312"/>
                </a:cubicBezTo>
                <a:cubicBezTo>
                  <a:pt x="2469" y="18281"/>
                  <a:pt x="2531" y="18281"/>
                  <a:pt x="2531" y="18249"/>
                </a:cubicBezTo>
                <a:cubicBezTo>
                  <a:pt x="2531" y="18249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31" y="18218"/>
                  <a:pt x="2531" y="18218"/>
                  <a:pt x="2531" y="18218"/>
                </a:cubicBezTo>
                <a:cubicBezTo>
                  <a:pt x="2563" y="18187"/>
                  <a:pt x="2594" y="18187"/>
                  <a:pt x="2594" y="18187"/>
                </a:cubicBezTo>
                <a:close/>
                <a:moveTo>
                  <a:pt x="2469" y="18656"/>
                </a:moveTo>
                <a:cubicBezTo>
                  <a:pt x="2469" y="18656"/>
                  <a:pt x="2469" y="18656"/>
                  <a:pt x="2469" y="18656"/>
                </a:cubicBezTo>
                <a:cubicBezTo>
                  <a:pt x="2469" y="18656"/>
                  <a:pt x="2469" y="18624"/>
                  <a:pt x="2469" y="18624"/>
                </a:cubicBezTo>
                <a:cubicBezTo>
                  <a:pt x="2469" y="18624"/>
                  <a:pt x="2469" y="18656"/>
                  <a:pt x="2469" y="18656"/>
                </a:cubicBezTo>
                <a:cubicBezTo>
                  <a:pt x="2469" y="18656"/>
                  <a:pt x="2469" y="18656"/>
                  <a:pt x="2469" y="18656"/>
                </a:cubicBezTo>
                <a:close/>
                <a:moveTo>
                  <a:pt x="2406" y="16624"/>
                </a:moveTo>
                <a:cubicBezTo>
                  <a:pt x="2406" y="16624"/>
                  <a:pt x="2406" y="16593"/>
                  <a:pt x="2406" y="16593"/>
                </a:cubicBezTo>
                <a:cubicBezTo>
                  <a:pt x="2438" y="16593"/>
                  <a:pt x="2438" y="16593"/>
                  <a:pt x="2469" y="16593"/>
                </a:cubicBezTo>
                <a:cubicBezTo>
                  <a:pt x="2438" y="16593"/>
                  <a:pt x="2438" y="16624"/>
                  <a:pt x="2406" y="16624"/>
                </a:cubicBezTo>
                <a:close/>
                <a:moveTo>
                  <a:pt x="2406" y="18249"/>
                </a:moveTo>
                <a:cubicBezTo>
                  <a:pt x="2406" y="18281"/>
                  <a:pt x="2375" y="18281"/>
                  <a:pt x="2375" y="18281"/>
                </a:cubicBezTo>
                <a:cubicBezTo>
                  <a:pt x="2344" y="18312"/>
                  <a:pt x="2344" y="18312"/>
                  <a:pt x="2313" y="18343"/>
                </a:cubicBezTo>
                <a:cubicBezTo>
                  <a:pt x="2344" y="18312"/>
                  <a:pt x="2344" y="18312"/>
                  <a:pt x="2375" y="18281"/>
                </a:cubicBezTo>
                <a:cubicBezTo>
                  <a:pt x="2313" y="18281"/>
                  <a:pt x="2250" y="18249"/>
                  <a:pt x="2219" y="18343"/>
                </a:cubicBezTo>
                <a:cubicBezTo>
                  <a:pt x="2219" y="18343"/>
                  <a:pt x="2219" y="18343"/>
                  <a:pt x="2219" y="18374"/>
                </a:cubicBezTo>
                <a:cubicBezTo>
                  <a:pt x="2219" y="18343"/>
                  <a:pt x="2219" y="18343"/>
                  <a:pt x="2219" y="18343"/>
                </a:cubicBezTo>
                <a:cubicBezTo>
                  <a:pt x="2125" y="18374"/>
                  <a:pt x="2000" y="18281"/>
                  <a:pt x="1906" y="18281"/>
                </a:cubicBezTo>
                <a:cubicBezTo>
                  <a:pt x="1906" y="18281"/>
                  <a:pt x="1938" y="18249"/>
                  <a:pt x="1969" y="18249"/>
                </a:cubicBezTo>
                <a:cubicBezTo>
                  <a:pt x="2000" y="18249"/>
                  <a:pt x="2031" y="18187"/>
                  <a:pt x="2063" y="18187"/>
                </a:cubicBezTo>
                <a:cubicBezTo>
                  <a:pt x="2031" y="18187"/>
                  <a:pt x="2000" y="18249"/>
                  <a:pt x="1969" y="18249"/>
                </a:cubicBezTo>
                <a:cubicBezTo>
                  <a:pt x="2125" y="18312"/>
                  <a:pt x="2156" y="18281"/>
                  <a:pt x="2156" y="18124"/>
                </a:cubicBezTo>
                <a:cubicBezTo>
                  <a:pt x="2188" y="18124"/>
                  <a:pt x="2188" y="18124"/>
                  <a:pt x="2188" y="18124"/>
                </a:cubicBezTo>
                <a:cubicBezTo>
                  <a:pt x="2219" y="18093"/>
                  <a:pt x="2219" y="18062"/>
                  <a:pt x="2250" y="18062"/>
                </a:cubicBezTo>
                <a:cubicBezTo>
                  <a:pt x="2219" y="18062"/>
                  <a:pt x="2219" y="18093"/>
                  <a:pt x="2188" y="18124"/>
                </a:cubicBezTo>
                <a:cubicBezTo>
                  <a:pt x="2188" y="18124"/>
                  <a:pt x="2188" y="18156"/>
                  <a:pt x="2188" y="18156"/>
                </a:cubicBezTo>
                <a:cubicBezTo>
                  <a:pt x="2188" y="18156"/>
                  <a:pt x="2219" y="18187"/>
                  <a:pt x="2219" y="18187"/>
                </a:cubicBezTo>
                <a:cubicBezTo>
                  <a:pt x="2219" y="18187"/>
                  <a:pt x="2188" y="18156"/>
                  <a:pt x="2188" y="18156"/>
                </a:cubicBezTo>
                <a:cubicBezTo>
                  <a:pt x="2188" y="18187"/>
                  <a:pt x="2188" y="18187"/>
                  <a:pt x="2188" y="18218"/>
                </a:cubicBezTo>
                <a:cubicBezTo>
                  <a:pt x="2188" y="18281"/>
                  <a:pt x="2219" y="18281"/>
                  <a:pt x="2250" y="18249"/>
                </a:cubicBezTo>
                <a:cubicBezTo>
                  <a:pt x="2281" y="18218"/>
                  <a:pt x="2344" y="18218"/>
                  <a:pt x="2406" y="18249"/>
                </a:cubicBezTo>
                <a:cubicBezTo>
                  <a:pt x="2406" y="18218"/>
                  <a:pt x="2406" y="18218"/>
                  <a:pt x="2438" y="18218"/>
                </a:cubicBezTo>
                <a:cubicBezTo>
                  <a:pt x="2406" y="18218"/>
                  <a:pt x="2406" y="18218"/>
                  <a:pt x="2406" y="18249"/>
                </a:cubicBezTo>
                <a:cubicBezTo>
                  <a:pt x="2406" y="18249"/>
                  <a:pt x="2406" y="18249"/>
                  <a:pt x="2406" y="18249"/>
                </a:cubicBezTo>
                <a:close/>
                <a:moveTo>
                  <a:pt x="2281" y="18624"/>
                </a:move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ubicBezTo>
                  <a:pt x="2281" y="18624"/>
                  <a:pt x="2281" y="18624"/>
                  <a:pt x="2281" y="18624"/>
                </a:cubicBezTo>
                <a:close/>
                <a:moveTo>
                  <a:pt x="2281" y="18562"/>
                </a:moveTo>
                <a:cubicBezTo>
                  <a:pt x="2250" y="18562"/>
                  <a:pt x="2250" y="18562"/>
                  <a:pt x="2219" y="18562"/>
                </a:cubicBezTo>
                <a:cubicBezTo>
                  <a:pt x="2250" y="18562"/>
                  <a:pt x="2250" y="18562"/>
                  <a:pt x="2281" y="18562"/>
                </a:cubicBezTo>
                <a:close/>
                <a:moveTo>
                  <a:pt x="1688" y="17843"/>
                </a:moveTo>
                <a:cubicBezTo>
                  <a:pt x="1625" y="17843"/>
                  <a:pt x="1625" y="17781"/>
                  <a:pt x="1594" y="17749"/>
                </a:cubicBezTo>
                <a:cubicBezTo>
                  <a:pt x="1531" y="17687"/>
                  <a:pt x="1531" y="17656"/>
                  <a:pt x="1469" y="17749"/>
                </a:cubicBezTo>
                <a:cubicBezTo>
                  <a:pt x="1375" y="17781"/>
                  <a:pt x="1375" y="17718"/>
                  <a:pt x="1344" y="17687"/>
                </a:cubicBezTo>
                <a:cubicBezTo>
                  <a:pt x="1344" y="17656"/>
                  <a:pt x="1344" y="17624"/>
                  <a:pt x="1375" y="17624"/>
                </a:cubicBezTo>
                <a:cubicBezTo>
                  <a:pt x="1406" y="17624"/>
                  <a:pt x="1438" y="17531"/>
                  <a:pt x="1500" y="17593"/>
                </a:cubicBezTo>
                <a:cubicBezTo>
                  <a:pt x="1531" y="17624"/>
                  <a:pt x="1594" y="17624"/>
                  <a:pt x="1625" y="17687"/>
                </a:cubicBezTo>
                <a:cubicBezTo>
                  <a:pt x="1625" y="17687"/>
                  <a:pt x="1625" y="17687"/>
                  <a:pt x="1625" y="17687"/>
                </a:cubicBezTo>
                <a:cubicBezTo>
                  <a:pt x="1625" y="17749"/>
                  <a:pt x="1688" y="17749"/>
                  <a:pt x="1688" y="17843"/>
                </a:cubicBezTo>
                <a:close/>
                <a:moveTo>
                  <a:pt x="1688" y="17906"/>
                </a:moveTo>
                <a:cubicBezTo>
                  <a:pt x="1688" y="17843"/>
                  <a:pt x="1719" y="17843"/>
                  <a:pt x="1750" y="17906"/>
                </a:cubicBezTo>
                <a:cubicBezTo>
                  <a:pt x="1781" y="17968"/>
                  <a:pt x="1813" y="18031"/>
                  <a:pt x="1875" y="18093"/>
                </a:cubicBezTo>
                <a:cubicBezTo>
                  <a:pt x="1875" y="18093"/>
                  <a:pt x="1875" y="18124"/>
                  <a:pt x="1875" y="18124"/>
                </a:cubicBezTo>
                <a:cubicBezTo>
                  <a:pt x="1813" y="18124"/>
                  <a:pt x="1813" y="18062"/>
                  <a:pt x="1750" y="18031"/>
                </a:cubicBezTo>
                <a:cubicBezTo>
                  <a:pt x="1750" y="18093"/>
                  <a:pt x="1719" y="18124"/>
                  <a:pt x="1656" y="18124"/>
                </a:cubicBezTo>
                <a:cubicBezTo>
                  <a:pt x="1719" y="18124"/>
                  <a:pt x="1750" y="18093"/>
                  <a:pt x="1750" y="18031"/>
                </a:cubicBezTo>
                <a:cubicBezTo>
                  <a:pt x="1750" y="17999"/>
                  <a:pt x="1719" y="17937"/>
                  <a:pt x="1688" y="17906"/>
                </a:cubicBezTo>
                <a:close/>
                <a:moveTo>
                  <a:pt x="1813" y="16968"/>
                </a:move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813" y="16968"/>
                  <a:pt x="1813" y="16968"/>
                  <a:pt x="1813" y="16968"/>
                </a:cubicBezTo>
                <a:cubicBezTo>
                  <a:pt x="1781" y="16937"/>
                  <a:pt x="1781" y="16937"/>
                  <a:pt x="1750" y="16937"/>
                </a:cubicBezTo>
                <a:cubicBezTo>
                  <a:pt x="1750" y="16937"/>
                  <a:pt x="1719" y="16906"/>
                  <a:pt x="1719" y="16906"/>
                </a:cubicBezTo>
                <a:cubicBezTo>
                  <a:pt x="1719" y="16874"/>
                  <a:pt x="1750" y="16874"/>
                  <a:pt x="1750" y="16906"/>
                </a:cubicBezTo>
                <a:cubicBezTo>
                  <a:pt x="1844" y="16937"/>
                  <a:pt x="1969" y="16906"/>
                  <a:pt x="2063" y="16937"/>
                </a:cubicBezTo>
                <a:cubicBezTo>
                  <a:pt x="2094" y="16937"/>
                  <a:pt x="2125" y="16937"/>
                  <a:pt x="2063" y="16999"/>
                </a:cubicBezTo>
                <a:cubicBezTo>
                  <a:pt x="1969" y="17093"/>
                  <a:pt x="1938" y="17093"/>
                  <a:pt x="1813" y="16968"/>
                </a:cubicBezTo>
                <a:close/>
                <a:moveTo>
                  <a:pt x="2156" y="17187"/>
                </a:moveTo>
                <a:cubicBezTo>
                  <a:pt x="2125" y="17187"/>
                  <a:pt x="2125" y="17156"/>
                  <a:pt x="2125" y="17156"/>
                </a:cubicBezTo>
                <a:cubicBezTo>
                  <a:pt x="2188" y="17156"/>
                  <a:pt x="2219" y="17031"/>
                  <a:pt x="2313" y="17093"/>
                </a:cubicBezTo>
                <a:cubicBezTo>
                  <a:pt x="2250" y="17156"/>
                  <a:pt x="2188" y="17156"/>
                  <a:pt x="2156" y="17187"/>
                </a:cubicBezTo>
                <a:close/>
                <a:moveTo>
                  <a:pt x="2375" y="16937"/>
                </a:moveTo>
                <a:cubicBezTo>
                  <a:pt x="2344" y="16937"/>
                  <a:pt x="2344" y="16937"/>
                  <a:pt x="2344" y="16906"/>
                </a:cubicBezTo>
                <a:cubicBezTo>
                  <a:pt x="2344" y="16874"/>
                  <a:pt x="2375" y="16843"/>
                  <a:pt x="2438" y="16843"/>
                </a:cubicBezTo>
                <a:cubicBezTo>
                  <a:pt x="2406" y="16843"/>
                  <a:pt x="2406" y="16874"/>
                  <a:pt x="2406" y="16874"/>
                </a:cubicBezTo>
                <a:cubicBezTo>
                  <a:pt x="2375" y="16874"/>
                  <a:pt x="2406" y="16937"/>
                  <a:pt x="2375" y="16937"/>
                </a:cubicBezTo>
                <a:close/>
                <a:moveTo>
                  <a:pt x="2406" y="17249"/>
                </a:moveTo>
                <a:cubicBezTo>
                  <a:pt x="2406" y="17281"/>
                  <a:pt x="2375" y="17281"/>
                  <a:pt x="2375" y="17312"/>
                </a:cubicBezTo>
                <a:cubicBezTo>
                  <a:pt x="2375" y="17281"/>
                  <a:pt x="2406" y="17281"/>
                  <a:pt x="2406" y="17249"/>
                </a:cubicBezTo>
                <a:close/>
                <a:moveTo>
                  <a:pt x="1688" y="16968"/>
                </a:moveTo>
                <a:cubicBezTo>
                  <a:pt x="1688" y="16968"/>
                  <a:pt x="1688" y="16968"/>
                  <a:pt x="1688" y="16999"/>
                </a:cubicBezTo>
                <a:cubicBezTo>
                  <a:pt x="1688" y="16999"/>
                  <a:pt x="1688" y="16999"/>
                  <a:pt x="1688" y="16999"/>
                </a:cubicBezTo>
                <a:cubicBezTo>
                  <a:pt x="1656" y="17031"/>
                  <a:pt x="1625" y="17093"/>
                  <a:pt x="1563" y="17062"/>
                </a:cubicBezTo>
                <a:cubicBezTo>
                  <a:pt x="1531" y="17062"/>
                  <a:pt x="1531" y="16999"/>
                  <a:pt x="1531" y="16937"/>
                </a:cubicBezTo>
                <a:cubicBezTo>
                  <a:pt x="1563" y="16937"/>
                  <a:pt x="1625" y="16937"/>
                  <a:pt x="1688" y="16968"/>
                </a:cubicBezTo>
                <a:close/>
                <a:moveTo>
                  <a:pt x="1625" y="17281"/>
                </a:moveTo>
                <a:cubicBezTo>
                  <a:pt x="1688" y="17249"/>
                  <a:pt x="1719" y="17281"/>
                  <a:pt x="1781" y="17249"/>
                </a:cubicBezTo>
                <a:cubicBezTo>
                  <a:pt x="1781" y="17249"/>
                  <a:pt x="1813" y="17249"/>
                  <a:pt x="1813" y="17249"/>
                </a:cubicBezTo>
                <a:cubicBezTo>
                  <a:pt x="1813" y="17281"/>
                  <a:pt x="1781" y="17281"/>
                  <a:pt x="1781" y="17312"/>
                </a:cubicBezTo>
                <a:cubicBezTo>
                  <a:pt x="1750" y="17312"/>
                  <a:pt x="1688" y="17343"/>
                  <a:pt x="1656" y="17374"/>
                </a:cubicBezTo>
                <a:cubicBezTo>
                  <a:pt x="1688" y="17406"/>
                  <a:pt x="1719" y="17343"/>
                  <a:pt x="1750" y="17374"/>
                </a:cubicBezTo>
                <a:cubicBezTo>
                  <a:pt x="1750" y="17406"/>
                  <a:pt x="1719" y="17406"/>
                  <a:pt x="1719" y="17437"/>
                </a:cubicBezTo>
                <a:cubicBezTo>
                  <a:pt x="1688" y="17437"/>
                  <a:pt x="1688" y="17437"/>
                  <a:pt x="1688" y="17468"/>
                </a:cubicBezTo>
                <a:cubicBezTo>
                  <a:pt x="1688" y="17468"/>
                  <a:pt x="1688" y="17468"/>
                  <a:pt x="1688" y="17499"/>
                </a:cubicBezTo>
                <a:cubicBezTo>
                  <a:pt x="1688" y="17468"/>
                  <a:pt x="1688" y="17468"/>
                  <a:pt x="1688" y="17468"/>
                </a:cubicBezTo>
                <a:cubicBezTo>
                  <a:pt x="1688" y="17468"/>
                  <a:pt x="1656" y="17499"/>
                  <a:pt x="1656" y="17499"/>
                </a:cubicBezTo>
                <a:cubicBezTo>
                  <a:pt x="1625" y="17499"/>
                  <a:pt x="1594" y="17531"/>
                  <a:pt x="1563" y="17562"/>
                </a:cubicBezTo>
                <a:cubicBezTo>
                  <a:pt x="1563" y="17562"/>
                  <a:pt x="1531" y="17593"/>
                  <a:pt x="1531" y="17562"/>
                </a:cubicBezTo>
                <a:cubicBezTo>
                  <a:pt x="1469" y="17499"/>
                  <a:pt x="1406" y="17531"/>
                  <a:pt x="1344" y="17562"/>
                </a:cubicBezTo>
                <a:cubicBezTo>
                  <a:pt x="1344" y="17593"/>
                  <a:pt x="1313" y="17593"/>
                  <a:pt x="1313" y="17562"/>
                </a:cubicBezTo>
                <a:cubicBezTo>
                  <a:pt x="1313" y="17468"/>
                  <a:pt x="1219" y="17468"/>
                  <a:pt x="1188" y="17374"/>
                </a:cubicBezTo>
                <a:cubicBezTo>
                  <a:pt x="1250" y="17343"/>
                  <a:pt x="1313" y="17343"/>
                  <a:pt x="1375" y="17312"/>
                </a:cubicBezTo>
                <a:cubicBezTo>
                  <a:pt x="1469" y="17312"/>
                  <a:pt x="1531" y="17281"/>
                  <a:pt x="1625" y="17281"/>
                </a:cubicBezTo>
                <a:close/>
                <a:moveTo>
                  <a:pt x="1313" y="17687"/>
                </a:moveTo>
                <a:cubicBezTo>
                  <a:pt x="1344" y="17718"/>
                  <a:pt x="1313" y="17749"/>
                  <a:pt x="1281" y="17781"/>
                </a:cubicBezTo>
                <a:cubicBezTo>
                  <a:pt x="1313" y="17781"/>
                  <a:pt x="1313" y="17781"/>
                  <a:pt x="1344" y="17812"/>
                </a:cubicBezTo>
                <a:cubicBezTo>
                  <a:pt x="1313" y="17781"/>
                  <a:pt x="1313" y="17781"/>
                  <a:pt x="1281" y="17781"/>
                </a:cubicBezTo>
                <a:cubicBezTo>
                  <a:pt x="1281" y="17781"/>
                  <a:pt x="1219" y="17781"/>
                  <a:pt x="1281" y="17843"/>
                </a:cubicBezTo>
                <a:cubicBezTo>
                  <a:pt x="1313" y="17968"/>
                  <a:pt x="1313" y="17968"/>
                  <a:pt x="1313" y="17968"/>
                </a:cubicBezTo>
                <a:cubicBezTo>
                  <a:pt x="1344" y="17999"/>
                  <a:pt x="1375" y="18062"/>
                  <a:pt x="1406" y="18093"/>
                </a:cubicBezTo>
                <a:cubicBezTo>
                  <a:pt x="1406" y="18093"/>
                  <a:pt x="1406" y="18093"/>
                  <a:pt x="1406" y="18093"/>
                </a:cubicBezTo>
                <a:cubicBezTo>
                  <a:pt x="1406" y="18124"/>
                  <a:pt x="1406" y="18156"/>
                  <a:pt x="1438" y="18156"/>
                </a:cubicBezTo>
                <a:cubicBezTo>
                  <a:pt x="1438" y="18156"/>
                  <a:pt x="1438" y="18124"/>
                  <a:pt x="1438" y="18124"/>
                </a:cubicBezTo>
                <a:cubicBezTo>
                  <a:pt x="1438" y="18124"/>
                  <a:pt x="1438" y="18156"/>
                  <a:pt x="1438" y="18156"/>
                </a:cubicBezTo>
                <a:cubicBezTo>
                  <a:pt x="1469" y="18249"/>
                  <a:pt x="1500" y="18187"/>
                  <a:pt x="1531" y="18156"/>
                </a:cubicBezTo>
                <a:cubicBezTo>
                  <a:pt x="1531" y="18187"/>
                  <a:pt x="1531" y="18218"/>
                  <a:pt x="1531" y="18249"/>
                </a:cubicBezTo>
                <a:cubicBezTo>
                  <a:pt x="1531" y="18218"/>
                  <a:pt x="1563" y="18218"/>
                  <a:pt x="1594" y="18218"/>
                </a:cubicBezTo>
                <a:cubicBezTo>
                  <a:pt x="1563" y="18218"/>
                  <a:pt x="1531" y="18218"/>
                  <a:pt x="1531" y="18249"/>
                </a:cubicBezTo>
                <a:cubicBezTo>
                  <a:pt x="1406" y="18249"/>
                  <a:pt x="1375" y="18156"/>
                  <a:pt x="1344" y="18093"/>
                </a:cubicBezTo>
                <a:cubicBezTo>
                  <a:pt x="1313" y="18062"/>
                  <a:pt x="1281" y="17999"/>
                  <a:pt x="1250" y="17937"/>
                </a:cubicBezTo>
                <a:cubicBezTo>
                  <a:pt x="1250" y="17937"/>
                  <a:pt x="1250" y="17937"/>
                  <a:pt x="1250" y="17937"/>
                </a:cubicBezTo>
                <a:cubicBezTo>
                  <a:pt x="1188" y="17906"/>
                  <a:pt x="1219" y="17781"/>
                  <a:pt x="1125" y="17781"/>
                </a:cubicBezTo>
                <a:cubicBezTo>
                  <a:pt x="1125" y="17749"/>
                  <a:pt x="1156" y="17687"/>
                  <a:pt x="1188" y="17718"/>
                </a:cubicBezTo>
                <a:cubicBezTo>
                  <a:pt x="1250" y="17749"/>
                  <a:pt x="1281" y="17718"/>
                  <a:pt x="1313" y="17687"/>
                </a:cubicBezTo>
                <a:close/>
                <a:moveTo>
                  <a:pt x="1500" y="19187"/>
                </a:moveTo>
                <a:cubicBezTo>
                  <a:pt x="1469" y="19187"/>
                  <a:pt x="1438" y="19218"/>
                  <a:pt x="1406" y="19218"/>
                </a:cubicBezTo>
                <a:cubicBezTo>
                  <a:pt x="1375" y="19249"/>
                  <a:pt x="1344" y="19281"/>
                  <a:pt x="1313" y="19218"/>
                </a:cubicBezTo>
                <a:cubicBezTo>
                  <a:pt x="1375" y="19156"/>
                  <a:pt x="1438" y="19156"/>
                  <a:pt x="1531" y="19124"/>
                </a:cubicBezTo>
                <a:cubicBezTo>
                  <a:pt x="1531" y="19156"/>
                  <a:pt x="1500" y="19156"/>
                  <a:pt x="1500" y="19187"/>
                </a:cubicBezTo>
                <a:close/>
                <a:moveTo>
                  <a:pt x="1688" y="18656"/>
                </a:moveTo>
                <a:cubicBezTo>
                  <a:pt x="1625" y="18624"/>
                  <a:pt x="1594" y="18656"/>
                  <a:pt x="1563" y="18656"/>
                </a:cubicBezTo>
                <a:cubicBezTo>
                  <a:pt x="1563" y="18656"/>
                  <a:pt x="1531" y="18656"/>
                  <a:pt x="1531" y="18687"/>
                </a:cubicBezTo>
                <a:cubicBezTo>
                  <a:pt x="1531" y="18687"/>
                  <a:pt x="1531" y="18687"/>
                  <a:pt x="1531" y="18687"/>
                </a:cubicBezTo>
                <a:cubicBezTo>
                  <a:pt x="1500" y="18718"/>
                  <a:pt x="1500" y="18749"/>
                  <a:pt x="1500" y="18749"/>
                </a:cubicBezTo>
                <a:cubicBezTo>
                  <a:pt x="1500" y="18749"/>
                  <a:pt x="1500" y="18749"/>
                  <a:pt x="1500" y="18749"/>
                </a:cubicBezTo>
                <a:cubicBezTo>
                  <a:pt x="1500" y="18781"/>
                  <a:pt x="1500" y="18812"/>
                  <a:pt x="1500" y="18874"/>
                </a:cubicBezTo>
                <a:cubicBezTo>
                  <a:pt x="1500" y="18874"/>
                  <a:pt x="1500" y="18906"/>
                  <a:pt x="1500" y="18906"/>
                </a:cubicBezTo>
                <a:cubicBezTo>
                  <a:pt x="1531" y="18906"/>
                  <a:pt x="1563" y="18874"/>
                  <a:pt x="1594" y="18874"/>
                </a:cubicBezTo>
                <a:cubicBezTo>
                  <a:pt x="1563" y="18874"/>
                  <a:pt x="1531" y="18906"/>
                  <a:pt x="1500" y="18906"/>
                </a:cubicBezTo>
                <a:cubicBezTo>
                  <a:pt x="1500" y="18906"/>
                  <a:pt x="1500" y="18906"/>
                  <a:pt x="1469" y="18906"/>
                </a:cubicBezTo>
                <a:cubicBezTo>
                  <a:pt x="1469" y="18906"/>
                  <a:pt x="1469" y="18874"/>
                  <a:pt x="1469" y="18874"/>
                </a:cubicBezTo>
                <a:cubicBezTo>
                  <a:pt x="1469" y="18874"/>
                  <a:pt x="1469" y="18874"/>
                  <a:pt x="1469" y="18874"/>
                </a:cubicBezTo>
                <a:cubicBezTo>
                  <a:pt x="1469" y="18812"/>
                  <a:pt x="1438" y="18781"/>
                  <a:pt x="1469" y="18749"/>
                </a:cubicBezTo>
                <a:cubicBezTo>
                  <a:pt x="1500" y="18749"/>
                  <a:pt x="1500" y="18718"/>
                  <a:pt x="1500" y="18687"/>
                </a:cubicBezTo>
                <a:cubicBezTo>
                  <a:pt x="1469" y="18656"/>
                  <a:pt x="1438" y="18687"/>
                  <a:pt x="1406" y="18687"/>
                </a:cubicBezTo>
                <a:cubicBezTo>
                  <a:pt x="1406" y="18687"/>
                  <a:pt x="1375" y="18718"/>
                  <a:pt x="1375" y="18718"/>
                </a:cubicBezTo>
                <a:cubicBezTo>
                  <a:pt x="1344" y="18687"/>
                  <a:pt x="1344" y="18687"/>
                  <a:pt x="1313" y="18687"/>
                </a:cubicBezTo>
                <a:cubicBezTo>
                  <a:pt x="1313" y="18687"/>
                  <a:pt x="1313" y="18687"/>
                  <a:pt x="1313" y="18687"/>
                </a:cubicBezTo>
                <a:cubicBezTo>
                  <a:pt x="1344" y="18687"/>
                  <a:pt x="1375" y="18687"/>
                  <a:pt x="1406" y="18656"/>
                </a:cubicBezTo>
                <a:cubicBezTo>
                  <a:pt x="1406" y="18656"/>
                  <a:pt x="1406" y="18656"/>
                  <a:pt x="1406" y="18656"/>
                </a:cubicBezTo>
                <a:cubicBezTo>
                  <a:pt x="1406" y="18656"/>
                  <a:pt x="1406" y="18656"/>
                  <a:pt x="1438" y="18656"/>
                </a:cubicBezTo>
                <a:cubicBezTo>
                  <a:pt x="1500" y="18624"/>
                  <a:pt x="1594" y="18593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24"/>
                </a:cubicBezTo>
                <a:cubicBezTo>
                  <a:pt x="1688" y="18624"/>
                  <a:pt x="1688" y="18624"/>
                  <a:pt x="1688" y="18656"/>
                </a:cubicBezTo>
                <a:close/>
                <a:moveTo>
                  <a:pt x="1719" y="18687"/>
                </a:move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688" y="18656"/>
                  <a:pt x="1688" y="18656"/>
                </a:cubicBezTo>
                <a:cubicBezTo>
                  <a:pt x="1688" y="18656"/>
                  <a:pt x="1719" y="18656"/>
                  <a:pt x="1688" y="18656"/>
                </a:cubicBezTo>
                <a:cubicBezTo>
                  <a:pt x="1750" y="18656"/>
                  <a:pt x="1781" y="18656"/>
                  <a:pt x="1813" y="18656"/>
                </a:cubicBezTo>
                <a:cubicBezTo>
                  <a:pt x="1781" y="18687"/>
                  <a:pt x="1750" y="18749"/>
                  <a:pt x="1719" y="18687"/>
                </a:cubicBezTo>
                <a:close/>
                <a:moveTo>
                  <a:pt x="1969" y="18562"/>
                </a:moveTo>
                <a:cubicBezTo>
                  <a:pt x="1938" y="18593"/>
                  <a:pt x="1875" y="18624"/>
                  <a:pt x="1813" y="18593"/>
                </a:cubicBezTo>
                <a:cubicBezTo>
                  <a:pt x="1719" y="18562"/>
                  <a:pt x="1625" y="18593"/>
                  <a:pt x="1531" y="18531"/>
                </a:cubicBezTo>
                <a:cubicBezTo>
                  <a:pt x="1531" y="18531"/>
                  <a:pt x="1531" y="18499"/>
                  <a:pt x="1563" y="18499"/>
                </a:cubicBezTo>
                <a:cubicBezTo>
                  <a:pt x="1625" y="18437"/>
                  <a:pt x="1719" y="18406"/>
                  <a:pt x="1781" y="18406"/>
                </a:cubicBezTo>
                <a:cubicBezTo>
                  <a:pt x="1906" y="18374"/>
                  <a:pt x="2031" y="18374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156" y="18437"/>
                  <a:pt x="2156" y="18437"/>
                  <a:pt x="2156" y="18437"/>
                </a:cubicBezTo>
                <a:cubicBezTo>
                  <a:pt x="2094" y="18468"/>
                  <a:pt x="2031" y="18499"/>
                  <a:pt x="1969" y="18562"/>
                </a:cubicBezTo>
                <a:close/>
                <a:moveTo>
                  <a:pt x="2375" y="19499"/>
                </a:moveTo>
                <a:cubicBezTo>
                  <a:pt x="2313" y="19499"/>
                  <a:pt x="2313" y="19593"/>
                  <a:pt x="2250" y="19562"/>
                </a:cubicBezTo>
                <a:cubicBezTo>
                  <a:pt x="2219" y="19531"/>
                  <a:pt x="2188" y="19499"/>
                  <a:pt x="2219" y="19468"/>
                </a:cubicBezTo>
                <a:cubicBezTo>
                  <a:pt x="2281" y="19437"/>
                  <a:pt x="2313" y="19499"/>
                  <a:pt x="2375" y="19499"/>
                </a:cubicBezTo>
                <a:close/>
                <a:moveTo>
                  <a:pt x="2281" y="19312"/>
                </a:moveTo>
                <a:cubicBezTo>
                  <a:pt x="2281" y="19312"/>
                  <a:pt x="2313" y="19312"/>
                  <a:pt x="2313" y="19312"/>
                </a:cubicBezTo>
                <a:cubicBezTo>
                  <a:pt x="2313" y="19374"/>
                  <a:pt x="2250" y="19406"/>
                  <a:pt x="2188" y="19406"/>
                </a:cubicBezTo>
                <a:cubicBezTo>
                  <a:pt x="2156" y="19406"/>
                  <a:pt x="2125" y="19374"/>
                  <a:pt x="2125" y="19374"/>
                </a:cubicBezTo>
                <a:cubicBezTo>
                  <a:pt x="2094" y="19343"/>
                  <a:pt x="2094" y="19312"/>
                  <a:pt x="2125" y="19312"/>
                </a:cubicBezTo>
                <a:cubicBezTo>
                  <a:pt x="2156" y="19281"/>
                  <a:pt x="2188" y="19281"/>
                  <a:pt x="2219" y="19281"/>
                </a:cubicBezTo>
                <a:cubicBezTo>
                  <a:pt x="2219" y="19312"/>
                  <a:pt x="2250" y="19312"/>
                  <a:pt x="2281" y="19312"/>
                </a:cubicBezTo>
                <a:close/>
                <a:moveTo>
                  <a:pt x="3594" y="19124"/>
                </a:moveTo>
                <a:cubicBezTo>
                  <a:pt x="3594" y="19124"/>
                  <a:pt x="3594" y="19124"/>
                  <a:pt x="3594" y="19124"/>
                </a:cubicBezTo>
                <a:cubicBezTo>
                  <a:pt x="3406" y="19093"/>
                  <a:pt x="3250" y="19093"/>
                  <a:pt x="3063" y="19062"/>
                </a:cubicBezTo>
                <a:cubicBezTo>
                  <a:pt x="2844" y="18999"/>
                  <a:pt x="2625" y="19031"/>
                  <a:pt x="2406" y="18937"/>
                </a:cubicBezTo>
                <a:cubicBezTo>
                  <a:pt x="2344" y="18937"/>
                  <a:pt x="2281" y="18937"/>
                  <a:pt x="2250" y="18937"/>
                </a:cubicBezTo>
                <a:cubicBezTo>
                  <a:pt x="2219" y="18937"/>
                  <a:pt x="2219" y="18874"/>
                  <a:pt x="2125" y="18874"/>
                </a:cubicBezTo>
                <a:cubicBezTo>
                  <a:pt x="2188" y="18843"/>
                  <a:pt x="2250" y="18874"/>
                  <a:pt x="2281" y="18874"/>
                </a:cubicBezTo>
                <a:cubicBezTo>
                  <a:pt x="2281" y="18812"/>
                  <a:pt x="2219" y="18781"/>
                  <a:pt x="2219" y="18718"/>
                </a:cubicBezTo>
                <a:cubicBezTo>
                  <a:pt x="2250" y="18718"/>
                  <a:pt x="2250" y="18718"/>
                  <a:pt x="2281" y="18749"/>
                </a:cubicBezTo>
                <a:cubicBezTo>
                  <a:pt x="2313" y="18843"/>
                  <a:pt x="2375" y="18843"/>
                  <a:pt x="2438" y="18812"/>
                </a:cubicBezTo>
                <a:cubicBezTo>
                  <a:pt x="2531" y="18749"/>
                  <a:pt x="2625" y="18843"/>
                  <a:pt x="2719" y="18812"/>
                </a:cubicBezTo>
                <a:cubicBezTo>
                  <a:pt x="2719" y="18812"/>
                  <a:pt x="2719" y="18812"/>
                  <a:pt x="2719" y="18812"/>
                </a:cubicBezTo>
                <a:cubicBezTo>
                  <a:pt x="2750" y="18812"/>
                  <a:pt x="2813" y="18812"/>
                  <a:pt x="2781" y="18781"/>
                </a:cubicBezTo>
                <a:cubicBezTo>
                  <a:pt x="2813" y="18749"/>
                  <a:pt x="2875" y="18749"/>
                  <a:pt x="2906" y="18749"/>
                </a:cubicBezTo>
                <a:cubicBezTo>
                  <a:pt x="2938" y="18781"/>
                  <a:pt x="2938" y="18749"/>
                  <a:pt x="2906" y="18718"/>
                </a:cubicBezTo>
                <a:cubicBezTo>
                  <a:pt x="3000" y="18687"/>
                  <a:pt x="3063" y="18687"/>
                  <a:pt x="3156" y="18749"/>
                </a:cubicBezTo>
                <a:cubicBezTo>
                  <a:pt x="3125" y="18781"/>
                  <a:pt x="3094" y="18749"/>
                  <a:pt x="3063" y="18781"/>
                </a:cubicBezTo>
                <a:cubicBezTo>
                  <a:pt x="3094" y="18781"/>
                  <a:pt x="3094" y="18781"/>
                  <a:pt x="3125" y="18781"/>
                </a:cubicBezTo>
                <a:cubicBezTo>
                  <a:pt x="3188" y="18812"/>
                  <a:pt x="3250" y="18812"/>
                  <a:pt x="3219" y="18687"/>
                </a:cubicBezTo>
                <a:cubicBezTo>
                  <a:pt x="3188" y="18656"/>
                  <a:pt x="3219" y="18656"/>
                  <a:pt x="3250" y="18656"/>
                </a:cubicBezTo>
                <a:cubicBezTo>
                  <a:pt x="3281" y="18624"/>
                  <a:pt x="3313" y="18656"/>
                  <a:pt x="3313" y="18593"/>
                </a:cubicBezTo>
                <a:cubicBezTo>
                  <a:pt x="3375" y="18656"/>
                  <a:pt x="3469" y="18624"/>
                  <a:pt x="3563" y="18656"/>
                </a:cubicBezTo>
                <a:cubicBezTo>
                  <a:pt x="3656" y="18718"/>
                  <a:pt x="3719" y="18749"/>
                  <a:pt x="3688" y="18843"/>
                </a:cubicBezTo>
                <a:cubicBezTo>
                  <a:pt x="3688" y="18906"/>
                  <a:pt x="3750" y="18874"/>
                  <a:pt x="3719" y="18906"/>
                </a:cubicBezTo>
                <a:cubicBezTo>
                  <a:pt x="3688" y="18937"/>
                  <a:pt x="3719" y="18937"/>
                  <a:pt x="3719" y="18968"/>
                </a:cubicBezTo>
                <a:cubicBezTo>
                  <a:pt x="3781" y="19124"/>
                  <a:pt x="3750" y="19156"/>
                  <a:pt x="3594" y="19124"/>
                </a:cubicBezTo>
                <a:close/>
                <a:moveTo>
                  <a:pt x="3719" y="18031"/>
                </a:moveTo>
                <a:cubicBezTo>
                  <a:pt x="3688" y="18031"/>
                  <a:pt x="3656" y="18031"/>
                  <a:pt x="3625" y="18062"/>
                </a:cubicBezTo>
                <a:cubicBezTo>
                  <a:pt x="3594" y="18093"/>
                  <a:pt x="3594" y="18093"/>
                  <a:pt x="3594" y="18093"/>
                </a:cubicBezTo>
                <a:cubicBezTo>
                  <a:pt x="3594" y="18093"/>
                  <a:pt x="3594" y="18093"/>
                  <a:pt x="3625" y="18062"/>
                </a:cubicBezTo>
                <a:cubicBezTo>
                  <a:pt x="3594" y="18062"/>
                  <a:pt x="3563" y="18062"/>
                  <a:pt x="3500" y="18062"/>
                </a:cubicBezTo>
                <a:cubicBezTo>
                  <a:pt x="3500" y="18062"/>
                  <a:pt x="3500" y="18062"/>
                  <a:pt x="3469" y="18062"/>
                </a:cubicBezTo>
                <a:cubicBezTo>
                  <a:pt x="3469" y="18062"/>
                  <a:pt x="3438" y="18062"/>
                  <a:pt x="3438" y="18093"/>
                </a:cubicBezTo>
                <a:cubicBezTo>
                  <a:pt x="3375" y="18093"/>
                  <a:pt x="3313" y="18093"/>
                  <a:pt x="3281" y="18093"/>
                </a:cubicBezTo>
                <a:cubicBezTo>
                  <a:pt x="3281" y="18093"/>
                  <a:pt x="3250" y="18093"/>
                  <a:pt x="3250" y="18093"/>
                </a:cubicBezTo>
                <a:cubicBezTo>
                  <a:pt x="3313" y="17999"/>
                  <a:pt x="3406" y="18062"/>
                  <a:pt x="3469" y="18031"/>
                </a:cubicBezTo>
                <a:cubicBezTo>
                  <a:pt x="3531" y="18031"/>
                  <a:pt x="3594" y="18031"/>
                  <a:pt x="3656" y="18031"/>
                </a:cubicBezTo>
                <a:cubicBezTo>
                  <a:pt x="3656" y="17999"/>
                  <a:pt x="3656" y="17999"/>
                  <a:pt x="3656" y="17999"/>
                </a:cubicBezTo>
                <a:cubicBezTo>
                  <a:pt x="3656" y="17999"/>
                  <a:pt x="3656" y="17999"/>
                  <a:pt x="3656" y="18031"/>
                </a:cubicBezTo>
                <a:cubicBezTo>
                  <a:pt x="3656" y="17999"/>
                  <a:pt x="3688" y="17999"/>
                  <a:pt x="3688" y="17999"/>
                </a:cubicBezTo>
                <a:cubicBezTo>
                  <a:pt x="3719" y="17999"/>
                  <a:pt x="3719" y="17999"/>
                  <a:pt x="3750" y="17999"/>
                </a:cubicBezTo>
                <a:cubicBezTo>
                  <a:pt x="3781" y="18062"/>
                  <a:pt x="3719" y="18031"/>
                  <a:pt x="3719" y="18031"/>
                </a:cubicBezTo>
                <a:cubicBezTo>
                  <a:pt x="3719" y="18062"/>
                  <a:pt x="3750" y="18062"/>
                  <a:pt x="3781" y="18093"/>
                </a:cubicBezTo>
                <a:cubicBezTo>
                  <a:pt x="3750" y="18062"/>
                  <a:pt x="3719" y="18062"/>
                  <a:pt x="3719" y="18031"/>
                </a:cubicBezTo>
                <a:close/>
                <a:moveTo>
                  <a:pt x="3594" y="16062"/>
                </a:moveTo>
                <a:cubicBezTo>
                  <a:pt x="3625" y="16093"/>
                  <a:pt x="3656" y="16031"/>
                  <a:pt x="3719" y="16062"/>
                </a:cubicBezTo>
                <a:cubicBezTo>
                  <a:pt x="3688" y="16093"/>
                  <a:pt x="3625" y="16093"/>
                  <a:pt x="3594" y="16156"/>
                </a:cubicBezTo>
                <a:cubicBezTo>
                  <a:pt x="3563" y="16187"/>
                  <a:pt x="3531" y="16187"/>
                  <a:pt x="3500" y="16218"/>
                </a:cubicBezTo>
                <a:cubicBezTo>
                  <a:pt x="3531" y="16187"/>
                  <a:pt x="3563" y="16187"/>
                  <a:pt x="3594" y="16156"/>
                </a:cubicBezTo>
                <a:cubicBezTo>
                  <a:pt x="3500" y="16124"/>
                  <a:pt x="3625" y="16093"/>
                  <a:pt x="3594" y="16062"/>
                </a:cubicBezTo>
                <a:close/>
                <a:moveTo>
                  <a:pt x="3625" y="17281"/>
                </a:moveTo>
                <a:cubicBezTo>
                  <a:pt x="3656" y="17249"/>
                  <a:pt x="3688" y="17187"/>
                  <a:pt x="3781" y="17187"/>
                </a:cubicBezTo>
                <a:cubicBezTo>
                  <a:pt x="3750" y="17218"/>
                  <a:pt x="3719" y="17249"/>
                  <a:pt x="3688" y="17281"/>
                </a:cubicBezTo>
                <a:cubicBezTo>
                  <a:pt x="3656" y="17312"/>
                  <a:pt x="3656" y="17343"/>
                  <a:pt x="3625" y="17281"/>
                </a:cubicBezTo>
                <a:close/>
                <a:moveTo>
                  <a:pt x="3594" y="17374"/>
                </a:moveTo>
                <a:cubicBezTo>
                  <a:pt x="3594" y="17374"/>
                  <a:pt x="3625" y="17374"/>
                  <a:pt x="3625" y="17406"/>
                </a:cubicBezTo>
                <a:cubicBezTo>
                  <a:pt x="3594" y="17406"/>
                  <a:pt x="3594" y="17406"/>
                  <a:pt x="3594" y="17406"/>
                </a:cubicBezTo>
                <a:cubicBezTo>
                  <a:pt x="3563" y="17406"/>
                  <a:pt x="3563" y="17406"/>
                  <a:pt x="3563" y="17406"/>
                </a:cubicBezTo>
                <a:cubicBezTo>
                  <a:pt x="3563" y="17374"/>
                  <a:pt x="3563" y="17374"/>
                  <a:pt x="3594" y="17374"/>
                </a:cubicBezTo>
                <a:close/>
                <a:moveTo>
                  <a:pt x="3500" y="16968"/>
                </a:move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ubicBezTo>
                  <a:pt x="3500" y="16968"/>
                  <a:pt x="3500" y="16968"/>
                  <a:pt x="3500" y="16968"/>
                </a:cubicBezTo>
                <a:close/>
                <a:moveTo>
                  <a:pt x="3500" y="17406"/>
                </a:moveTo>
                <a:cubicBezTo>
                  <a:pt x="3500" y="17437"/>
                  <a:pt x="3563" y="17406"/>
                  <a:pt x="3563" y="17468"/>
                </a:cubicBezTo>
                <a:cubicBezTo>
                  <a:pt x="3531" y="17468"/>
                  <a:pt x="3531" y="17499"/>
                  <a:pt x="3500" y="17499"/>
                </a:cubicBezTo>
                <a:cubicBezTo>
                  <a:pt x="3500" y="17499"/>
                  <a:pt x="3500" y="17499"/>
                  <a:pt x="3500" y="17499"/>
                </a:cubicBezTo>
                <a:cubicBezTo>
                  <a:pt x="3500" y="17468"/>
                  <a:pt x="3500" y="17468"/>
                  <a:pt x="3500" y="17437"/>
                </a:cubicBezTo>
                <a:cubicBezTo>
                  <a:pt x="3500" y="17437"/>
                  <a:pt x="3500" y="17437"/>
                  <a:pt x="3500" y="17406"/>
                </a:cubicBezTo>
                <a:close/>
                <a:moveTo>
                  <a:pt x="3813" y="16781"/>
                </a:move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81"/>
                  <a:pt x="3813" y="16781"/>
                  <a:pt x="3813" y="16781"/>
                </a:cubicBezTo>
                <a:cubicBezTo>
                  <a:pt x="3813" y="16749"/>
                  <a:pt x="3813" y="16749"/>
                  <a:pt x="3844" y="16749"/>
                </a:cubicBezTo>
                <a:cubicBezTo>
                  <a:pt x="3813" y="16749"/>
                  <a:pt x="3813" y="16749"/>
                  <a:pt x="3813" y="16781"/>
                </a:cubicBezTo>
                <a:close/>
                <a:moveTo>
                  <a:pt x="3781" y="18218"/>
                </a:moveTo>
                <a:cubicBezTo>
                  <a:pt x="3813" y="18187"/>
                  <a:pt x="3875" y="18218"/>
                  <a:pt x="3906" y="18218"/>
                </a:cubicBezTo>
                <a:cubicBezTo>
                  <a:pt x="3875" y="18249"/>
                  <a:pt x="3844" y="18249"/>
                  <a:pt x="3781" y="18218"/>
                </a:cubicBezTo>
                <a:close/>
                <a:moveTo>
                  <a:pt x="3875" y="17437"/>
                </a:moveTo>
                <a:cubicBezTo>
                  <a:pt x="3844" y="17406"/>
                  <a:pt x="3875" y="17374"/>
                  <a:pt x="3906" y="17374"/>
                </a:cubicBezTo>
                <a:cubicBezTo>
                  <a:pt x="3938" y="17312"/>
                  <a:pt x="3969" y="17249"/>
                  <a:pt x="4031" y="17249"/>
                </a:cubicBezTo>
                <a:cubicBezTo>
                  <a:pt x="4000" y="17312"/>
                  <a:pt x="3969" y="17374"/>
                  <a:pt x="3938" y="17374"/>
                </a:cubicBezTo>
                <a:cubicBezTo>
                  <a:pt x="3906" y="17406"/>
                  <a:pt x="3875" y="17437"/>
                  <a:pt x="3875" y="17437"/>
                </a:cubicBezTo>
                <a:close/>
                <a:moveTo>
                  <a:pt x="4094" y="18218"/>
                </a:moveTo>
                <a:cubicBezTo>
                  <a:pt x="4094" y="18218"/>
                  <a:pt x="4094" y="18218"/>
                  <a:pt x="4094" y="18218"/>
                </a:cubicBezTo>
                <a:cubicBezTo>
                  <a:pt x="4063" y="18218"/>
                  <a:pt x="4031" y="18218"/>
                  <a:pt x="4031" y="18218"/>
                </a:cubicBezTo>
                <a:cubicBezTo>
                  <a:pt x="4000" y="18218"/>
                  <a:pt x="3969" y="18218"/>
                  <a:pt x="3969" y="18187"/>
                </a:cubicBezTo>
                <a:cubicBezTo>
                  <a:pt x="3969" y="18187"/>
                  <a:pt x="3969" y="18187"/>
                  <a:pt x="4000" y="18187"/>
                </a:cubicBezTo>
                <a:cubicBezTo>
                  <a:pt x="4031" y="18187"/>
                  <a:pt x="4031" y="18187"/>
                  <a:pt x="4063" y="18187"/>
                </a:cubicBezTo>
                <a:cubicBezTo>
                  <a:pt x="4063" y="18187"/>
                  <a:pt x="4094" y="18187"/>
                  <a:pt x="4094" y="18187"/>
                </a:cubicBezTo>
                <a:cubicBezTo>
                  <a:pt x="4094" y="18187"/>
                  <a:pt x="4094" y="18218"/>
                  <a:pt x="4094" y="18218"/>
                </a:cubicBezTo>
                <a:close/>
                <a:moveTo>
                  <a:pt x="4156" y="17437"/>
                </a:moveTo>
                <a:cubicBezTo>
                  <a:pt x="4156" y="17437"/>
                  <a:pt x="4156" y="17437"/>
                  <a:pt x="4156" y="17468"/>
                </a:cubicBezTo>
                <a:cubicBezTo>
                  <a:pt x="4125" y="17468"/>
                  <a:pt x="4125" y="17531"/>
                  <a:pt x="4063" y="17531"/>
                </a:cubicBezTo>
                <a:cubicBezTo>
                  <a:pt x="4063" y="17531"/>
                  <a:pt x="4063" y="17531"/>
                  <a:pt x="4063" y="17531"/>
                </a:cubicBezTo>
                <a:cubicBezTo>
                  <a:pt x="4094" y="17468"/>
                  <a:pt x="4094" y="17437"/>
                  <a:pt x="4156" y="17437"/>
                </a:cubicBezTo>
                <a:cubicBezTo>
                  <a:pt x="4156" y="17374"/>
                  <a:pt x="4188" y="17374"/>
                  <a:pt x="4219" y="17343"/>
                </a:cubicBezTo>
                <a:cubicBezTo>
                  <a:pt x="4219" y="17406"/>
                  <a:pt x="4219" y="17437"/>
                  <a:pt x="4156" y="17437"/>
                </a:cubicBezTo>
                <a:close/>
                <a:moveTo>
                  <a:pt x="4156" y="17187"/>
                </a:moveTo>
                <a:cubicBezTo>
                  <a:pt x="4156" y="17187"/>
                  <a:pt x="4125" y="17187"/>
                  <a:pt x="4125" y="17187"/>
                </a:cubicBezTo>
                <a:cubicBezTo>
                  <a:pt x="4094" y="17187"/>
                  <a:pt x="4094" y="17187"/>
                  <a:pt x="4063" y="17187"/>
                </a:cubicBezTo>
                <a:cubicBezTo>
                  <a:pt x="4063" y="17187"/>
                  <a:pt x="4063" y="17156"/>
                  <a:pt x="4094" y="17156"/>
                </a:cubicBezTo>
                <a:cubicBezTo>
                  <a:pt x="4125" y="17062"/>
                  <a:pt x="4125" y="17062"/>
                  <a:pt x="4188" y="17093"/>
                </a:cubicBezTo>
                <a:cubicBezTo>
                  <a:pt x="4156" y="17124"/>
                  <a:pt x="4125" y="17156"/>
                  <a:pt x="4125" y="17187"/>
                </a:cubicBezTo>
                <a:cubicBezTo>
                  <a:pt x="4125" y="17187"/>
                  <a:pt x="4156" y="17187"/>
                  <a:pt x="4156" y="17187"/>
                </a:cubicBezTo>
                <a:close/>
                <a:moveTo>
                  <a:pt x="4656" y="16968"/>
                </a:moveTo>
                <a:cubicBezTo>
                  <a:pt x="4656" y="16968"/>
                  <a:pt x="4625" y="16968"/>
                  <a:pt x="4625" y="16968"/>
                </a:cubicBezTo>
                <a:cubicBezTo>
                  <a:pt x="4625" y="16968"/>
                  <a:pt x="4625" y="16968"/>
                  <a:pt x="4625" y="16968"/>
                </a:cubicBezTo>
                <a:cubicBezTo>
                  <a:pt x="4594" y="16968"/>
                  <a:pt x="4531" y="16968"/>
                  <a:pt x="4594" y="16906"/>
                </a:cubicBezTo>
                <a:cubicBezTo>
                  <a:pt x="4594" y="16906"/>
                  <a:pt x="4594" y="16906"/>
                  <a:pt x="4594" y="16906"/>
                </a:cubicBezTo>
                <a:cubicBezTo>
                  <a:pt x="4656" y="16843"/>
                  <a:pt x="4625" y="16968"/>
                  <a:pt x="4656" y="16937"/>
                </a:cubicBezTo>
                <a:cubicBezTo>
                  <a:pt x="4656" y="16968"/>
                  <a:pt x="4656" y="16968"/>
                  <a:pt x="4656" y="16968"/>
                </a:cubicBezTo>
                <a:cubicBezTo>
                  <a:pt x="4688" y="16999"/>
                  <a:pt x="4719" y="17031"/>
                  <a:pt x="4719" y="17031"/>
                </a:cubicBezTo>
                <a:cubicBezTo>
                  <a:pt x="4719" y="17031"/>
                  <a:pt x="4688" y="16999"/>
                  <a:pt x="4656" y="16968"/>
                </a:cubicBezTo>
                <a:close/>
                <a:moveTo>
                  <a:pt x="4656" y="15874"/>
                </a:moveTo>
                <a:cubicBezTo>
                  <a:pt x="4625" y="15874"/>
                  <a:pt x="4625" y="15843"/>
                  <a:pt x="4625" y="15843"/>
                </a:cubicBezTo>
                <a:cubicBezTo>
                  <a:pt x="4688" y="15843"/>
                  <a:pt x="4750" y="15812"/>
                  <a:pt x="4844" y="15843"/>
                </a:cubicBezTo>
                <a:cubicBezTo>
                  <a:pt x="4781" y="15843"/>
                  <a:pt x="4719" y="15874"/>
                  <a:pt x="4656" y="15874"/>
                </a:cubicBezTo>
                <a:close/>
                <a:moveTo>
                  <a:pt x="4813" y="15937"/>
                </a:move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ubicBezTo>
                  <a:pt x="4813" y="15937"/>
                  <a:pt x="4813" y="15937"/>
                  <a:pt x="4813" y="15937"/>
                </a:cubicBezTo>
                <a:close/>
                <a:moveTo>
                  <a:pt x="4656" y="16437"/>
                </a:moveTo>
                <a:cubicBezTo>
                  <a:pt x="4656" y="16406"/>
                  <a:pt x="4656" y="16406"/>
                  <a:pt x="4656" y="16406"/>
                </a:cubicBezTo>
                <a:cubicBezTo>
                  <a:pt x="4688" y="16406"/>
                  <a:pt x="4688" y="16406"/>
                  <a:pt x="4719" y="16374"/>
                </a:cubicBezTo>
                <a:cubicBezTo>
                  <a:pt x="4688" y="16406"/>
                  <a:pt x="4688" y="16406"/>
                  <a:pt x="4656" y="16406"/>
                </a:cubicBezTo>
                <a:cubicBezTo>
                  <a:pt x="4656" y="16406"/>
                  <a:pt x="4656" y="16406"/>
                  <a:pt x="4656" y="16437"/>
                </a:cubicBezTo>
                <a:close/>
                <a:moveTo>
                  <a:pt x="5094" y="19124"/>
                </a:moveTo>
                <a:cubicBezTo>
                  <a:pt x="5063" y="19124"/>
                  <a:pt x="5063" y="19124"/>
                  <a:pt x="5031" y="19124"/>
                </a:cubicBezTo>
                <a:cubicBezTo>
                  <a:pt x="4969" y="19124"/>
                  <a:pt x="4906" y="19156"/>
                  <a:pt x="4844" y="19124"/>
                </a:cubicBezTo>
                <a:cubicBezTo>
                  <a:pt x="4844" y="19093"/>
                  <a:pt x="4844" y="19093"/>
                  <a:pt x="4813" y="19093"/>
                </a:cubicBezTo>
                <a:cubicBezTo>
                  <a:pt x="4813" y="19093"/>
                  <a:pt x="4813" y="19093"/>
                  <a:pt x="4781" y="19093"/>
                </a:cubicBezTo>
                <a:cubicBezTo>
                  <a:pt x="4781" y="19093"/>
                  <a:pt x="4781" y="19093"/>
                  <a:pt x="4781" y="19062"/>
                </a:cubicBezTo>
                <a:cubicBezTo>
                  <a:pt x="4875" y="19062"/>
                  <a:pt x="4969" y="19093"/>
                  <a:pt x="5094" y="19124"/>
                </a:cubicBezTo>
                <a:cubicBezTo>
                  <a:pt x="5125" y="19124"/>
                  <a:pt x="5156" y="19124"/>
                  <a:pt x="5219" y="19124"/>
                </a:cubicBezTo>
                <a:cubicBezTo>
                  <a:pt x="5156" y="19124"/>
                  <a:pt x="5125" y="19124"/>
                  <a:pt x="5094" y="19124"/>
                </a:cubicBezTo>
                <a:close/>
                <a:moveTo>
                  <a:pt x="5063" y="15781"/>
                </a:moveTo>
                <a:cubicBezTo>
                  <a:pt x="5063" y="15781"/>
                  <a:pt x="5063" y="15781"/>
                  <a:pt x="5063" y="15781"/>
                </a:cubicBezTo>
                <a:cubicBezTo>
                  <a:pt x="5094" y="15781"/>
                  <a:pt x="5094" y="15781"/>
                  <a:pt x="5094" y="15781"/>
                </a:cubicBezTo>
                <a:cubicBezTo>
                  <a:pt x="5094" y="15812"/>
                  <a:pt x="5094" y="15812"/>
                  <a:pt x="5094" y="15843"/>
                </a:cubicBezTo>
                <a:cubicBezTo>
                  <a:pt x="5094" y="15843"/>
                  <a:pt x="5094" y="15843"/>
                  <a:pt x="5094" y="15843"/>
                </a:cubicBezTo>
                <a:cubicBezTo>
                  <a:pt x="5031" y="15812"/>
                  <a:pt x="4969" y="15812"/>
                  <a:pt x="4906" y="15812"/>
                </a:cubicBezTo>
                <a:cubicBezTo>
                  <a:pt x="4969" y="15812"/>
                  <a:pt x="5031" y="15812"/>
                  <a:pt x="5063" y="15781"/>
                </a:cubicBezTo>
                <a:close/>
                <a:moveTo>
                  <a:pt x="5375" y="15062"/>
                </a:moveTo>
                <a:cubicBezTo>
                  <a:pt x="5375" y="15062"/>
                  <a:pt x="5375" y="15031"/>
                  <a:pt x="5344" y="15031"/>
                </a:cubicBezTo>
                <a:cubicBezTo>
                  <a:pt x="5344" y="14999"/>
                  <a:pt x="5344" y="14968"/>
                  <a:pt x="5344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375" y="14968"/>
                  <a:pt x="5375" y="14968"/>
                  <a:pt x="5375" y="14968"/>
                </a:cubicBezTo>
                <a:cubicBezTo>
                  <a:pt x="5406" y="14968"/>
                  <a:pt x="5406" y="14968"/>
                  <a:pt x="5406" y="14968"/>
                </a:cubicBezTo>
                <a:cubicBezTo>
                  <a:pt x="5469" y="14999"/>
                  <a:pt x="5406" y="15062"/>
                  <a:pt x="5469" y="15093"/>
                </a:cubicBezTo>
                <a:cubicBezTo>
                  <a:pt x="5500" y="15156"/>
                  <a:pt x="5531" y="15249"/>
                  <a:pt x="5625" y="15187"/>
                </a:cubicBezTo>
                <a:cubicBezTo>
                  <a:pt x="5563" y="15312"/>
                  <a:pt x="5688" y="15312"/>
                  <a:pt x="5719" y="15374"/>
                </a:cubicBezTo>
                <a:cubicBezTo>
                  <a:pt x="5719" y="15312"/>
                  <a:pt x="5813" y="15218"/>
                  <a:pt x="5906" y="15218"/>
                </a:cubicBezTo>
                <a:cubicBezTo>
                  <a:pt x="5938" y="15218"/>
                  <a:pt x="5969" y="15187"/>
                  <a:pt x="5969" y="15156"/>
                </a:cubicBezTo>
                <a:cubicBezTo>
                  <a:pt x="5969" y="15031"/>
                  <a:pt x="6094" y="15093"/>
                  <a:pt x="6125" y="15062"/>
                </a:cubicBezTo>
                <a:cubicBezTo>
                  <a:pt x="6125" y="15031"/>
                  <a:pt x="6156" y="15062"/>
                  <a:pt x="6156" y="15062"/>
                </a:cubicBezTo>
                <a:cubicBezTo>
                  <a:pt x="6156" y="15093"/>
                  <a:pt x="6156" y="15124"/>
                  <a:pt x="6125" y="15124"/>
                </a:cubicBezTo>
                <a:cubicBezTo>
                  <a:pt x="6063" y="15187"/>
                  <a:pt x="6031" y="15218"/>
                  <a:pt x="5969" y="15281"/>
                </a:cubicBezTo>
                <a:cubicBezTo>
                  <a:pt x="5969" y="15281"/>
                  <a:pt x="5969" y="15281"/>
                  <a:pt x="5938" y="15281"/>
                </a:cubicBezTo>
                <a:cubicBezTo>
                  <a:pt x="5969" y="15281"/>
                  <a:pt x="5969" y="15281"/>
                  <a:pt x="5969" y="15281"/>
                </a:cubicBezTo>
                <a:cubicBezTo>
                  <a:pt x="5938" y="15249"/>
                  <a:pt x="5906" y="15249"/>
                  <a:pt x="5938" y="15312"/>
                </a:cubicBezTo>
                <a:cubicBezTo>
                  <a:pt x="5938" y="15312"/>
                  <a:pt x="5938" y="15312"/>
                  <a:pt x="5906" y="15312"/>
                </a:cubicBezTo>
                <a:cubicBezTo>
                  <a:pt x="5781" y="15281"/>
                  <a:pt x="5781" y="15281"/>
                  <a:pt x="5781" y="15437"/>
                </a:cubicBezTo>
                <a:cubicBezTo>
                  <a:pt x="5781" y="15437"/>
                  <a:pt x="5781" y="15437"/>
                  <a:pt x="5781" y="15437"/>
                </a:cubicBezTo>
                <a:cubicBezTo>
                  <a:pt x="5719" y="15437"/>
                  <a:pt x="5688" y="15406"/>
                  <a:pt x="5656" y="15374"/>
                </a:cubicBezTo>
                <a:cubicBezTo>
                  <a:pt x="5563" y="15281"/>
                  <a:pt x="5500" y="15156"/>
                  <a:pt x="5375" y="15062"/>
                </a:cubicBezTo>
                <a:close/>
                <a:moveTo>
                  <a:pt x="5500" y="14906"/>
                </a:moveTo>
                <a:cubicBezTo>
                  <a:pt x="5500" y="14906"/>
                  <a:pt x="5469" y="14906"/>
                  <a:pt x="5469" y="14937"/>
                </a:cubicBezTo>
                <a:cubicBezTo>
                  <a:pt x="5469" y="14906"/>
                  <a:pt x="5469" y="14906"/>
                  <a:pt x="5469" y="14906"/>
                </a:cubicBezTo>
                <a:cubicBezTo>
                  <a:pt x="5469" y="14906"/>
                  <a:pt x="5469" y="14874"/>
                  <a:pt x="5500" y="14906"/>
                </a:cubicBezTo>
                <a:close/>
                <a:moveTo>
                  <a:pt x="5500" y="14843"/>
                </a:moveTo>
                <a:cubicBezTo>
                  <a:pt x="5531" y="14812"/>
                  <a:pt x="5531" y="14843"/>
                  <a:pt x="5563" y="14874"/>
                </a:cubicBezTo>
                <a:cubicBezTo>
                  <a:pt x="5563" y="14906"/>
                  <a:pt x="5625" y="14906"/>
                  <a:pt x="5625" y="14937"/>
                </a:cubicBezTo>
                <a:cubicBezTo>
                  <a:pt x="5563" y="14968"/>
                  <a:pt x="5563" y="14874"/>
                  <a:pt x="5500" y="14906"/>
                </a:cubicBezTo>
                <a:cubicBezTo>
                  <a:pt x="5500" y="14874"/>
                  <a:pt x="5469" y="14843"/>
                  <a:pt x="5500" y="14843"/>
                </a:cubicBezTo>
                <a:close/>
                <a:moveTo>
                  <a:pt x="6156" y="14999"/>
                </a:moveTo>
                <a:cubicBezTo>
                  <a:pt x="6094" y="14999"/>
                  <a:pt x="6063" y="15031"/>
                  <a:pt x="6000" y="15031"/>
                </a:cubicBezTo>
                <a:cubicBezTo>
                  <a:pt x="6031" y="14968"/>
                  <a:pt x="6063" y="14937"/>
                  <a:pt x="6125" y="14906"/>
                </a:cubicBezTo>
                <a:cubicBezTo>
                  <a:pt x="6156" y="14906"/>
                  <a:pt x="6156" y="14968"/>
                  <a:pt x="6156" y="14999"/>
                </a:cubicBezTo>
                <a:close/>
                <a:moveTo>
                  <a:pt x="6281" y="15718"/>
                </a:moveTo>
                <a:cubicBezTo>
                  <a:pt x="6281" y="15718"/>
                  <a:pt x="6250" y="15718"/>
                  <a:pt x="6250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219" y="15718"/>
                  <a:pt x="6219" y="15718"/>
                  <a:pt x="6219" y="15718"/>
                </a:cubicBezTo>
                <a:cubicBezTo>
                  <a:pt x="6188" y="15656"/>
                  <a:pt x="6281" y="15656"/>
                  <a:pt x="6281" y="15624"/>
                </a:cubicBezTo>
                <a:cubicBezTo>
                  <a:pt x="6281" y="15624"/>
                  <a:pt x="6313" y="15624"/>
                  <a:pt x="6313" y="15624"/>
                </a:cubicBezTo>
                <a:cubicBezTo>
                  <a:pt x="6313" y="15687"/>
                  <a:pt x="6375" y="15624"/>
                  <a:pt x="6375" y="15687"/>
                </a:cubicBezTo>
                <a:cubicBezTo>
                  <a:pt x="6375" y="15718"/>
                  <a:pt x="6375" y="15718"/>
                  <a:pt x="6406" y="15718"/>
                </a:cubicBezTo>
                <a:cubicBezTo>
                  <a:pt x="6375" y="15718"/>
                  <a:pt x="6375" y="15718"/>
                  <a:pt x="6375" y="15687"/>
                </a:cubicBezTo>
                <a:cubicBezTo>
                  <a:pt x="6344" y="15687"/>
                  <a:pt x="6281" y="15656"/>
                  <a:pt x="6281" y="15718"/>
                </a:cubicBezTo>
                <a:close/>
                <a:moveTo>
                  <a:pt x="6031" y="15687"/>
                </a:moveTo>
                <a:cubicBezTo>
                  <a:pt x="5969" y="15656"/>
                  <a:pt x="5938" y="15656"/>
                  <a:pt x="5875" y="15624"/>
                </a:cubicBezTo>
                <a:cubicBezTo>
                  <a:pt x="5906" y="15562"/>
                  <a:pt x="5969" y="15562"/>
                  <a:pt x="6031" y="15531"/>
                </a:cubicBezTo>
                <a:cubicBezTo>
                  <a:pt x="6094" y="15562"/>
                  <a:pt x="6156" y="15593"/>
                  <a:pt x="6219" y="15593"/>
                </a:cubicBezTo>
                <a:cubicBezTo>
                  <a:pt x="6188" y="15656"/>
                  <a:pt x="6125" y="15718"/>
                  <a:pt x="6031" y="15687"/>
                </a:cubicBezTo>
                <a:close/>
                <a:moveTo>
                  <a:pt x="6094" y="15843"/>
                </a:move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ubicBezTo>
                  <a:pt x="6094" y="15843"/>
                  <a:pt x="6094" y="15843"/>
                  <a:pt x="6094" y="15843"/>
                </a:cubicBezTo>
                <a:close/>
                <a:moveTo>
                  <a:pt x="6125" y="15312"/>
                </a:moveTo>
                <a:cubicBezTo>
                  <a:pt x="6156" y="15312"/>
                  <a:pt x="6156" y="15312"/>
                  <a:pt x="6156" y="15281"/>
                </a:cubicBezTo>
                <a:cubicBezTo>
                  <a:pt x="6156" y="15312"/>
                  <a:pt x="6156" y="15312"/>
                  <a:pt x="6125" y="15312"/>
                </a:cubicBezTo>
                <a:cubicBezTo>
                  <a:pt x="6125" y="15312"/>
                  <a:pt x="6125" y="15312"/>
                  <a:pt x="6125" y="15312"/>
                </a:cubicBezTo>
                <a:close/>
                <a:moveTo>
                  <a:pt x="5531" y="15562"/>
                </a:moveTo>
                <a:cubicBezTo>
                  <a:pt x="5531" y="15562"/>
                  <a:pt x="5531" y="15562"/>
                  <a:pt x="5531" y="15562"/>
                </a:cubicBezTo>
                <a:cubicBezTo>
                  <a:pt x="5531" y="15562"/>
                  <a:pt x="5531" y="15562"/>
                  <a:pt x="5500" y="15562"/>
                </a:cubicBezTo>
                <a:cubicBezTo>
                  <a:pt x="5531" y="15562"/>
                  <a:pt x="5531" y="15562"/>
                  <a:pt x="5531" y="15562"/>
                </a:cubicBezTo>
                <a:close/>
                <a:moveTo>
                  <a:pt x="5563" y="16468"/>
                </a:moveTo>
                <a:cubicBezTo>
                  <a:pt x="5563" y="16468"/>
                  <a:pt x="5594" y="16468"/>
                  <a:pt x="5594" y="16499"/>
                </a:cubicBezTo>
                <a:cubicBezTo>
                  <a:pt x="5594" y="16531"/>
                  <a:pt x="5594" y="16531"/>
                  <a:pt x="5563" y="16531"/>
                </a:cubicBezTo>
                <a:cubicBezTo>
                  <a:pt x="5531" y="16562"/>
                  <a:pt x="5500" y="16593"/>
                  <a:pt x="5438" y="16593"/>
                </a:cubicBezTo>
                <a:cubicBezTo>
                  <a:pt x="5438" y="16562"/>
                  <a:pt x="5438" y="16562"/>
                  <a:pt x="5438" y="16531"/>
                </a:cubicBezTo>
                <a:cubicBezTo>
                  <a:pt x="5469" y="16531"/>
                  <a:pt x="5500" y="16437"/>
                  <a:pt x="5563" y="16468"/>
                </a:cubicBezTo>
                <a:close/>
                <a:moveTo>
                  <a:pt x="5594" y="16656"/>
                </a:moveTo>
                <a:cubicBezTo>
                  <a:pt x="5594" y="16624"/>
                  <a:pt x="5594" y="16624"/>
                  <a:pt x="5594" y="16624"/>
                </a:cubicBezTo>
                <a:cubicBezTo>
                  <a:pt x="5625" y="16593"/>
                  <a:pt x="5688" y="16531"/>
                  <a:pt x="5750" y="16562"/>
                </a:cubicBezTo>
                <a:cubicBezTo>
                  <a:pt x="5750" y="16593"/>
                  <a:pt x="5750" y="16593"/>
                  <a:pt x="5750" y="16624"/>
                </a:cubicBezTo>
                <a:cubicBezTo>
                  <a:pt x="5688" y="16656"/>
                  <a:pt x="5656" y="16656"/>
                  <a:pt x="5594" y="16656"/>
                </a:cubicBezTo>
                <a:close/>
                <a:moveTo>
                  <a:pt x="5594" y="16031"/>
                </a:moveTo>
                <a:cubicBezTo>
                  <a:pt x="5594" y="16062"/>
                  <a:pt x="5625" y="16062"/>
                  <a:pt x="5625" y="16062"/>
                </a:cubicBezTo>
                <a:cubicBezTo>
                  <a:pt x="5625" y="16062"/>
                  <a:pt x="5594" y="16062"/>
                  <a:pt x="5594" y="16031"/>
                </a:cubicBezTo>
                <a:close/>
                <a:moveTo>
                  <a:pt x="5281" y="17843"/>
                </a:moveTo>
                <a:cubicBezTo>
                  <a:pt x="5250" y="17874"/>
                  <a:pt x="5250" y="17906"/>
                  <a:pt x="5250" y="17906"/>
                </a:cubicBezTo>
                <a:cubicBezTo>
                  <a:pt x="5250" y="17906"/>
                  <a:pt x="5250" y="17874"/>
                  <a:pt x="5281" y="17843"/>
                </a:cubicBezTo>
                <a:cubicBezTo>
                  <a:pt x="5281" y="17843"/>
                  <a:pt x="5281" y="17843"/>
                  <a:pt x="5281" y="17812"/>
                </a:cubicBezTo>
                <a:cubicBezTo>
                  <a:pt x="5344" y="17843"/>
                  <a:pt x="5375" y="17781"/>
                  <a:pt x="5438" y="17781"/>
                </a:cubicBezTo>
                <a:cubicBezTo>
                  <a:pt x="5438" y="17781"/>
                  <a:pt x="5438" y="17781"/>
                  <a:pt x="5438" y="17812"/>
                </a:cubicBezTo>
                <a:cubicBezTo>
                  <a:pt x="5438" y="17781"/>
                  <a:pt x="5469" y="17781"/>
                  <a:pt x="5469" y="17749"/>
                </a:cubicBezTo>
                <a:cubicBezTo>
                  <a:pt x="5469" y="17781"/>
                  <a:pt x="5438" y="17781"/>
                  <a:pt x="5438" y="17812"/>
                </a:cubicBezTo>
                <a:cubicBezTo>
                  <a:pt x="5375" y="17874"/>
                  <a:pt x="5469" y="17843"/>
                  <a:pt x="5500" y="17874"/>
                </a:cubicBezTo>
                <a:cubicBezTo>
                  <a:pt x="5406" y="17843"/>
                  <a:pt x="5344" y="17937"/>
                  <a:pt x="5281" y="17843"/>
                </a:cubicBezTo>
                <a:close/>
                <a:moveTo>
                  <a:pt x="5219" y="17812"/>
                </a:moveTo>
                <a:cubicBezTo>
                  <a:pt x="5219" y="17812"/>
                  <a:pt x="5250" y="17812"/>
                  <a:pt x="5281" y="17812"/>
                </a:cubicBezTo>
                <a:cubicBezTo>
                  <a:pt x="5281" y="17812"/>
                  <a:pt x="5281" y="17812"/>
                  <a:pt x="5281" y="17812"/>
                </a:cubicBezTo>
                <a:cubicBezTo>
                  <a:pt x="5250" y="17812"/>
                  <a:pt x="5219" y="17812"/>
                  <a:pt x="5219" y="17812"/>
                </a:cubicBezTo>
                <a:close/>
                <a:moveTo>
                  <a:pt x="5500" y="17281"/>
                </a:moveTo>
                <a:cubicBezTo>
                  <a:pt x="5500" y="17249"/>
                  <a:pt x="5531" y="17249"/>
                  <a:pt x="5531" y="17249"/>
                </a:cubicBezTo>
                <a:cubicBezTo>
                  <a:pt x="5531" y="17249"/>
                  <a:pt x="5500" y="17249"/>
                  <a:pt x="5500" y="17281"/>
                </a:cubicBezTo>
                <a:cubicBezTo>
                  <a:pt x="5500" y="17281"/>
                  <a:pt x="5500" y="17281"/>
                  <a:pt x="5500" y="17281"/>
                </a:cubicBezTo>
                <a:cubicBezTo>
                  <a:pt x="5469" y="17281"/>
                  <a:pt x="5469" y="17281"/>
                  <a:pt x="5469" y="17281"/>
                </a:cubicBezTo>
                <a:cubicBezTo>
                  <a:pt x="5438" y="17312"/>
                  <a:pt x="5406" y="17343"/>
                  <a:pt x="5375" y="17281"/>
                </a:cubicBezTo>
                <a:cubicBezTo>
                  <a:pt x="5344" y="17249"/>
                  <a:pt x="5406" y="17218"/>
                  <a:pt x="5438" y="17187"/>
                </a:cubicBezTo>
                <a:cubicBezTo>
                  <a:pt x="5500" y="17187"/>
                  <a:pt x="5469" y="17249"/>
                  <a:pt x="5500" y="17281"/>
                </a:cubicBezTo>
                <a:close/>
                <a:moveTo>
                  <a:pt x="5469" y="17749"/>
                </a:moveTo>
                <a:cubicBezTo>
                  <a:pt x="5500" y="17749"/>
                  <a:pt x="5531" y="17718"/>
                  <a:pt x="5563" y="17718"/>
                </a:cubicBezTo>
                <a:cubicBezTo>
                  <a:pt x="5531" y="17718"/>
                  <a:pt x="5500" y="17749"/>
                  <a:pt x="5469" y="17749"/>
                </a:cubicBezTo>
                <a:close/>
                <a:moveTo>
                  <a:pt x="5469" y="16968"/>
                </a:moveTo>
                <a:cubicBezTo>
                  <a:pt x="5438" y="16968"/>
                  <a:pt x="5438" y="16999"/>
                  <a:pt x="5438" y="16999"/>
                </a:cubicBezTo>
                <a:cubicBezTo>
                  <a:pt x="5406" y="16999"/>
                  <a:pt x="5406" y="16999"/>
                  <a:pt x="5375" y="16999"/>
                </a:cubicBezTo>
                <a:cubicBezTo>
                  <a:pt x="5375" y="16999"/>
                  <a:pt x="5344" y="16999"/>
                  <a:pt x="5344" y="16968"/>
                </a:cubicBezTo>
                <a:cubicBezTo>
                  <a:pt x="5344" y="16937"/>
                  <a:pt x="5375" y="16968"/>
                  <a:pt x="5406" y="16968"/>
                </a:cubicBezTo>
                <a:cubicBezTo>
                  <a:pt x="5406" y="16937"/>
                  <a:pt x="5438" y="16968"/>
                  <a:pt x="5469" y="16968"/>
                </a:cubicBezTo>
                <a:close/>
                <a:moveTo>
                  <a:pt x="5375" y="17718"/>
                </a:moveTo>
                <a:cubicBezTo>
                  <a:pt x="5406" y="17718"/>
                  <a:pt x="5406" y="17718"/>
                  <a:pt x="5438" y="17718"/>
                </a:cubicBezTo>
                <a:cubicBezTo>
                  <a:pt x="5438" y="17718"/>
                  <a:pt x="5438" y="17718"/>
                  <a:pt x="5438" y="17749"/>
                </a:cubicBezTo>
                <a:cubicBezTo>
                  <a:pt x="5375" y="17749"/>
                  <a:pt x="5344" y="17718"/>
                  <a:pt x="5313" y="17749"/>
                </a:cubicBezTo>
                <a:cubicBezTo>
                  <a:pt x="5281" y="17749"/>
                  <a:pt x="5281" y="17781"/>
                  <a:pt x="5281" y="17781"/>
                </a:cubicBezTo>
                <a:cubicBezTo>
                  <a:pt x="5219" y="17781"/>
                  <a:pt x="5188" y="17749"/>
                  <a:pt x="5188" y="17749"/>
                </a:cubicBezTo>
                <a:cubicBezTo>
                  <a:pt x="5156" y="17749"/>
                  <a:pt x="5125" y="17749"/>
                  <a:pt x="5125" y="17749"/>
                </a:cubicBezTo>
                <a:cubicBezTo>
                  <a:pt x="5125" y="17749"/>
                  <a:pt x="5156" y="17749"/>
                  <a:pt x="5188" y="17749"/>
                </a:cubicBezTo>
                <a:cubicBezTo>
                  <a:pt x="5188" y="17749"/>
                  <a:pt x="5219" y="17749"/>
                  <a:pt x="5250" y="17718"/>
                </a:cubicBezTo>
                <a:cubicBezTo>
                  <a:pt x="5250" y="17718"/>
                  <a:pt x="5250" y="17718"/>
                  <a:pt x="5250" y="17718"/>
                </a:cubicBezTo>
                <a:cubicBezTo>
                  <a:pt x="5250" y="17749"/>
                  <a:pt x="5281" y="17749"/>
                  <a:pt x="5281" y="17749"/>
                </a:cubicBezTo>
                <a:cubicBezTo>
                  <a:pt x="5313" y="17718"/>
                  <a:pt x="5344" y="17718"/>
                  <a:pt x="5375" y="17718"/>
                </a:cubicBezTo>
                <a:cubicBezTo>
                  <a:pt x="5344" y="17687"/>
                  <a:pt x="5313" y="17687"/>
                  <a:pt x="5281" y="17687"/>
                </a:cubicBezTo>
                <a:cubicBezTo>
                  <a:pt x="5313" y="17687"/>
                  <a:pt x="5344" y="17687"/>
                  <a:pt x="5375" y="17718"/>
                </a:cubicBezTo>
                <a:close/>
                <a:moveTo>
                  <a:pt x="4938" y="17968"/>
                </a:moveTo>
                <a:cubicBezTo>
                  <a:pt x="4938" y="17968"/>
                  <a:pt x="4906" y="17937"/>
                  <a:pt x="4906" y="17906"/>
                </a:cubicBezTo>
                <a:cubicBezTo>
                  <a:pt x="4938" y="17906"/>
                  <a:pt x="4938" y="17874"/>
                  <a:pt x="4969" y="17874"/>
                </a:cubicBezTo>
                <a:cubicBezTo>
                  <a:pt x="4969" y="17843"/>
                  <a:pt x="5000" y="17843"/>
                  <a:pt x="5000" y="17843"/>
                </a:cubicBezTo>
                <a:cubicBezTo>
                  <a:pt x="4969" y="17874"/>
                  <a:pt x="5000" y="17968"/>
                  <a:pt x="4938" y="17968"/>
                </a:cubicBezTo>
                <a:close/>
                <a:moveTo>
                  <a:pt x="5000" y="18937"/>
                </a:moveTo>
                <a:cubicBezTo>
                  <a:pt x="5063" y="18937"/>
                  <a:pt x="5031" y="18874"/>
                  <a:pt x="5063" y="18812"/>
                </a:cubicBezTo>
                <a:cubicBezTo>
                  <a:pt x="5094" y="18812"/>
                  <a:pt x="5125" y="18812"/>
                  <a:pt x="5156" y="18812"/>
                </a:cubicBezTo>
                <a:cubicBezTo>
                  <a:pt x="5156" y="18843"/>
                  <a:pt x="5125" y="18843"/>
                  <a:pt x="5125" y="18874"/>
                </a:cubicBezTo>
                <a:cubicBezTo>
                  <a:pt x="5094" y="18906"/>
                  <a:pt x="5094" y="18937"/>
                  <a:pt x="5063" y="18968"/>
                </a:cubicBezTo>
                <a:cubicBezTo>
                  <a:pt x="5063" y="18968"/>
                  <a:pt x="5031" y="18968"/>
                  <a:pt x="5031" y="18968"/>
                </a:cubicBezTo>
                <a:cubicBezTo>
                  <a:pt x="5031" y="18968"/>
                  <a:pt x="4969" y="18968"/>
                  <a:pt x="5000" y="18937"/>
                </a:cubicBezTo>
                <a:close/>
                <a:moveTo>
                  <a:pt x="5125" y="17312"/>
                </a:moveTo>
                <a:cubicBezTo>
                  <a:pt x="5125" y="17312"/>
                  <a:pt x="5125" y="17312"/>
                  <a:pt x="5094" y="17312"/>
                </a:cubicBezTo>
                <a:cubicBezTo>
                  <a:pt x="5094" y="17281"/>
                  <a:pt x="5094" y="17281"/>
                  <a:pt x="5094" y="17281"/>
                </a:cubicBezTo>
                <a:cubicBezTo>
                  <a:pt x="5156" y="17218"/>
                  <a:pt x="5188" y="17156"/>
                  <a:pt x="5281" y="17156"/>
                </a:cubicBezTo>
                <a:cubicBezTo>
                  <a:pt x="5250" y="17218"/>
                  <a:pt x="5188" y="17281"/>
                  <a:pt x="5125" y="17312"/>
                </a:cubicBezTo>
                <a:close/>
                <a:moveTo>
                  <a:pt x="5063" y="17062"/>
                </a:moveTo>
                <a:cubicBezTo>
                  <a:pt x="5125" y="17062"/>
                  <a:pt x="5156" y="16999"/>
                  <a:pt x="5219" y="16968"/>
                </a:cubicBezTo>
                <a:cubicBezTo>
                  <a:pt x="5219" y="16999"/>
                  <a:pt x="5250" y="17031"/>
                  <a:pt x="5250" y="17062"/>
                </a:cubicBezTo>
                <a:cubicBezTo>
                  <a:pt x="5188" y="17062"/>
                  <a:pt x="5125" y="17124"/>
                  <a:pt x="5063" y="17062"/>
                </a:cubicBezTo>
                <a:close/>
                <a:moveTo>
                  <a:pt x="5719" y="17906"/>
                </a:moveTo>
                <a:cubicBezTo>
                  <a:pt x="5688" y="17906"/>
                  <a:pt x="5656" y="17906"/>
                  <a:pt x="5625" y="17906"/>
                </a:cubicBezTo>
                <a:cubicBezTo>
                  <a:pt x="5563" y="17906"/>
                  <a:pt x="5500" y="17937"/>
                  <a:pt x="5438" y="17937"/>
                </a:cubicBezTo>
                <a:cubicBezTo>
                  <a:pt x="5469" y="17906"/>
                  <a:pt x="5500" y="17937"/>
                  <a:pt x="5531" y="17906"/>
                </a:cubicBezTo>
                <a:cubicBezTo>
                  <a:pt x="5531" y="17906"/>
                  <a:pt x="5563" y="17906"/>
                  <a:pt x="5563" y="17874"/>
                </a:cubicBezTo>
                <a:cubicBezTo>
                  <a:pt x="5594" y="17874"/>
                  <a:pt x="5625" y="17937"/>
                  <a:pt x="5656" y="17874"/>
                </a:cubicBezTo>
                <a:cubicBezTo>
                  <a:pt x="5656" y="17874"/>
                  <a:pt x="5656" y="17874"/>
                  <a:pt x="5656" y="17874"/>
                </a:cubicBezTo>
                <a:cubicBezTo>
                  <a:pt x="5688" y="17874"/>
                  <a:pt x="5719" y="17906"/>
                  <a:pt x="5719" y="17906"/>
                </a:cubicBezTo>
                <a:cubicBezTo>
                  <a:pt x="5719" y="17906"/>
                  <a:pt x="5719" y="17906"/>
                  <a:pt x="5719" y="17906"/>
                </a:cubicBezTo>
                <a:close/>
                <a:moveTo>
                  <a:pt x="5656" y="17156"/>
                </a:moveTo>
                <a:cubicBezTo>
                  <a:pt x="5625" y="17187"/>
                  <a:pt x="5594" y="17156"/>
                  <a:pt x="5563" y="17156"/>
                </a:cubicBezTo>
                <a:cubicBezTo>
                  <a:pt x="5625" y="17124"/>
                  <a:pt x="5656" y="17124"/>
                  <a:pt x="5656" y="17062"/>
                </a:cubicBezTo>
                <a:cubicBezTo>
                  <a:pt x="5656" y="17093"/>
                  <a:pt x="5656" y="17093"/>
                  <a:pt x="5656" y="17093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56" y="17062"/>
                  <a:pt x="5656" y="17062"/>
                  <a:pt x="5656" y="17062"/>
                </a:cubicBezTo>
                <a:cubicBezTo>
                  <a:pt x="5688" y="17062"/>
                  <a:pt x="5688" y="17093"/>
                  <a:pt x="5719" y="17093"/>
                </a:cubicBezTo>
                <a:cubicBezTo>
                  <a:pt x="5719" y="17124"/>
                  <a:pt x="5656" y="17124"/>
                  <a:pt x="5656" y="17156"/>
                </a:cubicBezTo>
                <a:cubicBezTo>
                  <a:pt x="5688" y="17187"/>
                  <a:pt x="5719" y="17187"/>
                  <a:pt x="5781" y="17187"/>
                </a:cubicBezTo>
                <a:cubicBezTo>
                  <a:pt x="5719" y="17187"/>
                  <a:pt x="5688" y="17187"/>
                  <a:pt x="5656" y="17156"/>
                </a:cubicBezTo>
                <a:close/>
                <a:moveTo>
                  <a:pt x="5750" y="15593"/>
                </a:moveTo>
                <a:cubicBezTo>
                  <a:pt x="5719" y="15562"/>
                  <a:pt x="5688" y="15562"/>
                  <a:pt x="5656" y="15593"/>
                </a:cubicBezTo>
                <a:cubicBezTo>
                  <a:pt x="5688" y="15593"/>
                  <a:pt x="5688" y="15624"/>
                  <a:pt x="5719" y="15624"/>
                </a:cubicBezTo>
                <a:cubicBezTo>
                  <a:pt x="5688" y="15624"/>
                  <a:pt x="5688" y="15593"/>
                  <a:pt x="5656" y="15593"/>
                </a:cubicBezTo>
                <a:cubicBezTo>
                  <a:pt x="5625" y="15593"/>
                  <a:pt x="5625" y="15593"/>
                  <a:pt x="5625" y="15593"/>
                </a:cubicBezTo>
                <a:cubicBezTo>
                  <a:pt x="5594" y="15593"/>
                  <a:pt x="5594" y="15593"/>
                  <a:pt x="5594" y="15593"/>
                </a:cubicBezTo>
                <a:cubicBezTo>
                  <a:pt x="5594" y="15593"/>
                  <a:pt x="5594" y="15593"/>
                  <a:pt x="5625" y="15593"/>
                </a:cubicBezTo>
                <a:cubicBezTo>
                  <a:pt x="5594" y="15593"/>
                  <a:pt x="5563" y="15593"/>
                  <a:pt x="5563" y="15593"/>
                </a:cubicBezTo>
                <a:cubicBezTo>
                  <a:pt x="5563" y="15562"/>
                  <a:pt x="5531" y="15562"/>
                  <a:pt x="5531" y="15562"/>
                </a:cubicBezTo>
                <a:cubicBezTo>
                  <a:pt x="5594" y="15562"/>
                  <a:pt x="5656" y="15562"/>
                  <a:pt x="5688" y="15562"/>
                </a:cubicBezTo>
                <a:cubicBezTo>
                  <a:pt x="5750" y="15562"/>
                  <a:pt x="5781" y="15531"/>
                  <a:pt x="5813" y="15499"/>
                </a:cubicBezTo>
                <a:cubicBezTo>
                  <a:pt x="5813" y="15499"/>
                  <a:pt x="5813" y="15499"/>
                  <a:pt x="5813" y="15499"/>
                </a:cubicBezTo>
                <a:cubicBezTo>
                  <a:pt x="5844" y="15499"/>
                  <a:pt x="5844" y="15499"/>
                  <a:pt x="5875" y="15499"/>
                </a:cubicBezTo>
                <a:cubicBezTo>
                  <a:pt x="5875" y="15593"/>
                  <a:pt x="5813" y="15624"/>
                  <a:pt x="5750" y="15593"/>
                </a:cubicBezTo>
                <a:close/>
                <a:moveTo>
                  <a:pt x="6188" y="17624"/>
                </a:moveTo>
                <a:cubicBezTo>
                  <a:pt x="6094" y="17624"/>
                  <a:pt x="6000" y="17624"/>
                  <a:pt x="5906" y="17687"/>
                </a:cubicBezTo>
                <a:cubicBezTo>
                  <a:pt x="5906" y="17624"/>
                  <a:pt x="5844" y="17656"/>
                  <a:pt x="5844" y="17624"/>
                </a:cubicBezTo>
                <a:cubicBezTo>
                  <a:pt x="6000" y="17624"/>
                  <a:pt x="6125" y="17531"/>
                  <a:pt x="6281" y="17562"/>
                </a:cubicBezTo>
                <a:cubicBezTo>
                  <a:pt x="6281" y="17562"/>
                  <a:pt x="6313" y="17562"/>
                  <a:pt x="6313" y="17562"/>
                </a:cubicBezTo>
                <a:cubicBezTo>
                  <a:pt x="6281" y="17593"/>
                  <a:pt x="6219" y="17562"/>
                  <a:pt x="6188" y="17624"/>
                </a:cubicBezTo>
                <a:close/>
                <a:moveTo>
                  <a:pt x="6375" y="17531"/>
                </a:moveTo>
                <a:cubicBezTo>
                  <a:pt x="6406" y="17531"/>
                  <a:pt x="6406" y="17531"/>
                  <a:pt x="6406" y="17531"/>
                </a:cubicBezTo>
                <a:cubicBezTo>
                  <a:pt x="6438" y="17531"/>
                  <a:pt x="6438" y="17531"/>
                  <a:pt x="6438" y="17531"/>
                </a:cubicBezTo>
                <a:cubicBezTo>
                  <a:pt x="6438" y="17562"/>
                  <a:pt x="6406" y="17562"/>
                  <a:pt x="6375" y="17531"/>
                </a:cubicBezTo>
                <a:close/>
                <a:moveTo>
                  <a:pt x="6625" y="17499"/>
                </a:moveTo>
                <a:cubicBezTo>
                  <a:pt x="6594" y="17499"/>
                  <a:pt x="6531" y="17499"/>
                  <a:pt x="6469" y="17499"/>
                </a:cubicBezTo>
                <a:cubicBezTo>
                  <a:pt x="6500" y="17468"/>
                  <a:pt x="6563" y="17499"/>
                  <a:pt x="6625" y="17499"/>
                </a:cubicBezTo>
                <a:cubicBezTo>
                  <a:pt x="6625" y="17499"/>
                  <a:pt x="6625" y="17499"/>
                  <a:pt x="6656" y="17499"/>
                </a:cubicBezTo>
                <a:cubicBezTo>
                  <a:pt x="6656" y="17499"/>
                  <a:pt x="6656" y="17499"/>
                  <a:pt x="6625" y="17499"/>
                </a:cubicBezTo>
                <a:close/>
                <a:moveTo>
                  <a:pt x="6844" y="16437"/>
                </a:moveTo>
                <a:cubicBezTo>
                  <a:pt x="6844" y="16437"/>
                  <a:pt x="6844" y="16406"/>
                  <a:pt x="6844" y="16406"/>
                </a:cubicBezTo>
                <a:cubicBezTo>
                  <a:pt x="6875" y="16406"/>
                  <a:pt x="6906" y="16406"/>
                  <a:pt x="6906" y="16406"/>
                </a:cubicBezTo>
                <a:cubicBezTo>
                  <a:pt x="6938" y="16468"/>
                  <a:pt x="6969" y="16499"/>
                  <a:pt x="7000" y="16531"/>
                </a:cubicBezTo>
                <a:cubicBezTo>
                  <a:pt x="6938" y="16531"/>
                  <a:pt x="6906" y="16437"/>
                  <a:pt x="6844" y="16437"/>
                </a:cubicBezTo>
                <a:close/>
                <a:moveTo>
                  <a:pt x="7000" y="16562"/>
                </a:moveTo>
                <a:cubicBezTo>
                  <a:pt x="7000" y="16562"/>
                  <a:pt x="7000" y="16562"/>
                  <a:pt x="7000" y="16531"/>
                </a:cubicBezTo>
                <a:cubicBezTo>
                  <a:pt x="7000" y="16531"/>
                  <a:pt x="7000" y="16531"/>
                  <a:pt x="7000" y="16531"/>
                </a:cubicBezTo>
                <a:cubicBezTo>
                  <a:pt x="7000" y="16562"/>
                  <a:pt x="7031" y="16562"/>
                  <a:pt x="7031" y="16562"/>
                </a:cubicBezTo>
                <a:cubicBezTo>
                  <a:pt x="7031" y="16593"/>
                  <a:pt x="7000" y="16593"/>
                  <a:pt x="7000" y="16562"/>
                </a:cubicBezTo>
                <a:close/>
                <a:moveTo>
                  <a:pt x="7250" y="16906"/>
                </a:moveTo>
                <a:cubicBezTo>
                  <a:pt x="7250" y="16906"/>
                  <a:pt x="7250" y="16906"/>
                  <a:pt x="7250" y="16906"/>
                </a:cubicBezTo>
                <a:cubicBezTo>
                  <a:pt x="7250" y="16906"/>
                  <a:pt x="7250" y="16906"/>
                  <a:pt x="7250" y="16906"/>
                </a:cubicBezTo>
                <a:close/>
                <a:moveTo>
                  <a:pt x="7313" y="14624"/>
                </a:moveTo>
                <a:cubicBezTo>
                  <a:pt x="7344" y="14624"/>
                  <a:pt x="7375" y="14656"/>
                  <a:pt x="7406" y="14687"/>
                </a:cubicBezTo>
                <a:cubicBezTo>
                  <a:pt x="7469" y="14718"/>
                  <a:pt x="7500" y="14687"/>
                  <a:pt x="7563" y="14624"/>
                </a:cubicBezTo>
                <a:cubicBezTo>
                  <a:pt x="7531" y="14593"/>
                  <a:pt x="7500" y="14593"/>
                  <a:pt x="7469" y="14593"/>
                </a:cubicBezTo>
                <a:cubicBezTo>
                  <a:pt x="7500" y="14593"/>
                  <a:pt x="7531" y="14593"/>
                  <a:pt x="7563" y="14624"/>
                </a:cubicBezTo>
                <a:cubicBezTo>
                  <a:pt x="7563" y="14624"/>
                  <a:pt x="7625" y="14593"/>
                  <a:pt x="7625" y="14624"/>
                </a:cubicBezTo>
                <a:cubicBezTo>
                  <a:pt x="7625" y="14656"/>
                  <a:pt x="7625" y="14687"/>
                  <a:pt x="7563" y="14718"/>
                </a:cubicBezTo>
                <a:cubicBezTo>
                  <a:pt x="7531" y="14718"/>
                  <a:pt x="7500" y="14749"/>
                  <a:pt x="7469" y="14781"/>
                </a:cubicBezTo>
                <a:cubicBezTo>
                  <a:pt x="7438" y="14781"/>
                  <a:pt x="7406" y="14718"/>
                  <a:pt x="7375" y="14718"/>
                </a:cubicBezTo>
                <a:cubicBezTo>
                  <a:pt x="7375" y="14718"/>
                  <a:pt x="7375" y="14718"/>
                  <a:pt x="7375" y="14718"/>
                </a:cubicBezTo>
                <a:cubicBezTo>
                  <a:pt x="7344" y="14718"/>
                  <a:pt x="7313" y="14718"/>
                  <a:pt x="7313" y="14687"/>
                </a:cubicBezTo>
                <a:cubicBezTo>
                  <a:pt x="7313" y="14687"/>
                  <a:pt x="7313" y="14656"/>
                  <a:pt x="7313" y="14624"/>
                </a:cubicBezTo>
                <a:close/>
                <a:moveTo>
                  <a:pt x="7188" y="15093"/>
                </a:moveTo>
                <a:cubicBezTo>
                  <a:pt x="7188" y="15093"/>
                  <a:pt x="7219" y="15093"/>
                  <a:pt x="7219" y="15093"/>
                </a:cubicBezTo>
                <a:cubicBezTo>
                  <a:pt x="7219" y="15093"/>
                  <a:pt x="7188" y="15093"/>
                  <a:pt x="7188" y="15093"/>
                </a:cubicBezTo>
                <a:close/>
                <a:moveTo>
                  <a:pt x="6719" y="15437"/>
                </a:moveTo>
                <a:cubicBezTo>
                  <a:pt x="6781" y="15468"/>
                  <a:pt x="6813" y="15406"/>
                  <a:pt x="6875" y="15374"/>
                </a:cubicBezTo>
                <a:cubicBezTo>
                  <a:pt x="6875" y="15374"/>
                  <a:pt x="6875" y="15374"/>
                  <a:pt x="6875" y="15343"/>
                </a:cubicBezTo>
                <a:cubicBezTo>
                  <a:pt x="6875" y="15374"/>
                  <a:pt x="6875" y="15374"/>
                  <a:pt x="6875" y="15374"/>
                </a:cubicBezTo>
                <a:cubicBezTo>
                  <a:pt x="6875" y="15374"/>
                  <a:pt x="6875" y="15374"/>
                  <a:pt x="6906" y="15374"/>
                </a:cubicBezTo>
                <a:cubicBezTo>
                  <a:pt x="6875" y="15406"/>
                  <a:pt x="6844" y="15406"/>
                  <a:pt x="6844" y="15437"/>
                </a:cubicBezTo>
                <a:cubicBezTo>
                  <a:pt x="6875" y="15437"/>
                  <a:pt x="6906" y="15437"/>
                  <a:pt x="6906" y="15437"/>
                </a:cubicBezTo>
                <a:cubicBezTo>
                  <a:pt x="7063" y="15406"/>
                  <a:pt x="7188" y="15437"/>
                  <a:pt x="7313" y="15374"/>
                </a:cubicBezTo>
                <a:cubicBezTo>
                  <a:pt x="7344" y="15374"/>
                  <a:pt x="7344" y="15374"/>
                  <a:pt x="7375" y="15406"/>
                </a:cubicBezTo>
                <a:cubicBezTo>
                  <a:pt x="7344" y="15406"/>
                  <a:pt x="7313" y="15406"/>
                  <a:pt x="7313" y="15437"/>
                </a:cubicBezTo>
                <a:cubicBezTo>
                  <a:pt x="7281" y="15437"/>
                  <a:pt x="7219" y="15406"/>
                  <a:pt x="7188" y="15437"/>
                </a:cubicBezTo>
                <a:cubicBezTo>
                  <a:pt x="7063" y="15406"/>
                  <a:pt x="6969" y="15437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75" y="15468"/>
                  <a:pt x="6875" y="15468"/>
                  <a:pt x="6875" y="15468"/>
                </a:cubicBezTo>
                <a:cubicBezTo>
                  <a:pt x="6844" y="15468"/>
                  <a:pt x="6844" y="15468"/>
                  <a:pt x="6844" y="15499"/>
                </a:cubicBezTo>
                <a:cubicBezTo>
                  <a:pt x="6844" y="15499"/>
                  <a:pt x="6813" y="15499"/>
                  <a:pt x="6813" y="15499"/>
                </a:cubicBezTo>
                <a:cubicBezTo>
                  <a:pt x="6781" y="15437"/>
                  <a:pt x="6781" y="15437"/>
                  <a:pt x="6688" y="15499"/>
                </a:cubicBezTo>
                <a:cubicBezTo>
                  <a:pt x="6688" y="15499"/>
                  <a:pt x="6688" y="15468"/>
                  <a:pt x="6719" y="15437"/>
                </a:cubicBezTo>
                <a:close/>
                <a:moveTo>
                  <a:pt x="6500" y="15968"/>
                </a:moveTo>
                <a:cubicBezTo>
                  <a:pt x="6500" y="15968"/>
                  <a:pt x="6500" y="15968"/>
                  <a:pt x="6531" y="15968"/>
                </a:cubicBezTo>
                <a:cubicBezTo>
                  <a:pt x="6531" y="15999"/>
                  <a:pt x="6563" y="16031"/>
                  <a:pt x="6594" y="16062"/>
                </a:cubicBezTo>
                <a:cubicBezTo>
                  <a:pt x="6594" y="16062"/>
                  <a:pt x="6594" y="16062"/>
                  <a:pt x="6594" y="16062"/>
                </a:cubicBezTo>
                <a:cubicBezTo>
                  <a:pt x="6625" y="16062"/>
                  <a:pt x="6625" y="16093"/>
                  <a:pt x="6625" y="16093"/>
                </a:cubicBezTo>
                <a:cubicBezTo>
                  <a:pt x="6656" y="16124"/>
                  <a:pt x="6656" y="16156"/>
                  <a:pt x="6656" y="16156"/>
                </a:cubicBezTo>
                <a:cubicBezTo>
                  <a:pt x="6656" y="16156"/>
                  <a:pt x="6656" y="16156"/>
                  <a:pt x="6625" y="16156"/>
                </a:cubicBezTo>
                <a:cubicBezTo>
                  <a:pt x="6656" y="16187"/>
                  <a:pt x="6656" y="16187"/>
                  <a:pt x="6656" y="16218"/>
                </a:cubicBezTo>
                <a:cubicBezTo>
                  <a:pt x="6656" y="16187"/>
                  <a:pt x="6656" y="16187"/>
                  <a:pt x="6625" y="16156"/>
                </a:cubicBezTo>
                <a:cubicBezTo>
                  <a:pt x="6563" y="16124"/>
                  <a:pt x="6531" y="16062"/>
                  <a:pt x="6500" y="15968"/>
                </a:cubicBezTo>
                <a:cubicBezTo>
                  <a:pt x="6500" y="15968"/>
                  <a:pt x="6469" y="15968"/>
                  <a:pt x="6469" y="15968"/>
                </a:cubicBezTo>
                <a:cubicBezTo>
                  <a:pt x="6469" y="15968"/>
                  <a:pt x="6500" y="15968"/>
                  <a:pt x="6500" y="15968"/>
                </a:cubicBezTo>
                <a:close/>
                <a:moveTo>
                  <a:pt x="6469" y="16156"/>
                </a:moveTo>
                <a:cubicBezTo>
                  <a:pt x="6469" y="16187"/>
                  <a:pt x="6406" y="16218"/>
                  <a:pt x="6469" y="16249"/>
                </a:cubicBezTo>
                <a:cubicBezTo>
                  <a:pt x="6500" y="16312"/>
                  <a:pt x="6531" y="16374"/>
                  <a:pt x="6594" y="16406"/>
                </a:cubicBezTo>
                <a:cubicBezTo>
                  <a:pt x="6594" y="16437"/>
                  <a:pt x="6625" y="16437"/>
                  <a:pt x="6594" y="16468"/>
                </a:cubicBezTo>
                <a:cubicBezTo>
                  <a:pt x="6563" y="16499"/>
                  <a:pt x="6531" y="16531"/>
                  <a:pt x="6563" y="16562"/>
                </a:cubicBezTo>
                <a:cubicBezTo>
                  <a:pt x="6531" y="16531"/>
                  <a:pt x="6563" y="16499"/>
                  <a:pt x="6594" y="16468"/>
                </a:cubicBezTo>
                <a:cubicBezTo>
                  <a:pt x="6438" y="16312"/>
                  <a:pt x="6281" y="16124"/>
                  <a:pt x="6156" y="15968"/>
                </a:cubicBezTo>
                <a:cubicBezTo>
                  <a:pt x="6156" y="15906"/>
                  <a:pt x="6094" y="15906"/>
                  <a:pt x="6094" y="15874"/>
                </a:cubicBezTo>
                <a:cubicBezTo>
                  <a:pt x="6094" y="15874"/>
                  <a:pt x="6125" y="15874"/>
                  <a:pt x="6125" y="15874"/>
                </a:cubicBezTo>
                <a:cubicBezTo>
                  <a:pt x="6156" y="15874"/>
                  <a:pt x="6156" y="15843"/>
                  <a:pt x="6156" y="15812"/>
                </a:cubicBezTo>
                <a:cubicBezTo>
                  <a:pt x="6156" y="15843"/>
                  <a:pt x="6156" y="15874"/>
                  <a:pt x="6125" y="15874"/>
                </a:cubicBezTo>
                <a:cubicBezTo>
                  <a:pt x="6188" y="15937"/>
                  <a:pt x="6250" y="15999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13" y="16093"/>
                  <a:pt x="6313" y="16093"/>
                  <a:pt x="6313" y="16093"/>
                </a:cubicBezTo>
                <a:cubicBezTo>
                  <a:pt x="6313" y="16093"/>
                  <a:pt x="6313" y="16093"/>
                  <a:pt x="6344" y="16093"/>
                </a:cubicBezTo>
                <a:cubicBezTo>
                  <a:pt x="6344" y="16124"/>
                  <a:pt x="6344" y="16124"/>
                  <a:pt x="6344" y="16124"/>
                </a:cubicBezTo>
                <a:cubicBezTo>
                  <a:pt x="6344" y="16124"/>
                  <a:pt x="6344" y="16093"/>
                  <a:pt x="6344" y="16093"/>
                </a:cubicBezTo>
                <a:cubicBezTo>
                  <a:pt x="6344" y="16093"/>
                  <a:pt x="6344" y="16124"/>
                  <a:pt x="6344" y="16124"/>
                </a:cubicBezTo>
                <a:cubicBezTo>
                  <a:pt x="6406" y="16218"/>
                  <a:pt x="6406" y="16218"/>
                  <a:pt x="6469" y="16156"/>
                </a:cubicBezTo>
                <a:close/>
                <a:moveTo>
                  <a:pt x="6344" y="15562"/>
                </a:moveTo>
                <a:cubicBezTo>
                  <a:pt x="6344" y="15562"/>
                  <a:pt x="6313" y="15593"/>
                  <a:pt x="6313" y="15593"/>
                </a:cubicBezTo>
                <a:cubicBezTo>
                  <a:pt x="6313" y="15593"/>
                  <a:pt x="6344" y="15562"/>
                  <a:pt x="6344" y="15562"/>
                </a:cubicBezTo>
                <a:cubicBezTo>
                  <a:pt x="6344" y="15531"/>
                  <a:pt x="6375" y="15499"/>
                  <a:pt x="6313" y="15531"/>
                </a:cubicBezTo>
                <a:cubicBezTo>
                  <a:pt x="6281" y="15531"/>
                  <a:pt x="6250" y="15531"/>
                  <a:pt x="6219" y="15531"/>
                </a:cubicBezTo>
                <a:cubicBezTo>
                  <a:pt x="6219" y="15531"/>
                  <a:pt x="6188" y="15531"/>
                  <a:pt x="6188" y="15531"/>
                </a:cubicBezTo>
                <a:cubicBezTo>
                  <a:pt x="6219" y="15499"/>
                  <a:pt x="6219" y="15437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19" y="15406"/>
                  <a:pt x="6219" y="15406"/>
                  <a:pt x="6219" y="15406"/>
                </a:cubicBezTo>
                <a:cubicBezTo>
                  <a:pt x="6250" y="15468"/>
                  <a:pt x="6250" y="15531"/>
                  <a:pt x="6313" y="15468"/>
                </a:cubicBezTo>
                <a:cubicBezTo>
                  <a:pt x="6344" y="15468"/>
                  <a:pt x="6375" y="15499"/>
                  <a:pt x="6406" y="15499"/>
                </a:cubicBezTo>
                <a:cubicBezTo>
                  <a:pt x="6375" y="15531"/>
                  <a:pt x="6375" y="15531"/>
                  <a:pt x="6344" y="15562"/>
                </a:cubicBezTo>
                <a:close/>
                <a:moveTo>
                  <a:pt x="6281" y="14874"/>
                </a:moveTo>
                <a:cubicBezTo>
                  <a:pt x="6219" y="14937"/>
                  <a:pt x="6219" y="14843"/>
                  <a:pt x="6188" y="14843"/>
                </a:cubicBezTo>
                <a:cubicBezTo>
                  <a:pt x="6219" y="14812"/>
                  <a:pt x="6219" y="14781"/>
                  <a:pt x="6281" y="14781"/>
                </a:cubicBezTo>
                <a:cubicBezTo>
                  <a:pt x="6313" y="14812"/>
                  <a:pt x="6281" y="14874"/>
                  <a:pt x="6281" y="14874"/>
                </a:cubicBezTo>
                <a:close/>
                <a:moveTo>
                  <a:pt x="6344" y="14531"/>
                </a:moveTo>
                <a:cubicBezTo>
                  <a:pt x="6375" y="14593"/>
                  <a:pt x="6313" y="14593"/>
                  <a:pt x="6344" y="14656"/>
                </a:cubicBezTo>
                <a:cubicBezTo>
                  <a:pt x="6344" y="14656"/>
                  <a:pt x="6313" y="14687"/>
                  <a:pt x="6281" y="14687"/>
                </a:cubicBezTo>
                <a:cubicBezTo>
                  <a:pt x="6281" y="14687"/>
                  <a:pt x="6250" y="14687"/>
                  <a:pt x="6250" y="14656"/>
                </a:cubicBezTo>
                <a:cubicBezTo>
                  <a:pt x="6250" y="14624"/>
                  <a:pt x="6250" y="14624"/>
                  <a:pt x="6281" y="14624"/>
                </a:cubicBezTo>
                <a:cubicBezTo>
                  <a:pt x="6313" y="14593"/>
                  <a:pt x="6313" y="14562"/>
                  <a:pt x="6344" y="14531"/>
                </a:cubicBezTo>
                <a:close/>
                <a:moveTo>
                  <a:pt x="6250" y="14531"/>
                </a:moveTo>
                <a:cubicBezTo>
                  <a:pt x="6250" y="14531"/>
                  <a:pt x="6281" y="14531"/>
                  <a:pt x="6281" y="14531"/>
                </a:cubicBezTo>
                <a:cubicBezTo>
                  <a:pt x="6281" y="14562"/>
                  <a:pt x="6281" y="14562"/>
                  <a:pt x="6250" y="14562"/>
                </a:cubicBezTo>
                <a:cubicBezTo>
                  <a:pt x="6219" y="14562"/>
                  <a:pt x="6219" y="14593"/>
                  <a:pt x="6188" y="14624"/>
                </a:cubicBezTo>
                <a:cubicBezTo>
                  <a:pt x="6188" y="14624"/>
                  <a:pt x="6188" y="14624"/>
                  <a:pt x="6188" y="14624"/>
                </a:cubicBezTo>
                <a:cubicBezTo>
                  <a:pt x="6156" y="14624"/>
                  <a:pt x="6094" y="14624"/>
                  <a:pt x="6063" y="14593"/>
                </a:cubicBezTo>
                <a:cubicBezTo>
                  <a:pt x="6094" y="14531"/>
                  <a:pt x="6188" y="14562"/>
                  <a:pt x="6250" y="14531"/>
                </a:cubicBezTo>
                <a:close/>
                <a:moveTo>
                  <a:pt x="6063" y="14718"/>
                </a:moveTo>
                <a:cubicBezTo>
                  <a:pt x="6094" y="14718"/>
                  <a:pt x="6125" y="14718"/>
                  <a:pt x="6156" y="14718"/>
                </a:cubicBezTo>
                <a:cubicBezTo>
                  <a:pt x="6094" y="14749"/>
                  <a:pt x="6094" y="14812"/>
                  <a:pt x="6031" y="14812"/>
                </a:cubicBezTo>
                <a:cubicBezTo>
                  <a:pt x="6000" y="14781"/>
                  <a:pt x="6000" y="14749"/>
                  <a:pt x="6031" y="14718"/>
                </a:cubicBezTo>
                <a:cubicBezTo>
                  <a:pt x="6031" y="14718"/>
                  <a:pt x="6031" y="14718"/>
                  <a:pt x="6031" y="14718"/>
                </a:cubicBezTo>
                <a:cubicBezTo>
                  <a:pt x="6031" y="14718"/>
                  <a:pt x="6063" y="14718"/>
                  <a:pt x="6063" y="14718"/>
                </a:cubicBezTo>
                <a:close/>
                <a:moveTo>
                  <a:pt x="6000" y="14406"/>
                </a:moveTo>
                <a:cubicBezTo>
                  <a:pt x="6000" y="14406"/>
                  <a:pt x="6000" y="14406"/>
                  <a:pt x="6000" y="14406"/>
                </a:cubicBezTo>
                <a:cubicBezTo>
                  <a:pt x="6000" y="14437"/>
                  <a:pt x="6063" y="14437"/>
                  <a:pt x="6031" y="14468"/>
                </a:cubicBezTo>
                <a:cubicBezTo>
                  <a:pt x="6000" y="14499"/>
                  <a:pt x="6000" y="14499"/>
                  <a:pt x="5969" y="14499"/>
                </a:cubicBezTo>
                <a:cubicBezTo>
                  <a:pt x="5906" y="14468"/>
                  <a:pt x="5938" y="14437"/>
                  <a:pt x="5938" y="14406"/>
                </a:cubicBezTo>
                <a:cubicBezTo>
                  <a:pt x="5938" y="14406"/>
                  <a:pt x="5969" y="14374"/>
                  <a:pt x="6000" y="14406"/>
                </a:cubicBezTo>
                <a:close/>
                <a:moveTo>
                  <a:pt x="5906" y="14843"/>
                </a:moveTo>
                <a:cubicBezTo>
                  <a:pt x="5938" y="14906"/>
                  <a:pt x="6000" y="14812"/>
                  <a:pt x="6031" y="14843"/>
                </a:cubicBezTo>
                <a:cubicBezTo>
                  <a:pt x="6031" y="14906"/>
                  <a:pt x="6031" y="14968"/>
                  <a:pt x="5969" y="14968"/>
                </a:cubicBezTo>
                <a:cubicBezTo>
                  <a:pt x="5906" y="14968"/>
                  <a:pt x="5875" y="14937"/>
                  <a:pt x="5875" y="14906"/>
                </a:cubicBezTo>
                <a:cubicBezTo>
                  <a:pt x="5844" y="14843"/>
                  <a:pt x="5875" y="14843"/>
                  <a:pt x="5906" y="14843"/>
                </a:cubicBezTo>
                <a:close/>
                <a:moveTo>
                  <a:pt x="5813" y="15187"/>
                </a:moveTo>
                <a:cubicBezTo>
                  <a:pt x="5750" y="15187"/>
                  <a:pt x="5750" y="15093"/>
                  <a:pt x="5688" y="15062"/>
                </a:cubicBezTo>
                <a:cubicBezTo>
                  <a:pt x="5688" y="15062"/>
                  <a:pt x="5688" y="15031"/>
                  <a:pt x="5688" y="14999"/>
                </a:cubicBezTo>
                <a:cubicBezTo>
                  <a:pt x="5688" y="14999"/>
                  <a:pt x="5656" y="14999"/>
                  <a:pt x="5656" y="14999"/>
                </a:cubicBezTo>
                <a:cubicBezTo>
                  <a:pt x="5656" y="14999"/>
                  <a:pt x="5688" y="14999"/>
                  <a:pt x="5688" y="14999"/>
                </a:cubicBezTo>
                <a:cubicBezTo>
                  <a:pt x="5750" y="15062"/>
                  <a:pt x="5781" y="15124"/>
                  <a:pt x="5813" y="15187"/>
                </a:cubicBezTo>
                <a:close/>
                <a:moveTo>
                  <a:pt x="5688" y="15062"/>
                </a:moveTo>
                <a:cubicBezTo>
                  <a:pt x="5656" y="15093"/>
                  <a:pt x="5656" y="15093"/>
                  <a:pt x="5656" y="15124"/>
                </a:cubicBezTo>
                <a:cubicBezTo>
                  <a:pt x="5656" y="15093"/>
                  <a:pt x="5656" y="15093"/>
                  <a:pt x="5688" y="15062"/>
                </a:cubicBezTo>
                <a:close/>
                <a:moveTo>
                  <a:pt x="5531" y="14156"/>
                </a:moveTo>
                <a:cubicBezTo>
                  <a:pt x="5563" y="14156"/>
                  <a:pt x="5594" y="14187"/>
                  <a:pt x="5625" y="14187"/>
                </a:cubicBezTo>
                <a:cubicBezTo>
                  <a:pt x="5625" y="14187"/>
                  <a:pt x="5656" y="14187"/>
                  <a:pt x="5656" y="14218"/>
                </a:cubicBezTo>
                <a:cubicBezTo>
                  <a:pt x="5656" y="14249"/>
                  <a:pt x="5656" y="14281"/>
                  <a:pt x="5625" y="14281"/>
                </a:cubicBezTo>
                <a:cubicBezTo>
                  <a:pt x="5594" y="14312"/>
                  <a:pt x="5469" y="14281"/>
                  <a:pt x="5469" y="14218"/>
                </a:cubicBezTo>
                <a:cubicBezTo>
                  <a:pt x="5438" y="14187"/>
                  <a:pt x="5469" y="14156"/>
                  <a:pt x="5531" y="14156"/>
                </a:cubicBezTo>
                <a:close/>
                <a:moveTo>
                  <a:pt x="5500" y="14812"/>
                </a:moveTo>
                <a:cubicBezTo>
                  <a:pt x="5406" y="14812"/>
                  <a:pt x="5406" y="14656"/>
                  <a:pt x="5313" y="14718"/>
                </a:cubicBezTo>
                <a:cubicBezTo>
                  <a:pt x="5375" y="14624"/>
                  <a:pt x="5375" y="14656"/>
                  <a:pt x="5500" y="14812"/>
                </a:cubicBezTo>
                <a:close/>
                <a:moveTo>
                  <a:pt x="5219" y="14781"/>
                </a:moveTo>
                <a:cubicBezTo>
                  <a:pt x="5219" y="14781"/>
                  <a:pt x="5219" y="14781"/>
                  <a:pt x="5188" y="14812"/>
                </a:cubicBezTo>
                <a:cubicBezTo>
                  <a:pt x="5250" y="14812"/>
                  <a:pt x="5281" y="14812"/>
                  <a:pt x="5281" y="14843"/>
                </a:cubicBezTo>
                <a:cubicBezTo>
                  <a:pt x="5281" y="14812"/>
                  <a:pt x="5250" y="14812"/>
                  <a:pt x="5188" y="14812"/>
                </a:cubicBezTo>
                <a:cubicBezTo>
                  <a:pt x="5219" y="14781"/>
                  <a:pt x="5219" y="14781"/>
                  <a:pt x="5219" y="14781"/>
                </a:cubicBezTo>
                <a:close/>
                <a:moveTo>
                  <a:pt x="5344" y="16218"/>
                </a:moveTo>
                <a:cubicBezTo>
                  <a:pt x="5344" y="16218"/>
                  <a:pt x="5344" y="16218"/>
                  <a:pt x="5344" y="16218"/>
                </a:cubicBezTo>
                <a:cubicBezTo>
                  <a:pt x="5375" y="16218"/>
                  <a:pt x="5438" y="16187"/>
                  <a:pt x="5500" y="16156"/>
                </a:cubicBezTo>
                <a:cubicBezTo>
                  <a:pt x="5438" y="16187"/>
                  <a:pt x="5375" y="16218"/>
                  <a:pt x="5344" y="16218"/>
                </a:cubicBezTo>
                <a:cubicBezTo>
                  <a:pt x="5344" y="16249"/>
                  <a:pt x="5313" y="16281"/>
                  <a:pt x="5281" y="16281"/>
                </a:cubicBezTo>
                <a:cubicBezTo>
                  <a:pt x="5250" y="16249"/>
                  <a:pt x="5250" y="16218"/>
                  <a:pt x="5219" y="16249"/>
                </a:cubicBezTo>
                <a:cubicBezTo>
                  <a:pt x="5156" y="16312"/>
                  <a:pt x="5188" y="16249"/>
                  <a:pt x="5188" y="16218"/>
                </a:cubicBezTo>
                <a:cubicBezTo>
                  <a:pt x="5219" y="16218"/>
                  <a:pt x="5281" y="16218"/>
                  <a:pt x="5344" y="16218"/>
                </a:cubicBezTo>
                <a:close/>
                <a:moveTo>
                  <a:pt x="5188" y="16031"/>
                </a:moveTo>
                <a:cubicBezTo>
                  <a:pt x="5156" y="16031"/>
                  <a:pt x="5125" y="16062"/>
                  <a:pt x="5094" y="16062"/>
                </a:cubicBezTo>
                <a:cubicBezTo>
                  <a:pt x="5125" y="16062"/>
                  <a:pt x="5156" y="16031"/>
                  <a:pt x="5188" y="16031"/>
                </a:cubicBezTo>
                <a:close/>
                <a:moveTo>
                  <a:pt x="5063" y="15062"/>
                </a:moveTo>
                <a:cubicBezTo>
                  <a:pt x="5031" y="14968"/>
                  <a:pt x="5094" y="14968"/>
                  <a:pt x="5156" y="14968"/>
                </a:cubicBezTo>
                <a:cubicBezTo>
                  <a:pt x="5156" y="15031"/>
                  <a:pt x="5156" y="15093"/>
                  <a:pt x="5125" y="15124"/>
                </a:cubicBezTo>
                <a:cubicBezTo>
                  <a:pt x="5125" y="15124"/>
                  <a:pt x="5125" y="15124"/>
                  <a:pt x="5125" y="15124"/>
                </a:cubicBezTo>
                <a:cubicBezTo>
                  <a:pt x="5094" y="15187"/>
                  <a:pt x="5063" y="15249"/>
                  <a:pt x="4969" y="15218"/>
                </a:cubicBezTo>
                <a:cubicBezTo>
                  <a:pt x="4938" y="15218"/>
                  <a:pt x="4906" y="15187"/>
                  <a:pt x="4906" y="15156"/>
                </a:cubicBezTo>
                <a:cubicBezTo>
                  <a:pt x="4938" y="15124"/>
                  <a:pt x="4938" y="15124"/>
                  <a:pt x="4969" y="15124"/>
                </a:cubicBezTo>
                <a:cubicBezTo>
                  <a:pt x="5031" y="15124"/>
                  <a:pt x="5063" y="15093"/>
                  <a:pt x="5063" y="15062"/>
                </a:cubicBezTo>
                <a:close/>
                <a:moveTo>
                  <a:pt x="5000" y="14531"/>
                </a:moveTo>
                <a:cubicBezTo>
                  <a:pt x="5000" y="14531"/>
                  <a:pt x="5000" y="14531"/>
                  <a:pt x="5000" y="14531"/>
                </a:cubicBezTo>
                <a:cubicBezTo>
                  <a:pt x="5000" y="14562"/>
                  <a:pt x="5000" y="14531"/>
                  <a:pt x="5000" y="14531"/>
                </a:cubicBezTo>
                <a:cubicBezTo>
                  <a:pt x="5000" y="14531"/>
                  <a:pt x="5000" y="14531"/>
                  <a:pt x="5000" y="14531"/>
                </a:cubicBezTo>
                <a:close/>
                <a:moveTo>
                  <a:pt x="4750" y="14874"/>
                </a:moveTo>
                <a:cubicBezTo>
                  <a:pt x="4750" y="14749"/>
                  <a:pt x="4813" y="14687"/>
                  <a:pt x="4938" y="14718"/>
                </a:cubicBezTo>
                <a:cubicBezTo>
                  <a:pt x="4969" y="14749"/>
                  <a:pt x="5000" y="14749"/>
                  <a:pt x="5000" y="14781"/>
                </a:cubicBezTo>
                <a:cubicBezTo>
                  <a:pt x="5000" y="14812"/>
                  <a:pt x="4969" y="14812"/>
                  <a:pt x="4938" y="14812"/>
                </a:cubicBezTo>
                <a:cubicBezTo>
                  <a:pt x="4906" y="14812"/>
                  <a:pt x="4844" y="14812"/>
                  <a:pt x="4844" y="14874"/>
                </a:cubicBezTo>
                <a:cubicBezTo>
                  <a:pt x="4844" y="14906"/>
                  <a:pt x="4875" y="14968"/>
                  <a:pt x="4813" y="14968"/>
                </a:cubicBezTo>
                <a:cubicBezTo>
                  <a:pt x="4750" y="14968"/>
                  <a:pt x="4750" y="14906"/>
                  <a:pt x="4750" y="14874"/>
                </a:cubicBezTo>
                <a:close/>
                <a:moveTo>
                  <a:pt x="4906" y="15624"/>
                </a:moveTo>
                <a:cubicBezTo>
                  <a:pt x="4938" y="15624"/>
                  <a:pt x="4969" y="15593"/>
                  <a:pt x="4969" y="15656"/>
                </a:cubicBezTo>
                <a:cubicBezTo>
                  <a:pt x="4969" y="15687"/>
                  <a:pt x="4938" y="15656"/>
                  <a:pt x="4906" y="15656"/>
                </a:cubicBezTo>
                <a:cubicBezTo>
                  <a:pt x="4844" y="15687"/>
                  <a:pt x="4781" y="15624"/>
                  <a:pt x="4719" y="15718"/>
                </a:cubicBezTo>
                <a:cubicBezTo>
                  <a:pt x="4813" y="15718"/>
                  <a:pt x="4875" y="15749"/>
                  <a:pt x="4938" y="15749"/>
                </a:cubicBezTo>
                <a:cubicBezTo>
                  <a:pt x="4875" y="15781"/>
                  <a:pt x="4813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719" y="15718"/>
                  <a:pt x="4719" y="15718"/>
                </a:cubicBezTo>
                <a:cubicBezTo>
                  <a:pt x="4719" y="15718"/>
                  <a:pt x="4688" y="15718"/>
                  <a:pt x="4656" y="15718"/>
                </a:cubicBezTo>
                <a:cubicBezTo>
                  <a:pt x="4656" y="15718"/>
                  <a:pt x="4656" y="15718"/>
                  <a:pt x="4656" y="15718"/>
                </a:cubicBezTo>
                <a:cubicBezTo>
                  <a:pt x="4625" y="15718"/>
                  <a:pt x="4594" y="15718"/>
                  <a:pt x="4531" y="15718"/>
                </a:cubicBezTo>
                <a:cubicBezTo>
                  <a:pt x="4500" y="15656"/>
                  <a:pt x="4406" y="15718"/>
                  <a:pt x="4344" y="15687"/>
                </a:cubicBezTo>
                <a:cubicBezTo>
                  <a:pt x="4531" y="15687"/>
                  <a:pt x="4719" y="15624"/>
                  <a:pt x="4906" y="15624"/>
                </a:cubicBezTo>
                <a:close/>
                <a:moveTo>
                  <a:pt x="4469" y="16781"/>
                </a:moveTo>
                <a:cubicBezTo>
                  <a:pt x="4469" y="16781"/>
                  <a:pt x="4500" y="16781"/>
                  <a:pt x="4500" y="16781"/>
                </a:cubicBezTo>
                <a:cubicBezTo>
                  <a:pt x="4500" y="16781"/>
                  <a:pt x="4469" y="16781"/>
                  <a:pt x="4469" y="16781"/>
                </a:cubicBezTo>
                <a:cubicBezTo>
                  <a:pt x="4469" y="16812"/>
                  <a:pt x="4469" y="16812"/>
                  <a:pt x="4469" y="16843"/>
                </a:cubicBezTo>
                <a:cubicBezTo>
                  <a:pt x="4438" y="16843"/>
                  <a:pt x="4438" y="16874"/>
                  <a:pt x="4406" y="16874"/>
                </a:cubicBezTo>
                <a:cubicBezTo>
                  <a:pt x="4406" y="16906"/>
                  <a:pt x="4438" y="16937"/>
                  <a:pt x="4438" y="16937"/>
                </a:cubicBezTo>
                <a:cubicBezTo>
                  <a:pt x="4438" y="16937"/>
                  <a:pt x="4406" y="16906"/>
                  <a:pt x="4406" y="16874"/>
                </a:cubicBezTo>
                <a:cubicBezTo>
                  <a:pt x="4375" y="16874"/>
                  <a:pt x="4344" y="16906"/>
                  <a:pt x="4344" y="16937"/>
                </a:cubicBezTo>
                <a:cubicBezTo>
                  <a:pt x="4281" y="16937"/>
                  <a:pt x="4281" y="16999"/>
                  <a:pt x="4219" y="16999"/>
                </a:cubicBezTo>
                <a:cubicBezTo>
                  <a:pt x="4156" y="17031"/>
                  <a:pt x="4125" y="17031"/>
                  <a:pt x="4063" y="16968"/>
                </a:cubicBezTo>
                <a:cubicBezTo>
                  <a:pt x="4031" y="16999"/>
                  <a:pt x="4000" y="17031"/>
                  <a:pt x="3969" y="17031"/>
                </a:cubicBezTo>
                <a:cubicBezTo>
                  <a:pt x="4000" y="17031"/>
                  <a:pt x="4031" y="16999"/>
                  <a:pt x="4063" y="16968"/>
                </a:cubicBezTo>
                <a:cubicBezTo>
                  <a:pt x="4031" y="16937"/>
                  <a:pt x="4000" y="16937"/>
                  <a:pt x="3938" y="16937"/>
                </a:cubicBezTo>
                <a:cubicBezTo>
                  <a:pt x="3938" y="16906"/>
                  <a:pt x="3906" y="16937"/>
                  <a:pt x="3906" y="16874"/>
                </a:cubicBezTo>
                <a:cubicBezTo>
                  <a:pt x="3906" y="16874"/>
                  <a:pt x="3906" y="16843"/>
                  <a:pt x="3906" y="16843"/>
                </a:cubicBezTo>
                <a:cubicBezTo>
                  <a:pt x="3906" y="16843"/>
                  <a:pt x="3906" y="16874"/>
                  <a:pt x="3906" y="16874"/>
                </a:cubicBezTo>
                <a:cubicBezTo>
                  <a:pt x="4000" y="16874"/>
                  <a:pt x="4031" y="16812"/>
                  <a:pt x="4094" y="16781"/>
                </a:cubicBezTo>
                <a:cubicBezTo>
                  <a:pt x="4156" y="16749"/>
                  <a:pt x="4219" y="16687"/>
                  <a:pt x="4313" y="16687"/>
                </a:cubicBezTo>
                <a:cubicBezTo>
                  <a:pt x="4313" y="16687"/>
                  <a:pt x="4313" y="16687"/>
                  <a:pt x="4313" y="16687"/>
                </a:cubicBezTo>
                <a:cubicBezTo>
                  <a:pt x="4313" y="16718"/>
                  <a:pt x="4313" y="16718"/>
                  <a:pt x="4313" y="16718"/>
                </a:cubicBezTo>
                <a:cubicBezTo>
                  <a:pt x="4344" y="16749"/>
                  <a:pt x="4406" y="16781"/>
                  <a:pt x="4469" y="16781"/>
                </a:cubicBezTo>
                <a:close/>
                <a:moveTo>
                  <a:pt x="4219" y="15874"/>
                </a:moveTo>
                <a:cubicBezTo>
                  <a:pt x="4219" y="15874"/>
                  <a:pt x="4219" y="15874"/>
                  <a:pt x="4219" y="15874"/>
                </a:cubicBezTo>
                <a:cubicBezTo>
                  <a:pt x="4250" y="15874"/>
                  <a:pt x="4250" y="15874"/>
                  <a:pt x="4281" y="15874"/>
                </a:cubicBezTo>
                <a:cubicBezTo>
                  <a:pt x="4250" y="15874"/>
                  <a:pt x="4250" y="15874"/>
                  <a:pt x="4219" y="15874"/>
                </a:cubicBezTo>
                <a:cubicBezTo>
                  <a:pt x="4219" y="15874"/>
                  <a:pt x="4250" y="15906"/>
                  <a:pt x="4250" y="15906"/>
                </a:cubicBezTo>
                <a:cubicBezTo>
                  <a:pt x="4250" y="15906"/>
                  <a:pt x="4250" y="15906"/>
                  <a:pt x="4250" y="15906"/>
                </a:cubicBezTo>
                <a:cubicBezTo>
                  <a:pt x="4188" y="15937"/>
                  <a:pt x="4125" y="15906"/>
                  <a:pt x="4031" y="15937"/>
                </a:cubicBezTo>
                <a:cubicBezTo>
                  <a:pt x="4094" y="15874"/>
                  <a:pt x="4156" y="15937"/>
                  <a:pt x="4219" y="15874"/>
                </a:cubicBezTo>
                <a:close/>
                <a:moveTo>
                  <a:pt x="4125" y="15656"/>
                </a:moveTo>
                <a:cubicBezTo>
                  <a:pt x="4156" y="15656"/>
                  <a:pt x="4188" y="15687"/>
                  <a:pt x="4156" y="15718"/>
                </a:cubicBezTo>
                <a:cubicBezTo>
                  <a:pt x="4063" y="15781"/>
                  <a:pt x="4000" y="15843"/>
                  <a:pt x="3906" y="15906"/>
                </a:cubicBezTo>
                <a:cubicBezTo>
                  <a:pt x="3906" y="15906"/>
                  <a:pt x="3875" y="15874"/>
                  <a:pt x="3875" y="15874"/>
                </a:cubicBezTo>
                <a:cubicBezTo>
                  <a:pt x="3875" y="15874"/>
                  <a:pt x="3875" y="15874"/>
                  <a:pt x="3875" y="15874"/>
                </a:cubicBezTo>
                <a:cubicBezTo>
                  <a:pt x="3844" y="15843"/>
                  <a:pt x="3781" y="15874"/>
                  <a:pt x="3750" y="15874"/>
                </a:cubicBezTo>
                <a:cubicBezTo>
                  <a:pt x="3719" y="15874"/>
                  <a:pt x="3688" y="15843"/>
                  <a:pt x="3719" y="15812"/>
                </a:cubicBezTo>
                <a:cubicBezTo>
                  <a:pt x="3750" y="15781"/>
                  <a:pt x="3813" y="15749"/>
                  <a:pt x="3844" y="15749"/>
                </a:cubicBezTo>
                <a:cubicBezTo>
                  <a:pt x="3875" y="15749"/>
                  <a:pt x="3906" y="15718"/>
                  <a:pt x="3938" y="15687"/>
                </a:cubicBezTo>
                <a:cubicBezTo>
                  <a:pt x="3906" y="15687"/>
                  <a:pt x="3875" y="15687"/>
                  <a:pt x="3844" y="15687"/>
                </a:cubicBezTo>
                <a:cubicBezTo>
                  <a:pt x="3844" y="15687"/>
                  <a:pt x="3813" y="15687"/>
                  <a:pt x="3813" y="15687"/>
                </a:cubicBezTo>
                <a:cubicBezTo>
                  <a:pt x="3813" y="15687"/>
                  <a:pt x="3813" y="15687"/>
                  <a:pt x="3813" y="15687"/>
                </a:cubicBezTo>
                <a:cubicBezTo>
                  <a:pt x="3875" y="15593"/>
                  <a:pt x="4063" y="15593"/>
                  <a:pt x="4125" y="15656"/>
                </a:cubicBezTo>
                <a:close/>
                <a:moveTo>
                  <a:pt x="2563" y="15781"/>
                </a:moveTo>
                <a:cubicBezTo>
                  <a:pt x="2531" y="15749"/>
                  <a:pt x="2531" y="15749"/>
                  <a:pt x="2531" y="15718"/>
                </a:cubicBezTo>
                <a:cubicBezTo>
                  <a:pt x="2500" y="15593"/>
                  <a:pt x="2563" y="15468"/>
                  <a:pt x="2688" y="15406"/>
                </a:cubicBezTo>
                <a:cubicBezTo>
                  <a:pt x="2750" y="15374"/>
                  <a:pt x="2781" y="15343"/>
                  <a:pt x="2781" y="15437"/>
                </a:cubicBezTo>
                <a:cubicBezTo>
                  <a:pt x="2781" y="15499"/>
                  <a:pt x="2813" y="15499"/>
                  <a:pt x="2844" y="15468"/>
                </a:cubicBezTo>
                <a:cubicBezTo>
                  <a:pt x="2906" y="15437"/>
                  <a:pt x="2938" y="15374"/>
                  <a:pt x="3000" y="15406"/>
                </a:cubicBezTo>
                <a:cubicBezTo>
                  <a:pt x="3063" y="15437"/>
                  <a:pt x="3000" y="15499"/>
                  <a:pt x="3000" y="15562"/>
                </a:cubicBezTo>
                <a:cubicBezTo>
                  <a:pt x="3031" y="15656"/>
                  <a:pt x="3000" y="15718"/>
                  <a:pt x="3000" y="15812"/>
                </a:cubicBezTo>
                <a:cubicBezTo>
                  <a:pt x="3000" y="15874"/>
                  <a:pt x="2938" y="15937"/>
                  <a:pt x="2906" y="15999"/>
                </a:cubicBezTo>
                <a:cubicBezTo>
                  <a:pt x="3031" y="16031"/>
                  <a:pt x="3063" y="15999"/>
                  <a:pt x="3125" y="15874"/>
                </a:cubicBezTo>
                <a:cubicBezTo>
                  <a:pt x="3156" y="15874"/>
                  <a:pt x="3156" y="15874"/>
                  <a:pt x="3156" y="15843"/>
                </a:cubicBezTo>
                <a:cubicBezTo>
                  <a:pt x="3156" y="15843"/>
                  <a:pt x="3125" y="15843"/>
                  <a:pt x="3125" y="15843"/>
                </a:cubicBezTo>
                <a:cubicBezTo>
                  <a:pt x="3125" y="15843"/>
                  <a:pt x="3125" y="15843"/>
                  <a:pt x="3094" y="15843"/>
                </a:cubicBezTo>
                <a:cubicBezTo>
                  <a:pt x="3094" y="15874"/>
                  <a:pt x="3063" y="15906"/>
                  <a:pt x="3031" y="15874"/>
                </a:cubicBezTo>
                <a:cubicBezTo>
                  <a:pt x="3000" y="15843"/>
                  <a:pt x="3063" y="15843"/>
                  <a:pt x="3063" y="15812"/>
                </a:cubicBezTo>
                <a:cubicBezTo>
                  <a:pt x="3063" y="15812"/>
                  <a:pt x="3063" y="15812"/>
                  <a:pt x="3063" y="15812"/>
                </a:cubicBezTo>
                <a:cubicBezTo>
                  <a:pt x="3094" y="15812"/>
                  <a:pt x="3125" y="15812"/>
                  <a:pt x="3125" y="15812"/>
                </a:cubicBezTo>
                <a:cubicBezTo>
                  <a:pt x="3156" y="15781"/>
                  <a:pt x="3219" y="15843"/>
                  <a:pt x="3188" y="15781"/>
                </a:cubicBezTo>
                <a:cubicBezTo>
                  <a:pt x="3188" y="15749"/>
                  <a:pt x="3219" y="15718"/>
                  <a:pt x="3156" y="15687"/>
                </a:cubicBezTo>
                <a:cubicBezTo>
                  <a:pt x="3125" y="15687"/>
                  <a:pt x="3125" y="15749"/>
                  <a:pt x="3094" y="15749"/>
                </a:cubicBezTo>
                <a:cubicBezTo>
                  <a:pt x="3094" y="15749"/>
                  <a:pt x="3063" y="15781"/>
                  <a:pt x="3063" y="15812"/>
                </a:cubicBezTo>
                <a:cubicBezTo>
                  <a:pt x="3031" y="15781"/>
                  <a:pt x="3031" y="15749"/>
                  <a:pt x="3031" y="15749"/>
                </a:cubicBezTo>
                <a:cubicBezTo>
                  <a:pt x="3031" y="15687"/>
                  <a:pt x="3031" y="15656"/>
                  <a:pt x="3031" y="15593"/>
                </a:cubicBezTo>
                <a:cubicBezTo>
                  <a:pt x="3063" y="15406"/>
                  <a:pt x="3063" y="15406"/>
                  <a:pt x="3219" y="15468"/>
                </a:cubicBezTo>
                <a:cubicBezTo>
                  <a:pt x="3313" y="15468"/>
                  <a:pt x="3313" y="15468"/>
                  <a:pt x="3281" y="15562"/>
                </a:cubicBezTo>
                <a:cubicBezTo>
                  <a:pt x="3375" y="15468"/>
                  <a:pt x="3469" y="15499"/>
                  <a:pt x="3563" y="15562"/>
                </a:cubicBezTo>
                <a:cubicBezTo>
                  <a:pt x="3656" y="15593"/>
                  <a:pt x="3750" y="15531"/>
                  <a:pt x="3844" y="15624"/>
                </a:cubicBezTo>
                <a:cubicBezTo>
                  <a:pt x="3813" y="15624"/>
                  <a:pt x="3781" y="15656"/>
                  <a:pt x="3750" y="15687"/>
                </a:cubicBezTo>
                <a:cubicBezTo>
                  <a:pt x="3719" y="15687"/>
                  <a:pt x="3719" y="15687"/>
                  <a:pt x="3719" y="15687"/>
                </a:cubicBezTo>
                <a:cubicBezTo>
                  <a:pt x="3688" y="15781"/>
                  <a:pt x="3688" y="15781"/>
                  <a:pt x="3594" y="15812"/>
                </a:cubicBezTo>
                <a:cubicBezTo>
                  <a:pt x="3563" y="15843"/>
                  <a:pt x="3531" y="15906"/>
                  <a:pt x="3500" y="15937"/>
                </a:cubicBezTo>
                <a:cubicBezTo>
                  <a:pt x="3594" y="15937"/>
                  <a:pt x="3656" y="15968"/>
                  <a:pt x="3719" y="15968"/>
                </a:cubicBezTo>
                <a:cubicBezTo>
                  <a:pt x="3656" y="15968"/>
                  <a:pt x="3625" y="15968"/>
                  <a:pt x="3563" y="15999"/>
                </a:cubicBezTo>
                <a:cubicBezTo>
                  <a:pt x="3500" y="15968"/>
                  <a:pt x="3438" y="15999"/>
                  <a:pt x="3375" y="15999"/>
                </a:cubicBezTo>
                <a:cubicBezTo>
                  <a:pt x="3156" y="16031"/>
                  <a:pt x="2969" y="16031"/>
                  <a:pt x="2781" y="16062"/>
                </a:cubicBezTo>
                <a:cubicBezTo>
                  <a:pt x="2719" y="16062"/>
                  <a:pt x="2656" y="16093"/>
                  <a:pt x="2594" y="16093"/>
                </a:cubicBezTo>
                <a:cubicBezTo>
                  <a:pt x="2594" y="16093"/>
                  <a:pt x="2594" y="16093"/>
                  <a:pt x="2594" y="16093"/>
                </a:cubicBezTo>
                <a:cubicBezTo>
                  <a:pt x="2531" y="16062"/>
                  <a:pt x="2531" y="16062"/>
                  <a:pt x="2563" y="16031"/>
                </a:cubicBezTo>
                <a:cubicBezTo>
                  <a:pt x="2500" y="15999"/>
                  <a:pt x="2625" y="15906"/>
                  <a:pt x="2531" y="15874"/>
                </a:cubicBezTo>
                <a:cubicBezTo>
                  <a:pt x="2531" y="15874"/>
                  <a:pt x="2531" y="15843"/>
                  <a:pt x="2531" y="15843"/>
                </a:cubicBezTo>
                <a:cubicBezTo>
                  <a:pt x="2594" y="15812"/>
                  <a:pt x="2594" y="15812"/>
                  <a:pt x="2563" y="15781"/>
                </a:cubicBezTo>
                <a:close/>
                <a:moveTo>
                  <a:pt x="2531" y="16218"/>
                </a:moveTo>
                <a:cubicBezTo>
                  <a:pt x="2531" y="16218"/>
                  <a:pt x="2531" y="16218"/>
                  <a:pt x="2531" y="16218"/>
                </a:cubicBezTo>
                <a:cubicBezTo>
                  <a:pt x="2531" y="16218"/>
                  <a:pt x="2531" y="16187"/>
                  <a:pt x="2531" y="16187"/>
                </a:cubicBezTo>
                <a:cubicBezTo>
                  <a:pt x="2531" y="16187"/>
                  <a:pt x="2531" y="16218"/>
                  <a:pt x="2531" y="16218"/>
                </a:cubicBezTo>
                <a:close/>
                <a:moveTo>
                  <a:pt x="2594" y="16562"/>
                </a:moveTo>
                <a:cubicBezTo>
                  <a:pt x="2656" y="16531"/>
                  <a:pt x="2656" y="16593"/>
                  <a:pt x="2688" y="16593"/>
                </a:cubicBezTo>
                <a:cubicBezTo>
                  <a:pt x="2625" y="16593"/>
                  <a:pt x="2563" y="16656"/>
                  <a:pt x="2500" y="16593"/>
                </a:cubicBezTo>
                <a:cubicBezTo>
                  <a:pt x="2500" y="16593"/>
                  <a:pt x="2500" y="16593"/>
                  <a:pt x="2500" y="16593"/>
                </a:cubicBezTo>
                <a:cubicBezTo>
                  <a:pt x="2531" y="16593"/>
                  <a:pt x="2563" y="16593"/>
                  <a:pt x="2594" y="16562"/>
                </a:cubicBezTo>
                <a:close/>
                <a:moveTo>
                  <a:pt x="1813" y="16218"/>
                </a:moveTo>
                <a:cubicBezTo>
                  <a:pt x="1813" y="16218"/>
                  <a:pt x="1813" y="16218"/>
                  <a:pt x="1813" y="16218"/>
                </a:cubicBezTo>
                <a:cubicBezTo>
                  <a:pt x="1875" y="16249"/>
                  <a:pt x="1938" y="16249"/>
                  <a:pt x="2000" y="16218"/>
                </a:cubicBezTo>
                <a:cubicBezTo>
                  <a:pt x="2125" y="16187"/>
                  <a:pt x="2281" y="16156"/>
                  <a:pt x="2406" y="16187"/>
                </a:cubicBezTo>
                <a:cubicBezTo>
                  <a:pt x="2500" y="16218"/>
                  <a:pt x="2469" y="16249"/>
                  <a:pt x="2438" y="16281"/>
                </a:cubicBezTo>
                <a:cubicBezTo>
                  <a:pt x="2406" y="16312"/>
                  <a:pt x="2438" y="16312"/>
                  <a:pt x="2469" y="16343"/>
                </a:cubicBezTo>
                <a:cubicBezTo>
                  <a:pt x="2344" y="16374"/>
                  <a:pt x="2188" y="16374"/>
                  <a:pt x="2063" y="16343"/>
                </a:cubicBezTo>
                <a:cubicBezTo>
                  <a:pt x="2000" y="16312"/>
                  <a:pt x="1969" y="16312"/>
                  <a:pt x="1906" y="16312"/>
                </a:cubicBezTo>
                <a:cubicBezTo>
                  <a:pt x="1875" y="16281"/>
                  <a:pt x="1813" y="16281"/>
                  <a:pt x="1750" y="16281"/>
                </a:cubicBezTo>
                <a:cubicBezTo>
                  <a:pt x="1781" y="16249"/>
                  <a:pt x="1781" y="16249"/>
                  <a:pt x="1813" y="16218"/>
                </a:cubicBezTo>
                <a:close/>
                <a:moveTo>
                  <a:pt x="1500" y="16437"/>
                </a:moveTo>
                <a:cubicBezTo>
                  <a:pt x="1531" y="16437"/>
                  <a:pt x="1563" y="16406"/>
                  <a:pt x="1563" y="16406"/>
                </a:cubicBezTo>
                <a:cubicBezTo>
                  <a:pt x="1594" y="16312"/>
                  <a:pt x="1625" y="16312"/>
                  <a:pt x="1719" y="16312"/>
                </a:cubicBezTo>
                <a:cubicBezTo>
                  <a:pt x="1781" y="16343"/>
                  <a:pt x="1844" y="16374"/>
                  <a:pt x="1906" y="16343"/>
                </a:cubicBezTo>
                <a:cubicBezTo>
                  <a:pt x="1938" y="16343"/>
                  <a:pt x="1969" y="16343"/>
                  <a:pt x="1969" y="16406"/>
                </a:cubicBezTo>
                <a:cubicBezTo>
                  <a:pt x="1938" y="16406"/>
                  <a:pt x="1875" y="16406"/>
                  <a:pt x="1813" y="16374"/>
                </a:cubicBezTo>
                <a:cubicBezTo>
                  <a:pt x="1844" y="16468"/>
                  <a:pt x="1906" y="16437"/>
                  <a:pt x="1938" y="16437"/>
                </a:cubicBezTo>
                <a:cubicBezTo>
                  <a:pt x="1844" y="16468"/>
                  <a:pt x="1781" y="16499"/>
                  <a:pt x="1688" y="16499"/>
                </a:cubicBezTo>
                <a:cubicBezTo>
                  <a:pt x="1625" y="16468"/>
                  <a:pt x="1563" y="16468"/>
                  <a:pt x="1500" y="16468"/>
                </a:cubicBezTo>
                <a:cubicBezTo>
                  <a:pt x="1469" y="16468"/>
                  <a:pt x="1438" y="16468"/>
                  <a:pt x="1406" y="16468"/>
                </a:cubicBezTo>
                <a:cubicBezTo>
                  <a:pt x="1438" y="16437"/>
                  <a:pt x="1469" y="16374"/>
                  <a:pt x="1500" y="16437"/>
                </a:cubicBezTo>
                <a:close/>
                <a:moveTo>
                  <a:pt x="1313" y="16656"/>
                </a:moveTo>
                <a:cubicBezTo>
                  <a:pt x="1281" y="16718"/>
                  <a:pt x="1250" y="16718"/>
                  <a:pt x="1188" y="16687"/>
                </a:cubicBezTo>
                <a:cubicBezTo>
                  <a:pt x="1219" y="16624"/>
                  <a:pt x="1250" y="16656"/>
                  <a:pt x="1313" y="16656"/>
                </a:cubicBezTo>
                <a:close/>
                <a:moveTo>
                  <a:pt x="1156" y="16968"/>
                </a:moveTo>
                <a:cubicBezTo>
                  <a:pt x="1156" y="16999"/>
                  <a:pt x="1156" y="16999"/>
                  <a:pt x="1125" y="16999"/>
                </a:cubicBezTo>
                <a:cubicBezTo>
                  <a:pt x="1125" y="16999"/>
                  <a:pt x="1125" y="16968"/>
                  <a:pt x="1125" y="16968"/>
                </a:cubicBezTo>
                <a:cubicBezTo>
                  <a:pt x="1125" y="16968"/>
                  <a:pt x="1156" y="16968"/>
                  <a:pt x="1156" y="16968"/>
                </a:cubicBezTo>
                <a:close/>
                <a:moveTo>
                  <a:pt x="1094" y="17187"/>
                </a:moveTo>
                <a:cubicBezTo>
                  <a:pt x="1031" y="17187"/>
                  <a:pt x="1031" y="17124"/>
                  <a:pt x="1000" y="17093"/>
                </a:cubicBezTo>
                <a:cubicBezTo>
                  <a:pt x="1000" y="17031"/>
                  <a:pt x="1063" y="17031"/>
                  <a:pt x="1094" y="17031"/>
                </a:cubicBezTo>
                <a:cubicBezTo>
                  <a:pt x="1125" y="17031"/>
                  <a:pt x="1156" y="17062"/>
                  <a:pt x="1156" y="17124"/>
                </a:cubicBezTo>
                <a:cubicBezTo>
                  <a:pt x="1156" y="17156"/>
                  <a:pt x="1156" y="17187"/>
                  <a:pt x="1094" y="17187"/>
                </a:cubicBezTo>
                <a:close/>
                <a:moveTo>
                  <a:pt x="1156" y="17218"/>
                </a:moveTo>
                <a:cubicBezTo>
                  <a:pt x="1125" y="17187"/>
                  <a:pt x="1188" y="17187"/>
                  <a:pt x="1188" y="17187"/>
                </a:cubicBezTo>
                <a:cubicBezTo>
                  <a:pt x="1219" y="17156"/>
                  <a:pt x="1219" y="17156"/>
                  <a:pt x="1219" y="17124"/>
                </a:cubicBezTo>
                <a:cubicBezTo>
                  <a:pt x="1125" y="17124"/>
                  <a:pt x="1219" y="17031"/>
                  <a:pt x="1188" y="16999"/>
                </a:cubicBezTo>
                <a:cubicBezTo>
                  <a:pt x="1188" y="16968"/>
                  <a:pt x="1156" y="16937"/>
                  <a:pt x="1125" y="16906"/>
                </a:cubicBezTo>
                <a:cubicBezTo>
                  <a:pt x="1125" y="16906"/>
                  <a:pt x="1125" y="16906"/>
                  <a:pt x="1125" y="16906"/>
                </a:cubicBezTo>
                <a:cubicBezTo>
                  <a:pt x="1156" y="16937"/>
                  <a:pt x="1188" y="16968"/>
                  <a:pt x="1188" y="16999"/>
                </a:cubicBezTo>
                <a:cubicBezTo>
                  <a:pt x="1250" y="16999"/>
                  <a:pt x="1313" y="16968"/>
                  <a:pt x="1375" y="16968"/>
                </a:cubicBezTo>
                <a:cubicBezTo>
                  <a:pt x="1438" y="16937"/>
                  <a:pt x="1469" y="16937"/>
                  <a:pt x="1438" y="16999"/>
                </a:cubicBezTo>
                <a:cubicBezTo>
                  <a:pt x="1469" y="16999"/>
                  <a:pt x="1469" y="16999"/>
                  <a:pt x="1469" y="16999"/>
                </a:cubicBezTo>
                <a:cubicBezTo>
                  <a:pt x="1469" y="16999"/>
                  <a:pt x="1438" y="16999"/>
                  <a:pt x="1438" y="16999"/>
                </a:cubicBezTo>
                <a:cubicBezTo>
                  <a:pt x="1375" y="17062"/>
                  <a:pt x="1313" y="17093"/>
                  <a:pt x="1250" y="17124"/>
                </a:cubicBezTo>
                <a:cubicBezTo>
                  <a:pt x="1344" y="17124"/>
                  <a:pt x="1406" y="17062"/>
                  <a:pt x="1469" y="17031"/>
                </a:cubicBezTo>
                <a:cubicBezTo>
                  <a:pt x="1469" y="17031"/>
                  <a:pt x="1469" y="17062"/>
                  <a:pt x="1500" y="17062"/>
                </a:cubicBezTo>
                <a:cubicBezTo>
                  <a:pt x="1469" y="17093"/>
                  <a:pt x="1531" y="17124"/>
                  <a:pt x="1469" y="17124"/>
                </a:cubicBezTo>
                <a:cubicBezTo>
                  <a:pt x="1406" y="17124"/>
                  <a:pt x="1406" y="17156"/>
                  <a:pt x="1344" y="17218"/>
                </a:cubicBezTo>
                <a:cubicBezTo>
                  <a:pt x="1438" y="17218"/>
                  <a:pt x="1500" y="17156"/>
                  <a:pt x="1531" y="17156"/>
                </a:cubicBezTo>
                <a:cubicBezTo>
                  <a:pt x="1594" y="17218"/>
                  <a:pt x="1563" y="17249"/>
                  <a:pt x="1500" y="17249"/>
                </a:cubicBezTo>
                <a:cubicBezTo>
                  <a:pt x="1438" y="17249"/>
                  <a:pt x="1406" y="17281"/>
                  <a:pt x="1375" y="17281"/>
                </a:cubicBezTo>
                <a:cubicBezTo>
                  <a:pt x="1313" y="17281"/>
                  <a:pt x="1281" y="17218"/>
                  <a:pt x="1219" y="17249"/>
                </a:cubicBezTo>
                <a:cubicBezTo>
                  <a:pt x="1188" y="17249"/>
                  <a:pt x="1156" y="17249"/>
                  <a:pt x="1156" y="17218"/>
                </a:cubicBezTo>
                <a:close/>
                <a:moveTo>
                  <a:pt x="969" y="17624"/>
                </a:moveTo>
                <a:cubicBezTo>
                  <a:pt x="969" y="17624"/>
                  <a:pt x="969" y="17624"/>
                  <a:pt x="969" y="17624"/>
                </a:cubicBezTo>
                <a:cubicBezTo>
                  <a:pt x="1000" y="17624"/>
                  <a:pt x="1000" y="17624"/>
                  <a:pt x="1000" y="17624"/>
                </a:cubicBezTo>
                <a:cubicBezTo>
                  <a:pt x="1000" y="17656"/>
                  <a:pt x="1000" y="17656"/>
                  <a:pt x="969" y="17624"/>
                </a:cubicBezTo>
                <a:cubicBezTo>
                  <a:pt x="969" y="17624"/>
                  <a:pt x="969" y="17656"/>
                  <a:pt x="969" y="17656"/>
                </a:cubicBezTo>
                <a:cubicBezTo>
                  <a:pt x="969" y="17656"/>
                  <a:pt x="969" y="17624"/>
                  <a:pt x="969" y="17624"/>
                </a:cubicBezTo>
                <a:close/>
                <a:moveTo>
                  <a:pt x="1000" y="17624"/>
                </a:moveTo>
                <a:cubicBezTo>
                  <a:pt x="1031" y="17593"/>
                  <a:pt x="1031" y="17593"/>
                  <a:pt x="1063" y="17593"/>
                </a:cubicBezTo>
                <a:cubicBezTo>
                  <a:pt x="1031" y="17624"/>
                  <a:pt x="1031" y="17624"/>
                  <a:pt x="1000" y="17624"/>
                </a:cubicBezTo>
                <a:close/>
                <a:moveTo>
                  <a:pt x="1063" y="17593"/>
                </a:moveTo>
                <a:cubicBezTo>
                  <a:pt x="1063" y="17593"/>
                  <a:pt x="1063" y="17562"/>
                  <a:pt x="1063" y="17562"/>
                </a:cubicBezTo>
                <a:cubicBezTo>
                  <a:pt x="1063" y="17562"/>
                  <a:pt x="1094" y="17593"/>
                  <a:pt x="1125" y="17593"/>
                </a:cubicBezTo>
                <a:cubicBezTo>
                  <a:pt x="1125" y="17593"/>
                  <a:pt x="1156" y="17624"/>
                  <a:pt x="1188" y="17593"/>
                </a:cubicBezTo>
                <a:cubicBezTo>
                  <a:pt x="1188" y="17562"/>
                  <a:pt x="1219" y="17531"/>
                  <a:pt x="1188" y="17531"/>
                </a:cubicBezTo>
                <a:cubicBezTo>
                  <a:pt x="1156" y="17499"/>
                  <a:pt x="1156" y="17499"/>
                  <a:pt x="1156" y="17468"/>
                </a:cubicBezTo>
                <a:cubicBezTo>
                  <a:pt x="1156" y="17468"/>
                  <a:pt x="1156" y="17468"/>
                  <a:pt x="1156" y="17468"/>
                </a:cubicBezTo>
                <a:cubicBezTo>
                  <a:pt x="1219" y="17531"/>
                  <a:pt x="1281" y="17562"/>
                  <a:pt x="1219" y="17624"/>
                </a:cubicBezTo>
                <a:cubicBezTo>
                  <a:pt x="1188" y="17718"/>
                  <a:pt x="1125" y="17687"/>
                  <a:pt x="1063" y="17593"/>
                </a:cubicBezTo>
                <a:close/>
                <a:moveTo>
                  <a:pt x="969" y="17687"/>
                </a:moveTo>
                <a:cubicBezTo>
                  <a:pt x="1000" y="17656"/>
                  <a:pt x="1031" y="17687"/>
                  <a:pt x="1063" y="17718"/>
                </a:cubicBezTo>
                <a:cubicBezTo>
                  <a:pt x="1063" y="17749"/>
                  <a:pt x="1031" y="17749"/>
                  <a:pt x="1031" y="17781"/>
                </a:cubicBezTo>
                <a:cubicBezTo>
                  <a:pt x="1063" y="17812"/>
                  <a:pt x="1094" y="17749"/>
                  <a:pt x="1125" y="17781"/>
                </a:cubicBezTo>
                <a:cubicBezTo>
                  <a:pt x="1125" y="17812"/>
                  <a:pt x="1125" y="17843"/>
                  <a:pt x="1125" y="17906"/>
                </a:cubicBezTo>
                <a:cubicBezTo>
                  <a:pt x="1188" y="17874"/>
                  <a:pt x="1188" y="17874"/>
                  <a:pt x="1188" y="17937"/>
                </a:cubicBezTo>
                <a:cubicBezTo>
                  <a:pt x="1156" y="17968"/>
                  <a:pt x="1156" y="17999"/>
                  <a:pt x="1125" y="18031"/>
                </a:cubicBezTo>
                <a:cubicBezTo>
                  <a:pt x="1125" y="18031"/>
                  <a:pt x="1125" y="18062"/>
                  <a:pt x="1125" y="18062"/>
                </a:cubicBezTo>
                <a:cubicBezTo>
                  <a:pt x="1125" y="18062"/>
                  <a:pt x="1125" y="18031"/>
                  <a:pt x="1125" y="18031"/>
                </a:cubicBezTo>
                <a:cubicBezTo>
                  <a:pt x="1063" y="17968"/>
                  <a:pt x="1063" y="17874"/>
                  <a:pt x="969" y="17843"/>
                </a:cubicBezTo>
                <a:cubicBezTo>
                  <a:pt x="875" y="17781"/>
                  <a:pt x="938" y="17749"/>
                  <a:pt x="969" y="17687"/>
                </a:cubicBezTo>
                <a:close/>
                <a:moveTo>
                  <a:pt x="906" y="18749"/>
                </a:moveTo>
                <a:cubicBezTo>
                  <a:pt x="969" y="18749"/>
                  <a:pt x="1000" y="18749"/>
                  <a:pt x="1063" y="18718"/>
                </a:cubicBezTo>
                <a:cubicBezTo>
                  <a:pt x="1094" y="18718"/>
                  <a:pt x="1094" y="18718"/>
                  <a:pt x="1125" y="18718"/>
                </a:cubicBezTo>
                <a:cubicBezTo>
                  <a:pt x="1094" y="18718"/>
                  <a:pt x="1094" y="18718"/>
                  <a:pt x="1063" y="18718"/>
                </a:cubicBezTo>
                <a:cubicBezTo>
                  <a:pt x="1063" y="18749"/>
                  <a:pt x="1063" y="18749"/>
                  <a:pt x="1063" y="18749"/>
                </a:cubicBezTo>
                <a:cubicBezTo>
                  <a:pt x="1063" y="18781"/>
                  <a:pt x="1063" y="18781"/>
                  <a:pt x="1063" y="18781"/>
                </a:cubicBezTo>
                <a:cubicBezTo>
                  <a:pt x="1031" y="18781"/>
                  <a:pt x="1031" y="18781"/>
                  <a:pt x="1000" y="18781"/>
                </a:cubicBezTo>
                <a:cubicBezTo>
                  <a:pt x="1000" y="18781"/>
                  <a:pt x="969" y="18781"/>
                  <a:pt x="969" y="18781"/>
                </a:cubicBezTo>
                <a:cubicBezTo>
                  <a:pt x="938" y="18781"/>
                  <a:pt x="906" y="18781"/>
                  <a:pt x="875" y="18781"/>
                </a:cubicBezTo>
                <a:cubicBezTo>
                  <a:pt x="844" y="18749"/>
                  <a:pt x="906" y="18749"/>
                  <a:pt x="906" y="18749"/>
                </a:cubicBezTo>
                <a:close/>
                <a:moveTo>
                  <a:pt x="813" y="17531"/>
                </a:move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781" y="17562"/>
                </a:cubicBezTo>
                <a:cubicBezTo>
                  <a:pt x="781" y="17562"/>
                  <a:pt x="781" y="17562"/>
                  <a:pt x="813" y="17531"/>
                </a:cubicBezTo>
                <a:close/>
                <a:moveTo>
                  <a:pt x="781" y="17812"/>
                </a:moveTo>
                <a:cubicBezTo>
                  <a:pt x="781" y="17812"/>
                  <a:pt x="781" y="17812"/>
                  <a:pt x="781" y="17812"/>
                </a:cubicBezTo>
                <a:cubicBezTo>
                  <a:pt x="813" y="17812"/>
                  <a:pt x="781" y="17843"/>
                  <a:pt x="781" y="17843"/>
                </a:cubicBezTo>
                <a:cubicBezTo>
                  <a:pt x="781" y="17812"/>
                  <a:pt x="781" y="17812"/>
                  <a:pt x="781" y="17812"/>
                </a:cubicBezTo>
                <a:close/>
                <a:moveTo>
                  <a:pt x="781" y="17843"/>
                </a:moveTo>
                <a:cubicBezTo>
                  <a:pt x="781" y="17937"/>
                  <a:pt x="688" y="17937"/>
                  <a:pt x="625" y="17999"/>
                </a:cubicBezTo>
                <a:cubicBezTo>
                  <a:pt x="625" y="17937"/>
                  <a:pt x="656" y="17937"/>
                  <a:pt x="656" y="17906"/>
                </a:cubicBezTo>
                <a:cubicBezTo>
                  <a:pt x="719" y="17906"/>
                  <a:pt x="719" y="17843"/>
                  <a:pt x="781" y="17843"/>
                </a:cubicBezTo>
                <a:close/>
                <a:moveTo>
                  <a:pt x="688" y="17624"/>
                </a:moveTo>
                <a:cubicBezTo>
                  <a:pt x="719" y="17624"/>
                  <a:pt x="719" y="17656"/>
                  <a:pt x="750" y="17656"/>
                </a:cubicBezTo>
                <a:cubicBezTo>
                  <a:pt x="813" y="17687"/>
                  <a:pt x="781" y="17749"/>
                  <a:pt x="750" y="17781"/>
                </a:cubicBezTo>
                <a:cubicBezTo>
                  <a:pt x="719" y="17781"/>
                  <a:pt x="688" y="17812"/>
                  <a:pt x="688" y="17843"/>
                </a:cubicBezTo>
                <a:cubicBezTo>
                  <a:pt x="656" y="17843"/>
                  <a:pt x="656" y="17874"/>
                  <a:pt x="625" y="17843"/>
                </a:cubicBezTo>
                <a:cubicBezTo>
                  <a:pt x="625" y="17843"/>
                  <a:pt x="625" y="17812"/>
                  <a:pt x="656" y="17781"/>
                </a:cubicBezTo>
                <a:cubicBezTo>
                  <a:pt x="625" y="17749"/>
                  <a:pt x="563" y="17656"/>
                  <a:pt x="688" y="17624"/>
                </a:cubicBezTo>
                <a:close/>
                <a:moveTo>
                  <a:pt x="656" y="18343"/>
                </a:moveTo>
                <a:cubicBezTo>
                  <a:pt x="656" y="18281"/>
                  <a:pt x="688" y="18218"/>
                  <a:pt x="625" y="18156"/>
                </a:cubicBezTo>
                <a:cubicBezTo>
                  <a:pt x="656" y="18156"/>
                  <a:pt x="656" y="18156"/>
                  <a:pt x="656" y="18156"/>
                </a:cubicBezTo>
                <a:cubicBezTo>
                  <a:pt x="656" y="18187"/>
                  <a:pt x="656" y="18187"/>
                  <a:pt x="656" y="18187"/>
                </a:cubicBezTo>
                <a:cubicBezTo>
                  <a:pt x="688" y="18218"/>
                  <a:pt x="719" y="18187"/>
                  <a:pt x="719" y="18156"/>
                </a:cubicBezTo>
                <a:cubicBezTo>
                  <a:pt x="719" y="18124"/>
                  <a:pt x="750" y="18124"/>
                  <a:pt x="750" y="18093"/>
                </a:cubicBezTo>
                <a:cubicBezTo>
                  <a:pt x="719" y="18062"/>
                  <a:pt x="719" y="18093"/>
                  <a:pt x="688" y="18093"/>
                </a:cubicBezTo>
                <a:cubicBezTo>
                  <a:pt x="656" y="18156"/>
                  <a:pt x="656" y="18124"/>
                  <a:pt x="625" y="18093"/>
                </a:cubicBezTo>
                <a:cubicBezTo>
                  <a:pt x="594" y="18062"/>
                  <a:pt x="625" y="18062"/>
                  <a:pt x="625" y="18031"/>
                </a:cubicBezTo>
                <a:cubicBezTo>
                  <a:pt x="688" y="17999"/>
                  <a:pt x="719" y="17968"/>
                  <a:pt x="781" y="17968"/>
                </a:cubicBezTo>
                <a:cubicBezTo>
                  <a:pt x="844" y="17937"/>
                  <a:pt x="844" y="17968"/>
                  <a:pt x="844" y="17999"/>
                </a:cubicBezTo>
                <a:cubicBezTo>
                  <a:pt x="844" y="18031"/>
                  <a:pt x="844" y="18093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24"/>
                  <a:pt x="813" y="18124"/>
                  <a:pt x="813" y="18124"/>
                </a:cubicBezTo>
                <a:cubicBezTo>
                  <a:pt x="813" y="18156"/>
                  <a:pt x="813" y="18156"/>
                  <a:pt x="813" y="18156"/>
                </a:cubicBezTo>
                <a:cubicBezTo>
                  <a:pt x="813" y="18156"/>
                  <a:pt x="813" y="18156"/>
                  <a:pt x="813" y="18124"/>
                </a:cubicBezTo>
                <a:cubicBezTo>
                  <a:pt x="750" y="18218"/>
                  <a:pt x="719" y="18281"/>
                  <a:pt x="656" y="18343"/>
                </a:cubicBezTo>
                <a:close/>
                <a:moveTo>
                  <a:pt x="813" y="19562"/>
                </a:moveTo>
                <a:cubicBezTo>
                  <a:pt x="813" y="19499"/>
                  <a:pt x="844" y="19499"/>
                  <a:pt x="844" y="19499"/>
                </a:cubicBezTo>
                <a:cubicBezTo>
                  <a:pt x="844" y="19531"/>
                  <a:pt x="844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813" y="19562"/>
                </a:moveTo>
                <a:cubicBezTo>
                  <a:pt x="813" y="19593"/>
                  <a:pt x="875" y="19562"/>
                  <a:pt x="875" y="19593"/>
                </a:cubicBezTo>
                <a:cubicBezTo>
                  <a:pt x="781" y="19687"/>
                  <a:pt x="656" y="19749"/>
                  <a:pt x="563" y="19843"/>
                </a:cubicBezTo>
                <a:cubicBezTo>
                  <a:pt x="531" y="19874"/>
                  <a:pt x="469" y="19874"/>
                  <a:pt x="438" y="19906"/>
                </a:cubicBezTo>
                <a:cubicBezTo>
                  <a:pt x="469" y="19874"/>
                  <a:pt x="531" y="19874"/>
                  <a:pt x="563" y="19843"/>
                </a:cubicBezTo>
                <a:cubicBezTo>
                  <a:pt x="438" y="19812"/>
                  <a:pt x="563" y="19781"/>
                  <a:pt x="563" y="19749"/>
                </a:cubicBezTo>
                <a:cubicBezTo>
                  <a:pt x="563" y="19718"/>
                  <a:pt x="531" y="19718"/>
                  <a:pt x="500" y="19718"/>
                </a:cubicBezTo>
                <a:cubicBezTo>
                  <a:pt x="500" y="19718"/>
                  <a:pt x="500" y="19687"/>
                  <a:pt x="500" y="19687"/>
                </a:cubicBezTo>
                <a:cubicBezTo>
                  <a:pt x="500" y="19687"/>
                  <a:pt x="500" y="19718"/>
                  <a:pt x="500" y="19718"/>
                </a:cubicBezTo>
                <a:cubicBezTo>
                  <a:pt x="531" y="19718"/>
                  <a:pt x="563" y="19718"/>
                  <a:pt x="563" y="19749"/>
                </a:cubicBezTo>
                <a:cubicBezTo>
                  <a:pt x="594" y="19718"/>
                  <a:pt x="594" y="19687"/>
                  <a:pt x="625" y="19687"/>
                </a:cubicBezTo>
                <a:cubicBezTo>
                  <a:pt x="688" y="19624"/>
                  <a:pt x="750" y="19593"/>
                  <a:pt x="813" y="19562"/>
                </a:cubicBezTo>
                <a:lnTo>
                  <a:pt x="813" y="19562"/>
                </a:ln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ubicBezTo>
                  <a:pt x="813" y="19562"/>
                  <a:pt x="813" y="19562"/>
                  <a:pt x="813" y="19562"/>
                </a:cubicBezTo>
                <a:close/>
                <a:moveTo>
                  <a:pt x="438" y="18812"/>
                </a:moveTo>
                <a:cubicBezTo>
                  <a:pt x="469" y="18812"/>
                  <a:pt x="500" y="18812"/>
                  <a:pt x="500" y="18812"/>
                </a:cubicBezTo>
                <a:cubicBezTo>
                  <a:pt x="531" y="18812"/>
                  <a:pt x="563" y="18812"/>
                  <a:pt x="594" y="18812"/>
                </a:cubicBezTo>
                <a:cubicBezTo>
                  <a:pt x="594" y="18843"/>
                  <a:pt x="625" y="18812"/>
                  <a:pt x="594" y="18843"/>
                </a:cubicBezTo>
                <a:cubicBezTo>
                  <a:pt x="594" y="18843"/>
                  <a:pt x="563" y="18843"/>
                  <a:pt x="531" y="18874"/>
                </a:cubicBezTo>
                <a:cubicBezTo>
                  <a:pt x="500" y="18843"/>
                  <a:pt x="469" y="18843"/>
                  <a:pt x="438" y="18812"/>
                </a:cubicBezTo>
                <a:close/>
                <a:moveTo>
                  <a:pt x="406" y="19343"/>
                </a:moveTo>
                <a:cubicBezTo>
                  <a:pt x="438" y="19343"/>
                  <a:pt x="500" y="19343"/>
                  <a:pt x="531" y="19343"/>
                </a:cubicBezTo>
                <a:cubicBezTo>
                  <a:pt x="500" y="19343"/>
                  <a:pt x="438" y="19343"/>
                  <a:pt x="406" y="19343"/>
                </a:cubicBezTo>
                <a:close/>
                <a:moveTo>
                  <a:pt x="2313" y="19687"/>
                </a:moveTo>
                <a:cubicBezTo>
                  <a:pt x="2313" y="19687"/>
                  <a:pt x="2313" y="19687"/>
                  <a:pt x="2313" y="19687"/>
                </a:cubicBezTo>
                <a:close/>
                <a:moveTo>
                  <a:pt x="3563" y="19843"/>
                </a:moveTo>
                <a:cubicBezTo>
                  <a:pt x="3563" y="19843"/>
                  <a:pt x="3563" y="19843"/>
                  <a:pt x="3563" y="19843"/>
                </a:cubicBezTo>
                <a:close/>
                <a:moveTo>
                  <a:pt x="24031" y="23562"/>
                </a:moveTo>
                <a:cubicBezTo>
                  <a:pt x="24031" y="23562"/>
                  <a:pt x="24031" y="23562"/>
                  <a:pt x="24031" y="23562"/>
                </a:cubicBezTo>
                <a:close/>
                <a:moveTo>
                  <a:pt x="12625" y="22874"/>
                </a:moveTo>
                <a:cubicBezTo>
                  <a:pt x="12625" y="22874"/>
                  <a:pt x="12625" y="22874"/>
                  <a:pt x="12625" y="22874"/>
                </a:cubicBezTo>
                <a:cubicBezTo>
                  <a:pt x="12625" y="22874"/>
                  <a:pt x="12625" y="22874"/>
                  <a:pt x="12625" y="22874"/>
                </a:cubicBezTo>
                <a:lnTo>
                  <a:pt x="12625" y="22874"/>
                </a:lnTo>
                <a:cubicBezTo>
                  <a:pt x="12625" y="22874"/>
                  <a:pt x="12625" y="22874"/>
                  <a:pt x="12625" y="22874"/>
                </a:cubicBezTo>
                <a:close/>
                <a:moveTo>
                  <a:pt x="17469" y="23656"/>
                </a:move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lnTo>
                  <a:pt x="17469" y="23656"/>
                </a:lnTo>
                <a:cubicBezTo>
                  <a:pt x="17469" y="23656"/>
                  <a:pt x="17469" y="23656"/>
                  <a:pt x="17469" y="23656"/>
                </a:cubicBezTo>
                <a:cubicBezTo>
                  <a:pt x="17469" y="23656"/>
                  <a:pt x="17469" y="23656"/>
                  <a:pt x="17469" y="23656"/>
                </a:cubicBezTo>
                <a:close/>
                <a:moveTo>
                  <a:pt x="15531" y="5781"/>
                </a:moveTo>
                <a:lnTo>
                  <a:pt x="15531" y="5781"/>
                </a:lnTo>
                <a:lnTo>
                  <a:pt x="15531" y="5781"/>
                </a:lnTo>
                <a:close/>
                <a:moveTo>
                  <a:pt x="12719" y="5468"/>
                </a:moveTo>
                <a:cubicBezTo>
                  <a:pt x="12719" y="5468"/>
                  <a:pt x="12719" y="5437"/>
                  <a:pt x="12719" y="5437"/>
                </a:cubicBezTo>
                <a:cubicBezTo>
                  <a:pt x="12719" y="5437"/>
                  <a:pt x="12719" y="5468"/>
                  <a:pt x="12719" y="5468"/>
                </a:cubicBezTo>
                <a:cubicBezTo>
                  <a:pt x="12719" y="5468"/>
                  <a:pt x="12719" y="5468"/>
                  <a:pt x="12719" y="5468"/>
                </a:cubicBezTo>
                <a:cubicBezTo>
                  <a:pt x="12594" y="5531"/>
                  <a:pt x="12625" y="5656"/>
                  <a:pt x="12625" y="5750"/>
                </a:cubicBezTo>
                <a:cubicBezTo>
                  <a:pt x="12563" y="5843"/>
                  <a:pt x="12531" y="5968"/>
                  <a:pt x="12500" y="6062"/>
                </a:cubicBezTo>
                <a:cubicBezTo>
                  <a:pt x="12531" y="6000"/>
                  <a:pt x="12656" y="6031"/>
                  <a:pt x="12625" y="5937"/>
                </a:cubicBezTo>
                <a:lnTo>
                  <a:pt x="12625" y="5937"/>
                </a:lnTo>
                <a:cubicBezTo>
                  <a:pt x="12594" y="5875"/>
                  <a:pt x="12656" y="5812"/>
                  <a:pt x="12625" y="5750"/>
                </a:cubicBezTo>
                <a:cubicBezTo>
                  <a:pt x="12656" y="5750"/>
                  <a:pt x="12688" y="5718"/>
                  <a:pt x="12688" y="5687"/>
                </a:cubicBezTo>
                <a:lnTo>
                  <a:pt x="12688" y="5687"/>
                </a:lnTo>
                <a:cubicBezTo>
                  <a:pt x="12688" y="5593"/>
                  <a:pt x="12719" y="5531"/>
                  <a:pt x="12719" y="5468"/>
                </a:cubicBezTo>
                <a:close/>
                <a:moveTo>
                  <a:pt x="15344" y="5625"/>
                </a:moveTo>
                <a:cubicBezTo>
                  <a:pt x="15344" y="5625"/>
                  <a:pt x="15344" y="5625"/>
                  <a:pt x="15344" y="5625"/>
                </a:cubicBezTo>
                <a:cubicBezTo>
                  <a:pt x="15281" y="5656"/>
                  <a:pt x="15375" y="5750"/>
                  <a:pt x="15313" y="5781"/>
                </a:cubicBezTo>
                <a:cubicBezTo>
                  <a:pt x="15375" y="5750"/>
                  <a:pt x="15344" y="5687"/>
                  <a:pt x="15344" y="5625"/>
                </a:cubicBezTo>
                <a:cubicBezTo>
                  <a:pt x="15344" y="5625"/>
                  <a:pt x="15375" y="5625"/>
                  <a:pt x="15344" y="5625"/>
                </a:cubicBezTo>
                <a:close/>
                <a:moveTo>
                  <a:pt x="9094" y="11593"/>
                </a:moveTo>
                <a:lnTo>
                  <a:pt x="9094" y="11593"/>
                </a:lnTo>
                <a:lnTo>
                  <a:pt x="9094" y="11562"/>
                </a:lnTo>
                <a:lnTo>
                  <a:pt x="9094" y="11593"/>
                </a:lnTo>
                <a:close/>
                <a:moveTo>
                  <a:pt x="23563" y="17593"/>
                </a:moveTo>
                <a:cubicBezTo>
                  <a:pt x="23594" y="17593"/>
                  <a:pt x="23625" y="17624"/>
                  <a:pt x="23656" y="17593"/>
                </a:cubicBezTo>
                <a:cubicBezTo>
                  <a:pt x="23688" y="17593"/>
                  <a:pt x="23719" y="17562"/>
                  <a:pt x="23688" y="17562"/>
                </a:cubicBezTo>
                <a:cubicBezTo>
                  <a:pt x="23688" y="17531"/>
                  <a:pt x="23656" y="17499"/>
                  <a:pt x="23594" y="17499"/>
                </a:cubicBezTo>
                <a:cubicBezTo>
                  <a:pt x="23594" y="17468"/>
                  <a:pt x="23594" y="17499"/>
                  <a:pt x="23594" y="17531"/>
                </a:cubicBezTo>
                <a:cubicBezTo>
                  <a:pt x="23594" y="17562"/>
                  <a:pt x="23531" y="17562"/>
                  <a:pt x="23500" y="17562"/>
                </a:cubicBezTo>
                <a:cubicBezTo>
                  <a:pt x="23500" y="17562"/>
                  <a:pt x="23469" y="17562"/>
                  <a:pt x="23469" y="17562"/>
                </a:cubicBezTo>
                <a:cubicBezTo>
                  <a:pt x="23469" y="17562"/>
                  <a:pt x="23469" y="17593"/>
                  <a:pt x="23500" y="17562"/>
                </a:cubicBezTo>
                <a:cubicBezTo>
                  <a:pt x="23531" y="17562"/>
                  <a:pt x="23563" y="17593"/>
                  <a:pt x="23563" y="17593"/>
                </a:cubicBezTo>
                <a:close/>
                <a:moveTo>
                  <a:pt x="10750" y="9750"/>
                </a:move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lnTo>
                  <a:pt x="10750" y="9750"/>
                </a:lnTo>
                <a:cubicBezTo>
                  <a:pt x="10750" y="9750"/>
                  <a:pt x="10750" y="9750"/>
                  <a:pt x="10750" y="9750"/>
                </a:cubicBezTo>
                <a:cubicBezTo>
                  <a:pt x="10750" y="9750"/>
                  <a:pt x="10750" y="9750"/>
                  <a:pt x="10750" y="9750"/>
                </a:cubicBezTo>
                <a:close/>
                <a:moveTo>
                  <a:pt x="9250" y="14812"/>
                </a:moveTo>
                <a:cubicBezTo>
                  <a:pt x="9250" y="14812"/>
                  <a:pt x="9250" y="14812"/>
                  <a:pt x="9250" y="14812"/>
                </a:cubicBezTo>
                <a:cubicBezTo>
                  <a:pt x="9438" y="14843"/>
                  <a:pt x="9594" y="14906"/>
                  <a:pt x="9781" y="14906"/>
                </a:cubicBezTo>
                <a:cubicBezTo>
                  <a:pt x="9781" y="14906"/>
                  <a:pt x="9813" y="14937"/>
                  <a:pt x="9813" y="14937"/>
                </a:cubicBezTo>
                <a:cubicBezTo>
                  <a:pt x="9844" y="14937"/>
                  <a:pt x="9844" y="14937"/>
                  <a:pt x="9844" y="14937"/>
                </a:cubicBezTo>
                <a:cubicBezTo>
                  <a:pt x="9938" y="14937"/>
                  <a:pt x="10000" y="14968"/>
                  <a:pt x="10094" y="14999"/>
                </a:cubicBezTo>
                <a:cubicBezTo>
                  <a:pt x="10031" y="14937"/>
                  <a:pt x="9938" y="14906"/>
                  <a:pt x="9906" y="14843"/>
                </a:cubicBezTo>
                <a:cubicBezTo>
                  <a:pt x="9875" y="14812"/>
                  <a:pt x="9844" y="14812"/>
                  <a:pt x="9813" y="14843"/>
                </a:cubicBezTo>
                <a:cubicBezTo>
                  <a:pt x="9750" y="14812"/>
                  <a:pt x="9719" y="14874"/>
                  <a:pt x="9688" y="14874"/>
                </a:cubicBezTo>
                <a:cubicBezTo>
                  <a:pt x="9656" y="14874"/>
                  <a:pt x="9594" y="14874"/>
                  <a:pt x="9563" y="14843"/>
                </a:cubicBezTo>
                <a:cubicBezTo>
                  <a:pt x="9594" y="14843"/>
                  <a:pt x="9625" y="14812"/>
                  <a:pt x="9656" y="14812"/>
                </a:cubicBezTo>
                <a:cubicBezTo>
                  <a:pt x="9656" y="14812"/>
                  <a:pt x="9656" y="14812"/>
                  <a:pt x="9656" y="14781"/>
                </a:cubicBezTo>
                <a:cubicBezTo>
                  <a:pt x="9719" y="14781"/>
                  <a:pt x="9750" y="14781"/>
                  <a:pt x="9781" y="14781"/>
                </a:cubicBezTo>
                <a:cubicBezTo>
                  <a:pt x="9625" y="14562"/>
                  <a:pt x="9531" y="14562"/>
                  <a:pt x="9313" y="14687"/>
                </a:cubicBezTo>
                <a:cubicBezTo>
                  <a:pt x="9344" y="14749"/>
                  <a:pt x="9438" y="14749"/>
                  <a:pt x="9500" y="14812"/>
                </a:cubicBezTo>
                <a:cubicBezTo>
                  <a:pt x="9406" y="14843"/>
                  <a:pt x="9375" y="14749"/>
                  <a:pt x="9313" y="14781"/>
                </a:cubicBezTo>
                <a:cubicBezTo>
                  <a:pt x="9281" y="14718"/>
                  <a:pt x="9250" y="14656"/>
                  <a:pt x="9219" y="14687"/>
                </a:cubicBezTo>
                <a:cubicBezTo>
                  <a:pt x="9125" y="14749"/>
                  <a:pt x="9031" y="14718"/>
                  <a:pt x="8969" y="14781"/>
                </a:cubicBezTo>
                <a:cubicBezTo>
                  <a:pt x="9031" y="14781"/>
                  <a:pt x="9125" y="14781"/>
                  <a:pt x="9188" y="14781"/>
                </a:cubicBezTo>
                <a:cubicBezTo>
                  <a:pt x="9188" y="14812"/>
                  <a:pt x="9219" y="14812"/>
                  <a:pt x="9250" y="14812"/>
                </a:cubicBezTo>
                <a:close/>
                <a:moveTo>
                  <a:pt x="21656" y="17968"/>
                </a:moveTo>
                <a:lnTo>
                  <a:pt x="21656" y="17967"/>
                </a:lnTo>
                <a:lnTo>
                  <a:pt x="21656" y="17965"/>
                </a:lnTo>
                <a:lnTo>
                  <a:pt x="21656" y="17964"/>
                </a:lnTo>
                <a:lnTo>
                  <a:pt x="21656" y="17963"/>
                </a:lnTo>
                <a:lnTo>
                  <a:pt x="21656" y="17961"/>
                </a:lnTo>
                <a:lnTo>
                  <a:pt x="21656" y="17960"/>
                </a:lnTo>
                <a:lnTo>
                  <a:pt x="21656" y="17959"/>
                </a:lnTo>
                <a:lnTo>
                  <a:pt x="21656" y="17958"/>
                </a:lnTo>
                <a:lnTo>
                  <a:pt x="21656" y="17906"/>
                </a:lnTo>
                <a:cubicBezTo>
                  <a:pt x="21625" y="17937"/>
                  <a:pt x="21656" y="17937"/>
                  <a:pt x="21656" y="17968"/>
                </a:cubicBezTo>
                <a:cubicBezTo>
                  <a:pt x="21656" y="17968"/>
                  <a:pt x="21688" y="17968"/>
                  <a:pt x="21688" y="17968"/>
                </a:cubicBezTo>
                <a:lnTo>
                  <a:pt x="21688" y="17968"/>
                </a:lnTo>
                <a:cubicBezTo>
                  <a:pt x="21688" y="17968"/>
                  <a:pt x="21688" y="17968"/>
                  <a:pt x="21656" y="17968"/>
                </a:cubicBezTo>
                <a:close/>
                <a:moveTo>
                  <a:pt x="21656" y="17906"/>
                </a:moveTo>
                <a:cubicBezTo>
                  <a:pt x="21688" y="17874"/>
                  <a:pt x="21688" y="17874"/>
                  <a:pt x="21719" y="17906"/>
                </a:cubicBezTo>
                <a:lnTo>
                  <a:pt x="21719" y="17906"/>
                </a:lnTo>
                <a:cubicBezTo>
                  <a:pt x="21719" y="17906"/>
                  <a:pt x="21688" y="17906"/>
                  <a:pt x="21656" y="17906"/>
                </a:cubicBezTo>
                <a:close/>
                <a:moveTo>
                  <a:pt x="23969" y="18124"/>
                </a:moveTo>
                <a:cubicBezTo>
                  <a:pt x="23969" y="18124"/>
                  <a:pt x="23969" y="18124"/>
                  <a:pt x="23969" y="18093"/>
                </a:cubicBezTo>
                <a:cubicBezTo>
                  <a:pt x="23938" y="18093"/>
                  <a:pt x="23938" y="18093"/>
                  <a:pt x="23938" y="18093"/>
                </a:cubicBezTo>
                <a:cubicBezTo>
                  <a:pt x="23938" y="18093"/>
                  <a:pt x="23938" y="18124"/>
                  <a:pt x="23938" y="18124"/>
                </a:cubicBezTo>
                <a:cubicBezTo>
                  <a:pt x="23938" y="18124"/>
                  <a:pt x="23938" y="18124"/>
                  <a:pt x="23969" y="18124"/>
                </a:cubicBezTo>
                <a:close/>
                <a:moveTo>
                  <a:pt x="16250" y="7937"/>
                </a:moveTo>
                <a:cubicBezTo>
                  <a:pt x="16250" y="7937"/>
                  <a:pt x="16250" y="7937"/>
                  <a:pt x="16219" y="7937"/>
                </a:cubicBezTo>
                <a:cubicBezTo>
                  <a:pt x="16219" y="7937"/>
                  <a:pt x="16219" y="7937"/>
                  <a:pt x="16219" y="7937"/>
                </a:cubicBezTo>
                <a:cubicBezTo>
                  <a:pt x="16219" y="7937"/>
                  <a:pt x="16219" y="7968"/>
                  <a:pt x="16219" y="7968"/>
                </a:cubicBezTo>
                <a:cubicBezTo>
                  <a:pt x="16219" y="7968"/>
                  <a:pt x="16250" y="7968"/>
                  <a:pt x="16250" y="7937"/>
                </a:cubicBezTo>
                <a:close/>
                <a:moveTo>
                  <a:pt x="16469" y="15968"/>
                </a:moveTo>
                <a:cubicBezTo>
                  <a:pt x="16469" y="15968"/>
                  <a:pt x="16500" y="15968"/>
                  <a:pt x="16469" y="15968"/>
                </a:cubicBezTo>
                <a:cubicBezTo>
                  <a:pt x="16469" y="15968"/>
                  <a:pt x="16469" y="15937"/>
                  <a:pt x="16438" y="15968"/>
                </a:cubicBezTo>
                <a:cubicBezTo>
                  <a:pt x="16469" y="15906"/>
                  <a:pt x="16375" y="15906"/>
                  <a:pt x="16375" y="15874"/>
                </a:cubicBezTo>
                <a:cubicBezTo>
                  <a:pt x="16469" y="15906"/>
                  <a:pt x="16531" y="15937"/>
                  <a:pt x="16625" y="15999"/>
                </a:cubicBezTo>
                <a:cubicBezTo>
                  <a:pt x="16594" y="15874"/>
                  <a:pt x="16531" y="15749"/>
                  <a:pt x="16469" y="15656"/>
                </a:cubicBezTo>
                <a:lnTo>
                  <a:pt x="16469" y="15656"/>
                </a:lnTo>
                <a:cubicBezTo>
                  <a:pt x="16438" y="15562"/>
                  <a:pt x="16406" y="15531"/>
                  <a:pt x="16344" y="15593"/>
                </a:cubicBezTo>
                <a:cubicBezTo>
                  <a:pt x="16313" y="15656"/>
                  <a:pt x="16250" y="15656"/>
                  <a:pt x="16188" y="15687"/>
                </a:cubicBezTo>
                <a:cubicBezTo>
                  <a:pt x="16219" y="15749"/>
                  <a:pt x="16281" y="15749"/>
                  <a:pt x="16313" y="15781"/>
                </a:cubicBezTo>
                <a:cubicBezTo>
                  <a:pt x="16313" y="15812"/>
                  <a:pt x="16406" y="15781"/>
                  <a:pt x="16375" y="15874"/>
                </a:cubicBezTo>
                <a:cubicBezTo>
                  <a:pt x="16344" y="15874"/>
                  <a:pt x="16344" y="15843"/>
                  <a:pt x="16313" y="15843"/>
                </a:cubicBezTo>
                <a:cubicBezTo>
                  <a:pt x="16250" y="15812"/>
                  <a:pt x="16219" y="15718"/>
                  <a:pt x="16125" y="15749"/>
                </a:cubicBezTo>
                <a:lnTo>
                  <a:pt x="16125" y="15749"/>
                </a:lnTo>
                <a:cubicBezTo>
                  <a:pt x="16063" y="15781"/>
                  <a:pt x="16000" y="15781"/>
                  <a:pt x="15938" y="15874"/>
                </a:cubicBezTo>
                <a:cubicBezTo>
                  <a:pt x="16000" y="15843"/>
                  <a:pt x="16063" y="15906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25" y="15874"/>
                  <a:pt x="16125" y="15874"/>
                  <a:pt x="16125" y="15874"/>
                </a:cubicBezTo>
                <a:cubicBezTo>
                  <a:pt x="16188" y="15906"/>
                  <a:pt x="16219" y="15937"/>
                  <a:pt x="16250" y="15906"/>
                </a:cubicBezTo>
                <a:cubicBezTo>
                  <a:pt x="16313" y="15937"/>
                  <a:pt x="16375" y="15937"/>
                  <a:pt x="16438" y="15968"/>
                </a:cubicBezTo>
                <a:cubicBezTo>
                  <a:pt x="16438" y="15999"/>
                  <a:pt x="16469" y="15968"/>
                  <a:pt x="16469" y="15968"/>
                </a:cubicBezTo>
                <a:close/>
                <a:moveTo>
                  <a:pt x="21656" y="17906"/>
                </a:moveTo>
                <a:cubicBezTo>
                  <a:pt x="21656" y="17906"/>
                  <a:pt x="21656" y="17906"/>
                  <a:pt x="21656" y="17906"/>
                </a:cubicBezTo>
                <a:cubicBezTo>
                  <a:pt x="21656" y="17906"/>
                  <a:pt x="21656" y="17906"/>
                  <a:pt x="21656" y="17906"/>
                </a:cubicBezTo>
                <a:close/>
                <a:moveTo>
                  <a:pt x="22188" y="17124"/>
                </a:moveTo>
                <a:cubicBezTo>
                  <a:pt x="22250" y="17124"/>
                  <a:pt x="22250" y="17093"/>
                  <a:pt x="22188" y="17062"/>
                </a:cubicBezTo>
                <a:cubicBezTo>
                  <a:pt x="22156" y="16999"/>
                  <a:pt x="22219" y="16937"/>
                  <a:pt x="22188" y="16874"/>
                </a:cubicBezTo>
                <a:cubicBezTo>
                  <a:pt x="22156" y="16968"/>
                  <a:pt x="22094" y="16999"/>
                  <a:pt x="22094" y="17062"/>
                </a:cubicBezTo>
                <a:cubicBezTo>
                  <a:pt x="22125" y="17062"/>
                  <a:pt x="22156" y="17093"/>
                  <a:pt x="22156" y="17093"/>
                </a:cubicBezTo>
                <a:cubicBezTo>
                  <a:pt x="22188" y="17093"/>
                  <a:pt x="22188" y="17124"/>
                  <a:pt x="22188" y="17124"/>
                </a:cubicBezTo>
                <a:cubicBezTo>
                  <a:pt x="22156" y="17124"/>
                  <a:pt x="22125" y="17124"/>
                  <a:pt x="22094" y="17062"/>
                </a:cubicBezTo>
                <a:cubicBezTo>
                  <a:pt x="22063" y="17093"/>
                  <a:pt x="22031" y="17156"/>
                  <a:pt x="22000" y="17218"/>
                </a:cubicBezTo>
                <a:lnTo>
                  <a:pt x="22000" y="17218"/>
                </a:lnTo>
                <a:cubicBezTo>
                  <a:pt x="22031" y="17218"/>
                  <a:pt x="22063" y="17249"/>
                  <a:pt x="22125" y="17218"/>
                </a:cubicBezTo>
                <a:cubicBezTo>
                  <a:pt x="22156" y="17218"/>
                  <a:pt x="22219" y="17281"/>
                  <a:pt x="22250" y="17249"/>
                </a:cubicBezTo>
                <a:cubicBezTo>
                  <a:pt x="22281" y="17218"/>
                  <a:pt x="22188" y="17187"/>
                  <a:pt x="22188" y="17124"/>
                </a:cubicBezTo>
                <a:close/>
                <a:moveTo>
                  <a:pt x="22375" y="17468"/>
                </a:moveTo>
                <a:cubicBezTo>
                  <a:pt x="22406" y="17531"/>
                  <a:pt x="22438" y="17562"/>
                  <a:pt x="22500" y="17593"/>
                </a:cubicBezTo>
                <a:cubicBezTo>
                  <a:pt x="22500" y="17624"/>
                  <a:pt x="22531" y="17624"/>
                  <a:pt x="22531" y="17593"/>
                </a:cubicBezTo>
                <a:cubicBezTo>
                  <a:pt x="22563" y="17593"/>
                  <a:pt x="22563" y="17562"/>
                  <a:pt x="22531" y="17531"/>
                </a:cubicBezTo>
                <a:cubicBezTo>
                  <a:pt x="22500" y="17499"/>
                  <a:pt x="22469" y="17468"/>
                  <a:pt x="22406" y="17468"/>
                </a:cubicBezTo>
                <a:cubicBezTo>
                  <a:pt x="22406" y="17437"/>
                  <a:pt x="22438" y="17406"/>
                  <a:pt x="22406" y="17374"/>
                </a:cubicBezTo>
                <a:cubicBezTo>
                  <a:pt x="22313" y="17374"/>
                  <a:pt x="22219" y="17312"/>
                  <a:pt x="22125" y="17374"/>
                </a:cubicBezTo>
                <a:cubicBezTo>
                  <a:pt x="22156" y="17406"/>
                  <a:pt x="22156" y="17437"/>
                  <a:pt x="22250" y="17406"/>
                </a:cubicBezTo>
                <a:cubicBezTo>
                  <a:pt x="22281" y="17374"/>
                  <a:pt x="22344" y="17343"/>
                  <a:pt x="22375" y="17437"/>
                </a:cubicBezTo>
                <a:cubicBezTo>
                  <a:pt x="22344" y="17437"/>
                  <a:pt x="22344" y="17437"/>
                  <a:pt x="22313" y="17437"/>
                </a:cubicBezTo>
                <a:cubicBezTo>
                  <a:pt x="22313" y="17468"/>
                  <a:pt x="22344" y="17468"/>
                  <a:pt x="22375" y="17468"/>
                </a:cubicBezTo>
                <a:close/>
                <a:moveTo>
                  <a:pt x="9906" y="10468"/>
                </a:moveTo>
                <a:cubicBezTo>
                  <a:pt x="9844" y="10468"/>
                  <a:pt x="9813" y="10468"/>
                  <a:pt x="9781" y="10468"/>
                </a:cubicBezTo>
                <a:cubicBezTo>
                  <a:pt x="9813" y="10499"/>
                  <a:pt x="9844" y="10499"/>
                  <a:pt x="9906" y="10468"/>
                </a:cubicBezTo>
                <a:close/>
                <a:moveTo>
                  <a:pt x="22813" y="17312"/>
                </a:moveTo>
                <a:cubicBezTo>
                  <a:pt x="22844" y="17312"/>
                  <a:pt x="22844" y="17312"/>
                  <a:pt x="22875" y="17312"/>
                </a:cubicBezTo>
                <a:cubicBezTo>
                  <a:pt x="22875" y="17343"/>
                  <a:pt x="22906" y="17374"/>
                  <a:pt x="22906" y="17374"/>
                </a:cubicBezTo>
                <a:cubicBezTo>
                  <a:pt x="22844" y="17406"/>
                  <a:pt x="22813" y="17374"/>
                  <a:pt x="22813" y="17312"/>
                </a:cubicBezTo>
                <a:cubicBezTo>
                  <a:pt x="22813" y="17312"/>
                  <a:pt x="22813" y="17312"/>
                  <a:pt x="22813" y="17312"/>
                </a:cubicBezTo>
                <a:close/>
                <a:moveTo>
                  <a:pt x="22844" y="17249"/>
                </a:move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lnTo>
                  <a:pt x="22844" y="17249"/>
                </a:lnTo>
                <a:cubicBezTo>
                  <a:pt x="22844" y="17249"/>
                  <a:pt x="22844" y="17249"/>
                  <a:pt x="22844" y="17249"/>
                </a:cubicBezTo>
                <a:cubicBezTo>
                  <a:pt x="22844" y="17249"/>
                  <a:pt x="22844" y="17249"/>
                  <a:pt x="22844" y="17249"/>
                </a:cubicBezTo>
                <a:close/>
                <a:moveTo>
                  <a:pt x="5375" y="13687"/>
                </a:moveTo>
                <a:cubicBezTo>
                  <a:pt x="5344" y="13687"/>
                  <a:pt x="5313" y="13718"/>
                  <a:pt x="5313" y="13749"/>
                </a:cubicBezTo>
                <a:cubicBezTo>
                  <a:pt x="5344" y="13749"/>
                  <a:pt x="5375" y="13718"/>
                  <a:pt x="5375" y="13687"/>
                </a:cubicBezTo>
                <a:close/>
                <a:moveTo>
                  <a:pt x="8094" y="13749"/>
                </a:moveTo>
                <a:cubicBezTo>
                  <a:pt x="8125" y="13718"/>
                  <a:pt x="8156" y="13656"/>
                  <a:pt x="8125" y="13624"/>
                </a:cubicBezTo>
                <a:cubicBezTo>
                  <a:pt x="8125" y="13624"/>
                  <a:pt x="8156" y="13624"/>
                  <a:pt x="8156" y="13593"/>
                </a:cubicBezTo>
                <a:cubicBezTo>
                  <a:pt x="8188" y="13406"/>
                  <a:pt x="8250" y="13218"/>
                  <a:pt x="8281" y="13031"/>
                </a:cubicBezTo>
                <a:cubicBezTo>
                  <a:pt x="8313" y="12999"/>
                  <a:pt x="8313" y="12968"/>
                  <a:pt x="8281" y="12968"/>
                </a:cubicBezTo>
                <a:lnTo>
                  <a:pt x="8281" y="12968"/>
                </a:lnTo>
                <a:cubicBezTo>
                  <a:pt x="8250" y="12968"/>
                  <a:pt x="8250" y="12999"/>
                  <a:pt x="8250" y="12999"/>
                </a:cubicBezTo>
                <a:cubicBezTo>
                  <a:pt x="8188" y="13218"/>
                  <a:pt x="8156" y="13406"/>
                  <a:pt x="8125" y="13624"/>
                </a:cubicBezTo>
                <a:cubicBezTo>
                  <a:pt x="8094" y="13656"/>
                  <a:pt x="8094" y="13687"/>
                  <a:pt x="8094" y="13749"/>
                </a:cubicBezTo>
                <a:close/>
                <a:moveTo>
                  <a:pt x="6219" y="13281"/>
                </a:moveTo>
                <a:cubicBezTo>
                  <a:pt x="6156" y="13249"/>
                  <a:pt x="6156" y="13281"/>
                  <a:pt x="6125" y="13312"/>
                </a:cubicBezTo>
                <a:cubicBezTo>
                  <a:pt x="6188" y="13312"/>
                  <a:pt x="6188" y="13312"/>
                  <a:pt x="6219" y="13281"/>
                </a:cubicBezTo>
                <a:close/>
                <a:moveTo>
                  <a:pt x="6344" y="13218"/>
                </a:moveTo>
                <a:cubicBezTo>
                  <a:pt x="6281" y="13187"/>
                  <a:pt x="6281" y="13218"/>
                  <a:pt x="6250" y="13249"/>
                </a:cubicBezTo>
                <a:cubicBezTo>
                  <a:pt x="6281" y="13249"/>
                  <a:pt x="6313" y="13249"/>
                  <a:pt x="6344" y="13218"/>
                </a:cubicBezTo>
                <a:close/>
                <a:moveTo>
                  <a:pt x="5250" y="13749"/>
                </a:moveTo>
                <a:cubicBezTo>
                  <a:pt x="5219" y="13749"/>
                  <a:pt x="5188" y="13781"/>
                  <a:pt x="5188" y="13812"/>
                </a:cubicBezTo>
                <a:cubicBezTo>
                  <a:pt x="5219" y="13812"/>
                  <a:pt x="5250" y="13781"/>
                  <a:pt x="5250" y="13749"/>
                </a:cubicBezTo>
                <a:close/>
                <a:moveTo>
                  <a:pt x="11969" y="7843"/>
                </a:moveTo>
                <a:cubicBezTo>
                  <a:pt x="11969" y="7843"/>
                  <a:pt x="11969" y="7843"/>
                  <a:pt x="11969" y="7843"/>
                </a:cubicBezTo>
                <a:cubicBezTo>
                  <a:pt x="11938" y="7843"/>
                  <a:pt x="11938" y="7843"/>
                  <a:pt x="11938" y="7875"/>
                </a:cubicBezTo>
                <a:cubicBezTo>
                  <a:pt x="11906" y="7875"/>
                  <a:pt x="11938" y="7875"/>
                  <a:pt x="11938" y="7875"/>
                </a:cubicBezTo>
                <a:cubicBezTo>
                  <a:pt x="11969" y="7875"/>
                  <a:pt x="11969" y="7875"/>
                  <a:pt x="11969" y="7843"/>
                </a:cubicBezTo>
                <a:close/>
                <a:moveTo>
                  <a:pt x="6781" y="12906"/>
                </a:move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lnTo>
                  <a:pt x="6781" y="12906"/>
                </a:lnTo>
                <a:cubicBezTo>
                  <a:pt x="6781" y="12906"/>
                  <a:pt x="6781" y="12906"/>
                  <a:pt x="6781" y="12906"/>
                </a:cubicBezTo>
                <a:cubicBezTo>
                  <a:pt x="6781" y="12906"/>
                  <a:pt x="6781" y="12906"/>
                  <a:pt x="6781" y="12906"/>
                </a:cubicBezTo>
                <a:close/>
                <a:moveTo>
                  <a:pt x="6094" y="13312"/>
                </a:moveTo>
                <a:cubicBezTo>
                  <a:pt x="6063" y="13312"/>
                  <a:pt x="6031" y="13343"/>
                  <a:pt x="6000" y="13374"/>
                </a:cubicBezTo>
                <a:cubicBezTo>
                  <a:pt x="6063" y="13374"/>
                  <a:pt x="6063" y="13343"/>
                  <a:pt x="6094" y="13312"/>
                </a:cubicBezTo>
                <a:close/>
                <a:moveTo>
                  <a:pt x="23406" y="17406"/>
                </a:moveTo>
                <a:cubicBezTo>
                  <a:pt x="23406" y="17437"/>
                  <a:pt x="23406" y="17437"/>
                  <a:pt x="23438" y="17437"/>
                </a:cubicBezTo>
                <a:cubicBezTo>
                  <a:pt x="23438" y="17437"/>
                  <a:pt x="23469" y="17437"/>
                  <a:pt x="23469" y="17406"/>
                </a:cubicBezTo>
                <a:cubicBezTo>
                  <a:pt x="23438" y="17406"/>
                  <a:pt x="23438" y="17374"/>
                  <a:pt x="23438" y="17374"/>
                </a:cubicBezTo>
                <a:cubicBezTo>
                  <a:pt x="23406" y="17374"/>
                  <a:pt x="23406" y="17406"/>
                  <a:pt x="23406" y="17406"/>
                </a:cubicBezTo>
                <a:close/>
                <a:moveTo>
                  <a:pt x="9313" y="14218"/>
                </a:moveTo>
                <a:cubicBezTo>
                  <a:pt x="9313" y="14218"/>
                  <a:pt x="9313" y="14218"/>
                  <a:pt x="9313" y="14218"/>
                </a:cubicBezTo>
                <a:cubicBezTo>
                  <a:pt x="9281" y="14187"/>
                  <a:pt x="9219" y="14218"/>
                  <a:pt x="9219" y="14156"/>
                </a:cubicBezTo>
                <a:cubicBezTo>
                  <a:pt x="9219" y="14124"/>
                  <a:pt x="9219" y="14124"/>
                  <a:pt x="9219" y="14124"/>
                </a:cubicBezTo>
                <a:cubicBezTo>
                  <a:pt x="9250" y="14093"/>
                  <a:pt x="9250" y="14062"/>
                  <a:pt x="9250" y="14031"/>
                </a:cubicBezTo>
                <a:cubicBezTo>
                  <a:pt x="9250" y="13999"/>
                  <a:pt x="9250" y="13937"/>
                  <a:pt x="9250" y="13874"/>
                </a:cubicBezTo>
                <a:cubicBezTo>
                  <a:pt x="9250" y="13874"/>
                  <a:pt x="9250" y="13874"/>
                  <a:pt x="9250" y="13874"/>
                </a:cubicBezTo>
                <a:cubicBezTo>
                  <a:pt x="9281" y="13843"/>
                  <a:pt x="9281" y="13812"/>
                  <a:pt x="9250" y="13781"/>
                </a:cubicBezTo>
                <a:cubicBezTo>
                  <a:pt x="9250" y="13749"/>
                  <a:pt x="9250" y="13749"/>
                  <a:pt x="9219" y="13749"/>
                </a:cubicBezTo>
                <a:cubicBezTo>
                  <a:pt x="9094" y="13812"/>
                  <a:pt x="8938" y="13812"/>
                  <a:pt x="8813" y="13874"/>
                </a:cubicBezTo>
                <a:cubicBezTo>
                  <a:pt x="8906" y="13968"/>
                  <a:pt x="9031" y="14062"/>
                  <a:pt x="9125" y="14156"/>
                </a:cubicBezTo>
                <a:cubicBezTo>
                  <a:pt x="9125" y="14187"/>
                  <a:pt x="9156" y="14187"/>
                  <a:pt x="9188" y="14187"/>
                </a:cubicBezTo>
                <a:cubicBezTo>
                  <a:pt x="9188" y="14187"/>
                  <a:pt x="9188" y="14187"/>
                  <a:pt x="9188" y="14187"/>
                </a:cubicBezTo>
                <a:cubicBezTo>
                  <a:pt x="9219" y="14249"/>
                  <a:pt x="9250" y="14218"/>
                  <a:pt x="9313" y="14249"/>
                </a:cubicBezTo>
                <a:cubicBezTo>
                  <a:pt x="9344" y="14249"/>
                  <a:pt x="9375" y="14281"/>
                  <a:pt x="9438" y="14218"/>
                </a:cubicBezTo>
                <a:cubicBezTo>
                  <a:pt x="9500" y="14218"/>
                  <a:pt x="9563" y="14187"/>
                  <a:pt x="9625" y="14187"/>
                </a:cubicBezTo>
                <a:cubicBezTo>
                  <a:pt x="9656" y="14156"/>
                  <a:pt x="9688" y="14187"/>
                  <a:pt x="9719" y="14124"/>
                </a:cubicBezTo>
                <a:cubicBezTo>
                  <a:pt x="9719" y="14124"/>
                  <a:pt x="9750" y="14124"/>
                  <a:pt x="9750" y="14124"/>
                </a:cubicBezTo>
                <a:cubicBezTo>
                  <a:pt x="9813" y="14093"/>
                  <a:pt x="9813" y="14093"/>
                  <a:pt x="9750" y="14062"/>
                </a:cubicBezTo>
                <a:cubicBezTo>
                  <a:pt x="9688" y="13999"/>
                  <a:pt x="9594" y="13906"/>
                  <a:pt x="9500" y="13843"/>
                </a:cubicBezTo>
                <a:cubicBezTo>
                  <a:pt x="9469" y="13843"/>
                  <a:pt x="9469" y="13781"/>
                  <a:pt x="9438" y="13812"/>
                </a:cubicBezTo>
                <a:cubicBezTo>
                  <a:pt x="9406" y="13812"/>
                  <a:pt x="9438" y="13874"/>
                  <a:pt x="9406" y="13906"/>
                </a:cubicBezTo>
                <a:cubicBezTo>
                  <a:pt x="9375" y="13937"/>
                  <a:pt x="9406" y="13968"/>
                  <a:pt x="9406" y="13999"/>
                </a:cubicBezTo>
                <a:cubicBezTo>
                  <a:pt x="9406" y="14031"/>
                  <a:pt x="9406" y="14031"/>
                  <a:pt x="9406" y="14031"/>
                </a:cubicBezTo>
                <a:cubicBezTo>
                  <a:pt x="9375" y="14031"/>
                  <a:pt x="9375" y="14031"/>
                  <a:pt x="9406" y="14062"/>
                </a:cubicBezTo>
                <a:cubicBezTo>
                  <a:pt x="9375" y="14093"/>
                  <a:pt x="9375" y="14124"/>
                  <a:pt x="9375" y="14156"/>
                </a:cubicBezTo>
                <a:cubicBezTo>
                  <a:pt x="9344" y="14156"/>
                  <a:pt x="9375" y="14249"/>
                  <a:pt x="9313" y="14218"/>
                </a:cubicBezTo>
                <a:close/>
                <a:moveTo>
                  <a:pt x="12094" y="8125"/>
                </a:moveTo>
                <a:cubicBezTo>
                  <a:pt x="12094" y="8125"/>
                  <a:pt x="12094" y="8125"/>
                  <a:pt x="12094" y="8125"/>
                </a:cubicBezTo>
                <a:cubicBezTo>
                  <a:pt x="12094" y="8125"/>
                  <a:pt x="12094" y="8125"/>
                  <a:pt x="12094" y="8125"/>
                </a:cubicBezTo>
                <a:lnTo>
                  <a:pt x="12094" y="8125"/>
                </a:lnTo>
                <a:cubicBezTo>
                  <a:pt x="12094" y="8125"/>
                  <a:pt x="12094" y="8125"/>
                  <a:pt x="12094" y="8125"/>
                </a:cubicBezTo>
                <a:close/>
                <a:moveTo>
                  <a:pt x="17094" y="9968"/>
                </a:moveTo>
                <a:cubicBezTo>
                  <a:pt x="17125" y="10000"/>
                  <a:pt x="17156" y="10000"/>
                  <a:pt x="17219" y="10031"/>
                </a:cubicBezTo>
                <a:cubicBezTo>
                  <a:pt x="17188" y="10000"/>
                  <a:pt x="17156" y="9875"/>
                  <a:pt x="17094" y="9968"/>
                </a:cubicBezTo>
                <a:close/>
                <a:moveTo>
                  <a:pt x="14938" y="4500"/>
                </a:moveTo>
                <a:cubicBezTo>
                  <a:pt x="14906" y="4531"/>
                  <a:pt x="14938" y="4562"/>
                  <a:pt x="14938" y="4593"/>
                </a:cubicBezTo>
                <a:cubicBezTo>
                  <a:pt x="14969" y="4562"/>
                  <a:pt x="15000" y="4531"/>
                  <a:pt x="14969" y="4500"/>
                </a:cubicBezTo>
                <a:cubicBezTo>
                  <a:pt x="14969" y="4500"/>
                  <a:pt x="14938" y="4500"/>
                  <a:pt x="14938" y="4500"/>
                </a:cubicBezTo>
                <a:close/>
                <a:moveTo>
                  <a:pt x="8531" y="17468"/>
                </a:moveTo>
                <a:cubicBezTo>
                  <a:pt x="8531" y="17468"/>
                  <a:pt x="8531" y="17499"/>
                  <a:pt x="8563" y="17531"/>
                </a:cubicBezTo>
                <a:cubicBezTo>
                  <a:pt x="8563" y="17531"/>
                  <a:pt x="8594" y="17531"/>
                  <a:pt x="8594" y="17499"/>
                </a:cubicBezTo>
                <a:cubicBezTo>
                  <a:pt x="8625" y="17468"/>
                  <a:pt x="8563" y="17468"/>
                  <a:pt x="8563" y="17437"/>
                </a:cubicBezTo>
                <a:cubicBezTo>
                  <a:pt x="8625" y="17406"/>
                  <a:pt x="8688" y="17468"/>
                  <a:pt x="8750" y="17437"/>
                </a:cubicBezTo>
                <a:lnTo>
                  <a:pt x="8750" y="17437"/>
                </a:lnTo>
                <a:cubicBezTo>
                  <a:pt x="8750" y="17437"/>
                  <a:pt x="8781" y="17468"/>
                  <a:pt x="8781" y="17468"/>
                </a:cubicBezTo>
                <a:cubicBezTo>
                  <a:pt x="8844" y="17468"/>
                  <a:pt x="8906" y="17468"/>
                  <a:pt x="8938" y="17406"/>
                </a:cubicBezTo>
                <a:cubicBezTo>
                  <a:pt x="8938" y="17374"/>
                  <a:pt x="8875" y="17312"/>
                  <a:pt x="8844" y="17312"/>
                </a:cubicBezTo>
                <a:cubicBezTo>
                  <a:pt x="8844" y="17312"/>
                  <a:pt x="8844" y="17312"/>
                  <a:pt x="8813" y="17312"/>
                </a:cubicBezTo>
                <a:cubicBezTo>
                  <a:pt x="8750" y="17249"/>
                  <a:pt x="8719" y="17281"/>
                  <a:pt x="8688" y="17343"/>
                </a:cubicBezTo>
                <a:cubicBezTo>
                  <a:pt x="8656" y="17343"/>
                  <a:pt x="8563" y="17343"/>
                  <a:pt x="8563" y="17437"/>
                </a:cubicBezTo>
                <a:cubicBezTo>
                  <a:pt x="8563" y="17437"/>
                  <a:pt x="8531" y="17406"/>
                  <a:pt x="8531" y="17468"/>
                </a:cubicBezTo>
                <a:close/>
                <a:moveTo>
                  <a:pt x="12563" y="8312"/>
                </a:moveTo>
                <a:cubicBezTo>
                  <a:pt x="12563" y="8281"/>
                  <a:pt x="12531" y="8250"/>
                  <a:pt x="12500" y="8250"/>
                </a:cubicBezTo>
                <a:cubicBezTo>
                  <a:pt x="12469" y="8250"/>
                  <a:pt x="12438" y="8250"/>
                  <a:pt x="12438" y="8312"/>
                </a:cubicBezTo>
                <a:cubicBezTo>
                  <a:pt x="12438" y="8343"/>
                  <a:pt x="12469" y="8375"/>
                  <a:pt x="12531" y="8375"/>
                </a:cubicBezTo>
                <a:cubicBezTo>
                  <a:pt x="12406" y="8375"/>
                  <a:pt x="12344" y="8343"/>
                  <a:pt x="12250" y="8312"/>
                </a:cubicBezTo>
                <a:lnTo>
                  <a:pt x="12250" y="8312"/>
                </a:lnTo>
                <a:cubicBezTo>
                  <a:pt x="12313" y="8250"/>
                  <a:pt x="12375" y="8281"/>
                  <a:pt x="12438" y="8312"/>
                </a:cubicBezTo>
                <a:cubicBezTo>
                  <a:pt x="12469" y="8312"/>
                  <a:pt x="12500" y="8343"/>
                  <a:pt x="12531" y="8343"/>
                </a:cubicBezTo>
                <a:cubicBezTo>
                  <a:pt x="12531" y="8343"/>
                  <a:pt x="12594" y="8343"/>
                  <a:pt x="12563" y="8312"/>
                </a:cubicBezTo>
                <a:close/>
                <a:moveTo>
                  <a:pt x="11969" y="8187"/>
                </a:moveTo>
                <a:cubicBezTo>
                  <a:pt x="11969" y="8156"/>
                  <a:pt x="11938" y="8125"/>
                  <a:pt x="11875" y="8093"/>
                </a:cubicBezTo>
                <a:cubicBezTo>
                  <a:pt x="11875" y="8093"/>
                  <a:pt x="11844" y="8125"/>
                  <a:pt x="11844" y="8156"/>
                </a:cubicBezTo>
                <a:cubicBezTo>
                  <a:pt x="11875" y="8187"/>
                  <a:pt x="11906" y="8187"/>
                  <a:pt x="11969" y="8187"/>
                </a:cubicBezTo>
                <a:close/>
                <a:moveTo>
                  <a:pt x="24406" y="17999"/>
                </a:moveTo>
                <a:cubicBezTo>
                  <a:pt x="24375" y="17937"/>
                  <a:pt x="24344" y="17999"/>
                  <a:pt x="24281" y="17999"/>
                </a:cubicBezTo>
                <a:cubicBezTo>
                  <a:pt x="24313" y="18031"/>
                  <a:pt x="24344" y="18062"/>
                  <a:pt x="24406" y="18031"/>
                </a:cubicBezTo>
                <a:cubicBezTo>
                  <a:pt x="24406" y="18031"/>
                  <a:pt x="24406" y="17999"/>
                  <a:pt x="24406" y="17999"/>
                </a:cubicBezTo>
                <a:close/>
                <a:moveTo>
                  <a:pt x="13156" y="4968"/>
                </a:moveTo>
                <a:cubicBezTo>
                  <a:pt x="13156" y="4968"/>
                  <a:pt x="13156" y="4968"/>
                  <a:pt x="13156" y="4968"/>
                </a:cubicBezTo>
                <a:cubicBezTo>
                  <a:pt x="13156" y="4968"/>
                  <a:pt x="13156" y="4968"/>
                  <a:pt x="13156" y="4968"/>
                </a:cubicBezTo>
                <a:close/>
                <a:moveTo>
                  <a:pt x="24063" y="17843"/>
                </a:moveTo>
                <a:cubicBezTo>
                  <a:pt x="24031" y="17781"/>
                  <a:pt x="24000" y="17749"/>
                  <a:pt x="23906" y="17749"/>
                </a:cubicBezTo>
                <a:cubicBezTo>
                  <a:pt x="23906" y="17781"/>
                  <a:pt x="23938" y="17781"/>
                  <a:pt x="23938" y="17812"/>
                </a:cubicBezTo>
                <a:cubicBezTo>
                  <a:pt x="24000" y="17781"/>
                  <a:pt x="24000" y="17843"/>
                  <a:pt x="24063" y="17843"/>
                </a:cubicBezTo>
                <a:close/>
                <a:moveTo>
                  <a:pt x="23938" y="17812"/>
                </a:moveTo>
                <a:cubicBezTo>
                  <a:pt x="23906" y="17812"/>
                  <a:pt x="23875" y="17781"/>
                  <a:pt x="23844" y="17749"/>
                </a:cubicBezTo>
                <a:lnTo>
                  <a:pt x="23844" y="17749"/>
                </a:lnTo>
                <a:cubicBezTo>
                  <a:pt x="23813" y="17718"/>
                  <a:pt x="23813" y="17781"/>
                  <a:pt x="23813" y="17812"/>
                </a:cubicBezTo>
                <a:cubicBezTo>
                  <a:pt x="23813" y="17812"/>
                  <a:pt x="23844" y="17812"/>
                  <a:pt x="23844" y="17812"/>
                </a:cubicBezTo>
                <a:cubicBezTo>
                  <a:pt x="23844" y="17843"/>
                  <a:pt x="23906" y="17874"/>
                  <a:pt x="23875" y="17906"/>
                </a:cubicBezTo>
                <a:cubicBezTo>
                  <a:pt x="23813" y="17906"/>
                  <a:pt x="23750" y="17812"/>
                  <a:pt x="23750" y="17968"/>
                </a:cubicBezTo>
                <a:cubicBezTo>
                  <a:pt x="23656" y="18062"/>
                  <a:pt x="23656" y="18062"/>
                  <a:pt x="23625" y="17968"/>
                </a:cubicBezTo>
                <a:lnTo>
                  <a:pt x="23625" y="17968"/>
                </a:lnTo>
                <a:cubicBezTo>
                  <a:pt x="23656" y="17937"/>
                  <a:pt x="23594" y="17906"/>
                  <a:pt x="23594" y="17906"/>
                </a:cubicBezTo>
                <a:cubicBezTo>
                  <a:pt x="23594" y="17843"/>
                  <a:pt x="23594" y="17843"/>
                  <a:pt x="23625" y="17874"/>
                </a:cubicBezTo>
                <a:cubicBezTo>
                  <a:pt x="23656" y="17906"/>
                  <a:pt x="23656" y="17874"/>
                  <a:pt x="23688" y="17843"/>
                </a:cubicBezTo>
                <a:cubicBezTo>
                  <a:pt x="23688" y="17843"/>
                  <a:pt x="23688" y="17812"/>
                  <a:pt x="23688" y="17812"/>
                </a:cubicBezTo>
                <a:cubicBezTo>
                  <a:pt x="23594" y="17718"/>
                  <a:pt x="23531" y="17718"/>
                  <a:pt x="23500" y="17812"/>
                </a:cubicBezTo>
                <a:cubicBezTo>
                  <a:pt x="23469" y="17843"/>
                  <a:pt x="23438" y="17749"/>
                  <a:pt x="23406" y="17812"/>
                </a:cubicBezTo>
                <a:cubicBezTo>
                  <a:pt x="23375" y="17874"/>
                  <a:pt x="23406" y="17874"/>
                  <a:pt x="23438" y="17906"/>
                </a:cubicBezTo>
                <a:cubicBezTo>
                  <a:pt x="23469" y="17906"/>
                  <a:pt x="23500" y="17937"/>
                  <a:pt x="23531" y="17937"/>
                </a:cubicBezTo>
                <a:cubicBezTo>
                  <a:pt x="23563" y="17937"/>
                  <a:pt x="23531" y="17968"/>
                  <a:pt x="23531" y="17968"/>
                </a:cubicBezTo>
                <a:cubicBezTo>
                  <a:pt x="23531" y="17968"/>
                  <a:pt x="23563" y="17968"/>
                  <a:pt x="23594" y="17999"/>
                </a:cubicBezTo>
                <a:cubicBezTo>
                  <a:pt x="23656" y="18093"/>
                  <a:pt x="23781" y="18093"/>
                  <a:pt x="23906" y="18093"/>
                </a:cubicBezTo>
                <a:cubicBezTo>
                  <a:pt x="23875" y="18062"/>
                  <a:pt x="23844" y="18062"/>
                  <a:pt x="23813" y="18062"/>
                </a:cubicBezTo>
                <a:cubicBezTo>
                  <a:pt x="23750" y="18031"/>
                  <a:pt x="23750" y="18031"/>
                  <a:pt x="23750" y="17968"/>
                </a:cubicBezTo>
                <a:cubicBezTo>
                  <a:pt x="23844" y="17968"/>
                  <a:pt x="23906" y="18062"/>
                  <a:pt x="23969" y="17999"/>
                </a:cubicBezTo>
                <a:cubicBezTo>
                  <a:pt x="23938" y="17968"/>
                  <a:pt x="23875" y="17968"/>
                  <a:pt x="23875" y="17906"/>
                </a:cubicBezTo>
                <a:cubicBezTo>
                  <a:pt x="23906" y="17906"/>
                  <a:pt x="23938" y="17937"/>
                  <a:pt x="23969" y="17937"/>
                </a:cubicBezTo>
                <a:cubicBezTo>
                  <a:pt x="24000" y="17937"/>
                  <a:pt x="24000" y="17999"/>
                  <a:pt x="24031" y="17937"/>
                </a:cubicBezTo>
                <a:cubicBezTo>
                  <a:pt x="24063" y="17937"/>
                  <a:pt x="24031" y="17906"/>
                  <a:pt x="24000" y="17874"/>
                </a:cubicBezTo>
                <a:cubicBezTo>
                  <a:pt x="24000" y="17843"/>
                  <a:pt x="23938" y="17843"/>
                  <a:pt x="23938" y="17812"/>
                </a:cubicBezTo>
                <a:close/>
                <a:moveTo>
                  <a:pt x="22094" y="17499"/>
                </a:moveTo>
                <a:cubicBezTo>
                  <a:pt x="22125" y="17531"/>
                  <a:pt x="22125" y="17499"/>
                  <a:pt x="22125" y="17499"/>
                </a:cubicBezTo>
                <a:cubicBezTo>
                  <a:pt x="22125" y="17437"/>
                  <a:pt x="22094" y="17437"/>
                  <a:pt x="22031" y="17406"/>
                </a:cubicBezTo>
                <a:cubicBezTo>
                  <a:pt x="22031" y="17406"/>
                  <a:pt x="22000" y="17437"/>
                  <a:pt x="22031" y="17437"/>
                </a:cubicBezTo>
                <a:cubicBezTo>
                  <a:pt x="22031" y="17499"/>
                  <a:pt x="22063" y="17499"/>
                  <a:pt x="22094" y="17499"/>
                </a:cubicBezTo>
                <a:close/>
                <a:moveTo>
                  <a:pt x="12063" y="8093"/>
                </a:move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lnTo>
                  <a:pt x="12063" y="8093"/>
                </a:lnTo>
                <a:cubicBezTo>
                  <a:pt x="12063" y="8093"/>
                  <a:pt x="12063" y="8093"/>
                  <a:pt x="12063" y="8093"/>
                </a:cubicBezTo>
                <a:cubicBezTo>
                  <a:pt x="12063" y="8093"/>
                  <a:pt x="12063" y="8093"/>
                  <a:pt x="12063" y="8093"/>
                </a:cubicBezTo>
                <a:close/>
                <a:moveTo>
                  <a:pt x="24500" y="18249"/>
                </a:moveTo>
                <a:cubicBezTo>
                  <a:pt x="24531" y="18249"/>
                  <a:pt x="24531" y="18249"/>
                  <a:pt x="24531" y="18218"/>
                </a:cubicBezTo>
                <a:cubicBezTo>
                  <a:pt x="24531" y="18187"/>
                  <a:pt x="24500" y="18187"/>
                  <a:pt x="24469" y="18156"/>
                </a:cubicBezTo>
                <a:cubicBezTo>
                  <a:pt x="24438" y="18156"/>
                  <a:pt x="24438" y="18187"/>
                  <a:pt x="24438" y="18218"/>
                </a:cubicBezTo>
                <a:cubicBezTo>
                  <a:pt x="24438" y="18249"/>
                  <a:pt x="24469" y="18249"/>
                  <a:pt x="24500" y="18249"/>
                </a:cubicBezTo>
                <a:close/>
                <a:moveTo>
                  <a:pt x="7969" y="17593"/>
                </a:moveTo>
                <a:cubicBezTo>
                  <a:pt x="7906" y="17562"/>
                  <a:pt x="7875" y="17624"/>
                  <a:pt x="7844" y="17656"/>
                </a:cubicBezTo>
                <a:cubicBezTo>
                  <a:pt x="7844" y="17687"/>
                  <a:pt x="7875" y="17687"/>
                  <a:pt x="7875" y="17656"/>
                </a:cubicBezTo>
                <a:cubicBezTo>
                  <a:pt x="7875" y="17687"/>
                  <a:pt x="7906" y="17687"/>
                  <a:pt x="7906" y="17687"/>
                </a:cubicBezTo>
                <a:cubicBezTo>
                  <a:pt x="7906" y="17718"/>
                  <a:pt x="7906" y="17718"/>
                  <a:pt x="7906" y="17749"/>
                </a:cubicBezTo>
                <a:cubicBezTo>
                  <a:pt x="7844" y="17718"/>
                  <a:pt x="7750" y="17687"/>
                  <a:pt x="7719" y="17781"/>
                </a:cubicBezTo>
                <a:cubicBezTo>
                  <a:pt x="7719" y="17812"/>
                  <a:pt x="7688" y="17812"/>
                  <a:pt x="7656" y="17843"/>
                </a:cubicBezTo>
                <a:cubicBezTo>
                  <a:pt x="7594" y="17906"/>
                  <a:pt x="7531" y="17968"/>
                  <a:pt x="7469" y="18031"/>
                </a:cubicBezTo>
                <a:cubicBezTo>
                  <a:pt x="7438" y="18062"/>
                  <a:pt x="7406" y="18062"/>
                  <a:pt x="7438" y="18093"/>
                </a:cubicBezTo>
                <a:cubicBezTo>
                  <a:pt x="7469" y="18156"/>
                  <a:pt x="7500" y="18124"/>
                  <a:pt x="7531" y="18124"/>
                </a:cubicBezTo>
                <a:cubicBezTo>
                  <a:pt x="7563" y="18093"/>
                  <a:pt x="7594" y="18062"/>
                  <a:pt x="7625" y="18093"/>
                </a:cubicBezTo>
                <a:cubicBezTo>
                  <a:pt x="7688" y="18093"/>
                  <a:pt x="7719" y="18062"/>
                  <a:pt x="7719" y="18031"/>
                </a:cubicBezTo>
                <a:cubicBezTo>
                  <a:pt x="7750" y="17968"/>
                  <a:pt x="7750" y="17937"/>
                  <a:pt x="7750" y="17874"/>
                </a:cubicBezTo>
                <a:cubicBezTo>
                  <a:pt x="7750" y="17874"/>
                  <a:pt x="7750" y="17874"/>
                  <a:pt x="7750" y="17874"/>
                </a:cubicBezTo>
                <a:cubicBezTo>
                  <a:pt x="7781" y="17843"/>
                  <a:pt x="7781" y="17812"/>
                  <a:pt x="7813" y="17812"/>
                </a:cubicBezTo>
                <a:cubicBezTo>
                  <a:pt x="7844" y="17812"/>
                  <a:pt x="7906" y="17812"/>
                  <a:pt x="7906" y="17749"/>
                </a:cubicBezTo>
                <a:cubicBezTo>
                  <a:pt x="7969" y="17749"/>
                  <a:pt x="8031" y="17812"/>
                  <a:pt x="8094" y="17812"/>
                </a:cubicBezTo>
                <a:cubicBezTo>
                  <a:pt x="8125" y="17843"/>
                  <a:pt x="8156" y="17843"/>
                  <a:pt x="8156" y="17812"/>
                </a:cubicBezTo>
                <a:cubicBezTo>
                  <a:pt x="8188" y="17781"/>
                  <a:pt x="8156" y="17781"/>
                  <a:pt x="8156" y="17749"/>
                </a:cubicBezTo>
                <a:cubicBezTo>
                  <a:pt x="8125" y="17749"/>
                  <a:pt x="8125" y="17749"/>
                  <a:pt x="8125" y="17718"/>
                </a:cubicBezTo>
                <a:cubicBezTo>
                  <a:pt x="8156" y="17687"/>
                  <a:pt x="8125" y="17656"/>
                  <a:pt x="8125" y="17624"/>
                </a:cubicBezTo>
                <a:cubicBezTo>
                  <a:pt x="8125" y="17624"/>
                  <a:pt x="8125" y="17593"/>
                  <a:pt x="8125" y="17593"/>
                </a:cubicBezTo>
                <a:cubicBezTo>
                  <a:pt x="8156" y="17593"/>
                  <a:pt x="8156" y="17562"/>
                  <a:pt x="8156" y="17531"/>
                </a:cubicBezTo>
                <a:cubicBezTo>
                  <a:pt x="8188" y="17531"/>
                  <a:pt x="8188" y="17531"/>
                  <a:pt x="8156" y="17468"/>
                </a:cubicBezTo>
                <a:cubicBezTo>
                  <a:pt x="8156" y="17437"/>
                  <a:pt x="8125" y="17374"/>
                  <a:pt x="8063" y="17437"/>
                </a:cubicBezTo>
                <a:cubicBezTo>
                  <a:pt x="8031" y="17437"/>
                  <a:pt x="8031" y="17468"/>
                  <a:pt x="8031" y="17499"/>
                </a:cubicBezTo>
                <a:cubicBezTo>
                  <a:pt x="8000" y="17499"/>
                  <a:pt x="7969" y="17531"/>
                  <a:pt x="7969" y="17562"/>
                </a:cubicBezTo>
                <a:cubicBezTo>
                  <a:pt x="7969" y="17562"/>
                  <a:pt x="7969" y="17562"/>
                  <a:pt x="7969" y="17562"/>
                </a:cubicBezTo>
                <a:lnTo>
                  <a:pt x="7969" y="17593"/>
                </a:lnTo>
                <a:close/>
                <a:moveTo>
                  <a:pt x="14969" y="4031"/>
                </a:moveTo>
                <a:cubicBezTo>
                  <a:pt x="14969" y="4062"/>
                  <a:pt x="14938" y="4093"/>
                  <a:pt x="14938" y="4125"/>
                </a:cubicBezTo>
                <a:cubicBezTo>
                  <a:pt x="15000" y="4125"/>
                  <a:pt x="14969" y="4062"/>
                  <a:pt x="15031" y="4062"/>
                </a:cubicBezTo>
                <a:cubicBezTo>
                  <a:pt x="15031" y="4062"/>
                  <a:pt x="15063" y="4125"/>
                  <a:pt x="15063" y="4062"/>
                </a:cubicBezTo>
                <a:cubicBezTo>
                  <a:pt x="15063" y="4000"/>
                  <a:pt x="15031" y="4000"/>
                  <a:pt x="15031" y="4000"/>
                </a:cubicBezTo>
                <a:cubicBezTo>
                  <a:pt x="14969" y="3968"/>
                  <a:pt x="15000" y="4000"/>
                  <a:pt x="14969" y="4031"/>
                </a:cubicBezTo>
                <a:close/>
                <a:moveTo>
                  <a:pt x="5625" y="13562"/>
                </a:moveTo>
                <a:cubicBezTo>
                  <a:pt x="5531" y="13593"/>
                  <a:pt x="5469" y="13624"/>
                  <a:pt x="5406" y="13687"/>
                </a:cubicBezTo>
                <a:cubicBezTo>
                  <a:pt x="5500" y="13656"/>
                  <a:pt x="5563" y="13624"/>
                  <a:pt x="5625" y="13593"/>
                </a:cubicBezTo>
                <a:cubicBezTo>
                  <a:pt x="5625" y="13562"/>
                  <a:pt x="5625" y="13562"/>
                  <a:pt x="5625" y="13562"/>
                </a:cubicBezTo>
                <a:close/>
                <a:moveTo>
                  <a:pt x="17094" y="9781"/>
                </a:moveTo>
                <a:cubicBezTo>
                  <a:pt x="17094" y="9781"/>
                  <a:pt x="17063" y="9750"/>
                  <a:pt x="17063" y="9781"/>
                </a:cubicBezTo>
                <a:cubicBezTo>
                  <a:pt x="17031" y="9812"/>
                  <a:pt x="17063" y="9843"/>
                  <a:pt x="17063" y="9843"/>
                </a:cubicBezTo>
                <a:cubicBezTo>
                  <a:pt x="17125" y="9906"/>
                  <a:pt x="17188" y="9843"/>
                  <a:pt x="17219" y="9812"/>
                </a:cubicBezTo>
                <a:cubicBezTo>
                  <a:pt x="17188" y="9812"/>
                  <a:pt x="17156" y="9781"/>
                  <a:pt x="17094" y="9781"/>
                </a:cubicBezTo>
                <a:close/>
                <a:moveTo>
                  <a:pt x="12219" y="8281"/>
                </a:moveTo>
                <a:cubicBezTo>
                  <a:pt x="12219" y="8281"/>
                  <a:pt x="12188" y="8250"/>
                  <a:pt x="12188" y="8218"/>
                </a:cubicBezTo>
                <a:cubicBezTo>
                  <a:pt x="12125" y="8125"/>
                  <a:pt x="12063" y="8218"/>
                  <a:pt x="11969" y="8218"/>
                </a:cubicBezTo>
                <a:cubicBezTo>
                  <a:pt x="12063" y="8250"/>
                  <a:pt x="12094" y="8250"/>
                  <a:pt x="12156" y="8281"/>
                </a:cubicBezTo>
                <a:cubicBezTo>
                  <a:pt x="12156" y="8281"/>
                  <a:pt x="12188" y="8312"/>
                  <a:pt x="12219" y="8281"/>
                </a:cubicBezTo>
                <a:close/>
                <a:moveTo>
                  <a:pt x="16469" y="9687"/>
                </a:moveTo>
                <a:cubicBezTo>
                  <a:pt x="16469" y="9687"/>
                  <a:pt x="16469" y="9687"/>
                  <a:pt x="16469" y="9687"/>
                </a:cubicBezTo>
                <a:cubicBezTo>
                  <a:pt x="16469" y="9687"/>
                  <a:pt x="16469" y="9687"/>
                  <a:pt x="16469" y="9687"/>
                </a:cubicBezTo>
                <a:close/>
                <a:moveTo>
                  <a:pt x="13188" y="8562"/>
                </a:moveTo>
                <a:cubicBezTo>
                  <a:pt x="13188" y="8562"/>
                  <a:pt x="13188" y="8562"/>
                  <a:pt x="13188" y="8562"/>
                </a:cubicBezTo>
                <a:cubicBezTo>
                  <a:pt x="13188" y="8562"/>
                  <a:pt x="13188" y="8562"/>
                  <a:pt x="13188" y="8562"/>
                </a:cubicBezTo>
                <a:lnTo>
                  <a:pt x="13188" y="8562"/>
                </a:lnTo>
                <a:cubicBezTo>
                  <a:pt x="13188" y="8562"/>
                  <a:pt x="13188" y="8562"/>
                  <a:pt x="13188" y="8562"/>
                </a:cubicBezTo>
                <a:close/>
                <a:moveTo>
                  <a:pt x="22563" y="17781"/>
                </a:moveTo>
                <a:cubicBezTo>
                  <a:pt x="22531" y="17812"/>
                  <a:pt x="22563" y="17812"/>
                  <a:pt x="22594" y="17812"/>
                </a:cubicBezTo>
                <a:cubicBezTo>
                  <a:pt x="22656" y="17812"/>
                  <a:pt x="22719" y="17874"/>
                  <a:pt x="22781" y="17843"/>
                </a:cubicBezTo>
                <a:cubicBezTo>
                  <a:pt x="22906" y="17906"/>
                  <a:pt x="23031" y="17906"/>
                  <a:pt x="23188" y="17937"/>
                </a:cubicBezTo>
                <a:cubicBezTo>
                  <a:pt x="23094" y="17874"/>
                  <a:pt x="23031" y="17812"/>
                  <a:pt x="23000" y="17843"/>
                </a:cubicBezTo>
                <a:lnTo>
                  <a:pt x="23000" y="17843"/>
                </a:lnTo>
                <a:cubicBezTo>
                  <a:pt x="22938" y="17874"/>
                  <a:pt x="22875" y="17843"/>
                  <a:pt x="22781" y="17843"/>
                </a:cubicBezTo>
                <a:cubicBezTo>
                  <a:pt x="22750" y="17812"/>
                  <a:pt x="22688" y="17781"/>
                  <a:pt x="22625" y="17749"/>
                </a:cubicBezTo>
                <a:cubicBezTo>
                  <a:pt x="22594" y="17718"/>
                  <a:pt x="22594" y="17749"/>
                  <a:pt x="22563" y="17781"/>
                </a:cubicBezTo>
                <a:close/>
                <a:moveTo>
                  <a:pt x="30031" y="22656"/>
                </a:moveTo>
                <a:cubicBezTo>
                  <a:pt x="30000" y="22656"/>
                  <a:pt x="30000" y="22624"/>
                  <a:pt x="29969" y="22656"/>
                </a:cubicBezTo>
                <a:cubicBezTo>
                  <a:pt x="29969" y="22656"/>
                  <a:pt x="29969" y="22687"/>
                  <a:pt x="29969" y="22687"/>
                </a:cubicBezTo>
                <a:cubicBezTo>
                  <a:pt x="30031" y="22718"/>
                  <a:pt x="30063" y="22781"/>
                  <a:pt x="30125" y="22687"/>
                </a:cubicBezTo>
                <a:cubicBezTo>
                  <a:pt x="30125" y="22687"/>
                  <a:pt x="30125" y="22687"/>
                  <a:pt x="30125" y="22687"/>
                </a:cubicBezTo>
                <a:cubicBezTo>
                  <a:pt x="30094" y="22624"/>
                  <a:pt x="30094" y="22624"/>
                  <a:pt x="30063" y="22687"/>
                </a:cubicBezTo>
                <a:cubicBezTo>
                  <a:pt x="30031" y="22687"/>
                  <a:pt x="30031" y="22656"/>
                  <a:pt x="30031" y="22656"/>
                </a:cubicBezTo>
                <a:close/>
                <a:moveTo>
                  <a:pt x="12438" y="8312"/>
                </a:move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lnTo>
                  <a:pt x="12438" y="8312"/>
                </a:ln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ubicBezTo>
                  <a:pt x="12438" y="8312"/>
                  <a:pt x="12438" y="8312"/>
                  <a:pt x="12438" y="8312"/>
                </a:cubicBezTo>
                <a:close/>
                <a:moveTo>
                  <a:pt x="23344" y="17937"/>
                </a:moveTo>
                <a:cubicBezTo>
                  <a:pt x="23344" y="17968"/>
                  <a:pt x="23344" y="17968"/>
                  <a:pt x="23375" y="17999"/>
                </a:cubicBezTo>
                <a:cubicBezTo>
                  <a:pt x="23438" y="17999"/>
                  <a:pt x="23469" y="18031"/>
                  <a:pt x="23531" y="18031"/>
                </a:cubicBezTo>
                <a:cubicBezTo>
                  <a:pt x="23531" y="17999"/>
                  <a:pt x="23500" y="17999"/>
                  <a:pt x="23531" y="17968"/>
                </a:cubicBezTo>
                <a:cubicBezTo>
                  <a:pt x="23469" y="17999"/>
                  <a:pt x="23438" y="17937"/>
                  <a:pt x="23406" y="17906"/>
                </a:cubicBezTo>
                <a:cubicBezTo>
                  <a:pt x="23375" y="17906"/>
                  <a:pt x="23344" y="17906"/>
                  <a:pt x="23344" y="17937"/>
                </a:cubicBezTo>
                <a:close/>
                <a:moveTo>
                  <a:pt x="30063" y="23906"/>
                </a:moveTo>
                <a:cubicBezTo>
                  <a:pt x="30063" y="23937"/>
                  <a:pt x="30125" y="23937"/>
                  <a:pt x="30125" y="23937"/>
                </a:cubicBezTo>
                <a:cubicBezTo>
                  <a:pt x="30188" y="23937"/>
                  <a:pt x="30219" y="23937"/>
                  <a:pt x="30219" y="23906"/>
                </a:cubicBezTo>
                <a:cubicBezTo>
                  <a:pt x="30219" y="23874"/>
                  <a:pt x="30219" y="23874"/>
                  <a:pt x="30188" y="23874"/>
                </a:cubicBezTo>
                <a:cubicBezTo>
                  <a:pt x="30156" y="23874"/>
                  <a:pt x="30094" y="23843"/>
                  <a:pt x="30063" y="23906"/>
                </a:cubicBezTo>
                <a:close/>
                <a:moveTo>
                  <a:pt x="14875" y="2843"/>
                </a:moveTo>
                <a:cubicBezTo>
                  <a:pt x="14875" y="2843"/>
                  <a:pt x="14875" y="2843"/>
                  <a:pt x="14875" y="2843"/>
                </a:cubicBezTo>
                <a:cubicBezTo>
                  <a:pt x="14875" y="2843"/>
                  <a:pt x="14875" y="2843"/>
                  <a:pt x="14875" y="2843"/>
                </a:cubicBezTo>
                <a:close/>
                <a:moveTo>
                  <a:pt x="24156" y="18093"/>
                </a:moveTo>
                <a:cubicBezTo>
                  <a:pt x="24094" y="18062"/>
                  <a:pt x="24094" y="18093"/>
                  <a:pt x="24063" y="18156"/>
                </a:cubicBezTo>
                <a:cubicBezTo>
                  <a:pt x="24094" y="18156"/>
                  <a:pt x="24156" y="18156"/>
                  <a:pt x="24188" y="18187"/>
                </a:cubicBezTo>
                <a:cubicBezTo>
                  <a:pt x="24219" y="18187"/>
                  <a:pt x="24250" y="18187"/>
                  <a:pt x="24281" y="18124"/>
                </a:cubicBezTo>
                <a:cubicBezTo>
                  <a:pt x="24313" y="18156"/>
                  <a:pt x="24344" y="18187"/>
                  <a:pt x="24375" y="18156"/>
                </a:cubicBezTo>
                <a:cubicBezTo>
                  <a:pt x="24375" y="18124"/>
                  <a:pt x="24375" y="18093"/>
                  <a:pt x="24344" y="18093"/>
                </a:cubicBezTo>
                <a:cubicBezTo>
                  <a:pt x="24281" y="18031"/>
                  <a:pt x="24219" y="17999"/>
                  <a:pt x="24188" y="17968"/>
                </a:cubicBezTo>
                <a:cubicBezTo>
                  <a:pt x="24156" y="17968"/>
                  <a:pt x="24156" y="17968"/>
                  <a:pt x="24125" y="17968"/>
                </a:cubicBezTo>
                <a:cubicBezTo>
                  <a:pt x="24125" y="17968"/>
                  <a:pt x="24125" y="17999"/>
                  <a:pt x="24125" y="18031"/>
                </a:cubicBezTo>
                <a:cubicBezTo>
                  <a:pt x="24125" y="18031"/>
                  <a:pt x="24156" y="18062"/>
                  <a:pt x="24188" y="18062"/>
                </a:cubicBezTo>
                <a:cubicBezTo>
                  <a:pt x="24188" y="18062"/>
                  <a:pt x="24188" y="18093"/>
                  <a:pt x="24156" y="18093"/>
                </a:cubicBezTo>
                <a:close/>
                <a:moveTo>
                  <a:pt x="13875" y="531"/>
                </a:moveTo>
                <a:cubicBezTo>
                  <a:pt x="13906" y="562"/>
                  <a:pt x="13906" y="625"/>
                  <a:pt x="13938" y="625"/>
                </a:cubicBezTo>
                <a:cubicBezTo>
                  <a:pt x="13969" y="593"/>
                  <a:pt x="13969" y="562"/>
                  <a:pt x="13969" y="531"/>
                </a:cubicBezTo>
                <a:cubicBezTo>
                  <a:pt x="13969" y="500"/>
                  <a:pt x="13969" y="500"/>
                  <a:pt x="13969" y="500"/>
                </a:cubicBezTo>
                <a:cubicBezTo>
                  <a:pt x="14000" y="437"/>
                  <a:pt x="14000" y="375"/>
                  <a:pt x="14031" y="312"/>
                </a:cubicBezTo>
                <a:cubicBezTo>
                  <a:pt x="14031" y="281"/>
                  <a:pt x="14063" y="250"/>
                  <a:pt x="14031" y="250"/>
                </a:cubicBezTo>
                <a:cubicBezTo>
                  <a:pt x="14031" y="218"/>
                  <a:pt x="14000" y="250"/>
                  <a:pt x="13969" y="250"/>
                </a:cubicBezTo>
                <a:cubicBezTo>
                  <a:pt x="13938" y="250"/>
                  <a:pt x="13875" y="281"/>
                  <a:pt x="13813" y="312"/>
                </a:cubicBezTo>
                <a:cubicBezTo>
                  <a:pt x="13781" y="312"/>
                  <a:pt x="13750" y="343"/>
                  <a:pt x="13719" y="281"/>
                </a:cubicBezTo>
                <a:cubicBezTo>
                  <a:pt x="13719" y="343"/>
                  <a:pt x="13750" y="343"/>
                  <a:pt x="13781" y="375"/>
                </a:cubicBezTo>
                <a:cubicBezTo>
                  <a:pt x="13781" y="437"/>
                  <a:pt x="13844" y="500"/>
                  <a:pt x="13875" y="531"/>
                </a:cubicBezTo>
                <a:close/>
                <a:moveTo>
                  <a:pt x="24656" y="19968"/>
                </a:moveTo>
                <a:cubicBezTo>
                  <a:pt x="24656" y="19968"/>
                  <a:pt x="24656" y="19968"/>
                  <a:pt x="24656" y="19968"/>
                </a:cubicBezTo>
                <a:cubicBezTo>
                  <a:pt x="24656" y="19968"/>
                  <a:pt x="24656" y="19968"/>
                  <a:pt x="24656" y="19968"/>
                </a:cubicBezTo>
                <a:close/>
                <a:moveTo>
                  <a:pt x="21469" y="17999"/>
                </a:moveTo>
                <a:cubicBezTo>
                  <a:pt x="21469" y="17937"/>
                  <a:pt x="21438" y="17937"/>
                  <a:pt x="21406" y="17968"/>
                </a:cubicBezTo>
                <a:cubicBezTo>
                  <a:pt x="21375" y="17999"/>
                  <a:pt x="21313" y="17999"/>
                  <a:pt x="21344" y="18031"/>
                </a:cubicBezTo>
                <a:cubicBezTo>
                  <a:pt x="21344" y="18093"/>
                  <a:pt x="21406" y="18062"/>
                  <a:pt x="21438" y="18062"/>
                </a:cubicBezTo>
                <a:cubicBezTo>
                  <a:pt x="21438" y="18031"/>
                  <a:pt x="21469" y="18062"/>
                  <a:pt x="21469" y="18062"/>
                </a:cubicBezTo>
                <a:cubicBezTo>
                  <a:pt x="21500" y="18062"/>
                  <a:pt x="21531" y="18031"/>
                  <a:pt x="21531" y="18031"/>
                </a:cubicBezTo>
                <a:cubicBezTo>
                  <a:pt x="21531" y="17999"/>
                  <a:pt x="21531" y="17968"/>
                  <a:pt x="21531" y="17968"/>
                </a:cubicBezTo>
                <a:cubicBezTo>
                  <a:pt x="21469" y="17937"/>
                  <a:pt x="21500" y="17968"/>
                  <a:pt x="21500" y="17999"/>
                </a:cubicBezTo>
                <a:cubicBezTo>
                  <a:pt x="21500" y="17999"/>
                  <a:pt x="21469" y="17999"/>
                  <a:pt x="21469" y="17999"/>
                </a:cubicBezTo>
                <a:close/>
                <a:moveTo>
                  <a:pt x="5656" y="13562"/>
                </a:moveTo>
                <a:cubicBezTo>
                  <a:pt x="5781" y="13531"/>
                  <a:pt x="5875" y="13468"/>
                  <a:pt x="5969" y="13406"/>
                </a:cubicBezTo>
                <a:cubicBezTo>
                  <a:pt x="5844" y="13437"/>
                  <a:pt x="5750" y="13468"/>
                  <a:pt x="5656" y="13562"/>
                </a:cubicBezTo>
                <a:close/>
                <a:moveTo>
                  <a:pt x="10063" y="16187"/>
                </a:moveTo>
                <a:cubicBezTo>
                  <a:pt x="10031" y="16187"/>
                  <a:pt x="10000" y="16187"/>
                  <a:pt x="9969" y="16218"/>
                </a:cubicBezTo>
                <a:cubicBezTo>
                  <a:pt x="9938" y="16218"/>
                  <a:pt x="9938" y="16218"/>
                  <a:pt x="9938" y="16249"/>
                </a:cubicBezTo>
                <a:cubicBezTo>
                  <a:pt x="9969" y="16281"/>
                  <a:pt x="10000" y="16312"/>
                  <a:pt x="10031" y="16343"/>
                </a:cubicBezTo>
                <a:cubicBezTo>
                  <a:pt x="10094" y="16343"/>
                  <a:pt x="10063" y="16281"/>
                  <a:pt x="10094" y="16249"/>
                </a:cubicBezTo>
                <a:cubicBezTo>
                  <a:pt x="10094" y="16281"/>
                  <a:pt x="10094" y="16281"/>
                  <a:pt x="10094" y="16281"/>
                </a:cubicBezTo>
                <a:cubicBezTo>
                  <a:pt x="10094" y="16281"/>
                  <a:pt x="10094" y="16281"/>
                  <a:pt x="10094" y="16249"/>
                </a:cubicBezTo>
                <a:cubicBezTo>
                  <a:pt x="10094" y="16218"/>
                  <a:pt x="10094" y="16187"/>
                  <a:pt x="10063" y="16187"/>
                </a:cubicBezTo>
                <a:close/>
                <a:moveTo>
                  <a:pt x="6969" y="13906"/>
                </a:moveTo>
                <a:cubicBezTo>
                  <a:pt x="7000" y="13937"/>
                  <a:pt x="7063" y="13937"/>
                  <a:pt x="7094" y="13906"/>
                </a:cubicBezTo>
                <a:cubicBezTo>
                  <a:pt x="7094" y="13906"/>
                  <a:pt x="7125" y="13874"/>
                  <a:pt x="7125" y="13874"/>
                </a:cubicBezTo>
                <a:cubicBezTo>
                  <a:pt x="7125" y="13843"/>
                  <a:pt x="7094" y="13843"/>
                  <a:pt x="7094" y="13843"/>
                </a:cubicBezTo>
                <a:cubicBezTo>
                  <a:pt x="7031" y="13843"/>
                  <a:pt x="6938" y="13812"/>
                  <a:pt x="6875" y="13812"/>
                </a:cubicBezTo>
                <a:cubicBezTo>
                  <a:pt x="6875" y="13812"/>
                  <a:pt x="6875" y="13812"/>
                  <a:pt x="6875" y="13812"/>
                </a:cubicBezTo>
                <a:cubicBezTo>
                  <a:pt x="6875" y="13781"/>
                  <a:pt x="6844" y="13781"/>
                  <a:pt x="6813" y="13812"/>
                </a:cubicBezTo>
                <a:cubicBezTo>
                  <a:pt x="6813" y="13812"/>
                  <a:pt x="6844" y="13812"/>
                  <a:pt x="6875" y="13812"/>
                </a:cubicBezTo>
                <a:cubicBezTo>
                  <a:pt x="6906" y="13843"/>
                  <a:pt x="6938" y="13874"/>
                  <a:pt x="6969" y="13906"/>
                </a:cubicBezTo>
                <a:close/>
                <a:moveTo>
                  <a:pt x="8281" y="17656"/>
                </a:moveTo>
                <a:cubicBezTo>
                  <a:pt x="8281" y="17656"/>
                  <a:pt x="8250" y="17656"/>
                  <a:pt x="8281" y="17687"/>
                </a:cubicBezTo>
                <a:cubicBezTo>
                  <a:pt x="8281" y="17718"/>
                  <a:pt x="8281" y="17749"/>
                  <a:pt x="8313" y="17749"/>
                </a:cubicBezTo>
                <a:cubicBezTo>
                  <a:pt x="8375" y="17718"/>
                  <a:pt x="8438" y="17687"/>
                  <a:pt x="8469" y="17624"/>
                </a:cubicBezTo>
                <a:cubicBezTo>
                  <a:pt x="8469" y="17624"/>
                  <a:pt x="8469" y="17624"/>
                  <a:pt x="8469" y="17624"/>
                </a:cubicBezTo>
                <a:cubicBezTo>
                  <a:pt x="8469" y="17624"/>
                  <a:pt x="8469" y="17624"/>
                  <a:pt x="8469" y="17593"/>
                </a:cubicBezTo>
                <a:cubicBezTo>
                  <a:pt x="8469" y="17593"/>
                  <a:pt x="8469" y="17593"/>
                  <a:pt x="8469" y="17593"/>
                </a:cubicBezTo>
                <a:cubicBezTo>
                  <a:pt x="8438" y="17562"/>
                  <a:pt x="8438" y="17562"/>
                  <a:pt x="8406" y="17562"/>
                </a:cubicBezTo>
                <a:cubicBezTo>
                  <a:pt x="8375" y="17562"/>
                  <a:pt x="8406" y="17437"/>
                  <a:pt x="8344" y="17468"/>
                </a:cubicBezTo>
                <a:cubicBezTo>
                  <a:pt x="8313" y="17531"/>
                  <a:pt x="8375" y="17562"/>
                  <a:pt x="8406" y="17593"/>
                </a:cubicBezTo>
                <a:cubicBezTo>
                  <a:pt x="8406" y="17593"/>
                  <a:pt x="8406" y="17624"/>
                  <a:pt x="8406" y="17624"/>
                </a:cubicBezTo>
                <a:cubicBezTo>
                  <a:pt x="8406" y="17624"/>
                  <a:pt x="8375" y="17656"/>
                  <a:pt x="8375" y="17624"/>
                </a:cubicBezTo>
                <a:cubicBezTo>
                  <a:pt x="8313" y="17562"/>
                  <a:pt x="8313" y="17593"/>
                  <a:pt x="8281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313" y="17656"/>
                </a:cubicBezTo>
                <a:cubicBezTo>
                  <a:pt x="8313" y="17656"/>
                  <a:pt x="8313" y="17656"/>
                  <a:pt x="8281" y="17656"/>
                </a:cubicBezTo>
                <a:close/>
                <a:moveTo>
                  <a:pt x="12313" y="14843"/>
                </a:moveTo>
                <a:cubicBezTo>
                  <a:pt x="12438" y="14874"/>
                  <a:pt x="12500" y="14999"/>
                  <a:pt x="12625" y="15062"/>
                </a:cubicBezTo>
                <a:cubicBezTo>
                  <a:pt x="12625" y="14968"/>
                  <a:pt x="12594" y="14906"/>
                  <a:pt x="12594" y="14812"/>
                </a:cubicBezTo>
                <a:cubicBezTo>
                  <a:pt x="12531" y="14562"/>
                  <a:pt x="12594" y="14593"/>
                  <a:pt x="12313" y="14687"/>
                </a:cubicBezTo>
                <a:cubicBezTo>
                  <a:pt x="12281" y="14718"/>
                  <a:pt x="12219" y="14687"/>
                  <a:pt x="12219" y="14749"/>
                </a:cubicBezTo>
                <a:cubicBezTo>
                  <a:pt x="12188" y="14781"/>
                  <a:pt x="12281" y="14812"/>
                  <a:pt x="12313" y="14843"/>
                </a:cubicBezTo>
                <a:cubicBezTo>
                  <a:pt x="12313" y="14843"/>
                  <a:pt x="12313" y="14843"/>
                  <a:pt x="12313" y="14843"/>
                </a:cubicBezTo>
                <a:close/>
                <a:moveTo>
                  <a:pt x="7344" y="18156"/>
                </a:moveTo>
                <a:cubicBezTo>
                  <a:pt x="7281" y="18187"/>
                  <a:pt x="7250" y="18249"/>
                  <a:pt x="7188" y="18281"/>
                </a:cubicBezTo>
                <a:cubicBezTo>
                  <a:pt x="7188" y="18312"/>
                  <a:pt x="7188" y="18343"/>
                  <a:pt x="7219" y="18343"/>
                </a:cubicBezTo>
                <a:cubicBezTo>
                  <a:pt x="7250" y="18343"/>
                  <a:pt x="7375" y="18249"/>
                  <a:pt x="7375" y="18218"/>
                </a:cubicBezTo>
                <a:cubicBezTo>
                  <a:pt x="7375" y="18187"/>
                  <a:pt x="7375" y="18156"/>
                  <a:pt x="7344" y="18156"/>
                </a:cubicBezTo>
                <a:close/>
                <a:moveTo>
                  <a:pt x="7125" y="13031"/>
                </a:moveTo>
                <a:cubicBezTo>
                  <a:pt x="7156" y="13031"/>
                  <a:pt x="7188" y="13062"/>
                  <a:pt x="7188" y="13062"/>
                </a:cubicBezTo>
                <a:cubicBezTo>
                  <a:pt x="7250" y="12999"/>
                  <a:pt x="7313" y="13031"/>
                  <a:pt x="7375" y="12999"/>
                </a:cubicBezTo>
                <a:cubicBezTo>
                  <a:pt x="7438" y="12999"/>
                  <a:pt x="7500" y="13031"/>
                  <a:pt x="7563" y="12968"/>
                </a:cubicBezTo>
                <a:cubicBezTo>
                  <a:pt x="7313" y="12749"/>
                  <a:pt x="7344" y="12781"/>
                  <a:pt x="7188" y="12906"/>
                </a:cubicBezTo>
                <a:cubicBezTo>
                  <a:pt x="7094" y="12874"/>
                  <a:pt x="7063" y="12937"/>
                  <a:pt x="7063" y="12999"/>
                </a:cubicBezTo>
                <a:cubicBezTo>
                  <a:pt x="7063" y="13031"/>
                  <a:pt x="7031" y="13062"/>
                  <a:pt x="7063" y="13062"/>
                </a:cubicBezTo>
                <a:cubicBezTo>
                  <a:pt x="7094" y="13093"/>
                  <a:pt x="7125" y="13062"/>
                  <a:pt x="7125" y="13031"/>
                </a:cubicBezTo>
                <a:close/>
                <a:moveTo>
                  <a:pt x="8250" y="13999"/>
                </a:moveTo>
                <a:cubicBezTo>
                  <a:pt x="8281" y="13999"/>
                  <a:pt x="8313" y="13999"/>
                  <a:pt x="8344" y="14031"/>
                </a:cubicBezTo>
                <a:cubicBezTo>
                  <a:pt x="8344" y="14062"/>
                  <a:pt x="8375" y="14031"/>
                  <a:pt x="8406" y="14031"/>
                </a:cubicBezTo>
                <a:cubicBezTo>
                  <a:pt x="8625" y="14093"/>
                  <a:pt x="8875" y="14124"/>
                  <a:pt x="9094" y="14187"/>
                </a:cubicBezTo>
                <a:cubicBezTo>
                  <a:pt x="9063" y="14156"/>
                  <a:pt x="9031" y="14156"/>
                  <a:pt x="9000" y="14124"/>
                </a:cubicBezTo>
                <a:cubicBezTo>
                  <a:pt x="8906" y="14062"/>
                  <a:pt x="8844" y="13999"/>
                  <a:pt x="8750" y="13906"/>
                </a:cubicBezTo>
                <a:cubicBezTo>
                  <a:pt x="8719" y="13906"/>
                  <a:pt x="8719" y="13874"/>
                  <a:pt x="8688" y="13906"/>
                </a:cubicBezTo>
                <a:cubicBezTo>
                  <a:pt x="8531" y="13937"/>
                  <a:pt x="8406" y="13999"/>
                  <a:pt x="8250" y="13999"/>
                </a:cubicBezTo>
                <a:cubicBezTo>
                  <a:pt x="8250" y="13937"/>
                  <a:pt x="8188" y="13968"/>
                  <a:pt x="8156" y="13937"/>
                </a:cubicBezTo>
                <a:cubicBezTo>
                  <a:pt x="8188" y="13937"/>
                  <a:pt x="8219" y="13937"/>
                  <a:pt x="8281" y="13937"/>
                </a:cubicBezTo>
                <a:cubicBezTo>
                  <a:pt x="8406" y="13906"/>
                  <a:pt x="8531" y="13843"/>
                  <a:pt x="8656" y="13843"/>
                </a:cubicBezTo>
                <a:lnTo>
                  <a:pt x="8656" y="13843"/>
                </a:lnTo>
                <a:cubicBezTo>
                  <a:pt x="8656" y="13812"/>
                  <a:pt x="8594" y="13812"/>
                  <a:pt x="8563" y="13781"/>
                </a:cubicBezTo>
                <a:cubicBezTo>
                  <a:pt x="8500" y="13718"/>
                  <a:pt x="8406" y="13624"/>
                  <a:pt x="8313" y="13562"/>
                </a:cubicBezTo>
                <a:cubicBezTo>
                  <a:pt x="8281" y="13562"/>
                  <a:pt x="8250" y="13499"/>
                  <a:pt x="8219" y="13562"/>
                </a:cubicBezTo>
                <a:cubicBezTo>
                  <a:pt x="8219" y="13624"/>
                  <a:pt x="8156" y="13656"/>
                  <a:pt x="8188" y="13749"/>
                </a:cubicBezTo>
                <a:cubicBezTo>
                  <a:pt x="8188" y="13749"/>
                  <a:pt x="8188" y="13749"/>
                  <a:pt x="8188" y="13749"/>
                </a:cubicBezTo>
                <a:cubicBezTo>
                  <a:pt x="8156" y="13781"/>
                  <a:pt x="8156" y="13812"/>
                  <a:pt x="8156" y="13812"/>
                </a:cubicBezTo>
                <a:cubicBezTo>
                  <a:pt x="8156" y="13843"/>
                  <a:pt x="8156" y="13874"/>
                  <a:pt x="8156" y="13906"/>
                </a:cubicBezTo>
                <a:cubicBezTo>
                  <a:pt x="8031" y="13937"/>
                  <a:pt x="8125" y="13843"/>
                  <a:pt x="8094" y="13812"/>
                </a:cubicBezTo>
                <a:cubicBezTo>
                  <a:pt x="8031" y="13843"/>
                  <a:pt x="8063" y="13937"/>
                  <a:pt x="7969" y="13906"/>
                </a:cubicBezTo>
                <a:cubicBezTo>
                  <a:pt x="8000" y="13781"/>
                  <a:pt x="8031" y="13656"/>
                  <a:pt x="8063" y="13562"/>
                </a:cubicBezTo>
                <a:cubicBezTo>
                  <a:pt x="8063" y="13531"/>
                  <a:pt x="8094" y="13468"/>
                  <a:pt x="8031" y="13499"/>
                </a:cubicBezTo>
                <a:cubicBezTo>
                  <a:pt x="7906" y="13499"/>
                  <a:pt x="7781" y="13531"/>
                  <a:pt x="7656" y="13562"/>
                </a:cubicBezTo>
                <a:cubicBezTo>
                  <a:pt x="7625" y="13562"/>
                  <a:pt x="7594" y="13593"/>
                  <a:pt x="7594" y="13624"/>
                </a:cubicBezTo>
                <a:cubicBezTo>
                  <a:pt x="7594" y="13656"/>
                  <a:pt x="7625" y="13656"/>
                  <a:pt x="7625" y="13656"/>
                </a:cubicBezTo>
                <a:cubicBezTo>
                  <a:pt x="7688" y="13718"/>
                  <a:pt x="7781" y="13749"/>
                  <a:pt x="7813" y="13843"/>
                </a:cubicBezTo>
                <a:cubicBezTo>
                  <a:pt x="7750" y="13843"/>
                  <a:pt x="7719" y="13843"/>
                  <a:pt x="7688" y="13812"/>
                </a:cubicBezTo>
                <a:cubicBezTo>
                  <a:pt x="7625" y="13749"/>
                  <a:pt x="7563" y="13687"/>
                  <a:pt x="7469" y="13624"/>
                </a:cubicBezTo>
                <a:cubicBezTo>
                  <a:pt x="7469" y="13624"/>
                  <a:pt x="7469" y="13593"/>
                  <a:pt x="7438" y="13593"/>
                </a:cubicBezTo>
                <a:cubicBezTo>
                  <a:pt x="7313" y="13656"/>
                  <a:pt x="7156" y="13656"/>
                  <a:pt x="7031" y="13687"/>
                </a:cubicBezTo>
                <a:cubicBezTo>
                  <a:pt x="7000" y="13687"/>
                  <a:pt x="6938" y="13687"/>
                  <a:pt x="6906" y="13687"/>
                </a:cubicBezTo>
                <a:cubicBezTo>
                  <a:pt x="6938" y="13656"/>
                  <a:pt x="6938" y="13656"/>
                  <a:pt x="6969" y="13624"/>
                </a:cubicBezTo>
                <a:cubicBezTo>
                  <a:pt x="6969" y="13624"/>
                  <a:pt x="7000" y="13624"/>
                  <a:pt x="7000" y="13624"/>
                </a:cubicBezTo>
                <a:cubicBezTo>
                  <a:pt x="7063" y="13624"/>
                  <a:pt x="7094" y="13624"/>
                  <a:pt x="7125" y="13593"/>
                </a:cubicBezTo>
                <a:cubicBezTo>
                  <a:pt x="7125" y="13593"/>
                  <a:pt x="7125" y="13593"/>
                  <a:pt x="7125" y="13593"/>
                </a:cubicBezTo>
                <a:cubicBezTo>
                  <a:pt x="7156" y="13593"/>
                  <a:pt x="7156" y="13593"/>
                  <a:pt x="7156" y="13562"/>
                </a:cubicBezTo>
                <a:cubicBezTo>
                  <a:pt x="7156" y="13562"/>
                  <a:pt x="7156" y="13562"/>
                  <a:pt x="7125" y="13562"/>
                </a:cubicBezTo>
                <a:cubicBezTo>
                  <a:pt x="7125" y="13562"/>
                  <a:pt x="7125" y="13562"/>
                  <a:pt x="7125" y="13562"/>
                </a:cubicBezTo>
                <a:cubicBezTo>
                  <a:pt x="7156" y="13562"/>
                  <a:pt x="7156" y="13531"/>
                  <a:pt x="7156" y="13531"/>
                </a:cubicBezTo>
                <a:cubicBezTo>
                  <a:pt x="7156" y="13562"/>
                  <a:pt x="7156" y="13562"/>
                  <a:pt x="7156" y="13562"/>
                </a:cubicBezTo>
                <a:cubicBezTo>
                  <a:pt x="7156" y="13562"/>
                  <a:pt x="7188" y="13562"/>
                  <a:pt x="7188" y="13562"/>
                </a:cubicBezTo>
                <a:cubicBezTo>
                  <a:pt x="7219" y="13593"/>
                  <a:pt x="7250" y="13562"/>
                  <a:pt x="7281" y="13562"/>
                </a:cubicBezTo>
                <a:cubicBezTo>
                  <a:pt x="7281" y="13562"/>
                  <a:pt x="7281" y="13562"/>
                  <a:pt x="7281" y="13562"/>
                </a:cubicBezTo>
                <a:cubicBezTo>
                  <a:pt x="7313" y="13562"/>
                  <a:pt x="7344" y="13562"/>
                  <a:pt x="7406" y="13562"/>
                </a:cubicBezTo>
                <a:cubicBezTo>
                  <a:pt x="7375" y="13531"/>
                  <a:pt x="7344" y="13499"/>
                  <a:pt x="7313" y="13468"/>
                </a:cubicBezTo>
                <a:cubicBezTo>
                  <a:pt x="7219" y="13406"/>
                  <a:pt x="7156" y="13343"/>
                  <a:pt x="7063" y="13281"/>
                </a:cubicBezTo>
                <a:cubicBezTo>
                  <a:pt x="7031" y="13249"/>
                  <a:pt x="6969" y="13187"/>
                  <a:pt x="6969" y="13312"/>
                </a:cubicBezTo>
                <a:cubicBezTo>
                  <a:pt x="6969" y="13343"/>
                  <a:pt x="6938" y="13374"/>
                  <a:pt x="6938" y="13406"/>
                </a:cubicBezTo>
                <a:cubicBezTo>
                  <a:pt x="6906" y="13437"/>
                  <a:pt x="6875" y="13468"/>
                  <a:pt x="6875" y="13499"/>
                </a:cubicBezTo>
                <a:cubicBezTo>
                  <a:pt x="6875" y="13562"/>
                  <a:pt x="6844" y="13562"/>
                  <a:pt x="6844" y="13624"/>
                </a:cubicBezTo>
                <a:cubicBezTo>
                  <a:pt x="6781" y="13624"/>
                  <a:pt x="6781" y="13624"/>
                  <a:pt x="6781" y="13562"/>
                </a:cubicBezTo>
                <a:cubicBezTo>
                  <a:pt x="6844" y="13406"/>
                  <a:pt x="6906" y="13249"/>
                  <a:pt x="6969" y="13062"/>
                </a:cubicBezTo>
                <a:cubicBezTo>
                  <a:pt x="7000" y="13031"/>
                  <a:pt x="7000" y="13031"/>
                  <a:pt x="7000" y="12968"/>
                </a:cubicBezTo>
                <a:cubicBezTo>
                  <a:pt x="6969" y="12999"/>
                  <a:pt x="6969" y="13031"/>
                  <a:pt x="6938" y="13031"/>
                </a:cubicBezTo>
                <a:cubicBezTo>
                  <a:pt x="6875" y="13218"/>
                  <a:pt x="6813" y="13374"/>
                  <a:pt x="6750" y="13562"/>
                </a:cubicBezTo>
                <a:cubicBezTo>
                  <a:pt x="6750" y="13593"/>
                  <a:pt x="6750" y="13624"/>
                  <a:pt x="6719" y="13624"/>
                </a:cubicBezTo>
                <a:cubicBezTo>
                  <a:pt x="6688" y="13624"/>
                  <a:pt x="6688" y="13593"/>
                  <a:pt x="6688" y="13562"/>
                </a:cubicBezTo>
                <a:cubicBezTo>
                  <a:pt x="6750" y="13374"/>
                  <a:pt x="6813" y="13218"/>
                  <a:pt x="6875" y="13031"/>
                </a:cubicBezTo>
                <a:cubicBezTo>
                  <a:pt x="6750" y="13093"/>
                  <a:pt x="6594" y="13187"/>
                  <a:pt x="6469" y="13249"/>
                </a:cubicBezTo>
                <a:cubicBezTo>
                  <a:pt x="6469" y="13249"/>
                  <a:pt x="6469" y="13249"/>
                  <a:pt x="6469" y="13249"/>
                </a:cubicBezTo>
                <a:cubicBezTo>
                  <a:pt x="6406" y="13249"/>
                  <a:pt x="6344" y="13249"/>
                  <a:pt x="6313" y="13312"/>
                </a:cubicBezTo>
                <a:cubicBezTo>
                  <a:pt x="6313" y="13374"/>
                  <a:pt x="6375" y="13374"/>
                  <a:pt x="6406" y="13406"/>
                </a:cubicBezTo>
                <a:lnTo>
                  <a:pt x="6406" y="13406"/>
                </a:lnTo>
                <a:cubicBezTo>
                  <a:pt x="6406" y="13437"/>
                  <a:pt x="6438" y="13437"/>
                  <a:pt x="6438" y="13437"/>
                </a:cubicBezTo>
                <a:cubicBezTo>
                  <a:pt x="6469" y="13437"/>
                  <a:pt x="6438" y="13406"/>
                  <a:pt x="6469" y="13374"/>
                </a:cubicBezTo>
                <a:cubicBezTo>
                  <a:pt x="6531" y="13374"/>
                  <a:pt x="6563" y="13281"/>
                  <a:pt x="6625" y="13343"/>
                </a:cubicBezTo>
                <a:cubicBezTo>
                  <a:pt x="6594" y="13374"/>
                  <a:pt x="6594" y="13406"/>
                  <a:pt x="6563" y="13437"/>
                </a:cubicBezTo>
                <a:cubicBezTo>
                  <a:pt x="6531" y="13437"/>
                  <a:pt x="6500" y="13468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31" y="13499"/>
                  <a:pt x="6531" y="13499"/>
                  <a:pt x="6531" y="13499"/>
                </a:cubicBezTo>
                <a:cubicBezTo>
                  <a:pt x="6594" y="13531"/>
                  <a:pt x="6563" y="13624"/>
                  <a:pt x="6656" y="13624"/>
                </a:cubicBezTo>
                <a:cubicBezTo>
                  <a:pt x="6719" y="13687"/>
                  <a:pt x="6813" y="13687"/>
                  <a:pt x="6906" y="13687"/>
                </a:cubicBezTo>
                <a:cubicBezTo>
                  <a:pt x="6969" y="13718"/>
                  <a:pt x="7031" y="13749"/>
                  <a:pt x="7094" y="13749"/>
                </a:cubicBezTo>
                <a:cubicBezTo>
                  <a:pt x="7313" y="13781"/>
                  <a:pt x="7500" y="13843"/>
                  <a:pt x="7719" y="13874"/>
                </a:cubicBezTo>
                <a:lnTo>
                  <a:pt x="7719" y="13874"/>
                </a:lnTo>
                <a:cubicBezTo>
                  <a:pt x="7750" y="13874"/>
                  <a:pt x="7781" y="13906"/>
                  <a:pt x="7813" y="13843"/>
                </a:cubicBezTo>
                <a:cubicBezTo>
                  <a:pt x="7844" y="13812"/>
                  <a:pt x="7875" y="13843"/>
                  <a:pt x="7906" y="13843"/>
                </a:cubicBezTo>
                <a:cubicBezTo>
                  <a:pt x="7938" y="13874"/>
                  <a:pt x="7906" y="13906"/>
                  <a:pt x="7875" y="13906"/>
                </a:cubicBezTo>
                <a:cubicBezTo>
                  <a:pt x="7906" y="13906"/>
                  <a:pt x="7938" y="13906"/>
                  <a:pt x="7969" y="13937"/>
                </a:cubicBezTo>
                <a:cubicBezTo>
                  <a:pt x="8063" y="13999"/>
                  <a:pt x="8156" y="13968"/>
                  <a:pt x="8250" y="13999"/>
                </a:cubicBezTo>
                <a:close/>
                <a:moveTo>
                  <a:pt x="22781" y="17843"/>
                </a:moveTo>
                <a:cubicBezTo>
                  <a:pt x="22781" y="17843"/>
                  <a:pt x="22781" y="17843"/>
                  <a:pt x="22781" y="17843"/>
                </a:cubicBezTo>
                <a:cubicBezTo>
                  <a:pt x="22781" y="17843"/>
                  <a:pt x="22781" y="17843"/>
                  <a:pt x="22781" y="17843"/>
                </a:cubicBezTo>
                <a:close/>
                <a:moveTo>
                  <a:pt x="24500" y="18124"/>
                </a:moveTo>
                <a:cubicBezTo>
                  <a:pt x="24594" y="18124"/>
                  <a:pt x="24656" y="18156"/>
                  <a:pt x="24688" y="18281"/>
                </a:cubicBezTo>
                <a:cubicBezTo>
                  <a:pt x="24719" y="18249"/>
                  <a:pt x="24750" y="18218"/>
                  <a:pt x="24719" y="18187"/>
                </a:cubicBezTo>
                <a:cubicBezTo>
                  <a:pt x="24656" y="18156"/>
                  <a:pt x="24594" y="18093"/>
                  <a:pt x="24531" y="18031"/>
                </a:cubicBezTo>
                <a:cubicBezTo>
                  <a:pt x="24500" y="18031"/>
                  <a:pt x="24500" y="18062"/>
                  <a:pt x="24469" y="18093"/>
                </a:cubicBezTo>
                <a:cubicBezTo>
                  <a:pt x="24469" y="18093"/>
                  <a:pt x="24469" y="18124"/>
                  <a:pt x="24500" y="18124"/>
                </a:cubicBezTo>
                <a:close/>
                <a:moveTo>
                  <a:pt x="24375" y="17843"/>
                </a:moveTo>
                <a:cubicBezTo>
                  <a:pt x="24313" y="17843"/>
                  <a:pt x="24219" y="17812"/>
                  <a:pt x="24125" y="17781"/>
                </a:cubicBezTo>
                <a:cubicBezTo>
                  <a:pt x="24156" y="17843"/>
                  <a:pt x="24125" y="17937"/>
                  <a:pt x="24219" y="17937"/>
                </a:cubicBezTo>
                <a:cubicBezTo>
                  <a:pt x="24250" y="17781"/>
                  <a:pt x="24313" y="17874"/>
                  <a:pt x="24375" y="17906"/>
                </a:cubicBezTo>
                <a:cubicBezTo>
                  <a:pt x="24375" y="17906"/>
                  <a:pt x="24406" y="17937"/>
                  <a:pt x="24438" y="17906"/>
                </a:cubicBezTo>
                <a:cubicBezTo>
                  <a:pt x="24438" y="17874"/>
                  <a:pt x="24406" y="17874"/>
                  <a:pt x="24375" y="17843"/>
                </a:cubicBezTo>
                <a:close/>
                <a:moveTo>
                  <a:pt x="12719" y="5468"/>
                </a:moveTo>
                <a:cubicBezTo>
                  <a:pt x="12719" y="5468"/>
                  <a:pt x="12719" y="5468"/>
                  <a:pt x="12719" y="5468"/>
                </a:cubicBezTo>
                <a:close/>
                <a:moveTo>
                  <a:pt x="23938" y="17812"/>
                </a:moveTo>
                <a:cubicBezTo>
                  <a:pt x="23938" y="17812"/>
                  <a:pt x="23938" y="17812"/>
                  <a:pt x="23938" y="17812"/>
                </a:cubicBezTo>
                <a:cubicBezTo>
                  <a:pt x="23938" y="17812"/>
                  <a:pt x="23938" y="17812"/>
                  <a:pt x="23938" y="17812"/>
                </a:cubicBezTo>
                <a:close/>
                <a:moveTo>
                  <a:pt x="22188" y="17749"/>
                </a:move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ubicBezTo>
                  <a:pt x="22188" y="17749"/>
                  <a:pt x="22188" y="17749"/>
                  <a:pt x="22188" y="17749"/>
                </a:cubicBezTo>
                <a:close/>
                <a:moveTo>
                  <a:pt x="7125" y="14343"/>
                </a:moveTo>
                <a:cubicBezTo>
                  <a:pt x="7219" y="14343"/>
                  <a:pt x="7313" y="14406"/>
                  <a:pt x="7438" y="14406"/>
                </a:cubicBezTo>
                <a:cubicBezTo>
                  <a:pt x="7313" y="14249"/>
                  <a:pt x="7281" y="14249"/>
                  <a:pt x="7125" y="14312"/>
                </a:cubicBezTo>
                <a:cubicBezTo>
                  <a:pt x="7063" y="14281"/>
                  <a:pt x="6969" y="14312"/>
                  <a:pt x="6906" y="14249"/>
                </a:cubicBezTo>
                <a:cubicBezTo>
                  <a:pt x="7000" y="14249"/>
                  <a:pt x="7094" y="14187"/>
                  <a:pt x="7188" y="14187"/>
                </a:cubicBezTo>
                <a:cubicBezTo>
                  <a:pt x="7125" y="14124"/>
                  <a:pt x="7063" y="14093"/>
                  <a:pt x="7031" y="14031"/>
                </a:cubicBezTo>
                <a:cubicBezTo>
                  <a:pt x="7000" y="14031"/>
                  <a:pt x="6969" y="13999"/>
                  <a:pt x="6938" y="14031"/>
                </a:cubicBezTo>
                <a:cubicBezTo>
                  <a:pt x="6844" y="14062"/>
                  <a:pt x="6781" y="14093"/>
                  <a:pt x="6688" y="14093"/>
                </a:cubicBezTo>
                <a:cubicBezTo>
                  <a:pt x="6750" y="14156"/>
                  <a:pt x="6781" y="14187"/>
                  <a:pt x="6844" y="14218"/>
                </a:cubicBezTo>
                <a:cubicBezTo>
                  <a:pt x="6813" y="14312"/>
                  <a:pt x="6781" y="14218"/>
                  <a:pt x="6750" y="14218"/>
                </a:cubicBezTo>
                <a:cubicBezTo>
                  <a:pt x="6719" y="14187"/>
                  <a:pt x="6656" y="14218"/>
                  <a:pt x="6656" y="14187"/>
                </a:cubicBezTo>
                <a:lnTo>
                  <a:pt x="6656" y="14187"/>
                </a:lnTo>
                <a:cubicBezTo>
                  <a:pt x="6625" y="14093"/>
                  <a:pt x="6563" y="14093"/>
                  <a:pt x="6500" y="14124"/>
                </a:cubicBezTo>
                <a:cubicBezTo>
                  <a:pt x="6438" y="14156"/>
                  <a:pt x="6406" y="14156"/>
                  <a:pt x="6344" y="14187"/>
                </a:cubicBezTo>
                <a:cubicBezTo>
                  <a:pt x="6500" y="14218"/>
                  <a:pt x="6625" y="14218"/>
                  <a:pt x="6750" y="14249"/>
                </a:cubicBezTo>
                <a:cubicBezTo>
                  <a:pt x="6875" y="14312"/>
                  <a:pt x="7000" y="14343"/>
                  <a:pt x="7125" y="14343"/>
                </a:cubicBezTo>
                <a:close/>
                <a:moveTo>
                  <a:pt x="23375" y="16906"/>
                </a:moveTo>
                <a:cubicBezTo>
                  <a:pt x="23375" y="16906"/>
                  <a:pt x="23375" y="16906"/>
                  <a:pt x="23375" y="16906"/>
                </a:cubicBezTo>
                <a:cubicBezTo>
                  <a:pt x="23313" y="16812"/>
                  <a:pt x="23219" y="16718"/>
                  <a:pt x="23156" y="16624"/>
                </a:cubicBezTo>
                <a:cubicBezTo>
                  <a:pt x="23156" y="16624"/>
                  <a:pt x="23156" y="16624"/>
                  <a:pt x="23125" y="16624"/>
                </a:cubicBezTo>
                <a:cubicBezTo>
                  <a:pt x="23156" y="16781"/>
                  <a:pt x="23313" y="16812"/>
                  <a:pt x="23375" y="16906"/>
                </a:cubicBezTo>
                <a:close/>
                <a:moveTo>
                  <a:pt x="22625" y="17624"/>
                </a:moveTo>
                <a:cubicBezTo>
                  <a:pt x="22625" y="17656"/>
                  <a:pt x="22625" y="17687"/>
                  <a:pt x="22625" y="17718"/>
                </a:cubicBezTo>
                <a:cubicBezTo>
                  <a:pt x="22719" y="17749"/>
                  <a:pt x="22781" y="17749"/>
                  <a:pt x="22875" y="17749"/>
                </a:cubicBezTo>
                <a:cubicBezTo>
                  <a:pt x="22813" y="17687"/>
                  <a:pt x="22750" y="17656"/>
                  <a:pt x="22688" y="17624"/>
                </a:cubicBezTo>
                <a:cubicBezTo>
                  <a:pt x="22656" y="17593"/>
                  <a:pt x="22625" y="17593"/>
                  <a:pt x="22625" y="17624"/>
                </a:cubicBezTo>
                <a:close/>
                <a:moveTo>
                  <a:pt x="6656" y="13406"/>
                </a:moveTo>
                <a:cubicBezTo>
                  <a:pt x="6656" y="13531"/>
                  <a:pt x="6656" y="13531"/>
                  <a:pt x="6531" y="13499"/>
                </a:cubicBezTo>
                <a:cubicBezTo>
                  <a:pt x="6563" y="13437"/>
                  <a:pt x="6625" y="13468"/>
                  <a:pt x="6656" y="13406"/>
                </a:cubicBezTo>
                <a:close/>
                <a:moveTo>
                  <a:pt x="23063" y="17718"/>
                </a:moveTo>
                <a:cubicBezTo>
                  <a:pt x="23063" y="17718"/>
                  <a:pt x="23031" y="17687"/>
                  <a:pt x="23000" y="17718"/>
                </a:cubicBezTo>
                <a:cubicBezTo>
                  <a:pt x="23000" y="17749"/>
                  <a:pt x="23000" y="17781"/>
                  <a:pt x="23031" y="17812"/>
                </a:cubicBezTo>
                <a:cubicBezTo>
                  <a:pt x="23094" y="17843"/>
                  <a:pt x="23188" y="17874"/>
                  <a:pt x="23281" y="17874"/>
                </a:cubicBezTo>
                <a:cubicBezTo>
                  <a:pt x="23219" y="17812"/>
                  <a:pt x="23125" y="17781"/>
                  <a:pt x="23063" y="17718"/>
                </a:cubicBezTo>
                <a:close/>
                <a:moveTo>
                  <a:pt x="24219" y="17749"/>
                </a:moveTo>
                <a:cubicBezTo>
                  <a:pt x="24281" y="17749"/>
                  <a:pt x="24344" y="17812"/>
                  <a:pt x="24469" y="17781"/>
                </a:cubicBezTo>
                <a:cubicBezTo>
                  <a:pt x="24375" y="17718"/>
                  <a:pt x="24313" y="17687"/>
                  <a:pt x="24250" y="17624"/>
                </a:cubicBezTo>
                <a:cubicBezTo>
                  <a:pt x="24219" y="17624"/>
                  <a:pt x="24219" y="17656"/>
                  <a:pt x="24219" y="17656"/>
                </a:cubicBezTo>
                <a:cubicBezTo>
                  <a:pt x="24219" y="17687"/>
                  <a:pt x="24156" y="17718"/>
                  <a:pt x="24219" y="17749"/>
                </a:cubicBezTo>
                <a:close/>
                <a:moveTo>
                  <a:pt x="6625" y="13718"/>
                </a:moveTo>
                <a:cubicBezTo>
                  <a:pt x="6500" y="13656"/>
                  <a:pt x="6375" y="13718"/>
                  <a:pt x="6250" y="13656"/>
                </a:cubicBezTo>
                <a:cubicBezTo>
                  <a:pt x="6219" y="13656"/>
                  <a:pt x="6219" y="13656"/>
                  <a:pt x="6219" y="13687"/>
                </a:cubicBezTo>
                <a:cubicBezTo>
                  <a:pt x="6250" y="13749"/>
                  <a:pt x="6313" y="13781"/>
                  <a:pt x="6344" y="13749"/>
                </a:cubicBezTo>
                <a:cubicBezTo>
                  <a:pt x="6438" y="13718"/>
                  <a:pt x="6531" y="13749"/>
                  <a:pt x="6625" y="13749"/>
                </a:cubicBezTo>
                <a:cubicBezTo>
                  <a:pt x="6656" y="13749"/>
                  <a:pt x="6656" y="13749"/>
                  <a:pt x="6656" y="13749"/>
                </a:cubicBezTo>
                <a:cubicBezTo>
                  <a:pt x="6625" y="13812"/>
                  <a:pt x="6563" y="13812"/>
                  <a:pt x="6531" y="13843"/>
                </a:cubicBezTo>
                <a:lnTo>
                  <a:pt x="6531" y="13843"/>
                </a:lnTo>
                <a:cubicBezTo>
                  <a:pt x="6469" y="13781"/>
                  <a:pt x="6438" y="13843"/>
                  <a:pt x="6406" y="13843"/>
                </a:cubicBezTo>
                <a:cubicBezTo>
                  <a:pt x="6438" y="13906"/>
                  <a:pt x="6500" y="13937"/>
                  <a:pt x="6531" y="13968"/>
                </a:cubicBezTo>
                <a:cubicBezTo>
                  <a:pt x="6594" y="14062"/>
                  <a:pt x="6656" y="14031"/>
                  <a:pt x="6688" y="13999"/>
                </a:cubicBezTo>
                <a:cubicBezTo>
                  <a:pt x="6781" y="13999"/>
                  <a:pt x="6813" y="13906"/>
                  <a:pt x="6906" y="13968"/>
                </a:cubicBezTo>
                <a:cubicBezTo>
                  <a:pt x="6875" y="13874"/>
                  <a:pt x="6781" y="13874"/>
                  <a:pt x="6781" y="13812"/>
                </a:cubicBezTo>
                <a:cubicBezTo>
                  <a:pt x="6750" y="13749"/>
                  <a:pt x="6688" y="13749"/>
                  <a:pt x="6656" y="13749"/>
                </a:cubicBezTo>
                <a:cubicBezTo>
                  <a:pt x="6656" y="13749"/>
                  <a:pt x="6656" y="13749"/>
                  <a:pt x="6625" y="13749"/>
                </a:cubicBezTo>
                <a:cubicBezTo>
                  <a:pt x="6625" y="13749"/>
                  <a:pt x="6625" y="13718"/>
                  <a:pt x="6625" y="13718"/>
                </a:cubicBezTo>
                <a:close/>
                <a:moveTo>
                  <a:pt x="15188" y="4593"/>
                </a:moveTo>
                <a:cubicBezTo>
                  <a:pt x="15156" y="4593"/>
                  <a:pt x="15156" y="4625"/>
                  <a:pt x="15156" y="4656"/>
                </a:cubicBezTo>
                <a:cubicBezTo>
                  <a:pt x="15125" y="4687"/>
                  <a:pt x="15156" y="4750"/>
                  <a:pt x="15188" y="4750"/>
                </a:cubicBezTo>
                <a:cubicBezTo>
                  <a:pt x="15281" y="4781"/>
                  <a:pt x="15281" y="4875"/>
                  <a:pt x="15313" y="4937"/>
                </a:cubicBezTo>
                <a:cubicBezTo>
                  <a:pt x="15281" y="4843"/>
                  <a:pt x="15313" y="4718"/>
                  <a:pt x="15219" y="4656"/>
                </a:cubicBezTo>
                <a:cubicBezTo>
                  <a:pt x="15219" y="4656"/>
                  <a:pt x="15219" y="4593"/>
                  <a:pt x="15188" y="4593"/>
                </a:cubicBezTo>
                <a:close/>
                <a:moveTo>
                  <a:pt x="12438" y="6468"/>
                </a:move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lnTo>
                  <a:pt x="12438" y="6468"/>
                </a:lnTo>
                <a:cubicBezTo>
                  <a:pt x="12438" y="6468"/>
                  <a:pt x="12438" y="6468"/>
                  <a:pt x="12438" y="6468"/>
                </a:cubicBezTo>
                <a:cubicBezTo>
                  <a:pt x="12438" y="6468"/>
                  <a:pt x="12438" y="6468"/>
                  <a:pt x="12438" y="6468"/>
                </a:cubicBezTo>
                <a:close/>
                <a:moveTo>
                  <a:pt x="12625" y="5750"/>
                </a:moveTo>
                <a:cubicBezTo>
                  <a:pt x="12625" y="5750"/>
                  <a:pt x="12594" y="5750"/>
                  <a:pt x="12594" y="5750"/>
                </a:cubicBezTo>
                <a:cubicBezTo>
                  <a:pt x="12594" y="5750"/>
                  <a:pt x="12625" y="5750"/>
                  <a:pt x="12625" y="5750"/>
                </a:cubicBezTo>
                <a:close/>
                <a:moveTo>
                  <a:pt x="12594" y="5750"/>
                </a:moveTo>
                <a:close/>
                <a:moveTo>
                  <a:pt x="23531" y="17968"/>
                </a:moveTo>
                <a:cubicBezTo>
                  <a:pt x="23531" y="17968"/>
                  <a:pt x="23531" y="17968"/>
                  <a:pt x="23531" y="17968"/>
                </a:cubicBezTo>
                <a:close/>
                <a:moveTo>
                  <a:pt x="8438" y="14656"/>
                </a:moveTo>
                <a:cubicBezTo>
                  <a:pt x="8563" y="14656"/>
                  <a:pt x="8656" y="14687"/>
                  <a:pt x="8781" y="14718"/>
                </a:cubicBezTo>
                <a:cubicBezTo>
                  <a:pt x="8625" y="14531"/>
                  <a:pt x="8500" y="14499"/>
                  <a:pt x="8438" y="14656"/>
                </a:cubicBezTo>
                <a:close/>
                <a:moveTo>
                  <a:pt x="8188" y="17374"/>
                </a:moveTo>
                <a:cubicBezTo>
                  <a:pt x="8188" y="17406"/>
                  <a:pt x="8219" y="17468"/>
                  <a:pt x="8250" y="17468"/>
                </a:cubicBezTo>
                <a:cubicBezTo>
                  <a:pt x="8313" y="17468"/>
                  <a:pt x="8375" y="17437"/>
                  <a:pt x="8406" y="17406"/>
                </a:cubicBezTo>
                <a:cubicBezTo>
                  <a:pt x="8406" y="17374"/>
                  <a:pt x="8281" y="17281"/>
                  <a:pt x="8250" y="17281"/>
                </a:cubicBezTo>
                <a:cubicBezTo>
                  <a:pt x="8219" y="17281"/>
                  <a:pt x="8156" y="17312"/>
                  <a:pt x="8188" y="17374"/>
                </a:cubicBezTo>
                <a:close/>
                <a:moveTo>
                  <a:pt x="30000" y="23781"/>
                </a:moveTo>
                <a:cubicBezTo>
                  <a:pt x="30000" y="23781"/>
                  <a:pt x="30000" y="23781"/>
                  <a:pt x="30000" y="23749"/>
                </a:cubicBezTo>
                <a:cubicBezTo>
                  <a:pt x="29969" y="23718"/>
                  <a:pt x="29875" y="23718"/>
                  <a:pt x="29906" y="23624"/>
                </a:cubicBezTo>
                <a:cubicBezTo>
                  <a:pt x="29906" y="23624"/>
                  <a:pt x="29875" y="23593"/>
                  <a:pt x="29875" y="23593"/>
                </a:cubicBezTo>
                <a:cubicBezTo>
                  <a:pt x="29938" y="23593"/>
                  <a:pt x="30031" y="23562"/>
                  <a:pt x="30031" y="23687"/>
                </a:cubicBezTo>
                <a:cubicBezTo>
                  <a:pt x="30031" y="23687"/>
                  <a:pt x="30063" y="23718"/>
                  <a:pt x="30094" y="23718"/>
                </a:cubicBezTo>
                <a:cubicBezTo>
                  <a:pt x="30125" y="23718"/>
                  <a:pt x="30125" y="23718"/>
                  <a:pt x="30125" y="23687"/>
                </a:cubicBezTo>
                <a:cubicBezTo>
                  <a:pt x="30125" y="23624"/>
                  <a:pt x="30156" y="23656"/>
                  <a:pt x="30188" y="23656"/>
                </a:cubicBezTo>
                <a:cubicBezTo>
                  <a:pt x="30219" y="23656"/>
                  <a:pt x="30250" y="23687"/>
                  <a:pt x="30219" y="23718"/>
                </a:cubicBezTo>
                <a:lnTo>
                  <a:pt x="30219" y="23718"/>
                </a:lnTo>
                <a:cubicBezTo>
                  <a:pt x="30188" y="23718"/>
                  <a:pt x="30219" y="23749"/>
                  <a:pt x="30219" y="23781"/>
                </a:cubicBezTo>
                <a:cubicBezTo>
                  <a:pt x="30156" y="23749"/>
                  <a:pt x="30094" y="23749"/>
                  <a:pt x="30000" y="23749"/>
                </a:cubicBezTo>
                <a:cubicBezTo>
                  <a:pt x="30000" y="23781"/>
                  <a:pt x="30000" y="23781"/>
                  <a:pt x="30000" y="23781"/>
                </a:cubicBezTo>
                <a:cubicBezTo>
                  <a:pt x="29969" y="23781"/>
                  <a:pt x="29875" y="23781"/>
                  <a:pt x="29875" y="23718"/>
                </a:cubicBezTo>
                <a:lnTo>
                  <a:pt x="29875" y="23718"/>
                </a:lnTo>
                <a:cubicBezTo>
                  <a:pt x="29875" y="23593"/>
                  <a:pt x="29781" y="23593"/>
                  <a:pt x="29719" y="23624"/>
                </a:cubicBezTo>
                <a:cubicBezTo>
                  <a:pt x="29688" y="23687"/>
                  <a:pt x="29813" y="23656"/>
                  <a:pt x="29813" y="23749"/>
                </a:cubicBezTo>
                <a:cubicBezTo>
                  <a:pt x="29781" y="23812"/>
                  <a:pt x="29875" y="23781"/>
                  <a:pt x="29906" y="23843"/>
                </a:cubicBezTo>
                <a:cubicBezTo>
                  <a:pt x="29969" y="23781"/>
                  <a:pt x="30031" y="23874"/>
                  <a:pt x="30094" y="23843"/>
                </a:cubicBezTo>
                <a:cubicBezTo>
                  <a:pt x="30063" y="23812"/>
                  <a:pt x="30000" y="23812"/>
                  <a:pt x="30000" y="23781"/>
                </a:cubicBezTo>
                <a:close/>
                <a:moveTo>
                  <a:pt x="23000" y="17531"/>
                </a:moveTo>
                <a:cubicBezTo>
                  <a:pt x="22938" y="17531"/>
                  <a:pt x="22844" y="17468"/>
                  <a:pt x="22750" y="17499"/>
                </a:cubicBezTo>
                <a:cubicBezTo>
                  <a:pt x="22750" y="17562"/>
                  <a:pt x="22750" y="17656"/>
                  <a:pt x="22844" y="17687"/>
                </a:cubicBezTo>
                <a:cubicBezTo>
                  <a:pt x="22875" y="17687"/>
                  <a:pt x="22875" y="17718"/>
                  <a:pt x="22906" y="17718"/>
                </a:cubicBezTo>
                <a:cubicBezTo>
                  <a:pt x="22938" y="17687"/>
                  <a:pt x="22938" y="17656"/>
                  <a:pt x="22906" y="17656"/>
                </a:cubicBezTo>
                <a:cubicBezTo>
                  <a:pt x="22906" y="17624"/>
                  <a:pt x="22875" y="17624"/>
                  <a:pt x="22875" y="17593"/>
                </a:cubicBezTo>
                <a:cubicBezTo>
                  <a:pt x="22938" y="17593"/>
                  <a:pt x="23000" y="17593"/>
                  <a:pt x="23000" y="17531"/>
                </a:cubicBezTo>
                <a:close/>
                <a:moveTo>
                  <a:pt x="9313" y="14343"/>
                </a:moveTo>
                <a:cubicBezTo>
                  <a:pt x="9281" y="14343"/>
                  <a:pt x="9281" y="14343"/>
                  <a:pt x="9281" y="14343"/>
                </a:cubicBezTo>
                <a:cubicBezTo>
                  <a:pt x="9281" y="14343"/>
                  <a:pt x="9281" y="14312"/>
                  <a:pt x="9281" y="14312"/>
                </a:cubicBezTo>
                <a:cubicBezTo>
                  <a:pt x="9063" y="14281"/>
                  <a:pt x="8875" y="14218"/>
                  <a:pt x="8656" y="14218"/>
                </a:cubicBezTo>
                <a:cubicBezTo>
                  <a:pt x="8656" y="14187"/>
                  <a:pt x="8656" y="14187"/>
                  <a:pt x="8656" y="14218"/>
                </a:cubicBezTo>
                <a:cubicBezTo>
                  <a:pt x="8625" y="14187"/>
                  <a:pt x="8594" y="14187"/>
                  <a:pt x="8594" y="14187"/>
                </a:cubicBezTo>
                <a:cubicBezTo>
                  <a:pt x="8438" y="14124"/>
                  <a:pt x="8281" y="14124"/>
                  <a:pt x="8156" y="14062"/>
                </a:cubicBezTo>
                <a:cubicBezTo>
                  <a:pt x="8125" y="14062"/>
                  <a:pt x="8094" y="14062"/>
                  <a:pt x="8094" y="14093"/>
                </a:cubicBezTo>
                <a:cubicBezTo>
                  <a:pt x="8094" y="14093"/>
                  <a:pt x="8094" y="14124"/>
                  <a:pt x="8094" y="14124"/>
                </a:cubicBezTo>
                <a:cubicBezTo>
                  <a:pt x="8094" y="14093"/>
                  <a:pt x="8094" y="14093"/>
                  <a:pt x="8094" y="14093"/>
                </a:cubicBezTo>
                <a:cubicBezTo>
                  <a:pt x="8156" y="14093"/>
                  <a:pt x="8219" y="14156"/>
                  <a:pt x="8250" y="14187"/>
                </a:cubicBezTo>
                <a:cubicBezTo>
                  <a:pt x="8313" y="14218"/>
                  <a:pt x="8344" y="14218"/>
                  <a:pt x="8406" y="14218"/>
                </a:cubicBezTo>
                <a:cubicBezTo>
                  <a:pt x="8469" y="14187"/>
                  <a:pt x="8531" y="14187"/>
                  <a:pt x="8594" y="14218"/>
                </a:cubicBezTo>
                <a:cubicBezTo>
                  <a:pt x="8563" y="14249"/>
                  <a:pt x="8563" y="14249"/>
                  <a:pt x="8531" y="14249"/>
                </a:cubicBezTo>
                <a:cubicBezTo>
                  <a:pt x="8531" y="14249"/>
                  <a:pt x="8531" y="14249"/>
                  <a:pt x="8500" y="14249"/>
                </a:cubicBezTo>
                <a:cubicBezTo>
                  <a:pt x="8500" y="14249"/>
                  <a:pt x="8500" y="14249"/>
                  <a:pt x="8469" y="14281"/>
                </a:cubicBezTo>
                <a:cubicBezTo>
                  <a:pt x="8438" y="14281"/>
                  <a:pt x="8406" y="14281"/>
                  <a:pt x="8375" y="14281"/>
                </a:cubicBezTo>
                <a:cubicBezTo>
                  <a:pt x="8406" y="14312"/>
                  <a:pt x="8406" y="14343"/>
                  <a:pt x="8469" y="14343"/>
                </a:cubicBezTo>
                <a:cubicBezTo>
                  <a:pt x="8531" y="14374"/>
                  <a:pt x="8531" y="14531"/>
                  <a:pt x="8688" y="14437"/>
                </a:cubicBezTo>
                <a:cubicBezTo>
                  <a:pt x="8688" y="14406"/>
                  <a:pt x="8750" y="14406"/>
                  <a:pt x="8781" y="14374"/>
                </a:cubicBezTo>
                <a:cubicBezTo>
                  <a:pt x="8781" y="14374"/>
                  <a:pt x="8781" y="14374"/>
                  <a:pt x="8781" y="14374"/>
                </a:cubicBezTo>
                <a:cubicBezTo>
                  <a:pt x="8781" y="14406"/>
                  <a:pt x="8813" y="14406"/>
                  <a:pt x="8844" y="14406"/>
                </a:cubicBezTo>
                <a:cubicBezTo>
                  <a:pt x="8844" y="14406"/>
                  <a:pt x="8844" y="14406"/>
                  <a:pt x="8844" y="14374"/>
                </a:cubicBezTo>
                <a:cubicBezTo>
                  <a:pt x="8844" y="14343"/>
                  <a:pt x="8813" y="14343"/>
                  <a:pt x="8813" y="14343"/>
                </a:cubicBezTo>
                <a:cubicBezTo>
                  <a:pt x="8781" y="14312"/>
                  <a:pt x="8750" y="14312"/>
                  <a:pt x="8750" y="14281"/>
                </a:cubicBezTo>
                <a:cubicBezTo>
                  <a:pt x="8719" y="14281"/>
                  <a:pt x="8719" y="14281"/>
                  <a:pt x="8719" y="14281"/>
                </a:cubicBezTo>
                <a:cubicBezTo>
                  <a:pt x="8719" y="14281"/>
                  <a:pt x="8719" y="14281"/>
                  <a:pt x="8750" y="14281"/>
                </a:cubicBezTo>
                <a:cubicBezTo>
                  <a:pt x="8813" y="14218"/>
                  <a:pt x="8844" y="14312"/>
                  <a:pt x="8875" y="14312"/>
                </a:cubicBezTo>
                <a:cubicBezTo>
                  <a:pt x="8906" y="14374"/>
                  <a:pt x="8938" y="14374"/>
                  <a:pt x="9000" y="14343"/>
                </a:cubicBezTo>
                <a:cubicBezTo>
                  <a:pt x="9094" y="14343"/>
                  <a:pt x="9156" y="14343"/>
                  <a:pt x="9250" y="14343"/>
                </a:cubicBezTo>
                <a:cubicBezTo>
                  <a:pt x="9219" y="14406"/>
                  <a:pt x="9156" y="14374"/>
                  <a:pt x="9125" y="14406"/>
                </a:cubicBezTo>
                <a:cubicBezTo>
                  <a:pt x="9219" y="14562"/>
                  <a:pt x="9313" y="14624"/>
                  <a:pt x="9469" y="14499"/>
                </a:cubicBezTo>
                <a:cubicBezTo>
                  <a:pt x="9438" y="14468"/>
                  <a:pt x="9406" y="14437"/>
                  <a:pt x="9344" y="14406"/>
                </a:cubicBezTo>
                <a:cubicBezTo>
                  <a:pt x="9344" y="14374"/>
                  <a:pt x="9375" y="14374"/>
                  <a:pt x="9406" y="14374"/>
                </a:cubicBezTo>
                <a:cubicBezTo>
                  <a:pt x="9438" y="14406"/>
                  <a:pt x="9500" y="14437"/>
                  <a:pt x="9531" y="14499"/>
                </a:cubicBezTo>
                <a:cubicBezTo>
                  <a:pt x="9563" y="14499"/>
                  <a:pt x="9594" y="14531"/>
                  <a:pt x="9594" y="14499"/>
                </a:cubicBezTo>
                <a:cubicBezTo>
                  <a:pt x="9688" y="14437"/>
                  <a:pt x="9750" y="14468"/>
                  <a:pt x="9844" y="14468"/>
                </a:cubicBezTo>
                <a:cubicBezTo>
                  <a:pt x="9844" y="14468"/>
                  <a:pt x="9844" y="14468"/>
                  <a:pt x="9844" y="14499"/>
                </a:cubicBezTo>
                <a:cubicBezTo>
                  <a:pt x="9844" y="14499"/>
                  <a:pt x="9813" y="14499"/>
                  <a:pt x="9813" y="14499"/>
                </a:cubicBezTo>
                <a:cubicBezTo>
                  <a:pt x="9750" y="14531"/>
                  <a:pt x="9688" y="14562"/>
                  <a:pt x="9719" y="14593"/>
                </a:cubicBezTo>
                <a:cubicBezTo>
                  <a:pt x="9750" y="14656"/>
                  <a:pt x="9813" y="14718"/>
                  <a:pt x="9875" y="14718"/>
                </a:cubicBezTo>
                <a:cubicBezTo>
                  <a:pt x="9938" y="14718"/>
                  <a:pt x="10031" y="14687"/>
                  <a:pt x="10094" y="14656"/>
                </a:cubicBezTo>
                <a:cubicBezTo>
                  <a:pt x="10063" y="14593"/>
                  <a:pt x="10000" y="14593"/>
                  <a:pt x="9969" y="14531"/>
                </a:cubicBezTo>
                <a:cubicBezTo>
                  <a:pt x="10000" y="14531"/>
                  <a:pt x="10031" y="14531"/>
                  <a:pt x="10031" y="14531"/>
                </a:cubicBezTo>
                <a:cubicBezTo>
                  <a:pt x="10094" y="14562"/>
                  <a:pt x="10125" y="14624"/>
                  <a:pt x="10188" y="14624"/>
                </a:cubicBezTo>
                <a:cubicBezTo>
                  <a:pt x="10219" y="14656"/>
                  <a:pt x="10250" y="14656"/>
                  <a:pt x="10281" y="14718"/>
                </a:cubicBezTo>
                <a:cubicBezTo>
                  <a:pt x="10313" y="14781"/>
                  <a:pt x="10375" y="14718"/>
                  <a:pt x="10375" y="14687"/>
                </a:cubicBezTo>
                <a:cubicBezTo>
                  <a:pt x="10406" y="14656"/>
                  <a:pt x="10438" y="14624"/>
                  <a:pt x="10469" y="14593"/>
                </a:cubicBezTo>
                <a:cubicBezTo>
                  <a:pt x="10250" y="14562"/>
                  <a:pt x="10063" y="14499"/>
                  <a:pt x="9844" y="14468"/>
                </a:cubicBezTo>
                <a:cubicBezTo>
                  <a:pt x="9844" y="14468"/>
                  <a:pt x="9844" y="14468"/>
                  <a:pt x="9844" y="14468"/>
                </a:cubicBezTo>
                <a:cubicBezTo>
                  <a:pt x="9656" y="14406"/>
                  <a:pt x="9500" y="14374"/>
                  <a:pt x="9313" y="14343"/>
                </a:cubicBezTo>
                <a:close/>
                <a:moveTo>
                  <a:pt x="20188" y="16531"/>
                </a:move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lnTo>
                  <a:pt x="20188" y="16531"/>
                </a:lnTo>
                <a:cubicBezTo>
                  <a:pt x="20188" y="16531"/>
                  <a:pt x="20188" y="16531"/>
                  <a:pt x="20188" y="16531"/>
                </a:cubicBezTo>
                <a:cubicBezTo>
                  <a:pt x="20188" y="16531"/>
                  <a:pt x="20188" y="16531"/>
                  <a:pt x="20188" y="16531"/>
                </a:cubicBezTo>
                <a:close/>
                <a:moveTo>
                  <a:pt x="17813" y="16062"/>
                </a:moveTo>
                <a:cubicBezTo>
                  <a:pt x="17719" y="15999"/>
                  <a:pt x="17594" y="15906"/>
                  <a:pt x="17469" y="15812"/>
                </a:cubicBezTo>
                <a:cubicBezTo>
                  <a:pt x="17469" y="15906"/>
                  <a:pt x="17531" y="15937"/>
                  <a:pt x="17531" y="15999"/>
                </a:cubicBezTo>
                <a:cubicBezTo>
                  <a:pt x="17531" y="16031"/>
                  <a:pt x="17563" y="16031"/>
                  <a:pt x="17594" y="16062"/>
                </a:cubicBezTo>
                <a:cubicBezTo>
                  <a:pt x="17594" y="16124"/>
                  <a:pt x="17656" y="16156"/>
                  <a:pt x="17656" y="16218"/>
                </a:cubicBezTo>
                <a:cubicBezTo>
                  <a:pt x="17656" y="16249"/>
                  <a:pt x="17688" y="16249"/>
                  <a:pt x="17719" y="16218"/>
                </a:cubicBezTo>
                <a:cubicBezTo>
                  <a:pt x="17781" y="16218"/>
                  <a:pt x="17813" y="16187"/>
                  <a:pt x="17844" y="16124"/>
                </a:cubicBezTo>
                <a:cubicBezTo>
                  <a:pt x="17844" y="16124"/>
                  <a:pt x="17875" y="16124"/>
                  <a:pt x="17844" y="16124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93"/>
                  <a:pt x="17844" y="16093"/>
                </a:cubicBezTo>
                <a:cubicBezTo>
                  <a:pt x="17844" y="16093"/>
                  <a:pt x="17844" y="16062"/>
                  <a:pt x="17813" y="16062"/>
                </a:cubicBezTo>
                <a:close/>
                <a:moveTo>
                  <a:pt x="17719" y="16093"/>
                </a:moveTo>
                <a:cubicBezTo>
                  <a:pt x="17719" y="16093"/>
                  <a:pt x="17719" y="16093"/>
                  <a:pt x="17719" y="16093"/>
                </a:cubicBezTo>
                <a:cubicBezTo>
                  <a:pt x="17719" y="16093"/>
                  <a:pt x="17719" y="16093"/>
                  <a:pt x="17750" y="16093"/>
                </a:cubicBezTo>
                <a:cubicBezTo>
                  <a:pt x="17719" y="16093"/>
                  <a:pt x="17719" y="16093"/>
                  <a:pt x="17719" y="16093"/>
                </a:cubicBezTo>
                <a:close/>
                <a:moveTo>
                  <a:pt x="7406" y="13937"/>
                </a:moveTo>
                <a:cubicBezTo>
                  <a:pt x="7406" y="13937"/>
                  <a:pt x="7375" y="13937"/>
                  <a:pt x="7375" y="13906"/>
                </a:cubicBezTo>
                <a:cubicBezTo>
                  <a:pt x="7313" y="13874"/>
                  <a:pt x="7219" y="13874"/>
                  <a:pt x="7156" y="13874"/>
                </a:cubicBezTo>
                <a:cubicBezTo>
                  <a:pt x="7188" y="13906"/>
                  <a:pt x="7250" y="13874"/>
                  <a:pt x="7281" y="13937"/>
                </a:cubicBezTo>
                <a:cubicBezTo>
                  <a:pt x="7219" y="13968"/>
                  <a:pt x="7156" y="13999"/>
                  <a:pt x="7094" y="13999"/>
                </a:cubicBezTo>
                <a:cubicBezTo>
                  <a:pt x="7250" y="14187"/>
                  <a:pt x="7250" y="14187"/>
                  <a:pt x="7563" y="14093"/>
                </a:cubicBezTo>
                <a:cubicBezTo>
                  <a:pt x="7531" y="14031"/>
                  <a:pt x="7469" y="13999"/>
                  <a:pt x="7438" y="13968"/>
                </a:cubicBezTo>
                <a:cubicBezTo>
                  <a:pt x="7500" y="13937"/>
                  <a:pt x="7531" y="13999"/>
                  <a:pt x="7563" y="14031"/>
                </a:cubicBezTo>
                <a:cubicBezTo>
                  <a:pt x="7625" y="14062"/>
                  <a:pt x="7656" y="14124"/>
                  <a:pt x="7719" y="14093"/>
                </a:cubicBezTo>
                <a:cubicBezTo>
                  <a:pt x="7781" y="14031"/>
                  <a:pt x="7875" y="14062"/>
                  <a:pt x="7938" y="14062"/>
                </a:cubicBezTo>
                <a:cubicBezTo>
                  <a:pt x="7906" y="13999"/>
                  <a:pt x="7844" y="13999"/>
                  <a:pt x="7813" y="13999"/>
                </a:cubicBezTo>
                <a:cubicBezTo>
                  <a:pt x="7656" y="13999"/>
                  <a:pt x="7531" y="13906"/>
                  <a:pt x="7406" y="13937"/>
                </a:cubicBezTo>
                <a:close/>
                <a:moveTo>
                  <a:pt x="7938" y="14062"/>
                </a:moveTo>
                <a:cubicBezTo>
                  <a:pt x="7969" y="14124"/>
                  <a:pt x="7906" y="14093"/>
                  <a:pt x="7844" y="14093"/>
                </a:cubicBezTo>
                <a:cubicBezTo>
                  <a:pt x="7813" y="14124"/>
                  <a:pt x="7781" y="14124"/>
                  <a:pt x="7750" y="14156"/>
                </a:cubicBezTo>
                <a:cubicBezTo>
                  <a:pt x="7750" y="14187"/>
                  <a:pt x="7813" y="14187"/>
                  <a:pt x="7813" y="14218"/>
                </a:cubicBezTo>
                <a:cubicBezTo>
                  <a:pt x="7844" y="14249"/>
                  <a:pt x="7875" y="14281"/>
                  <a:pt x="7906" y="14281"/>
                </a:cubicBezTo>
                <a:cubicBezTo>
                  <a:pt x="7938" y="14312"/>
                  <a:pt x="7969" y="14343"/>
                  <a:pt x="7969" y="14312"/>
                </a:cubicBezTo>
                <a:cubicBezTo>
                  <a:pt x="8000" y="14249"/>
                  <a:pt x="8031" y="14281"/>
                  <a:pt x="8094" y="14281"/>
                </a:cubicBezTo>
                <a:cubicBezTo>
                  <a:pt x="8125" y="14249"/>
                  <a:pt x="8156" y="14249"/>
                  <a:pt x="8219" y="14249"/>
                </a:cubicBezTo>
                <a:cubicBezTo>
                  <a:pt x="8188" y="14187"/>
                  <a:pt x="8094" y="14187"/>
                  <a:pt x="8094" y="14093"/>
                </a:cubicBezTo>
                <a:cubicBezTo>
                  <a:pt x="8063" y="14062"/>
                  <a:pt x="8000" y="14031"/>
                  <a:pt x="7938" y="14062"/>
                </a:cubicBezTo>
                <a:close/>
                <a:moveTo>
                  <a:pt x="19063" y="16562"/>
                </a:moveTo>
                <a:cubicBezTo>
                  <a:pt x="19063" y="16531"/>
                  <a:pt x="19063" y="16499"/>
                  <a:pt x="19031" y="16499"/>
                </a:cubicBezTo>
                <a:cubicBezTo>
                  <a:pt x="19000" y="16468"/>
                  <a:pt x="18906" y="16468"/>
                  <a:pt x="18906" y="16406"/>
                </a:cubicBezTo>
                <a:cubicBezTo>
                  <a:pt x="18813" y="16312"/>
                  <a:pt x="18781" y="16406"/>
                  <a:pt x="18750" y="16437"/>
                </a:cubicBezTo>
                <a:cubicBezTo>
                  <a:pt x="18719" y="16437"/>
                  <a:pt x="18719" y="16468"/>
                  <a:pt x="18688" y="16468"/>
                </a:cubicBezTo>
                <a:cubicBezTo>
                  <a:pt x="18781" y="16531"/>
                  <a:pt x="18906" y="16499"/>
                  <a:pt x="19000" y="16562"/>
                </a:cubicBezTo>
                <a:cubicBezTo>
                  <a:pt x="19031" y="16562"/>
                  <a:pt x="19063" y="16593"/>
                  <a:pt x="19063" y="16562"/>
                </a:cubicBezTo>
                <a:close/>
                <a:moveTo>
                  <a:pt x="20531" y="16781"/>
                </a:moveTo>
                <a:cubicBezTo>
                  <a:pt x="20500" y="16749"/>
                  <a:pt x="20500" y="16749"/>
                  <a:pt x="20469" y="16781"/>
                </a:cubicBezTo>
                <a:cubicBezTo>
                  <a:pt x="20438" y="16812"/>
                  <a:pt x="20406" y="16843"/>
                  <a:pt x="20375" y="16874"/>
                </a:cubicBezTo>
                <a:cubicBezTo>
                  <a:pt x="20375" y="16874"/>
                  <a:pt x="20375" y="16874"/>
                  <a:pt x="20406" y="16874"/>
                </a:cubicBezTo>
                <a:cubicBezTo>
                  <a:pt x="20500" y="16906"/>
                  <a:pt x="20594" y="16906"/>
                  <a:pt x="20688" y="16968"/>
                </a:cubicBezTo>
                <a:cubicBezTo>
                  <a:pt x="20688" y="16937"/>
                  <a:pt x="20719" y="16968"/>
                  <a:pt x="20719" y="16937"/>
                </a:cubicBezTo>
                <a:cubicBezTo>
                  <a:pt x="20750" y="16906"/>
                  <a:pt x="20719" y="16906"/>
                  <a:pt x="20719" y="16906"/>
                </a:cubicBezTo>
                <a:cubicBezTo>
                  <a:pt x="20656" y="16843"/>
                  <a:pt x="20594" y="16812"/>
                  <a:pt x="20531" y="16781"/>
                </a:cubicBezTo>
                <a:close/>
                <a:moveTo>
                  <a:pt x="24719" y="18124"/>
                </a:moveTo>
                <a:cubicBezTo>
                  <a:pt x="24750" y="18124"/>
                  <a:pt x="24781" y="18093"/>
                  <a:pt x="24750" y="18062"/>
                </a:cubicBezTo>
                <a:cubicBezTo>
                  <a:pt x="24719" y="17999"/>
                  <a:pt x="24656" y="17906"/>
                  <a:pt x="24563" y="17906"/>
                </a:cubicBezTo>
                <a:cubicBezTo>
                  <a:pt x="24563" y="17874"/>
                  <a:pt x="24531" y="17874"/>
                  <a:pt x="24531" y="17906"/>
                </a:cubicBezTo>
                <a:cubicBezTo>
                  <a:pt x="24500" y="17937"/>
                  <a:pt x="24500" y="17968"/>
                  <a:pt x="24500" y="17999"/>
                </a:cubicBezTo>
                <a:cubicBezTo>
                  <a:pt x="24594" y="18031"/>
                  <a:pt x="24656" y="18093"/>
                  <a:pt x="24719" y="18124"/>
                </a:cubicBezTo>
                <a:close/>
                <a:moveTo>
                  <a:pt x="16625" y="15749"/>
                </a:moveTo>
                <a:cubicBezTo>
                  <a:pt x="16625" y="15749"/>
                  <a:pt x="16625" y="15781"/>
                  <a:pt x="16656" y="15781"/>
                </a:cubicBezTo>
                <a:cubicBezTo>
                  <a:pt x="16656" y="15781"/>
                  <a:pt x="16656" y="15781"/>
                  <a:pt x="16656" y="15812"/>
                </a:cubicBezTo>
                <a:cubicBezTo>
                  <a:pt x="16656" y="15843"/>
                  <a:pt x="16656" y="15843"/>
                  <a:pt x="16688" y="15874"/>
                </a:cubicBezTo>
                <a:cubicBezTo>
                  <a:pt x="16688" y="15906"/>
                  <a:pt x="16719" y="15968"/>
                  <a:pt x="16750" y="15999"/>
                </a:cubicBezTo>
                <a:cubicBezTo>
                  <a:pt x="16750" y="16062"/>
                  <a:pt x="16781" y="16031"/>
                  <a:pt x="16813" y="15999"/>
                </a:cubicBezTo>
                <a:cubicBezTo>
                  <a:pt x="16875" y="15999"/>
                  <a:pt x="16906" y="15968"/>
                  <a:pt x="16938" y="15937"/>
                </a:cubicBezTo>
                <a:cubicBezTo>
                  <a:pt x="16969" y="15906"/>
                  <a:pt x="17000" y="15906"/>
                  <a:pt x="16969" y="15874"/>
                </a:cubicBezTo>
                <a:cubicBezTo>
                  <a:pt x="16969" y="15843"/>
                  <a:pt x="16938" y="15874"/>
                  <a:pt x="16938" y="15843"/>
                </a:cubicBezTo>
                <a:cubicBezTo>
                  <a:pt x="16906" y="15812"/>
                  <a:pt x="16813" y="15812"/>
                  <a:pt x="16813" y="15749"/>
                </a:cubicBezTo>
                <a:cubicBezTo>
                  <a:pt x="16719" y="15749"/>
                  <a:pt x="16656" y="15624"/>
                  <a:pt x="16563" y="15624"/>
                </a:cubicBezTo>
                <a:cubicBezTo>
                  <a:pt x="16594" y="15656"/>
                  <a:pt x="16594" y="15687"/>
                  <a:pt x="16625" y="15749"/>
                </a:cubicBezTo>
                <a:close/>
                <a:moveTo>
                  <a:pt x="16813" y="15749"/>
                </a:moveTo>
                <a:cubicBezTo>
                  <a:pt x="16844" y="15718"/>
                  <a:pt x="16875" y="15749"/>
                  <a:pt x="16906" y="15781"/>
                </a:cubicBezTo>
                <a:cubicBezTo>
                  <a:pt x="16969" y="15812"/>
                  <a:pt x="17000" y="15874"/>
                  <a:pt x="17063" y="15843"/>
                </a:cubicBezTo>
                <a:cubicBezTo>
                  <a:pt x="17125" y="15812"/>
                  <a:pt x="17219" y="15749"/>
                  <a:pt x="17281" y="15687"/>
                </a:cubicBezTo>
                <a:cubicBezTo>
                  <a:pt x="17125" y="15593"/>
                  <a:pt x="16969" y="15468"/>
                  <a:pt x="16813" y="15374"/>
                </a:cubicBezTo>
                <a:cubicBezTo>
                  <a:pt x="16781" y="15343"/>
                  <a:pt x="16781" y="15343"/>
                  <a:pt x="16750" y="15343"/>
                </a:cubicBezTo>
                <a:lnTo>
                  <a:pt x="16750" y="15343"/>
                </a:lnTo>
                <a:cubicBezTo>
                  <a:pt x="16688" y="15406"/>
                  <a:pt x="16594" y="15437"/>
                  <a:pt x="16500" y="15499"/>
                </a:cubicBezTo>
                <a:cubicBezTo>
                  <a:pt x="16563" y="15531"/>
                  <a:pt x="16625" y="15562"/>
                  <a:pt x="16656" y="15593"/>
                </a:cubicBezTo>
                <a:cubicBezTo>
                  <a:pt x="16688" y="15656"/>
                  <a:pt x="16781" y="15656"/>
                  <a:pt x="16813" y="15749"/>
                </a:cubicBezTo>
                <a:close/>
                <a:moveTo>
                  <a:pt x="11656" y="14406"/>
                </a:moveTo>
                <a:cubicBezTo>
                  <a:pt x="11625" y="14374"/>
                  <a:pt x="11625" y="14406"/>
                  <a:pt x="11625" y="14437"/>
                </a:cubicBezTo>
                <a:cubicBezTo>
                  <a:pt x="11625" y="14437"/>
                  <a:pt x="11625" y="14437"/>
                  <a:pt x="11625" y="14468"/>
                </a:cubicBezTo>
                <a:cubicBezTo>
                  <a:pt x="11656" y="14468"/>
                  <a:pt x="11656" y="14499"/>
                  <a:pt x="11656" y="14531"/>
                </a:cubicBezTo>
                <a:cubicBezTo>
                  <a:pt x="11656" y="14531"/>
                  <a:pt x="11656" y="14562"/>
                  <a:pt x="11656" y="14562"/>
                </a:cubicBezTo>
                <a:cubicBezTo>
                  <a:pt x="11656" y="14562"/>
                  <a:pt x="11656" y="14562"/>
                  <a:pt x="11656" y="14562"/>
                </a:cubicBezTo>
                <a:cubicBezTo>
                  <a:pt x="11656" y="14593"/>
                  <a:pt x="11656" y="14593"/>
                  <a:pt x="11656" y="14624"/>
                </a:cubicBezTo>
                <a:cubicBezTo>
                  <a:pt x="11656" y="14624"/>
                  <a:pt x="11656" y="14656"/>
                  <a:pt x="11656" y="14656"/>
                </a:cubicBezTo>
                <a:cubicBezTo>
                  <a:pt x="11656" y="14656"/>
                  <a:pt x="11656" y="14687"/>
                  <a:pt x="11656" y="14687"/>
                </a:cubicBezTo>
                <a:cubicBezTo>
                  <a:pt x="11656" y="14749"/>
                  <a:pt x="11625" y="14812"/>
                  <a:pt x="11688" y="14843"/>
                </a:cubicBezTo>
                <a:cubicBezTo>
                  <a:pt x="11719" y="14843"/>
                  <a:pt x="11781" y="14812"/>
                  <a:pt x="11813" y="14781"/>
                </a:cubicBezTo>
                <a:cubicBezTo>
                  <a:pt x="11813" y="14781"/>
                  <a:pt x="11844" y="14781"/>
                  <a:pt x="11875" y="14781"/>
                </a:cubicBezTo>
                <a:cubicBezTo>
                  <a:pt x="11906" y="14749"/>
                  <a:pt x="11969" y="14749"/>
                  <a:pt x="12000" y="14718"/>
                </a:cubicBezTo>
                <a:cubicBezTo>
                  <a:pt x="12031" y="14718"/>
                  <a:pt x="12063" y="14687"/>
                  <a:pt x="12000" y="14656"/>
                </a:cubicBezTo>
                <a:cubicBezTo>
                  <a:pt x="11906" y="14562"/>
                  <a:pt x="11781" y="14499"/>
                  <a:pt x="11656" y="14406"/>
                </a:cubicBezTo>
                <a:close/>
                <a:moveTo>
                  <a:pt x="10219" y="14843"/>
                </a:moveTo>
                <a:cubicBezTo>
                  <a:pt x="10250" y="14812"/>
                  <a:pt x="10281" y="14812"/>
                  <a:pt x="10250" y="14781"/>
                </a:cubicBezTo>
                <a:cubicBezTo>
                  <a:pt x="10250" y="14749"/>
                  <a:pt x="10219" y="14718"/>
                  <a:pt x="10188" y="14718"/>
                </a:cubicBezTo>
                <a:cubicBezTo>
                  <a:pt x="10125" y="14749"/>
                  <a:pt x="10063" y="14781"/>
                  <a:pt x="9969" y="14781"/>
                </a:cubicBezTo>
                <a:cubicBezTo>
                  <a:pt x="9969" y="14781"/>
                  <a:pt x="9969" y="14812"/>
                  <a:pt x="10000" y="14843"/>
                </a:cubicBezTo>
                <a:cubicBezTo>
                  <a:pt x="10094" y="14937"/>
                  <a:pt x="10125" y="14937"/>
                  <a:pt x="10219" y="14843"/>
                </a:cubicBezTo>
                <a:close/>
                <a:moveTo>
                  <a:pt x="19594" y="16624"/>
                </a:moveTo>
                <a:cubicBezTo>
                  <a:pt x="19563" y="16687"/>
                  <a:pt x="19563" y="16687"/>
                  <a:pt x="19594" y="16687"/>
                </a:cubicBezTo>
                <a:cubicBezTo>
                  <a:pt x="19719" y="16687"/>
                  <a:pt x="19813" y="16749"/>
                  <a:pt x="19969" y="16781"/>
                </a:cubicBezTo>
                <a:cubicBezTo>
                  <a:pt x="19906" y="16687"/>
                  <a:pt x="19813" y="16656"/>
                  <a:pt x="19750" y="16624"/>
                </a:cubicBezTo>
                <a:cubicBezTo>
                  <a:pt x="19688" y="16562"/>
                  <a:pt x="19625" y="16562"/>
                  <a:pt x="19594" y="16624"/>
                </a:cubicBezTo>
                <a:close/>
                <a:moveTo>
                  <a:pt x="7969" y="14406"/>
                </a:moveTo>
                <a:cubicBezTo>
                  <a:pt x="7969" y="14406"/>
                  <a:pt x="7938" y="14374"/>
                  <a:pt x="7906" y="14406"/>
                </a:cubicBezTo>
                <a:cubicBezTo>
                  <a:pt x="7813" y="14437"/>
                  <a:pt x="7719" y="14437"/>
                  <a:pt x="7625" y="14468"/>
                </a:cubicBezTo>
                <a:cubicBezTo>
                  <a:pt x="7781" y="14531"/>
                  <a:pt x="7969" y="14531"/>
                  <a:pt x="8125" y="14562"/>
                </a:cubicBezTo>
                <a:cubicBezTo>
                  <a:pt x="8063" y="14531"/>
                  <a:pt x="8031" y="14468"/>
                  <a:pt x="7969" y="14406"/>
                </a:cubicBezTo>
                <a:close/>
                <a:moveTo>
                  <a:pt x="6156" y="13999"/>
                </a:moveTo>
                <a:cubicBezTo>
                  <a:pt x="6188" y="14031"/>
                  <a:pt x="6250" y="14062"/>
                  <a:pt x="6281" y="13999"/>
                </a:cubicBezTo>
                <a:cubicBezTo>
                  <a:pt x="6281" y="13999"/>
                  <a:pt x="6313" y="13999"/>
                  <a:pt x="6313" y="13999"/>
                </a:cubicBezTo>
                <a:cubicBezTo>
                  <a:pt x="6344" y="14062"/>
                  <a:pt x="6375" y="14124"/>
                  <a:pt x="6438" y="14031"/>
                </a:cubicBezTo>
                <a:cubicBezTo>
                  <a:pt x="6469" y="14062"/>
                  <a:pt x="6469" y="14062"/>
                  <a:pt x="6500" y="14062"/>
                </a:cubicBezTo>
                <a:cubicBezTo>
                  <a:pt x="6375" y="13843"/>
                  <a:pt x="6219" y="13812"/>
                  <a:pt x="6031" y="13937"/>
                </a:cubicBezTo>
                <a:cubicBezTo>
                  <a:pt x="6063" y="13968"/>
                  <a:pt x="6063" y="14062"/>
                  <a:pt x="6156" y="13999"/>
                </a:cubicBezTo>
                <a:close/>
                <a:moveTo>
                  <a:pt x="6000" y="13468"/>
                </a:moveTo>
                <a:cubicBezTo>
                  <a:pt x="6156" y="13499"/>
                  <a:pt x="6250" y="13531"/>
                  <a:pt x="6344" y="13562"/>
                </a:cubicBezTo>
                <a:cubicBezTo>
                  <a:pt x="6375" y="13562"/>
                  <a:pt x="6406" y="13562"/>
                  <a:pt x="6406" y="13531"/>
                </a:cubicBezTo>
                <a:cubicBezTo>
                  <a:pt x="6406" y="13499"/>
                  <a:pt x="6375" y="13531"/>
                  <a:pt x="6375" y="13531"/>
                </a:cubicBezTo>
                <a:cubicBezTo>
                  <a:pt x="6344" y="13531"/>
                  <a:pt x="6313" y="13499"/>
                  <a:pt x="6313" y="13499"/>
                </a:cubicBezTo>
                <a:cubicBezTo>
                  <a:pt x="6281" y="13374"/>
                  <a:pt x="6250" y="13343"/>
                  <a:pt x="6125" y="13406"/>
                </a:cubicBezTo>
                <a:cubicBezTo>
                  <a:pt x="6094" y="13437"/>
                  <a:pt x="6063" y="13437"/>
                  <a:pt x="6000" y="13468"/>
                </a:cubicBezTo>
                <a:close/>
                <a:moveTo>
                  <a:pt x="17938" y="16187"/>
                </a:moveTo>
                <a:cubicBezTo>
                  <a:pt x="17875" y="16218"/>
                  <a:pt x="17844" y="16249"/>
                  <a:pt x="17813" y="16281"/>
                </a:cubicBezTo>
                <a:cubicBezTo>
                  <a:pt x="17969" y="16312"/>
                  <a:pt x="18125" y="16374"/>
                  <a:pt x="18281" y="16406"/>
                </a:cubicBezTo>
                <a:cubicBezTo>
                  <a:pt x="18281" y="16406"/>
                  <a:pt x="18281" y="16406"/>
                  <a:pt x="18313" y="16374"/>
                </a:cubicBezTo>
                <a:cubicBezTo>
                  <a:pt x="18188" y="16312"/>
                  <a:pt x="18094" y="16249"/>
                  <a:pt x="18000" y="16156"/>
                </a:cubicBezTo>
                <a:cubicBezTo>
                  <a:pt x="17969" y="16156"/>
                  <a:pt x="17938" y="16156"/>
                  <a:pt x="17938" y="16187"/>
                </a:cubicBezTo>
                <a:close/>
                <a:moveTo>
                  <a:pt x="22625" y="17968"/>
                </a:moveTo>
                <a:cubicBezTo>
                  <a:pt x="22625" y="17968"/>
                  <a:pt x="22625" y="17968"/>
                  <a:pt x="22625" y="17968"/>
                </a:cubicBezTo>
                <a:cubicBezTo>
                  <a:pt x="22625" y="17968"/>
                  <a:pt x="22625" y="17968"/>
                  <a:pt x="22625" y="17968"/>
                </a:cubicBezTo>
                <a:close/>
                <a:moveTo>
                  <a:pt x="23438" y="17749"/>
                </a:moveTo>
                <a:cubicBezTo>
                  <a:pt x="23438" y="17656"/>
                  <a:pt x="23500" y="17656"/>
                  <a:pt x="23531" y="17687"/>
                </a:cubicBezTo>
                <a:cubicBezTo>
                  <a:pt x="23594" y="17718"/>
                  <a:pt x="23688" y="17749"/>
                  <a:pt x="23781" y="17718"/>
                </a:cubicBezTo>
                <a:cubicBezTo>
                  <a:pt x="23563" y="17656"/>
                  <a:pt x="23156" y="17562"/>
                  <a:pt x="23063" y="17593"/>
                </a:cubicBezTo>
                <a:cubicBezTo>
                  <a:pt x="23094" y="17593"/>
                  <a:pt x="23125" y="17593"/>
                  <a:pt x="23125" y="17624"/>
                </a:cubicBezTo>
                <a:cubicBezTo>
                  <a:pt x="23188" y="17687"/>
                  <a:pt x="23250" y="17687"/>
                  <a:pt x="23344" y="17656"/>
                </a:cubicBezTo>
                <a:cubicBezTo>
                  <a:pt x="23406" y="17624"/>
                  <a:pt x="23438" y="17656"/>
                  <a:pt x="23438" y="17749"/>
                </a:cubicBezTo>
                <a:close/>
                <a:moveTo>
                  <a:pt x="16906" y="16062"/>
                </a:moveTo>
                <a:cubicBezTo>
                  <a:pt x="16969" y="16093"/>
                  <a:pt x="17313" y="16187"/>
                  <a:pt x="17406" y="16187"/>
                </a:cubicBezTo>
                <a:cubicBezTo>
                  <a:pt x="17344" y="16124"/>
                  <a:pt x="17281" y="16093"/>
                  <a:pt x="17250" y="16062"/>
                </a:cubicBezTo>
                <a:cubicBezTo>
                  <a:pt x="17063" y="15937"/>
                  <a:pt x="17063" y="15937"/>
                  <a:pt x="16906" y="16062"/>
                </a:cubicBezTo>
                <a:close/>
                <a:moveTo>
                  <a:pt x="22656" y="17374"/>
                </a:moveTo>
                <a:cubicBezTo>
                  <a:pt x="22688" y="17374"/>
                  <a:pt x="22688" y="17281"/>
                  <a:pt x="22719" y="17249"/>
                </a:cubicBezTo>
                <a:cubicBezTo>
                  <a:pt x="22750" y="17218"/>
                  <a:pt x="22750" y="17187"/>
                  <a:pt x="22688" y="17156"/>
                </a:cubicBezTo>
                <a:cubicBezTo>
                  <a:pt x="22656" y="17156"/>
                  <a:pt x="22594" y="17124"/>
                  <a:pt x="22531" y="17093"/>
                </a:cubicBezTo>
                <a:cubicBezTo>
                  <a:pt x="22500" y="17093"/>
                  <a:pt x="22500" y="17062"/>
                  <a:pt x="22469" y="17093"/>
                </a:cubicBezTo>
                <a:cubicBezTo>
                  <a:pt x="22438" y="17093"/>
                  <a:pt x="22406" y="17124"/>
                  <a:pt x="22438" y="17187"/>
                </a:cubicBezTo>
                <a:cubicBezTo>
                  <a:pt x="22469" y="17218"/>
                  <a:pt x="22500" y="17281"/>
                  <a:pt x="22531" y="17343"/>
                </a:cubicBezTo>
                <a:cubicBezTo>
                  <a:pt x="22563" y="17343"/>
                  <a:pt x="22594" y="17374"/>
                  <a:pt x="22656" y="17374"/>
                </a:cubicBezTo>
                <a:close/>
                <a:moveTo>
                  <a:pt x="22563" y="17187"/>
                </a:moveTo>
                <a:cubicBezTo>
                  <a:pt x="22594" y="17187"/>
                  <a:pt x="22625" y="17187"/>
                  <a:pt x="22656" y="17218"/>
                </a:cubicBezTo>
                <a:cubicBezTo>
                  <a:pt x="22656" y="17249"/>
                  <a:pt x="22625" y="17281"/>
                  <a:pt x="22625" y="17281"/>
                </a:cubicBezTo>
                <a:cubicBezTo>
                  <a:pt x="22594" y="17249"/>
                  <a:pt x="22563" y="17249"/>
                  <a:pt x="22563" y="17218"/>
                </a:cubicBezTo>
                <a:cubicBezTo>
                  <a:pt x="22563" y="17187"/>
                  <a:pt x="22563" y="17187"/>
                  <a:pt x="22563" y="17187"/>
                </a:cubicBezTo>
                <a:close/>
                <a:moveTo>
                  <a:pt x="24844" y="18312"/>
                </a:moveTo>
                <a:cubicBezTo>
                  <a:pt x="24875" y="18343"/>
                  <a:pt x="24938" y="18374"/>
                  <a:pt x="24969" y="18312"/>
                </a:cubicBezTo>
                <a:cubicBezTo>
                  <a:pt x="25000" y="18281"/>
                  <a:pt x="25000" y="18281"/>
                  <a:pt x="25031" y="18312"/>
                </a:cubicBezTo>
                <a:cubicBezTo>
                  <a:pt x="25094" y="18343"/>
                  <a:pt x="25125" y="18406"/>
                  <a:pt x="25250" y="18406"/>
                </a:cubicBezTo>
                <a:cubicBezTo>
                  <a:pt x="25125" y="18312"/>
                  <a:pt x="25031" y="18249"/>
                  <a:pt x="24938" y="18156"/>
                </a:cubicBezTo>
                <a:cubicBezTo>
                  <a:pt x="24906" y="18156"/>
                  <a:pt x="24906" y="18093"/>
                  <a:pt x="24844" y="18124"/>
                </a:cubicBezTo>
                <a:cubicBezTo>
                  <a:pt x="24844" y="18124"/>
                  <a:pt x="24844" y="18187"/>
                  <a:pt x="24844" y="18187"/>
                </a:cubicBezTo>
                <a:cubicBezTo>
                  <a:pt x="24844" y="18218"/>
                  <a:pt x="24844" y="18249"/>
                  <a:pt x="24813" y="18281"/>
                </a:cubicBezTo>
                <a:cubicBezTo>
                  <a:pt x="24781" y="18312"/>
                  <a:pt x="24813" y="18312"/>
                  <a:pt x="24844" y="18312"/>
                </a:cubicBezTo>
                <a:close/>
                <a:moveTo>
                  <a:pt x="24906" y="18249"/>
                </a:moveTo>
                <a:cubicBezTo>
                  <a:pt x="24906" y="18249"/>
                  <a:pt x="24906" y="18249"/>
                  <a:pt x="24938" y="18249"/>
                </a:cubicBezTo>
                <a:cubicBezTo>
                  <a:pt x="24938" y="18281"/>
                  <a:pt x="24906" y="18281"/>
                  <a:pt x="24906" y="18281"/>
                </a:cubicBezTo>
                <a:cubicBezTo>
                  <a:pt x="24906" y="18281"/>
                  <a:pt x="24875" y="18281"/>
                  <a:pt x="24875" y="18249"/>
                </a:cubicBezTo>
                <a:cubicBezTo>
                  <a:pt x="24875" y="18249"/>
                  <a:pt x="24875" y="18249"/>
                  <a:pt x="24906" y="18249"/>
                </a:cubicBezTo>
                <a:close/>
                <a:moveTo>
                  <a:pt x="7813" y="17562"/>
                </a:moveTo>
                <a:cubicBezTo>
                  <a:pt x="7844" y="17562"/>
                  <a:pt x="7844" y="17531"/>
                  <a:pt x="7844" y="17499"/>
                </a:cubicBezTo>
                <a:cubicBezTo>
                  <a:pt x="7844" y="17499"/>
                  <a:pt x="7844" y="17499"/>
                  <a:pt x="7844" y="17499"/>
                </a:cubicBezTo>
                <a:cubicBezTo>
                  <a:pt x="7813" y="17499"/>
                  <a:pt x="7781" y="17499"/>
                  <a:pt x="7781" y="17531"/>
                </a:cubicBezTo>
                <a:cubicBezTo>
                  <a:pt x="7688" y="17593"/>
                  <a:pt x="7625" y="17687"/>
                  <a:pt x="7531" y="17749"/>
                </a:cubicBezTo>
                <a:cubicBezTo>
                  <a:pt x="7406" y="17874"/>
                  <a:pt x="7281" y="17999"/>
                  <a:pt x="7156" y="18124"/>
                </a:cubicBezTo>
                <a:cubicBezTo>
                  <a:pt x="7125" y="18124"/>
                  <a:pt x="7031" y="18124"/>
                  <a:pt x="7094" y="18187"/>
                </a:cubicBezTo>
                <a:cubicBezTo>
                  <a:pt x="7125" y="18218"/>
                  <a:pt x="7156" y="18187"/>
                  <a:pt x="7188" y="18156"/>
                </a:cubicBezTo>
                <a:cubicBezTo>
                  <a:pt x="7313" y="18062"/>
                  <a:pt x="7438" y="17937"/>
                  <a:pt x="7531" y="17843"/>
                </a:cubicBezTo>
                <a:cubicBezTo>
                  <a:pt x="7625" y="17749"/>
                  <a:pt x="7719" y="17687"/>
                  <a:pt x="7813" y="17562"/>
                </a:cubicBezTo>
                <a:close/>
                <a:moveTo>
                  <a:pt x="15469" y="15656"/>
                </a:moveTo>
                <a:cubicBezTo>
                  <a:pt x="15406" y="15624"/>
                  <a:pt x="15344" y="15624"/>
                  <a:pt x="15344" y="15562"/>
                </a:cubicBezTo>
                <a:cubicBezTo>
                  <a:pt x="15406" y="15562"/>
                  <a:pt x="15406" y="15562"/>
                  <a:pt x="15438" y="15593"/>
                </a:cubicBezTo>
                <a:cubicBezTo>
                  <a:pt x="15531" y="15656"/>
                  <a:pt x="15594" y="15718"/>
                  <a:pt x="15688" y="15781"/>
                </a:cubicBezTo>
                <a:lnTo>
                  <a:pt x="15688" y="15781"/>
                </a:lnTo>
                <a:cubicBezTo>
                  <a:pt x="15656" y="15624"/>
                  <a:pt x="15594" y="15499"/>
                  <a:pt x="15531" y="15374"/>
                </a:cubicBezTo>
                <a:cubicBezTo>
                  <a:pt x="15531" y="15343"/>
                  <a:pt x="15500" y="15343"/>
                  <a:pt x="15500" y="15343"/>
                </a:cubicBezTo>
                <a:cubicBezTo>
                  <a:pt x="15406" y="15374"/>
                  <a:pt x="15344" y="15406"/>
                  <a:pt x="15281" y="15468"/>
                </a:cubicBezTo>
                <a:cubicBezTo>
                  <a:pt x="15250" y="15499"/>
                  <a:pt x="15344" y="15499"/>
                  <a:pt x="15344" y="15562"/>
                </a:cubicBezTo>
                <a:cubicBezTo>
                  <a:pt x="15313" y="15593"/>
                  <a:pt x="15281" y="15531"/>
                  <a:pt x="15250" y="15531"/>
                </a:cubicBezTo>
                <a:cubicBezTo>
                  <a:pt x="15219" y="15499"/>
                  <a:pt x="15188" y="15468"/>
                  <a:pt x="15188" y="15499"/>
                </a:cubicBezTo>
                <a:cubicBezTo>
                  <a:pt x="15125" y="15562"/>
                  <a:pt x="15063" y="15562"/>
                  <a:pt x="15000" y="15624"/>
                </a:cubicBezTo>
                <a:cubicBezTo>
                  <a:pt x="15188" y="15656"/>
                  <a:pt x="15344" y="15687"/>
                  <a:pt x="15531" y="15749"/>
                </a:cubicBezTo>
                <a:cubicBezTo>
                  <a:pt x="15500" y="15687"/>
                  <a:pt x="15469" y="15687"/>
                  <a:pt x="15469" y="15656"/>
                </a:cubicBezTo>
                <a:close/>
                <a:moveTo>
                  <a:pt x="8406" y="17124"/>
                </a:moveTo>
                <a:cubicBezTo>
                  <a:pt x="8406" y="17156"/>
                  <a:pt x="8375" y="17124"/>
                  <a:pt x="8375" y="17156"/>
                </a:cubicBezTo>
                <a:cubicBezTo>
                  <a:pt x="8375" y="17218"/>
                  <a:pt x="8406" y="17249"/>
                  <a:pt x="8469" y="17281"/>
                </a:cubicBezTo>
                <a:cubicBezTo>
                  <a:pt x="8500" y="17281"/>
                  <a:pt x="8500" y="17281"/>
                  <a:pt x="8531" y="17249"/>
                </a:cubicBezTo>
                <a:cubicBezTo>
                  <a:pt x="8594" y="17249"/>
                  <a:pt x="8656" y="17249"/>
                  <a:pt x="8781" y="17249"/>
                </a:cubicBezTo>
                <a:cubicBezTo>
                  <a:pt x="8719" y="17218"/>
                  <a:pt x="8719" y="17218"/>
                  <a:pt x="8688" y="17187"/>
                </a:cubicBezTo>
                <a:cubicBezTo>
                  <a:pt x="8688" y="17187"/>
                  <a:pt x="8688" y="17156"/>
                  <a:pt x="8688" y="17156"/>
                </a:cubicBezTo>
                <a:cubicBezTo>
                  <a:pt x="8719" y="17156"/>
                  <a:pt x="8719" y="17156"/>
                  <a:pt x="8750" y="17156"/>
                </a:cubicBezTo>
                <a:cubicBezTo>
                  <a:pt x="8750" y="17156"/>
                  <a:pt x="8781" y="17218"/>
                  <a:pt x="8813" y="17187"/>
                </a:cubicBezTo>
                <a:cubicBezTo>
                  <a:pt x="8781" y="17156"/>
                  <a:pt x="8750" y="17124"/>
                  <a:pt x="8750" y="17124"/>
                </a:cubicBezTo>
                <a:cubicBezTo>
                  <a:pt x="8719" y="17062"/>
                  <a:pt x="8656" y="17031"/>
                  <a:pt x="8625" y="16999"/>
                </a:cubicBezTo>
                <a:cubicBezTo>
                  <a:pt x="8625" y="16968"/>
                  <a:pt x="8594" y="16937"/>
                  <a:pt x="8563" y="16968"/>
                </a:cubicBezTo>
                <a:cubicBezTo>
                  <a:pt x="8531" y="16999"/>
                  <a:pt x="8469" y="17031"/>
                  <a:pt x="8531" y="17093"/>
                </a:cubicBezTo>
                <a:cubicBezTo>
                  <a:pt x="8500" y="17124"/>
                  <a:pt x="8438" y="17062"/>
                  <a:pt x="8406" y="17124"/>
                </a:cubicBezTo>
                <a:close/>
                <a:moveTo>
                  <a:pt x="14563" y="15499"/>
                </a:moveTo>
                <a:lnTo>
                  <a:pt x="14563" y="15499"/>
                </a:ln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3" y="15499"/>
                </a:lnTo>
                <a:close/>
                <a:moveTo>
                  <a:pt x="14563" y="15499"/>
                </a:moveTo>
                <a:lnTo>
                  <a:pt x="14562" y="15499"/>
                </a:lnTo>
                <a:lnTo>
                  <a:pt x="14563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2" y="15499"/>
                </a:lnTo>
                <a:close/>
                <a:moveTo>
                  <a:pt x="14562" y="15499"/>
                </a:moveTo>
                <a:lnTo>
                  <a:pt x="14561" y="15499"/>
                </a:lnTo>
                <a:lnTo>
                  <a:pt x="14562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1" y="15499"/>
                </a:lnTo>
                <a:close/>
                <a:moveTo>
                  <a:pt x="14561" y="15499"/>
                </a:moveTo>
                <a:lnTo>
                  <a:pt x="14560" y="15499"/>
                </a:lnTo>
                <a:lnTo>
                  <a:pt x="14561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60" y="15499"/>
                </a:lnTo>
                <a:close/>
                <a:moveTo>
                  <a:pt x="14560" y="15499"/>
                </a:moveTo>
                <a:lnTo>
                  <a:pt x="14559" y="15499"/>
                </a:lnTo>
                <a:lnTo>
                  <a:pt x="14560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9" y="15499"/>
                </a:lnTo>
                <a:close/>
                <a:moveTo>
                  <a:pt x="14559" y="15499"/>
                </a:moveTo>
                <a:lnTo>
                  <a:pt x="14558" y="15499"/>
                </a:lnTo>
                <a:lnTo>
                  <a:pt x="14559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8" y="15499"/>
                </a:lnTo>
                <a:close/>
                <a:moveTo>
                  <a:pt x="14558" y="15499"/>
                </a:moveTo>
                <a:lnTo>
                  <a:pt x="14557" y="15499"/>
                </a:lnTo>
                <a:lnTo>
                  <a:pt x="14558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7" y="15499"/>
                </a:lnTo>
                <a:close/>
                <a:moveTo>
                  <a:pt x="14557" y="15499"/>
                </a:moveTo>
                <a:lnTo>
                  <a:pt x="14556" y="15499"/>
                </a:lnTo>
                <a:lnTo>
                  <a:pt x="14557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6" y="15499"/>
                </a:lnTo>
                <a:close/>
                <a:moveTo>
                  <a:pt x="14556" y="15499"/>
                </a:moveTo>
                <a:lnTo>
                  <a:pt x="14555" y="15499"/>
                </a:lnTo>
                <a:lnTo>
                  <a:pt x="14556" y="15499"/>
                </a:lnTo>
                <a:close/>
                <a:moveTo>
                  <a:pt x="14555" y="15499"/>
                </a:moveTo>
                <a:lnTo>
                  <a:pt x="14555" y="15499"/>
                </a:lnTo>
                <a:close/>
                <a:moveTo>
                  <a:pt x="14555" y="15499"/>
                </a:moveTo>
                <a:lnTo>
                  <a:pt x="14554" y="15499"/>
                </a:lnTo>
                <a:lnTo>
                  <a:pt x="14555" y="15499"/>
                </a:lnTo>
                <a:close/>
                <a:moveTo>
                  <a:pt x="14554" y="15499"/>
                </a:moveTo>
                <a:lnTo>
                  <a:pt x="14554" y="15499"/>
                </a:lnTo>
                <a:close/>
                <a:moveTo>
                  <a:pt x="14554" y="15499"/>
                </a:moveTo>
                <a:lnTo>
                  <a:pt x="14553" y="15499"/>
                </a:lnTo>
                <a:lnTo>
                  <a:pt x="14554" y="15499"/>
                </a:lnTo>
                <a:close/>
                <a:moveTo>
                  <a:pt x="14553" y="15499"/>
                </a:moveTo>
                <a:lnTo>
                  <a:pt x="14553" y="15499"/>
                </a:lnTo>
                <a:close/>
                <a:moveTo>
                  <a:pt x="14553" y="15499"/>
                </a:moveTo>
                <a:lnTo>
                  <a:pt x="14552" y="15499"/>
                </a:lnTo>
                <a:lnTo>
                  <a:pt x="14553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2" y="15499"/>
                </a:lnTo>
                <a:close/>
                <a:moveTo>
                  <a:pt x="14552" y="15499"/>
                </a:moveTo>
                <a:lnTo>
                  <a:pt x="14551" y="15499"/>
                </a:lnTo>
                <a:lnTo>
                  <a:pt x="14552" y="15499"/>
                </a:lnTo>
                <a:close/>
                <a:moveTo>
                  <a:pt x="14551" y="15499"/>
                </a:moveTo>
                <a:lnTo>
                  <a:pt x="14551" y="15499"/>
                </a:lnTo>
                <a:close/>
                <a:moveTo>
                  <a:pt x="14551" y="15499"/>
                </a:moveTo>
                <a:lnTo>
                  <a:pt x="14550" y="15499"/>
                </a:lnTo>
                <a:lnTo>
                  <a:pt x="14551" y="15499"/>
                </a:lnTo>
                <a:close/>
                <a:moveTo>
                  <a:pt x="14550" y="15499"/>
                </a:moveTo>
                <a:lnTo>
                  <a:pt x="14550" y="15499"/>
                </a:lnTo>
                <a:close/>
                <a:moveTo>
                  <a:pt x="14550" y="15499"/>
                </a:moveTo>
                <a:lnTo>
                  <a:pt x="14549" y="15499"/>
                </a:lnTo>
                <a:lnTo>
                  <a:pt x="14550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9" y="15499"/>
                </a:lnTo>
                <a:close/>
                <a:moveTo>
                  <a:pt x="14549" y="15499"/>
                </a:moveTo>
                <a:lnTo>
                  <a:pt x="14548" y="15499"/>
                </a:lnTo>
                <a:lnTo>
                  <a:pt x="14549" y="15499"/>
                </a:lnTo>
                <a:close/>
                <a:moveTo>
                  <a:pt x="14548" y="15499"/>
                </a:moveTo>
                <a:lnTo>
                  <a:pt x="14548" y="15499"/>
                </a:lnTo>
                <a:close/>
                <a:moveTo>
                  <a:pt x="14548" y="15499"/>
                </a:moveTo>
                <a:lnTo>
                  <a:pt x="14547" y="15499"/>
                </a:lnTo>
                <a:lnTo>
                  <a:pt x="14548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7" y="15499"/>
                </a:lnTo>
                <a:close/>
                <a:moveTo>
                  <a:pt x="14547" y="15499"/>
                </a:moveTo>
                <a:lnTo>
                  <a:pt x="14546" y="15499"/>
                </a:lnTo>
                <a:lnTo>
                  <a:pt x="14547" y="15499"/>
                </a:lnTo>
                <a:close/>
                <a:moveTo>
                  <a:pt x="14546" y="15499"/>
                </a:moveTo>
                <a:lnTo>
                  <a:pt x="14546" y="15499"/>
                </a:lnTo>
                <a:close/>
                <a:moveTo>
                  <a:pt x="14546" y="15499"/>
                </a:moveTo>
                <a:lnTo>
                  <a:pt x="14545" y="15499"/>
                </a:lnTo>
                <a:lnTo>
                  <a:pt x="14546" y="15499"/>
                </a:lnTo>
                <a:close/>
                <a:moveTo>
                  <a:pt x="14545" y="15499"/>
                </a:moveTo>
                <a:lnTo>
                  <a:pt x="14545" y="15499"/>
                </a:lnTo>
                <a:close/>
                <a:moveTo>
                  <a:pt x="14545" y="15499"/>
                </a:moveTo>
                <a:lnTo>
                  <a:pt x="14544" y="15499"/>
                </a:lnTo>
                <a:lnTo>
                  <a:pt x="14545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4" y="15499"/>
                </a:lnTo>
                <a:close/>
                <a:moveTo>
                  <a:pt x="14544" y="15499"/>
                </a:moveTo>
                <a:lnTo>
                  <a:pt x="14543" y="15499"/>
                </a:lnTo>
                <a:lnTo>
                  <a:pt x="14544" y="15499"/>
                </a:lnTo>
                <a:close/>
                <a:moveTo>
                  <a:pt x="14543" y="15499"/>
                </a:moveTo>
                <a:lnTo>
                  <a:pt x="14543" y="15499"/>
                </a:lnTo>
                <a:close/>
                <a:moveTo>
                  <a:pt x="14543" y="15499"/>
                </a:moveTo>
                <a:lnTo>
                  <a:pt x="14542" y="15499"/>
                </a:lnTo>
                <a:lnTo>
                  <a:pt x="14543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2" y="15499"/>
                </a:lnTo>
                <a:close/>
                <a:moveTo>
                  <a:pt x="14542" y="15499"/>
                </a:moveTo>
                <a:lnTo>
                  <a:pt x="14541" y="15499"/>
                </a:lnTo>
                <a:lnTo>
                  <a:pt x="14542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1" y="15499"/>
                </a:lnTo>
                <a:close/>
                <a:moveTo>
                  <a:pt x="14541" y="15499"/>
                </a:moveTo>
                <a:lnTo>
                  <a:pt x="14540" y="15499"/>
                </a:lnTo>
                <a:lnTo>
                  <a:pt x="14541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40" y="15499"/>
                </a:lnTo>
                <a:close/>
                <a:moveTo>
                  <a:pt x="14540" y="15499"/>
                </a:moveTo>
                <a:lnTo>
                  <a:pt x="14539" y="15499"/>
                </a:lnTo>
                <a:lnTo>
                  <a:pt x="14540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9" y="15499"/>
                </a:lnTo>
                <a:close/>
                <a:moveTo>
                  <a:pt x="14539" y="15499"/>
                </a:moveTo>
                <a:lnTo>
                  <a:pt x="14531" y="15499"/>
                </a:lnTo>
                <a:cubicBezTo>
                  <a:pt x="14469" y="15437"/>
                  <a:pt x="14375" y="15374"/>
                  <a:pt x="14281" y="15312"/>
                </a:cubicBezTo>
                <a:cubicBezTo>
                  <a:pt x="14281" y="15312"/>
                  <a:pt x="14250" y="15281"/>
                  <a:pt x="14250" y="15249"/>
                </a:cubicBezTo>
                <a:cubicBezTo>
                  <a:pt x="14250" y="15249"/>
                  <a:pt x="14281" y="15249"/>
                  <a:pt x="14281" y="15249"/>
                </a:cubicBezTo>
                <a:cubicBezTo>
                  <a:pt x="14344" y="15249"/>
                  <a:pt x="14375" y="15343"/>
                  <a:pt x="14438" y="15343"/>
                </a:cubicBezTo>
                <a:cubicBezTo>
                  <a:pt x="14500" y="15437"/>
                  <a:pt x="14625" y="15468"/>
                  <a:pt x="14719" y="15562"/>
                </a:cubicBezTo>
                <a:cubicBezTo>
                  <a:pt x="14688" y="15406"/>
                  <a:pt x="14625" y="15281"/>
                  <a:pt x="14563" y="15124"/>
                </a:cubicBezTo>
                <a:cubicBezTo>
                  <a:pt x="14563" y="15124"/>
                  <a:pt x="14563" y="15093"/>
                  <a:pt x="14531" y="15124"/>
                </a:cubicBezTo>
                <a:lnTo>
                  <a:pt x="14531" y="15124"/>
                </a:lnTo>
                <a:cubicBezTo>
                  <a:pt x="14438" y="15156"/>
                  <a:pt x="14344" y="15187"/>
                  <a:pt x="14281" y="15249"/>
                </a:cubicBezTo>
                <a:cubicBezTo>
                  <a:pt x="14250" y="15249"/>
                  <a:pt x="14250" y="15249"/>
                  <a:pt x="14250" y="15249"/>
                </a:cubicBezTo>
                <a:cubicBezTo>
                  <a:pt x="14156" y="15249"/>
                  <a:pt x="14094" y="15343"/>
                  <a:pt x="14000" y="15374"/>
                </a:cubicBezTo>
                <a:cubicBezTo>
                  <a:pt x="14156" y="15406"/>
                  <a:pt x="14313" y="15468"/>
                  <a:pt x="14500" y="15499"/>
                </a:cubicBezTo>
                <a:lnTo>
                  <a:pt x="14500" y="15499"/>
                </a:lnTo>
                <a:cubicBezTo>
                  <a:pt x="14500" y="15499"/>
                  <a:pt x="14531" y="15499"/>
                  <a:pt x="14531" y="15499"/>
                </a:cubicBezTo>
                <a:lnTo>
                  <a:pt x="14539" y="15499"/>
                </a:lnTo>
                <a:close/>
                <a:moveTo>
                  <a:pt x="19344" y="16531"/>
                </a:moveTo>
                <a:cubicBezTo>
                  <a:pt x="19438" y="16656"/>
                  <a:pt x="19438" y="16656"/>
                  <a:pt x="19531" y="16562"/>
                </a:cubicBezTo>
                <a:cubicBezTo>
                  <a:pt x="19563" y="16531"/>
                  <a:pt x="19563" y="16531"/>
                  <a:pt x="19594" y="16499"/>
                </a:cubicBezTo>
                <a:cubicBezTo>
                  <a:pt x="19469" y="16406"/>
                  <a:pt x="19313" y="16312"/>
                  <a:pt x="19156" y="16249"/>
                </a:cubicBezTo>
                <a:cubicBezTo>
                  <a:pt x="19219" y="16343"/>
                  <a:pt x="19281" y="16437"/>
                  <a:pt x="19344" y="16531"/>
                </a:cubicBezTo>
                <a:close/>
                <a:moveTo>
                  <a:pt x="18719" y="16281"/>
                </a:moveTo>
                <a:cubicBezTo>
                  <a:pt x="18594" y="16187"/>
                  <a:pt x="18469" y="16124"/>
                  <a:pt x="18344" y="16031"/>
                </a:cubicBezTo>
                <a:cubicBezTo>
                  <a:pt x="18406" y="16187"/>
                  <a:pt x="18500" y="16312"/>
                  <a:pt x="18563" y="16468"/>
                </a:cubicBezTo>
                <a:cubicBezTo>
                  <a:pt x="18625" y="16406"/>
                  <a:pt x="18656" y="16374"/>
                  <a:pt x="18719" y="16343"/>
                </a:cubicBezTo>
                <a:cubicBezTo>
                  <a:pt x="18750" y="16312"/>
                  <a:pt x="18750" y="16312"/>
                  <a:pt x="18719" y="16281"/>
                </a:cubicBezTo>
                <a:close/>
                <a:moveTo>
                  <a:pt x="20125" y="16812"/>
                </a:moveTo>
                <a:cubicBezTo>
                  <a:pt x="20125" y="16812"/>
                  <a:pt x="20125" y="16781"/>
                  <a:pt x="20125" y="16781"/>
                </a:cubicBezTo>
                <a:cubicBezTo>
                  <a:pt x="20094" y="16749"/>
                  <a:pt x="20063" y="16687"/>
                  <a:pt x="20031" y="16624"/>
                </a:cubicBezTo>
                <a:cubicBezTo>
                  <a:pt x="20000" y="16593"/>
                  <a:pt x="19969" y="16531"/>
                  <a:pt x="19938" y="16499"/>
                </a:cubicBezTo>
                <a:cubicBezTo>
                  <a:pt x="19844" y="16343"/>
                  <a:pt x="19844" y="16343"/>
                  <a:pt x="19719" y="16499"/>
                </a:cubicBezTo>
                <a:cubicBezTo>
                  <a:pt x="19719" y="16499"/>
                  <a:pt x="19688" y="16531"/>
                  <a:pt x="19719" y="16531"/>
                </a:cubicBezTo>
                <a:cubicBezTo>
                  <a:pt x="19844" y="16624"/>
                  <a:pt x="20000" y="16718"/>
                  <a:pt x="20125" y="16812"/>
                </a:cubicBezTo>
                <a:close/>
                <a:moveTo>
                  <a:pt x="13156" y="15031"/>
                </a:moveTo>
                <a:cubicBezTo>
                  <a:pt x="13094" y="15062"/>
                  <a:pt x="13031" y="15093"/>
                  <a:pt x="12906" y="15124"/>
                </a:cubicBezTo>
                <a:cubicBezTo>
                  <a:pt x="13125" y="15187"/>
                  <a:pt x="13313" y="15218"/>
                  <a:pt x="13469" y="15249"/>
                </a:cubicBezTo>
                <a:cubicBezTo>
                  <a:pt x="13469" y="15249"/>
                  <a:pt x="13500" y="15249"/>
                  <a:pt x="13500" y="15249"/>
                </a:cubicBezTo>
                <a:cubicBezTo>
                  <a:pt x="13406" y="15156"/>
                  <a:pt x="13313" y="15093"/>
                  <a:pt x="13219" y="15031"/>
                </a:cubicBezTo>
                <a:cubicBezTo>
                  <a:pt x="13188" y="14999"/>
                  <a:pt x="13188" y="14999"/>
                  <a:pt x="13156" y="15031"/>
                </a:cubicBezTo>
                <a:close/>
                <a:moveTo>
                  <a:pt x="12094" y="14781"/>
                </a:moveTo>
                <a:cubicBezTo>
                  <a:pt x="12031" y="14812"/>
                  <a:pt x="11938" y="14812"/>
                  <a:pt x="11844" y="14874"/>
                </a:cubicBezTo>
                <a:cubicBezTo>
                  <a:pt x="12063" y="14906"/>
                  <a:pt x="12250" y="14968"/>
                  <a:pt x="12438" y="14999"/>
                </a:cubicBezTo>
                <a:cubicBezTo>
                  <a:pt x="12344" y="14937"/>
                  <a:pt x="12250" y="14874"/>
                  <a:pt x="12188" y="14781"/>
                </a:cubicBezTo>
                <a:cubicBezTo>
                  <a:pt x="12156" y="14781"/>
                  <a:pt x="12125" y="14749"/>
                  <a:pt x="12094" y="14781"/>
                </a:cubicBezTo>
                <a:close/>
                <a:moveTo>
                  <a:pt x="7625" y="14406"/>
                </a:moveTo>
                <a:cubicBezTo>
                  <a:pt x="7688" y="14343"/>
                  <a:pt x="7781" y="14343"/>
                  <a:pt x="7844" y="14343"/>
                </a:cubicBezTo>
                <a:cubicBezTo>
                  <a:pt x="7719" y="14156"/>
                  <a:pt x="7563" y="14156"/>
                  <a:pt x="7375" y="14249"/>
                </a:cubicBezTo>
                <a:cubicBezTo>
                  <a:pt x="7438" y="14281"/>
                  <a:pt x="7500" y="14343"/>
                  <a:pt x="7563" y="14406"/>
                </a:cubicBezTo>
                <a:cubicBezTo>
                  <a:pt x="7563" y="14406"/>
                  <a:pt x="7594" y="14406"/>
                  <a:pt x="7625" y="14406"/>
                </a:cubicBezTo>
                <a:close/>
                <a:moveTo>
                  <a:pt x="12688" y="8468"/>
                </a:moveTo>
                <a:cubicBezTo>
                  <a:pt x="12688" y="8468"/>
                  <a:pt x="12688" y="8468"/>
                  <a:pt x="12688" y="8468"/>
                </a:cubicBezTo>
                <a:close/>
                <a:moveTo>
                  <a:pt x="18875" y="16312"/>
                </a:moveTo>
                <a:cubicBezTo>
                  <a:pt x="18906" y="16343"/>
                  <a:pt x="18938" y="16374"/>
                  <a:pt x="18969" y="16406"/>
                </a:cubicBezTo>
                <a:cubicBezTo>
                  <a:pt x="19063" y="16468"/>
                  <a:pt x="19156" y="16531"/>
                  <a:pt x="19281" y="16593"/>
                </a:cubicBezTo>
                <a:cubicBezTo>
                  <a:pt x="19281" y="16593"/>
                  <a:pt x="19281" y="16593"/>
                  <a:pt x="19281" y="16593"/>
                </a:cubicBezTo>
                <a:cubicBezTo>
                  <a:pt x="19281" y="16593"/>
                  <a:pt x="19281" y="16624"/>
                  <a:pt x="19313" y="16593"/>
                </a:cubicBezTo>
                <a:cubicBezTo>
                  <a:pt x="19313" y="16593"/>
                  <a:pt x="19281" y="16593"/>
                  <a:pt x="19281" y="16593"/>
                </a:cubicBezTo>
                <a:cubicBezTo>
                  <a:pt x="19219" y="16437"/>
                  <a:pt x="19125" y="16312"/>
                  <a:pt x="19031" y="16156"/>
                </a:cubicBezTo>
                <a:cubicBezTo>
                  <a:pt x="18969" y="16218"/>
                  <a:pt x="18906" y="16281"/>
                  <a:pt x="18875" y="16312"/>
                </a:cubicBezTo>
                <a:close/>
                <a:moveTo>
                  <a:pt x="13594" y="14937"/>
                </a:moveTo>
                <a:cubicBezTo>
                  <a:pt x="13594" y="14874"/>
                  <a:pt x="13531" y="14874"/>
                  <a:pt x="13469" y="14906"/>
                </a:cubicBezTo>
                <a:cubicBezTo>
                  <a:pt x="13469" y="14906"/>
                  <a:pt x="13438" y="14906"/>
                  <a:pt x="13406" y="14937"/>
                </a:cubicBezTo>
                <a:cubicBezTo>
                  <a:pt x="13406" y="14937"/>
                  <a:pt x="13406" y="14937"/>
                  <a:pt x="13406" y="14937"/>
                </a:cubicBezTo>
                <a:cubicBezTo>
                  <a:pt x="13344" y="14937"/>
                  <a:pt x="13281" y="14937"/>
                  <a:pt x="13250" y="14999"/>
                </a:cubicBezTo>
                <a:cubicBezTo>
                  <a:pt x="13281" y="15031"/>
                  <a:pt x="13313" y="15062"/>
                  <a:pt x="13344" y="15062"/>
                </a:cubicBezTo>
                <a:cubicBezTo>
                  <a:pt x="13469" y="15156"/>
                  <a:pt x="13563" y="15218"/>
                  <a:pt x="13688" y="15312"/>
                </a:cubicBezTo>
                <a:cubicBezTo>
                  <a:pt x="13656" y="15187"/>
                  <a:pt x="13625" y="15062"/>
                  <a:pt x="13594" y="14937"/>
                </a:cubicBezTo>
                <a:close/>
                <a:moveTo>
                  <a:pt x="8844" y="14687"/>
                </a:moveTo>
                <a:cubicBezTo>
                  <a:pt x="8875" y="14749"/>
                  <a:pt x="8906" y="14749"/>
                  <a:pt x="8938" y="14718"/>
                </a:cubicBezTo>
                <a:cubicBezTo>
                  <a:pt x="9000" y="14687"/>
                  <a:pt x="9063" y="14656"/>
                  <a:pt x="9156" y="14624"/>
                </a:cubicBezTo>
                <a:cubicBezTo>
                  <a:pt x="9125" y="14593"/>
                  <a:pt x="9063" y="14562"/>
                  <a:pt x="9031" y="14531"/>
                </a:cubicBezTo>
                <a:cubicBezTo>
                  <a:pt x="8969" y="14437"/>
                  <a:pt x="8875" y="14468"/>
                  <a:pt x="8781" y="14499"/>
                </a:cubicBezTo>
                <a:cubicBezTo>
                  <a:pt x="8781" y="14499"/>
                  <a:pt x="8750" y="14531"/>
                  <a:pt x="8719" y="14562"/>
                </a:cubicBezTo>
                <a:cubicBezTo>
                  <a:pt x="8719" y="14562"/>
                  <a:pt x="8719" y="14531"/>
                  <a:pt x="8719" y="14531"/>
                </a:cubicBezTo>
                <a:cubicBezTo>
                  <a:pt x="8719" y="14531"/>
                  <a:pt x="8719" y="14531"/>
                  <a:pt x="8719" y="14531"/>
                </a:cubicBezTo>
                <a:cubicBezTo>
                  <a:pt x="8688" y="14531"/>
                  <a:pt x="8688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19" y="14562"/>
                  <a:pt x="8719" y="14562"/>
                  <a:pt x="8719" y="14562"/>
                </a:cubicBezTo>
                <a:cubicBezTo>
                  <a:pt x="8781" y="14593"/>
                  <a:pt x="8844" y="14624"/>
                  <a:pt x="8844" y="14687"/>
                </a:cubicBezTo>
                <a:close/>
                <a:moveTo>
                  <a:pt x="18969" y="16781"/>
                </a:moveTo>
                <a:cubicBezTo>
                  <a:pt x="19000" y="16874"/>
                  <a:pt x="19063" y="16843"/>
                  <a:pt x="19094" y="16843"/>
                </a:cubicBezTo>
                <a:cubicBezTo>
                  <a:pt x="19219" y="16906"/>
                  <a:pt x="19313" y="16968"/>
                  <a:pt x="19469" y="16968"/>
                </a:cubicBezTo>
                <a:cubicBezTo>
                  <a:pt x="19375" y="16843"/>
                  <a:pt x="19250" y="16749"/>
                  <a:pt x="19094" y="16718"/>
                </a:cubicBezTo>
                <a:cubicBezTo>
                  <a:pt x="19063" y="16656"/>
                  <a:pt x="19000" y="16656"/>
                  <a:pt x="18906" y="16687"/>
                </a:cubicBezTo>
                <a:cubicBezTo>
                  <a:pt x="18906" y="16687"/>
                  <a:pt x="18906" y="16687"/>
                  <a:pt x="18906" y="16687"/>
                </a:cubicBezTo>
                <a:cubicBezTo>
                  <a:pt x="18875" y="16687"/>
                  <a:pt x="18844" y="16718"/>
                  <a:pt x="18781" y="16718"/>
                </a:cubicBezTo>
                <a:cubicBezTo>
                  <a:pt x="18313" y="16531"/>
                  <a:pt x="17813" y="16374"/>
                  <a:pt x="17344" y="16249"/>
                </a:cubicBezTo>
                <a:cubicBezTo>
                  <a:pt x="17063" y="16187"/>
                  <a:pt x="16781" y="16124"/>
                  <a:pt x="16500" y="16062"/>
                </a:cubicBezTo>
                <a:cubicBezTo>
                  <a:pt x="16219" y="15999"/>
                  <a:pt x="15938" y="15937"/>
                  <a:pt x="15656" y="15874"/>
                </a:cubicBezTo>
                <a:cubicBezTo>
                  <a:pt x="15563" y="15874"/>
                  <a:pt x="15469" y="15843"/>
                  <a:pt x="15344" y="15874"/>
                </a:cubicBezTo>
                <a:cubicBezTo>
                  <a:pt x="15594" y="15937"/>
                  <a:pt x="15813" y="15968"/>
                  <a:pt x="16031" y="15999"/>
                </a:cubicBezTo>
                <a:cubicBezTo>
                  <a:pt x="16531" y="16093"/>
                  <a:pt x="17000" y="16218"/>
                  <a:pt x="17500" y="16343"/>
                </a:cubicBezTo>
                <a:cubicBezTo>
                  <a:pt x="17875" y="16437"/>
                  <a:pt x="18250" y="16593"/>
                  <a:pt x="18625" y="16687"/>
                </a:cubicBezTo>
                <a:cubicBezTo>
                  <a:pt x="18688" y="16718"/>
                  <a:pt x="18781" y="16781"/>
                  <a:pt x="18875" y="16781"/>
                </a:cubicBezTo>
                <a:cubicBezTo>
                  <a:pt x="18906" y="16749"/>
                  <a:pt x="18938" y="16812"/>
                  <a:pt x="18969" y="16781"/>
                </a:cubicBezTo>
                <a:cubicBezTo>
                  <a:pt x="19000" y="16781"/>
                  <a:pt x="19000" y="16781"/>
                  <a:pt x="19000" y="16781"/>
                </a:cubicBezTo>
                <a:cubicBezTo>
                  <a:pt x="19000" y="16781"/>
                  <a:pt x="18969" y="16781"/>
                  <a:pt x="18969" y="16781"/>
                </a:cubicBezTo>
                <a:close/>
                <a:moveTo>
                  <a:pt x="18156" y="15999"/>
                </a:moveTo>
                <a:cubicBezTo>
                  <a:pt x="18125" y="16031"/>
                  <a:pt x="18063" y="16062"/>
                  <a:pt x="18031" y="16093"/>
                </a:cubicBezTo>
                <a:cubicBezTo>
                  <a:pt x="18000" y="16124"/>
                  <a:pt x="18000" y="16124"/>
                  <a:pt x="18031" y="16156"/>
                </a:cubicBezTo>
                <a:cubicBezTo>
                  <a:pt x="18156" y="16249"/>
                  <a:pt x="18281" y="16281"/>
                  <a:pt x="18375" y="16406"/>
                </a:cubicBezTo>
                <a:cubicBezTo>
                  <a:pt x="18406" y="16406"/>
                  <a:pt x="18406" y="16406"/>
                  <a:pt x="18438" y="16406"/>
                </a:cubicBezTo>
                <a:cubicBezTo>
                  <a:pt x="18438" y="16406"/>
                  <a:pt x="18438" y="16374"/>
                  <a:pt x="18438" y="16374"/>
                </a:cubicBezTo>
                <a:cubicBezTo>
                  <a:pt x="18344" y="16249"/>
                  <a:pt x="18281" y="16124"/>
                  <a:pt x="18219" y="15999"/>
                </a:cubicBezTo>
                <a:cubicBezTo>
                  <a:pt x="18188" y="15968"/>
                  <a:pt x="18188" y="15968"/>
                  <a:pt x="18156" y="15999"/>
                </a:cubicBezTo>
                <a:close/>
                <a:moveTo>
                  <a:pt x="8281" y="14562"/>
                </a:moveTo>
                <a:cubicBezTo>
                  <a:pt x="8344" y="14531"/>
                  <a:pt x="8438" y="14499"/>
                  <a:pt x="8500" y="14499"/>
                </a:cubicBezTo>
                <a:cubicBezTo>
                  <a:pt x="8375" y="14312"/>
                  <a:pt x="8219" y="14281"/>
                  <a:pt x="8031" y="14406"/>
                </a:cubicBezTo>
                <a:cubicBezTo>
                  <a:pt x="8094" y="14468"/>
                  <a:pt x="8156" y="14499"/>
                  <a:pt x="8250" y="14562"/>
                </a:cubicBezTo>
                <a:cubicBezTo>
                  <a:pt x="8250" y="14562"/>
                  <a:pt x="8250" y="14562"/>
                  <a:pt x="8281" y="14562"/>
                </a:cubicBezTo>
                <a:close/>
                <a:moveTo>
                  <a:pt x="17313" y="15781"/>
                </a:moveTo>
                <a:cubicBezTo>
                  <a:pt x="17250" y="15781"/>
                  <a:pt x="17188" y="15874"/>
                  <a:pt x="17125" y="15906"/>
                </a:cubicBezTo>
                <a:cubicBezTo>
                  <a:pt x="17125" y="15906"/>
                  <a:pt x="17125" y="15906"/>
                  <a:pt x="17125" y="15906"/>
                </a:cubicBezTo>
                <a:cubicBezTo>
                  <a:pt x="17250" y="15999"/>
                  <a:pt x="17375" y="16093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63" y="16218"/>
                </a:cubicBezTo>
                <a:cubicBezTo>
                  <a:pt x="17563" y="16218"/>
                  <a:pt x="17531" y="16218"/>
                  <a:pt x="17531" y="16218"/>
                </a:cubicBezTo>
                <a:cubicBezTo>
                  <a:pt x="17531" y="16218"/>
                  <a:pt x="17531" y="16218"/>
                  <a:pt x="17531" y="16218"/>
                </a:cubicBezTo>
                <a:cubicBezTo>
                  <a:pt x="17531" y="16093"/>
                  <a:pt x="17469" y="16031"/>
                  <a:pt x="17438" y="15968"/>
                </a:cubicBezTo>
                <a:cubicBezTo>
                  <a:pt x="17406" y="15906"/>
                  <a:pt x="17375" y="15781"/>
                  <a:pt x="17313" y="15781"/>
                </a:cubicBezTo>
                <a:close/>
                <a:moveTo>
                  <a:pt x="6000" y="13593"/>
                </a:moveTo>
                <a:cubicBezTo>
                  <a:pt x="5906" y="13531"/>
                  <a:pt x="5781" y="13593"/>
                  <a:pt x="5688" y="13656"/>
                </a:cubicBezTo>
                <a:cubicBezTo>
                  <a:pt x="5719" y="13687"/>
                  <a:pt x="5750" y="13718"/>
                  <a:pt x="5781" y="13749"/>
                </a:cubicBezTo>
                <a:cubicBezTo>
                  <a:pt x="5844" y="13781"/>
                  <a:pt x="5875" y="13874"/>
                  <a:pt x="5938" y="13843"/>
                </a:cubicBezTo>
                <a:cubicBezTo>
                  <a:pt x="6000" y="13812"/>
                  <a:pt x="6031" y="13749"/>
                  <a:pt x="6063" y="13687"/>
                </a:cubicBezTo>
                <a:cubicBezTo>
                  <a:pt x="6063" y="13624"/>
                  <a:pt x="6063" y="13624"/>
                  <a:pt x="6000" y="13593"/>
                </a:cubicBezTo>
                <a:close/>
                <a:moveTo>
                  <a:pt x="15781" y="15781"/>
                </a:moveTo>
                <a:cubicBezTo>
                  <a:pt x="15813" y="15812"/>
                  <a:pt x="15844" y="15812"/>
                  <a:pt x="15875" y="15781"/>
                </a:cubicBezTo>
                <a:cubicBezTo>
                  <a:pt x="15938" y="15718"/>
                  <a:pt x="16000" y="15718"/>
                  <a:pt x="16063" y="15656"/>
                </a:cubicBezTo>
                <a:cubicBezTo>
                  <a:pt x="15938" y="15562"/>
                  <a:pt x="15813" y="15468"/>
                  <a:pt x="15656" y="15374"/>
                </a:cubicBezTo>
                <a:cubicBezTo>
                  <a:pt x="15688" y="15531"/>
                  <a:pt x="15750" y="15656"/>
                  <a:pt x="15781" y="15781"/>
                </a:cubicBezTo>
                <a:close/>
                <a:moveTo>
                  <a:pt x="22781" y="16937"/>
                </a:moveTo>
                <a:cubicBezTo>
                  <a:pt x="22781" y="16937"/>
                  <a:pt x="22781" y="16937"/>
                  <a:pt x="22781" y="16937"/>
                </a:cubicBezTo>
                <a:cubicBezTo>
                  <a:pt x="22781" y="16937"/>
                  <a:pt x="22781" y="16937"/>
                  <a:pt x="22781" y="16937"/>
                </a:cubicBezTo>
                <a:close/>
                <a:moveTo>
                  <a:pt x="14250" y="15249"/>
                </a:moveTo>
                <a:cubicBezTo>
                  <a:pt x="14250" y="15249"/>
                  <a:pt x="14250" y="15249"/>
                  <a:pt x="14250" y="15249"/>
                </a:cubicBezTo>
                <a:close/>
                <a:moveTo>
                  <a:pt x="14438" y="15343"/>
                </a:moveTo>
                <a:cubicBezTo>
                  <a:pt x="14438" y="15343"/>
                  <a:pt x="14438" y="15343"/>
                  <a:pt x="14469" y="15312"/>
                </a:cubicBezTo>
                <a:cubicBezTo>
                  <a:pt x="14469" y="15343"/>
                  <a:pt x="14438" y="15343"/>
                  <a:pt x="14438" y="15343"/>
                </a:cubicBezTo>
                <a:close/>
                <a:moveTo>
                  <a:pt x="12750" y="14999"/>
                </a:moveTo>
                <a:cubicBezTo>
                  <a:pt x="12750" y="15093"/>
                  <a:pt x="12813" y="15124"/>
                  <a:pt x="12875" y="15062"/>
                </a:cubicBezTo>
                <a:cubicBezTo>
                  <a:pt x="12906" y="15031"/>
                  <a:pt x="13000" y="15062"/>
                  <a:pt x="12938" y="14968"/>
                </a:cubicBezTo>
                <a:cubicBezTo>
                  <a:pt x="12969" y="14968"/>
                  <a:pt x="12969" y="14968"/>
                  <a:pt x="12969" y="14968"/>
                </a:cubicBezTo>
                <a:cubicBezTo>
                  <a:pt x="13031" y="15031"/>
                  <a:pt x="13063" y="14968"/>
                  <a:pt x="13125" y="14968"/>
                </a:cubicBezTo>
                <a:cubicBezTo>
                  <a:pt x="12969" y="14843"/>
                  <a:pt x="12844" y="14749"/>
                  <a:pt x="12688" y="14624"/>
                </a:cubicBezTo>
                <a:cubicBezTo>
                  <a:pt x="12719" y="14781"/>
                  <a:pt x="12719" y="14874"/>
                  <a:pt x="12750" y="14999"/>
                </a:cubicBezTo>
                <a:close/>
                <a:moveTo>
                  <a:pt x="9500" y="13624"/>
                </a:moveTo>
                <a:cubicBezTo>
                  <a:pt x="9594" y="13593"/>
                  <a:pt x="9719" y="13562"/>
                  <a:pt x="9813" y="13562"/>
                </a:cubicBezTo>
                <a:cubicBezTo>
                  <a:pt x="9844" y="13562"/>
                  <a:pt x="9844" y="13562"/>
                  <a:pt x="9844" y="13531"/>
                </a:cubicBezTo>
                <a:cubicBezTo>
                  <a:pt x="9844" y="13531"/>
                  <a:pt x="9844" y="13499"/>
                  <a:pt x="9813" y="13499"/>
                </a:cubicBezTo>
                <a:cubicBezTo>
                  <a:pt x="9719" y="13437"/>
                  <a:pt x="9625" y="13343"/>
                  <a:pt x="9531" y="13281"/>
                </a:cubicBezTo>
                <a:cubicBezTo>
                  <a:pt x="9500" y="13249"/>
                  <a:pt x="9469" y="13249"/>
                  <a:pt x="9469" y="13312"/>
                </a:cubicBezTo>
                <a:cubicBezTo>
                  <a:pt x="9469" y="13406"/>
                  <a:pt x="9438" y="13499"/>
                  <a:pt x="9438" y="13593"/>
                </a:cubicBezTo>
                <a:cubicBezTo>
                  <a:pt x="9438" y="13624"/>
                  <a:pt x="9438" y="13656"/>
                  <a:pt x="9500" y="13624"/>
                </a:cubicBezTo>
                <a:close/>
                <a:moveTo>
                  <a:pt x="9281" y="13218"/>
                </a:moveTo>
                <a:cubicBezTo>
                  <a:pt x="9250" y="13218"/>
                  <a:pt x="9250" y="13218"/>
                  <a:pt x="9219" y="13218"/>
                </a:cubicBezTo>
                <a:cubicBezTo>
                  <a:pt x="9125" y="13249"/>
                  <a:pt x="9031" y="13281"/>
                  <a:pt x="8969" y="13312"/>
                </a:cubicBezTo>
                <a:cubicBezTo>
                  <a:pt x="8938" y="13312"/>
                  <a:pt x="8906" y="13312"/>
                  <a:pt x="8906" y="13343"/>
                </a:cubicBezTo>
                <a:cubicBezTo>
                  <a:pt x="8906" y="13343"/>
                  <a:pt x="8906" y="13343"/>
                  <a:pt x="8938" y="13374"/>
                </a:cubicBezTo>
                <a:cubicBezTo>
                  <a:pt x="9031" y="13406"/>
                  <a:pt x="9125" y="13499"/>
                  <a:pt x="9250" y="13562"/>
                </a:cubicBezTo>
                <a:cubicBezTo>
                  <a:pt x="9281" y="13593"/>
                  <a:pt x="9313" y="13624"/>
                  <a:pt x="9313" y="13562"/>
                </a:cubicBezTo>
                <a:cubicBezTo>
                  <a:pt x="9281" y="13468"/>
                  <a:pt x="9344" y="13374"/>
                  <a:pt x="9344" y="13249"/>
                </a:cubicBezTo>
                <a:cubicBezTo>
                  <a:pt x="9344" y="13187"/>
                  <a:pt x="9344" y="13187"/>
                  <a:pt x="9281" y="13218"/>
                </a:cubicBezTo>
                <a:close/>
                <a:moveTo>
                  <a:pt x="13813" y="15281"/>
                </a:moveTo>
                <a:cubicBezTo>
                  <a:pt x="13813" y="15343"/>
                  <a:pt x="13844" y="15343"/>
                  <a:pt x="13906" y="15312"/>
                </a:cubicBezTo>
                <a:cubicBezTo>
                  <a:pt x="13969" y="15281"/>
                  <a:pt x="14063" y="15249"/>
                  <a:pt x="14125" y="15187"/>
                </a:cubicBezTo>
                <a:cubicBezTo>
                  <a:pt x="14000" y="15093"/>
                  <a:pt x="13875" y="14999"/>
                  <a:pt x="13719" y="14874"/>
                </a:cubicBezTo>
                <a:cubicBezTo>
                  <a:pt x="13750" y="15031"/>
                  <a:pt x="13781" y="15156"/>
                  <a:pt x="13813" y="15281"/>
                </a:cubicBezTo>
                <a:close/>
                <a:moveTo>
                  <a:pt x="23469" y="17562"/>
                </a:moveTo>
                <a:cubicBezTo>
                  <a:pt x="23469" y="17562"/>
                  <a:pt x="23469" y="17562"/>
                  <a:pt x="23469" y="17562"/>
                </a:cubicBezTo>
                <a:cubicBezTo>
                  <a:pt x="23469" y="17562"/>
                  <a:pt x="23469" y="17562"/>
                  <a:pt x="23469" y="17562"/>
                </a:cubicBezTo>
                <a:close/>
                <a:moveTo>
                  <a:pt x="8344" y="13031"/>
                </a:moveTo>
                <a:cubicBezTo>
                  <a:pt x="8313" y="13093"/>
                  <a:pt x="8313" y="13156"/>
                  <a:pt x="8281" y="13218"/>
                </a:cubicBezTo>
                <a:cubicBezTo>
                  <a:pt x="8250" y="13374"/>
                  <a:pt x="8250" y="13343"/>
                  <a:pt x="8375" y="13343"/>
                </a:cubicBezTo>
                <a:cubicBezTo>
                  <a:pt x="8375" y="13343"/>
                  <a:pt x="8406" y="13343"/>
                  <a:pt x="8406" y="13343"/>
                </a:cubicBezTo>
                <a:cubicBezTo>
                  <a:pt x="8500" y="13312"/>
                  <a:pt x="8625" y="13312"/>
                  <a:pt x="8750" y="13281"/>
                </a:cubicBezTo>
                <a:cubicBezTo>
                  <a:pt x="8625" y="13187"/>
                  <a:pt x="8500" y="13093"/>
                  <a:pt x="8406" y="12999"/>
                </a:cubicBezTo>
                <a:cubicBezTo>
                  <a:pt x="8344" y="12968"/>
                  <a:pt x="8344" y="12968"/>
                  <a:pt x="8344" y="13031"/>
                </a:cubicBezTo>
                <a:close/>
                <a:moveTo>
                  <a:pt x="8156" y="12937"/>
                </a:moveTo>
                <a:cubicBezTo>
                  <a:pt x="8000" y="12968"/>
                  <a:pt x="7875" y="12999"/>
                  <a:pt x="7719" y="13031"/>
                </a:cubicBezTo>
                <a:cubicBezTo>
                  <a:pt x="7750" y="13031"/>
                  <a:pt x="7750" y="13031"/>
                  <a:pt x="7750" y="13062"/>
                </a:cubicBezTo>
                <a:cubicBezTo>
                  <a:pt x="7844" y="13156"/>
                  <a:pt x="7969" y="13187"/>
                  <a:pt x="8063" y="13249"/>
                </a:cubicBezTo>
                <a:cubicBezTo>
                  <a:pt x="8125" y="13312"/>
                  <a:pt x="8125" y="13249"/>
                  <a:pt x="8156" y="13218"/>
                </a:cubicBezTo>
                <a:cubicBezTo>
                  <a:pt x="8156" y="13124"/>
                  <a:pt x="8188" y="13062"/>
                  <a:pt x="8188" y="12999"/>
                </a:cubicBezTo>
                <a:cubicBezTo>
                  <a:pt x="8219" y="12937"/>
                  <a:pt x="8219" y="12937"/>
                  <a:pt x="8156" y="12937"/>
                </a:cubicBezTo>
                <a:close/>
                <a:moveTo>
                  <a:pt x="7063" y="18281"/>
                </a:moveTo>
                <a:cubicBezTo>
                  <a:pt x="7031" y="18249"/>
                  <a:pt x="7000" y="18249"/>
                  <a:pt x="7000" y="18281"/>
                </a:cubicBezTo>
                <a:cubicBezTo>
                  <a:pt x="6781" y="18468"/>
                  <a:pt x="6563" y="18687"/>
                  <a:pt x="6344" y="18874"/>
                </a:cubicBezTo>
                <a:cubicBezTo>
                  <a:pt x="6313" y="18906"/>
                  <a:pt x="6313" y="18937"/>
                  <a:pt x="6344" y="18968"/>
                </a:cubicBezTo>
                <a:cubicBezTo>
                  <a:pt x="6375" y="18999"/>
                  <a:pt x="6375" y="18968"/>
                  <a:pt x="6406" y="18968"/>
                </a:cubicBezTo>
                <a:cubicBezTo>
                  <a:pt x="6563" y="18843"/>
                  <a:pt x="6719" y="18718"/>
                  <a:pt x="6875" y="18624"/>
                </a:cubicBezTo>
                <a:cubicBezTo>
                  <a:pt x="6969" y="18562"/>
                  <a:pt x="7031" y="18499"/>
                  <a:pt x="7125" y="18437"/>
                </a:cubicBezTo>
                <a:cubicBezTo>
                  <a:pt x="7125" y="18437"/>
                  <a:pt x="7156" y="18406"/>
                  <a:pt x="7125" y="18406"/>
                </a:cubicBezTo>
                <a:cubicBezTo>
                  <a:pt x="7094" y="18374"/>
                  <a:pt x="7094" y="18374"/>
                  <a:pt x="7063" y="18406"/>
                </a:cubicBezTo>
                <a:cubicBezTo>
                  <a:pt x="7000" y="18499"/>
                  <a:pt x="6875" y="18531"/>
                  <a:pt x="6781" y="18624"/>
                </a:cubicBezTo>
                <a:cubicBezTo>
                  <a:pt x="6750" y="18656"/>
                  <a:pt x="6719" y="18687"/>
                  <a:pt x="6625" y="18687"/>
                </a:cubicBezTo>
                <a:cubicBezTo>
                  <a:pt x="6781" y="18562"/>
                  <a:pt x="6938" y="18437"/>
                  <a:pt x="7063" y="18281"/>
                </a:cubicBezTo>
                <a:close/>
                <a:moveTo>
                  <a:pt x="20125" y="17156"/>
                </a:moveTo>
                <a:cubicBezTo>
                  <a:pt x="20125" y="17124"/>
                  <a:pt x="20125" y="17093"/>
                  <a:pt x="20094" y="17093"/>
                </a:cubicBezTo>
                <a:cubicBezTo>
                  <a:pt x="19969" y="16937"/>
                  <a:pt x="19844" y="16843"/>
                  <a:pt x="19656" y="16812"/>
                </a:cubicBezTo>
                <a:cubicBezTo>
                  <a:pt x="19563" y="16812"/>
                  <a:pt x="19500" y="16843"/>
                  <a:pt x="19531" y="16937"/>
                </a:cubicBezTo>
                <a:cubicBezTo>
                  <a:pt x="19531" y="16968"/>
                  <a:pt x="19500" y="16968"/>
                  <a:pt x="19469" y="16999"/>
                </a:cubicBezTo>
                <a:cubicBezTo>
                  <a:pt x="19719" y="17093"/>
                  <a:pt x="19938" y="17187"/>
                  <a:pt x="20188" y="17281"/>
                </a:cubicBezTo>
                <a:cubicBezTo>
                  <a:pt x="20125" y="17249"/>
                  <a:pt x="20125" y="17218"/>
                  <a:pt x="20125" y="17156"/>
                </a:cubicBezTo>
                <a:close/>
                <a:moveTo>
                  <a:pt x="18625" y="15843"/>
                </a:moveTo>
                <a:cubicBezTo>
                  <a:pt x="18438" y="15749"/>
                  <a:pt x="18469" y="15749"/>
                  <a:pt x="18313" y="15874"/>
                </a:cubicBezTo>
                <a:cubicBezTo>
                  <a:pt x="18250" y="15937"/>
                  <a:pt x="18250" y="15937"/>
                  <a:pt x="18313" y="15968"/>
                </a:cubicBezTo>
                <a:cubicBezTo>
                  <a:pt x="18406" y="16031"/>
                  <a:pt x="18500" y="16093"/>
                  <a:pt x="18625" y="16156"/>
                </a:cubicBezTo>
                <a:cubicBezTo>
                  <a:pt x="18656" y="16187"/>
                  <a:pt x="18719" y="16281"/>
                  <a:pt x="18781" y="16281"/>
                </a:cubicBezTo>
                <a:cubicBezTo>
                  <a:pt x="18844" y="16249"/>
                  <a:pt x="18906" y="16187"/>
                  <a:pt x="18938" y="16124"/>
                </a:cubicBezTo>
                <a:cubicBezTo>
                  <a:pt x="18969" y="16124"/>
                  <a:pt x="18969" y="16124"/>
                  <a:pt x="19000" y="16124"/>
                </a:cubicBezTo>
                <a:cubicBezTo>
                  <a:pt x="18969" y="16093"/>
                  <a:pt x="18969" y="16062"/>
                  <a:pt x="18938" y="16062"/>
                </a:cubicBezTo>
                <a:cubicBezTo>
                  <a:pt x="18844" y="16031"/>
                  <a:pt x="18719" y="15937"/>
                  <a:pt x="18625" y="15843"/>
                </a:cubicBezTo>
                <a:close/>
                <a:moveTo>
                  <a:pt x="15250" y="15374"/>
                </a:moveTo>
                <a:cubicBezTo>
                  <a:pt x="15313" y="15343"/>
                  <a:pt x="15375" y="15312"/>
                  <a:pt x="15406" y="15281"/>
                </a:cubicBezTo>
                <a:cubicBezTo>
                  <a:pt x="15469" y="15249"/>
                  <a:pt x="15500" y="15249"/>
                  <a:pt x="15406" y="15187"/>
                </a:cubicBezTo>
                <a:cubicBezTo>
                  <a:pt x="15281" y="15093"/>
                  <a:pt x="15156" y="14999"/>
                  <a:pt x="15031" y="14906"/>
                </a:cubicBezTo>
                <a:cubicBezTo>
                  <a:pt x="15000" y="14906"/>
                  <a:pt x="14969" y="14874"/>
                  <a:pt x="14938" y="14906"/>
                </a:cubicBezTo>
                <a:cubicBezTo>
                  <a:pt x="14906" y="14937"/>
                  <a:pt x="14844" y="14968"/>
                  <a:pt x="14813" y="14968"/>
                </a:cubicBezTo>
                <a:cubicBezTo>
                  <a:pt x="14750" y="14999"/>
                  <a:pt x="14719" y="14999"/>
                  <a:pt x="14688" y="15031"/>
                </a:cubicBezTo>
                <a:cubicBezTo>
                  <a:pt x="14656" y="15093"/>
                  <a:pt x="14750" y="15062"/>
                  <a:pt x="14750" y="15124"/>
                </a:cubicBezTo>
                <a:cubicBezTo>
                  <a:pt x="14813" y="15124"/>
                  <a:pt x="14844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18"/>
                  <a:pt x="14938" y="15218"/>
                </a:cubicBezTo>
                <a:cubicBezTo>
                  <a:pt x="14938" y="15218"/>
                  <a:pt x="14938" y="15249"/>
                  <a:pt x="14938" y="15249"/>
                </a:cubicBezTo>
                <a:cubicBezTo>
                  <a:pt x="14844" y="15249"/>
                  <a:pt x="14781" y="15187"/>
                  <a:pt x="14750" y="15124"/>
                </a:cubicBezTo>
                <a:cubicBezTo>
                  <a:pt x="14750" y="15124"/>
                  <a:pt x="14750" y="15124"/>
                  <a:pt x="14750" y="15124"/>
                </a:cubicBezTo>
                <a:cubicBezTo>
                  <a:pt x="14719" y="15156"/>
                  <a:pt x="14688" y="15124"/>
                  <a:pt x="14719" y="15187"/>
                </a:cubicBezTo>
                <a:cubicBezTo>
                  <a:pt x="14719" y="15218"/>
                  <a:pt x="14719" y="15249"/>
                  <a:pt x="14750" y="15281"/>
                </a:cubicBezTo>
                <a:cubicBezTo>
                  <a:pt x="14781" y="15281"/>
                  <a:pt x="14781" y="15281"/>
                  <a:pt x="14813" y="15312"/>
                </a:cubicBezTo>
                <a:cubicBezTo>
                  <a:pt x="14781" y="15281"/>
                  <a:pt x="14781" y="15281"/>
                  <a:pt x="14750" y="15281"/>
                </a:cubicBezTo>
                <a:cubicBezTo>
                  <a:pt x="14750" y="15312"/>
                  <a:pt x="14750" y="15374"/>
                  <a:pt x="14781" y="15406"/>
                </a:cubicBezTo>
                <a:cubicBezTo>
                  <a:pt x="14781" y="15437"/>
                  <a:pt x="14813" y="15468"/>
                  <a:pt x="14813" y="15499"/>
                </a:cubicBezTo>
                <a:cubicBezTo>
                  <a:pt x="14844" y="15593"/>
                  <a:pt x="14875" y="15593"/>
                  <a:pt x="14938" y="15531"/>
                </a:cubicBezTo>
                <a:cubicBezTo>
                  <a:pt x="15000" y="15531"/>
                  <a:pt x="15031" y="15499"/>
                  <a:pt x="15063" y="15468"/>
                </a:cubicBezTo>
                <a:cubicBezTo>
                  <a:pt x="15063" y="15468"/>
                  <a:pt x="15063" y="15468"/>
                  <a:pt x="15063" y="15468"/>
                </a:cubicBezTo>
                <a:cubicBezTo>
                  <a:pt x="15156" y="15468"/>
                  <a:pt x="15094" y="15406"/>
                  <a:pt x="15094" y="15374"/>
                </a:cubicBezTo>
                <a:cubicBezTo>
                  <a:pt x="15156" y="15374"/>
                  <a:pt x="15188" y="15406"/>
                  <a:pt x="15250" y="15374"/>
                </a:cubicBezTo>
                <a:close/>
                <a:moveTo>
                  <a:pt x="14938" y="15249"/>
                </a:moveTo>
                <a:cubicBezTo>
                  <a:pt x="15000" y="15281"/>
                  <a:pt x="15063" y="15281"/>
                  <a:pt x="15094" y="15374"/>
                </a:cubicBezTo>
                <a:cubicBezTo>
                  <a:pt x="15094" y="15374"/>
                  <a:pt x="15063" y="15374"/>
                  <a:pt x="15063" y="15374"/>
                </a:cubicBezTo>
                <a:cubicBezTo>
                  <a:pt x="15063" y="15406"/>
                  <a:pt x="15063" y="15406"/>
                  <a:pt x="15063" y="15437"/>
                </a:cubicBezTo>
                <a:cubicBezTo>
                  <a:pt x="15063" y="15406"/>
                  <a:pt x="15063" y="15406"/>
                  <a:pt x="15063" y="15374"/>
                </a:cubicBezTo>
                <a:cubicBezTo>
                  <a:pt x="15031" y="15343"/>
                  <a:pt x="14938" y="15343"/>
                  <a:pt x="14938" y="15249"/>
                </a:cubicBezTo>
                <a:close/>
                <a:moveTo>
                  <a:pt x="8719" y="13343"/>
                </a:moveTo>
                <a:cubicBezTo>
                  <a:pt x="8594" y="13374"/>
                  <a:pt x="8438" y="13406"/>
                  <a:pt x="8281" y="13437"/>
                </a:cubicBezTo>
                <a:cubicBezTo>
                  <a:pt x="8406" y="13499"/>
                  <a:pt x="8469" y="13624"/>
                  <a:pt x="8563" y="13687"/>
                </a:cubicBezTo>
                <a:cubicBezTo>
                  <a:pt x="8656" y="13749"/>
                  <a:pt x="8688" y="13874"/>
                  <a:pt x="8813" y="13781"/>
                </a:cubicBezTo>
                <a:cubicBezTo>
                  <a:pt x="8813" y="13781"/>
                  <a:pt x="8844" y="13781"/>
                  <a:pt x="8844" y="13781"/>
                </a:cubicBezTo>
                <a:cubicBezTo>
                  <a:pt x="8969" y="13749"/>
                  <a:pt x="9063" y="13749"/>
                  <a:pt x="9156" y="13718"/>
                </a:cubicBezTo>
                <a:cubicBezTo>
                  <a:pt x="9188" y="13687"/>
                  <a:pt x="9219" y="13687"/>
                  <a:pt x="9281" y="13687"/>
                </a:cubicBezTo>
                <a:cubicBezTo>
                  <a:pt x="9125" y="13562"/>
                  <a:pt x="9000" y="13468"/>
                  <a:pt x="8875" y="13374"/>
                </a:cubicBezTo>
                <a:cubicBezTo>
                  <a:pt x="8813" y="13343"/>
                  <a:pt x="8781" y="13343"/>
                  <a:pt x="8719" y="13343"/>
                </a:cubicBezTo>
                <a:close/>
                <a:moveTo>
                  <a:pt x="16281" y="15374"/>
                </a:moveTo>
                <a:cubicBezTo>
                  <a:pt x="16281" y="15374"/>
                  <a:pt x="16281" y="15374"/>
                  <a:pt x="16281" y="15374"/>
                </a:cubicBezTo>
                <a:cubicBezTo>
                  <a:pt x="16281" y="15374"/>
                  <a:pt x="16281" y="15374"/>
                  <a:pt x="16281" y="15374"/>
                </a:cubicBezTo>
                <a:close/>
                <a:moveTo>
                  <a:pt x="14500" y="14968"/>
                </a:moveTo>
                <a:cubicBezTo>
                  <a:pt x="14344" y="14874"/>
                  <a:pt x="14219" y="14781"/>
                  <a:pt x="14063" y="14656"/>
                </a:cubicBezTo>
                <a:cubicBezTo>
                  <a:pt x="14063" y="14656"/>
                  <a:pt x="14031" y="14656"/>
                  <a:pt x="14031" y="14656"/>
                </a:cubicBezTo>
                <a:cubicBezTo>
                  <a:pt x="13938" y="14718"/>
                  <a:pt x="13813" y="14749"/>
                  <a:pt x="13688" y="14812"/>
                </a:cubicBezTo>
                <a:cubicBezTo>
                  <a:pt x="13844" y="14937"/>
                  <a:pt x="14000" y="15031"/>
                  <a:pt x="14156" y="15156"/>
                </a:cubicBezTo>
                <a:cubicBezTo>
                  <a:pt x="14156" y="15156"/>
                  <a:pt x="14156" y="15187"/>
                  <a:pt x="14219" y="15156"/>
                </a:cubicBezTo>
                <a:cubicBezTo>
                  <a:pt x="14281" y="15124"/>
                  <a:pt x="14375" y="15093"/>
                  <a:pt x="14469" y="15062"/>
                </a:cubicBezTo>
                <a:cubicBezTo>
                  <a:pt x="14531" y="15031"/>
                  <a:pt x="14531" y="14999"/>
                  <a:pt x="14500" y="14968"/>
                </a:cubicBezTo>
                <a:close/>
                <a:moveTo>
                  <a:pt x="10344" y="16343"/>
                </a:moveTo>
                <a:cubicBezTo>
                  <a:pt x="10344" y="16343"/>
                  <a:pt x="10344" y="16343"/>
                  <a:pt x="10344" y="16343"/>
                </a:cubicBezTo>
                <a:cubicBezTo>
                  <a:pt x="10344" y="16343"/>
                  <a:pt x="10344" y="16343"/>
                  <a:pt x="10344" y="16343"/>
                </a:cubicBezTo>
                <a:close/>
                <a:moveTo>
                  <a:pt x="12094" y="14156"/>
                </a:moveTo>
                <a:cubicBezTo>
                  <a:pt x="12094" y="14156"/>
                  <a:pt x="12094" y="14156"/>
                  <a:pt x="12094" y="14156"/>
                </a:cubicBezTo>
                <a:cubicBezTo>
                  <a:pt x="12094" y="14156"/>
                  <a:pt x="12094" y="14156"/>
                  <a:pt x="12094" y="14156"/>
                </a:cubicBezTo>
                <a:close/>
                <a:moveTo>
                  <a:pt x="22906" y="18343"/>
                </a:moveTo>
                <a:cubicBezTo>
                  <a:pt x="22906" y="18343"/>
                  <a:pt x="22906" y="18343"/>
                  <a:pt x="22906" y="18343"/>
                </a:cubicBezTo>
                <a:cubicBezTo>
                  <a:pt x="22906" y="18343"/>
                  <a:pt x="22906" y="18343"/>
                  <a:pt x="22906" y="18343"/>
                </a:cubicBezTo>
                <a:close/>
                <a:moveTo>
                  <a:pt x="7469" y="13531"/>
                </a:moveTo>
                <a:cubicBezTo>
                  <a:pt x="7469" y="13531"/>
                  <a:pt x="7500" y="13562"/>
                  <a:pt x="7500" y="13531"/>
                </a:cubicBezTo>
                <a:cubicBezTo>
                  <a:pt x="7531" y="13468"/>
                  <a:pt x="7625" y="13531"/>
                  <a:pt x="7656" y="13468"/>
                </a:cubicBezTo>
                <a:cubicBezTo>
                  <a:pt x="7719" y="13499"/>
                  <a:pt x="7750" y="13437"/>
                  <a:pt x="7781" y="13437"/>
                </a:cubicBezTo>
                <a:cubicBezTo>
                  <a:pt x="7875" y="13437"/>
                  <a:pt x="8000" y="13437"/>
                  <a:pt x="8094" y="13406"/>
                </a:cubicBezTo>
                <a:cubicBezTo>
                  <a:pt x="7938" y="13281"/>
                  <a:pt x="7813" y="13187"/>
                  <a:pt x="7656" y="13062"/>
                </a:cubicBezTo>
                <a:cubicBezTo>
                  <a:pt x="7656" y="13031"/>
                  <a:pt x="7625" y="13031"/>
                  <a:pt x="7594" y="13031"/>
                </a:cubicBezTo>
                <a:cubicBezTo>
                  <a:pt x="7406" y="13093"/>
                  <a:pt x="7219" y="13124"/>
                  <a:pt x="7031" y="13156"/>
                </a:cubicBezTo>
                <a:cubicBezTo>
                  <a:pt x="7188" y="13281"/>
                  <a:pt x="7313" y="13406"/>
                  <a:pt x="7469" y="13531"/>
                </a:cubicBezTo>
                <a:close/>
                <a:moveTo>
                  <a:pt x="10688" y="15937"/>
                </a:moveTo>
                <a:cubicBezTo>
                  <a:pt x="10844" y="15937"/>
                  <a:pt x="10969" y="15906"/>
                  <a:pt x="11125" y="15874"/>
                </a:cubicBezTo>
                <a:cubicBezTo>
                  <a:pt x="11219" y="15843"/>
                  <a:pt x="11344" y="15874"/>
                  <a:pt x="11438" y="15812"/>
                </a:cubicBezTo>
                <a:cubicBezTo>
                  <a:pt x="11438" y="15812"/>
                  <a:pt x="11438" y="15812"/>
                  <a:pt x="11469" y="15812"/>
                </a:cubicBezTo>
                <a:cubicBezTo>
                  <a:pt x="11469" y="15812"/>
                  <a:pt x="11469" y="15812"/>
                  <a:pt x="11469" y="15812"/>
                </a:cubicBezTo>
                <a:cubicBezTo>
                  <a:pt x="11781" y="15812"/>
                  <a:pt x="12094" y="15749"/>
                  <a:pt x="12406" y="15749"/>
                </a:cubicBezTo>
                <a:cubicBezTo>
                  <a:pt x="12906" y="15718"/>
                  <a:pt x="13406" y="15749"/>
                  <a:pt x="13906" y="15749"/>
                </a:cubicBezTo>
                <a:cubicBezTo>
                  <a:pt x="13938" y="15749"/>
                  <a:pt x="13969" y="15781"/>
                  <a:pt x="14031" y="15749"/>
                </a:cubicBezTo>
                <a:cubicBezTo>
                  <a:pt x="14125" y="15749"/>
                  <a:pt x="14219" y="15749"/>
                  <a:pt x="14344" y="15781"/>
                </a:cubicBezTo>
                <a:cubicBezTo>
                  <a:pt x="14625" y="15812"/>
                  <a:pt x="14875" y="15843"/>
                  <a:pt x="15156" y="15874"/>
                </a:cubicBezTo>
                <a:cubicBezTo>
                  <a:pt x="15156" y="15843"/>
                  <a:pt x="15156" y="15843"/>
                  <a:pt x="15156" y="15843"/>
                </a:cubicBezTo>
                <a:cubicBezTo>
                  <a:pt x="15094" y="15812"/>
                  <a:pt x="15031" y="15812"/>
                  <a:pt x="14969" y="15781"/>
                </a:cubicBezTo>
                <a:cubicBezTo>
                  <a:pt x="14844" y="15781"/>
                  <a:pt x="14719" y="15781"/>
                  <a:pt x="14594" y="15749"/>
                </a:cubicBezTo>
                <a:cubicBezTo>
                  <a:pt x="14594" y="15749"/>
                  <a:pt x="14594" y="15749"/>
                  <a:pt x="14594" y="15749"/>
                </a:cubicBezTo>
                <a:cubicBezTo>
                  <a:pt x="14594" y="15718"/>
                  <a:pt x="14594" y="15718"/>
                  <a:pt x="14563" y="15718"/>
                </a:cubicBezTo>
                <a:cubicBezTo>
                  <a:pt x="14500" y="15624"/>
                  <a:pt x="14406" y="15593"/>
                  <a:pt x="14313" y="15562"/>
                </a:cubicBezTo>
                <a:cubicBezTo>
                  <a:pt x="14188" y="15562"/>
                  <a:pt x="14094" y="15531"/>
                  <a:pt x="14031" y="15624"/>
                </a:cubicBezTo>
                <a:cubicBezTo>
                  <a:pt x="14031" y="15656"/>
                  <a:pt x="14031" y="15687"/>
                  <a:pt x="14031" y="15718"/>
                </a:cubicBezTo>
                <a:cubicBezTo>
                  <a:pt x="14031" y="15718"/>
                  <a:pt x="14000" y="15718"/>
                  <a:pt x="14000" y="15718"/>
                </a:cubicBezTo>
                <a:cubicBezTo>
                  <a:pt x="13938" y="15718"/>
                  <a:pt x="13906" y="15687"/>
                  <a:pt x="13875" y="15624"/>
                </a:cubicBezTo>
                <a:cubicBezTo>
                  <a:pt x="13875" y="15593"/>
                  <a:pt x="13813" y="15562"/>
                  <a:pt x="13781" y="15531"/>
                </a:cubicBezTo>
                <a:cubicBezTo>
                  <a:pt x="13656" y="15437"/>
                  <a:pt x="13531" y="15374"/>
                  <a:pt x="13344" y="15374"/>
                </a:cubicBezTo>
                <a:cubicBezTo>
                  <a:pt x="13281" y="15374"/>
                  <a:pt x="13219" y="15406"/>
                  <a:pt x="13219" y="15468"/>
                </a:cubicBezTo>
                <a:cubicBezTo>
                  <a:pt x="13188" y="15531"/>
                  <a:pt x="13219" y="15593"/>
                  <a:pt x="13281" y="15656"/>
                </a:cubicBezTo>
                <a:cubicBezTo>
                  <a:pt x="13281" y="15656"/>
                  <a:pt x="13313" y="15656"/>
                  <a:pt x="13313" y="15687"/>
                </a:cubicBezTo>
                <a:cubicBezTo>
                  <a:pt x="13219" y="15718"/>
                  <a:pt x="13188" y="15656"/>
                  <a:pt x="13156" y="15593"/>
                </a:cubicBezTo>
                <a:cubicBezTo>
                  <a:pt x="13094" y="15531"/>
                  <a:pt x="13063" y="15468"/>
                  <a:pt x="13000" y="15437"/>
                </a:cubicBezTo>
                <a:cubicBezTo>
                  <a:pt x="13000" y="15406"/>
                  <a:pt x="13000" y="15406"/>
                  <a:pt x="13000" y="15406"/>
                </a:cubicBezTo>
                <a:cubicBezTo>
                  <a:pt x="12844" y="15218"/>
                  <a:pt x="12594" y="15124"/>
                  <a:pt x="12375" y="15187"/>
                </a:cubicBezTo>
                <a:cubicBezTo>
                  <a:pt x="12313" y="15218"/>
                  <a:pt x="12313" y="15281"/>
                  <a:pt x="12313" y="15312"/>
                </a:cubicBezTo>
                <a:cubicBezTo>
                  <a:pt x="12344" y="15374"/>
                  <a:pt x="12375" y="15468"/>
                  <a:pt x="12438" y="15531"/>
                </a:cubicBezTo>
                <a:cubicBezTo>
                  <a:pt x="12438" y="15562"/>
                  <a:pt x="12500" y="15593"/>
                  <a:pt x="12531" y="15624"/>
                </a:cubicBezTo>
                <a:cubicBezTo>
                  <a:pt x="12500" y="15656"/>
                  <a:pt x="12563" y="15687"/>
                  <a:pt x="12531" y="15687"/>
                </a:cubicBezTo>
                <a:cubicBezTo>
                  <a:pt x="12500" y="15718"/>
                  <a:pt x="12469" y="15687"/>
                  <a:pt x="12469" y="15656"/>
                </a:cubicBezTo>
                <a:cubicBezTo>
                  <a:pt x="12438" y="15656"/>
                  <a:pt x="12438" y="15624"/>
                  <a:pt x="12406" y="15624"/>
                </a:cubicBezTo>
                <a:cubicBezTo>
                  <a:pt x="12281" y="15437"/>
                  <a:pt x="12188" y="15281"/>
                  <a:pt x="12031" y="15124"/>
                </a:cubicBezTo>
                <a:cubicBezTo>
                  <a:pt x="12031" y="15124"/>
                  <a:pt x="12000" y="15124"/>
                  <a:pt x="11969" y="15093"/>
                </a:cubicBezTo>
                <a:cubicBezTo>
                  <a:pt x="11813" y="14968"/>
                  <a:pt x="11656" y="14937"/>
                  <a:pt x="11469" y="14968"/>
                </a:cubicBezTo>
                <a:cubicBezTo>
                  <a:pt x="11375" y="14968"/>
                  <a:pt x="11344" y="15031"/>
                  <a:pt x="11344" y="15124"/>
                </a:cubicBezTo>
                <a:cubicBezTo>
                  <a:pt x="11344" y="15218"/>
                  <a:pt x="11438" y="15281"/>
                  <a:pt x="11500" y="15343"/>
                </a:cubicBezTo>
                <a:cubicBezTo>
                  <a:pt x="11594" y="15468"/>
                  <a:pt x="11688" y="15624"/>
                  <a:pt x="11844" y="15718"/>
                </a:cubicBezTo>
                <a:cubicBezTo>
                  <a:pt x="11781" y="15749"/>
                  <a:pt x="11750" y="15749"/>
                  <a:pt x="11688" y="15718"/>
                </a:cubicBezTo>
                <a:cubicBezTo>
                  <a:pt x="11656" y="15656"/>
                  <a:pt x="11594" y="15562"/>
                  <a:pt x="11531" y="15499"/>
                </a:cubicBezTo>
                <a:cubicBezTo>
                  <a:pt x="11438" y="15406"/>
                  <a:pt x="11344" y="15281"/>
                  <a:pt x="11250" y="15156"/>
                </a:cubicBezTo>
                <a:cubicBezTo>
                  <a:pt x="11188" y="15124"/>
                  <a:pt x="11094" y="15062"/>
                  <a:pt x="11031" y="15031"/>
                </a:cubicBezTo>
                <a:cubicBezTo>
                  <a:pt x="10906" y="14999"/>
                  <a:pt x="10750" y="14968"/>
                  <a:pt x="10625" y="14999"/>
                </a:cubicBezTo>
                <a:cubicBezTo>
                  <a:pt x="10563" y="15031"/>
                  <a:pt x="10500" y="15093"/>
                  <a:pt x="10531" y="15156"/>
                </a:cubicBezTo>
                <a:cubicBezTo>
                  <a:pt x="10563" y="15218"/>
                  <a:pt x="10563" y="15281"/>
                  <a:pt x="10625" y="15343"/>
                </a:cubicBezTo>
                <a:cubicBezTo>
                  <a:pt x="10688" y="15374"/>
                  <a:pt x="10719" y="15468"/>
                  <a:pt x="10813" y="15499"/>
                </a:cubicBezTo>
                <a:cubicBezTo>
                  <a:pt x="10844" y="15499"/>
                  <a:pt x="10844" y="15624"/>
                  <a:pt x="10938" y="15624"/>
                </a:cubicBezTo>
                <a:cubicBezTo>
                  <a:pt x="10938" y="15624"/>
                  <a:pt x="10969" y="15656"/>
                  <a:pt x="10938" y="15656"/>
                </a:cubicBezTo>
                <a:cubicBezTo>
                  <a:pt x="10938" y="15718"/>
                  <a:pt x="10969" y="15718"/>
                  <a:pt x="11000" y="15749"/>
                </a:cubicBezTo>
                <a:cubicBezTo>
                  <a:pt x="11000" y="15749"/>
                  <a:pt x="11000" y="15749"/>
                  <a:pt x="11000" y="15749"/>
                </a:cubicBezTo>
                <a:cubicBezTo>
                  <a:pt x="11000" y="15781"/>
                  <a:pt x="11094" y="15812"/>
                  <a:pt x="11031" y="15843"/>
                </a:cubicBezTo>
                <a:cubicBezTo>
                  <a:pt x="11000" y="15874"/>
                  <a:pt x="10938" y="15812"/>
                  <a:pt x="10906" y="15781"/>
                </a:cubicBezTo>
                <a:cubicBezTo>
                  <a:pt x="10844" y="15687"/>
                  <a:pt x="10781" y="15624"/>
                  <a:pt x="10688" y="15562"/>
                </a:cubicBezTo>
                <a:cubicBezTo>
                  <a:pt x="10625" y="15531"/>
                  <a:pt x="10563" y="15499"/>
                  <a:pt x="10500" y="15468"/>
                </a:cubicBezTo>
                <a:cubicBezTo>
                  <a:pt x="10375" y="15437"/>
                  <a:pt x="10250" y="15437"/>
                  <a:pt x="10125" y="15499"/>
                </a:cubicBezTo>
                <a:cubicBezTo>
                  <a:pt x="10031" y="15531"/>
                  <a:pt x="10063" y="15624"/>
                  <a:pt x="10031" y="15687"/>
                </a:cubicBezTo>
                <a:cubicBezTo>
                  <a:pt x="10031" y="15718"/>
                  <a:pt x="10094" y="15781"/>
                  <a:pt x="10156" y="15781"/>
                </a:cubicBezTo>
                <a:cubicBezTo>
                  <a:pt x="10156" y="15781"/>
                  <a:pt x="10156" y="15781"/>
                  <a:pt x="10156" y="15781"/>
                </a:cubicBezTo>
                <a:cubicBezTo>
                  <a:pt x="10188" y="15874"/>
                  <a:pt x="10219" y="15906"/>
                  <a:pt x="10281" y="15906"/>
                </a:cubicBezTo>
                <a:cubicBezTo>
                  <a:pt x="10313" y="15906"/>
                  <a:pt x="10344" y="15906"/>
                  <a:pt x="10313" y="15937"/>
                </a:cubicBezTo>
                <a:cubicBezTo>
                  <a:pt x="10281" y="16031"/>
                  <a:pt x="10344" y="15999"/>
                  <a:pt x="10375" y="15999"/>
                </a:cubicBezTo>
                <a:cubicBezTo>
                  <a:pt x="10406" y="15999"/>
                  <a:pt x="10438" y="15999"/>
                  <a:pt x="10469" y="15968"/>
                </a:cubicBezTo>
                <a:cubicBezTo>
                  <a:pt x="10500" y="15968"/>
                  <a:pt x="10531" y="15999"/>
                  <a:pt x="10500" y="15968"/>
                </a:cubicBezTo>
                <a:cubicBezTo>
                  <a:pt x="10500" y="15937"/>
                  <a:pt x="10500" y="15937"/>
                  <a:pt x="10469" y="15937"/>
                </a:cubicBezTo>
                <a:cubicBezTo>
                  <a:pt x="10563" y="15999"/>
                  <a:pt x="10625" y="15937"/>
                  <a:pt x="10688" y="15937"/>
                </a:cubicBezTo>
                <a:close/>
                <a:moveTo>
                  <a:pt x="12469" y="15499"/>
                </a:moveTo>
                <a:cubicBezTo>
                  <a:pt x="12469" y="15531"/>
                  <a:pt x="12469" y="15531"/>
                  <a:pt x="12438" y="15531"/>
                </a:cubicBezTo>
                <a:cubicBezTo>
                  <a:pt x="12438" y="15499"/>
                  <a:pt x="12469" y="15499"/>
                  <a:pt x="12469" y="15499"/>
                </a:cubicBezTo>
                <a:cubicBezTo>
                  <a:pt x="12469" y="15499"/>
                  <a:pt x="12469" y="15499"/>
                  <a:pt x="12469" y="15499"/>
                </a:cubicBezTo>
                <a:close/>
                <a:moveTo>
                  <a:pt x="4813" y="13999"/>
                </a:moveTo>
                <a:cubicBezTo>
                  <a:pt x="4813" y="13999"/>
                  <a:pt x="4813" y="13999"/>
                  <a:pt x="4813" y="13999"/>
                </a:cubicBezTo>
                <a:cubicBezTo>
                  <a:pt x="4813" y="13999"/>
                  <a:pt x="4813" y="13999"/>
                  <a:pt x="4813" y="13999"/>
                </a:cubicBezTo>
                <a:close/>
                <a:moveTo>
                  <a:pt x="10125" y="10406"/>
                </a:moveTo>
                <a:cubicBezTo>
                  <a:pt x="10125" y="10406"/>
                  <a:pt x="10125" y="10406"/>
                  <a:pt x="10125" y="10406"/>
                </a:cubicBezTo>
                <a:cubicBezTo>
                  <a:pt x="10125" y="10406"/>
                  <a:pt x="10125" y="10406"/>
                  <a:pt x="10125" y="10406"/>
                </a:cubicBezTo>
                <a:lnTo>
                  <a:pt x="10125" y="10406"/>
                </a:lnTo>
                <a:cubicBezTo>
                  <a:pt x="10125" y="10406"/>
                  <a:pt x="10125" y="10406"/>
                  <a:pt x="10125" y="10406"/>
                </a:cubicBezTo>
                <a:close/>
                <a:moveTo>
                  <a:pt x="28750" y="22156"/>
                </a:moveTo>
                <a:cubicBezTo>
                  <a:pt x="28750" y="22156"/>
                  <a:pt x="28750" y="22156"/>
                  <a:pt x="28750" y="22156"/>
                </a:cubicBezTo>
                <a:close/>
                <a:moveTo>
                  <a:pt x="26313" y="21187"/>
                </a:moveTo>
                <a:cubicBezTo>
                  <a:pt x="26313" y="21187"/>
                  <a:pt x="26313" y="21187"/>
                  <a:pt x="26313" y="21187"/>
                </a:cubicBezTo>
                <a:cubicBezTo>
                  <a:pt x="26313" y="21187"/>
                  <a:pt x="26313" y="21187"/>
                  <a:pt x="26313" y="21187"/>
                </a:cubicBezTo>
                <a:close/>
                <a:moveTo>
                  <a:pt x="24094" y="19187"/>
                </a:move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cubicBezTo>
                  <a:pt x="24094" y="19187"/>
                  <a:pt x="24094" y="19187"/>
                  <a:pt x="24094" y="19187"/>
                </a:cubicBezTo>
                <a:lnTo>
                  <a:pt x="24094" y="19187"/>
                </a:lnTo>
                <a:lnTo>
                  <a:pt x="24094" y="19187"/>
                </a:lnTo>
                <a:close/>
                <a:moveTo>
                  <a:pt x="29719" y="23468"/>
                </a:moveTo>
                <a:cubicBezTo>
                  <a:pt x="29719" y="23468"/>
                  <a:pt x="29719" y="23468"/>
                  <a:pt x="29719" y="23468"/>
                </a:cubicBezTo>
                <a:close/>
                <a:moveTo>
                  <a:pt x="23969" y="19124"/>
                </a:moveTo>
                <a:cubicBezTo>
                  <a:pt x="23969" y="19124"/>
                  <a:pt x="23969" y="19124"/>
                  <a:pt x="23969" y="19124"/>
                </a:cubicBezTo>
                <a:cubicBezTo>
                  <a:pt x="23969" y="19124"/>
                  <a:pt x="23969" y="19124"/>
                  <a:pt x="23969" y="19124"/>
                </a:cubicBezTo>
                <a:close/>
                <a:moveTo>
                  <a:pt x="26781" y="21656"/>
                </a:moveTo>
                <a:cubicBezTo>
                  <a:pt x="26781" y="21656"/>
                  <a:pt x="26781" y="21656"/>
                  <a:pt x="26781" y="21656"/>
                </a:cubicBezTo>
                <a:cubicBezTo>
                  <a:pt x="26781" y="21656"/>
                  <a:pt x="26781" y="21656"/>
                  <a:pt x="26781" y="21656"/>
                </a:cubicBezTo>
                <a:lnTo>
                  <a:pt x="26781" y="21656"/>
                </a:lnTo>
                <a:cubicBezTo>
                  <a:pt x="26781" y="21656"/>
                  <a:pt x="26781" y="21656"/>
                  <a:pt x="26781" y="21656"/>
                </a:cubicBezTo>
                <a:close/>
                <a:moveTo>
                  <a:pt x="18406" y="12749"/>
                </a:move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ubicBezTo>
                  <a:pt x="18406" y="12749"/>
                  <a:pt x="18406" y="12749"/>
                  <a:pt x="18406" y="12749"/>
                </a:cubicBezTo>
                <a:close/>
                <a:moveTo>
                  <a:pt x="4031" y="14437"/>
                </a:moveTo>
                <a:cubicBezTo>
                  <a:pt x="4031" y="14437"/>
                  <a:pt x="4031" y="14437"/>
                  <a:pt x="4031" y="14437"/>
                </a:cubicBezTo>
                <a:close/>
                <a:moveTo>
                  <a:pt x="4813" y="23437"/>
                </a:move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lnTo>
                  <a:pt x="4813" y="23437"/>
                </a:ln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ubicBezTo>
                  <a:pt x="4813" y="23437"/>
                  <a:pt x="4813" y="23437"/>
                  <a:pt x="4813" y="234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259B8D5-A349-5C4F-9CA2-8D4546B94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25FEFD8-3E6D-214A-9B49-E5C7C06395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931DE6A-D074-454B-8B36-195D02B5158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C4A10A96-9916-4C48-A582-4B241073F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91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23">
            <a:extLst>
              <a:ext uri="{FF2B5EF4-FFF2-40B4-BE49-F238E27FC236}">
                <a16:creationId xmlns:a16="http://schemas.microsoft.com/office/drawing/2014/main" id="{53A9BBAD-01B8-CE4F-84DF-1CE07592C88C}"/>
              </a:ext>
            </a:extLst>
          </p:cNvPr>
          <p:cNvSpPr>
            <a:spLocks noGrp="1" noEditPoints="1"/>
          </p:cNvSpPr>
          <p:nvPr>
            <p:ph type="pic" sz="quarter" idx="23" hasCustomPrompt="1"/>
          </p:nvPr>
        </p:nvSpPr>
        <p:spPr bwMode="auto">
          <a:xfrm>
            <a:off x="10968658" y="738114"/>
            <a:ext cx="12889432" cy="12979474"/>
          </a:xfrm>
          <a:custGeom>
            <a:avLst/>
            <a:gdLst>
              <a:gd name="T0" fmla="*/ 1373 w 1626"/>
              <a:gd name="T1" fmla="*/ 1259 h 1549"/>
              <a:gd name="T2" fmla="*/ 1331 w 1626"/>
              <a:gd name="T3" fmla="*/ 1218 h 1549"/>
              <a:gd name="T4" fmla="*/ 1210 w 1626"/>
              <a:gd name="T5" fmla="*/ 1316 h 1549"/>
              <a:gd name="T6" fmla="*/ 1155 w 1626"/>
              <a:gd name="T7" fmla="*/ 1392 h 1549"/>
              <a:gd name="T8" fmla="*/ 1178 w 1626"/>
              <a:gd name="T9" fmla="*/ 1197 h 1549"/>
              <a:gd name="T10" fmla="*/ 1081 w 1626"/>
              <a:gd name="T11" fmla="*/ 1319 h 1549"/>
              <a:gd name="T12" fmla="*/ 1025 w 1626"/>
              <a:gd name="T13" fmla="*/ 1250 h 1549"/>
              <a:gd name="T14" fmla="*/ 992 w 1626"/>
              <a:gd name="T15" fmla="*/ 939 h 1549"/>
              <a:gd name="T16" fmla="*/ 902 w 1626"/>
              <a:gd name="T17" fmla="*/ 1305 h 1549"/>
              <a:gd name="T18" fmla="*/ 867 w 1626"/>
              <a:gd name="T19" fmla="*/ 1411 h 1549"/>
              <a:gd name="T20" fmla="*/ 825 w 1626"/>
              <a:gd name="T21" fmla="*/ 1074 h 1549"/>
              <a:gd name="T22" fmla="*/ 803 w 1626"/>
              <a:gd name="T23" fmla="*/ 1205 h 1549"/>
              <a:gd name="T24" fmla="*/ 786 w 1626"/>
              <a:gd name="T25" fmla="*/ 659 h 1549"/>
              <a:gd name="T26" fmla="*/ 855 w 1626"/>
              <a:gd name="T27" fmla="*/ 1111 h 1549"/>
              <a:gd name="T28" fmla="*/ 759 w 1626"/>
              <a:gd name="T29" fmla="*/ 1048 h 1549"/>
              <a:gd name="T30" fmla="*/ 668 w 1626"/>
              <a:gd name="T31" fmla="*/ 568 h 1549"/>
              <a:gd name="T32" fmla="*/ 619 w 1626"/>
              <a:gd name="T33" fmla="*/ 1072 h 1549"/>
              <a:gd name="T34" fmla="*/ 573 w 1626"/>
              <a:gd name="T35" fmla="*/ 980 h 1549"/>
              <a:gd name="T36" fmla="*/ 621 w 1626"/>
              <a:gd name="T37" fmla="*/ 1223 h 1549"/>
              <a:gd name="T38" fmla="*/ 621 w 1626"/>
              <a:gd name="T39" fmla="*/ 897 h 1549"/>
              <a:gd name="T40" fmla="*/ 549 w 1626"/>
              <a:gd name="T41" fmla="*/ 925 h 1549"/>
              <a:gd name="T42" fmla="*/ 513 w 1626"/>
              <a:gd name="T43" fmla="*/ 1155 h 1549"/>
              <a:gd name="T44" fmla="*/ 482 w 1626"/>
              <a:gd name="T45" fmla="*/ 1009 h 1549"/>
              <a:gd name="T46" fmla="*/ 424 w 1626"/>
              <a:gd name="T47" fmla="*/ 1158 h 1549"/>
              <a:gd name="T48" fmla="*/ 380 w 1626"/>
              <a:gd name="T49" fmla="*/ 1046 h 1549"/>
              <a:gd name="T50" fmla="*/ 338 w 1626"/>
              <a:gd name="T51" fmla="*/ 701 h 1549"/>
              <a:gd name="T52" fmla="*/ 313 w 1626"/>
              <a:gd name="T53" fmla="*/ 1186 h 1549"/>
              <a:gd name="T54" fmla="*/ 296 w 1626"/>
              <a:gd name="T55" fmla="*/ 1219 h 1549"/>
              <a:gd name="T56" fmla="*/ 355 w 1626"/>
              <a:gd name="T57" fmla="*/ 801 h 1549"/>
              <a:gd name="T58" fmla="*/ 403 w 1626"/>
              <a:gd name="T59" fmla="*/ 1062 h 1549"/>
              <a:gd name="T60" fmla="*/ 415 w 1626"/>
              <a:gd name="T61" fmla="*/ 864 h 1549"/>
              <a:gd name="T62" fmla="*/ 411 w 1626"/>
              <a:gd name="T63" fmla="*/ 984 h 1549"/>
              <a:gd name="T64" fmla="*/ 489 w 1626"/>
              <a:gd name="T65" fmla="*/ 914 h 1549"/>
              <a:gd name="T66" fmla="*/ 463 w 1626"/>
              <a:gd name="T67" fmla="*/ 913 h 1549"/>
              <a:gd name="T68" fmla="*/ 459 w 1626"/>
              <a:gd name="T69" fmla="*/ 811 h 1549"/>
              <a:gd name="T70" fmla="*/ 483 w 1626"/>
              <a:gd name="T71" fmla="*/ 836 h 1549"/>
              <a:gd name="T72" fmla="*/ 611 w 1626"/>
              <a:gd name="T73" fmla="*/ 625 h 1549"/>
              <a:gd name="T74" fmla="*/ 640 w 1626"/>
              <a:gd name="T75" fmla="*/ 846 h 1549"/>
              <a:gd name="T76" fmla="*/ 661 w 1626"/>
              <a:gd name="T77" fmla="*/ 578 h 1549"/>
              <a:gd name="T78" fmla="*/ 713 w 1626"/>
              <a:gd name="T79" fmla="*/ 550 h 1549"/>
              <a:gd name="T80" fmla="*/ 194 w 1626"/>
              <a:gd name="T81" fmla="*/ 1497 h 1549"/>
              <a:gd name="T82" fmla="*/ 115 w 1626"/>
              <a:gd name="T83" fmla="*/ 287 h 1549"/>
              <a:gd name="T84" fmla="*/ 66 w 1626"/>
              <a:gd name="T85" fmla="*/ 419 h 1549"/>
              <a:gd name="T86" fmla="*/ 1583 w 1626"/>
              <a:gd name="T87" fmla="*/ 1336 h 1549"/>
              <a:gd name="T88" fmla="*/ 1510 w 1626"/>
              <a:gd name="T89" fmla="*/ 867 h 1549"/>
              <a:gd name="T90" fmla="*/ 1393 w 1626"/>
              <a:gd name="T91" fmla="*/ 924 h 1549"/>
              <a:gd name="T92" fmla="*/ 1297 w 1626"/>
              <a:gd name="T93" fmla="*/ 1047 h 1549"/>
              <a:gd name="T94" fmla="*/ 1081 w 1626"/>
              <a:gd name="T95" fmla="*/ 937 h 1549"/>
              <a:gd name="T96" fmla="*/ 985 w 1626"/>
              <a:gd name="T97" fmla="*/ 722 h 1549"/>
              <a:gd name="T98" fmla="*/ 939 w 1626"/>
              <a:gd name="T99" fmla="*/ 611 h 1549"/>
              <a:gd name="T100" fmla="*/ 813 w 1626"/>
              <a:gd name="T101" fmla="*/ 473 h 1549"/>
              <a:gd name="T102" fmla="*/ 714 w 1626"/>
              <a:gd name="T103" fmla="*/ 503 h 1549"/>
              <a:gd name="T104" fmla="*/ 516 w 1626"/>
              <a:gd name="T105" fmla="*/ 566 h 1549"/>
              <a:gd name="T106" fmla="*/ 433 w 1626"/>
              <a:gd name="T107" fmla="*/ 780 h 1549"/>
              <a:gd name="T108" fmla="*/ 270 w 1626"/>
              <a:gd name="T109" fmla="*/ 299 h 1549"/>
              <a:gd name="T110" fmla="*/ 343 w 1626"/>
              <a:gd name="T111" fmla="*/ 92 h 1549"/>
              <a:gd name="T112" fmla="*/ 251 w 1626"/>
              <a:gd name="T113" fmla="*/ 29 h 1549"/>
              <a:gd name="T114" fmla="*/ 142 w 1626"/>
              <a:gd name="T115" fmla="*/ 9 h 1549"/>
              <a:gd name="T116" fmla="*/ 26 w 1626"/>
              <a:gd name="T117" fmla="*/ 110 h 1549"/>
              <a:gd name="T118" fmla="*/ 64 w 1626"/>
              <a:gd name="T119" fmla="*/ 390 h 1549"/>
              <a:gd name="T120" fmla="*/ 207 w 1626"/>
              <a:gd name="T121" fmla="*/ 784 h 1549"/>
              <a:gd name="T122" fmla="*/ 198 w 1626"/>
              <a:gd name="T123" fmla="*/ 1061 h 1549"/>
              <a:gd name="T124" fmla="*/ 246 w 1626"/>
              <a:gd name="T125" fmla="*/ 1267 h 1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26" h="1549">
                <a:moveTo>
                  <a:pt x="1547" y="1498"/>
                </a:moveTo>
                <a:lnTo>
                  <a:pt x="1547" y="1498"/>
                </a:lnTo>
                <a:lnTo>
                  <a:pt x="1549" y="1497"/>
                </a:lnTo>
                <a:lnTo>
                  <a:pt x="1549" y="1496"/>
                </a:lnTo>
                <a:lnTo>
                  <a:pt x="1549" y="1494"/>
                </a:lnTo>
                <a:lnTo>
                  <a:pt x="1549" y="1496"/>
                </a:lnTo>
                <a:lnTo>
                  <a:pt x="1549" y="1497"/>
                </a:lnTo>
                <a:lnTo>
                  <a:pt x="1547" y="1498"/>
                </a:lnTo>
                <a:lnTo>
                  <a:pt x="1547" y="1498"/>
                </a:lnTo>
                <a:close/>
                <a:moveTo>
                  <a:pt x="1474" y="952"/>
                </a:move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lnTo>
                  <a:pt x="1474" y="952"/>
                </a:lnTo>
                <a:close/>
                <a:moveTo>
                  <a:pt x="1473" y="952"/>
                </a:move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1"/>
                </a:lnTo>
                <a:lnTo>
                  <a:pt x="1473" y="952"/>
                </a:lnTo>
                <a:close/>
                <a:moveTo>
                  <a:pt x="1421" y="946"/>
                </a:moveTo>
                <a:lnTo>
                  <a:pt x="1418" y="948"/>
                </a:lnTo>
                <a:lnTo>
                  <a:pt x="1415" y="949"/>
                </a:lnTo>
                <a:lnTo>
                  <a:pt x="1418" y="948"/>
                </a:lnTo>
                <a:lnTo>
                  <a:pt x="1421" y="946"/>
                </a:lnTo>
                <a:lnTo>
                  <a:pt x="1421" y="946"/>
                </a:lnTo>
                <a:close/>
                <a:moveTo>
                  <a:pt x="1407" y="1118"/>
                </a:moveTo>
                <a:lnTo>
                  <a:pt x="1409" y="1117"/>
                </a:lnTo>
                <a:lnTo>
                  <a:pt x="1411" y="1116"/>
                </a:lnTo>
                <a:lnTo>
                  <a:pt x="1409" y="1117"/>
                </a:lnTo>
                <a:lnTo>
                  <a:pt x="1407" y="1118"/>
                </a:lnTo>
                <a:close/>
                <a:moveTo>
                  <a:pt x="1398" y="1148"/>
                </a:moveTo>
                <a:lnTo>
                  <a:pt x="1398" y="1149"/>
                </a:lnTo>
                <a:lnTo>
                  <a:pt x="1398" y="1148"/>
                </a:lnTo>
                <a:close/>
                <a:moveTo>
                  <a:pt x="1381" y="980"/>
                </a:moveTo>
                <a:lnTo>
                  <a:pt x="1381" y="983"/>
                </a:lnTo>
                <a:lnTo>
                  <a:pt x="1380" y="984"/>
                </a:lnTo>
                <a:lnTo>
                  <a:pt x="1381" y="983"/>
                </a:lnTo>
                <a:lnTo>
                  <a:pt x="1381" y="980"/>
                </a:lnTo>
                <a:lnTo>
                  <a:pt x="1384" y="980"/>
                </a:lnTo>
                <a:lnTo>
                  <a:pt x="1385" y="980"/>
                </a:lnTo>
                <a:lnTo>
                  <a:pt x="1384" y="980"/>
                </a:lnTo>
                <a:lnTo>
                  <a:pt x="1381" y="980"/>
                </a:lnTo>
                <a:close/>
                <a:moveTo>
                  <a:pt x="1378" y="1259"/>
                </a:moveTo>
                <a:lnTo>
                  <a:pt x="1376" y="1259"/>
                </a:lnTo>
                <a:lnTo>
                  <a:pt x="1374" y="1260"/>
                </a:lnTo>
                <a:lnTo>
                  <a:pt x="1373" y="1261"/>
                </a:lnTo>
                <a:lnTo>
                  <a:pt x="1373" y="1261"/>
                </a:lnTo>
                <a:lnTo>
                  <a:pt x="1370" y="1260"/>
                </a:lnTo>
                <a:lnTo>
                  <a:pt x="1369" y="1260"/>
                </a:lnTo>
                <a:lnTo>
                  <a:pt x="1371" y="1260"/>
                </a:lnTo>
                <a:lnTo>
                  <a:pt x="1373" y="1259"/>
                </a:lnTo>
                <a:lnTo>
                  <a:pt x="1374" y="1257"/>
                </a:lnTo>
                <a:lnTo>
                  <a:pt x="1377" y="1256"/>
                </a:lnTo>
                <a:lnTo>
                  <a:pt x="1380" y="1254"/>
                </a:lnTo>
                <a:lnTo>
                  <a:pt x="1383" y="1254"/>
                </a:lnTo>
                <a:lnTo>
                  <a:pt x="1381" y="1254"/>
                </a:lnTo>
                <a:lnTo>
                  <a:pt x="1379" y="1256"/>
                </a:lnTo>
                <a:lnTo>
                  <a:pt x="1378" y="1257"/>
                </a:lnTo>
                <a:lnTo>
                  <a:pt x="1378" y="1259"/>
                </a:lnTo>
                <a:close/>
                <a:moveTo>
                  <a:pt x="1362" y="1118"/>
                </a:moveTo>
                <a:lnTo>
                  <a:pt x="1362" y="1118"/>
                </a:lnTo>
                <a:lnTo>
                  <a:pt x="1360" y="1118"/>
                </a:lnTo>
                <a:lnTo>
                  <a:pt x="1362" y="1118"/>
                </a:lnTo>
                <a:lnTo>
                  <a:pt x="1362" y="1118"/>
                </a:lnTo>
                <a:lnTo>
                  <a:pt x="1362" y="1118"/>
                </a:lnTo>
                <a:close/>
                <a:moveTo>
                  <a:pt x="1359" y="1119"/>
                </a:moveTo>
                <a:lnTo>
                  <a:pt x="1360" y="1118"/>
                </a:lnTo>
                <a:lnTo>
                  <a:pt x="1360" y="1118"/>
                </a:lnTo>
                <a:lnTo>
                  <a:pt x="1360" y="1118"/>
                </a:lnTo>
                <a:lnTo>
                  <a:pt x="1359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60" y="1119"/>
                </a:lnTo>
                <a:lnTo>
                  <a:pt x="1359" y="1119"/>
                </a:lnTo>
                <a:close/>
                <a:moveTo>
                  <a:pt x="1353" y="1044"/>
                </a:moveTo>
                <a:lnTo>
                  <a:pt x="1357" y="1044"/>
                </a:lnTo>
                <a:lnTo>
                  <a:pt x="1360" y="1044"/>
                </a:lnTo>
                <a:lnTo>
                  <a:pt x="1360" y="1044"/>
                </a:lnTo>
                <a:lnTo>
                  <a:pt x="1357" y="1044"/>
                </a:lnTo>
                <a:lnTo>
                  <a:pt x="1353" y="1044"/>
                </a:lnTo>
                <a:close/>
                <a:moveTo>
                  <a:pt x="1345" y="1030"/>
                </a:moveTo>
                <a:lnTo>
                  <a:pt x="1343" y="1030"/>
                </a:lnTo>
                <a:lnTo>
                  <a:pt x="1340" y="1030"/>
                </a:lnTo>
                <a:lnTo>
                  <a:pt x="1333" y="1026"/>
                </a:lnTo>
                <a:lnTo>
                  <a:pt x="1325" y="1023"/>
                </a:lnTo>
                <a:lnTo>
                  <a:pt x="1324" y="1019"/>
                </a:lnTo>
                <a:lnTo>
                  <a:pt x="1324" y="1013"/>
                </a:lnTo>
                <a:lnTo>
                  <a:pt x="1324" y="1019"/>
                </a:lnTo>
                <a:lnTo>
                  <a:pt x="1325" y="1023"/>
                </a:lnTo>
                <a:lnTo>
                  <a:pt x="1333" y="1026"/>
                </a:lnTo>
                <a:lnTo>
                  <a:pt x="1340" y="1030"/>
                </a:lnTo>
                <a:lnTo>
                  <a:pt x="1343" y="1030"/>
                </a:lnTo>
                <a:lnTo>
                  <a:pt x="1345" y="1030"/>
                </a:lnTo>
                <a:lnTo>
                  <a:pt x="1344" y="1027"/>
                </a:lnTo>
                <a:lnTo>
                  <a:pt x="1344" y="1025"/>
                </a:lnTo>
                <a:lnTo>
                  <a:pt x="1344" y="1027"/>
                </a:lnTo>
                <a:lnTo>
                  <a:pt x="1345" y="1030"/>
                </a:lnTo>
                <a:lnTo>
                  <a:pt x="1346" y="1032"/>
                </a:lnTo>
                <a:lnTo>
                  <a:pt x="1349" y="1034"/>
                </a:lnTo>
                <a:lnTo>
                  <a:pt x="1346" y="1032"/>
                </a:lnTo>
                <a:lnTo>
                  <a:pt x="1345" y="1030"/>
                </a:lnTo>
                <a:close/>
                <a:moveTo>
                  <a:pt x="1328" y="1222"/>
                </a:moveTo>
                <a:lnTo>
                  <a:pt x="1330" y="1219"/>
                </a:lnTo>
                <a:lnTo>
                  <a:pt x="1331" y="1218"/>
                </a:lnTo>
                <a:lnTo>
                  <a:pt x="1335" y="1218"/>
                </a:lnTo>
                <a:lnTo>
                  <a:pt x="1338" y="1217"/>
                </a:lnTo>
                <a:lnTo>
                  <a:pt x="1338" y="1217"/>
                </a:lnTo>
                <a:lnTo>
                  <a:pt x="1335" y="1218"/>
                </a:lnTo>
                <a:lnTo>
                  <a:pt x="1331" y="1218"/>
                </a:lnTo>
                <a:lnTo>
                  <a:pt x="1330" y="1219"/>
                </a:lnTo>
                <a:lnTo>
                  <a:pt x="1328" y="1222"/>
                </a:lnTo>
                <a:close/>
                <a:moveTo>
                  <a:pt x="1321" y="1246"/>
                </a:moveTo>
                <a:lnTo>
                  <a:pt x="1317" y="1246"/>
                </a:lnTo>
                <a:lnTo>
                  <a:pt x="1314" y="1246"/>
                </a:lnTo>
                <a:lnTo>
                  <a:pt x="1317" y="1246"/>
                </a:lnTo>
                <a:lnTo>
                  <a:pt x="1321" y="1246"/>
                </a:lnTo>
                <a:close/>
                <a:moveTo>
                  <a:pt x="1282" y="1138"/>
                </a:moveTo>
                <a:lnTo>
                  <a:pt x="1284" y="1137"/>
                </a:lnTo>
                <a:lnTo>
                  <a:pt x="1286" y="1135"/>
                </a:lnTo>
                <a:lnTo>
                  <a:pt x="1284" y="1137"/>
                </a:lnTo>
                <a:lnTo>
                  <a:pt x="1282" y="1138"/>
                </a:lnTo>
                <a:close/>
                <a:moveTo>
                  <a:pt x="1252" y="1328"/>
                </a:moveTo>
                <a:lnTo>
                  <a:pt x="1253" y="1327"/>
                </a:lnTo>
                <a:lnTo>
                  <a:pt x="1252" y="1326"/>
                </a:lnTo>
                <a:lnTo>
                  <a:pt x="1249" y="1322"/>
                </a:lnTo>
                <a:lnTo>
                  <a:pt x="1248" y="1320"/>
                </a:lnTo>
                <a:lnTo>
                  <a:pt x="1249" y="1322"/>
                </a:lnTo>
                <a:lnTo>
                  <a:pt x="1252" y="1326"/>
                </a:lnTo>
                <a:lnTo>
                  <a:pt x="1253" y="1327"/>
                </a:lnTo>
                <a:lnTo>
                  <a:pt x="1252" y="1328"/>
                </a:lnTo>
                <a:close/>
                <a:moveTo>
                  <a:pt x="1224" y="1085"/>
                </a:moveTo>
                <a:lnTo>
                  <a:pt x="1235" y="1095"/>
                </a:lnTo>
                <a:lnTo>
                  <a:pt x="1247" y="1103"/>
                </a:lnTo>
                <a:lnTo>
                  <a:pt x="1248" y="1105"/>
                </a:lnTo>
                <a:lnTo>
                  <a:pt x="1250" y="1107"/>
                </a:lnTo>
                <a:lnTo>
                  <a:pt x="1248" y="1105"/>
                </a:lnTo>
                <a:lnTo>
                  <a:pt x="1247" y="1103"/>
                </a:lnTo>
                <a:lnTo>
                  <a:pt x="1235" y="1095"/>
                </a:lnTo>
                <a:lnTo>
                  <a:pt x="1224" y="1085"/>
                </a:lnTo>
                <a:close/>
                <a:moveTo>
                  <a:pt x="1239" y="1228"/>
                </a:moveTo>
                <a:lnTo>
                  <a:pt x="1238" y="1226"/>
                </a:lnTo>
                <a:lnTo>
                  <a:pt x="1238" y="1225"/>
                </a:lnTo>
                <a:lnTo>
                  <a:pt x="1238" y="1226"/>
                </a:lnTo>
                <a:lnTo>
                  <a:pt x="1239" y="1228"/>
                </a:lnTo>
                <a:lnTo>
                  <a:pt x="1239" y="1228"/>
                </a:lnTo>
                <a:close/>
                <a:moveTo>
                  <a:pt x="1235" y="1410"/>
                </a:moveTo>
                <a:lnTo>
                  <a:pt x="1232" y="1408"/>
                </a:lnTo>
                <a:lnTo>
                  <a:pt x="1228" y="1408"/>
                </a:lnTo>
                <a:lnTo>
                  <a:pt x="1232" y="1408"/>
                </a:lnTo>
                <a:lnTo>
                  <a:pt x="1235" y="1410"/>
                </a:lnTo>
                <a:lnTo>
                  <a:pt x="1235" y="1411"/>
                </a:lnTo>
                <a:lnTo>
                  <a:pt x="1236" y="1412"/>
                </a:lnTo>
                <a:lnTo>
                  <a:pt x="1235" y="1411"/>
                </a:lnTo>
                <a:lnTo>
                  <a:pt x="1235" y="1410"/>
                </a:lnTo>
                <a:close/>
                <a:moveTo>
                  <a:pt x="1208" y="1312"/>
                </a:moveTo>
                <a:lnTo>
                  <a:pt x="1210" y="1314"/>
                </a:lnTo>
                <a:lnTo>
                  <a:pt x="1210" y="1316"/>
                </a:lnTo>
                <a:lnTo>
                  <a:pt x="1210" y="1314"/>
                </a:lnTo>
                <a:lnTo>
                  <a:pt x="1208" y="1312"/>
                </a:lnTo>
                <a:lnTo>
                  <a:pt x="1210" y="1310"/>
                </a:lnTo>
                <a:lnTo>
                  <a:pt x="1211" y="1310"/>
                </a:lnTo>
                <a:lnTo>
                  <a:pt x="1210" y="1310"/>
                </a:lnTo>
                <a:lnTo>
                  <a:pt x="1208" y="1312"/>
                </a:lnTo>
                <a:close/>
                <a:moveTo>
                  <a:pt x="1213" y="1084"/>
                </a:moveTo>
                <a:lnTo>
                  <a:pt x="1213" y="1086"/>
                </a:lnTo>
                <a:lnTo>
                  <a:pt x="1212" y="1089"/>
                </a:lnTo>
                <a:lnTo>
                  <a:pt x="1213" y="1086"/>
                </a:lnTo>
                <a:lnTo>
                  <a:pt x="1213" y="1084"/>
                </a:lnTo>
                <a:close/>
                <a:moveTo>
                  <a:pt x="1193" y="1347"/>
                </a:moveTo>
                <a:lnTo>
                  <a:pt x="1190" y="1342"/>
                </a:lnTo>
                <a:lnTo>
                  <a:pt x="1187" y="1338"/>
                </a:lnTo>
                <a:lnTo>
                  <a:pt x="1190" y="1342"/>
                </a:lnTo>
                <a:lnTo>
                  <a:pt x="1193" y="1347"/>
                </a:lnTo>
                <a:close/>
                <a:moveTo>
                  <a:pt x="1178" y="1344"/>
                </a:moveTo>
                <a:lnTo>
                  <a:pt x="1176" y="1342"/>
                </a:lnTo>
                <a:lnTo>
                  <a:pt x="1174" y="1341"/>
                </a:lnTo>
                <a:lnTo>
                  <a:pt x="1176" y="1342"/>
                </a:lnTo>
                <a:lnTo>
                  <a:pt x="1178" y="1344"/>
                </a:lnTo>
                <a:lnTo>
                  <a:pt x="1181" y="1348"/>
                </a:lnTo>
                <a:lnTo>
                  <a:pt x="1186" y="1352"/>
                </a:lnTo>
                <a:lnTo>
                  <a:pt x="1181" y="1348"/>
                </a:lnTo>
                <a:lnTo>
                  <a:pt x="1178" y="1344"/>
                </a:lnTo>
                <a:close/>
                <a:moveTo>
                  <a:pt x="1176" y="1518"/>
                </a:move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lnTo>
                  <a:pt x="1176" y="1518"/>
                </a:lnTo>
                <a:close/>
                <a:moveTo>
                  <a:pt x="1174" y="1349"/>
                </a:moveTo>
                <a:lnTo>
                  <a:pt x="1171" y="1348"/>
                </a:lnTo>
                <a:lnTo>
                  <a:pt x="1169" y="1347"/>
                </a:lnTo>
                <a:lnTo>
                  <a:pt x="1171" y="1348"/>
                </a:lnTo>
                <a:lnTo>
                  <a:pt x="1174" y="1349"/>
                </a:lnTo>
                <a:lnTo>
                  <a:pt x="1174" y="1349"/>
                </a:lnTo>
                <a:close/>
                <a:moveTo>
                  <a:pt x="1172" y="1500"/>
                </a:moveTo>
                <a:lnTo>
                  <a:pt x="1169" y="1498"/>
                </a:lnTo>
                <a:lnTo>
                  <a:pt x="1166" y="1497"/>
                </a:lnTo>
                <a:lnTo>
                  <a:pt x="1169" y="1498"/>
                </a:lnTo>
                <a:lnTo>
                  <a:pt x="1172" y="1500"/>
                </a:lnTo>
                <a:lnTo>
                  <a:pt x="1172" y="1502"/>
                </a:lnTo>
                <a:lnTo>
                  <a:pt x="1172" y="1504"/>
                </a:lnTo>
                <a:lnTo>
                  <a:pt x="1172" y="1502"/>
                </a:lnTo>
                <a:lnTo>
                  <a:pt x="1172" y="1500"/>
                </a:lnTo>
                <a:close/>
                <a:moveTo>
                  <a:pt x="1159" y="978"/>
                </a:moveTo>
                <a:lnTo>
                  <a:pt x="1155" y="971"/>
                </a:lnTo>
                <a:lnTo>
                  <a:pt x="1148" y="967"/>
                </a:lnTo>
                <a:lnTo>
                  <a:pt x="1155" y="971"/>
                </a:lnTo>
                <a:lnTo>
                  <a:pt x="1159" y="978"/>
                </a:lnTo>
                <a:lnTo>
                  <a:pt x="1159" y="978"/>
                </a:lnTo>
                <a:close/>
                <a:moveTo>
                  <a:pt x="1155" y="1393"/>
                </a:moveTo>
                <a:lnTo>
                  <a:pt x="1155" y="1392"/>
                </a:lnTo>
                <a:lnTo>
                  <a:pt x="1156" y="1390"/>
                </a:lnTo>
                <a:lnTo>
                  <a:pt x="1144" y="1373"/>
                </a:lnTo>
                <a:lnTo>
                  <a:pt x="1132" y="1358"/>
                </a:lnTo>
                <a:lnTo>
                  <a:pt x="1144" y="1373"/>
                </a:lnTo>
                <a:lnTo>
                  <a:pt x="1156" y="1390"/>
                </a:lnTo>
                <a:lnTo>
                  <a:pt x="1155" y="1392"/>
                </a:lnTo>
                <a:lnTo>
                  <a:pt x="1155" y="1393"/>
                </a:lnTo>
                <a:close/>
                <a:moveTo>
                  <a:pt x="1128" y="1412"/>
                </a:moveTo>
                <a:lnTo>
                  <a:pt x="1124" y="1411"/>
                </a:lnTo>
                <a:lnTo>
                  <a:pt x="1121" y="1410"/>
                </a:lnTo>
                <a:lnTo>
                  <a:pt x="1124" y="1411"/>
                </a:lnTo>
                <a:lnTo>
                  <a:pt x="1128" y="1412"/>
                </a:lnTo>
                <a:close/>
                <a:moveTo>
                  <a:pt x="1126" y="1370"/>
                </a:moveTo>
                <a:lnTo>
                  <a:pt x="1124" y="1369"/>
                </a:lnTo>
                <a:lnTo>
                  <a:pt x="1123" y="1369"/>
                </a:lnTo>
                <a:lnTo>
                  <a:pt x="1124" y="1369"/>
                </a:lnTo>
                <a:lnTo>
                  <a:pt x="1126" y="1370"/>
                </a:lnTo>
                <a:close/>
                <a:moveTo>
                  <a:pt x="1128" y="1177"/>
                </a:moveTo>
                <a:lnTo>
                  <a:pt x="1132" y="1176"/>
                </a:lnTo>
                <a:lnTo>
                  <a:pt x="1137" y="1177"/>
                </a:lnTo>
                <a:lnTo>
                  <a:pt x="1142" y="1180"/>
                </a:lnTo>
                <a:lnTo>
                  <a:pt x="1144" y="1183"/>
                </a:lnTo>
                <a:lnTo>
                  <a:pt x="1142" y="1180"/>
                </a:lnTo>
                <a:lnTo>
                  <a:pt x="1137" y="1177"/>
                </a:lnTo>
                <a:lnTo>
                  <a:pt x="1132" y="1176"/>
                </a:lnTo>
                <a:lnTo>
                  <a:pt x="1128" y="1177"/>
                </a:lnTo>
                <a:lnTo>
                  <a:pt x="1119" y="1161"/>
                </a:lnTo>
                <a:lnTo>
                  <a:pt x="1111" y="1144"/>
                </a:lnTo>
                <a:lnTo>
                  <a:pt x="1119" y="1161"/>
                </a:lnTo>
                <a:lnTo>
                  <a:pt x="1128" y="1177"/>
                </a:lnTo>
                <a:close/>
                <a:moveTo>
                  <a:pt x="1144" y="1223"/>
                </a:moveTo>
                <a:lnTo>
                  <a:pt x="1143" y="1223"/>
                </a:lnTo>
                <a:lnTo>
                  <a:pt x="1142" y="1223"/>
                </a:lnTo>
                <a:lnTo>
                  <a:pt x="1143" y="1223"/>
                </a:lnTo>
                <a:lnTo>
                  <a:pt x="1144" y="1223"/>
                </a:lnTo>
                <a:close/>
                <a:moveTo>
                  <a:pt x="1145" y="1218"/>
                </a:moveTo>
                <a:lnTo>
                  <a:pt x="1144" y="1217"/>
                </a:lnTo>
                <a:lnTo>
                  <a:pt x="1142" y="1216"/>
                </a:lnTo>
                <a:lnTo>
                  <a:pt x="1142" y="1212"/>
                </a:lnTo>
                <a:lnTo>
                  <a:pt x="1141" y="1208"/>
                </a:lnTo>
                <a:lnTo>
                  <a:pt x="1142" y="1212"/>
                </a:lnTo>
                <a:lnTo>
                  <a:pt x="1142" y="1216"/>
                </a:lnTo>
                <a:lnTo>
                  <a:pt x="1144" y="1217"/>
                </a:lnTo>
                <a:lnTo>
                  <a:pt x="1145" y="1218"/>
                </a:lnTo>
                <a:close/>
                <a:moveTo>
                  <a:pt x="1176" y="1308"/>
                </a:moveTo>
                <a:lnTo>
                  <a:pt x="1172" y="1306"/>
                </a:lnTo>
                <a:lnTo>
                  <a:pt x="1169" y="1303"/>
                </a:lnTo>
                <a:lnTo>
                  <a:pt x="1172" y="1306"/>
                </a:lnTo>
                <a:lnTo>
                  <a:pt x="1176" y="1308"/>
                </a:lnTo>
                <a:close/>
                <a:moveTo>
                  <a:pt x="1177" y="1194"/>
                </a:moveTo>
                <a:lnTo>
                  <a:pt x="1178" y="1197"/>
                </a:lnTo>
                <a:lnTo>
                  <a:pt x="1179" y="1201"/>
                </a:lnTo>
                <a:lnTo>
                  <a:pt x="1178" y="1197"/>
                </a:lnTo>
                <a:lnTo>
                  <a:pt x="1177" y="1194"/>
                </a:lnTo>
                <a:lnTo>
                  <a:pt x="1177" y="1193"/>
                </a:lnTo>
                <a:lnTo>
                  <a:pt x="1176" y="1193"/>
                </a:lnTo>
                <a:lnTo>
                  <a:pt x="1177" y="1193"/>
                </a:lnTo>
                <a:lnTo>
                  <a:pt x="1177" y="1194"/>
                </a:lnTo>
                <a:close/>
                <a:moveTo>
                  <a:pt x="1181" y="1330"/>
                </a:moveTo>
                <a:lnTo>
                  <a:pt x="1181" y="1324"/>
                </a:lnTo>
                <a:lnTo>
                  <a:pt x="1179" y="1317"/>
                </a:lnTo>
                <a:lnTo>
                  <a:pt x="1181" y="1324"/>
                </a:lnTo>
                <a:lnTo>
                  <a:pt x="1181" y="1330"/>
                </a:lnTo>
                <a:close/>
                <a:moveTo>
                  <a:pt x="1177" y="1188"/>
                </a:moveTo>
                <a:lnTo>
                  <a:pt x="1181" y="1180"/>
                </a:lnTo>
                <a:lnTo>
                  <a:pt x="1184" y="1172"/>
                </a:lnTo>
                <a:lnTo>
                  <a:pt x="1181" y="1180"/>
                </a:lnTo>
                <a:lnTo>
                  <a:pt x="1177" y="1188"/>
                </a:lnTo>
                <a:lnTo>
                  <a:pt x="1177" y="1188"/>
                </a:lnTo>
                <a:close/>
                <a:moveTo>
                  <a:pt x="1192" y="1314"/>
                </a:moveTo>
                <a:lnTo>
                  <a:pt x="1190" y="1307"/>
                </a:lnTo>
                <a:lnTo>
                  <a:pt x="1187" y="1300"/>
                </a:lnTo>
                <a:lnTo>
                  <a:pt x="1190" y="1307"/>
                </a:lnTo>
                <a:lnTo>
                  <a:pt x="1192" y="1314"/>
                </a:lnTo>
                <a:close/>
                <a:moveTo>
                  <a:pt x="1088" y="981"/>
                </a:moveTo>
                <a:lnTo>
                  <a:pt x="1088" y="981"/>
                </a:lnTo>
                <a:lnTo>
                  <a:pt x="1087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lnTo>
                  <a:pt x="1088" y="981"/>
                </a:lnTo>
                <a:close/>
                <a:moveTo>
                  <a:pt x="1082" y="1310"/>
                </a:moveTo>
                <a:lnTo>
                  <a:pt x="1083" y="1309"/>
                </a:lnTo>
                <a:lnTo>
                  <a:pt x="1083" y="1308"/>
                </a:lnTo>
                <a:lnTo>
                  <a:pt x="1083" y="1309"/>
                </a:lnTo>
                <a:lnTo>
                  <a:pt x="1082" y="1310"/>
                </a:lnTo>
                <a:lnTo>
                  <a:pt x="1083" y="1312"/>
                </a:lnTo>
                <a:lnTo>
                  <a:pt x="1084" y="1313"/>
                </a:lnTo>
                <a:lnTo>
                  <a:pt x="1083" y="1312"/>
                </a:lnTo>
                <a:lnTo>
                  <a:pt x="1082" y="1310"/>
                </a:lnTo>
                <a:lnTo>
                  <a:pt x="1082" y="1310"/>
                </a:lnTo>
                <a:close/>
                <a:moveTo>
                  <a:pt x="1080" y="1298"/>
                </a:move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0" y="1298"/>
                </a:lnTo>
                <a:lnTo>
                  <a:pt x="1081" y="1299"/>
                </a:lnTo>
                <a:lnTo>
                  <a:pt x="1082" y="1300"/>
                </a:lnTo>
                <a:lnTo>
                  <a:pt x="1081" y="1299"/>
                </a:lnTo>
                <a:lnTo>
                  <a:pt x="1080" y="1298"/>
                </a:lnTo>
                <a:close/>
                <a:moveTo>
                  <a:pt x="1081" y="1319"/>
                </a:moveTo>
                <a:lnTo>
                  <a:pt x="1080" y="1319"/>
                </a:lnTo>
                <a:lnTo>
                  <a:pt x="1080" y="1319"/>
                </a:lnTo>
                <a:lnTo>
                  <a:pt x="1080" y="1319"/>
                </a:lnTo>
                <a:lnTo>
                  <a:pt x="1081" y="1319"/>
                </a:lnTo>
                <a:lnTo>
                  <a:pt x="1081" y="1319"/>
                </a:lnTo>
                <a:close/>
                <a:moveTo>
                  <a:pt x="1082" y="1100"/>
                </a:moveTo>
                <a:lnTo>
                  <a:pt x="1081" y="1100"/>
                </a:lnTo>
                <a:lnTo>
                  <a:pt x="1080" y="1099"/>
                </a:lnTo>
                <a:lnTo>
                  <a:pt x="1081" y="1100"/>
                </a:lnTo>
                <a:lnTo>
                  <a:pt x="1082" y="1100"/>
                </a:lnTo>
                <a:lnTo>
                  <a:pt x="1082" y="1100"/>
                </a:lnTo>
                <a:close/>
                <a:moveTo>
                  <a:pt x="1061" y="1275"/>
                </a:moveTo>
                <a:lnTo>
                  <a:pt x="1061" y="1275"/>
                </a:lnTo>
                <a:lnTo>
                  <a:pt x="1061" y="1275"/>
                </a:lnTo>
                <a:lnTo>
                  <a:pt x="1060" y="1274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1" y="1275"/>
                </a:lnTo>
                <a:lnTo>
                  <a:pt x="1062" y="1281"/>
                </a:lnTo>
                <a:lnTo>
                  <a:pt x="1065" y="1285"/>
                </a:lnTo>
                <a:lnTo>
                  <a:pt x="1062" y="1281"/>
                </a:lnTo>
                <a:lnTo>
                  <a:pt x="1061" y="1275"/>
                </a:lnTo>
                <a:close/>
                <a:moveTo>
                  <a:pt x="1061" y="943"/>
                </a:moveTo>
                <a:lnTo>
                  <a:pt x="1062" y="945"/>
                </a:lnTo>
                <a:lnTo>
                  <a:pt x="1065" y="946"/>
                </a:lnTo>
                <a:lnTo>
                  <a:pt x="1062" y="945"/>
                </a:lnTo>
                <a:lnTo>
                  <a:pt x="1061" y="943"/>
                </a:lnTo>
                <a:lnTo>
                  <a:pt x="1061" y="943"/>
                </a:lnTo>
                <a:close/>
                <a:moveTo>
                  <a:pt x="1066" y="937"/>
                </a:moveTo>
                <a:lnTo>
                  <a:pt x="1066" y="937"/>
                </a:lnTo>
                <a:lnTo>
                  <a:pt x="1065" y="937"/>
                </a:lnTo>
                <a:lnTo>
                  <a:pt x="1066" y="937"/>
                </a:lnTo>
                <a:lnTo>
                  <a:pt x="1066" y="937"/>
                </a:lnTo>
                <a:close/>
                <a:moveTo>
                  <a:pt x="1054" y="1335"/>
                </a:moveTo>
                <a:lnTo>
                  <a:pt x="1049" y="1336"/>
                </a:lnTo>
                <a:lnTo>
                  <a:pt x="1043" y="1336"/>
                </a:lnTo>
                <a:lnTo>
                  <a:pt x="1049" y="1336"/>
                </a:lnTo>
                <a:lnTo>
                  <a:pt x="1054" y="1335"/>
                </a:lnTo>
                <a:lnTo>
                  <a:pt x="1055" y="1333"/>
                </a:lnTo>
                <a:lnTo>
                  <a:pt x="1057" y="1331"/>
                </a:lnTo>
                <a:lnTo>
                  <a:pt x="1055" y="1333"/>
                </a:lnTo>
                <a:lnTo>
                  <a:pt x="1054" y="1335"/>
                </a:lnTo>
                <a:close/>
                <a:moveTo>
                  <a:pt x="1052" y="1270"/>
                </a:moveTo>
                <a:lnTo>
                  <a:pt x="1052" y="1270"/>
                </a:lnTo>
                <a:lnTo>
                  <a:pt x="1049" y="1270"/>
                </a:lnTo>
                <a:lnTo>
                  <a:pt x="1048" y="1270"/>
                </a:lnTo>
                <a:lnTo>
                  <a:pt x="1049" y="1270"/>
                </a:lnTo>
                <a:lnTo>
                  <a:pt x="1052" y="1270"/>
                </a:lnTo>
                <a:lnTo>
                  <a:pt x="1052" y="1270"/>
                </a:lnTo>
                <a:close/>
                <a:moveTo>
                  <a:pt x="1055" y="952"/>
                </a:moveTo>
                <a:lnTo>
                  <a:pt x="1055" y="952"/>
                </a:lnTo>
                <a:lnTo>
                  <a:pt x="1049" y="952"/>
                </a:lnTo>
                <a:lnTo>
                  <a:pt x="1045" y="951"/>
                </a:lnTo>
                <a:lnTo>
                  <a:pt x="1049" y="952"/>
                </a:lnTo>
                <a:lnTo>
                  <a:pt x="1055" y="952"/>
                </a:lnTo>
                <a:close/>
                <a:moveTo>
                  <a:pt x="1026" y="1250"/>
                </a:moveTo>
                <a:lnTo>
                  <a:pt x="1025" y="1250"/>
                </a:lnTo>
                <a:lnTo>
                  <a:pt x="1024" y="1249"/>
                </a:lnTo>
                <a:lnTo>
                  <a:pt x="1025" y="1250"/>
                </a:lnTo>
                <a:lnTo>
                  <a:pt x="1026" y="1250"/>
                </a:lnTo>
                <a:lnTo>
                  <a:pt x="1032" y="1256"/>
                </a:lnTo>
                <a:lnTo>
                  <a:pt x="1039" y="1259"/>
                </a:lnTo>
                <a:lnTo>
                  <a:pt x="1032" y="1256"/>
                </a:lnTo>
                <a:lnTo>
                  <a:pt x="1026" y="1250"/>
                </a:lnTo>
                <a:close/>
                <a:moveTo>
                  <a:pt x="1021" y="1246"/>
                </a:moveTo>
                <a:lnTo>
                  <a:pt x="1020" y="1246"/>
                </a:lnTo>
                <a:lnTo>
                  <a:pt x="1018" y="1246"/>
                </a:lnTo>
                <a:lnTo>
                  <a:pt x="1020" y="1246"/>
                </a:lnTo>
                <a:lnTo>
                  <a:pt x="1021" y="1246"/>
                </a:lnTo>
                <a:lnTo>
                  <a:pt x="1021" y="1246"/>
                </a:lnTo>
                <a:close/>
                <a:moveTo>
                  <a:pt x="1017" y="963"/>
                </a:moveTo>
                <a:lnTo>
                  <a:pt x="1011" y="957"/>
                </a:lnTo>
                <a:lnTo>
                  <a:pt x="1006" y="952"/>
                </a:lnTo>
                <a:lnTo>
                  <a:pt x="1011" y="957"/>
                </a:lnTo>
                <a:lnTo>
                  <a:pt x="1017" y="963"/>
                </a:lnTo>
                <a:lnTo>
                  <a:pt x="1017" y="963"/>
                </a:lnTo>
                <a:lnTo>
                  <a:pt x="1019" y="963"/>
                </a:lnTo>
                <a:lnTo>
                  <a:pt x="1020" y="965"/>
                </a:lnTo>
                <a:lnTo>
                  <a:pt x="1019" y="963"/>
                </a:lnTo>
                <a:lnTo>
                  <a:pt x="1017" y="963"/>
                </a:lnTo>
                <a:lnTo>
                  <a:pt x="1017" y="963"/>
                </a:lnTo>
                <a:lnTo>
                  <a:pt x="1017" y="963"/>
                </a:lnTo>
                <a:close/>
                <a:moveTo>
                  <a:pt x="1007" y="1163"/>
                </a:moveTo>
                <a:lnTo>
                  <a:pt x="1007" y="1162"/>
                </a:lnTo>
                <a:lnTo>
                  <a:pt x="1008" y="1162"/>
                </a:lnTo>
                <a:lnTo>
                  <a:pt x="1007" y="1162"/>
                </a:lnTo>
                <a:lnTo>
                  <a:pt x="1007" y="1163"/>
                </a:lnTo>
                <a:lnTo>
                  <a:pt x="1007" y="1163"/>
                </a:lnTo>
                <a:close/>
                <a:moveTo>
                  <a:pt x="997" y="1288"/>
                </a:moveTo>
                <a:lnTo>
                  <a:pt x="990" y="1285"/>
                </a:lnTo>
                <a:lnTo>
                  <a:pt x="980" y="1284"/>
                </a:lnTo>
                <a:lnTo>
                  <a:pt x="990" y="1285"/>
                </a:lnTo>
                <a:lnTo>
                  <a:pt x="997" y="1288"/>
                </a:lnTo>
                <a:lnTo>
                  <a:pt x="999" y="1291"/>
                </a:lnTo>
                <a:lnTo>
                  <a:pt x="1000" y="1293"/>
                </a:lnTo>
                <a:lnTo>
                  <a:pt x="999" y="1291"/>
                </a:lnTo>
                <a:lnTo>
                  <a:pt x="997" y="1288"/>
                </a:lnTo>
                <a:close/>
                <a:moveTo>
                  <a:pt x="966" y="1232"/>
                </a:moveTo>
                <a:lnTo>
                  <a:pt x="967" y="1232"/>
                </a:lnTo>
                <a:lnTo>
                  <a:pt x="969" y="1232"/>
                </a:lnTo>
                <a:lnTo>
                  <a:pt x="980" y="1243"/>
                </a:lnTo>
                <a:lnTo>
                  <a:pt x="991" y="1254"/>
                </a:lnTo>
                <a:lnTo>
                  <a:pt x="980" y="1243"/>
                </a:lnTo>
                <a:lnTo>
                  <a:pt x="969" y="1232"/>
                </a:lnTo>
                <a:lnTo>
                  <a:pt x="967" y="1232"/>
                </a:lnTo>
                <a:lnTo>
                  <a:pt x="966" y="1232"/>
                </a:lnTo>
                <a:close/>
                <a:moveTo>
                  <a:pt x="992" y="939"/>
                </a:move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lnTo>
                  <a:pt x="992" y="939"/>
                </a:lnTo>
                <a:close/>
                <a:moveTo>
                  <a:pt x="1024" y="967"/>
                </a:moveTo>
                <a:lnTo>
                  <a:pt x="1027" y="967"/>
                </a:lnTo>
                <a:lnTo>
                  <a:pt x="1029" y="970"/>
                </a:lnTo>
                <a:lnTo>
                  <a:pt x="1027" y="967"/>
                </a:lnTo>
                <a:lnTo>
                  <a:pt x="1024" y="967"/>
                </a:lnTo>
                <a:lnTo>
                  <a:pt x="1021" y="966"/>
                </a:lnTo>
                <a:lnTo>
                  <a:pt x="1020" y="965"/>
                </a:lnTo>
                <a:lnTo>
                  <a:pt x="1021" y="966"/>
                </a:lnTo>
                <a:lnTo>
                  <a:pt x="1024" y="967"/>
                </a:lnTo>
                <a:close/>
                <a:moveTo>
                  <a:pt x="1029" y="971"/>
                </a:moveTo>
                <a:lnTo>
                  <a:pt x="1032" y="971"/>
                </a:lnTo>
                <a:lnTo>
                  <a:pt x="1033" y="972"/>
                </a:lnTo>
                <a:lnTo>
                  <a:pt x="1032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lnTo>
                  <a:pt x="1029" y="971"/>
                </a:lnTo>
                <a:close/>
                <a:moveTo>
                  <a:pt x="953" y="934"/>
                </a:moveTo>
                <a:lnTo>
                  <a:pt x="958" y="932"/>
                </a:lnTo>
                <a:lnTo>
                  <a:pt x="962" y="932"/>
                </a:lnTo>
                <a:lnTo>
                  <a:pt x="958" y="932"/>
                </a:lnTo>
                <a:lnTo>
                  <a:pt x="953" y="934"/>
                </a:lnTo>
                <a:close/>
                <a:moveTo>
                  <a:pt x="958" y="1299"/>
                </a:moveTo>
                <a:lnTo>
                  <a:pt x="958" y="1300"/>
                </a:lnTo>
                <a:lnTo>
                  <a:pt x="958" y="1301"/>
                </a:lnTo>
                <a:lnTo>
                  <a:pt x="958" y="1300"/>
                </a:lnTo>
                <a:lnTo>
                  <a:pt x="958" y="1299"/>
                </a:lnTo>
                <a:close/>
                <a:moveTo>
                  <a:pt x="957" y="1245"/>
                </a:moveTo>
                <a:lnTo>
                  <a:pt x="956" y="1245"/>
                </a:lnTo>
                <a:lnTo>
                  <a:pt x="956" y="1245"/>
                </a:lnTo>
                <a:lnTo>
                  <a:pt x="956" y="1245"/>
                </a:lnTo>
                <a:lnTo>
                  <a:pt x="957" y="1245"/>
                </a:lnTo>
                <a:lnTo>
                  <a:pt x="958" y="1244"/>
                </a:lnTo>
                <a:lnTo>
                  <a:pt x="957" y="1240"/>
                </a:lnTo>
                <a:lnTo>
                  <a:pt x="958" y="1244"/>
                </a:lnTo>
                <a:lnTo>
                  <a:pt x="957" y="1245"/>
                </a:lnTo>
                <a:close/>
                <a:moveTo>
                  <a:pt x="952" y="1323"/>
                </a:moveTo>
                <a:lnTo>
                  <a:pt x="955" y="1313"/>
                </a:lnTo>
                <a:lnTo>
                  <a:pt x="957" y="1302"/>
                </a:lnTo>
                <a:lnTo>
                  <a:pt x="955" y="1313"/>
                </a:lnTo>
                <a:lnTo>
                  <a:pt x="952" y="1323"/>
                </a:lnTo>
                <a:close/>
                <a:moveTo>
                  <a:pt x="917" y="1137"/>
                </a:moveTo>
                <a:lnTo>
                  <a:pt x="928" y="1153"/>
                </a:lnTo>
                <a:lnTo>
                  <a:pt x="938" y="1170"/>
                </a:lnTo>
                <a:lnTo>
                  <a:pt x="928" y="1153"/>
                </a:lnTo>
                <a:lnTo>
                  <a:pt x="917" y="1137"/>
                </a:lnTo>
                <a:close/>
                <a:moveTo>
                  <a:pt x="902" y="1305"/>
                </a:moveTo>
                <a:lnTo>
                  <a:pt x="901" y="1306"/>
                </a:lnTo>
                <a:lnTo>
                  <a:pt x="901" y="1307"/>
                </a:lnTo>
                <a:lnTo>
                  <a:pt x="901" y="1306"/>
                </a:lnTo>
                <a:lnTo>
                  <a:pt x="902" y="1305"/>
                </a:lnTo>
                <a:lnTo>
                  <a:pt x="902" y="1305"/>
                </a:lnTo>
                <a:lnTo>
                  <a:pt x="903" y="1305"/>
                </a:lnTo>
                <a:lnTo>
                  <a:pt x="902" y="1305"/>
                </a:lnTo>
                <a:lnTo>
                  <a:pt x="902" y="1305"/>
                </a:lnTo>
                <a:close/>
                <a:moveTo>
                  <a:pt x="898" y="908"/>
                </a:moveTo>
                <a:lnTo>
                  <a:pt x="897" y="908"/>
                </a:lnTo>
                <a:lnTo>
                  <a:pt x="896" y="908"/>
                </a:lnTo>
                <a:lnTo>
                  <a:pt x="898" y="907"/>
                </a:lnTo>
                <a:lnTo>
                  <a:pt x="900" y="906"/>
                </a:lnTo>
                <a:lnTo>
                  <a:pt x="898" y="907"/>
                </a:lnTo>
                <a:lnTo>
                  <a:pt x="896" y="908"/>
                </a:lnTo>
                <a:lnTo>
                  <a:pt x="897" y="908"/>
                </a:lnTo>
                <a:lnTo>
                  <a:pt x="898" y="908"/>
                </a:lnTo>
                <a:close/>
                <a:moveTo>
                  <a:pt x="896" y="1168"/>
                </a:moveTo>
                <a:lnTo>
                  <a:pt x="897" y="1170"/>
                </a:lnTo>
                <a:lnTo>
                  <a:pt x="897" y="1173"/>
                </a:lnTo>
                <a:lnTo>
                  <a:pt x="897" y="1170"/>
                </a:lnTo>
                <a:lnTo>
                  <a:pt x="896" y="1168"/>
                </a:lnTo>
                <a:close/>
                <a:moveTo>
                  <a:pt x="888" y="1516"/>
                </a:moveTo>
                <a:lnTo>
                  <a:pt x="889" y="1515"/>
                </a:lnTo>
                <a:lnTo>
                  <a:pt x="889" y="1515"/>
                </a:lnTo>
                <a:lnTo>
                  <a:pt x="889" y="1515"/>
                </a:lnTo>
                <a:lnTo>
                  <a:pt x="888" y="1516"/>
                </a:lnTo>
                <a:close/>
                <a:moveTo>
                  <a:pt x="884" y="553"/>
                </a:moveTo>
                <a:lnTo>
                  <a:pt x="884" y="553"/>
                </a:lnTo>
                <a:lnTo>
                  <a:pt x="884" y="553"/>
                </a:lnTo>
                <a:lnTo>
                  <a:pt x="886" y="553"/>
                </a:lnTo>
                <a:lnTo>
                  <a:pt x="884" y="553"/>
                </a:lnTo>
                <a:lnTo>
                  <a:pt x="884" y="553"/>
                </a:lnTo>
                <a:close/>
                <a:moveTo>
                  <a:pt x="876" y="539"/>
                </a:moveTo>
                <a:lnTo>
                  <a:pt x="875" y="539"/>
                </a:lnTo>
                <a:lnTo>
                  <a:pt x="875" y="538"/>
                </a:lnTo>
                <a:lnTo>
                  <a:pt x="875" y="539"/>
                </a:lnTo>
                <a:lnTo>
                  <a:pt x="876" y="539"/>
                </a:lnTo>
                <a:close/>
                <a:moveTo>
                  <a:pt x="866" y="1415"/>
                </a:moveTo>
                <a:lnTo>
                  <a:pt x="867" y="1411"/>
                </a:lnTo>
                <a:lnTo>
                  <a:pt x="866" y="1406"/>
                </a:lnTo>
                <a:lnTo>
                  <a:pt x="865" y="1405"/>
                </a:lnTo>
                <a:lnTo>
                  <a:pt x="863" y="1404"/>
                </a:lnTo>
                <a:lnTo>
                  <a:pt x="863" y="1403"/>
                </a:lnTo>
                <a:lnTo>
                  <a:pt x="862" y="1403"/>
                </a:lnTo>
                <a:lnTo>
                  <a:pt x="862" y="1401"/>
                </a:lnTo>
                <a:lnTo>
                  <a:pt x="862" y="1400"/>
                </a:lnTo>
                <a:lnTo>
                  <a:pt x="855" y="1399"/>
                </a:lnTo>
                <a:lnTo>
                  <a:pt x="849" y="1399"/>
                </a:lnTo>
                <a:lnTo>
                  <a:pt x="855" y="1399"/>
                </a:lnTo>
                <a:lnTo>
                  <a:pt x="862" y="1400"/>
                </a:lnTo>
                <a:lnTo>
                  <a:pt x="862" y="1401"/>
                </a:lnTo>
                <a:lnTo>
                  <a:pt x="862" y="1403"/>
                </a:lnTo>
                <a:lnTo>
                  <a:pt x="863" y="1403"/>
                </a:lnTo>
                <a:lnTo>
                  <a:pt x="863" y="1404"/>
                </a:lnTo>
                <a:lnTo>
                  <a:pt x="865" y="1405"/>
                </a:lnTo>
                <a:lnTo>
                  <a:pt x="866" y="1406"/>
                </a:lnTo>
                <a:lnTo>
                  <a:pt x="867" y="1411"/>
                </a:lnTo>
                <a:lnTo>
                  <a:pt x="866" y="1415"/>
                </a:lnTo>
                <a:close/>
                <a:moveTo>
                  <a:pt x="862" y="1425"/>
                </a:moveTo>
                <a:lnTo>
                  <a:pt x="862" y="1424"/>
                </a:lnTo>
                <a:lnTo>
                  <a:pt x="862" y="1422"/>
                </a:lnTo>
                <a:lnTo>
                  <a:pt x="862" y="1424"/>
                </a:lnTo>
                <a:lnTo>
                  <a:pt x="862" y="1425"/>
                </a:lnTo>
                <a:lnTo>
                  <a:pt x="863" y="1426"/>
                </a:lnTo>
                <a:lnTo>
                  <a:pt x="863" y="1427"/>
                </a:lnTo>
                <a:lnTo>
                  <a:pt x="863" y="1426"/>
                </a:lnTo>
                <a:lnTo>
                  <a:pt x="862" y="1425"/>
                </a:lnTo>
                <a:close/>
                <a:moveTo>
                  <a:pt x="847" y="1229"/>
                </a:moveTo>
                <a:lnTo>
                  <a:pt x="848" y="1224"/>
                </a:lnTo>
                <a:lnTo>
                  <a:pt x="848" y="1219"/>
                </a:lnTo>
                <a:lnTo>
                  <a:pt x="848" y="1224"/>
                </a:lnTo>
                <a:lnTo>
                  <a:pt x="847" y="1229"/>
                </a:lnTo>
                <a:close/>
                <a:moveTo>
                  <a:pt x="834" y="582"/>
                </a:moveTo>
                <a:lnTo>
                  <a:pt x="838" y="585"/>
                </a:lnTo>
                <a:lnTo>
                  <a:pt x="840" y="586"/>
                </a:lnTo>
                <a:lnTo>
                  <a:pt x="842" y="586"/>
                </a:lnTo>
                <a:lnTo>
                  <a:pt x="845" y="586"/>
                </a:lnTo>
                <a:lnTo>
                  <a:pt x="842" y="586"/>
                </a:lnTo>
                <a:lnTo>
                  <a:pt x="840" y="586"/>
                </a:lnTo>
                <a:lnTo>
                  <a:pt x="838" y="585"/>
                </a:lnTo>
                <a:lnTo>
                  <a:pt x="834" y="582"/>
                </a:lnTo>
                <a:close/>
                <a:moveTo>
                  <a:pt x="834" y="1139"/>
                </a:moveTo>
                <a:lnTo>
                  <a:pt x="829" y="1149"/>
                </a:lnTo>
                <a:lnTo>
                  <a:pt x="826" y="1161"/>
                </a:lnTo>
                <a:lnTo>
                  <a:pt x="829" y="1149"/>
                </a:lnTo>
                <a:lnTo>
                  <a:pt x="834" y="1139"/>
                </a:lnTo>
                <a:lnTo>
                  <a:pt x="834" y="1138"/>
                </a:lnTo>
                <a:lnTo>
                  <a:pt x="834" y="1137"/>
                </a:lnTo>
                <a:lnTo>
                  <a:pt x="833" y="1135"/>
                </a:lnTo>
                <a:lnTo>
                  <a:pt x="833" y="1135"/>
                </a:lnTo>
                <a:lnTo>
                  <a:pt x="833" y="1135"/>
                </a:lnTo>
                <a:lnTo>
                  <a:pt x="834" y="1137"/>
                </a:lnTo>
                <a:lnTo>
                  <a:pt x="834" y="1138"/>
                </a:lnTo>
                <a:lnTo>
                  <a:pt x="834" y="1139"/>
                </a:lnTo>
                <a:lnTo>
                  <a:pt x="834" y="1139"/>
                </a:lnTo>
                <a:close/>
                <a:moveTo>
                  <a:pt x="825" y="1100"/>
                </a:moveTo>
                <a:lnTo>
                  <a:pt x="825" y="1100"/>
                </a:lnTo>
                <a:lnTo>
                  <a:pt x="825" y="1100"/>
                </a:lnTo>
                <a:lnTo>
                  <a:pt x="828" y="1100"/>
                </a:lnTo>
                <a:lnTo>
                  <a:pt x="831" y="1099"/>
                </a:lnTo>
                <a:lnTo>
                  <a:pt x="828" y="1100"/>
                </a:lnTo>
                <a:lnTo>
                  <a:pt x="825" y="1100"/>
                </a:lnTo>
                <a:lnTo>
                  <a:pt x="825" y="1100"/>
                </a:lnTo>
                <a:close/>
                <a:moveTo>
                  <a:pt x="828" y="1083"/>
                </a:moveTo>
                <a:lnTo>
                  <a:pt x="829" y="1085"/>
                </a:lnTo>
                <a:lnTo>
                  <a:pt x="831" y="1085"/>
                </a:lnTo>
                <a:lnTo>
                  <a:pt x="829" y="1084"/>
                </a:lnTo>
                <a:lnTo>
                  <a:pt x="828" y="1083"/>
                </a:lnTo>
                <a:lnTo>
                  <a:pt x="827" y="1078"/>
                </a:lnTo>
                <a:lnTo>
                  <a:pt x="825" y="1074"/>
                </a:lnTo>
                <a:lnTo>
                  <a:pt x="827" y="1078"/>
                </a:lnTo>
                <a:lnTo>
                  <a:pt x="828" y="1083"/>
                </a:lnTo>
                <a:close/>
                <a:moveTo>
                  <a:pt x="824" y="1100"/>
                </a:moveTo>
                <a:lnTo>
                  <a:pt x="824" y="1103"/>
                </a:lnTo>
                <a:lnTo>
                  <a:pt x="824" y="1104"/>
                </a:lnTo>
                <a:lnTo>
                  <a:pt x="821" y="1112"/>
                </a:lnTo>
                <a:lnTo>
                  <a:pt x="817" y="1118"/>
                </a:lnTo>
                <a:lnTo>
                  <a:pt x="821" y="1112"/>
                </a:lnTo>
                <a:lnTo>
                  <a:pt x="824" y="1104"/>
                </a:lnTo>
                <a:lnTo>
                  <a:pt x="824" y="1104"/>
                </a:lnTo>
                <a:lnTo>
                  <a:pt x="824" y="1103"/>
                </a:lnTo>
                <a:lnTo>
                  <a:pt x="824" y="1100"/>
                </a:lnTo>
                <a:lnTo>
                  <a:pt x="824" y="1100"/>
                </a:lnTo>
                <a:lnTo>
                  <a:pt x="824" y="1100"/>
                </a:lnTo>
                <a:close/>
                <a:moveTo>
                  <a:pt x="814" y="1067"/>
                </a:moveTo>
                <a:lnTo>
                  <a:pt x="814" y="1065"/>
                </a:lnTo>
                <a:lnTo>
                  <a:pt x="814" y="1064"/>
                </a:lnTo>
                <a:lnTo>
                  <a:pt x="814" y="1065"/>
                </a:lnTo>
                <a:lnTo>
                  <a:pt x="814" y="1067"/>
                </a:lnTo>
                <a:lnTo>
                  <a:pt x="815" y="1068"/>
                </a:lnTo>
                <a:lnTo>
                  <a:pt x="817" y="1068"/>
                </a:lnTo>
                <a:lnTo>
                  <a:pt x="815" y="1068"/>
                </a:lnTo>
                <a:lnTo>
                  <a:pt x="814" y="1067"/>
                </a:lnTo>
                <a:close/>
                <a:moveTo>
                  <a:pt x="812" y="953"/>
                </a:moveTo>
                <a:lnTo>
                  <a:pt x="812" y="955"/>
                </a:lnTo>
                <a:lnTo>
                  <a:pt x="811" y="956"/>
                </a:lnTo>
                <a:lnTo>
                  <a:pt x="812" y="955"/>
                </a:lnTo>
                <a:lnTo>
                  <a:pt x="812" y="953"/>
                </a:lnTo>
                <a:lnTo>
                  <a:pt x="812" y="953"/>
                </a:lnTo>
                <a:close/>
                <a:moveTo>
                  <a:pt x="807" y="978"/>
                </a:moveTo>
                <a:lnTo>
                  <a:pt x="808" y="979"/>
                </a:lnTo>
                <a:lnTo>
                  <a:pt x="810" y="981"/>
                </a:lnTo>
                <a:lnTo>
                  <a:pt x="808" y="979"/>
                </a:lnTo>
                <a:lnTo>
                  <a:pt x="807" y="978"/>
                </a:lnTo>
                <a:close/>
                <a:moveTo>
                  <a:pt x="798" y="659"/>
                </a:moveTo>
                <a:lnTo>
                  <a:pt x="798" y="660"/>
                </a:lnTo>
                <a:lnTo>
                  <a:pt x="797" y="662"/>
                </a:lnTo>
                <a:lnTo>
                  <a:pt x="798" y="660"/>
                </a:lnTo>
                <a:lnTo>
                  <a:pt x="798" y="659"/>
                </a:lnTo>
                <a:lnTo>
                  <a:pt x="801" y="659"/>
                </a:lnTo>
                <a:lnTo>
                  <a:pt x="806" y="659"/>
                </a:lnTo>
                <a:lnTo>
                  <a:pt x="801" y="659"/>
                </a:lnTo>
                <a:lnTo>
                  <a:pt x="798" y="659"/>
                </a:lnTo>
                <a:close/>
                <a:moveTo>
                  <a:pt x="803" y="1205"/>
                </a:moveTo>
                <a:lnTo>
                  <a:pt x="801" y="1207"/>
                </a:lnTo>
                <a:lnTo>
                  <a:pt x="801" y="1208"/>
                </a:lnTo>
                <a:lnTo>
                  <a:pt x="801" y="1208"/>
                </a:lnTo>
                <a:lnTo>
                  <a:pt x="801" y="1207"/>
                </a:lnTo>
                <a:lnTo>
                  <a:pt x="803" y="1205"/>
                </a:lnTo>
                <a:lnTo>
                  <a:pt x="803" y="1204"/>
                </a:lnTo>
                <a:lnTo>
                  <a:pt x="804" y="1203"/>
                </a:lnTo>
                <a:lnTo>
                  <a:pt x="803" y="1204"/>
                </a:lnTo>
                <a:lnTo>
                  <a:pt x="803" y="1205"/>
                </a:lnTo>
                <a:close/>
                <a:moveTo>
                  <a:pt x="797" y="1175"/>
                </a:moveTo>
                <a:lnTo>
                  <a:pt x="796" y="1176"/>
                </a:lnTo>
                <a:lnTo>
                  <a:pt x="794" y="1177"/>
                </a:lnTo>
                <a:lnTo>
                  <a:pt x="796" y="1176"/>
                </a:lnTo>
                <a:lnTo>
                  <a:pt x="797" y="1175"/>
                </a:lnTo>
                <a:lnTo>
                  <a:pt x="799" y="1170"/>
                </a:lnTo>
                <a:lnTo>
                  <a:pt x="799" y="1165"/>
                </a:lnTo>
                <a:lnTo>
                  <a:pt x="799" y="1170"/>
                </a:lnTo>
                <a:lnTo>
                  <a:pt x="797" y="1175"/>
                </a:lnTo>
                <a:close/>
                <a:moveTo>
                  <a:pt x="790" y="1173"/>
                </a:moveTo>
                <a:lnTo>
                  <a:pt x="787" y="1181"/>
                </a:lnTo>
                <a:lnTo>
                  <a:pt x="784" y="1189"/>
                </a:lnTo>
                <a:lnTo>
                  <a:pt x="787" y="1181"/>
                </a:lnTo>
                <a:lnTo>
                  <a:pt x="790" y="1173"/>
                </a:lnTo>
                <a:lnTo>
                  <a:pt x="793" y="1170"/>
                </a:lnTo>
                <a:lnTo>
                  <a:pt x="794" y="1168"/>
                </a:lnTo>
                <a:lnTo>
                  <a:pt x="793" y="1170"/>
                </a:lnTo>
                <a:lnTo>
                  <a:pt x="790" y="1173"/>
                </a:lnTo>
                <a:close/>
                <a:moveTo>
                  <a:pt x="780" y="985"/>
                </a:moveTo>
                <a:lnTo>
                  <a:pt x="777" y="985"/>
                </a:lnTo>
                <a:lnTo>
                  <a:pt x="776" y="986"/>
                </a:lnTo>
                <a:lnTo>
                  <a:pt x="777" y="985"/>
                </a:lnTo>
                <a:lnTo>
                  <a:pt x="780" y="985"/>
                </a:lnTo>
                <a:lnTo>
                  <a:pt x="782" y="984"/>
                </a:lnTo>
                <a:lnTo>
                  <a:pt x="783" y="984"/>
                </a:lnTo>
                <a:lnTo>
                  <a:pt x="782" y="984"/>
                </a:lnTo>
                <a:lnTo>
                  <a:pt x="780" y="985"/>
                </a:lnTo>
                <a:lnTo>
                  <a:pt x="782" y="985"/>
                </a:lnTo>
                <a:lnTo>
                  <a:pt x="784" y="985"/>
                </a:lnTo>
                <a:lnTo>
                  <a:pt x="785" y="985"/>
                </a:lnTo>
                <a:lnTo>
                  <a:pt x="786" y="985"/>
                </a:lnTo>
                <a:lnTo>
                  <a:pt x="787" y="983"/>
                </a:lnTo>
                <a:lnTo>
                  <a:pt x="790" y="983"/>
                </a:lnTo>
                <a:lnTo>
                  <a:pt x="791" y="981"/>
                </a:lnTo>
                <a:lnTo>
                  <a:pt x="793" y="983"/>
                </a:lnTo>
                <a:lnTo>
                  <a:pt x="791" y="981"/>
                </a:lnTo>
                <a:lnTo>
                  <a:pt x="790" y="983"/>
                </a:lnTo>
                <a:lnTo>
                  <a:pt x="787" y="983"/>
                </a:lnTo>
                <a:lnTo>
                  <a:pt x="786" y="985"/>
                </a:lnTo>
                <a:lnTo>
                  <a:pt x="785" y="985"/>
                </a:lnTo>
                <a:lnTo>
                  <a:pt x="784" y="985"/>
                </a:lnTo>
                <a:lnTo>
                  <a:pt x="782" y="985"/>
                </a:lnTo>
                <a:lnTo>
                  <a:pt x="780" y="985"/>
                </a:lnTo>
                <a:close/>
                <a:moveTo>
                  <a:pt x="770" y="994"/>
                </a:move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lnTo>
                  <a:pt x="770" y="994"/>
                </a:lnTo>
                <a:close/>
                <a:moveTo>
                  <a:pt x="786" y="659"/>
                </a:moveTo>
                <a:lnTo>
                  <a:pt x="785" y="659"/>
                </a:lnTo>
                <a:lnTo>
                  <a:pt x="784" y="659"/>
                </a:lnTo>
                <a:lnTo>
                  <a:pt x="785" y="659"/>
                </a:lnTo>
                <a:lnTo>
                  <a:pt x="786" y="659"/>
                </a:lnTo>
                <a:close/>
                <a:moveTo>
                  <a:pt x="790" y="1173"/>
                </a:move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lnTo>
                  <a:pt x="790" y="1173"/>
                </a:lnTo>
                <a:close/>
                <a:moveTo>
                  <a:pt x="791" y="1169"/>
                </a:moveTo>
                <a:lnTo>
                  <a:pt x="791" y="1167"/>
                </a:lnTo>
                <a:lnTo>
                  <a:pt x="790" y="1165"/>
                </a:lnTo>
                <a:lnTo>
                  <a:pt x="792" y="1158"/>
                </a:lnTo>
                <a:lnTo>
                  <a:pt x="796" y="1152"/>
                </a:lnTo>
                <a:lnTo>
                  <a:pt x="792" y="1158"/>
                </a:lnTo>
                <a:lnTo>
                  <a:pt x="790" y="1165"/>
                </a:lnTo>
                <a:lnTo>
                  <a:pt x="791" y="1167"/>
                </a:lnTo>
                <a:lnTo>
                  <a:pt x="791" y="1169"/>
                </a:lnTo>
                <a:close/>
                <a:moveTo>
                  <a:pt x="811" y="894"/>
                </a:moveTo>
                <a:lnTo>
                  <a:pt x="820" y="896"/>
                </a:lnTo>
                <a:lnTo>
                  <a:pt x="828" y="897"/>
                </a:lnTo>
                <a:lnTo>
                  <a:pt x="820" y="896"/>
                </a:lnTo>
                <a:lnTo>
                  <a:pt x="811" y="894"/>
                </a:lnTo>
                <a:close/>
                <a:moveTo>
                  <a:pt x="848" y="1207"/>
                </a:moveTo>
                <a:lnTo>
                  <a:pt x="848" y="1209"/>
                </a:lnTo>
                <a:lnTo>
                  <a:pt x="848" y="1210"/>
                </a:lnTo>
                <a:lnTo>
                  <a:pt x="849" y="1212"/>
                </a:lnTo>
                <a:lnTo>
                  <a:pt x="851" y="1215"/>
                </a:lnTo>
                <a:lnTo>
                  <a:pt x="849" y="1212"/>
                </a:lnTo>
                <a:lnTo>
                  <a:pt x="848" y="1210"/>
                </a:lnTo>
                <a:lnTo>
                  <a:pt x="848" y="1209"/>
                </a:lnTo>
                <a:lnTo>
                  <a:pt x="848" y="1207"/>
                </a:lnTo>
                <a:close/>
                <a:moveTo>
                  <a:pt x="853" y="1221"/>
                </a:moveTo>
                <a:lnTo>
                  <a:pt x="853" y="1223"/>
                </a:lnTo>
                <a:lnTo>
                  <a:pt x="853" y="1224"/>
                </a:lnTo>
                <a:lnTo>
                  <a:pt x="853" y="1223"/>
                </a:lnTo>
                <a:lnTo>
                  <a:pt x="853" y="1221"/>
                </a:lnTo>
                <a:lnTo>
                  <a:pt x="853" y="1219"/>
                </a:lnTo>
                <a:lnTo>
                  <a:pt x="852" y="1219"/>
                </a:lnTo>
                <a:lnTo>
                  <a:pt x="853" y="1219"/>
                </a:lnTo>
                <a:lnTo>
                  <a:pt x="853" y="1221"/>
                </a:lnTo>
                <a:close/>
                <a:moveTo>
                  <a:pt x="858" y="1112"/>
                </a:moveTo>
                <a:lnTo>
                  <a:pt x="858" y="1112"/>
                </a:lnTo>
                <a:lnTo>
                  <a:pt x="858" y="1112"/>
                </a:lnTo>
                <a:lnTo>
                  <a:pt x="856" y="1114"/>
                </a:lnTo>
                <a:lnTo>
                  <a:pt x="856" y="1117"/>
                </a:lnTo>
                <a:lnTo>
                  <a:pt x="856" y="1114"/>
                </a:lnTo>
                <a:lnTo>
                  <a:pt x="858" y="1112"/>
                </a:lnTo>
                <a:lnTo>
                  <a:pt x="858" y="1112"/>
                </a:lnTo>
                <a:lnTo>
                  <a:pt x="855" y="1111"/>
                </a:lnTo>
                <a:lnTo>
                  <a:pt x="854" y="1110"/>
                </a:lnTo>
                <a:lnTo>
                  <a:pt x="853" y="1109"/>
                </a:lnTo>
                <a:lnTo>
                  <a:pt x="853" y="1107"/>
                </a:lnTo>
                <a:lnTo>
                  <a:pt x="853" y="1109"/>
                </a:lnTo>
                <a:lnTo>
                  <a:pt x="854" y="1110"/>
                </a:lnTo>
                <a:lnTo>
                  <a:pt x="855" y="1111"/>
                </a:lnTo>
                <a:lnTo>
                  <a:pt x="858" y="1112"/>
                </a:lnTo>
                <a:close/>
                <a:moveTo>
                  <a:pt x="853" y="1131"/>
                </a:moveTo>
                <a:lnTo>
                  <a:pt x="855" y="1125"/>
                </a:lnTo>
                <a:lnTo>
                  <a:pt x="856" y="1119"/>
                </a:lnTo>
                <a:lnTo>
                  <a:pt x="855" y="1125"/>
                </a:lnTo>
                <a:lnTo>
                  <a:pt x="853" y="1131"/>
                </a:lnTo>
                <a:lnTo>
                  <a:pt x="853" y="1131"/>
                </a:lnTo>
                <a:close/>
                <a:moveTo>
                  <a:pt x="855" y="1293"/>
                </a:moveTo>
                <a:lnTo>
                  <a:pt x="854" y="1291"/>
                </a:lnTo>
                <a:lnTo>
                  <a:pt x="854" y="1288"/>
                </a:lnTo>
                <a:lnTo>
                  <a:pt x="854" y="1291"/>
                </a:lnTo>
                <a:lnTo>
                  <a:pt x="855" y="1293"/>
                </a:lnTo>
                <a:lnTo>
                  <a:pt x="858" y="1295"/>
                </a:lnTo>
                <a:lnTo>
                  <a:pt x="859" y="1299"/>
                </a:lnTo>
                <a:lnTo>
                  <a:pt x="859" y="1301"/>
                </a:lnTo>
                <a:lnTo>
                  <a:pt x="859" y="1305"/>
                </a:lnTo>
                <a:lnTo>
                  <a:pt x="859" y="1301"/>
                </a:lnTo>
                <a:lnTo>
                  <a:pt x="859" y="1299"/>
                </a:lnTo>
                <a:lnTo>
                  <a:pt x="858" y="1295"/>
                </a:lnTo>
                <a:lnTo>
                  <a:pt x="855" y="1293"/>
                </a:lnTo>
                <a:close/>
                <a:moveTo>
                  <a:pt x="862" y="1154"/>
                </a:moveTo>
                <a:lnTo>
                  <a:pt x="862" y="1158"/>
                </a:lnTo>
                <a:lnTo>
                  <a:pt x="862" y="1160"/>
                </a:lnTo>
                <a:lnTo>
                  <a:pt x="862" y="1158"/>
                </a:lnTo>
                <a:lnTo>
                  <a:pt x="862" y="1154"/>
                </a:lnTo>
                <a:close/>
                <a:moveTo>
                  <a:pt x="862" y="977"/>
                </a:moveTo>
                <a:lnTo>
                  <a:pt x="865" y="978"/>
                </a:lnTo>
                <a:lnTo>
                  <a:pt x="866" y="979"/>
                </a:lnTo>
                <a:lnTo>
                  <a:pt x="865" y="978"/>
                </a:lnTo>
                <a:lnTo>
                  <a:pt x="862" y="977"/>
                </a:lnTo>
                <a:lnTo>
                  <a:pt x="861" y="976"/>
                </a:lnTo>
                <a:lnTo>
                  <a:pt x="859" y="976"/>
                </a:lnTo>
                <a:lnTo>
                  <a:pt x="861" y="976"/>
                </a:lnTo>
                <a:lnTo>
                  <a:pt x="862" y="977"/>
                </a:lnTo>
                <a:close/>
                <a:moveTo>
                  <a:pt x="765" y="943"/>
                </a:moveTo>
                <a:lnTo>
                  <a:pt x="765" y="942"/>
                </a:lnTo>
                <a:lnTo>
                  <a:pt x="766" y="941"/>
                </a:lnTo>
                <a:lnTo>
                  <a:pt x="765" y="942"/>
                </a:lnTo>
                <a:lnTo>
                  <a:pt x="765" y="943"/>
                </a:lnTo>
                <a:close/>
                <a:moveTo>
                  <a:pt x="762" y="945"/>
                </a:moveTo>
                <a:lnTo>
                  <a:pt x="763" y="944"/>
                </a:lnTo>
                <a:lnTo>
                  <a:pt x="765" y="943"/>
                </a:lnTo>
                <a:lnTo>
                  <a:pt x="763" y="944"/>
                </a:lnTo>
                <a:lnTo>
                  <a:pt x="762" y="945"/>
                </a:lnTo>
                <a:close/>
                <a:moveTo>
                  <a:pt x="759" y="1048"/>
                </a:moveTo>
                <a:lnTo>
                  <a:pt x="749" y="1048"/>
                </a:lnTo>
                <a:lnTo>
                  <a:pt x="737" y="1049"/>
                </a:lnTo>
                <a:lnTo>
                  <a:pt x="749" y="1048"/>
                </a:lnTo>
                <a:lnTo>
                  <a:pt x="759" y="1048"/>
                </a:lnTo>
                <a:lnTo>
                  <a:pt x="760" y="1046"/>
                </a:lnTo>
                <a:lnTo>
                  <a:pt x="763" y="1044"/>
                </a:lnTo>
                <a:lnTo>
                  <a:pt x="760" y="1046"/>
                </a:lnTo>
                <a:lnTo>
                  <a:pt x="759" y="1048"/>
                </a:lnTo>
                <a:close/>
                <a:moveTo>
                  <a:pt x="753" y="1100"/>
                </a:moveTo>
                <a:lnTo>
                  <a:pt x="745" y="1095"/>
                </a:lnTo>
                <a:lnTo>
                  <a:pt x="739" y="1089"/>
                </a:lnTo>
                <a:lnTo>
                  <a:pt x="745" y="1095"/>
                </a:lnTo>
                <a:lnTo>
                  <a:pt x="753" y="1100"/>
                </a:lnTo>
                <a:lnTo>
                  <a:pt x="753" y="1100"/>
                </a:lnTo>
                <a:close/>
                <a:moveTo>
                  <a:pt x="738" y="1054"/>
                </a:moveTo>
                <a:lnTo>
                  <a:pt x="738" y="1054"/>
                </a:lnTo>
                <a:lnTo>
                  <a:pt x="738" y="1054"/>
                </a:lnTo>
                <a:lnTo>
                  <a:pt x="741" y="1054"/>
                </a:lnTo>
                <a:lnTo>
                  <a:pt x="742" y="1054"/>
                </a:lnTo>
                <a:lnTo>
                  <a:pt x="741" y="1054"/>
                </a:lnTo>
                <a:lnTo>
                  <a:pt x="738" y="1054"/>
                </a:lnTo>
                <a:lnTo>
                  <a:pt x="738" y="1054"/>
                </a:lnTo>
                <a:lnTo>
                  <a:pt x="738" y="1054"/>
                </a:lnTo>
                <a:close/>
                <a:moveTo>
                  <a:pt x="721" y="620"/>
                </a:moveTo>
                <a:lnTo>
                  <a:pt x="727" y="620"/>
                </a:lnTo>
                <a:lnTo>
                  <a:pt x="732" y="621"/>
                </a:lnTo>
                <a:lnTo>
                  <a:pt x="727" y="620"/>
                </a:lnTo>
                <a:lnTo>
                  <a:pt x="721" y="620"/>
                </a:lnTo>
                <a:close/>
                <a:moveTo>
                  <a:pt x="703" y="1197"/>
                </a:moveTo>
                <a:lnTo>
                  <a:pt x="714" y="1190"/>
                </a:lnTo>
                <a:lnTo>
                  <a:pt x="725" y="1183"/>
                </a:lnTo>
                <a:lnTo>
                  <a:pt x="714" y="1190"/>
                </a:lnTo>
                <a:lnTo>
                  <a:pt x="703" y="1197"/>
                </a:lnTo>
                <a:close/>
                <a:moveTo>
                  <a:pt x="698" y="924"/>
                </a:moveTo>
                <a:lnTo>
                  <a:pt x="693" y="923"/>
                </a:lnTo>
                <a:lnTo>
                  <a:pt x="687" y="923"/>
                </a:lnTo>
                <a:lnTo>
                  <a:pt x="687" y="922"/>
                </a:lnTo>
                <a:lnTo>
                  <a:pt x="688" y="921"/>
                </a:lnTo>
                <a:lnTo>
                  <a:pt x="687" y="922"/>
                </a:lnTo>
                <a:lnTo>
                  <a:pt x="687" y="923"/>
                </a:lnTo>
                <a:lnTo>
                  <a:pt x="693" y="923"/>
                </a:lnTo>
                <a:lnTo>
                  <a:pt x="698" y="924"/>
                </a:lnTo>
                <a:lnTo>
                  <a:pt x="702" y="923"/>
                </a:lnTo>
                <a:lnTo>
                  <a:pt x="707" y="923"/>
                </a:lnTo>
                <a:lnTo>
                  <a:pt x="702" y="923"/>
                </a:lnTo>
                <a:lnTo>
                  <a:pt x="698" y="924"/>
                </a:lnTo>
                <a:close/>
                <a:moveTo>
                  <a:pt x="687" y="558"/>
                </a:moveTo>
                <a:lnTo>
                  <a:pt x="687" y="558"/>
                </a:lnTo>
                <a:lnTo>
                  <a:pt x="687" y="558"/>
                </a:lnTo>
                <a:lnTo>
                  <a:pt x="687" y="560"/>
                </a:lnTo>
                <a:lnTo>
                  <a:pt x="688" y="561"/>
                </a:lnTo>
                <a:lnTo>
                  <a:pt x="687" y="560"/>
                </a:lnTo>
                <a:lnTo>
                  <a:pt x="687" y="558"/>
                </a:lnTo>
                <a:lnTo>
                  <a:pt x="687" y="558"/>
                </a:lnTo>
                <a:close/>
                <a:moveTo>
                  <a:pt x="684" y="923"/>
                </a:moveTo>
                <a:lnTo>
                  <a:pt x="683" y="921"/>
                </a:lnTo>
                <a:lnTo>
                  <a:pt x="683" y="920"/>
                </a:lnTo>
                <a:lnTo>
                  <a:pt x="683" y="921"/>
                </a:lnTo>
                <a:lnTo>
                  <a:pt x="684" y="923"/>
                </a:lnTo>
                <a:lnTo>
                  <a:pt x="684" y="923"/>
                </a:lnTo>
                <a:close/>
                <a:moveTo>
                  <a:pt x="668" y="568"/>
                </a:moveTo>
                <a:lnTo>
                  <a:pt x="666" y="572"/>
                </a:lnTo>
                <a:lnTo>
                  <a:pt x="663" y="574"/>
                </a:lnTo>
                <a:lnTo>
                  <a:pt x="662" y="575"/>
                </a:lnTo>
                <a:lnTo>
                  <a:pt x="661" y="576"/>
                </a:lnTo>
                <a:lnTo>
                  <a:pt x="662" y="575"/>
                </a:lnTo>
                <a:lnTo>
                  <a:pt x="663" y="574"/>
                </a:lnTo>
                <a:lnTo>
                  <a:pt x="666" y="572"/>
                </a:lnTo>
                <a:lnTo>
                  <a:pt x="668" y="568"/>
                </a:lnTo>
                <a:lnTo>
                  <a:pt x="675" y="565"/>
                </a:lnTo>
                <a:lnTo>
                  <a:pt x="682" y="560"/>
                </a:lnTo>
                <a:lnTo>
                  <a:pt x="675" y="565"/>
                </a:lnTo>
                <a:lnTo>
                  <a:pt x="668" y="568"/>
                </a:lnTo>
                <a:close/>
                <a:moveTo>
                  <a:pt x="669" y="1006"/>
                </a:moveTo>
                <a:lnTo>
                  <a:pt x="669" y="1006"/>
                </a:lnTo>
                <a:lnTo>
                  <a:pt x="669" y="1006"/>
                </a:lnTo>
                <a:lnTo>
                  <a:pt x="669" y="1006"/>
                </a:lnTo>
                <a:close/>
                <a:moveTo>
                  <a:pt x="645" y="957"/>
                </a:moveTo>
                <a:lnTo>
                  <a:pt x="638" y="962"/>
                </a:lnTo>
                <a:lnTo>
                  <a:pt x="631" y="966"/>
                </a:lnTo>
                <a:lnTo>
                  <a:pt x="638" y="962"/>
                </a:lnTo>
                <a:lnTo>
                  <a:pt x="645" y="957"/>
                </a:lnTo>
                <a:lnTo>
                  <a:pt x="655" y="951"/>
                </a:lnTo>
                <a:lnTo>
                  <a:pt x="665" y="946"/>
                </a:lnTo>
                <a:lnTo>
                  <a:pt x="655" y="951"/>
                </a:lnTo>
                <a:lnTo>
                  <a:pt x="645" y="957"/>
                </a:lnTo>
                <a:close/>
                <a:moveTo>
                  <a:pt x="641" y="1196"/>
                </a:move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2" y="1196"/>
                </a:lnTo>
                <a:lnTo>
                  <a:pt x="641" y="1196"/>
                </a:lnTo>
                <a:close/>
                <a:moveTo>
                  <a:pt x="635" y="1221"/>
                </a:moveTo>
                <a:lnTo>
                  <a:pt x="633" y="1222"/>
                </a:lnTo>
                <a:lnTo>
                  <a:pt x="631" y="1222"/>
                </a:lnTo>
                <a:lnTo>
                  <a:pt x="633" y="1222"/>
                </a:lnTo>
                <a:lnTo>
                  <a:pt x="635" y="1221"/>
                </a:lnTo>
                <a:lnTo>
                  <a:pt x="642" y="1216"/>
                </a:lnTo>
                <a:lnTo>
                  <a:pt x="651" y="1212"/>
                </a:lnTo>
                <a:lnTo>
                  <a:pt x="642" y="1216"/>
                </a:lnTo>
                <a:lnTo>
                  <a:pt x="635" y="1221"/>
                </a:lnTo>
                <a:close/>
                <a:moveTo>
                  <a:pt x="622" y="1242"/>
                </a:moveTo>
                <a:lnTo>
                  <a:pt x="620" y="1243"/>
                </a:lnTo>
                <a:lnTo>
                  <a:pt x="619" y="1243"/>
                </a:lnTo>
                <a:lnTo>
                  <a:pt x="620" y="1243"/>
                </a:lnTo>
                <a:lnTo>
                  <a:pt x="622" y="1242"/>
                </a:lnTo>
                <a:lnTo>
                  <a:pt x="622" y="1239"/>
                </a:lnTo>
                <a:lnTo>
                  <a:pt x="621" y="1238"/>
                </a:lnTo>
                <a:lnTo>
                  <a:pt x="622" y="1239"/>
                </a:lnTo>
                <a:lnTo>
                  <a:pt x="622" y="1242"/>
                </a:lnTo>
                <a:lnTo>
                  <a:pt x="622" y="1242"/>
                </a:lnTo>
                <a:close/>
                <a:moveTo>
                  <a:pt x="617" y="1076"/>
                </a:moveTo>
                <a:lnTo>
                  <a:pt x="619" y="1075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2"/>
                </a:lnTo>
                <a:lnTo>
                  <a:pt x="619" y="1075"/>
                </a:lnTo>
                <a:lnTo>
                  <a:pt x="617" y="1076"/>
                </a:lnTo>
                <a:close/>
                <a:moveTo>
                  <a:pt x="613" y="1081"/>
                </a:moveTo>
                <a:lnTo>
                  <a:pt x="614" y="1079"/>
                </a:lnTo>
                <a:lnTo>
                  <a:pt x="614" y="1078"/>
                </a:lnTo>
                <a:lnTo>
                  <a:pt x="614" y="1079"/>
                </a:lnTo>
                <a:lnTo>
                  <a:pt x="613" y="1081"/>
                </a:lnTo>
                <a:close/>
                <a:moveTo>
                  <a:pt x="611" y="1231"/>
                </a:moveTo>
                <a:lnTo>
                  <a:pt x="611" y="1231"/>
                </a:lnTo>
                <a:lnTo>
                  <a:pt x="610" y="1231"/>
                </a:lnTo>
                <a:lnTo>
                  <a:pt x="611" y="1231"/>
                </a:lnTo>
                <a:lnTo>
                  <a:pt x="611" y="1231"/>
                </a:lnTo>
                <a:lnTo>
                  <a:pt x="612" y="1229"/>
                </a:lnTo>
                <a:lnTo>
                  <a:pt x="612" y="1228"/>
                </a:lnTo>
                <a:lnTo>
                  <a:pt x="612" y="1229"/>
                </a:lnTo>
                <a:lnTo>
                  <a:pt x="611" y="1231"/>
                </a:lnTo>
                <a:close/>
                <a:moveTo>
                  <a:pt x="610" y="1250"/>
                </a:moveTo>
                <a:lnTo>
                  <a:pt x="603" y="1258"/>
                </a:lnTo>
                <a:lnTo>
                  <a:pt x="594" y="1264"/>
                </a:lnTo>
                <a:lnTo>
                  <a:pt x="603" y="1258"/>
                </a:lnTo>
                <a:lnTo>
                  <a:pt x="610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1" y="1250"/>
                </a:lnTo>
                <a:lnTo>
                  <a:pt x="610" y="1250"/>
                </a:lnTo>
                <a:close/>
                <a:moveTo>
                  <a:pt x="591" y="1436"/>
                </a:moveTo>
                <a:lnTo>
                  <a:pt x="591" y="1435"/>
                </a:lnTo>
                <a:lnTo>
                  <a:pt x="592" y="1434"/>
                </a:lnTo>
                <a:lnTo>
                  <a:pt x="591" y="1435"/>
                </a:lnTo>
                <a:lnTo>
                  <a:pt x="591" y="1436"/>
                </a:lnTo>
                <a:lnTo>
                  <a:pt x="591" y="1436"/>
                </a:lnTo>
                <a:close/>
                <a:moveTo>
                  <a:pt x="587" y="1271"/>
                </a:moveTo>
                <a:lnTo>
                  <a:pt x="587" y="1272"/>
                </a:lnTo>
                <a:lnTo>
                  <a:pt x="586" y="1273"/>
                </a:lnTo>
                <a:lnTo>
                  <a:pt x="587" y="1272"/>
                </a:lnTo>
                <a:lnTo>
                  <a:pt x="587" y="1271"/>
                </a:lnTo>
                <a:lnTo>
                  <a:pt x="587" y="1271"/>
                </a:lnTo>
                <a:lnTo>
                  <a:pt x="587" y="1271"/>
                </a:lnTo>
                <a:close/>
                <a:moveTo>
                  <a:pt x="573" y="1247"/>
                </a:moveTo>
                <a:lnTo>
                  <a:pt x="576" y="1245"/>
                </a:lnTo>
                <a:lnTo>
                  <a:pt x="579" y="1245"/>
                </a:lnTo>
                <a:lnTo>
                  <a:pt x="585" y="1240"/>
                </a:lnTo>
                <a:lnTo>
                  <a:pt x="592" y="1236"/>
                </a:lnTo>
                <a:lnTo>
                  <a:pt x="585" y="1240"/>
                </a:lnTo>
                <a:lnTo>
                  <a:pt x="579" y="1245"/>
                </a:lnTo>
                <a:lnTo>
                  <a:pt x="576" y="1245"/>
                </a:lnTo>
                <a:lnTo>
                  <a:pt x="573" y="1247"/>
                </a:lnTo>
                <a:close/>
                <a:moveTo>
                  <a:pt x="575" y="980"/>
                </a:moveTo>
                <a:lnTo>
                  <a:pt x="573" y="980"/>
                </a:lnTo>
                <a:lnTo>
                  <a:pt x="571" y="981"/>
                </a:lnTo>
                <a:lnTo>
                  <a:pt x="573" y="980"/>
                </a:lnTo>
                <a:lnTo>
                  <a:pt x="575" y="980"/>
                </a:lnTo>
                <a:close/>
                <a:moveTo>
                  <a:pt x="570" y="949"/>
                </a:moveTo>
                <a:lnTo>
                  <a:pt x="572" y="949"/>
                </a:lnTo>
                <a:lnTo>
                  <a:pt x="575" y="948"/>
                </a:lnTo>
                <a:lnTo>
                  <a:pt x="572" y="949"/>
                </a:lnTo>
                <a:lnTo>
                  <a:pt x="570" y="949"/>
                </a:lnTo>
                <a:close/>
                <a:moveTo>
                  <a:pt x="587" y="1023"/>
                </a:moveTo>
                <a:lnTo>
                  <a:pt x="587" y="1025"/>
                </a:lnTo>
                <a:lnTo>
                  <a:pt x="583" y="1032"/>
                </a:lnTo>
                <a:lnTo>
                  <a:pt x="578" y="1039"/>
                </a:lnTo>
                <a:lnTo>
                  <a:pt x="583" y="1032"/>
                </a:lnTo>
                <a:lnTo>
                  <a:pt x="587" y="1025"/>
                </a:lnTo>
                <a:lnTo>
                  <a:pt x="587" y="1025"/>
                </a:lnTo>
                <a:lnTo>
                  <a:pt x="587" y="1023"/>
                </a:lnTo>
                <a:close/>
                <a:moveTo>
                  <a:pt x="597" y="1015"/>
                </a:moveTo>
                <a:lnTo>
                  <a:pt x="597" y="1016"/>
                </a:lnTo>
                <a:lnTo>
                  <a:pt x="597" y="1016"/>
                </a:lnTo>
                <a:lnTo>
                  <a:pt x="596" y="1018"/>
                </a:lnTo>
                <a:lnTo>
                  <a:pt x="597" y="1016"/>
                </a:lnTo>
                <a:lnTo>
                  <a:pt x="597" y="1016"/>
                </a:lnTo>
                <a:lnTo>
                  <a:pt x="597" y="1015"/>
                </a:lnTo>
                <a:close/>
                <a:moveTo>
                  <a:pt x="605" y="1086"/>
                </a:moveTo>
                <a:lnTo>
                  <a:pt x="604" y="1086"/>
                </a:lnTo>
                <a:lnTo>
                  <a:pt x="604" y="1086"/>
                </a:lnTo>
                <a:lnTo>
                  <a:pt x="603" y="1088"/>
                </a:lnTo>
                <a:lnTo>
                  <a:pt x="601" y="1088"/>
                </a:lnTo>
                <a:lnTo>
                  <a:pt x="603" y="1088"/>
                </a:lnTo>
                <a:lnTo>
                  <a:pt x="604" y="1086"/>
                </a:lnTo>
                <a:lnTo>
                  <a:pt x="604" y="1086"/>
                </a:lnTo>
                <a:lnTo>
                  <a:pt x="605" y="1086"/>
                </a:lnTo>
                <a:close/>
                <a:moveTo>
                  <a:pt x="603" y="1042"/>
                </a:moveTo>
                <a:lnTo>
                  <a:pt x="603" y="1043"/>
                </a:lnTo>
                <a:lnTo>
                  <a:pt x="601" y="1044"/>
                </a:lnTo>
                <a:lnTo>
                  <a:pt x="603" y="1043"/>
                </a:lnTo>
                <a:lnTo>
                  <a:pt x="603" y="1042"/>
                </a:lnTo>
                <a:lnTo>
                  <a:pt x="604" y="1041"/>
                </a:lnTo>
                <a:lnTo>
                  <a:pt x="605" y="1040"/>
                </a:lnTo>
                <a:lnTo>
                  <a:pt x="604" y="1041"/>
                </a:lnTo>
                <a:lnTo>
                  <a:pt x="603" y="1042"/>
                </a:lnTo>
                <a:close/>
                <a:moveTo>
                  <a:pt x="610" y="1082"/>
                </a:moveTo>
                <a:lnTo>
                  <a:pt x="610" y="1082"/>
                </a:lnTo>
                <a:lnTo>
                  <a:pt x="610" y="1082"/>
                </a:lnTo>
                <a:close/>
                <a:moveTo>
                  <a:pt x="621" y="971"/>
                </a:moveTo>
                <a:lnTo>
                  <a:pt x="613" y="977"/>
                </a:lnTo>
                <a:lnTo>
                  <a:pt x="606" y="983"/>
                </a:lnTo>
                <a:lnTo>
                  <a:pt x="613" y="977"/>
                </a:lnTo>
                <a:lnTo>
                  <a:pt x="621" y="971"/>
                </a:lnTo>
                <a:lnTo>
                  <a:pt x="622" y="966"/>
                </a:lnTo>
                <a:lnTo>
                  <a:pt x="625" y="964"/>
                </a:lnTo>
                <a:lnTo>
                  <a:pt x="622" y="966"/>
                </a:lnTo>
                <a:lnTo>
                  <a:pt x="621" y="971"/>
                </a:lnTo>
                <a:close/>
                <a:moveTo>
                  <a:pt x="621" y="1223"/>
                </a:moveTo>
                <a:lnTo>
                  <a:pt x="621" y="1223"/>
                </a:lnTo>
                <a:lnTo>
                  <a:pt x="621" y="1224"/>
                </a:lnTo>
                <a:lnTo>
                  <a:pt x="621" y="1226"/>
                </a:lnTo>
                <a:lnTo>
                  <a:pt x="621" y="1224"/>
                </a:lnTo>
                <a:lnTo>
                  <a:pt x="621" y="1223"/>
                </a:lnTo>
                <a:lnTo>
                  <a:pt x="621" y="1223"/>
                </a:lnTo>
                <a:lnTo>
                  <a:pt x="621" y="1221"/>
                </a:lnTo>
                <a:lnTo>
                  <a:pt x="621" y="1218"/>
                </a:lnTo>
                <a:lnTo>
                  <a:pt x="621" y="1216"/>
                </a:lnTo>
                <a:lnTo>
                  <a:pt x="622" y="1215"/>
                </a:lnTo>
                <a:lnTo>
                  <a:pt x="621" y="1216"/>
                </a:lnTo>
                <a:lnTo>
                  <a:pt x="621" y="1218"/>
                </a:lnTo>
                <a:lnTo>
                  <a:pt x="621" y="1221"/>
                </a:lnTo>
                <a:lnTo>
                  <a:pt x="621" y="1223"/>
                </a:lnTo>
                <a:close/>
                <a:moveTo>
                  <a:pt x="651" y="936"/>
                </a:moveTo>
                <a:lnTo>
                  <a:pt x="646" y="936"/>
                </a:lnTo>
                <a:lnTo>
                  <a:pt x="640" y="938"/>
                </a:lnTo>
                <a:lnTo>
                  <a:pt x="637" y="939"/>
                </a:lnTo>
                <a:lnTo>
                  <a:pt x="632" y="941"/>
                </a:lnTo>
                <a:lnTo>
                  <a:pt x="637" y="939"/>
                </a:lnTo>
                <a:lnTo>
                  <a:pt x="640" y="938"/>
                </a:lnTo>
                <a:lnTo>
                  <a:pt x="646" y="936"/>
                </a:lnTo>
                <a:lnTo>
                  <a:pt x="651" y="936"/>
                </a:lnTo>
                <a:close/>
                <a:moveTo>
                  <a:pt x="572" y="917"/>
                </a:moveTo>
                <a:lnTo>
                  <a:pt x="570" y="916"/>
                </a:lnTo>
                <a:lnTo>
                  <a:pt x="568" y="915"/>
                </a:lnTo>
                <a:lnTo>
                  <a:pt x="564" y="915"/>
                </a:lnTo>
                <a:lnTo>
                  <a:pt x="562" y="915"/>
                </a:lnTo>
                <a:lnTo>
                  <a:pt x="555" y="916"/>
                </a:lnTo>
                <a:lnTo>
                  <a:pt x="548" y="916"/>
                </a:lnTo>
                <a:lnTo>
                  <a:pt x="539" y="915"/>
                </a:lnTo>
                <a:lnTo>
                  <a:pt x="532" y="913"/>
                </a:lnTo>
                <a:lnTo>
                  <a:pt x="531" y="911"/>
                </a:lnTo>
                <a:lnTo>
                  <a:pt x="530" y="909"/>
                </a:lnTo>
                <a:lnTo>
                  <a:pt x="528" y="909"/>
                </a:lnTo>
                <a:lnTo>
                  <a:pt x="527" y="908"/>
                </a:lnTo>
                <a:lnTo>
                  <a:pt x="528" y="904"/>
                </a:lnTo>
                <a:lnTo>
                  <a:pt x="530" y="903"/>
                </a:lnTo>
                <a:lnTo>
                  <a:pt x="534" y="902"/>
                </a:lnTo>
                <a:lnTo>
                  <a:pt x="536" y="901"/>
                </a:lnTo>
                <a:lnTo>
                  <a:pt x="550" y="894"/>
                </a:lnTo>
                <a:lnTo>
                  <a:pt x="565" y="887"/>
                </a:lnTo>
                <a:lnTo>
                  <a:pt x="579" y="880"/>
                </a:lnTo>
                <a:lnTo>
                  <a:pt x="593" y="872"/>
                </a:lnTo>
                <a:lnTo>
                  <a:pt x="596" y="872"/>
                </a:lnTo>
                <a:lnTo>
                  <a:pt x="597" y="872"/>
                </a:lnTo>
                <a:lnTo>
                  <a:pt x="598" y="873"/>
                </a:lnTo>
                <a:lnTo>
                  <a:pt x="599" y="875"/>
                </a:lnTo>
                <a:lnTo>
                  <a:pt x="601" y="880"/>
                </a:lnTo>
                <a:lnTo>
                  <a:pt x="603" y="885"/>
                </a:lnTo>
                <a:lnTo>
                  <a:pt x="606" y="888"/>
                </a:lnTo>
                <a:lnTo>
                  <a:pt x="610" y="890"/>
                </a:lnTo>
                <a:lnTo>
                  <a:pt x="615" y="895"/>
                </a:lnTo>
                <a:lnTo>
                  <a:pt x="621" y="897"/>
                </a:lnTo>
                <a:lnTo>
                  <a:pt x="627" y="899"/>
                </a:lnTo>
                <a:lnTo>
                  <a:pt x="634" y="897"/>
                </a:lnTo>
                <a:lnTo>
                  <a:pt x="641" y="895"/>
                </a:lnTo>
                <a:lnTo>
                  <a:pt x="648" y="894"/>
                </a:lnTo>
                <a:lnTo>
                  <a:pt x="648" y="896"/>
                </a:lnTo>
                <a:lnTo>
                  <a:pt x="648" y="899"/>
                </a:lnTo>
                <a:lnTo>
                  <a:pt x="647" y="902"/>
                </a:lnTo>
                <a:lnTo>
                  <a:pt x="647" y="906"/>
                </a:lnTo>
                <a:lnTo>
                  <a:pt x="651" y="911"/>
                </a:lnTo>
                <a:lnTo>
                  <a:pt x="652" y="918"/>
                </a:lnTo>
                <a:lnTo>
                  <a:pt x="653" y="922"/>
                </a:lnTo>
                <a:lnTo>
                  <a:pt x="653" y="925"/>
                </a:lnTo>
                <a:lnTo>
                  <a:pt x="652" y="929"/>
                </a:lnTo>
                <a:lnTo>
                  <a:pt x="649" y="932"/>
                </a:lnTo>
                <a:lnTo>
                  <a:pt x="640" y="934"/>
                </a:lnTo>
                <a:lnTo>
                  <a:pt x="631" y="936"/>
                </a:lnTo>
                <a:lnTo>
                  <a:pt x="620" y="938"/>
                </a:lnTo>
                <a:lnTo>
                  <a:pt x="608" y="941"/>
                </a:lnTo>
                <a:lnTo>
                  <a:pt x="606" y="942"/>
                </a:lnTo>
                <a:lnTo>
                  <a:pt x="603" y="943"/>
                </a:lnTo>
                <a:lnTo>
                  <a:pt x="599" y="943"/>
                </a:lnTo>
                <a:lnTo>
                  <a:pt x="596" y="942"/>
                </a:lnTo>
                <a:lnTo>
                  <a:pt x="590" y="937"/>
                </a:lnTo>
                <a:lnTo>
                  <a:pt x="584" y="932"/>
                </a:lnTo>
                <a:lnTo>
                  <a:pt x="582" y="927"/>
                </a:lnTo>
                <a:lnTo>
                  <a:pt x="578" y="923"/>
                </a:lnTo>
                <a:lnTo>
                  <a:pt x="572" y="922"/>
                </a:lnTo>
                <a:lnTo>
                  <a:pt x="568" y="922"/>
                </a:lnTo>
                <a:lnTo>
                  <a:pt x="572" y="922"/>
                </a:lnTo>
                <a:lnTo>
                  <a:pt x="578" y="923"/>
                </a:lnTo>
                <a:lnTo>
                  <a:pt x="577" y="921"/>
                </a:lnTo>
                <a:lnTo>
                  <a:pt x="576" y="918"/>
                </a:lnTo>
                <a:lnTo>
                  <a:pt x="573" y="918"/>
                </a:lnTo>
                <a:lnTo>
                  <a:pt x="572" y="917"/>
                </a:lnTo>
                <a:close/>
                <a:moveTo>
                  <a:pt x="565" y="951"/>
                </a:moveTo>
                <a:lnTo>
                  <a:pt x="565" y="950"/>
                </a:lnTo>
                <a:lnTo>
                  <a:pt x="566" y="949"/>
                </a:lnTo>
                <a:lnTo>
                  <a:pt x="565" y="950"/>
                </a:lnTo>
                <a:lnTo>
                  <a:pt x="565" y="951"/>
                </a:lnTo>
                <a:close/>
                <a:moveTo>
                  <a:pt x="561" y="1254"/>
                </a:moveTo>
                <a:lnTo>
                  <a:pt x="563" y="1253"/>
                </a:lnTo>
                <a:lnTo>
                  <a:pt x="565" y="1252"/>
                </a:lnTo>
                <a:lnTo>
                  <a:pt x="563" y="1253"/>
                </a:lnTo>
                <a:lnTo>
                  <a:pt x="561" y="1254"/>
                </a:lnTo>
                <a:lnTo>
                  <a:pt x="561" y="1254"/>
                </a:lnTo>
                <a:close/>
                <a:moveTo>
                  <a:pt x="552" y="1355"/>
                </a:moveTo>
                <a:lnTo>
                  <a:pt x="556" y="1343"/>
                </a:lnTo>
                <a:lnTo>
                  <a:pt x="559" y="1331"/>
                </a:lnTo>
                <a:lnTo>
                  <a:pt x="559" y="1331"/>
                </a:lnTo>
                <a:lnTo>
                  <a:pt x="556" y="1343"/>
                </a:lnTo>
                <a:lnTo>
                  <a:pt x="552" y="1355"/>
                </a:lnTo>
                <a:close/>
                <a:moveTo>
                  <a:pt x="546" y="928"/>
                </a:moveTo>
                <a:lnTo>
                  <a:pt x="549" y="925"/>
                </a:lnTo>
                <a:lnTo>
                  <a:pt x="551" y="923"/>
                </a:lnTo>
                <a:lnTo>
                  <a:pt x="551" y="923"/>
                </a:lnTo>
                <a:lnTo>
                  <a:pt x="549" y="925"/>
                </a:lnTo>
                <a:lnTo>
                  <a:pt x="546" y="928"/>
                </a:lnTo>
                <a:close/>
                <a:moveTo>
                  <a:pt x="542" y="932"/>
                </a:moveTo>
                <a:lnTo>
                  <a:pt x="544" y="930"/>
                </a:lnTo>
                <a:lnTo>
                  <a:pt x="546" y="928"/>
                </a:lnTo>
                <a:lnTo>
                  <a:pt x="544" y="930"/>
                </a:lnTo>
                <a:lnTo>
                  <a:pt x="542" y="932"/>
                </a:lnTo>
                <a:close/>
                <a:moveTo>
                  <a:pt x="539" y="937"/>
                </a:moveTo>
                <a:lnTo>
                  <a:pt x="539" y="937"/>
                </a:lnTo>
                <a:lnTo>
                  <a:pt x="539" y="937"/>
                </a:lnTo>
                <a:close/>
                <a:moveTo>
                  <a:pt x="555" y="953"/>
                </a:moveTo>
                <a:lnTo>
                  <a:pt x="561" y="952"/>
                </a:lnTo>
                <a:lnTo>
                  <a:pt x="565" y="951"/>
                </a:lnTo>
                <a:lnTo>
                  <a:pt x="561" y="952"/>
                </a:lnTo>
                <a:lnTo>
                  <a:pt x="555" y="953"/>
                </a:lnTo>
                <a:lnTo>
                  <a:pt x="545" y="958"/>
                </a:lnTo>
                <a:lnTo>
                  <a:pt x="535" y="962"/>
                </a:lnTo>
                <a:lnTo>
                  <a:pt x="545" y="958"/>
                </a:lnTo>
                <a:lnTo>
                  <a:pt x="555" y="953"/>
                </a:lnTo>
                <a:close/>
                <a:moveTo>
                  <a:pt x="529" y="915"/>
                </a:moveTo>
                <a:lnTo>
                  <a:pt x="530" y="915"/>
                </a:lnTo>
                <a:lnTo>
                  <a:pt x="531" y="916"/>
                </a:lnTo>
                <a:lnTo>
                  <a:pt x="530" y="915"/>
                </a:lnTo>
                <a:lnTo>
                  <a:pt x="529" y="915"/>
                </a:lnTo>
                <a:close/>
                <a:moveTo>
                  <a:pt x="536" y="1000"/>
                </a:moveTo>
                <a:lnTo>
                  <a:pt x="528" y="1009"/>
                </a:lnTo>
                <a:lnTo>
                  <a:pt x="518" y="1018"/>
                </a:lnTo>
                <a:lnTo>
                  <a:pt x="528" y="1009"/>
                </a:lnTo>
                <a:lnTo>
                  <a:pt x="536" y="1000"/>
                </a:lnTo>
                <a:lnTo>
                  <a:pt x="537" y="1000"/>
                </a:lnTo>
                <a:lnTo>
                  <a:pt x="537" y="999"/>
                </a:lnTo>
                <a:lnTo>
                  <a:pt x="537" y="1000"/>
                </a:lnTo>
                <a:lnTo>
                  <a:pt x="536" y="1000"/>
                </a:lnTo>
                <a:close/>
                <a:moveTo>
                  <a:pt x="527" y="1493"/>
                </a:moveTo>
                <a:lnTo>
                  <a:pt x="527" y="1495"/>
                </a:lnTo>
                <a:lnTo>
                  <a:pt x="527" y="1496"/>
                </a:lnTo>
                <a:lnTo>
                  <a:pt x="527" y="1495"/>
                </a:lnTo>
                <a:lnTo>
                  <a:pt x="527" y="1493"/>
                </a:lnTo>
                <a:lnTo>
                  <a:pt x="530" y="1483"/>
                </a:lnTo>
                <a:lnTo>
                  <a:pt x="532" y="1473"/>
                </a:lnTo>
                <a:lnTo>
                  <a:pt x="530" y="1483"/>
                </a:lnTo>
                <a:lnTo>
                  <a:pt x="527" y="1493"/>
                </a:lnTo>
                <a:close/>
                <a:moveTo>
                  <a:pt x="510" y="1163"/>
                </a:moveTo>
                <a:lnTo>
                  <a:pt x="510" y="1163"/>
                </a:lnTo>
                <a:lnTo>
                  <a:pt x="510" y="1163"/>
                </a:lnTo>
                <a:lnTo>
                  <a:pt x="511" y="1159"/>
                </a:lnTo>
                <a:lnTo>
                  <a:pt x="513" y="1155"/>
                </a:lnTo>
                <a:lnTo>
                  <a:pt x="515" y="1152"/>
                </a:lnTo>
                <a:lnTo>
                  <a:pt x="518" y="1149"/>
                </a:lnTo>
                <a:lnTo>
                  <a:pt x="515" y="1152"/>
                </a:lnTo>
                <a:lnTo>
                  <a:pt x="513" y="1155"/>
                </a:lnTo>
                <a:lnTo>
                  <a:pt x="511" y="1159"/>
                </a:lnTo>
                <a:lnTo>
                  <a:pt x="510" y="1163"/>
                </a:lnTo>
                <a:close/>
                <a:moveTo>
                  <a:pt x="510" y="1518"/>
                </a:moveTo>
                <a:lnTo>
                  <a:pt x="510" y="1518"/>
                </a:lnTo>
                <a:lnTo>
                  <a:pt x="511" y="1519"/>
                </a:lnTo>
                <a:lnTo>
                  <a:pt x="510" y="1518"/>
                </a:lnTo>
                <a:lnTo>
                  <a:pt x="510" y="1518"/>
                </a:lnTo>
                <a:close/>
                <a:moveTo>
                  <a:pt x="502" y="1500"/>
                </a:moveTo>
                <a:lnTo>
                  <a:pt x="502" y="1500"/>
                </a:lnTo>
                <a:lnTo>
                  <a:pt x="506" y="1500"/>
                </a:lnTo>
                <a:lnTo>
                  <a:pt x="508" y="1500"/>
                </a:lnTo>
                <a:lnTo>
                  <a:pt x="509" y="1501"/>
                </a:lnTo>
                <a:lnTo>
                  <a:pt x="510" y="1503"/>
                </a:lnTo>
                <a:lnTo>
                  <a:pt x="511" y="1507"/>
                </a:lnTo>
                <a:lnTo>
                  <a:pt x="511" y="1511"/>
                </a:lnTo>
                <a:lnTo>
                  <a:pt x="511" y="1512"/>
                </a:lnTo>
                <a:lnTo>
                  <a:pt x="513" y="1512"/>
                </a:lnTo>
                <a:lnTo>
                  <a:pt x="511" y="1512"/>
                </a:lnTo>
                <a:lnTo>
                  <a:pt x="511" y="1511"/>
                </a:lnTo>
                <a:lnTo>
                  <a:pt x="511" y="1507"/>
                </a:lnTo>
                <a:lnTo>
                  <a:pt x="510" y="1503"/>
                </a:lnTo>
                <a:lnTo>
                  <a:pt x="509" y="1501"/>
                </a:lnTo>
                <a:lnTo>
                  <a:pt x="508" y="1500"/>
                </a:lnTo>
                <a:lnTo>
                  <a:pt x="506" y="1500"/>
                </a:lnTo>
                <a:lnTo>
                  <a:pt x="502" y="1500"/>
                </a:lnTo>
                <a:close/>
                <a:moveTo>
                  <a:pt x="497" y="1177"/>
                </a:moveTo>
                <a:lnTo>
                  <a:pt x="497" y="1177"/>
                </a:lnTo>
                <a:lnTo>
                  <a:pt x="496" y="1179"/>
                </a:lnTo>
                <a:lnTo>
                  <a:pt x="495" y="1180"/>
                </a:lnTo>
                <a:lnTo>
                  <a:pt x="495" y="1180"/>
                </a:lnTo>
                <a:lnTo>
                  <a:pt x="495" y="1180"/>
                </a:lnTo>
                <a:lnTo>
                  <a:pt x="496" y="1179"/>
                </a:lnTo>
                <a:lnTo>
                  <a:pt x="497" y="1177"/>
                </a:lnTo>
                <a:lnTo>
                  <a:pt x="497" y="1177"/>
                </a:lnTo>
                <a:lnTo>
                  <a:pt x="499" y="1174"/>
                </a:lnTo>
                <a:lnTo>
                  <a:pt x="502" y="1170"/>
                </a:lnTo>
                <a:lnTo>
                  <a:pt x="499" y="1174"/>
                </a:lnTo>
                <a:lnTo>
                  <a:pt x="497" y="1177"/>
                </a:lnTo>
                <a:close/>
                <a:moveTo>
                  <a:pt x="486" y="1193"/>
                </a:moveTo>
                <a:lnTo>
                  <a:pt x="486" y="1193"/>
                </a:lnTo>
                <a:lnTo>
                  <a:pt x="486" y="1193"/>
                </a:lnTo>
                <a:lnTo>
                  <a:pt x="486" y="1193"/>
                </a:lnTo>
                <a:lnTo>
                  <a:pt x="488" y="1188"/>
                </a:lnTo>
                <a:lnTo>
                  <a:pt x="490" y="1183"/>
                </a:lnTo>
                <a:lnTo>
                  <a:pt x="488" y="1188"/>
                </a:lnTo>
                <a:lnTo>
                  <a:pt x="486" y="1193"/>
                </a:lnTo>
                <a:close/>
                <a:moveTo>
                  <a:pt x="480" y="1015"/>
                </a:moveTo>
                <a:lnTo>
                  <a:pt x="481" y="1012"/>
                </a:lnTo>
                <a:lnTo>
                  <a:pt x="482" y="1009"/>
                </a:lnTo>
                <a:lnTo>
                  <a:pt x="484" y="1008"/>
                </a:lnTo>
                <a:lnTo>
                  <a:pt x="488" y="1007"/>
                </a:lnTo>
                <a:lnTo>
                  <a:pt x="484" y="1008"/>
                </a:lnTo>
                <a:lnTo>
                  <a:pt x="482" y="1009"/>
                </a:lnTo>
                <a:lnTo>
                  <a:pt x="481" y="1012"/>
                </a:lnTo>
                <a:lnTo>
                  <a:pt x="480" y="1015"/>
                </a:lnTo>
                <a:lnTo>
                  <a:pt x="480" y="1015"/>
                </a:lnTo>
                <a:close/>
                <a:moveTo>
                  <a:pt x="479" y="1022"/>
                </a:moveTo>
                <a:lnTo>
                  <a:pt x="477" y="1022"/>
                </a:lnTo>
                <a:lnTo>
                  <a:pt x="477" y="1023"/>
                </a:lnTo>
                <a:lnTo>
                  <a:pt x="477" y="1022"/>
                </a:lnTo>
                <a:lnTo>
                  <a:pt x="479" y="1022"/>
                </a:lnTo>
                <a:lnTo>
                  <a:pt x="479" y="1022"/>
                </a:lnTo>
                <a:close/>
                <a:moveTo>
                  <a:pt x="476" y="1489"/>
                </a:moveTo>
                <a:lnTo>
                  <a:pt x="476" y="1488"/>
                </a:lnTo>
                <a:lnTo>
                  <a:pt x="477" y="1486"/>
                </a:lnTo>
                <a:lnTo>
                  <a:pt x="476" y="1488"/>
                </a:lnTo>
                <a:lnTo>
                  <a:pt x="476" y="1489"/>
                </a:lnTo>
                <a:close/>
                <a:moveTo>
                  <a:pt x="465" y="1223"/>
                </a:moveTo>
                <a:lnTo>
                  <a:pt x="463" y="1223"/>
                </a:lnTo>
                <a:lnTo>
                  <a:pt x="463" y="1224"/>
                </a:lnTo>
                <a:lnTo>
                  <a:pt x="463" y="1223"/>
                </a:lnTo>
                <a:lnTo>
                  <a:pt x="465" y="1223"/>
                </a:lnTo>
                <a:lnTo>
                  <a:pt x="467" y="1216"/>
                </a:lnTo>
                <a:lnTo>
                  <a:pt x="469" y="1211"/>
                </a:lnTo>
                <a:lnTo>
                  <a:pt x="473" y="1205"/>
                </a:lnTo>
                <a:lnTo>
                  <a:pt x="476" y="1201"/>
                </a:lnTo>
                <a:lnTo>
                  <a:pt x="473" y="1205"/>
                </a:lnTo>
                <a:lnTo>
                  <a:pt x="469" y="1211"/>
                </a:lnTo>
                <a:lnTo>
                  <a:pt x="467" y="1216"/>
                </a:lnTo>
                <a:lnTo>
                  <a:pt x="465" y="1223"/>
                </a:lnTo>
                <a:close/>
                <a:moveTo>
                  <a:pt x="466" y="994"/>
                </a:moveTo>
                <a:lnTo>
                  <a:pt x="466" y="995"/>
                </a:lnTo>
                <a:lnTo>
                  <a:pt x="467" y="997"/>
                </a:lnTo>
                <a:lnTo>
                  <a:pt x="466" y="995"/>
                </a:lnTo>
                <a:lnTo>
                  <a:pt x="466" y="994"/>
                </a:lnTo>
                <a:lnTo>
                  <a:pt x="463" y="992"/>
                </a:lnTo>
                <a:lnTo>
                  <a:pt x="461" y="992"/>
                </a:lnTo>
                <a:lnTo>
                  <a:pt x="463" y="992"/>
                </a:lnTo>
                <a:lnTo>
                  <a:pt x="466" y="994"/>
                </a:lnTo>
                <a:close/>
                <a:moveTo>
                  <a:pt x="456" y="1006"/>
                </a:moveTo>
                <a:lnTo>
                  <a:pt x="451" y="1013"/>
                </a:lnTo>
                <a:lnTo>
                  <a:pt x="446" y="1019"/>
                </a:lnTo>
                <a:lnTo>
                  <a:pt x="452" y="1013"/>
                </a:lnTo>
                <a:lnTo>
                  <a:pt x="456" y="1006"/>
                </a:lnTo>
                <a:lnTo>
                  <a:pt x="458" y="1005"/>
                </a:lnTo>
                <a:lnTo>
                  <a:pt x="459" y="1005"/>
                </a:lnTo>
                <a:lnTo>
                  <a:pt x="458" y="1005"/>
                </a:lnTo>
                <a:lnTo>
                  <a:pt x="456" y="1006"/>
                </a:lnTo>
                <a:close/>
                <a:moveTo>
                  <a:pt x="446" y="1139"/>
                </a:moveTo>
                <a:lnTo>
                  <a:pt x="440" y="1144"/>
                </a:lnTo>
                <a:lnTo>
                  <a:pt x="437" y="1148"/>
                </a:lnTo>
                <a:lnTo>
                  <a:pt x="431" y="1153"/>
                </a:lnTo>
                <a:lnTo>
                  <a:pt x="425" y="1156"/>
                </a:lnTo>
                <a:lnTo>
                  <a:pt x="424" y="1158"/>
                </a:lnTo>
                <a:lnTo>
                  <a:pt x="423" y="1159"/>
                </a:lnTo>
                <a:lnTo>
                  <a:pt x="424" y="1158"/>
                </a:lnTo>
                <a:lnTo>
                  <a:pt x="425" y="1156"/>
                </a:lnTo>
                <a:lnTo>
                  <a:pt x="431" y="1153"/>
                </a:lnTo>
                <a:lnTo>
                  <a:pt x="437" y="1148"/>
                </a:lnTo>
                <a:lnTo>
                  <a:pt x="440" y="1144"/>
                </a:lnTo>
                <a:lnTo>
                  <a:pt x="446" y="1139"/>
                </a:lnTo>
                <a:lnTo>
                  <a:pt x="448" y="1133"/>
                </a:lnTo>
                <a:lnTo>
                  <a:pt x="453" y="1127"/>
                </a:lnTo>
                <a:lnTo>
                  <a:pt x="448" y="1133"/>
                </a:lnTo>
                <a:lnTo>
                  <a:pt x="446" y="1139"/>
                </a:lnTo>
                <a:close/>
                <a:moveTo>
                  <a:pt x="421" y="1167"/>
                </a:moveTo>
                <a:lnTo>
                  <a:pt x="423" y="1166"/>
                </a:lnTo>
                <a:lnTo>
                  <a:pt x="423" y="1163"/>
                </a:lnTo>
                <a:lnTo>
                  <a:pt x="423" y="1161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1" y="1159"/>
                </a:lnTo>
                <a:lnTo>
                  <a:pt x="423" y="1161"/>
                </a:lnTo>
                <a:lnTo>
                  <a:pt x="423" y="1163"/>
                </a:lnTo>
                <a:lnTo>
                  <a:pt x="423" y="1166"/>
                </a:lnTo>
                <a:lnTo>
                  <a:pt x="421" y="1167"/>
                </a:lnTo>
                <a:close/>
                <a:moveTo>
                  <a:pt x="439" y="1067"/>
                </a:moveTo>
                <a:lnTo>
                  <a:pt x="426" y="1077"/>
                </a:lnTo>
                <a:lnTo>
                  <a:pt x="412" y="1086"/>
                </a:lnTo>
                <a:lnTo>
                  <a:pt x="426" y="1077"/>
                </a:lnTo>
                <a:lnTo>
                  <a:pt x="439" y="1067"/>
                </a:lnTo>
                <a:close/>
                <a:moveTo>
                  <a:pt x="396" y="1149"/>
                </a:moveTo>
                <a:lnTo>
                  <a:pt x="394" y="1149"/>
                </a:lnTo>
                <a:lnTo>
                  <a:pt x="394" y="1149"/>
                </a:lnTo>
                <a:lnTo>
                  <a:pt x="392" y="1152"/>
                </a:lnTo>
                <a:lnTo>
                  <a:pt x="389" y="1152"/>
                </a:lnTo>
                <a:lnTo>
                  <a:pt x="386" y="1152"/>
                </a:lnTo>
                <a:lnTo>
                  <a:pt x="384" y="1152"/>
                </a:lnTo>
                <a:lnTo>
                  <a:pt x="386" y="1152"/>
                </a:lnTo>
                <a:lnTo>
                  <a:pt x="389" y="1152"/>
                </a:lnTo>
                <a:lnTo>
                  <a:pt x="392" y="1152"/>
                </a:lnTo>
                <a:lnTo>
                  <a:pt x="394" y="1149"/>
                </a:lnTo>
                <a:lnTo>
                  <a:pt x="394" y="1149"/>
                </a:lnTo>
                <a:lnTo>
                  <a:pt x="396" y="1149"/>
                </a:lnTo>
                <a:lnTo>
                  <a:pt x="404" y="1144"/>
                </a:lnTo>
                <a:lnTo>
                  <a:pt x="411" y="1138"/>
                </a:lnTo>
                <a:lnTo>
                  <a:pt x="404" y="1144"/>
                </a:lnTo>
                <a:lnTo>
                  <a:pt x="396" y="1149"/>
                </a:lnTo>
                <a:close/>
                <a:moveTo>
                  <a:pt x="385" y="946"/>
                </a:moveTo>
                <a:lnTo>
                  <a:pt x="384" y="946"/>
                </a:lnTo>
                <a:lnTo>
                  <a:pt x="384" y="945"/>
                </a:lnTo>
                <a:lnTo>
                  <a:pt x="384" y="946"/>
                </a:lnTo>
                <a:lnTo>
                  <a:pt x="385" y="946"/>
                </a:lnTo>
                <a:lnTo>
                  <a:pt x="385" y="946"/>
                </a:lnTo>
                <a:close/>
                <a:moveTo>
                  <a:pt x="382" y="1047"/>
                </a:moveTo>
                <a:lnTo>
                  <a:pt x="380" y="1046"/>
                </a:lnTo>
                <a:lnTo>
                  <a:pt x="382" y="1044"/>
                </a:lnTo>
                <a:lnTo>
                  <a:pt x="380" y="1046"/>
                </a:lnTo>
                <a:lnTo>
                  <a:pt x="382" y="1047"/>
                </a:lnTo>
                <a:close/>
                <a:moveTo>
                  <a:pt x="378" y="1034"/>
                </a:moveTo>
                <a:lnTo>
                  <a:pt x="379" y="1032"/>
                </a:lnTo>
                <a:lnTo>
                  <a:pt x="379" y="1028"/>
                </a:lnTo>
                <a:lnTo>
                  <a:pt x="379" y="1028"/>
                </a:lnTo>
                <a:lnTo>
                  <a:pt x="379" y="1032"/>
                </a:lnTo>
                <a:lnTo>
                  <a:pt x="378" y="1034"/>
                </a:lnTo>
                <a:close/>
                <a:moveTo>
                  <a:pt x="365" y="1039"/>
                </a:moveTo>
                <a:lnTo>
                  <a:pt x="361" y="1041"/>
                </a:lnTo>
                <a:lnTo>
                  <a:pt x="358" y="1046"/>
                </a:lnTo>
                <a:lnTo>
                  <a:pt x="356" y="1049"/>
                </a:lnTo>
                <a:lnTo>
                  <a:pt x="354" y="1054"/>
                </a:lnTo>
                <a:lnTo>
                  <a:pt x="356" y="1049"/>
                </a:lnTo>
                <a:lnTo>
                  <a:pt x="358" y="1046"/>
                </a:lnTo>
                <a:lnTo>
                  <a:pt x="361" y="1041"/>
                </a:lnTo>
                <a:lnTo>
                  <a:pt x="365" y="1039"/>
                </a:lnTo>
                <a:lnTo>
                  <a:pt x="368" y="1033"/>
                </a:lnTo>
                <a:lnTo>
                  <a:pt x="370" y="1028"/>
                </a:lnTo>
                <a:lnTo>
                  <a:pt x="373" y="1023"/>
                </a:lnTo>
                <a:lnTo>
                  <a:pt x="378" y="1020"/>
                </a:lnTo>
                <a:lnTo>
                  <a:pt x="373" y="1023"/>
                </a:lnTo>
                <a:lnTo>
                  <a:pt x="370" y="1028"/>
                </a:lnTo>
                <a:lnTo>
                  <a:pt x="368" y="1033"/>
                </a:lnTo>
                <a:lnTo>
                  <a:pt x="365" y="1039"/>
                </a:lnTo>
                <a:close/>
                <a:moveTo>
                  <a:pt x="365" y="1111"/>
                </a:moveTo>
                <a:lnTo>
                  <a:pt x="366" y="1111"/>
                </a:lnTo>
                <a:lnTo>
                  <a:pt x="366" y="1111"/>
                </a:lnTo>
                <a:lnTo>
                  <a:pt x="365" y="1111"/>
                </a:lnTo>
                <a:lnTo>
                  <a:pt x="364" y="1112"/>
                </a:lnTo>
                <a:lnTo>
                  <a:pt x="364" y="1111"/>
                </a:lnTo>
                <a:lnTo>
                  <a:pt x="365" y="1111"/>
                </a:lnTo>
                <a:lnTo>
                  <a:pt x="366" y="1109"/>
                </a:lnTo>
                <a:lnTo>
                  <a:pt x="369" y="1106"/>
                </a:lnTo>
                <a:lnTo>
                  <a:pt x="366" y="1109"/>
                </a:lnTo>
                <a:lnTo>
                  <a:pt x="365" y="1111"/>
                </a:lnTo>
                <a:close/>
                <a:moveTo>
                  <a:pt x="366" y="1130"/>
                </a:moveTo>
                <a:lnTo>
                  <a:pt x="363" y="1131"/>
                </a:lnTo>
                <a:lnTo>
                  <a:pt x="361" y="1132"/>
                </a:lnTo>
                <a:lnTo>
                  <a:pt x="359" y="1130"/>
                </a:lnTo>
                <a:lnTo>
                  <a:pt x="359" y="1126"/>
                </a:lnTo>
                <a:lnTo>
                  <a:pt x="363" y="1127"/>
                </a:lnTo>
                <a:lnTo>
                  <a:pt x="366" y="1128"/>
                </a:lnTo>
                <a:lnTo>
                  <a:pt x="366" y="1130"/>
                </a:lnTo>
                <a:lnTo>
                  <a:pt x="366" y="1130"/>
                </a:lnTo>
                <a:close/>
                <a:moveTo>
                  <a:pt x="349" y="941"/>
                </a:moveTo>
                <a:lnTo>
                  <a:pt x="349" y="941"/>
                </a:lnTo>
                <a:lnTo>
                  <a:pt x="349" y="941"/>
                </a:lnTo>
                <a:close/>
                <a:moveTo>
                  <a:pt x="343" y="706"/>
                </a:moveTo>
                <a:lnTo>
                  <a:pt x="341" y="706"/>
                </a:lnTo>
                <a:lnTo>
                  <a:pt x="339" y="705"/>
                </a:lnTo>
                <a:lnTo>
                  <a:pt x="338" y="704"/>
                </a:lnTo>
                <a:lnTo>
                  <a:pt x="337" y="704"/>
                </a:lnTo>
                <a:lnTo>
                  <a:pt x="338" y="701"/>
                </a:lnTo>
                <a:lnTo>
                  <a:pt x="339" y="699"/>
                </a:lnTo>
                <a:lnTo>
                  <a:pt x="341" y="700"/>
                </a:lnTo>
                <a:lnTo>
                  <a:pt x="342" y="701"/>
                </a:lnTo>
                <a:lnTo>
                  <a:pt x="342" y="701"/>
                </a:lnTo>
                <a:lnTo>
                  <a:pt x="342" y="702"/>
                </a:lnTo>
                <a:lnTo>
                  <a:pt x="343" y="704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lnTo>
                  <a:pt x="343" y="706"/>
                </a:lnTo>
                <a:close/>
                <a:moveTo>
                  <a:pt x="337" y="822"/>
                </a:moveTo>
                <a:lnTo>
                  <a:pt x="337" y="823"/>
                </a:lnTo>
                <a:lnTo>
                  <a:pt x="336" y="824"/>
                </a:lnTo>
                <a:lnTo>
                  <a:pt x="337" y="823"/>
                </a:lnTo>
                <a:lnTo>
                  <a:pt x="337" y="822"/>
                </a:lnTo>
                <a:close/>
                <a:moveTo>
                  <a:pt x="325" y="1018"/>
                </a:moveTo>
                <a:lnTo>
                  <a:pt x="325" y="1016"/>
                </a:lnTo>
                <a:lnTo>
                  <a:pt x="325" y="1015"/>
                </a:lnTo>
                <a:lnTo>
                  <a:pt x="324" y="1015"/>
                </a:lnTo>
                <a:lnTo>
                  <a:pt x="324" y="1014"/>
                </a:lnTo>
                <a:lnTo>
                  <a:pt x="324" y="1015"/>
                </a:lnTo>
                <a:lnTo>
                  <a:pt x="325" y="1015"/>
                </a:lnTo>
                <a:lnTo>
                  <a:pt x="325" y="1016"/>
                </a:lnTo>
                <a:lnTo>
                  <a:pt x="325" y="1018"/>
                </a:lnTo>
                <a:close/>
                <a:moveTo>
                  <a:pt x="323" y="1054"/>
                </a:moveTo>
                <a:lnTo>
                  <a:pt x="324" y="1053"/>
                </a:lnTo>
                <a:lnTo>
                  <a:pt x="325" y="1051"/>
                </a:lnTo>
                <a:lnTo>
                  <a:pt x="325" y="1047"/>
                </a:lnTo>
                <a:lnTo>
                  <a:pt x="324" y="1042"/>
                </a:lnTo>
                <a:lnTo>
                  <a:pt x="324" y="1040"/>
                </a:lnTo>
                <a:lnTo>
                  <a:pt x="323" y="1037"/>
                </a:lnTo>
                <a:lnTo>
                  <a:pt x="324" y="1040"/>
                </a:lnTo>
                <a:lnTo>
                  <a:pt x="324" y="1042"/>
                </a:lnTo>
                <a:lnTo>
                  <a:pt x="325" y="1047"/>
                </a:lnTo>
                <a:lnTo>
                  <a:pt x="325" y="1051"/>
                </a:lnTo>
                <a:lnTo>
                  <a:pt x="324" y="1053"/>
                </a:lnTo>
                <a:lnTo>
                  <a:pt x="323" y="1054"/>
                </a:lnTo>
                <a:close/>
                <a:moveTo>
                  <a:pt x="323" y="841"/>
                </a:moveTo>
                <a:lnTo>
                  <a:pt x="322" y="841"/>
                </a:lnTo>
                <a:lnTo>
                  <a:pt x="322" y="841"/>
                </a:lnTo>
                <a:lnTo>
                  <a:pt x="323" y="841"/>
                </a:lnTo>
                <a:close/>
                <a:moveTo>
                  <a:pt x="321" y="1016"/>
                </a:moveTo>
                <a:lnTo>
                  <a:pt x="320" y="1012"/>
                </a:lnTo>
                <a:lnTo>
                  <a:pt x="320" y="1008"/>
                </a:lnTo>
                <a:lnTo>
                  <a:pt x="321" y="1004"/>
                </a:lnTo>
                <a:lnTo>
                  <a:pt x="322" y="1000"/>
                </a:lnTo>
                <a:lnTo>
                  <a:pt x="321" y="1004"/>
                </a:lnTo>
                <a:lnTo>
                  <a:pt x="320" y="1008"/>
                </a:lnTo>
                <a:lnTo>
                  <a:pt x="320" y="1012"/>
                </a:lnTo>
                <a:lnTo>
                  <a:pt x="321" y="1016"/>
                </a:lnTo>
                <a:close/>
                <a:moveTo>
                  <a:pt x="314" y="1187"/>
                </a:moveTo>
                <a:lnTo>
                  <a:pt x="313" y="1187"/>
                </a:lnTo>
                <a:lnTo>
                  <a:pt x="313" y="1186"/>
                </a:lnTo>
                <a:lnTo>
                  <a:pt x="313" y="1187"/>
                </a:lnTo>
                <a:lnTo>
                  <a:pt x="314" y="1187"/>
                </a:lnTo>
                <a:lnTo>
                  <a:pt x="316" y="1189"/>
                </a:lnTo>
                <a:lnTo>
                  <a:pt x="317" y="1190"/>
                </a:lnTo>
                <a:lnTo>
                  <a:pt x="316" y="1189"/>
                </a:lnTo>
                <a:lnTo>
                  <a:pt x="314" y="1187"/>
                </a:lnTo>
                <a:close/>
                <a:moveTo>
                  <a:pt x="293" y="903"/>
                </a:moveTo>
                <a:lnTo>
                  <a:pt x="297" y="902"/>
                </a:lnTo>
                <a:lnTo>
                  <a:pt x="302" y="901"/>
                </a:lnTo>
                <a:lnTo>
                  <a:pt x="307" y="900"/>
                </a:lnTo>
                <a:lnTo>
                  <a:pt x="310" y="896"/>
                </a:lnTo>
                <a:lnTo>
                  <a:pt x="307" y="900"/>
                </a:lnTo>
                <a:lnTo>
                  <a:pt x="302" y="901"/>
                </a:lnTo>
                <a:lnTo>
                  <a:pt x="297" y="902"/>
                </a:lnTo>
                <a:lnTo>
                  <a:pt x="293" y="903"/>
                </a:lnTo>
                <a:close/>
                <a:moveTo>
                  <a:pt x="309" y="1151"/>
                </a:moveTo>
                <a:lnTo>
                  <a:pt x="308" y="1151"/>
                </a:lnTo>
                <a:lnTo>
                  <a:pt x="308" y="1151"/>
                </a:lnTo>
                <a:lnTo>
                  <a:pt x="307" y="1151"/>
                </a:lnTo>
                <a:lnTo>
                  <a:pt x="307" y="1152"/>
                </a:lnTo>
                <a:lnTo>
                  <a:pt x="307" y="1151"/>
                </a:lnTo>
                <a:lnTo>
                  <a:pt x="308" y="1151"/>
                </a:lnTo>
                <a:lnTo>
                  <a:pt x="307" y="1149"/>
                </a:lnTo>
                <a:lnTo>
                  <a:pt x="307" y="1149"/>
                </a:lnTo>
                <a:lnTo>
                  <a:pt x="307" y="1149"/>
                </a:lnTo>
                <a:lnTo>
                  <a:pt x="308" y="1151"/>
                </a:lnTo>
                <a:lnTo>
                  <a:pt x="308" y="1151"/>
                </a:lnTo>
                <a:lnTo>
                  <a:pt x="309" y="1151"/>
                </a:lnTo>
                <a:close/>
                <a:moveTo>
                  <a:pt x="308" y="1197"/>
                </a:moveTo>
                <a:lnTo>
                  <a:pt x="308" y="1198"/>
                </a:lnTo>
                <a:lnTo>
                  <a:pt x="307" y="1198"/>
                </a:lnTo>
                <a:lnTo>
                  <a:pt x="308" y="1198"/>
                </a:lnTo>
                <a:lnTo>
                  <a:pt x="308" y="1197"/>
                </a:lnTo>
                <a:close/>
                <a:moveTo>
                  <a:pt x="301" y="1208"/>
                </a:move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1" y="1208"/>
                </a:lnTo>
                <a:lnTo>
                  <a:pt x="302" y="1203"/>
                </a:lnTo>
                <a:lnTo>
                  <a:pt x="302" y="1198"/>
                </a:lnTo>
                <a:lnTo>
                  <a:pt x="302" y="1203"/>
                </a:lnTo>
                <a:lnTo>
                  <a:pt x="301" y="1208"/>
                </a:lnTo>
                <a:close/>
                <a:moveTo>
                  <a:pt x="297" y="1223"/>
                </a:moveTo>
                <a:lnTo>
                  <a:pt x="293" y="1224"/>
                </a:lnTo>
                <a:lnTo>
                  <a:pt x="288" y="1228"/>
                </a:lnTo>
                <a:lnTo>
                  <a:pt x="283" y="1230"/>
                </a:lnTo>
                <a:lnTo>
                  <a:pt x="280" y="1233"/>
                </a:lnTo>
                <a:lnTo>
                  <a:pt x="283" y="1230"/>
                </a:lnTo>
                <a:lnTo>
                  <a:pt x="288" y="1228"/>
                </a:lnTo>
                <a:lnTo>
                  <a:pt x="293" y="1224"/>
                </a:lnTo>
                <a:lnTo>
                  <a:pt x="297" y="1223"/>
                </a:lnTo>
                <a:lnTo>
                  <a:pt x="297" y="1223"/>
                </a:lnTo>
                <a:lnTo>
                  <a:pt x="296" y="1219"/>
                </a:lnTo>
                <a:lnTo>
                  <a:pt x="296" y="1216"/>
                </a:lnTo>
                <a:lnTo>
                  <a:pt x="296" y="1219"/>
                </a:lnTo>
                <a:lnTo>
                  <a:pt x="297" y="1223"/>
                </a:lnTo>
                <a:lnTo>
                  <a:pt x="297" y="1223"/>
                </a:lnTo>
                <a:close/>
                <a:moveTo>
                  <a:pt x="279" y="1215"/>
                </a:moveTo>
                <a:lnTo>
                  <a:pt x="276" y="1217"/>
                </a:lnTo>
                <a:lnTo>
                  <a:pt x="273" y="1219"/>
                </a:lnTo>
                <a:lnTo>
                  <a:pt x="272" y="1218"/>
                </a:lnTo>
                <a:lnTo>
                  <a:pt x="272" y="1217"/>
                </a:lnTo>
                <a:lnTo>
                  <a:pt x="272" y="1215"/>
                </a:lnTo>
                <a:lnTo>
                  <a:pt x="273" y="1212"/>
                </a:lnTo>
                <a:lnTo>
                  <a:pt x="275" y="1211"/>
                </a:lnTo>
                <a:lnTo>
                  <a:pt x="278" y="1210"/>
                </a:lnTo>
                <a:lnTo>
                  <a:pt x="279" y="1212"/>
                </a:lnTo>
                <a:lnTo>
                  <a:pt x="279" y="1215"/>
                </a:lnTo>
                <a:lnTo>
                  <a:pt x="279" y="1215"/>
                </a:lnTo>
                <a:lnTo>
                  <a:pt x="280" y="1215"/>
                </a:lnTo>
                <a:lnTo>
                  <a:pt x="279" y="1215"/>
                </a:lnTo>
                <a:lnTo>
                  <a:pt x="279" y="1215"/>
                </a:lnTo>
                <a:close/>
                <a:moveTo>
                  <a:pt x="283" y="899"/>
                </a:move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lnTo>
                  <a:pt x="283" y="899"/>
                </a:lnTo>
                <a:close/>
                <a:moveTo>
                  <a:pt x="292" y="963"/>
                </a:moveTo>
                <a:lnTo>
                  <a:pt x="292" y="964"/>
                </a:lnTo>
                <a:lnTo>
                  <a:pt x="292" y="966"/>
                </a:lnTo>
                <a:lnTo>
                  <a:pt x="292" y="964"/>
                </a:lnTo>
                <a:lnTo>
                  <a:pt x="292" y="963"/>
                </a:lnTo>
                <a:lnTo>
                  <a:pt x="292" y="963"/>
                </a:lnTo>
                <a:close/>
                <a:moveTo>
                  <a:pt x="304" y="729"/>
                </a:moveTo>
                <a:lnTo>
                  <a:pt x="306" y="729"/>
                </a:lnTo>
                <a:lnTo>
                  <a:pt x="306" y="729"/>
                </a:lnTo>
                <a:lnTo>
                  <a:pt x="306" y="729"/>
                </a:lnTo>
                <a:lnTo>
                  <a:pt x="306" y="731"/>
                </a:lnTo>
                <a:lnTo>
                  <a:pt x="306" y="731"/>
                </a:lnTo>
                <a:lnTo>
                  <a:pt x="304" y="729"/>
                </a:lnTo>
                <a:lnTo>
                  <a:pt x="304" y="729"/>
                </a:lnTo>
                <a:lnTo>
                  <a:pt x="304" y="729"/>
                </a:lnTo>
                <a:close/>
                <a:moveTo>
                  <a:pt x="322" y="841"/>
                </a:moveTo>
                <a:lnTo>
                  <a:pt x="322" y="838"/>
                </a:lnTo>
                <a:lnTo>
                  <a:pt x="321" y="837"/>
                </a:lnTo>
                <a:lnTo>
                  <a:pt x="322" y="838"/>
                </a:lnTo>
                <a:lnTo>
                  <a:pt x="322" y="841"/>
                </a:lnTo>
                <a:lnTo>
                  <a:pt x="322" y="841"/>
                </a:lnTo>
                <a:close/>
                <a:moveTo>
                  <a:pt x="371" y="826"/>
                </a:moveTo>
                <a:lnTo>
                  <a:pt x="368" y="826"/>
                </a:lnTo>
                <a:lnTo>
                  <a:pt x="363" y="826"/>
                </a:lnTo>
                <a:lnTo>
                  <a:pt x="368" y="826"/>
                </a:lnTo>
                <a:lnTo>
                  <a:pt x="371" y="826"/>
                </a:lnTo>
                <a:close/>
                <a:moveTo>
                  <a:pt x="355" y="799"/>
                </a:moveTo>
                <a:lnTo>
                  <a:pt x="355" y="801"/>
                </a:lnTo>
                <a:lnTo>
                  <a:pt x="356" y="802"/>
                </a:lnTo>
                <a:lnTo>
                  <a:pt x="365" y="798"/>
                </a:lnTo>
                <a:lnTo>
                  <a:pt x="373" y="795"/>
                </a:lnTo>
                <a:lnTo>
                  <a:pt x="365" y="798"/>
                </a:lnTo>
                <a:lnTo>
                  <a:pt x="356" y="802"/>
                </a:lnTo>
                <a:lnTo>
                  <a:pt x="355" y="801"/>
                </a:lnTo>
                <a:lnTo>
                  <a:pt x="355" y="799"/>
                </a:lnTo>
                <a:lnTo>
                  <a:pt x="355" y="799"/>
                </a:lnTo>
                <a:close/>
                <a:moveTo>
                  <a:pt x="363" y="789"/>
                </a:moveTo>
                <a:lnTo>
                  <a:pt x="362" y="789"/>
                </a:lnTo>
                <a:lnTo>
                  <a:pt x="359" y="789"/>
                </a:lnTo>
                <a:lnTo>
                  <a:pt x="362" y="789"/>
                </a:lnTo>
                <a:lnTo>
                  <a:pt x="363" y="789"/>
                </a:lnTo>
                <a:close/>
                <a:moveTo>
                  <a:pt x="357" y="785"/>
                </a:moveTo>
                <a:lnTo>
                  <a:pt x="358" y="788"/>
                </a:lnTo>
                <a:lnTo>
                  <a:pt x="359" y="789"/>
                </a:lnTo>
                <a:lnTo>
                  <a:pt x="358" y="788"/>
                </a:lnTo>
                <a:lnTo>
                  <a:pt x="357" y="785"/>
                </a:lnTo>
                <a:close/>
                <a:moveTo>
                  <a:pt x="396" y="1082"/>
                </a:moveTo>
                <a:lnTo>
                  <a:pt x="394" y="1079"/>
                </a:lnTo>
                <a:lnTo>
                  <a:pt x="393" y="1076"/>
                </a:lnTo>
                <a:lnTo>
                  <a:pt x="394" y="1079"/>
                </a:lnTo>
                <a:lnTo>
                  <a:pt x="396" y="1082"/>
                </a:lnTo>
                <a:close/>
                <a:moveTo>
                  <a:pt x="399" y="1100"/>
                </a:moveTo>
                <a:lnTo>
                  <a:pt x="399" y="1099"/>
                </a:lnTo>
                <a:lnTo>
                  <a:pt x="399" y="1097"/>
                </a:lnTo>
                <a:lnTo>
                  <a:pt x="399" y="1099"/>
                </a:lnTo>
                <a:lnTo>
                  <a:pt x="399" y="1100"/>
                </a:lnTo>
                <a:close/>
                <a:moveTo>
                  <a:pt x="393" y="997"/>
                </a:move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3" y="997"/>
                </a:lnTo>
                <a:lnTo>
                  <a:pt x="397" y="994"/>
                </a:lnTo>
                <a:lnTo>
                  <a:pt x="399" y="992"/>
                </a:lnTo>
                <a:lnTo>
                  <a:pt x="397" y="994"/>
                </a:lnTo>
                <a:lnTo>
                  <a:pt x="393" y="997"/>
                </a:lnTo>
                <a:close/>
                <a:moveTo>
                  <a:pt x="390" y="987"/>
                </a:moveTo>
                <a:lnTo>
                  <a:pt x="394" y="977"/>
                </a:lnTo>
                <a:lnTo>
                  <a:pt x="400" y="966"/>
                </a:lnTo>
                <a:lnTo>
                  <a:pt x="400" y="966"/>
                </a:lnTo>
                <a:lnTo>
                  <a:pt x="394" y="977"/>
                </a:lnTo>
                <a:lnTo>
                  <a:pt x="390" y="987"/>
                </a:lnTo>
                <a:lnTo>
                  <a:pt x="387" y="988"/>
                </a:lnTo>
                <a:lnTo>
                  <a:pt x="385" y="990"/>
                </a:lnTo>
                <a:lnTo>
                  <a:pt x="387" y="988"/>
                </a:lnTo>
                <a:lnTo>
                  <a:pt x="390" y="987"/>
                </a:lnTo>
                <a:close/>
                <a:moveTo>
                  <a:pt x="397" y="817"/>
                </a:moveTo>
                <a:lnTo>
                  <a:pt x="392" y="817"/>
                </a:lnTo>
                <a:lnTo>
                  <a:pt x="386" y="818"/>
                </a:lnTo>
                <a:lnTo>
                  <a:pt x="392" y="817"/>
                </a:lnTo>
                <a:lnTo>
                  <a:pt x="397" y="817"/>
                </a:lnTo>
                <a:close/>
                <a:moveTo>
                  <a:pt x="403" y="1062"/>
                </a:moveTo>
                <a:lnTo>
                  <a:pt x="401" y="1063"/>
                </a:lnTo>
                <a:lnTo>
                  <a:pt x="399" y="1063"/>
                </a:lnTo>
                <a:lnTo>
                  <a:pt x="401" y="1063"/>
                </a:lnTo>
                <a:lnTo>
                  <a:pt x="403" y="1062"/>
                </a:lnTo>
                <a:close/>
                <a:moveTo>
                  <a:pt x="389" y="823"/>
                </a:moveTo>
                <a:lnTo>
                  <a:pt x="389" y="823"/>
                </a:lnTo>
                <a:lnTo>
                  <a:pt x="390" y="823"/>
                </a:lnTo>
                <a:lnTo>
                  <a:pt x="390" y="823"/>
                </a:lnTo>
                <a:lnTo>
                  <a:pt x="389" y="823"/>
                </a:lnTo>
                <a:lnTo>
                  <a:pt x="389" y="823"/>
                </a:lnTo>
                <a:close/>
                <a:moveTo>
                  <a:pt x="399" y="963"/>
                </a:moveTo>
                <a:lnTo>
                  <a:pt x="399" y="960"/>
                </a:lnTo>
                <a:lnTo>
                  <a:pt x="399" y="958"/>
                </a:lnTo>
                <a:lnTo>
                  <a:pt x="399" y="960"/>
                </a:lnTo>
                <a:lnTo>
                  <a:pt x="399" y="963"/>
                </a:lnTo>
                <a:lnTo>
                  <a:pt x="392" y="972"/>
                </a:lnTo>
                <a:lnTo>
                  <a:pt x="386" y="983"/>
                </a:lnTo>
                <a:lnTo>
                  <a:pt x="392" y="972"/>
                </a:lnTo>
                <a:lnTo>
                  <a:pt x="399" y="963"/>
                </a:lnTo>
                <a:close/>
                <a:moveTo>
                  <a:pt x="403" y="766"/>
                </a:moveTo>
                <a:lnTo>
                  <a:pt x="403" y="766"/>
                </a:lnTo>
                <a:lnTo>
                  <a:pt x="403" y="766"/>
                </a:lnTo>
                <a:lnTo>
                  <a:pt x="397" y="766"/>
                </a:lnTo>
                <a:lnTo>
                  <a:pt x="391" y="766"/>
                </a:lnTo>
                <a:lnTo>
                  <a:pt x="397" y="766"/>
                </a:lnTo>
                <a:lnTo>
                  <a:pt x="403" y="766"/>
                </a:lnTo>
                <a:close/>
                <a:moveTo>
                  <a:pt x="404" y="1058"/>
                </a:moveTo>
                <a:lnTo>
                  <a:pt x="403" y="1060"/>
                </a:lnTo>
                <a:lnTo>
                  <a:pt x="403" y="1062"/>
                </a:lnTo>
                <a:lnTo>
                  <a:pt x="403" y="1060"/>
                </a:lnTo>
                <a:lnTo>
                  <a:pt x="404" y="1058"/>
                </a:lnTo>
                <a:close/>
                <a:moveTo>
                  <a:pt x="412" y="818"/>
                </a:moveTo>
                <a:lnTo>
                  <a:pt x="413" y="818"/>
                </a:lnTo>
                <a:lnTo>
                  <a:pt x="413" y="818"/>
                </a:lnTo>
                <a:lnTo>
                  <a:pt x="413" y="818"/>
                </a:lnTo>
                <a:lnTo>
                  <a:pt x="412" y="818"/>
                </a:lnTo>
                <a:lnTo>
                  <a:pt x="408" y="822"/>
                </a:lnTo>
                <a:lnTo>
                  <a:pt x="405" y="822"/>
                </a:lnTo>
                <a:lnTo>
                  <a:pt x="408" y="822"/>
                </a:lnTo>
                <a:lnTo>
                  <a:pt x="412" y="818"/>
                </a:lnTo>
                <a:close/>
                <a:moveTo>
                  <a:pt x="417" y="819"/>
                </a:moveTo>
                <a:lnTo>
                  <a:pt x="420" y="817"/>
                </a:lnTo>
                <a:lnTo>
                  <a:pt x="424" y="817"/>
                </a:lnTo>
                <a:lnTo>
                  <a:pt x="420" y="817"/>
                </a:lnTo>
                <a:lnTo>
                  <a:pt x="417" y="819"/>
                </a:lnTo>
                <a:lnTo>
                  <a:pt x="417" y="819"/>
                </a:lnTo>
                <a:lnTo>
                  <a:pt x="415" y="820"/>
                </a:lnTo>
                <a:lnTo>
                  <a:pt x="417" y="819"/>
                </a:lnTo>
                <a:lnTo>
                  <a:pt x="417" y="819"/>
                </a:lnTo>
                <a:close/>
                <a:moveTo>
                  <a:pt x="408" y="868"/>
                </a:moveTo>
                <a:lnTo>
                  <a:pt x="415" y="864"/>
                </a:lnTo>
                <a:lnTo>
                  <a:pt x="423" y="858"/>
                </a:lnTo>
                <a:lnTo>
                  <a:pt x="415" y="864"/>
                </a:lnTo>
                <a:lnTo>
                  <a:pt x="408" y="868"/>
                </a:lnTo>
                <a:close/>
                <a:moveTo>
                  <a:pt x="414" y="941"/>
                </a:moveTo>
                <a:lnTo>
                  <a:pt x="415" y="939"/>
                </a:lnTo>
                <a:lnTo>
                  <a:pt x="417" y="938"/>
                </a:lnTo>
                <a:lnTo>
                  <a:pt x="415" y="939"/>
                </a:lnTo>
                <a:lnTo>
                  <a:pt x="414" y="941"/>
                </a:lnTo>
                <a:lnTo>
                  <a:pt x="414" y="941"/>
                </a:lnTo>
                <a:close/>
                <a:moveTo>
                  <a:pt x="412" y="942"/>
                </a:moveTo>
                <a:lnTo>
                  <a:pt x="411" y="945"/>
                </a:lnTo>
                <a:lnTo>
                  <a:pt x="410" y="949"/>
                </a:lnTo>
                <a:lnTo>
                  <a:pt x="411" y="945"/>
                </a:lnTo>
                <a:lnTo>
                  <a:pt x="412" y="942"/>
                </a:lnTo>
                <a:lnTo>
                  <a:pt x="413" y="938"/>
                </a:lnTo>
                <a:lnTo>
                  <a:pt x="413" y="934"/>
                </a:lnTo>
                <a:lnTo>
                  <a:pt x="413" y="938"/>
                </a:lnTo>
                <a:lnTo>
                  <a:pt x="412" y="942"/>
                </a:lnTo>
                <a:lnTo>
                  <a:pt x="412" y="942"/>
                </a:lnTo>
                <a:close/>
                <a:moveTo>
                  <a:pt x="408" y="1055"/>
                </a:moveTo>
                <a:lnTo>
                  <a:pt x="407" y="1056"/>
                </a:lnTo>
                <a:lnTo>
                  <a:pt x="407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6" y="1057"/>
                </a:lnTo>
                <a:lnTo>
                  <a:pt x="407" y="1057"/>
                </a:lnTo>
                <a:lnTo>
                  <a:pt x="407" y="1056"/>
                </a:lnTo>
                <a:lnTo>
                  <a:pt x="408" y="1055"/>
                </a:lnTo>
                <a:close/>
                <a:moveTo>
                  <a:pt x="414" y="1048"/>
                </a:moveTo>
                <a:lnTo>
                  <a:pt x="412" y="1050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0" y="1054"/>
                </a:lnTo>
                <a:lnTo>
                  <a:pt x="412" y="1050"/>
                </a:lnTo>
                <a:lnTo>
                  <a:pt x="414" y="1048"/>
                </a:lnTo>
                <a:close/>
                <a:moveTo>
                  <a:pt x="413" y="1000"/>
                </a:moveTo>
                <a:lnTo>
                  <a:pt x="414" y="999"/>
                </a:lnTo>
                <a:lnTo>
                  <a:pt x="415" y="998"/>
                </a:lnTo>
                <a:lnTo>
                  <a:pt x="414" y="999"/>
                </a:lnTo>
                <a:lnTo>
                  <a:pt x="413" y="1000"/>
                </a:lnTo>
                <a:lnTo>
                  <a:pt x="415" y="1001"/>
                </a:lnTo>
                <a:lnTo>
                  <a:pt x="414" y="1004"/>
                </a:lnTo>
                <a:lnTo>
                  <a:pt x="415" y="1001"/>
                </a:lnTo>
                <a:lnTo>
                  <a:pt x="413" y="1000"/>
                </a:lnTo>
                <a:close/>
                <a:moveTo>
                  <a:pt x="419" y="1043"/>
                </a:moveTo>
                <a:lnTo>
                  <a:pt x="418" y="1046"/>
                </a:lnTo>
                <a:lnTo>
                  <a:pt x="417" y="1048"/>
                </a:lnTo>
                <a:lnTo>
                  <a:pt x="417" y="1048"/>
                </a:lnTo>
                <a:lnTo>
                  <a:pt x="417" y="1048"/>
                </a:lnTo>
                <a:lnTo>
                  <a:pt x="418" y="1046"/>
                </a:lnTo>
                <a:lnTo>
                  <a:pt x="419" y="1043"/>
                </a:lnTo>
                <a:close/>
                <a:moveTo>
                  <a:pt x="407" y="985"/>
                </a:moveTo>
                <a:lnTo>
                  <a:pt x="407" y="985"/>
                </a:lnTo>
                <a:lnTo>
                  <a:pt x="411" y="984"/>
                </a:lnTo>
                <a:lnTo>
                  <a:pt x="414" y="981"/>
                </a:lnTo>
                <a:lnTo>
                  <a:pt x="418" y="978"/>
                </a:lnTo>
                <a:lnTo>
                  <a:pt x="420" y="974"/>
                </a:lnTo>
                <a:lnTo>
                  <a:pt x="418" y="978"/>
                </a:lnTo>
                <a:lnTo>
                  <a:pt x="414" y="981"/>
                </a:lnTo>
                <a:lnTo>
                  <a:pt x="411" y="984"/>
                </a:lnTo>
                <a:lnTo>
                  <a:pt x="407" y="985"/>
                </a:lnTo>
                <a:close/>
                <a:moveTo>
                  <a:pt x="437" y="1028"/>
                </a:moveTo>
                <a:lnTo>
                  <a:pt x="435" y="1028"/>
                </a:lnTo>
                <a:lnTo>
                  <a:pt x="437" y="1028"/>
                </a:lnTo>
                <a:lnTo>
                  <a:pt x="437" y="1027"/>
                </a:lnTo>
                <a:lnTo>
                  <a:pt x="438" y="1025"/>
                </a:lnTo>
                <a:lnTo>
                  <a:pt x="437" y="1027"/>
                </a:lnTo>
                <a:lnTo>
                  <a:pt x="437" y="1028"/>
                </a:lnTo>
                <a:close/>
                <a:moveTo>
                  <a:pt x="438" y="1062"/>
                </a:moveTo>
                <a:lnTo>
                  <a:pt x="437" y="1063"/>
                </a:lnTo>
                <a:lnTo>
                  <a:pt x="438" y="1065"/>
                </a:lnTo>
                <a:lnTo>
                  <a:pt x="437" y="1063"/>
                </a:lnTo>
                <a:lnTo>
                  <a:pt x="438" y="1062"/>
                </a:lnTo>
                <a:close/>
                <a:moveTo>
                  <a:pt x="441" y="1023"/>
                </a:moveTo>
                <a:lnTo>
                  <a:pt x="441" y="1023"/>
                </a:lnTo>
                <a:lnTo>
                  <a:pt x="441" y="1023"/>
                </a:lnTo>
                <a:lnTo>
                  <a:pt x="441" y="1023"/>
                </a:lnTo>
                <a:close/>
                <a:moveTo>
                  <a:pt x="449" y="937"/>
                </a:moveTo>
                <a:lnTo>
                  <a:pt x="449" y="937"/>
                </a:lnTo>
                <a:lnTo>
                  <a:pt x="448" y="941"/>
                </a:lnTo>
                <a:lnTo>
                  <a:pt x="446" y="943"/>
                </a:lnTo>
                <a:lnTo>
                  <a:pt x="448" y="941"/>
                </a:lnTo>
                <a:lnTo>
                  <a:pt x="449" y="937"/>
                </a:lnTo>
                <a:lnTo>
                  <a:pt x="449" y="937"/>
                </a:lnTo>
                <a:lnTo>
                  <a:pt x="449" y="937"/>
                </a:lnTo>
                <a:close/>
                <a:moveTo>
                  <a:pt x="521" y="958"/>
                </a:moveTo>
                <a:lnTo>
                  <a:pt x="523" y="958"/>
                </a:lnTo>
                <a:lnTo>
                  <a:pt x="524" y="958"/>
                </a:lnTo>
                <a:lnTo>
                  <a:pt x="524" y="958"/>
                </a:lnTo>
                <a:lnTo>
                  <a:pt x="523" y="958"/>
                </a:lnTo>
                <a:lnTo>
                  <a:pt x="521" y="958"/>
                </a:lnTo>
                <a:close/>
                <a:moveTo>
                  <a:pt x="496" y="962"/>
                </a:moveTo>
                <a:lnTo>
                  <a:pt x="495" y="962"/>
                </a:lnTo>
                <a:lnTo>
                  <a:pt x="494" y="962"/>
                </a:lnTo>
                <a:lnTo>
                  <a:pt x="492" y="962"/>
                </a:lnTo>
                <a:lnTo>
                  <a:pt x="489" y="964"/>
                </a:lnTo>
                <a:lnTo>
                  <a:pt x="492" y="962"/>
                </a:lnTo>
                <a:lnTo>
                  <a:pt x="494" y="962"/>
                </a:lnTo>
                <a:lnTo>
                  <a:pt x="499" y="953"/>
                </a:lnTo>
                <a:lnTo>
                  <a:pt x="506" y="946"/>
                </a:lnTo>
                <a:lnTo>
                  <a:pt x="499" y="953"/>
                </a:lnTo>
                <a:lnTo>
                  <a:pt x="494" y="962"/>
                </a:lnTo>
                <a:lnTo>
                  <a:pt x="495" y="962"/>
                </a:lnTo>
                <a:lnTo>
                  <a:pt x="496" y="962"/>
                </a:lnTo>
                <a:close/>
                <a:moveTo>
                  <a:pt x="488" y="915"/>
                </a:moveTo>
                <a:lnTo>
                  <a:pt x="488" y="914"/>
                </a:lnTo>
                <a:lnTo>
                  <a:pt x="489" y="914"/>
                </a:lnTo>
                <a:lnTo>
                  <a:pt x="497" y="911"/>
                </a:lnTo>
                <a:lnTo>
                  <a:pt x="506" y="909"/>
                </a:lnTo>
                <a:lnTo>
                  <a:pt x="497" y="911"/>
                </a:lnTo>
                <a:lnTo>
                  <a:pt x="489" y="914"/>
                </a:lnTo>
                <a:lnTo>
                  <a:pt x="488" y="914"/>
                </a:lnTo>
                <a:lnTo>
                  <a:pt x="488" y="915"/>
                </a:lnTo>
                <a:close/>
                <a:moveTo>
                  <a:pt x="522" y="928"/>
                </a:moveTo>
                <a:lnTo>
                  <a:pt x="513" y="934"/>
                </a:lnTo>
                <a:lnTo>
                  <a:pt x="503" y="938"/>
                </a:lnTo>
                <a:lnTo>
                  <a:pt x="495" y="944"/>
                </a:lnTo>
                <a:lnTo>
                  <a:pt x="486" y="949"/>
                </a:lnTo>
                <a:lnTo>
                  <a:pt x="495" y="944"/>
                </a:lnTo>
                <a:lnTo>
                  <a:pt x="503" y="938"/>
                </a:lnTo>
                <a:lnTo>
                  <a:pt x="513" y="934"/>
                </a:lnTo>
                <a:lnTo>
                  <a:pt x="522" y="928"/>
                </a:lnTo>
                <a:close/>
                <a:moveTo>
                  <a:pt x="476" y="987"/>
                </a:moveTo>
                <a:lnTo>
                  <a:pt x="476" y="987"/>
                </a:lnTo>
                <a:lnTo>
                  <a:pt x="487" y="983"/>
                </a:lnTo>
                <a:lnTo>
                  <a:pt x="497" y="977"/>
                </a:lnTo>
                <a:lnTo>
                  <a:pt x="487" y="983"/>
                </a:lnTo>
                <a:lnTo>
                  <a:pt x="476" y="987"/>
                </a:lnTo>
                <a:close/>
                <a:moveTo>
                  <a:pt x="480" y="993"/>
                </a:moveTo>
                <a:lnTo>
                  <a:pt x="476" y="994"/>
                </a:lnTo>
                <a:lnTo>
                  <a:pt x="474" y="995"/>
                </a:lnTo>
                <a:lnTo>
                  <a:pt x="470" y="997"/>
                </a:lnTo>
                <a:lnTo>
                  <a:pt x="467" y="997"/>
                </a:lnTo>
                <a:lnTo>
                  <a:pt x="470" y="997"/>
                </a:lnTo>
                <a:lnTo>
                  <a:pt x="474" y="995"/>
                </a:lnTo>
                <a:lnTo>
                  <a:pt x="476" y="994"/>
                </a:lnTo>
                <a:lnTo>
                  <a:pt x="480" y="993"/>
                </a:lnTo>
                <a:lnTo>
                  <a:pt x="480" y="993"/>
                </a:lnTo>
                <a:close/>
                <a:moveTo>
                  <a:pt x="465" y="951"/>
                </a:moveTo>
                <a:lnTo>
                  <a:pt x="474" y="944"/>
                </a:lnTo>
                <a:lnTo>
                  <a:pt x="482" y="936"/>
                </a:lnTo>
                <a:lnTo>
                  <a:pt x="474" y="944"/>
                </a:lnTo>
                <a:lnTo>
                  <a:pt x="465" y="951"/>
                </a:lnTo>
                <a:lnTo>
                  <a:pt x="465" y="952"/>
                </a:lnTo>
                <a:lnTo>
                  <a:pt x="463" y="952"/>
                </a:lnTo>
                <a:lnTo>
                  <a:pt x="465" y="952"/>
                </a:lnTo>
                <a:lnTo>
                  <a:pt x="465" y="951"/>
                </a:lnTo>
                <a:close/>
                <a:moveTo>
                  <a:pt x="463" y="913"/>
                </a:moveTo>
                <a:lnTo>
                  <a:pt x="467" y="911"/>
                </a:lnTo>
                <a:lnTo>
                  <a:pt x="470" y="910"/>
                </a:lnTo>
                <a:lnTo>
                  <a:pt x="473" y="908"/>
                </a:lnTo>
                <a:lnTo>
                  <a:pt x="475" y="906"/>
                </a:lnTo>
                <a:lnTo>
                  <a:pt x="476" y="904"/>
                </a:lnTo>
                <a:lnTo>
                  <a:pt x="476" y="903"/>
                </a:lnTo>
                <a:lnTo>
                  <a:pt x="476" y="904"/>
                </a:lnTo>
                <a:lnTo>
                  <a:pt x="475" y="906"/>
                </a:lnTo>
                <a:lnTo>
                  <a:pt x="473" y="908"/>
                </a:lnTo>
                <a:lnTo>
                  <a:pt x="470" y="910"/>
                </a:lnTo>
                <a:lnTo>
                  <a:pt x="467" y="911"/>
                </a:lnTo>
                <a:lnTo>
                  <a:pt x="463" y="913"/>
                </a:lnTo>
                <a:close/>
                <a:moveTo>
                  <a:pt x="460" y="917"/>
                </a:moveTo>
                <a:lnTo>
                  <a:pt x="459" y="916"/>
                </a:lnTo>
                <a:lnTo>
                  <a:pt x="459" y="915"/>
                </a:lnTo>
                <a:lnTo>
                  <a:pt x="460" y="914"/>
                </a:lnTo>
                <a:lnTo>
                  <a:pt x="462" y="914"/>
                </a:lnTo>
                <a:lnTo>
                  <a:pt x="460" y="914"/>
                </a:lnTo>
                <a:lnTo>
                  <a:pt x="459" y="915"/>
                </a:lnTo>
                <a:lnTo>
                  <a:pt x="459" y="916"/>
                </a:lnTo>
                <a:lnTo>
                  <a:pt x="460" y="917"/>
                </a:lnTo>
                <a:close/>
                <a:moveTo>
                  <a:pt x="458" y="957"/>
                </a:moveTo>
                <a:lnTo>
                  <a:pt x="455" y="959"/>
                </a:lnTo>
                <a:lnTo>
                  <a:pt x="454" y="962"/>
                </a:lnTo>
                <a:lnTo>
                  <a:pt x="452" y="960"/>
                </a:lnTo>
                <a:lnTo>
                  <a:pt x="451" y="959"/>
                </a:lnTo>
                <a:lnTo>
                  <a:pt x="452" y="960"/>
                </a:lnTo>
                <a:lnTo>
                  <a:pt x="454" y="962"/>
                </a:lnTo>
                <a:lnTo>
                  <a:pt x="455" y="959"/>
                </a:lnTo>
                <a:lnTo>
                  <a:pt x="458" y="957"/>
                </a:lnTo>
                <a:close/>
                <a:moveTo>
                  <a:pt x="453" y="934"/>
                </a:moveTo>
                <a:lnTo>
                  <a:pt x="453" y="934"/>
                </a:lnTo>
                <a:lnTo>
                  <a:pt x="452" y="936"/>
                </a:lnTo>
                <a:lnTo>
                  <a:pt x="452" y="937"/>
                </a:lnTo>
                <a:lnTo>
                  <a:pt x="452" y="936"/>
                </a:lnTo>
                <a:lnTo>
                  <a:pt x="452" y="934"/>
                </a:lnTo>
                <a:lnTo>
                  <a:pt x="453" y="934"/>
                </a:lnTo>
                <a:lnTo>
                  <a:pt x="453" y="934"/>
                </a:lnTo>
                <a:lnTo>
                  <a:pt x="460" y="929"/>
                </a:lnTo>
                <a:lnTo>
                  <a:pt x="467" y="923"/>
                </a:lnTo>
                <a:lnTo>
                  <a:pt x="460" y="929"/>
                </a:lnTo>
                <a:lnTo>
                  <a:pt x="453" y="934"/>
                </a:lnTo>
                <a:close/>
                <a:moveTo>
                  <a:pt x="507" y="1410"/>
                </a:moveTo>
                <a:lnTo>
                  <a:pt x="507" y="1410"/>
                </a:lnTo>
                <a:lnTo>
                  <a:pt x="506" y="1410"/>
                </a:lnTo>
                <a:lnTo>
                  <a:pt x="506" y="1411"/>
                </a:lnTo>
                <a:lnTo>
                  <a:pt x="506" y="1410"/>
                </a:lnTo>
                <a:lnTo>
                  <a:pt x="507" y="1410"/>
                </a:lnTo>
                <a:close/>
                <a:moveTo>
                  <a:pt x="499" y="1006"/>
                </a:moveTo>
                <a:lnTo>
                  <a:pt x="509" y="998"/>
                </a:lnTo>
                <a:lnTo>
                  <a:pt x="520" y="990"/>
                </a:lnTo>
                <a:lnTo>
                  <a:pt x="520" y="988"/>
                </a:lnTo>
                <a:lnTo>
                  <a:pt x="522" y="987"/>
                </a:lnTo>
                <a:lnTo>
                  <a:pt x="520" y="988"/>
                </a:lnTo>
                <a:lnTo>
                  <a:pt x="520" y="990"/>
                </a:lnTo>
                <a:lnTo>
                  <a:pt x="509" y="998"/>
                </a:lnTo>
                <a:lnTo>
                  <a:pt x="499" y="1006"/>
                </a:lnTo>
                <a:close/>
                <a:moveTo>
                  <a:pt x="524" y="985"/>
                </a:moveTo>
                <a:lnTo>
                  <a:pt x="524" y="984"/>
                </a:lnTo>
                <a:lnTo>
                  <a:pt x="525" y="981"/>
                </a:lnTo>
                <a:lnTo>
                  <a:pt x="524" y="984"/>
                </a:lnTo>
                <a:lnTo>
                  <a:pt x="524" y="985"/>
                </a:lnTo>
                <a:close/>
                <a:moveTo>
                  <a:pt x="465" y="819"/>
                </a:moveTo>
                <a:lnTo>
                  <a:pt x="462" y="815"/>
                </a:lnTo>
                <a:lnTo>
                  <a:pt x="459" y="811"/>
                </a:lnTo>
                <a:lnTo>
                  <a:pt x="458" y="809"/>
                </a:lnTo>
                <a:lnTo>
                  <a:pt x="456" y="808"/>
                </a:lnTo>
                <a:lnTo>
                  <a:pt x="458" y="805"/>
                </a:lnTo>
                <a:lnTo>
                  <a:pt x="461" y="803"/>
                </a:lnTo>
                <a:lnTo>
                  <a:pt x="486" y="796"/>
                </a:lnTo>
                <a:lnTo>
                  <a:pt x="511" y="788"/>
                </a:lnTo>
                <a:lnTo>
                  <a:pt x="536" y="780"/>
                </a:lnTo>
                <a:lnTo>
                  <a:pt x="561" y="770"/>
                </a:lnTo>
                <a:lnTo>
                  <a:pt x="569" y="769"/>
                </a:lnTo>
                <a:lnTo>
                  <a:pt x="576" y="766"/>
                </a:lnTo>
                <a:lnTo>
                  <a:pt x="578" y="766"/>
                </a:lnTo>
                <a:lnTo>
                  <a:pt x="580" y="766"/>
                </a:lnTo>
                <a:lnTo>
                  <a:pt x="583" y="767"/>
                </a:lnTo>
                <a:lnTo>
                  <a:pt x="584" y="769"/>
                </a:lnTo>
                <a:lnTo>
                  <a:pt x="585" y="774"/>
                </a:lnTo>
                <a:lnTo>
                  <a:pt x="589" y="778"/>
                </a:lnTo>
                <a:lnTo>
                  <a:pt x="591" y="782"/>
                </a:lnTo>
                <a:lnTo>
                  <a:pt x="592" y="785"/>
                </a:lnTo>
                <a:lnTo>
                  <a:pt x="591" y="789"/>
                </a:lnTo>
                <a:lnTo>
                  <a:pt x="589" y="792"/>
                </a:lnTo>
                <a:lnTo>
                  <a:pt x="587" y="795"/>
                </a:lnTo>
                <a:lnTo>
                  <a:pt x="586" y="798"/>
                </a:lnTo>
                <a:lnTo>
                  <a:pt x="586" y="801"/>
                </a:lnTo>
                <a:lnTo>
                  <a:pt x="587" y="803"/>
                </a:lnTo>
                <a:lnTo>
                  <a:pt x="589" y="809"/>
                </a:lnTo>
                <a:lnTo>
                  <a:pt x="587" y="813"/>
                </a:lnTo>
                <a:lnTo>
                  <a:pt x="587" y="818"/>
                </a:lnTo>
                <a:lnTo>
                  <a:pt x="585" y="823"/>
                </a:lnTo>
                <a:lnTo>
                  <a:pt x="579" y="830"/>
                </a:lnTo>
                <a:lnTo>
                  <a:pt x="571" y="836"/>
                </a:lnTo>
                <a:lnTo>
                  <a:pt x="555" y="847"/>
                </a:lnTo>
                <a:lnTo>
                  <a:pt x="539" y="859"/>
                </a:lnTo>
                <a:lnTo>
                  <a:pt x="524" y="871"/>
                </a:lnTo>
                <a:lnTo>
                  <a:pt x="509" y="882"/>
                </a:lnTo>
                <a:lnTo>
                  <a:pt x="507" y="885"/>
                </a:lnTo>
                <a:lnTo>
                  <a:pt x="503" y="886"/>
                </a:lnTo>
                <a:lnTo>
                  <a:pt x="504" y="889"/>
                </a:lnTo>
                <a:lnTo>
                  <a:pt x="506" y="894"/>
                </a:lnTo>
                <a:lnTo>
                  <a:pt x="504" y="889"/>
                </a:lnTo>
                <a:lnTo>
                  <a:pt x="503" y="886"/>
                </a:lnTo>
                <a:lnTo>
                  <a:pt x="500" y="880"/>
                </a:lnTo>
                <a:lnTo>
                  <a:pt x="499" y="874"/>
                </a:lnTo>
                <a:lnTo>
                  <a:pt x="493" y="862"/>
                </a:lnTo>
                <a:lnTo>
                  <a:pt x="486" y="852"/>
                </a:lnTo>
                <a:lnTo>
                  <a:pt x="477" y="850"/>
                </a:lnTo>
                <a:lnTo>
                  <a:pt x="469" y="846"/>
                </a:lnTo>
                <a:lnTo>
                  <a:pt x="477" y="850"/>
                </a:lnTo>
                <a:lnTo>
                  <a:pt x="486" y="852"/>
                </a:lnTo>
                <a:lnTo>
                  <a:pt x="486" y="852"/>
                </a:lnTo>
                <a:lnTo>
                  <a:pt x="486" y="851"/>
                </a:lnTo>
                <a:lnTo>
                  <a:pt x="486" y="845"/>
                </a:lnTo>
                <a:lnTo>
                  <a:pt x="486" y="840"/>
                </a:lnTo>
                <a:lnTo>
                  <a:pt x="483" y="836"/>
                </a:lnTo>
                <a:lnTo>
                  <a:pt x="482" y="832"/>
                </a:lnTo>
                <a:lnTo>
                  <a:pt x="479" y="827"/>
                </a:lnTo>
                <a:lnTo>
                  <a:pt x="475" y="825"/>
                </a:lnTo>
                <a:lnTo>
                  <a:pt x="470" y="822"/>
                </a:lnTo>
                <a:lnTo>
                  <a:pt x="465" y="819"/>
                </a:lnTo>
                <a:lnTo>
                  <a:pt x="447" y="817"/>
                </a:lnTo>
                <a:lnTo>
                  <a:pt x="431" y="817"/>
                </a:lnTo>
                <a:lnTo>
                  <a:pt x="447" y="817"/>
                </a:lnTo>
                <a:lnTo>
                  <a:pt x="465" y="819"/>
                </a:lnTo>
                <a:lnTo>
                  <a:pt x="465" y="819"/>
                </a:lnTo>
                <a:close/>
                <a:moveTo>
                  <a:pt x="576" y="688"/>
                </a:moveTo>
                <a:lnTo>
                  <a:pt x="577" y="684"/>
                </a:lnTo>
                <a:lnTo>
                  <a:pt x="578" y="679"/>
                </a:lnTo>
                <a:lnTo>
                  <a:pt x="577" y="684"/>
                </a:lnTo>
                <a:lnTo>
                  <a:pt x="576" y="688"/>
                </a:lnTo>
                <a:lnTo>
                  <a:pt x="575" y="691"/>
                </a:lnTo>
                <a:lnTo>
                  <a:pt x="575" y="694"/>
                </a:lnTo>
                <a:lnTo>
                  <a:pt x="575" y="691"/>
                </a:lnTo>
                <a:lnTo>
                  <a:pt x="576" y="688"/>
                </a:lnTo>
                <a:close/>
                <a:moveTo>
                  <a:pt x="576" y="694"/>
                </a:moveTo>
                <a:lnTo>
                  <a:pt x="576" y="698"/>
                </a:lnTo>
                <a:lnTo>
                  <a:pt x="577" y="700"/>
                </a:lnTo>
                <a:lnTo>
                  <a:pt x="576" y="698"/>
                </a:lnTo>
                <a:lnTo>
                  <a:pt x="576" y="694"/>
                </a:lnTo>
                <a:close/>
                <a:moveTo>
                  <a:pt x="579" y="695"/>
                </a:moveTo>
                <a:lnTo>
                  <a:pt x="579" y="695"/>
                </a:lnTo>
                <a:lnTo>
                  <a:pt x="578" y="697"/>
                </a:lnTo>
                <a:lnTo>
                  <a:pt x="577" y="699"/>
                </a:lnTo>
                <a:lnTo>
                  <a:pt x="577" y="701"/>
                </a:lnTo>
                <a:lnTo>
                  <a:pt x="577" y="709"/>
                </a:lnTo>
                <a:lnTo>
                  <a:pt x="576" y="719"/>
                </a:lnTo>
                <a:lnTo>
                  <a:pt x="576" y="728"/>
                </a:lnTo>
                <a:lnTo>
                  <a:pt x="575" y="736"/>
                </a:lnTo>
                <a:lnTo>
                  <a:pt x="576" y="728"/>
                </a:lnTo>
                <a:lnTo>
                  <a:pt x="576" y="719"/>
                </a:lnTo>
                <a:lnTo>
                  <a:pt x="577" y="709"/>
                </a:lnTo>
                <a:lnTo>
                  <a:pt x="577" y="701"/>
                </a:lnTo>
                <a:lnTo>
                  <a:pt x="577" y="699"/>
                </a:lnTo>
                <a:lnTo>
                  <a:pt x="578" y="697"/>
                </a:lnTo>
                <a:lnTo>
                  <a:pt x="579" y="695"/>
                </a:lnTo>
                <a:lnTo>
                  <a:pt x="579" y="695"/>
                </a:lnTo>
                <a:lnTo>
                  <a:pt x="579" y="695"/>
                </a:lnTo>
                <a:close/>
                <a:moveTo>
                  <a:pt x="597" y="631"/>
                </a:moveTo>
                <a:lnTo>
                  <a:pt x="597" y="632"/>
                </a:lnTo>
                <a:lnTo>
                  <a:pt x="598" y="632"/>
                </a:lnTo>
                <a:lnTo>
                  <a:pt x="597" y="632"/>
                </a:lnTo>
                <a:lnTo>
                  <a:pt x="597" y="631"/>
                </a:lnTo>
                <a:lnTo>
                  <a:pt x="596" y="632"/>
                </a:lnTo>
                <a:lnTo>
                  <a:pt x="594" y="634"/>
                </a:lnTo>
                <a:lnTo>
                  <a:pt x="596" y="632"/>
                </a:lnTo>
                <a:lnTo>
                  <a:pt x="597" y="631"/>
                </a:lnTo>
                <a:close/>
                <a:moveTo>
                  <a:pt x="611" y="622"/>
                </a:moveTo>
                <a:lnTo>
                  <a:pt x="611" y="625"/>
                </a:lnTo>
                <a:lnTo>
                  <a:pt x="610" y="629"/>
                </a:lnTo>
                <a:lnTo>
                  <a:pt x="611" y="625"/>
                </a:lnTo>
                <a:lnTo>
                  <a:pt x="611" y="622"/>
                </a:lnTo>
                <a:lnTo>
                  <a:pt x="611" y="622"/>
                </a:lnTo>
                <a:close/>
                <a:moveTo>
                  <a:pt x="618" y="606"/>
                </a:moveTo>
                <a:lnTo>
                  <a:pt x="618" y="604"/>
                </a:lnTo>
                <a:lnTo>
                  <a:pt x="619" y="603"/>
                </a:lnTo>
                <a:lnTo>
                  <a:pt x="618" y="604"/>
                </a:lnTo>
                <a:lnTo>
                  <a:pt x="618" y="606"/>
                </a:lnTo>
                <a:lnTo>
                  <a:pt x="614" y="610"/>
                </a:lnTo>
                <a:lnTo>
                  <a:pt x="611" y="613"/>
                </a:lnTo>
                <a:lnTo>
                  <a:pt x="614" y="610"/>
                </a:lnTo>
                <a:lnTo>
                  <a:pt x="618" y="606"/>
                </a:lnTo>
                <a:lnTo>
                  <a:pt x="618" y="606"/>
                </a:lnTo>
                <a:close/>
                <a:moveTo>
                  <a:pt x="626" y="600"/>
                </a:moveTo>
                <a:lnTo>
                  <a:pt x="627" y="601"/>
                </a:lnTo>
                <a:lnTo>
                  <a:pt x="628" y="602"/>
                </a:lnTo>
                <a:lnTo>
                  <a:pt x="627" y="601"/>
                </a:lnTo>
                <a:lnTo>
                  <a:pt x="626" y="600"/>
                </a:lnTo>
                <a:lnTo>
                  <a:pt x="625" y="600"/>
                </a:lnTo>
                <a:lnTo>
                  <a:pt x="622" y="600"/>
                </a:lnTo>
                <a:lnTo>
                  <a:pt x="625" y="600"/>
                </a:lnTo>
                <a:lnTo>
                  <a:pt x="626" y="600"/>
                </a:lnTo>
                <a:close/>
                <a:moveTo>
                  <a:pt x="627" y="583"/>
                </a:moveTo>
                <a:lnTo>
                  <a:pt x="626" y="583"/>
                </a:lnTo>
                <a:lnTo>
                  <a:pt x="626" y="585"/>
                </a:lnTo>
                <a:lnTo>
                  <a:pt x="626" y="583"/>
                </a:lnTo>
                <a:lnTo>
                  <a:pt x="627" y="583"/>
                </a:lnTo>
                <a:close/>
                <a:moveTo>
                  <a:pt x="631" y="582"/>
                </a:moveTo>
                <a:lnTo>
                  <a:pt x="629" y="579"/>
                </a:lnTo>
                <a:lnTo>
                  <a:pt x="629" y="574"/>
                </a:lnTo>
                <a:lnTo>
                  <a:pt x="629" y="579"/>
                </a:lnTo>
                <a:lnTo>
                  <a:pt x="631" y="582"/>
                </a:lnTo>
                <a:close/>
                <a:moveTo>
                  <a:pt x="631" y="566"/>
                </a:moveTo>
                <a:lnTo>
                  <a:pt x="629" y="569"/>
                </a:lnTo>
                <a:lnTo>
                  <a:pt x="629" y="574"/>
                </a:lnTo>
                <a:lnTo>
                  <a:pt x="629" y="569"/>
                </a:lnTo>
                <a:lnTo>
                  <a:pt x="631" y="566"/>
                </a:lnTo>
                <a:close/>
                <a:moveTo>
                  <a:pt x="632" y="586"/>
                </a:moveTo>
                <a:lnTo>
                  <a:pt x="634" y="587"/>
                </a:lnTo>
                <a:lnTo>
                  <a:pt x="637" y="587"/>
                </a:lnTo>
                <a:lnTo>
                  <a:pt x="634" y="587"/>
                </a:lnTo>
                <a:lnTo>
                  <a:pt x="632" y="586"/>
                </a:lnTo>
                <a:lnTo>
                  <a:pt x="632" y="585"/>
                </a:lnTo>
                <a:lnTo>
                  <a:pt x="631" y="583"/>
                </a:lnTo>
                <a:lnTo>
                  <a:pt x="632" y="585"/>
                </a:lnTo>
                <a:lnTo>
                  <a:pt x="632" y="586"/>
                </a:lnTo>
                <a:close/>
                <a:moveTo>
                  <a:pt x="640" y="846"/>
                </a:moveTo>
                <a:lnTo>
                  <a:pt x="644" y="847"/>
                </a:lnTo>
                <a:lnTo>
                  <a:pt x="646" y="847"/>
                </a:lnTo>
                <a:lnTo>
                  <a:pt x="644" y="847"/>
                </a:lnTo>
                <a:lnTo>
                  <a:pt x="640" y="846"/>
                </a:lnTo>
                <a:lnTo>
                  <a:pt x="640" y="846"/>
                </a:lnTo>
                <a:close/>
                <a:moveTo>
                  <a:pt x="646" y="671"/>
                </a:moveTo>
                <a:lnTo>
                  <a:pt x="647" y="672"/>
                </a:lnTo>
                <a:lnTo>
                  <a:pt x="647" y="672"/>
                </a:lnTo>
                <a:lnTo>
                  <a:pt x="647" y="672"/>
                </a:lnTo>
                <a:lnTo>
                  <a:pt x="646" y="671"/>
                </a:lnTo>
                <a:close/>
                <a:moveTo>
                  <a:pt x="649" y="697"/>
                </a:moveTo>
                <a:lnTo>
                  <a:pt x="648" y="699"/>
                </a:lnTo>
                <a:lnTo>
                  <a:pt x="647" y="702"/>
                </a:lnTo>
                <a:lnTo>
                  <a:pt x="648" y="699"/>
                </a:lnTo>
                <a:lnTo>
                  <a:pt x="649" y="697"/>
                </a:lnTo>
                <a:close/>
                <a:moveTo>
                  <a:pt x="647" y="672"/>
                </a:moveTo>
                <a:lnTo>
                  <a:pt x="648" y="674"/>
                </a:lnTo>
                <a:lnTo>
                  <a:pt x="648" y="678"/>
                </a:lnTo>
                <a:lnTo>
                  <a:pt x="648" y="678"/>
                </a:lnTo>
                <a:lnTo>
                  <a:pt x="648" y="677"/>
                </a:lnTo>
                <a:lnTo>
                  <a:pt x="648" y="678"/>
                </a:lnTo>
                <a:lnTo>
                  <a:pt x="648" y="674"/>
                </a:lnTo>
                <a:lnTo>
                  <a:pt x="647" y="672"/>
                </a:lnTo>
                <a:close/>
                <a:moveTo>
                  <a:pt x="651" y="581"/>
                </a:moveTo>
                <a:lnTo>
                  <a:pt x="647" y="581"/>
                </a:lnTo>
                <a:lnTo>
                  <a:pt x="645" y="582"/>
                </a:lnTo>
                <a:lnTo>
                  <a:pt x="647" y="581"/>
                </a:lnTo>
                <a:lnTo>
                  <a:pt x="651" y="581"/>
                </a:lnTo>
                <a:close/>
                <a:moveTo>
                  <a:pt x="652" y="579"/>
                </a:moveTo>
                <a:lnTo>
                  <a:pt x="652" y="579"/>
                </a:lnTo>
                <a:lnTo>
                  <a:pt x="652" y="579"/>
                </a:lnTo>
                <a:lnTo>
                  <a:pt x="652" y="580"/>
                </a:lnTo>
                <a:lnTo>
                  <a:pt x="651" y="580"/>
                </a:lnTo>
                <a:lnTo>
                  <a:pt x="652" y="580"/>
                </a:lnTo>
                <a:lnTo>
                  <a:pt x="652" y="579"/>
                </a:lnTo>
                <a:lnTo>
                  <a:pt x="652" y="579"/>
                </a:lnTo>
                <a:lnTo>
                  <a:pt x="652" y="579"/>
                </a:lnTo>
                <a:close/>
                <a:moveTo>
                  <a:pt x="652" y="578"/>
                </a:move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lnTo>
                  <a:pt x="652" y="578"/>
                </a:lnTo>
                <a:close/>
                <a:moveTo>
                  <a:pt x="652" y="564"/>
                </a:moveTo>
                <a:lnTo>
                  <a:pt x="652" y="562"/>
                </a:lnTo>
                <a:lnTo>
                  <a:pt x="651" y="561"/>
                </a:lnTo>
                <a:lnTo>
                  <a:pt x="652" y="562"/>
                </a:lnTo>
                <a:lnTo>
                  <a:pt x="652" y="564"/>
                </a:lnTo>
                <a:close/>
                <a:moveTo>
                  <a:pt x="662" y="685"/>
                </a:moveTo>
                <a:lnTo>
                  <a:pt x="661" y="688"/>
                </a:lnTo>
                <a:lnTo>
                  <a:pt x="660" y="691"/>
                </a:lnTo>
                <a:lnTo>
                  <a:pt x="660" y="691"/>
                </a:lnTo>
                <a:lnTo>
                  <a:pt x="661" y="688"/>
                </a:lnTo>
                <a:lnTo>
                  <a:pt x="662" y="685"/>
                </a:lnTo>
                <a:close/>
                <a:moveTo>
                  <a:pt x="661" y="578"/>
                </a:move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lnTo>
                  <a:pt x="661" y="578"/>
                </a:lnTo>
                <a:close/>
                <a:moveTo>
                  <a:pt x="660" y="557"/>
                </a:moveTo>
                <a:lnTo>
                  <a:pt x="660" y="557"/>
                </a:lnTo>
                <a:lnTo>
                  <a:pt x="661" y="557"/>
                </a:lnTo>
                <a:lnTo>
                  <a:pt x="662" y="558"/>
                </a:lnTo>
                <a:lnTo>
                  <a:pt x="661" y="557"/>
                </a:lnTo>
                <a:lnTo>
                  <a:pt x="660" y="557"/>
                </a:lnTo>
                <a:lnTo>
                  <a:pt x="660" y="557"/>
                </a:lnTo>
                <a:lnTo>
                  <a:pt x="660" y="553"/>
                </a:lnTo>
                <a:lnTo>
                  <a:pt x="660" y="551"/>
                </a:lnTo>
                <a:lnTo>
                  <a:pt x="660" y="553"/>
                </a:lnTo>
                <a:lnTo>
                  <a:pt x="660" y="557"/>
                </a:lnTo>
                <a:close/>
                <a:moveTo>
                  <a:pt x="689" y="627"/>
                </a:moveTo>
                <a:lnTo>
                  <a:pt x="689" y="628"/>
                </a:lnTo>
                <a:lnTo>
                  <a:pt x="689" y="629"/>
                </a:lnTo>
                <a:lnTo>
                  <a:pt x="689" y="629"/>
                </a:lnTo>
                <a:lnTo>
                  <a:pt x="688" y="630"/>
                </a:lnTo>
                <a:lnTo>
                  <a:pt x="687" y="630"/>
                </a:lnTo>
                <a:lnTo>
                  <a:pt x="688" y="630"/>
                </a:lnTo>
                <a:lnTo>
                  <a:pt x="689" y="629"/>
                </a:lnTo>
                <a:lnTo>
                  <a:pt x="689" y="628"/>
                </a:lnTo>
                <a:lnTo>
                  <a:pt x="689" y="627"/>
                </a:lnTo>
                <a:close/>
                <a:moveTo>
                  <a:pt x="694" y="534"/>
                </a:moveTo>
                <a:lnTo>
                  <a:pt x="693" y="534"/>
                </a:lnTo>
                <a:lnTo>
                  <a:pt x="693" y="536"/>
                </a:lnTo>
                <a:lnTo>
                  <a:pt x="693" y="534"/>
                </a:lnTo>
                <a:lnTo>
                  <a:pt x="694" y="534"/>
                </a:lnTo>
                <a:close/>
                <a:moveTo>
                  <a:pt x="701" y="586"/>
                </a:moveTo>
                <a:lnTo>
                  <a:pt x="701" y="586"/>
                </a:lnTo>
                <a:lnTo>
                  <a:pt x="700" y="586"/>
                </a:lnTo>
                <a:lnTo>
                  <a:pt x="701" y="586"/>
                </a:lnTo>
                <a:lnTo>
                  <a:pt x="701" y="586"/>
                </a:lnTo>
                <a:close/>
                <a:moveTo>
                  <a:pt x="721" y="1165"/>
                </a:moveTo>
                <a:lnTo>
                  <a:pt x="721" y="1166"/>
                </a:lnTo>
                <a:lnTo>
                  <a:pt x="721" y="1167"/>
                </a:lnTo>
                <a:lnTo>
                  <a:pt x="721" y="1166"/>
                </a:lnTo>
                <a:lnTo>
                  <a:pt x="721" y="1165"/>
                </a:lnTo>
                <a:lnTo>
                  <a:pt x="718" y="1163"/>
                </a:lnTo>
                <a:lnTo>
                  <a:pt x="716" y="1161"/>
                </a:lnTo>
                <a:lnTo>
                  <a:pt x="716" y="1160"/>
                </a:lnTo>
                <a:lnTo>
                  <a:pt x="716" y="1159"/>
                </a:lnTo>
                <a:lnTo>
                  <a:pt x="716" y="1160"/>
                </a:lnTo>
                <a:lnTo>
                  <a:pt x="716" y="1161"/>
                </a:lnTo>
                <a:lnTo>
                  <a:pt x="718" y="1163"/>
                </a:lnTo>
                <a:lnTo>
                  <a:pt x="721" y="1165"/>
                </a:lnTo>
                <a:close/>
                <a:moveTo>
                  <a:pt x="724" y="1062"/>
                </a:moveTo>
                <a:lnTo>
                  <a:pt x="720" y="1062"/>
                </a:lnTo>
                <a:lnTo>
                  <a:pt x="716" y="1063"/>
                </a:lnTo>
                <a:lnTo>
                  <a:pt x="720" y="1062"/>
                </a:lnTo>
                <a:lnTo>
                  <a:pt x="724" y="1062"/>
                </a:lnTo>
                <a:close/>
                <a:moveTo>
                  <a:pt x="720" y="548"/>
                </a:moveTo>
                <a:lnTo>
                  <a:pt x="720" y="548"/>
                </a:lnTo>
                <a:lnTo>
                  <a:pt x="713" y="550"/>
                </a:lnTo>
                <a:lnTo>
                  <a:pt x="706" y="551"/>
                </a:lnTo>
                <a:lnTo>
                  <a:pt x="713" y="550"/>
                </a:lnTo>
                <a:lnTo>
                  <a:pt x="720" y="548"/>
                </a:lnTo>
                <a:close/>
                <a:moveTo>
                  <a:pt x="759" y="994"/>
                </a:moveTo>
                <a:lnTo>
                  <a:pt x="757" y="995"/>
                </a:lnTo>
                <a:lnTo>
                  <a:pt x="756" y="998"/>
                </a:lnTo>
                <a:lnTo>
                  <a:pt x="757" y="995"/>
                </a:lnTo>
                <a:lnTo>
                  <a:pt x="759" y="994"/>
                </a:lnTo>
                <a:close/>
                <a:moveTo>
                  <a:pt x="225" y="1356"/>
                </a:moveTo>
                <a:lnTo>
                  <a:pt x="225" y="1356"/>
                </a:lnTo>
                <a:lnTo>
                  <a:pt x="230" y="1344"/>
                </a:lnTo>
                <a:lnTo>
                  <a:pt x="234" y="1334"/>
                </a:lnTo>
                <a:lnTo>
                  <a:pt x="239" y="1323"/>
                </a:lnTo>
                <a:lnTo>
                  <a:pt x="244" y="1313"/>
                </a:lnTo>
                <a:lnTo>
                  <a:pt x="239" y="1323"/>
                </a:lnTo>
                <a:lnTo>
                  <a:pt x="234" y="1334"/>
                </a:lnTo>
                <a:lnTo>
                  <a:pt x="230" y="1344"/>
                </a:lnTo>
                <a:lnTo>
                  <a:pt x="225" y="1356"/>
                </a:lnTo>
                <a:close/>
                <a:moveTo>
                  <a:pt x="225" y="1452"/>
                </a:moveTo>
                <a:lnTo>
                  <a:pt x="228" y="1445"/>
                </a:lnTo>
                <a:lnTo>
                  <a:pt x="230" y="1436"/>
                </a:lnTo>
                <a:lnTo>
                  <a:pt x="228" y="1445"/>
                </a:lnTo>
                <a:lnTo>
                  <a:pt x="225" y="1452"/>
                </a:lnTo>
                <a:close/>
                <a:moveTo>
                  <a:pt x="202" y="1465"/>
                </a:moveTo>
                <a:lnTo>
                  <a:pt x="202" y="1463"/>
                </a:lnTo>
                <a:lnTo>
                  <a:pt x="202" y="1461"/>
                </a:lnTo>
                <a:lnTo>
                  <a:pt x="202" y="1461"/>
                </a:lnTo>
                <a:lnTo>
                  <a:pt x="202" y="1463"/>
                </a:lnTo>
                <a:lnTo>
                  <a:pt x="202" y="1465"/>
                </a:lnTo>
                <a:close/>
                <a:moveTo>
                  <a:pt x="198" y="1509"/>
                </a:moveTo>
                <a:lnTo>
                  <a:pt x="198" y="1508"/>
                </a:lnTo>
                <a:lnTo>
                  <a:pt x="198" y="1505"/>
                </a:lnTo>
                <a:lnTo>
                  <a:pt x="198" y="1504"/>
                </a:lnTo>
                <a:lnTo>
                  <a:pt x="198" y="1502"/>
                </a:lnTo>
                <a:lnTo>
                  <a:pt x="198" y="1504"/>
                </a:lnTo>
                <a:lnTo>
                  <a:pt x="198" y="1505"/>
                </a:lnTo>
                <a:lnTo>
                  <a:pt x="198" y="1508"/>
                </a:lnTo>
                <a:lnTo>
                  <a:pt x="198" y="1509"/>
                </a:lnTo>
                <a:close/>
                <a:moveTo>
                  <a:pt x="197" y="1495"/>
                </a:moveTo>
                <a:lnTo>
                  <a:pt x="196" y="1496"/>
                </a:lnTo>
                <a:lnTo>
                  <a:pt x="194" y="1496"/>
                </a:lnTo>
                <a:lnTo>
                  <a:pt x="196" y="1496"/>
                </a:lnTo>
                <a:lnTo>
                  <a:pt x="197" y="1495"/>
                </a:lnTo>
                <a:lnTo>
                  <a:pt x="197" y="1491"/>
                </a:lnTo>
                <a:lnTo>
                  <a:pt x="197" y="1488"/>
                </a:lnTo>
                <a:lnTo>
                  <a:pt x="197" y="1491"/>
                </a:lnTo>
                <a:lnTo>
                  <a:pt x="197" y="1495"/>
                </a:lnTo>
                <a:close/>
                <a:moveTo>
                  <a:pt x="194" y="1500"/>
                </a:moveTo>
                <a:lnTo>
                  <a:pt x="194" y="1498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6"/>
                </a:lnTo>
                <a:lnTo>
                  <a:pt x="194" y="1497"/>
                </a:lnTo>
                <a:lnTo>
                  <a:pt x="194" y="1497"/>
                </a:lnTo>
                <a:lnTo>
                  <a:pt x="194" y="1498"/>
                </a:lnTo>
                <a:lnTo>
                  <a:pt x="194" y="1500"/>
                </a:lnTo>
                <a:close/>
                <a:moveTo>
                  <a:pt x="240" y="805"/>
                </a:moveTo>
                <a:lnTo>
                  <a:pt x="240" y="806"/>
                </a:lnTo>
                <a:lnTo>
                  <a:pt x="240" y="808"/>
                </a:lnTo>
                <a:lnTo>
                  <a:pt x="240" y="806"/>
                </a:lnTo>
                <a:lnTo>
                  <a:pt x="240" y="805"/>
                </a:lnTo>
                <a:close/>
                <a:moveTo>
                  <a:pt x="237" y="773"/>
                </a:moveTo>
                <a:lnTo>
                  <a:pt x="237" y="770"/>
                </a:lnTo>
                <a:lnTo>
                  <a:pt x="237" y="769"/>
                </a:lnTo>
                <a:lnTo>
                  <a:pt x="237" y="768"/>
                </a:lnTo>
                <a:lnTo>
                  <a:pt x="238" y="768"/>
                </a:lnTo>
                <a:lnTo>
                  <a:pt x="238" y="769"/>
                </a:lnTo>
                <a:lnTo>
                  <a:pt x="239" y="771"/>
                </a:lnTo>
                <a:lnTo>
                  <a:pt x="238" y="771"/>
                </a:lnTo>
                <a:lnTo>
                  <a:pt x="237" y="773"/>
                </a:lnTo>
                <a:close/>
                <a:moveTo>
                  <a:pt x="211" y="701"/>
                </a:moveTo>
                <a:lnTo>
                  <a:pt x="211" y="700"/>
                </a:lnTo>
                <a:lnTo>
                  <a:pt x="211" y="700"/>
                </a:lnTo>
                <a:lnTo>
                  <a:pt x="211" y="700"/>
                </a:lnTo>
                <a:lnTo>
                  <a:pt x="211" y="701"/>
                </a:lnTo>
                <a:close/>
                <a:moveTo>
                  <a:pt x="199" y="560"/>
                </a:moveTo>
                <a:lnTo>
                  <a:pt x="198" y="559"/>
                </a:lnTo>
                <a:lnTo>
                  <a:pt x="198" y="559"/>
                </a:lnTo>
                <a:lnTo>
                  <a:pt x="198" y="559"/>
                </a:lnTo>
                <a:lnTo>
                  <a:pt x="199" y="560"/>
                </a:lnTo>
                <a:lnTo>
                  <a:pt x="199" y="560"/>
                </a:lnTo>
                <a:close/>
                <a:moveTo>
                  <a:pt x="187" y="403"/>
                </a:moveTo>
                <a:lnTo>
                  <a:pt x="187" y="403"/>
                </a:lnTo>
                <a:lnTo>
                  <a:pt x="186" y="401"/>
                </a:lnTo>
                <a:lnTo>
                  <a:pt x="187" y="403"/>
                </a:lnTo>
                <a:lnTo>
                  <a:pt x="187" y="403"/>
                </a:lnTo>
                <a:close/>
                <a:moveTo>
                  <a:pt x="164" y="292"/>
                </a:moveTo>
                <a:lnTo>
                  <a:pt x="164" y="292"/>
                </a:lnTo>
                <a:lnTo>
                  <a:pt x="168" y="286"/>
                </a:lnTo>
                <a:lnTo>
                  <a:pt x="168" y="281"/>
                </a:lnTo>
                <a:lnTo>
                  <a:pt x="168" y="286"/>
                </a:lnTo>
                <a:lnTo>
                  <a:pt x="164" y="292"/>
                </a:lnTo>
                <a:close/>
                <a:moveTo>
                  <a:pt x="157" y="449"/>
                </a:moveTo>
                <a:lnTo>
                  <a:pt x="156" y="449"/>
                </a:lnTo>
                <a:lnTo>
                  <a:pt x="155" y="448"/>
                </a:lnTo>
                <a:lnTo>
                  <a:pt x="156" y="449"/>
                </a:lnTo>
                <a:lnTo>
                  <a:pt x="157" y="449"/>
                </a:lnTo>
                <a:lnTo>
                  <a:pt x="157" y="453"/>
                </a:lnTo>
                <a:lnTo>
                  <a:pt x="158" y="455"/>
                </a:lnTo>
                <a:lnTo>
                  <a:pt x="157" y="453"/>
                </a:lnTo>
                <a:lnTo>
                  <a:pt x="157" y="449"/>
                </a:lnTo>
                <a:close/>
                <a:moveTo>
                  <a:pt x="115" y="287"/>
                </a:moveTo>
                <a:lnTo>
                  <a:pt x="116" y="285"/>
                </a:lnTo>
                <a:lnTo>
                  <a:pt x="118" y="282"/>
                </a:lnTo>
                <a:lnTo>
                  <a:pt x="116" y="285"/>
                </a:lnTo>
                <a:lnTo>
                  <a:pt x="115" y="287"/>
                </a:lnTo>
                <a:close/>
                <a:moveTo>
                  <a:pt x="108" y="207"/>
                </a:moveTo>
                <a:lnTo>
                  <a:pt x="99" y="215"/>
                </a:lnTo>
                <a:lnTo>
                  <a:pt x="89" y="222"/>
                </a:lnTo>
                <a:lnTo>
                  <a:pt x="99" y="215"/>
                </a:lnTo>
                <a:lnTo>
                  <a:pt x="108" y="207"/>
                </a:lnTo>
                <a:lnTo>
                  <a:pt x="109" y="207"/>
                </a:lnTo>
                <a:lnTo>
                  <a:pt x="109" y="205"/>
                </a:lnTo>
                <a:lnTo>
                  <a:pt x="109" y="207"/>
                </a:lnTo>
                <a:lnTo>
                  <a:pt x="108" y="207"/>
                </a:lnTo>
                <a:close/>
                <a:moveTo>
                  <a:pt x="81" y="373"/>
                </a:moveTo>
                <a:lnTo>
                  <a:pt x="82" y="375"/>
                </a:lnTo>
                <a:lnTo>
                  <a:pt x="82" y="375"/>
                </a:lnTo>
                <a:lnTo>
                  <a:pt x="82" y="375"/>
                </a:lnTo>
                <a:lnTo>
                  <a:pt x="81" y="373"/>
                </a:lnTo>
                <a:close/>
                <a:moveTo>
                  <a:pt x="75" y="76"/>
                </a:moveTo>
                <a:lnTo>
                  <a:pt x="73" y="79"/>
                </a:lnTo>
                <a:lnTo>
                  <a:pt x="69" y="83"/>
                </a:lnTo>
                <a:lnTo>
                  <a:pt x="67" y="83"/>
                </a:lnTo>
                <a:lnTo>
                  <a:pt x="67" y="82"/>
                </a:lnTo>
                <a:lnTo>
                  <a:pt x="66" y="79"/>
                </a:lnTo>
                <a:lnTo>
                  <a:pt x="66" y="78"/>
                </a:lnTo>
                <a:lnTo>
                  <a:pt x="67" y="76"/>
                </a:lnTo>
                <a:lnTo>
                  <a:pt x="69" y="74"/>
                </a:lnTo>
                <a:lnTo>
                  <a:pt x="72" y="74"/>
                </a:lnTo>
                <a:lnTo>
                  <a:pt x="74" y="72"/>
                </a:lnTo>
                <a:lnTo>
                  <a:pt x="75" y="72"/>
                </a:lnTo>
                <a:lnTo>
                  <a:pt x="76" y="72"/>
                </a:lnTo>
                <a:lnTo>
                  <a:pt x="76" y="74"/>
                </a:lnTo>
                <a:lnTo>
                  <a:pt x="75" y="76"/>
                </a:lnTo>
                <a:close/>
                <a:moveTo>
                  <a:pt x="54" y="92"/>
                </a:moveTo>
                <a:lnTo>
                  <a:pt x="55" y="88"/>
                </a:lnTo>
                <a:lnTo>
                  <a:pt x="58" y="85"/>
                </a:lnTo>
                <a:lnTo>
                  <a:pt x="60" y="82"/>
                </a:lnTo>
                <a:lnTo>
                  <a:pt x="64" y="79"/>
                </a:lnTo>
                <a:lnTo>
                  <a:pt x="64" y="84"/>
                </a:lnTo>
                <a:lnTo>
                  <a:pt x="62" y="88"/>
                </a:lnTo>
                <a:lnTo>
                  <a:pt x="59" y="90"/>
                </a:lnTo>
                <a:lnTo>
                  <a:pt x="54" y="92"/>
                </a:lnTo>
                <a:close/>
                <a:moveTo>
                  <a:pt x="71" y="428"/>
                </a:moveTo>
                <a:lnTo>
                  <a:pt x="68" y="428"/>
                </a:lnTo>
                <a:lnTo>
                  <a:pt x="66" y="428"/>
                </a:lnTo>
                <a:lnTo>
                  <a:pt x="68" y="428"/>
                </a:lnTo>
                <a:lnTo>
                  <a:pt x="71" y="428"/>
                </a:lnTo>
                <a:lnTo>
                  <a:pt x="72" y="432"/>
                </a:lnTo>
                <a:lnTo>
                  <a:pt x="74" y="434"/>
                </a:lnTo>
                <a:lnTo>
                  <a:pt x="72" y="432"/>
                </a:lnTo>
                <a:lnTo>
                  <a:pt x="71" y="428"/>
                </a:lnTo>
                <a:close/>
                <a:moveTo>
                  <a:pt x="66" y="419"/>
                </a:moveTo>
                <a:lnTo>
                  <a:pt x="66" y="418"/>
                </a:lnTo>
                <a:lnTo>
                  <a:pt x="66" y="417"/>
                </a:lnTo>
                <a:lnTo>
                  <a:pt x="66" y="418"/>
                </a:lnTo>
                <a:lnTo>
                  <a:pt x="66" y="419"/>
                </a:lnTo>
                <a:lnTo>
                  <a:pt x="66" y="419"/>
                </a:lnTo>
                <a:close/>
                <a:moveTo>
                  <a:pt x="282" y="125"/>
                </a:moveTo>
                <a:lnTo>
                  <a:pt x="285" y="126"/>
                </a:lnTo>
                <a:lnTo>
                  <a:pt x="287" y="128"/>
                </a:lnTo>
                <a:lnTo>
                  <a:pt x="287" y="130"/>
                </a:lnTo>
                <a:lnTo>
                  <a:pt x="287" y="132"/>
                </a:lnTo>
                <a:lnTo>
                  <a:pt x="286" y="132"/>
                </a:lnTo>
                <a:lnTo>
                  <a:pt x="285" y="133"/>
                </a:lnTo>
                <a:lnTo>
                  <a:pt x="283" y="133"/>
                </a:lnTo>
                <a:lnTo>
                  <a:pt x="281" y="132"/>
                </a:lnTo>
                <a:lnTo>
                  <a:pt x="281" y="131"/>
                </a:lnTo>
                <a:lnTo>
                  <a:pt x="281" y="130"/>
                </a:lnTo>
                <a:lnTo>
                  <a:pt x="281" y="127"/>
                </a:lnTo>
                <a:lnTo>
                  <a:pt x="282" y="125"/>
                </a:lnTo>
                <a:close/>
                <a:moveTo>
                  <a:pt x="288" y="133"/>
                </a:moveTo>
                <a:lnTo>
                  <a:pt x="290" y="135"/>
                </a:lnTo>
                <a:lnTo>
                  <a:pt x="292" y="138"/>
                </a:lnTo>
                <a:lnTo>
                  <a:pt x="293" y="141"/>
                </a:lnTo>
                <a:lnTo>
                  <a:pt x="293" y="145"/>
                </a:lnTo>
                <a:lnTo>
                  <a:pt x="293" y="141"/>
                </a:lnTo>
                <a:lnTo>
                  <a:pt x="292" y="138"/>
                </a:lnTo>
                <a:lnTo>
                  <a:pt x="290" y="135"/>
                </a:lnTo>
                <a:lnTo>
                  <a:pt x="288" y="133"/>
                </a:lnTo>
                <a:close/>
                <a:moveTo>
                  <a:pt x="331" y="97"/>
                </a:moveTo>
                <a:lnTo>
                  <a:pt x="331" y="96"/>
                </a:lnTo>
                <a:lnTo>
                  <a:pt x="332" y="96"/>
                </a:lnTo>
                <a:lnTo>
                  <a:pt x="331" y="96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lnTo>
                  <a:pt x="331" y="97"/>
                </a:lnTo>
                <a:close/>
                <a:moveTo>
                  <a:pt x="979" y="447"/>
                </a:moveTo>
                <a:lnTo>
                  <a:pt x="978" y="447"/>
                </a:lnTo>
                <a:lnTo>
                  <a:pt x="978" y="448"/>
                </a:lnTo>
                <a:lnTo>
                  <a:pt x="978" y="447"/>
                </a:lnTo>
                <a:lnTo>
                  <a:pt x="979" y="447"/>
                </a:lnTo>
                <a:close/>
                <a:moveTo>
                  <a:pt x="1312" y="1044"/>
                </a:moveTo>
                <a:lnTo>
                  <a:pt x="1312" y="1043"/>
                </a:lnTo>
                <a:lnTo>
                  <a:pt x="1312" y="1043"/>
                </a:lnTo>
                <a:lnTo>
                  <a:pt x="1311" y="1039"/>
                </a:lnTo>
                <a:lnTo>
                  <a:pt x="1309" y="1036"/>
                </a:lnTo>
                <a:lnTo>
                  <a:pt x="1311" y="1039"/>
                </a:lnTo>
                <a:lnTo>
                  <a:pt x="1312" y="1043"/>
                </a:lnTo>
                <a:lnTo>
                  <a:pt x="1312" y="1043"/>
                </a:lnTo>
                <a:lnTo>
                  <a:pt x="1312" y="1044"/>
                </a:lnTo>
                <a:close/>
                <a:moveTo>
                  <a:pt x="1615" y="1414"/>
                </a:moveTo>
                <a:lnTo>
                  <a:pt x="1614" y="1407"/>
                </a:lnTo>
                <a:lnTo>
                  <a:pt x="1612" y="1400"/>
                </a:lnTo>
                <a:lnTo>
                  <a:pt x="1607" y="1387"/>
                </a:lnTo>
                <a:lnTo>
                  <a:pt x="1602" y="1375"/>
                </a:lnTo>
                <a:lnTo>
                  <a:pt x="1597" y="1362"/>
                </a:lnTo>
                <a:lnTo>
                  <a:pt x="1590" y="1350"/>
                </a:lnTo>
                <a:lnTo>
                  <a:pt x="1583" y="1336"/>
                </a:lnTo>
                <a:lnTo>
                  <a:pt x="1574" y="1322"/>
                </a:lnTo>
                <a:lnTo>
                  <a:pt x="1564" y="1310"/>
                </a:lnTo>
                <a:lnTo>
                  <a:pt x="1554" y="1298"/>
                </a:lnTo>
                <a:lnTo>
                  <a:pt x="1553" y="1298"/>
                </a:lnTo>
                <a:lnTo>
                  <a:pt x="1553" y="1296"/>
                </a:lnTo>
                <a:lnTo>
                  <a:pt x="1554" y="1295"/>
                </a:lnTo>
                <a:lnTo>
                  <a:pt x="1553" y="1295"/>
                </a:lnTo>
                <a:lnTo>
                  <a:pt x="1553" y="1295"/>
                </a:lnTo>
                <a:lnTo>
                  <a:pt x="1553" y="1294"/>
                </a:lnTo>
                <a:lnTo>
                  <a:pt x="1554" y="1292"/>
                </a:lnTo>
                <a:lnTo>
                  <a:pt x="1556" y="1288"/>
                </a:lnTo>
                <a:lnTo>
                  <a:pt x="1557" y="1285"/>
                </a:lnTo>
                <a:lnTo>
                  <a:pt x="1560" y="1270"/>
                </a:lnTo>
                <a:lnTo>
                  <a:pt x="1561" y="1253"/>
                </a:lnTo>
                <a:lnTo>
                  <a:pt x="1564" y="1242"/>
                </a:lnTo>
                <a:lnTo>
                  <a:pt x="1564" y="1229"/>
                </a:lnTo>
                <a:lnTo>
                  <a:pt x="1561" y="1216"/>
                </a:lnTo>
                <a:lnTo>
                  <a:pt x="1559" y="1204"/>
                </a:lnTo>
                <a:lnTo>
                  <a:pt x="1553" y="1186"/>
                </a:lnTo>
                <a:lnTo>
                  <a:pt x="1550" y="1167"/>
                </a:lnTo>
                <a:lnTo>
                  <a:pt x="1545" y="1147"/>
                </a:lnTo>
                <a:lnTo>
                  <a:pt x="1542" y="1128"/>
                </a:lnTo>
                <a:lnTo>
                  <a:pt x="1540" y="1117"/>
                </a:lnTo>
                <a:lnTo>
                  <a:pt x="1538" y="1105"/>
                </a:lnTo>
                <a:lnTo>
                  <a:pt x="1536" y="1093"/>
                </a:lnTo>
                <a:lnTo>
                  <a:pt x="1532" y="1082"/>
                </a:lnTo>
                <a:lnTo>
                  <a:pt x="1531" y="1068"/>
                </a:lnTo>
                <a:lnTo>
                  <a:pt x="1528" y="1054"/>
                </a:lnTo>
                <a:lnTo>
                  <a:pt x="1528" y="1051"/>
                </a:lnTo>
                <a:lnTo>
                  <a:pt x="1526" y="1048"/>
                </a:lnTo>
                <a:lnTo>
                  <a:pt x="1528" y="1047"/>
                </a:lnTo>
                <a:lnTo>
                  <a:pt x="1528" y="1046"/>
                </a:lnTo>
                <a:lnTo>
                  <a:pt x="1528" y="1044"/>
                </a:lnTo>
                <a:lnTo>
                  <a:pt x="1526" y="1042"/>
                </a:lnTo>
                <a:lnTo>
                  <a:pt x="1524" y="1035"/>
                </a:lnTo>
                <a:lnTo>
                  <a:pt x="1523" y="1028"/>
                </a:lnTo>
                <a:lnTo>
                  <a:pt x="1522" y="1026"/>
                </a:lnTo>
                <a:lnTo>
                  <a:pt x="1521" y="1022"/>
                </a:lnTo>
                <a:lnTo>
                  <a:pt x="1519" y="1021"/>
                </a:lnTo>
                <a:lnTo>
                  <a:pt x="1517" y="1019"/>
                </a:lnTo>
                <a:lnTo>
                  <a:pt x="1517" y="1014"/>
                </a:lnTo>
                <a:lnTo>
                  <a:pt x="1517" y="1008"/>
                </a:lnTo>
                <a:lnTo>
                  <a:pt x="1514" y="999"/>
                </a:lnTo>
                <a:lnTo>
                  <a:pt x="1512" y="988"/>
                </a:lnTo>
                <a:lnTo>
                  <a:pt x="1510" y="979"/>
                </a:lnTo>
                <a:lnTo>
                  <a:pt x="1508" y="969"/>
                </a:lnTo>
                <a:lnTo>
                  <a:pt x="1504" y="959"/>
                </a:lnTo>
                <a:lnTo>
                  <a:pt x="1502" y="949"/>
                </a:lnTo>
                <a:lnTo>
                  <a:pt x="1500" y="938"/>
                </a:lnTo>
                <a:lnTo>
                  <a:pt x="1496" y="929"/>
                </a:lnTo>
                <a:lnTo>
                  <a:pt x="1501" y="908"/>
                </a:lnTo>
                <a:lnTo>
                  <a:pt x="1505" y="888"/>
                </a:lnTo>
                <a:lnTo>
                  <a:pt x="1510" y="867"/>
                </a:lnTo>
                <a:lnTo>
                  <a:pt x="1515" y="846"/>
                </a:lnTo>
                <a:lnTo>
                  <a:pt x="1518" y="833"/>
                </a:lnTo>
                <a:lnTo>
                  <a:pt x="1522" y="819"/>
                </a:lnTo>
                <a:lnTo>
                  <a:pt x="1525" y="805"/>
                </a:lnTo>
                <a:lnTo>
                  <a:pt x="1529" y="791"/>
                </a:lnTo>
                <a:lnTo>
                  <a:pt x="1530" y="788"/>
                </a:lnTo>
                <a:lnTo>
                  <a:pt x="1529" y="785"/>
                </a:lnTo>
                <a:lnTo>
                  <a:pt x="1528" y="784"/>
                </a:lnTo>
                <a:lnTo>
                  <a:pt x="1524" y="783"/>
                </a:lnTo>
                <a:lnTo>
                  <a:pt x="1514" y="780"/>
                </a:lnTo>
                <a:lnTo>
                  <a:pt x="1503" y="776"/>
                </a:lnTo>
                <a:lnTo>
                  <a:pt x="1491" y="773"/>
                </a:lnTo>
                <a:lnTo>
                  <a:pt x="1482" y="768"/>
                </a:lnTo>
                <a:lnTo>
                  <a:pt x="1478" y="768"/>
                </a:lnTo>
                <a:lnTo>
                  <a:pt x="1476" y="767"/>
                </a:lnTo>
                <a:lnTo>
                  <a:pt x="1475" y="768"/>
                </a:lnTo>
                <a:lnTo>
                  <a:pt x="1474" y="768"/>
                </a:lnTo>
                <a:lnTo>
                  <a:pt x="1471" y="771"/>
                </a:lnTo>
                <a:lnTo>
                  <a:pt x="1469" y="775"/>
                </a:lnTo>
                <a:lnTo>
                  <a:pt x="1467" y="783"/>
                </a:lnTo>
                <a:lnTo>
                  <a:pt x="1464" y="792"/>
                </a:lnTo>
                <a:lnTo>
                  <a:pt x="1463" y="796"/>
                </a:lnTo>
                <a:lnTo>
                  <a:pt x="1461" y="799"/>
                </a:lnTo>
                <a:lnTo>
                  <a:pt x="1457" y="803"/>
                </a:lnTo>
                <a:lnTo>
                  <a:pt x="1453" y="805"/>
                </a:lnTo>
                <a:lnTo>
                  <a:pt x="1452" y="806"/>
                </a:lnTo>
                <a:lnTo>
                  <a:pt x="1450" y="808"/>
                </a:lnTo>
                <a:lnTo>
                  <a:pt x="1445" y="820"/>
                </a:lnTo>
                <a:lnTo>
                  <a:pt x="1440" y="834"/>
                </a:lnTo>
                <a:lnTo>
                  <a:pt x="1434" y="845"/>
                </a:lnTo>
                <a:lnTo>
                  <a:pt x="1429" y="855"/>
                </a:lnTo>
                <a:lnTo>
                  <a:pt x="1424" y="866"/>
                </a:lnTo>
                <a:lnTo>
                  <a:pt x="1418" y="876"/>
                </a:lnTo>
                <a:lnTo>
                  <a:pt x="1416" y="879"/>
                </a:lnTo>
                <a:lnTo>
                  <a:pt x="1415" y="879"/>
                </a:lnTo>
                <a:lnTo>
                  <a:pt x="1413" y="880"/>
                </a:lnTo>
                <a:lnTo>
                  <a:pt x="1411" y="880"/>
                </a:lnTo>
                <a:lnTo>
                  <a:pt x="1399" y="880"/>
                </a:lnTo>
                <a:lnTo>
                  <a:pt x="1388" y="880"/>
                </a:lnTo>
                <a:lnTo>
                  <a:pt x="1385" y="880"/>
                </a:lnTo>
                <a:lnTo>
                  <a:pt x="1381" y="880"/>
                </a:lnTo>
                <a:lnTo>
                  <a:pt x="1379" y="881"/>
                </a:lnTo>
                <a:lnTo>
                  <a:pt x="1377" y="883"/>
                </a:lnTo>
                <a:lnTo>
                  <a:pt x="1374" y="885"/>
                </a:lnTo>
                <a:lnTo>
                  <a:pt x="1373" y="886"/>
                </a:lnTo>
                <a:lnTo>
                  <a:pt x="1370" y="890"/>
                </a:lnTo>
                <a:lnTo>
                  <a:pt x="1369" y="895"/>
                </a:lnTo>
                <a:lnTo>
                  <a:pt x="1370" y="901"/>
                </a:lnTo>
                <a:lnTo>
                  <a:pt x="1373" y="906"/>
                </a:lnTo>
                <a:lnTo>
                  <a:pt x="1376" y="911"/>
                </a:lnTo>
                <a:lnTo>
                  <a:pt x="1380" y="915"/>
                </a:lnTo>
                <a:lnTo>
                  <a:pt x="1387" y="920"/>
                </a:lnTo>
                <a:lnTo>
                  <a:pt x="1393" y="924"/>
                </a:lnTo>
                <a:lnTo>
                  <a:pt x="1391" y="928"/>
                </a:lnTo>
                <a:lnTo>
                  <a:pt x="1390" y="932"/>
                </a:lnTo>
                <a:lnTo>
                  <a:pt x="1388" y="934"/>
                </a:lnTo>
                <a:lnTo>
                  <a:pt x="1388" y="935"/>
                </a:lnTo>
                <a:lnTo>
                  <a:pt x="1387" y="936"/>
                </a:lnTo>
                <a:lnTo>
                  <a:pt x="1385" y="936"/>
                </a:lnTo>
                <a:lnTo>
                  <a:pt x="1376" y="936"/>
                </a:lnTo>
                <a:lnTo>
                  <a:pt x="1366" y="937"/>
                </a:lnTo>
                <a:lnTo>
                  <a:pt x="1359" y="938"/>
                </a:lnTo>
                <a:lnTo>
                  <a:pt x="1355" y="941"/>
                </a:lnTo>
                <a:lnTo>
                  <a:pt x="1349" y="944"/>
                </a:lnTo>
                <a:lnTo>
                  <a:pt x="1345" y="949"/>
                </a:lnTo>
                <a:lnTo>
                  <a:pt x="1345" y="949"/>
                </a:lnTo>
                <a:lnTo>
                  <a:pt x="1344" y="950"/>
                </a:lnTo>
                <a:lnTo>
                  <a:pt x="1344" y="950"/>
                </a:lnTo>
                <a:lnTo>
                  <a:pt x="1342" y="953"/>
                </a:lnTo>
                <a:lnTo>
                  <a:pt x="1342" y="956"/>
                </a:lnTo>
                <a:lnTo>
                  <a:pt x="1342" y="959"/>
                </a:lnTo>
                <a:lnTo>
                  <a:pt x="1343" y="963"/>
                </a:lnTo>
                <a:lnTo>
                  <a:pt x="1343" y="965"/>
                </a:lnTo>
                <a:lnTo>
                  <a:pt x="1343" y="967"/>
                </a:lnTo>
                <a:lnTo>
                  <a:pt x="1343" y="969"/>
                </a:lnTo>
                <a:lnTo>
                  <a:pt x="1343" y="971"/>
                </a:lnTo>
                <a:lnTo>
                  <a:pt x="1344" y="972"/>
                </a:lnTo>
                <a:lnTo>
                  <a:pt x="1346" y="972"/>
                </a:lnTo>
                <a:lnTo>
                  <a:pt x="1344" y="972"/>
                </a:lnTo>
                <a:lnTo>
                  <a:pt x="1343" y="971"/>
                </a:lnTo>
                <a:lnTo>
                  <a:pt x="1343" y="969"/>
                </a:lnTo>
                <a:lnTo>
                  <a:pt x="1343" y="967"/>
                </a:lnTo>
                <a:lnTo>
                  <a:pt x="1336" y="974"/>
                </a:lnTo>
                <a:lnTo>
                  <a:pt x="1329" y="980"/>
                </a:lnTo>
                <a:lnTo>
                  <a:pt x="1326" y="983"/>
                </a:lnTo>
                <a:lnTo>
                  <a:pt x="1325" y="985"/>
                </a:lnTo>
                <a:lnTo>
                  <a:pt x="1324" y="986"/>
                </a:lnTo>
                <a:lnTo>
                  <a:pt x="1323" y="986"/>
                </a:lnTo>
                <a:lnTo>
                  <a:pt x="1322" y="987"/>
                </a:lnTo>
                <a:lnTo>
                  <a:pt x="1321" y="991"/>
                </a:lnTo>
                <a:lnTo>
                  <a:pt x="1321" y="1006"/>
                </a:lnTo>
                <a:lnTo>
                  <a:pt x="1321" y="1022"/>
                </a:lnTo>
                <a:lnTo>
                  <a:pt x="1318" y="1025"/>
                </a:lnTo>
                <a:lnTo>
                  <a:pt x="1317" y="1026"/>
                </a:lnTo>
                <a:lnTo>
                  <a:pt x="1315" y="1026"/>
                </a:lnTo>
                <a:lnTo>
                  <a:pt x="1311" y="1026"/>
                </a:lnTo>
                <a:lnTo>
                  <a:pt x="1309" y="1025"/>
                </a:lnTo>
                <a:lnTo>
                  <a:pt x="1305" y="1025"/>
                </a:lnTo>
                <a:lnTo>
                  <a:pt x="1303" y="1026"/>
                </a:lnTo>
                <a:lnTo>
                  <a:pt x="1301" y="1028"/>
                </a:lnTo>
                <a:lnTo>
                  <a:pt x="1298" y="1030"/>
                </a:lnTo>
                <a:lnTo>
                  <a:pt x="1297" y="1034"/>
                </a:lnTo>
                <a:lnTo>
                  <a:pt x="1296" y="1036"/>
                </a:lnTo>
                <a:lnTo>
                  <a:pt x="1295" y="1040"/>
                </a:lnTo>
                <a:lnTo>
                  <a:pt x="1296" y="1043"/>
                </a:lnTo>
                <a:lnTo>
                  <a:pt x="1297" y="1047"/>
                </a:lnTo>
                <a:lnTo>
                  <a:pt x="1298" y="1050"/>
                </a:lnTo>
                <a:lnTo>
                  <a:pt x="1301" y="1053"/>
                </a:lnTo>
                <a:lnTo>
                  <a:pt x="1310" y="1061"/>
                </a:lnTo>
                <a:lnTo>
                  <a:pt x="1321" y="1068"/>
                </a:lnTo>
                <a:lnTo>
                  <a:pt x="1321" y="1068"/>
                </a:lnTo>
                <a:lnTo>
                  <a:pt x="1321" y="1069"/>
                </a:lnTo>
                <a:lnTo>
                  <a:pt x="1323" y="1072"/>
                </a:lnTo>
                <a:lnTo>
                  <a:pt x="1323" y="1077"/>
                </a:lnTo>
                <a:lnTo>
                  <a:pt x="1323" y="1072"/>
                </a:lnTo>
                <a:lnTo>
                  <a:pt x="1321" y="1069"/>
                </a:lnTo>
                <a:lnTo>
                  <a:pt x="1317" y="1068"/>
                </a:lnTo>
                <a:lnTo>
                  <a:pt x="1315" y="1068"/>
                </a:lnTo>
                <a:lnTo>
                  <a:pt x="1312" y="1069"/>
                </a:lnTo>
                <a:lnTo>
                  <a:pt x="1310" y="1070"/>
                </a:lnTo>
                <a:lnTo>
                  <a:pt x="1308" y="1074"/>
                </a:lnTo>
                <a:lnTo>
                  <a:pt x="1307" y="1079"/>
                </a:lnTo>
                <a:lnTo>
                  <a:pt x="1307" y="1081"/>
                </a:lnTo>
                <a:lnTo>
                  <a:pt x="1305" y="1083"/>
                </a:lnTo>
                <a:lnTo>
                  <a:pt x="1303" y="1088"/>
                </a:lnTo>
                <a:lnTo>
                  <a:pt x="1301" y="1092"/>
                </a:lnTo>
                <a:lnTo>
                  <a:pt x="1294" y="1110"/>
                </a:lnTo>
                <a:lnTo>
                  <a:pt x="1286" y="1127"/>
                </a:lnTo>
                <a:lnTo>
                  <a:pt x="1277" y="1114"/>
                </a:lnTo>
                <a:lnTo>
                  <a:pt x="1269" y="1102"/>
                </a:lnTo>
                <a:lnTo>
                  <a:pt x="1261" y="1090"/>
                </a:lnTo>
                <a:lnTo>
                  <a:pt x="1253" y="1077"/>
                </a:lnTo>
                <a:lnTo>
                  <a:pt x="1241" y="1061"/>
                </a:lnTo>
                <a:lnTo>
                  <a:pt x="1228" y="1044"/>
                </a:lnTo>
                <a:lnTo>
                  <a:pt x="1214" y="1028"/>
                </a:lnTo>
                <a:lnTo>
                  <a:pt x="1200" y="1013"/>
                </a:lnTo>
                <a:lnTo>
                  <a:pt x="1187" y="998"/>
                </a:lnTo>
                <a:lnTo>
                  <a:pt x="1176" y="984"/>
                </a:lnTo>
                <a:lnTo>
                  <a:pt x="1176" y="984"/>
                </a:lnTo>
                <a:lnTo>
                  <a:pt x="1173" y="981"/>
                </a:lnTo>
                <a:lnTo>
                  <a:pt x="1170" y="979"/>
                </a:lnTo>
                <a:lnTo>
                  <a:pt x="1169" y="978"/>
                </a:lnTo>
                <a:lnTo>
                  <a:pt x="1166" y="977"/>
                </a:lnTo>
                <a:lnTo>
                  <a:pt x="1166" y="977"/>
                </a:lnTo>
                <a:lnTo>
                  <a:pt x="1166" y="977"/>
                </a:lnTo>
                <a:lnTo>
                  <a:pt x="1159" y="971"/>
                </a:lnTo>
                <a:lnTo>
                  <a:pt x="1151" y="965"/>
                </a:lnTo>
                <a:lnTo>
                  <a:pt x="1143" y="960"/>
                </a:lnTo>
                <a:lnTo>
                  <a:pt x="1133" y="957"/>
                </a:lnTo>
                <a:lnTo>
                  <a:pt x="1131" y="956"/>
                </a:lnTo>
                <a:lnTo>
                  <a:pt x="1129" y="956"/>
                </a:lnTo>
                <a:lnTo>
                  <a:pt x="1119" y="950"/>
                </a:lnTo>
                <a:lnTo>
                  <a:pt x="1108" y="946"/>
                </a:lnTo>
                <a:lnTo>
                  <a:pt x="1103" y="942"/>
                </a:lnTo>
                <a:lnTo>
                  <a:pt x="1097" y="939"/>
                </a:lnTo>
                <a:lnTo>
                  <a:pt x="1090" y="938"/>
                </a:lnTo>
                <a:lnTo>
                  <a:pt x="1084" y="937"/>
                </a:lnTo>
                <a:lnTo>
                  <a:pt x="1082" y="937"/>
                </a:lnTo>
                <a:lnTo>
                  <a:pt x="1081" y="937"/>
                </a:lnTo>
                <a:lnTo>
                  <a:pt x="1076" y="934"/>
                </a:lnTo>
                <a:lnTo>
                  <a:pt x="1070" y="934"/>
                </a:lnTo>
                <a:lnTo>
                  <a:pt x="1068" y="932"/>
                </a:lnTo>
                <a:lnTo>
                  <a:pt x="1065" y="932"/>
                </a:lnTo>
                <a:lnTo>
                  <a:pt x="1065" y="932"/>
                </a:lnTo>
                <a:lnTo>
                  <a:pt x="1063" y="930"/>
                </a:lnTo>
                <a:lnTo>
                  <a:pt x="1061" y="930"/>
                </a:lnTo>
                <a:lnTo>
                  <a:pt x="1059" y="930"/>
                </a:lnTo>
                <a:lnTo>
                  <a:pt x="1056" y="930"/>
                </a:lnTo>
                <a:lnTo>
                  <a:pt x="1055" y="930"/>
                </a:lnTo>
                <a:lnTo>
                  <a:pt x="1053" y="929"/>
                </a:lnTo>
                <a:lnTo>
                  <a:pt x="1049" y="928"/>
                </a:lnTo>
                <a:lnTo>
                  <a:pt x="1046" y="928"/>
                </a:lnTo>
                <a:lnTo>
                  <a:pt x="1043" y="928"/>
                </a:lnTo>
                <a:lnTo>
                  <a:pt x="1042" y="928"/>
                </a:lnTo>
                <a:lnTo>
                  <a:pt x="1032" y="924"/>
                </a:lnTo>
                <a:lnTo>
                  <a:pt x="1021" y="924"/>
                </a:lnTo>
                <a:lnTo>
                  <a:pt x="1019" y="923"/>
                </a:lnTo>
                <a:lnTo>
                  <a:pt x="1017" y="922"/>
                </a:lnTo>
                <a:lnTo>
                  <a:pt x="1015" y="921"/>
                </a:lnTo>
                <a:lnTo>
                  <a:pt x="1014" y="918"/>
                </a:lnTo>
                <a:lnTo>
                  <a:pt x="1017" y="914"/>
                </a:lnTo>
                <a:lnTo>
                  <a:pt x="1015" y="910"/>
                </a:lnTo>
                <a:lnTo>
                  <a:pt x="1013" y="900"/>
                </a:lnTo>
                <a:lnTo>
                  <a:pt x="1012" y="889"/>
                </a:lnTo>
                <a:lnTo>
                  <a:pt x="1012" y="879"/>
                </a:lnTo>
                <a:lnTo>
                  <a:pt x="1012" y="869"/>
                </a:lnTo>
                <a:lnTo>
                  <a:pt x="1012" y="866"/>
                </a:lnTo>
                <a:lnTo>
                  <a:pt x="1011" y="862"/>
                </a:lnTo>
                <a:lnTo>
                  <a:pt x="1005" y="850"/>
                </a:lnTo>
                <a:lnTo>
                  <a:pt x="998" y="838"/>
                </a:lnTo>
                <a:lnTo>
                  <a:pt x="991" y="827"/>
                </a:lnTo>
                <a:lnTo>
                  <a:pt x="983" y="817"/>
                </a:lnTo>
                <a:lnTo>
                  <a:pt x="983" y="815"/>
                </a:lnTo>
                <a:lnTo>
                  <a:pt x="980" y="812"/>
                </a:lnTo>
                <a:lnTo>
                  <a:pt x="980" y="810"/>
                </a:lnTo>
                <a:lnTo>
                  <a:pt x="980" y="809"/>
                </a:lnTo>
                <a:lnTo>
                  <a:pt x="983" y="805"/>
                </a:lnTo>
                <a:lnTo>
                  <a:pt x="983" y="802"/>
                </a:lnTo>
                <a:lnTo>
                  <a:pt x="983" y="785"/>
                </a:lnTo>
                <a:lnTo>
                  <a:pt x="983" y="769"/>
                </a:lnTo>
                <a:lnTo>
                  <a:pt x="987" y="764"/>
                </a:lnTo>
                <a:lnTo>
                  <a:pt x="988" y="760"/>
                </a:lnTo>
                <a:lnTo>
                  <a:pt x="988" y="756"/>
                </a:lnTo>
                <a:lnTo>
                  <a:pt x="985" y="749"/>
                </a:lnTo>
                <a:lnTo>
                  <a:pt x="984" y="746"/>
                </a:lnTo>
                <a:lnTo>
                  <a:pt x="983" y="743"/>
                </a:lnTo>
                <a:lnTo>
                  <a:pt x="983" y="740"/>
                </a:lnTo>
                <a:lnTo>
                  <a:pt x="984" y="736"/>
                </a:lnTo>
                <a:lnTo>
                  <a:pt x="985" y="733"/>
                </a:lnTo>
                <a:lnTo>
                  <a:pt x="985" y="729"/>
                </a:lnTo>
                <a:lnTo>
                  <a:pt x="985" y="726"/>
                </a:lnTo>
                <a:lnTo>
                  <a:pt x="985" y="722"/>
                </a:lnTo>
                <a:lnTo>
                  <a:pt x="983" y="711"/>
                </a:lnTo>
                <a:lnTo>
                  <a:pt x="980" y="700"/>
                </a:lnTo>
                <a:lnTo>
                  <a:pt x="977" y="690"/>
                </a:lnTo>
                <a:lnTo>
                  <a:pt x="972" y="679"/>
                </a:lnTo>
                <a:lnTo>
                  <a:pt x="971" y="674"/>
                </a:lnTo>
                <a:lnTo>
                  <a:pt x="971" y="670"/>
                </a:lnTo>
                <a:lnTo>
                  <a:pt x="970" y="667"/>
                </a:lnTo>
                <a:lnTo>
                  <a:pt x="969" y="666"/>
                </a:lnTo>
                <a:lnTo>
                  <a:pt x="966" y="665"/>
                </a:lnTo>
                <a:lnTo>
                  <a:pt x="964" y="664"/>
                </a:lnTo>
                <a:lnTo>
                  <a:pt x="962" y="664"/>
                </a:lnTo>
                <a:lnTo>
                  <a:pt x="960" y="663"/>
                </a:lnTo>
                <a:lnTo>
                  <a:pt x="959" y="662"/>
                </a:lnTo>
                <a:lnTo>
                  <a:pt x="958" y="660"/>
                </a:lnTo>
                <a:lnTo>
                  <a:pt x="959" y="657"/>
                </a:lnTo>
                <a:lnTo>
                  <a:pt x="963" y="655"/>
                </a:lnTo>
                <a:lnTo>
                  <a:pt x="972" y="650"/>
                </a:lnTo>
                <a:lnTo>
                  <a:pt x="981" y="644"/>
                </a:lnTo>
                <a:lnTo>
                  <a:pt x="996" y="636"/>
                </a:lnTo>
                <a:lnTo>
                  <a:pt x="1007" y="627"/>
                </a:lnTo>
                <a:lnTo>
                  <a:pt x="1007" y="627"/>
                </a:lnTo>
                <a:lnTo>
                  <a:pt x="1010" y="625"/>
                </a:lnTo>
                <a:lnTo>
                  <a:pt x="1012" y="624"/>
                </a:lnTo>
                <a:lnTo>
                  <a:pt x="1013" y="624"/>
                </a:lnTo>
                <a:lnTo>
                  <a:pt x="1013" y="624"/>
                </a:lnTo>
                <a:lnTo>
                  <a:pt x="1043" y="603"/>
                </a:lnTo>
                <a:lnTo>
                  <a:pt x="1074" y="583"/>
                </a:lnTo>
                <a:lnTo>
                  <a:pt x="1105" y="564"/>
                </a:lnTo>
                <a:lnTo>
                  <a:pt x="1136" y="543"/>
                </a:lnTo>
                <a:lnTo>
                  <a:pt x="1151" y="532"/>
                </a:lnTo>
                <a:lnTo>
                  <a:pt x="1166" y="522"/>
                </a:lnTo>
                <a:lnTo>
                  <a:pt x="1164" y="520"/>
                </a:lnTo>
                <a:lnTo>
                  <a:pt x="1162" y="520"/>
                </a:lnTo>
                <a:lnTo>
                  <a:pt x="1160" y="520"/>
                </a:lnTo>
                <a:lnTo>
                  <a:pt x="1158" y="522"/>
                </a:lnTo>
                <a:lnTo>
                  <a:pt x="1148" y="526"/>
                </a:lnTo>
                <a:lnTo>
                  <a:pt x="1137" y="530"/>
                </a:lnTo>
                <a:lnTo>
                  <a:pt x="1126" y="534"/>
                </a:lnTo>
                <a:lnTo>
                  <a:pt x="1116" y="538"/>
                </a:lnTo>
                <a:lnTo>
                  <a:pt x="1102" y="544"/>
                </a:lnTo>
                <a:lnTo>
                  <a:pt x="1088" y="548"/>
                </a:lnTo>
                <a:lnTo>
                  <a:pt x="1075" y="554"/>
                </a:lnTo>
                <a:lnTo>
                  <a:pt x="1061" y="559"/>
                </a:lnTo>
                <a:lnTo>
                  <a:pt x="1042" y="568"/>
                </a:lnTo>
                <a:lnTo>
                  <a:pt x="1022" y="575"/>
                </a:lnTo>
                <a:lnTo>
                  <a:pt x="1003" y="583"/>
                </a:lnTo>
                <a:lnTo>
                  <a:pt x="983" y="592"/>
                </a:lnTo>
                <a:lnTo>
                  <a:pt x="972" y="596"/>
                </a:lnTo>
                <a:lnTo>
                  <a:pt x="962" y="601"/>
                </a:lnTo>
                <a:lnTo>
                  <a:pt x="952" y="606"/>
                </a:lnTo>
                <a:lnTo>
                  <a:pt x="942" y="611"/>
                </a:lnTo>
                <a:lnTo>
                  <a:pt x="941" y="611"/>
                </a:lnTo>
                <a:lnTo>
                  <a:pt x="939" y="611"/>
                </a:lnTo>
                <a:lnTo>
                  <a:pt x="936" y="611"/>
                </a:lnTo>
                <a:lnTo>
                  <a:pt x="934" y="609"/>
                </a:lnTo>
                <a:lnTo>
                  <a:pt x="931" y="606"/>
                </a:lnTo>
                <a:lnTo>
                  <a:pt x="930" y="603"/>
                </a:lnTo>
                <a:lnTo>
                  <a:pt x="918" y="587"/>
                </a:lnTo>
                <a:lnTo>
                  <a:pt x="905" y="571"/>
                </a:lnTo>
                <a:lnTo>
                  <a:pt x="905" y="568"/>
                </a:lnTo>
                <a:lnTo>
                  <a:pt x="907" y="567"/>
                </a:lnTo>
                <a:lnTo>
                  <a:pt x="914" y="558"/>
                </a:lnTo>
                <a:lnTo>
                  <a:pt x="919" y="547"/>
                </a:lnTo>
                <a:lnTo>
                  <a:pt x="925" y="538"/>
                </a:lnTo>
                <a:lnTo>
                  <a:pt x="932" y="527"/>
                </a:lnTo>
                <a:lnTo>
                  <a:pt x="944" y="508"/>
                </a:lnTo>
                <a:lnTo>
                  <a:pt x="957" y="488"/>
                </a:lnTo>
                <a:lnTo>
                  <a:pt x="969" y="468"/>
                </a:lnTo>
                <a:lnTo>
                  <a:pt x="981" y="448"/>
                </a:lnTo>
                <a:lnTo>
                  <a:pt x="980" y="448"/>
                </a:lnTo>
                <a:lnTo>
                  <a:pt x="980" y="447"/>
                </a:lnTo>
                <a:lnTo>
                  <a:pt x="980" y="448"/>
                </a:lnTo>
                <a:lnTo>
                  <a:pt x="981" y="448"/>
                </a:lnTo>
                <a:lnTo>
                  <a:pt x="994" y="427"/>
                </a:lnTo>
                <a:lnTo>
                  <a:pt x="1006" y="407"/>
                </a:lnTo>
                <a:lnTo>
                  <a:pt x="1019" y="386"/>
                </a:lnTo>
                <a:lnTo>
                  <a:pt x="1031" y="365"/>
                </a:lnTo>
                <a:lnTo>
                  <a:pt x="1033" y="363"/>
                </a:lnTo>
                <a:lnTo>
                  <a:pt x="1035" y="361"/>
                </a:lnTo>
                <a:lnTo>
                  <a:pt x="1035" y="359"/>
                </a:lnTo>
                <a:lnTo>
                  <a:pt x="1035" y="358"/>
                </a:lnTo>
                <a:lnTo>
                  <a:pt x="1035" y="357"/>
                </a:lnTo>
                <a:lnTo>
                  <a:pt x="1034" y="356"/>
                </a:lnTo>
                <a:lnTo>
                  <a:pt x="1033" y="356"/>
                </a:lnTo>
                <a:lnTo>
                  <a:pt x="1031" y="358"/>
                </a:lnTo>
                <a:lnTo>
                  <a:pt x="1028" y="361"/>
                </a:lnTo>
                <a:lnTo>
                  <a:pt x="1026" y="363"/>
                </a:lnTo>
                <a:lnTo>
                  <a:pt x="998" y="393"/>
                </a:lnTo>
                <a:lnTo>
                  <a:pt x="970" y="425"/>
                </a:lnTo>
                <a:lnTo>
                  <a:pt x="941" y="456"/>
                </a:lnTo>
                <a:lnTo>
                  <a:pt x="912" y="487"/>
                </a:lnTo>
                <a:lnTo>
                  <a:pt x="903" y="497"/>
                </a:lnTo>
                <a:lnTo>
                  <a:pt x="894" y="508"/>
                </a:lnTo>
                <a:lnTo>
                  <a:pt x="884" y="519"/>
                </a:lnTo>
                <a:lnTo>
                  <a:pt x="875" y="530"/>
                </a:lnTo>
                <a:lnTo>
                  <a:pt x="874" y="531"/>
                </a:lnTo>
                <a:lnTo>
                  <a:pt x="872" y="533"/>
                </a:lnTo>
                <a:lnTo>
                  <a:pt x="863" y="529"/>
                </a:lnTo>
                <a:lnTo>
                  <a:pt x="855" y="523"/>
                </a:lnTo>
                <a:lnTo>
                  <a:pt x="846" y="517"/>
                </a:lnTo>
                <a:lnTo>
                  <a:pt x="835" y="511"/>
                </a:lnTo>
                <a:lnTo>
                  <a:pt x="825" y="506"/>
                </a:lnTo>
                <a:lnTo>
                  <a:pt x="813" y="504"/>
                </a:lnTo>
                <a:lnTo>
                  <a:pt x="813" y="494"/>
                </a:lnTo>
                <a:lnTo>
                  <a:pt x="813" y="483"/>
                </a:lnTo>
                <a:lnTo>
                  <a:pt x="813" y="473"/>
                </a:lnTo>
                <a:lnTo>
                  <a:pt x="814" y="462"/>
                </a:lnTo>
                <a:lnTo>
                  <a:pt x="815" y="433"/>
                </a:lnTo>
                <a:lnTo>
                  <a:pt x="817" y="404"/>
                </a:lnTo>
                <a:lnTo>
                  <a:pt x="819" y="376"/>
                </a:lnTo>
                <a:lnTo>
                  <a:pt x="819" y="347"/>
                </a:lnTo>
                <a:lnTo>
                  <a:pt x="820" y="322"/>
                </a:lnTo>
                <a:lnTo>
                  <a:pt x="821" y="299"/>
                </a:lnTo>
                <a:lnTo>
                  <a:pt x="822" y="275"/>
                </a:lnTo>
                <a:lnTo>
                  <a:pt x="824" y="252"/>
                </a:lnTo>
                <a:lnTo>
                  <a:pt x="824" y="251"/>
                </a:lnTo>
                <a:lnTo>
                  <a:pt x="824" y="250"/>
                </a:lnTo>
                <a:lnTo>
                  <a:pt x="822" y="249"/>
                </a:lnTo>
                <a:lnTo>
                  <a:pt x="821" y="247"/>
                </a:lnTo>
                <a:lnTo>
                  <a:pt x="819" y="249"/>
                </a:lnTo>
                <a:lnTo>
                  <a:pt x="819" y="251"/>
                </a:lnTo>
                <a:lnTo>
                  <a:pt x="818" y="259"/>
                </a:lnTo>
                <a:lnTo>
                  <a:pt x="815" y="266"/>
                </a:lnTo>
                <a:lnTo>
                  <a:pt x="814" y="271"/>
                </a:lnTo>
                <a:lnTo>
                  <a:pt x="814" y="274"/>
                </a:lnTo>
                <a:lnTo>
                  <a:pt x="813" y="278"/>
                </a:lnTo>
                <a:lnTo>
                  <a:pt x="813" y="281"/>
                </a:lnTo>
                <a:lnTo>
                  <a:pt x="812" y="281"/>
                </a:lnTo>
                <a:lnTo>
                  <a:pt x="812" y="281"/>
                </a:lnTo>
                <a:lnTo>
                  <a:pt x="812" y="282"/>
                </a:lnTo>
                <a:lnTo>
                  <a:pt x="811" y="285"/>
                </a:lnTo>
                <a:lnTo>
                  <a:pt x="811" y="287"/>
                </a:lnTo>
                <a:lnTo>
                  <a:pt x="811" y="289"/>
                </a:lnTo>
                <a:lnTo>
                  <a:pt x="810" y="292"/>
                </a:lnTo>
                <a:lnTo>
                  <a:pt x="805" y="312"/>
                </a:lnTo>
                <a:lnTo>
                  <a:pt x="800" y="330"/>
                </a:lnTo>
                <a:lnTo>
                  <a:pt x="797" y="350"/>
                </a:lnTo>
                <a:lnTo>
                  <a:pt x="792" y="370"/>
                </a:lnTo>
                <a:lnTo>
                  <a:pt x="786" y="399"/>
                </a:lnTo>
                <a:lnTo>
                  <a:pt x="780" y="427"/>
                </a:lnTo>
                <a:lnTo>
                  <a:pt x="774" y="456"/>
                </a:lnTo>
                <a:lnTo>
                  <a:pt x="767" y="485"/>
                </a:lnTo>
                <a:lnTo>
                  <a:pt x="766" y="490"/>
                </a:lnTo>
                <a:lnTo>
                  <a:pt x="765" y="495"/>
                </a:lnTo>
                <a:lnTo>
                  <a:pt x="763" y="496"/>
                </a:lnTo>
                <a:lnTo>
                  <a:pt x="762" y="497"/>
                </a:lnTo>
                <a:lnTo>
                  <a:pt x="758" y="498"/>
                </a:lnTo>
                <a:lnTo>
                  <a:pt x="755" y="497"/>
                </a:lnTo>
                <a:lnTo>
                  <a:pt x="753" y="498"/>
                </a:lnTo>
                <a:lnTo>
                  <a:pt x="752" y="498"/>
                </a:lnTo>
                <a:lnTo>
                  <a:pt x="751" y="498"/>
                </a:lnTo>
                <a:lnTo>
                  <a:pt x="750" y="498"/>
                </a:lnTo>
                <a:lnTo>
                  <a:pt x="748" y="498"/>
                </a:lnTo>
                <a:lnTo>
                  <a:pt x="746" y="499"/>
                </a:lnTo>
                <a:lnTo>
                  <a:pt x="744" y="498"/>
                </a:lnTo>
                <a:lnTo>
                  <a:pt x="742" y="498"/>
                </a:lnTo>
                <a:lnTo>
                  <a:pt x="732" y="499"/>
                </a:lnTo>
                <a:lnTo>
                  <a:pt x="723" y="501"/>
                </a:lnTo>
                <a:lnTo>
                  <a:pt x="714" y="503"/>
                </a:lnTo>
                <a:lnTo>
                  <a:pt x="704" y="505"/>
                </a:lnTo>
                <a:lnTo>
                  <a:pt x="702" y="505"/>
                </a:lnTo>
                <a:lnTo>
                  <a:pt x="698" y="506"/>
                </a:lnTo>
                <a:lnTo>
                  <a:pt x="696" y="505"/>
                </a:lnTo>
                <a:lnTo>
                  <a:pt x="694" y="503"/>
                </a:lnTo>
                <a:lnTo>
                  <a:pt x="689" y="495"/>
                </a:lnTo>
                <a:lnTo>
                  <a:pt x="684" y="487"/>
                </a:lnTo>
                <a:lnTo>
                  <a:pt x="674" y="471"/>
                </a:lnTo>
                <a:lnTo>
                  <a:pt x="663" y="457"/>
                </a:lnTo>
                <a:lnTo>
                  <a:pt x="653" y="442"/>
                </a:lnTo>
                <a:lnTo>
                  <a:pt x="644" y="427"/>
                </a:lnTo>
                <a:lnTo>
                  <a:pt x="642" y="426"/>
                </a:lnTo>
                <a:lnTo>
                  <a:pt x="642" y="424"/>
                </a:lnTo>
                <a:lnTo>
                  <a:pt x="620" y="393"/>
                </a:lnTo>
                <a:lnTo>
                  <a:pt x="599" y="362"/>
                </a:lnTo>
                <a:lnTo>
                  <a:pt x="578" y="330"/>
                </a:lnTo>
                <a:lnTo>
                  <a:pt x="556" y="300"/>
                </a:lnTo>
                <a:lnTo>
                  <a:pt x="556" y="299"/>
                </a:lnTo>
                <a:lnTo>
                  <a:pt x="555" y="298"/>
                </a:lnTo>
                <a:lnTo>
                  <a:pt x="552" y="296"/>
                </a:lnTo>
                <a:lnTo>
                  <a:pt x="550" y="298"/>
                </a:lnTo>
                <a:lnTo>
                  <a:pt x="557" y="312"/>
                </a:lnTo>
                <a:lnTo>
                  <a:pt x="564" y="327"/>
                </a:lnTo>
                <a:lnTo>
                  <a:pt x="571" y="341"/>
                </a:lnTo>
                <a:lnTo>
                  <a:pt x="577" y="356"/>
                </a:lnTo>
                <a:lnTo>
                  <a:pt x="589" y="382"/>
                </a:lnTo>
                <a:lnTo>
                  <a:pt x="600" y="406"/>
                </a:lnTo>
                <a:lnTo>
                  <a:pt x="612" y="432"/>
                </a:lnTo>
                <a:lnTo>
                  <a:pt x="624" y="456"/>
                </a:lnTo>
                <a:lnTo>
                  <a:pt x="631" y="473"/>
                </a:lnTo>
                <a:lnTo>
                  <a:pt x="639" y="489"/>
                </a:lnTo>
                <a:lnTo>
                  <a:pt x="646" y="505"/>
                </a:lnTo>
                <a:lnTo>
                  <a:pt x="654" y="522"/>
                </a:lnTo>
                <a:lnTo>
                  <a:pt x="655" y="525"/>
                </a:lnTo>
                <a:lnTo>
                  <a:pt x="655" y="527"/>
                </a:lnTo>
                <a:lnTo>
                  <a:pt x="654" y="531"/>
                </a:lnTo>
                <a:lnTo>
                  <a:pt x="652" y="533"/>
                </a:lnTo>
                <a:lnTo>
                  <a:pt x="637" y="545"/>
                </a:lnTo>
                <a:lnTo>
                  <a:pt x="624" y="558"/>
                </a:lnTo>
                <a:lnTo>
                  <a:pt x="611" y="573"/>
                </a:lnTo>
                <a:lnTo>
                  <a:pt x="600" y="588"/>
                </a:lnTo>
                <a:lnTo>
                  <a:pt x="599" y="590"/>
                </a:lnTo>
                <a:lnTo>
                  <a:pt x="597" y="592"/>
                </a:lnTo>
                <a:lnTo>
                  <a:pt x="596" y="592"/>
                </a:lnTo>
                <a:lnTo>
                  <a:pt x="592" y="592"/>
                </a:lnTo>
                <a:lnTo>
                  <a:pt x="584" y="588"/>
                </a:lnTo>
                <a:lnTo>
                  <a:pt x="575" y="586"/>
                </a:lnTo>
                <a:lnTo>
                  <a:pt x="566" y="582"/>
                </a:lnTo>
                <a:lnTo>
                  <a:pt x="557" y="580"/>
                </a:lnTo>
                <a:lnTo>
                  <a:pt x="546" y="576"/>
                </a:lnTo>
                <a:lnTo>
                  <a:pt x="537" y="573"/>
                </a:lnTo>
                <a:lnTo>
                  <a:pt x="527" y="569"/>
                </a:lnTo>
                <a:lnTo>
                  <a:pt x="516" y="566"/>
                </a:lnTo>
                <a:lnTo>
                  <a:pt x="509" y="564"/>
                </a:lnTo>
                <a:lnTo>
                  <a:pt x="502" y="562"/>
                </a:lnTo>
                <a:lnTo>
                  <a:pt x="493" y="558"/>
                </a:lnTo>
                <a:lnTo>
                  <a:pt x="483" y="554"/>
                </a:lnTo>
                <a:lnTo>
                  <a:pt x="473" y="552"/>
                </a:lnTo>
                <a:lnTo>
                  <a:pt x="463" y="548"/>
                </a:lnTo>
                <a:lnTo>
                  <a:pt x="449" y="544"/>
                </a:lnTo>
                <a:lnTo>
                  <a:pt x="435" y="539"/>
                </a:lnTo>
                <a:lnTo>
                  <a:pt x="420" y="534"/>
                </a:lnTo>
                <a:lnTo>
                  <a:pt x="406" y="531"/>
                </a:lnTo>
                <a:lnTo>
                  <a:pt x="400" y="529"/>
                </a:lnTo>
                <a:lnTo>
                  <a:pt x="393" y="526"/>
                </a:lnTo>
                <a:lnTo>
                  <a:pt x="386" y="525"/>
                </a:lnTo>
                <a:lnTo>
                  <a:pt x="378" y="525"/>
                </a:lnTo>
                <a:lnTo>
                  <a:pt x="392" y="533"/>
                </a:lnTo>
                <a:lnTo>
                  <a:pt x="406" y="540"/>
                </a:lnTo>
                <a:lnTo>
                  <a:pt x="419" y="547"/>
                </a:lnTo>
                <a:lnTo>
                  <a:pt x="432" y="554"/>
                </a:lnTo>
                <a:lnTo>
                  <a:pt x="451" y="566"/>
                </a:lnTo>
                <a:lnTo>
                  <a:pt x="469" y="576"/>
                </a:lnTo>
                <a:lnTo>
                  <a:pt x="489" y="587"/>
                </a:lnTo>
                <a:lnTo>
                  <a:pt x="508" y="596"/>
                </a:lnTo>
                <a:lnTo>
                  <a:pt x="525" y="606"/>
                </a:lnTo>
                <a:lnTo>
                  <a:pt x="542" y="615"/>
                </a:lnTo>
                <a:lnTo>
                  <a:pt x="559" y="624"/>
                </a:lnTo>
                <a:lnTo>
                  <a:pt x="576" y="634"/>
                </a:lnTo>
                <a:lnTo>
                  <a:pt x="578" y="635"/>
                </a:lnTo>
                <a:lnTo>
                  <a:pt x="579" y="636"/>
                </a:lnTo>
                <a:lnTo>
                  <a:pt x="579" y="638"/>
                </a:lnTo>
                <a:lnTo>
                  <a:pt x="578" y="641"/>
                </a:lnTo>
                <a:lnTo>
                  <a:pt x="576" y="655"/>
                </a:lnTo>
                <a:lnTo>
                  <a:pt x="573" y="669"/>
                </a:lnTo>
                <a:lnTo>
                  <a:pt x="572" y="684"/>
                </a:lnTo>
                <a:lnTo>
                  <a:pt x="573" y="698"/>
                </a:lnTo>
                <a:lnTo>
                  <a:pt x="572" y="709"/>
                </a:lnTo>
                <a:lnTo>
                  <a:pt x="572" y="720"/>
                </a:lnTo>
                <a:lnTo>
                  <a:pt x="557" y="727"/>
                </a:lnTo>
                <a:lnTo>
                  <a:pt x="542" y="736"/>
                </a:lnTo>
                <a:lnTo>
                  <a:pt x="523" y="746"/>
                </a:lnTo>
                <a:lnTo>
                  <a:pt x="504" y="756"/>
                </a:lnTo>
                <a:lnTo>
                  <a:pt x="487" y="767"/>
                </a:lnTo>
                <a:lnTo>
                  <a:pt x="468" y="777"/>
                </a:lnTo>
                <a:lnTo>
                  <a:pt x="461" y="781"/>
                </a:lnTo>
                <a:lnTo>
                  <a:pt x="455" y="784"/>
                </a:lnTo>
                <a:lnTo>
                  <a:pt x="449" y="788"/>
                </a:lnTo>
                <a:lnTo>
                  <a:pt x="442" y="789"/>
                </a:lnTo>
                <a:lnTo>
                  <a:pt x="441" y="785"/>
                </a:lnTo>
                <a:lnTo>
                  <a:pt x="438" y="783"/>
                </a:lnTo>
                <a:lnTo>
                  <a:pt x="438" y="782"/>
                </a:lnTo>
                <a:lnTo>
                  <a:pt x="437" y="781"/>
                </a:lnTo>
                <a:lnTo>
                  <a:pt x="435" y="780"/>
                </a:lnTo>
                <a:lnTo>
                  <a:pt x="433" y="780"/>
                </a:lnTo>
                <a:lnTo>
                  <a:pt x="433" y="780"/>
                </a:lnTo>
                <a:lnTo>
                  <a:pt x="431" y="777"/>
                </a:lnTo>
                <a:lnTo>
                  <a:pt x="428" y="775"/>
                </a:lnTo>
                <a:lnTo>
                  <a:pt x="425" y="770"/>
                </a:lnTo>
                <a:lnTo>
                  <a:pt x="421" y="768"/>
                </a:lnTo>
                <a:lnTo>
                  <a:pt x="417" y="767"/>
                </a:lnTo>
                <a:lnTo>
                  <a:pt x="412" y="766"/>
                </a:lnTo>
                <a:lnTo>
                  <a:pt x="410" y="764"/>
                </a:lnTo>
                <a:lnTo>
                  <a:pt x="408" y="762"/>
                </a:lnTo>
                <a:lnTo>
                  <a:pt x="408" y="760"/>
                </a:lnTo>
                <a:lnTo>
                  <a:pt x="408" y="759"/>
                </a:lnTo>
                <a:lnTo>
                  <a:pt x="408" y="749"/>
                </a:lnTo>
                <a:lnTo>
                  <a:pt x="406" y="740"/>
                </a:lnTo>
                <a:lnTo>
                  <a:pt x="406" y="739"/>
                </a:lnTo>
                <a:lnTo>
                  <a:pt x="406" y="738"/>
                </a:lnTo>
                <a:lnTo>
                  <a:pt x="406" y="732"/>
                </a:lnTo>
                <a:lnTo>
                  <a:pt x="404" y="727"/>
                </a:lnTo>
                <a:lnTo>
                  <a:pt x="398" y="709"/>
                </a:lnTo>
                <a:lnTo>
                  <a:pt x="392" y="693"/>
                </a:lnTo>
                <a:lnTo>
                  <a:pt x="387" y="681"/>
                </a:lnTo>
                <a:lnTo>
                  <a:pt x="382" y="670"/>
                </a:lnTo>
                <a:lnTo>
                  <a:pt x="376" y="658"/>
                </a:lnTo>
                <a:lnTo>
                  <a:pt x="371" y="646"/>
                </a:lnTo>
                <a:lnTo>
                  <a:pt x="364" y="631"/>
                </a:lnTo>
                <a:lnTo>
                  <a:pt x="356" y="616"/>
                </a:lnTo>
                <a:lnTo>
                  <a:pt x="348" y="601"/>
                </a:lnTo>
                <a:lnTo>
                  <a:pt x="339" y="587"/>
                </a:lnTo>
                <a:lnTo>
                  <a:pt x="325" y="562"/>
                </a:lnTo>
                <a:lnTo>
                  <a:pt x="314" y="538"/>
                </a:lnTo>
                <a:lnTo>
                  <a:pt x="303" y="512"/>
                </a:lnTo>
                <a:lnTo>
                  <a:pt x="293" y="487"/>
                </a:lnTo>
                <a:lnTo>
                  <a:pt x="289" y="475"/>
                </a:lnTo>
                <a:lnTo>
                  <a:pt x="285" y="462"/>
                </a:lnTo>
                <a:lnTo>
                  <a:pt x="282" y="450"/>
                </a:lnTo>
                <a:lnTo>
                  <a:pt x="279" y="438"/>
                </a:lnTo>
                <a:lnTo>
                  <a:pt x="279" y="434"/>
                </a:lnTo>
                <a:lnTo>
                  <a:pt x="278" y="431"/>
                </a:lnTo>
                <a:lnTo>
                  <a:pt x="273" y="415"/>
                </a:lnTo>
                <a:lnTo>
                  <a:pt x="269" y="401"/>
                </a:lnTo>
                <a:lnTo>
                  <a:pt x="266" y="386"/>
                </a:lnTo>
                <a:lnTo>
                  <a:pt x="263" y="371"/>
                </a:lnTo>
                <a:lnTo>
                  <a:pt x="262" y="361"/>
                </a:lnTo>
                <a:lnTo>
                  <a:pt x="260" y="350"/>
                </a:lnTo>
                <a:lnTo>
                  <a:pt x="256" y="340"/>
                </a:lnTo>
                <a:lnTo>
                  <a:pt x="251" y="330"/>
                </a:lnTo>
                <a:lnTo>
                  <a:pt x="247" y="324"/>
                </a:lnTo>
                <a:lnTo>
                  <a:pt x="246" y="319"/>
                </a:lnTo>
                <a:lnTo>
                  <a:pt x="247" y="315"/>
                </a:lnTo>
                <a:lnTo>
                  <a:pt x="249" y="314"/>
                </a:lnTo>
                <a:lnTo>
                  <a:pt x="252" y="313"/>
                </a:lnTo>
                <a:lnTo>
                  <a:pt x="255" y="310"/>
                </a:lnTo>
                <a:lnTo>
                  <a:pt x="256" y="309"/>
                </a:lnTo>
                <a:lnTo>
                  <a:pt x="258" y="308"/>
                </a:lnTo>
                <a:lnTo>
                  <a:pt x="270" y="299"/>
                </a:lnTo>
                <a:lnTo>
                  <a:pt x="281" y="288"/>
                </a:lnTo>
                <a:lnTo>
                  <a:pt x="290" y="277"/>
                </a:lnTo>
                <a:lnTo>
                  <a:pt x="297" y="265"/>
                </a:lnTo>
                <a:lnTo>
                  <a:pt x="303" y="251"/>
                </a:lnTo>
                <a:lnTo>
                  <a:pt x="307" y="238"/>
                </a:lnTo>
                <a:lnTo>
                  <a:pt x="309" y="223"/>
                </a:lnTo>
                <a:lnTo>
                  <a:pt x="310" y="208"/>
                </a:lnTo>
                <a:lnTo>
                  <a:pt x="310" y="203"/>
                </a:lnTo>
                <a:lnTo>
                  <a:pt x="313" y="200"/>
                </a:lnTo>
                <a:lnTo>
                  <a:pt x="315" y="197"/>
                </a:lnTo>
                <a:lnTo>
                  <a:pt x="317" y="196"/>
                </a:lnTo>
                <a:lnTo>
                  <a:pt x="317" y="194"/>
                </a:lnTo>
                <a:lnTo>
                  <a:pt x="317" y="193"/>
                </a:lnTo>
                <a:lnTo>
                  <a:pt x="314" y="190"/>
                </a:lnTo>
                <a:lnTo>
                  <a:pt x="311" y="188"/>
                </a:lnTo>
                <a:lnTo>
                  <a:pt x="309" y="186"/>
                </a:lnTo>
                <a:lnTo>
                  <a:pt x="308" y="183"/>
                </a:lnTo>
                <a:lnTo>
                  <a:pt x="308" y="181"/>
                </a:lnTo>
                <a:lnTo>
                  <a:pt x="308" y="179"/>
                </a:lnTo>
                <a:lnTo>
                  <a:pt x="308" y="174"/>
                </a:lnTo>
                <a:lnTo>
                  <a:pt x="308" y="170"/>
                </a:lnTo>
                <a:lnTo>
                  <a:pt x="307" y="165"/>
                </a:lnTo>
                <a:lnTo>
                  <a:pt x="308" y="160"/>
                </a:lnTo>
                <a:lnTo>
                  <a:pt x="310" y="155"/>
                </a:lnTo>
                <a:lnTo>
                  <a:pt x="314" y="152"/>
                </a:lnTo>
                <a:lnTo>
                  <a:pt x="318" y="147"/>
                </a:lnTo>
                <a:lnTo>
                  <a:pt x="320" y="144"/>
                </a:lnTo>
                <a:lnTo>
                  <a:pt x="317" y="140"/>
                </a:lnTo>
                <a:lnTo>
                  <a:pt x="311" y="138"/>
                </a:lnTo>
                <a:lnTo>
                  <a:pt x="306" y="135"/>
                </a:lnTo>
                <a:lnTo>
                  <a:pt x="301" y="132"/>
                </a:lnTo>
                <a:lnTo>
                  <a:pt x="299" y="127"/>
                </a:lnTo>
                <a:lnTo>
                  <a:pt x="296" y="123"/>
                </a:lnTo>
                <a:lnTo>
                  <a:pt x="295" y="119"/>
                </a:lnTo>
                <a:lnTo>
                  <a:pt x="296" y="118"/>
                </a:lnTo>
                <a:lnTo>
                  <a:pt x="297" y="117"/>
                </a:lnTo>
                <a:lnTo>
                  <a:pt x="300" y="116"/>
                </a:lnTo>
                <a:lnTo>
                  <a:pt x="308" y="116"/>
                </a:lnTo>
                <a:lnTo>
                  <a:pt x="315" y="117"/>
                </a:lnTo>
                <a:lnTo>
                  <a:pt x="318" y="118"/>
                </a:lnTo>
                <a:lnTo>
                  <a:pt x="322" y="118"/>
                </a:lnTo>
                <a:lnTo>
                  <a:pt x="324" y="118"/>
                </a:lnTo>
                <a:lnTo>
                  <a:pt x="327" y="117"/>
                </a:lnTo>
                <a:lnTo>
                  <a:pt x="329" y="116"/>
                </a:lnTo>
                <a:lnTo>
                  <a:pt x="330" y="113"/>
                </a:lnTo>
                <a:lnTo>
                  <a:pt x="331" y="110"/>
                </a:lnTo>
                <a:lnTo>
                  <a:pt x="332" y="106"/>
                </a:lnTo>
                <a:lnTo>
                  <a:pt x="332" y="105"/>
                </a:lnTo>
                <a:lnTo>
                  <a:pt x="334" y="104"/>
                </a:lnTo>
                <a:lnTo>
                  <a:pt x="336" y="103"/>
                </a:lnTo>
                <a:lnTo>
                  <a:pt x="338" y="102"/>
                </a:lnTo>
                <a:lnTo>
                  <a:pt x="342" y="97"/>
                </a:lnTo>
                <a:lnTo>
                  <a:pt x="343" y="92"/>
                </a:lnTo>
                <a:lnTo>
                  <a:pt x="343" y="89"/>
                </a:lnTo>
                <a:lnTo>
                  <a:pt x="343" y="86"/>
                </a:lnTo>
                <a:lnTo>
                  <a:pt x="342" y="84"/>
                </a:lnTo>
                <a:lnTo>
                  <a:pt x="339" y="82"/>
                </a:lnTo>
                <a:lnTo>
                  <a:pt x="338" y="81"/>
                </a:lnTo>
                <a:lnTo>
                  <a:pt x="336" y="79"/>
                </a:lnTo>
                <a:lnTo>
                  <a:pt x="335" y="81"/>
                </a:lnTo>
                <a:lnTo>
                  <a:pt x="334" y="82"/>
                </a:lnTo>
                <a:lnTo>
                  <a:pt x="331" y="84"/>
                </a:lnTo>
                <a:lnTo>
                  <a:pt x="329" y="86"/>
                </a:lnTo>
                <a:lnTo>
                  <a:pt x="325" y="89"/>
                </a:lnTo>
                <a:lnTo>
                  <a:pt x="322" y="91"/>
                </a:lnTo>
                <a:lnTo>
                  <a:pt x="318" y="92"/>
                </a:lnTo>
                <a:lnTo>
                  <a:pt x="314" y="92"/>
                </a:lnTo>
                <a:lnTo>
                  <a:pt x="313" y="91"/>
                </a:lnTo>
                <a:lnTo>
                  <a:pt x="311" y="92"/>
                </a:lnTo>
                <a:lnTo>
                  <a:pt x="310" y="91"/>
                </a:lnTo>
                <a:lnTo>
                  <a:pt x="309" y="90"/>
                </a:lnTo>
                <a:lnTo>
                  <a:pt x="302" y="85"/>
                </a:lnTo>
                <a:lnTo>
                  <a:pt x="294" y="82"/>
                </a:lnTo>
                <a:lnTo>
                  <a:pt x="289" y="79"/>
                </a:lnTo>
                <a:lnTo>
                  <a:pt x="285" y="81"/>
                </a:lnTo>
                <a:lnTo>
                  <a:pt x="280" y="82"/>
                </a:lnTo>
                <a:lnTo>
                  <a:pt x="276" y="84"/>
                </a:lnTo>
                <a:lnTo>
                  <a:pt x="268" y="75"/>
                </a:lnTo>
                <a:lnTo>
                  <a:pt x="259" y="68"/>
                </a:lnTo>
                <a:lnTo>
                  <a:pt x="260" y="71"/>
                </a:lnTo>
                <a:lnTo>
                  <a:pt x="261" y="74"/>
                </a:lnTo>
                <a:lnTo>
                  <a:pt x="258" y="75"/>
                </a:lnTo>
                <a:lnTo>
                  <a:pt x="255" y="75"/>
                </a:lnTo>
                <a:lnTo>
                  <a:pt x="254" y="71"/>
                </a:lnTo>
                <a:lnTo>
                  <a:pt x="254" y="68"/>
                </a:lnTo>
                <a:lnTo>
                  <a:pt x="256" y="68"/>
                </a:lnTo>
                <a:lnTo>
                  <a:pt x="259" y="68"/>
                </a:lnTo>
                <a:lnTo>
                  <a:pt x="258" y="65"/>
                </a:lnTo>
                <a:lnTo>
                  <a:pt x="256" y="64"/>
                </a:lnTo>
                <a:lnTo>
                  <a:pt x="256" y="62"/>
                </a:lnTo>
                <a:lnTo>
                  <a:pt x="258" y="60"/>
                </a:lnTo>
                <a:lnTo>
                  <a:pt x="261" y="56"/>
                </a:lnTo>
                <a:lnTo>
                  <a:pt x="262" y="55"/>
                </a:lnTo>
                <a:lnTo>
                  <a:pt x="260" y="53"/>
                </a:lnTo>
                <a:lnTo>
                  <a:pt x="255" y="51"/>
                </a:lnTo>
                <a:lnTo>
                  <a:pt x="252" y="50"/>
                </a:lnTo>
                <a:lnTo>
                  <a:pt x="248" y="48"/>
                </a:lnTo>
                <a:lnTo>
                  <a:pt x="248" y="44"/>
                </a:lnTo>
                <a:lnTo>
                  <a:pt x="249" y="42"/>
                </a:lnTo>
                <a:lnTo>
                  <a:pt x="252" y="40"/>
                </a:lnTo>
                <a:lnTo>
                  <a:pt x="253" y="39"/>
                </a:lnTo>
                <a:lnTo>
                  <a:pt x="254" y="36"/>
                </a:lnTo>
                <a:lnTo>
                  <a:pt x="254" y="34"/>
                </a:lnTo>
                <a:lnTo>
                  <a:pt x="253" y="32"/>
                </a:lnTo>
                <a:lnTo>
                  <a:pt x="252" y="30"/>
                </a:lnTo>
                <a:lnTo>
                  <a:pt x="251" y="29"/>
                </a:lnTo>
                <a:lnTo>
                  <a:pt x="248" y="30"/>
                </a:lnTo>
                <a:lnTo>
                  <a:pt x="247" y="29"/>
                </a:lnTo>
                <a:lnTo>
                  <a:pt x="246" y="28"/>
                </a:lnTo>
                <a:lnTo>
                  <a:pt x="242" y="28"/>
                </a:lnTo>
                <a:lnTo>
                  <a:pt x="239" y="28"/>
                </a:lnTo>
                <a:lnTo>
                  <a:pt x="237" y="27"/>
                </a:lnTo>
                <a:lnTo>
                  <a:pt x="234" y="26"/>
                </a:lnTo>
                <a:lnTo>
                  <a:pt x="232" y="22"/>
                </a:lnTo>
                <a:lnTo>
                  <a:pt x="230" y="16"/>
                </a:lnTo>
                <a:lnTo>
                  <a:pt x="228" y="13"/>
                </a:lnTo>
                <a:lnTo>
                  <a:pt x="226" y="11"/>
                </a:lnTo>
                <a:lnTo>
                  <a:pt x="224" y="8"/>
                </a:lnTo>
                <a:lnTo>
                  <a:pt x="221" y="6"/>
                </a:lnTo>
                <a:lnTo>
                  <a:pt x="217" y="7"/>
                </a:lnTo>
                <a:lnTo>
                  <a:pt x="213" y="9"/>
                </a:lnTo>
                <a:lnTo>
                  <a:pt x="206" y="12"/>
                </a:lnTo>
                <a:lnTo>
                  <a:pt x="199" y="16"/>
                </a:lnTo>
                <a:lnTo>
                  <a:pt x="194" y="21"/>
                </a:lnTo>
                <a:lnTo>
                  <a:pt x="189" y="28"/>
                </a:lnTo>
                <a:lnTo>
                  <a:pt x="187" y="28"/>
                </a:lnTo>
                <a:lnTo>
                  <a:pt x="185" y="28"/>
                </a:lnTo>
                <a:lnTo>
                  <a:pt x="187" y="21"/>
                </a:lnTo>
                <a:lnTo>
                  <a:pt x="191" y="14"/>
                </a:lnTo>
                <a:lnTo>
                  <a:pt x="194" y="12"/>
                </a:lnTo>
                <a:lnTo>
                  <a:pt x="197" y="9"/>
                </a:lnTo>
                <a:lnTo>
                  <a:pt x="200" y="7"/>
                </a:lnTo>
                <a:lnTo>
                  <a:pt x="205" y="6"/>
                </a:lnTo>
                <a:lnTo>
                  <a:pt x="199" y="2"/>
                </a:lnTo>
                <a:lnTo>
                  <a:pt x="192" y="0"/>
                </a:lnTo>
                <a:lnTo>
                  <a:pt x="189" y="0"/>
                </a:lnTo>
                <a:lnTo>
                  <a:pt x="186" y="1"/>
                </a:lnTo>
                <a:lnTo>
                  <a:pt x="183" y="2"/>
                </a:lnTo>
                <a:lnTo>
                  <a:pt x="179" y="6"/>
                </a:lnTo>
                <a:lnTo>
                  <a:pt x="178" y="6"/>
                </a:lnTo>
                <a:lnTo>
                  <a:pt x="176" y="6"/>
                </a:lnTo>
                <a:lnTo>
                  <a:pt x="171" y="5"/>
                </a:lnTo>
                <a:lnTo>
                  <a:pt x="166" y="5"/>
                </a:lnTo>
                <a:lnTo>
                  <a:pt x="164" y="5"/>
                </a:lnTo>
                <a:lnTo>
                  <a:pt x="163" y="6"/>
                </a:lnTo>
                <a:lnTo>
                  <a:pt x="161" y="7"/>
                </a:lnTo>
                <a:lnTo>
                  <a:pt x="158" y="9"/>
                </a:lnTo>
                <a:lnTo>
                  <a:pt x="157" y="12"/>
                </a:lnTo>
                <a:lnTo>
                  <a:pt x="155" y="12"/>
                </a:lnTo>
                <a:lnTo>
                  <a:pt x="154" y="9"/>
                </a:lnTo>
                <a:lnTo>
                  <a:pt x="152" y="7"/>
                </a:lnTo>
                <a:lnTo>
                  <a:pt x="152" y="5"/>
                </a:lnTo>
                <a:lnTo>
                  <a:pt x="152" y="4"/>
                </a:lnTo>
                <a:lnTo>
                  <a:pt x="152" y="1"/>
                </a:lnTo>
                <a:lnTo>
                  <a:pt x="151" y="0"/>
                </a:lnTo>
                <a:lnTo>
                  <a:pt x="148" y="2"/>
                </a:lnTo>
                <a:lnTo>
                  <a:pt x="145" y="5"/>
                </a:lnTo>
                <a:lnTo>
                  <a:pt x="144" y="7"/>
                </a:lnTo>
                <a:lnTo>
                  <a:pt x="142" y="9"/>
                </a:lnTo>
                <a:lnTo>
                  <a:pt x="140" y="12"/>
                </a:lnTo>
                <a:lnTo>
                  <a:pt x="137" y="12"/>
                </a:lnTo>
                <a:lnTo>
                  <a:pt x="133" y="11"/>
                </a:lnTo>
                <a:lnTo>
                  <a:pt x="129" y="12"/>
                </a:lnTo>
                <a:lnTo>
                  <a:pt x="125" y="14"/>
                </a:lnTo>
                <a:lnTo>
                  <a:pt x="122" y="18"/>
                </a:lnTo>
                <a:lnTo>
                  <a:pt x="120" y="20"/>
                </a:lnTo>
                <a:lnTo>
                  <a:pt x="116" y="22"/>
                </a:lnTo>
                <a:lnTo>
                  <a:pt x="113" y="25"/>
                </a:lnTo>
                <a:lnTo>
                  <a:pt x="108" y="25"/>
                </a:lnTo>
                <a:lnTo>
                  <a:pt x="107" y="25"/>
                </a:lnTo>
                <a:lnTo>
                  <a:pt x="106" y="26"/>
                </a:lnTo>
                <a:lnTo>
                  <a:pt x="104" y="27"/>
                </a:lnTo>
                <a:lnTo>
                  <a:pt x="103" y="28"/>
                </a:lnTo>
                <a:lnTo>
                  <a:pt x="103" y="33"/>
                </a:lnTo>
                <a:lnTo>
                  <a:pt x="102" y="35"/>
                </a:lnTo>
                <a:lnTo>
                  <a:pt x="100" y="37"/>
                </a:lnTo>
                <a:lnTo>
                  <a:pt x="96" y="40"/>
                </a:lnTo>
                <a:lnTo>
                  <a:pt x="95" y="41"/>
                </a:lnTo>
                <a:lnTo>
                  <a:pt x="94" y="42"/>
                </a:lnTo>
                <a:lnTo>
                  <a:pt x="93" y="44"/>
                </a:lnTo>
                <a:lnTo>
                  <a:pt x="93" y="47"/>
                </a:lnTo>
                <a:lnTo>
                  <a:pt x="89" y="43"/>
                </a:lnTo>
                <a:lnTo>
                  <a:pt x="85" y="42"/>
                </a:lnTo>
                <a:lnTo>
                  <a:pt x="79" y="40"/>
                </a:lnTo>
                <a:lnTo>
                  <a:pt x="75" y="40"/>
                </a:lnTo>
                <a:lnTo>
                  <a:pt x="74" y="41"/>
                </a:lnTo>
                <a:lnTo>
                  <a:pt x="73" y="43"/>
                </a:lnTo>
                <a:lnTo>
                  <a:pt x="72" y="46"/>
                </a:lnTo>
                <a:lnTo>
                  <a:pt x="72" y="48"/>
                </a:lnTo>
                <a:lnTo>
                  <a:pt x="71" y="55"/>
                </a:lnTo>
                <a:lnTo>
                  <a:pt x="68" y="60"/>
                </a:lnTo>
                <a:lnTo>
                  <a:pt x="65" y="64"/>
                </a:lnTo>
                <a:lnTo>
                  <a:pt x="59" y="67"/>
                </a:lnTo>
                <a:lnTo>
                  <a:pt x="57" y="69"/>
                </a:lnTo>
                <a:lnTo>
                  <a:pt x="55" y="71"/>
                </a:lnTo>
                <a:lnTo>
                  <a:pt x="53" y="75"/>
                </a:lnTo>
                <a:lnTo>
                  <a:pt x="49" y="76"/>
                </a:lnTo>
                <a:lnTo>
                  <a:pt x="47" y="76"/>
                </a:lnTo>
                <a:lnTo>
                  <a:pt x="44" y="74"/>
                </a:lnTo>
                <a:lnTo>
                  <a:pt x="40" y="72"/>
                </a:lnTo>
                <a:lnTo>
                  <a:pt x="38" y="72"/>
                </a:lnTo>
                <a:lnTo>
                  <a:pt x="34" y="72"/>
                </a:lnTo>
                <a:lnTo>
                  <a:pt x="32" y="74"/>
                </a:lnTo>
                <a:lnTo>
                  <a:pt x="31" y="76"/>
                </a:lnTo>
                <a:lnTo>
                  <a:pt x="31" y="77"/>
                </a:lnTo>
                <a:lnTo>
                  <a:pt x="31" y="79"/>
                </a:lnTo>
                <a:lnTo>
                  <a:pt x="32" y="82"/>
                </a:lnTo>
                <a:lnTo>
                  <a:pt x="33" y="88"/>
                </a:lnTo>
                <a:lnTo>
                  <a:pt x="33" y="93"/>
                </a:lnTo>
                <a:lnTo>
                  <a:pt x="32" y="99"/>
                </a:lnTo>
                <a:lnTo>
                  <a:pt x="30" y="105"/>
                </a:lnTo>
                <a:lnTo>
                  <a:pt x="26" y="110"/>
                </a:lnTo>
                <a:lnTo>
                  <a:pt x="24" y="114"/>
                </a:lnTo>
                <a:lnTo>
                  <a:pt x="23" y="117"/>
                </a:lnTo>
                <a:lnTo>
                  <a:pt x="20" y="118"/>
                </a:lnTo>
                <a:lnTo>
                  <a:pt x="18" y="119"/>
                </a:lnTo>
                <a:lnTo>
                  <a:pt x="14" y="119"/>
                </a:lnTo>
                <a:lnTo>
                  <a:pt x="10" y="120"/>
                </a:lnTo>
                <a:lnTo>
                  <a:pt x="9" y="123"/>
                </a:lnTo>
                <a:lnTo>
                  <a:pt x="10" y="125"/>
                </a:lnTo>
                <a:lnTo>
                  <a:pt x="12" y="127"/>
                </a:lnTo>
                <a:lnTo>
                  <a:pt x="14" y="131"/>
                </a:lnTo>
                <a:lnTo>
                  <a:pt x="14" y="134"/>
                </a:lnTo>
                <a:lnTo>
                  <a:pt x="14" y="137"/>
                </a:lnTo>
                <a:lnTo>
                  <a:pt x="12" y="140"/>
                </a:lnTo>
                <a:lnTo>
                  <a:pt x="9" y="148"/>
                </a:lnTo>
                <a:lnTo>
                  <a:pt x="5" y="156"/>
                </a:lnTo>
                <a:lnTo>
                  <a:pt x="3" y="166"/>
                </a:lnTo>
                <a:lnTo>
                  <a:pt x="2" y="174"/>
                </a:lnTo>
                <a:lnTo>
                  <a:pt x="0" y="186"/>
                </a:lnTo>
                <a:lnTo>
                  <a:pt x="0" y="196"/>
                </a:lnTo>
                <a:lnTo>
                  <a:pt x="2" y="207"/>
                </a:lnTo>
                <a:lnTo>
                  <a:pt x="3" y="217"/>
                </a:lnTo>
                <a:lnTo>
                  <a:pt x="6" y="226"/>
                </a:lnTo>
                <a:lnTo>
                  <a:pt x="10" y="237"/>
                </a:lnTo>
                <a:lnTo>
                  <a:pt x="14" y="246"/>
                </a:lnTo>
                <a:lnTo>
                  <a:pt x="20" y="256"/>
                </a:lnTo>
                <a:lnTo>
                  <a:pt x="27" y="266"/>
                </a:lnTo>
                <a:lnTo>
                  <a:pt x="35" y="277"/>
                </a:lnTo>
                <a:lnTo>
                  <a:pt x="45" y="286"/>
                </a:lnTo>
                <a:lnTo>
                  <a:pt x="55" y="294"/>
                </a:lnTo>
                <a:lnTo>
                  <a:pt x="57" y="296"/>
                </a:lnTo>
                <a:lnTo>
                  <a:pt x="57" y="299"/>
                </a:lnTo>
                <a:lnTo>
                  <a:pt x="57" y="307"/>
                </a:lnTo>
                <a:lnTo>
                  <a:pt x="58" y="316"/>
                </a:lnTo>
                <a:lnTo>
                  <a:pt x="59" y="324"/>
                </a:lnTo>
                <a:lnTo>
                  <a:pt x="60" y="333"/>
                </a:lnTo>
                <a:lnTo>
                  <a:pt x="61" y="341"/>
                </a:lnTo>
                <a:lnTo>
                  <a:pt x="61" y="350"/>
                </a:lnTo>
                <a:lnTo>
                  <a:pt x="62" y="354"/>
                </a:lnTo>
                <a:lnTo>
                  <a:pt x="65" y="358"/>
                </a:lnTo>
                <a:lnTo>
                  <a:pt x="67" y="362"/>
                </a:lnTo>
                <a:lnTo>
                  <a:pt x="71" y="365"/>
                </a:lnTo>
                <a:lnTo>
                  <a:pt x="71" y="365"/>
                </a:lnTo>
                <a:lnTo>
                  <a:pt x="72" y="366"/>
                </a:lnTo>
                <a:lnTo>
                  <a:pt x="72" y="368"/>
                </a:lnTo>
                <a:lnTo>
                  <a:pt x="73" y="369"/>
                </a:lnTo>
                <a:lnTo>
                  <a:pt x="73" y="369"/>
                </a:lnTo>
                <a:lnTo>
                  <a:pt x="74" y="370"/>
                </a:lnTo>
                <a:lnTo>
                  <a:pt x="74" y="372"/>
                </a:lnTo>
                <a:lnTo>
                  <a:pt x="74" y="375"/>
                </a:lnTo>
                <a:lnTo>
                  <a:pt x="71" y="378"/>
                </a:lnTo>
                <a:lnTo>
                  <a:pt x="67" y="382"/>
                </a:lnTo>
                <a:lnTo>
                  <a:pt x="65" y="385"/>
                </a:lnTo>
                <a:lnTo>
                  <a:pt x="64" y="390"/>
                </a:lnTo>
                <a:lnTo>
                  <a:pt x="60" y="400"/>
                </a:lnTo>
                <a:lnTo>
                  <a:pt x="60" y="410"/>
                </a:lnTo>
                <a:lnTo>
                  <a:pt x="60" y="414"/>
                </a:lnTo>
                <a:lnTo>
                  <a:pt x="61" y="419"/>
                </a:lnTo>
                <a:lnTo>
                  <a:pt x="64" y="424"/>
                </a:lnTo>
                <a:lnTo>
                  <a:pt x="66" y="428"/>
                </a:lnTo>
                <a:lnTo>
                  <a:pt x="71" y="439"/>
                </a:lnTo>
                <a:lnTo>
                  <a:pt x="75" y="448"/>
                </a:lnTo>
                <a:lnTo>
                  <a:pt x="79" y="454"/>
                </a:lnTo>
                <a:lnTo>
                  <a:pt x="81" y="461"/>
                </a:lnTo>
                <a:lnTo>
                  <a:pt x="82" y="456"/>
                </a:lnTo>
                <a:lnTo>
                  <a:pt x="85" y="454"/>
                </a:lnTo>
                <a:lnTo>
                  <a:pt x="87" y="450"/>
                </a:lnTo>
                <a:lnTo>
                  <a:pt x="89" y="448"/>
                </a:lnTo>
                <a:lnTo>
                  <a:pt x="87" y="450"/>
                </a:lnTo>
                <a:lnTo>
                  <a:pt x="85" y="454"/>
                </a:lnTo>
                <a:lnTo>
                  <a:pt x="82" y="456"/>
                </a:lnTo>
                <a:lnTo>
                  <a:pt x="81" y="461"/>
                </a:lnTo>
                <a:lnTo>
                  <a:pt x="81" y="462"/>
                </a:lnTo>
                <a:lnTo>
                  <a:pt x="81" y="464"/>
                </a:lnTo>
                <a:lnTo>
                  <a:pt x="86" y="470"/>
                </a:lnTo>
                <a:lnTo>
                  <a:pt x="92" y="475"/>
                </a:lnTo>
                <a:lnTo>
                  <a:pt x="99" y="478"/>
                </a:lnTo>
                <a:lnTo>
                  <a:pt x="106" y="480"/>
                </a:lnTo>
                <a:lnTo>
                  <a:pt x="113" y="480"/>
                </a:lnTo>
                <a:lnTo>
                  <a:pt x="120" y="478"/>
                </a:lnTo>
                <a:lnTo>
                  <a:pt x="127" y="474"/>
                </a:lnTo>
                <a:lnTo>
                  <a:pt x="131" y="469"/>
                </a:lnTo>
                <a:lnTo>
                  <a:pt x="138" y="461"/>
                </a:lnTo>
                <a:lnTo>
                  <a:pt x="144" y="453"/>
                </a:lnTo>
                <a:lnTo>
                  <a:pt x="148" y="454"/>
                </a:lnTo>
                <a:lnTo>
                  <a:pt x="151" y="456"/>
                </a:lnTo>
                <a:lnTo>
                  <a:pt x="152" y="457"/>
                </a:lnTo>
                <a:lnTo>
                  <a:pt x="154" y="459"/>
                </a:lnTo>
                <a:lnTo>
                  <a:pt x="155" y="461"/>
                </a:lnTo>
                <a:lnTo>
                  <a:pt x="155" y="464"/>
                </a:lnTo>
                <a:lnTo>
                  <a:pt x="154" y="487"/>
                </a:lnTo>
                <a:lnTo>
                  <a:pt x="154" y="509"/>
                </a:lnTo>
                <a:lnTo>
                  <a:pt x="155" y="531"/>
                </a:lnTo>
                <a:lnTo>
                  <a:pt x="156" y="553"/>
                </a:lnTo>
                <a:lnTo>
                  <a:pt x="158" y="582"/>
                </a:lnTo>
                <a:lnTo>
                  <a:pt x="161" y="611"/>
                </a:lnTo>
                <a:lnTo>
                  <a:pt x="164" y="639"/>
                </a:lnTo>
                <a:lnTo>
                  <a:pt x="169" y="667"/>
                </a:lnTo>
                <a:lnTo>
                  <a:pt x="171" y="684"/>
                </a:lnTo>
                <a:lnTo>
                  <a:pt x="176" y="700"/>
                </a:lnTo>
                <a:lnTo>
                  <a:pt x="180" y="715"/>
                </a:lnTo>
                <a:lnTo>
                  <a:pt x="186" y="731"/>
                </a:lnTo>
                <a:lnTo>
                  <a:pt x="191" y="741"/>
                </a:lnTo>
                <a:lnTo>
                  <a:pt x="196" y="752"/>
                </a:lnTo>
                <a:lnTo>
                  <a:pt x="200" y="761"/>
                </a:lnTo>
                <a:lnTo>
                  <a:pt x="205" y="771"/>
                </a:lnTo>
                <a:lnTo>
                  <a:pt x="207" y="784"/>
                </a:lnTo>
                <a:lnTo>
                  <a:pt x="210" y="796"/>
                </a:lnTo>
                <a:lnTo>
                  <a:pt x="214" y="812"/>
                </a:lnTo>
                <a:lnTo>
                  <a:pt x="221" y="829"/>
                </a:lnTo>
                <a:lnTo>
                  <a:pt x="224" y="831"/>
                </a:lnTo>
                <a:lnTo>
                  <a:pt x="225" y="832"/>
                </a:lnTo>
                <a:lnTo>
                  <a:pt x="230" y="839"/>
                </a:lnTo>
                <a:lnTo>
                  <a:pt x="235" y="846"/>
                </a:lnTo>
                <a:lnTo>
                  <a:pt x="235" y="847"/>
                </a:lnTo>
                <a:lnTo>
                  <a:pt x="237" y="847"/>
                </a:lnTo>
                <a:lnTo>
                  <a:pt x="240" y="859"/>
                </a:lnTo>
                <a:lnTo>
                  <a:pt x="245" y="869"/>
                </a:lnTo>
                <a:lnTo>
                  <a:pt x="245" y="869"/>
                </a:lnTo>
                <a:lnTo>
                  <a:pt x="245" y="871"/>
                </a:lnTo>
                <a:lnTo>
                  <a:pt x="246" y="876"/>
                </a:lnTo>
                <a:lnTo>
                  <a:pt x="248" y="883"/>
                </a:lnTo>
                <a:lnTo>
                  <a:pt x="251" y="889"/>
                </a:lnTo>
                <a:lnTo>
                  <a:pt x="254" y="895"/>
                </a:lnTo>
                <a:lnTo>
                  <a:pt x="254" y="900"/>
                </a:lnTo>
                <a:lnTo>
                  <a:pt x="252" y="904"/>
                </a:lnTo>
                <a:lnTo>
                  <a:pt x="246" y="914"/>
                </a:lnTo>
                <a:lnTo>
                  <a:pt x="240" y="924"/>
                </a:lnTo>
                <a:lnTo>
                  <a:pt x="240" y="925"/>
                </a:lnTo>
                <a:lnTo>
                  <a:pt x="239" y="927"/>
                </a:lnTo>
                <a:lnTo>
                  <a:pt x="239" y="928"/>
                </a:lnTo>
                <a:lnTo>
                  <a:pt x="238" y="929"/>
                </a:lnTo>
                <a:lnTo>
                  <a:pt x="238" y="929"/>
                </a:lnTo>
                <a:lnTo>
                  <a:pt x="238" y="929"/>
                </a:lnTo>
                <a:lnTo>
                  <a:pt x="235" y="931"/>
                </a:lnTo>
                <a:lnTo>
                  <a:pt x="235" y="934"/>
                </a:lnTo>
                <a:lnTo>
                  <a:pt x="227" y="950"/>
                </a:lnTo>
                <a:lnTo>
                  <a:pt x="220" y="967"/>
                </a:lnTo>
                <a:lnTo>
                  <a:pt x="217" y="972"/>
                </a:lnTo>
                <a:lnTo>
                  <a:pt x="216" y="979"/>
                </a:lnTo>
                <a:lnTo>
                  <a:pt x="216" y="979"/>
                </a:lnTo>
                <a:lnTo>
                  <a:pt x="216" y="980"/>
                </a:lnTo>
                <a:lnTo>
                  <a:pt x="212" y="988"/>
                </a:lnTo>
                <a:lnTo>
                  <a:pt x="210" y="997"/>
                </a:lnTo>
                <a:lnTo>
                  <a:pt x="209" y="1006"/>
                </a:lnTo>
                <a:lnTo>
                  <a:pt x="206" y="1014"/>
                </a:lnTo>
                <a:lnTo>
                  <a:pt x="205" y="1021"/>
                </a:lnTo>
                <a:lnTo>
                  <a:pt x="203" y="1027"/>
                </a:lnTo>
                <a:lnTo>
                  <a:pt x="200" y="1034"/>
                </a:lnTo>
                <a:lnTo>
                  <a:pt x="202" y="1041"/>
                </a:lnTo>
                <a:lnTo>
                  <a:pt x="200" y="1043"/>
                </a:lnTo>
                <a:lnTo>
                  <a:pt x="199" y="1046"/>
                </a:lnTo>
                <a:lnTo>
                  <a:pt x="199" y="1047"/>
                </a:lnTo>
                <a:lnTo>
                  <a:pt x="199" y="1047"/>
                </a:lnTo>
                <a:lnTo>
                  <a:pt x="199" y="1049"/>
                </a:lnTo>
                <a:lnTo>
                  <a:pt x="199" y="1051"/>
                </a:lnTo>
                <a:lnTo>
                  <a:pt x="198" y="1055"/>
                </a:lnTo>
                <a:lnTo>
                  <a:pt x="198" y="1060"/>
                </a:lnTo>
                <a:lnTo>
                  <a:pt x="198" y="1061"/>
                </a:lnTo>
                <a:lnTo>
                  <a:pt x="198" y="1061"/>
                </a:lnTo>
                <a:lnTo>
                  <a:pt x="198" y="1068"/>
                </a:lnTo>
                <a:lnTo>
                  <a:pt x="199" y="1076"/>
                </a:lnTo>
                <a:lnTo>
                  <a:pt x="200" y="1083"/>
                </a:lnTo>
                <a:lnTo>
                  <a:pt x="203" y="1090"/>
                </a:lnTo>
                <a:lnTo>
                  <a:pt x="207" y="1103"/>
                </a:lnTo>
                <a:lnTo>
                  <a:pt x="211" y="1117"/>
                </a:lnTo>
                <a:lnTo>
                  <a:pt x="209" y="1124"/>
                </a:lnTo>
                <a:lnTo>
                  <a:pt x="207" y="1131"/>
                </a:lnTo>
                <a:lnTo>
                  <a:pt x="202" y="1145"/>
                </a:lnTo>
                <a:lnTo>
                  <a:pt x="196" y="1159"/>
                </a:lnTo>
                <a:lnTo>
                  <a:pt x="193" y="1165"/>
                </a:lnTo>
                <a:lnTo>
                  <a:pt x="190" y="1170"/>
                </a:lnTo>
                <a:lnTo>
                  <a:pt x="189" y="1174"/>
                </a:lnTo>
                <a:lnTo>
                  <a:pt x="190" y="1177"/>
                </a:lnTo>
                <a:lnTo>
                  <a:pt x="194" y="1181"/>
                </a:lnTo>
                <a:lnTo>
                  <a:pt x="203" y="1184"/>
                </a:lnTo>
                <a:lnTo>
                  <a:pt x="210" y="1187"/>
                </a:lnTo>
                <a:lnTo>
                  <a:pt x="216" y="1186"/>
                </a:lnTo>
                <a:lnTo>
                  <a:pt x="219" y="1184"/>
                </a:lnTo>
                <a:lnTo>
                  <a:pt x="223" y="1184"/>
                </a:lnTo>
                <a:lnTo>
                  <a:pt x="226" y="1187"/>
                </a:lnTo>
                <a:lnTo>
                  <a:pt x="228" y="1189"/>
                </a:lnTo>
                <a:lnTo>
                  <a:pt x="231" y="1191"/>
                </a:lnTo>
                <a:lnTo>
                  <a:pt x="234" y="1193"/>
                </a:lnTo>
                <a:lnTo>
                  <a:pt x="237" y="1193"/>
                </a:lnTo>
                <a:lnTo>
                  <a:pt x="240" y="1193"/>
                </a:lnTo>
                <a:lnTo>
                  <a:pt x="241" y="1193"/>
                </a:lnTo>
                <a:lnTo>
                  <a:pt x="244" y="1193"/>
                </a:lnTo>
                <a:lnTo>
                  <a:pt x="245" y="1194"/>
                </a:lnTo>
                <a:lnTo>
                  <a:pt x="245" y="1196"/>
                </a:lnTo>
                <a:lnTo>
                  <a:pt x="246" y="1198"/>
                </a:lnTo>
                <a:lnTo>
                  <a:pt x="247" y="1201"/>
                </a:lnTo>
                <a:lnTo>
                  <a:pt x="249" y="1202"/>
                </a:lnTo>
                <a:lnTo>
                  <a:pt x="253" y="1201"/>
                </a:lnTo>
                <a:lnTo>
                  <a:pt x="253" y="1201"/>
                </a:lnTo>
                <a:lnTo>
                  <a:pt x="256" y="1202"/>
                </a:lnTo>
                <a:lnTo>
                  <a:pt x="261" y="1201"/>
                </a:lnTo>
                <a:lnTo>
                  <a:pt x="263" y="1201"/>
                </a:lnTo>
                <a:lnTo>
                  <a:pt x="266" y="1201"/>
                </a:lnTo>
                <a:lnTo>
                  <a:pt x="266" y="1202"/>
                </a:lnTo>
                <a:lnTo>
                  <a:pt x="266" y="1204"/>
                </a:lnTo>
                <a:lnTo>
                  <a:pt x="266" y="1210"/>
                </a:lnTo>
                <a:lnTo>
                  <a:pt x="266" y="1216"/>
                </a:lnTo>
                <a:lnTo>
                  <a:pt x="267" y="1221"/>
                </a:lnTo>
                <a:lnTo>
                  <a:pt x="269" y="1226"/>
                </a:lnTo>
                <a:lnTo>
                  <a:pt x="269" y="1226"/>
                </a:lnTo>
                <a:lnTo>
                  <a:pt x="263" y="1235"/>
                </a:lnTo>
                <a:lnTo>
                  <a:pt x="258" y="1243"/>
                </a:lnTo>
                <a:lnTo>
                  <a:pt x="254" y="1252"/>
                </a:lnTo>
                <a:lnTo>
                  <a:pt x="251" y="1261"/>
                </a:lnTo>
                <a:lnTo>
                  <a:pt x="251" y="1261"/>
                </a:lnTo>
                <a:lnTo>
                  <a:pt x="249" y="1263"/>
                </a:lnTo>
                <a:lnTo>
                  <a:pt x="246" y="1267"/>
                </a:lnTo>
                <a:lnTo>
                  <a:pt x="244" y="1272"/>
                </a:lnTo>
                <a:lnTo>
                  <a:pt x="241" y="1278"/>
                </a:lnTo>
                <a:lnTo>
                  <a:pt x="240" y="1284"/>
                </a:lnTo>
                <a:lnTo>
                  <a:pt x="240" y="1285"/>
                </a:lnTo>
                <a:lnTo>
                  <a:pt x="240" y="1286"/>
                </a:lnTo>
                <a:lnTo>
                  <a:pt x="238" y="1288"/>
                </a:lnTo>
                <a:lnTo>
                  <a:pt x="237" y="1291"/>
                </a:lnTo>
                <a:lnTo>
                  <a:pt x="237" y="1294"/>
                </a:lnTo>
                <a:lnTo>
                  <a:pt x="237" y="1296"/>
                </a:lnTo>
                <a:lnTo>
                  <a:pt x="223" y="1327"/>
                </a:lnTo>
                <a:lnTo>
                  <a:pt x="211" y="1358"/>
                </a:lnTo>
                <a:lnTo>
                  <a:pt x="199" y="1389"/>
                </a:lnTo>
                <a:lnTo>
                  <a:pt x="189" y="1420"/>
                </a:lnTo>
                <a:lnTo>
                  <a:pt x="180" y="1452"/>
                </a:lnTo>
                <a:lnTo>
                  <a:pt x="172" y="1484"/>
                </a:lnTo>
                <a:lnTo>
                  <a:pt x="165" y="1517"/>
                </a:lnTo>
                <a:lnTo>
                  <a:pt x="158" y="1549"/>
                </a:lnTo>
                <a:lnTo>
                  <a:pt x="514" y="1549"/>
                </a:lnTo>
                <a:lnTo>
                  <a:pt x="514" y="1547"/>
                </a:lnTo>
                <a:lnTo>
                  <a:pt x="513" y="1545"/>
                </a:lnTo>
                <a:lnTo>
                  <a:pt x="510" y="1542"/>
                </a:lnTo>
                <a:lnTo>
                  <a:pt x="510" y="1538"/>
                </a:lnTo>
                <a:lnTo>
                  <a:pt x="510" y="1535"/>
                </a:lnTo>
                <a:lnTo>
                  <a:pt x="510" y="1530"/>
                </a:lnTo>
                <a:lnTo>
                  <a:pt x="510" y="1535"/>
                </a:lnTo>
                <a:lnTo>
                  <a:pt x="510" y="1538"/>
                </a:lnTo>
                <a:lnTo>
                  <a:pt x="510" y="1542"/>
                </a:lnTo>
                <a:lnTo>
                  <a:pt x="513" y="1545"/>
                </a:lnTo>
                <a:lnTo>
                  <a:pt x="514" y="1547"/>
                </a:lnTo>
                <a:lnTo>
                  <a:pt x="514" y="1549"/>
                </a:lnTo>
                <a:lnTo>
                  <a:pt x="1621" y="1549"/>
                </a:lnTo>
                <a:lnTo>
                  <a:pt x="1621" y="1533"/>
                </a:lnTo>
                <a:lnTo>
                  <a:pt x="1623" y="1518"/>
                </a:lnTo>
                <a:lnTo>
                  <a:pt x="1625" y="1507"/>
                </a:lnTo>
                <a:lnTo>
                  <a:pt x="1626" y="1495"/>
                </a:lnTo>
                <a:lnTo>
                  <a:pt x="1626" y="1484"/>
                </a:lnTo>
                <a:lnTo>
                  <a:pt x="1626" y="1475"/>
                </a:lnTo>
                <a:lnTo>
                  <a:pt x="1626" y="1465"/>
                </a:lnTo>
                <a:lnTo>
                  <a:pt x="1625" y="1454"/>
                </a:lnTo>
                <a:lnTo>
                  <a:pt x="1621" y="1434"/>
                </a:lnTo>
                <a:lnTo>
                  <a:pt x="1615" y="1414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r>
              <a:rPr lang="en-US" sz="9600"/>
              <a:t>Your photo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C51E228-D39B-D644-8144-69C3D71E1B7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F0B0224-CB8A-A94E-B05C-AAC6199AE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103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259B8D5-A349-5C4F-9CA2-8D4546B94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F25FEFD8-3E6D-214A-9B49-E5C7C06395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109">
            <a:extLst>
              <a:ext uri="{FF2B5EF4-FFF2-40B4-BE49-F238E27FC236}">
                <a16:creationId xmlns:a16="http://schemas.microsoft.com/office/drawing/2014/main" id="{19C47062-629F-CA44-81ED-B17E7DFACA0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600300" y="4194498"/>
            <a:ext cx="12385376" cy="7742742"/>
          </a:xfrm>
          <a:custGeom>
            <a:avLst/>
            <a:gdLst>
              <a:gd name="T0" fmla="*/ 20375 w 24281"/>
              <a:gd name="T1" fmla="*/ 6125 h 15063"/>
              <a:gd name="T2" fmla="*/ 20031 w 24281"/>
              <a:gd name="T3" fmla="*/ 7032 h 15063"/>
              <a:gd name="T4" fmla="*/ 18500 w 24281"/>
              <a:gd name="T5" fmla="*/ 6188 h 15063"/>
              <a:gd name="T6" fmla="*/ 17656 w 24281"/>
              <a:gd name="T7" fmla="*/ 2938 h 15063"/>
              <a:gd name="T8" fmla="*/ 15250 w 24281"/>
              <a:gd name="T9" fmla="*/ 2000 h 15063"/>
              <a:gd name="T10" fmla="*/ 844 w 24281"/>
              <a:gd name="T11" fmla="*/ 1719 h 15063"/>
              <a:gd name="T12" fmla="*/ 1156 w 24281"/>
              <a:gd name="T13" fmla="*/ 2125 h 15063"/>
              <a:gd name="T14" fmla="*/ 1469 w 24281"/>
              <a:gd name="T15" fmla="*/ 3032 h 15063"/>
              <a:gd name="T16" fmla="*/ 94 w 24281"/>
              <a:gd name="T17" fmla="*/ 6532 h 15063"/>
              <a:gd name="T18" fmla="*/ 1031 w 24281"/>
              <a:gd name="T19" fmla="*/ 10250 h 15063"/>
              <a:gd name="T20" fmla="*/ 2344 w 24281"/>
              <a:gd name="T21" fmla="*/ 11375 h 15063"/>
              <a:gd name="T22" fmla="*/ 4969 w 24281"/>
              <a:gd name="T23" fmla="*/ 14032 h 15063"/>
              <a:gd name="T24" fmla="*/ 7969 w 24281"/>
              <a:gd name="T25" fmla="*/ 15000 h 15063"/>
              <a:gd name="T26" fmla="*/ 24187 w 24281"/>
              <a:gd name="T27" fmla="*/ 13125 h 15063"/>
              <a:gd name="T28" fmla="*/ 23281 w 24281"/>
              <a:gd name="T29" fmla="*/ 8907 h 15063"/>
              <a:gd name="T30" fmla="*/ 31 w 24281"/>
              <a:gd name="T31" fmla="*/ 6250 h 15063"/>
              <a:gd name="T32" fmla="*/ 31 w 24281"/>
              <a:gd name="T33" fmla="*/ 5969 h 15063"/>
              <a:gd name="T34" fmla="*/ 250 w 24281"/>
              <a:gd name="T35" fmla="*/ 6625 h 15063"/>
              <a:gd name="T36" fmla="*/ 1437 w 24281"/>
              <a:gd name="T37" fmla="*/ 6532 h 15063"/>
              <a:gd name="T38" fmla="*/ 19156 w 24281"/>
              <a:gd name="T39" fmla="*/ 7063 h 15063"/>
              <a:gd name="T40" fmla="*/ 16656 w 24281"/>
              <a:gd name="T41" fmla="*/ 3407 h 15063"/>
              <a:gd name="T42" fmla="*/ 16375 w 24281"/>
              <a:gd name="T43" fmla="*/ 4438 h 15063"/>
              <a:gd name="T44" fmla="*/ 15969 w 24281"/>
              <a:gd name="T45" fmla="*/ 6719 h 15063"/>
              <a:gd name="T46" fmla="*/ 15219 w 24281"/>
              <a:gd name="T47" fmla="*/ 5032 h 15063"/>
              <a:gd name="T48" fmla="*/ 1719 w 24281"/>
              <a:gd name="T49" fmla="*/ 7157 h 15063"/>
              <a:gd name="T50" fmla="*/ 2625 w 24281"/>
              <a:gd name="T51" fmla="*/ 5219 h 15063"/>
              <a:gd name="T52" fmla="*/ 1906 w 24281"/>
              <a:gd name="T53" fmla="*/ 2907 h 15063"/>
              <a:gd name="T54" fmla="*/ 10094 w 24281"/>
              <a:gd name="T55" fmla="*/ 5188 h 15063"/>
              <a:gd name="T56" fmla="*/ 2625 w 24281"/>
              <a:gd name="T57" fmla="*/ 5219 h 15063"/>
              <a:gd name="T58" fmla="*/ 2906 w 24281"/>
              <a:gd name="T59" fmla="*/ 7000 h 15063"/>
              <a:gd name="T60" fmla="*/ 6187 w 24281"/>
              <a:gd name="T61" fmla="*/ 6813 h 15063"/>
              <a:gd name="T62" fmla="*/ 2844 w 24281"/>
              <a:gd name="T63" fmla="*/ 7532 h 15063"/>
              <a:gd name="T64" fmla="*/ 10844 w 24281"/>
              <a:gd name="T65" fmla="*/ 5532 h 15063"/>
              <a:gd name="T66" fmla="*/ 7250 w 24281"/>
              <a:gd name="T67" fmla="*/ 6844 h 15063"/>
              <a:gd name="T68" fmla="*/ 7281 w 24281"/>
              <a:gd name="T69" fmla="*/ 7532 h 15063"/>
              <a:gd name="T70" fmla="*/ 9750 w 24281"/>
              <a:gd name="T71" fmla="*/ 12157 h 15063"/>
              <a:gd name="T72" fmla="*/ 20906 w 24281"/>
              <a:gd name="T73" fmla="*/ 14282 h 15063"/>
              <a:gd name="T74" fmla="*/ 9031 w 24281"/>
              <a:gd name="T75" fmla="*/ 13969 h 15063"/>
              <a:gd name="T76" fmla="*/ 15000 w 24281"/>
              <a:gd name="T77" fmla="*/ 13438 h 15063"/>
              <a:gd name="T78" fmla="*/ 18375 w 24281"/>
              <a:gd name="T79" fmla="*/ 12844 h 15063"/>
              <a:gd name="T80" fmla="*/ 21000 w 24281"/>
              <a:gd name="T81" fmla="*/ 14313 h 15063"/>
              <a:gd name="T82" fmla="*/ 21750 w 24281"/>
              <a:gd name="T83" fmla="*/ 12125 h 15063"/>
              <a:gd name="T84" fmla="*/ 22062 w 24281"/>
              <a:gd name="T85" fmla="*/ 8688 h 15063"/>
              <a:gd name="T86" fmla="*/ 22750 w 24281"/>
              <a:gd name="T87" fmla="*/ 12157 h 15063"/>
              <a:gd name="T88" fmla="*/ 22281 w 24281"/>
              <a:gd name="T89" fmla="*/ 11000 h 15063"/>
              <a:gd name="T90" fmla="*/ 2094 w 24281"/>
              <a:gd name="T91" fmla="*/ 1532 h 15063"/>
              <a:gd name="T92" fmla="*/ 10156 w 24281"/>
              <a:gd name="T93" fmla="*/ 1532 h 15063"/>
              <a:gd name="T94" fmla="*/ 17406 w 24281"/>
              <a:gd name="T95" fmla="*/ 1844 h 15063"/>
              <a:gd name="T96" fmla="*/ 6781 w 24281"/>
              <a:gd name="T97" fmla="*/ 282 h 15063"/>
              <a:gd name="T98" fmla="*/ 6437 w 24281"/>
              <a:gd name="T99" fmla="*/ 469 h 15063"/>
              <a:gd name="T100" fmla="*/ 1594 w 24281"/>
              <a:gd name="T101" fmla="*/ 250 h 15063"/>
              <a:gd name="T102" fmla="*/ 12500 w 24281"/>
              <a:gd name="T103" fmla="*/ 1219 h 15063"/>
              <a:gd name="T104" fmla="*/ 12937 w 24281"/>
              <a:gd name="T105" fmla="*/ 1125 h 15063"/>
              <a:gd name="T106" fmla="*/ 13531 w 24281"/>
              <a:gd name="T107" fmla="*/ 1407 h 15063"/>
              <a:gd name="T108" fmla="*/ 14219 w 24281"/>
              <a:gd name="T109" fmla="*/ 813 h 15063"/>
              <a:gd name="T110" fmla="*/ 11469 w 24281"/>
              <a:gd name="T111" fmla="*/ 625 h 15063"/>
              <a:gd name="T112" fmla="*/ 8719 w 24281"/>
              <a:gd name="T113" fmla="*/ 1125 h 15063"/>
              <a:gd name="T114" fmla="*/ 8312 w 24281"/>
              <a:gd name="T115" fmla="*/ 813 h 15063"/>
              <a:gd name="T116" fmla="*/ 6687 w 24281"/>
              <a:gd name="T117" fmla="*/ 938 h 15063"/>
              <a:gd name="T118" fmla="*/ 1750 w 24281"/>
              <a:gd name="T119" fmla="*/ 719 h 15063"/>
              <a:gd name="T120" fmla="*/ 6500 w 24281"/>
              <a:gd name="T121" fmla="*/ 907 h 15063"/>
              <a:gd name="T122" fmla="*/ 4094 w 24281"/>
              <a:gd name="T123" fmla="*/ 938 h 15063"/>
              <a:gd name="T124" fmla="*/ 1812 w 24281"/>
              <a:gd name="T125" fmla="*/ 719 h 15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281" h="15063">
                <a:moveTo>
                  <a:pt x="21625" y="7563"/>
                </a:moveTo>
                <a:cubicBezTo>
                  <a:pt x="21625" y="7563"/>
                  <a:pt x="21625" y="7563"/>
                  <a:pt x="21625" y="7563"/>
                </a:cubicBezTo>
                <a:cubicBezTo>
                  <a:pt x="21656" y="7594"/>
                  <a:pt x="21719" y="7594"/>
                  <a:pt x="21750" y="7657"/>
                </a:cubicBezTo>
                <a:cubicBezTo>
                  <a:pt x="21750" y="7657"/>
                  <a:pt x="21719" y="7657"/>
                  <a:pt x="21719" y="7657"/>
                </a:cubicBezTo>
                <a:cubicBezTo>
                  <a:pt x="21625" y="7625"/>
                  <a:pt x="21625" y="7657"/>
                  <a:pt x="21625" y="7750"/>
                </a:cubicBezTo>
                <a:cubicBezTo>
                  <a:pt x="21625" y="7844"/>
                  <a:pt x="21625" y="7938"/>
                  <a:pt x="21625" y="8032"/>
                </a:cubicBezTo>
                <a:cubicBezTo>
                  <a:pt x="21531" y="7969"/>
                  <a:pt x="21437" y="7875"/>
                  <a:pt x="21344" y="7907"/>
                </a:cubicBezTo>
                <a:cubicBezTo>
                  <a:pt x="21312" y="7719"/>
                  <a:pt x="21312" y="7563"/>
                  <a:pt x="21250" y="7375"/>
                </a:cubicBezTo>
                <a:cubicBezTo>
                  <a:pt x="21250" y="7313"/>
                  <a:pt x="21219" y="7282"/>
                  <a:pt x="21156" y="7250"/>
                </a:cubicBezTo>
                <a:cubicBezTo>
                  <a:pt x="20812" y="7188"/>
                  <a:pt x="20469" y="7094"/>
                  <a:pt x="20125" y="7063"/>
                </a:cubicBezTo>
                <a:cubicBezTo>
                  <a:pt x="20125" y="6969"/>
                  <a:pt x="20125" y="6907"/>
                  <a:pt x="20125" y="6844"/>
                </a:cubicBezTo>
                <a:cubicBezTo>
                  <a:pt x="20250" y="6657"/>
                  <a:pt x="20375" y="6500"/>
                  <a:pt x="20469" y="6313"/>
                </a:cubicBezTo>
                <a:cubicBezTo>
                  <a:pt x="20500" y="6282"/>
                  <a:pt x="20531" y="6250"/>
                  <a:pt x="20531" y="6188"/>
                </a:cubicBezTo>
                <a:cubicBezTo>
                  <a:pt x="20562" y="6157"/>
                  <a:pt x="20531" y="6125"/>
                  <a:pt x="20500" y="6125"/>
                </a:cubicBezTo>
                <a:cubicBezTo>
                  <a:pt x="20469" y="6125"/>
                  <a:pt x="20406" y="6125"/>
                  <a:pt x="20375" y="6125"/>
                </a:cubicBezTo>
                <a:cubicBezTo>
                  <a:pt x="20250" y="6125"/>
                  <a:pt x="20250" y="6094"/>
                  <a:pt x="20219" y="5969"/>
                </a:cubicBezTo>
                <a:cubicBezTo>
                  <a:pt x="20219" y="5907"/>
                  <a:pt x="20219" y="5875"/>
                  <a:pt x="20219" y="5844"/>
                </a:cubicBezTo>
                <a:cubicBezTo>
                  <a:pt x="20219" y="5782"/>
                  <a:pt x="20187" y="5719"/>
                  <a:pt x="20125" y="5688"/>
                </a:cubicBezTo>
                <a:cubicBezTo>
                  <a:pt x="20062" y="5719"/>
                  <a:pt x="20062" y="5813"/>
                  <a:pt x="20031" y="5875"/>
                </a:cubicBezTo>
                <a:cubicBezTo>
                  <a:pt x="20000" y="6032"/>
                  <a:pt x="19969" y="6219"/>
                  <a:pt x="20000" y="6407"/>
                </a:cubicBezTo>
                <a:cubicBezTo>
                  <a:pt x="20062" y="6438"/>
                  <a:pt x="20094" y="6438"/>
                  <a:pt x="20094" y="6500"/>
                </a:cubicBezTo>
                <a:cubicBezTo>
                  <a:pt x="20094" y="6500"/>
                  <a:pt x="20094" y="6532"/>
                  <a:pt x="20094" y="6532"/>
                </a:cubicBezTo>
                <a:cubicBezTo>
                  <a:pt x="20094" y="6563"/>
                  <a:pt x="20094" y="6563"/>
                  <a:pt x="20094" y="6563"/>
                </a:cubicBezTo>
                <a:cubicBezTo>
                  <a:pt x="20094" y="6563"/>
                  <a:pt x="20125" y="6563"/>
                  <a:pt x="20125" y="6563"/>
                </a:cubicBezTo>
                <a:cubicBezTo>
                  <a:pt x="20187" y="6469"/>
                  <a:pt x="20219" y="6344"/>
                  <a:pt x="20219" y="6250"/>
                </a:cubicBezTo>
                <a:cubicBezTo>
                  <a:pt x="20250" y="6219"/>
                  <a:pt x="20219" y="6188"/>
                  <a:pt x="20281" y="6188"/>
                </a:cubicBezTo>
                <a:cubicBezTo>
                  <a:pt x="20344" y="6188"/>
                  <a:pt x="20406" y="6188"/>
                  <a:pt x="20469" y="6188"/>
                </a:cubicBezTo>
                <a:cubicBezTo>
                  <a:pt x="20437" y="6188"/>
                  <a:pt x="20437" y="6219"/>
                  <a:pt x="20437" y="6219"/>
                </a:cubicBezTo>
                <a:cubicBezTo>
                  <a:pt x="20312" y="6438"/>
                  <a:pt x="20187" y="6625"/>
                  <a:pt x="20062" y="6813"/>
                </a:cubicBezTo>
                <a:cubicBezTo>
                  <a:pt x="20062" y="6875"/>
                  <a:pt x="20031" y="6938"/>
                  <a:pt x="20031" y="7032"/>
                </a:cubicBezTo>
                <a:cubicBezTo>
                  <a:pt x="20000" y="7032"/>
                  <a:pt x="19969" y="7032"/>
                  <a:pt x="19937" y="7000"/>
                </a:cubicBezTo>
                <a:cubicBezTo>
                  <a:pt x="19687" y="6969"/>
                  <a:pt x="19469" y="6907"/>
                  <a:pt x="19219" y="6875"/>
                </a:cubicBezTo>
                <a:cubicBezTo>
                  <a:pt x="19125" y="6875"/>
                  <a:pt x="19062" y="6813"/>
                  <a:pt x="19031" y="6750"/>
                </a:cubicBezTo>
                <a:cubicBezTo>
                  <a:pt x="18969" y="6594"/>
                  <a:pt x="18906" y="6469"/>
                  <a:pt x="18844" y="6344"/>
                </a:cubicBezTo>
                <a:cubicBezTo>
                  <a:pt x="18812" y="6282"/>
                  <a:pt x="18812" y="6250"/>
                  <a:pt x="18812" y="6188"/>
                </a:cubicBezTo>
                <a:cubicBezTo>
                  <a:pt x="18812" y="6125"/>
                  <a:pt x="18812" y="6063"/>
                  <a:pt x="18719" y="6063"/>
                </a:cubicBezTo>
                <a:cubicBezTo>
                  <a:pt x="18719" y="6032"/>
                  <a:pt x="18687" y="6000"/>
                  <a:pt x="18687" y="6000"/>
                </a:cubicBezTo>
                <a:cubicBezTo>
                  <a:pt x="18687" y="5938"/>
                  <a:pt x="18687" y="5875"/>
                  <a:pt x="18656" y="5844"/>
                </a:cubicBezTo>
                <a:cubicBezTo>
                  <a:pt x="18656" y="5813"/>
                  <a:pt x="18625" y="5782"/>
                  <a:pt x="18625" y="5813"/>
                </a:cubicBezTo>
                <a:lnTo>
                  <a:pt x="18625" y="5813"/>
                </a:lnTo>
                <a:cubicBezTo>
                  <a:pt x="18594" y="5813"/>
                  <a:pt x="18594" y="5844"/>
                  <a:pt x="18625" y="5875"/>
                </a:cubicBezTo>
                <a:cubicBezTo>
                  <a:pt x="18625" y="5875"/>
                  <a:pt x="18656" y="5907"/>
                  <a:pt x="18656" y="5938"/>
                </a:cubicBezTo>
                <a:cubicBezTo>
                  <a:pt x="18656" y="5969"/>
                  <a:pt x="18687" y="5969"/>
                  <a:pt x="18687" y="6000"/>
                </a:cubicBezTo>
                <a:cubicBezTo>
                  <a:pt x="18719" y="6000"/>
                  <a:pt x="18750" y="6032"/>
                  <a:pt x="18719" y="6063"/>
                </a:cubicBezTo>
                <a:cubicBezTo>
                  <a:pt x="18656" y="6094"/>
                  <a:pt x="18594" y="6188"/>
                  <a:pt x="18500" y="6188"/>
                </a:cubicBezTo>
                <a:cubicBezTo>
                  <a:pt x="18500" y="6188"/>
                  <a:pt x="18469" y="6188"/>
                  <a:pt x="18469" y="6188"/>
                </a:cubicBezTo>
                <a:cubicBezTo>
                  <a:pt x="18469" y="6188"/>
                  <a:pt x="18469" y="6188"/>
                  <a:pt x="18469" y="6188"/>
                </a:cubicBezTo>
                <a:cubicBezTo>
                  <a:pt x="18469" y="6188"/>
                  <a:pt x="18469" y="6188"/>
                  <a:pt x="18469" y="6188"/>
                </a:cubicBezTo>
                <a:cubicBezTo>
                  <a:pt x="18406" y="6157"/>
                  <a:pt x="18375" y="6125"/>
                  <a:pt x="18344" y="6063"/>
                </a:cubicBezTo>
                <a:cubicBezTo>
                  <a:pt x="18281" y="6000"/>
                  <a:pt x="18219" y="5907"/>
                  <a:pt x="18187" y="5813"/>
                </a:cubicBezTo>
                <a:cubicBezTo>
                  <a:pt x="17906" y="5313"/>
                  <a:pt x="17625" y="4813"/>
                  <a:pt x="17344" y="4313"/>
                </a:cubicBezTo>
                <a:cubicBezTo>
                  <a:pt x="17219" y="4063"/>
                  <a:pt x="17125" y="3844"/>
                  <a:pt x="17000" y="3594"/>
                </a:cubicBezTo>
                <a:cubicBezTo>
                  <a:pt x="16969" y="3500"/>
                  <a:pt x="16937" y="3407"/>
                  <a:pt x="17000" y="3313"/>
                </a:cubicBezTo>
                <a:cubicBezTo>
                  <a:pt x="17094" y="3375"/>
                  <a:pt x="17219" y="3407"/>
                  <a:pt x="17312" y="3469"/>
                </a:cubicBezTo>
                <a:cubicBezTo>
                  <a:pt x="17312" y="3469"/>
                  <a:pt x="17344" y="3469"/>
                  <a:pt x="17375" y="3469"/>
                </a:cubicBezTo>
                <a:cubicBezTo>
                  <a:pt x="17437" y="3469"/>
                  <a:pt x="17469" y="3469"/>
                  <a:pt x="17531" y="3532"/>
                </a:cubicBezTo>
                <a:cubicBezTo>
                  <a:pt x="17625" y="3594"/>
                  <a:pt x="17719" y="3594"/>
                  <a:pt x="17844" y="3532"/>
                </a:cubicBezTo>
                <a:cubicBezTo>
                  <a:pt x="17906" y="3469"/>
                  <a:pt x="17937" y="3344"/>
                  <a:pt x="17906" y="3250"/>
                </a:cubicBezTo>
                <a:cubicBezTo>
                  <a:pt x="17906" y="3157"/>
                  <a:pt x="17781" y="3032"/>
                  <a:pt x="17687" y="3032"/>
                </a:cubicBezTo>
                <a:cubicBezTo>
                  <a:pt x="17625" y="3032"/>
                  <a:pt x="17625" y="3000"/>
                  <a:pt x="17656" y="2938"/>
                </a:cubicBezTo>
                <a:cubicBezTo>
                  <a:pt x="17687" y="2813"/>
                  <a:pt x="17719" y="2719"/>
                  <a:pt x="17750" y="2594"/>
                </a:cubicBezTo>
                <a:cubicBezTo>
                  <a:pt x="17812" y="2438"/>
                  <a:pt x="17875" y="2282"/>
                  <a:pt x="18062" y="2188"/>
                </a:cubicBezTo>
                <a:cubicBezTo>
                  <a:pt x="18125" y="2188"/>
                  <a:pt x="18156" y="2125"/>
                  <a:pt x="18219" y="2094"/>
                </a:cubicBezTo>
                <a:cubicBezTo>
                  <a:pt x="18281" y="2063"/>
                  <a:pt x="18375" y="2032"/>
                  <a:pt x="18437" y="1969"/>
                </a:cubicBezTo>
                <a:cubicBezTo>
                  <a:pt x="18469" y="1969"/>
                  <a:pt x="18469" y="1969"/>
                  <a:pt x="18469" y="1969"/>
                </a:cubicBezTo>
                <a:cubicBezTo>
                  <a:pt x="18500" y="1938"/>
                  <a:pt x="18562" y="1938"/>
                  <a:pt x="18531" y="1875"/>
                </a:cubicBezTo>
                <a:cubicBezTo>
                  <a:pt x="18531" y="1844"/>
                  <a:pt x="18500" y="1844"/>
                  <a:pt x="18469" y="1844"/>
                </a:cubicBezTo>
                <a:cubicBezTo>
                  <a:pt x="18344" y="1844"/>
                  <a:pt x="18250" y="1813"/>
                  <a:pt x="18156" y="1813"/>
                </a:cubicBezTo>
                <a:cubicBezTo>
                  <a:pt x="18125" y="1813"/>
                  <a:pt x="18062" y="1750"/>
                  <a:pt x="18031" y="1844"/>
                </a:cubicBezTo>
                <a:cubicBezTo>
                  <a:pt x="18031" y="1907"/>
                  <a:pt x="18000" y="1938"/>
                  <a:pt x="18000" y="2000"/>
                </a:cubicBezTo>
                <a:cubicBezTo>
                  <a:pt x="18000" y="2125"/>
                  <a:pt x="17906" y="2250"/>
                  <a:pt x="17812" y="2219"/>
                </a:cubicBezTo>
                <a:cubicBezTo>
                  <a:pt x="17562" y="2188"/>
                  <a:pt x="17312" y="2219"/>
                  <a:pt x="17062" y="2188"/>
                </a:cubicBezTo>
                <a:cubicBezTo>
                  <a:pt x="16937" y="2157"/>
                  <a:pt x="16781" y="2188"/>
                  <a:pt x="16625" y="2157"/>
                </a:cubicBezTo>
                <a:cubicBezTo>
                  <a:pt x="16375" y="2125"/>
                  <a:pt x="16125" y="2125"/>
                  <a:pt x="15875" y="2063"/>
                </a:cubicBezTo>
                <a:cubicBezTo>
                  <a:pt x="15656" y="2032"/>
                  <a:pt x="15437" y="2032"/>
                  <a:pt x="15250" y="2000"/>
                </a:cubicBezTo>
                <a:cubicBezTo>
                  <a:pt x="14906" y="1969"/>
                  <a:pt x="14594" y="1969"/>
                  <a:pt x="14250" y="1938"/>
                </a:cubicBezTo>
                <a:cubicBezTo>
                  <a:pt x="14031" y="1907"/>
                  <a:pt x="13812" y="1907"/>
                  <a:pt x="13594" y="1875"/>
                </a:cubicBezTo>
                <a:cubicBezTo>
                  <a:pt x="13312" y="1844"/>
                  <a:pt x="13062" y="1844"/>
                  <a:pt x="12781" y="1813"/>
                </a:cubicBezTo>
                <a:cubicBezTo>
                  <a:pt x="12500" y="1782"/>
                  <a:pt x="12187" y="1782"/>
                  <a:pt x="11875" y="1782"/>
                </a:cubicBezTo>
                <a:cubicBezTo>
                  <a:pt x="11812" y="1782"/>
                  <a:pt x="11781" y="1813"/>
                  <a:pt x="11812" y="1875"/>
                </a:cubicBezTo>
                <a:cubicBezTo>
                  <a:pt x="11500" y="1907"/>
                  <a:pt x="11187" y="1875"/>
                  <a:pt x="10875" y="1875"/>
                </a:cubicBezTo>
                <a:cubicBezTo>
                  <a:pt x="10500" y="1875"/>
                  <a:pt x="10125" y="1875"/>
                  <a:pt x="9750" y="1875"/>
                </a:cubicBezTo>
                <a:cubicBezTo>
                  <a:pt x="9250" y="1875"/>
                  <a:pt x="8719" y="1907"/>
                  <a:pt x="8219" y="1875"/>
                </a:cubicBezTo>
                <a:cubicBezTo>
                  <a:pt x="7375" y="1844"/>
                  <a:pt x="6531" y="1875"/>
                  <a:pt x="5719" y="1844"/>
                </a:cubicBezTo>
                <a:cubicBezTo>
                  <a:pt x="5156" y="1813"/>
                  <a:pt x="4625" y="1844"/>
                  <a:pt x="4062" y="1813"/>
                </a:cubicBezTo>
                <a:cubicBezTo>
                  <a:pt x="3375" y="1782"/>
                  <a:pt x="2656" y="1782"/>
                  <a:pt x="1969" y="1782"/>
                </a:cubicBezTo>
                <a:cubicBezTo>
                  <a:pt x="1437" y="1750"/>
                  <a:pt x="875" y="1750"/>
                  <a:pt x="344" y="1750"/>
                </a:cubicBezTo>
                <a:cubicBezTo>
                  <a:pt x="312" y="1750"/>
                  <a:pt x="281" y="1750"/>
                  <a:pt x="250" y="1719"/>
                </a:cubicBezTo>
                <a:cubicBezTo>
                  <a:pt x="250" y="1719"/>
                  <a:pt x="250" y="1719"/>
                  <a:pt x="250" y="1719"/>
                </a:cubicBezTo>
                <a:cubicBezTo>
                  <a:pt x="437" y="1719"/>
                  <a:pt x="656" y="1719"/>
                  <a:pt x="844" y="1719"/>
                </a:cubicBezTo>
                <a:cubicBezTo>
                  <a:pt x="844" y="1688"/>
                  <a:pt x="844" y="1688"/>
                  <a:pt x="844" y="1688"/>
                </a:cubicBezTo>
                <a:cubicBezTo>
                  <a:pt x="750" y="1657"/>
                  <a:pt x="656" y="1625"/>
                  <a:pt x="562" y="1625"/>
                </a:cubicBezTo>
                <a:cubicBezTo>
                  <a:pt x="437" y="1594"/>
                  <a:pt x="344" y="1594"/>
                  <a:pt x="219" y="1594"/>
                </a:cubicBezTo>
                <a:cubicBezTo>
                  <a:pt x="219" y="1594"/>
                  <a:pt x="187" y="1594"/>
                  <a:pt x="187" y="1625"/>
                </a:cubicBezTo>
                <a:cubicBezTo>
                  <a:pt x="187" y="1688"/>
                  <a:pt x="125" y="1750"/>
                  <a:pt x="125" y="1813"/>
                </a:cubicBezTo>
                <a:cubicBezTo>
                  <a:pt x="94" y="2000"/>
                  <a:pt x="187" y="2157"/>
                  <a:pt x="187" y="2344"/>
                </a:cubicBezTo>
                <a:cubicBezTo>
                  <a:pt x="156" y="2438"/>
                  <a:pt x="156" y="2563"/>
                  <a:pt x="156" y="2657"/>
                </a:cubicBezTo>
                <a:cubicBezTo>
                  <a:pt x="156" y="2875"/>
                  <a:pt x="125" y="3094"/>
                  <a:pt x="125" y="3313"/>
                </a:cubicBezTo>
                <a:cubicBezTo>
                  <a:pt x="94" y="4000"/>
                  <a:pt x="62" y="4657"/>
                  <a:pt x="0" y="5313"/>
                </a:cubicBezTo>
                <a:cubicBezTo>
                  <a:pt x="0" y="5375"/>
                  <a:pt x="31" y="5438"/>
                  <a:pt x="94" y="5469"/>
                </a:cubicBezTo>
                <a:cubicBezTo>
                  <a:pt x="94" y="5407"/>
                  <a:pt x="125" y="5344"/>
                  <a:pt x="125" y="5313"/>
                </a:cubicBezTo>
                <a:cubicBezTo>
                  <a:pt x="156" y="4407"/>
                  <a:pt x="219" y="3532"/>
                  <a:pt x="250" y="2625"/>
                </a:cubicBezTo>
                <a:cubicBezTo>
                  <a:pt x="250" y="2500"/>
                  <a:pt x="250" y="2375"/>
                  <a:pt x="250" y="2250"/>
                </a:cubicBezTo>
                <a:cubicBezTo>
                  <a:pt x="281" y="2188"/>
                  <a:pt x="281" y="2125"/>
                  <a:pt x="406" y="2125"/>
                </a:cubicBezTo>
                <a:cubicBezTo>
                  <a:pt x="656" y="2125"/>
                  <a:pt x="906" y="2125"/>
                  <a:pt x="1156" y="2125"/>
                </a:cubicBezTo>
                <a:cubicBezTo>
                  <a:pt x="1219" y="2125"/>
                  <a:pt x="1250" y="2157"/>
                  <a:pt x="1250" y="2219"/>
                </a:cubicBezTo>
                <a:cubicBezTo>
                  <a:pt x="1281" y="2313"/>
                  <a:pt x="1281" y="2438"/>
                  <a:pt x="1281" y="2563"/>
                </a:cubicBezTo>
                <a:cubicBezTo>
                  <a:pt x="1312" y="2657"/>
                  <a:pt x="1281" y="2750"/>
                  <a:pt x="1312" y="2844"/>
                </a:cubicBezTo>
                <a:cubicBezTo>
                  <a:pt x="1406" y="2938"/>
                  <a:pt x="1406" y="3063"/>
                  <a:pt x="1375" y="3188"/>
                </a:cubicBezTo>
                <a:cubicBezTo>
                  <a:pt x="1375" y="3282"/>
                  <a:pt x="1375" y="3375"/>
                  <a:pt x="1375" y="3469"/>
                </a:cubicBezTo>
                <a:cubicBezTo>
                  <a:pt x="1375" y="3813"/>
                  <a:pt x="1344" y="4157"/>
                  <a:pt x="1344" y="4500"/>
                </a:cubicBezTo>
                <a:cubicBezTo>
                  <a:pt x="1344" y="4563"/>
                  <a:pt x="1344" y="4594"/>
                  <a:pt x="1344" y="4657"/>
                </a:cubicBezTo>
                <a:cubicBezTo>
                  <a:pt x="1344" y="4688"/>
                  <a:pt x="1344" y="4719"/>
                  <a:pt x="1344" y="4719"/>
                </a:cubicBezTo>
                <a:cubicBezTo>
                  <a:pt x="1375" y="4719"/>
                  <a:pt x="1375" y="4688"/>
                  <a:pt x="1375" y="4657"/>
                </a:cubicBezTo>
                <a:cubicBezTo>
                  <a:pt x="1437" y="4313"/>
                  <a:pt x="1469" y="3969"/>
                  <a:pt x="1469" y="3594"/>
                </a:cubicBezTo>
                <a:cubicBezTo>
                  <a:pt x="1469" y="3469"/>
                  <a:pt x="1469" y="3344"/>
                  <a:pt x="1469" y="3219"/>
                </a:cubicBezTo>
                <a:cubicBezTo>
                  <a:pt x="1469" y="3219"/>
                  <a:pt x="1469" y="3188"/>
                  <a:pt x="1469" y="3188"/>
                </a:cubicBezTo>
                <a:cubicBezTo>
                  <a:pt x="1469" y="3157"/>
                  <a:pt x="1469" y="3157"/>
                  <a:pt x="1469" y="3125"/>
                </a:cubicBezTo>
                <a:cubicBezTo>
                  <a:pt x="1469" y="3125"/>
                  <a:pt x="1469" y="3094"/>
                  <a:pt x="1469" y="3094"/>
                </a:cubicBezTo>
                <a:cubicBezTo>
                  <a:pt x="1469" y="3063"/>
                  <a:pt x="1469" y="3032"/>
                  <a:pt x="1469" y="3032"/>
                </a:cubicBezTo>
                <a:cubicBezTo>
                  <a:pt x="1469" y="3032"/>
                  <a:pt x="1469" y="3000"/>
                  <a:pt x="1469" y="3000"/>
                </a:cubicBezTo>
                <a:cubicBezTo>
                  <a:pt x="1469" y="2907"/>
                  <a:pt x="1531" y="2875"/>
                  <a:pt x="1594" y="2907"/>
                </a:cubicBezTo>
                <a:cubicBezTo>
                  <a:pt x="1687" y="2907"/>
                  <a:pt x="1656" y="2969"/>
                  <a:pt x="1656" y="3032"/>
                </a:cubicBezTo>
                <a:cubicBezTo>
                  <a:pt x="1656" y="3250"/>
                  <a:pt x="1625" y="3438"/>
                  <a:pt x="1625" y="3657"/>
                </a:cubicBezTo>
                <a:cubicBezTo>
                  <a:pt x="1625" y="3875"/>
                  <a:pt x="1625" y="4094"/>
                  <a:pt x="1594" y="4282"/>
                </a:cubicBezTo>
                <a:cubicBezTo>
                  <a:pt x="1562" y="4500"/>
                  <a:pt x="1594" y="4719"/>
                  <a:pt x="1594" y="4907"/>
                </a:cubicBezTo>
                <a:cubicBezTo>
                  <a:pt x="1562" y="5344"/>
                  <a:pt x="1562" y="5813"/>
                  <a:pt x="1562" y="6250"/>
                </a:cubicBezTo>
                <a:cubicBezTo>
                  <a:pt x="1562" y="6344"/>
                  <a:pt x="1500" y="6407"/>
                  <a:pt x="1406" y="6438"/>
                </a:cubicBezTo>
                <a:cubicBezTo>
                  <a:pt x="1375" y="6438"/>
                  <a:pt x="1344" y="6438"/>
                  <a:pt x="1312" y="6438"/>
                </a:cubicBezTo>
                <a:cubicBezTo>
                  <a:pt x="1156" y="6438"/>
                  <a:pt x="1000" y="6438"/>
                  <a:pt x="844" y="6438"/>
                </a:cubicBezTo>
                <a:cubicBezTo>
                  <a:pt x="656" y="6469"/>
                  <a:pt x="500" y="6469"/>
                  <a:pt x="344" y="6532"/>
                </a:cubicBezTo>
                <a:cubicBezTo>
                  <a:pt x="187" y="6563"/>
                  <a:pt x="187" y="6563"/>
                  <a:pt x="125" y="6438"/>
                </a:cubicBezTo>
                <a:cubicBezTo>
                  <a:pt x="125" y="6407"/>
                  <a:pt x="125" y="6375"/>
                  <a:pt x="94" y="6407"/>
                </a:cubicBezTo>
                <a:cubicBezTo>
                  <a:pt x="94" y="6407"/>
                  <a:pt x="62" y="6407"/>
                  <a:pt x="62" y="6438"/>
                </a:cubicBezTo>
                <a:cubicBezTo>
                  <a:pt x="62" y="6469"/>
                  <a:pt x="94" y="6500"/>
                  <a:pt x="94" y="6532"/>
                </a:cubicBezTo>
                <a:cubicBezTo>
                  <a:pt x="156" y="6688"/>
                  <a:pt x="250" y="6813"/>
                  <a:pt x="406" y="6907"/>
                </a:cubicBezTo>
                <a:cubicBezTo>
                  <a:pt x="562" y="7063"/>
                  <a:pt x="781" y="7094"/>
                  <a:pt x="1000" y="7094"/>
                </a:cubicBezTo>
                <a:cubicBezTo>
                  <a:pt x="1156" y="7094"/>
                  <a:pt x="1312" y="7094"/>
                  <a:pt x="1469" y="7125"/>
                </a:cubicBezTo>
                <a:cubicBezTo>
                  <a:pt x="1500" y="7125"/>
                  <a:pt x="1531" y="7157"/>
                  <a:pt x="1531" y="7219"/>
                </a:cubicBezTo>
                <a:cubicBezTo>
                  <a:pt x="1531" y="7500"/>
                  <a:pt x="1531" y="7532"/>
                  <a:pt x="1250" y="7500"/>
                </a:cubicBezTo>
                <a:cubicBezTo>
                  <a:pt x="1156" y="7500"/>
                  <a:pt x="1125" y="7563"/>
                  <a:pt x="1125" y="7657"/>
                </a:cubicBezTo>
                <a:cubicBezTo>
                  <a:pt x="1125" y="7719"/>
                  <a:pt x="1094" y="7782"/>
                  <a:pt x="1125" y="7844"/>
                </a:cubicBezTo>
                <a:cubicBezTo>
                  <a:pt x="1156" y="7875"/>
                  <a:pt x="1156" y="7907"/>
                  <a:pt x="1094" y="7907"/>
                </a:cubicBezTo>
                <a:cubicBezTo>
                  <a:pt x="1000" y="7938"/>
                  <a:pt x="1031" y="7969"/>
                  <a:pt x="1062" y="8032"/>
                </a:cubicBezTo>
                <a:cubicBezTo>
                  <a:pt x="1062" y="8125"/>
                  <a:pt x="1156" y="8157"/>
                  <a:pt x="1156" y="8250"/>
                </a:cubicBezTo>
                <a:cubicBezTo>
                  <a:pt x="1156" y="8688"/>
                  <a:pt x="1156" y="9094"/>
                  <a:pt x="1156" y="9532"/>
                </a:cubicBezTo>
                <a:cubicBezTo>
                  <a:pt x="1125" y="9532"/>
                  <a:pt x="1094" y="9563"/>
                  <a:pt x="1094" y="9594"/>
                </a:cubicBezTo>
                <a:cubicBezTo>
                  <a:pt x="1031" y="9563"/>
                  <a:pt x="1031" y="9625"/>
                  <a:pt x="1031" y="9657"/>
                </a:cubicBezTo>
                <a:cubicBezTo>
                  <a:pt x="1031" y="9813"/>
                  <a:pt x="1000" y="10000"/>
                  <a:pt x="1031" y="10157"/>
                </a:cubicBezTo>
                <a:cubicBezTo>
                  <a:pt x="1031" y="10188"/>
                  <a:pt x="1031" y="10219"/>
                  <a:pt x="1031" y="10250"/>
                </a:cubicBezTo>
                <a:cubicBezTo>
                  <a:pt x="1031" y="10250"/>
                  <a:pt x="1031" y="10250"/>
                  <a:pt x="1031" y="10250"/>
                </a:cubicBezTo>
                <a:cubicBezTo>
                  <a:pt x="1031" y="10250"/>
                  <a:pt x="1031" y="10250"/>
                  <a:pt x="1031" y="10282"/>
                </a:cubicBezTo>
                <a:cubicBezTo>
                  <a:pt x="1031" y="10313"/>
                  <a:pt x="1031" y="10375"/>
                  <a:pt x="1031" y="10438"/>
                </a:cubicBezTo>
                <a:cubicBezTo>
                  <a:pt x="1031" y="10469"/>
                  <a:pt x="1000" y="10500"/>
                  <a:pt x="1031" y="10532"/>
                </a:cubicBezTo>
                <a:cubicBezTo>
                  <a:pt x="1031" y="10594"/>
                  <a:pt x="1031" y="10688"/>
                  <a:pt x="1031" y="10750"/>
                </a:cubicBezTo>
                <a:cubicBezTo>
                  <a:pt x="1031" y="10844"/>
                  <a:pt x="1062" y="10907"/>
                  <a:pt x="1156" y="10907"/>
                </a:cubicBezTo>
                <a:cubicBezTo>
                  <a:pt x="1187" y="11032"/>
                  <a:pt x="1156" y="11188"/>
                  <a:pt x="1156" y="11313"/>
                </a:cubicBezTo>
                <a:cubicBezTo>
                  <a:pt x="1156" y="11375"/>
                  <a:pt x="1156" y="11407"/>
                  <a:pt x="1219" y="11407"/>
                </a:cubicBezTo>
                <a:cubicBezTo>
                  <a:pt x="1406" y="11469"/>
                  <a:pt x="1594" y="11469"/>
                  <a:pt x="1781" y="11469"/>
                </a:cubicBezTo>
                <a:cubicBezTo>
                  <a:pt x="1937" y="11500"/>
                  <a:pt x="2000" y="11438"/>
                  <a:pt x="2000" y="11282"/>
                </a:cubicBezTo>
                <a:cubicBezTo>
                  <a:pt x="2000" y="11188"/>
                  <a:pt x="2000" y="11094"/>
                  <a:pt x="2062" y="11000"/>
                </a:cubicBezTo>
                <a:cubicBezTo>
                  <a:pt x="2125" y="11032"/>
                  <a:pt x="2187" y="11063"/>
                  <a:pt x="2250" y="11063"/>
                </a:cubicBezTo>
                <a:cubicBezTo>
                  <a:pt x="2312" y="11094"/>
                  <a:pt x="2312" y="11125"/>
                  <a:pt x="2312" y="11188"/>
                </a:cubicBezTo>
                <a:cubicBezTo>
                  <a:pt x="2281" y="11188"/>
                  <a:pt x="2281" y="11219"/>
                  <a:pt x="2281" y="11219"/>
                </a:cubicBezTo>
                <a:cubicBezTo>
                  <a:pt x="2312" y="11282"/>
                  <a:pt x="2281" y="11344"/>
                  <a:pt x="2344" y="11375"/>
                </a:cubicBezTo>
                <a:cubicBezTo>
                  <a:pt x="2375" y="11438"/>
                  <a:pt x="2406" y="11532"/>
                  <a:pt x="2406" y="11594"/>
                </a:cubicBezTo>
                <a:cubicBezTo>
                  <a:pt x="2469" y="11875"/>
                  <a:pt x="2500" y="12125"/>
                  <a:pt x="2562" y="12407"/>
                </a:cubicBezTo>
                <a:cubicBezTo>
                  <a:pt x="2594" y="12657"/>
                  <a:pt x="2719" y="12719"/>
                  <a:pt x="2906" y="12657"/>
                </a:cubicBezTo>
                <a:cubicBezTo>
                  <a:pt x="3031" y="12594"/>
                  <a:pt x="3156" y="12563"/>
                  <a:pt x="3312" y="12563"/>
                </a:cubicBezTo>
                <a:cubicBezTo>
                  <a:pt x="3781" y="12563"/>
                  <a:pt x="4250" y="12563"/>
                  <a:pt x="4719" y="12563"/>
                </a:cubicBezTo>
                <a:cubicBezTo>
                  <a:pt x="4844" y="12563"/>
                  <a:pt x="4906" y="12532"/>
                  <a:pt x="4969" y="12407"/>
                </a:cubicBezTo>
                <a:cubicBezTo>
                  <a:pt x="5000" y="12313"/>
                  <a:pt x="5062" y="12375"/>
                  <a:pt x="5125" y="12375"/>
                </a:cubicBezTo>
                <a:cubicBezTo>
                  <a:pt x="5187" y="12375"/>
                  <a:pt x="5187" y="12407"/>
                  <a:pt x="5156" y="12469"/>
                </a:cubicBezTo>
                <a:cubicBezTo>
                  <a:pt x="5156" y="12563"/>
                  <a:pt x="5156" y="12688"/>
                  <a:pt x="5125" y="12782"/>
                </a:cubicBezTo>
                <a:cubicBezTo>
                  <a:pt x="5125" y="12907"/>
                  <a:pt x="5094" y="13032"/>
                  <a:pt x="5156" y="13188"/>
                </a:cubicBezTo>
                <a:cubicBezTo>
                  <a:pt x="5125" y="13282"/>
                  <a:pt x="5125" y="13407"/>
                  <a:pt x="5187" y="13500"/>
                </a:cubicBezTo>
                <a:cubicBezTo>
                  <a:pt x="5219" y="13657"/>
                  <a:pt x="5219" y="13844"/>
                  <a:pt x="5344" y="13969"/>
                </a:cubicBezTo>
                <a:cubicBezTo>
                  <a:pt x="5344" y="13969"/>
                  <a:pt x="5312" y="14000"/>
                  <a:pt x="5312" y="14000"/>
                </a:cubicBezTo>
                <a:cubicBezTo>
                  <a:pt x="5219" y="14032"/>
                  <a:pt x="5125" y="14032"/>
                  <a:pt x="5031" y="14032"/>
                </a:cubicBezTo>
                <a:cubicBezTo>
                  <a:pt x="5000" y="14000"/>
                  <a:pt x="4969" y="14000"/>
                  <a:pt x="4969" y="14032"/>
                </a:cubicBezTo>
                <a:cubicBezTo>
                  <a:pt x="4937" y="14032"/>
                  <a:pt x="4937" y="14032"/>
                  <a:pt x="4937" y="14032"/>
                </a:cubicBezTo>
                <a:cubicBezTo>
                  <a:pt x="4125" y="14125"/>
                  <a:pt x="3344" y="14282"/>
                  <a:pt x="3562" y="14500"/>
                </a:cubicBezTo>
                <a:cubicBezTo>
                  <a:pt x="3719" y="14657"/>
                  <a:pt x="3937" y="14750"/>
                  <a:pt x="4281" y="14813"/>
                </a:cubicBezTo>
                <a:cubicBezTo>
                  <a:pt x="4312" y="14813"/>
                  <a:pt x="4312" y="14813"/>
                  <a:pt x="4344" y="14844"/>
                </a:cubicBezTo>
                <a:cubicBezTo>
                  <a:pt x="4344" y="14813"/>
                  <a:pt x="4344" y="14813"/>
                  <a:pt x="4344" y="14813"/>
                </a:cubicBezTo>
                <a:cubicBezTo>
                  <a:pt x="4375" y="14813"/>
                  <a:pt x="4406" y="14813"/>
                  <a:pt x="4437" y="14844"/>
                </a:cubicBezTo>
                <a:cubicBezTo>
                  <a:pt x="4437" y="14844"/>
                  <a:pt x="4437" y="14844"/>
                  <a:pt x="4437" y="14844"/>
                </a:cubicBezTo>
                <a:cubicBezTo>
                  <a:pt x="4625" y="14875"/>
                  <a:pt x="4812" y="14938"/>
                  <a:pt x="5031" y="14938"/>
                </a:cubicBezTo>
                <a:cubicBezTo>
                  <a:pt x="5031" y="14938"/>
                  <a:pt x="5031" y="14938"/>
                  <a:pt x="5031" y="14938"/>
                </a:cubicBezTo>
                <a:cubicBezTo>
                  <a:pt x="5250" y="14969"/>
                  <a:pt x="5437" y="15032"/>
                  <a:pt x="5625" y="15032"/>
                </a:cubicBezTo>
                <a:cubicBezTo>
                  <a:pt x="5937" y="15063"/>
                  <a:pt x="6250" y="15063"/>
                  <a:pt x="6562" y="15063"/>
                </a:cubicBezTo>
                <a:cubicBezTo>
                  <a:pt x="6937" y="15063"/>
                  <a:pt x="7281" y="15063"/>
                  <a:pt x="7625" y="15063"/>
                </a:cubicBezTo>
                <a:cubicBezTo>
                  <a:pt x="7656" y="15063"/>
                  <a:pt x="7687" y="15063"/>
                  <a:pt x="7719" y="15063"/>
                </a:cubicBezTo>
                <a:cubicBezTo>
                  <a:pt x="7750" y="15063"/>
                  <a:pt x="7781" y="15063"/>
                  <a:pt x="7812" y="15063"/>
                </a:cubicBezTo>
                <a:cubicBezTo>
                  <a:pt x="7875" y="15063"/>
                  <a:pt x="7906" y="15063"/>
                  <a:pt x="7969" y="15000"/>
                </a:cubicBezTo>
                <a:cubicBezTo>
                  <a:pt x="8031" y="14969"/>
                  <a:pt x="8125" y="14938"/>
                  <a:pt x="8219" y="14907"/>
                </a:cubicBezTo>
                <a:cubicBezTo>
                  <a:pt x="8250" y="14969"/>
                  <a:pt x="8281" y="14938"/>
                  <a:pt x="8312" y="14938"/>
                </a:cubicBezTo>
                <a:cubicBezTo>
                  <a:pt x="8844" y="14938"/>
                  <a:pt x="9406" y="14875"/>
                  <a:pt x="9937" y="14875"/>
                </a:cubicBezTo>
                <a:cubicBezTo>
                  <a:pt x="10687" y="14844"/>
                  <a:pt x="11437" y="14875"/>
                  <a:pt x="12187" y="14844"/>
                </a:cubicBezTo>
                <a:cubicBezTo>
                  <a:pt x="12594" y="14813"/>
                  <a:pt x="13031" y="14813"/>
                  <a:pt x="13437" y="14813"/>
                </a:cubicBezTo>
                <a:cubicBezTo>
                  <a:pt x="14125" y="14813"/>
                  <a:pt x="14812" y="14782"/>
                  <a:pt x="15500" y="14813"/>
                </a:cubicBezTo>
                <a:cubicBezTo>
                  <a:pt x="16187" y="14844"/>
                  <a:pt x="16906" y="14844"/>
                  <a:pt x="17594" y="14844"/>
                </a:cubicBezTo>
                <a:cubicBezTo>
                  <a:pt x="17625" y="14844"/>
                  <a:pt x="17687" y="14844"/>
                  <a:pt x="17719" y="14844"/>
                </a:cubicBezTo>
                <a:cubicBezTo>
                  <a:pt x="18094" y="14875"/>
                  <a:pt x="18281" y="14907"/>
                  <a:pt x="18281" y="14907"/>
                </a:cubicBezTo>
                <a:cubicBezTo>
                  <a:pt x="18312" y="14907"/>
                  <a:pt x="18312" y="14875"/>
                  <a:pt x="18344" y="14875"/>
                </a:cubicBezTo>
                <a:cubicBezTo>
                  <a:pt x="19187" y="14875"/>
                  <a:pt x="20062" y="14875"/>
                  <a:pt x="20937" y="14875"/>
                </a:cubicBezTo>
                <a:cubicBezTo>
                  <a:pt x="21625" y="14875"/>
                  <a:pt x="22312" y="14907"/>
                  <a:pt x="23000" y="14719"/>
                </a:cubicBezTo>
                <a:cubicBezTo>
                  <a:pt x="23094" y="14719"/>
                  <a:pt x="23219" y="14688"/>
                  <a:pt x="23250" y="14563"/>
                </a:cubicBezTo>
                <a:cubicBezTo>
                  <a:pt x="23406" y="14469"/>
                  <a:pt x="23562" y="14344"/>
                  <a:pt x="23687" y="14188"/>
                </a:cubicBezTo>
                <a:cubicBezTo>
                  <a:pt x="23937" y="13875"/>
                  <a:pt x="24125" y="13532"/>
                  <a:pt x="24187" y="13125"/>
                </a:cubicBezTo>
                <a:cubicBezTo>
                  <a:pt x="24281" y="12500"/>
                  <a:pt x="24156" y="11938"/>
                  <a:pt x="23781" y="11438"/>
                </a:cubicBezTo>
                <a:lnTo>
                  <a:pt x="23781" y="11438"/>
                </a:lnTo>
                <a:cubicBezTo>
                  <a:pt x="23625" y="11219"/>
                  <a:pt x="23437" y="11063"/>
                  <a:pt x="23250" y="10907"/>
                </a:cubicBezTo>
                <a:cubicBezTo>
                  <a:pt x="23250" y="10875"/>
                  <a:pt x="23281" y="10844"/>
                  <a:pt x="23312" y="10813"/>
                </a:cubicBezTo>
                <a:cubicBezTo>
                  <a:pt x="23437" y="10750"/>
                  <a:pt x="23531" y="10657"/>
                  <a:pt x="23625" y="10532"/>
                </a:cubicBezTo>
                <a:cubicBezTo>
                  <a:pt x="23719" y="10469"/>
                  <a:pt x="23781" y="10407"/>
                  <a:pt x="23812" y="10282"/>
                </a:cubicBezTo>
                <a:cubicBezTo>
                  <a:pt x="23812" y="10250"/>
                  <a:pt x="23812" y="10250"/>
                  <a:pt x="23812" y="10219"/>
                </a:cubicBezTo>
                <a:cubicBezTo>
                  <a:pt x="23812" y="10188"/>
                  <a:pt x="23844" y="10157"/>
                  <a:pt x="23875" y="10125"/>
                </a:cubicBezTo>
                <a:cubicBezTo>
                  <a:pt x="23906" y="10094"/>
                  <a:pt x="23937" y="10063"/>
                  <a:pt x="23969" y="10032"/>
                </a:cubicBezTo>
                <a:cubicBezTo>
                  <a:pt x="24000" y="9969"/>
                  <a:pt x="24031" y="9907"/>
                  <a:pt x="23969" y="9875"/>
                </a:cubicBezTo>
                <a:cubicBezTo>
                  <a:pt x="23906" y="9688"/>
                  <a:pt x="23875" y="9688"/>
                  <a:pt x="23719" y="9782"/>
                </a:cubicBezTo>
                <a:cubicBezTo>
                  <a:pt x="23719" y="9782"/>
                  <a:pt x="23719" y="9782"/>
                  <a:pt x="23719" y="9782"/>
                </a:cubicBezTo>
                <a:cubicBezTo>
                  <a:pt x="23719" y="9782"/>
                  <a:pt x="23687" y="9782"/>
                  <a:pt x="23687" y="9782"/>
                </a:cubicBezTo>
                <a:cubicBezTo>
                  <a:pt x="23625" y="9750"/>
                  <a:pt x="23562" y="9688"/>
                  <a:pt x="23562" y="9594"/>
                </a:cubicBezTo>
                <a:cubicBezTo>
                  <a:pt x="23500" y="9344"/>
                  <a:pt x="23406" y="9125"/>
                  <a:pt x="23281" y="8907"/>
                </a:cubicBezTo>
                <a:cubicBezTo>
                  <a:pt x="23094" y="8563"/>
                  <a:pt x="22844" y="8282"/>
                  <a:pt x="22531" y="8032"/>
                </a:cubicBezTo>
                <a:cubicBezTo>
                  <a:pt x="22281" y="7813"/>
                  <a:pt x="22000" y="7688"/>
                  <a:pt x="21687" y="7563"/>
                </a:cubicBezTo>
                <a:cubicBezTo>
                  <a:pt x="21687" y="7532"/>
                  <a:pt x="21625" y="7500"/>
                  <a:pt x="21625" y="7563"/>
                </a:cubicBezTo>
                <a:close/>
                <a:moveTo>
                  <a:pt x="4062" y="5188"/>
                </a:moveTo>
                <a:cubicBezTo>
                  <a:pt x="4094" y="5188"/>
                  <a:pt x="4094" y="5188"/>
                  <a:pt x="4094" y="5157"/>
                </a:cubicBezTo>
                <a:cubicBezTo>
                  <a:pt x="4094" y="5157"/>
                  <a:pt x="4094" y="5157"/>
                  <a:pt x="4062" y="5157"/>
                </a:cubicBezTo>
                <a:cubicBezTo>
                  <a:pt x="4062" y="5157"/>
                  <a:pt x="4062" y="5157"/>
                  <a:pt x="4062" y="5157"/>
                </a:cubicBezTo>
                <a:cubicBezTo>
                  <a:pt x="4062" y="5188"/>
                  <a:pt x="4062" y="5188"/>
                  <a:pt x="4062" y="5188"/>
                </a:cubicBezTo>
                <a:close/>
                <a:moveTo>
                  <a:pt x="4500" y="5157"/>
                </a:moveTo>
                <a:cubicBezTo>
                  <a:pt x="4406" y="5157"/>
                  <a:pt x="4312" y="5157"/>
                  <a:pt x="4250" y="5188"/>
                </a:cubicBezTo>
                <a:cubicBezTo>
                  <a:pt x="4312" y="5188"/>
                  <a:pt x="4406" y="5219"/>
                  <a:pt x="4500" y="5157"/>
                </a:cubicBezTo>
                <a:close/>
                <a:moveTo>
                  <a:pt x="94" y="6157"/>
                </a:moveTo>
                <a:cubicBezTo>
                  <a:pt x="94" y="6125"/>
                  <a:pt x="94" y="6094"/>
                  <a:pt x="62" y="6094"/>
                </a:cubicBezTo>
                <a:cubicBezTo>
                  <a:pt x="0" y="6094"/>
                  <a:pt x="0" y="6157"/>
                  <a:pt x="31" y="6188"/>
                </a:cubicBezTo>
                <a:cubicBezTo>
                  <a:pt x="31" y="6219"/>
                  <a:pt x="0" y="6250"/>
                  <a:pt x="31" y="6250"/>
                </a:cubicBezTo>
                <a:cubicBezTo>
                  <a:pt x="94" y="6250"/>
                  <a:pt x="94" y="6188"/>
                  <a:pt x="94" y="6157"/>
                </a:cubicBezTo>
                <a:close/>
                <a:moveTo>
                  <a:pt x="17844" y="1907"/>
                </a:moveTo>
                <a:cubicBezTo>
                  <a:pt x="17906" y="1907"/>
                  <a:pt x="17937" y="1875"/>
                  <a:pt x="17937" y="1844"/>
                </a:cubicBezTo>
                <a:cubicBezTo>
                  <a:pt x="17937" y="1750"/>
                  <a:pt x="17875" y="1813"/>
                  <a:pt x="17844" y="1813"/>
                </a:cubicBezTo>
                <a:cubicBezTo>
                  <a:pt x="17812" y="1813"/>
                  <a:pt x="17719" y="1782"/>
                  <a:pt x="17719" y="1844"/>
                </a:cubicBezTo>
                <a:cubicBezTo>
                  <a:pt x="17719" y="1875"/>
                  <a:pt x="17781" y="1907"/>
                  <a:pt x="17844" y="1907"/>
                </a:cubicBezTo>
                <a:close/>
                <a:moveTo>
                  <a:pt x="1844" y="94"/>
                </a:moveTo>
                <a:cubicBezTo>
                  <a:pt x="1687" y="0"/>
                  <a:pt x="1531" y="32"/>
                  <a:pt x="1437" y="125"/>
                </a:cubicBezTo>
                <a:cubicBezTo>
                  <a:pt x="1562" y="63"/>
                  <a:pt x="1687" y="125"/>
                  <a:pt x="1844" y="94"/>
                </a:cubicBezTo>
                <a:close/>
                <a:moveTo>
                  <a:pt x="94" y="5938"/>
                </a:moveTo>
                <a:cubicBezTo>
                  <a:pt x="94" y="5875"/>
                  <a:pt x="94" y="5813"/>
                  <a:pt x="94" y="5750"/>
                </a:cubicBezTo>
                <a:cubicBezTo>
                  <a:pt x="94" y="5719"/>
                  <a:pt x="31" y="5719"/>
                  <a:pt x="0" y="5688"/>
                </a:cubicBezTo>
                <a:cubicBezTo>
                  <a:pt x="0" y="5750"/>
                  <a:pt x="0" y="5813"/>
                  <a:pt x="0" y="5875"/>
                </a:cubicBezTo>
                <a:cubicBezTo>
                  <a:pt x="0" y="5907"/>
                  <a:pt x="0" y="5907"/>
                  <a:pt x="0" y="5907"/>
                </a:cubicBezTo>
                <a:cubicBezTo>
                  <a:pt x="0" y="5938"/>
                  <a:pt x="0" y="5969"/>
                  <a:pt x="31" y="5969"/>
                </a:cubicBezTo>
                <a:cubicBezTo>
                  <a:pt x="62" y="5969"/>
                  <a:pt x="94" y="5969"/>
                  <a:pt x="94" y="5938"/>
                </a:cubicBezTo>
                <a:close/>
                <a:moveTo>
                  <a:pt x="1312" y="6313"/>
                </a:moveTo>
                <a:cubicBezTo>
                  <a:pt x="1312" y="6344"/>
                  <a:pt x="1312" y="6375"/>
                  <a:pt x="1375" y="6375"/>
                </a:cubicBezTo>
                <a:cubicBezTo>
                  <a:pt x="1406" y="6375"/>
                  <a:pt x="1406" y="6344"/>
                  <a:pt x="1406" y="6313"/>
                </a:cubicBezTo>
                <a:cubicBezTo>
                  <a:pt x="1406" y="6125"/>
                  <a:pt x="1406" y="5907"/>
                  <a:pt x="1406" y="5719"/>
                </a:cubicBezTo>
                <a:cubicBezTo>
                  <a:pt x="1406" y="5719"/>
                  <a:pt x="1406" y="5719"/>
                  <a:pt x="1406" y="5719"/>
                </a:cubicBezTo>
                <a:cubicBezTo>
                  <a:pt x="1406" y="5500"/>
                  <a:pt x="1406" y="5313"/>
                  <a:pt x="1406" y="5125"/>
                </a:cubicBezTo>
                <a:cubicBezTo>
                  <a:pt x="1406" y="5094"/>
                  <a:pt x="1406" y="5063"/>
                  <a:pt x="1406" y="5032"/>
                </a:cubicBezTo>
                <a:cubicBezTo>
                  <a:pt x="1406" y="5000"/>
                  <a:pt x="1375" y="5000"/>
                  <a:pt x="1344" y="5000"/>
                </a:cubicBezTo>
                <a:cubicBezTo>
                  <a:pt x="1312" y="5000"/>
                  <a:pt x="1312" y="5032"/>
                  <a:pt x="1344" y="5063"/>
                </a:cubicBezTo>
                <a:cubicBezTo>
                  <a:pt x="1344" y="5094"/>
                  <a:pt x="1344" y="5125"/>
                  <a:pt x="1344" y="5157"/>
                </a:cubicBezTo>
                <a:cubicBezTo>
                  <a:pt x="1312" y="5532"/>
                  <a:pt x="1344" y="5938"/>
                  <a:pt x="1312" y="6313"/>
                </a:cubicBezTo>
                <a:close/>
                <a:moveTo>
                  <a:pt x="21625" y="7563"/>
                </a:moveTo>
                <a:cubicBezTo>
                  <a:pt x="21625" y="7563"/>
                  <a:pt x="21625" y="7563"/>
                  <a:pt x="21625" y="7563"/>
                </a:cubicBezTo>
                <a:close/>
                <a:moveTo>
                  <a:pt x="250" y="6625"/>
                </a:moveTo>
                <a:cubicBezTo>
                  <a:pt x="250" y="6625"/>
                  <a:pt x="250" y="6625"/>
                  <a:pt x="250" y="6625"/>
                </a:cubicBezTo>
                <a:cubicBezTo>
                  <a:pt x="250" y="6625"/>
                  <a:pt x="250" y="6625"/>
                  <a:pt x="250" y="6625"/>
                </a:cubicBezTo>
                <a:close/>
                <a:moveTo>
                  <a:pt x="1375" y="7032"/>
                </a:moveTo>
                <a:cubicBezTo>
                  <a:pt x="1312" y="7032"/>
                  <a:pt x="1219" y="7032"/>
                  <a:pt x="1156" y="7032"/>
                </a:cubicBezTo>
                <a:cubicBezTo>
                  <a:pt x="937" y="7000"/>
                  <a:pt x="750" y="7032"/>
                  <a:pt x="531" y="6938"/>
                </a:cubicBezTo>
                <a:cubicBezTo>
                  <a:pt x="437" y="6907"/>
                  <a:pt x="344" y="6782"/>
                  <a:pt x="281" y="6719"/>
                </a:cubicBezTo>
                <a:cubicBezTo>
                  <a:pt x="250" y="6688"/>
                  <a:pt x="250" y="6657"/>
                  <a:pt x="281" y="6625"/>
                </a:cubicBezTo>
                <a:cubicBezTo>
                  <a:pt x="344" y="6625"/>
                  <a:pt x="375" y="6563"/>
                  <a:pt x="437" y="6563"/>
                </a:cubicBezTo>
                <a:cubicBezTo>
                  <a:pt x="719" y="6532"/>
                  <a:pt x="1000" y="6532"/>
                  <a:pt x="1250" y="6532"/>
                </a:cubicBezTo>
                <a:cubicBezTo>
                  <a:pt x="1312" y="6532"/>
                  <a:pt x="1312" y="6563"/>
                  <a:pt x="1344" y="6594"/>
                </a:cubicBezTo>
                <a:cubicBezTo>
                  <a:pt x="1344" y="6719"/>
                  <a:pt x="1375" y="6813"/>
                  <a:pt x="1437" y="6907"/>
                </a:cubicBezTo>
                <a:cubicBezTo>
                  <a:pt x="1500" y="6938"/>
                  <a:pt x="1437" y="7032"/>
                  <a:pt x="1375" y="7032"/>
                </a:cubicBezTo>
                <a:close/>
                <a:moveTo>
                  <a:pt x="1500" y="6688"/>
                </a:moveTo>
                <a:cubicBezTo>
                  <a:pt x="1437" y="6688"/>
                  <a:pt x="1437" y="6625"/>
                  <a:pt x="1406" y="6594"/>
                </a:cubicBezTo>
                <a:cubicBezTo>
                  <a:pt x="1406" y="6563"/>
                  <a:pt x="1437" y="6563"/>
                  <a:pt x="1437" y="6532"/>
                </a:cubicBezTo>
                <a:cubicBezTo>
                  <a:pt x="1500" y="6532"/>
                  <a:pt x="1531" y="6594"/>
                  <a:pt x="1531" y="6625"/>
                </a:cubicBezTo>
                <a:cubicBezTo>
                  <a:pt x="1531" y="6657"/>
                  <a:pt x="1531" y="6719"/>
                  <a:pt x="1500" y="6688"/>
                </a:cubicBezTo>
                <a:close/>
                <a:moveTo>
                  <a:pt x="20094" y="7188"/>
                </a:moveTo>
                <a:cubicBezTo>
                  <a:pt x="20219" y="7219"/>
                  <a:pt x="20312" y="7188"/>
                  <a:pt x="20406" y="7250"/>
                </a:cubicBezTo>
                <a:cubicBezTo>
                  <a:pt x="20437" y="7250"/>
                  <a:pt x="20500" y="7250"/>
                  <a:pt x="20531" y="7250"/>
                </a:cubicBezTo>
                <a:cubicBezTo>
                  <a:pt x="20625" y="7219"/>
                  <a:pt x="20719" y="7313"/>
                  <a:pt x="20812" y="7344"/>
                </a:cubicBezTo>
                <a:cubicBezTo>
                  <a:pt x="20844" y="7344"/>
                  <a:pt x="20844" y="7344"/>
                  <a:pt x="20844" y="7375"/>
                </a:cubicBezTo>
                <a:cubicBezTo>
                  <a:pt x="20844" y="7407"/>
                  <a:pt x="20812" y="7407"/>
                  <a:pt x="20781" y="7375"/>
                </a:cubicBezTo>
                <a:cubicBezTo>
                  <a:pt x="20687" y="7344"/>
                  <a:pt x="20562" y="7344"/>
                  <a:pt x="20469" y="7313"/>
                </a:cubicBezTo>
                <a:cubicBezTo>
                  <a:pt x="20344" y="7282"/>
                  <a:pt x="20219" y="7282"/>
                  <a:pt x="20094" y="7250"/>
                </a:cubicBezTo>
                <a:cubicBezTo>
                  <a:pt x="20062" y="7250"/>
                  <a:pt x="20031" y="7282"/>
                  <a:pt x="20031" y="7219"/>
                </a:cubicBezTo>
                <a:cubicBezTo>
                  <a:pt x="20031" y="7188"/>
                  <a:pt x="20062" y="7188"/>
                  <a:pt x="20094" y="7188"/>
                </a:cubicBezTo>
                <a:close/>
                <a:moveTo>
                  <a:pt x="18875" y="7125"/>
                </a:moveTo>
                <a:cubicBezTo>
                  <a:pt x="18937" y="7125"/>
                  <a:pt x="19031" y="7157"/>
                  <a:pt x="19094" y="7063"/>
                </a:cubicBezTo>
                <a:cubicBezTo>
                  <a:pt x="19125" y="7063"/>
                  <a:pt x="19125" y="7063"/>
                  <a:pt x="19156" y="7063"/>
                </a:cubicBezTo>
                <a:cubicBezTo>
                  <a:pt x="19187" y="7125"/>
                  <a:pt x="19219" y="7157"/>
                  <a:pt x="19219" y="7063"/>
                </a:cubicBezTo>
                <a:cubicBezTo>
                  <a:pt x="19219" y="7032"/>
                  <a:pt x="19250" y="7032"/>
                  <a:pt x="19250" y="7032"/>
                </a:cubicBezTo>
                <a:cubicBezTo>
                  <a:pt x="19312" y="7032"/>
                  <a:pt x="19375" y="7032"/>
                  <a:pt x="19437" y="7032"/>
                </a:cubicBezTo>
                <a:cubicBezTo>
                  <a:pt x="19437" y="7032"/>
                  <a:pt x="19437" y="7032"/>
                  <a:pt x="19437" y="7063"/>
                </a:cubicBezTo>
                <a:cubicBezTo>
                  <a:pt x="19406" y="7063"/>
                  <a:pt x="19406" y="7063"/>
                  <a:pt x="19344" y="7094"/>
                </a:cubicBezTo>
                <a:cubicBezTo>
                  <a:pt x="19562" y="7157"/>
                  <a:pt x="19781" y="7125"/>
                  <a:pt x="19969" y="7157"/>
                </a:cubicBezTo>
                <a:cubicBezTo>
                  <a:pt x="19937" y="7250"/>
                  <a:pt x="19906" y="7250"/>
                  <a:pt x="19844" y="7250"/>
                </a:cubicBezTo>
                <a:cubicBezTo>
                  <a:pt x="19687" y="7250"/>
                  <a:pt x="19500" y="7188"/>
                  <a:pt x="19344" y="7188"/>
                </a:cubicBezTo>
                <a:cubicBezTo>
                  <a:pt x="19156" y="7188"/>
                  <a:pt x="18937" y="7188"/>
                  <a:pt x="18750" y="7188"/>
                </a:cubicBezTo>
                <a:cubicBezTo>
                  <a:pt x="18781" y="7125"/>
                  <a:pt x="18812" y="7125"/>
                  <a:pt x="18875" y="7125"/>
                </a:cubicBezTo>
                <a:close/>
                <a:moveTo>
                  <a:pt x="16656" y="3407"/>
                </a:moveTo>
                <a:cubicBezTo>
                  <a:pt x="16687" y="3407"/>
                  <a:pt x="16719" y="3438"/>
                  <a:pt x="16719" y="3469"/>
                </a:cubicBezTo>
                <a:cubicBezTo>
                  <a:pt x="16719" y="3500"/>
                  <a:pt x="16719" y="3500"/>
                  <a:pt x="16687" y="3500"/>
                </a:cubicBezTo>
                <a:cubicBezTo>
                  <a:pt x="16656" y="3500"/>
                  <a:pt x="16656" y="3469"/>
                  <a:pt x="16656" y="3438"/>
                </a:cubicBezTo>
                <a:cubicBezTo>
                  <a:pt x="16625" y="3438"/>
                  <a:pt x="16625" y="3407"/>
                  <a:pt x="16656" y="3407"/>
                </a:cubicBezTo>
                <a:close/>
                <a:moveTo>
                  <a:pt x="16344" y="4063"/>
                </a:moveTo>
                <a:cubicBezTo>
                  <a:pt x="16375" y="4032"/>
                  <a:pt x="16375" y="4063"/>
                  <a:pt x="16406" y="4063"/>
                </a:cubicBezTo>
                <a:cubicBezTo>
                  <a:pt x="16656" y="4157"/>
                  <a:pt x="16750" y="4407"/>
                  <a:pt x="16844" y="4625"/>
                </a:cubicBezTo>
                <a:cubicBezTo>
                  <a:pt x="17000" y="4875"/>
                  <a:pt x="17125" y="5157"/>
                  <a:pt x="17250" y="5407"/>
                </a:cubicBezTo>
                <a:cubicBezTo>
                  <a:pt x="17281" y="5438"/>
                  <a:pt x="17312" y="5500"/>
                  <a:pt x="17250" y="5532"/>
                </a:cubicBezTo>
                <a:cubicBezTo>
                  <a:pt x="17219" y="5563"/>
                  <a:pt x="17219" y="5563"/>
                  <a:pt x="17250" y="5594"/>
                </a:cubicBezTo>
                <a:cubicBezTo>
                  <a:pt x="17250" y="5625"/>
                  <a:pt x="17281" y="5657"/>
                  <a:pt x="17312" y="5625"/>
                </a:cubicBezTo>
                <a:cubicBezTo>
                  <a:pt x="17344" y="5594"/>
                  <a:pt x="17375" y="5625"/>
                  <a:pt x="17375" y="5657"/>
                </a:cubicBezTo>
                <a:cubicBezTo>
                  <a:pt x="17500" y="5844"/>
                  <a:pt x="17594" y="6032"/>
                  <a:pt x="17687" y="6250"/>
                </a:cubicBezTo>
                <a:cubicBezTo>
                  <a:pt x="17687" y="6250"/>
                  <a:pt x="17687" y="6282"/>
                  <a:pt x="17687" y="6282"/>
                </a:cubicBezTo>
                <a:cubicBezTo>
                  <a:pt x="17687" y="6282"/>
                  <a:pt x="17687" y="6282"/>
                  <a:pt x="17687" y="6282"/>
                </a:cubicBezTo>
                <a:cubicBezTo>
                  <a:pt x="17625" y="6375"/>
                  <a:pt x="17562" y="6407"/>
                  <a:pt x="17469" y="6344"/>
                </a:cubicBezTo>
                <a:cubicBezTo>
                  <a:pt x="17375" y="6313"/>
                  <a:pt x="17312" y="6250"/>
                  <a:pt x="17281" y="6157"/>
                </a:cubicBezTo>
                <a:cubicBezTo>
                  <a:pt x="17094" y="5813"/>
                  <a:pt x="16906" y="5500"/>
                  <a:pt x="16750" y="5188"/>
                </a:cubicBezTo>
                <a:cubicBezTo>
                  <a:pt x="16625" y="4938"/>
                  <a:pt x="16500" y="4688"/>
                  <a:pt x="16375" y="4438"/>
                </a:cubicBezTo>
                <a:cubicBezTo>
                  <a:pt x="16375" y="4438"/>
                  <a:pt x="16375" y="4438"/>
                  <a:pt x="16375" y="4438"/>
                </a:cubicBezTo>
                <a:cubicBezTo>
                  <a:pt x="16375" y="4438"/>
                  <a:pt x="16344" y="4438"/>
                  <a:pt x="16344" y="4438"/>
                </a:cubicBezTo>
                <a:cubicBezTo>
                  <a:pt x="16344" y="4438"/>
                  <a:pt x="16344" y="4407"/>
                  <a:pt x="16344" y="4407"/>
                </a:cubicBezTo>
                <a:cubicBezTo>
                  <a:pt x="16281" y="4313"/>
                  <a:pt x="16344" y="4188"/>
                  <a:pt x="16312" y="4094"/>
                </a:cubicBezTo>
                <a:cubicBezTo>
                  <a:pt x="16312" y="4063"/>
                  <a:pt x="16312" y="4063"/>
                  <a:pt x="16344" y="4063"/>
                </a:cubicBezTo>
                <a:close/>
                <a:moveTo>
                  <a:pt x="15406" y="4532"/>
                </a:moveTo>
                <a:cubicBezTo>
                  <a:pt x="15406" y="4469"/>
                  <a:pt x="15437" y="4407"/>
                  <a:pt x="15500" y="4375"/>
                </a:cubicBezTo>
                <a:cubicBezTo>
                  <a:pt x="15562" y="4375"/>
                  <a:pt x="15625" y="4407"/>
                  <a:pt x="15656" y="4469"/>
                </a:cubicBezTo>
                <a:cubicBezTo>
                  <a:pt x="15719" y="4532"/>
                  <a:pt x="15750" y="4625"/>
                  <a:pt x="15781" y="4719"/>
                </a:cubicBezTo>
                <a:cubicBezTo>
                  <a:pt x="15844" y="4844"/>
                  <a:pt x="15875" y="4938"/>
                  <a:pt x="15937" y="5032"/>
                </a:cubicBezTo>
                <a:cubicBezTo>
                  <a:pt x="16094" y="5250"/>
                  <a:pt x="16094" y="5500"/>
                  <a:pt x="16094" y="5750"/>
                </a:cubicBezTo>
                <a:cubicBezTo>
                  <a:pt x="16094" y="5844"/>
                  <a:pt x="16094" y="5907"/>
                  <a:pt x="16094" y="5969"/>
                </a:cubicBezTo>
                <a:cubicBezTo>
                  <a:pt x="16094" y="5969"/>
                  <a:pt x="16094" y="5969"/>
                  <a:pt x="16094" y="5969"/>
                </a:cubicBezTo>
                <a:cubicBezTo>
                  <a:pt x="16094" y="6157"/>
                  <a:pt x="16094" y="6375"/>
                  <a:pt x="16094" y="6563"/>
                </a:cubicBezTo>
                <a:cubicBezTo>
                  <a:pt x="16094" y="6657"/>
                  <a:pt x="16062" y="6719"/>
                  <a:pt x="15969" y="6719"/>
                </a:cubicBezTo>
                <a:cubicBezTo>
                  <a:pt x="15812" y="6750"/>
                  <a:pt x="15656" y="6750"/>
                  <a:pt x="15500" y="6750"/>
                </a:cubicBezTo>
                <a:cubicBezTo>
                  <a:pt x="15437" y="6750"/>
                  <a:pt x="15437" y="6688"/>
                  <a:pt x="15437" y="6625"/>
                </a:cubicBezTo>
                <a:cubicBezTo>
                  <a:pt x="15437" y="6375"/>
                  <a:pt x="15406" y="6094"/>
                  <a:pt x="15406" y="5844"/>
                </a:cubicBezTo>
                <a:cubicBezTo>
                  <a:pt x="15406" y="5469"/>
                  <a:pt x="15406" y="5063"/>
                  <a:pt x="15406" y="4688"/>
                </a:cubicBezTo>
                <a:cubicBezTo>
                  <a:pt x="15406" y="4625"/>
                  <a:pt x="15406" y="4594"/>
                  <a:pt x="15406" y="4532"/>
                </a:cubicBezTo>
                <a:close/>
                <a:moveTo>
                  <a:pt x="14719" y="3594"/>
                </a:moveTo>
                <a:cubicBezTo>
                  <a:pt x="14812" y="3594"/>
                  <a:pt x="14906" y="3594"/>
                  <a:pt x="15000" y="3594"/>
                </a:cubicBezTo>
                <a:cubicBezTo>
                  <a:pt x="15000" y="3594"/>
                  <a:pt x="15000" y="3594"/>
                  <a:pt x="15000" y="3594"/>
                </a:cubicBezTo>
                <a:cubicBezTo>
                  <a:pt x="14906" y="3594"/>
                  <a:pt x="14812" y="3594"/>
                  <a:pt x="14719" y="3594"/>
                </a:cubicBezTo>
                <a:cubicBezTo>
                  <a:pt x="14719" y="3594"/>
                  <a:pt x="14719" y="3594"/>
                  <a:pt x="14719" y="3594"/>
                </a:cubicBezTo>
                <a:close/>
                <a:moveTo>
                  <a:pt x="13312" y="4344"/>
                </a:moveTo>
                <a:cubicBezTo>
                  <a:pt x="13406" y="4344"/>
                  <a:pt x="13500" y="4313"/>
                  <a:pt x="13625" y="4313"/>
                </a:cubicBezTo>
                <a:cubicBezTo>
                  <a:pt x="13969" y="4282"/>
                  <a:pt x="14344" y="4282"/>
                  <a:pt x="14719" y="4344"/>
                </a:cubicBezTo>
                <a:cubicBezTo>
                  <a:pt x="14875" y="4375"/>
                  <a:pt x="15062" y="4313"/>
                  <a:pt x="15219" y="4438"/>
                </a:cubicBezTo>
                <a:cubicBezTo>
                  <a:pt x="15219" y="4657"/>
                  <a:pt x="15219" y="4844"/>
                  <a:pt x="15219" y="5032"/>
                </a:cubicBezTo>
                <a:cubicBezTo>
                  <a:pt x="15219" y="5563"/>
                  <a:pt x="15219" y="6094"/>
                  <a:pt x="15250" y="6625"/>
                </a:cubicBezTo>
                <a:cubicBezTo>
                  <a:pt x="15250" y="6719"/>
                  <a:pt x="15219" y="6750"/>
                  <a:pt x="15156" y="6750"/>
                </a:cubicBezTo>
                <a:cubicBezTo>
                  <a:pt x="14812" y="6719"/>
                  <a:pt x="14500" y="6750"/>
                  <a:pt x="14156" y="6719"/>
                </a:cubicBezTo>
                <a:cubicBezTo>
                  <a:pt x="14000" y="6688"/>
                  <a:pt x="13812" y="6719"/>
                  <a:pt x="13656" y="6750"/>
                </a:cubicBezTo>
                <a:cubicBezTo>
                  <a:pt x="13531" y="6750"/>
                  <a:pt x="13469" y="6719"/>
                  <a:pt x="13375" y="6625"/>
                </a:cubicBezTo>
                <a:cubicBezTo>
                  <a:pt x="13344" y="6594"/>
                  <a:pt x="13344" y="6563"/>
                  <a:pt x="13344" y="6500"/>
                </a:cubicBezTo>
                <a:cubicBezTo>
                  <a:pt x="13375" y="6282"/>
                  <a:pt x="13312" y="6063"/>
                  <a:pt x="13312" y="5813"/>
                </a:cubicBezTo>
                <a:cubicBezTo>
                  <a:pt x="13281" y="5344"/>
                  <a:pt x="13281" y="4875"/>
                  <a:pt x="13281" y="4375"/>
                </a:cubicBezTo>
                <a:cubicBezTo>
                  <a:pt x="13281" y="4375"/>
                  <a:pt x="13281" y="4375"/>
                  <a:pt x="13312" y="4344"/>
                </a:cubicBezTo>
                <a:close/>
                <a:moveTo>
                  <a:pt x="2594" y="7500"/>
                </a:moveTo>
                <a:cubicBezTo>
                  <a:pt x="2562" y="7532"/>
                  <a:pt x="2500" y="7500"/>
                  <a:pt x="2437" y="7532"/>
                </a:cubicBezTo>
                <a:cubicBezTo>
                  <a:pt x="2250" y="7469"/>
                  <a:pt x="2031" y="7532"/>
                  <a:pt x="1844" y="7532"/>
                </a:cubicBezTo>
                <a:cubicBezTo>
                  <a:pt x="1750" y="7532"/>
                  <a:pt x="1719" y="7469"/>
                  <a:pt x="1719" y="7375"/>
                </a:cubicBezTo>
                <a:cubicBezTo>
                  <a:pt x="1719" y="7375"/>
                  <a:pt x="1719" y="7375"/>
                  <a:pt x="1719" y="7344"/>
                </a:cubicBezTo>
                <a:cubicBezTo>
                  <a:pt x="1719" y="7282"/>
                  <a:pt x="1687" y="7188"/>
                  <a:pt x="1719" y="7157"/>
                </a:cubicBezTo>
                <a:cubicBezTo>
                  <a:pt x="1781" y="7094"/>
                  <a:pt x="1812" y="7188"/>
                  <a:pt x="1875" y="7188"/>
                </a:cubicBezTo>
                <a:cubicBezTo>
                  <a:pt x="2094" y="7188"/>
                  <a:pt x="2281" y="7219"/>
                  <a:pt x="2500" y="7219"/>
                </a:cubicBezTo>
                <a:cubicBezTo>
                  <a:pt x="2531" y="7219"/>
                  <a:pt x="2594" y="7188"/>
                  <a:pt x="2594" y="7250"/>
                </a:cubicBezTo>
                <a:cubicBezTo>
                  <a:pt x="2625" y="7344"/>
                  <a:pt x="2625" y="7438"/>
                  <a:pt x="2594" y="7500"/>
                </a:cubicBezTo>
                <a:close/>
                <a:moveTo>
                  <a:pt x="2656" y="6938"/>
                </a:moveTo>
                <a:cubicBezTo>
                  <a:pt x="2625" y="6969"/>
                  <a:pt x="2625" y="7000"/>
                  <a:pt x="2562" y="7000"/>
                </a:cubicBezTo>
                <a:cubicBezTo>
                  <a:pt x="2312" y="7000"/>
                  <a:pt x="2062" y="7000"/>
                  <a:pt x="1812" y="7000"/>
                </a:cubicBezTo>
                <a:cubicBezTo>
                  <a:pt x="1750" y="7000"/>
                  <a:pt x="1687" y="6938"/>
                  <a:pt x="1719" y="6875"/>
                </a:cubicBezTo>
                <a:cubicBezTo>
                  <a:pt x="1719" y="6813"/>
                  <a:pt x="1687" y="6750"/>
                  <a:pt x="1719" y="6719"/>
                </a:cubicBezTo>
                <a:cubicBezTo>
                  <a:pt x="2000" y="6688"/>
                  <a:pt x="2312" y="6688"/>
                  <a:pt x="2594" y="6719"/>
                </a:cubicBezTo>
                <a:cubicBezTo>
                  <a:pt x="2656" y="6782"/>
                  <a:pt x="2656" y="6844"/>
                  <a:pt x="2656" y="6938"/>
                </a:cubicBezTo>
                <a:close/>
                <a:moveTo>
                  <a:pt x="1750" y="6688"/>
                </a:moveTo>
                <a:cubicBezTo>
                  <a:pt x="1750" y="6688"/>
                  <a:pt x="1781" y="6688"/>
                  <a:pt x="1781" y="6688"/>
                </a:cubicBezTo>
                <a:cubicBezTo>
                  <a:pt x="1781" y="6688"/>
                  <a:pt x="1750" y="6688"/>
                  <a:pt x="1750" y="6688"/>
                </a:cubicBezTo>
                <a:close/>
                <a:moveTo>
                  <a:pt x="2625" y="5219"/>
                </a:moveTo>
                <a:cubicBezTo>
                  <a:pt x="2656" y="5500"/>
                  <a:pt x="2656" y="5500"/>
                  <a:pt x="2375" y="5500"/>
                </a:cubicBezTo>
                <a:cubicBezTo>
                  <a:pt x="2312" y="5500"/>
                  <a:pt x="2250" y="5532"/>
                  <a:pt x="2187" y="5438"/>
                </a:cubicBezTo>
                <a:cubicBezTo>
                  <a:pt x="2156" y="5375"/>
                  <a:pt x="2062" y="5407"/>
                  <a:pt x="2000" y="5407"/>
                </a:cubicBezTo>
                <a:cubicBezTo>
                  <a:pt x="1969" y="5407"/>
                  <a:pt x="1906" y="5407"/>
                  <a:pt x="1875" y="5344"/>
                </a:cubicBezTo>
                <a:cubicBezTo>
                  <a:pt x="1844" y="5250"/>
                  <a:pt x="1844" y="5188"/>
                  <a:pt x="1937" y="5157"/>
                </a:cubicBezTo>
                <a:cubicBezTo>
                  <a:pt x="1969" y="5125"/>
                  <a:pt x="2031" y="5125"/>
                  <a:pt x="2000" y="5094"/>
                </a:cubicBezTo>
                <a:cubicBezTo>
                  <a:pt x="2000" y="5063"/>
                  <a:pt x="1969" y="5063"/>
                  <a:pt x="1937" y="5063"/>
                </a:cubicBezTo>
                <a:cubicBezTo>
                  <a:pt x="1844" y="5094"/>
                  <a:pt x="1781" y="5157"/>
                  <a:pt x="1750" y="5250"/>
                </a:cubicBezTo>
                <a:cubicBezTo>
                  <a:pt x="1750" y="5344"/>
                  <a:pt x="1781" y="5407"/>
                  <a:pt x="1875" y="5469"/>
                </a:cubicBezTo>
                <a:cubicBezTo>
                  <a:pt x="1875" y="5469"/>
                  <a:pt x="1906" y="5469"/>
                  <a:pt x="1906" y="5500"/>
                </a:cubicBezTo>
                <a:cubicBezTo>
                  <a:pt x="1781" y="5532"/>
                  <a:pt x="1719" y="5500"/>
                  <a:pt x="1719" y="5375"/>
                </a:cubicBezTo>
                <a:cubicBezTo>
                  <a:pt x="1750" y="5188"/>
                  <a:pt x="1750" y="5000"/>
                  <a:pt x="1750" y="4813"/>
                </a:cubicBezTo>
                <a:cubicBezTo>
                  <a:pt x="1781" y="4438"/>
                  <a:pt x="1781" y="4032"/>
                  <a:pt x="1812" y="3625"/>
                </a:cubicBezTo>
                <a:cubicBezTo>
                  <a:pt x="1812" y="3407"/>
                  <a:pt x="1812" y="3188"/>
                  <a:pt x="1812" y="3000"/>
                </a:cubicBezTo>
                <a:cubicBezTo>
                  <a:pt x="1812" y="2907"/>
                  <a:pt x="1844" y="2907"/>
                  <a:pt x="1906" y="2907"/>
                </a:cubicBezTo>
                <a:cubicBezTo>
                  <a:pt x="2125" y="2907"/>
                  <a:pt x="2344" y="2907"/>
                  <a:pt x="2594" y="2907"/>
                </a:cubicBezTo>
                <a:cubicBezTo>
                  <a:pt x="2656" y="2907"/>
                  <a:pt x="2656" y="2938"/>
                  <a:pt x="2656" y="3000"/>
                </a:cubicBezTo>
                <a:cubicBezTo>
                  <a:pt x="2656" y="3657"/>
                  <a:pt x="2656" y="4313"/>
                  <a:pt x="2656" y="4969"/>
                </a:cubicBezTo>
                <a:cubicBezTo>
                  <a:pt x="2656" y="5000"/>
                  <a:pt x="2625" y="5063"/>
                  <a:pt x="2687" y="5094"/>
                </a:cubicBezTo>
                <a:cubicBezTo>
                  <a:pt x="2750" y="5094"/>
                  <a:pt x="2781" y="5094"/>
                  <a:pt x="2781" y="5000"/>
                </a:cubicBezTo>
                <a:cubicBezTo>
                  <a:pt x="2812" y="4344"/>
                  <a:pt x="2812" y="3719"/>
                  <a:pt x="2812" y="3063"/>
                </a:cubicBezTo>
                <a:cubicBezTo>
                  <a:pt x="2812" y="2969"/>
                  <a:pt x="2844" y="2938"/>
                  <a:pt x="2937" y="2938"/>
                </a:cubicBezTo>
                <a:cubicBezTo>
                  <a:pt x="4281" y="2938"/>
                  <a:pt x="5625" y="2938"/>
                  <a:pt x="6969" y="2969"/>
                </a:cubicBezTo>
                <a:cubicBezTo>
                  <a:pt x="8250" y="3032"/>
                  <a:pt x="9531" y="3000"/>
                  <a:pt x="10812" y="3000"/>
                </a:cubicBezTo>
                <a:cubicBezTo>
                  <a:pt x="11000" y="3000"/>
                  <a:pt x="11187" y="3032"/>
                  <a:pt x="11375" y="3032"/>
                </a:cubicBezTo>
                <a:cubicBezTo>
                  <a:pt x="11437" y="3032"/>
                  <a:pt x="11437" y="3032"/>
                  <a:pt x="11437" y="3125"/>
                </a:cubicBezTo>
                <a:cubicBezTo>
                  <a:pt x="11375" y="3500"/>
                  <a:pt x="11312" y="3875"/>
                  <a:pt x="11219" y="4282"/>
                </a:cubicBezTo>
                <a:cubicBezTo>
                  <a:pt x="11187" y="4532"/>
                  <a:pt x="11125" y="4813"/>
                  <a:pt x="11094" y="5063"/>
                </a:cubicBezTo>
                <a:cubicBezTo>
                  <a:pt x="11062" y="5125"/>
                  <a:pt x="11062" y="5157"/>
                  <a:pt x="10969" y="5157"/>
                </a:cubicBezTo>
                <a:cubicBezTo>
                  <a:pt x="10687" y="5188"/>
                  <a:pt x="10406" y="5188"/>
                  <a:pt x="10094" y="5188"/>
                </a:cubicBezTo>
                <a:cubicBezTo>
                  <a:pt x="9031" y="5157"/>
                  <a:pt x="7969" y="5188"/>
                  <a:pt x="6906" y="5157"/>
                </a:cubicBezTo>
                <a:cubicBezTo>
                  <a:pt x="6156" y="5157"/>
                  <a:pt x="5406" y="5157"/>
                  <a:pt x="4656" y="5157"/>
                </a:cubicBezTo>
                <a:cubicBezTo>
                  <a:pt x="4625" y="5157"/>
                  <a:pt x="4594" y="5157"/>
                  <a:pt x="4531" y="5157"/>
                </a:cubicBezTo>
                <a:cubicBezTo>
                  <a:pt x="4594" y="5219"/>
                  <a:pt x="4625" y="5188"/>
                  <a:pt x="4656" y="5188"/>
                </a:cubicBezTo>
                <a:cubicBezTo>
                  <a:pt x="5281" y="5188"/>
                  <a:pt x="5875" y="5219"/>
                  <a:pt x="6500" y="5219"/>
                </a:cubicBezTo>
                <a:cubicBezTo>
                  <a:pt x="6562" y="5219"/>
                  <a:pt x="6594" y="5219"/>
                  <a:pt x="6594" y="5313"/>
                </a:cubicBezTo>
                <a:cubicBezTo>
                  <a:pt x="6594" y="5563"/>
                  <a:pt x="6625" y="5532"/>
                  <a:pt x="6375" y="5532"/>
                </a:cubicBezTo>
                <a:cubicBezTo>
                  <a:pt x="5250" y="5532"/>
                  <a:pt x="4094" y="5532"/>
                  <a:pt x="2937" y="5500"/>
                </a:cubicBezTo>
                <a:cubicBezTo>
                  <a:pt x="2781" y="5500"/>
                  <a:pt x="2781" y="5500"/>
                  <a:pt x="2781" y="5375"/>
                </a:cubicBezTo>
                <a:cubicBezTo>
                  <a:pt x="2781" y="5157"/>
                  <a:pt x="2781" y="5157"/>
                  <a:pt x="3000" y="5157"/>
                </a:cubicBezTo>
                <a:cubicBezTo>
                  <a:pt x="3281" y="5157"/>
                  <a:pt x="3562" y="5157"/>
                  <a:pt x="3875" y="5188"/>
                </a:cubicBezTo>
                <a:cubicBezTo>
                  <a:pt x="3906" y="5188"/>
                  <a:pt x="3969" y="5188"/>
                  <a:pt x="4000" y="5125"/>
                </a:cubicBezTo>
                <a:cubicBezTo>
                  <a:pt x="3906" y="5125"/>
                  <a:pt x="3812" y="5125"/>
                  <a:pt x="3719" y="5125"/>
                </a:cubicBezTo>
                <a:cubicBezTo>
                  <a:pt x="3375" y="5125"/>
                  <a:pt x="3062" y="5125"/>
                  <a:pt x="2719" y="5125"/>
                </a:cubicBezTo>
                <a:cubicBezTo>
                  <a:pt x="2656" y="5125"/>
                  <a:pt x="2625" y="5125"/>
                  <a:pt x="2625" y="5219"/>
                </a:cubicBezTo>
                <a:close/>
                <a:moveTo>
                  <a:pt x="11250" y="5157"/>
                </a:moveTo>
                <a:cubicBezTo>
                  <a:pt x="11187" y="5157"/>
                  <a:pt x="11187" y="5125"/>
                  <a:pt x="11187" y="5094"/>
                </a:cubicBezTo>
                <a:cubicBezTo>
                  <a:pt x="11281" y="4719"/>
                  <a:pt x="11344" y="4313"/>
                  <a:pt x="11406" y="3938"/>
                </a:cubicBezTo>
                <a:cubicBezTo>
                  <a:pt x="11406" y="3938"/>
                  <a:pt x="11437" y="3907"/>
                  <a:pt x="11437" y="3907"/>
                </a:cubicBezTo>
                <a:cubicBezTo>
                  <a:pt x="11437" y="4125"/>
                  <a:pt x="11437" y="4313"/>
                  <a:pt x="11406" y="4500"/>
                </a:cubicBezTo>
                <a:cubicBezTo>
                  <a:pt x="11344" y="4688"/>
                  <a:pt x="11312" y="4907"/>
                  <a:pt x="11281" y="5094"/>
                </a:cubicBezTo>
                <a:cubicBezTo>
                  <a:pt x="11281" y="5125"/>
                  <a:pt x="11281" y="5157"/>
                  <a:pt x="11250" y="5157"/>
                </a:cubicBezTo>
                <a:close/>
                <a:moveTo>
                  <a:pt x="11250" y="5282"/>
                </a:moveTo>
                <a:cubicBezTo>
                  <a:pt x="11250" y="5313"/>
                  <a:pt x="11250" y="5344"/>
                  <a:pt x="11219" y="5344"/>
                </a:cubicBezTo>
                <a:cubicBezTo>
                  <a:pt x="11187" y="5344"/>
                  <a:pt x="11187" y="5313"/>
                  <a:pt x="11187" y="5282"/>
                </a:cubicBezTo>
                <a:cubicBezTo>
                  <a:pt x="11187" y="5250"/>
                  <a:pt x="11187" y="5219"/>
                  <a:pt x="11219" y="5219"/>
                </a:cubicBezTo>
                <a:cubicBezTo>
                  <a:pt x="11250" y="5219"/>
                  <a:pt x="11250" y="5250"/>
                  <a:pt x="11250" y="5282"/>
                </a:cubicBezTo>
                <a:close/>
                <a:moveTo>
                  <a:pt x="5937" y="7094"/>
                </a:moveTo>
                <a:cubicBezTo>
                  <a:pt x="5906" y="7000"/>
                  <a:pt x="5844" y="7000"/>
                  <a:pt x="5750" y="7000"/>
                </a:cubicBezTo>
                <a:cubicBezTo>
                  <a:pt x="4812" y="7000"/>
                  <a:pt x="3844" y="7000"/>
                  <a:pt x="2906" y="7000"/>
                </a:cubicBezTo>
                <a:cubicBezTo>
                  <a:pt x="2812" y="7000"/>
                  <a:pt x="2781" y="6969"/>
                  <a:pt x="2781" y="6875"/>
                </a:cubicBezTo>
                <a:cubicBezTo>
                  <a:pt x="2781" y="6813"/>
                  <a:pt x="2812" y="6782"/>
                  <a:pt x="2875" y="6813"/>
                </a:cubicBezTo>
                <a:cubicBezTo>
                  <a:pt x="3187" y="6813"/>
                  <a:pt x="3500" y="6813"/>
                  <a:pt x="3812" y="6813"/>
                </a:cubicBezTo>
                <a:cubicBezTo>
                  <a:pt x="3812" y="6782"/>
                  <a:pt x="3812" y="6782"/>
                  <a:pt x="3781" y="6782"/>
                </a:cubicBezTo>
                <a:cubicBezTo>
                  <a:pt x="3812" y="6782"/>
                  <a:pt x="3812" y="6782"/>
                  <a:pt x="3812" y="6813"/>
                </a:cubicBezTo>
                <a:cubicBezTo>
                  <a:pt x="4062" y="6813"/>
                  <a:pt x="4312" y="6813"/>
                  <a:pt x="4531" y="6813"/>
                </a:cubicBezTo>
                <a:cubicBezTo>
                  <a:pt x="4531" y="6813"/>
                  <a:pt x="4562" y="6813"/>
                  <a:pt x="4562" y="6813"/>
                </a:cubicBezTo>
                <a:cubicBezTo>
                  <a:pt x="4594" y="6813"/>
                  <a:pt x="4625" y="6813"/>
                  <a:pt x="4656" y="6813"/>
                </a:cubicBezTo>
                <a:cubicBezTo>
                  <a:pt x="4656" y="6813"/>
                  <a:pt x="4656" y="6813"/>
                  <a:pt x="4656" y="6813"/>
                </a:cubicBezTo>
                <a:cubicBezTo>
                  <a:pt x="5000" y="6813"/>
                  <a:pt x="5312" y="6813"/>
                  <a:pt x="5656" y="6813"/>
                </a:cubicBezTo>
                <a:cubicBezTo>
                  <a:pt x="5750" y="6813"/>
                  <a:pt x="5844" y="6782"/>
                  <a:pt x="5969" y="6813"/>
                </a:cubicBezTo>
                <a:cubicBezTo>
                  <a:pt x="6031" y="6844"/>
                  <a:pt x="6094" y="6844"/>
                  <a:pt x="6156" y="6782"/>
                </a:cubicBezTo>
                <a:cubicBezTo>
                  <a:pt x="6125" y="6782"/>
                  <a:pt x="6125" y="6782"/>
                  <a:pt x="6125" y="6782"/>
                </a:cubicBezTo>
                <a:cubicBezTo>
                  <a:pt x="6125" y="6782"/>
                  <a:pt x="6125" y="6782"/>
                  <a:pt x="6156" y="6782"/>
                </a:cubicBezTo>
                <a:cubicBezTo>
                  <a:pt x="6156" y="6813"/>
                  <a:pt x="6187" y="6813"/>
                  <a:pt x="6187" y="6813"/>
                </a:cubicBezTo>
                <a:cubicBezTo>
                  <a:pt x="6312" y="6844"/>
                  <a:pt x="6406" y="6844"/>
                  <a:pt x="6531" y="6813"/>
                </a:cubicBezTo>
                <a:cubicBezTo>
                  <a:pt x="6500" y="6813"/>
                  <a:pt x="6500" y="6813"/>
                  <a:pt x="6469" y="6813"/>
                </a:cubicBezTo>
                <a:cubicBezTo>
                  <a:pt x="6500" y="6813"/>
                  <a:pt x="6500" y="6813"/>
                  <a:pt x="6531" y="6813"/>
                </a:cubicBezTo>
                <a:cubicBezTo>
                  <a:pt x="6531" y="6813"/>
                  <a:pt x="6562" y="6844"/>
                  <a:pt x="6562" y="6844"/>
                </a:cubicBezTo>
                <a:cubicBezTo>
                  <a:pt x="6594" y="7000"/>
                  <a:pt x="6594" y="7000"/>
                  <a:pt x="6437" y="7000"/>
                </a:cubicBezTo>
                <a:cubicBezTo>
                  <a:pt x="6312" y="7000"/>
                  <a:pt x="6156" y="7000"/>
                  <a:pt x="6031" y="7000"/>
                </a:cubicBezTo>
                <a:cubicBezTo>
                  <a:pt x="5969" y="7000"/>
                  <a:pt x="5937" y="7000"/>
                  <a:pt x="5937" y="7094"/>
                </a:cubicBezTo>
                <a:close/>
                <a:moveTo>
                  <a:pt x="5844" y="6688"/>
                </a:moveTo>
                <a:cubicBezTo>
                  <a:pt x="5875" y="6625"/>
                  <a:pt x="5875" y="6657"/>
                  <a:pt x="5906" y="6688"/>
                </a:cubicBezTo>
                <a:cubicBezTo>
                  <a:pt x="5875" y="6688"/>
                  <a:pt x="5875" y="6688"/>
                  <a:pt x="5844" y="6688"/>
                </a:cubicBezTo>
                <a:close/>
                <a:moveTo>
                  <a:pt x="6500" y="7532"/>
                </a:moveTo>
                <a:cubicBezTo>
                  <a:pt x="6344" y="7532"/>
                  <a:pt x="6187" y="7532"/>
                  <a:pt x="6031" y="7532"/>
                </a:cubicBezTo>
                <a:cubicBezTo>
                  <a:pt x="6031" y="7532"/>
                  <a:pt x="6031" y="7532"/>
                  <a:pt x="6031" y="7532"/>
                </a:cubicBezTo>
                <a:cubicBezTo>
                  <a:pt x="5875" y="7532"/>
                  <a:pt x="5719" y="7532"/>
                  <a:pt x="5562" y="7532"/>
                </a:cubicBezTo>
                <a:cubicBezTo>
                  <a:pt x="4656" y="7532"/>
                  <a:pt x="3750" y="7532"/>
                  <a:pt x="2844" y="7532"/>
                </a:cubicBezTo>
                <a:cubicBezTo>
                  <a:pt x="2781" y="7532"/>
                  <a:pt x="2750" y="7500"/>
                  <a:pt x="2750" y="7407"/>
                </a:cubicBezTo>
                <a:cubicBezTo>
                  <a:pt x="2781" y="7375"/>
                  <a:pt x="2781" y="7344"/>
                  <a:pt x="2781" y="7313"/>
                </a:cubicBezTo>
                <a:cubicBezTo>
                  <a:pt x="2781" y="7250"/>
                  <a:pt x="2812" y="7219"/>
                  <a:pt x="2875" y="7219"/>
                </a:cubicBezTo>
                <a:cubicBezTo>
                  <a:pt x="4094" y="7282"/>
                  <a:pt x="5281" y="7250"/>
                  <a:pt x="6500" y="7282"/>
                </a:cubicBezTo>
                <a:cubicBezTo>
                  <a:pt x="6594" y="7282"/>
                  <a:pt x="6594" y="7313"/>
                  <a:pt x="6594" y="7469"/>
                </a:cubicBezTo>
                <a:cubicBezTo>
                  <a:pt x="6594" y="7563"/>
                  <a:pt x="6562" y="7532"/>
                  <a:pt x="6500" y="7532"/>
                </a:cubicBezTo>
                <a:close/>
                <a:moveTo>
                  <a:pt x="6687" y="5438"/>
                </a:moveTo>
                <a:cubicBezTo>
                  <a:pt x="6687" y="5188"/>
                  <a:pt x="6625" y="5219"/>
                  <a:pt x="6906" y="5219"/>
                </a:cubicBezTo>
                <a:cubicBezTo>
                  <a:pt x="7437" y="5219"/>
                  <a:pt x="8000" y="5219"/>
                  <a:pt x="8562" y="5219"/>
                </a:cubicBezTo>
                <a:cubicBezTo>
                  <a:pt x="9344" y="5219"/>
                  <a:pt x="10125" y="5219"/>
                  <a:pt x="10906" y="5219"/>
                </a:cubicBezTo>
                <a:cubicBezTo>
                  <a:pt x="10969" y="5219"/>
                  <a:pt x="11031" y="5188"/>
                  <a:pt x="11062" y="5250"/>
                </a:cubicBezTo>
                <a:cubicBezTo>
                  <a:pt x="11094" y="5313"/>
                  <a:pt x="11000" y="5344"/>
                  <a:pt x="10969" y="5375"/>
                </a:cubicBezTo>
                <a:cubicBezTo>
                  <a:pt x="11031" y="5375"/>
                  <a:pt x="11062" y="5438"/>
                  <a:pt x="11125" y="5438"/>
                </a:cubicBezTo>
                <a:cubicBezTo>
                  <a:pt x="11062" y="5438"/>
                  <a:pt x="11031" y="5375"/>
                  <a:pt x="10969" y="5375"/>
                </a:cubicBezTo>
                <a:cubicBezTo>
                  <a:pt x="10906" y="5407"/>
                  <a:pt x="10875" y="5469"/>
                  <a:pt x="10844" y="5532"/>
                </a:cubicBezTo>
                <a:cubicBezTo>
                  <a:pt x="10812" y="5594"/>
                  <a:pt x="10750" y="5563"/>
                  <a:pt x="10719" y="5563"/>
                </a:cubicBezTo>
                <a:cubicBezTo>
                  <a:pt x="9625" y="5532"/>
                  <a:pt x="8531" y="5532"/>
                  <a:pt x="7437" y="5532"/>
                </a:cubicBezTo>
                <a:cubicBezTo>
                  <a:pt x="7219" y="5532"/>
                  <a:pt x="7000" y="5532"/>
                  <a:pt x="6812" y="5532"/>
                </a:cubicBezTo>
                <a:cubicBezTo>
                  <a:pt x="6719" y="5532"/>
                  <a:pt x="6687" y="5532"/>
                  <a:pt x="6687" y="5438"/>
                </a:cubicBezTo>
                <a:close/>
                <a:moveTo>
                  <a:pt x="7062" y="7532"/>
                </a:moveTo>
                <a:cubicBezTo>
                  <a:pt x="6969" y="7532"/>
                  <a:pt x="6875" y="7563"/>
                  <a:pt x="6812" y="7500"/>
                </a:cubicBezTo>
                <a:cubicBezTo>
                  <a:pt x="6750" y="7469"/>
                  <a:pt x="6781" y="7375"/>
                  <a:pt x="6781" y="7313"/>
                </a:cubicBezTo>
                <a:cubicBezTo>
                  <a:pt x="6781" y="7250"/>
                  <a:pt x="6875" y="7313"/>
                  <a:pt x="6906" y="7282"/>
                </a:cubicBezTo>
                <a:cubicBezTo>
                  <a:pt x="6969" y="7282"/>
                  <a:pt x="7094" y="7250"/>
                  <a:pt x="7062" y="7407"/>
                </a:cubicBezTo>
                <a:cubicBezTo>
                  <a:pt x="7062" y="7438"/>
                  <a:pt x="7094" y="7500"/>
                  <a:pt x="7062" y="7532"/>
                </a:cubicBezTo>
                <a:close/>
                <a:moveTo>
                  <a:pt x="6937" y="7000"/>
                </a:moveTo>
                <a:cubicBezTo>
                  <a:pt x="6937" y="7000"/>
                  <a:pt x="6937" y="7000"/>
                  <a:pt x="6937" y="7000"/>
                </a:cubicBezTo>
                <a:cubicBezTo>
                  <a:pt x="6750" y="7000"/>
                  <a:pt x="6750" y="7000"/>
                  <a:pt x="6781" y="6844"/>
                </a:cubicBezTo>
                <a:cubicBezTo>
                  <a:pt x="6875" y="6844"/>
                  <a:pt x="6969" y="6844"/>
                  <a:pt x="7062" y="6844"/>
                </a:cubicBezTo>
                <a:cubicBezTo>
                  <a:pt x="7125" y="6844"/>
                  <a:pt x="7187" y="6844"/>
                  <a:pt x="7250" y="6844"/>
                </a:cubicBezTo>
                <a:cubicBezTo>
                  <a:pt x="7781" y="6813"/>
                  <a:pt x="8344" y="6875"/>
                  <a:pt x="8906" y="6875"/>
                </a:cubicBezTo>
                <a:cubicBezTo>
                  <a:pt x="9500" y="6875"/>
                  <a:pt x="10094" y="6875"/>
                  <a:pt x="10687" y="6875"/>
                </a:cubicBezTo>
                <a:cubicBezTo>
                  <a:pt x="10875" y="6875"/>
                  <a:pt x="11031" y="6875"/>
                  <a:pt x="11219" y="6875"/>
                </a:cubicBezTo>
                <a:cubicBezTo>
                  <a:pt x="11031" y="6875"/>
                  <a:pt x="10875" y="6875"/>
                  <a:pt x="10687" y="6875"/>
                </a:cubicBezTo>
                <a:cubicBezTo>
                  <a:pt x="10875" y="6875"/>
                  <a:pt x="11062" y="6907"/>
                  <a:pt x="11219" y="6907"/>
                </a:cubicBezTo>
                <a:cubicBezTo>
                  <a:pt x="11281" y="6907"/>
                  <a:pt x="11312" y="6907"/>
                  <a:pt x="11312" y="6969"/>
                </a:cubicBezTo>
                <a:cubicBezTo>
                  <a:pt x="11344" y="7000"/>
                  <a:pt x="11344" y="7032"/>
                  <a:pt x="11281" y="7032"/>
                </a:cubicBezTo>
                <a:cubicBezTo>
                  <a:pt x="9969" y="7032"/>
                  <a:pt x="8656" y="7032"/>
                  <a:pt x="7375" y="7032"/>
                </a:cubicBezTo>
                <a:cubicBezTo>
                  <a:pt x="7219" y="7032"/>
                  <a:pt x="7187" y="7000"/>
                  <a:pt x="7250" y="6844"/>
                </a:cubicBezTo>
                <a:cubicBezTo>
                  <a:pt x="7187" y="6844"/>
                  <a:pt x="7125" y="6844"/>
                  <a:pt x="7062" y="6844"/>
                </a:cubicBezTo>
                <a:cubicBezTo>
                  <a:pt x="7094" y="7000"/>
                  <a:pt x="7094" y="7000"/>
                  <a:pt x="6937" y="7000"/>
                </a:cubicBezTo>
                <a:close/>
                <a:moveTo>
                  <a:pt x="7906" y="7563"/>
                </a:moveTo>
                <a:cubicBezTo>
                  <a:pt x="7875" y="7563"/>
                  <a:pt x="7875" y="7563"/>
                  <a:pt x="7844" y="7532"/>
                </a:cubicBezTo>
                <a:cubicBezTo>
                  <a:pt x="7844" y="7500"/>
                  <a:pt x="7812" y="7500"/>
                  <a:pt x="7781" y="7532"/>
                </a:cubicBezTo>
                <a:cubicBezTo>
                  <a:pt x="7594" y="7594"/>
                  <a:pt x="7437" y="7532"/>
                  <a:pt x="7281" y="7532"/>
                </a:cubicBezTo>
                <a:cubicBezTo>
                  <a:pt x="7250" y="7563"/>
                  <a:pt x="7219" y="7532"/>
                  <a:pt x="7219" y="7469"/>
                </a:cubicBezTo>
                <a:cubicBezTo>
                  <a:pt x="7219" y="7438"/>
                  <a:pt x="7219" y="7407"/>
                  <a:pt x="7219" y="7375"/>
                </a:cubicBezTo>
                <a:cubicBezTo>
                  <a:pt x="7219" y="7282"/>
                  <a:pt x="7250" y="7282"/>
                  <a:pt x="7312" y="7282"/>
                </a:cubicBezTo>
                <a:cubicBezTo>
                  <a:pt x="7750" y="7282"/>
                  <a:pt x="8187" y="7282"/>
                  <a:pt x="8594" y="7282"/>
                </a:cubicBezTo>
                <a:cubicBezTo>
                  <a:pt x="9531" y="7282"/>
                  <a:pt x="10437" y="7344"/>
                  <a:pt x="11375" y="7313"/>
                </a:cubicBezTo>
                <a:cubicBezTo>
                  <a:pt x="11406" y="7313"/>
                  <a:pt x="11437" y="7313"/>
                  <a:pt x="11469" y="7375"/>
                </a:cubicBezTo>
                <a:cubicBezTo>
                  <a:pt x="11469" y="7438"/>
                  <a:pt x="11500" y="7500"/>
                  <a:pt x="11469" y="7563"/>
                </a:cubicBezTo>
                <a:cubicBezTo>
                  <a:pt x="11469" y="7594"/>
                  <a:pt x="11437" y="7594"/>
                  <a:pt x="11406" y="7594"/>
                </a:cubicBezTo>
                <a:cubicBezTo>
                  <a:pt x="11312" y="7594"/>
                  <a:pt x="11219" y="7594"/>
                  <a:pt x="11125" y="7594"/>
                </a:cubicBezTo>
                <a:cubicBezTo>
                  <a:pt x="11094" y="7594"/>
                  <a:pt x="11062" y="7594"/>
                  <a:pt x="11062" y="7563"/>
                </a:cubicBezTo>
                <a:cubicBezTo>
                  <a:pt x="11031" y="7532"/>
                  <a:pt x="10969" y="7532"/>
                  <a:pt x="10969" y="7563"/>
                </a:cubicBezTo>
                <a:cubicBezTo>
                  <a:pt x="10906" y="7625"/>
                  <a:pt x="10812" y="7594"/>
                  <a:pt x="10750" y="7594"/>
                </a:cubicBezTo>
                <a:cubicBezTo>
                  <a:pt x="10156" y="7594"/>
                  <a:pt x="9562" y="7594"/>
                  <a:pt x="8969" y="7563"/>
                </a:cubicBezTo>
                <a:cubicBezTo>
                  <a:pt x="8625" y="7563"/>
                  <a:pt x="8250" y="7563"/>
                  <a:pt x="7906" y="7563"/>
                </a:cubicBezTo>
                <a:close/>
                <a:moveTo>
                  <a:pt x="9750" y="12157"/>
                </a:moveTo>
                <a:cubicBezTo>
                  <a:pt x="9625" y="12157"/>
                  <a:pt x="9531" y="12157"/>
                  <a:pt x="9406" y="12157"/>
                </a:cubicBezTo>
                <a:cubicBezTo>
                  <a:pt x="9375" y="12157"/>
                  <a:pt x="9344" y="12157"/>
                  <a:pt x="9344" y="12094"/>
                </a:cubicBezTo>
                <a:cubicBezTo>
                  <a:pt x="9469" y="12094"/>
                  <a:pt x="9625" y="12094"/>
                  <a:pt x="9750" y="12094"/>
                </a:cubicBezTo>
                <a:cubicBezTo>
                  <a:pt x="9781" y="12094"/>
                  <a:pt x="9812" y="12094"/>
                  <a:pt x="9812" y="12125"/>
                </a:cubicBezTo>
                <a:cubicBezTo>
                  <a:pt x="9812" y="12157"/>
                  <a:pt x="9781" y="12157"/>
                  <a:pt x="9750" y="12157"/>
                </a:cubicBezTo>
                <a:close/>
                <a:moveTo>
                  <a:pt x="9781" y="12563"/>
                </a:moveTo>
                <a:cubicBezTo>
                  <a:pt x="9781" y="12594"/>
                  <a:pt x="9781" y="12594"/>
                  <a:pt x="9750" y="12594"/>
                </a:cubicBezTo>
                <a:cubicBezTo>
                  <a:pt x="9687" y="12594"/>
                  <a:pt x="9625" y="12594"/>
                  <a:pt x="9562" y="12594"/>
                </a:cubicBezTo>
                <a:cubicBezTo>
                  <a:pt x="9469" y="12594"/>
                  <a:pt x="9375" y="12625"/>
                  <a:pt x="9312" y="12563"/>
                </a:cubicBezTo>
                <a:cubicBezTo>
                  <a:pt x="9281" y="12532"/>
                  <a:pt x="9281" y="12532"/>
                  <a:pt x="9281" y="12500"/>
                </a:cubicBezTo>
                <a:cubicBezTo>
                  <a:pt x="9281" y="12469"/>
                  <a:pt x="9312" y="12469"/>
                  <a:pt x="9312" y="12469"/>
                </a:cubicBezTo>
                <a:cubicBezTo>
                  <a:pt x="9469" y="12500"/>
                  <a:pt x="9594" y="12500"/>
                  <a:pt x="9750" y="12500"/>
                </a:cubicBezTo>
                <a:cubicBezTo>
                  <a:pt x="9781" y="12500"/>
                  <a:pt x="9781" y="12532"/>
                  <a:pt x="9781" y="12563"/>
                </a:cubicBezTo>
                <a:close/>
                <a:moveTo>
                  <a:pt x="20937" y="14282"/>
                </a:moveTo>
                <a:cubicBezTo>
                  <a:pt x="20937" y="14282"/>
                  <a:pt x="20937" y="14282"/>
                  <a:pt x="20906" y="14282"/>
                </a:cubicBezTo>
                <a:cubicBezTo>
                  <a:pt x="20156" y="14282"/>
                  <a:pt x="19375" y="14282"/>
                  <a:pt x="18594" y="14282"/>
                </a:cubicBezTo>
                <a:cubicBezTo>
                  <a:pt x="18594" y="14282"/>
                  <a:pt x="18562" y="14282"/>
                  <a:pt x="18562" y="14282"/>
                </a:cubicBezTo>
                <a:cubicBezTo>
                  <a:pt x="18500" y="14282"/>
                  <a:pt x="18469" y="14282"/>
                  <a:pt x="18406" y="14282"/>
                </a:cubicBezTo>
                <a:cubicBezTo>
                  <a:pt x="18375" y="14250"/>
                  <a:pt x="18344" y="14250"/>
                  <a:pt x="18250" y="14282"/>
                </a:cubicBezTo>
                <a:cubicBezTo>
                  <a:pt x="18250" y="14282"/>
                  <a:pt x="18219" y="14250"/>
                  <a:pt x="18187" y="14282"/>
                </a:cubicBezTo>
                <a:cubicBezTo>
                  <a:pt x="17969" y="14282"/>
                  <a:pt x="17750" y="14282"/>
                  <a:pt x="17531" y="14282"/>
                </a:cubicBezTo>
                <a:cubicBezTo>
                  <a:pt x="17531" y="14250"/>
                  <a:pt x="17531" y="14250"/>
                  <a:pt x="17469" y="14250"/>
                </a:cubicBezTo>
                <a:cubicBezTo>
                  <a:pt x="17281" y="14250"/>
                  <a:pt x="17125" y="14219"/>
                  <a:pt x="16937" y="14219"/>
                </a:cubicBezTo>
                <a:cubicBezTo>
                  <a:pt x="16125" y="14219"/>
                  <a:pt x="15281" y="14219"/>
                  <a:pt x="14437" y="14157"/>
                </a:cubicBezTo>
                <a:cubicBezTo>
                  <a:pt x="13969" y="14157"/>
                  <a:pt x="13500" y="14157"/>
                  <a:pt x="13062" y="14125"/>
                </a:cubicBezTo>
                <a:cubicBezTo>
                  <a:pt x="12687" y="14094"/>
                  <a:pt x="12312" y="14094"/>
                  <a:pt x="11937" y="14094"/>
                </a:cubicBezTo>
                <a:cubicBezTo>
                  <a:pt x="11781" y="14094"/>
                  <a:pt x="11594" y="14094"/>
                  <a:pt x="11406" y="14063"/>
                </a:cubicBezTo>
                <a:cubicBezTo>
                  <a:pt x="11031" y="14063"/>
                  <a:pt x="10656" y="14032"/>
                  <a:pt x="10250" y="14032"/>
                </a:cubicBezTo>
                <a:cubicBezTo>
                  <a:pt x="9875" y="14032"/>
                  <a:pt x="9469" y="14032"/>
                  <a:pt x="9094" y="14032"/>
                </a:cubicBezTo>
                <a:cubicBezTo>
                  <a:pt x="9031" y="14032"/>
                  <a:pt x="9062" y="13969"/>
                  <a:pt x="9031" y="13969"/>
                </a:cubicBezTo>
                <a:cubicBezTo>
                  <a:pt x="9156" y="13657"/>
                  <a:pt x="9250" y="13344"/>
                  <a:pt x="9250" y="13000"/>
                </a:cubicBezTo>
                <a:cubicBezTo>
                  <a:pt x="9250" y="12938"/>
                  <a:pt x="9281" y="12938"/>
                  <a:pt x="9344" y="12938"/>
                </a:cubicBezTo>
                <a:cubicBezTo>
                  <a:pt x="10062" y="12907"/>
                  <a:pt x="10781" y="12907"/>
                  <a:pt x="11500" y="12875"/>
                </a:cubicBezTo>
                <a:cubicBezTo>
                  <a:pt x="11719" y="12875"/>
                  <a:pt x="11937" y="12875"/>
                  <a:pt x="12187" y="12875"/>
                </a:cubicBezTo>
                <a:cubicBezTo>
                  <a:pt x="12219" y="12907"/>
                  <a:pt x="12250" y="12907"/>
                  <a:pt x="12250" y="12938"/>
                </a:cubicBezTo>
                <a:cubicBezTo>
                  <a:pt x="12344" y="13000"/>
                  <a:pt x="12406" y="13000"/>
                  <a:pt x="12500" y="13000"/>
                </a:cubicBezTo>
                <a:cubicBezTo>
                  <a:pt x="12531" y="13032"/>
                  <a:pt x="12562" y="13000"/>
                  <a:pt x="12594" y="13000"/>
                </a:cubicBezTo>
                <a:cubicBezTo>
                  <a:pt x="12625" y="12875"/>
                  <a:pt x="12687" y="12938"/>
                  <a:pt x="12750" y="12938"/>
                </a:cubicBezTo>
                <a:cubicBezTo>
                  <a:pt x="12937" y="12938"/>
                  <a:pt x="13125" y="13032"/>
                  <a:pt x="13281" y="12907"/>
                </a:cubicBezTo>
                <a:cubicBezTo>
                  <a:pt x="13312" y="12907"/>
                  <a:pt x="13344" y="12907"/>
                  <a:pt x="13344" y="12938"/>
                </a:cubicBezTo>
                <a:cubicBezTo>
                  <a:pt x="13437" y="13032"/>
                  <a:pt x="13531" y="13094"/>
                  <a:pt x="13594" y="13188"/>
                </a:cubicBezTo>
                <a:cubicBezTo>
                  <a:pt x="13594" y="13250"/>
                  <a:pt x="13625" y="13313"/>
                  <a:pt x="13656" y="13344"/>
                </a:cubicBezTo>
                <a:cubicBezTo>
                  <a:pt x="13750" y="13344"/>
                  <a:pt x="13812" y="13375"/>
                  <a:pt x="13875" y="13375"/>
                </a:cubicBezTo>
                <a:cubicBezTo>
                  <a:pt x="14219" y="13438"/>
                  <a:pt x="14562" y="13438"/>
                  <a:pt x="14906" y="13500"/>
                </a:cubicBezTo>
                <a:cubicBezTo>
                  <a:pt x="14937" y="13500"/>
                  <a:pt x="14969" y="13469"/>
                  <a:pt x="15000" y="13438"/>
                </a:cubicBezTo>
                <a:cubicBezTo>
                  <a:pt x="15094" y="13344"/>
                  <a:pt x="15250" y="13344"/>
                  <a:pt x="15344" y="13438"/>
                </a:cubicBezTo>
                <a:cubicBezTo>
                  <a:pt x="15375" y="13469"/>
                  <a:pt x="15406" y="13500"/>
                  <a:pt x="15437" y="13500"/>
                </a:cubicBezTo>
                <a:cubicBezTo>
                  <a:pt x="15562" y="13532"/>
                  <a:pt x="15687" y="13532"/>
                  <a:pt x="15781" y="13500"/>
                </a:cubicBezTo>
                <a:cubicBezTo>
                  <a:pt x="15844" y="13500"/>
                  <a:pt x="15906" y="13438"/>
                  <a:pt x="15906" y="13375"/>
                </a:cubicBezTo>
                <a:cubicBezTo>
                  <a:pt x="15937" y="13188"/>
                  <a:pt x="16094" y="13157"/>
                  <a:pt x="16219" y="13125"/>
                </a:cubicBezTo>
                <a:cubicBezTo>
                  <a:pt x="16375" y="13125"/>
                  <a:pt x="16500" y="13094"/>
                  <a:pt x="16656" y="13125"/>
                </a:cubicBezTo>
                <a:cubicBezTo>
                  <a:pt x="16687" y="13125"/>
                  <a:pt x="16719" y="13125"/>
                  <a:pt x="16750" y="13094"/>
                </a:cubicBezTo>
                <a:cubicBezTo>
                  <a:pt x="16812" y="13063"/>
                  <a:pt x="16906" y="13000"/>
                  <a:pt x="16969" y="13125"/>
                </a:cubicBezTo>
                <a:cubicBezTo>
                  <a:pt x="16969" y="13125"/>
                  <a:pt x="17031" y="13125"/>
                  <a:pt x="17031" y="13125"/>
                </a:cubicBezTo>
                <a:cubicBezTo>
                  <a:pt x="17125" y="13000"/>
                  <a:pt x="17250" y="13063"/>
                  <a:pt x="17344" y="13032"/>
                </a:cubicBezTo>
                <a:cubicBezTo>
                  <a:pt x="17375" y="13032"/>
                  <a:pt x="17406" y="13063"/>
                  <a:pt x="17406" y="13094"/>
                </a:cubicBezTo>
                <a:cubicBezTo>
                  <a:pt x="17406" y="13125"/>
                  <a:pt x="17437" y="13157"/>
                  <a:pt x="17469" y="13157"/>
                </a:cubicBezTo>
                <a:cubicBezTo>
                  <a:pt x="17656" y="13125"/>
                  <a:pt x="17844" y="13219"/>
                  <a:pt x="18031" y="13157"/>
                </a:cubicBezTo>
                <a:cubicBezTo>
                  <a:pt x="18125" y="13157"/>
                  <a:pt x="18187" y="13125"/>
                  <a:pt x="18187" y="13032"/>
                </a:cubicBezTo>
                <a:cubicBezTo>
                  <a:pt x="18219" y="12907"/>
                  <a:pt x="18281" y="12844"/>
                  <a:pt x="18375" y="12844"/>
                </a:cubicBezTo>
                <a:cubicBezTo>
                  <a:pt x="18687" y="12813"/>
                  <a:pt x="18969" y="12782"/>
                  <a:pt x="19250" y="12782"/>
                </a:cubicBezTo>
                <a:cubicBezTo>
                  <a:pt x="19406" y="12782"/>
                  <a:pt x="19531" y="12719"/>
                  <a:pt x="19687" y="12750"/>
                </a:cubicBezTo>
                <a:cubicBezTo>
                  <a:pt x="19719" y="12750"/>
                  <a:pt x="19750" y="12750"/>
                  <a:pt x="19781" y="12719"/>
                </a:cubicBezTo>
                <a:cubicBezTo>
                  <a:pt x="19781" y="12719"/>
                  <a:pt x="19781" y="12719"/>
                  <a:pt x="19781" y="12719"/>
                </a:cubicBezTo>
                <a:cubicBezTo>
                  <a:pt x="19812" y="12719"/>
                  <a:pt x="19844" y="12750"/>
                  <a:pt x="19875" y="12719"/>
                </a:cubicBezTo>
                <a:cubicBezTo>
                  <a:pt x="19906" y="12719"/>
                  <a:pt x="19906" y="12719"/>
                  <a:pt x="19937" y="12719"/>
                </a:cubicBezTo>
                <a:cubicBezTo>
                  <a:pt x="19937" y="12719"/>
                  <a:pt x="19969" y="12719"/>
                  <a:pt x="19969" y="12719"/>
                </a:cubicBezTo>
                <a:cubicBezTo>
                  <a:pt x="20000" y="12719"/>
                  <a:pt x="20031" y="12719"/>
                  <a:pt x="20062" y="12719"/>
                </a:cubicBezTo>
                <a:cubicBezTo>
                  <a:pt x="20156" y="12719"/>
                  <a:pt x="20219" y="12719"/>
                  <a:pt x="20312" y="12719"/>
                </a:cubicBezTo>
                <a:cubicBezTo>
                  <a:pt x="20281" y="12750"/>
                  <a:pt x="20281" y="12782"/>
                  <a:pt x="20281" y="12844"/>
                </a:cubicBezTo>
                <a:cubicBezTo>
                  <a:pt x="20312" y="13344"/>
                  <a:pt x="20500" y="13750"/>
                  <a:pt x="20781" y="14094"/>
                </a:cubicBezTo>
                <a:cubicBezTo>
                  <a:pt x="20844" y="14157"/>
                  <a:pt x="20906" y="14219"/>
                  <a:pt x="20937" y="14282"/>
                </a:cubicBezTo>
                <a:cubicBezTo>
                  <a:pt x="20937" y="14282"/>
                  <a:pt x="20937" y="14282"/>
                  <a:pt x="20937" y="14282"/>
                </a:cubicBezTo>
                <a:close/>
                <a:moveTo>
                  <a:pt x="20969" y="14282"/>
                </a:moveTo>
                <a:cubicBezTo>
                  <a:pt x="21000" y="14282"/>
                  <a:pt x="21000" y="14313"/>
                  <a:pt x="21000" y="14313"/>
                </a:cubicBezTo>
                <a:cubicBezTo>
                  <a:pt x="21000" y="14313"/>
                  <a:pt x="21000" y="14282"/>
                  <a:pt x="20969" y="14282"/>
                </a:cubicBezTo>
                <a:close/>
                <a:moveTo>
                  <a:pt x="21312" y="10907"/>
                </a:moveTo>
                <a:cubicBezTo>
                  <a:pt x="21281" y="10907"/>
                  <a:pt x="21219" y="10875"/>
                  <a:pt x="21219" y="10813"/>
                </a:cubicBezTo>
                <a:cubicBezTo>
                  <a:pt x="21219" y="10782"/>
                  <a:pt x="21250" y="10750"/>
                  <a:pt x="21281" y="10750"/>
                </a:cubicBezTo>
                <a:cubicBezTo>
                  <a:pt x="21312" y="10782"/>
                  <a:pt x="21375" y="10813"/>
                  <a:pt x="21375" y="10844"/>
                </a:cubicBezTo>
                <a:cubicBezTo>
                  <a:pt x="21375" y="10907"/>
                  <a:pt x="21344" y="10907"/>
                  <a:pt x="21312" y="10907"/>
                </a:cubicBezTo>
                <a:close/>
                <a:moveTo>
                  <a:pt x="21781" y="13282"/>
                </a:moveTo>
                <a:cubicBezTo>
                  <a:pt x="21719" y="13282"/>
                  <a:pt x="21687" y="13188"/>
                  <a:pt x="21656" y="13188"/>
                </a:cubicBezTo>
                <a:cubicBezTo>
                  <a:pt x="21594" y="13000"/>
                  <a:pt x="21500" y="12813"/>
                  <a:pt x="21531" y="12625"/>
                </a:cubicBezTo>
                <a:cubicBezTo>
                  <a:pt x="21750" y="12782"/>
                  <a:pt x="21875" y="13063"/>
                  <a:pt x="21781" y="13282"/>
                </a:cubicBezTo>
                <a:cubicBezTo>
                  <a:pt x="21781" y="13313"/>
                  <a:pt x="21812" y="13344"/>
                  <a:pt x="21844" y="13375"/>
                </a:cubicBezTo>
                <a:cubicBezTo>
                  <a:pt x="21812" y="13344"/>
                  <a:pt x="21781" y="13313"/>
                  <a:pt x="21781" y="13282"/>
                </a:cubicBezTo>
                <a:close/>
                <a:moveTo>
                  <a:pt x="21937" y="12219"/>
                </a:moveTo>
                <a:cubicBezTo>
                  <a:pt x="21875" y="12219"/>
                  <a:pt x="21781" y="12250"/>
                  <a:pt x="21719" y="12188"/>
                </a:cubicBezTo>
                <a:cubicBezTo>
                  <a:pt x="21750" y="12157"/>
                  <a:pt x="21750" y="12157"/>
                  <a:pt x="21750" y="12125"/>
                </a:cubicBezTo>
                <a:cubicBezTo>
                  <a:pt x="21750" y="12125"/>
                  <a:pt x="21750" y="12094"/>
                  <a:pt x="21750" y="12063"/>
                </a:cubicBezTo>
                <a:cubicBezTo>
                  <a:pt x="21750" y="12094"/>
                  <a:pt x="21750" y="12125"/>
                  <a:pt x="21750" y="12125"/>
                </a:cubicBezTo>
                <a:cubicBezTo>
                  <a:pt x="21781" y="12125"/>
                  <a:pt x="21781" y="12094"/>
                  <a:pt x="21812" y="12094"/>
                </a:cubicBezTo>
                <a:cubicBezTo>
                  <a:pt x="21906" y="12032"/>
                  <a:pt x="21937" y="12032"/>
                  <a:pt x="21969" y="12157"/>
                </a:cubicBezTo>
                <a:cubicBezTo>
                  <a:pt x="21969" y="12188"/>
                  <a:pt x="21969" y="12219"/>
                  <a:pt x="21937" y="12219"/>
                </a:cubicBezTo>
                <a:close/>
                <a:moveTo>
                  <a:pt x="22062" y="8688"/>
                </a:moveTo>
                <a:cubicBezTo>
                  <a:pt x="22000" y="8750"/>
                  <a:pt x="21937" y="8813"/>
                  <a:pt x="21812" y="8750"/>
                </a:cubicBezTo>
                <a:cubicBezTo>
                  <a:pt x="21750" y="8719"/>
                  <a:pt x="21687" y="8688"/>
                  <a:pt x="21594" y="8688"/>
                </a:cubicBezTo>
                <a:cubicBezTo>
                  <a:pt x="21562" y="8719"/>
                  <a:pt x="21562" y="8688"/>
                  <a:pt x="21562" y="8625"/>
                </a:cubicBezTo>
                <a:cubicBezTo>
                  <a:pt x="21594" y="8563"/>
                  <a:pt x="21656" y="8563"/>
                  <a:pt x="21719" y="8563"/>
                </a:cubicBezTo>
                <a:cubicBezTo>
                  <a:pt x="21781" y="8563"/>
                  <a:pt x="21844" y="8563"/>
                  <a:pt x="21875" y="8563"/>
                </a:cubicBezTo>
                <a:cubicBezTo>
                  <a:pt x="21875" y="8563"/>
                  <a:pt x="21875" y="8563"/>
                  <a:pt x="21875" y="8563"/>
                </a:cubicBezTo>
                <a:cubicBezTo>
                  <a:pt x="21937" y="8563"/>
                  <a:pt x="21969" y="8563"/>
                  <a:pt x="22031" y="8563"/>
                </a:cubicBezTo>
                <a:cubicBezTo>
                  <a:pt x="22062" y="8563"/>
                  <a:pt x="22094" y="8532"/>
                  <a:pt x="22094" y="8594"/>
                </a:cubicBezTo>
                <a:cubicBezTo>
                  <a:pt x="22125" y="8625"/>
                  <a:pt x="22125" y="8657"/>
                  <a:pt x="22062" y="8688"/>
                </a:cubicBezTo>
                <a:close/>
                <a:moveTo>
                  <a:pt x="22781" y="13250"/>
                </a:moveTo>
                <a:cubicBezTo>
                  <a:pt x="22781" y="13313"/>
                  <a:pt x="22719" y="13313"/>
                  <a:pt x="22719" y="13375"/>
                </a:cubicBezTo>
                <a:cubicBezTo>
                  <a:pt x="22719" y="13375"/>
                  <a:pt x="22687" y="13375"/>
                  <a:pt x="22719" y="13375"/>
                </a:cubicBezTo>
                <a:cubicBezTo>
                  <a:pt x="22625" y="13375"/>
                  <a:pt x="22594" y="13438"/>
                  <a:pt x="22562" y="13438"/>
                </a:cubicBezTo>
                <a:cubicBezTo>
                  <a:pt x="22437" y="13500"/>
                  <a:pt x="22344" y="13532"/>
                  <a:pt x="22219" y="13500"/>
                </a:cubicBezTo>
                <a:cubicBezTo>
                  <a:pt x="22187" y="13500"/>
                  <a:pt x="22187" y="13500"/>
                  <a:pt x="22187" y="13500"/>
                </a:cubicBezTo>
                <a:cubicBezTo>
                  <a:pt x="22187" y="13500"/>
                  <a:pt x="22187" y="13500"/>
                  <a:pt x="22219" y="13500"/>
                </a:cubicBezTo>
                <a:cubicBezTo>
                  <a:pt x="22219" y="13407"/>
                  <a:pt x="22281" y="13344"/>
                  <a:pt x="22344" y="13313"/>
                </a:cubicBezTo>
                <a:cubicBezTo>
                  <a:pt x="22437" y="13219"/>
                  <a:pt x="22719" y="13157"/>
                  <a:pt x="22781" y="13250"/>
                </a:cubicBezTo>
                <a:cubicBezTo>
                  <a:pt x="22812" y="13250"/>
                  <a:pt x="22812" y="13250"/>
                  <a:pt x="22812" y="13250"/>
                </a:cubicBezTo>
                <a:cubicBezTo>
                  <a:pt x="22812" y="13250"/>
                  <a:pt x="22812" y="13250"/>
                  <a:pt x="22781" y="13250"/>
                </a:cubicBezTo>
                <a:close/>
                <a:moveTo>
                  <a:pt x="23000" y="12657"/>
                </a:moveTo>
                <a:cubicBezTo>
                  <a:pt x="23000" y="12719"/>
                  <a:pt x="23000" y="12750"/>
                  <a:pt x="23000" y="12782"/>
                </a:cubicBezTo>
                <a:cubicBezTo>
                  <a:pt x="22750" y="12625"/>
                  <a:pt x="22687" y="12469"/>
                  <a:pt x="22719" y="12188"/>
                </a:cubicBezTo>
                <a:cubicBezTo>
                  <a:pt x="22719" y="12188"/>
                  <a:pt x="22719" y="12157"/>
                  <a:pt x="22750" y="12157"/>
                </a:cubicBezTo>
                <a:cubicBezTo>
                  <a:pt x="22781" y="12188"/>
                  <a:pt x="22812" y="12219"/>
                  <a:pt x="22844" y="12219"/>
                </a:cubicBezTo>
                <a:cubicBezTo>
                  <a:pt x="22844" y="12250"/>
                  <a:pt x="22844" y="12250"/>
                  <a:pt x="22875" y="12250"/>
                </a:cubicBezTo>
                <a:cubicBezTo>
                  <a:pt x="22875" y="12250"/>
                  <a:pt x="22875" y="12250"/>
                  <a:pt x="22875" y="12250"/>
                </a:cubicBezTo>
                <a:cubicBezTo>
                  <a:pt x="22875" y="12250"/>
                  <a:pt x="22875" y="12250"/>
                  <a:pt x="22875" y="12250"/>
                </a:cubicBezTo>
                <a:cubicBezTo>
                  <a:pt x="22875" y="12250"/>
                  <a:pt x="22875" y="12250"/>
                  <a:pt x="22875" y="12282"/>
                </a:cubicBezTo>
                <a:cubicBezTo>
                  <a:pt x="22875" y="12282"/>
                  <a:pt x="22875" y="12282"/>
                  <a:pt x="22875" y="12282"/>
                </a:cubicBezTo>
                <a:cubicBezTo>
                  <a:pt x="22906" y="12282"/>
                  <a:pt x="22906" y="12282"/>
                  <a:pt x="22937" y="12250"/>
                </a:cubicBezTo>
                <a:cubicBezTo>
                  <a:pt x="22906" y="12282"/>
                  <a:pt x="22906" y="12282"/>
                  <a:pt x="22875" y="12282"/>
                </a:cubicBezTo>
                <a:cubicBezTo>
                  <a:pt x="22937" y="12407"/>
                  <a:pt x="22969" y="12532"/>
                  <a:pt x="23000" y="12657"/>
                </a:cubicBezTo>
                <a:cubicBezTo>
                  <a:pt x="23000" y="12657"/>
                  <a:pt x="23000" y="12657"/>
                  <a:pt x="23000" y="12657"/>
                </a:cubicBezTo>
                <a:cubicBezTo>
                  <a:pt x="23031" y="12688"/>
                  <a:pt x="23031" y="12688"/>
                  <a:pt x="23031" y="12688"/>
                </a:cubicBezTo>
                <a:cubicBezTo>
                  <a:pt x="23031" y="12688"/>
                  <a:pt x="23031" y="12688"/>
                  <a:pt x="23000" y="12657"/>
                </a:cubicBezTo>
                <a:close/>
                <a:moveTo>
                  <a:pt x="22406" y="10938"/>
                </a:moveTo>
                <a:cubicBezTo>
                  <a:pt x="22406" y="10938"/>
                  <a:pt x="22375" y="10969"/>
                  <a:pt x="22375" y="10969"/>
                </a:cubicBezTo>
                <a:cubicBezTo>
                  <a:pt x="22344" y="11032"/>
                  <a:pt x="22312" y="11032"/>
                  <a:pt x="22281" y="11000"/>
                </a:cubicBezTo>
                <a:cubicBezTo>
                  <a:pt x="22281" y="10969"/>
                  <a:pt x="22219" y="10938"/>
                  <a:pt x="22250" y="10907"/>
                </a:cubicBezTo>
                <a:cubicBezTo>
                  <a:pt x="22250" y="10875"/>
                  <a:pt x="22281" y="10907"/>
                  <a:pt x="22312" y="10907"/>
                </a:cubicBezTo>
                <a:cubicBezTo>
                  <a:pt x="22437" y="10844"/>
                  <a:pt x="22562" y="10782"/>
                  <a:pt x="22687" y="10719"/>
                </a:cubicBezTo>
                <a:cubicBezTo>
                  <a:pt x="23000" y="10532"/>
                  <a:pt x="23312" y="10375"/>
                  <a:pt x="23625" y="10188"/>
                </a:cubicBezTo>
                <a:cubicBezTo>
                  <a:pt x="23656" y="10188"/>
                  <a:pt x="23687" y="10157"/>
                  <a:pt x="23719" y="10157"/>
                </a:cubicBezTo>
                <a:cubicBezTo>
                  <a:pt x="23687" y="10250"/>
                  <a:pt x="23562" y="10282"/>
                  <a:pt x="23500" y="10344"/>
                </a:cubicBezTo>
                <a:cubicBezTo>
                  <a:pt x="23406" y="10407"/>
                  <a:pt x="23312" y="10469"/>
                  <a:pt x="23250" y="10532"/>
                </a:cubicBezTo>
                <a:cubicBezTo>
                  <a:pt x="23250" y="10563"/>
                  <a:pt x="23281" y="10532"/>
                  <a:pt x="23312" y="10532"/>
                </a:cubicBezTo>
                <a:cubicBezTo>
                  <a:pt x="23281" y="10532"/>
                  <a:pt x="23250" y="10563"/>
                  <a:pt x="23250" y="10532"/>
                </a:cubicBezTo>
                <a:cubicBezTo>
                  <a:pt x="22969" y="10688"/>
                  <a:pt x="22687" y="10813"/>
                  <a:pt x="22406" y="10938"/>
                </a:cubicBezTo>
                <a:close/>
                <a:moveTo>
                  <a:pt x="312" y="1375"/>
                </a:moveTo>
                <a:cubicBezTo>
                  <a:pt x="625" y="1438"/>
                  <a:pt x="937" y="1407"/>
                  <a:pt x="1219" y="1407"/>
                </a:cubicBezTo>
                <a:cubicBezTo>
                  <a:pt x="1312" y="1407"/>
                  <a:pt x="1406" y="1375"/>
                  <a:pt x="1469" y="1469"/>
                </a:cubicBezTo>
                <a:cubicBezTo>
                  <a:pt x="1500" y="1500"/>
                  <a:pt x="1531" y="1500"/>
                  <a:pt x="1531" y="1500"/>
                </a:cubicBezTo>
                <a:cubicBezTo>
                  <a:pt x="1719" y="1500"/>
                  <a:pt x="1906" y="1500"/>
                  <a:pt x="2094" y="1532"/>
                </a:cubicBezTo>
                <a:cubicBezTo>
                  <a:pt x="2406" y="1563"/>
                  <a:pt x="2687" y="1500"/>
                  <a:pt x="2969" y="1594"/>
                </a:cubicBezTo>
                <a:cubicBezTo>
                  <a:pt x="3125" y="1625"/>
                  <a:pt x="3312" y="1657"/>
                  <a:pt x="3469" y="1657"/>
                </a:cubicBezTo>
                <a:cubicBezTo>
                  <a:pt x="3781" y="1719"/>
                  <a:pt x="4125" y="1782"/>
                  <a:pt x="4437" y="1750"/>
                </a:cubicBezTo>
                <a:cubicBezTo>
                  <a:pt x="4719" y="1719"/>
                  <a:pt x="5000" y="1719"/>
                  <a:pt x="5281" y="1688"/>
                </a:cubicBezTo>
                <a:cubicBezTo>
                  <a:pt x="5656" y="1657"/>
                  <a:pt x="6062" y="1625"/>
                  <a:pt x="6437" y="1719"/>
                </a:cubicBezTo>
                <a:cubicBezTo>
                  <a:pt x="6687" y="1750"/>
                  <a:pt x="6969" y="1688"/>
                  <a:pt x="7219" y="1657"/>
                </a:cubicBezTo>
                <a:cubicBezTo>
                  <a:pt x="7219" y="1657"/>
                  <a:pt x="7250" y="1657"/>
                  <a:pt x="7250" y="1657"/>
                </a:cubicBezTo>
                <a:cubicBezTo>
                  <a:pt x="7281" y="1594"/>
                  <a:pt x="7375" y="1594"/>
                  <a:pt x="7406" y="1625"/>
                </a:cubicBezTo>
                <a:cubicBezTo>
                  <a:pt x="7531" y="1657"/>
                  <a:pt x="7656" y="1688"/>
                  <a:pt x="7781" y="1688"/>
                </a:cubicBezTo>
                <a:cubicBezTo>
                  <a:pt x="8031" y="1688"/>
                  <a:pt x="8281" y="1688"/>
                  <a:pt x="8531" y="1657"/>
                </a:cubicBezTo>
                <a:cubicBezTo>
                  <a:pt x="8719" y="1657"/>
                  <a:pt x="8906" y="1688"/>
                  <a:pt x="9062" y="1625"/>
                </a:cubicBezTo>
                <a:cubicBezTo>
                  <a:pt x="9219" y="1594"/>
                  <a:pt x="9375" y="1594"/>
                  <a:pt x="9531" y="1594"/>
                </a:cubicBezTo>
                <a:cubicBezTo>
                  <a:pt x="9719" y="1563"/>
                  <a:pt x="9937" y="1594"/>
                  <a:pt x="10125" y="1594"/>
                </a:cubicBezTo>
                <a:cubicBezTo>
                  <a:pt x="10250" y="1625"/>
                  <a:pt x="10344" y="1625"/>
                  <a:pt x="10469" y="1594"/>
                </a:cubicBezTo>
                <a:cubicBezTo>
                  <a:pt x="10375" y="1625"/>
                  <a:pt x="10281" y="1563"/>
                  <a:pt x="10156" y="1532"/>
                </a:cubicBezTo>
                <a:cubicBezTo>
                  <a:pt x="10500" y="1532"/>
                  <a:pt x="10844" y="1594"/>
                  <a:pt x="11156" y="1532"/>
                </a:cubicBezTo>
                <a:cubicBezTo>
                  <a:pt x="11344" y="1500"/>
                  <a:pt x="11562" y="1532"/>
                  <a:pt x="11750" y="1469"/>
                </a:cubicBezTo>
                <a:cubicBezTo>
                  <a:pt x="11937" y="1407"/>
                  <a:pt x="12156" y="1469"/>
                  <a:pt x="12344" y="1407"/>
                </a:cubicBezTo>
                <a:cubicBezTo>
                  <a:pt x="12469" y="1375"/>
                  <a:pt x="12594" y="1407"/>
                  <a:pt x="12719" y="1375"/>
                </a:cubicBezTo>
                <a:cubicBezTo>
                  <a:pt x="12750" y="1375"/>
                  <a:pt x="12781" y="1407"/>
                  <a:pt x="12812" y="1407"/>
                </a:cubicBezTo>
                <a:cubicBezTo>
                  <a:pt x="12812" y="1407"/>
                  <a:pt x="12812" y="1407"/>
                  <a:pt x="12812" y="1407"/>
                </a:cubicBezTo>
                <a:cubicBezTo>
                  <a:pt x="12781" y="1407"/>
                  <a:pt x="12719" y="1407"/>
                  <a:pt x="12656" y="1438"/>
                </a:cubicBezTo>
                <a:cubicBezTo>
                  <a:pt x="12937" y="1469"/>
                  <a:pt x="13187" y="1469"/>
                  <a:pt x="13437" y="1469"/>
                </a:cubicBezTo>
                <a:cubicBezTo>
                  <a:pt x="13687" y="1500"/>
                  <a:pt x="13906" y="1469"/>
                  <a:pt x="14094" y="1625"/>
                </a:cubicBezTo>
                <a:cubicBezTo>
                  <a:pt x="14125" y="1657"/>
                  <a:pt x="14156" y="1657"/>
                  <a:pt x="14156" y="1657"/>
                </a:cubicBezTo>
                <a:cubicBezTo>
                  <a:pt x="14437" y="1657"/>
                  <a:pt x="14719" y="1719"/>
                  <a:pt x="14969" y="1719"/>
                </a:cubicBezTo>
                <a:cubicBezTo>
                  <a:pt x="15156" y="1719"/>
                  <a:pt x="15344" y="1719"/>
                  <a:pt x="15500" y="1719"/>
                </a:cubicBezTo>
                <a:cubicBezTo>
                  <a:pt x="15844" y="1688"/>
                  <a:pt x="16156" y="1719"/>
                  <a:pt x="16500" y="1782"/>
                </a:cubicBezTo>
                <a:cubicBezTo>
                  <a:pt x="16781" y="1813"/>
                  <a:pt x="17062" y="1813"/>
                  <a:pt x="17344" y="1875"/>
                </a:cubicBezTo>
                <a:cubicBezTo>
                  <a:pt x="17375" y="1875"/>
                  <a:pt x="17406" y="1875"/>
                  <a:pt x="17406" y="1844"/>
                </a:cubicBezTo>
                <a:cubicBezTo>
                  <a:pt x="17406" y="1813"/>
                  <a:pt x="17375" y="1813"/>
                  <a:pt x="17375" y="1782"/>
                </a:cubicBezTo>
                <a:cubicBezTo>
                  <a:pt x="17437" y="1750"/>
                  <a:pt x="17500" y="1813"/>
                  <a:pt x="17562" y="1844"/>
                </a:cubicBezTo>
                <a:cubicBezTo>
                  <a:pt x="17531" y="1782"/>
                  <a:pt x="17531" y="1750"/>
                  <a:pt x="17469" y="1750"/>
                </a:cubicBezTo>
                <a:cubicBezTo>
                  <a:pt x="17062" y="1719"/>
                  <a:pt x="16687" y="1657"/>
                  <a:pt x="16312" y="1625"/>
                </a:cubicBezTo>
                <a:cubicBezTo>
                  <a:pt x="15781" y="1594"/>
                  <a:pt x="15250" y="1500"/>
                  <a:pt x="14719" y="1469"/>
                </a:cubicBezTo>
                <a:cubicBezTo>
                  <a:pt x="14625" y="1469"/>
                  <a:pt x="14562" y="1438"/>
                  <a:pt x="14469" y="1438"/>
                </a:cubicBezTo>
                <a:cubicBezTo>
                  <a:pt x="14375" y="1438"/>
                  <a:pt x="14344" y="1407"/>
                  <a:pt x="14375" y="1313"/>
                </a:cubicBezTo>
                <a:cubicBezTo>
                  <a:pt x="14375" y="1125"/>
                  <a:pt x="14375" y="938"/>
                  <a:pt x="14406" y="750"/>
                </a:cubicBezTo>
                <a:cubicBezTo>
                  <a:pt x="14406" y="625"/>
                  <a:pt x="14344" y="532"/>
                  <a:pt x="14250" y="532"/>
                </a:cubicBezTo>
                <a:cubicBezTo>
                  <a:pt x="13937" y="469"/>
                  <a:pt x="13625" y="407"/>
                  <a:pt x="13281" y="407"/>
                </a:cubicBezTo>
                <a:cubicBezTo>
                  <a:pt x="12781" y="375"/>
                  <a:pt x="12312" y="344"/>
                  <a:pt x="11812" y="313"/>
                </a:cubicBezTo>
                <a:cubicBezTo>
                  <a:pt x="11219" y="282"/>
                  <a:pt x="10656" y="282"/>
                  <a:pt x="10094" y="250"/>
                </a:cubicBezTo>
                <a:cubicBezTo>
                  <a:pt x="9000" y="250"/>
                  <a:pt x="7875" y="250"/>
                  <a:pt x="6781" y="219"/>
                </a:cubicBezTo>
                <a:cubicBezTo>
                  <a:pt x="6750" y="219"/>
                  <a:pt x="6687" y="188"/>
                  <a:pt x="6656" y="250"/>
                </a:cubicBezTo>
                <a:cubicBezTo>
                  <a:pt x="6656" y="313"/>
                  <a:pt x="6750" y="282"/>
                  <a:pt x="6781" y="282"/>
                </a:cubicBezTo>
                <a:cubicBezTo>
                  <a:pt x="7156" y="282"/>
                  <a:pt x="7531" y="313"/>
                  <a:pt x="7906" y="313"/>
                </a:cubicBezTo>
                <a:cubicBezTo>
                  <a:pt x="8969" y="313"/>
                  <a:pt x="10062" y="344"/>
                  <a:pt x="11125" y="344"/>
                </a:cubicBezTo>
                <a:cubicBezTo>
                  <a:pt x="11156" y="344"/>
                  <a:pt x="11187" y="344"/>
                  <a:pt x="11250" y="375"/>
                </a:cubicBezTo>
                <a:cubicBezTo>
                  <a:pt x="11312" y="375"/>
                  <a:pt x="11312" y="438"/>
                  <a:pt x="11312" y="500"/>
                </a:cubicBezTo>
                <a:cubicBezTo>
                  <a:pt x="11281" y="563"/>
                  <a:pt x="11250" y="563"/>
                  <a:pt x="11219" y="563"/>
                </a:cubicBezTo>
                <a:cubicBezTo>
                  <a:pt x="10875" y="532"/>
                  <a:pt x="10562" y="532"/>
                  <a:pt x="10250" y="532"/>
                </a:cubicBezTo>
                <a:cubicBezTo>
                  <a:pt x="9687" y="500"/>
                  <a:pt x="9125" y="500"/>
                  <a:pt x="8562" y="500"/>
                </a:cubicBezTo>
                <a:cubicBezTo>
                  <a:pt x="8031" y="500"/>
                  <a:pt x="7469" y="500"/>
                  <a:pt x="6937" y="500"/>
                </a:cubicBezTo>
                <a:cubicBezTo>
                  <a:pt x="6937" y="500"/>
                  <a:pt x="6906" y="500"/>
                  <a:pt x="6906" y="500"/>
                </a:cubicBezTo>
                <a:cubicBezTo>
                  <a:pt x="6906" y="469"/>
                  <a:pt x="6875" y="469"/>
                  <a:pt x="6875" y="500"/>
                </a:cubicBezTo>
                <a:cubicBezTo>
                  <a:pt x="6812" y="500"/>
                  <a:pt x="6750" y="500"/>
                  <a:pt x="6687" y="469"/>
                </a:cubicBezTo>
                <a:cubicBezTo>
                  <a:pt x="6656" y="469"/>
                  <a:pt x="6625" y="438"/>
                  <a:pt x="6625" y="407"/>
                </a:cubicBezTo>
                <a:cubicBezTo>
                  <a:pt x="6625" y="375"/>
                  <a:pt x="6625" y="344"/>
                  <a:pt x="6594" y="344"/>
                </a:cubicBezTo>
                <a:cubicBezTo>
                  <a:pt x="6562" y="344"/>
                  <a:pt x="6531" y="344"/>
                  <a:pt x="6531" y="407"/>
                </a:cubicBezTo>
                <a:cubicBezTo>
                  <a:pt x="6531" y="469"/>
                  <a:pt x="6500" y="469"/>
                  <a:pt x="6437" y="469"/>
                </a:cubicBezTo>
                <a:cubicBezTo>
                  <a:pt x="6281" y="469"/>
                  <a:pt x="6156" y="469"/>
                  <a:pt x="6000" y="469"/>
                </a:cubicBezTo>
                <a:cubicBezTo>
                  <a:pt x="4687" y="469"/>
                  <a:pt x="3375" y="438"/>
                  <a:pt x="2031" y="438"/>
                </a:cubicBezTo>
                <a:cubicBezTo>
                  <a:pt x="2000" y="438"/>
                  <a:pt x="1937" y="469"/>
                  <a:pt x="1969" y="375"/>
                </a:cubicBezTo>
                <a:cubicBezTo>
                  <a:pt x="1969" y="313"/>
                  <a:pt x="1969" y="250"/>
                  <a:pt x="2031" y="219"/>
                </a:cubicBezTo>
                <a:cubicBezTo>
                  <a:pt x="2062" y="219"/>
                  <a:pt x="2094" y="219"/>
                  <a:pt x="2125" y="219"/>
                </a:cubicBezTo>
                <a:cubicBezTo>
                  <a:pt x="3031" y="250"/>
                  <a:pt x="3937" y="250"/>
                  <a:pt x="4844" y="250"/>
                </a:cubicBezTo>
                <a:cubicBezTo>
                  <a:pt x="5250" y="250"/>
                  <a:pt x="5625" y="282"/>
                  <a:pt x="6000" y="282"/>
                </a:cubicBezTo>
                <a:cubicBezTo>
                  <a:pt x="6156" y="282"/>
                  <a:pt x="6312" y="313"/>
                  <a:pt x="6500" y="250"/>
                </a:cubicBezTo>
                <a:cubicBezTo>
                  <a:pt x="6500" y="250"/>
                  <a:pt x="6562" y="250"/>
                  <a:pt x="6562" y="219"/>
                </a:cubicBezTo>
                <a:cubicBezTo>
                  <a:pt x="6531" y="188"/>
                  <a:pt x="6500" y="188"/>
                  <a:pt x="6469" y="188"/>
                </a:cubicBezTo>
                <a:cubicBezTo>
                  <a:pt x="6219" y="188"/>
                  <a:pt x="5937" y="188"/>
                  <a:pt x="5687" y="188"/>
                </a:cubicBezTo>
                <a:cubicBezTo>
                  <a:pt x="4312" y="188"/>
                  <a:pt x="2937" y="157"/>
                  <a:pt x="1594" y="157"/>
                </a:cubicBezTo>
                <a:cubicBezTo>
                  <a:pt x="1531" y="157"/>
                  <a:pt x="1469" y="157"/>
                  <a:pt x="1406" y="157"/>
                </a:cubicBezTo>
                <a:cubicBezTo>
                  <a:pt x="1437" y="250"/>
                  <a:pt x="1469" y="219"/>
                  <a:pt x="1500" y="219"/>
                </a:cubicBezTo>
                <a:cubicBezTo>
                  <a:pt x="1562" y="219"/>
                  <a:pt x="1594" y="219"/>
                  <a:pt x="1594" y="250"/>
                </a:cubicBezTo>
                <a:cubicBezTo>
                  <a:pt x="1594" y="313"/>
                  <a:pt x="1625" y="375"/>
                  <a:pt x="1562" y="407"/>
                </a:cubicBezTo>
                <a:cubicBezTo>
                  <a:pt x="1531" y="407"/>
                  <a:pt x="1500" y="469"/>
                  <a:pt x="1437" y="469"/>
                </a:cubicBezTo>
                <a:cubicBezTo>
                  <a:pt x="1469" y="500"/>
                  <a:pt x="1500" y="500"/>
                  <a:pt x="1531" y="500"/>
                </a:cubicBezTo>
                <a:cubicBezTo>
                  <a:pt x="1594" y="500"/>
                  <a:pt x="1594" y="532"/>
                  <a:pt x="1594" y="594"/>
                </a:cubicBezTo>
                <a:cubicBezTo>
                  <a:pt x="1594" y="625"/>
                  <a:pt x="1594" y="657"/>
                  <a:pt x="1531" y="657"/>
                </a:cubicBezTo>
                <a:cubicBezTo>
                  <a:pt x="1531" y="657"/>
                  <a:pt x="1500" y="625"/>
                  <a:pt x="1469" y="657"/>
                </a:cubicBezTo>
                <a:cubicBezTo>
                  <a:pt x="1406" y="657"/>
                  <a:pt x="1344" y="688"/>
                  <a:pt x="1344" y="750"/>
                </a:cubicBezTo>
                <a:cubicBezTo>
                  <a:pt x="1344" y="844"/>
                  <a:pt x="1437" y="813"/>
                  <a:pt x="1469" y="813"/>
                </a:cubicBezTo>
                <a:cubicBezTo>
                  <a:pt x="1500" y="813"/>
                  <a:pt x="1500" y="813"/>
                  <a:pt x="1531" y="813"/>
                </a:cubicBezTo>
                <a:cubicBezTo>
                  <a:pt x="1594" y="813"/>
                  <a:pt x="1625" y="844"/>
                  <a:pt x="1625" y="907"/>
                </a:cubicBezTo>
                <a:cubicBezTo>
                  <a:pt x="1625" y="969"/>
                  <a:pt x="1562" y="1000"/>
                  <a:pt x="1500" y="1000"/>
                </a:cubicBezTo>
                <a:cubicBezTo>
                  <a:pt x="1250" y="1000"/>
                  <a:pt x="969" y="1000"/>
                  <a:pt x="687" y="1000"/>
                </a:cubicBezTo>
                <a:cubicBezTo>
                  <a:pt x="469" y="969"/>
                  <a:pt x="344" y="1125"/>
                  <a:pt x="250" y="1282"/>
                </a:cubicBezTo>
                <a:cubicBezTo>
                  <a:pt x="219" y="1344"/>
                  <a:pt x="250" y="1375"/>
                  <a:pt x="312" y="1375"/>
                </a:cubicBezTo>
                <a:close/>
                <a:moveTo>
                  <a:pt x="12500" y="1219"/>
                </a:moveTo>
                <a:cubicBezTo>
                  <a:pt x="12594" y="1250"/>
                  <a:pt x="12687" y="1188"/>
                  <a:pt x="12750" y="1250"/>
                </a:cubicBezTo>
                <a:cubicBezTo>
                  <a:pt x="12687" y="1250"/>
                  <a:pt x="12594" y="1282"/>
                  <a:pt x="12500" y="1219"/>
                </a:cubicBezTo>
                <a:close/>
                <a:moveTo>
                  <a:pt x="12812" y="1157"/>
                </a:moveTo>
                <a:cubicBezTo>
                  <a:pt x="12687" y="1157"/>
                  <a:pt x="12562" y="1157"/>
                  <a:pt x="12437" y="1125"/>
                </a:cubicBezTo>
                <a:cubicBezTo>
                  <a:pt x="12250" y="1125"/>
                  <a:pt x="12031" y="1125"/>
                  <a:pt x="11844" y="1125"/>
                </a:cubicBezTo>
                <a:cubicBezTo>
                  <a:pt x="11812" y="1063"/>
                  <a:pt x="11781" y="1094"/>
                  <a:pt x="11750" y="1094"/>
                </a:cubicBezTo>
                <a:cubicBezTo>
                  <a:pt x="11625" y="1094"/>
                  <a:pt x="11500" y="1094"/>
                  <a:pt x="11406" y="1094"/>
                </a:cubicBezTo>
                <a:cubicBezTo>
                  <a:pt x="11375" y="1094"/>
                  <a:pt x="11375" y="1094"/>
                  <a:pt x="11375" y="1063"/>
                </a:cubicBezTo>
                <a:cubicBezTo>
                  <a:pt x="11375" y="1032"/>
                  <a:pt x="11375" y="1032"/>
                  <a:pt x="11406" y="1032"/>
                </a:cubicBezTo>
                <a:cubicBezTo>
                  <a:pt x="11719" y="1063"/>
                  <a:pt x="12031" y="1000"/>
                  <a:pt x="12312" y="1032"/>
                </a:cubicBezTo>
                <a:cubicBezTo>
                  <a:pt x="12469" y="1063"/>
                  <a:pt x="12625" y="1094"/>
                  <a:pt x="12750" y="1094"/>
                </a:cubicBezTo>
                <a:cubicBezTo>
                  <a:pt x="12781" y="1094"/>
                  <a:pt x="12844" y="1094"/>
                  <a:pt x="12812" y="1157"/>
                </a:cubicBezTo>
                <a:cubicBezTo>
                  <a:pt x="12812" y="1157"/>
                  <a:pt x="12812" y="1188"/>
                  <a:pt x="12844" y="1188"/>
                </a:cubicBezTo>
                <a:cubicBezTo>
                  <a:pt x="12812" y="1188"/>
                  <a:pt x="12812" y="1157"/>
                  <a:pt x="12812" y="1157"/>
                </a:cubicBezTo>
                <a:close/>
                <a:moveTo>
                  <a:pt x="12937" y="1125"/>
                </a:moveTo>
                <a:cubicBezTo>
                  <a:pt x="12937" y="1063"/>
                  <a:pt x="12969" y="1063"/>
                  <a:pt x="12969" y="1063"/>
                </a:cubicBezTo>
                <a:cubicBezTo>
                  <a:pt x="13094" y="1094"/>
                  <a:pt x="13219" y="1094"/>
                  <a:pt x="13312" y="1094"/>
                </a:cubicBezTo>
                <a:cubicBezTo>
                  <a:pt x="13406" y="1094"/>
                  <a:pt x="13531" y="1094"/>
                  <a:pt x="13625" y="1094"/>
                </a:cubicBezTo>
                <a:cubicBezTo>
                  <a:pt x="13656" y="1094"/>
                  <a:pt x="13687" y="1094"/>
                  <a:pt x="13687" y="1125"/>
                </a:cubicBezTo>
                <a:cubicBezTo>
                  <a:pt x="13687" y="1157"/>
                  <a:pt x="13656" y="1157"/>
                  <a:pt x="13656" y="1157"/>
                </a:cubicBezTo>
                <a:cubicBezTo>
                  <a:pt x="13406" y="1157"/>
                  <a:pt x="13187" y="1157"/>
                  <a:pt x="12969" y="1157"/>
                </a:cubicBezTo>
                <a:cubicBezTo>
                  <a:pt x="12969" y="1157"/>
                  <a:pt x="12937" y="1157"/>
                  <a:pt x="12937" y="1125"/>
                </a:cubicBezTo>
                <a:close/>
                <a:moveTo>
                  <a:pt x="13062" y="1282"/>
                </a:moveTo>
                <a:cubicBezTo>
                  <a:pt x="13031" y="1282"/>
                  <a:pt x="13031" y="1282"/>
                  <a:pt x="13031" y="1250"/>
                </a:cubicBezTo>
                <a:cubicBezTo>
                  <a:pt x="13000" y="1219"/>
                  <a:pt x="13031" y="1219"/>
                  <a:pt x="13062" y="1219"/>
                </a:cubicBezTo>
                <a:cubicBezTo>
                  <a:pt x="13094" y="1219"/>
                  <a:pt x="13094" y="1219"/>
                  <a:pt x="13125" y="1219"/>
                </a:cubicBezTo>
                <a:cubicBezTo>
                  <a:pt x="13406" y="1219"/>
                  <a:pt x="13719" y="1219"/>
                  <a:pt x="14031" y="1282"/>
                </a:cubicBezTo>
                <a:cubicBezTo>
                  <a:pt x="13687" y="1375"/>
                  <a:pt x="13375" y="1344"/>
                  <a:pt x="13062" y="1282"/>
                </a:cubicBezTo>
                <a:close/>
                <a:moveTo>
                  <a:pt x="13875" y="1438"/>
                </a:moveTo>
                <a:cubicBezTo>
                  <a:pt x="13750" y="1469"/>
                  <a:pt x="13656" y="1407"/>
                  <a:pt x="13531" y="1407"/>
                </a:cubicBezTo>
                <a:cubicBezTo>
                  <a:pt x="13625" y="1407"/>
                  <a:pt x="13750" y="1375"/>
                  <a:pt x="13844" y="1407"/>
                </a:cubicBezTo>
                <a:cubicBezTo>
                  <a:pt x="13906" y="1438"/>
                  <a:pt x="13937" y="1407"/>
                  <a:pt x="14000" y="1375"/>
                </a:cubicBezTo>
                <a:cubicBezTo>
                  <a:pt x="14062" y="1344"/>
                  <a:pt x="14125" y="1313"/>
                  <a:pt x="14219" y="1407"/>
                </a:cubicBezTo>
                <a:cubicBezTo>
                  <a:pt x="14094" y="1407"/>
                  <a:pt x="13969" y="1407"/>
                  <a:pt x="13875" y="1438"/>
                </a:cubicBezTo>
                <a:close/>
                <a:moveTo>
                  <a:pt x="14219" y="1000"/>
                </a:moveTo>
                <a:cubicBezTo>
                  <a:pt x="14187" y="1032"/>
                  <a:pt x="14125" y="1032"/>
                  <a:pt x="14062" y="1032"/>
                </a:cubicBezTo>
                <a:cubicBezTo>
                  <a:pt x="13812" y="1032"/>
                  <a:pt x="13594" y="969"/>
                  <a:pt x="13344" y="938"/>
                </a:cubicBezTo>
                <a:cubicBezTo>
                  <a:pt x="13406" y="907"/>
                  <a:pt x="13500" y="907"/>
                  <a:pt x="13594" y="907"/>
                </a:cubicBezTo>
                <a:cubicBezTo>
                  <a:pt x="13719" y="907"/>
                  <a:pt x="13875" y="907"/>
                  <a:pt x="14000" y="875"/>
                </a:cubicBezTo>
                <a:cubicBezTo>
                  <a:pt x="14094" y="875"/>
                  <a:pt x="14156" y="875"/>
                  <a:pt x="14219" y="907"/>
                </a:cubicBezTo>
                <a:cubicBezTo>
                  <a:pt x="14250" y="907"/>
                  <a:pt x="14281" y="907"/>
                  <a:pt x="14281" y="938"/>
                </a:cubicBezTo>
                <a:cubicBezTo>
                  <a:pt x="14281" y="1000"/>
                  <a:pt x="14250" y="1000"/>
                  <a:pt x="14219" y="1000"/>
                </a:cubicBezTo>
                <a:close/>
                <a:moveTo>
                  <a:pt x="14312" y="782"/>
                </a:moveTo>
                <a:cubicBezTo>
                  <a:pt x="14344" y="813"/>
                  <a:pt x="14344" y="844"/>
                  <a:pt x="14312" y="844"/>
                </a:cubicBezTo>
                <a:cubicBezTo>
                  <a:pt x="14281" y="907"/>
                  <a:pt x="14250" y="844"/>
                  <a:pt x="14219" y="813"/>
                </a:cubicBezTo>
                <a:cubicBezTo>
                  <a:pt x="14250" y="813"/>
                  <a:pt x="14281" y="750"/>
                  <a:pt x="14312" y="782"/>
                </a:cubicBezTo>
                <a:close/>
                <a:moveTo>
                  <a:pt x="11469" y="344"/>
                </a:moveTo>
                <a:cubicBezTo>
                  <a:pt x="11531" y="375"/>
                  <a:pt x="11594" y="375"/>
                  <a:pt x="11656" y="375"/>
                </a:cubicBezTo>
                <a:cubicBezTo>
                  <a:pt x="12000" y="407"/>
                  <a:pt x="12312" y="438"/>
                  <a:pt x="12656" y="438"/>
                </a:cubicBezTo>
                <a:cubicBezTo>
                  <a:pt x="13125" y="500"/>
                  <a:pt x="13625" y="500"/>
                  <a:pt x="14094" y="594"/>
                </a:cubicBezTo>
                <a:cubicBezTo>
                  <a:pt x="14156" y="594"/>
                  <a:pt x="14281" y="594"/>
                  <a:pt x="14281" y="657"/>
                </a:cubicBezTo>
                <a:cubicBezTo>
                  <a:pt x="14281" y="719"/>
                  <a:pt x="14187" y="719"/>
                  <a:pt x="14125" y="750"/>
                </a:cubicBezTo>
                <a:cubicBezTo>
                  <a:pt x="13937" y="813"/>
                  <a:pt x="13750" y="750"/>
                  <a:pt x="13562" y="719"/>
                </a:cubicBezTo>
                <a:cubicBezTo>
                  <a:pt x="13344" y="719"/>
                  <a:pt x="13156" y="688"/>
                  <a:pt x="12937" y="688"/>
                </a:cubicBezTo>
                <a:cubicBezTo>
                  <a:pt x="12656" y="657"/>
                  <a:pt x="12375" y="625"/>
                  <a:pt x="12094" y="657"/>
                </a:cubicBezTo>
                <a:cubicBezTo>
                  <a:pt x="12094" y="657"/>
                  <a:pt x="12062" y="657"/>
                  <a:pt x="12062" y="657"/>
                </a:cubicBezTo>
                <a:cubicBezTo>
                  <a:pt x="11875" y="500"/>
                  <a:pt x="11656" y="594"/>
                  <a:pt x="11469" y="563"/>
                </a:cubicBezTo>
                <a:cubicBezTo>
                  <a:pt x="11375" y="563"/>
                  <a:pt x="11375" y="563"/>
                  <a:pt x="11375" y="469"/>
                </a:cubicBezTo>
                <a:cubicBezTo>
                  <a:pt x="11344" y="375"/>
                  <a:pt x="11406" y="344"/>
                  <a:pt x="11469" y="344"/>
                </a:cubicBezTo>
                <a:close/>
                <a:moveTo>
                  <a:pt x="11469" y="625"/>
                </a:moveTo>
                <a:cubicBezTo>
                  <a:pt x="11531" y="625"/>
                  <a:pt x="11594" y="625"/>
                  <a:pt x="11656" y="625"/>
                </a:cubicBezTo>
                <a:cubicBezTo>
                  <a:pt x="11656" y="625"/>
                  <a:pt x="11656" y="625"/>
                  <a:pt x="11656" y="625"/>
                </a:cubicBezTo>
                <a:cubicBezTo>
                  <a:pt x="11750" y="625"/>
                  <a:pt x="11812" y="625"/>
                  <a:pt x="11875" y="625"/>
                </a:cubicBezTo>
                <a:cubicBezTo>
                  <a:pt x="11906" y="625"/>
                  <a:pt x="11969" y="625"/>
                  <a:pt x="12000" y="688"/>
                </a:cubicBezTo>
                <a:cubicBezTo>
                  <a:pt x="12000" y="719"/>
                  <a:pt x="12031" y="719"/>
                  <a:pt x="12062" y="719"/>
                </a:cubicBezTo>
                <a:cubicBezTo>
                  <a:pt x="12250" y="719"/>
                  <a:pt x="12437" y="719"/>
                  <a:pt x="12625" y="719"/>
                </a:cubicBezTo>
                <a:cubicBezTo>
                  <a:pt x="12969" y="719"/>
                  <a:pt x="13312" y="750"/>
                  <a:pt x="13687" y="782"/>
                </a:cubicBezTo>
                <a:cubicBezTo>
                  <a:pt x="13719" y="782"/>
                  <a:pt x="13719" y="750"/>
                  <a:pt x="13750" y="813"/>
                </a:cubicBezTo>
                <a:cubicBezTo>
                  <a:pt x="13750" y="844"/>
                  <a:pt x="13719" y="844"/>
                  <a:pt x="13687" y="844"/>
                </a:cubicBezTo>
                <a:cubicBezTo>
                  <a:pt x="13562" y="875"/>
                  <a:pt x="13469" y="875"/>
                  <a:pt x="13344" y="875"/>
                </a:cubicBezTo>
                <a:cubicBezTo>
                  <a:pt x="12937" y="907"/>
                  <a:pt x="12500" y="938"/>
                  <a:pt x="12094" y="907"/>
                </a:cubicBezTo>
                <a:cubicBezTo>
                  <a:pt x="11875" y="875"/>
                  <a:pt x="11687" y="907"/>
                  <a:pt x="11469" y="875"/>
                </a:cubicBezTo>
                <a:cubicBezTo>
                  <a:pt x="11344" y="875"/>
                  <a:pt x="11375" y="782"/>
                  <a:pt x="11344" y="719"/>
                </a:cubicBezTo>
                <a:cubicBezTo>
                  <a:pt x="11344" y="625"/>
                  <a:pt x="11406" y="625"/>
                  <a:pt x="11469" y="625"/>
                </a:cubicBezTo>
                <a:close/>
                <a:moveTo>
                  <a:pt x="8719" y="1125"/>
                </a:moveTo>
                <a:cubicBezTo>
                  <a:pt x="8125" y="1094"/>
                  <a:pt x="7531" y="1094"/>
                  <a:pt x="6937" y="1094"/>
                </a:cubicBezTo>
                <a:cubicBezTo>
                  <a:pt x="6906" y="1094"/>
                  <a:pt x="6844" y="1125"/>
                  <a:pt x="6844" y="1063"/>
                </a:cubicBezTo>
                <a:cubicBezTo>
                  <a:pt x="6844" y="1000"/>
                  <a:pt x="6906" y="1032"/>
                  <a:pt x="6937" y="1032"/>
                </a:cubicBezTo>
                <a:cubicBezTo>
                  <a:pt x="7375" y="1032"/>
                  <a:pt x="7812" y="1032"/>
                  <a:pt x="8250" y="1032"/>
                </a:cubicBezTo>
                <a:cubicBezTo>
                  <a:pt x="9156" y="1063"/>
                  <a:pt x="10062" y="1094"/>
                  <a:pt x="10969" y="1094"/>
                </a:cubicBezTo>
                <a:cubicBezTo>
                  <a:pt x="11000" y="1094"/>
                  <a:pt x="11031" y="1094"/>
                  <a:pt x="11062" y="1157"/>
                </a:cubicBezTo>
                <a:cubicBezTo>
                  <a:pt x="10250" y="1157"/>
                  <a:pt x="9500" y="1157"/>
                  <a:pt x="8719" y="1125"/>
                </a:cubicBezTo>
                <a:close/>
                <a:moveTo>
                  <a:pt x="6719" y="532"/>
                </a:moveTo>
                <a:cubicBezTo>
                  <a:pt x="7125" y="563"/>
                  <a:pt x="7562" y="563"/>
                  <a:pt x="8000" y="563"/>
                </a:cubicBezTo>
                <a:cubicBezTo>
                  <a:pt x="8312" y="563"/>
                  <a:pt x="8625" y="563"/>
                  <a:pt x="8937" y="563"/>
                </a:cubicBezTo>
                <a:cubicBezTo>
                  <a:pt x="8937" y="563"/>
                  <a:pt x="8937" y="563"/>
                  <a:pt x="8937" y="594"/>
                </a:cubicBezTo>
                <a:cubicBezTo>
                  <a:pt x="9687" y="594"/>
                  <a:pt x="10406" y="594"/>
                  <a:pt x="11156" y="594"/>
                </a:cubicBezTo>
                <a:cubicBezTo>
                  <a:pt x="11281" y="594"/>
                  <a:pt x="11281" y="594"/>
                  <a:pt x="11281" y="750"/>
                </a:cubicBezTo>
                <a:cubicBezTo>
                  <a:pt x="11281" y="875"/>
                  <a:pt x="11250" y="875"/>
                  <a:pt x="11156" y="875"/>
                </a:cubicBezTo>
                <a:cubicBezTo>
                  <a:pt x="10219" y="844"/>
                  <a:pt x="9250" y="844"/>
                  <a:pt x="8312" y="813"/>
                </a:cubicBezTo>
                <a:cubicBezTo>
                  <a:pt x="7937" y="813"/>
                  <a:pt x="7562" y="813"/>
                  <a:pt x="7187" y="813"/>
                </a:cubicBezTo>
                <a:cubicBezTo>
                  <a:pt x="7031" y="813"/>
                  <a:pt x="6844" y="782"/>
                  <a:pt x="6687" y="782"/>
                </a:cubicBezTo>
                <a:cubicBezTo>
                  <a:pt x="6594" y="782"/>
                  <a:pt x="6625" y="688"/>
                  <a:pt x="6625" y="657"/>
                </a:cubicBezTo>
                <a:cubicBezTo>
                  <a:pt x="6594" y="563"/>
                  <a:pt x="6625" y="532"/>
                  <a:pt x="6719" y="532"/>
                </a:cubicBezTo>
                <a:close/>
                <a:moveTo>
                  <a:pt x="6719" y="844"/>
                </a:moveTo>
                <a:cubicBezTo>
                  <a:pt x="6937" y="875"/>
                  <a:pt x="7187" y="875"/>
                  <a:pt x="7437" y="875"/>
                </a:cubicBezTo>
                <a:cubicBezTo>
                  <a:pt x="8344" y="875"/>
                  <a:pt x="9250" y="907"/>
                  <a:pt x="10125" y="907"/>
                </a:cubicBezTo>
                <a:cubicBezTo>
                  <a:pt x="10469" y="907"/>
                  <a:pt x="10812" y="938"/>
                  <a:pt x="11125" y="938"/>
                </a:cubicBezTo>
                <a:cubicBezTo>
                  <a:pt x="11156" y="938"/>
                  <a:pt x="11219" y="938"/>
                  <a:pt x="11187" y="969"/>
                </a:cubicBezTo>
                <a:cubicBezTo>
                  <a:pt x="11187" y="1000"/>
                  <a:pt x="11187" y="1032"/>
                  <a:pt x="11125" y="1032"/>
                </a:cubicBezTo>
                <a:cubicBezTo>
                  <a:pt x="11094" y="1063"/>
                  <a:pt x="11031" y="1063"/>
                  <a:pt x="11000" y="1063"/>
                </a:cubicBezTo>
                <a:cubicBezTo>
                  <a:pt x="11000" y="1032"/>
                  <a:pt x="11000" y="1032"/>
                  <a:pt x="11000" y="1032"/>
                </a:cubicBezTo>
                <a:cubicBezTo>
                  <a:pt x="10250" y="1032"/>
                  <a:pt x="9500" y="1032"/>
                  <a:pt x="8781" y="1000"/>
                </a:cubicBezTo>
                <a:cubicBezTo>
                  <a:pt x="8219" y="969"/>
                  <a:pt x="7687" y="969"/>
                  <a:pt x="7156" y="969"/>
                </a:cubicBezTo>
                <a:cubicBezTo>
                  <a:pt x="7000" y="969"/>
                  <a:pt x="6844" y="938"/>
                  <a:pt x="6687" y="938"/>
                </a:cubicBezTo>
                <a:cubicBezTo>
                  <a:pt x="6656" y="938"/>
                  <a:pt x="6594" y="969"/>
                  <a:pt x="6594" y="907"/>
                </a:cubicBezTo>
                <a:cubicBezTo>
                  <a:pt x="6594" y="844"/>
                  <a:pt x="6656" y="844"/>
                  <a:pt x="6719" y="844"/>
                </a:cubicBezTo>
                <a:close/>
                <a:moveTo>
                  <a:pt x="6656" y="1000"/>
                </a:moveTo>
                <a:cubicBezTo>
                  <a:pt x="6687" y="1000"/>
                  <a:pt x="6719" y="969"/>
                  <a:pt x="6719" y="1032"/>
                </a:cubicBezTo>
                <a:cubicBezTo>
                  <a:pt x="6719" y="1063"/>
                  <a:pt x="6687" y="1094"/>
                  <a:pt x="6656" y="1094"/>
                </a:cubicBezTo>
                <a:cubicBezTo>
                  <a:pt x="6625" y="1094"/>
                  <a:pt x="6594" y="1094"/>
                  <a:pt x="6594" y="1032"/>
                </a:cubicBezTo>
                <a:cubicBezTo>
                  <a:pt x="6594" y="1000"/>
                  <a:pt x="6625" y="1000"/>
                  <a:pt x="6656" y="1000"/>
                </a:cubicBezTo>
                <a:close/>
                <a:moveTo>
                  <a:pt x="1844" y="1000"/>
                </a:moveTo>
                <a:cubicBezTo>
                  <a:pt x="1719" y="1000"/>
                  <a:pt x="1687" y="969"/>
                  <a:pt x="1719" y="875"/>
                </a:cubicBezTo>
                <a:cubicBezTo>
                  <a:pt x="1719" y="875"/>
                  <a:pt x="1719" y="844"/>
                  <a:pt x="1719" y="844"/>
                </a:cubicBezTo>
                <a:cubicBezTo>
                  <a:pt x="1781" y="813"/>
                  <a:pt x="1844" y="844"/>
                  <a:pt x="1906" y="844"/>
                </a:cubicBezTo>
                <a:cubicBezTo>
                  <a:pt x="1937" y="844"/>
                  <a:pt x="1969" y="907"/>
                  <a:pt x="1969" y="938"/>
                </a:cubicBezTo>
                <a:cubicBezTo>
                  <a:pt x="1969" y="1063"/>
                  <a:pt x="1875" y="1000"/>
                  <a:pt x="1844" y="1000"/>
                </a:cubicBezTo>
                <a:close/>
                <a:moveTo>
                  <a:pt x="1750" y="719"/>
                </a:moveTo>
                <a:cubicBezTo>
                  <a:pt x="1750" y="719"/>
                  <a:pt x="1750" y="719"/>
                  <a:pt x="1750" y="719"/>
                </a:cubicBezTo>
                <a:cubicBezTo>
                  <a:pt x="1750" y="719"/>
                  <a:pt x="1750" y="719"/>
                  <a:pt x="1750" y="719"/>
                </a:cubicBezTo>
                <a:close/>
                <a:moveTo>
                  <a:pt x="2219" y="1032"/>
                </a:moveTo>
                <a:cubicBezTo>
                  <a:pt x="2062" y="1032"/>
                  <a:pt x="2062" y="1032"/>
                  <a:pt x="2062" y="907"/>
                </a:cubicBezTo>
                <a:cubicBezTo>
                  <a:pt x="2031" y="875"/>
                  <a:pt x="2031" y="844"/>
                  <a:pt x="2031" y="844"/>
                </a:cubicBezTo>
                <a:cubicBezTo>
                  <a:pt x="2062" y="813"/>
                  <a:pt x="2062" y="875"/>
                  <a:pt x="2062" y="875"/>
                </a:cubicBezTo>
                <a:cubicBezTo>
                  <a:pt x="2125" y="907"/>
                  <a:pt x="2156" y="938"/>
                  <a:pt x="2219" y="938"/>
                </a:cubicBezTo>
                <a:cubicBezTo>
                  <a:pt x="2250" y="938"/>
                  <a:pt x="2281" y="938"/>
                  <a:pt x="2281" y="1000"/>
                </a:cubicBezTo>
                <a:cubicBezTo>
                  <a:pt x="2281" y="1032"/>
                  <a:pt x="2250" y="1032"/>
                  <a:pt x="2219" y="1032"/>
                </a:cubicBezTo>
                <a:close/>
                <a:moveTo>
                  <a:pt x="2219" y="844"/>
                </a:moveTo>
                <a:cubicBezTo>
                  <a:pt x="2250" y="782"/>
                  <a:pt x="2281" y="813"/>
                  <a:pt x="2312" y="813"/>
                </a:cubicBezTo>
                <a:cubicBezTo>
                  <a:pt x="3000" y="813"/>
                  <a:pt x="3687" y="813"/>
                  <a:pt x="4344" y="813"/>
                </a:cubicBezTo>
                <a:cubicBezTo>
                  <a:pt x="4344" y="813"/>
                  <a:pt x="4344" y="844"/>
                  <a:pt x="4344" y="844"/>
                </a:cubicBezTo>
                <a:cubicBezTo>
                  <a:pt x="5031" y="844"/>
                  <a:pt x="5687" y="844"/>
                  <a:pt x="6375" y="844"/>
                </a:cubicBezTo>
                <a:cubicBezTo>
                  <a:pt x="6375" y="844"/>
                  <a:pt x="6406" y="844"/>
                  <a:pt x="6437" y="844"/>
                </a:cubicBezTo>
                <a:cubicBezTo>
                  <a:pt x="6469" y="844"/>
                  <a:pt x="6500" y="875"/>
                  <a:pt x="6500" y="907"/>
                </a:cubicBezTo>
                <a:cubicBezTo>
                  <a:pt x="6500" y="938"/>
                  <a:pt x="6469" y="938"/>
                  <a:pt x="6437" y="938"/>
                </a:cubicBezTo>
                <a:cubicBezTo>
                  <a:pt x="6219" y="938"/>
                  <a:pt x="5969" y="938"/>
                  <a:pt x="5750" y="938"/>
                </a:cubicBezTo>
                <a:cubicBezTo>
                  <a:pt x="5562" y="907"/>
                  <a:pt x="5375" y="907"/>
                  <a:pt x="5156" y="907"/>
                </a:cubicBezTo>
                <a:cubicBezTo>
                  <a:pt x="4844" y="938"/>
                  <a:pt x="4500" y="907"/>
                  <a:pt x="4156" y="907"/>
                </a:cubicBezTo>
                <a:cubicBezTo>
                  <a:pt x="3875" y="907"/>
                  <a:pt x="3594" y="907"/>
                  <a:pt x="3312" y="907"/>
                </a:cubicBezTo>
                <a:cubicBezTo>
                  <a:pt x="2969" y="907"/>
                  <a:pt x="2656" y="907"/>
                  <a:pt x="2312" y="875"/>
                </a:cubicBezTo>
                <a:cubicBezTo>
                  <a:pt x="2281" y="875"/>
                  <a:pt x="2219" y="907"/>
                  <a:pt x="2219" y="844"/>
                </a:cubicBezTo>
                <a:close/>
                <a:moveTo>
                  <a:pt x="6406" y="1063"/>
                </a:moveTo>
                <a:cubicBezTo>
                  <a:pt x="5719" y="1063"/>
                  <a:pt x="5000" y="1063"/>
                  <a:pt x="4281" y="1063"/>
                </a:cubicBezTo>
                <a:cubicBezTo>
                  <a:pt x="3687" y="1032"/>
                  <a:pt x="3094" y="1032"/>
                  <a:pt x="2469" y="1032"/>
                </a:cubicBezTo>
                <a:cubicBezTo>
                  <a:pt x="2469" y="1032"/>
                  <a:pt x="2437" y="1032"/>
                  <a:pt x="2406" y="1032"/>
                </a:cubicBezTo>
                <a:cubicBezTo>
                  <a:pt x="2375" y="1032"/>
                  <a:pt x="2375" y="1000"/>
                  <a:pt x="2375" y="969"/>
                </a:cubicBezTo>
                <a:cubicBezTo>
                  <a:pt x="2375" y="969"/>
                  <a:pt x="2375" y="938"/>
                  <a:pt x="2406" y="938"/>
                </a:cubicBezTo>
                <a:cubicBezTo>
                  <a:pt x="2437" y="938"/>
                  <a:pt x="2469" y="938"/>
                  <a:pt x="2500" y="938"/>
                </a:cubicBezTo>
                <a:cubicBezTo>
                  <a:pt x="3031" y="938"/>
                  <a:pt x="3562" y="938"/>
                  <a:pt x="4094" y="938"/>
                </a:cubicBezTo>
                <a:cubicBezTo>
                  <a:pt x="4094" y="938"/>
                  <a:pt x="4094" y="969"/>
                  <a:pt x="4094" y="969"/>
                </a:cubicBezTo>
                <a:cubicBezTo>
                  <a:pt x="4625" y="969"/>
                  <a:pt x="5156" y="969"/>
                  <a:pt x="5687" y="969"/>
                </a:cubicBezTo>
                <a:cubicBezTo>
                  <a:pt x="5937" y="969"/>
                  <a:pt x="6187" y="1000"/>
                  <a:pt x="6437" y="1000"/>
                </a:cubicBezTo>
                <a:cubicBezTo>
                  <a:pt x="6437" y="1000"/>
                  <a:pt x="6500" y="1000"/>
                  <a:pt x="6500" y="1032"/>
                </a:cubicBezTo>
                <a:cubicBezTo>
                  <a:pt x="6500" y="1094"/>
                  <a:pt x="6437" y="1063"/>
                  <a:pt x="6406" y="1063"/>
                </a:cubicBezTo>
                <a:close/>
                <a:moveTo>
                  <a:pt x="1937" y="594"/>
                </a:moveTo>
                <a:cubicBezTo>
                  <a:pt x="1937" y="532"/>
                  <a:pt x="1969" y="500"/>
                  <a:pt x="2031" y="500"/>
                </a:cubicBezTo>
                <a:cubicBezTo>
                  <a:pt x="3031" y="500"/>
                  <a:pt x="4031" y="500"/>
                  <a:pt x="5031" y="500"/>
                </a:cubicBezTo>
                <a:cubicBezTo>
                  <a:pt x="5469" y="532"/>
                  <a:pt x="5937" y="532"/>
                  <a:pt x="6375" y="532"/>
                </a:cubicBezTo>
                <a:cubicBezTo>
                  <a:pt x="6500" y="532"/>
                  <a:pt x="6562" y="625"/>
                  <a:pt x="6500" y="750"/>
                </a:cubicBezTo>
                <a:cubicBezTo>
                  <a:pt x="6469" y="782"/>
                  <a:pt x="6437" y="782"/>
                  <a:pt x="6406" y="782"/>
                </a:cubicBezTo>
                <a:cubicBezTo>
                  <a:pt x="5937" y="782"/>
                  <a:pt x="5437" y="782"/>
                  <a:pt x="4969" y="782"/>
                </a:cubicBezTo>
                <a:cubicBezTo>
                  <a:pt x="4094" y="782"/>
                  <a:pt x="3219" y="750"/>
                  <a:pt x="2312" y="750"/>
                </a:cubicBezTo>
                <a:cubicBezTo>
                  <a:pt x="2156" y="750"/>
                  <a:pt x="2000" y="750"/>
                  <a:pt x="1844" y="750"/>
                </a:cubicBezTo>
                <a:cubicBezTo>
                  <a:pt x="1812" y="750"/>
                  <a:pt x="1812" y="719"/>
                  <a:pt x="1812" y="719"/>
                </a:cubicBezTo>
                <a:cubicBezTo>
                  <a:pt x="1906" y="719"/>
                  <a:pt x="1937" y="688"/>
                  <a:pt x="1937" y="594"/>
                </a:cubicBezTo>
                <a:close/>
                <a:moveTo>
                  <a:pt x="1781" y="219"/>
                </a:moveTo>
                <a:cubicBezTo>
                  <a:pt x="1875" y="219"/>
                  <a:pt x="1875" y="250"/>
                  <a:pt x="1875" y="344"/>
                </a:cubicBezTo>
                <a:cubicBezTo>
                  <a:pt x="1875" y="375"/>
                  <a:pt x="1906" y="407"/>
                  <a:pt x="1844" y="438"/>
                </a:cubicBezTo>
                <a:cubicBezTo>
                  <a:pt x="1781" y="438"/>
                  <a:pt x="1719" y="344"/>
                  <a:pt x="1687" y="313"/>
                </a:cubicBezTo>
                <a:cubicBezTo>
                  <a:pt x="1687" y="219"/>
                  <a:pt x="1750" y="219"/>
                  <a:pt x="1781" y="219"/>
                </a:cubicBezTo>
                <a:close/>
                <a:moveTo>
                  <a:pt x="1812" y="500"/>
                </a:moveTo>
                <a:cubicBezTo>
                  <a:pt x="1844" y="500"/>
                  <a:pt x="1875" y="532"/>
                  <a:pt x="1844" y="594"/>
                </a:cubicBezTo>
                <a:cubicBezTo>
                  <a:pt x="1844" y="625"/>
                  <a:pt x="1844" y="688"/>
                  <a:pt x="1812" y="688"/>
                </a:cubicBezTo>
                <a:cubicBezTo>
                  <a:pt x="1750" y="657"/>
                  <a:pt x="1687" y="657"/>
                  <a:pt x="1687" y="563"/>
                </a:cubicBezTo>
                <a:cubicBezTo>
                  <a:pt x="1719" y="500"/>
                  <a:pt x="1750" y="500"/>
                  <a:pt x="1812" y="50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2DCB8F-4FD3-B44E-9061-5E3609123A55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5B294B95-F05E-DA4E-A653-E11222804D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296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A5509FB1-8DFE-8C45-98B3-2C2D5616CA83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0" y="1"/>
            <a:ext cx="24385588" cy="13717588"/>
          </a:xfrm>
          <a:custGeom>
            <a:avLst/>
            <a:gdLst>
              <a:gd name="T0" fmla="*/ 2092 w 3326"/>
              <a:gd name="T1" fmla="*/ 1220 h 1869"/>
              <a:gd name="T2" fmla="*/ 2095 w 3326"/>
              <a:gd name="T3" fmla="*/ 1227 h 1869"/>
              <a:gd name="T4" fmla="*/ 1826 w 3326"/>
              <a:gd name="T5" fmla="*/ 1397 h 1869"/>
              <a:gd name="T6" fmla="*/ 1821 w 3326"/>
              <a:gd name="T7" fmla="*/ 1369 h 1869"/>
              <a:gd name="T8" fmla="*/ 1910 w 3326"/>
              <a:gd name="T9" fmla="*/ 1396 h 1869"/>
              <a:gd name="T10" fmla="*/ 1886 w 3326"/>
              <a:gd name="T11" fmla="*/ 1553 h 1869"/>
              <a:gd name="T12" fmla="*/ 1881 w 3326"/>
              <a:gd name="T13" fmla="*/ 1446 h 1869"/>
              <a:gd name="T14" fmla="*/ 1873 w 3326"/>
              <a:gd name="T15" fmla="*/ 1533 h 1869"/>
              <a:gd name="T16" fmla="*/ 2284 w 3326"/>
              <a:gd name="T17" fmla="*/ 1588 h 1869"/>
              <a:gd name="T18" fmla="*/ 1974 w 3326"/>
              <a:gd name="T19" fmla="*/ 1221 h 1869"/>
              <a:gd name="T20" fmla="*/ 2086 w 3326"/>
              <a:gd name="T21" fmla="*/ 117 h 1869"/>
              <a:gd name="T22" fmla="*/ 1970 w 3326"/>
              <a:gd name="T23" fmla="*/ 528 h 1869"/>
              <a:gd name="T24" fmla="*/ 1868 w 3326"/>
              <a:gd name="T25" fmla="*/ 1258 h 1869"/>
              <a:gd name="T26" fmla="*/ 1907 w 3326"/>
              <a:gd name="T27" fmla="*/ 1273 h 1869"/>
              <a:gd name="T28" fmla="*/ 1739 w 3326"/>
              <a:gd name="T29" fmla="*/ 1454 h 1869"/>
              <a:gd name="T30" fmla="*/ 1500 w 3326"/>
              <a:gd name="T31" fmla="*/ 1398 h 1869"/>
              <a:gd name="T32" fmla="*/ 1123 w 3326"/>
              <a:gd name="T33" fmla="*/ 1434 h 1869"/>
              <a:gd name="T34" fmla="*/ 699 w 3326"/>
              <a:gd name="T35" fmla="*/ 1323 h 1869"/>
              <a:gd name="T36" fmla="*/ 178 w 3326"/>
              <a:gd name="T37" fmla="*/ 1419 h 1869"/>
              <a:gd name="T38" fmla="*/ 2895 w 3326"/>
              <a:gd name="T39" fmla="*/ 1546 h 1869"/>
              <a:gd name="T40" fmla="*/ 2364 w 3326"/>
              <a:gd name="T41" fmla="*/ 1393 h 1869"/>
              <a:gd name="T42" fmla="*/ 2447 w 3326"/>
              <a:gd name="T43" fmla="*/ 1549 h 1869"/>
              <a:gd name="T44" fmla="*/ 2400 w 3326"/>
              <a:gd name="T45" fmla="*/ 1507 h 1869"/>
              <a:gd name="T46" fmla="*/ 1824 w 3326"/>
              <a:gd name="T47" fmla="*/ 1837 h 1869"/>
              <a:gd name="T48" fmla="*/ 1786 w 3326"/>
              <a:gd name="T49" fmla="*/ 1827 h 1869"/>
              <a:gd name="T50" fmla="*/ 1750 w 3326"/>
              <a:gd name="T51" fmla="*/ 1476 h 1869"/>
              <a:gd name="T52" fmla="*/ 1850 w 3326"/>
              <a:gd name="T53" fmla="*/ 1484 h 1869"/>
              <a:gd name="T54" fmla="*/ 1958 w 3326"/>
              <a:gd name="T55" fmla="*/ 1322 h 1869"/>
              <a:gd name="T56" fmla="*/ 1920 w 3326"/>
              <a:gd name="T57" fmla="*/ 980 h 1869"/>
              <a:gd name="T58" fmla="*/ 1973 w 3326"/>
              <a:gd name="T59" fmla="*/ 689 h 1869"/>
              <a:gd name="T60" fmla="*/ 1990 w 3326"/>
              <a:gd name="T61" fmla="*/ 460 h 1869"/>
              <a:gd name="T62" fmla="*/ 1945 w 3326"/>
              <a:gd name="T63" fmla="*/ 878 h 1869"/>
              <a:gd name="T64" fmla="*/ 1993 w 3326"/>
              <a:gd name="T65" fmla="*/ 515 h 1869"/>
              <a:gd name="T66" fmla="*/ 1983 w 3326"/>
              <a:gd name="T67" fmla="*/ 601 h 1869"/>
              <a:gd name="T68" fmla="*/ 2001 w 3326"/>
              <a:gd name="T69" fmla="*/ 862 h 1869"/>
              <a:gd name="T70" fmla="*/ 1959 w 3326"/>
              <a:gd name="T71" fmla="*/ 920 h 1869"/>
              <a:gd name="T72" fmla="*/ 1992 w 3326"/>
              <a:gd name="T73" fmla="*/ 1248 h 1869"/>
              <a:gd name="T74" fmla="*/ 1972 w 3326"/>
              <a:gd name="T75" fmla="*/ 723 h 1869"/>
              <a:gd name="T76" fmla="*/ 1996 w 3326"/>
              <a:gd name="T77" fmla="*/ 1546 h 1869"/>
              <a:gd name="T78" fmla="*/ 2039 w 3326"/>
              <a:gd name="T79" fmla="*/ 1175 h 1869"/>
              <a:gd name="T80" fmla="*/ 2084 w 3326"/>
              <a:gd name="T81" fmla="*/ 346 h 1869"/>
              <a:gd name="T82" fmla="*/ 2139 w 3326"/>
              <a:gd name="T83" fmla="*/ 830 h 1869"/>
              <a:gd name="T84" fmla="*/ 2066 w 3326"/>
              <a:gd name="T85" fmla="*/ 723 h 1869"/>
              <a:gd name="T86" fmla="*/ 2118 w 3326"/>
              <a:gd name="T87" fmla="*/ 863 h 1869"/>
              <a:gd name="T88" fmla="*/ 2113 w 3326"/>
              <a:gd name="T89" fmla="*/ 751 h 1869"/>
              <a:gd name="T90" fmla="*/ 2082 w 3326"/>
              <a:gd name="T91" fmla="*/ 602 h 1869"/>
              <a:gd name="T92" fmla="*/ 2139 w 3326"/>
              <a:gd name="T93" fmla="*/ 924 h 1869"/>
              <a:gd name="T94" fmla="*/ 2069 w 3326"/>
              <a:gd name="T95" fmla="*/ 1266 h 1869"/>
              <a:gd name="T96" fmla="*/ 2092 w 3326"/>
              <a:gd name="T97" fmla="*/ 1588 h 1869"/>
              <a:gd name="T98" fmla="*/ 2184 w 3326"/>
              <a:gd name="T99" fmla="*/ 1170 h 1869"/>
              <a:gd name="T100" fmla="*/ 2163 w 3326"/>
              <a:gd name="T101" fmla="*/ 1288 h 1869"/>
              <a:gd name="T102" fmla="*/ 2123 w 3326"/>
              <a:gd name="T103" fmla="*/ 1574 h 1869"/>
              <a:gd name="T104" fmla="*/ 2224 w 3326"/>
              <a:gd name="T105" fmla="*/ 1193 h 1869"/>
              <a:gd name="T106" fmla="*/ 2206 w 3326"/>
              <a:gd name="T107" fmla="*/ 1477 h 1869"/>
              <a:gd name="T108" fmla="*/ 2277 w 3326"/>
              <a:gd name="T109" fmla="*/ 1258 h 1869"/>
              <a:gd name="T110" fmla="*/ 2351 w 3326"/>
              <a:gd name="T111" fmla="*/ 1486 h 1869"/>
              <a:gd name="T112" fmla="*/ 1639 w 3326"/>
              <a:gd name="T113" fmla="*/ 1587 h 1869"/>
              <a:gd name="T114" fmla="*/ 1510 w 3326"/>
              <a:gd name="T115" fmla="*/ 1793 h 1869"/>
              <a:gd name="T116" fmla="*/ 1435 w 3326"/>
              <a:gd name="T117" fmla="*/ 1556 h 1869"/>
              <a:gd name="T118" fmla="*/ 932 w 3326"/>
              <a:gd name="T119" fmla="*/ 1827 h 1869"/>
              <a:gd name="T120" fmla="*/ 670 w 3326"/>
              <a:gd name="T121" fmla="*/ 1757 h 1869"/>
              <a:gd name="T122" fmla="*/ 1750 w 3326"/>
              <a:gd name="T123" fmla="*/ 1386 h 1869"/>
              <a:gd name="T124" fmla="*/ 1867 w 3326"/>
              <a:gd name="T125" fmla="*/ 1137 h 1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326" h="1869">
                <a:moveTo>
                  <a:pt x="2204" y="1084"/>
                </a:moveTo>
                <a:lnTo>
                  <a:pt x="2204" y="1084"/>
                </a:lnTo>
                <a:lnTo>
                  <a:pt x="2204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3" y="1084"/>
                </a:lnTo>
                <a:lnTo>
                  <a:pt x="2202" y="1083"/>
                </a:lnTo>
                <a:lnTo>
                  <a:pt x="2202" y="1082"/>
                </a:lnTo>
                <a:lnTo>
                  <a:pt x="2202" y="1080"/>
                </a:lnTo>
                <a:lnTo>
                  <a:pt x="2203" y="1079"/>
                </a:lnTo>
                <a:lnTo>
                  <a:pt x="2203" y="1082"/>
                </a:lnTo>
                <a:lnTo>
                  <a:pt x="2204" y="1084"/>
                </a:lnTo>
                <a:lnTo>
                  <a:pt x="2206" y="1085"/>
                </a:lnTo>
                <a:lnTo>
                  <a:pt x="2207" y="1088"/>
                </a:lnTo>
                <a:lnTo>
                  <a:pt x="2209" y="1096"/>
                </a:lnTo>
                <a:lnTo>
                  <a:pt x="2213" y="1105"/>
                </a:lnTo>
                <a:lnTo>
                  <a:pt x="2216" y="1113"/>
                </a:lnTo>
                <a:lnTo>
                  <a:pt x="2219" y="1121"/>
                </a:lnTo>
                <a:lnTo>
                  <a:pt x="2213" y="1117"/>
                </a:lnTo>
                <a:lnTo>
                  <a:pt x="2208" y="1113"/>
                </a:lnTo>
                <a:lnTo>
                  <a:pt x="2205" y="1108"/>
                </a:lnTo>
                <a:lnTo>
                  <a:pt x="2203" y="1105"/>
                </a:lnTo>
                <a:lnTo>
                  <a:pt x="2202" y="1100"/>
                </a:lnTo>
                <a:lnTo>
                  <a:pt x="2202" y="1095"/>
                </a:lnTo>
                <a:lnTo>
                  <a:pt x="2202" y="1090"/>
                </a:lnTo>
                <a:lnTo>
                  <a:pt x="2203" y="1084"/>
                </a:lnTo>
                <a:lnTo>
                  <a:pt x="2203" y="1084"/>
                </a:lnTo>
                <a:lnTo>
                  <a:pt x="2204" y="1084"/>
                </a:lnTo>
                <a:lnTo>
                  <a:pt x="2203" y="1084"/>
                </a:lnTo>
                <a:lnTo>
                  <a:pt x="2204" y="1084"/>
                </a:lnTo>
                <a:close/>
                <a:moveTo>
                  <a:pt x="2131" y="910"/>
                </a:moveTo>
                <a:lnTo>
                  <a:pt x="2130" y="911"/>
                </a:lnTo>
                <a:lnTo>
                  <a:pt x="2129" y="911"/>
                </a:lnTo>
                <a:lnTo>
                  <a:pt x="2129" y="914"/>
                </a:lnTo>
                <a:lnTo>
                  <a:pt x="2131" y="916"/>
                </a:lnTo>
                <a:lnTo>
                  <a:pt x="2132" y="915"/>
                </a:lnTo>
                <a:lnTo>
                  <a:pt x="2133" y="914"/>
                </a:lnTo>
                <a:lnTo>
                  <a:pt x="2133" y="911"/>
                </a:lnTo>
                <a:lnTo>
                  <a:pt x="2131" y="910"/>
                </a:lnTo>
                <a:close/>
                <a:moveTo>
                  <a:pt x="2137" y="1577"/>
                </a:moveTo>
                <a:lnTo>
                  <a:pt x="2134" y="1577"/>
                </a:lnTo>
                <a:lnTo>
                  <a:pt x="2133" y="1579"/>
                </a:lnTo>
                <a:lnTo>
                  <a:pt x="2133" y="1580"/>
                </a:lnTo>
                <a:lnTo>
                  <a:pt x="2133" y="1582"/>
                </a:lnTo>
                <a:lnTo>
                  <a:pt x="2133" y="1584"/>
                </a:lnTo>
                <a:lnTo>
                  <a:pt x="2133" y="1585"/>
                </a:lnTo>
                <a:lnTo>
                  <a:pt x="2135" y="1585"/>
                </a:lnTo>
                <a:lnTo>
                  <a:pt x="2137" y="1585"/>
                </a:lnTo>
                <a:lnTo>
                  <a:pt x="2139" y="1585"/>
                </a:lnTo>
                <a:lnTo>
                  <a:pt x="2141" y="1585"/>
                </a:lnTo>
                <a:lnTo>
                  <a:pt x="2142" y="1583"/>
                </a:lnTo>
                <a:lnTo>
                  <a:pt x="2142" y="1581"/>
                </a:lnTo>
                <a:lnTo>
                  <a:pt x="2141" y="1578"/>
                </a:lnTo>
                <a:lnTo>
                  <a:pt x="2137" y="1577"/>
                </a:lnTo>
                <a:close/>
                <a:moveTo>
                  <a:pt x="2148" y="1579"/>
                </a:moveTo>
                <a:lnTo>
                  <a:pt x="2146" y="1579"/>
                </a:lnTo>
                <a:lnTo>
                  <a:pt x="2145" y="1580"/>
                </a:lnTo>
                <a:lnTo>
                  <a:pt x="2144" y="1581"/>
                </a:lnTo>
                <a:lnTo>
                  <a:pt x="2144" y="1582"/>
                </a:lnTo>
                <a:lnTo>
                  <a:pt x="2144" y="1584"/>
                </a:lnTo>
                <a:lnTo>
                  <a:pt x="2144" y="1587"/>
                </a:lnTo>
                <a:lnTo>
                  <a:pt x="2146" y="1589"/>
                </a:lnTo>
                <a:lnTo>
                  <a:pt x="2148" y="1589"/>
                </a:lnTo>
                <a:lnTo>
                  <a:pt x="2150" y="1588"/>
                </a:lnTo>
                <a:lnTo>
                  <a:pt x="2153" y="1588"/>
                </a:lnTo>
                <a:lnTo>
                  <a:pt x="2153" y="1587"/>
                </a:lnTo>
                <a:lnTo>
                  <a:pt x="2153" y="1584"/>
                </a:lnTo>
                <a:lnTo>
                  <a:pt x="2153" y="1582"/>
                </a:lnTo>
                <a:lnTo>
                  <a:pt x="2153" y="1580"/>
                </a:lnTo>
                <a:lnTo>
                  <a:pt x="2152" y="1579"/>
                </a:lnTo>
                <a:lnTo>
                  <a:pt x="2148" y="1579"/>
                </a:lnTo>
                <a:close/>
                <a:moveTo>
                  <a:pt x="1988" y="1551"/>
                </a:moveTo>
                <a:lnTo>
                  <a:pt x="1988" y="1553"/>
                </a:lnTo>
                <a:lnTo>
                  <a:pt x="1989" y="1554"/>
                </a:lnTo>
                <a:lnTo>
                  <a:pt x="1991" y="1556"/>
                </a:lnTo>
                <a:lnTo>
                  <a:pt x="1992" y="1556"/>
                </a:lnTo>
                <a:lnTo>
                  <a:pt x="1992" y="1553"/>
                </a:lnTo>
                <a:lnTo>
                  <a:pt x="1991" y="1552"/>
                </a:lnTo>
                <a:lnTo>
                  <a:pt x="1990" y="1552"/>
                </a:lnTo>
                <a:lnTo>
                  <a:pt x="1988" y="1551"/>
                </a:lnTo>
                <a:close/>
                <a:moveTo>
                  <a:pt x="2129" y="1517"/>
                </a:moveTo>
                <a:lnTo>
                  <a:pt x="2131" y="1517"/>
                </a:lnTo>
                <a:lnTo>
                  <a:pt x="2132" y="1514"/>
                </a:lnTo>
                <a:lnTo>
                  <a:pt x="2131" y="1513"/>
                </a:lnTo>
                <a:lnTo>
                  <a:pt x="2130" y="1511"/>
                </a:lnTo>
                <a:lnTo>
                  <a:pt x="2129" y="1509"/>
                </a:lnTo>
                <a:lnTo>
                  <a:pt x="2127" y="1509"/>
                </a:lnTo>
                <a:lnTo>
                  <a:pt x="2125" y="1511"/>
                </a:lnTo>
                <a:lnTo>
                  <a:pt x="2124" y="1513"/>
                </a:lnTo>
                <a:lnTo>
                  <a:pt x="2125" y="1515"/>
                </a:lnTo>
                <a:lnTo>
                  <a:pt x="2126" y="1516"/>
                </a:lnTo>
                <a:lnTo>
                  <a:pt x="2127" y="1517"/>
                </a:lnTo>
                <a:lnTo>
                  <a:pt x="2129" y="1517"/>
                </a:lnTo>
                <a:close/>
                <a:moveTo>
                  <a:pt x="2139" y="1521"/>
                </a:moveTo>
                <a:lnTo>
                  <a:pt x="2141" y="1521"/>
                </a:lnTo>
                <a:lnTo>
                  <a:pt x="2142" y="1520"/>
                </a:lnTo>
                <a:lnTo>
                  <a:pt x="2143" y="1519"/>
                </a:lnTo>
                <a:lnTo>
                  <a:pt x="2144" y="1517"/>
                </a:lnTo>
                <a:lnTo>
                  <a:pt x="2143" y="1516"/>
                </a:lnTo>
                <a:lnTo>
                  <a:pt x="2143" y="1515"/>
                </a:lnTo>
                <a:lnTo>
                  <a:pt x="2142" y="1514"/>
                </a:lnTo>
                <a:lnTo>
                  <a:pt x="2140" y="1514"/>
                </a:lnTo>
                <a:lnTo>
                  <a:pt x="2138" y="1515"/>
                </a:lnTo>
                <a:lnTo>
                  <a:pt x="2137" y="1515"/>
                </a:lnTo>
                <a:lnTo>
                  <a:pt x="2135" y="1516"/>
                </a:lnTo>
                <a:lnTo>
                  <a:pt x="2135" y="1518"/>
                </a:lnTo>
                <a:lnTo>
                  <a:pt x="2135" y="1519"/>
                </a:lnTo>
                <a:lnTo>
                  <a:pt x="2135" y="1520"/>
                </a:lnTo>
                <a:lnTo>
                  <a:pt x="2137" y="1521"/>
                </a:lnTo>
                <a:lnTo>
                  <a:pt x="2139" y="1521"/>
                </a:lnTo>
                <a:close/>
                <a:moveTo>
                  <a:pt x="2082" y="1558"/>
                </a:moveTo>
                <a:lnTo>
                  <a:pt x="2083" y="1561"/>
                </a:lnTo>
                <a:lnTo>
                  <a:pt x="2084" y="1564"/>
                </a:lnTo>
                <a:lnTo>
                  <a:pt x="2085" y="1562"/>
                </a:lnTo>
                <a:lnTo>
                  <a:pt x="2086" y="1561"/>
                </a:lnTo>
                <a:lnTo>
                  <a:pt x="2085" y="1559"/>
                </a:lnTo>
                <a:lnTo>
                  <a:pt x="2082" y="1558"/>
                </a:lnTo>
                <a:close/>
                <a:moveTo>
                  <a:pt x="2097" y="1169"/>
                </a:moveTo>
                <a:lnTo>
                  <a:pt x="2095" y="1170"/>
                </a:lnTo>
                <a:lnTo>
                  <a:pt x="2092" y="1170"/>
                </a:lnTo>
                <a:lnTo>
                  <a:pt x="2090" y="1170"/>
                </a:lnTo>
                <a:lnTo>
                  <a:pt x="2089" y="1170"/>
                </a:lnTo>
                <a:lnTo>
                  <a:pt x="2088" y="1171"/>
                </a:lnTo>
                <a:lnTo>
                  <a:pt x="2087" y="1174"/>
                </a:lnTo>
                <a:lnTo>
                  <a:pt x="2087" y="1175"/>
                </a:lnTo>
                <a:lnTo>
                  <a:pt x="2087" y="1176"/>
                </a:lnTo>
                <a:lnTo>
                  <a:pt x="2088" y="1177"/>
                </a:lnTo>
                <a:lnTo>
                  <a:pt x="2090" y="1177"/>
                </a:lnTo>
                <a:lnTo>
                  <a:pt x="2093" y="1176"/>
                </a:lnTo>
                <a:lnTo>
                  <a:pt x="2096" y="1175"/>
                </a:lnTo>
                <a:lnTo>
                  <a:pt x="2099" y="1174"/>
                </a:lnTo>
                <a:lnTo>
                  <a:pt x="2100" y="1170"/>
                </a:lnTo>
                <a:lnTo>
                  <a:pt x="2099" y="1169"/>
                </a:lnTo>
                <a:lnTo>
                  <a:pt x="2097" y="1169"/>
                </a:lnTo>
                <a:close/>
                <a:moveTo>
                  <a:pt x="2096" y="1208"/>
                </a:moveTo>
                <a:lnTo>
                  <a:pt x="2096" y="1208"/>
                </a:lnTo>
                <a:lnTo>
                  <a:pt x="2096" y="1210"/>
                </a:lnTo>
                <a:lnTo>
                  <a:pt x="2095" y="1212"/>
                </a:lnTo>
                <a:lnTo>
                  <a:pt x="2094" y="1215"/>
                </a:lnTo>
                <a:lnTo>
                  <a:pt x="2092" y="1220"/>
                </a:lnTo>
                <a:lnTo>
                  <a:pt x="2089" y="1223"/>
                </a:lnTo>
                <a:lnTo>
                  <a:pt x="2085" y="1226"/>
                </a:lnTo>
                <a:lnTo>
                  <a:pt x="2085" y="1230"/>
                </a:lnTo>
                <a:lnTo>
                  <a:pt x="2086" y="1236"/>
                </a:lnTo>
                <a:lnTo>
                  <a:pt x="2085" y="1230"/>
                </a:lnTo>
                <a:lnTo>
                  <a:pt x="2085" y="1226"/>
                </a:lnTo>
                <a:lnTo>
                  <a:pt x="2084" y="1214"/>
                </a:lnTo>
                <a:lnTo>
                  <a:pt x="2083" y="1201"/>
                </a:lnTo>
                <a:lnTo>
                  <a:pt x="2083" y="1190"/>
                </a:lnTo>
                <a:lnTo>
                  <a:pt x="2084" y="1178"/>
                </a:lnTo>
                <a:lnTo>
                  <a:pt x="2082" y="1170"/>
                </a:lnTo>
                <a:lnTo>
                  <a:pt x="2082" y="1163"/>
                </a:lnTo>
                <a:lnTo>
                  <a:pt x="2087" y="1164"/>
                </a:lnTo>
                <a:lnTo>
                  <a:pt x="2093" y="1165"/>
                </a:lnTo>
                <a:lnTo>
                  <a:pt x="2090" y="1161"/>
                </a:lnTo>
                <a:lnTo>
                  <a:pt x="2088" y="1159"/>
                </a:lnTo>
                <a:lnTo>
                  <a:pt x="2084" y="1159"/>
                </a:lnTo>
                <a:lnTo>
                  <a:pt x="2082" y="1157"/>
                </a:lnTo>
                <a:lnTo>
                  <a:pt x="2080" y="1155"/>
                </a:lnTo>
                <a:lnTo>
                  <a:pt x="2080" y="1154"/>
                </a:lnTo>
                <a:lnTo>
                  <a:pt x="2079" y="1149"/>
                </a:lnTo>
                <a:lnTo>
                  <a:pt x="2079" y="1144"/>
                </a:lnTo>
                <a:lnTo>
                  <a:pt x="2079" y="1142"/>
                </a:lnTo>
                <a:lnTo>
                  <a:pt x="2079" y="1141"/>
                </a:lnTo>
                <a:lnTo>
                  <a:pt x="2080" y="1137"/>
                </a:lnTo>
                <a:lnTo>
                  <a:pt x="2082" y="1134"/>
                </a:lnTo>
                <a:lnTo>
                  <a:pt x="2081" y="1131"/>
                </a:lnTo>
                <a:lnTo>
                  <a:pt x="2080" y="1128"/>
                </a:lnTo>
                <a:lnTo>
                  <a:pt x="2081" y="1131"/>
                </a:lnTo>
                <a:lnTo>
                  <a:pt x="2082" y="1134"/>
                </a:lnTo>
                <a:lnTo>
                  <a:pt x="2085" y="1134"/>
                </a:lnTo>
                <a:lnTo>
                  <a:pt x="2087" y="1134"/>
                </a:lnTo>
                <a:lnTo>
                  <a:pt x="2088" y="1137"/>
                </a:lnTo>
                <a:lnTo>
                  <a:pt x="2088" y="1140"/>
                </a:lnTo>
                <a:lnTo>
                  <a:pt x="2090" y="1142"/>
                </a:lnTo>
                <a:lnTo>
                  <a:pt x="2093" y="1145"/>
                </a:lnTo>
                <a:lnTo>
                  <a:pt x="2098" y="1148"/>
                </a:lnTo>
                <a:lnTo>
                  <a:pt x="2102" y="1151"/>
                </a:lnTo>
                <a:lnTo>
                  <a:pt x="2107" y="1155"/>
                </a:lnTo>
                <a:lnTo>
                  <a:pt x="2110" y="1160"/>
                </a:lnTo>
                <a:lnTo>
                  <a:pt x="2109" y="1163"/>
                </a:lnTo>
                <a:lnTo>
                  <a:pt x="2109" y="1165"/>
                </a:lnTo>
                <a:lnTo>
                  <a:pt x="2110" y="1168"/>
                </a:lnTo>
                <a:lnTo>
                  <a:pt x="2112" y="1170"/>
                </a:lnTo>
                <a:lnTo>
                  <a:pt x="2114" y="1175"/>
                </a:lnTo>
                <a:lnTo>
                  <a:pt x="2116" y="1180"/>
                </a:lnTo>
                <a:lnTo>
                  <a:pt x="2117" y="1189"/>
                </a:lnTo>
                <a:lnTo>
                  <a:pt x="2118" y="1198"/>
                </a:lnTo>
                <a:lnTo>
                  <a:pt x="2119" y="1201"/>
                </a:lnTo>
                <a:lnTo>
                  <a:pt x="2120" y="1205"/>
                </a:lnTo>
                <a:lnTo>
                  <a:pt x="2122" y="1211"/>
                </a:lnTo>
                <a:lnTo>
                  <a:pt x="2123" y="1217"/>
                </a:lnTo>
                <a:lnTo>
                  <a:pt x="2122" y="1221"/>
                </a:lnTo>
                <a:lnTo>
                  <a:pt x="2120" y="1224"/>
                </a:lnTo>
                <a:lnTo>
                  <a:pt x="2119" y="1226"/>
                </a:lnTo>
                <a:lnTo>
                  <a:pt x="2117" y="1229"/>
                </a:lnTo>
                <a:lnTo>
                  <a:pt x="2117" y="1232"/>
                </a:lnTo>
                <a:lnTo>
                  <a:pt x="2117" y="1236"/>
                </a:lnTo>
                <a:lnTo>
                  <a:pt x="2117" y="1236"/>
                </a:lnTo>
                <a:lnTo>
                  <a:pt x="2117" y="1237"/>
                </a:lnTo>
                <a:lnTo>
                  <a:pt x="2118" y="1238"/>
                </a:lnTo>
                <a:lnTo>
                  <a:pt x="2118" y="1238"/>
                </a:lnTo>
                <a:lnTo>
                  <a:pt x="2118" y="1238"/>
                </a:lnTo>
                <a:lnTo>
                  <a:pt x="2119" y="1238"/>
                </a:lnTo>
                <a:lnTo>
                  <a:pt x="2120" y="1238"/>
                </a:lnTo>
                <a:lnTo>
                  <a:pt x="2119" y="1238"/>
                </a:lnTo>
                <a:lnTo>
                  <a:pt x="2118" y="1238"/>
                </a:lnTo>
                <a:lnTo>
                  <a:pt x="2118" y="1241"/>
                </a:lnTo>
                <a:lnTo>
                  <a:pt x="2119" y="1244"/>
                </a:lnTo>
                <a:lnTo>
                  <a:pt x="2120" y="1244"/>
                </a:lnTo>
                <a:lnTo>
                  <a:pt x="2122" y="1243"/>
                </a:lnTo>
                <a:lnTo>
                  <a:pt x="2122" y="1241"/>
                </a:lnTo>
                <a:lnTo>
                  <a:pt x="2122" y="1240"/>
                </a:lnTo>
                <a:lnTo>
                  <a:pt x="2124" y="1243"/>
                </a:lnTo>
                <a:lnTo>
                  <a:pt x="2126" y="1247"/>
                </a:lnTo>
                <a:lnTo>
                  <a:pt x="2127" y="1251"/>
                </a:lnTo>
                <a:lnTo>
                  <a:pt x="2129" y="1253"/>
                </a:lnTo>
                <a:lnTo>
                  <a:pt x="2127" y="1251"/>
                </a:lnTo>
                <a:lnTo>
                  <a:pt x="2126" y="1247"/>
                </a:lnTo>
                <a:lnTo>
                  <a:pt x="2126" y="1258"/>
                </a:lnTo>
                <a:lnTo>
                  <a:pt x="2129" y="1269"/>
                </a:lnTo>
                <a:lnTo>
                  <a:pt x="2130" y="1270"/>
                </a:lnTo>
                <a:lnTo>
                  <a:pt x="2131" y="1270"/>
                </a:lnTo>
                <a:lnTo>
                  <a:pt x="2132" y="1269"/>
                </a:lnTo>
                <a:lnTo>
                  <a:pt x="2132" y="1267"/>
                </a:lnTo>
                <a:lnTo>
                  <a:pt x="2132" y="1256"/>
                </a:lnTo>
                <a:lnTo>
                  <a:pt x="2131" y="1246"/>
                </a:lnTo>
                <a:lnTo>
                  <a:pt x="2130" y="1237"/>
                </a:lnTo>
                <a:lnTo>
                  <a:pt x="2128" y="1226"/>
                </a:lnTo>
                <a:lnTo>
                  <a:pt x="2127" y="1212"/>
                </a:lnTo>
                <a:lnTo>
                  <a:pt x="2125" y="1198"/>
                </a:lnTo>
                <a:lnTo>
                  <a:pt x="2123" y="1184"/>
                </a:lnTo>
                <a:lnTo>
                  <a:pt x="2120" y="1170"/>
                </a:lnTo>
                <a:lnTo>
                  <a:pt x="2120" y="1168"/>
                </a:lnTo>
                <a:lnTo>
                  <a:pt x="2122" y="1167"/>
                </a:lnTo>
                <a:lnTo>
                  <a:pt x="2124" y="1167"/>
                </a:lnTo>
                <a:lnTo>
                  <a:pt x="2125" y="1169"/>
                </a:lnTo>
                <a:lnTo>
                  <a:pt x="2127" y="1178"/>
                </a:lnTo>
                <a:lnTo>
                  <a:pt x="2129" y="1186"/>
                </a:lnTo>
                <a:lnTo>
                  <a:pt x="2135" y="1208"/>
                </a:lnTo>
                <a:lnTo>
                  <a:pt x="2142" y="1229"/>
                </a:lnTo>
                <a:lnTo>
                  <a:pt x="2148" y="1251"/>
                </a:lnTo>
                <a:lnTo>
                  <a:pt x="2155" y="1272"/>
                </a:lnTo>
                <a:lnTo>
                  <a:pt x="2164" y="1272"/>
                </a:lnTo>
                <a:lnTo>
                  <a:pt x="2174" y="1273"/>
                </a:lnTo>
                <a:lnTo>
                  <a:pt x="2164" y="1272"/>
                </a:lnTo>
                <a:lnTo>
                  <a:pt x="2155" y="1272"/>
                </a:lnTo>
                <a:lnTo>
                  <a:pt x="2152" y="1273"/>
                </a:lnTo>
                <a:lnTo>
                  <a:pt x="2148" y="1274"/>
                </a:lnTo>
                <a:lnTo>
                  <a:pt x="2146" y="1272"/>
                </a:lnTo>
                <a:lnTo>
                  <a:pt x="2144" y="1270"/>
                </a:lnTo>
                <a:lnTo>
                  <a:pt x="2143" y="1270"/>
                </a:lnTo>
                <a:lnTo>
                  <a:pt x="2142" y="1270"/>
                </a:lnTo>
                <a:lnTo>
                  <a:pt x="2141" y="1271"/>
                </a:lnTo>
                <a:lnTo>
                  <a:pt x="2140" y="1272"/>
                </a:lnTo>
                <a:lnTo>
                  <a:pt x="2138" y="1273"/>
                </a:lnTo>
                <a:lnTo>
                  <a:pt x="2134" y="1273"/>
                </a:lnTo>
                <a:lnTo>
                  <a:pt x="2119" y="1271"/>
                </a:lnTo>
                <a:lnTo>
                  <a:pt x="2103" y="1270"/>
                </a:lnTo>
                <a:lnTo>
                  <a:pt x="2104" y="1267"/>
                </a:lnTo>
                <a:lnTo>
                  <a:pt x="2105" y="1266"/>
                </a:lnTo>
                <a:lnTo>
                  <a:pt x="2102" y="1261"/>
                </a:lnTo>
                <a:lnTo>
                  <a:pt x="2098" y="1257"/>
                </a:lnTo>
                <a:lnTo>
                  <a:pt x="2094" y="1253"/>
                </a:lnTo>
                <a:lnTo>
                  <a:pt x="2088" y="1249"/>
                </a:lnTo>
                <a:lnTo>
                  <a:pt x="2088" y="1248"/>
                </a:lnTo>
                <a:lnTo>
                  <a:pt x="2088" y="1246"/>
                </a:lnTo>
                <a:lnTo>
                  <a:pt x="2088" y="1246"/>
                </a:lnTo>
                <a:lnTo>
                  <a:pt x="2089" y="1245"/>
                </a:lnTo>
                <a:lnTo>
                  <a:pt x="2089" y="1244"/>
                </a:lnTo>
                <a:lnTo>
                  <a:pt x="2093" y="1243"/>
                </a:lnTo>
                <a:lnTo>
                  <a:pt x="2096" y="1243"/>
                </a:lnTo>
                <a:lnTo>
                  <a:pt x="2099" y="1241"/>
                </a:lnTo>
                <a:lnTo>
                  <a:pt x="2101" y="1238"/>
                </a:lnTo>
                <a:lnTo>
                  <a:pt x="2108" y="1236"/>
                </a:lnTo>
                <a:lnTo>
                  <a:pt x="2117" y="1236"/>
                </a:lnTo>
                <a:lnTo>
                  <a:pt x="2117" y="1232"/>
                </a:lnTo>
                <a:lnTo>
                  <a:pt x="2117" y="1229"/>
                </a:lnTo>
                <a:lnTo>
                  <a:pt x="2113" y="1230"/>
                </a:lnTo>
                <a:lnTo>
                  <a:pt x="2109" y="1231"/>
                </a:lnTo>
                <a:lnTo>
                  <a:pt x="2104" y="1231"/>
                </a:lnTo>
                <a:lnTo>
                  <a:pt x="2101" y="1230"/>
                </a:lnTo>
                <a:lnTo>
                  <a:pt x="2097" y="1229"/>
                </a:lnTo>
                <a:lnTo>
                  <a:pt x="2095" y="1227"/>
                </a:lnTo>
                <a:lnTo>
                  <a:pt x="2094" y="1224"/>
                </a:lnTo>
                <a:lnTo>
                  <a:pt x="2094" y="1221"/>
                </a:lnTo>
                <a:lnTo>
                  <a:pt x="2095" y="1216"/>
                </a:lnTo>
                <a:lnTo>
                  <a:pt x="2095" y="1212"/>
                </a:lnTo>
                <a:lnTo>
                  <a:pt x="2096" y="1210"/>
                </a:lnTo>
                <a:lnTo>
                  <a:pt x="2096" y="1208"/>
                </a:lnTo>
                <a:lnTo>
                  <a:pt x="2096" y="1208"/>
                </a:lnTo>
                <a:lnTo>
                  <a:pt x="2096" y="1208"/>
                </a:lnTo>
                <a:lnTo>
                  <a:pt x="2101" y="1210"/>
                </a:lnTo>
                <a:lnTo>
                  <a:pt x="2107" y="1214"/>
                </a:lnTo>
                <a:lnTo>
                  <a:pt x="2107" y="1209"/>
                </a:lnTo>
                <a:lnTo>
                  <a:pt x="2105" y="1203"/>
                </a:lnTo>
                <a:lnTo>
                  <a:pt x="2103" y="1201"/>
                </a:lnTo>
                <a:lnTo>
                  <a:pt x="2102" y="1200"/>
                </a:lnTo>
                <a:lnTo>
                  <a:pt x="2100" y="1198"/>
                </a:lnTo>
                <a:lnTo>
                  <a:pt x="2097" y="1197"/>
                </a:lnTo>
                <a:lnTo>
                  <a:pt x="2096" y="1195"/>
                </a:lnTo>
                <a:lnTo>
                  <a:pt x="2095" y="1192"/>
                </a:lnTo>
                <a:lnTo>
                  <a:pt x="2093" y="1191"/>
                </a:lnTo>
                <a:lnTo>
                  <a:pt x="2092" y="1190"/>
                </a:lnTo>
                <a:lnTo>
                  <a:pt x="2089" y="1189"/>
                </a:lnTo>
                <a:lnTo>
                  <a:pt x="2087" y="1189"/>
                </a:lnTo>
                <a:lnTo>
                  <a:pt x="2085" y="1190"/>
                </a:lnTo>
                <a:lnTo>
                  <a:pt x="2085" y="1192"/>
                </a:lnTo>
                <a:lnTo>
                  <a:pt x="2085" y="1194"/>
                </a:lnTo>
                <a:lnTo>
                  <a:pt x="2086" y="1196"/>
                </a:lnTo>
                <a:lnTo>
                  <a:pt x="2088" y="1197"/>
                </a:lnTo>
                <a:lnTo>
                  <a:pt x="2090" y="1198"/>
                </a:lnTo>
                <a:lnTo>
                  <a:pt x="2092" y="1198"/>
                </a:lnTo>
                <a:lnTo>
                  <a:pt x="2093" y="1198"/>
                </a:lnTo>
                <a:lnTo>
                  <a:pt x="2095" y="1202"/>
                </a:lnTo>
                <a:lnTo>
                  <a:pt x="2096" y="1208"/>
                </a:lnTo>
                <a:close/>
                <a:moveTo>
                  <a:pt x="1794" y="1425"/>
                </a:moveTo>
                <a:lnTo>
                  <a:pt x="1793" y="1425"/>
                </a:lnTo>
                <a:lnTo>
                  <a:pt x="1793" y="1425"/>
                </a:lnTo>
                <a:lnTo>
                  <a:pt x="1791" y="1426"/>
                </a:lnTo>
                <a:lnTo>
                  <a:pt x="1791" y="1428"/>
                </a:lnTo>
                <a:lnTo>
                  <a:pt x="1790" y="1427"/>
                </a:lnTo>
                <a:lnTo>
                  <a:pt x="1789" y="1427"/>
                </a:lnTo>
                <a:lnTo>
                  <a:pt x="1789" y="1424"/>
                </a:lnTo>
                <a:lnTo>
                  <a:pt x="1788" y="1424"/>
                </a:lnTo>
                <a:lnTo>
                  <a:pt x="1786" y="1424"/>
                </a:lnTo>
                <a:lnTo>
                  <a:pt x="1784" y="1425"/>
                </a:lnTo>
                <a:lnTo>
                  <a:pt x="1783" y="1427"/>
                </a:lnTo>
                <a:lnTo>
                  <a:pt x="1781" y="1428"/>
                </a:lnTo>
                <a:lnTo>
                  <a:pt x="1778" y="1428"/>
                </a:lnTo>
                <a:lnTo>
                  <a:pt x="1776" y="1428"/>
                </a:lnTo>
                <a:lnTo>
                  <a:pt x="1775" y="1429"/>
                </a:lnTo>
                <a:lnTo>
                  <a:pt x="1773" y="1431"/>
                </a:lnTo>
                <a:lnTo>
                  <a:pt x="1773" y="1430"/>
                </a:lnTo>
                <a:lnTo>
                  <a:pt x="1771" y="1429"/>
                </a:lnTo>
                <a:lnTo>
                  <a:pt x="1771" y="1429"/>
                </a:lnTo>
                <a:lnTo>
                  <a:pt x="1771" y="1427"/>
                </a:lnTo>
                <a:lnTo>
                  <a:pt x="1770" y="1426"/>
                </a:lnTo>
                <a:lnTo>
                  <a:pt x="1769" y="1426"/>
                </a:lnTo>
                <a:lnTo>
                  <a:pt x="1768" y="1427"/>
                </a:lnTo>
                <a:lnTo>
                  <a:pt x="1764" y="1431"/>
                </a:lnTo>
                <a:lnTo>
                  <a:pt x="1762" y="1437"/>
                </a:lnTo>
                <a:lnTo>
                  <a:pt x="1761" y="1437"/>
                </a:lnTo>
                <a:lnTo>
                  <a:pt x="1760" y="1437"/>
                </a:lnTo>
                <a:lnTo>
                  <a:pt x="1760" y="1437"/>
                </a:lnTo>
                <a:lnTo>
                  <a:pt x="1759" y="1435"/>
                </a:lnTo>
                <a:lnTo>
                  <a:pt x="1759" y="1432"/>
                </a:lnTo>
                <a:lnTo>
                  <a:pt x="1759" y="1430"/>
                </a:lnTo>
                <a:lnTo>
                  <a:pt x="1760" y="1429"/>
                </a:lnTo>
                <a:lnTo>
                  <a:pt x="1763" y="1426"/>
                </a:lnTo>
                <a:lnTo>
                  <a:pt x="1765" y="1423"/>
                </a:lnTo>
                <a:lnTo>
                  <a:pt x="1766" y="1421"/>
                </a:lnTo>
                <a:lnTo>
                  <a:pt x="1768" y="1420"/>
                </a:lnTo>
                <a:lnTo>
                  <a:pt x="1771" y="1419"/>
                </a:lnTo>
                <a:lnTo>
                  <a:pt x="1775" y="1420"/>
                </a:lnTo>
                <a:lnTo>
                  <a:pt x="1778" y="1421"/>
                </a:lnTo>
                <a:lnTo>
                  <a:pt x="1780" y="1421"/>
                </a:lnTo>
                <a:lnTo>
                  <a:pt x="1783" y="1420"/>
                </a:lnTo>
                <a:lnTo>
                  <a:pt x="1785" y="1419"/>
                </a:lnTo>
                <a:lnTo>
                  <a:pt x="1788" y="1417"/>
                </a:lnTo>
                <a:lnTo>
                  <a:pt x="1790" y="1415"/>
                </a:lnTo>
                <a:lnTo>
                  <a:pt x="1791" y="1413"/>
                </a:lnTo>
                <a:lnTo>
                  <a:pt x="1792" y="1411"/>
                </a:lnTo>
                <a:lnTo>
                  <a:pt x="1792" y="1409"/>
                </a:lnTo>
                <a:lnTo>
                  <a:pt x="1792" y="1408"/>
                </a:lnTo>
                <a:lnTo>
                  <a:pt x="1791" y="1408"/>
                </a:lnTo>
                <a:lnTo>
                  <a:pt x="1790" y="1407"/>
                </a:lnTo>
                <a:lnTo>
                  <a:pt x="1788" y="1407"/>
                </a:lnTo>
                <a:lnTo>
                  <a:pt x="1785" y="1406"/>
                </a:lnTo>
                <a:lnTo>
                  <a:pt x="1785" y="1406"/>
                </a:lnTo>
                <a:lnTo>
                  <a:pt x="1788" y="1404"/>
                </a:lnTo>
                <a:lnTo>
                  <a:pt x="1790" y="1400"/>
                </a:lnTo>
                <a:lnTo>
                  <a:pt x="1791" y="1399"/>
                </a:lnTo>
                <a:lnTo>
                  <a:pt x="1791" y="1397"/>
                </a:lnTo>
                <a:lnTo>
                  <a:pt x="1791" y="1396"/>
                </a:lnTo>
                <a:lnTo>
                  <a:pt x="1790" y="1394"/>
                </a:lnTo>
                <a:lnTo>
                  <a:pt x="1790" y="1393"/>
                </a:lnTo>
                <a:lnTo>
                  <a:pt x="1790" y="1393"/>
                </a:lnTo>
                <a:lnTo>
                  <a:pt x="1791" y="1391"/>
                </a:lnTo>
                <a:lnTo>
                  <a:pt x="1791" y="1389"/>
                </a:lnTo>
                <a:lnTo>
                  <a:pt x="1791" y="1388"/>
                </a:lnTo>
                <a:lnTo>
                  <a:pt x="1792" y="1386"/>
                </a:lnTo>
                <a:lnTo>
                  <a:pt x="1792" y="1385"/>
                </a:lnTo>
                <a:lnTo>
                  <a:pt x="1793" y="1386"/>
                </a:lnTo>
                <a:lnTo>
                  <a:pt x="1793" y="1394"/>
                </a:lnTo>
                <a:lnTo>
                  <a:pt x="1793" y="1401"/>
                </a:lnTo>
                <a:lnTo>
                  <a:pt x="1792" y="1404"/>
                </a:lnTo>
                <a:lnTo>
                  <a:pt x="1792" y="1406"/>
                </a:lnTo>
                <a:lnTo>
                  <a:pt x="1793" y="1408"/>
                </a:lnTo>
                <a:lnTo>
                  <a:pt x="1794" y="1410"/>
                </a:lnTo>
                <a:lnTo>
                  <a:pt x="1793" y="1412"/>
                </a:lnTo>
                <a:lnTo>
                  <a:pt x="1793" y="1414"/>
                </a:lnTo>
                <a:lnTo>
                  <a:pt x="1793" y="1414"/>
                </a:lnTo>
                <a:lnTo>
                  <a:pt x="1794" y="1414"/>
                </a:lnTo>
                <a:lnTo>
                  <a:pt x="1795" y="1413"/>
                </a:lnTo>
                <a:lnTo>
                  <a:pt x="1795" y="1411"/>
                </a:lnTo>
                <a:lnTo>
                  <a:pt x="1798" y="1412"/>
                </a:lnTo>
                <a:lnTo>
                  <a:pt x="1800" y="1411"/>
                </a:lnTo>
                <a:lnTo>
                  <a:pt x="1801" y="1409"/>
                </a:lnTo>
                <a:lnTo>
                  <a:pt x="1803" y="1406"/>
                </a:lnTo>
                <a:lnTo>
                  <a:pt x="1804" y="1410"/>
                </a:lnTo>
                <a:lnTo>
                  <a:pt x="1805" y="1413"/>
                </a:lnTo>
                <a:lnTo>
                  <a:pt x="1807" y="1412"/>
                </a:lnTo>
                <a:lnTo>
                  <a:pt x="1808" y="1410"/>
                </a:lnTo>
                <a:lnTo>
                  <a:pt x="1810" y="1408"/>
                </a:lnTo>
                <a:lnTo>
                  <a:pt x="1811" y="1407"/>
                </a:lnTo>
                <a:lnTo>
                  <a:pt x="1814" y="1405"/>
                </a:lnTo>
                <a:lnTo>
                  <a:pt x="1814" y="1402"/>
                </a:lnTo>
                <a:lnTo>
                  <a:pt x="1811" y="1401"/>
                </a:lnTo>
                <a:lnTo>
                  <a:pt x="1809" y="1401"/>
                </a:lnTo>
                <a:lnTo>
                  <a:pt x="1812" y="1397"/>
                </a:lnTo>
                <a:lnTo>
                  <a:pt x="1813" y="1395"/>
                </a:lnTo>
                <a:lnTo>
                  <a:pt x="1813" y="1392"/>
                </a:lnTo>
                <a:lnTo>
                  <a:pt x="1811" y="1389"/>
                </a:lnTo>
                <a:lnTo>
                  <a:pt x="1812" y="1385"/>
                </a:lnTo>
                <a:lnTo>
                  <a:pt x="1814" y="1384"/>
                </a:lnTo>
                <a:lnTo>
                  <a:pt x="1815" y="1395"/>
                </a:lnTo>
                <a:lnTo>
                  <a:pt x="1815" y="1406"/>
                </a:lnTo>
                <a:lnTo>
                  <a:pt x="1815" y="1410"/>
                </a:lnTo>
                <a:lnTo>
                  <a:pt x="1817" y="1411"/>
                </a:lnTo>
                <a:lnTo>
                  <a:pt x="1820" y="1412"/>
                </a:lnTo>
                <a:lnTo>
                  <a:pt x="1823" y="1412"/>
                </a:lnTo>
                <a:lnTo>
                  <a:pt x="1825" y="1412"/>
                </a:lnTo>
                <a:lnTo>
                  <a:pt x="1826" y="1411"/>
                </a:lnTo>
                <a:lnTo>
                  <a:pt x="1826" y="1409"/>
                </a:lnTo>
                <a:lnTo>
                  <a:pt x="1826" y="1406"/>
                </a:lnTo>
                <a:lnTo>
                  <a:pt x="1826" y="1401"/>
                </a:lnTo>
                <a:lnTo>
                  <a:pt x="1826" y="1397"/>
                </a:lnTo>
                <a:lnTo>
                  <a:pt x="1825" y="1397"/>
                </a:lnTo>
                <a:lnTo>
                  <a:pt x="1824" y="1397"/>
                </a:lnTo>
                <a:lnTo>
                  <a:pt x="1823" y="1399"/>
                </a:lnTo>
                <a:lnTo>
                  <a:pt x="1821" y="1401"/>
                </a:lnTo>
                <a:lnTo>
                  <a:pt x="1820" y="1401"/>
                </a:lnTo>
                <a:lnTo>
                  <a:pt x="1820" y="1400"/>
                </a:lnTo>
                <a:lnTo>
                  <a:pt x="1822" y="1398"/>
                </a:lnTo>
                <a:lnTo>
                  <a:pt x="1824" y="1397"/>
                </a:lnTo>
                <a:lnTo>
                  <a:pt x="1824" y="1396"/>
                </a:lnTo>
                <a:lnTo>
                  <a:pt x="1825" y="1396"/>
                </a:lnTo>
                <a:lnTo>
                  <a:pt x="1825" y="1396"/>
                </a:lnTo>
                <a:lnTo>
                  <a:pt x="1826" y="1397"/>
                </a:lnTo>
                <a:lnTo>
                  <a:pt x="1826" y="1397"/>
                </a:lnTo>
                <a:lnTo>
                  <a:pt x="1827" y="1397"/>
                </a:lnTo>
                <a:lnTo>
                  <a:pt x="1828" y="1396"/>
                </a:lnTo>
                <a:lnTo>
                  <a:pt x="1829" y="1394"/>
                </a:lnTo>
                <a:lnTo>
                  <a:pt x="1828" y="1396"/>
                </a:lnTo>
                <a:lnTo>
                  <a:pt x="1827" y="1397"/>
                </a:lnTo>
                <a:lnTo>
                  <a:pt x="1827" y="1398"/>
                </a:lnTo>
                <a:lnTo>
                  <a:pt x="1827" y="1399"/>
                </a:lnTo>
                <a:lnTo>
                  <a:pt x="1827" y="1402"/>
                </a:lnTo>
                <a:lnTo>
                  <a:pt x="1827" y="1405"/>
                </a:lnTo>
                <a:lnTo>
                  <a:pt x="1827" y="1408"/>
                </a:lnTo>
                <a:lnTo>
                  <a:pt x="1829" y="1410"/>
                </a:lnTo>
                <a:lnTo>
                  <a:pt x="1830" y="1411"/>
                </a:lnTo>
                <a:lnTo>
                  <a:pt x="1832" y="1411"/>
                </a:lnTo>
                <a:lnTo>
                  <a:pt x="1834" y="1411"/>
                </a:lnTo>
                <a:lnTo>
                  <a:pt x="1836" y="1410"/>
                </a:lnTo>
                <a:lnTo>
                  <a:pt x="1838" y="1407"/>
                </a:lnTo>
                <a:lnTo>
                  <a:pt x="1839" y="1401"/>
                </a:lnTo>
                <a:lnTo>
                  <a:pt x="1839" y="1404"/>
                </a:lnTo>
                <a:lnTo>
                  <a:pt x="1840" y="1407"/>
                </a:lnTo>
                <a:lnTo>
                  <a:pt x="1841" y="1408"/>
                </a:lnTo>
                <a:lnTo>
                  <a:pt x="1844" y="1409"/>
                </a:lnTo>
                <a:lnTo>
                  <a:pt x="1846" y="1408"/>
                </a:lnTo>
                <a:lnTo>
                  <a:pt x="1849" y="1408"/>
                </a:lnTo>
                <a:lnTo>
                  <a:pt x="1850" y="1407"/>
                </a:lnTo>
                <a:lnTo>
                  <a:pt x="1850" y="1404"/>
                </a:lnTo>
                <a:lnTo>
                  <a:pt x="1850" y="1400"/>
                </a:lnTo>
                <a:lnTo>
                  <a:pt x="1851" y="1397"/>
                </a:lnTo>
                <a:lnTo>
                  <a:pt x="1851" y="1396"/>
                </a:lnTo>
                <a:lnTo>
                  <a:pt x="1850" y="1395"/>
                </a:lnTo>
                <a:lnTo>
                  <a:pt x="1847" y="1394"/>
                </a:lnTo>
                <a:lnTo>
                  <a:pt x="1845" y="1393"/>
                </a:lnTo>
                <a:lnTo>
                  <a:pt x="1843" y="1394"/>
                </a:lnTo>
                <a:lnTo>
                  <a:pt x="1841" y="1395"/>
                </a:lnTo>
                <a:lnTo>
                  <a:pt x="1843" y="1394"/>
                </a:lnTo>
                <a:lnTo>
                  <a:pt x="1845" y="1393"/>
                </a:lnTo>
                <a:lnTo>
                  <a:pt x="1846" y="1392"/>
                </a:lnTo>
                <a:lnTo>
                  <a:pt x="1847" y="1391"/>
                </a:lnTo>
                <a:lnTo>
                  <a:pt x="1849" y="1389"/>
                </a:lnTo>
                <a:lnTo>
                  <a:pt x="1849" y="1386"/>
                </a:lnTo>
                <a:lnTo>
                  <a:pt x="1849" y="1380"/>
                </a:lnTo>
                <a:lnTo>
                  <a:pt x="1849" y="1374"/>
                </a:lnTo>
                <a:lnTo>
                  <a:pt x="1850" y="1377"/>
                </a:lnTo>
                <a:lnTo>
                  <a:pt x="1850" y="1380"/>
                </a:lnTo>
                <a:lnTo>
                  <a:pt x="1850" y="1381"/>
                </a:lnTo>
                <a:lnTo>
                  <a:pt x="1851" y="1382"/>
                </a:lnTo>
                <a:lnTo>
                  <a:pt x="1852" y="1383"/>
                </a:lnTo>
                <a:lnTo>
                  <a:pt x="1855" y="1383"/>
                </a:lnTo>
                <a:lnTo>
                  <a:pt x="1853" y="1385"/>
                </a:lnTo>
                <a:lnTo>
                  <a:pt x="1852" y="1389"/>
                </a:lnTo>
                <a:lnTo>
                  <a:pt x="1851" y="1392"/>
                </a:lnTo>
                <a:lnTo>
                  <a:pt x="1853" y="1395"/>
                </a:lnTo>
                <a:lnTo>
                  <a:pt x="1856" y="1392"/>
                </a:lnTo>
                <a:lnTo>
                  <a:pt x="1859" y="1389"/>
                </a:lnTo>
                <a:lnTo>
                  <a:pt x="1860" y="1386"/>
                </a:lnTo>
                <a:lnTo>
                  <a:pt x="1860" y="1384"/>
                </a:lnTo>
                <a:lnTo>
                  <a:pt x="1860" y="1382"/>
                </a:lnTo>
                <a:lnTo>
                  <a:pt x="1859" y="1379"/>
                </a:lnTo>
                <a:lnTo>
                  <a:pt x="1860" y="1376"/>
                </a:lnTo>
                <a:lnTo>
                  <a:pt x="1860" y="1374"/>
                </a:lnTo>
                <a:lnTo>
                  <a:pt x="1859" y="1371"/>
                </a:lnTo>
                <a:lnTo>
                  <a:pt x="1858" y="1369"/>
                </a:lnTo>
                <a:lnTo>
                  <a:pt x="1857" y="1368"/>
                </a:lnTo>
                <a:lnTo>
                  <a:pt x="1855" y="1367"/>
                </a:lnTo>
                <a:lnTo>
                  <a:pt x="1852" y="1367"/>
                </a:lnTo>
                <a:lnTo>
                  <a:pt x="1849" y="1368"/>
                </a:lnTo>
                <a:lnTo>
                  <a:pt x="1829" y="1373"/>
                </a:lnTo>
                <a:lnTo>
                  <a:pt x="1809" y="1377"/>
                </a:lnTo>
                <a:lnTo>
                  <a:pt x="1790" y="1381"/>
                </a:lnTo>
                <a:lnTo>
                  <a:pt x="1769" y="1385"/>
                </a:lnTo>
                <a:lnTo>
                  <a:pt x="1765" y="1386"/>
                </a:lnTo>
                <a:lnTo>
                  <a:pt x="1760" y="1386"/>
                </a:lnTo>
                <a:lnTo>
                  <a:pt x="1759" y="1386"/>
                </a:lnTo>
                <a:lnTo>
                  <a:pt x="1758" y="1385"/>
                </a:lnTo>
                <a:lnTo>
                  <a:pt x="1758" y="1384"/>
                </a:lnTo>
                <a:lnTo>
                  <a:pt x="1759" y="1382"/>
                </a:lnTo>
                <a:lnTo>
                  <a:pt x="1759" y="1377"/>
                </a:lnTo>
                <a:lnTo>
                  <a:pt x="1759" y="1373"/>
                </a:lnTo>
                <a:lnTo>
                  <a:pt x="1758" y="1367"/>
                </a:lnTo>
                <a:lnTo>
                  <a:pt x="1756" y="1363"/>
                </a:lnTo>
                <a:lnTo>
                  <a:pt x="1758" y="1367"/>
                </a:lnTo>
                <a:lnTo>
                  <a:pt x="1759" y="1373"/>
                </a:lnTo>
                <a:lnTo>
                  <a:pt x="1759" y="1377"/>
                </a:lnTo>
                <a:lnTo>
                  <a:pt x="1759" y="1382"/>
                </a:lnTo>
                <a:lnTo>
                  <a:pt x="1760" y="1383"/>
                </a:lnTo>
                <a:lnTo>
                  <a:pt x="1761" y="1382"/>
                </a:lnTo>
                <a:lnTo>
                  <a:pt x="1763" y="1375"/>
                </a:lnTo>
                <a:lnTo>
                  <a:pt x="1765" y="1367"/>
                </a:lnTo>
                <a:lnTo>
                  <a:pt x="1763" y="1375"/>
                </a:lnTo>
                <a:lnTo>
                  <a:pt x="1761" y="1382"/>
                </a:lnTo>
                <a:lnTo>
                  <a:pt x="1765" y="1382"/>
                </a:lnTo>
                <a:lnTo>
                  <a:pt x="1768" y="1380"/>
                </a:lnTo>
                <a:lnTo>
                  <a:pt x="1770" y="1381"/>
                </a:lnTo>
                <a:lnTo>
                  <a:pt x="1771" y="1380"/>
                </a:lnTo>
                <a:lnTo>
                  <a:pt x="1774" y="1369"/>
                </a:lnTo>
                <a:lnTo>
                  <a:pt x="1776" y="1359"/>
                </a:lnTo>
                <a:lnTo>
                  <a:pt x="1774" y="1369"/>
                </a:lnTo>
                <a:lnTo>
                  <a:pt x="1771" y="1380"/>
                </a:lnTo>
                <a:lnTo>
                  <a:pt x="1776" y="1379"/>
                </a:lnTo>
                <a:lnTo>
                  <a:pt x="1779" y="1377"/>
                </a:lnTo>
                <a:lnTo>
                  <a:pt x="1780" y="1379"/>
                </a:lnTo>
                <a:lnTo>
                  <a:pt x="1780" y="1379"/>
                </a:lnTo>
                <a:lnTo>
                  <a:pt x="1781" y="1379"/>
                </a:lnTo>
                <a:lnTo>
                  <a:pt x="1782" y="1377"/>
                </a:lnTo>
                <a:lnTo>
                  <a:pt x="1786" y="1377"/>
                </a:lnTo>
                <a:lnTo>
                  <a:pt x="1790" y="1375"/>
                </a:lnTo>
                <a:lnTo>
                  <a:pt x="1790" y="1376"/>
                </a:lnTo>
                <a:lnTo>
                  <a:pt x="1791" y="1376"/>
                </a:lnTo>
                <a:lnTo>
                  <a:pt x="1791" y="1377"/>
                </a:lnTo>
                <a:lnTo>
                  <a:pt x="1792" y="1376"/>
                </a:lnTo>
                <a:lnTo>
                  <a:pt x="1795" y="1367"/>
                </a:lnTo>
                <a:lnTo>
                  <a:pt x="1798" y="1359"/>
                </a:lnTo>
                <a:lnTo>
                  <a:pt x="1795" y="1367"/>
                </a:lnTo>
                <a:lnTo>
                  <a:pt x="1792" y="1376"/>
                </a:lnTo>
                <a:lnTo>
                  <a:pt x="1797" y="1375"/>
                </a:lnTo>
                <a:lnTo>
                  <a:pt x="1803" y="1375"/>
                </a:lnTo>
                <a:lnTo>
                  <a:pt x="1804" y="1374"/>
                </a:lnTo>
                <a:lnTo>
                  <a:pt x="1805" y="1373"/>
                </a:lnTo>
                <a:lnTo>
                  <a:pt x="1806" y="1364"/>
                </a:lnTo>
                <a:lnTo>
                  <a:pt x="1809" y="1356"/>
                </a:lnTo>
                <a:lnTo>
                  <a:pt x="1806" y="1364"/>
                </a:lnTo>
                <a:lnTo>
                  <a:pt x="1805" y="1373"/>
                </a:lnTo>
                <a:lnTo>
                  <a:pt x="1808" y="1371"/>
                </a:lnTo>
                <a:lnTo>
                  <a:pt x="1812" y="1370"/>
                </a:lnTo>
                <a:lnTo>
                  <a:pt x="1812" y="1370"/>
                </a:lnTo>
                <a:lnTo>
                  <a:pt x="1815" y="1367"/>
                </a:lnTo>
                <a:lnTo>
                  <a:pt x="1817" y="1363"/>
                </a:lnTo>
                <a:lnTo>
                  <a:pt x="1815" y="1367"/>
                </a:lnTo>
                <a:lnTo>
                  <a:pt x="1812" y="1370"/>
                </a:lnTo>
                <a:lnTo>
                  <a:pt x="1815" y="1373"/>
                </a:lnTo>
                <a:lnTo>
                  <a:pt x="1819" y="1371"/>
                </a:lnTo>
                <a:lnTo>
                  <a:pt x="1821" y="1369"/>
                </a:lnTo>
                <a:lnTo>
                  <a:pt x="1824" y="1369"/>
                </a:lnTo>
                <a:lnTo>
                  <a:pt x="1824" y="1369"/>
                </a:lnTo>
                <a:lnTo>
                  <a:pt x="1826" y="1369"/>
                </a:lnTo>
                <a:lnTo>
                  <a:pt x="1827" y="1369"/>
                </a:lnTo>
                <a:lnTo>
                  <a:pt x="1829" y="1368"/>
                </a:lnTo>
                <a:lnTo>
                  <a:pt x="1830" y="1367"/>
                </a:lnTo>
                <a:lnTo>
                  <a:pt x="1829" y="1366"/>
                </a:lnTo>
                <a:lnTo>
                  <a:pt x="1828" y="1365"/>
                </a:lnTo>
                <a:lnTo>
                  <a:pt x="1828" y="1364"/>
                </a:lnTo>
                <a:lnTo>
                  <a:pt x="1829" y="1363"/>
                </a:lnTo>
                <a:lnTo>
                  <a:pt x="1831" y="1363"/>
                </a:lnTo>
                <a:lnTo>
                  <a:pt x="1835" y="1362"/>
                </a:lnTo>
                <a:lnTo>
                  <a:pt x="1835" y="1365"/>
                </a:lnTo>
                <a:lnTo>
                  <a:pt x="1836" y="1366"/>
                </a:lnTo>
                <a:lnTo>
                  <a:pt x="1838" y="1366"/>
                </a:lnTo>
                <a:lnTo>
                  <a:pt x="1839" y="1364"/>
                </a:lnTo>
                <a:lnTo>
                  <a:pt x="1841" y="1359"/>
                </a:lnTo>
                <a:lnTo>
                  <a:pt x="1842" y="1354"/>
                </a:lnTo>
                <a:lnTo>
                  <a:pt x="1843" y="1349"/>
                </a:lnTo>
                <a:lnTo>
                  <a:pt x="1843" y="1344"/>
                </a:lnTo>
                <a:lnTo>
                  <a:pt x="1846" y="1354"/>
                </a:lnTo>
                <a:lnTo>
                  <a:pt x="1847" y="1365"/>
                </a:lnTo>
                <a:lnTo>
                  <a:pt x="1852" y="1360"/>
                </a:lnTo>
                <a:lnTo>
                  <a:pt x="1854" y="1353"/>
                </a:lnTo>
                <a:lnTo>
                  <a:pt x="1855" y="1347"/>
                </a:lnTo>
                <a:lnTo>
                  <a:pt x="1855" y="1339"/>
                </a:lnTo>
                <a:lnTo>
                  <a:pt x="1857" y="1349"/>
                </a:lnTo>
                <a:lnTo>
                  <a:pt x="1858" y="1358"/>
                </a:lnTo>
                <a:lnTo>
                  <a:pt x="1859" y="1360"/>
                </a:lnTo>
                <a:lnTo>
                  <a:pt x="1859" y="1361"/>
                </a:lnTo>
                <a:lnTo>
                  <a:pt x="1860" y="1362"/>
                </a:lnTo>
                <a:lnTo>
                  <a:pt x="1862" y="1361"/>
                </a:lnTo>
                <a:lnTo>
                  <a:pt x="1862" y="1360"/>
                </a:lnTo>
                <a:lnTo>
                  <a:pt x="1862" y="1358"/>
                </a:lnTo>
                <a:lnTo>
                  <a:pt x="1862" y="1360"/>
                </a:lnTo>
                <a:lnTo>
                  <a:pt x="1862" y="1361"/>
                </a:lnTo>
                <a:lnTo>
                  <a:pt x="1868" y="1360"/>
                </a:lnTo>
                <a:lnTo>
                  <a:pt x="1873" y="1359"/>
                </a:lnTo>
                <a:lnTo>
                  <a:pt x="1874" y="1358"/>
                </a:lnTo>
                <a:lnTo>
                  <a:pt x="1877" y="1358"/>
                </a:lnTo>
                <a:lnTo>
                  <a:pt x="1879" y="1356"/>
                </a:lnTo>
                <a:lnTo>
                  <a:pt x="1881" y="1354"/>
                </a:lnTo>
                <a:lnTo>
                  <a:pt x="1881" y="1352"/>
                </a:lnTo>
                <a:lnTo>
                  <a:pt x="1881" y="1351"/>
                </a:lnTo>
                <a:lnTo>
                  <a:pt x="1881" y="1351"/>
                </a:lnTo>
                <a:lnTo>
                  <a:pt x="1881" y="1351"/>
                </a:lnTo>
                <a:lnTo>
                  <a:pt x="1882" y="1352"/>
                </a:lnTo>
                <a:lnTo>
                  <a:pt x="1883" y="1352"/>
                </a:lnTo>
                <a:lnTo>
                  <a:pt x="1883" y="1353"/>
                </a:lnTo>
                <a:lnTo>
                  <a:pt x="1883" y="1354"/>
                </a:lnTo>
                <a:lnTo>
                  <a:pt x="1883" y="1356"/>
                </a:lnTo>
                <a:lnTo>
                  <a:pt x="1885" y="1356"/>
                </a:lnTo>
                <a:lnTo>
                  <a:pt x="1885" y="1356"/>
                </a:lnTo>
                <a:lnTo>
                  <a:pt x="1886" y="1355"/>
                </a:lnTo>
                <a:lnTo>
                  <a:pt x="1886" y="1355"/>
                </a:lnTo>
                <a:lnTo>
                  <a:pt x="1888" y="1354"/>
                </a:lnTo>
                <a:lnTo>
                  <a:pt x="1888" y="1353"/>
                </a:lnTo>
                <a:lnTo>
                  <a:pt x="1888" y="1352"/>
                </a:lnTo>
                <a:lnTo>
                  <a:pt x="1888" y="1352"/>
                </a:lnTo>
                <a:lnTo>
                  <a:pt x="1888" y="1350"/>
                </a:lnTo>
                <a:lnTo>
                  <a:pt x="1889" y="1348"/>
                </a:lnTo>
                <a:lnTo>
                  <a:pt x="1888" y="1350"/>
                </a:lnTo>
                <a:lnTo>
                  <a:pt x="1888" y="1352"/>
                </a:lnTo>
                <a:lnTo>
                  <a:pt x="1890" y="1353"/>
                </a:lnTo>
                <a:lnTo>
                  <a:pt x="1891" y="1354"/>
                </a:lnTo>
                <a:lnTo>
                  <a:pt x="1892" y="1353"/>
                </a:lnTo>
                <a:lnTo>
                  <a:pt x="1892" y="1352"/>
                </a:lnTo>
                <a:lnTo>
                  <a:pt x="1894" y="1350"/>
                </a:lnTo>
                <a:lnTo>
                  <a:pt x="1895" y="1349"/>
                </a:lnTo>
                <a:lnTo>
                  <a:pt x="1895" y="1351"/>
                </a:lnTo>
                <a:lnTo>
                  <a:pt x="1896" y="1353"/>
                </a:lnTo>
                <a:lnTo>
                  <a:pt x="1898" y="1353"/>
                </a:lnTo>
                <a:lnTo>
                  <a:pt x="1900" y="1352"/>
                </a:lnTo>
                <a:lnTo>
                  <a:pt x="1900" y="1352"/>
                </a:lnTo>
                <a:lnTo>
                  <a:pt x="1904" y="1352"/>
                </a:lnTo>
                <a:lnTo>
                  <a:pt x="1910" y="1350"/>
                </a:lnTo>
                <a:lnTo>
                  <a:pt x="1910" y="1350"/>
                </a:lnTo>
                <a:lnTo>
                  <a:pt x="1911" y="1350"/>
                </a:lnTo>
                <a:lnTo>
                  <a:pt x="1912" y="1350"/>
                </a:lnTo>
                <a:lnTo>
                  <a:pt x="1915" y="1340"/>
                </a:lnTo>
                <a:lnTo>
                  <a:pt x="1918" y="1332"/>
                </a:lnTo>
                <a:lnTo>
                  <a:pt x="1915" y="1340"/>
                </a:lnTo>
                <a:lnTo>
                  <a:pt x="1912" y="1350"/>
                </a:lnTo>
                <a:lnTo>
                  <a:pt x="1915" y="1350"/>
                </a:lnTo>
                <a:lnTo>
                  <a:pt x="1917" y="1348"/>
                </a:lnTo>
                <a:lnTo>
                  <a:pt x="1919" y="1346"/>
                </a:lnTo>
                <a:lnTo>
                  <a:pt x="1921" y="1343"/>
                </a:lnTo>
                <a:lnTo>
                  <a:pt x="1921" y="1344"/>
                </a:lnTo>
                <a:lnTo>
                  <a:pt x="1921" y="1345"/>
                </a:lnTo>
                <a:lnTo>
                  <a:pt x="1921" y="1346"/>
                </a:lnTo>
                <a:lnTo>
                  <a:pt x="1921" y="1347"/>
                </a:lnTo>
                <a:lnTo>
                  <a:pt x="1923" y="1348"/>
                </a:lnTo>
                <a:lnTo>
                  <a:pt x="1926" y="1346"/>
                </a:lnTo>
                <a:lnTo>
                  <a:pt x="1928" y="1343"/>
                </a:lnTo>
                <a:lnTo>
                  <a:pt x="1929" y="1339"/>
                </a:lnTo>
                <a:lnTo>
                  <a:pt x="1930" y="1336"/>
                </a:lnTo>
                <a:lnTo>
                  <a:pt x="1931" y="1329"/>
                </a:lnTo>
                <a:lnTo>
                  <a:pt x="1932" y="1321"/>
                </a:lnTo>
                <a:lnTo>
                  <a:pt x="1934" y="1330"/>
                </a:lnTo>
                <a:lnTo>
                  <a:pt x="1934" y="1337"/>
                </a:lnTo>
                <a:lnTo>
                  <a:pt x="1934" y="1339"/>
                </a:lnTo>
                <a:lnTo>
                  <a:pt x="1934" y="1342"/>
                </a:lnTo>
                <a:lnTo>
                  <a:pt x="1935" y="1344"/>
                </a:lnTo>
                <a:lnTo>
                  <a:pt x="1937" y="1345"/>
                </a:lnTo>
                <a:lnTo>
                  <a:pt x="1942" y="1334"/>
                </a:lnTo>
                <a:lnTo>
                  <a:pt x="1945" y="1322"/>
                </a:lnTo>
                <a:lnTo>
                  <a:pt x="1942" y="1334"/>
                </a:lnTo>
                <a:lnTo>
                  <a:pt x="1937" y="1345"/>
                </a:lnTo>
                <a:lnTo>
                  <a:pt x="1941" y="1345"/>
                </a:lnTo>
                <a:lnTo>
                  <a:pt x="1944" y="1344"/>
                </a:lnTo>
                <a:lnTo>
                  <a:pt x="1946" y="1343"/>
                </a:lnTo>
                <a:lnTo>
                  <a:pt x="1949" y="1342"/>
                </a:lnTo>
                <a:lnTo>
                  <a:pt x="1950" y="1343"/>
                </a:lnTo>
                <a:lnTo>
                  <a:pt x="1951" y="1343"/>
                </a:lnTo>
                <a:lnTo>
                  <a:pt x="1952" y="1342"/>
                </a:lnTo>
                <a:lnTo>
                  <a:pt x="1953" y="1339"/>
                </a:lnTo>
                <a:lnTo>
                  <a:pt x="1956" y="1339"/>
                </a:lnTo>
                <a:lnTo>
                  <a:pt x="1958" y="1340"/>
                </a:lnTo>
                <a:lnTo>
                  <a:pt x="1959" y="1340"/>
                </a:lnTo>
                <a:lnTo>
                  <a:pt x="1960" y="1343"/>
                </a:lnTo>
                <a:lnTo>
                  <a:pt x="1959" y="1345"/>
                </a:lnTo>
                <a:lnTo>
                  <a:pt x="1956" y="1347"/>
                </a:lnTo>
                <a:lnTo>
                  <a:pt x="1947" y="1349"/>
                </a:lnTo>
                <a:lnTo>
                  <a:pt x="1938" y="1350"/>
                </a:lnTo>
                <a:lnTo>
                  <a:pt x="1936" y="1351"/>
                </a:lnTo>
                <a:lnTo>
                  <a:pt x="1933" y="1351"/>
                </a:lnTo>
                <a:lnTo>
                  <a:pt x="1931" y="1352"/>
                </a:lnTo>
                <a:lnTo>
                  <a:pt x="1930" y="1355"/>
                </a:lnTo>
                <a:lnTo>
                  <a:pt x="1930" y="1355"/>
                </a:lnTo>
                <a:lnTo>
                  <a:pt x="1930" y="1355"/>
                </a:lnTo>
                <a:lnTo>
                  <a:pt x="1926" y="1353"/>
                </a:lnTo>
                <a:lnTo>
                  <a:pt x="1921" y="1353"/>
                </a:lnTo>
                <a:lnTo>
                  <a:pt x="1918" y="1354"/>
                </a:lnTo>
                <a:lnTo>
                  <a:pt x="1914" y="1355"/>
                </a:lnTo>
                <a:lnTo>
                  <a:pt x="1912" y="1356"/>
                </a:lnTo>
                <a:lnTo>
                  <a:pt x="1911" y="1358"/>
                </a:lnTo>
                <a:lnTo>
                  <a:pt x="1908" y="1366"/>
                </a:lnTo>
                <a:lnTo>
                  <a:pt x="1905" y="1375"/>
                </a:lnTo>
                <a:lnTo>
                  <a:pt x="1903" y="1383"/>
                </a:lnTo>
                <a:lnTo>
                  <a:pt x="1901" y="1393"/>
                </a:lnTo>
                <a:lnTo>
                  <a:pt x="1902" y="1395"/>
                </a:lnTo>
                <a:lnTo>
                  <a:pt x="1904" y="1397"/>
                </a:lnTo>
                <a:lnTo>
                  <a:pt x="1906" y="1397"/>
                </a:lnTo>
                <a:lnTo>
                  <a:pt x="1910" y="1396"/>
                </a:lnTo>
                <a:lnTo>
                  <a:pt x="1913" y="1395"/>
                </a:lnTo>
                <a:lnTo>
                  <a:pt x="1917" y="1393"/>
                </a:lnTo>
                <a:lnTo>
                  <a:pt x="1920" y="1391"/>
                </a:lnTo>
                <a:lnTo>
                  <a:pt x="1923" y="1386"/>
                </a:lnTo>
                <a:lnTo>
                  <a:pt x="1927" y="1391"/>
                </a:lnTo>
                <a:lnTo>
                  <a:pt x="1930" y="1392"/>
                </a:lnTo>
                <a:lnTo>
                  <a:pt x="1932" y="1390"/>
                </a:lnTo>
                <a:lnTo>
                  <a:pt x="1935" y="1384"/>
                </a:lnTo>
                <a:lnTo>
                  <a:pt x="1937" y="1382"/>
                </a:lnTo>
                <a:lnTo>
                  <a:pt x="1937" y="1380"/>
                </a:lnTo>
                <a:lnTo>
                  <a:pt x="1937" y="1378"/>
                </a:lnTo>
                <a:lnTo>
                  <a:pt x="1936" y="1376"/>
                </a:lnTo>
                <a:lnTo>
                  <a:pt x="1938" y="1376"/>
                </a:lnTo>
                <a:lnTo>
                  <a:pt x="1940" y="1375"/>
                </a:lnTo>
                <a:lnTo>
                  <a:pt x="1940" y="1375"/>
                </a:lnTo>
                <a:lnTo>
                  <a:pt x="1940" y="1375"/>
                </a:lnTo>
                <a:lnTo>
                  <a:pt x="1940" y="1377"/>
                </a:lnTo>
                <a:lnTo>
                  <a:pt x="1940" y="1379"/>
                </a:lnTo>
                <a:lnTo>
                  <a:pt x="1941" y="1384"/>
                </a:lnTo>
                <a:lnTo>
                  <a:pt x="1942" y="1388"/>
                </a:lnTo>
                <a:lnTo>
                  <a:pt x="1944" y="1390"/>
                </a:lnTo>
                <a:lnTo>
                  <a:pt x="1949" y="1392"/>
                </a:lnTo>
                <a:lnTo>
                  <a:pt x="1943" y="1394"/>
                </a:lnTo>
                <a:lnTo>
                  <a:pt x="1938" y="1396"/>
                </a:lnTo>
                <a:lnTo>
                  <a:pt x="1936" y="1398"/>
                </a:lnTo>
                <a:lnTo>
                  <a:pt x="1935" y="1400"/>
                </a:lnTo>
                <a:lnTo>
                  <a:pt x="1935" y="1404"/>
                </a:lnTo>
                <a:lnTo>
                  <a:pt x="1935" y="1407"/>
                </a:lnTo>
                <a:lnTo>
                  <a:pt x="1935" y="1409"/>
                </a:lnTo>
                <a:lnTo>
                  <a:pt x="1936" y="1410"/>
                </a:lnTo>
                <a:lnTo>
                  <a:pt x="1937" y="1410"/>
                </a:lnTo>
                <a:lnTo>
                  <a:pt x="1938" y="1410"/>
                </a:lnTo>
                <a:lnTo>
                  <a:pt x="1942" y="1410"/>
                </a:lnTo>
                <a:lnTo>
                  <a:pt x="1946" y="1409"/>
                </a:lnTo>
                <a:lnTo>
                  <a:pt x="1943" y="1412"/>
                </a:lnTo>
                <a:lnTo>
                  <a:pt x="1940" y="1414"/>
                </a:lnTo>
                <a:lnTo>
                  <a:pt x="1936" y="1414"/>
                </a:lnTo>
                <a:lnTo>
                  <a:pt x="1934" y="1415"/>
                </a:lnTo>
                <a:lnTo>
                  <a:pt x="1919" y="1419"/>
                </a:lnTo>
                <a:lnTo>
                  <a:pt x="1904" y="1420"/>
                </a:lnTo>
                <a:lnTo>
                  <a:pt x="1902" y="1421"/>
                </a:lnTo>
                <a:lnTo>
                  <a:pt x="1899" y="1422"/>
                </a:lnTo>
                <a:lnTo>
                  <a:pt x="1897" y="1423"/>
                </a:lnTo>
                <a:lnTo>
                  <a:pt x="1896" y="1424"/>
                </a:lnTo>
                <a:lnTo>
                  <a:pt x="1894" y="1428"/>
                </a:lnTo>
                <a:lnTo>
                  <a:pt x="1894" y="1434"/>
                </a:lnTo>
                <a:lnTo>
                  <a:pt x="1891" y="1443"/>
                </a:lnTo>
                <a:lnTo>
                  <a:pt x="1888" y="1453"/>
                </a:lnTo>
                <a:lnTo>
                  <a:pt x="1888" y="1455"/>
                </a:lnTo>
                <a:lnTo>
                  <a:pt x="1889" y="1457"/>
                </a:lnTo>
                <a:lnTo>
                  <a:pt x="1890" y="1457"/>
                </a:lnTo>
                <a:lnTo>
                  <a:pt x="1894" y="1457"/>
                </a:lnTo>
                <a:lnTo>
                  <a:pt x="1894" y="1458"/>
                </a:lnTo>
                <a:lnTo>
                  <a:pt x="1895" y="1459"/>
                </a:lnTo>
                <a:lnTo>
                  <a:pt x="1894" y="1459"/>
                </a:lnTo>
                <a:lnTo>
                  <a:pt x="1894" y="1459"/>
                </a:lnTo>
                <a:lnTo>
                  <a:pt x="1891" y="1459"/>
                </a:lnTo>
                <a:lnTo>
                  <a:pt x="1890" y="1460"/>
                </a:lnTo>
                <a:lnTo>
                  <a:pt x="1890" y="1461"/>
                </a:lnTo>
                <a:lnTo>
                  <a:pt x="1889" y="1462"/>
                </a:lnTo>
                <a:lnTo>
                  <a:pt x="1887" y="1466"/>
                </a:lnTo>
                <a:lnTo>
                  <a:pt x="1885" y="1469"/>
                </a:lnTo>
                <a:lnTo>
                  <a:pt x="1884" y="1472"/>
                </a:lnTo>
                <a:lnTo>
                  <a:pt x="1884" y="1475"/>
                </a:lnTo>
                <a:lnTo>
                  <a:pt x="1883" y="1483"/>
                </a:lnTo>
                <a:lnTo>
                  <a:pt x="1881" y="1490"/>
                </a:lnTo>
                <a:lnTo>
                  <a:pt x="1883" y="1488"/>
                </a:lnTo>
                <a:lnTo>
                  <a:pt x="1885" y="1487"/>
                </a:lnTo>
                <a:lnTo>
                  <a:pt x="1886" y="1485"/>
                </a:lnTo>
                <a:lnTo>
                  <a:pt x="1886" y="1483"/>
                </a:lnTo>
                <a:lnTo>
                  <a:pt x="1887" y="1478"/>
                </a:lnTo>
                <a:lnTo>
                  <a:pt x="1889" y="1476"/>
                </a:lnTo>
                <a:lnTo>
                  <a:pt x="1891" y="1474"/>
                </a:lnTo>
                <a:lnTo>
                  <a:pt x="1896" y="1474"/>
                </a:lnTo>
                <a:lnTo>
                  <a:pt x="1897" y="1474"/>
                </a:lnTo>
                <a:lnTo>
                  <a:pt x="1898" y="1473"/>
                </a:lnTo>
                <a:lnTo>
                  <a:pt x="1898" y="1472"/>
                </a:lnTo>
                <a:lnTo>
                  <a:pt x="1898" y="1472"/>
                </a:lnTo>
                <a:lnTo>
                  <a:pt x="1911" y="1474"/>
                </a:lnTo>
                <a:lnTo>
                  <a:pt x="1923" y="1475"/>
                </a:lnTo>
                <a:lnTo>
                  <a:pt x="1925" y="1475"/>
                </a:lnTo>
                <a:lnTo>
                  <a:pt x="1927" y="1474"/>
                </a:lnTo>
                <a:lnTo>
                  <a:pt x="1930" y="1474"/>
                </a:lnTo>
                <a:lnTo>
                  <a:pt x="1931" y="1474"/>
                </a:lnTo>
                <a:lnTo>
                  <a:pt x="1933" y="1472"/>
                </a:lnTo>
                <a:lnTo>
                  <a:pt x="1933" y="1470"/>
                </a:lnTo>
                <a:lnTo>
                  <a:pt x="1934" y="1466"/>
                </a:lnTo>
                <a:lnTo>
                  <a:pt x="1934" y="1461"/>
                </a:lnTo>
                <a:lnTo>
                  <a:pt x="1935" y="1455"/>
                </a:lnTo>
                <a:lnTo>
                  <a:pt x="1936" y="1449"/>
                </a:lnTo>
                <a:lnTo>
                  <a:pt x="1935" y="1450"/>
                </a:lnTo>
                <a:lnTo>
                  <a:pt x="1934" y="1450"/>
                </a:lnTo>
                <a:lnTo>
                  <a:pt x="1935" y="1450"/>
                </a:lnTo>
                <a:lnTo>
                  <a:pt x="1936" y="1449"/>
                </a:lnTo>
                <a:lnTo>
                  <a:pt x="1940" y="1443"/>
                </a:lnTo>
                <a:lnTo>
                  <a:pt x="1941" y="1437"/>
                </a:lnTo>
                <a:lnTo>
                  <a:pt x="1943" y="1432"/>
                </a:lnTo>
                <a:lnTo>
                  <a:pt x="1945" y="1427"/>
                </a:lnTo>
                <a:lnTo>
                  <a:pt x="1945" y="1431"/>
                </a:lnTo>
                <a:lnTo>
                  <a:pt x="1944" y="1435"/>
                </a:lnTo>
                <a:lnTo>
                  <a:pt x="1938" y="1460"/>
                </a:lnTo>
                <a:lnTo>
                  <a:pt x="1934" y="1486"/>
                </a:lnTo>
                <a:lnTo>
                  <a:pt x="1929" y="1513"/>
                </a:lnTo>
                <a:lnTo>
                  <a:pt x="1923" y="1538"/>
                </a:lnTo>
                <a:lnTo>
                  <a:pt x="1922" y="1543"/>
                </a:lnTo>
                <a:lnTo>
                  <a:pt x="1920" y="1547"/>
                </a:lnTo>
                <a:lnTo>
                  <a:pt x="1918" y="1550"/>
                </a:lnTo>
                <a:lnTo>
                  <a:pt x="1914" y="1552"/>
                </a:lnTo>
                <a:lnTo>
                  <a:pt x="1912" y="1552"/>
                </a:lnTo>
                <a:lnTo>
                  <a:pt x="1908" y="1552"/>
                </a:lnTo>
                <a:lnTo>
                  <a:pt x="1906" y="1551"/>
                </a:lnTo>
                <a:lnTo>
                  <a:pt x="1903" y="1549"/>
                </a:lnTo>
                <a:lnTo>
                  <a:pt x="1902" y="1547"/>
                </a:lnTo>
                <a:lnTo>
                  <a:pt x="1901" y="1545"/>
                </a:lnTo>
                <a:lnTo>
                  <a:pt x="1900" y="1543"/>
                </a:lnTo>
                <a:lnTo>
                  <a:pt x="1900" y="1541"/>
                </a:lnTo>
                <a:lnTo>
                  <a:pt x="1901" y="1539"/>
                </a:lnTo>
                <a:lnTo>
                  <a:pt x="1902" y="1537"/>
                </a:lnTo>
                <a:lnTo>
                  <a:pt x="1902" y="1535"/>
                </a:lnTo>
                <a:lnTo>
                  <a:pt x="1900" y="1534"/>
                </a:lnTo>
                <a:lnTo>
                  <a:pt x="1897" y="1534"/>
                </a:lnTo>
                <a:lnTo>
                  <a:pt x="1896" y="1534"/>
                </a:lnTo>
                <a:lnTo>
                  <a:pt x="1894" y="1536"/>
                </a:lnTo>
                <a:lnTo>
                  <a:pt x="1892" y="1538"/>
                </a:lnTo>
                <a:lnTo>
                  <a:pt x="1892" y="1539"/>
                </a:lnTo>
                <a:lnTo>
                  <a:pt x="1891" y="1541"/>
                </a:lnTo>
                <a:lnTo>
                  <a:pt x="1891" y="1541"/>
                </a:lnTo>
                <a:lnTo>
                  <a:pt x="1891" y="1542"/>
                </a:lnTo>
                <a:lnTo>
                  <a:pt x="1890" y="1542"/>
                </a:lnTo>
                <a:lnTo>
                  <a:pt x="1891" y="1542"/>
                </a:lnTo>
                <a:lnTo>
                  <a:pt x="1891" y="1542"/>
                </a:lnTo>
                <a:lnTo>
                  <a:pt x="1891" y="1542"/>
                </a:lnTo>
                <a:lnTo>
                  <a:pt x="1891" y="1541"/>
                </a:lnTo>
                <a:lnTo>
                  <a:pt x="1894" y="1541"/>
                </a:lnTo>
                <a:lnTo>
                  <a:pt x="1896" y="1541"/>
                </a:lnTo>
                <a:lnTo>
                  <a:pt x="1898" y="1542"/>
                </a:lnTo>
                <a:lnTo>
                  <a:pt x="1899" y="1544"/>
                </a:lnTo>
                <a:lnTo>
                  <a:pt x="1899" y="1546"/>
                </a:lnTo>
                <a:lnTo>
                  <a:pt x="1898" y="1548"/>
                </a:lnTo>
                <a:lnTo>
                  <a:pt x="1897" y="1549"/>
                </a:lnTo>
                <a:lnTo>
                  <a:pt x="1896" y="1551"/>
                </a:lnTo>
                <a:lnTo>
                  <a:pt x="1892" y="1553"/>
                </a:lnTo>
                <a:lnTo>
                  <a:pt x="1889" y="1553"/>
                </a:lnTo>
                <a:lnTo>
                  <a:pt x="1886" y="1553"/>
                </a:lnTo>
                <a:lnTo>
                  <a:pt x="1883" y="1553"/>
                </a:lnTo>
                <a:lnTo>
                  <a:pt x="1882" y="1551"/>
                </a:lnTo>
                <a:lnTo>
                  <a:pt x="1881" y="1549"/>
                </a:lnTo>
                <a:lnTo>
                  <a:pt x="1880" y="1547"/>
                </a:lnTo>
                <a:lnTo>
                  <a:pt x="1881" y="1545"/>
                </a:lnTo>
                <a:lnTo>
                  <a:pt x="1882" y="1543"/>
                </a:lnTo>
                <a:lnTo>
                  <a:pt x="1880" y="1542"/>
                </a:lnTo>
                <a:lnTo>
                  <a:pt x="1879" y="1541"/>
                </a:lnTo>
                <a:lnTo>
                  <a:pt x="1876" y="1539"/>
                </a:lnTo>
                <a:lnTo>
                  <a:pt x="1874" y="1546"/>
                </a:lnTo>
                <a:lnTo>
                  <a:pt x="1872" y="1551"/>
                </a:lnTo>
                <a:lnTo>
                  <a:pt x="1874" y="1546"/>
                </a:lnTo>
                <a:lnTo>
                  <a:pt x="1876" y="1539"/>
                </a:lnTo>
                <a:lnTo>
                  <a:pt x="1876" y="1538"/>
                </a:lnTo>
                <a:lnTo>
                  <a:pt x="1876" y="1539"/>
                </a:lnTo>
                <a:lnTo>
                  <a:pt x="1875" y="1537"/>
                </a:lnTo>
                <a:lnTo>
                  <a:pt x="1874" y="1536"/>
                </a:lnTo>
                <a:lnTo>
                  <a:pt x="1872" y="1536"/>
                </a:lnTo>
                <a:lnTo>
                  <a:pt x="1871" y="1536"/>
                </a:lnTo>
                <a:lnTo>
                  <a:pt x="1866" y="1535"/>
                </a:lnTo>
                <a:lnTo>
                  <a:pt x="1862" y="1533"/>
                </a:lnTo>
                <a:lnTo>
                  <a:pt x="1858" y="1530"/>
                </a:lnTo>
                <a:lnTo>
                  <a:pt x="1856" y="1526"/>
                </a:lnTo>
                <a:lnTo>
                  <a:pt x="1854" y="1519"/>
                </a:lnTo>
                <a:lnTo>
                  <a:pt x="1852" y="1514"/>
                </a:lnTo>
                <a:lnTo>
                  <a:pt x="1851" y="1508"/>
                </a:lnTo>
                <a:lnTo>
                  <a:pt x="1851" y="1502"/>
                </a:lnTo>
                <a:lnTo>
                  <a:pt x="1851" y="1500"/>
                </a:lnTo>
                <a:lnTo>
                  <a:pt x="1850" y="1498"/>
                </a:lnTo>
                <a:lnTo>
                  <a:pt x="1847" y="1497"/>
                </a:lnTo>
                <a:lnTo>
                  <a:pt x="1845" y="1497"/>
                </a:lnTo>
                <a:lnTo>
                  <a:pt x="1845" y="1495"/>
                </a:lnTo>
                <a:lnTo>
                  <a:pt x="1847" y="1492"/>
                </a:lnTo>
                <a:lnTo>
                  <a:pt x="1849" y="1491"/>
                </a:lnTo>
                <a:lnTo>
                  <a:pt x="1851" y="1490"/>
                </a:lnTo>
                <a:lnTo>
                  <a:pt x="1855" y="1488"/>
                </a:lnTo>
                <a:lnTo>
                  <a:pt x="1859" y="1487"/>
                </a:lnTo>
                <a:lnTo>
                  <a:pt x="1862" y="1485"/>
                </a:lnTo>
                <a:lnTo>
                  <a:pt x="1865" y="1483"/>
                </a:lnTo>
                <a:lnTo>
                  <a:pt x="1866" y="1481"/>
                </a:lnTo>
                <a:lnTo>
                  <a:pt x="1866" y="1476"/>
                </a:lnTo>
                <a:lnTo>
                  <a:pt x="1862" y="1467"/>
                </a:lnTo>
                <a:lnTo>
                  <a:pt x="1859" y="1458"/>
                </a:lnTo>
                <a:lnTo>
                  <a:pt x="1854" y="1451"/>
                </a:lnTo>
                <a:lnTo>
                  <a:pt x="1847" y="1445"/>
                </a:lnTo>
                <a:lnTo>
                  <a:pt x="1840" y="1441"/>
                </a:lnTo>
                <a:lnTo>
                  <a:pt x="1831" y="1438"/>
                </a:lnTo>
                <a:lnTo>
                  <a:pt x="1822" y="1438"/>
                </a:lnTo>
                <a:lnTo>
                  <a:pt x="1811" y="1439"/>
                </a:lnTo>
                <a:lnTo>
                  <a:pt x="1803" y="1441"/>
                </a:lnTo>
                <a:lnTo>
                  <a:pt x="1795" y="1444"/>
                </a:lnTo>
                <a:lnTo>
                  <a:pt x="1788" y="1449"/>
                </a:lnTo>
                <a:lnTo>
                  <a:pt x="1779" y="1452"/>
                </a:lnTo>
                <a:lnTo>
                  <a:pt x="1780" y="1450"/>
                </a:lnTo>
                <a:lnTo>
                  <a:pt x="1782" y="1447"/>
                </a:lnTo>
                <a:lnTo>
                  <a:pt x="1784" y="1446"/>
                </a:lnTo>
                <a:lnTo>
                  <a:pt x="1786" y="1445"/>
                </a:lnTo>
                <a:lnTo>
                  <a:pt x="1796" y="1441"/>
                </a:lnTo>
                <a:lnTo>
                  <a:pt x="1805" y="1438"/>
                </a:lnTo>
                <a:lnTo>
                  <a:pt x="1814" y="1435"/>
                </a:lnTo>
                <a:lnTo>
                  <a:pt x="1825" y="1434"/>
                </a:lnTo>
                <a:lnTo>
                  <a:pt x="1831" y="1434"/>
                </a:lnTo>
                <a:lnTo>
                  <a:pt x="1838" y="1436"/>
                </a:lnTo>
                <a:lnTo>
                  <a:pt x="1843" y="1438"/>
                </a:lnTo>
                <a:lnTo>
                  <a:pt x="1849" y="1441"/>
                </a:lnTo>
                <a:lnTo>
                  <a:pt x="1854" y="1445"/>
                </a:lnTo>
                <a:lnTo>
                  <a:pt x="1858" y="1450"/>
                </a:lnTo>
                <a:lnTo>
                  <a:pt x="1861" y="1456"/>
                </a:lnTo>
                <a:lnTo>
                  <a:pt x="1865" y="1462"/>
                </a:lnTo>
                <a:lnTo>
                  <a:pt x="1866" y="1465"/>
                </a:lnTo>
                <a:lnTo>
                  <a:pt x="1866" y="1467"/>
                </a:lnTo>
                <a:lnTo>
                  <a:pt x="1867" y="1469"/>
                </a:lnTo>
                <a:lnTo>
                  <a:pt x="1869" y="1468"/>
                </a:lnTo>
                <a:lnTo>
                  <a:pt x="1873" y="1467"/>
                </a:lnTo>
                <a:lnTo>
                  <a:pt x="1876" y="1466"/>
                </a:lnTo>
                <a:lnTo>
                  <a:pt x="1879" y="1463"/>
                </a:lnTo>
                <a:lnTo>
                  <a:pt x="1880" y="1462"/>
                </a:lnTo>
                <a:lnTo>
                  <a:pt x="1880" y="1460"/>
                </a:lnTo>
                <a:lnTo>
                  <a:pt x="1880" y="1458"/>
                </a:lnTo>
                <a:lnTo>
                  <a:pt x="1875" y="1445"/>
                </a:lnTo>
                <a:lnTo>
                  <a:pt x="1869" y="1434"/>
                </a:lnTo>
                <a:lnTo>
                  <a:pt x="1867" y="1430"/>
                </a:lnTo>
                <a:lnTo>
                  <a:pt x="1864" y="1429"/>
                </a:lnTo>
                <a:lnTo>
                  <a:pt x="1861" y="1429"/>
                </a:lnTo>
                <a:lnTo>
                  <a:pt x="1857" y="1431"/>
                </a:lnTo>
                <a:lnTo>
                  <a:pt x="1857" y="1432"/>
                </a:lnTo>
                <a:lnTo>
                  <a:pt x="1856" y="1434"/>
                </a:lnTo>
                <a:lnTo>
                  <a:pt x="1856" y="1434"/>
                </a:lnTo>
                <a:lnTo>
                  <a:pt x="1856" y="1434"/>
                </a:lnTo>
                <a:lnTo>
                  <a:pt x="1856" y="1432"/>
                </a:lnTo>
                <a:lnTo>
                  <a:pt x="1857" y="1431"/>
                </a:lnTo>
                <a:lnTo>
                  <a:pt x="1856" y="1429"/>
                </a:lnTo>
                <a:lnTo>
                  <a:pt x="1856" y="1428"/>
                </a:lnTo>
                <a:lnTo>
                  <a:pt x="1855" y="1427"/>
                </a:lnTo>
                <a:lnTo>
                  <a:pt x="1853" y="1428"/>
                </a:lnTo>
                <a:lnTo>
                  <a:pt x="1851" y="1429"/>
                </a:lnTo>
                <a:lnTo>
                  <a:pt x="1849" y="1429"/>
                </a:lnTo>
                <a:lnTo>
                  <a:pt x="1852" y="1425"/>
                </a:lnTo>
                <a:lnTo>
                  <a:pt x="1853" y="1423"/>
                </a:lnTo>
                <a:lnTo>
                  <a:pt x="1851" y="1421"/>
                </a:lnTo>
                <a:lnTo>
                  <a:pt x="1845" y="1420"/>
                </a:lnTo>
                <a:lnTo>
                  <a:pt x="1839" y="1419"/>
                </a:lnTo>
                <a:lnTo>
                  <a:pt x="1832" y="1419"/>
                </a:lnTo>
                <a:lnTo>
                  <a:pt x="1827" y="1419"/>
                </a:lnTo>
                <a:lnTo>
                  <a:pt x="1821" y="1420"/>
                </a:lnTo>
                <a:lnTo>
                  <a:pt x="1810" y="1423"/>
                </a:lnTo>
                <a:lnTo>
                  <a:pt x="1798" y="1428"/>
                </a:lnTo>
                <a:lnTo>
                  <a:pt x="1796" y="1429"/>
                </a:lnTo>
                <a:lnTo>
                  <a:pt x="1795" y="1430"/>
                </a:lnTo>
                <a:lnTo>
                  <a:pt x="1793" y="1430"/>
                </a:lnTo>
                <a:lnTo>
                  <a:pt x="1791" y="1428"/>
                </a:lnTo>
                <a:lnTo>
                  <a:pt x="1793" y="1427"/>
                </a:lnTo>
                <a:lnTo>
                  <a:pt x="1794" y="1425"/>
                </a:lnTo>
                <a:close/>
                <a:moveTo>
                  <a:pt x="1795" y="1411"/>
                </a:moveTo>
                <a:lnTo>
                  <a:pt x="1794" y="1410"/>
                </a:lnTo>
                <a:lnTo>
                  <a:pt x="1794" y="1410"/>
                </a:lnTo>
                <a:lnTo>
                  <a:pt x="1794" y="1410"/>
                </a:lnTo>
                <a:lnTo>
                  <a:pt x="1795" y="1411"/>
                </a:lnTo>
                <a:close/>
                <a:moveTo>
                  <a:pt x="1923" y="1411"/>
                </a:moveTo>
                <a:lnTo>
                  <a:pt x="1926" y="1410"/>
                </a:lnTo>
                <a:lnTo>
                  <a:pt x="1926" y="1409"/>
                </a:lnTo>
                <a:lnTo>
                  <a:pt x="1927" y="1407"/>
                </a:lnTo>
                <a:lnTo>
                  <a:pt x="1927" y="1406"/>
                </a:lnTo>
                <a:lnTo>
                  <a:pt x="1927" y="1401"/>
                </a:lnTo>
                <a:lnTo>
                  <a:pt x="1925" y="1398"/>
                </a:lnTo>
                <a:lnTo>
                  <a:pt x="1922" y="1399"/>
                </a:lnTo>
                <a:lnTo>
                  <a:pt x="1921" y="1400"/>
                </a:lnTo>
                <a:lnTo>
                  <a:pt x="1920" y="1401"/>
                </a:lnTo>
                <a:lnTo>
                  <a:pt x="1921" y="1404"/>
                </a:lnTo>
                <a:lnTo>
                  <a:pt x="1921" y="1406"/>
                </a:lnTo>
                <a:lnTo>
                  <a:pt x="1921" y="1408"/>
                </a:lnTo>
                <a:lnTo>
                  <a:pt x="1921" y="1410"/>
                </a:lnTo>
                <a:lnTo>
                  <a:pt x="1923" y="1411"/>
                </a:lnTo>
                <a:close/>
                <a:moveTo>
                  <a:pt x="1856" y="1419"/>
                </a:moveTo>
                <a:lnTo>
                  <a:pt x="1857" y="1419"/>
                </a:lnTo>
                <a:lnTo>
                  <a:pt x="1859" y="1420"/>
                </a:lnTo>
                <a:lnTo>
                  <a:pt x="1862" y="1422"/>
                </a:lnTo>
                <a:lnTo>
                  <a:pt x="1867" y="1425"/>
                </a:lnTo>
                <a:lnTo>
                  <a:pt x="1871" y="1431"/>
                </a:lnTo>
                <a:lnTo>
                  <a:pt x="1875" y="1437"/>
                </a:lnTo>
                <a:lnTo>
                  <a:pt x="1876" y="1439"/>
                </a:lnTo>
                <a:lnTo>
                  <a:pt x="1877" y="1441"/>
                </a:lnTo>
                <a:lnTo>
                  <a:pt x="1879" y="1444"/>
                </a:lnTo>
                <a:lnTo>
                  <a:pt x="1881" y="1446"/>
                </a:lnTo>
                <a:lnTo>
                  <a:pt x="1883" y="1445"/>
                </a:lnTo>
                <a:lnTo>
                  <a:pt x="1885" y="1442"/>
                </a:lnTo>
                <a:lnTo>
                  <a:pt x="1887" y="1439"/>
                </a:lnTo>
                <a:lnTo>
                  <a:pt x="1889" y="1436"/>
                </a:lnTo>
                <a:lnTo>
                  <a:pt x="1889" y="1432"/>
                </a:lnTo>
                <a:lnTo>
                  <a:pt x="1888" y="1431"/>
                </a:lnTo>
                <a:lnTo>
                  <a:pt x="1887" y="1431"/>
                </a:lnTo>
                <a:lnTo>
                  <a:pt x="1885" y="1431"/>
                </a:lnTo>
                <a:lnTo>
                  <a:pt x="1884" y="1432"/>
                </a:lnTo>
                <a:lnTo>
                  <a:pt x="1884" y="1432"/>
                </a:lnTo>
                <a:lnTo>
                  <a:pt x="1884" y="1432"/>
                </a:lnTo>
                <a:lnTo>
                  <a:pt x="1883" y="1431"/>
                </a:lnTo>
                <a:lnTo>
                  <a:pt x="1884" y="1431"/>
                </a:lnTo>
                <a:lnTo>
                  <a:pt x="1884" y="1431"/>
                </a:lnTo>
                <a:lnTo>
                  <a:pt x="1888" y="1424"/>
                </a:lnTo>
                <a:lnTo>
                  <a:pt x="1892" y="1417"/>
                </a:lnTo>
                <a:lnTo>
                  <a:pt x="1892" y="1414"/>
                </a:lnTo>
                <a:lnTo>
                  <a:pt x="1892" y="1412"/>
                </a:lnTo>
                <a:lnTo>
                  <a:pt x="1891" y="1412"/>
                </a:lnTo>
                <a:lnTo>
                  <a:pt x="1888" y="1414"/>
                </a:lnTo>
                <a:lnTo>
                  <a:pt x="1888" y="1409"/>
                </a:lnTo>
                <a:lnTo>
                  <a:pt x="1886" y="1406"/>
                </a:lnTo>
                <a:lnTo>
                  <a:pt x="1880" y="1408"/>
                </a:lnTo>
                <a:lnTo>
                  <a:pt x="1873" y="1408"/>
                </a:lnTo>
                <a:lnTo>
                  <a:pt x="1873" y="1409"/>
                </a:lnTo>
                <a:lnTo>
                  <a:pt x="1873" y="1410"/>
                </a:lnTo>
                <a:lnTo>
                  <a:pt x="1869" y="1412"/>
                </a:lnTo>
                <a:lnTo>
                  <a:pt x="1867" y="1415"/>
                </a:lnTo>
                <a:lnTo>
                  <a:pt x="1867" y="1414"/>
                </a:lnTo>
                <a:lnTo>
                  <a:pt x="1867" y="1412"/>
                </a:lnTo>
                <a:lnTo>
                  <a:pt x="1867" y="1411"/>
                </a:lnTo>
                <a:lnTo>
                  <a:pt x="1866" y="1410"/>
                </a:lnTo>
                <a:lnTo>
                  <a:pt x="1862" y="1411"/>
                </a:lnTo>
                <a:lnTo>
                  <a:pt x="1860" y="1414"/>
                </a:lnTo>
                <a:lnTo>
                  <a:pt x="1859" y="1412"/>
                </a:lnTo>
                <a:lnTo>
                  <a:pt x="1857" y="1411"/>
                </a:lnTo>
                <a:lnTo>
                  <a:pt x="1856" y="1410"/>
                </a:lnTo>
                <a:lnTo>
                  <a:pt x="1854" y="1411"/>
                </a:lnTo>
                <a:lnTo>
                  <a:pt x="1852" y="1413"/>
                </a:lnTo>
                <a:lnTo>
                  <a:pt x="1851" y="1414"/>
                </a:lnTo>
                <a:lnTo>
                  <a:pt x="1852" y="1416"/>
                </a:lnTo>
                <a:lnTo>
                  <a:pt x="1853" y="1417"/>
                </a:lnTo>
                <a:lnTo>
                  <a:pt x="1854" y="1417"/>
                </a:lnTo>
                <a:lnTo>
                  <a:pt x="1856" y="1419"/>
                </a:lnTo>
                <a:close/>
                <a:moveTo>
                  <a:pt x="1873" y="1480"/>
                </a:moveTo>
                <a:lnTo>
                  <a:pt x="1875" y="1478"/>
                </a:lnTo>
                <a:lnTo>
                  <a:pt x="1877" y="1476"/>
                </a:lnTo>
                <a:lnTo>
                  <a:pt x="1879" y="1474"/>
                </a:lnTo>
                <a:lnTo>
                  <a:pt x="1880" y="1472"/>
                </a:lnTo>
                <a:lnTo>
                  <a:pt x="1879" y="1470"/>
                </a:lnTo>
                <a:lnTo>
                  <a:pt x="1876" y="1469"/>
                </a:lnTo>
                <a:lnTo>
                  <a:pt x="1874" y="1470"/>
                </a:lnTo>
                <a:lnTo>
                  <a:pt x="1872" y="1472"/>
                </a:lnTo>
                <a:lnTo>
                  <a:pt x="1871" y="1474"/>
                </a:lnTo>
                <a:lnTo>
                  <a:pt x="1870" y="1476"/>
                </a:lnTo>
                <a:lnTo>
                  <a:pt x="1871" y="1478"/>
                </a:lnTo>
                <a:lnTo>
                  <a:pt x="1873" y="1480"/>
                </a:lnTo>
                <a:close/>
                <a:moveTo>
                  <a:pt x="1891" y="1395"/>
                </a:moveTo>
                <a:lnTo>
                  <a:pt x="1891" y="1397"/>
                </a:lnTo>
                <a:lnTo>
                  <a:pt x="1892" y="1399"/>
                </a:lnTo>
                <a:lnTo>
                  <a:pt x="1894" y="1399"/>
                </a:lnTo>
                <a:lnTo>
                  <a:pt x="1896" y="1398"/>
                </a:lnTo>
                <a:lnTo>
                  <a:pt x="1898" y="1395"/>
                </a:lnTo>
                <a:lnTo>
                  <a:pt x="1899" y="1391"/>
                </a:lnTo>
                <a:lnTo>
                  <a:pt x="1899" y="1384"/>
                </a:lnTo>
                <a:lnTo>
                  <a:pt x="1899" y="1380"/>
                </a:lnTo>
                <a:lnTo>
                  <a:pt x="1898" y="1378"/>
                </a:lnTo>
                <a:lnTo>
                  <a:pt x="1898" y="1376"/>
                </a:lnTo>
                <a:lnTo>
                  <a:pt x="1898" y="1370"/>
                </a:lnTo>
                <a:lnTo>
                  <a:pt x="1899" y="1366"/>
                </a:lnTo>
                <a:lnTo>
                  <a:pt x="1902" y="1361"/>
                </a:lnTo>
                <a:lnTo>
                  <a:pt x="1905" y="1356"/>
                </a:lnTo>
                <a:lnTo>
                  <a:pt x="1895" y="1359"/>
                </a:lnTo>
                <a:lnTo>
                  <a:pt x="1884" y="1361"/>
                </a:lnTo>
                <a:lnTo>
                  <a:pt x="1873" y="1363"/>
                </a:lnTo>
                <a:lnTo>
                  <a:pt x="1862" y="1365"/>
                </a:lnTo>
                <a:lnTo>
                  <a:pt x="1861" y="1366"/>
                </a:lnTo>
                <a:lnTo>
                  <a:pt x="1860" y="1366"/>
                </a:lnTo>
                <a:lnTo>
                  <a:pt x="1861" y="1370"/>
                </a:lnTo>
                <a:lnTo>
                  <a:pt x="1861" y="1375"/>
                </a:lnTo>
                <a:lnTo>
                  <a:pt x="1862" y="1377"/>
                </a:lnTo>
                <a:lnTo>
                  <a:pt x="1862" y="1379"/>
                </a:lnTo>
                <a:lnTo>
                  <a:pt x="1864" y="1381"/>
                </a:lnTo>
                <a:lnTo>
                  <a:pt x="1866" y="1382"/>
                </a:lnTo>
                <a:lnTo>
                  <a:pt x="1866" y="1382"/>
                </a:lnTo>
                <a:lnTo>
                  <a:pt x="1865" y="1384"/>
                </a:lnTo>
                <a:lnTo>
                  <a:pt x="1864" y="1386"/>
                </a:lnTo>
                <a:lnTo>
                  <a:pt x="1864" y="1389"/>
                </a:lnTo>
                <a:lnTo>
                  <a:pt x="1864" y="1392"/>
                </a:lnTo>
                <a:lnTo>
                  <a:pt x="1864" y="1394"/>
                </a:lnTo>
                <a:lnTo>
                  <a:pt x="1864" y="1397"/>
                </a:lnTo>
                <a:lnTo>
                  <a:pt x="1864" y="1399"/>
                </a:lnTo>
                <a:lnTo>
                  <a:pt x="1865" y="1401"/>
                </a:lnTo>
                <a:lnTo>
                  <a:pt x="1867" y="1402"/>
                </a:lnTo>
                <a:lnTo>
                  <a:pt x="1869" y="1404"/>
                </a:lnTo>
                <a:lnTo>
                  <a:pt x="1870" y="1404"/>
                </a:lnTo>
                <a:lnTo>
                  <a:pt x="1872" y="1404"/>
                </a:lnTo>
                <a:lnTo>
                  <a:pt x="1874" y="1400"/>
                </a:lnTo>
                <a:lnTo>
                  <a:pt x="1874" y="1398"/>
                </a:lnTo>
                <a:lnTo>
                  <a:pt x="1874" y="1395"/>
                </a:lnTo>
                <a:lnTo>
                  <a:pt x="1874" y="1393"/>
                </a:lnTo>
                <a:lnTo>
                  <a:pt x="1874" y="1390"/>
                </a:lnTo>
                <a:lnTo>
                  <a:pt x="1873" y="1389"/>
                </a:lnTo>
                <a:lnTo>
                  <a:pt x="1871" y="1389"/>
                </a:lnTo>
                <a:lnTo>
                  <a:pt x="1869" y="1389"/>
                </a:lnTo>
                <a:lnTo>
                  <a:pt x="1871" y="1386"/>
                </a:lnTo>
                <a:lnTo>
                  <a:pt x="1873" y="1383"/>
                </a:lnTo>
                <a:lnTo>
                  <a:pt x="1873" y="1381"/>
                </a:lnTo>
                <a:lnTo>
                  <a:pt x="1872" y="1378"/>
                </a:lnTo>
                <a:lnTo>
                  <a:pt x="1873" y="1373"/>
                </a:lnTo>
                <a:lnTo>
                  <a:pt x="1873" y="1366"/>
                </a:lnTo>
                <a:lnTo>
                  <a:pt x="1874" y="1370"/>
                </a:lnTo>
                <a:lnTo>
                  <a:pt x="1874" y="1375"/>
                </a:lnTo>
                <a:lnTo>
                  <a:pt x="1874" y="1377"/>
                </a:lnTo>
                <a:lnTo>
                  <a:pt x="1874" y="1378"/>
                </a:lnTo>
                <a:lnTo>
                  <a:pt x="1876" y="1379"/>
                </a:lnTo>
                <a:lnTo>
                  <a:pt x="1879" y="1379"/>
                </a:lnTo>
                <a:lnTo>
                  <a:pt x="1877" y="1381"/>
                </a:lnTo>
                <a:lnTo>
                  <a:pt x="1876" y="1384"/>
                </a:lnTo>
                <a:lnTo>
                  <a:pt x="1875" y="1388"/>
                </a:lnTo>
                <a:lnTo>
                  <a:pt x="1876" y="1391"/>
                </a:lnTo>
                <a:lnTo>
                  <a:pt x="1881" y="1388"/>
                </a:lnTo>
                <a:lnTo>
                  <a:pt x="1884" y="1385"/>
                </a:lnTo>
                <a:lnTo>
                  <a:pt x="1885" y="1383"/>
                </a:lnTo>
                <a:lnTo>
                  <a:pt x="1886" y="1381"/>
                </a:lnTo>
                <a:lnTo>
                  <a:pt x="1886" y="1379"/>
                </a:lnTo>
                <a:lnTo>
                  <a:pt x="1885" y="1376"/>
                </a:lnTo>
                <a:lnTo>
                  <a:pt x="1888" y="1376"/>
                </a:lnTo>
                <a:lnTo>
                  <a:pt x="1891" y="1377"/>
                </a:lnTo>
                <a:lnTo>
                  <a:pt x="1889" y="1379"/>
                </a:lnTo>
                <a:lnTo>
                  <a:pt x="1888" y="1382"/>
                </a:lnTo>
                <a:lnTo>
                  <a:pt x="1888" y="1384"/>
                </a:lnTo>
                <a:lnTo>
                  <a:pt x="1889" y="1388"/>
                </a:lnTo>
                <a:lnTo>
                  <a:pt x="1894" y="1384"/>
                </a:lnTo>
                <a:lnTo>
                  <a:pt x="1898" y="1381"/>
                </a:lnTo>
                <a:lnTo>
                  <a:pt x="1895" y="1389"/>
                </a:lnTo>
                <a:lnTo>
                  <a:pt x="1891" y="1395"/>
                </a:lnTo>
                <a:close/>
                <a:moveTo>
                  <a:pt x="1877" y="1508"/>
                </a:moveTo>
                <a:lnTo>
                  <a:pt x="1875" y="1509"/>
                </a:lnTo>
                <a:lnTo>
                  <a:pt x="1875" y="1512"/>
                </a:lnTo>
                <a:lnTo>
                  <a:pt x="1873" y="1520"/>
                </a:lnTo>
                <a:lnTo>
                  <a:pt x="1872" y="1529"/>
                </a:lnTo>
                <a:lnTo>
                  <a:pt x="1872" y="1532"/>
                </a:lnTo>
                <a:lnTo>
                  <a:pt x="1873" y="1533"/>
                </a:lnTo>
                <a:lnTo>
                  <a:pt x="1874" y="1533"/>
                </a:lnTo>
                <a:lnTo>
                  <a:pt x="1875" y="1532"/>
                </a:lnTo>
                <a:lnTo>
                  <a:pt x="1875" y="1531"/>
                </a:lnTo>
                <a:lnTo>
                  <a:pt x="1876" y="1530"/>
                </a:lnTo>
                <a:lnTo>
                  <a:pt x="1879" y="1521"/>
                </a:lnTo>
                <a:lnTo>
                  <a:pt x="1880" y="1513"/>
                </a:lnTo>
                <a:lnTo>
                  <a:pt x="1880" y="1512"/>
                </a:lnTo>
                <a:lnTo>
                  <a:pt x="1880" y="1509"/>
                </a:lnTo>
                <a:lnTo>
                  <a:pt x="1880" y="1508"/>
                </a:lnTo>
                <a:lnTo>
                  <a:pt x="1877" y="1508"/>
                </a:lnTo>
                <a:close/>
                <a:moveTo>
                  <a:pt x="2241" y="1618"/>
                </a:moveTo>
                <a:lnTo>
                  <a:pt x="2241" y="1620"/>
                </a:lnTo>
                <a:lnTo>
                  <a:pt x="2244" y="1622"/>
                </a:lnTo>
                <a:lnTo>
                  <a:pt x="2246" y="1621"/>
                </a:lnTo>
                <a:lnTo>
                  <a:pt x="2247" y="1620"/>
                </a:lnTo>
                <a:lnTo>
                  <a:pt x="2248" y="1618"/>
                </a:lnTo>
                <a:lnTo>
                  <a:pt x="2249" y="1616"/>
                </a:lnTo>
                <a:lnTo>
                  <a:pt x="2249" y="1614"/>
                </a:lnTo>
                <a:lnTo>
                  <a:pt x="2249" y="1613"/>
                </a:lnTo>
                <a:lnTo>
                  <a:pt x="2248" y="1613"/>
                </a:lnTo>
                <a:lnTo>
                  <a:pt x="2246" y="1613"/>
                </a:lnTo>
                <a:lnTo>
                  <a:pt x="2245" y="1613"/>
                </a:lnTo>
                <a:lnTo>
                  <a:pt x="2243" y="1614"/>
                </a:lnTo>
                <a:lnTo>
                  <a:pt x="2241" y="1615"/>
                </a:lnTo>
                <a:lnTo>
                  <a:pt x="2241" y="1618"/>
                </a:lnTo>
                <a:close/>
                <a:moveTo>
                  <a:pt x="2201" y="1609"/>
                </a:moveTo>
                <a:lnTo>
                  <a:pt x="2204" y="1605"/>
                </a:lnTo>
                <a:lnTo>
                  <a:pt x="2207" y="1600"/>
                </a:lnTo>
                <a:lnTo>
                  <a:pt x="2202" y="1600"/>
                </a:lnTo>
                <a:lnTo>
                  <a:pt x="2200" y="1602"/>
                </a:lnTo>
                <a:lnTo>
                  <a:pt x="2200" y="1605"/>
                </a:lnTo>
                <a:lnTo>
                  <a:pt x="2201" y="1609"/>
                </a:lnTo>
                <a:close/>
                <a:moveTo>
                  <a:pt x="2213" y="1636"/>
                </a:moveTo>
                <a:lnTo>
                  <a:pt x="2214" y="1636"/>
                </a:lnTo>
                <a:lnTo>
                  <a:pt x="2213" y="1636"/>
                </a:lnTo>
                <a:lnTo>
                  <a:pt x="2213" y="1635"/>
                </a:lnTo>
                <a:lnTo>
                  <a:pt x="2209" y="1634"/>
                </a:lnTo>
                <a:lnTo>
                  <a:pt x="2207" y="1631"/>
                </a:lnTo>
                <a:lnTo>
                  <a:pt x="2209" y="1634"/>
                </a:lnTo>
                <a:lnTo>
                  <a:pt x="2213" y="1635"/>
                </a:lnTo>
                <a:lnTo>
                  <a:pt x="2215" y="1628"/>
                </a:lnTo>
                <a:lnTo>
                  <a:pt x="2217" y="1622"/>
                </a:lnTo>
                <a:lnTo>
                  <a:pt x="2218" y="1618"/>
                </a:lnTo>
                <a:lnTo>
                  <a:pt x="2219" y="1614"/>
                </a:lnTo>
                <a:lnTo>
                  <a:pt x="2221" y="1611"/>
                </a:lnTo>
                <a:lnTo>
                  <a:pt x="2224" y="1609"/>
                </a:lnTo>
                <a:lnTo>
                  <a:pt x="2224" y="1608"/>
                </a:lnTo>
                <a:lnTo>
                  <a:pt x="2224" y="1606"/>
                </a:lnTo>
                <a:lnTo>
                  <a:pt x="2225" y="1604"/>
                </a:lnTo>
                <a:lnTo>
                  <a:pt x="2229" y="1604"/>
                </a:lnTo>
                <a:lnTo>
                  <a:pt x="2232" y="1603"/>
                </a:lnTo>
                <a:lnTo>
                  <a:pt x="2235" y="1603"/>
                </a:lnTo>
                <a:lnTo>
                  <a:pt x="2236" y="1603"/>
                </a:lnTo>
                <a:lnTo>
                  <a:pt x="2237" y="1604"/>
                </a:lnTo>
                <a:lnTo>
                  <a:pt x="2238" y="1606"/>
                </a:lnTo>
                <a:lnTo>
                  <a:pt x="2239" y="1609"/>
                </a:lnTo>
                <a:lnTo>
                  <a:pt x="2239" y="1604"/>
                </a:lnTo>
                <a:lnTo>
                  <a:pt x="2239" y="1600"/>
                </a:lnTo>
                <a:lnTo>
                  <a:pt x="2237" y="1598"/>
                </a:lnTo>
                <a:lnTo>
                  <a:pt x="2235" y="1599"/>
                </a:lnTo>
                <a:lnTo>
                  <a:pt x="2230" y="1599"/>
                </a:lnTo>
                <a:lnTo>
                  <a:pt x="2225" y="1598"/>
                </a:lnTo>
                <a:lnTo>
                  <a:pt x="2223" y="1598"/>
                </a:lnTo>
                <a:lnTo>
                  <a:pt x="2221" y="1599"/>
                </a:lnTo>
                <a:lnTo>
                  <a:pt x="2219" y="1602"/>
                </a:lnTo>
                <a:lnTo>
                  <a:pt x="2219" y="1605"/>
                </a:lnTo>
                <a:lnTo>
                  <a:pt x="2217" y="1604"/>
                </a:lnTo>
                <a:lnTo>
                  <a:pt x="2216" y="1603"/>
                </a:lnTo>
                <a:lnTo>
                  <a:pt x="2215" y="1604"/>
                </a:lnTo>
                <a:lnTo>
                  <a:pt x="2214" y="1606"/>
                </a:lnTo>
                <a:lnTo>
                  <a:pt x="2214" y="1610"/>
                </a:lnTo>
                <a:lnTo>
                  <a:pt x="2214" y="1614"/>
                </a:lnTo>
                <a:lnTo>
                  <a:pt x="2214" y="1615"/>
                </a:lnTo>
                <a:lnTo>
                  <a:pt x="2214" y="1616"/>
                </a:lnTo>
                <a:lnTo>
                  <a:pt x="2211" y="1618"/>
                </a:lnTo>
                <a:lnTo>
                  <a:pt x="2210" y="1618"/>
                </a:lnTo>
                <a:lnTo>
                  <a:pt x="2206" y="1618"/>
                </a:lnTo>
                <a:lnTo>
                  <a:pt x="2203" y="1616"/>
                </a:lnTo>
                <a:lnTo>
                  <a:pt x="2200" y="1614"/>
                </a:lnTo>
                <a:lnTo>
                  <a:pt x="2198" y="1613"/>
                </a:lnTo>
                <a:lnTo>
                  <a:pt x="2196" y="1611"/>
                </a:lnTo>
                <a:lnTo>
                  <a:pt x="2195" y="1608"/>
                </a:lnTo>
                <a:lnTo>
                  <a:pt x="2195" y="1605"/>
                </a:lnTo>
                <a:lnTo>
                  <a:pt x="2195" y="1599"/>
                </a:lnTo>
                <a:lnTo>
                  <a:pt x="2188" y="1600"/>
                </a:lnTo>
                <a:lnTo>
                  <a:pt x="2180" y="1599"/>
                </a:lnTo>
                <a:lnTo>
                  <a:pt x="2178" y="1585"/>
                </a:lnTo>
                <a:lnTo>
                  <a:pt x="2177" y="1573"/>
                </a:lnTo>
                <a:lnTo>
                  <a:pt x="2177" y="1560"/>
                </a:lnTo>
                <a:lnTo>
                  <a:pt x="2178" y="1546"/>
                </a:lnTo>
                <a:lnTo>
                  <a:pt x="2180" y="1534"/>
                </a:lnTo>
                <a:lnTo>
                  <a:pt x="2185" y="1521"/>
                </a:lnTo>
                <a:lnTo>
                  <a:pt x="2190" y="1509"/>
                </a:lnTo>
                <a:lnTo>
                  <a:pt x="2198" y="1498"/>
                </a:lnTo>
                <a:lnTo>
                  <a:pt x="2202" y="1491"/>
                </a:lnTo>
                <a:lnTo>
                  <a:pt x="2207" y="1486"/>
                </a:lnTo>
                <a:lnTo>
                  <a:pt x="2210" y="1484"/>
                </a:lnTo>
                <a:lnTo>
                  <a:pt x="2214" y="1482"/>
                </a:lnTo>
                <a:lnTo>
                  <a:pt x="2217" y="1480"/>
                </a:lnTo>
                <a:lnTo>
                  <a:pt x="2221" y="1478"/>
                </a:lnTo>
                <a:lnTo>
                  <a:pt x="2228" y="1478"/>
                </a:lnTo>
                <a:lnTo>
                  <a:pt x="2233" y="1480"/>
                </a:lnTo>
                <a:lnTo>
                  <a:pt x="2244" y="1486"/>
                </a:lnTo>
                <a:lnTo>
                  <a:pt x="2254" y="1492"/>
                </a:lnTo>
                <a:lnTo>
                  <a:pt x="2265" y="1499"/>
                </a:lnTo>
                <a:lnTo>
                  <a:pt x="2275" y="1506"/>
                </a:lnTo>
                <a:lnTo>
                  <a:pt x="2294" y="1522"/>
                </a:lnTo>
                <a:lnTo>
                  <a:pt x="2313" y="1538"/>
                </a:lnTo>
                <a:lnTo>
                  <a:pt x="2323" y="1549"/>
                </a:lnTo>
                <a:lnTo>
                  <a:pt x="2332" y="1560"/>
                </a:lnTo>
                <a:lnTo>
                  <a:pt x="2342" y="1570"/>
                </a:lnTo>
                <a:lnTo>
                  <a:pt x="2351" y="1581"/>
                </a:lnTo>
                <a:lnTo>
                  <a:pt x="2352" y="1581"/>
                </a:lnTo>
                <a:lnTo>
                  <a:pt x="2352" y="1582"/>
                </a:lnTo>
                <a:lnTo>
                  <a:pt x="2352" y="1581"/>
                </a:lnTo>
                <a:lnTo>
                  <a:pt x="2351" y="1581"/>
                </a:lnTo>
                <a:lnTo>
                  <a:pt x="2352" y="1582"/>
                </a:lnTo>
                <a:lnTo>
                  <a:pt x="2352" y="1583"/>
                </a:lnTo>
                <a:lnTo>
                  <a:pt x="2353" y="1583"/>
                </a:lnTo>
                <a:lnTo>
                  <a:pt x="2360" y="1591"/>
                </a:lnTo>
                <a:lnTo>
                  <a:pt x="2367" y="1598"/>
                </a:lnTo>
                <a:lnTo>
                  <a:pt x="2360" y="1591"/>
                </a:lnTo>
                <a:lnTo>
                  <a:pt x="2353" y="1583"/>
                </a:lnTo>
                <a:lnTo>
                  <a:pt x="2355" y="1588"/>
                </a:lnTo>
                <a:lnTo>
                  <a:pt x="2356" y="1591"/>
                </a:lnTo>
                <a:lnTo>
                  <a:pt x="2356" y="1593"/>
                </a:lnTo>
                <a:lnTo>
                  <a:pt x="2354" y="1595"/>
                </a:lnTo>
                <a:lnTo>
                  <a:pt x="2352" y="1595"/>
                </a:lnTo>
                <a:lnTo>
                  <a:pt x="2351" y="1594"/>
                </a:lnTo>
                <a:lnTo>
                  <a:pt x="2351" y="1591"/>
                </a:lnTo>
                <a:lnTo>
                  <a:pt x="2349" y="1590"/>
                </a:lnTo>
                <a:lnTo>
                  <a:pt x="2345" y="1590"/>
                </a:lnTo>
                <a:lnTo>
                  <a:pt x="2343" y="1590"/>
                </a:lnTo>
                <a:lnTo>
                  <a:pt x="2334" y="1587"/>
                </a:lnTo>
                <a:lnTo>
                  <a:pt x="2324" y="1584"/>
                </a:lnTo>
                <a:lnTo>
                  <a:pt x="2320" y="1584"/>
                </a:lnTo>
                <a:lnTo>
                  <a:pt x="2314" y="1584"/>
                </a:lnTo>
                <a:lnTo>
                  <a:pt x="2309" y="1585"/>
                </a:lnTo>
                <a:lnTo>
                  <a:pt x="2304" y="1589"/>
                </a:lnTo>
                <a:lnTo>
                  <a:pt x="2301" y="1590"/>
                </a:lnTo>
                <a:lnTo>
                  <a:pt x="2298" y="1591"/>
                </a:lnTo>
                <a:lnTo>
                  <a:pt x="2295" y="1591"/>
                </a:lnTo>
                <a:lnTo>
                  <a:pt x="2291" y="1590"/>
                </a:lnTo>
                <a:lnTo>
                  <a:pt x="2284" y="1588"/>
                </a:lnTo>
                <a:lnTo>
                  <a:pt x="2278" y="1582"/>
                </a:lnTo>
                <a:lnTo>
                  <a:pt x="2278" y="1585"/>
                </a:lnTo>
                <a:lnTo>
                  <a:pt x="2278" y="1589"/>
                </a:lnTo>
                <a:lnTo>
                  <a:pt x="2277" y="1591"/>
                </a:lnTo>
                <a:lnTo>
                  <a:pt x="2275" y="1592"/>
                </a:lnTo>
                <a:lnTo>
                  <a:pt x="2265" y="1594"/>
                </a:lnTo>
                <a:lnTo>
                  <a:pt x="2255" y="1596"/>
                </a:lnTo>
                <a:lnTo>
                  <a:pt x="2250" y="1597"/>
                </a:lnTo>
                <a:lnTo>
                  <a:pt x="2247" y="1598"/>
                </a:lnTo>
                <a:lnTo>
                  <a:pt x="2246" y="1603"/>
                </a:lnTo>
                <a:lnTo>
                  <a:pt x="2248" y="1608"/>
                </a:lnTo>
                <a:lnTo>
                  <a:pt x="2249" y="1613"/>
                </a:lnTo>
                <a:lnTo>
                  <a:pt x="2250" y="1619"/>
                </a:lnTo>
                <a:lnTo>
                  <a:pt x="2250" y="1621"/>
                </a:lnTo>
                <a:lnTo>
                  <a:pt x="2250" y="1624"/>
                </a:lnTo>
                <a:lnTo>
                  <a:pt x="2249" y="1626"/>
                </a:lnTo>
                <a:lnTo>
                  <a:pt x="2247" y="1628"/>
                </a:lnTo>
                <a:lnTo>
                  <a:pt x="2247" y="1629"/>
                </a:lnTo>
                <a:lnTo>
                  <a:pt x="2247" y="1630"/>
                </a:lnTo>
                <a:lnTo>
                  <a:pt x="2248" y="1633"/>
                </a:lnTo>
                <a:lnTo>
                  <a:pt x="2247" y="1630"/>
                </a:lnTo>
                <a:lnTo>
                  <a:pt x="2247" y="1629"/>
                </a:lnTo>
                <a:lnTo>
                  <a:pt x="2244" y="1629"/>
                </a:lnTo>
                <a:lnTo>
                  <a:pt x="2240" y="1630"/>
                </a:lnTo>
                <a:lnTo>
                  <a:pt x="2239" y="1631"/>
                </a:lnTo>
                <a:lnTo>
                  <a:pt x="2239" y="1633"/>
                </a:lnTo>
                <a:lnTo>
                  <a:pt x="2240" y="1635"/>
                </a:lnTo>
                <a:lnTo>
                  <a:pt x="2241" y="1636"/>
                </a:lnTo>
                <a:lnTo>
                  <a:pt x="2244" y="1639"/>
                </a:lnTo>
                <a:lnTo>
                  <a:pt x="2244" y="1641"/>
                </a:lnTo>
                <a:lnTo>
                  <a:pt x="2243" y="1643"/>
                </a:lnTo>
                <a:lnTo>
                  <a:pt x="2240" y="1645"/>
                </a:lnTo>
                <a:lnTo>
                  <a:pt x="2239" y="1645"/>
                </a:lnTo>
                <a:lnTo>
                  <a:pt x="2238" y="1645"/>
                </a:lnTo>
                <a:lnTo>
                  <a:pt x="2237" y="1645"/>
                </a:lnTo>
                <a:lnTo>
                  <a:pt x="2235" y="1645"/>
                </a:lnTo>
                <a:lnTo>
                  <a:pt x="2237" y="1645"/>
                </a:lnTo>
                <a:lnTo>
                  <a:pt x="2238" y="1645"/>
                </a:lnTo>
                <a:lnTo>
                  <a:pt x="2238" y="1644"/>
                </a:lnTo>
                <a:lnTo>
                  <a:pt x="2237" y="1644"/>
                </a:lnTo>
                <a:lnTo>
                  <a:pt x="2235" y="1644"/>
                </a:lnTo>
                <a:lnTo>
                  <a:pt x="2234" y="1644"/>
                </a:lnTo>
                <a:lnTo>
                  <a:pt x="2224" y="1640"/>
                </a:lnTo>
                <a:lnTo>
                  <a:pt x="2215" y="1637"/>
                </a:lnTo>
                <a:lnTo>
                  <a:pt x="2214" y="1636"/>
                </a:lnTo>
                <a:lnTo>
                  <a:pt x="2213" y="1636"/>
                </a:lnTo>
                <a:close/>
                <a:moveTo>
                  <a:pt x="2071" y="877"/>
                </a:moveTo>
                <a:lnTo>
                  <a:pt x="2071" y="877"/>
                </a:lnTo>
                <a:lnTo>
                  <a:pt x="2071" y="878"/>
                </a:lnTo>
                <a:lnTo>
                  <a:pt x="2070" y="879"/>
                </a:lnTo>
                <a:lnTo>
                  <a:pt x="2070" y="878"/>
                </a:lnTo>
                <a:lnTo>
                  <a:pt x="2070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4"/>
                </a:lnTo>
                <a:lnTo>
                  <a:pt x="2071" y="871"/>
                </a:lnTo>
                <a:lnTo>
                  <a:pt x="2072" y="870"/>
                </a:lnTo>
                <a:lnTo>
                  <a:pt x="2073" y="869"/>
                </a:lnTo>
                <a:lnTo>
                  <a:pt x="2074" y="868"/>
                </a:lnTo>
                <a:lnTo>
                  <a:pt x="2077" y="868"/>
                </a:lnTo>
                <a:lnTo>
                  <a:pt x="2077" y="866"/>
                </a:lnTo>
                <a:lnTo>
                  <a:pt x="2078" y="866"/>
                </a:lnTo>
                <a:lnTo>
                  <a:pt x="2077" y="866"/>
                </a:lnTo>
                <a:lnTo>
                  <a:pt x="2077" y="868"/>
                </a:lnTo>
                <a:lnTo>
                  <a:pt x="2078" y="869"/>
                </a:lnTo>
                <a:lnTo>
                  <a:pt x="2079" y="869"/>
                </a:lnTo>
                <a:lnTo>
                  <a:pt x="2079" y="871"/>
                </a:lnTo>
                <a:lnTo>
                  <a:pt x="2079" y="872"/>
                </a:lnTo>
                <a:lnTo>
                  <a:pt x="2078" y="874"/>
                </a:lnTo>
                <a:lnTo>
                  <a:pt x="2076" y="875"/>
                </a:lnTo>
                <a:lnTo>
                  <a:pt x="2074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lnTo>
                  <a:pt x="2071" y="877"/>
                </a:lnTo>
                <a:close/>
                <a:moveTo>
                  <a:pt x="1891" y="1223"/>
                </a:moveTo>
                <a:lnTo>
                  <a:pt x="1889" y="1222"/>
                </a:lnTo>
                <a:lnTo>
                  <a:pt x="1887" y="1220"/>
                </a:lnTo>
                <a:lnTo>
                  <a:pt x="1884" y="1217"/>
                </a:lnTo>
                <a:lnTo>
                  <a:pt x="1881" y="1217"/>
                </a:lnTo>
                <a:lnTo>
                  <a:pt x="1883" y="1221"/>
                </a:lnTo>
                <a:lnTo>
                  <a:pt x="1885" y="1223"/>
                </a:lnTo>
                <a:lnTo>
                  <a:pt x="1886" y="1224"/>
                </a:lnTo>
                <a:lnTo>
                  <a:pt x="1888" y="1224"/>
                </a:lnTo>
                <a:lnTo>
                  <a:pt x="1889" y="1224"/>
                </a:lnTo>
                <a:lnTo>
                  <a:pt x="1891" y="1223"/>
                </a:lnTo>
                <a:close/>
                <a:moveTo>
                  <a:pt x="1687" y="1486"/>
                </a:moveTo>
                <a:lnTo>
                  <a:pt x="1692" y="1481"/>
                </a:lnTo>
                <a:lnTo>
                  <a:pt x="1697" y="1475"/>
                </a:lnTo>
                <a:lnTo>
                  <a:pt x="1700" y="1470"/>
                </a:lnTo>
                <a:lnTo>
                  <a:pt x="1702" y="1463"/>
                </a:lnTo>
                <a:lnTo>
                  <a:pt x="1697" y="1468"/>
                </a:lnTo>
                <a:lnTo>
                  <a:pt x="1692" y="1473"/>
                </a:lnTo>
                <a:lnTo>
                  <a:pt x="1689" y="1480"/>
                </a:lnTo>
                <a:lnTo>
                  <a:pt x="1687" y="1486"/>
                </a:lnTo>
                <a:close/>
                <a:moveTo>
                  <a:pt x="1942" y="1238"/>
                </a:move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40"/>
                </a:lnTo>
                <a:lnTo>
                  <a:pt x="1940" y="1242"/>
                </a:lnTo>
                <a:lnTo>
                  <a:pt x="1938" y="1241"/>
                </a:lnTo>
                <a:lnTo>
                  <a:pt x="1938" y="1239"/>
                </a:lnTo>
                <a:lnTo>
                  <a:pt x="1940" y="1238"/>
                </a:lnTo>
                <a:lnTo>
                  <a:pt x="1942" y="1238"/>
                </a:lnTo>
                <a:lnTo>
                  <a:pt x="1941" y="1235"/>
                </a:lnTo>
                <a:lnTo>
                  <a:pt x="1941" y="1231"/>
                </a:lnTo>
                <a:lnTo>
                  <a:pt x="1941" y="1228"/>
                </a:lnTo>
                <a:lnTo>
                  <a:pt x="1942" y="1225"/>
                </a:lnTo>
                <a:lnTo>
                  <a:pt x="1947" y="1210"/>
                </a:lnTo>
                <a:lnTo>
                  <a:pt x="1949" y="1195"/>
                </a:lnTo>
                <a:lnTo>
                  <a:pt x="1948" y="1195"/>
                </a:lnTo>
                <a:lnTo>
                  <a:pt x="1947" y="1195"/>
                </a:lnTo>
                <a:lnTo>
                  <a:pt x="1948" y="1195"/>
                </a:lnTo>
                <a:lnTo>
                  <a:pt x="1949" y="1195"/>
                </a:lnTo>
                <a:lnTo>
                  <a:pt x="1951" y="1192"/>
                </a:lnTo>
                <a:lnTo>
                  <a:pt x="1952" y="1190"/>
                </a:lnTo>
                <a:lnTo>
                  <a:pt x="1952" y="1186"/>
                </a:lnTo>
                <a:lnTo>
                  <a:pt x="1952" y="1184"/>
                </a:lnTo>
                <a:lnTo>
                  <a:pt x="1949" y="1183"/>
                </a:lnTo>
                <a:lnTo>
                  <a:pt x="1947" y="1182"/>
                </a:lnTo>
                <a:lnTo>
                  <a:pt x="1949" y="1183"/>
                </a:lnTo>
                <a:lnTo>
                  <a:pt x="1952" y="1184"/>
                </a:lnTo>
                <a:lnTo>
                  <a:pt x="1955" y="1182"/>
                </a:lnTo>
                <a:lnTo>
                  <a:pt x="1956" y="1180"/>
                </a:lnTo>
                <a:lnTo>
                  <a:pt x="1962" y="1180"/>
                </a:lnTo>
                <a:lnTo>
                  <a:pt x="1968" y="1181"/>
                </a:lnTo>
                <a:lnTo>
                  <a:pt x="1974" y="1182"/>
                </a:lnTo>
                <a:lnTo>
                  <a:pt x="1977" y="1184"/>
                </a:lnTo>
                <a:lnTo>
                  <a:pt x="1979" y="1189"/>
                </a:lnTo>
                <a:lnTo>
                  <a:pt x="1979" y="1194"/>
                </a:lnTo>
                <a:lnTo>
                  <a:pt x="1978" y="1200"/>
                </a:lnTo>
                <a:lnTo>
                  <a:pt x="1978" y="1207"/>
                </a:lnTo>
                <a:lnTo>
                  <a:pt x="1977" y="1209"/>
                </a:lnTo>
                <a:lnTo>
                  <a:pt x="1977" y="1211"/>
                </a:lnTo>
                <a:lnTo>
                  <a:pt x="1976" y="1212"/>
                </a:lnTo>
                <a:lnTo>
                  <a:pt x="1974" y="1213"/>
                </a:lnTo>
                <a:lnTo>
                  <a:pt x="1973" y="1214"/>
                </a:lnTo>
                <a:lnTo>
                  <a:pt x="1972" y="1214"/>
                </a:lnTo>
                <a:lnTo>
                  <a:pt x="1972" y="1215"/>
                </a:lnTo>
                <a:lnTo>
                  <a:pt x="1972" y="1217"/>
                </a:lnTo>
                <a:lnTo>
                  <a:pt x="1974" y="1221"/>
                </a:lnTo>
                <a:lnTo>
                  <a:pt x="1975" y="1223"/>
                </a:lnTo>
                <a:lnTo>
                  <a:pt x="1975" y="1226"/>
                </a:lnTo>
                <a:lnTo>
                  <a:pt x="1975" y="1229"/>
                </a:lnTo>
                <a:lnTo>
                  <a:pt x="1972" y="1235"/>
                </a:lnTo>
                <a:lnTo>
                  <a:pt x="1968" y="1240"/>
                </a:lnTo>
                <a:lnTo>
                  <a:pt x="1967" y="1241"/>
                </a:lnTo>
                <a:lnTo>
                  <a:pt x="1966" y="1241"/>
                </a:lnTo>
                <a:lnTo>
                  <a:pt x="1965" y="1241"/>
                </a:lnTo>
                <a:lnTo>
                  <a:pt x="1963" y="1241"/>
                </a:lnTo>
                <a:lnTo>
                  <a:pt x="1959" y="1239"/>
                </a:lnTo>
                <a:lnTo>
                  <a:pt x="1956" y="1236"/>
                </a:lnTo>
                <a:lnTo>
                  <a:pt x="1956" y="1241"/>
                </a:lnTo>
                <a:lnTo>
                  <a:pt x="1956" y="1244"/>
                </a:lnTo>
                <a:lnTo>
                  <a:pt x="1952" y="1242"/>
                </a:lnTo>
                <a:lnTo>
                  <a:pt x="1949" y="1240"/>
                </a:lnTo>
                <a:lnTo>
                  <a:pt x="1946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lnTo>
                  <a:pt x="1942" y="1238"/>
                </a:lnTo>
                <a:close/>
                <a:moveTo>
                  <a:pt x="2094" y="860"/>
                </a:move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59"/>
                </a:lnTo>
                <a:lnTo>
                  <a:pt x="2094" y="858"/>
                </a:lnTo>
                <a:lnTo>
                  <a:pt x="2096" y="858"/>
                </a:lnTo>
                <a:lnTo>
                  <a:pt x="2098" y="859"/>
                </a:lnTo>
                <a:lnTo>
                  <a:pt x="2098" y="860"/>
                </a:lnTo>
                <a:lnTo>
                  <a:pt x="2098" y="862"/>
                </a:lnTo>
                <a:lnTo>
                  <a:pt x="2097" y="861"/>
                </a:lnTo>
                <a:lnTo>
                  <a:pt x="2094" y="860"/>
                </a:lnTo>
                <a:close/>
                <a:moveTo>
                  <a:pt x="2094" y="860"/>
                </a:moveTo>
                <a:lnTo>
                  <a:pt x="2094" y="860"/>
                </a:lnTo>
                <a:lnTo>
                  <a:pt x="2094" y="860"/>
                </a:lnTo>
                <a:lnTo>
                  <a:pt x="2094" y="860"/>
                </a:lnTo>
                <a:lnTo>
                  <a:pt x="2094" y="862"/>
                </a:lnTo>
                <a:lnTo>
                  <a:pt x="2093" y="864"/>
                </a:lnTo>
                <a:lnTo>
                  <a:pt x="2092" y="862"/>
                </a:lnTo>
                <a:lnTo>
                  <a:pt x="2092" y="861"/>
                </a:lnTo>
                <a:lnTo>
                  <a:pt x="2092" y="860"/>
                </a:lnTo>
                <a:lnTo>
                  <a:pt x="2094" y="860"/>
                </a:lnTo>
                <a:close/>
                <a:moveTo>
                  <a:pt x="2355" y="1308"/>
                </a:moveTo>
                <a:lnTo>
                  <a:pt x="2355" y="1307"/>
                </a:lnTo>
                <a:lnTo>
                  <a:pt x="2355" y="1306"/>
                </a:lnTo>
                <a:lnTo>
                  <a:pt x="2356" y="1306"/>
                </a:lnTo>
                <a:lnTo>
                  <a:pt x="2356" y="1305"/>
                </a:lnTo>
                <a:lnTo>
                  <a:pt x="2358" y="1303"/>
                </a:lnTo>
                <a:lnTo>
                  <a:pt x="2359" y="1301"/>
                </a:lnTo>
                <a:lnTo>
                  <a:pt x="2356" y="1299"/>
                </a:lnTo>
                <a:lnTo>
                  <a:pt x="2352" y="1299"/>
                </a:lnTo>
                <a:lnTo>
                  <a:pt x="2341" y="1298"/>
                </a:lnTo>
                <a:lnTo>
                  <a:pt x="2331" y="1296"/>
                </a:lnTo>
                <a:lnTo>
                  <a:pt x="2321" y="1294"/>
                </a:lnTo>
                <a:lnTo>
                  <a:pt x="2310" y="1293"/>
                </a:lnTo>
                <a:lnTo>
                  <a:pt x="2306" y="1293"/>
                </a:lnTo>
                <a:lnTo>
                  <a:pt x="2304" y="1291"/>
                </a:lnTo>
                <a:lnTo>
                  <a:pt x="2300" y="1289"/>
                </a:lnTo>
                <a:lnTo>
                  <a:pt x="2299" y="1286"/>
                </a:lnTo>
                <a:lnTo>
                  <a:pt x="2283" y="1254"/>
                </a:lnTo>
                <a:lnTo>
                  <a:pt x="2267" y="1221"/>
                </a:lnTo>
                <a:lnTo>
                  <a:pt x="2253" y="1187"/>
                </a:lnTo>
                <a:lnTo>
                  <a:pt x="2239" y="1153"/>
                </a:lnTo>
                <a:lnTo>
                  <a:pt x="2226" y="1120"/>
                </a:lnTo>
                <a:lnTo>
                  <a:pt x="2214" y="1086"/>
                </a:lnTo>
                <a:lnTo>
                  <a:pt x="2201" y="1052"/>
                </a:lnTo>
                <a:lnTo>
                  <a:pt x="2188" y="1018"/>
                </a:lnTo>
                <a:lnTo>
                  <a:pt x="2186" y="1012"/>
                </a:lnTo>
                <a:lnTo>
                  <a:pt x="2186" y="1008"/>
                </a:lnTo>
                <a:lnTo>
                  <a:pt x="2186" y="1003"/>
                </a:lnTo>
                <a:lnTo>
                  <a:pt x="2187" y="1000"/>
                </a:lnTo>
                <a:lnTo>
                  <a:pt x="2188" y="997"/>
                </a:lnTo>
                <a:lnTo>
                  <a:pt x="2191" y="994"/>
                </a:lnTo>
                <a:lnTo>
                  <a:pt x="2195" y="992"/>
                </a:lnTo>
                <a:lnTo>
                  <a:pt x="2201" y="988"/>
                </a:lnTo>
                <a:lnTo>
                  <a:pt x="2202" y="987"/>
                </a:lnTo>
                <a:lnTo>
                  <a:pt x="2203" y="986"/>
                </a:lnTo>
                <a:lnTo>
                  <a:pt x="2204" y="984"/>
                </a:lnTo>
                <a:lnTo>
                  <a:pt x="2203" y="981"/>
                </a:lnTo>
                <a:lnTo>
                  <a:pt x="2202" y="978"/>
                </a:lnTo>
                <a:lnTo>
                  <a:pt x="2201" y="976"/>
                </a:lnTo>
                <a:lnTo>
                  <a:pt x="2199" y="973"/>
                </a:lnTo>
                <a:lnTo>
                  <a:pt x="2195" y="971"/>
                </a:lnTo>
                <a:lnTo>
                  <a:pt x="2193" y="969"/>
                </a:lnTo>
                <a:lnTo>
                  <a:pt x="2191" y="969"/>
                </a:lnTo>
                <a:lnTo>
                  <a:pt x="2187" y="968"/>
                </a:lnTo>
                <a:lnTo>
                  <a:pt x="2184" y="968"/>
                </a:lnTo>
                <a:lnTo>
                  <a:pt x="2183" y="967"/>
                </a:lnTo>
                <a:lnTo>
                  <a:pt x="2182" y="965"/>
                </a:lnTo>
                <a:lnTo>
                  <a:pt x="2180" y="963"/>
                </a:lnTo>
                <a:lnTo>
                  <a:pt x="2180" y="961"/>
                </a:lnTo>
                <a:lnTo>
                  <a:pt x="2174" y="957"/>
                </a:lnTo>
                <a:lnTo>
                  <a:pt x="2169" y="951"/>
                </a:lnTo>
                <a:lnTo>
                  <a:pt x="2168" y="948"/>
                </a:lnTo>
                <a:lnTo>
                  <a:pt x="2167" y="945"/>
                </a:lnTo>
                <a:lnTo>
                  <a:pt x="2163" y="931"/>
                </a:lnTo>
                <a:lnTo>
                  <a:pt x="2160" y="918"/>
                </a:lnTo>
                <a:lnTo>
                  <a:pt x="2159" y="910"/>
                </a:lnTo>
                <a:lnTo>
                  <a:pt x="2158" y="903"/>
                </a:lnTo>
                <a:lnTo>
                  <a:pt x="2150" y="872"/>
                </a:lnTo>
                <a:lnTo>
                  <a:pt x="2144" y="840"/>
                </a:lnTo>
                <a:lnTo>
                  <a:pt x="2139" y="809"/>
                </a:lnTo>
                <a:lnTo>
                  <a:pt x="2134" y="777"/>
                </a:lnTo>
                <a:lnTo>
                  <a:pt x="2131" y="756"/>
                </a:lnTo>
                <a:lnTo>
                  <a:pt x="2128" y="737"/>
                </a:lnTo>
                <a:lnTo>
                  <a:pt x="2125" y="717"/>
                </a:lnTo>
                <a:lnTo>
                  <a:pt x="2122" y="696"/>
                </a:lnTo>
                <a:lnTo>
                  <a:pt x="2119" y="677"/>
                </a:lnTo>
                <a:lnTo>
                  <a:pt x="2116" y="657"/>
                </a:lnTo>
                <a:lnTo>
                  <a:pt x="2114" y="637"/>
                </a:lnTo>
                <a:lnTo>
                  <a:pt x="2112" y="617"/>
                </a:lnTo>
                <a:lnTo>
                  <a:pt x="2109" y="587"/>
                </a:lnTo>
                <a:lnTo>
                  <a:pt x="2107" y="557"/>
                </a:lnTo>
                <a:lnTo>
                  <a:pt x="2103" y="527"/>
                </a:lnTo>
                <a:lnTo>
                  <a:pt x="2101" y="498"/>
                </a:lnTo>
                <a:lnTo>
                  <a:pt x="2101" y="491"/>
                </a:lnTo>
                <a:lnTo>
                  <a:pt x="2100" y="484"/>
                </a:lnTo>
                <a:lnTo>
                  <a:pt x="2099" y="472"/>
                </a:lnTo>
                <a:lnTo>
                  <a:pt x="2097" y="459"/>
                </a:lnTo>
                <a:lnTo>
                  <a:pt x="2096" y="447"/>
                </a:lnTo>
                <a:lnTo>
                  <a:pt x="2095" y="434"/>
                </a:lnTo>
                <a:lnTo>
                  <a:pt x="2094" y="412"/>
                </a:lnTo>
                <a:lnTo>
                  <a:pt x="2092" y="390"/>
                </a:lnTo>
                <a:lnTo>
                  <a:pt x="2089" y="369"/>
                </a:lnTo>
                <a:lnTo>
                  <a:pt x="2088" y="346"/>
                </a:lnTo>
                <a:lnTo>
                  <a:pt x="2084" y="308"/>
                </a:lnTo>
                <a:lnTo>
                  <a:pt x="2081" y="269"/>
                </a:lnTo>
                <a:lnTo>
                  <a:pt x="2078" y="230"/>
                </a:lnTo>
                <a:lnTo>
                  <a:pt x="2074" y="191"/>
                </a:lnTo>
                <a:lnTo>
                  <a:pt x="2073" y="182"/>
                </a:lnTo>
                <a:lnTo>
                  <a:pt x="2074" y="172"/>
                </a:lnTo>
                <a:lnTo>
                  <a:pt x="2076" y="167"/>
                </a:lnTo>
                <a:lnTo>
                  <a:pt x="2078" y="162"/>
                </a:lnTo>
                <a:lnTo>
                  <a:pt x="2080" y="158"/>
                </a:lnTo>
                <a:lnTo>
                  <a:pt x="2082" y="154"/>
                </a:lnTo>
                <a:lnTo>
                  <a:pt x="2084" y="151"/>
                </a:lnTo>
                <a:lnTo>
                  <a:pt x="2086" y="147"/>
                </a:lnTo>
                <a:lnTo>
                  <a:pt x="2087" y="143"/>
                </a:lnTo>
                <a:lnTo>
                  <a:pt x="2088" y="140"/>
                </a:lnTo>
                <a:lnTo>
                  <a:pt x="2088" y="132"/>
                </a:lnTo>
                <a:lnTo>
                  <a:pt x="2087" y="125"/>
                </a:lnTo>
                <a:lnTo>
                  <a:pt x="2086" y="117"/>
                </a:lnTo>
                <a:lnTo>
                  <a:pt x="2085" y="110"/>
                </a:lnTo>
                <a:lnTo>
                  <a:pt x="2084" y="107"/>
                </a:lnTo>
                <a:lnTo>
                  <a:pt x="2084" y="105"/>
                </a:lnTo>
                <a:lnTo>
                  <a:pt x="2082" y="104"/>
                </a:lnTo>
                <a:lnTo>
                  <a:pt x="2079" y="104"/>
                </a:lnTo>
                <a:lnTo>
                  <a:pt x="2077" y="102"/>
                </a:lnTo>
                <a:lnTo>
                  <a:pt x="2074" y="100"/>
                </a:lnTo>
                <a:lnTo>
                  <a:pt x="2076" y="98"/>
                </a:lnTo>
                <a:lnTo>
                  <a:pt x="2078" y="97"/>
                </a:lnTo>
                <a:lnTo>
                  <a:pt x="2082" y="95"/>
                </a:lnTo>
                <a:lnTo>
                  <a:pt x="2086" y="93"/>
                </a:lnTo>
                <a:lnTo>
                  <a:pt x="2087" y="91"/>
                </a:lnTo>
                <a:lnTo>
                  <a:pt x="2087" y="89"/>
                </a:lnTo>
                <a:lnTo>
                  <a:pt x="2087" y="87"/>
                </a:lnTo>
                <a:lnTo>
                  <a:pt x="2086" y="87"/>
                </a:lnTo>
                <a:lnTo>
                  <a:pt x="2082" y="87"/>
                </a:lnTo>
                <a:lnTo>
                  <a:pt x="2079" y="86"/>
                </a:lnTo>
                <a:lnTo>
                  <a:pt x="2077" y="84"/>
                </a:lnTo>
                <a:lnTo>
                  <a:pt x="2074" y="81"/>
                </a:lnTo>
                <a:lnTo>
                  <a:pt x="2071" y="77"/>
                </a:lnTo>
                <a:lnTo>
                  <a:pt x="2067" y="74"/>
                </a:lnTo>
                <a:lnTo>
                  <a:pt x="2063" y="71"/>
                </a:lnTo>
                <a:lnTo>
                  <a:pt x="2058" y="69"/>
                </a:lnTo>
                <a:lnTo>
                  <a:pt x="2053" y="67"/>
                </a:lnTo>
                <a:lnTo>
                  <a:pt x="2049" y="63"/>
                </a:lnTo>
                <a:lnTo>
                  <a:pt x="2047" y="61"/>
                </a:lnTo>
                <a:lnTo>
                  <a:pt x="2046" y="59"/>
                </a:lnTo>
                <a:lnTo>
                  <a:pt x="2046" y="55"/>
                </a:lnTo>
                <a:lnTo>
                  <a:pt x="2046" y="52"/>
                </a:lnTo>
                <a:lnTo>
                  <a:pt x="2044" y="49"/>
                </a:lnTo>
                <a:lnTo>
                  <a:pt x="2042" y="47"/>
                </a:lnTo>
                <a:lnTo>
                  <a:pt x="2041" y="47"/>
                </a:lnTo>
                <a:lnTo>
                  <a:pt x="2040" y="46"/>
                </a:lnTo>
                <a:lnTo>
                  <a:pt x="2040" y="44"/>
                </a:lnTo>
                <a:lnTo>
                  <a:pt x="2040" y="43"/>
                </a:lnTo>
                <a:lnTo>
                  <a:pt x="2040" y="32"/>
                </a:lnTo>
                <a:lnTo>
                  <a:pt x="2040" y="21"/>
                </a:lnTo>
                <a:lnTo>
                  <a:pt x="2040" y="10"/>
                </a:lnTo>
                <a:lnTo>
                  <a:pt x="2040" y="0"/>
                </a:lnTo>
                <a:lnTo>
                  <a:pt x="2034" y="0"/>
                </a:lnTo>
                <a:lnTo>
                  <a:pt x="2026" y="0"/>
                </a:lnTo>
                <a:lnTo>
                  <a:pt x="2026" y="0"/>
                </a:lnTo>
                <a:lnTo>
                  <a:pt x="2025" y="0"/>
                </a:lnTo>
                <a:lnTo>
                  <a:pt x="2023" y="2"/>
                </a:lnTo>
                <a:lnTo>
                  <a:pt x="2023" y="5"/>
                </a:lnTo>
                <a:lnTo>
                  <a:pt x="2023" y="7"/>
                </a:lnTo>
                <a:lnTo>
                  <a:pt x="2023" y="10"/>
                </a:lnTo>
                <a:lnTo>
                  <a:pt x="2024" y="20"/>
                </a:lnTo>
                <a:lnTo>
                  <a:pt x="2023" y="31"/>
                </a:lnTo>
                <a:lnTo>
                  <a:pt x="2022" y="41"/>
                </a:lnTo>
                <a:lnTo>
                  <a:pt x="2021" y="51"/>
                </a:lnTo>
                <a:lnTo>
                  <a:pt x="2021" y="51"/>
                </a:lnTo>
                <a:lnTo>
                  <a:pt x="2020" y="51"/>
                </a:lnTo>
                <a:lnTo>
                  <a:pt x="2019" y="52"/>
                </a:lnTo>
                <a:lnTo>
                  <a:pt x="2019" y="53"/>
                </a:lnTo>
                <a:lnTo>
                  <a:pt x="2019" y="54"/>
                </a:lnTo>
                <a:lnTo>
                  <a:pt x="2019" y="55"/>
                </a:lnTo>
                <a:lnTo>
                  <a:pt x="2019" y="56"/>
                </a:lnTo>
                <a:lnTo>
                  <a:pt x="2018" y="58"/>
                </a:lnTo>
                <a:lnTo>
                  <a:pt x="2018" y="59"/>
                </a:lnTo>
                <a:lnTo>
                  <a:pt x="2016" y="60"/>
                </a:lnTo>
                <a:lnTo>
                  <a:pt x="2014" y="62"/>
                </a:lnTo>
                <a:lnTo>
                  <a:pt x="2013" y="64"/>
                </a:lnTo>
                <a:lnTo>
                  <a:pt x="2014" y="67"/>
                </a:lnTo>
                <a:lnTo>
                  <a:pt x="2014" y="68"/>
                </a:lnTo>
                <a:lnTo>
                  <a:pt x="2014" y="68"/>
                </a:lnTo>
                <a:lnTo>
                  <a:pt x="2016" y="69"/>
                </a:lnTo>
                <a:lnTo>
                  <a:pt x="2017" y="70"/>
                </a:lnTo>
                <a:lnTo>
                  <a:pt x="2016" y="69"/>
                </a:lnTo>
                <a:lnTo>
                  <a:pt x="2014" y="68"/>
                </a:lnTo>
                <a:lnTo>
                  <a:pt x="2012" y="68"/>
                </a:lnTo>
                <a:lnTo>
                  <a:pt x="2011" y="69"/>
                </a:lnTo>
                <a:lnTo>
                  <a:pt x="1997" y="83"/>
                </a:lnTo>
                <a:lnTo>
                  <a:pt x="1986" y="97"/>
                </a:lnTo>
                <a:lnTo>
                  <a:pt x="1985" y="99"/>
                </a:lnTo>
                <a:lnTo>
                  <a:pt x="1983" y="100"/>
                </a:lnTo>
                <a:lnTo>
                  <a:pt x="1979" y="99"/>
                </a:lnTo>
                <a:lnTo>
                  <a:pt x="1978" y="100"/>
                </a:lnTo>
                <a:lnTo>
                  <a:pt x="1977" y="101"/>
                </a:lnTo>
                <a:lnTo>
                  <a:pt x="1977" y="105"/>
                </a:lnTo>
                <a:lnTo>
                  <a:pt x="1978" y="121"/>
                </a:lnTo>
                <a:lnTo>
                  <a:pt x="1977" y="137"/>
                </a:lnTo>
                <a:lnTo>
                  <a:pt x="1976" y="142"/>
                </a:lnTo>
                <a:lnTo>
                  <a:pt x="1977" y="148"/>
                </a:lnTo>
                <a:lnTo>
                  <a:pt x="1978" y="155"/>
                </a:lnTo>
                <a:lnTo>
                  <a:pt x="1980" y="160"/>
                </a:lnTo>
                <a:lnTo>
                  <a:pt x="1985" y="167"/>
                </a:lnTo>
                <a:lnTo>
                  <a:pt x="1988" y="173"/>
                </a:lnTo>
                <a:lnTo>
                  <a:pt x="1990" y="180"/>
                </a:lnTo>
                <a:lnTo>
                  <a:pt x="1992" y="187"/>
                </a:lnTo>
                <a:lnTo>
                  <a:pt x="1992" y="187"/>
                </a:lnTo>
                <a:lnTo>
                  <a:pt x="1992" y="187"/>
                </a:lnTo>
                <a:lnTo>
                  <a:pt x="1991" y="191"/>
                </a:lnTo>
                <a:lnTo>
                  <a:pt x="1991" y="196"/>
                </a:lnTo>
                <a:lnTo>
                  <a:pt x="1991" y="207"/>
                </a:lnTo>
                <a:lnTo>
                  <a:pt x="1991" y="219"/>
                </a:lnTo>
                <a:lnTo>
                  <a:pt x="1991" y="231"/>
                </a:lnTo>
                <a:lnTo>
                  <a:pt x="1990" y="244"/>
                </a:lnTo>
                <a:lnTo>
                  <a:pt x="1988" y="272"/>
                </a:lnTo>
                <a:lnTo>
                  <a:pt x="1986" y="299"/>
                </a:lnTo>
                <a:lnTo>
                  <a:pt x="1983" y="327"/>
                </a:lnTo>
                <a:lnTo>
                  <a:pt x="1981" y="356"/>
                </a:lnTo>
                <a:lnTo>
                  <a:pt x="1980" y="370"/>
                </a:lnTo>
                <a:lnTo>
                  <a:pt x="1979" y="384"/>
                </a:lnTo>
                <a:lnTo>
                  <a:pt x="1978" y="398"/>
                </a:lnTo>
                <a:lnTo>
                  <a:pt x="1978" y="412"/>
                </a:lnTo>
                <a:lnTo>
                  <a:pt x="1978" y="414"/>
                </a:lnTo>
                <a:lnTo>
                  <a:pt x="1979" y="415"/>
                </a:lnTo>
                <a:lnTo>
                  <a:pt x="1982" y="417"/>
                </a:lnTo>
                <a:lnTo>
                  <a:pt x="1985" y="420"/>
                </a:lnTo>
                <a:lnTo>
                  <a:pt x="1985" y="422"/>
                </a:lnTo>
                <a:lnTo>
                  <a:pt x="1985" y="425"/>
                </a:lnTo>
                <a:lnTo>
                  <a:pt x="1982" y="430"/>
                </a:lnTo>
                <a:lnTo>
                  <a:pt x="1980" y="435"/>
                </a:lnTo>
                <a:lnTo>
                  <a:pt x="1980" y="432"/>
                </a:lnTo>
                <a:lnTo>
                  <a:pt x="1980" y="430"/>
                </a:lnTo>
                <a:lnTo>
                  <a:pt x="1980" y="428"/>
                </a:lnTo>
                <a:lnTo>
                  <a:pt x="1979" y="425"/>
                </a:lnTo>
                <a:lnTo>
                  <a:pt x="1977" y="433"/>
                </a:lnTo>
                <a:lnTo>
                  <a:pt x="1976" y="438"/>
                </a:lnTo>
                <a:lnTo>
                  <a:pt x="1977" y="442"/>
                </a:lnTo>
                <a:lnTo>
                  <a:pt x="1980" y="446"/>
                </a:lnTo>
                <a:lnTo>
                  <a:pt x="1978" y="447"/>
                </a:lnTo>
                <a:lnTo>
                  <a:pt x="1978" y="448"/>
                </a:lnTo>
                <a:lnTo>
                  <a:pt x="1978" y="450"/>
                </a:lnTo>
                <a:lnTo>
                  <a:pt x="1978" y="451"/>
                </a:lnTo>
                <a:lnTo>
                  <a:pt x="1976" y="453"/>
                </a:lnTo>
                <a:lnTo>
                  <a:pt x="1975" y="457"/>
                </a:lnTo>
                <a:lnTo>
                  <a:pt x="1975" y="465"/>
                </a:lnTo>
                <a:lnTo>
                  <a:pt x="1973" y="475"/>
                </a:lnTo>
                <a:lnTo>
                  <a:pt x="1973" y="479"/>
                </a:lnTo>
                <a:lnTo>
                  <a:pt x="1973" y="483"/>
                </a:lnTo>
                <a:lnTo>
                  <a:pt x="1974" y="488"/>
                </a:lnTo>
                <a:lnTo>
                  <a:pt x="1975" y="493"/>
                </a:lnTo>
                <a:lnTo>
                  <a:pt x="1973" y="494"/>
                </a:lnTo>
                <a:lnTo>
                  <a:pt x="1973" y="495"/>
                </a:lnTo>
                <a:lnTo>
                  <a:pt x="1974" y="496"/>
                </a:lnTo>
                <a:lnTo>
                  <a:pt x="1975" y="498"/>
                </a:lnTo>
                <a:lnTo>
                  <a:pt x="1973" y="501"/>
                </a:lnTo>
                <a:lnTo>
                  <a:pt x="1972" y="503"/>
                </a:lnTo>
                <a:lnTo>
                  <a:pt x="1972" y="505"/>
                </a:lnTo>
                <a:lnTo>
                  <a:pt x="1971" y="508"/>
                </a:lnTo>
                <a:lnTo>
                  <a:pt x="1970" y="519"/>
                </a:lnTo>
                <a:lnTo>
                  <a:pt x="1970" y="528"/>
                </a:lnTo>
                <a:lnTo>
                  <a:pt x="1968" y="539"/>
                </a:lnTo>
                <a:lnTo>
                  <a:pt x="1968" y="550"/>
                </a:lnTo>
                <a:lnTo>
                  <a:pt x="1966" y="559"/>
                </a:lnTo>
                <a:lnTo>
                  <a:pt x="1965" y="570"/>
                </a:lnTo>
                <a:lnTo>
                  <a:pt x="1965" y="575"/>
                </a:lnTo>
                <a:lnTo>
                  <a:pt x="1965" y="581"/>
                </a:lnTo>
                <a:lnTo>
                  <a:pt x="1966" y="586"/>
                </a:lnTo>
                <a:lnTo>
                  <a:pt x="1967" y="591"/>
                </a:lnTo>
                <a:lnTo>
                  <a:pt x="1967" y="591"/>
                </a:lnTo>
                <a:lnTo>
                  <a:pt x="1968" y="591"/>
                </a:lnTo>
                <a:lnTo>
                  <a:pt x="1967" y="591"/>
                </a:lnTo>
                <a:lnTo>
                  <a:pt x="1967" y="591"/>
                </a:lnTo>
                <a:lnTo>
                  <a:pt x="1965" y="594"/>
                </a:lnTo>
                <a:lnTo>
                  <a:pt x="1965" y="598"/>
                </a:lnTo>
                <a:lnTo>
                  <a:pt x="1964" y="606"/>
                </a:lnTo>
                <a:lnTo>
                  <a:pt x="1963" y="616"/>
                </a:lnTo>
                <a:lnTo>
                  <a:pt x="1963" y="625"/>
                </a:lnTo>
                <a:lnTo>
                  <a:pt x="1962" y="634"/>
                </a:lnTo>
                <a:lnTo>
                  <a:pt x="1962" y="634"/>
                </a:lnTo>
                <a:lnTo>
                  <a:pt x="1963" y="634"/>
                </a:lnTo>
                <a:lnTo>
                  <a:pt x="1962" y="634"/>
                </a:lnTo>
                <a:lnTo>
                  <a:pt x="1962" y="634"/>
                </a:lnTo>
                <a:lnTo>
                  <a:pt x="1961" y="645"/>
                </a:lnTo>
                <a:lnTo>
                  <a:pt x="1960" y="656"/>
                </a:lnTo>
                <a:lnTo>
                  <a:pt x="1959" y="664"/>
                </a:lnTo>
                <a:lnTo>
                  <a:pt x="1958" y="673"/>
                </a:lnTo>
                <a:lnTo>
                  <a:pt x="1957" y="681"/>
                </a:lnTo>
                <a:lnTo>
                  <a:pt x="1956" y="689"/>
                </a:lnTo>
                <a:lnTo>
                  <a:pt x="1955" y="696"/>
                </a:lnTo>
                <a:lnTo>
                  <a:pt x="1955" y="705"/>
                </a:lnTo>
                <a:lnTo>
                  <a:pt x="1957" y="702"/>
                </a:lnTo>
                <a:lnTo>
                  <a:pt x="1958" y="700"/>
                </a:lnTo>
                <a:lnTo>
                  <a:pt x="1958" y="696"/>
                </a:lnTo>
                <a:lnTo>
                  <a:pt x="1958" y="694"/>
                </a:lnTo>
                <a:lnTo>
                  <a:pt x="1958" y="694"/>
                </a:lnTo>
                <a:lnTo>
                  <a:pt x="1958" y="693"/>
                </a:lnTo>
                <a:lnTo>
                  <a:pt x="1959" y="686"/>
                </a:lnTo>
                <a:lnTo>
                  <a:pt x="1961" y="678"/>
                </a:lnTo>
                <a:lnTo>
                  <a:pt x="1962" y="667"/>
                </a:lnTo>
                <a:lnTo>
                  <a:pt x="1963" y="656"/>
                </a:lnTo>
                <a:lnTo>
                  <a:pt x="1962" y="654"/>
                </a:lnTo>
                <a:lnTo>
                  <a:pt x="1962" y="652"/>
                </a:lnTo>
                <a:lnTo>
                  <a:pt x="1962" y="654"/>
                </a:lnTo>
                <a:lnTo>
                  <a:pt x="1963" y="656"/>
                </a:lnTo>
                <a:lnTo>
                  <a:pt x="1965" y="658"/>
                </a:lnTo>
                <a:lnTo>
                  <a:pt x="1966" y="661"/>
                </a:lnTo>
                <a:lnTo>
                  <a:pt x="1967" y="665"/>
                </a:lnTo>
                <a:lnTo>
                  <a:pt x="1967" y="670"/>
                </a:lnTo>
                <a:lnTo>
                  <a:pt x="1967" y="674"/>
                </a:lnTo>
                <a:lnTo>
                  <a:pt x="1966" y="677"/>
                </a:lnTo>
                <a:lnTo>
                  <a:pt x="1964" y="680"/>
                </a:lnTo>
                <a:lnTo>
                  <a:pt x="1962" y="682"/>
                </a:lnTo>
                <a:lnTo>
                  <a:pt x="1961" y="681"/>
                </a:lnTo>
                <a:lnTo>
                  <a:pt x="1961" y="678"/>
                </a:lnTo>
                <a:lnTo>
                  <a:pt x="1959" y="686"/>
                </a:lnTo>
                <a:lnTo>
                  <a:pt x="1958" y="693"/>
                </a:lnTo>
                <a:lnTo>
                  <a:pt x="1958" y="694"/>
                </a:lnTo>
                <a:lnTo>
                  <a:pt x="1958" y="696"/>
                </a:lnTo>
                <a:lnTo>
                  <a:pt x="1958" y="700"/>
                </a:lnTo>
                <a:lnTo>
                  <a:pt x="1957" y="702"/>
                </a:lnTo>
                <a:lnTo>
                  <a:pt x="1955" y="705"/>
                </a:lnTo>
                <a:lnTo>
                  <a:pt x="1953" y="712"/>
                </a:lnTo>
                <a:lnTo>
                  <a:pt x="1952" y="720"/>
                </a:lnTo>
                <a:lnTo>
                  <a:pt x="1952" y="724"/>
                </a:lnTo>
                <a:lnTo>
                  <a:pt x="1952" y="728"/>
                </a:lnTo>
                <a:lnTo>
                  <a:pt x="1952" y="731"/>
                </a:lnTo>
                <a:lnTo>
                  <a:pt x="1952" y="732"/>
                </a:lnTo>
                <a:lnTo>
                  <a:pt x="1952" y="731"/>
                </a:lnTo>
                <a:lnTo>
                  <a:pt x="1952" y="728"/>
                </a:lnTo>
                <a:lnTo>
                  <a:pt x="1952" y="724"/>
                </a:lnTo>
                <a:lnTo>
                  <a:pt x="1952" y="720"/>
                </a:lnTo>
                <a:lnTo>
                  <a:pt x="1950" y="738"/>
                </a:lnTo>
                <a:lnTo>
                  <a:pt x="1947" y="756"/>
                </a:lnTo>
                <a:lnTo>
                  <a:pt x="1945" y="774"/>
                </a:lnTo>
                <a:lnTo>
                  <a:pt x="1943" y="793"/>
                </a:lnTo>
                <a:lnTo>
                  <a:pt x="1942" y="793"/>
                </a:lnTo>
                <a:lnTo>
                  <a:pt x="1942" y="794"/>
                </a:lnTo>
                <a:lnTo>
                  <a:pt x="1941" y="807"/>
                </a:lnTo>
                <a:lnTo>
                  <a:pt x="1938" y="819"/>
                </a:lnTo>
                <a:lnTo>
                  <a:pt x="1936" y="839"/>
                </a:lnTo>
                <a:lnTo>
                  <a:pt x="1933" y="858"/>
                </a:lnTo>
                <a:lnTo>
                  <a:pt x="1930" y="877"/>
                </a:lnTo>
                <a:lnTo>
                  <a:pt x="1927" y="896"/>
                </a:lnTo>
                <a:lnTo>
                  <a:pt x="1928" y="894"/>
                </a:lnTo>
                <a:lnTo>
                  <a:pt x="1929" y="891"/>
                </a:lnTo>
                <a:lnTo>
                  <a:pt x="1928" y="894"/>
                </a:lnTo>
                <a:lnTo>
                  <a:pt x="1927" y="896"/>
                </a:lnTo>
                <a:lnTo>
                  <a:pt x="1925" y="906"/>
                </a:lnTo>
                <a:lnTo>
                  <a:pt x="1923" y="916"/>
                </a:lnTo>
                <a:lnTo>
                  <a:pt x="1920" y="927"/>
                </a:lnTo>
                <a:lnTo>
                  <a:pt x="1918" y="939"/>
                </a:lnTo>
                <a:lnTo>
                  <a:pt x="1916" y="951"/>
                </a:lnTo>
                <a:lnTo>
                  <a:pt x="1914" y="962"/>
                </a:lnTo>
                <a:lnTo>
                  <a:pt x="1913" y="970"/>
                </a:lnTo>
                <a:lnTo>
                  <a:pt x="1910" y="979"/>
                </a:lnTo>
                <a:lnTo>
                  <a:pt x="1910" y="980"/>
                </a:lnTo>
                <a:lnTo>
                  <a:pt x="1911" y="981"/>
                </a:lnTo>
                <a:lnTo>
                  <a:pt x="1913" y="981"/>
                </a:lnTo>
                <a:lnTo>
                  <a:pt x="1914" y="982"/>
                </a:lnTo>
                <a:lnTo>
                  <a:pt x="1899" y="991"/>
                </a:lnTo>
                <a:lnTo>
                  <a:pt x="1883" y="998"/>
                </a:lnTo>
                <a:lnTo>
                  <a:pt x="1880" y="1000"/>
                </a:lnTo>
                <a:lnTo>
                  <a:pt x="1879" y="1002"/>
                </a:lnTo>
                <a:lnTo>
                  <a:pt x="1879" y="1004"/>
                </a:lnTo>
                <a:lnTo>
                  <a:pt x="1882" y="1007"/>
                </a:lnTo>
                <a:lnTo>
                  <a:pt x="1884" y="1009"/>
                </a:lnTo>
                <a:lnTo>
                  <a:pt x="1887" y="1011"/>
                </a:lnTo>
                <a:lnTo>
                  <a:pt x="1890" y="1013"/>
                </a:lnTo>
                <a:lnTo>
                  <a:pt x="1894" y="1015"/>
                </a:lnTo>
                <a:lnTo>
                  <a:pt x="1895" y="1019"/>
                </a:lnTo>
                <a:lnTo>
                  <a:pt x="1896" y="1024"/>
                </a:lnTo>
                <a:lnTo>
                  <a:pt x="1895" y="1033"/>
                </a:lnTo>
                <a:lnTo>
                  <a:pt x="1892" y="1044"/>
                </a:lnTo>
                <a:lnTo>
                  <a:pt x="1888" y="1055"/>
                </a:lnTo>
                <a:lnTo>
                  <a:pt x="1885" y="1065"/>
                </a:lnTo>
                <a:lnTo>
                  <a:pt x="1881" y="1076"/>
                </a:lnTo>
                <a:lnTo>
                  <a:pt x="1877" y="1087"/>
                </a:lnTo>
                <a:lnTo>
                  <a:pt x="1866" y="1121"/>
                </a:lnTo>
                <a:lnTo>
                  <a:pt x="1854" y="1155"/>
                </a:lnTo>
                <a:lnTo>
                  <a:pt x="1842" y="1189"/>
                </a:lnTo>
                <a:lnTo>
                  <a:pt x="1830" y="1223"/>
                </a:lnTo>
                <a:lnTo>
                  <a:pt x="1830" y="1223"/>
                </a:lnTo>
                <a:lnTo>
                  <a:pt x="1826" y="1232"/>
                </a:lnTo>
                <a:lnTo>
                  <a:pt x="1822" y="1243"/>
                </a:lnTo>
                <a:lnTo>
                  <a:pt x="1817" y="1254"/>
                </a:lnTo>
                <a:lnTo>
                  <a:pt x="1813" y="1264"/>
                </a:lnTo>
                <a:lnTo>
                  <a:pt x="1810" y="1273"/>
                </a:lnTo>
                <a:lnTo>
                  <a:pt x="1807" y="1281"/>
                </a:lnTo>
                <a:lnTo>
                  <a:pt x="1803" y="1289"/>
                </a:lnTo>
                <a:lnTo>
                  <a:pt x="1798" y="1298"/>
                </a:lnTo>
                <a:lnTo>
                  <a:pt x="1805" y="1296"/>
                </a:lnTo>
                <a:lnTo>
                  <a:pt x="1810" y="1292"/>
                </a:lnTo>
                <a:lnTo>
                  <a:pt x="1819" y="1292"/>
                </a:lnTo>
                <a:lnTo>
                  <a:pt x="1826" y="1291"/>
                </a:lnTo>
                <a:lnTo>
                  <a:pt x="1835" y="1288"/>
                </a:lnTo>
                <a:lnTo>
                  <a:pt x="1842" y="1286"/>
                </a:lnTo>
                <a:lnTo>
                  <a:pt x="1855" y="1283"/>
                </a:lnTo>
                <a:lnTo>
                  <a:pt x="1868" y="1277"/>
                </a:lnTo>
                <a:lnTo>
                  <a:pt x="1872" y="1276"/>
                </a:lnTo>
                <a:lnTo>
                  <a:pt x="1875" y="1275"/>
                </a:lnTo>
                <a:lnTo>
                  <a:pt x="1873" y="1270"/>
                </a:lnTo>
                <a:lnTo>
                  <a:pt x="1870" y="1264"/>
                </a:lnTo>
                <a:lnTo>
                  <a:pt x="1870" y="1260"/>
                </a:lnTo>
                <a:lnTo>
                  <a:pt x="1868" y="1258"/>
                </a:lnTo>
                <a:lnTo>
                  <a:pt x="1865" y="1256"/>
                </a:lnTo>
                <a:lnTo>
                  <a:pt x="1861" y="1255"/>
                </a:lnTo>
                <a:lnTo>
                  <a:pt x="1862" y="1251"/>
                </a:lnTo>
                <a:lnTo>
                  <a:pt x="1865" y="1247"/>
                </a:lnTo>
                <a:lnTo>
                  <a:pt x="1867" y="1245"/>
                </a:lnTo>
                <a:lnTo>
                  <a:pt x="1870" y="1244"/>
                </a:lnTo>
                <a:lnTo>
                  <a:pt x="1876" y="1241"/>
                </a:lnTo>
                <a:lnTo>
                  <a:pt x="1882" y="1238"/>
                </a:lnTo>
                <a:lnTo>
                  <a:pt x="1881" y="1236"/>
                </a:lnTo>
                <a:lnTo>
                  <a:pt x="1879" y="1236"/>
                </a:lnTo>
                <a:lnTo>
                  <a:pt x="1876" y="1236"/>
                </a:lnTo>
                <a:lnTo>
                  <a:pt x="1874" y="1236"/>
                </a:lnTo>
                <a:lnTo>
                  <a:pt x="1873" y="1236"/>
                </a:lnTo>
                <a:lnTo>
                  <a:pt x="1871" y="1235"/>
                </a:lnTo>
                <a:lnTo>
                  <a:pt x="1869" y="1235"/>
                </a:lnTo>
                <a:lnTo>
                  <a:pt x="1868" y="1232"/>
                </a:lnTo>
                <a:lnTo>
                  <a:pt x="1868" y="1228"/>
                </a:lnTo>
                <a:lnTo>
                  <a:pt x="1869" y="1224"/>
                </a:lnTo>
                <a:lnTo>
                  <a:pt x="1872" y="1222"/>
                </a:lnTo>
                <a:lnTo>
                  <a:pt x="1875" y="1221"/>
                </a:lnTo>
                <a:lnTo>
                  <a:pt x="1876" y="1217"/>
                </a:lnTo>
                <a:lnTo>
                  <a:pt x="1877" y="1214"/>
                </a:lnTo>
                <a:lnTo>
                  <a:pt x="1880" y="1213"/>
                </a:lnTo>
                <a:lnTo>
                  <a:pt x="1882" y="1212"/>
                </a:lnTo>
                <a:lnTo>
                  <a:pt x="1887" y="1212"/>
                </a:lnTo>
                <a:lnTo>
                  <a:pt x="1892" y="1213"/>
                </a:lnTo>
                <a:lnTo>
                  <a:pt x="1892" y="1212"/>
                </a:lnTo>
                <a:lnTo>
                  <a:pt x="1891" y="1210"/>
                </a:lnTo>
                <a:lnTo>
                  <a:pt x="1891" y="1209"/>
                </a:lnTo>
                <a:lnTo>
                  <a:pt x="1892" y="1208"/>
                </a:lnTo>
                <a:lnTo>
                  <a:pt x="1895" y="1207"/>
                </a:lnTo>
                <a:lnTo>
                  <a:pt x="1896" y="1205"/>
                </a:lnTo>
                <a:lnTo>
                  <a:pt x="1895" y="1203"/>
                </a:lnTo>
                <a:lnTo>
                  <a:pt x="1894" y="1201"/>
                </a:lnTo>
                <a:lnTo>
                  <a:pt x="1894" y="1196"/>
                </a:lnTo>
                <a:lnTo>
                  <a:pt x="1891" y="1193"/>
                </a:lnTo>
                <a:lnTo>
                  <a:pt x="1888" y="1190"/>
                </a:lnTo>
                <a:lnTo>
                  <a:pt x="1883" y="1190"/>
                </a:lnTo>
                <a:lnTo>
                  <a:pt x="1885" y="1186"/>
                </a:lnTo>
                <a:lnTo>
                  <a:pt x="1887" y="1184"/>
                </a:lnTo>
                <a:lnTo>
                  <a:pt x="1890" y="1182"/>
                </a:lnTo>
                <a:lnTo>
                  <a:pt x="1894" y="1181"/>
                </a:lnTo>
                <a:lnTo>
                  <a:pt x="1896" y="1181"/>
                </a:lnTo>
                <a:lnTo>
                  <a:pt x="1898" y="1179"/>
                </a:lnTo>
                <a:lnTo>
                  <a:pt x="1900" y="1177"/>
                </a:lnTo>
                <a:lnTo>
                  <a:pt x="1900" y="1175"/>
                </a:lnTo>
                <a:lnTo>
                  <a:pt x="1902" y="1171"/>
                </a:lnTo>
                <a:lnTo>
                  <a:pt x="1902" y="1169"/>
                </a:lnTo>
                <a:lnTo>
                  <a:pt x="1901" y="1167"/>
                </a:lnTo>
                <a:lnTo>
                  <a:pt x="1899" y="1166"/>
                </a:lnTo>
                <a:lnTo>
                  <a:pt x="1897" y="1167"/>
                </a:lnTo>
                <a:lnTo>
                  <a:pt x="1896" y="1168"/>
                </a:lnTo>
                <a:lnTo>
                  <a:pt x="1896" y="1170"/>
                </a:lnTo>
                <a:lnTo>
                  <a:pt x="1896" y="1174"/>
                </a:lnTo>
                <a:lnTo>
                  <a:pt x="1891" y="1174"/>
                </a:lnTo>
                <a:lnTo>
                  <a:pt x="1888" y="1174"/>
                </a:lnTo>
                <a:lnTo>
                  <a:pt x="1889" y="1167"/>
                </a:lnTo>
                <a:lnTo>
                  <a:pt x="1892" y="1162"/>
                </a:lnTo>
                <a:lnTo>
                  <a:pt x="1895" y="1160"/>
                </a:lnTo>
                <a:lnTo>
                  <a:pt x="1897" y="1157"/>
                </a:lnTo>
                <a:lnTo>
                  <a:pt x="1900" y="1156"/>
                </a:lnTo>
                <a:lnTo>
                  <a:pt x="1904" y="1156"/>
                </a:lnTo>
                <a:lnTo>
                  <a:pt x="1910" y="1164"/>
                </a:lnTo>
                <a:lnTo>
                  <a:pt x="1913" y="1171"/>
                </a:lnTo>
                <a:lnTo>
                  <a:pt x="1914" y="1177"/>
                </a:lnTo>
                <a:lnTo>
                  <a:pt x="1913" y="1182"/>
                </a:lnTo>
                <a:lnTo>
                  <a:pt x="1911" y="1192"/>
                </a:lnTo>
                <a:lnTo>
                  <a:pt x="1908" y="1201"/>
                </a:lnTo>
                <a:lnTo>
                  <a:pt x="1906" y="1206"/>
                </a:lnTo>
                <a:lnTo>
                  <a:pt x="1904" y="1210"/>
                </a:lnTo>
                <a:lnTo>
                  <a:pt x="1901" y="1213"/>
                </a:lnTo>
                <a:lnTo>
                  <a:pt x="1897" y="1217"/>
                </a:lnTo>
                <a:lnTo>
                  <a:pt x="1896" y="1218"/>
                </a:lnTo>
                <a:lnTo>
                  <a:pt x="1896" y="1220"/>
                </a:lnTo>
                <a:lnTo>
                  <a:pt x="1895" y="1230"/>
                </a:lnTo>
                <a:lnTo>
                  <a:pt x="1894" y="1240"/>
                </a:lnTo>
                <a:lnTo>
                  <a:pt x="1892" y="1248"/>
                </a:lnTo>
                <a:lnTo>
                  <a:pt x="1891" y="1257"/>
                </a:lnTo>
                <a:lnTo>
                  <a:pt x="1888" y="1266"/>
                </a:lnTo>
                <a:lnTo>
                  <a:pt x="1883" y="1274"/>
                </a:lnTo>
                <a:lnTo>
                  <a:pt x="1887" y="1274"/>
                </a:lnTo>
                <a:lnTo>
                  <a:pt x="1889" y="1272"/>
                </a:lnTo>
                <a:lnTo>
                  <a:pt x="1891" y="1270"/>
                </a:lnTo>
                <a:lnTo>
                  <a:pt x="1892" y="1267"/>
                </a:lnTo>
                <a:lnTo>
                  <a:pt x="1895" y="1259"/>
                </a:lnTo>
                <a:lnTo>
                  <a:pt x="1898" y="1252"/>
                </a:lnTo>
                <a:lnTo>
                  <a:pt x="1900" y="1244"/>
                </a:lnTo>
                <a:lnTo>
                  <a:pt x="1904" y="1238"/>
                </a:lnTo>
                <a:lnTo>
                  <a:pt x="1905" y="1241"/>
                </a:lnTo>
                <a:lnTo>
                  <a:pt x="1905" y="1244"/>
                </a:lnTo>
                <a:lnTo>
                  <a:pt x="1901" y="1257"/>
                </a:lnTo>
                <a:lnTo>
                  <a:pt x="1898" y="1269"/>
                </a:lnTo>
                <a:lnTo>
                  <a:pt x="1903" y="1269"/>
                </a:lnTo>
                <a:lnTo>
                  <a:pt x="1907" y="1268"/>
                </a:lnTo>
                <a:lnTo>
                  <a:pt x="1911" y="1267"/>
                </a:lnTo>
                <a:lnTo>
                  <a:pt x="1914" y="1267"/>
                </a:lnTo>
                <a:lnTo>
                  <a:pt x="1916" y="1266"/>
                </a:lnTo>
                <a:lnTo>
                  <a:pt x="1917" y="1263"/>
                </a:lnTo>
                <a:lnTo>
                  <a:pt x="1917" y="1256"/>
                </a:lnTo>
                <a:lnTo>
                  <a:pt x="1919" y="1248"/>
                </a:lnTo>
                <a:lnTo>
                  <a:pt x="1921" y="1242"/>
                </a:lnTo>
                <a:lnTo>
                  <a:pt x="1923" y="1235"/>
                </a:lnTo>
                <a:lnTo>
                  <a:pt x="1925" y="1230"/>
                </a:lnTo>
                <a:lnTo>
                  <a:pt x="1926" y="1225"/>
                </a:lnTo>
                <a:lnTo>
                  <a:pt x="1928" y="1221"/>
                </a:lnTo>
                <a:lnTo>
                  <a:pt x="1931" y="1216"/>
                </a:lnTo>
                <a:lnTo>
                  <a:pt x="1931" y="1223"/>
                </a:lnTo>
                <a:lnTo>
                  <a:pt x="1931" y="1229"/>
                </a:lnTo>
                <a:lnTo>
                  <a:pt x="1930" y="1235"/>
                </a:lnTo>
                <a:lnTo>
                  <a:pt x="1928" y="1240"/>
                </a:lnTo>
                <a:lnTo>
                  <a:pt x="1926" y="1251"/>
                </a:lnTo>
                <a:lnTo>
                  <a:pt x="1927" y="1261"/>
                </a:lnTo>
                <a:lnTo>
                  <a:pt x="1927" y="1262"/>
                </a:lnTo>
                <a:lnTo>
                  <a:pt x="1928" y="1263"/>
                </a:lnTo>
                <a:lnTo>
                  <a:pt x="1929" y="1262"/>
                </a:lnTo>
                <a:lnTo>
                  <a:pt x="1931" y="1261"/>
                </a:lnTo>
                <a:lnTo>
                  <a:pt x="1932" y="1260"/>
                </a:lnTo>
                <a:lnTo>
                  <a:pt x="1933" y="1259"/>
                </a:lnTo>
                <a:lnTo>
                  <a:pt x="1935" y="1257"/>
                </a:lnTo>
                <a:lnTo>
                  <a:pt x="1936" y="1256"/>
                </a:lnTo>
                <a:lnTo>
                  <a:pt x="1936" y="1254"/>
                </a:lnTo>
                <a:lnTo>
                  <a:pt x="1936" y="1251"/>
                </a:lnTo>
                <a:lnTo>
                  <a:pt x="1938" y="1249"/>
                </a:lnTo>
                <a:lnTo>
                  <a:pt x="1941" y="1248"/>
                </a:lnTo>
                <a:lnTo>
                  <a:pt x="1949" y="1247"/>
                </a:lnTo>
                <a:lnTo>
                  <a:pt x="1957" y="1247"/>
                </a:lnTo>
                <a:lnTo>
                  <a:pt x="1961" y="1247"/>
                </a:lnTo>
                <a:lnTo>
                  <a:pt x="1964" y="1249"/>
                </a:lnTo>
                <a:lnTo>
                  <a:pt x="1968" y="1252"/>
                </a:lnTo>
                <a:lnTo>
                  <a:pt x="1972" y="1255"/>
                </a:lnTo>
                <a:lnTo>
                  <a:pt x="1968" y="1254"/>
                </a:lnTo>
                <a:lnTo>
                  <a:pt x="1966" y="1254"/>
                </a:lnTo>
                <a:lnTo>
                  <a:pt x="1964" y="1255"/>
                </a:lnTo>
                <a:lnTo>
                  <a:pt x="1962" y="1256"/>
                </a:lnTo>
                <a:lnTo>
                  <a:pt x="1958" y="1258"/>
                </a:lnTo>
                <a:lnTo>
                  <a:pt x="1953" y="1260"/>
                </a:lnTo>
                <a:lnTo>
                  <a:pt x="1942" y="1263"/>
                </a:lnTo>
                <a:lnTo>
                  <a:pt x="1930" y="1267"/>
                </a:lnTo>
                <a:lnTo>
                  <a:pt x="1919" y="1270"/>
                </a:lnTo>
                <a:lnTo>
                  <a:pt x="1907" y="1273"/>
                </a:lnTo>
                <a:lnTo>
                  <a:pt x="1907" y="1279"/>
                </a:lnTo>
                <a:lnTo>
                  <a:pt x="1907" y="1286"/>
                </a:lnTo>
                <a:lnTo>
                  <a:pt x="1907" y="1279"/>
                </a:lnTo>
                <a:lnTo>
                  <a:pt x="1907" y="1273"/>
                </a:lnTo>
                <a:lnTo>
                  <a:pt x="1902" y="1273"/>
                </a:lnTo>
                <a:lnTo>
                  <a:pt x="1898" y="1275"/>
                </a:lnTo>
                <a:lnTo>
                  <a:pt x="1898" y="1275"/>
                </a:lnTo>
                <a:lnTo>
                  <a:pt x="1897" y="1275"/>
                </a:lnTo>
                <a:lnTo>
                  <a:pt x="1895" y="1275"/>
                </a:lnTo>
                <a:lnTo>
                  <a:pt x="1891" y="1277"/>
                </a:lnTo>
                <a:lnTo>
                  <a:pt x="1886" y="1278"/>
                </a:lnTo>
                <a:lnTo>
                  <a:pt x="1882" y="1281"/>
                </a:lnTo>
                <a:lnTo>
                  <a:pt x="1877" y="1281"/>
                </a:lnTo>
                <a:lnTo>
                  <a:pt x="1873" y="1282"/>
                </a:lnTo>
                <a:lnTo>
                  <a:pt x="1866" y="1284"/>
                </a:lnTo>
                <a:lnTo>
                  <a:pt x="1857" y="1287"/>
                </a:lnTo>
                <a:lnTo>
                  <a:pt x="1855" y="1287"/>
                </a:lnTo>
                <a:lnTo>
                  <a:pt x="1852" y="1287"/>
                </a:lnTo>
                <a:lnTo>
                  <a:pt x="1850" y="1288"/>
                </a:lnTo>
                <a:lnTo>
                  <a:pt x="1847" y="1289"/>
                </a:lnTo>
                <a:lnTo>
                  <a:pt x="1841" y="1291"/>
                </a:lnTo>
                <a:lnTo>
                  <a:pt x="1835" y="1293"/>
                </a:lnTo>
                <a:lnTo>
                  <a:pt x="1835" y="1293"/>
                </a:lnTo>
                <a:lnTo>
                  <a:pt x="1831" y="1293"/>
                </a:lnTo>
                <a:lnTo>
                  <a:pt x="1829" y="1294"/>
                </a:lnTo>
                <a:lnTo>
                  <a:pt x="1822" y="1297"/>
                </a:lnTo>
                <a:lnTo>
                  <a:pt x="1814" y="1299"/>
                </a:lnTo>
                <a:lnTo>
                  <a:pt x="1808" y="1299"/>
                </a:lnTo>
                <a:lnTo>
                  <a:pt x="1803" y="1302"/>
                </a:lnTo>
                <a:lnTo>
                  <a:pt x="1803" y="1302"/>
                </a:lnTo>
                <a:lnTo>
                  <a:pt x="1801" y="1302"/>
                </a:lnTo>
                <a:lnTo>
                  <a:pt x="1799" y="1302"/>
                </a:lnTo>
                <a:lnTo>
                  <a:pt x="1797" y="1303"/>
                </a:lnTo>
                <a:lnTo>
                  <a:pt x="1797" y="1304"/>
                </a:lnTo>
                <a:lnTo>
                  <a:pt x="1797" y="1304"/>
                </a:lnTo>
                <a:lnTo>
                  <a:pt x="1797" y="1304"/>
                </a:lnTo>
                <a:lnTo>
                  <a:pt x="1797" y="1303"/>
                </a:lnTo>
                <a:lnTo>
                  <a:pt x="1793" y="1304"/>
                </a:lnTo>
                <a:lnTo>
                  <a:pt x="1790" y="1305"/>
                </a:lnTo>
                <a:lnTo>
                  <a:pt x="1790" y="1306"/>
                </a:lnTo>
                <a:lnTo>
                  <a:pt x="1790" y="1306"/>
                </a:lnTo>
                <a:lnTo>
                  <a:pt x="1790" y="1306"/>
                </a:lnTo>
                <a:lnTo>
                  <a:pt x="1790" y="1305"/>
                </a:lnTo>
                <a:lnTo>
                  <a:pt x="1788" y="1305"/>
                </a:lnTo>
                <a:lnTo>
                  <a:pt x="1784" y="1305"/>
                </a:lnTo>
                <a:lnTo>
                  <a:pt x="1782" y="1306"/>
                </a:lnTo>
                <a:lnTo>
                  <a:pt x="1780" y="1308"/>
                </a:lnTo>
                <a:lnTo>
                  <a:pt x="1780" y="1308"/>
                </a:lnTo>
                <a:lnTo>
                  <a:pt x="1780" y="1308"/>
                </a:lnTo>
                <a:lnTo>
                  <a:pt x="1777" y="1308"/>
                </a:lnTo>
                <a:lnTo>
                  <a:pt x="1776" y="1308"/>
                </a:lnTo>
                <a:lnTo>
                  <a:pt x="1774" y="1308"/>
                </a:lnTo>
                <a:lnTo>
                  <a:pt x="1771" y="1309"/>
                </a:lnTo>
                <a:lnTo>
                  <a:pt x="1770" y="1310"/>
                </a:lnTo>
                <a:lnTo>
                  <a:pt x="1769" y="1310"/>
                </a:lnTo>
                <a:lnTo>
                  <a:pt x="1764" y="1312"/>
                </a:lnTo>
                <a:lnTo>
                  <a:pt x="1760" y="1313"/>
                </a:lnTo>
                <a:lnTo>
                  <a:pt x="1754" y="1314"/>
                </a:lnTo>
                <a:lnTo>
                  <a:pt x="1749" y="1317"/>
                </a:lnTo>
                <a:lnTo>
                  <a:pt x="1755" y="1317"/>
                </a:lnTo>
                <a:lnTo>
                  <a:pt x="1761" y="1318"/>
                </a:lnTo>
                <a:lnTo>
                  <a:pt x="1762" y="1318"/>
                </a:lnTo>
                <a:lnTo>
                  <a:pt x="1763" y="1319"/>
                </a:lnTo>
                <a:lnTo>
                  <a:pt x="1764" y="1319"/>
                </a:lnTo>
                <a:lnTo>
                  <a:pt x="1765" y="1321"/>
                </a:lnTo>
                <a:lnTo>
                  <a:pt x="1765" y="1331"/>
                </a:lnTo>
                <a:lnTo>
                  <a:pt x="1764" y="1340"/>
                </a:lnTo>
                <a:lnTo>
                  <a:pt x="1762" y="1344"/>
                </a:lnTo>
                <a:lnTo>
                  <a:pt x="1759" y="1345"/>
                </a:lnTo>
                <a:lnTo>
                  <a:pt x="1754" y="1345"/>
                </a:lnTo>
                <a:lnTo>
                  <a:pt x="1751" y="1346"/>
                </a:lnTo>
                <a:lnTo>
                  <a:pt x="1748" y="1347"/>
                </a:lnTo>
                <a:lnTo>
                  <a:pt x="1747" y="1348"/>
                </a:lnTo>
                <a:lnTo>
                  <a:pt x="1746" y="1349"/>
                </a:lnTo>
                <a:lnTo>
                  <a:pt x="1745" y="1352"/>
                </a:lnTo>
                <a:lnTo>
                  <a:pt x="1771" y="1346"/>
                </a:lnTo>
                <a:lnTo>
                  <a:pt x="1798" y="1339"/>
                </a:lnTo>
                <a:lnTo>
                  <a:pt x="1825" y="1333"/>
                </a:lnTo>
                <a:lnTo>
                  <a:pt x="1852" y="1327"/>
                </a:lnTo>
                <a:lnTo>
                  <a:pt x="1879" y="1320"/>
                </a:lnTo>
                <a:lnTo>
                  <a:pt x="1905" y="1314"/>
                </a:lnTo>
                <a:lnTo>
                  <a:pt x="1932" y="1306"/>
                </a:lnTo>
                <a:lnTo>
                  <a:pt x="1959" y="1300"/>
                </a:lnTo>
                <a:lnTo>
                  <a:pt x="1956" y="1304"/>
                </a:lnTo>
                <a:lnTo>
                  <a:pt x="1952" y="1306"/>
                </a:lnTo>
                <a:lnTo>
                  <a:pt x="1949" y="1307"/>
                </a:lnTo>
                <a:lnTo>
                  <a:pt x="1946" y="1307"/>
                </a:lnTo>
                <a:lnTo>
                  <a:pt x="1936" y="1310"/>
                </a:lnTo>
                <a:lnTo>
                  <a:pt x="1927" y="1313"/>
                </a:lnTo>
                <a:lnTo>
                  <a:pt x="1917" y="1315"/>
                </a:lnTo>
                <a:lnTo>
                  <a:pt x="1907" y="1317"/>
                </a:lnTo>
                <a:lnTo>
                  <a:pt x="1904" y="1317"/>
                </a:lnTo>
                <a:lnTo>
                  <a:pt x="1901" y="1317"/>
                </a:lnTo>
                <a:lnTo>
                  <a:pt x="1898" y="1318"/>
                </a:lnTo>
                <a:lnTo>
                  <a:pt x="1895" y="1320"/>
                </a:lnTo>
                <a:lnTo>
                  <a:pt x="1860" y="1329"/>
                </a:lnTo>
                <a:lnTo>
                  <a:pt x="1825" y="1337"/>
                </a:lnTo>
                <a:lnTo>
                  <a:pt x="1790" y="1345"/>
                </a:lnTo>
                <a:lnTo>
                  <a:pt x="1755" y="1353"/>
                </a:lnTo>
                <a:lnTo>
                  <a:pt x="1751" y="1353"/>
                </a:lnTo>
                <a:lnTo>
                  <a:pt x="1747" y="1354"/>
                </a:lnTo>
                <a:lnTo>
                  <a:pt x="1745" y="1355"/>
                </a:lnTo>
                <a:lnTo>
                  <a:pt x="1744" y="1356"/>
                </a:lnTo>
                <a:lnTo>
                  <a:pt x="1743" y="1359"/>
                </a:lnTo>
                <a:lnTo>
                  <a:pt x="1744" y="1361"/>
                </a:lnTo>
                <a:lnTo>
                  <a:pt x="1746" y="1373"/>
                </a:lnTo>
                <a:lnTo>
                  <a:pt x="1747" y="1383"/>
                </a:lnTo>
                <a:lnTo>
                  <a:pt x="1746" y="1389"/>
                </a:lnTo>
                <a:lnTo>
                  <a:pt x="1745" y="1394"/>
                </a:lnTo>
                <a:lnTo>
                  <a:pt x="1743" y="1399"/>
                </a:lnTo>
                <a:lnTo>
                  <a:pt x="1739" y="1404"/>
                </a:lnTo>
                <a:lnTo>
                  <a:pt x="1734" y="1413"/>
                </a:lnTo>
                <a:lnTo>
                  <a:pt x="1729" y="1422"/>
                </a:lnTo>
                <a:lnTo>
                  <a:pt x="1728" y="1423"/>
                </a:lnTo>
                <a:lnTo>
                  <a:pt x="1728" y="1424"/>
                </a:lnTo>
                <a:lnTo>
                  <a:pt x="1728" y="1426"/>
                </a:lnTo>
                <a:lnTo>
                  <a:pt x="1728" y="1427"/>
                </a:lnTo>
                <a:lnTo>
                  <a:pt x="1730" y="1427"/>
                </a:lnTo>
                <a:lnTo>
                  <a:pt x="1731" y="1427"/>
                </a:lnTo>
                <a:lnTo>
                  <a:pt x="1732" y="1426"/>
                </a:lnTo>
                <a:lnTo>
                  <a:pt x="1733" y="1425"/>
                </a:lnTo>
                <a:lnTo>
                  <a:pt x="1737" y="1417"/>
                </a:lnTo>
                <a:lnTo>
                  <a:pt x="1743" y="1409"/>
                </a:lnTo>
                <a:lnTo>
                  <a:pt x="1746" y="1405"/>
                </a:lnTo>
                <a:lnTo>
                  <a:pt x="1750" y="1399"/>
                </a:lnTo>
                <a:lnTo>
                  <a:pt x="1752" y="1401"/>
                </a:lnTo>
                <a:lnTo>
                  <a:pt x="1754" y="1404"/>
                </a:lnTo>
                <a:lnTo>
                  <a:pt x="1756" y="1406"/>
                </a:lnTo>
                <a:lnTo>
                  <a:pt x="1756" y="1409"/>
                </a:lnTo>
                <a:lnTo>
                  <a:pt x="1756" y="1409"/>
                </a:lnTo>
                <a:lnTo>
                  <a:pt x="1754" y="1412"/>
                </a:lnTo>
                <a:lnTo>
                  <a:pt x="1751" y="1415"/>
                </a:lnTo>
                <a:lnTo>
                  <a:pt x="1749" y="1420"/>
                </a:lnTo>
                <a:lnTo>
                  <a:pt x="1748" y="1425"/>
                </a:lnTo>
                <a:lnTo>
                  <a:pt x="1752" y="1422"/>
                </a:lnTo>
                <a:lnTo>
                  <a:pt x="1755" y="1419"/>
                </a:lnTo>
                <a:lnTo>
                  <a:pt x="1756" y="1414"/>
                </a:lnTo>
                <a:lnTo>
                  <a:pt x="1756" y="1409"/>
                </a:lnTo>
                <a:lnTo>
                  <a:pt x="1759" y="1415"/>
                </a:lnTo>
                <a:lnTo>
                  <a:pt x="1759" y="1421"/>
                </a:lnTo>
                <a:lnTo>
                  <a:pt x="1759" y="1424"/>
                </a:lnTo>
                <a:lnTo>
                  <a:pt x="1758" y="1427"/>
                </a:lnTo>
                <a:lnTo>
                  <a:pt x="1755" y="1429"/>
                </a:lnTo>
                <a:lnTo>
                  <a:pt x="1752" y="1432"/>
                </a:lnTo>
                <a:lnTo>
                  <a:pt x="1750" y="1436"/>
                </a:lnTo>
                <a:lnTo>
                  <a:pt x="1747" y="1441"/>
                </a:lnTo>
                <a:lnTo>
                  <a:pt x="1744" y="1447"/>
                </a:lnTo>
                <a:lnTo>
                  <a:pt x="1739" y="1454"/>
                </a:lnTo>
                <a:lnTo>
                  <a:pt x="1738" y="1452"/>
                </a:lnTo>
                <a:lnTo>
                  <a:pt x="1736" y="1449"/>
                </a:lnTo>
                <a:lnTo>
                  <a:pt x="1730" y="1449"/>
                </a:lnTo>
                <a:lnTo>
                  <a:pt x="1720" y="1451"/>
                </a:lnTo>
                <a:lnTo>
                  <a:pt x="1711" y="1454"/>
                </a:lnTo>
                <a:lnTo>
                  <a:pt x="1705" y="1458"/>
                </a:lnTo>
                <a:lnTo>
                  <a:pt x="1704" y="1460"/>
                </a:lnTo>
                <a:lnTo>
                  <a:pt x="1704" y="1463"/>
                </a:lnTo>
                <a:lnTo>
                  <a:pt x="1706" y="1463"/>
                </a:lnTo>
                <a:lnTo>
                  <a:pt x="1709" y="1462"/>
                </a:lnTo>
                <a:lnTo>
                  <a:pt x="1719" y="1461"/>
                </a:lnTo>
                <a:lnTo>
                  <a:pt x="1729" y="1461"/>
                </a:lnTo>
                <a:lnTo>
                  <a:pt x="1731" y="1461"/>
                </a:lnTo>
                <a:lnTo>
                  <a:pt x="1732" y="1463"/>
                </a:lnTo>
                <a:lnTo>
                  <a:pt x="1731" y="1468"/>
                </a:lnTo>
                <a:lnTo>
                  <a:pt x="1729" y="1471"/>
                </a:lnTo>
                <a:lnTo>
                  <a:pt x="1726" y="1475"/>
                </a:lnTo>
                <a:lnTo>
                  <a:pt x="1723" y="1477"/>
                </a:lnTo>
                <a:lnTo>
                  <a:pt x="1721" y="1478"/>
                </a:lnTo>
                <a:lnTo>
                  <a:pt x="1720" y="1477"/>
                </a:lnTo>
                <a:lnTo>
                  <a:pt x="1720" y="1477"/>
                </a:lnTo>
                <a:lnTo>
                  <a:pt x="1719" y="1476"/>
                </a:lnTo>
                <a:lnTo>
                  <a:pt x="1718" y="1473"/>
                </a:lnTo>
                <a:lnTo>
                  <a:pt x="1716" y="1471"/>
                </a:lnTo>
                <a:lnTo>
                  <a:pt x="1715" y="1473"/>
                </a:lnTo>
                <a:lnTo>
                  <a:pt x="1714" y="1475"/>
                </a:lnTo>
                <a:lnTo>
                  <a:pt x="1714" y="1478"/>
                </a:lnTo>
                <a:lnTo>
                  <a:pt x="1714" y="1482"/>
                </a:lnTo>
                <a:lnTo>
                  <a:pt x="1715" y="1485"/>
                </a:lnTo>
                <a:lnTo>
                  <a:pt x="1715" y="1488"/>
                </a:lnTo>
                <a:lnTo>
                  <a:pt x="1714" y="1491"/>
                </a:lnTo>
                <a:lnTo>
                  <a:pt x="1713" y="1495"/>
                </a:lnTo>
                <a:lnTo>
                  <a:pt x="1709" y="1497"/>
                </a:lnTo>
                <a:lnTo>
                  <a:pt x="1707" y="1499"/>
                </a:lnTo>
                <a:lnTo>
                  <a:pt x="1704" y="1501"/>
                </a:lnTo>
                <a:lnTo>
                  <a:pt x="1700" y="1502"/>
                </a:lnTo>
                <a:lnTo>
                  <a:pt x="1695" y="1502"/>
                </a:lnTo>
                <a:lnTo>
                  <a:pt x="1690" y="1502"/>
                </a:lnTo>
                <a:lnTo>
                  <a:pt x="1688" y="1503"/>
                </a:lnTo>
                <a:lnTo>
                  <a:pt x="1686" y="1503"/>
                </a:lnTo>
                <a:lnTo>
                  <a:pt x="1684" y="1505"/>
                </a:lnTo>
                <a:lnTo>
                  <a:pt x="1682" y="1508"/>
                </a:lnTo>
                <a:lnTo>
                  <a:pt x="1680" y="1504"/>
                </a:lnTo>
                <a:lnTo>
                  <a:pt x="1680" y="1502"/>
                </a:lnTo>
                <a:lnTo>
                  <a:pt x="1680" y="1499"/>
                </a:lnTo>
                <a:lnTo>
                  <a:pt x="1682" y="1497"/>
                </a:lnTo>
                <a:lnTo>
                  <a:pt x="1686" y="1493"/>
                </a:lnTo>
                <a:lnTo>
                  <a:pt x="1690" y="1490"/>
                </a:lnTo>
                <a:lnTo>
                  <a:pt x="1685" y="1490"/>
                </a:lnTo>
                <a:lnTo>
                  <a:pt x="1679" y="1491"/>
                </a:lnTo>
                <a:lnTo>
                  <a:pt x="1675" y="1492"/>
                </a:lnTo>
                <a:lnTo>
                  <a:pt x="1671" y="1493"/>
                </a:lnTo>
                <a:lnTo>
                  <a:pt x="1665" y="1495"/>
                </a:lnTo>
                <a:lnTo>
                  <a:pt x="1661" y="1495"/>
                </a:lnTo>
                <a:lnTo>
                  <a:pt x="1657" y="1492"/>
                </a:lnTo>
                <a:lnTo>
                  <a:pt x="1654" y="1490"/>
                </a:lnTo>
                <a:lnTo>
                  <a:pt x="1652" y="1488"/>
                </a:lnTo>
                <a:lnTo>
                  <a:pt x="1648" y="1487"/>
                </a:lnTo>
                <a:lnTo>
                  <a:pt x="1637" y="1485"/>
                </a:lnTo>
                <a:lnTo>
                  <a:pt x="1625" y="1481"/>
                </a:lnTo>
                <a:lnTo>
                  <a:pt x="1622" y="1476"/>
                </a:lnTo>
                <a:lnTo>
                  <a:pt x="1617" y="1471"/>
                </a:lnTo>
                <a:lnTo>
                  <a:pt x="1616" y="1469"/>
                </a:lnTo>
                <a:lnTo>
                  <a:pt x="1617" y="1467"/>
                </a:lnTo>
                <a:lnTo>
                  <a:pt x="1618" y="1465"/>
                </a:lnTo>
                <a:lnTo>
                  <a:pt x="1619" y="1463"/>
                </a:lnTo>
                <a:lnTo>
                  <a:pt x="1620" y="1461"/>
                </a:lnTo>
                <a:lnTo>
                  <a:pt x="1622" y="1460"/>
                </a:lnTo>
                <a:lnTo>
                  <a:pt x="1624" y="1461"/>
                </a:lnTo>
                <a:lnTo>
                  <a:pt x="1625" y="1461"/>
                </a:lnTo>
                <a:lnTo>
                  <a:pt x="1628" y="1463"/>
                </a:lnTo>
                <a:lnTo>
                  <a:pt x="1631" y="1465"/>
                </a:lnTo>
                <a:lnTo>
                  <a:pt x="1633" y="1466"/>
                </a:lnTo>
                <a:lnTo>
                  <a:pt x="1635" y="1469"/>
                </a:lnTo>
                <a:lnTo>
                  <a:pt x="1638" y="1470"/>
                </a:lnTo>
                <a:lnTo>
                  <a:pt x="1640" y="1470"/>
                </a:lnTo>
                <a:lnTo>
                  <a:pt x="1642" y="1469"/>
                </a:lnTo>
                <a:lnTo>
                  <a:pt x="1644" y="1469"/>
                </a:lnTo>
                <a:lnTo>
                  <a:pt x="1645" y="1468"/>
                </a:lnTo>
                <a:lnTo>
                  <a:pt x="1647" y="1467"/>
                </a:lnTo>
                <a:lnTo>
                  <a:pt x="1647" y="1466"/>
                </a:lnTo>
                <a:lnTo>
                  <a:pt x="1646" y="1463"/>
                </a:lnTo>
                <a:lnTo>
                  <a:pt x="1647" y="1459"/>
                </a:lnTo>
                <a:lnTo>
                  <a:pt x="1648" y="1455"/>
                </a:lnTo>
                <a:lnTo>
                  <a:pt x="1644" y="1456"/>
                </a:lnTo>
                <a:lnTo>
                  <a:pt x="1640" y="1458"/>
                </a:lnTo>
                <a:lnTo>
                  <a:pt x="1640" y="1459"/>
                </a:lnTo>
                <a:lnTo>
                  <a:pt x="1639" y="1460"/>
                </a:lnTo>
                <a:lnTo>
                  <a:pt x="1637" y="1460"/>
                </a:lnTo>
                <a:lnTo>
                  <a:pt x="1635" y="1460"/>
                </a:lnTo>
                <a:lnTo>
                  <a:pt x="1634" y="1459"/>
                </a:lnTo>
                <a:lnTo>
                  <a:pt x="1633" y="1458"/>
                </a:lnTo>
                <a:lnTo>
                  <a:pt x="1633" y="1456"/>
                </a:lnTo>
                <a:lnTo>
                  <a:pt x="1634" y="1455"/>
                </a:lnTo>
                <a:lnTo>
                  <a:pt x="1634" y="1452"/>
                </a:lnTo>
                <a:lnTo>
                  <a:pt x="1633" y="1449"/>
                </a:lnTo>
                <a:lnTo>
                  <a:pt x="1632" y="1445"/>
                </a:lnTo>
                <a:lnTo>
                  <a:pt x="1631" y="1442"/>
                </a:lnTo>
                <a:lnTo>
                  <a:pt x="1629" y="1440"/>
                </a:lnTo>
                <a:lnTo>
                  <a:pt x="1627" y="1438"/>
                </a:lnTo>
                <a:lnTo>
                  <a:pt x="1624" y="1437"/>
                </a:lnTo>
                <a:lnTo>
                  <a:pt x="1622" y="1436"/>
                </a:lnTo>
                <a:lnTo>
                  <a:pt x="1617" y="1436"/>
                </a:lnTo>
                <a:lnTo>
                  <a:pt x="1613" y="1434"/>
                </a:lnTo>
                <a:lnTo>
                  <a:pt x="1610" y="1431"/>
                </a:lnTo>
                <a:lnTo>
                  <a:pt x="1607" y="1428"/>
                </a:lnTo>
                <a:lnTo>
                  <a:pt x="1604" y="1427"/>
                </a:lnTo>
                <a:lnTo>
                  <a:pt x="1602" y="1426"/>
                </a:lnTo>
                <a:lnTo>
                  <a:pt x="1600" y="1425"/>
                </a:lnTo>
                <a:lnTo>
                  <a:pt x="1598" y="1425"/>
                </a:lnTo>
                <a:lnTo>
                  <a:pt x="1594" y="1425"/>
                </a:lnTo>
                <a:lnTo>
                  <a:pt x="1589" y="1426"/>
                </a:lnTo>
                <a:lnTo>
                  <a:pt x="1587" y="1427"/>
                </a:lnTo>
                <a:lnTo>
                  <a:pt x="1586" y="1429"/>
                </a:lnTo>
                <a:lnTo>
                  <a:pt x="1586" y="1431"/>
                </a:lnTo>
                <a:lnTo>
                  <a:pt x="1586" y="1434"/>
                </a:lnTo>
                <a:lnTo>
                  <a:pt x="1585" y="1435"/>
                </a:lnTo>
                <a:lnTo>
                  <a:pt x="1583" y="1436"/>
                </a:lnTo>
                <a:lnTo>
                  <a:pt x="1582" y="1434"/>
                </a:lnTo>
                <a:lnTo>
                  <a:pt x="1579" y="1432"/>
                </a:lnTo>
                <a:lnTo>
                  <a:pt x="1578" y="1432"/>
                </a:lnTo>
                <a:lnTo>
                  <a:pt x="1577" y="1431"/>
                </a:lnTo>
                <a:lnTo>
                  <a:pt x="1567" y="1424"/>
                </a:lnTo>
                <a:lnTo>
                  <a:pt x="1558" y="1415"/>
                </a:lnTo>
                <a:lnTo>
                  <a:pt x="1555" y="1412"/>
                </a:lnTo>
                <a:lnTo>
                  <a:pt x="1552" y="1409"/>
                </a:lnTo>
                <a:lnTo>
                  <a:pt x="1550" y="1408"/>
                </a:lnTo>
                <a:lnTo>
                  <a:pt x="1549" y="1406"/>
                </a:lnTo>
                <a:lnTo>
                  <a:pt x="1549" y="1402"/>
                </a:lnTo>
                <a:lnTo>
                  <a:pt x="1549" y="1399"/>
                </a:lnTo>
                <a:lnTo>
                  <a:pt x="1548" y="1399"/>
                </a:lnTo>
                <a:lnTo>
                  <a:pt x="1544" y="1399"/>
                </a:lnTo>
                <a:lnTo>
                  <a:pt x="1540" y="1400"/>
                </a:lnTo>
                <a:lnTo>
                  <a:pt x="1535" y="1401"/>
                </a:lnTo>
                <a:lnTo>
                  <a:pt x="1533" y="1401"/>
                </a:lnTo>
                <a:lnTo>
                  <a:pt x="1529" y="1401"/>
                </a:lnTo>
                <a:lnTo>
                  <a:pt x="1527" y="1399"/>
                </a:lnTo>
                <a:lnTo>
                  <a:pt x="1524" y="1398"/>
                </a:lnTo>
                <a:lnTo>
                  <a:pt x="1520" y="1395"/>
                </a:lnTo>
                <a:lnTo>
                  <a:pt x="1513" y="1393"/>
                </a:lnTo>
                <a:lnTo>
                  <a:pt x="1509" y="1392"/>
                </a:lnTo>
                <a:lnTo>
                  <a:pt x="1506" y="1393"/>
                </a:lnTo>
                <a:lnTo>
                  <a:pt x="1503" y="1395"/>
                </a:lnTo>
                <a:lnTo>
                  <a:pt x="1500" y="1398"/>
                </a:lnTo>
                <a:lnTo>
                  <a:pt x="1498" y="1399"/>
                </a:lnTo>
                <a:lnTo>
                  <a:pt x="1497" y="1399"/>
                </a:lnTo>
                <a:lnTo>
                  <a:pt x="1485" y="1399"/>
                </a:lnTo>
                <a:lnTo>
                  <a:pt x="1473" y="1399"/>
                </a:lnTo>
                <a:lnTo>
                  <a:pt x="1466" y="1398"/>
                </a:lnTo>
                <a:lnTo>
                  <a:pt x="1461" y="1396"/>
                </a:lnTo>
                <a:lnTo>
                  <a:pt x="1459" y="1395"/>
                </a:lnTo>
                <a:lnTo>
                  <a:pt x="1457" y="1393"/>
                </a:lnTo>
                <a:lnTo>
                  <a:pt x="1455" y="1391"/>
                </a:lnTo>
                <a:lnTo>
                  <a:pt x="1453" y="1388"/>
                </a:lnTo>
                <a:lnTo>
                  <a:pt x="1452" y="1385"/>
                </a:lnTo>
                <a:lnTo>
                  <a:pt x="1450" y="1384"/>
                </a:lnTo>
                <a:lnTo>
                  <a:pt x="1448" y="1384"/>
                </a:lnTo>
                <a:lnTo>
                  <a:pt x="1446" y="1384"/>
                </a:lnTo>
                <a:lnTo>
                  <a:pt x="1444" y="1384"/>
                </a:lnTo>
                <a:lnTo>
                  <a:pt x="1444" y="1385"/>
                </a:lnTo>
                <a:lnTo>
                  <a:pt x="1444" y="1386"/>
                </a:lnTo>
                <a:lnTo>
                  <a:pt x="1444" y="1389"/>
                </a:lnTo>
                <a:lnTo>
                  <a:pt x="1444" y="1391"/>
                </a:lnTo>
                <a:lnTo>
                  <a:pt x="1443" y="1393"/>
                </a:lnTo>
                <a:lnTo>
                  <a:pt x="1442" y="1394"/>
                </a:lnTo>
                <a:lnTo>
                  <a:pt x="1440" y="1395"/>
                </a:lnTo>
                <a:lnTo>
                  <a:pt x="1438" y="1395"/>
                </a:lnTo>
                <a:lnTo>
                  <a:pt x="1437" y="1396"/>
                </a:lnTo>
                <a:lnTo>
                  <a:pt x="1436" y="1397"/>
                </a:lnTo>
                <a:lnTo>
                  <a:pt x="1437" y="1398"/>
                </a:lnTo>
                <a:lnTo>
                  <a:pt x="1438" y="1400"/>
                </a:lnTo>
                <a:lnTo>
                  <a:pt x="1438" y="1402"/>
                </a:lnTo>
                <a:lnTo>
                  <a:pt x="1438" y="1404"/>
                </a:lnTo>
                <a:lnTo>
                  <a:pt x="1436" y="1406"/>
                </a:lnTo>
                <a:lnTo>
                  <a:pt x="1434" y="1406"/>
                </a:lnTo>
                <a:lnTo>
                  <a:pt x="1432" y="1406"/>
                </a:lnTo>
                <a:lnTo>
                  <a:pt x="1429" y="1406"/>
                </a:lnTo>
                <a:lnTo>
                  <a:pt x="1427" y="1404"/>
                </a:lnTo>
                <a:lnTo>
                  <a:pt x="1425" y="1401"/>
                </a:lnTo>
                <a:lnTo>
                  <a:pt x="1421" y="1400"/>
                </a:lnTo>
                <a:lnTo>
                  <a:pt x="1419" y="1400"/>
                </a:lnTo>
                <a:lnTo>
                  <a:pt x="1417" y="1400"/>
                </a:lnTo>
                <a:lnTo>
                  <a:pt x="1414" y="1401"/>
                </a:lnTo>
                <a:lnTo>
                  <a:pt x="1413" y="1404"/>
                </a:lnTo>
                <a:lnTo>
                  <a:pt x="1411" y="1406"/>
                </a:lnTo>
                <a:lnTo>
                  <a:pt x="1409" y="1409"/>
                </a:lnTo>
                <a:lnTo>
                  <a:pt x="1406" y="1411"/>
                </a:lnTo>
                <a:lnTo>
                  <a:pt x="1404" y="1412"/>
                </a:lnTo>
                <a:lnTo>
                  <a:pt x="1401" y="1413"/>
                </a:lnTo>
                <a:lnTo>
                  <a:pt x="1399" y="1413"/>
                </a:lnTo>
                <a:lnTo>
                  <a:pt x="1397" y="1415"/>
                </a:lnTo>
                <a:lnTo>
                  <a:pt x="1395" y="1416"/>
                </a:lnTo>
                <a:lnTo>
                  <a:pt x="1394" y="1421"/>
                </a:lnTo>
                <a:lnTo>
                  <a:pt x="1392" y="1426"/>
                </a:lnTo>
                <a:lnTo>
                  <a:pt x="1389" y="1429"/>
                </a:lnTo>
                <a:lnTo>
                  <a:pt x="1387" y="1431"/>
                </a:lnTo>
                <a:lnTo>
                  <a:pt x="1384" y="1431"/>
                </a:lnTo>
                <a:lnTo>
                  <a:pt x="1381" y="1428"/>
                </a:lnTo>
                <a:lnTo>
                  <a:pt x="1380" y="1425"/>
                </a:lnTo>
                <a:lnTo>
                  <a:pt x="1379" y="1423"/>
                </a:lnTo>
                <a:lnTo>
                  <a:pt x="1376" y="1422"/>
                </a:lnTo>
                <a:lnTo>
                  <a:pt x="1374" y="1421"/>
                </a:lnTo>
                <a:lnTo>
                  <a:pt x="1372" y="1420"/>
                </a:lnTo>
                <a:lnTo>
                  <a:pt x="1370" y="1420"/>
                </a:lnTo>
                <a:lnTo>
                  <a:pt x="1368" y="1421"/>
                </a:lnTo>
                <a:lnTo>
                  <a:pt x="1366" y="1423"/>
                </a:lnTo>
                <a:lnTo>
                  <a:pt x="1365" y="1423"/>
                </a:lnTo>
                <a:lnTo>
                  <a:pt x="1364" y="1423"/>
                </a:lnTo>
                <a:lnTo>
                  <a:pt x="1364" y="1421"/>
                </a:lnTo>
                <a:lnTo>
                  <a:pt x="1362" y="1420"/>
                </a:lnTo>
                <a:lnTo>
                  <a:pt x="1361" y="1419"/>
                </a:lnTo>
                <a:lnTo>
                  <a:pt x="1359" y="1417"/>
                </a:lnTo>
                <a:lnTo>
                  <a:pt x="1357" y="1419"/>
                </a:lnTo>
                <a:lnTo>
                  <a:pt x="1356" y="1420"/>
                </a:lnTo>
                <a:lnTo>
                  <a:pt x="1356" y="1421"/>
                </a:lnTo>
                <a:lnTo>
                  <a:pt x="1355" y="1423"/>
                </a:lnTo>
                <a:lnTo>
                  <a:pt x="1345" y="1427"/>
                </a:lnTo>
                <a:lnTo>
                  <a:pt x="1335" y="1431"/>
                </a:lnTo>
                <a:lnTo>
                  <a:pt x="1330" y="1431"/>
                </a:lnTo>
                <a:lnTo>
                  <a:pt x="1327" y="1430"/>
                </a:lnTo>
                <a:lnTo>
                  <a:pt x="1325" y="1428"/>
                </a:lnTo>
                <a:lnTo>
                  <a:pt x="1324" y="1424"/>
                </a:lnTo>
                <a:lnTo>
                  <a:pt x="1324" y="1420"/>
                </a:lnTo>
                <a:lnTo>
                  <a:pt x="1321" y="1417"/>
                </a:lnTo>
                <a:lnTo>
                  <a:pt x="1318" y="1415"/>
                </a:lnTo>
                <a:lnTo>
                  <a:pt x="1314" y="1414"/>
                </a:lnTo>
                <a:lnTo>
                  <a:pt x="1311" y="1414"/>
                </a:lnTo>
                <a:lnTo>
                  <a:pt x="1308" y="1415"/>
                </a:lnTo>
                <a:lnTo>
                  <a:pt x="1306" y="1417"/>
                </a:lnTo>
                <a:lnTo>
                  <a:pt x="1304" y="1421"/>
                </a:lnTo>
                <a:lnTo>
                  <a:pt x="1301" y="1422"/>
                </a:lnTo>
                <a:lnTo>
                  <a:pt x="1299" y="1422"/>
                </a:lnTo>
                <a:lnTo>
                  <a:pt x="1297" y="1420"/>
                </a:lnTo>
                <a:lnTo>
                  <a:pt x="1295" y="1420"/>
                </a:lnTo>
                <a:lnTo>
                  <a:pt x="1293" y="1420"/>
                </a:lnTo>
                <a:lnTo>
                  <a:pt x="1291" y="1421"/>
                </a:lnTo>
                <a:lnTo>
                  <a:pt x="1288" y="1422"/>
                </a:lnTo>
                <a:lnTo>
                  <a:pt x="1284" y="1423"/>
                </a:lnTo>
                <a:lnTo>
                  <a:pt x="1283" y="1423"/>
                </a:lnTo>
                <a:lnTo>
                  <a:pt x="1282" y="1423"/>
                </a:lnTo>
                <a:lnTo>
                  <a:pt x="1281" y="1421"/>
                </a:lnTo>
                <a:lnTo>
                  <a:pt x="1280" y="1419"/>
                </a:lnTo>
                <a:lnTo>
                  <a:pt x="1279" y="1416"/>
                </a:lnTo>
                <a:lnTo>
                  <a:pt x="1278" y="1416"/>
                </a:lnTo>
                <a:lnTo>
                  <a:pt x="1276" y="1417"/>
                </a:lnTo>
                <a:lnTo>
                  <a:pt x="1275" y="1419"/>
                </a:lnTo>
                <a:lnTo>
                  <a:pt x="1271" y="1422"/>
                </a:lnTo>
                <a:lnTo>
                  <a:pt x="1268" y="1422"/>
                </a:lnTo>
                <a:lnTo>
                  <a:pt x="1266" y="1421"/>
                </a:lnTo>
                <a:lnTo>
                  <a:pt x="1263" y="1419"/>
                </a:lnTo>
                <a:lnTo>
                  <a:pt x="1259" y="1415"/>
                </a:lnTo>
                <a:lnTo>
                  <a:pt x="1253" y="1414"/>
                </a:lnTo>
                <a:lnTo>
                  <a:pt x="1248" y="1413"/>
                </a:lnTo>
                <a:lnTo>
                  <a:pt x="1243" y="1414"/>
                </a:lnTo>
                <a:lnTo>
                  <a:pt x="1235" y="1416"/>
                </a:lnTo>
                <a:lnTo>
                  <a:pt x="1228" y="1420"/>
                </a:lnTo>
                <a:lnTo>
                  <a:pt x="1224" y="1422"/>
                </a:lnTo>
                <a:lnTo>
                  <a:pt x="1220" y="1422"/>
                </a:lnTo>
                <a:lnTo>
                  <a:pt x="1217" y="1422"/>
                </a:lnTo>
                <a:lnTo>
                  <a:pt x="1213" y="1421"/>
                </a:lnTo>
                <a:lnTo>
                  <a:pt x="1212" y="1421"/>
                </a:lnTo>
                <a:lnTo>
                  <a:pt x="1212" y="1421"/>
                </a:lnTo>
                <a:lnTo>
                  <a:pt x="1206" y="1423"/>
                </a:lnTo>
                <a:lnTo>
                  <a:pt x="1202" y="1424"/>
                </a:lnTo>
                <a:lnTo>
                  <a:pt x="1197" y="1424"/>
                </a:lnTo>
                <a:lnTo>
                  <a:pt x="1192" y="1423"/>
                </a:lnTo>
                <a:lnTo>
                  <a:pt x="1183" y="1420"/>
                </a:lnTo>
                <a:lnTo>
                  <a:pt x="1174" y="1415"/>
                </a:lnTo>
                <a:lnTo>
                  <a:pt x="1170" y="1414"/>
                </a:lnTo>
                <a:lnTo>
                  <a:pt x="1167" y="1414"/>
                </a:lnTo>
                <a:lnTo>
                  <a:pt x="1164" y="1415"/>
                </a:lnTo>
                <a:lnTo>
                  <a:pt x="1163" y="1416"/>
                </a:lnTo>
                <a:lnTo>
                  <a:pt x="1162" y="1417"/>
                </a:lnTo>
                <a:lnTo>
                  <a:pt x="1161" y="1419"/>
                </a:lnTo>
                <a:lnTo>
                  <a:pt x="1161" y="1424"/>
                </a:lnTo>
                <a:lnTo>
                  <a:pt x="1161" y="1427"/>
                </a:lnTo>
                <a:lnTo>
                  <a:pt x="1159" y="1429"/>
                </a:lnTo>
                <a:lnTo>
                  <a:pt x="1157" y="1431"/>
                </a:lnTo>
                <a:lnTo>
                  <a:pt x="1155" y="1432"/>
                </a:lnTo>
                <a:lnTo>
                  <a:pt x="1152" y="1432"/>
                </a:lnTo>
                <a:lnTo>
                  <a:pt x="1148" y="1432"/>
                </a:lnTo>
                <a:lnTo>
                  <a:pt x="1145" y="1432"/>
                </a:lnTo>
                <a:lnTo>
                  <a:pt x="1142" y="1432"/>
                </a:lnTo>
                <a:lnTo>
                  <a:pt x="1140" y="1434"/>
                </a:lnTo>
                <a:lnTo>
                  <a:pt x="1134" y="1436"/>
                </a:lnTo>
                <a:lnTo>
                  <a:pt x="1130" y="1436"/>
                </a:lnTo>
                <a:lnTo>
                  <a:pt x="1126" y="1436"/>
                </a:lnTo>
                <a:lnTo>
                  <a:pt x="1123" y="1434"/>
                </a:lnTo>
                <a:lnTo>
                  <a:pt x="1121" y="1431"/>
                </a:lnTo>
                <a:lnTo>
                  <a:pt x="1119" y="1428"/>
                </a:lnTo>
                <a:lnTo>
                  <a:pt x="1118" y="1424"/>
                </a:lnTo>
                <a:lnTo>
                  <a:pt x="1117" y="1419"/>
                </a:lnTo>
                <a:lnTo>
                  <a:pt x="1117" y="1412"/>
                </a:lnTo>
                <a:lnTo>
                  <a:pt x="1116" y="1407"/>
                </a:lnTo>
                <a:lnTo>
                  <a:pt x="1114" y="1401"/>
                </a:lnTo>
                <a:lnTo>
                  <a:pt x="1112" y="1396"/>
                </a:lnTo>
                <a:lnTo>
                  <a:pt x="1111" y="1394"/>
                </a:lnTo>
                <a:lnTo>
                  <a:pt x="1110" y="1393"/>
                </a:lnTo>
                <a:lnTo>
                  <a:pt x="1109" y="1392"/>
                </a:lnTo>
                <a:lnTo>
                  <a:pt x="1107" y="1392"/>
                </a:lnTo>
                <a:lnTo>
                  <a:pt x="1102" y="1392"/>
                </a:lnTo>
                <a:lnTo>
                  <a:pt x="1100" y="1391"/>
                </a:lnTo>
                <a:lnTo>
                  <a:pt x="1097" y="1390"/>
                </a:lnTo>
                <a:lnTo>
                  <a:pt x="1096" y="1389"/>
                </a:lnTo>
                <a:lnTo>
                  <a:pt x="1094" y="1386"/>
                </a:lnTo>
                <a:lnTo>
                  <a:pt x="1094" y="1384"/>
                </a:lnTo>
                <a:lnTo>
                  <a:pt x="1093" y="1381"/>
                </a:lnTo>
                <a:lnTo>
                  <a:pt x="1093" y="1377"/>
                </a:lnTo>
                <a:lnTo>
                  <a:pt x="1093" y="1374"/>
                </a:lnTo>
                <a:lnTo>
                  <a:pt x="1093" y="1371"/>
                </a:lnTo>
                <a:lnTo>
                  <a:pt x="1092" y="1370"/>
                </a:lnTo>
                <a:lnTo>
                  <a:pt x="1088" y="1369"/>
                </a:lnTo>
                <a:lnTo>
                  <a:pt x="1082" y="1369"/>
                </a:lnTo>
                <a:lnTo>
                  <a:pt x="1074" y="1367"/>
                </a:lnTo>
                <a:lnTo>
                  <a:pt x="1070" y="1366"/>
                </a:lnTo>
                <a:lnTo>
                  <a:pt x="1067" y="1366"/>
                </a:lnTo>
                <a:lnTo>
                  <a:pt x="1063" y="1366"/>
                </a:lnTo>
                <a:lnTo>
                  <a:pt x="1059" y="1368"/>
                </a:lnTo>
                <a:lnTo>
                  <a:pt x="1057" y="1369"/>
                </a:lnTo>
                <a:lnTo>
                  <a:pt x="1056" y="1368"/>
                </a:lnTo>
                <a:lnTo>
                  <a:pt x="1054" y="1368"/>
                </a:lnTo>
                <a:lnTo>
                  <a:pt x="1053" y="1367"/>
                </a:lnTo>
                <a:lnTo>
                  <a:pt x="1051" y="1364"/>
                </a:lnTo>
                <a:lnTo>
                  <a:pt x="1048" y="1362"/>
                </a:lnTo>
                <a:lnTo>
                  <a:pt x="1044" y="1361"/>
                </a:lnTo>
                <a:lnTo>
                  <a:pt x="1040" y="1360"/>
                </a:lnTo>
                <a:lnTo>
                  <a:pt x="1034" y="1359"/>
                </a:lnTo>
                <a:lnTo>
                  <a:pt x="1026" y="1356"/>
                </a:lnTo>
                <a:lnTo>
                  <a:pt x="1026" y="1356"/>
                </a:lnTo>
                <a:lnTo>
                  <a:pt x="1026" y="1356"/>
                </a:lnTo>
                <a:lnTo>
                  <a:pt x="1021" y="1356"/>
                </a:lnTo>
                <a:lnTo>
                  <a:pt x="1017" y="1356"/>
                </a:lnTo>
                <a:lnTo>
                  <a:pt x="1012" y="1359"/>
                </a:lnTo>
                <a:lnTo>
                  <a:pt x="1007" y="1362"/>
                </a:lnTo>
                <a:lnTo>
                  <a:pt x="1002" y="1364"/>
                </a:lnTo>
                <a:lnTo>
                  <a:pt x="996" y="1366"/>
                </a:lnTo>
                <a:lnTo>
                  <a:pt x="990" y="1366"/>
                </a:lnTo>
                <a:lnTo>
                  <a:pt x="983" y="1364"/>
                </a:lnTo>
                <a:lnTo>
                  <a:pt x="978" y="1362"/>
                </a:lnTo>
                <a:lnTo>
                  <a:pt x="973" y="1362"/>
                </a:lnTo>
                <a:lnTo>
                  <a:pt x="967" y="1362"/>
                </a:lnTo>
                <a:lnTo>
                  <a:pt x="963" y="1365"/>
                </a:lnTo>
                <a:lnTo>
                  <a:pt x="961" y="1367"/>
                </a:lnTo>
                <a:lnTo>
                  <a:pt x="959" y="1369"/>
                </a:lnTo>
                <a:lnTo>
                  <a:pt x="957" y="1371"/>
                </a:lnTo>
                <a:lnTo>
                  <a:pt x="957" y="1375"/>
                </a:lnTo>
                <a:lnTo>
                  <a:pt x="956" y="1377"/>
                </a:lnTo>
                <a:lnTo>
                  <a:pt x="955" y="1380"/>
                </a:lnTo>
                <a:lnTo>
                  <a:pt x="952" y="1382"/>
                </a:lnTo>
                <a:lnTo>
                  <a:pt x="951" y="1383"/>
                </a:lnTo>
                <a:lnTo>
                  <a:pt x="948" y="1384"/>
                </a:lnTo>
                <a:lnTo>
                  <a:pt x="946" y="1384"/>
                </a:lnTo>
                <a:lnTo>
                  <a:pt x="944" y="1384"/>
                </a:lnTo>
                <a:lnTo>
                  <a:pt x="941" y="1383"/>
                </a:lnTo>
                <a:lnTo>
                  <a:pt x="936" y="1382"/>
                </a:lnTo>
                <a:lnTo>
                  <a:pt x="932" y="1383"/>
                </a:lnTo>
                <a:lnTo>
                  <a:pt x="929" y="1384"/>
                </a:lnTo>
                <a:lnTo>
                  <a:pt x="926" y="1384"/>
                </a:lnTo>
                <a:lnTo>
                  <a:pt x="922" y="1384"/>
                </a:lnTo>
                <a:lnTo>
                  <a:pt x="920" y="1383"/>
                </a:lnTo>
                <a:lnTo>
                  <a:pt x="918" y="1382"/>
                </a:lnTo>
                <a:lnTo>
                  <a:pt x="916" y="1380"/>
                </a:lnTo>
                <a:lnTo>
                  <a:pt x="914" y="1377"/>
                </a:lnTo>
                <a:lnTo>
                  <a:pt x="913" y="1374"/>
                </a:lnTo>
                <a:lnTo>
                  <a:pt x="912" y="1370"/>
                </a:lnTo>
                <a:lnTo>
                  <a:pt x="909" y="1368"/>
                </a:lnTo>
                <a:lnTo>
                  <a:pt x="906" y="1368"/>
                </a:lnTo>
                <a:lnTo>
                  <a:pt x="905" y="1369"/>
                </a:lnTo>
                <a:lnTo>
                  <a:pt x="903" y="1370"/>
                </a:lnTo>
                <a:lnTo>
                  <a:pt x="902" y="1371"/>
                </a:lnTo>
                <a:lnTo>
                  <a:pt x="899" y="1376"/>
                </a:lnTo>
                <a:lnTo>
                  <a:pt x="897" y="1380"/>
                </a:lnTo>
                <a:lnTo>
                  <a:pt x="897" y="1382"/>
                </a:lnTo>
                <a:lnTo>
                  <a:pt x="897" y="1384"/>
                </a:lnTo>
                <a:lnTo>
                  <a:pt x="898" y="1386"/>
                </a:lnTo>
                <a:lnTo>
                  <a:pt x="901" y="1390"/>
                </a:lnTo>
                <a:lnTo>
                  <a:pt x="902" y="1393"/>
                </a:lnTo>
                <a:lnTo>
                  <a:pt x="903" y="1397"/>
                </a:lnTo>
                <a:lnTo>
                  <a:pt x="901" y="1400"/>
                </a:lnTo>
                <a:lnTo>
                  <a:pt x="899" y="1405"/>
                </a:lnTo>
                <a:lnTo>
                  <a:pt x="896" y="1406"/>
                </a:lnTo>
                <a:lnTo>
                  <a:pt x="891" y="1407"/>
                </a:lnTo>
                <a:lnTo>
                  <a:pt x="888" y="1406"/>
                </a:lnTo>
                <a:lnTo>
                  <a:pt x="884" y="1404"/>
                </a:lnTo>
                <a:lnTo>
                  <a:pt x="881" y="1400"/>
                </a:lnTo>
                <a:lnTo>
                  <a:pt x="880" y="1397"/>
                </a:lnTo>
                <a:lnTo>
                  <a:pt x="879" y="1395"/>
                </a:lnTo>
                <a:lnTo>
                  <a:pt x="879" y="1393"/>
                </a:lnTo>
                <a:lnTo>
                  <a:pt x="880" y="1391"/>
                </a:lnTo>
                <a:lnTo>
                  <a:pt x="881" y="1389"/>
                </a:lnTo>
                <a:lnTo>
                  <a:pt x="883" y="1385"/>
                </a:lnTo>
                <a:lnTo>
                  <a:pt x="883" y="1382"/>
                </a:lnTo>
                <a:lnTo>
                  <a:pt x="882" y="1379"/>
                </a:lnTo>
                <a:lnTo>
                  <a:pt x="880" y="1376"/>
                </a:lnTo>
                <a:lnTo>
                  <a:pt x="876" y="1373"/>
                </a:lnTo>
                <a:lnTo>
                  <a:pt x="873" y="1369"/>
                </a:lnTo>
                <a:lnTo>
                  <a:pt x="870" y="1367"/>
                </a:lnTo>
                <a:lnTo>
                  <a:pt x="866" y="1365"/>
                </a:lnTo>
                <a:lnTo>
                  <a:pt x="858" y="1363"/>
                </a:lnTo>
                <a:lnTo>
                  <a:pt x="850" y="1361"/>
                </a:lnTo>
                <a:lnTo>
                  <a:pt x="843" y="1359"/>
                </a:lnTo>
                <a:lnTo>
                  <a:pt x="840" y="1356"/>
                </a:lnTo>
                <a:lnTo>
                  <a:pt x="840" y="1352"/>
                </a:lnTo>
                <a:lnTo>
                  <a:pt x="841" y="1347"/>
                </a:lnTo>
                <a:lnTo>
                  <a:pt x="841" y="1345"/>
                </a:lnTo>
                <a:lnTo>
                  <a:pt x="840" y="1342"/>
                </a:lnTo>
                <a:lnTo>
                  <a:pt x="839" y="1339"/>
                </a:lnTo>
                <a:lnTo>
                  <a:pt x="837" y="1337"/>
                </a:lnTo>
                <a:lnTo>
                  <a:pt x="835" y="1335"/>
                </a:lnTo>
                <a:lnTo>
                  <a:pt x="833" y="1334"/>
                </a:lnTo>
                <a:lnTo>
                  <a:pt x="829" y="1334"/>
                </a:lnTo>
                <a:lnTo>
                  <a:pt x="827" y="1334"/>
                </a:lnTo>
                <a:lnTo>
                  <a:pt x="821" y="1336"/>
                </a:lnTo>
                <a:lnTo>
                  <a:pt x="813" y="1338"/>
                </a:lnTo>
                <a:lnTo>
                  <a:pt x="808" y="1340"/>
                </a:lnTo>
                <a:lnTo>
                  <a:pt x="804" y="1339"/>
                </a:lnTo>
                <a:lnTo>
                  <a:pt x="794" y="1336"/>
                </a:lnTo>
                <a:lnTo>
                  <a:pt x="784" y="1335"/>
                </a:lnTo>
                <a:lnTo>
                  <a:pt x="774" y="1333"/>
                </a:lnTo>
                <a:lnTo>
                  <a:pt x="765" y="1330"/>
                </a:lnTo>
                <a:lnTo>
                  <a:pt x="760" y="1329"/>
                </a:lnTo>
                <a:lnTo>
                  <a:pt x="753" y="1329"/>
                </a:lnTo>
                <a:lnTo>
                  <a:pt x="745" y="1330"/>
                </a:lnTo>
                <a:lnTo>
                  <a:pt x="735" y="1329"/>
                </a:lnTo>
                <a:lnTo>
                  <a:pt x="727" y="1325"/>
                </a:lnTo>
                <a:lnTo>
                  <a:pt x="718" y="1321"/>
                </a:lnTo>
                <a:lnTo>
                  <a:pt x="715" y="1320"/>
                </a:lnTo>
                <a:lnTo>
                  <a:pt x="712" y="1320"/>
                </a:lnTo>
                <a:lnTo>
                  <a:pt x="708" y="1320"/>
                </a:lnTo>
                <a:lnTo>
                  <a:pt x="705" y="1321"/>
                </a:lnTo>
                <a:lnTo>
                  <a:pt x="702" y="1322"/>
                </a:lnTo>
                <a:lnTo>
                  <a:pt x="699" y="1323"/>
                </a:lnTo>
                <a:lnTo>
                  <a:pt x="697" y="1325"/>
                </a:lnTo>
                <a:lnTo>
                  <a:pt x="694" y="1328"/>
                </a:lnTo>
                <a:lnTo>
                  <a:pt x="688" y="1340"/>
                </a:lnTo>
                <a:lnTo>
                  <a:pt x="679" y="1353"/>
                </a:lnTo>
                <a:lnTo>
                  <a:pt x="672" y="1365"/>
                </a:lnTo>
                <a:lnTo>
                  <a:pt x="663" y="1377"/>
                </a:lnTo>
                <a:lnTo>
                  <a:pt x="662" y="1379"/>
                </a:lnTo>
                <a:lnTo>
                  <a:pt x="661" y="1382"/>
                </a:lnTo>
                <a:lnTo>
                  <a:pt x="659" y="1386"/>
                </a:lnTo>
                <a:lnTo>
                  <a:pt x="658" y="1391"/>
                </a:lnTo>
                <a:lnTo>
                  <a:pt x="656" y="1395"/>
                </a:lnTo>
                <a:lnTo>
                  <a:pt x="653" y="1398"/>
                </a:lnTo>
                <a:lnTo>
                  <a:pt x="647" y="1401"/>
                </a:lnTo>
                <a:lnTo>
                  <a:pt x="643" y="1405"/>
                </a:lnTo>
                <a:lnTo>
                  <a:pt x="638" y="1407"/>
                </a:lnTo>
                <a:lnTo>
                  <a:pt x="633" y="1409"/>
                </a:lnTo>
                <a:lnTo>
                  <a:pt x="623" y="1411"/>
                </a:lnTo>
                <a:lnTo>
                  <a:pt x="612" y="1411"/>
                </a:lnTo>
                <a:lnTo>
                  <a:pt x="609" y="1410"/>
                </a:lnTo>
                <a:lnTo>
                  <a:pt x="607" y="1408"/>
                </a:lnTo>
                <a:lnTo>
                  <a:pt x="604" y="1405"/>
                </a:lnTo>
                <a:lnTo>
                  <a:pt x="601" y="1402"/>
                </a:lnTo>
                <a:lnTo>
                  <a:pt x="598" y="1401"/>
                </a:lnTo>
                <a:lnTo>
                  <a:pt x="596" y="1400"/>
                </a:lnTo>
                <a:lnTo>
                  <a:pt x="594" y="1397"/>
                </a:lnTo>
                <a:lnTo>
                  <a:pt x="594" y="1394"/>
                </a:lnTo>
                <a:lnTo>
                  <a:pt x="592" y="1391"/>
                </a:lnTo>
                <a:lnTo>
                  <a:pt x="589" y="1389"/>
                </a:lnTo>
                <a:lnTo>
                  <a:pt x="578" y="1383"/>
                </a:lnTo>
                <a:lnTo>
                  <a:pt x="565" y="1379"/>
                </a:lnTo>
                <a:lnTo>
                  <a:pt x="561" y="1378"/>
                </a:lnTo>
                <a:lnTo>
                  <a:pt x="557" y="1376"/>
                </a:lnTo>
                <a:lnTo>
                  <a:pt x="553" y="1373"/>
                </a:lnTo>
                <a:lnTo>
                  <a:pt x="550" y="1368"/>
                </a:lnTo>
                <a:lnTo>
                  <a:pt x="547" y="1364"/>
                </a:lnTo>
                <a:lnTo>
                  <a:pt x="545" y="1359"/>
                </a:lnTo>
                <a:lnTo>
                  <a:pt x="543" y="1354"/>
                </a:lnTo>
                <a:lnTo>
                  <a:pt x="542" y="1349"/>
                </a:lnTo>
                <a:lnTo>
                  <a:pt x="542" y="1344"/>
                </a:lnTo>
                <a:lnTo>
                  <a:pt x="541" y="1338"/>
                </a:lnTo>
                <a:lnTo>
                  <a:pt x="541" y="1336"/>
                </a:lnTo>
                <a:lnTo>
                  <a:pt x="540" y="1333"/>
                </a:lnTo>
                <a:lnTo>
                  <a:pt x="538" y="1331"/>
                </a:lnTo>
                <a:lnTo>
                  <a:pt x="535" y="1329"/>
                </a:lnTo>
                <a:lnTo>
                  <a:pt x="533" y="1327"/>
                </a:lnTo>
                <a:lnTo>
                  <a:pt x="532" y="1322"/>
                </a:lnTo>
                <a:lnTo>
                  <a:pt x="533" y="1318"/>
                </a:lnTo>
                <a:lnTo>
                  <a:pt x="535" y="1314"/>
                </a:lnTo>
                <a:lnTo>
                  <a:pt x="536" y="1310"/>
                </a:lnTo>
                <a:lnTo>
                  <a:pt x="536" y="1309"/>
                </a:lnTo>
                <a:lnTo>
                  <a:pt x="535" y="1308"/>
                </a:lnTo>
                <a:lnTo>
                  <a:pt x="532" y="1308"/>
                </a:lnTo>
                <a:lnTo>
                  <a:pt x="522" y="1308"/>
                </a:lnTo>
                <a:lnTo>
                  <a:pt x="512" y="1308"/>
                </a:lnTo>
                <a:lnTo>
                  <a:pt x="509" y="1308"/>
                </a:lnTo>
                <a:lnTo>
                  <a:pt x="508" y="1309"/>
                </a:lnTo>
                <a:lnTo>
                  <a:pt x="508" y="1312"/>
                </a:lnTo>
                <a:lnTo>
                  <a:pt x="509" y="1314"/>
                </a:lnTo>
                <a:lnTo>
                  <a:pt x="512" y="1319"/>
                </a:lnTo>
                <a:lnTo>
                  <a:pt x="513" y="1323"/>
                </a:lnTo>
                <a:lnTo>
                  <a:pt x="513" y="1329"/>
                </a:lnTo>
                <a:lnTo>
                  <a:pt x="512" y="1334"/>
                </a:lnTo>
                <a:lnTo>
                  <a:pt x="512" y="1338"/>
                </a:lnTo>
                <a:lnTo>
                  <a:pt x="512" y="1343"/>
                </a:lnTo>
                <a:lnTo>
                  <a:pt x="511" y="1345"/>
                </a:lnTo>
                <a:lnTo>
                  <a:pt x="509" y="1348"/>
                </a:lnTo>
                <a:lnTo>
                  <a:pt x="507" y="1350"/>
                </a:lnTo>
                <a:lnTo>
                  <a:pt x="505" y="1352"/>
                </a:lnTo>
                <a:lnTo>
                  <a:pt x="502" y="1353"/>
                </a:lnTo>
                <a:lnTo>
                  <a:pt x="497" y="1355"/>
                </a:lnTo>
                <a:lnTo>
                  <a:pt x="493" y="1356"/>
                </a:lnTo>
                <a:lnTo>
                  <a:pt x="490" y="1359"/>
                </a:lnTo>
                <a:lnTo>
                  <a:pt x="488" y="1361"/>
                </a:lnTo>
                <a:lnTo>
                  <a:pt x="487" y="1365"/>
                </a:lnTo>
                <a:lnTo>
                  <a:pt x="486" y="1368"/>
                </a:lnTo>
                <a:lnTo>
                  <a:pt x="483" y="1369"/>
                </a:lnTo>
                <a:lnTo>
                  <a:pt x="480" y="1369"/>
                </a:lnTo>
                <a:lnTo>
                  <a:pt x="477" y="1369"/>
                </a:lnTo>
                <a:lnTo>
                  <a:pt x="467" y="1367"/>
                </a:lnTo>
                <a:lnTo>
                  <a:pt x="459" y="1366"/>
                </a:lnTo>
                <a:lnTo>
                  <a:pt x="454" y="1367"/>
                </a:lnTo>
                <a:lnTo>
                  <a:pt x="449" y="1368"/>
                </a:lnTo>
                <a:lnTo>
                  <a:pt x="445" y="1370"/>
                </a:lnTo>
                <a:lnTo>
                  <a:pt x="441" y="1374"/>
                </a:lnTo>
                <a:lnTo>
                  <a:pt x="437" y="1376"/>
                </a:lnTo>
                <a:lnTo>
                  <a:pt x="433" y="1377"/>
                </a:lnTo>
                <a:lnTo>
                  <a:pt x="429" y="1379"/>
                </a:lnTo>
                <a:lnTo>
                  <a:pt x="426" y="1379"/>
                </a:lnTo>
                <a:lnTo>
                  <a:pt x="417" y="1379"/>
                </a:lnTo>
                <a:lnTo>
                  <a:pt x="410" y="1378"/>
                </a:lnTo>
                <a:lnTo>
                  <a:pt x="398" y="1377"/>
                </a:lnTo>
                <a:lnTo>
                  <a:pt x="387" y="1376"/>
                </a:lnTo>
                <a:lnTo>
                  <a:pt x="383" y="1376"/>
                </a:lnTo>
                <a:lnTo>
                  <a:pt x="379" y="1376"/>
                </a:lnTo>
                <a:lnTo>
                  <a:pt x="374" y="1374"/>
                </a:lnTo>
                <a:lnTo>
                  <a:pt x="371" y="1371"/>
                </a:lnTo>
                <a:lnTo>
                  <a:pt x="369" y="1370"/>
                </a:lnTo>
                <a:lnTo>
                  <a:pt x="367" y="1370"/>
                </a:lnTo>
                <a:lnTo>
                  <a:pt x="355" y="1370"/>
                </a:lnTo>
                <a:lnTo>
                  <a:pt x="343" y="1370"/>
                </a:lnTo>
                <a:lnTo>
                  <a:pt x="331" y="1369"/>
                </a:lnTo>
                <a:lnTo>
                  <a:pt x="320" y="1369"/>
                </a:lnTo>
                <a:lnTo>
                  <a:pt x="316" y="1370"/>
                </a:lnTo>
                <a:lnTo>
                  <a:pt x="314" y="1371"/>
                </a:lnTo>
                <a:lnTo>
                  <a:pt x="312" y="1373"/>
                </a:lnTo>
                <a:lnTo>
                  <a:pt x="310" y="1375"/>
                </a:lnTo>
                <a:lnTo>
                  <a:pt x="308" y="1379"/>
                </a:lnTo>
                <a:lnTo>
                  <a:pt x="307" y="1384"/>
                </a:lnTo>
                <a:lnTo>
                  <a:pt x="306" y="1394"/>
                </a:lnTo>
                <a:lnTo>
                  <a:pt x="304" y="1404"/>
                </a:lnTo>
                <a:lnTo>
                  <a:pt x="303" y="1408"/>
                </a:lnTo>
                <a:lnTo>
                  <a:pt x="299" y="1412"/>
                </a:lnTo>
                <a:lnTo>
                  <a:pt x="296" y="1416"/>
                </a:lnTo>
                <a:lnTo>
                  <a:pt x="293" y="1420"/>
                </a:lnTo>
                <a:lnTo>
                  <a:pt x="289" y="1423"/>
                </a:lnTo>
                <a:lnTo>
                  <a:pt x="285" y="1425"/>
                </a:lnTo>
                <a:lnTo>
                  <a:pt x="283" y="1428"/>
                </a:lnTo>
                <a:lnTo>
                  <a:pt x="282" y="1431"/>
                </a:lnTo>
                <a:lnTo>
                  <a:pt x="282" y="1434"/>
                </a:lnTo>
                <a:lnTo>
                  <a:pt x="282" y="1438"/>
                </a:lnTo>
                <a:lnTo>
                  <a:pt x="283" y="1441"/>
                </a:lnTo>
                <a:lnTo>
                  <a:pt x="285" y="1446"/>
                </a:lnTo>
                <a:lnTo>
                  <a:pt x="286" y="1452"/>
                </a:lnTo>
                <a:lnTo>
                  <a:pt x="288" y="1457"/>
                </a:lnTo>
                <a:lnTo>
                  <a:pt x="286" y="1462"/>
                </a:lnTo>
                <a:lnTo>
                  <a:pt x="284" y="1468"/>
                </a:lnTo>
                <a:lnTo>
                  <a:pt x="282" y="1471"/>
                </a:lnTo>
                <a:lnTo>
                  <a:pt x="280" y="1472"/>
                </a:lnTo>
                <a:lnTo>
                  <a:pt x="279" y="1474"/>
                </a:lnTo>
                <a:lnTo>
                  <a:pt x="277" y="1474"/>
                </a:lnTo>
                <a:lnTo>
                  <a:pt x="273" y="1474"/>
                </a:lnTo>
                <a:lnTo>
                  <a:pt x="268" y="1472"/>
                </a:lnTo>
                <a:lnTo>
                  <a:pt x="254" y="1462"/>
                </a:lnTo>
                <a:lnTo>
                  <a:pt x="239" y="1454"/>
                </a:lnTo>
                <a:lnTo>
                  <a:pt x="232" y="1450"/>
                </a:lnTo>
                <a:lnTo>
                  <a:pt x="224" y="1444"/>
                </a:lnTo>
                <a:lnTo>
                  <a:pt x="219" y="1439"/>
                </a:lnTo>
                <a:lnTo>
                  <a:pt x="214" y="1431"/>
                </a:lnTo>
                <a:lnTo>
                  <a:pt x="210" y="1426"/>
                </a:lnTo>
                <a:lnTo>
                  <a:pt x="206" y="1423"/>
                </a:lnTo>
                <a:lnTo>
                  <a:pt x="202" y="1420"/>
                </a:lnTo>
                <a:lnTo>
                  <a:pt x="198" y="1419"/>
                </a:lnTo>
                <a:lnTo>
                  <a:pt x="188" y="1417"/>
                </a:lnTo>
                <a:lnTo>
                  <a:pt x="178" y="1419"/>
                </a:lnTo>
                <a:lnTo>
                  <a:pt x="168" y="1419"/>
                </a:lnTo>
                <a:lnTo>
                  <a:pt x="159" y="1417"/>
                </a:lnTo>
                <a:lnTo>
                  <a:pt x="151" y="1414"/>
                </a:lnTo>
                <a:lnTo>
                  <a:pt x="141" y="1412"/>
                </a:lnTo>
                <a:lnTo>
                  <a:pt x="131" y="1409"/>
                </a:lnTo>
                <a:lnTo>
                  <a:pt x="123" y="1405"/>
                </a:lnTo>
                <a:lnTo>
                  <a:pt x="114" y="1398"/>
                </a:lnTo>
                <a:lnTo>
                  <a:pt x="107" y="1393"/>
                </a:lnTo>
                <a:lnTo>
                  <a:pt x="100" y="1388"/>
                </a:lnTo>
                <a:lnTo>
                  <a:pt x="93" y="1383"/>
                </a:lnTo>
                <a:lnTo>
                  <a:pt x="84" y="1379"/>
                </a:lnTo>
                <a:lnTo>
                  <a:pt x="76" y="1377"/>
                </a:lnTo>
                <a:lnTo>
                  <a:pt x="64" y="1374"/>
                </a:lnTo>
                <a:lnTo>
                  <a:pt x="53" y="1369"/>
                </a:lnTo>
                <a:lnTo>
                  <a:pt x="42" y="1363"/>
                </a:lnTo>
                <a:lnTo>
                  <a:pt x="32" y="1356"/>
                </a:lnTo>
                <a:lnTo>
                  <a:pt x="24" y="1352"/>
                </a:lnTo>
                <a:lnTo>
                  <a:pt x="17" y="1348"/>
                </a:lnTo>
                <a:lnTo>
                  <a:pt x="9" y="1346"/>
                </a:lnTo>
                <a:lnTo>
                  <a:pt x="0" y="1345"/>
                </a:lnTo>
                <a:lnTo>
                  <a:pt x="0" y="1410"/>
                </a:lnTo>
                <a:lnTo>
                  <a:pt x="0" y="1474"/>
                </a:lnTo>
                <a:lnTo>
                  <a:pt x="0" y="1538"/>
                </a:lnTo>
                <a:lnTo>
                  <a:pt x="0" y="1604"/>
                </a:lnTo>
                <a:lnTo>
                  <a:pt x="0" y="1668"/>
                </a:lnTo>
                <a:lnTo>
                  <a:pt x="0" y="1733"/>
                </a:lnTo>
                <a:lnTo>
                  <a:pt x="0" y="1797"/>
                </a:lnTo>
                <a:lnTo>
                  <a:pt x="0" y="1862"/>
                </a:lnTo>
                <a:lnTo>
                  <a:pt x="0" y="1866"/>
                </a:lnTo>
                <a:lnTo>
                  <a:pt x="2" y="1868"/>
                </a:lnTo>
                <a:lnTo>
                  <a:pt x="4" y="1869"/>
                </a:lnTo>
                <a:lnTo>
                  <a:pt x="7" y="1869"/>
                </a:lnTo>
                <a:lnTo>
                  <a:pt x="77" y="1869"/>
                </a:lnTo>
                <a:lnTo>
                  <a:pt x="146" y="1869"/>
                </a:lnTo>
                <a:lnTo>
                  <a:pt x="215" y="1869"/>
                </a:lnTo>
                <a:lnTo>
                  <a:pt x="284" y="1869"/>
                </a:lnTo>
                <a:lnTo>
                  <a:pt x="354" y="1869"/>
                </a:lnTo>
                <a:lnTo>
                  <a:pt x="422" y="1869"/>
                </a:lnTo>
                <a:lnTo>
                  <a:pt x="492" y="1869"/>
                </a:lnTo>
                <a:lnTo>
                  <a:pt x="562" y="1869"/>
                </a:lnTo>
                <a:lnTo>
                  <a:pt x="601" y="1869"/>
                </a:lnTo>
                <a:lnTo>
                  <a:pt x="642" y="1869"/>
                </a:lnTo>
                <a:lnTo>
                  <a:pt x="683" y="1869"/>
                </a:lnTo>
                <a:lnTo>
                  <a:pt x="723" y="1869"/>
                </a:lnTo>
                <a:lnTo>
                  <a:pt x="764" y="1869"/>
                </a:lnTo>
                <a:lnTo>
                  <a:pt x="804" y="1869"/>
                </a:lnTo>
                <a:lnTo>
                  <a:pt x="844" y="1869"/>
                </a:lnTo>
                <a:lnTo>
                  <a:pt x="885" y="1869"/>
                </a:lnTo>
                <a:lnTo>
                  <a:pt x="971" y="1869"/>
                </a:lnTo>
                <a:lnTo>
                  <a:pt x="1055" y="1869"/>
                </a:lnTo>
                <a:lnTo>
                  <a:pt x="1141" y="1869"/>
                </a:lnTo>
                <a:lnTo>
                  <a:pt x="1225" y="1869"/>
                </a:lnTo>
                <a:lnTo>
                  <a:pt x="1311" y="1869"/>
                </a:lnTo>
                <a:lnTo>
                  <a:pt x="1396" y="1869"/>
                </a:lnTo>
                <a:lnTo>
                  <a:pt x="1480" y="1869"/>
                </a:lnTo>
                <a:lnTo>
                  <a:pt x="1566" y="1869"/>
                </a:lnTo>
                <a:lnTo>
                  <a:pt x="1576" y="1869"/>
                </a:lnTo>
                <a:lnTo>
                  <a:pt x="1585" y="1869"/>
                </a:lnTo>
                <a:lnTo>
                  <a:pt x="1693" y="1869"/>
                </a:lnTo>
                <a:lnTo>
                  <a:pt x="1801" y="1869"/>
                </a:lnTo>
                <a:lnTo>
                  <a:pt x="1910" y="1869"/>
                </a:lnTo>
                <a:lnTo>
                  <a:pt x="2018" y="1869"/>
                </a:lnTo>
                <a:lnTo>
                  <a:pt x="2127" y="1869"/>
                </a:lnTo>
                <a:lnTo>
                  <a:pt x="2235" y="1869"/>
                </a:lnTo>
                <a:lnTo>
                  <a:pt x="2343" y="1869"/>
                </a:lnTo>
                <a:lnTo>
                  <a:pt x="2451" y="1869"/>
                </a:lnTo>
                <a:lnTo>
                  <a:pt x="2559" y="1869"/>
                </a:lnTo>
                <a:lnTo>
                  <a:pt x="2669" y="1869"/>
                </a:lnTo>
                <a:lnTo>
                  <a:pt x="2777" y="1869"/>
                </a:lnTo>
                <a:lnTo>
                  <a:pt x="2885" y="1869"/>
                </a:lnTo>
                <a:lnTo>
                  <a:pt x="2993" y="1869"/>
                </a:lnTo>
                <a:lnTo>
                  <a:pt x="3101" y="1869"/>
                </a:lnTo>
                <a:lnTo>
                  <a:pt x="3209" y="1869"/>
                </a:lnTo>
                <a:lnTo>
                  <a:pt x="3319" y="1869"/>
                </a:lnTo>
                <a:lnTo>
                  <a:pt x="3322" y="1869"/>
                </a:lnTo>
                <a:lnTo>
                  <a:pt x="3325" y="1868"/>
                </a:lnTo>
                <a:lnTo>
                  <a:pt x="3326" y="1866"/>
                </a:lnTo>
                <a:lnTo>
                  <a:pt x="3326" y="1862"/>
                </a:lnTo>
                <a:lnTo>
                  <a:pt x="3326" y="1828"/>
                </a:lnTo>
                <a:lnTo>
                  <a:pt x="3326" y="1795"/>
                </a:lnTo>
                <a:lnTo>
                  <a:pt x="3326" y="1761"/>
                </a:lnTo>
                <a:lnTo>
                  <a:pt x="3326" y="1728"/>
                </a:lnTo>
                <a:lnTo>
                  <a:pt x="3326" y="1695"/>
                </a:lnTo>
                <a:lnTo>
                  <a:pt x="3326" y="1661"/>
                </a:lnTo>
                <a:lnTo>
                  <a:pt x="3326" y="1627"/>
                </a:lnTo>
                <a:lnTo>
                  <a:pt x="3326" y="1594"/>
                </a:lnTo>
                <a:lnTo>
                  <a:pt x="3326" y="1579"/>
                </a:lnTo>
                <a:lnTo>
                  <a:pt x="3326" y="1565"/>
                </a:lnTo>
                <a:lnTo>
                  <a:pt x="3322" y="1563"/>
                </a:lnTo>
                <a:lnTo>
                  <a:pt x="3317" y="1564"/>
                </a:lnTo>
                <a:lnTo>
                  <a:pt x="3313" y="1565"/>
                </a:lnTo>
                <a:lnTo>
                  <a:pt x="3309" y="1565"/>
                </a:lnTo>
                <a:lnTo>
                  <a:pt x="3297" y="1564"/>
                </a:lnTo>
                <a:lnTo>
                  <a:pt x="3285" y="1565"/>
                </a:lnTo>
                <a:lnTo>
                  <a:pt x="3274" y="1566"/>
                </a:lnTo>
                <a:lnTo>
                  <a:pt x="3262" y="1567"/>
                </a:lnTo>
                <a:lnTo>
                  <a:pt x="3253" y="1568"/>
                </a:lnTo>
                <a:lnTo>
                  <a:pt x="3245" y="1568"/>
                </a:lnTo>
                <a:lnTo>
                  <a:pt x="3236" y="1567"/>
                </a:lnTo>
                <a:lnTo>
                  <a:pt x="3229" y="1566"/>
                </a:lnTo>
                <a:lnTo>
                  <a:pt x="3220" y="1564"/>
                </a:lnTo>
                <a:lnTo>
                  <a:pt x="3210" y="1564"/>
                </a:lnTo>
                <a:lnTo>
                  <a:pt x="3198" y="1565"/>
                </a:lnTo>
                <a:lnTo>
                  <a:pt x="3184" y="1564"/>
                </a:lnTo>
                <a:lnTo>
                  <a:pt x="3174" y="1563"/>
                </a:lnTo>
                <a:lnTo>
                  <a:pt x="3163" y="1563"/>
                </a:lnTo>
                <a:lnTo>
                  <a:pt x="3159" y="1563"/>
                </a:lnTo>
                <a:lnTo>
                  <a:pt x="3154" y="1565"/>
                </a:lnTo>
                <a:lnTo>
                  <a:pt x="3149" y="1567"/>
                </a:lnTo>
                <a:lnTo>
                  <a:pt x="3144" y="1569"/>
                </a:lnTo>
                <a:lnTo>
                  <a:pt x="3141" y="1573"/>
                </a:lnTo>
                <a:lnTo>
                  <a:pt x="3136" y="1574"/>
                </a:lnTo>
                <a:lnTo>
                  <a:pt x="3132" y="1573"/>
                </a:lnTo>
                <a:lnTo>
                  <a:pt x="3128" y="1570"/>
                </a:lnTo>
                <a:lnTo>
                  <a:pt x="3118" y="1564"/>
                </a:lnTo>
                <a:lnTo>
                  <a:pt x="3107" y="1558"/>
                </a:lnTo>
                <a:lnTo>
                  <a:pt x="3095" y="1553"/>
                </a:lnTo>
                <a:lnTo>
                  <a:pt x="3084" y="1548"/>
                </a:lnTo>
                <a:lnTo>
                  <a:pt x="3072" y="1546"/>
                </a:lnTo>
                <a:lnTo>
                  <a:pt x="3060" y="1544"/>
                </a:lnTo>
                <a:lnTo>
                  <a:pt x="3056" y="1543"/>
                </a:lnTo>
                <a:lnTo>
                  <a:pt x="3052" y="1542"/>
                </a:lnTo>
                <a:lnTo>
                  <a:pt x="3048" y="1542"/>
                </a:lnTo>
                <a:lnTo>
                  <a:pt x="3044" y="1543"/>
                </a:lnTo>
                <a:lnTo>
                  <a:pt x="3037" y="1545"/>
                </a:lnTo>
                <a:lnTo>
                  <a:pt x="3029" y="1550"/>
                </a:lnTo>
                <a:lnTo>
                  <a:pt x="3014" y="1560"/>
                </a:lnTo>
                <a:lnTo>
                  <a:pt x="2999" y="1567"/>
                </a:lnTo>
                <a:lnTo>
                  <a:pt x="2982" y="1573"/>
                </a:lnTo>
                <a:lnTo>
                  <a:pt x="2965" y="1578"/>
                </a:lnTo>
                <a:lnTo>
                  <a:pt x="2961" y="1579"/>
                </a:lnTo>
                <a:lnTo>
                  <a:pt x="2956" y="1578"/>
                </a:lnTo>
                <a:lnTo>
                  <a:pt x="2951" y="1576"/>
                </a:lnTo>
                <a:lnTo>
                  <a:pt x="2948" y="1572"/>
                </a:lnTo>
                <a:lnTo>
                  <a:pt x="2946" y="1569"/>
                </a:lnTo>
                <a:lnTo>
                  <a:pt x="2943" y="1566"/>
                </a:lnTo>
                <a:lnTo>
                  <a:pt x="2940" y="1564"/>
                </a:lnTo>
                <a:lnTo>
                  <a:pt x="2936" y="1562"/>
                </a:lnTo>
                <a:lnTo>
                  <a:pt x="2929" y="1560"/>
                </a:lnTo>
                <a:lnTo>
                  <a:pt x="2921" y="1556"/>
                </a:lnTo>
                <a:lnTo>
                  <a:pt x="2913" y="1551"/>
                </a:lnTo>
                <a:lnTo>
                  <a:pt x="2904" y="1547"/>
                </a:lnTo>
                <a:lnTo>
                  <a:pt x="2900" y="1547"/>
                </a:lnTo>
                <a:lnTo>
                  <a:pt x="2895" y="1546"/>
                </a:lnTo>
                <a:lnTo>
                  <a:pt x="2890" y="1547"/>
                </a:lnTo>
                <a:lnTo>
                  <a:pt x="2885" y="1548"/>
                </a:lnTo>
                <a:lnTo>
                  <a:pt x="2883" y="1549"/>
                </a:lnTo>
                <a:lnTo>
                  <a:pt x="2881" y="1548"/>
                </a:lnTo>
                <a:lnTo>
                  <a:pt x="2878" y="1546"/>
                </a:lnTo>
                <a:lnTo>
                  <a:pt x="2876" y="1545"/>
                </a:lnTo>
                <a:lnTo>
                  <a:pt x="2874" y="1544"/>
                </a:lnTo>
                <a:lnTo>
                  <a:pt x="2871" y="1544"/>
                </a:lnTo>
                <a:lnTo>
                  <a:pt x="2867" y="1544"/>
                </a:lnTo>
                <a:lnTo>
                  <a:pt x="2861" y="1545"/>
                </a:lnTo>
                <a:lnTo>
                  <a:pt x="2852" y="1545"/>
                </a:lnTo>
                <a:lnTo>
                  <a:pt x="2846" y="1547"/>
                </a:lnTo>
                <a:lnTo>
                  <a:pt x="2843" y="1551"/>
                </a:lnTo>
                <a:lnTo>
                  <a:pt x="2840" y="1561"/>
                </a:lnTo>
                <a:lnTo>
                  <a:pt x="2839" y="1563"/>
                </a:lnTo>
                <a:lnTo>
                  <a:pt x="2838" y="1565"/>
                </a:lnTo>
                <a:lnTo>
                  <a:pt x="2837" y="1566"/>
                </a:lnTo>
                <a:lnTo>
                  <a:pt x="2835" y="1567"/>
                </a:lnTo>
                <a:lnTo>
                  <a:pt x="2824" y="1566"/>
                </a:lnTo>
                <a:lnTo>
                  <a:pt x="2813" y="1567"/>
                </a:lnTo>
                <a:lnTo>
                  <a:pt x="2802" y="1567"/>
                </a:lnTo>
                <a:lnTo>
                  <a:pt x="2792" y="1568"/>
                </a:lnTo>
                <a:lnTo>
                  <a:pt x="2783" y="1568"/>
                </a:lnTo>
                <a:lnTo>
                  <a:pt x="2775" y="1570"/>
                </a:lnTo>
                <a:lnTo>
                  <a:pt x="2766" y="1570"/>
                </a:lnTo>
                <a:lnTo>
                  <a:pt x="2756" y="1570"/>
                </a:lnTo>
                <a:lnTo>
                  <a:pt x="2755" y="1570"/>
                </a:lnTo>
                <a:lnTo>
                  <a:pt x="2755" y="1572"/>
                </a:lnTo>
                <a:lnTo>
                  <a:pt x="2753" y="1573"/>
                </a:lnTo>
                <a:lnTo>
                  <a:pt x="2751" y="1572"/>
                </a:lnTo>
                <a:lnTo>
                  <a:pt x="2749" y="1572"/>
                </a:lnTo>
                <a:lnTo>
                  <a:pt x="2747" y="1569"/>
                </a:lnTo>
                <a:lnTo>
                  <a:pt x="2737" y="1562"/>
                </a:lnTo>
                <a:lnTo>
                  <a:pt x="2728" y="1553"/>
                </a:lnTo>
                <a:lnTo>
                  <a:pt x="2725" y="1552"/>
                </a:lnTo>
                <a:lnTo>
                  <a:pt x="2723" y="1552"/>
                </a:lnTo>
                <a:lnTo>
                  <a:pt x="2721" y="1553"/>
                </a:lnTo>
                <a:lnTo>
                  <a:pt x="2718" y="1554"/>
                </a:lnTo>
                <a:lnTo>
                  <a:pt x="2716" y="1556"/>
                </a:lnTo>
                <a:lnTo>
                  <a:pt x="2713" y="1557"/>
                </a:lnTo>
                <a:lnTo>
                  <a:pt x="2710" y="1556"/>
                </a:lnTo>
                <a:lnTo>
                  <a:pt x="2708" y="1552"/>
                </a:lnTo>
                <a:lnTo>
                  <a:pt x="2706" y="1549"/>
                </a:lnTo>
                <a:lnTo>
                  <a:pt x="2704" y="1548"/>
                </a:lnTo>
                <a:lnTo>
                  <a:pt x="2702" y="1549"/>
                </a:lnTo>
                <a:lnTo>
                  <a:pt x="2700" y="1552"/>
                </a:lnTo>
                <a:lnTo>
                  <a:pt x="2698" y="1556"/>
                </a:lnTo>
                <a:lnTo>
                  <a:pt x="2694" y="1558"/>
                </a:lnTo>
                <a:lnTo>
                  <a:pt x="2691" y="1559"/>
                </a:lnTo>
                <a:lnTo>
                  <a:pt x="2688" y="1560"/>
                </a:lnTo>
                <a:lnTo>
                  <a:pt x="2686" y="1559"/>
                </a:lnTo>
                <a:lnTo>
                  <a:pt x="2683" y="1559"/>
                </a:lnTo>
                <a:lnTo>
                  <a:pt x="2680" y="1560"/>
                </a:lnTo>
                <a:lnTo>
                  <a:pt x="2679" y="1562"/>
                </a:lnTo>
                <a:lnTo>
                  <a:pt x="2678" y="1565"/>
                </a:lnTo>
                <a:lnTo>
                  <a:pt x="2679" y="1568"/>
                </a:lnTo>
                <a:lnTo>
                  <a:pt x="2680" y="1570"/>
                </a:lnTo>
                <a:lnTo>
                  <a:pt x="2683" y="1573"/>
                </a:lnTo>
                <a:lnTo>
                  <a:pt x="2685" y="1575"/>
                </a:lnTo>
                <a:lnTo>
                  <a:pt x="2686" y="1576"/>
                </a:lnTo>
                <a:lnTo>
                  <a:pt x="2684" y="1577"/>
                </a:lnTo>
                <a:lnTo>
                  <a:pt x="2681" y="1578"/>
                </a:lnTo>
                <a:lnTo>
                  <a:pt x="2679" y="1579"/>
                </a:lnTo>
                <a:lnTo>
                  <a:pt x="2676" y="1579"/>
                </a:lnTo>
                <a:lnTo>
                  <a:pt x="2676" y="1579"/>
                </a:lnTo>
                <a:lnTo>
                  <a:pt x="2675" y="1579"/>
                </a:lnTo>
                <a:lnTo>
                  <a:pt x="2674" y="1577"/>
                </a:lnTo>
                <a:lnTo>
                  <a:pt x="2672" y="1577"/>
                </a:lnTo>
                <a:lnTo>
                  <a:pt x="2670" y="1577"/>
                </a:lnTo>
                <a:lnTo>
                  <a:pt x="2669" y="1577"/>
                </a:lnTo>
                <a:lnTo>
                  <a:pt x="2661" y="1578"/>
                </a:lnTo>
                <a:lnTo>
                  <a:pt x="2654" y="1578"/>
                </a:lnTo>
                <a:lnTo>
                  <a:pt x="2646" y="1578"/>
                </a:lnTo>
                <a:lnTo>
                  <a:pt x="2639" y="1577"/>
                </a:lnTo>
                <a:lnTo>
                  <a:pt x="2634" y="1575"/>
                </a:lnTo>
                <a:lnTo>
                  <a:pt x="2630" y="1575"/>
                </a:lnTo>
                <a:lnTo>
                  <a:pt x="2629" y="1575"/>
                </a:lnTo>
                <a:lnTo>
                  <a:pt x="2628" y="1576"/>
                </a:lnTo>
                <a:lnTo>
                  <a:pt x="2627" y="1579"/>
                </a:lnTo>
                <a:lnTo>
                  <a:pt x="2627" y="1582"/>
                </a:lnTo>
                <a:lnTo>
                  <a:pt x="2625" y="1584"/>
                </a:lnTo>
                <a:lnTo>
                  <a:pt x="2622" y="1587"/>
                </a:lnTo>
                <a:lnTo>
                  <a:pt x="2622" y="1585"/>
                </a:lnTo>
                <a:lnTo>
                  <a:pt x="2622" y="1585"/>
                </a:lnTo>
                <a:lnTo>
                  <a:pt x="2615" y="1585"/>
                </a:lnTo>
                <a:lnTo>
                  <a:pt x="2610" y="1584"/>
                </a:lnTo>
                <a:lnTo>
                  <a:pt x="2615" y="1585"/>
                </a:lnTo>
                <a:lnTo>
                  <a:pt x="2622" y="1585"/>
                </a:lnTo>
                <a:lnTo>
                  <a:pt x="2616" y="1582"/>
                </a:lnTo>
                <a:lnTo>
                  <a:pt x="2612" y="1578"/>
                </a:lnTo>
                <a:lnTo>
                  <a:pt x="2610" y="1573"/>
                </a:lnTo>
                <a:lnTo>
                  <a:pt x="2609" y="1567"/>
                </a:lnTo>
                <a:lnTo>
                  <a:pt x="2608" y="1565"/>
                </a:lnTo>
                <a:lnTo>
                  <a:pt x="2608" y="1564"/>
                </a:lnTo>
                <a:lnTo>
                  <a:pt x="2605" y="1564"/>
                </a:lnTo>
                <a:lnTo>
                  <a:pt x="2604" y="1564"/>
                </a:lnTo>
                <a:lnTo>
                  <a:pt x="2598" y="1564"/>
                </a:lnTo>
                <a:lnTo>
                  <a:pt x="2592" y="1564"/>
                </a:lnTo>
                <a:lnTo>
                  <a:pt x="2588" y="1563"/>
                </a:lnTo>
                <a:lnTo>
                  <a:pt x="2585" y="1564"/>
                </a:lnTo>
                <a:lnTo>
                  <a:pt x="2582" y="1565"/>
                </a:lnTo>
                <a:lnTo>
                  <a:pt x="2579" y="1568"/>
                </a:lnTo>
                <a:lnTo>
                  <a:pt x="2577" y="1569"/>
                </a:lnTo>
                <a:lnTo>
                  <a:pt x="2574" y="1569"/>
                </a:lnTo>
                <a:lnTo>
                  <a:pt x="2573" y="1569"/>
                </a:lnTo>
                <a:lnTo>
                  <a:pt x="2571" y="1567"/>
                </a:lnTo>
                <a:lnTo>
                  <a:pt x="2569" y="1566"/>
                </a:lnTo>
                <a:lnTo>
                  <a:pt x="2566" y="1566"/>
                </a:lnTo>
                <a:lnTo>
                  <a:pt x="2565" y="1566"/>
                </a:lnTo>
                <a:lnTo>
                  <a:pt x="2563" y="1567"/>
                </a:lnTo>
                <a:lnTo>
                  <a:pt x="2555" y="1573"/>
                </a:lnTo>
                <a:lnTo>
                  <a:pt x="2549" y="1580"/>
                </a:lnTo>
                <a:lnTo>
                  <a:pt x="2547" y="1583"/>
                </a:lnTo>
                <a:lnTo>
                  <a:pt x="2544" y="1583"/>
                </a:lnTo>
                <a:lnTo>
                  <a:pt x="2542" y="1582"/>
                </a:lnTo>
                <a:lnTo>
                  <a:pt x="2540" y="1580"/>
                </a:lnTo>
                <a:lnTo>
                  <a:pt x="2539" y="1578"/>
                </a:lnTo>
                <a:lnTo>
                  <a:pt x="2538" y="1577"/>
                </a:lnTo>
                <a:lnTo>
                  <a:pt x="2537" y="1576"/>
                </a:lnTo>
                <a:lnTo>
                  <a:pt x="2535" y="1576"/>
                </a:lnTo>
                <a:lnTo>
                  <a:pt x="2527" y="1577"/>
                </a:lnTo>
                <a:lnTo>
                  <a:pt x="2521" y="1579"/>
                </a:lnTo>
                <a:lnTo>
                  <a:pt x="2514" y="1582"/>
                </a:lnTo>
                <a:lnTo>
                  <a:pt x="2510" y="1582"/>
                </a:lnTo>
                <a:lnTo>
                  <a:pt x="2506" y="1580"/>
                </a:lnTo>
                <a:lnTo>
                  <a:pt x="2502" y="1574"/>
                </a:lnTo>
                <a:lnTo>
                  <a:pt x="2494" y="1564"/>
                </a:lnTo>
                <a:lnTo>
                  <a:pt x="2488" y="1554"/>
                </a:lnTo>
                <a:lnTo>
                  <a:pt x="2480" y="1546"/>
                </a:lnTo>
                <a:lnTo>
                  <a:pt x="2472" y="1536"/>
                </a:lnTo>
                <a:lnTo>
                  <a:pt x="2466" y="1528"/>
                </a:lnTo>
                <a:lnTo>
                  <a:pt x="2461" y="1520"/>
                </a:lnTo>
                <a:lnTo>
                  <a:pt x="2455" y="1513"/>
                </a:lnTo>
                <a:lnTo>
                  <a:pt x="2448" y="1504"/>
                </a:lnTo>
                <a:lnTo>
                  <a:pt x="2431" y="1482"/>
                </a:lnTo>
                <a:lnTo>
                  <a:pt x="2413" y="1459"/>
                </a:lnTo>
                <a:lnTo>
                  <a:pt x="2396" y="1437"/>
                </a:lnTo>
                <a:lnTo>
                  <a:pt x="2378" y="1414"/>
                </a:lnTo>
                <a:lnTo>
                  <a:pt x="2375" y="1411"/>
                </a:lnTo>
                <a:lnTo>
                  <a:pt x="2373" y="1407"/>
                </a:lnTo>
                <a:lnTo>
                  <a:pt x="2371" y="1406"/>
                </a:lnTo>
                <a:lnTo>
                  <a:pt x="2370" y="1404"/>
                </a:lnTo>
                <a:lnTo>
                  <a:pt x="2367" y="1398"/>
                </a:lnTo>
                <a:lnTo>
                  <a:pt x="2364" y="1393"/>
                </a:lnTo>
                <a:lnTo>
                  <a:pt x="2361" y="1386"/>
                </a:lnTo>
                <a:lnTo>
                  <a:pt x="2359" y="1381"/>
                </a:lnTo>
                <a:lnTo>
                  <a:pt x="2358" y="1375"/>
                </a:lnTo>
                <a:lnTo>
                  <a:pt x="2358" y="1368"/>
                </a:lnTo>
                <a:lnTo>
                  <a:pt x="2358" y="1363"/>
                </a:lnTo>
                <a:lnTo>
                  <a:pt x="2359" y="1356"/>
                </a:lnTo>
                <a:lnTo>
                  <a:pt x="2362" y="1352"/>
                </a:lnTo>
                <a:lnTo>
                  <a:pt x="2364" y="1348"/>
                </a:lnTo>
                <a:lnTo>
                  <a:pt x="2362" y="1344"/>
                </a:lnTo>
                <a:lnTo>
                  <a:pt x="2361" y="1338"/>
                </a:lnTo>
                <a:lnTo>
                  <a:pt x="2360" y="1337"/>
                </a:lnTo>
                <a:lnTo>
                  <a:pt x="2359" y="1336"/>
                </a:lnTo>
                <a:lnTo>
                  <a:pt x="2357" y="1335"/>
                </a:lnTo>
                <a:lnTo>
                  <a:pt x="2356" y="1335"/>
                </a:lnTo>
                <a:lnTo>
                  <a:pt x="2353" y="1335"/>
                </a:lnTo>
                <a:lnTo>
                  <a:pt x="2350" y="1335"/>
                </a:lnTo>
                <a:lnTo>
                  <a:pt x="2345" y="1334"/>
                </a:lnTo>
                <a:lnTo>
                  <a:pt x="2341" y="1334"/>
                </a:lnTo>
                <a:lnTo>
                  <a:pt x="2335" y="1333"/>
                </a:lnTo>
                <a:lnTo>
                  <a:pt x="2330" y="1331"/>
                </a:lnTo>
                <a:lnTo>
                  <a:pt x="2329" y="1327"/>
                </a:lnTo>
                <a:lnTo>
                  <a:pt x="2328" y="1319"/>
                </a:lnTo>
                <a:lnTo>
                  <a:pt x="2328" y="1317"/>
                </a:lnTo>
                <a:lnTo>
                  <a:pt x="2328" y="1314"/>
                </a:lnTo>
                <a:lnTo>
                  <a:pt x="2328" y="1310"/>
                </a:lnTo>
                <a:lnTo>
                  <a:pt x="2329" y="1309"/>
                </a:lnTo>
                <a:lnTo>
                  <a:pt x="2341" y="1306"/>
                </a:lnTo>
                <a:lnTo>
                  <a:pt x="2353" y="1305"/>
                </a:lnTo>
                <a:lnTo>
                  <a:pt x="2355" y="1305"/>
                </a:lnTo>
                <a:lnTo>
                  <a:pt x="2355" y="1306"/>
                </a:lnTo>
                <a:lnTo>
                  <a:pt x="2355" y="1307"/>
                </a:lnTo>
                <a:lnTo>
                  <a:pt x="2355" y="1307"/>
                </a:lnTo>
                <a:lnTo>
                  <a:pt x="2355" y="1308"/>
                </a:lnTo>
                <a:lnTo>
                  <a:pt x="2355" y="1308"/>
                </a:lnTo>
                <a:close/>
                <a:moveTo>
                  <a:pt x="2867" y="1658"/>
                </a:moveTo>
                <a:lnTo>
                  <a:pt x="2870" y="1660"/>
                </a:lnTo>
                <a:lnTo>
                  <a:pt x="2872" y="1661"/>
                </a:lnTo>
                <a:lnTo>
                  <a:pt x="2874" y="1664"/>
                </a:lnTo>
                <a:lnTo>
                  <a:pt x="2875" y="1665"/>
                </a:lnTo>
                <a:lnTo>
                  <a:pt x="2876" y="1671"/>
                </a:lnTo>
                <a:lnTo>
                  <a:pt x="2877" y="1680"/>
                </a:lnTo>
                <a:lnTo>
                  <a:pt x="2877" y="1683"/>
                </a:lnTo>
                <a:lnTo>
                  <a:pt x="2877" y="1687"/>
                </a:lnTo>
                <a:lnTo>
                  <a:pt x="2877" y="1683"/>
                </a:lnTo>
                <a:lnTo>
                  <a:pt x="2877" y="1680"/>
                </a:lnTo>
                <a:lnTo>
                  <a:pt x="2876" y="1671"/>
                </a:lnTo>
                <a:lnTo>
                  <a:pt x="2875" y="1665"/>
                </a:lnTo>
                <a:lnTo>
                  <a:pt x="2874" y="1664"/>
                </a:lnTo>
                <a:lnTo>
                  <a:pt x="2872" y="1661"/>
                </a:lnTo>
                <a:lnTo>
                  <a:pt x="2870" y="1660"/>
                </a:lnTo>
                <a:lnTo>
                  <a:pt x="2867" y="1658"/>
                </a:lnTo>
                <a:close/>
                <a:moveTo>
                  <a:pt x="2823" y="1573"/>
                </a:moveTo>
                <a:lnTo>
                  <a:pt x="2820" y="1574"/>
                </a:lnTo>
                <a:lnTo>
                  <a:pt x="2817" y="1575"/>
                </a:lnTo>
                <a:lnTo>
                  <a:pt x="2820" y="1574"/>
                </a:lnTo>
                <a:lnTo>
                  <a:pt x="2823" y="1573"/>
                </a:lnTo>
                <a:lnTo>
                  <a:pt x="2825" y="1573"/>
                </a:lnTo>
                <a:lnTo>
                  <a:pt x="2826" y="1574"/>
                </a:lnTo>
                <a:lnTo>
                  <a:pt x="2825" y="1573"/>
                </a:lnTo>
                <a:lnTo>
                  <a:pt x="2823" y="1573"/>
                </a:lnTo>
                <a:close/>
                <a:moveTo>
                  <a:pt x="2573" y="1742"/>
                </a:moveTo>
                <a:lnTo>
                  <a:pt x="2574" y="1736"/>
                </a:lnTo>
                <a:lnTo>
                  <a:pt x="2575" y="1733"/>
                </a:lnTo>
                <a:lnTo>
                  <a:pt x="2574" y="1736"/>
                </a:lnTo>
                <a:lnTo>
                  <a:pt x="2573" y="1742"/>
                </a:lnTo>
                <a:lnTo>
                  <a:pt x="2574" y="1746"/>
                </a:lnTo>
                <a:lnTo>
                  <a:pt x="2575" y="1749"/>
                </a:lnTo>
                <a:lnTo>
                  <a:pt x="2577" y="1752"/>
                </a:lnTo>
                <a:lnTo>
                  <a:pt x="2579" y="1755"/>
                </a:lnTo>
                <a:lnTo>
                  <a:pt x="2577" y="1752"/>
                </a:lnTo>
                <a:lnTo>
                  <a:pt x="2575" y="1749"/>
                </a:lnTo>
                <a:lnTo>
                  <a:pt x="2574" y="1746"/>
                </a:lnTo>
                <a:lnTo>
                  <a:pt x="2573" y="1742"/>
                </a:lnTo>
                <a:close/>
                <a:moveTo>
                  <a:pt x="2539" y="1593"/>
                </a:moveTo>
                <a:lnTo>
                  <a:pt x="2537" y="1593"/>
                </a:lnTo>
                <a:lnTo>
                  <a:pt x="2536" y="1593"/>
                </a:lnTo>
                <a:lnTo>
                  <a:pt x="2535" y="1592"/>
                </a:lnTo>
                <a:lnTo>
                  <a:pt x="2535" y="1590"/>
                </a:lnTo>
                <a:lnTo>
                  <a:pt x="2536" y="1588"/>
                </a:lnTo>
                <a:lnTo>
                  <a:pt x="2538" y="1588"/>
                </a:lnTo>
                <a:lnTo>
                  <a:pt x="2540" y="1588"/>
                </a:lnTo>
                <a:lnTo>
                  <a:pt x="2541" y="1588"/>
                </a:lnTo>
                <a:lnTo>
                  <a:pt x="2542" y="1589"/>
                </a:lnTo>
                <a:lnTo>
                  <a:pt x="2542" y="1591"/>
                </a:lnTo>
                <a:lnTo>
                  <a:pt x="2542" y="1592"/>
                </a:lnTo>
                <a:lnTo>
                  <a:pt x="2541" y="1593"/>
                </a:lnTo>
                <a:lnTo>
                  <a:pt x="2540" y="1593"/>
                </a:lnTo>
                <a:lnTo>
                  <a:pt x="2539" y="1593"/>
                </a:lnTo>
                <a:close/>
                <a:moveTo>
                  <a:pt x="2516" y="1596"/>
                </a:moveTo>
                <a:lnTo>
                  <a:pt x="2518" y="1597"/>
                </a:lnTo>
                <a:lnTo>
                  <a:pt x="2520" y="1599"/>
                </a:lnTo>
                <a:lnTo>
                  <a:pt x="2518" y="1597"/>
                </a:lnTo>
                <a:lnTo>
                  <a:pt x="2516" y="1596"/>
                </a:lnTo>
                <a:close/>
                <a:moveTo>
                  <a:pt x="2502" y="1603"/>
                </a:moveTo>
                <a:lnTo>
                  <a:pt x="2497" y="1603"/>
                </a:lnTo>
                <a:lnTo>
                  <a:pt x="2493" y="1602"/>
                </a:lnTo>
                <a:lnTo>
                  <a:pt x="2490" y="1600"/>
                </a:lnTo>
                <a:lnTo>
                  <a:pt x="2486" y="1599"/>
                </a:lnTo>
                <a:lnTo>
                  <a:pt x="2483" y="1597"/>
                </a:lnTo>
                <a:lnTo>
                  <a:pt x="2480" y="1594"/>
                </a:lnTo>
                <a:lnTo>
                  <a:pt x="2478" y="1591"/>
                </a:lnTo>
                <a:lnTo>
                  <a:pt x="2476" y="1588"/>
                </a:lnTo>
                <a:lnTo>
                  <a:pt x="2475" y="1585"/>
                </a:lnTo>
                <a:lnTo>
                  <a:pt x="2475" y="1584"/>
                </a:lnTo>
                <a:lnTo>
                  <a:pt x="2476" y="1583"/>
                </a:lnTo>
                <a:lnTo>
                  <a:pt x="2477" y="1582"/>
                </a:lnTo>
                <a:lnTo>
                  <a:pt x="2479" y="1581"/>
                </a:lnTo>
                <a:lnTo>
                  <a:pt x="2480" y="1580"/>
                </a:lnTo>
                <a:lnTo>
                  <a:pt x="2477" y="1578"/>
                </a:lnTo>
                <a:lnTo>
                  <a:pt x="2474" y="1577"/>
                </a:lnTo>
                <a:lnTo>
                  <a:pt x="2471" y="1575"/>
                </a:lnTo>
                <a:lnTo>
                  <a:pt x="2470" y="1570"/>
                </a:lnTo>
                <a:lnTo>
                  <a:pt x="2470" y="1569"/>
                </a:lnTo>
                <a:lnTo>
                  <a:pt x="2468" y="1568"/>
                </a:lnTo>
                <a:lnTo>
                  <a:pt x="2466" y="1568"/>
                </a:lnTo>
                <a:lnTo>
                  <a:pt x="2465" y="1568"/>
                </a:lnTo>
                <a:lnTo>
                  <a:pt x="2465" y="1568"/>
                </a:lnTo>
                <a:lnTo>
                  <a:pt x="2464" y="1568"/>
                </a:lnTo>
                <a:lnTo>
                  <a:pt x="2464" y="1568"/>
                </a:lnTo>
                <a:lnTo>
                  <a:pt x="2464" y="1568"/>
                </a:lnTo>
                <a:lnTo>
                  <a:pt x="2465" y="1568"/>
                </a:lnTo>
                <a:lnTo>
                  <a:pt x="2464" y="1566"/>
                </a:lnTo>
                <a:lnTo>
                  <a:pt x="2463" y="1565"/>
                </a:lnTo>
                <a:lnTo>
                  <a:pt x="2462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0" y="1564"/>
                </a:lnTo>
                <a:lnTo>
                  <a:pt x="2461" y="1563"/>
                </a:lnTo>
                <a:lnTo>
                  <a:pt x="2460" y="1562"/>
                </a:lnTo>
                <a:lnTo>
                  <a:pt x="2459" y="1562"/>
                </a:lnTo>
                <a:lnTo>
                  <a:pt x="2458" y="1562"/>
                </a:lnTo>
                <a:lnTo>
                  <a:pt x="2456" y="1561"/>
                </a:lnTo>
                <a:lnTo>
                  <a:pt x="2455" y="1559"/>
                </a:lnTo>
                <a:lnTo>
                  <a:pt x="2453" y="1557"/>
                </a:lnTo>
                <a:lnTo>
                  <a:pt x="2452" y="1554"/>
                </a:lnTo>
                <a:lnTo>
                  <a:pt x="2450" y="1554"/>
                </a:lnTo>
                <a:lnTo>
                  <a:pt x="2449" y="1553"/>
                </a:lnTo>
                <a:lnTo>
                  <a:pt x="2450" y="1554"/>
                </a:lnTo>
                <a:lnTo>
                  <a:pt x="2452" y="1554"/>
                </a:lnTo>
                <a:lnTo>
                  <a:pt x="2452" y="1552"/>
                </a:lnTo>
                <a:lnTo>
                  <a:pt x="2452" y="1550"/>
                </a:lnTo>
                <a:lnTo>
                  <a:pt x="2450" y="1549"/>
                </a:lnTo>
                <a:lnTo>
                  <a:pt x="2447" y="1549"/>
                </a:lnTo>
                <a:lnTo>
                  <a:pt x="2447" y="1549"/>
                </a:lnTo>
                <a:lnTo>
                  <a:pt x="2446" y="1549"/>
                </a:lnTo>
                <a:lnTo>
                  <a:pt x="2446" y="1549"/>
                </a:lnTo>
                <a:lnTo>
                  <a:pt x="2444" y="1545"/>
                </a:lnTo>
                <a:lnTo>
                  <a:pt x="2440" y="1544"/>
                </a:lnTo>
                <a:lnTo>
                  <a:pt x="2438" y="1545"/>
                </a:lnTo>
                <a:lnTo>
                  <a:pt x="2438" y="1546"/>
                </a:lnTo>
                <a:lnTo>
                  <a:pt x="2438" y="1548"/>
                </a:lnTo>
                <a:lnTo>
                  <a:pt x="2440" y="1550"/>
                </a:lnTo>
                <a:lnTo>
                  <a:pt x="2440" y="1550"/>
                </a:lnTo>
                <a:lnTo>
                  <a:pt x="2438" y="1553"/>
                </a:lnTo>
                <a:lnTo>
                  <a:pt x="2437" y="1557"/>
                </a:lnTo>
                <a:lnTo>
                  <a:pt x="2438" y="1553"/>
                </a:lnTo>
                <a:lnTo>
                  <a:pt x="2438" y="1550"/>
                </a:lnTo>
                <a:lnTo>
                  <a:pt x="2435" y="1551"/>
                </a:lnTo>
                <a:lnTo>
                  <a:pt x="2432" y="1550"/>
                </a:lnTo>
                <a:lnTo>
                  <a:pt x="2429" y="1548"/>
                </a:lnTo>
                <a:lnTo>
                  <a:pt x="2426" y="1546"/>
                </a:lnTo>
                <a:lnTo>
                  <a:pt x="2422" y="1545"/>
                </a:lnTo>
                <a:lnTo>
                  <a:pt x="2421" y="1542"/>
                </a:lnTo>
                <a:lnTo>
                  <a:pt x="2422" y="1541"/>
                </a:lnTo>
                <a:lnTo>
                  <a:pt x="2423" y="1539"/>
                </a:lnTo>
                <a:lnTo>
                  <a:pt x="2426" y="1538"/>
                </a:lnTo>
                <a:lnTo>
                  <a:pt x="2428" y="1538"/>
                </a:lnTo>
                <a:lnTo>
                  <a:pt x="2436" y="1537"/>
                </a:lnTo>
                <a:lnTo>
                  <a:pt x="2444" y="1535"/>
                </a:lnTo>
                <a:lnTo>
                  <a:pt x="2448" y="1535"/>
                </a:lnTo>
                <a:lnTo>
                  <a:pt x="2451" y="1535"/>
                </a:lnTo>
                <a:lnTo>
                  <a:pt x="2451" y="1535"/>
                </a:lnTo>
                <a:lnTo>
                  <a:pt x="2452" y="1535"/>
                </a:lnTo>
                <a:lnTo>
                  <a:pt x="2452" y="1535"/>
                </a:lnTo>
                <a:lnTo>
                  <a:pt x="2458" y="1535"/>
                </a:lnTo>
                <a:lnTo>
                  <a:pt x="2463" y="1538"/>
                </a:lnTo>
                <a:lnTo>
                  <a:pt x="2466" y="1541"/>
                </a:lnTo>
                <a:lnTo>
                  <a:pt x="2470" y="1541"/>
                </a:lnTo>
                <a:lnTo>
                  <a:pt x="2476" y="1549"/>
                </a:lnTo>
                <a:lnTo>
                  <a:pt x="2482" y="1559"/>
                </a:lnTo>
                <a:lnTo>
                  <a:pt x="2486" y="1562"/>
                </a:lnTo>
                <a:lnTo>
                  <a:pt x="2487" y="1567"/>
                </a:lnTo>
                <a:lnTo>
                  <a:pt x="2487" y="1570"/>
                </a:lnTo>
                <a:lnTo>
                  <a:pt x="2489" y="1573"/>
                </a:lnTo>
                <a:lnTo>
                  <a:pt x="2491" y="1574"/>
                </a:lnTo>
                <a:lnTo>
                  <a:pt x="2494" y="1575"/>
                </a:lnTo>
                <a:lnTo>
                  <a:pt x="2496" y="1577"/>
                </a:lnTo>
                <a:lnTo>
                  <a:pt x="2498" y="1578"/>
                </a:lnTo>
                <a:lnTo>
                  <a:pt x="2498" y="1579"/>
                </a:lnTo>
                <a:lnTo>
                  <a:pt x="2498" y="1580"/>
                </a:lnTo>
                <a:lnTo>
                  <a:pt x="2497" y="1581"/>
                </a:lnTo>
                <a:lnTo>
                  <a:pt x="2494" y="1582"/>
                </a:lnTo>
                <a:lnTo>
                  <a:pt x="2494" y="1583"/>
                </a:lnTo>
                <a:lnTo>
                  <a:pt x="2493" y="1585"/>
                </a:lnTo>
                <a:lnTo>
                  <a:pt x="2494" y="1588"/>
                </a:lnTo>
                <a:lnTo>
                  <a:pt x="2496" y="1588"/>
                </a:lnTo>
                <a:lnTo>
                  <a:pt x="2501" y="1587"/>
                </a:lnTo>
                <a:lnTo>
                  <a:pt x="2505" y="1588"/>
                </a:lnTo>
                <a:lnTo>
                  <a:pt x="2507" y="1591"/>
                </a:lnTo>
                <a:lnTo>
                  <a:pt x="2508" y="1594"/>
                </a:lnTo>
                <a:lnTo>
                  <a:pt x="2509" y="1596"/>
                </a:lnTo>
                <a:lnTo>
                  <a:pt x="2509" y="1599"/>
                </a:lnTo>
                <a:lnTo>
                  <a:pt x="2508" y="1602"/>
                </a:lnTo>
                <a:lnTo>
                  <a:pt x="2506" y="1603"/>
                </a:lnTo>
                <a:lnTo>
                  <a:pt x="2504" y="1603"/>
                </a:lnTo>
                <a:lnTo>
                  <a:pt x="2502" y="1603"/>
                </a:lnTo>
                <a:close/>
                <a:moveTo>
                  <a:pt x="2480" y="1664"/>
                </a:moveTo>
                <a:lnTo>
                  <a:pt x="2481" y="1664"/>
                </a:lnTo>
                <a:lnTo>
                  <a:pt x="2481" y="1664"/>
                </a:lnTo>
                <a:lnTo>
                  <a:pt x="2481" y="1664"/>
                </a:lnTo>
                <a:lnTo>
                  <a:pt x="2480" y="1664"/>
                </a:lnTo>
                <a:close/>
                <a:moveTo>
                  <a:pt x="2479" y="1664"/>
                </a:move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80" y="1663"/>
                </a:lnTo>
                <a:lnTo>
                  <a:pt x="2479" y="1664"/>
                </a:lnTo>
                <a:close/>
                <a:moveTo>
                  <a:pt x="2459" y="1671"/>
                </a:moveTo>
                <a:lnTo>
                  <a:pt x="2458" y="1671"/>
                </a:lnTo>
                <a:lnTo>
                  <a:pt x="2457" y="1669"/>
                </a:lnTo>
                <a:lnTo>
                  <a:pt x="2458" y="1668"/>
                </a:lnTo>
                <a:lnTo>
                  <a:pt x="2460" y="1667"/>
                </a:lnTo>
                <a:lnTo>
                  <a:pt x="2466" y="1666"/>
                </a:lnTo>
                <a:lnTo>
                  <a:pt x="2473" y="1667"/>
                </a:lnTo>
                <a:lnTo>
                  <a:pt x="2479" y="1668"/>
                </a:lnTo>
                <a:lnTo>
                  <a:pt x="2486" y="1670"/>
                </a:lnTo>
                <a:lnTo>
                  <a:pt x="2479" y="1672"/>
                </a:lnTo>
                <a:lnTo>
                  <a:pt x="2472" y="1672"/>
                </a:lnTo>
                <a:lnTo>
                  <a:pt x="2465" y="1672"/>
                </a:lnTo>
                <a:lnTo>
                  <a:pt x="2459" y="1671"/>
                </a:lnTo>
                <a:close/>
                <a:moveTo>
                  <a:pt x="2418" y="1528"/>
                </a:moveTo>
                <a:lnTo>
                  <a:pt x="2411" y="1529"/>
                </a:lnTo>
                <a:lnTo>
                  <a:pt x="2402" y="1529"/>
                </a:lnTo>
                <a:lnTo>
                  <a:pt x="2406" y="1533"/>
                </a:lnTo>
                <a:lnTo>
                  <a:pt x="2412" y="1537"/>
                </a:lnTo>
                <a:lnTo>
                  <a:pt x="2406" y="1533"/>
                </a:lnTo>
                <a:lnTo>
                  <a:pt x="2402" y="1529"/>
                </a:lnTo>
                <a:lnTo>
                  <a:pt x="2402" y="1529"/>
                </a:lnTo>
                <a:lnTo>
                  <a:pt x="2402" y="1529"/>
                </a:lnTo>
                <a:lnTo>
                  <a:pt x="2400" y="1524"/>
                </a:lnTo>
                <a:lnTo>
                  <a:pt x="2397" y="1521"/>
                </a:lnTo>
                <a:lnTo>
                  <a:pt x="2392" y="1519"/>
                </a:lnTo>
                <a:lnTo>
                  <a:pt x="2389" y="1518"/>
                </a:lnTo>
                <a:lnTo>
                  <a:pt x="2389" y="1517"/>
                </a:lnTo>
                <a:lnTo>
                  <a:pt x="2388" y="1517"/>
                </a:lnTo>
                <a:lnTo>
                  <a:pt x="2387" y="1516"/>
                </a:lnTo>
                <a:lnTo>
                  <a:pt x="2386" y="1515"/>
                </a:lnTo>
                <a:lnTo>
                  <a:pt x="2387" y="1516"/>
                </a:lnTo>
                <a:lnTo>
                  <a:pt x="2388" y="1517"/>
                </a:lnTo>
                <a:lnTo>
                  <a:pt x="2387" y="1515"/>
                </a:lnTo>
                <a:lnTo>
                  <a:pt x="2386" y="1514"/>
                </a:lnTo>
                <a:lnTo>
                  <a:pt x="2386" y="1514"/>
                </a:lnTo>
                <a:lnTo>
                  <a:pt x="2386" y="1514"/>
                </a:lnTo>
                <a:lnTo>
                  <a:pt x="2384" y="1513"/>
                </a:lnTo>
                <a:lnTo>
                  <a:pt x="2383" y="1511"/>
                </a:lnTo>
                <a:lnTo>
                  <a:pt x="2382" y="1508"/>
                </a:lnTo>
                <a:lnTo>
                  <a:pt x="2382" y="1506"/>
                </a:lnTo>
                <a:lnTo>
                  <a:pt x="2380" y="1504"/>
                </a:lnTo>
                <a:lnTo>
                  <a:pt x="2380" y="1502"/>
                </a:lnTo>
                <a:lnTo>
                  <a:pt x="2380" y="1501"/>
                </a:lnTo>
                <a:lnTo>
                  <a:pt x="2381" y="1501"/>
                </a:lnTo>
                <a:lnTo>
                  <a:pt x="2384" y="1500"/>
                </a:lnTo>
                <a:lnTo>
                  <a:pt x="2386" y="1500"/>
                </a:lnTo>
                <a:lnTo>
                  <a:pt x="2389" y="1500"/>
                </a:lnTo>
                <a:lnTo>
                  <a:pt x="2393" y="1501"/>
                </a:lnTo>
                <a:lnTo>
                  <a:pt x="2392" y="1503"/>
                </a:lnTo>
                <a:lnTo>
                  <a:pt x="2391" y="1505"/>
                </a:lnTo>
                <a:lnTo>
                  <a:pt x="2390" y="1506"/>
                </a:lnTo>
                <a:lnTo>
                  <a:pt x="2387" y="1505"/>
                </a:lnTo>
                <a:lnTo>
                  <a:pt x="2384" y="1505"/>
                </a:lnTo>
                <a:lnTo>
                  <a:pt x="2382" y="1506"/>
                </a:lnTo>
                <a:lnTo>
                  <a:pt x="2382" y="1508"/>
                </a:lnTo>
                <a:lnTo>
                  <a:pt x="2383" y="1511"/>
                </a:lnTo>
                <a:lnTo>
                  <a:pt x="2384" y="1513"/>
                </a:lnTo>
                <a:lnTo>
                  <a:pt x="2386" y="1514"/>
                </a:lnTo>
                <a:lnTo>
                  <a:pt x="2387" y="1512"/>
                </a:lnTo>
                <a:lnTo>
                  <a:pt x="2388" y="1509"/>
                </a:lnTo>
                <a:lnTo>
                  <a:pt x="2390" y="1509"/>
                </a:lnTo>
                <a:lnTo>
                  <a:pt x="2392" y="1511"/>
                </a:lnTo>
                <a:lnTo>
                  <a:pt x="2393" y="1512"/>
                </a:lnTo>
                <a:lnTo>
                  <a:pt x="2395" y="1513"/>
                </a:lnTo>
                <a:lnTo>
                  <a:pt x="2399" y="1514"/>
                </a:lnTo>
                <a:lnTo>
                  <a:pt x="2403" y="1514"/>
                </a:lnTo>
                <a:lnTo>
                  <a:pt x="2403" y="1511"/>
                </a:lnTo>
                <a:lnTo>
                  <a:pt x="2402" y="1509"/>
                </a:lnTo>
                <a:lnTo>
                  <a:pt x="2400" y="1507"/>
                </a:lnTo>
                <a:lnTo>
                  <a:pt x="2397" y="1505"/>
                </a:lnTo>
                <a:lnTo>
                  <a:pt x="2403" y="1507"/>
                </a:lnTo>
                <a:lnTo>
                  <a:pt x="2408" y="1509"/>
                </a:lnTo>
                <a:lnTo>
                  <a:pt x="2411" y="1511"/>
                </a:lnTo>
                <a:lnTo>
                  <a:pt x="2413" y="1513"/>
                </a:lnTo>
                <a:lnTo>
                  <a:pt x="2414" y="1516"/>
                </a:lnTo>
                <a:lnTo>
                  <a:pt x="2414" y="1520"/>
                </a:lnTo>
                <a:lnTo>
                  <a:pt x="2415" y="1523"/>
                </a:lnTo>
                <a:lnTo>
                  <a:pt x="2418" y="1527"/>
                </a:lnTo>
                <a:lnTo>
                  <a:pt x="2423" y="1524"/>
                </a:lnTo>
                <a:lnTo>
                  <a:pt x="2428" y="1524"/>
                </a:lnTo>
                <a:lnTo>
                  <a:pt x="2423" y="1524"/>
                </a:lnTo>
                <a:lnTo>
                  <a:pt x="2418" y="1527"/>
                </a:lnTo>
                <a:lnTo>
                  <a:pt x="2418" y="1528"/>
                </a:lnTo>
                <a:lnTo>
                  <a:pt x="2418" y="1528"/>
                </a:lnTo>
                <a:close/>
                <a:moveTo>
                  <a:pt x="2377" y="1473"/>
                </a:moveTo>
                <a:lnTo>
                  <a:pt x="2376" y="1474"/>
                </a:lnTo>
                <a:lnTo>
                  <a:pt x="2374" y="1474"/>
                </a:lnTo>
                <a:lnTo>
                  <a:pt x="2372" y="1474"/>
                </a:lnTo>
                <a:lnTo>
                  <a:pt x="2370" y="1473"/>
                </a:lnTo>
                <a:lnTo>
                  <a:pt x="2367" y="1472"/>
                </a:lnTo>
                <a:lnTo>
                  <a:pt x="2364" y="1470"/>
                </a:lnTo>
                <a:lnTo>
                  <a:pt x="2364" y="1470"/>
                </a:lnTo>
                <a:lnTo>
                  <a:pt x="2365" y="1467"/>
                </a:lnTo>
                <a:lnTo>
                  <a:pt x="2366" y="1465"/>
                </a:lnTo>
                <a:lnTo>
                  <a:pt x="2368" y="1465"/>
                </a:lnTo>
                <a:lnTo>
                  <a:pt x="2370" y="1463"/>
                </a:lnTo>
                <a:lnTo>
                  <a:pt x="2374" y="1463"/>
                </a:lnTo>
                <a:lnTo>
                  <a:pt x="2377" y="1467"/>
                </a:lnTo>
                <a:lnTo>
                  <a:pt x="2378" y="1468"/>
                </a:lnTo>
                <a:lnTo>
                  <a:pt x="2378" y="1470"/>
                </a:lnTo>
                <a:lnTo>
                  <a:pt x="2380" y="1471"/>
                </a:lnTo>
                <a:lnTo>
                  <a:pt x="2377" y="1473"/>
                </a:lnTo>
                <a:close/>
                <a:moveTo>
                  <a:pt x="2207" y="1624"/>
                </a:moveTo>
                <a:lnTo>
                  <a:pt x="2207" y="1623"/>
                </a:lnTo>
                <a:lnTo>
                  <a:pt x="2207" y="1623"/>
                </a:lnTo>
                <a:lnTo>
                  <a:pt x="2209" y="1624"/>
                </a:lnTo>
                <a:lnTo>
                  <a:pt x="2209" y="1625"/>
                </a:lnTo>
                <a:lnTo>
                  <a:pt x="2209" y="1626"/>
                </a:lnTo>
                <a:lnTo>
                  <a:pt x="2208" y="1626"/>
                </a:lnTo>
                <a:lnTo>
                  <a:pt x="2207" y="1625"/>
                </a:lnTo>
                <a:lnTo>
                  <a:pt x="2207" y="1624"/>
                </a:lnTo>
                <a:close/>
                <a:moveTo>
                  <a:pt x="2300" y="1621"/>
                </a:moveTo>
                <a:lnTo>
                  <a:pt x="2298" y="1621"/>
                </a:lnTo>
                <a:lnTo>
                  <a:pt x="2296" y="1621"/>
                </a:lnTo>
                <a:lnTo>
                  <a:pt x="2298" y="1621"/>
                </a:lnTo>
                <a:lnTo>
                  <a:pt x="2300" y="1621"/>
                </a:lnTo>
                <a:lnTo>
                  <a:pt x="2309" y="1621"/>
                </a:lnTo>
                <a:lnTo>
                  <a:pt x="2317" y="1621"/>
                </a:lnTo>
                <a:lnTo>
                  <a:pt x="2326" y="1621"/>
                </a:lnTo>
                <a:lnTo>
                  <a:pt x="2335" y="1620"/>
                </a:lnTo>
                <a:lnTo>
                  <a:pt x="2326" y="1621"/>
                </a:lnTo>
                <a:lnTo>
                  <a:pt x="2317" y="1621"/>
                </a:lnTo>
                <a:lnTo>
                  <a:pt x="2309" y="1621"/>
                </a:lnTo>
                <a:lnTo>
                  <a:pt x="2300" y="1621"/>
                </a:lnTo>
                <a:close/>
                <a:moveTo>
                  <a:pt x="2286" y="1645"/>
                </a:moveTo>
                <a:lnTo>
                  <a:pt x="2286" y="1644"/>
                </a:lnTo>
                <a:lnTo>
                  <a:pt x="2286" y="1643"/>
                </a:lnTo>
                <a:lnTo>
                  <a:pt x="2286" y="1644"/>
                </a:lnTo>
                <a:lnTo>
                  <a:pt x="2286" y="1645"/>
                </a:lnTo>
                <a:close/>
                <a:moveTo>
                  <a:pt x="2282" y="1648"/>
                </a:moveTo>
                <a:lnTo>
                  <a:pt x="2281" y="1648"/>
                </a:lnTo>
                <a:lnTo>
                  <a:pt x="2281" y="1648"/>
                </a:lnTo>
                <a:lnTo>
                  <a:pt x="2281" y="1648"/>
                </a:lnTo>
                <a:lnTo>
                  <a:pt x="2282" y="1648"/>
                </a:lnTo>
                <a:lnTo>
                  <a:pt x="2285" y="1646"/>
                </a:lnTo>
                <a:lnTo>
                  <a:pt x="2286" y="1645"/>
                </a:lnTo>
                <a:lnTo>
                  <a:pt x="2285" y="1646"/>
                </a:lnTo>
                <a:lnTo>
                  <a:pt x="2282" y="1648"/>
                </a:lnTo>
                <a:close/>
                <a:moveTo>
                  <a:pt x="2269" y="1756"/>
                </a:moveTo>
                <a:lnTo>
                  <a:pt x="2273" y="1753"/>
                </a:lnTo>
                <a:lnTo>
                  <a:pt x="2273" y="1750"/>
                </a:lnTo>
                <a:lnTo>
                  <a:pt x="2273" y="1753"/>
                </a:lnTo>
                <a:lnTo>
                  <a:pt x="2269" y="1756"/>
                </a:lnTo>
                <a:close/>
                <a:moveTo>
                  <a:pt x="2264" y="1855"/>
                </a:moveTo>
                <a:lnTo>
                  <a:pt x="2260" y="1856"/>
                </a:lnTo>
                <a:lnTo>
                  <a:pt x="2255" y="1856"/>
                </a:lnTo>
                <a:lnTo>
                  <a:pt x="2252" y="1854"/>
                </a:lnTo>
                <a:lnTo>
                  <a:pt x="2250" y="1851"/>
                </a:lnTo>
                <a:lnTo>
                  <a:pt x="2249" y="1849"/>
                </a:lnTo>
                <a:lnTo>
                  <a:pt x="2249" y="1847"/>
                </a:lnTo>
                <a:lnTo>
                  <a:pt x="2251" y="1845"/>
                </a:lnTo>
                <a:lnTo>
                  <a:pt x="2253" y="1843"/>
                </a:lnTo>
                <a:lnTo>
                  <a:pt x="2256" y="1843"/>
                </a:lnTo>
                <a:lnTo>
                  <a:pt x="2259" y="1843"/>
                </a:lnTo>
                <a:lnTo>
                  <a:pt x="2262" y="1844"/>
                </a:lnTo>
                <a:lnTo>
                  <a:pt x="2266" y="1844"/>
                </a:lnTo>
                <a:lnTo>
                  <a:pt x="2269" y="1845"/>
                </a:lnTo>
                <a:lnTo>
                  <a:pt x="2273" y="1848"/>
                </a:lnTo>
                <a:lnTo>
                  <a:pt x="2273" y="1849"/>
                </a:lnTo>
                <a:lnTo>
                  <a:pt x="2273" y="1850"/>
                </a:lnTo>
                <a:lnTo>
                  <a:pt x="2268" y="1853"/>
                </a:lnTo>
                <a:lnTo>
                  <a:pt x="2264" y="1855"/>
                </a:lnTo>
                <a:close/>
                <a:moveTo>
                  <a:pt x="2244" y="1805"/>
                </a:moveTo>
                <a:lnTo>
                  <a:pt x="2235" y="1807"/>
                </a:lnTo>
                <a:lnTo>
                  <a:pt x="2226" y="1807"/>
                </a:lnTo>
                <a:lnTo>
                  <a:pt x="2210" y="1808"/>
                </a:lnTo>
                <a:lnTo>
                  <a:pt x="2194" y="1807"/>
                </a:lnTo>
                <a:lnTo>
                  <a:pt x="2179" y="1807"/>
                </a:lnTo>
                <a:lnTo>
                  <a:pt x="2163" y="1806"/>
                </a:lnTo>
                <a:lnTo>
                  <a:pt x="2152" y="1806"/>
                </a:lnTo>
                <a:lnTo>
                  <a:pt x="2139" y="1806"/>
                </a:lnTo>
                <a:lnTo>
                  <a:pt x="2127" y="1806"/>
                </a:lnTo>
                <a:lnTo>
                  <a:pt x="2115" y="1806"/>
                </a:lnTo>
                <a:lnTo>
                  <a:pt x="2101" y="1805"/>
                </a:lnTo>
                <a:lnTo>
                  <a:pt x="2087" y="1805"/>
                </a:lnTo>
                <a:lnTo>
                  <a:pt x="2073" y="1805"/>
                </a:lnTo>
                <a:lnTo>
                  <a:pt x="2059" y="1803"/>
                </a:lnTo>
                <a:lnTo>
                  <a:pt x="2048" y="1803"/>
                </a:lnTo>
                <a:lnTo>
                  <a:pt x="2034" y="1804"/>
                </a:lnTo>
                <a:lnTo>
                  <a:pt x="2011" y="1805"/>
                </a:lnTo>
                <a:lnTo>
                  <a:pt x="1989" y="1805"/>
                </a:lnTo>
                <a:lnTo>
                  <a:pt x="1965" y="1805"/>
                </a:lnTo>
                <a:lnTo>
                  <a:pt x="1943" y="1804"/>
                </a:lnTo>
                <a:lnTo>
                  <a:pt x="1922" y="1803"/>
                </a:lnTo>
                <a:lnTo>
                  <a:pt x="1902" y="1803"/>
                </a:lnTo>
                <a:lnTo>
                  <a:pt x="1882" y="1803"/>
                </a:lnTo>
                <a:lnTo>
                  <a:pt x="1861" y="1803"/>
                </a:lnTo>
                <a:lnTo>
                  <a:pt x="1855" y="1799"/>
                </a:lnTo>
                <a:lnTo>
                  <a:pt x="1849" y="1798"/>
                </a:lnTo>
                <a:lnTo>
                  <a:pt x="1847" y="1798"/>
                </a:lnTo>
                <a:lnTo>
                  <a:pt x="1846" y="1798"/>
                </a:lnTo>
                <a:lnTo>
                  <a:pt x="1843" y="1798"/>
                </a:lnTo>
                <a:lnTo>
                  <a:pt x="1839" y="1798"/>
                </a:lnTo>
                <a:lnTo>
                  <a:pt x="1835" y="1797"/>
                </a:lnTo>
                <a:lnTo>
                  <a:pt x="1831" y="1795"/>
                </a:lnTo>
                <a:lnTo>
                  <a:pt x="1829" y="1794"/>
                </a:lnTo>
                <a:lnTo>
                  <a:pt x="1827" y="1793"/>
                </a:lnTo>
                <a:lnTo>
                  <a:pt x="1825" y="1793"/>
                </a:lnTo>
                <a:lnTo>
                  <a:pt x="1823" y="1794"/>
                </a:lnTo>
                <a:lnTo>
                  <a:pt x="1821" y="1796"/>
                </a:lnTo>
                <a:lnTo>
                  <a:pt x="1821" y="1799"/>
                </a:lnTo>
                <a:lnTo>
                  <a:pt x="1821" y="1802"/>
                </a:lnTo>
                <a:lnTo>
                  <a:pt x="1823" y="1804"/>
                </a:lnTo>
                <a:lnTo>
                  <a:pt x="1825" y="1809"/>
                </a:lnTo>
                <a:lnTo>
                  <a:pt x="1827" y="1816"/>
                </a:lnTo>
                <a:lnTo>
                  <a:pt x="1828" y="1822"/>
                </a:lnTo>
                <a:lnTo>
                  <a:pt x="1828" y="1828"/>
                </a:lnTo>
                <a:lnTo>
                  <a:pt x="1828" y="1832"/>
                </a:lnTo>
                <a:lnTo>
                  <a:pt x="1828" y="1834"/>
                </a:lnTo>
                <a:lnTo>
                  <a:pt x="1827" y="1835"/>
                </a:lnTo>
                <a:lnTo>
                  <a:pt x="1827" y="1836"/>
                </a:lnTo>
                <a:lnTo>
                  <a:pt x="1826" y="1837"/>
                </a:lnTo>
                <a:lnTo>
                  <a:pt x="1824" y="1837"/>
                </a:lnTo>
                <a:lnTo>
                  <a:pt x="1820" y="1836"/>
                </a:lnTo>
                <a:lnTo>
                  <a:pt x="1815" y="1835"/>
                </a:lnTo>
                <a:lnTo>
                  <a:pt x="1814" y="1835"/>
                </a:lnTo>
                <a:lnTo>
                  <a:pt x="1812" y="1833"/>
                </a:lnTo>
                <a:lnTo>
                  <a:pt x="1811" y="1830"/>
                </a:lnTo>
                <a:lnTo>
                  <a:pt x="1811" y="1828"/>
                </a:lnTo>
                <a:lnTo>
                  <a:pt x="1810" y="1819"/>
                </a:lnTo>
                <a:lnTo>
                  <a:pt x="1810" y="1809"/>
                </a:lnTo>
                <a:lnTo>
                  <a:pt x="1810" y="1804"/>
                </a:lnTo>
                <a:lnTo>
                  <a:pt x="1810" y="1798"/>
                </a:lnTo>
                <a:lnTo>
                  <a:pt x="1809" y="1793"/>
                </a:lnTo>
                <a:lnTo>
                  <a:pt x="1806" y="1788"/>
                </a:lnTo>
                <a:lnTo>
                  <a:pt x="1805" y="1786"/>
                </a:lnTo>
                <a:lnTo>
                  <a:pt x="1806" y="1783"/>
                </a:lnTo>
                <a:lnTo>
                  <a:pt x="1807" y="1782"/>
                </a:lnTo>
                <a:lnTo>
                  <a:pt x="1810" y="1781"/>
                </a:lnTo>
                <a:lnTo>
                  <a:pt x="1816" y="1779"/>
                </a:lnTo>
                <a:lnTo>
                  <a:pt x="1823" y="1778"/>
                </a:lnTo>
                <a:lnTo>
                  <a:pt x="1836" y="1778"/>
                </a:lnTo>
                <a:lnTo>
                  <a:pt x="1849" y="1778"/>
                </a:lnTo>
                <a:lnTo>
                  <a:pt x="1861" y="1778"/>
                </a:lnTo>
                <a:lnTo>
                  <a:pt x="1874" y="1779"/>
                </a:lnTo>
                <a:lnTo>
                  <a:pt x="1882" y="1779"/>
                </a:lnTo>
                <a:lnTo>
                  <a:pt x="1889" y="1778"/>
                </a:lnTo>
                <a:lnTo>
                  <a:pt x="1895" y="1777"/>
                </a:lnTo>
                <a:lnTo>
                  <a:pt x="1900" y="1777"/>
                </a:lnTo>
                <a:lnTo>
                  <a:pt x="1905" y="1777"/>
                </a:lnTo>
                <a:lnTo>
                  <a:pt x="1910" y="1778"/>
                </a:lnTo>
                <a:lnTo>
                  <a:pt x="1921" y="1780"/>
                </a:lnTo>
                <a:lnTo>
                  <a:pt x="1932" y="1781"/>
                </a:lnTo>
                <a:lnTo>
                  <a:pt x="1944" y="1781"/>
                </a:lnTo>
                <a:lnTo>
                  <a:pt x="1955" y="1781"/>
                </a:lnTo>
                <a:lnTo>
                  <a:pt x="1963" y="1781"/>
                </a:lnTo>
                <a:lnTo>
                  <a:pt x="1973" y="1781"/>
                </a:lnTo>
                <a:lnTo>
                  <a:pt x="1981" y="1781"/>
                </a:lnTo>
                <a:lnTo>
                  <a:pt x="1990" y="1782"/>
                </a:lnTo>
                <a:lnTo>
                  <a:pt x="1992" y="1782"/>
                </a:lnTo>
                <a:lnTo>
                  <a:pt x="1994" y="1781"/>
                </a:lnTo>
                <a:lnTo>
                  <a:pt x="1990" y="1779"/>
                </a:lnTo>
                <a:lnTo>
                  <a:pt x="1986" y="1778"/>
                </a:lnTo>
                <a:lnTo>
                  <a:pt x="1981" y="1777"/>
                </a:lnTo>
                <a:lnTo>
                  <a:pt x="1977" y="1777"/>
                </a:lnTo>
                <a:lnTo>
                  <a:pt x="1981" y="1777"/>
                </a:lnTo>
                <a:lnTo>
                  <a:pt x="1986" y="1778"/>
                </a:lnTo>
                <a:lnTo>
                  <a:pt x="1990" y="1779"/>
                </a:lnTo>
                <a:lnTo>
                  <a:pt x="1994" y="1781"/>
                </a:lnTo>
                <a:lnTo>
                  <a:pt x="1998" y="1780"/>
                </a:lnTo>
                <a:lnTo>
                  <a:pt x="2004" y="1780"/>
                </a:lnTo>
                <a:lnTo>
                  <a:pt x="2019" y="1782"/>
                </a:lnTo>
                <a:lnTo>
                  <a:pt x="2035" y="1783"/>
                </a:lnTo>
                <a:lnTo>
                  <a:pt x="2057" y="1784"/>
                </a:lnTo>
                <a:lnTo>
                  <a:pt x="2081" y="1784"/>
                </a:lnTo>
                <a:lnTo>
                  <a:pt x="2103" y="1786"/>
                </a:lnTo>
                <a:lnTo>
                  <a:pt x="2127" y="1786"/>
                </a:lnTo>
                <a:lnTo>
                  <a:pt x="2149" y="1787"/>
                </a:lnTo>
                <a:lnTo>
                  <a:pt x="2173" y="1787"/>
                </a:lnTo>
                <a:lnTo>
                  <a:pt x="2195" y="1787"/>
                </a:lnTo>
                <a:lnTo>
                  <a:pt x="2219" y="1787"/>
                </a:lnTo>
                <a:lnTo>
                  <a:pt x="2226" y="1787"/>
                </a:lnTo>
                <a:lnTo>
                  <a:pt x="2233" y="1788"/>
                </a:lnTo>
                <a:lnTo>
                  <a:pt x="2240" y="1791"/>
                </a:lnTo>
                <a:lnTo>
                  <a:pt x="2247" y="1795"/>
                </a:lnTo>
                <a:lnTo>
                  <a:pt x="2249" y="1798"/>
                </a:lnTo>
                <a:lnTo>
                  <a:pt x="2250" y="1802"/>
                </a:lnTo>
                <a:lnTo>
                  <a:pt x="2248" y="1804"/>
                </a:lnTo>
                <a:lnTo>
                  <a:pt x="2244" y="1805"/>
                </a:lnTo>
                <a:close/>
                <a:moveTo>
                  <a:pt x="2143" y="1835"/>
                </a:moveTo>
                <a:lnTo>
                  <a:pt x="2142" y="1834"/>
                </a:lnTo>
                <a:lnTo>
                  <a:pt x="2141" y="1834"/>
                </a:lnTo>
                <a:lnTo>
                  <a:pt x="2142" y="1834"/>
                </a:lnTo>
                <a:lnTo>
                  <a:pt x="2143" y="1835"/>
                </a:lnTo>
                <a:lnTo>
                  <a:pt x="2143" y="1835"/>
                </a:lnTo>
                <a:close/>
                <a:moveTo>
                  <a:pt x="2074" y="1849"/>
                </a:moveTo>
                <a:lnTo>
                  <a:pt x="2072" y="1851"/>
                </a:lnTo>
                <a:lnTo>
                  <a:pt x="2070" y="1852"/>
                </a:lnTo>
                <a:lnTo>
                  <a:pt x="2066" y="1852"/>
                </a:lnTo>
                <a:lnTo>
                  <a:pt x="2061" y="1853"/>
                </a:lnTo>
                <a:lnTo>
                  <a:pt x="2058" y="1853"/>
                </a:lnTo>
                <a:lnTo>
                  <a:pt x="2056" y="1852"/>
                </a:lnTo>
                <a:lnTo>
                  <a:pt x="2054" y="1851"/>
                </a:lnTo>
                <a:lnTo>
                  <a:pt x="2054" y="1848"/>
                </a:lnTo>
                <a:lnTo>
                  <a:pt x="2054" y="1845"/>
                </a:lnTo>
                <a:lnTo>
                  <a:pt x="2055" y="1844"/>
                </a:lnTo>
                <a:lnTo>
                  <a:pt x="2057" y="1844"/>
                </a:lnTo>
                <a:lnTo>
                  <a:pt x="2059" y="1844"/>
                </a:lnTo>
                <a:lnTo>
                  <a:pt x="2063" y="1843"/>
                </a:lnTo>
                <a:lnTo>
                  <a:pt x="2066" y="1843"/>
                </a:lnTo>
                <a:lnTo>
                  <a:pt x="2069" y="1843"/>
                </a:lnTo>
                <a:lnTo>
                  <a:pt x="2071" y="1844"/>
                </a:lnTo>
                <a:lnTo>
                  <a:pt x="2073" y="1847"/>
                </a:lnTo>
                <a:lnTo>
                  <a:pt x="2074" y="1849"/>
                </a:lnTo>
                <a:close/>
                <a:moveTo>
                  <a:pt x="1866" y="1848"/>
                </a:moveTo>
                <a:lnTo>
                  <a:pt x="1864" y="1850"/>
                </a:lnTo>
                <a:lnTo>
                  <a:pt x="1861" y="1851"/>
                </a:lnTo>
                <a:lnTo>
                  <a:pt x="1859" y="1851"/>
                </a:lnTo>
                <a:lnTo>
                  <a:pt x="1857" y="1851"/>
                </a:lnTo>
                <a:lnTo>
                  <a:pt x="1855" y="1852"/>
                </a:lnTo>
                <a:lnTo>
                  <a:pt x="1852" y="1852"/>
                </a:lnTo>
                <a:lnTo>
                  <a:pt x="1850" y="1853"/>
                </a:lnTo>
                <a:lnTo>
                  <a:pt x="1846" y="1853"/>
                </a:lnTo>
                <a:lnTo>
                  <a:pt x="1843" y="1852"/>
                </a:lnTo>
                <a:lnTo>
                  <a:pt x="1841" y="1850"/>
                </a:lnTo>
                <a:lnTo>
                  <a:pt x="1840" y="1849"/>
                </a:lnTo>
                <a:lnTo>
                  <a:pt x="1840" y="1847"/>
                </a:lnTo>
                <a:lnTo>
                  <a:pt x="1839" y="1844"/>
                </a:lnTo>
                <a:lnTo>
                  <a:pt x="1840" y="1842"/>
                </a:lnTo>
                <a:lnTo>
                  <a:pt x="1842" y="1840"/>
                </a:lnTo>
                <a:lnTo>
                  <a:pt x="1844" y="1839"/>
                </a:lnTo>
                <a:lnTo>
                  <a:pt x="1847" y="1839"/>
                </a:lnTo>
                <a:lnTo>
                  <a:pt x="1851" y="1838"/>
                </a:lnTo>
                <a:lnTo>
                  <a:pt x="1855" y="1839"/>
                </a:lnTo>
                <a:lnTo>
                  <a:pt x="1859" y="1841"/>
                </a:lnTo>
                <a:lnTo>
                  <a:pt x="1861" y="1842"/>
                </a:lnTo>
                <a:lnTo>
                  <a:pt x="1864" y="1843"/>
                </a:lnTo>
                <a:lnTo>
                  <a:pt x="1865" y="1845"/>
                </a:lnTo>
                <a:lnTo>
                  <a:pt x="1866" y="1848"/>
                </a:lnTo>
                <a:close/>
                <a:moveTo>
                  <a:pt x="1835" y="1823"/>
                </a:moveTo>
                <a:lnTo>
                  <a:pt x="1835" y="1820"/>
                </a:lnTo>
                <a:lnTo>
                  <a:pt x="1836" y="1817"/>
                </a:lnTo>
                <a:lnTo>
                  <a:pt x="1837" y="1814"/>
                </a:lnTo>
                <a:lnTo>
                  <a:pt x="1840" y="1814"/>
                </a:lnTo>
                <a:lnTo>
                  <a:pt x="1843" y="1814"/>
                </a:lnTo>
                <a:lnTo>
                  <a:pt x="1844" y="1817"/>
                </a:lnTo>
                <a:lnTo>
                  <a:pt x="1845" y="1820"/>
                </a:lnTo>
                <a:lnTo>
                  <a:pt x="1845" y="1822"/>
                </a:lnTo>
                <a:lnTo>
                  <a:pt x="1845" y="1825"/>
                </a:lnTo>
                <a:lnTo>
                  <a:pt x="1844" y="1827"/>
                </a:lnTo>
                <a:lnTo>
                  <a:pt x="1843" y="1829"/>
                </a:lnTo>
                <a:lnTo>
                  <a:pt x="1840" y="1830"/>
                </a:lnTo>
                <a:lnTo>
                  <a:pt x="1838" y="1830"/>
                </a:lnTo>
                <a:lnTo>
                  <a:pt x="1836" y="1828"/>
                </a:lnTo>
                <a:lnTo>
                  <a:pt x="1835" y="1826"/>
                </a:lnTo>
                <a:lnTo>
                  <a:pt x="1835" y="1823"/>
                </a:lnTo>
                <a:close/>
                <a:moveTo>
                  <a:pt x="1800" y="1550"/>
                </a:moveTo>
                <a:lnTo>
                  <a:pt x="1797" y="1547"/>
                </a:lnTo>
                <a:lnTo>
                  <a:pt x="1795" y="1542"/>
                </a:lnTo>
                <a:lnTo>
                  <a:pt x="1798" y="1543"/>
                </a:lnTo>
                <a:lnTo>
                  <a:pt x="1800" y="1544"/>
                </a:lnTo>
                <a:lnTo>
                  <a:pt x="1801" y="1546"/>
                </a:lnTo>
                <a:lnTo>
                  <a:pt x="1803" y="1548"/>
                </a:lnTo>
                <a:lnTo>
                  <a:pt x="1803" y="1549"/>
                </a:lnTo>
                <a:lnTo>
                  <a:pt x="1800" y="1550"/>
                </a:lnTo>
                <a:close/>
                <a:moveTo>
                  <a:pt x="1792" y="1828"/>
                </a:moveTo>
                <a:lnTo>
                  <a:pt x="1786" y="1827"/>
                </a:lnTo>
                <a:lnTo>
                  <a:pt x="1783" y="1826"/>
                </a:lnTo>
                <a:lnTo>
                  <a:pt x="1786" y="1827"/>
                </a:lnTo>
                <a:lnTo>
                  <a:pt x="1792" y="1828"/>
                </a:lnTo>
                <a:lnTo>
                  <a:pt x="1795" y="1828"/>
                </a:lnTo>
                <a:lnTo>
                  <a:pt x="1797" y="1827"/>
                </a:lnTo>
                <a:lnTo>
                  <a:pt x="1800" y="1826"/>
                </a:lnTo>
                <a:lnTo>
                  <a:pt x="1801" y="1824"/>
                </a:lnTo>
                <a:lnTo>
                  <a:pt x="1800" y="1826"/>
                </a:lnTo>
                <a:lnTo>
                  <a:pt x="1797" y="1827"/>
                </a:lnTo>
                <a:lnTo>
                  <a:pt x="1795" y="1828"/>
                </a:lnTo>
                <a:lnTo>
                  <a:pt x="1792" y="1828"/>
                </a:lnTo>
                <a:close/>
                <a:moveTo>
                  <a:pt x="1780" y="1575"/>
                </a:moveTo>
                <a:lnTo>
                  <a:pt x="1779" y="1574"/>
                </a:lnTo>
                <a:lnTo>
                  <a:pt x="1779" y="1572"/>
                </a:lnTo>
                <a:lnTo>
                  <a:pt x="1779" y="1570"/>
                </a:lnTo>
                <a:lnTo>
                  <a:pt x="1780" y="1569"/>
                </a:lnTo>
                <a:lnTo>
                  <a:pt x="1781" y="1568"/>
                </a:lnTo>
                <a:lnTo>
                  <a:pt x="1782" y="1567"/>
                </a:lnTo>
                <a:lnTo>
                  <a:pt x="1782" y="1566"/>
                </a:lnTo>
                <a:lnTo>
                  <a:pt x="1781" y="1565"/>
                </a:lnTo>
                <a:lnTo>
                  <a:pt x="1780" y="1564"/>
                </a:lnTo>
                <a:lnTo>
                  <a:pt x="1780" y="1562"/>
                </a:lnTo>
                <a:lnTo>
                  <a:pt x="1780" y="1561"/>
                </a:lnTo>
                <a:lnTo>
                  <a:pt x="1781" y="1560"/>
                </a:lnTo>
                <a:lnTo>
                  <a:pt x="1783" y="1559"/>
                </a:lnTo>
                <a:lnTo>
                  <a:pt x="1785" y="1559"/>
                </a:lnTo>
                <a:lnTo>
                  <a:pt x="1786" y="1561"/>
                </a:lnTo>
                <a:lnTo>
                  <a:pt x="1788" y="1562"/>
                </a:lnTo>
                <a:lnTo>
                  <a:pt x="1786" y="1567"/>
                </a:lnTo>
                <a:lnTo>
                  <a:pt x="1785" y="1572"/>
                </a:lnTo>
                <a:lnTo>
                  <a:pt x="1784" y="1573"/>
                </a:lnTo>
                <a:lnTo>
                  <a:pt x="1783" y="1575"/>
                </a:lnTo>
                <a:lnTo>
                  <a:pt x="1782" y="1575"/>
                </a:lnTo>
                <a:lnTo>
                  <a:pt x="1780" y="1575"/>
                </a:lnTo>
                <a:close/>
                <a:moveTo>
                  <a:pt x="1786" y="1481"/>
                </a:moveTo>
                <a:lnTo>
                  <a:pt x="1789" y="1475"/>
                </a:lnTo>
                <a:lnTo>
                  <a:pt x="1792" y="1471"/>
                </a:lnTo>
                <a:lnTo>
                  <a:pt x="1793" y="1470"/>
                </a:lnTo>
                <a:lnTo>
                  <a:pt x="1795" y="1471"/>
                </a:lnTo>
                <a:lnTo>
                  <a:pt x="1795" y="1472"/>
                </a:lnTo>
                <a:lnTo>
                  <a:pt x="1794" y="1474"/>
                </a:lnTo>
                <a:lnTo>
                  <a:pt x="1795" y="1475"/>
                </a:lnTo>
                <a:lnTo>
                  <a:pt x="1796" y="1476"/>
                </a:lnTo>
                <a:lnTo>
                  <a:pt x="1795" y="1475"/>
                </a:lnTo>
                <a:lnTo>
                  <a:pt x="1794" y="1474"/>
                </a:lnTo>
                <a:lnTo>
                  <a:pt x="1791" y="1477"/>
                </a:lnTo>
                <a:lnTo>
                  <a:pt x="1786" y="1481"/>
                </a:lnTo>
                <a:lnTo>
                  <a:pt x="1780" y="1484"/>
                </a:lnTo>
                <a:lnTo>
                  <a:pt x="1774" y="1487"/>
                </a:lnTo>
                <a:lnTo>
                  <a:pt x="1780" y="1484"/>
                </a:lnTo>
                <a:lnTo>
                  <a:pt x="1786" y="1481"/>
                </a:lnTo>
                <a:close/>
                <a:moveTo>
                  <a:pt x="1763" y="1796"/>
                </a:moveTo>
                <a:lnTo>
                  <a:pt x="1759" y="1797"/>
                </a:lnTo>
                <a:lnTo>
                  <a:pt x="1755" y="1799"/>
                </a:lnTo>
                <a:lnTo>
                  <a:pt x="1753" y="1803"/>
                </a:lnTo>
                <a:lnTo>
                  <a:pt x="1752" y="1808"/>
                </a:lnTo>
                <a:lnTo>
                  <a:pt x="1752" y="1810"/>
                </a:lnTo>
                <a:lnTo>
                  <a:pt x="1751" y="1812"/>
                </a:lnTo>
                <a:lnTo>
                  <a:pt x="1749" y="1814"/>
                </a:lnTo>
                <a:lnTo>
                  <a:pt x="1747" y="1816"/>
                </a:lnTo>
                <a:lnTo>
                  <a:pt x="1741" y="1819"/>
                </a:lnTo>
                <a:lnTo>
                  <a:pt x="1736" y="1821"/>
                </a:lnTo>
                <a:lnTo>
                  <a:pt x="1734" y="1821"/>
                </a:lnTo>
                <a:lnTo>
                  <a:pt x="1732" y="1820"/>
                </a:lnTo>
                <a:lnTo>
                  <a:pt x="1731" y="1817"/>
                </a:lnTo>
                <a:lnTo>
                  <a:pt x="1730" y="1813"/>
                </a:lnTo>
                <a:lnTo>
                  <a:pt x="1733" y="1809"/>
                </a:lnTo>
                <a:lnTo>
                  <a:pt x="1737" y="1805"/>
                </a:lnTo>
                <a:lnTo>
                  <a:pt x="1740" y="1805"/>
                </a:lnTo>
                <a:lnTo>
                  <a:pt x="1740" y="1803"/>
                </a:lnTo>
                <a:lnTo>
                  <a:pt x="1740" y="1802"/>
                </a:lnTo>
                <a:lnTo>
                  <a:pt x="1740" y="1799"/>
                </a:lnTo>
                <a:lnTo>
                  <a:pt x="1739" y="1795"/>
                </a:lnTo>
                <a:lnTo>
                  <a:pt x="1740" y="1793"/>
                </a:lnTo>
                <a:lnTo>
                  <a:pt x="1743" y="1791"/>
                </a:lnTo>
                <a:lnTo>
                  <a:pt x="1746" y="1790"/>
                </a:lnTo>
                <a:lnTo>
                  <a:pt x="1750" y="1789"/>
                </a:lnTo>
                <a:lnTo>
                  <a:pt x="1754" y="1789"/>
                </a:lnTo>
                <a:lnTo>
                  <a:pt x="1759" y="1789"/>
                </a:lnTo>
                <a:lnTo>
                  <a:pt x="1763" y="1790"/>
                </a:lnTo>
                <a:lnTo>
                  <a:pt x="1765" y="1790"/>
                </a:lnTo>
                <a:lnTo>
                  <a:pt x="1766" y="1791"/>
                </a:lnTo>
                <a:lnTo>
                  <a:pt x="1767" y="1791"/>
                </a:lnTo>
                <a:lnTo>
                  <a:pt x="1767" y="1793"/>
                </a:lnTo>
                <a:lnTo>
                  <a:pt x="1767" y="1794"/>
                </a:lnTo>
                <a:lnTo>
                  <a:pt x="1766" y="1795"/>
                </a:lnTo>
                <a:lnTo>
                  <a:pt x="1764" y="1796"/>
                </a:lnTo>
                <a:lnTo>
                  <a:pt x="1763" y="1796"/>
                </a:lnTo>
                <a:close/>
                <a:moveTo>
                  <a:pt x="1724" y="1518"/>
                </a:moveTo>
                <a:lnTo>
                  <a:pt x="1722" y="1517"/>
                </a:lnTo>
                <a:lnTo>
                  <a:pt x="1721" y="1516"/>
                </a:lnTo>
                <a:lnTo>
                  <a:pt x="1721" y="1516"/>
                </a:lnTo>
                <a:lnTo>
                  <a:pt x="1722" y="1515"/>
                </a:lnTo>
                <a:lnTo>
                  <a:pt x="1724" y="1514"/>
                </a:lnTo>
                <a:lnTo>
                  <a:pt x="1724" y="1512"/>
                </a:lnTo>
                <a:lnTo>
                  <a:pt x="1722" y="1506"/>
                </a:lnTo>
                <a:lnTo>
                  <a:pt x="1722" y="1503"/>
                </a:lnTo>
                <a:lnTo>
                  <a:pt x="1724" y="1501"/>
                </a:lnTo>
                <a:lnTo>
                  <a:pt x="1730" y="1498"/>
                </a:lnTo>
                <a:lnTo>
                  <a:pt x="1732" y="1497"/>
                </a:lnTo>
                <a:lnTo>
                  <a:pt x="1733" y="1496"/>
                </a:lnTo>
                <a:lnTo>
                  <a:pt x="1732" y="1497"/>
                </a:lnTo>
                <a:lnTo>
                  <a:pt x="1730" y="1498"/>
                </a:lnTo>
                <a:lnTo>
                  <a:pt x="1730" y="1499"/>
                </a:lnTo>
                <a:lnTo>
                  <a:pt x="1729" y="1501"/>
                </a:lnTo>
                <a:lnTo>
                  <a:pt x="1728" y="1502"/>
                </a:lnTo>
                <a:lnTo>
                  <a:pt x="1726" y="1502"/>
                </a:lnTo>
                <a:lnTo>
                  <a:pt x="1725" y="1503"/>
                </a:lnTo>
                <a:lnTo>
                  <a:pt x="1724" y="1504"/>
                </a:lnTo>
                <a:lnTo>
                  <a:pt x="1723" y="1505"/>
                </a:lnTo>
                <a:lnTo>
                  <a:pt x="1723" y="1506"/>
                </a:lnTo>
                <a:lnTo>
                  <a:pt x="1725" y="1508"/>
                </a:lnTo>
                <a:lnTo>
                  <a:pt x="1726" y="1508"/>
                </a:lnTo>
                <a:lnTo>
                  <a:pt x="1729" y="1507"/>
                </a:lnTo>
                <a:lnTo>
                  <a:pt x="1730" y="1507"/>
                </a:lnTo>
                <a:lnTo>
                  <a:pt x="1732" y="1506"/>
                </a:lnTo>
                <a:lnTo>
                  <a:pt x="1733" y="1505"/>
                </a:lnTo>
                <a:lnTo>
                  <a:pt x="1736" y="1502"/>
                </a:lnTo>
                <a:lnTo>
                  <a:pt x="1738" y="1501"/>
                </a:lnTo>
                <a:lnTo>
                  <a:pt x="1741" y="1502"/>
                </a:lnTo>
                <a:lnTo>
                  <a:pt x="1745" y="1504"/>
                </a:lnTo>
                <a:lnTo>
                  <a:pt x="1747" y="1500"/>
                </a:lnTo>
                <a:lnTo>
                  <a:pt x="1748" y="1496"/>
                </a:lnTo>
                <a:lnTo>
                  <a:pt x="1740" y="1496"/>
                </a:lnTo>
                <a:lnTo>
                  <a:pt x="1734" y="1495"/>
                </a:lnTo>
                <a:lnTo>
                  <a:pt x="1735" y="1491"/>
                </a:lnTo>
                <a:lnTo>
                  <a:pt x="1738" y="1489"/>
                </a:lnTo>
                <a:lnTo>
                  <a:pt x="1739" y="1487"/>
                </a:lnTo>
                <a:lnTo>
                  <a:pt x="1740" y="1487"/>
                </a:lnTo>
                <a:lnTo>
                  <a:pt x="1741" y="1487"/>
                </a:lnTo>
                <a:lnTo>
                  <a:pt x="1743" y="1490"/>
                </a:lnTo>
                <a:lnTo>
                  <a:pt x="1743" y="1491"/>
                </a:lnTo>
                <a:lnTo>
                  <a:pt x="1743" y="1492"/>
                </a:lnTo>
                <a:lnTo>
                  <a:pt x="1744" y="1493"/>
                </a:lnTo>
                <a:lnTo>
                  <a:pt x="1746" y="1493"/>
                </a:lnTo>
                <a:lnTo>
                  <a:pt x="1747" y="1492"/>
                </a:lnTo>
                <a:lnTo>
                  <a:pt x="1748" y="1491"/>
                </a:lnTo>
                <a:lnTo>
                  <a:pt x="1748" y="1489"/>
                </a:lnTo>
                <a:lnTo>
                  <a:pt x="1747" y="1488"/>
                </a:lnTo>
                <a:lnTo>
                  <a:pt x="1746" y="1485"/>
                </a:lnTo>
                <a:lnTo>
                  <a:pt x="1746" y="1483"/>
                </a:lnTo>
                <a:lnTo>
                  <a:pt x="1746" y="1481"/>
                </a:lnTo>
                <a:lnTo>
                  <a:pt x="1747" y="1480"/>
                </a:lnTo>
                <a:lnTo>
                  <a:pt x="1750" y="1476"/>
                </a:lnTo>
                <a:lnTo>
                  <a:pt x="1754" y="1475"/>
                </a:lnTo>
                <a:lnTo>
                  <a:pt x="1760" y="1473"/>
                </a:lnTo>
                <a:lnTo>
                  <a:pt x="1763" y="1470"/>
                </a:lnTo>
                <a:lnTo>
                  <a:pt x="1766" y="1466"/>
                </a:lnTo>
                <a:lnTo>
                  <a:pt x="1769" y="1461"/>
                </a:lnTo>
                <a:lnTo>
                  <a:pt x="1769" y="1461"/>
                </a:lnTo>
                <a:lnTo>
                  <a:pt x="1769" y="1461"/>
                </a:lnTo>
                <a:lnTo>
                  <a:pt x="1769" y="1461"/>
                </a:lnTo>
                <a:lnTo>
                  <a:pt x="1773" y="1457"/>
                </a:lnTo>
                <a:lnTo>
                  <a:pt x="1777" y="1455"/>
                </a:lnTo>
                <a:lnTo>
                  <a:pt x="1773" y="1457"/>
                </a:lnTo>
                <a:lnTo>
                  <a:pt x="1769" y="1461"/>
                </a:lnTo>
                <a:lnTo>
                  <a:pt x="1771" y="1461"/>
                </a:lnTo>
                <a:lnTo>
                  <a:pt x="1773" y="1460"/>
                </a:lnTo>
                <a:lnTo>
                  <a:pt x="1775" y="1459"/>
                </a:lnTo>
                <a:lnTo>
                  <a:pt x="1776" y="1459"/>
                </a:lnTo>
                <a:lnTo>
                  <a:pt x="1778" y="1459"/>
                </a:lnTo>
                <a:lnTo>
                  <a:pt x="1779" y="1460"/>
                </a:lnTo>
                <a:lnTo>
                  <a:pt x="1780" y="1461"/>
                </a:lnTo>
                <a:lnTo>
                  <a:pt x="1780" y="1462"/>
                </a:lnTo>
                <a:lnTo>
                  <a:pt x="1779" y="1462"/>
                </a:lnTo>
                <a:lnTo>
                  <a:pt x="1779" y="1462"/>
                </a:lnTo>
                <a:lnTo>
                  <a:pt x="1777" y="1462"/>
                </a:lnTo>
                <a:lnTo>
                  <a:pt x="1776" y="1462"/>
                </a:lnTo>
                <a:lnTo>
                  <a:pt x="1776" y="1466"/>
                </a:lnTo>
                <a:lnTo>
                  <a:pt x="1776" y="1469"/>
                </a:lnTo>
                <a:lnTo>
                  <a:pt x="1776" y="1474"/>
                </a:lnTo>
                <a:lnTo>
                  <a:pt x="1774" y="1480"/>
                </a:lnTo>
                <a:lnTo>
                  <a:pt x="1769" y="1483"/>
                </a:lnTo>
                <a:lnTo>
                  <a:pt x="1764" y="1484"/>
                </a:lnTo>
                <a:lnTo>
                  <a:pt x="1762" y="1485"/>
                </a:lnTo>
                <a:lnTo>
                  <a:pt x="1761" y="1486"/>
                </a:lnTo>
                <a:lnTo>
                  <a:pt x="1760" y="1488"/>
                </a:lnTo>
                <a:lnTo>
                  <a:pt x="1761" y="1490"/>
                </a:lnTo>
                <a:lnTo>
                  <a:pt x="1758" y="1495"/>
                </a:lnTo>
                <a:lnTo>
                  <a:pt x="1753" y="1499"/>
                </a:lnTo>
                <a:lnTo>
                  <a:pt x="1750" y="1502"/>
                </a:lnTo>
                <a:lnTo>
                  <a:pt x="1745" y="1504"/>
                </a:lnTo>
                <a:lnTo>
                  <a:pt x="1744" y="1505"/>
                </a:lnTo>
                <a:lnTo>
                  <a:pt x="1744" y="1506"/>
                </a:lnTo>
                <a:lnTo>
                  <a:pt x="1749" y="1506"/>
                </a:lnTo>
                <a:lnTo>
                  <a:pt x="1754" y="1505"/>
                </a:lnTo>
                <a:lnTo>
                  <a:pt x="1749" y="1506"/>
                </a:lnTo>
                <a:lnTo>
                  <a:pt x="1744" y="1506"/>
                </a:lnTo>
                <a:lnTo>
                  <a:pt x="1740" y="1507"/>
                </a:lnTo>
                <a:lnTo>
                  <a:pt x="1738" y="1507"/>
                </a:lnTo>
                <a:lnTo>
                  <a:pt x="1735" y="1508"/>
                </a:lnTo>
                <a:lnTo>
                  <a:pt x="1733" y="1512"/>
                </a:lnTo>
                <a:lnTo>
                  <a:pt x="1732" y="1514"/>
                </a:lnTo>
                <a:lnTo>
                  <a:pt x="1731" y="1516"/>
                </a:lnTo>
                <a:lnTo>
                  <a:pt x="1728" y="1517"/>
                </a:lnTo>
                <a:lnTo>
                  <a:pt x="1724" y="1518"/>
                </a:lnTo>
                <a:close/>
                <a:moveTo>
                  <a:pt x="1704" y="1835"/>
                </a:moveTo>
                <a:lnTo>
                  <a:pt x="1702" y="1835"/>
                </a:lnTo>
                <a:lnTo>
                  <a:pt x="1700" y="1835"/>
                </a:lnTo>
                <a:lnTo>
                  <a:pt x="1698" y="1833"/>
                </a:lnTo>
                <a:lnTo>
                  <a:pt x="1697" y="1829"/>
                </a:lnTo>
                <a:lnTo>
                  <a:pt x="1699" y="1825"/>
                </a:lnTo>
                <a:lnTo>
                  <a:pt x="1703" y="1821"/>
                </a:lnTo>
                <a:lnTo>
                  <a:pt x="1709" y="1817"/>
                </a:lnTo>
                <a:lnTo>
                  <a:pt x="1715" y="1816"/>
                </a:lnTo>
                <a:lnTo>
                  <a:pt x="1718" y="1817"/>
                </a:lnTo>
                <a:lnTo>
                  <a:pt x="1720" y="1819"/>
                </a:lnTo>
                <a:lnTo>
                  <a:pt x="1721" y="1822"/>
                </a:lnTo>
                <a:lnTo>
                  <a:pt x="1721" y="1825"/>
                </a:lnTo>
                <a:lnTo>
                  <a:pt x="1720" y="1827"/>
                </a:lnTo>
                <a:lnTo>
                  <a:pt x="1720" y="1829"/>
                </a:lnTo>
                <a:lnTo>
                  <a:pt x="1718" y="1830"/>
                </a:lnTo>
                <a:lnTo>
                  <a:pt x="1716" y="1833"/>
                </a:lnTo>
                <a:lnTo>
                  <a:pt x="1710" y="1835"/>
                </a:lnTo>
                <a:lnTo>
                  <a:pt x="1704" y="1835"/>
                </a:lnTo>
                <a:close/>
                <a:moveTo>
                  <a:pt x="1843" y="1428"/>
                </a:moveTo>
                <a:lnTo>
                  <a:pt x="1843" y="1427"/>
                </a:lnTo>
                <a:lnTo>
                  <a:pt x="1843" y="1426"/>
                </a:lnTo>
                <a:lnTo>
                  <a:pt x="1844" y="1426"/>
                </a:lnTo>
                <a:lnTo>
                  <a:pt x="1844" y="1426"/>
                </a:lnTo>
                <a:lnTo>
                  <a:pt x="1844" y="1427"/>
                </a:lnTo>
                <a:lnTo>
                  <a:pt x="1844" y="1428"/>
                </a:lnTo>
                <a:lnTo>
                  <a:pt x="1844" y="1428"/>
                </a:lnTo>
                <a:lnTo>
                  <a:pt x="1843" y="1428"/>
                </a:lnTo>
                <a:close/>
                <a:moveTo>
                  <a:pt x="1799" y="1466"/>
                </a:moveTo>
                <a:lnTo>
                  <a:pt x="1799" y="1461"/>
                </a:lnTo>
                <a:lnTo>
                  <a:pt x="1801" y="1458"/>
                </a:lnTo>
                <a:lnTo>
                  <a:pt x="1804" y="1455"/>
                </a:lnTo>
                <a:lnTo>
                  <a:pt x="1806" y="1453"/>
                </a:lnTo>
                <a:lnTo>
                  <a:pt x="1806" y="1456"/>
                </a:lnTo>
                <a:lnTo>
                  <a:pt x="1804" y="1459"/>
                </a:lnTo>
                <a:lnTo>
                  <a:pt x="1801" y="1462"/>
                </a:lnTo>
                <a:lnTo>
                  <a:pt x="1799" y="1466"/>
                </a:lnTo>
                <a:close/>
                <a:moveTo>
                  <a:pt x="1843" y="1507"/>
                </a:moveTo>
                <a:lnTo>
                  <a:pt x="1843" y="1507"/>
                </a:lnTo>
                <a:lnTo>
                  <a:pt x="1843" y="1507"/>
                </a:lnTo>
                <a:lnTo>
                  <a:pt x="1843" y="1507"/>
                </a:lnTo>
                <a:lnTo>
                  <a:pt x="1843" y="1507"/>
                </a:lnTo>
                <a:close/>
                <a:moveTo>
                  <a:pt x="1841" y="1511"/>
                </a:moveTo>
                <a:lnTo>
                  <a:pt x="1842" y="1509"/>
                </a:lnTo>
                <a:lnTo>
                  <a:pt x="1843" y="1508"/>
                </a:lnTo>
                <a:lnTo>
                  <a:pt x="1842" y="1509"/>
                </a:lnTo>
                <a:lnTo>
                  <a:pt x="1841" y="1511"/>
                </a:lnTo>
                <a:close/>
                <a:moveTo>
                  <a:pt x="1831" y="1524"/>
                </a:moveTo>
                <a:lnTo>
                  <a:pt x="1831" y="1524"/>
                </a:lnTo>
                <a:lnTo>
                  <a:pt x="1831" y="1518"/>
                </a:lnTo>
                <a:lnTo>
                  <a:pt x="1834" y="1512"/>
                </a:lnTo>
                <a:lnTo>
                  <a:pt x="1837" y="1507"/>
                </a:lnTo>
                <a:lnTo>
                  <a:pt x="1841" y="1504"/>
                </a:lnTo>
                <a:lnTo>
                  <a:pt x="1841" y="1507"/>
                </a:lnTo>
                <a:lnTo>
                  <a:pt x="1841" y="1511"/>
                </a:lnTo>
                <a:lnTo>
                  <a:pt x="1841" y="1511"/>
                </a:lnTo>
                <a:lnTo>
                  <a:pt x="1839" y="1513"/>
                </a:lnTo>
                <a:lnTo>
                  <a:pt x="1838" y="1514"/>
                </a:lnTo>
                <a:lnTo>
                  <a:pt x="1838" y="1514"/>
                </a:lnTo>
                <a:lnTo>
                  <a:pt x="1838" y="1515"/>
                </a:lnTo>
                <a:lnTo>
                  <a:pt x="1841" y="1516"/>
                </a:lnTo>
                <a:lnTo>
                  <a:pt x="1842" y="1518"/>
                </a:lnTo>
                <a:lnTo>
                  <a:pt x="1837" y="1520"/>
                </a:lnTo>
                <a:lnTo>
                  <a:pt x="1831" y="1524"/>
                </a:lnTo>
                <a:close/>
                <a:moveTo>
                  <a:pt x="1834" y="1558"/>
                </a:moveTo>
                <a:lnTo>
                  <a:pt x="1836" y="1558"/>
                </a:lnTo>
                <a:lnTo>
                  <a:pt x="1836" y="1559"/>
                </a:lnTo>
                <a:lnTo>
                  <a:pt x="1837" y="1560"/>
                </a:lnTo>
                <a:lnTo>
                  <a:pt x="1836" y="1561"/>
                </a:lnTo>
                <a:lnTo>
                  <a:pt x="1836" y="1563"/>
                </a:lnTo>
                <a:lnTo>
                  <a:pt x="1835" y="1565"/>
                </a:lnTo>
                <a:lnTo>
                  <a:pt x="1835" y="1566"/>
                </a:lnTo>
                <a:lnTo>
                  <a:pt x="1832" y="1567"/>
                </a:lnTo>
                <a:lnTo>
                  <a:pt x="1829" y="1565"/>
                </a:lnTo>
                <a:lnTo>
                  <a:pt x="1828" y="1562"/>
                </a:lnTo>
                <a:lnTo>
                  <a:pt x="1830" y="1559"/>
                </a:lnTo>
                <a:lnTo>
                  <a:pt x="1834" y="1558"/>
                </a:lnTo>
                <a:close/>
                <a:moveTo>
                  <a:pt x="1831" y="1524"/>
                </a:moveTo>
                <a:lnTo>
                  <a:pt x="1831" y="1527"/>
                </a:lnTo>
                <a:lnTo>
                  <a:pt x="1831" y="1529"/>
                </a:lnTo>
                <a:lnTo>
                  <a:pt x="1831" y="1527"/>
                </a:lnTo>
                <a:lnTo>
                  <a:pt x="1831" y="1524"/>
                </a:lnTo>
                <a:close/>
                <a:moveTo>
                  <a:pt x="1850" y="1482"/>
                </a:moveTo>
                <a:lnTo>
                  <a:pt x="1851" y="1480"/>
                </a:lnTo>
                <a:lnTo>
                  <a:pt x="1853" y="1480"/>
                </a:lnTo>
                <a:lnTo>
                  <a:pt x="1855" y="1478"/>
                </a:lnTo>
                <a:lnTo>
                  <a:pt x="1857" y="1478"/>
                </a:lnTo>
                <a:lnTo>
                  <a:pt x="1858" y="1478"/>
                </a:lnTo>
                <a:lnTo>
                  <a:pt x="1859" y="1481"/>
                </a:lnTo>
                <a:lnTo>
                  <a:pt x="1856" y="1484"/>
                </a:lnTo>
                <a:lnTo>
                  <a:pt x="1852" y="1485"/>
                </a:lnTo>
                <a:lnTo>
                  <a:pt x="1850" y="1484"/>
                </a:lnTo>
                <a:lnTo>
                  <a:pt x="1850" y="1482"/>
                </a:lnTo>
                <a:close/>
                <a:moveTo>
                  <a:pt x="1854" y="1533"/>
                </a:moveTo>
                <a:lnTo>
                  <a:pt x="1854" y="1532"/>
                </a:lnTo>
                <a:lnTo>
                  <a:pt x="1853" y="1532"/>
                </a:lnTo>
                <a:lnTo>
                  <a:pt x="1854" y="1532"/>
                </a:lnTo>
                <a:lnTo>
                  <a:pt x="1854" y="1533"/>
                </a:lnTo>
                <a:close/>
                <a:moveTo>
                  <a:pt x="1920" y="1745"/>
                </a:moveTo>
                <a:lnTo>
                  <a:pt x="1920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9" y="1746"/>
                </a:lnTo>
                <a:lnTo>
                  <a:pt x="1918" y="1747"/>
                </a:lnTo>
                <a:lnTo>
                  <a:pt x="1918" y="1747"/>
                </a:lnTo>
                <a:lnTo>
                  <a:pt x="1917" y="1747"/>
                </a:lnTo>
                <a:lnTo>
                  <a:pt x="1917" y="1747"/>
                </a:lnTo>
                <a:lnTo>
                  <a:pt x="1915" y="1747"/>
                </a:lnTo>
                <a:lnTo>
                  <a:pt x="1913" y="1747"/>
                </a:lnTo>
                <a:lnTo>
                  <a:pt x="1913" y="1747"/>
                </a:lnTo>
                <a:lnTo>
                  <a:pt x="1912" y="1746"/>
                </a:lnTo>
                <a:lnTo>
                  <a:pt x="1911" y="1745"/>
                </a:lnTo>
                <a:lnTo>
                  <a:pt x="1907" y="1742"/>
                </a:lnTo>
                <a:lnTo>
                  <a:pt x="1904" y="1738"/>
                </a:lnTo>
                <a:lnTo>
                  <a:pt x="1905" y="1736"/>
                </a:lnTo>
                <a:lnTo>
                  <a:pt x="1908" y="1736"/>
                </a:lnTo>
                <a:lnTo>
                  <a:pt x="1911" y="1736"/>
                </a:lnTo>
                <a:lnTo>
                  <a:pt x="1914" y="1736"/>
                </a:lnTo>
                <a:lnTo>
                  <a:pt x="1917" y="1737"/>
                </a:lnTo>
                <a:lnTo>
                  <a:pt x="1919" y="1740"/>
                </a:lnTo>
                <a:lnTo>
                  <a:pt x="1920" y="1743"/>
                </a:lnTo>
                <a:lnTo>
                  <a:pt x="1920" y="1745"/>
                </a:lnTo>
                <a:close/>
                <a:moveTo>
                  <a:pt x="1918" y="1377"/>
                </a:moveTo>
                <a:lnTo>
                  <a:pt x="1917" y="1376"/>
                </a:lnTo>
                <a:lnTo>
                  <a:pt x="1916" y="1375"/>
                </a:lnTo>
                <a:lnTo>
                  <a:pt x="1917" y="1376"/>
                </a:lnTo>
                <a:lnTo>
                  <a:pt x="1918" y="1377"/>
                </a:lnTo>
                <a:close/>
                <a:moveTo>
                  <a:pt x="1945" y="1491"/>
                </a:moveTo>
                <a:lnTo>
                  <a:pt x="1946" y="1490"/>
                </a:lnTo>
                <a:lnTo>
                  <a:pt x="1947" y="1489"/>
                </a:lnTo>
                <a:lnTo>
                  <a:pt x="1946" y="1490"/>
                </a:lnTo>
                <a:lnTo>
                  <a:pt x="1945" y="1491"/>
                </a:lnTo>
                <a:close/>
                <a:moveTo>
                  <a:pt x="1937" y="1512"/>
                </a:moveTo>
                <a:lnTo>
                  <a:pt x="1936" y="1511"/>
                </a:lnTo>
                <a:lnTo>
                  <a:pt x="1936" y="1507"/>
                </a:lnTo>
                <a:lnTo>
                  <a:pt x="1937" y="1505"/>
                </a:lnTo>
                <a:lnTo>
                  <a:pt x="1940" y="1504"/>
                </a:lnTo>
                <a:lnTo>
                  <a:pt x="1942" y="1504"/>
                </a:lnTo>
                <a:lnTo>
                  <a:pt x="1943" y="1504"/>
                </a:lnTo>
                <a:lnTo>
                  <a:pt x="1944" y="1504"/>
                </a:lnTo>
                <a:lnTo>
                  <a:pt x="1946" y="1507"/>
                </a:lnTo>
                <a:lnTo>
                  <a:pt x="1948" y="1511"/>
                </a:lnTo>
                <a:lnTo>
                  <a:pt x="1946" y="1512"/>
                </a:lnTo>
                <a:lnTo>
                  <a:pt x="1943" y="1513"/>
                </a:lnTo>
                <a:lnTo>
                  <a:pt x="1941" y="1513"/>
                </a:lnTo>
                <a:lnTo>
                  <a:pt x="1937" y="1512"/>
                </a:lnTo>
                <a:close/>
                <a:moveTo>
                  <a:pt x="1933" y="1527"/>
                </a:moveTo>
                <a:lnTo>
                  <a:pt x="1933" y="1522"/>
                </a:lnTo>
                <a:lnTo>
                  <a:pt x="1934" y="1518"/>
                </a:lnTo>
                <a:lnTo>
                  <a:pt x="1936" y="1515"/>
                </a:lnTo>
                <a:lnTo>
                  <a:pt x="1938" y="1514"/>
                </a:lnTo>
                <a:lnTo>
                  <a:pt x="1942" y="1514"/>
                </a:lnTo>
                <a:lnTo>
                  <a:pt x="1944" y="1515"/>
                </a:lnTo>
                <a:lnTo>
                  <a:pt x="1947" y="1515"/>
                </a:lnTo>
                <a:lnTo>
                  <a:pt x="1947" y="1517"/>
                </a:lnTo>
                <a:lnTo>
                  <a:pt x="1947" y="1519"/>
                </a:lnTo>
                <a:lnTo>
                  <a:pt x="1947" y="1521"/>
                </a:lnTo>
                <a:lnTo>
                  <a:pt x="1946" y="1529"/>
                </a:lnTo>
                <a:lnTo>
                  <a:pt x="1944" y="1537"/>
                </a:lnTo>
                <a:lnTo>
                  <a:pt x="1943" y="1545"/>
                </a:lnTo>
                <a:lnTo>
                  <a:pt x="1942" y="1553"/>
                </a:lnTo>
                <a:lnTo>
                  <a:pt x="1936" y="1559"/>
                </a:lnTo>
                <a:lnTo>
                  <a:pt x="1931" y="1564"/>
                </a:lnTo>
                <a:lnTo>
                  <a:pt x="1930" y="1562"/>
                </a:lnTo>
                <a:lnTo>
                  <a:pt x="1927" y="1559"/>
                </a:lnTo>
                <a:lnTo>
                  <a:pt x="1926" y="1562"/>
                </a:lnTo>
                <a:lnTo>
                  <a:pt x="1925" y="1566"/>
                </a:lnTo>
                <a:lnTo>
                  <a:pt x="1926" y="1562"/>
                </a:lnTo>
                <a:lnTo>
                  <a:pt x="1927" y="1559"/>
                </a:lnTo>
                <a:lnTo>
                  <a:pt x="1928" y="1557"/>
                </a:lnTo>
                <a:lnTo>
                  <a:pt x="1928" y="1556"/>
                </a:lnTo>
                <a:lnTo>
                  <a:pt x="1931" y="1542"/>
                </a:lnTo>
                <a:lnTo>
                  <a:pt x="1933" y="1527"/>
                </a:lnTo>
                <a:close/>
                <a:moveTo>
                  <a:pt x="1951" y="1543"/>
                </a:moveTo>
                <a:lnTo>
                  <a:pt x="1950" y="1535"/>
                </a:lnTo>
                <a:lnTo>
                  <a:pt x="1951" y="1529"/>
                </a:lnTo>
                <a:lnTo>
                  <a:pt x="1952" y="1523"/>
                </a:lnTo>
                <a:lnTo>
                  <a:pt x="1953" y="1518"/>
                </a:lnTo>
                <a:lnTo>
                  <a:pt x="1952" y="1530"/>
                </a:lnTo>
                <a:lnTo>
                  <a:pt x="1951" y="1543"/>
                </a:lnTo>
                <a:close/>
                <a:moveTo>
                  <a:pt x="1805" y="1401"/>
                </a:moveTo>
                <a:lnTo>
                  <a:pt x="1805" y="1402"/>
                </a:lnTo>
                <a:lnTo>
                  <a:pt x="1806" y="1402"/>
                </a:lnTo>
                <a:lnTo>
                  <a:pt x="1805" y="1402"/>
                </a:lnTo>
                <a:lnTo>
                  <a:pt x="1805" y="1401"/>
                </a:lnTo>
                <a:lnTo>
                  <a:pt x="1801" y="1402"/>
                </a:lnTo>
                <a:lnTo>
                  <a:pt x="1797" y="1405"/>
                </a:lnTo>
                <a:lnTo>
                  <a:pt x="1800" y="1401"/>
                </a:lnTo>
                <a:lnTo>
                  <a:pt x="1801" y="1397"/>
                </a:lnTo>
                <a:lnTo>
                  <a:pt x="1803" y="1396"/>
                </a:lnTo>
                <a:lnTo>
                  <a:pt x="1804" y="1395"/>
                </a:lnTo>
                <a:lnTo>
                  <a:pt x="1805" y="1394"/>
                </a:lnTo>
                <a:lnTo>
                  <a:pt x="1808" y="1393"/>
                </a:lnTo>
                <a:lnTo>
                  <a:pt x="1805" y="1397"/>
                </a:lnTo>
                <a:lnTo>
                  <a:pt x="1805" y="1401"/>
                </a:lnTo>
                <a:close/>
                <a:moveTo>
                  <a:pt x="1788" y="1391"/>
                </a:moveTo>
                <a:lnTo>
                  <a:pt x="1789" y="1390"/>
                </a:lnTo>
                <a:lnTo>
                  <a:pt x="1791" y="1390"/>
                </a:lnTo>
                <a:lnTo>
                  <a:pt x="1789" y="1390"/>
                </a:lnTo>
                <a:lnTo>
                  <a:pt x="1788" y="1391"/>
                </a:lnTo>
                <a:close/>
                <a:moveTo>
                  <a:pt x="1765" y="1395"/>
                </a:moveTo>
                <a:lnTo>
                  <a:pt x="1765" y="1398"/>
                </a:lnTo>
                <a:lnTo>
                  <a:pt x="1765" y="1399"/>
                </a:lnTo>
                <a:lnTo>
                  <a:pt x="1764" y="1401"/>
                </a:lnTo>
                <a:lnTo>
                  <a:pt x="1763" y="1402"/>
                </a:lnTo>
                <a:lnTo>
                  <a:pt x="1762" y="1400"/>
                </a:lnTo>
                <a:lnTo>
                  <a:pt x="1762" y="1399"/>
                </a:lnTo>
                <a:lnTo>
                  <a:pt x="1763" y="1397"/>
                </a:lnTo>
                <a:lnTo>
                  <a:pt x="1765" y="1395"/>
                </a:lnTo>
                <a:close/>
                <a:moveTo>
                  <a:pt x="1786" y="1362"/>
                </a:moveTo>
                <a:lnTo>
                  <a:pt x="1784" y="1368"/>
                </a:lnTo>
                <a:lnTo>
                  <a:pt x="1783" y="1375"/>
                </a:lnTo>
                <a:lnTo>
                  <a:pt x="1784" y="1368"/>
                </a:lnTo>
                <a:lnTo>
                  <a:pt x="1786" y="1362"/>
                </a:lnTo>
                <a:close/>
                <a:moveTo>
                  <a:pt x="1904" y="1327"/>
                </a:moveTo>
                <a:lnTo>
                  <a:pt x="1904" y="1327"/>
                </a:lnTo>
                <a:lnTo>
                  <a:pt x="1904" y="1327"/>
                </a:lnTo>
                <a:lnTo>
                  <a:pt x="1904" y="1327"/>
                </a:lnTo>
                <a:lnTo>
                  <a:pt x="1904" y="1327"/>
                </a:lnTo>
                <a:close/>
                <a:moveTo>
                  <a:pt x="1907" y="1331"/>
                </a:moveTo>
                <a:lnTo>
                  <a:pt x="1907" y="1329"/>
                </a:lnTo>
                <a:lnTo>
                  <a:pt x="1907" y="1328"/>
                </a:lnTo>
                <a:lnTo>
                  <a:pt x="1907" y="1329"/>
                </a:lnTo>
                <a:lnTo>
                  <a:pt x="1907" y="1331"/>
                </a:lnTo>
                <a:close/>
                <a:moveTo>
                  <a:pt x="1923" y="1346"/>
                </a:moveTo>
                <a:lnTo>
                  <a:pt x="1922" y="1345"/>
                </a:lnTo>
                <a:lnTo>
                  <a:pt x="1922" y="1344"/>
                </a:lnTo>
                <a:lnTo>
                  <a:pt x="1922" y="1345"/>
                </a:lnTo>
                <a:lnTo>
                  <a:pt x="1923" y="1346"/>
                </a:lnTo>
                <a:close/>
                <a:moveTo>
                  <a:pt x="1957" y="1327"/>
                </a:moveTo>
                <a:lnTo>
                  <a:pt x="1956" y="1332"/>
                </a:lnTo>
                <a:lnTo>
                  <a:pt x="1953" y="1337"/>
                </a:lnTo>
                <a:lnTo>
                  <a:pt x="1956" y="1332"/>
                </a:lnTo>
                <a:lnTo>
                  <a:pt x="1957" y="1327"/>
                </a:lnTo>
                <a:close/>
                <a:moveTo>
                  <a:pt x="1958" y="1322"/>
                </a:moveTo>
                <a:lnTo>
                  <a:pt x="1958" y="1324"/>
                </a:lnTo>
                <a:lnTo>
                  <a:pt x="1957" y="1327"/>
                </a:lnTo>
                <a:lnTo>
                  <a:pt x="1958" y="1324"/>
                </a:lnTo>
                <a:lnTo>
                  <a:pt x="1958" y="1322"/>
                </a:lnTo>
                <a:close/>
                <a:moveTo>
                  <a:pt x="1937" y="1235"/>
                </a:moveTo>
                <a:lnTo>
                  <a:pt x="1937" y="1233"/>
                </a:lnTo>
                <a:lnTo>
                  <a:pt x="1938" y="1232"/>
                </a:lnTo>
                <a:lnTo>
                  <a:pt x="1937" y="1232"/>
                </a:lnTo>
                <a:lnTo>
                  <a:pt x="1937" y="1231"/>
                </a:lnTo>
                <a:lnTo>
                  <a:pt x="1937" y="1232"/>
                </a:lnTo>
                <a:lnTo>
                  <a:pt x="1938" y="1232"/>
                </a:lnTo>
                <a:lnTo>
                  <a:pt x="1937" y="1233"/>
                </a:lnTo>
                <a:lnTo>
                  <a:pt x="1937" y="1235"/>
                </a:lnTo>
                <a:close/>
                <a:moveTo>
                  <a:pt x="1943" y="1107"/>
                </a:moveTo>
                <a:lnTo>
                  <a:pt x="1942" y="1114"/>
                </a:lnTo>
                <a:lnTo>
                  <a:pt x="1942" y="1120"/>
                </a:lnTo>
                <a:lnTo>
                  <a:pt x="1940" y="1126"/>
                </a:lnTo>
                <a:lnTo>
                  <a:pt x="1937" y="1133"/>
                </a:lnTo>
                <a:lnTo>
                  <a:pt x="1937" y="1126"/>
                </a:lnTo>
                <a:lnTo>
                  <a:pt x="1938" y="1119"/>
                </a:lnTo>
                <a:lnTo>
                  <a:pt x="1941" y="1114"/>
                </a:lnTo>
                <a:lnTo>
                  <a:pt x="1943" y="1107"/>
                </a:lnTo>
                <a:close/>
                <a:moveTo>
                  <a:pt x="1932" y="975"/>
                </a:moveTo>
                <a:lnTo>
                  <a:pt x="1930" y="976"/>
                </a:lnTo>
                <a:lnTo>
                  <a:pt x="1927" y="976"/>
                </a:lnTo>
                <a:lnTo>
                  <a:pt x="1928" y="975"/>
                </a:lnTo>
                <a:lnTo>
                  <a:pt x="1929" y="973"/>
                </a:lnTo>
                <a:lnTo>
                  <a:pt x="1931" y="973"/>
                </a:lnTo>
                <a:lnTo>
                  <a:pt x="1932" y="975"/>
                </a:lnTo>
                <a:lnTo>
                  <a:pt x="1935" y="973"/>
                </a:lnTo>
                <a:lnTo>
                  <a:pt x="1938" y="971"/>
                </a:lnTo>
                <a:lnTo>
                  <a:pt x="1935" y="973"/>
                </a:lnTo>
                <a:lnTo>
                  <a:pt x="1932" y="975"/>
                </a:lnTo>
                <a:close/>
                <a:moveTo>
                  <a:pt x="1930" y="1166"/>
                </a:moveTo>
                <a:lnTo>
                  <a:pt x="1931" y="1156"/>
                </a:lnTo>
                <a:lnTo>
                  <a:pt x="1932" y="1150"/>
                </a:lnTo>
                <a:lnTo>
                  <a:pt x="1933" y="1150"/>
                </a:lnTo>
                <a:lnTo>
                  <a:pt x="1934" y="1150"/>
                </a:lnTo>
                <a:lnTo>
                  <a:pt x="1933" y="1157"/>
                </a:lnTo>
                <a:lnTo>
                  <a:pt x="1930" y="1166"/>
                </a:lnTo>
                <a:close/>
                <a:moveTo>
                  <a:pt x="1921" y="1130"/>
                </a:moveTo>
                <a:lnTo>
                  <a:pt x="1919" y="1131"/>
                </a:lnTo>
                <a:lnTo>
                  <a:pt x="1918" y="1134"/>
                </a:lnTo>
                <a:lnTo>
                  <a:pt x="1918" y="1129"/>
                </a:lnTo>
                <a:lnTo>
                  <a:pt x="1916" y="1125"/>
                </a:lnTo>
                <a:lnTo>
                  <a:pt x="1915" y="1123"/>
                </a:lnTo>
                <a:lnTo>
                  <a:pt x="1914" y="1123"/>
                </a:lnTo>
                <a:lnTo>
                  <a:pt x="1914" y="1123"/>
                </a:lnTo>
                <a:lnTo>
                  <a:pt x="1913" y="1123"/>
                </a:lnTo>
                <a:lnTo>
                  <a:pt x="1912" y="1125"/>
                </a:lnTo>
                <a:lnTo>
                  <a:pt x="1910" y="1126"/>
                </a:lnTo>
                <a:lnTo>
                  <a:pt x="1907" y="1125"/>
                </a:lnTo>
                <a:lnTo>
                  <a:pt x="1906" y="1124"/>
                </a:lnTo>
                <a:lnTo>
                  <a:pt x="1906" y="1122"/>
                </a:lnTo>
                <a:lnTo>
                  <a:pt x="1906" y="1120"/>
                </a:lnTo>
                <a:lnTo>
                  <a:pt x="1907" y="1118"/>
                </a:lnTo>
                <a:lnTo>
                  <a:pt x="1910" y="1117"/>
                </a:lnTo>
                <a:lnTo>
                  <a:pt x="1914" y="1116"/>
                </a:lnTo>
                <a:lnTo>
                  <a:pt x="1917" y="1114"/>
                </a:lnTo>
                <a:lnTo>
                  <a:pt x="1919" y="1111"/>
                </a:lnTo>
                <a:lnTo>
                  <a:pt x="1921" y="1107"/>
                </a:lnTo>
                <a:lnTo>
                  <a:pt x="1921" y="1107"/>
                </a:lnTo>
                <a:lnTo>
                  <a:pt x="1921" y="1102"/>
                </a:lnTo>
                <a:lnTo>
                  <a:pt x="1920" y="1098"/>
                </a:lnTo>
                <a:lnTo>
                  <a:pt x="1926" y="1098"/>
                </a:lnTo>
                <a:lnTo>
                  <a:pt x="1929" y="1100"/>
                </a:lnTo>
                <a:lnTo>
                  <a:pt x="1931" y="1103"/>
                </a:lnTo>
                <a:lnTo>
                  <a:pt x="1931" y="1108"/>
                </a:lnTo>
                <a:lnTo>
                  <a:pt x="1930" y="1118"/>
                </a:lnTo>
                <a:lnTo>
                  <a:pt x="1929" y="1126"/>
                </a:lnTo>
                <a:lnTo>
                  <a:pt x="1928" y="1129"/>
                </a:lnTo>
                <a:lnTo>
                  <a:pt x="1927" y="1131"/>
                </a:lnTo>
                <a:lnTo>
                  <a:pt x="1926" y="1132"/>
                </a:lnTo>
                <a:lnTo>
                  <a:pt x="1925" y="1132"/>
                </a:lnTo>
                <a:lnTo>
                  <a:pt x="1923" y="1132"/>
                </a:lnTo>
                <a:lnTo>
                  <a:pt x="1921" y="1130"/>
                </a:lnTo>
                <a:close/>
                <a:moveTo>
                  <a:pt x="1923" y="1193"/>
                </a:moveTo>
                <a:lnTo>
                  <a:pt x="1922" y="1198"/>
                </a:lnTo>
                <a:lnTo>
                  <a:pt x="1920" y="1203"/>
                </a:lnTo>
                <a:lnTo>
                  <a:pt x="1920" y="1197"/>
                </a:lnTo>
                <a:lnTo>
                  <a:pt x="1922" y="1191"/>
                </a:lnTo>
                <a:lnTo>
                  <a:pt x="1925" y="1184"/>
                </a:lnTo>
                <a:lnTo>
                  <a:pt x="1927" y="1178"/>
                </a:lnTo>
                <a:lnTo>
                  <a:pt x="1926" y="1185"/>
                </a:lnTo>
                <a:lnTo>
                  <a:pt x="1923" y="1193"/>
                </a:lnTo>
                <a:close/>
                <a:moveTo>
                  <a:pt x="1913" y="1208"/>
                </a:moveTo>
                <a:lnTo>
                  <a:pt x="1914" y="1200"/>
                </a:lnTo>
                <a:lnTo>
                  <a:pt x="1915" y="1194"/>
                </a:lnTo>
                <a:lnTo>
                  <a:pt x="1917" y="1187"/>
                </a:lnTo>
                <a:lnTo>
                  <a:pt x="1920" y="1181"/>
                </a:lnTo>
                <a:lnTo>
                  <a:pt x="1920" y="1189"/>
                </a:lnTo>
                <a:lnTo>
                  <a:pt x="1918" y="1195"/>
                </a:lnTo>
                <a:lnTo>
                  <a:pt x="1916" y="1201"/>
                </a:lnTo>
                <a:lnTo>
                  <a:pt x="1913" y="1208"/>
                </a:lnTo>
                <a:close/>
                <a:moveTo>
                  <a:pt x="1912" y="1235"/>
                </a:moveTo>
                <a:lnTo>
                  <a:pt x="1912" y="1229"/>
                </a:lnTo>
                <a:lnTo>
                  <a:pt x="1913" y="1225"/>
                </a:lnTo>
                <a:lnTo>
                  <a:pt x="1915" y="1221"/>
                </a:lnTo>
                <a:lnTo>
                  <a:pt x="1917" y="1216"/>
                </a:lnTo>
                <a:lnTo>
                  <a:pt x="1916" y="1221"/>
                </a:lnTo>
                <a:lnTo>
                  <a:pt x="1915" y="1225"/>
                </a:lnTo>
                <a:lnTo>
                  <a:pt x="1914" y="1229"/>
                </a:lnTo>
                <a:lnTo>
                  <a:pt x="1912" y="1235"/>
                </a:lnTo>
                <a:close/>
                <a:moveTo>
                  <a:pt x="1910" y="1152"/>
                </a:moveTo>
                <a:lnTo>
                  <a:pt x="1907" y="1149"/>
                </a:lnTo>
                <a:lnTo>
                  <a:pt x="1904" y="1148"/>
                </a:lnTo>
                <a:lnTo>
                  <a:pt x="1901" y="1148"/>
                </a:lnTo>
                <a:lnTo>
                  <a:pt x="1897" y="1150"/>
                </a:lnTo>
                <a:lnTo>
                  <a:pt x="1900" y="1142"/>
                </a:lnTo>
                <a:lnTo>
                  <a:pt x="1903" y="1138"/>
                </a:lnTo>
                <a:lnTo>
                  <a:pt x="1904" y="1138"/>
                </a:lnTo>
                <a:lnTo>
                  <a:pt x="1905" y="1138"/>
                </a:lnTo>
                <a:lnTo>
                  <a:pt x="1907" y="1139"/>
                </a:lnTo>
                <a:lnTo>
                  <a:pt x="1910" y="1140"/>
                </a:lnTo>
                <a:lnTo>
                  <a:pt x="1910" y="1137"/>
                </a:lnTo>
                <a:lnTo>
                  <a:pt x="1911" y="1134"/>
                </a:lnTo>
                <a:lnTo>
                  <a:pt x="1912" y="1133"/>
                </a:lnTo>
                <a:lnTo>
                  <a:pt x="1913" y="1133"/>
                </a:lnTo>
                <a:lnTo>
                  <a:pt x="1915" y="1133"/>
                </a:lnTo>
                <a:lnTo>
                  <a:pt x="1917" y="1134"/>
                </a:lnTo>
                <a:lnTo>
                  <a:pt x="1918" y="1135"/>
                </a:lnTo>
                <a:lnTo>
                  <a:pt x="1918" y="1136"/>
                </a:lnTo>
                <a:lnTo>
                  <a:pt x="1921" y="1135"/>
                </a:lnTo>
                <a:lnTo>
                  <a:pt x="1922" y="1135"/>
                </a:lnTo>
                <a:lnTo>
                  <a:pt x="1923" y="1136"/>
                </a:lnTo>
                <a:lnTo>
                  <a:pt x="1923" y="1137"/>
                </a:lnTo>
                <a:lnTo>
                  <a:pt x="1922" y="1139"/>
                </a:lnTo>
                <a:lnTo>
                  <a:pt x="1922" y="1141"/>
                </a:lnTo>
                <a:lnTo>
                  <a:pt x="1925" y="1144"/>
                </a:lnTo>
                <a:lnTo>
                  <a:pt x="1926" y="1146"/>
                </a:lnTo>
                <a:lnTo>
                  <a:pt x="1925" y="1144"/>
                </a:lnTo>
                <a:lnTo>
                  <a:pt x="1922" y="1141"/>
                </a:lnTo>
                <a:lnTo>
                  <a:pt x="1921" y="1147"/>
                </a:lnTo>
                <a:lnTo>
                  <a:pt x="1918" y="1152"/>
                </a:lnTo>
                <a:lnTo>
                  <a:pt x="1916" y="1154"/>
                </a:lnTo>
                <a:lnTo>
                  <a:pt x="1914" y="1157"/>
                </a:lnTo>
                <a:lnTo>
                  <a:pt x="1912" y="1155"/>
                </a:lnTo>
                <a:lnTo>
                  <a:pt x="1910" y="1152"/>
                </a:lnTo>
                <a:close/>
                <a:moveTo>
                  <a:pt x="1914" y="981"/>
                </a:moveTo>
                <a:lnTo>
                  <a:pt x="1917" y="979"/>
                </a:lnTo>
                <a:lnTo>
                  <a:pt x="1919" y="978"/>
                </a:lnTo>
                <a:lnTo>
                  <a:pt x="1922" y="977"/>
                </a:lnTo>
                <a:lnTo>
                  <a:pt x="1926" y="977"/>
                </a:lnTo>
                <a:lnTo>
                  <a:pt x="1920" y="980"/>
                </a:lnTo>
                <a:lnTo>
                  <a:pt x="1914" y="981"/>
                </a:lnTo>
                <a:close/>
                <a:moveTo>
                  <a:pt x="1920" y="949"/>
                </a:moveTo>
                <a:lnTo>
                  <a:pt x="1925" y="954"/>
                </a:lnTo>
                <a:lnTo>
                  <a:pt x="1926" y="958"/>
                </a:lnTo>
                <a:lnTo>
                  <a:pt x="1926" y="961"/>
                </a:lnTo>
                <a:lnTo>
                  <a:pt x="1925" y="962"/>
                </a:lnTo>
                <a:lnTo>
                  <a:pt x="1922" y="964"/>
                </a:lnTo>
                <a:lnTo>
                  <a:pt x="1920" y="965"/>
                </a:lnTo>
                <a:lnTo>
                  <a:pt x="1920" y="956"/>
                </a:lnTo>
                <a:lnTo>
                  <a:pt x="1920" y="949"/>
                </a:lnTo>
                <a:close/>
                <a:moveTo>
                  <a:pt x="1930" y="940"/>
                </a:moveTo>
                <a:lnTo>
                  <a:pt x="1931" y="940"/>
                </a:lnTo>
                <a:lnTo>
                  <a:pt x="1933" y="940"/>
                </a:lnTo>
                <a:lnTo>
                  <a:pt x="1935" y="941"/>
                </a:lnTo>
                <a:lnTo>
                  <a:pt x="1935" y="943"/>
                </a:lnTo>
                <a:lnTo>
                  <a:pt x="1935" y="946"/>
                </a:lnTo>
                <a:lnTo>
                  <a:pt x="1934" y="948"/>
                </a:lnTo>
                <a:lnTo>
                  <a:pt x="1933" y="950"/>
                </a:lnTo>
                <a:lnTo>
                  <a:pt x="1931" y="950"/>
                </a:lnTo>
                <a:lnTo>
                  <a:pt x="1928" y="950"/>
                </a:lnTo>
                <a:lnTo>
                  <a:pt x="1927" y="948"/>
                </a:lnTo>
                <a:lnTo>
                  <a:pt x="1927" y="946"/>
                </a:lnTo>
                <a:lnTo>
                  <a:pt x="1926" y="942"/>
                </a:lnTo>
                <a:lnTo>
                  <a:pt x="1926" y="941"/>
                </a:lnTo>
                <a:lnTo>
                  <a:pt x="1927" y="940"/>
                </a:lnTo>
                <a:lnTo>
                  <a:pt x="1928" y="939"/>
                </a:lnTo>
                <a:lnTo>
                  <a:pt x="1930" y="940"/>
                </a:lnTo>
                <a:close/>
                <a:moveTo>
                  <a:pt x="1932" y="886"/>
                </a:moveTo>
                <a:lnTo>
                  <a:pt x="1932" y="886"/>
                </a:lnTo>
                <a:lnTo>
                  <a:pt x="1935" y="889"/>
                </a:lnTo>
                <a:lnTo>
                  <a:pt x="1937" y="892"/>
                </a:lnTo>
                <a:lnTo>
                  <a:pt x="1937" y="896"/>
                </a:lnTo>
                <a:lnTo>
                  <a:pt x="1937" y="901"/>
                </a:lnTo>
                <a:lnTo>
                  <a:pt x="1935" y="906"/>
                </a:lnTo>
                <a:lnTo>
                  <a:pt x="1932" y="910"/>
                </a:lnTo>
                <a:lnTo>
                  <a:pt x="1930" y="916"/>
                </a:lnTo>
                <a:lnTo>
                  <a:pt x="1926" y="920"/>
                </a:lnTo>
                <a:lnTo>
                  <a:pt x="1928" y="911"/>
                </a:lnTo>
                <a:lnTo>
                  <a:pt x="1929" y="903"/>
                </a:lnTo>
                <a:lnTo>
                  <a:pt x="1930" y="894"/>
                </a:lnTo>
                <a:lnTo>
                  <a:pt x="1932" y="886"/>
                </a:lnTo>
                <a:close/>
                <a:moveTo>
                  <a:pt x="1937" y="874"/>
                </a:moveTo>
                <a:lnTo>
                  <a:pt x="1936" y="874"/>
                </a:lnTo>
                <a:lnTo>
                  <a:pt x="1934" y="874"/>
                </a:lnTo>
                <a:lnTo>
                  <a:pt x="1934" y="875"/>
                </a:lnTo>
                <a:lnTo>
                  <a:pt x="1933" y="877"/>
                </a:lnTo>
                <a:lnTo>
                  <a:pt x="1934" y="875"/>
                </a:lnTo>
                <a:lnTo>
                  <a:pt x="1934" y="874"/>
                </a:lnTo>
                <a:lnTo>
                  <a:pt x="1936" y="874"/>
                </a:lnTo>
                <a:lnTo>
                  <a:pt x="1937" y="874"/>
                </a:lnTo>
                <a:close/>
                <a:moveTo>
                  <a:pt x="1942" y="827"/>
                </a:moveTo>
                <a:lnTo>
                  <a:pt x="1943" y="825"/>
                </a:lnTo>
                <a:lnTo>
                  <a:pt x="1944" y="826"/>
                </a:lnTo>
                <a:lnTo>
                  <a:pt x="1946" y="826"/>
                </a:lnTo>
                <a:lnTo>
                  <a:pt x="1947" y="826"/>
                </a:lnTo>
                <a:lnTo>
                  <a:pt x="1946" y="826"/>
                </a:lnTo>
                <a:lnTo>
                  <a:pt x="1944" y="826"/>
                </a:lnTo>
                <a:lnTo>
                  <a:pt x="1944" y="828"/>
                </a:lnTo>
                <a:lnTo>
                  <a:pt x="1945" y="830"/>
                </a:lnTo>
                <a:lnTo>
                  <a:pt x="1946" y="834"/>
                </a:lnTo>
                <a:lnTo>
                  <a:pt x="1947" y="838"/>
                </a:lnTo>
                <a:lnTo>
                  <a:pt x="1947" y="842"/>
                </a:lnTo>
                <a:lnTo>
                  <a:pt x="1946" y="845"/>
                </a:lnTo>
                <a:lnTo>
                  <a:pt x="1942" y="851"/>
                </a:lnTo>
                <a:lnTo>
                  <a:pt x="1936" y="858"/>
                </a:lnTo>
                <a:lnTo>
                  <a:pt x="1940" y="843"/>
                </a:lnTo>
                <a:lnTo>
                  <a:pt x="1942" y="827"/>
                </a:lnTo>
                <a:close/>
                <a:moveTo>
                  <a:pt x="1946" y="800"/>
                </a:moveTo>
                <a:lnTo>
                  <a:pt x="1947" y="786"/>
                </a:lnTo>
                <a:lnTo>
                  <a:pt x="1949" y="773"/>
                </a:lnTo>
                <a:lnTo>
                  <a:pt x="1949" y="771"/>
                </a:lnTo>
                <a:lnTo>
                  <a:pt x="1949" y="770"/>
                </a:lnTo>
                <a:lnTo>
                  <a:pt x="1949" y="771"/>
                </a:lnTo>
                <a:lnTo>
                  <a:pt x="1949" y="773"/>
                </a:lnTo>
                <a:lnTo>
                  <a:pt x="1949" y="770"/>
                </a:lnTo>
                <a:lnTo>
                  <a:pt x="1950" y="768"/>
                </a:lnTo>
                <a:lnTo>
                  <a:pt x="1950" y="768"/>
                </a:lnTo>
                <a:lnTo>
                  <a:pt x="1950" y="768"/>
                </a:lnTo>
                <a:lnTo>
                  <a:pt x="1953" y="772"/>
                </a:lnTo>
                <a:lnTo>
                  <a:pt x="1956" y="777"/>
                </a:lnTo>
                <a:lnTo>
                  <a:pt x="1956" y="782"/>
                </a:lnTo>
                <a:lnTo>
                  <a:pt x="1953" y="786"/>
                </a:lnTo>
                <a:lnTo>
                  <a:pt x="1950" y="794"/>
                </a:lnTo>
                <a:lnTo>
                  <a:pt x="1946" y="800"/>
                </a:lnTo>
                <a:lnTo>
                  <a:pt x="1945" y="802"/>
                </a:lnTo>
                <a:lnTo>
                  <a:pt x="1944" y="804"/>
                </a:lnTo>
                <a:lnTo>
                  <a:pt x="1945" y="802"/>
                </a:lnTo>
                <a:lnTo>
                  <a:pt x="1946" y="800"/>
                </a:lnTo>
                <a:close/>
                <a:moveTo>
                  <a:pt x="1950" y="763"/>
                </a:moveTo>
                <a:lnTo>
                  <a:pt x="1951" y="761"/>
                </a:lnTo>
                <a:lnTo>
                  <a:pt x="1951" y="757"/>
                </a:lnTo>
                <a:lnTo>
                  <a:pt x="1951" y="761"/>
                </a:lnTo>
                <a:lnTo>
                  <a:pt x="1950" y="763"/>
                </a:lnTo>
                <a:lnTo>
                  <a:pt x="1948" y="765"/>
                </a:lnTo>
                <a:lnTo>
                  <a:pt x="1948" y="766"/>
                </a:lnTo>
                <a:lnTo>
                  <a:pt x="1948" y="765"/>
                </a:lnTo>
                <a:lnTo>
                  <a:pt x="1950" y="763"/>
                </a:lnTo>
                <a:close/>
                <a:moveTo>
                  <a:pt x="1964" y="758"/>
                </a:moveTo>
                <a:lnTo>
                  <a:pt x="1961" y="758"/>
                </a:lnTo>
                <a:lnTo>
                  <a:pt x="1958" y="756"/>
                </a:lnTo>
                <a:lnTo>
                  <a:pt x="1960" y="754"/>
                </a:lnTo>
                <a:lnTo>
                  <a:pt x="1962" y="751"/>
                </a:lnTo>
                <a:lnTo>
                  <a:pt x="1962" y="749"/>
                </a:lnTo>
                <a:lnTo>
                  <a:pt x="1964" y="747"/>
                </a:lnTo>
                <a:lnTo>
                  <a:pt x="1966" y="746"/>
                </a:lnTo>
                <a:lnTo>
                  <a:pt x="1968" y="746"/>
                </a:lnTo>
                <a:lnTo>
                  <a:pt x="1971" y="748"/>
                </a:lnTo>
                <a:lnTo>
                  <a:pt x="1971" y="750"/>
                </a:lnTo>
                <a:lnTo>
                  <a:pt x="1970" y="752"/>
                </a:lnTo>
                <a:lnTo>
                  <a:pt x="1968" y="754"/>
                </a:lnTo>
                <a:lnTo>
                  <a:pt x="1966" y="756"/>
                </a:lnTo>
                <a:lnTo>
                  <a:pt x="1964" y="758"/>
                </a:lnTo>
                <a:lnTo>
                  <a:pt x="1958" y="761"/>
                </a:lnTo>
                <a:lnTo>
                  <a:pt x="1950" y="763"/>
                </a:lnTo>
                <a:lnTo>
                  <a:pt x="1958" y="761"/>
                </a:lnTo>
                <a:lnTo>
                  <a:pt x="1964" y="758"/>
                </a:lnTo>
                <a:close/>
                <a:moveTo>
                  <a:pt x="1956" y="716"/>
                </a:moveTo>
                <a:lnTo>
                  <a:pt x="1957" y="716"/>
                </a:lnTo>
                <a:lnTo>
                  <a:pt x="1957" y="716"/>
                </a:lnTo>
                <a:lnTo>
                  <a:pt x="1956" y="716"/>
                </a:lnTo>
                <a:lnTo>
                  <a:pt x="1957" y="712"/>
                </a:lnTo>
                <a:lnTo>
                  <a:pt x="1957" y="709"/>
                </a:lnTo>
                <a:lnTo>
                  <a:pt x="1960" y="713"/>
                </a:lnTo>
                <a:lnTo>
                  <a:pt x="1961" y="718"/>
                </a:lnTo>
                <a:lnTo>
                  <a:pt x="1962" y="721"/>
                </a:lnTo>
                <a:lnTo>
                  <a:pt x="1962" y="725"/>
                </a:lnTo>
                <a:lnTo>
                  <a:pt x="1962" y="728"/>
                </a:lnTo>
                <a:lnTo>
                  <a:pt x="1960" y="732"/>
                </a:lnTo>
                <a:lnTo>
                  <a:pt x="1958" y="736"/>
                </a:lnTo>
                <a:lnTo>
                  <a:pt x="1953" y="740"/>
                </a:lnTo>
                <a:lnTo>
                  <a:pt x="1955" y="728"/>
                </a:lnTo>
                <a:lnTo>
                  <a:pt x="1956" y="716"/>
                </a:lnTo>
                <a:close/>
                <a:moveTo>
                  <a:pt x="1970" y="703"/>
                </a:moveTo>
                <a:lnTo>
                  <a:pt x="1970" y="702"/>
                </a:lnTo>
                <a:lnTo>
                  <a:pt x="1970" y="701"/>
                </a:lnTo>
                <a:lnTo>
                  <a:pt x="1967" y="701"/>
                </a:lnTo>
                <a:lnTo>
                  <a:pt x="1965" y="701"/>
                </a:lnTo>
                <a:lnTo>
                  <a:pt x="1964" y="700"/>
                </a:lnTo>
                <a:lnTo>
                  <a:pt x="1964" y="697"/>
                </a:lnTo>
                <a:lnTo>
                  <a:pt x="1966" y="696"/>
                </a:lnTo>
                <a:lnTo>
                  <a:pt x="1967" y="695"/>
                </a:lnTo>
                <a:lnTo>
                  <a:pt x="1968" y="693"/>
                </a:lnTo>
                <a:lnTo>
                  <a:pt x="1971" y="691"/>
                </a:lnTo>
                <a:lnTo>
                  <a:pt x="1973" y="689"/>
                </a:lnTo>
                <a:lnTo>
                  <a:pt x="1976" y="689"/>
                </a:lnTo>
                <a:lnTo>
                  <a:pt x="1977" y="690"/>
                </a:lnTo>
                <a:lnTo>
                  <a:pt x="1977" y="692"/>
                </a:lnTo>
                <a:lnTo>
                  <a:pt x="1976" y="693"/>
                </a:lnTo>
                <a:lnTo>
                  <a:pt x="1976" y="694"/>
                </a:lnTo>
                <a:lnTo>
                  <a:pt x="1973" y="698"/>
                </a:lnTo>
                <a:lnTo>
                  <a:pt x="1970" y="701"/>
                </a:lnTo>
                <a:lnTo>
                  <a:pt x="1970" y="702"/>
                </a:lnTo>
                <a:lnTo>
                  <a:pt x="1970" y="703"/>
                </a:lnTo>
                <a:lnTo>
                  <a:pt x="1970" y="706"/>
                </a:lnTo>
                <a:lnTo>
                  <a:pt x="1970" y="708"/>
                </a:lnTo>
                <a:lnTo>
                  <a:pt x="1968" y="710"/>
                </a:lnTo>
                <a:lnTo>
                  <a:pt x="1967" y="711"/>
                </a:lnTo>
                <a:lnTo>
                  <a:pt x="1964" y="709"/>
                </a:lnTo>
                <a:lnTo>
                  <a:pt x="1961" y="706"/>
                </a:lnTo>
                <a:lnTo>
                  <a:pt x="1965" y="704"/>
                </a:lnTo>
                <a:lnTo>
                  <a:pt x="1970" y="703"/>
                </a:lnTo>
                <a:close/>
                <a:moveTo>
                  <a:pt x="1972" y="670"/>
                </a:moveTo>
                <a:lnTo>
                  <a:pt x="1974" y="673"/>
                </a:lnTo>
                <a:lnTo>
                  <a:pt x="1975" y="676"/>
                </a:lnTo>
                <a:lnTo>
                  <a:pt x="1976" y="678"/>
                </a:lnTo>
                <a:lnTo>
                  <a:pt x="1975" y="680"/>
                </a:lnTo>
                <a:lnTo>
                  <a:pt x="1974" y="682"/>
                </a:lnTo>
                <a:lnTo>
                  <a:pt x="1971" y="686"/>
                </a:lnTo>
                <a:lnTo>
                  <a:pt x="1967" y="688"/>
                </a:lnTo>
                <a:lnTo>
                  <a:pt x="1962" y="690"/>
                </a:lnTo>
                <a:lnTo>
                  <a:pt x="1967" y="679"/>
                </a:lnTo>
                <a:lnTo>
                  <a:pt x="1972" y="670"/>
                </a:lnTo>
                <a:close/>
                <a:moveTo>
                  <a:pt x="1966" y="632"/>
                </a:moveTo>
                <a:lnTo>
                  <a:pt x="1965" y="633"/>
                </a:lnTo>
                <a:lnTo>
                  <a:pt x="1965" y="633"/>
                </a:lnTo>
                <a:lnTo>
                  <a:pt x="1965" y="633"/>
                </a:lnTo>
                <a:lnTo>
                  <a:pt x="1966" y="632"/>
                </a:lnTo>
                <a:lnTo>
                  <a:pt x="1966" y="625"/>
                </a:lnTo>
                <a:lnTo>
                  <a:pt x="1966" y="616"/>
                </a:lnTo>
                <a:lnTo>
                  <a:pt x="1967" y="609"/>
                </a:lnTo>
                <a:lnTo>
                  <a:pt x="1967" y="600"/>
                </a:lnTo>
                <a:lnTo>
                  <a:pt x="1967" y="599"/>
                </a:lnTo>
                <a:lnTo>
                  <a:pt x="1967" y="597"/>
                </a:lnTo>
                <a:lnTo>
                  <a:pt x="1967" y="599"/>
                </a:lnTo>
                <a:lnTo>
                  <a:pt x="1967" y="600"/>
                </a:lnTo>
                <a:lnTo>
                  <a:pt x="1972" y="605"/>
                </a:lnTo>
                <a:lnTo>
                  <a:pt x="1974" y="610"/>
                </a:lnTo>
                <a:lnTo>
                  <a:pt x="1974" y="615"/>
                </a:lnTo>
                <a:lnTo>
                  <a:pt x="1972" y="620"/>
                </a:lnTo>
                <a:lnTo>
                  <a:pt x="1968" y="627"/>
                </a:lnTo>
                <a:lnTo>
                  <a:pt x="1966" y="632"/>
                </a:lnTo>
                <a:close/>
                <a:moveTo>
                  <a:pt x="1971" y="590"/>
                </a:moveTo>
                <a:lnTo>
                  <a:pt x="1970" y="590"/>
                </a:lnTo>
                <a:lnTo>
                  <a:pt x="1968" y="591"/>
                </a:lnTo>
                <a:lnTo>
                  <a:pt x="1970" y="590"/>
                </a:lnTo>
                <a:lnTo>
                  <a:pt x="1971" y="590"/>
                </a:lnTo>
                <a:close/>
                <a:moveTo>
                  <a:pt x="1970" y="550"/>
                </a:moveTo>
                <a:lnTo>
                  <a:pt x="1973" y="553"/>
                </a:lnTo>
                <a:lnTo>
                  <a:pt x="1976" y="555"/>
                </a:lnTo>
                <a:lnTo>
                  <a:pt x="1977" y="558"/>
                </a:lnTo>
                <a:lnTo>
                  <a:pt x="1977" y="561"/>
                </a:lnTo>
                <a:lnTo>
                  <a:pt x="1976" y="566"/>
                </a:lnTo>
                <a:lnTo>
                  <a:pt x="1975" y="570"/>
                </a:lnTo>
                <a:lnTo>
                  <a:pt x="1972" y="574"/>
                </a:lnTo>
                <a:lnTo>
                  <a:pt x="1968" y="581"/>
                </a:lnTo>
                <a:lnTo>
                  <a:pt x="1970" y="565"/>
                </a:lnTo>
                <a:lnTo>
                  <a:pt x="1970" y="550"/>
                </a:lnTo>
                <a:close/>
                <a:moveTo>
                  <a:pt x="1975" y="503"/>
                </a:moveTo>
                <a:lnTo>
                  <a:pt x="1978" y="506"/>
                </a:lnTo>
                <a:lnTo>
                  <a:pt x="1979" y="510"/>
                </a:lnTo>
                <a:lnTo>
                  <a:pt x="1979" y="513"/>
                </a:lnTo>
                <a:lnTo>
                  <a:pt x="1979" y="517"/>
                </a:lnTo>
                <a:lnTo>
                  <a:pt x="1976" y="522"/>
                </a:lnTo>
                <a:lnTo>
                  <a:pt x="1974" y="528"/>
                </a:lnTo>
                <a:lnTo>
                  <a:pt x="1974" y="515"/>
                </a:lnTo>
                <a:lnTo>
                  <a:pt x="1975" y="503"/>
                </a:lnTo>
                <a:close/>
                <a:moveTo>
                  <a:pt x="1978" y="459"/>
                </a:moveTo>
                <a:lnTo>
                  <a:pt x="1981" y="462"/>
                </a:lnTo>
                <a:lnTo>
                  <a:pt x="1982" y="464"/>
                </a:lnTo>
                <a:lnTo>
                  <a:pt x="1982" y="467"/>
                </a:lnTo>
                <a:lnTo>
                  <a:pt x="1981" y="469"/>
                </a:lnTo>
                <a:lnTo>
                  <a:pt x="1979" y="475"/>
                </a:lnTo>
                <a:lnTo>
                  <a:pt x="1977" y="480"/>
                </a:lnTo>
                <a:lnTo>
                  <a:pt x="1977" y="469"/>
                </a:lnTo>
                <a:lnTo>
                  <a:pt x="1978" y="459"/>
                </a:lnTo>
                <a:close/>
                <a:moveTo>
                  <a:pt x="1988" y="473"/>
                </a:moveTo>
                <a:lnTo>
                  <a:pt x="1989" y="474"/>
                </a:lnTo>
                <a:lnTo>
                  <a:pt x="1990" y="475"/>
                </a:lnTo>
                <a:lnTo>
                  <a:pt x="1990" y="477"/>
                </a:lnTo>
                <a:lnTo>
                  <a:pt x="1988" y="478"/>
                </a:lnTo>
                <a:lnTo>
                  <a:pt x="1985" y="482"/>
                </a:lnTo>
                <a:lnTo>
                  <a:pt x="1980" y="484"/>
                </a:lnTo>
                <a:lnTo>
                  <a:pt x="1981" y="479"/>
                </a:lnTo>
                <a:lnTo>
                  <a:pt x="1983" y="475"/>
                </a:lnTo>
                <a:lnTo>
                  <a:pt x="1985" y="474"/>
                </a:lnTo>
                <a:lnTo>
                  <a:pt x="1985" y="473"/>
                </a:lnTo>
                <a:lnTo>
                  <a:pt x="1986" y="472"/>
                </a:lnTo>
                <a:lnTo>
                  <a:pt x="1988" y="473"/>
                </a:lnTo>
                <a:close/>
                <a:moveTo>
                  <a:pt x="1986" y="437"/>
                </a:moveTo>
                <a:lnTo>
                  <a:pt x="1987" y="433"/>
                </a:lnTo>
                <a:lnTo>
                  <a:pt x="1989" y="429"/>
                </a:lnTo>
                <a:lnTo>
                  <a:pt x="1991" y="432"/>
                </a:lnTo>
                <a:lnTo>
                  <a:pt x="1991" y="434"/>
                </a:lnTo>
                <a:lnTo>
                  <a:pt x="1990" y="435"/>
                </a:lnTo>
                <a:lnTo>
                  <a:pt x="1986" y="437"/>
                </a:lnTo>
                <a:lnTo>
                  <a:pt x="1985" y="438"/>
                </a:lnTo>
                <a:lnTo>
                  <a:pt x="1985" y="440"/>
                </a:lnTo>
                <a:lnTo>
                  <a:pt x="1985" y="440"/>
                </a:lnTo>
                <a:lnTo>
                  <a:pt x="1983" y="440"/>
                </a:lnTo>
                <a:lnTo>
                  <a:pt x="1985" y="438"/>
                </a:lnTo>
                <a:lnTo>
                  <a:pt x="1986" y="437"/>
                </a:lnTo>
                <a:close/>
                <a:moveTo>
                  <a:pt x="1985" y="391"/>
                </a:moveTo>
                <a:lnTo>
                  <a:pt x="1985" y="384"/>
                </a:lnTo>
                <a:lnTo>
                  <a:pt x="1985" y="377"/>
                </a:lnTo>
                <a:lnTo>
                  <a:pt x="1987" y="381"/>
                </a:lnTo>
                <a:lnTo>
                  <a:pt x="1988" y="384"/>
                </a:lnTo>
                <a:lnTo>
                  <a:pt x="1987" y="387"/>
                </a:lnTo>
                <a:lnTo>
                  <a:pt x="1985" y="391"/>
                </a:lnTo>
                <a:close/>
                <a:moveTo>
                  <a:pt x="1987" y="340"/>
                </a:moveTo>
                <a:lnTo>
                  <a:pt x="1989" y="345"/>
                </a:lnTo>
                <a:lnTo>
                  <a:pt x="1989" y="349"/>
                </a:lnTo>
                <a:lnTo>
                  <a:pt x="1987" y="353"/>
                </a:lnTo>
                <a:lnTo>
                  <a:pt x="1985" y="356"/>
                </a:lnTo>
                <a:lnTo>
                  <a:pt x="1986" y="349"/>
                </a:lnTo>
                <a:lnTo>
                  <a:pt x="1987" y="340"/>
                </a:lnTo>
                <a:close/>
                <a:moveTo>
                  <a:pt x="1989" y="408"/>
                </a:moveTo>
                <a:lnTo>
                  <a:pt x="1989" y="408"/>
                </a:lnTo>
                <a:lnTo>
                  <a:pt x="1988" y="407"/>
                </a:lnTo>
                <a:lnTo>
                  <a:pt x="1989" y="408"/>
                </a:lnTo>
                <a:lnTo>
                  <a:pt x="1989" y="408"/>
                </a:lnTo>
                <a:close/>
                <a:moveTo>
                  <a:pt x="1987" y="405"/>
                </a:moveTo>
                <a:lnTo>
                  <a:pt x="1987" y="405"/>
                </a:lnTo>
                <a:lnTo>
                  <a:pt x="1987" y="406"/>
                </a:lnTo>
                <a:lnTo>
                  <a:pt x="1987" y="405"/>
                </a:lnTo>
                <a:lnTo>
                  <a:pt x="1987" y="405"/>
                </a:lnTo>
                <a:lnTo>
                  <a:pt x="1987" y="405"/>
                </a:lnTo>
                <a:lnTo>
                  <a:pt x="1989" y="404"/>
                </a:lnTo>
                <a:lnTo>
                  <a:pt x="1990" y="404"/>
                </a:lnTo>
                <a:lnTo>
                  <a:pt x="1989" y="404"/>
                </a:lnTo>
                <a:lnTo>
                  <a:pt x="1987" y="405"/>
                </a:lnTo>
                <a:close/>
                <a:moveTo>
                  <a:pt x="1993" y="454"/>
                </a:moveTo>
                <a:lnTo>
                  <a:pt x="1995" y="458"/>
                </a:lnTo>
                <a:lnTo>
                  <a:pt x="1995" y="461"/>
                </a:lnTo>
                <a:lnTo>
                  <a:pt x="1995" y="464"/>
                </a:lnTo>
                <a:lnTo>
                  <a:pt x="1994" y="467"/>
                </a:lnTo>
                <a:lnTo>
                  <a:pt x="1992" y="465"/>
                </a:lnTo>
                <a:lnTo>
                  <a:pt x="1990" y="463"/>
                </a:lnTo>
                <a:lnTo>
                  <a:pt x="1990" y="460"/>
                </a:lnTo>
                <a:lnTo>
                  <a:pt x="1991" y="457"/>
                </a:lnTo>
                <a:lnTo>
                  <a:pt x="1992" y="456"/>
                </a:lnTo>
                <a:lnTo>
                  <a:pt x="1993" y="454"/>
                </a:lnTo>
                <a:close/>
                <a:moveTo>
                  <a:pt x="2006" y="574"/>
                </a:moveTo>
                <a:lnTo>
                  <a:pt x="2007" y="575"/>
                </a:lnTo>
                <a:lnTo>
                  <a:pt x="2007" y="576"/>
                </a:lnTo>
                <a:lnTo>
                  <a:pt x="2007" y="578"/>
                </a:lnTo>
                <a:lnTo>
                  <a:pt x="2007" y="579"/>
                </a:lnTo>
                <a:lnTo>
                  <a:pt x="2005" y="582"/>
                </a:lnTo>
                <a:lnTo>
                  <a:pt x="2004" y="583"/>
                </a:lnTo>
                <a:lnTo>
                  <a:pt x="2003" y="583"/>
                </a:lnTo>
                <a:lnTo>
                  <a:pt x="2002" y="583"/>
                </a:lnTo>
                <a:lnTo>
                  <a:pt x="1999" y="581"/>
                </a:lnTo>
                <a:lnTo>
                  <a:pt x="1997" y="576"/>
                </a:lnTo>
                <a:lnTo>
                  <a:pt x="2002" y="575"/>
                </a:lnTo>
                <a:lnTo>
                  <a:pt x="2006" y="574"/>
                </a:lnTo>
                <a:close/>
                <a:moveTo>
                  <a:pt x="2001" y="554"/>
                </a:moveTo>
                <a:lnTo>
                  <a:pt x="2001" y="555"/>
                </a:lnTo>
                <a:lnTo>
                  <a:pt x="1999" y="556"/>
                </a:lnTo>
                <a:lnTo>
                  <a:pt x="1999" y="556"/>
                </a:lnTo>
                <a:lnTo>
                  <a:pt x="2001" y="555"/>
                </a:lnTo>
                <a:lnTo>
                  <a:pt x="2001" y="554"/>
                </a:lnTo>
                <a:close/>
                <a:moveTo>
                  <a:pt x="2004" y="426"/>
                </a:moveTo>
                <a:lnTo>
                  <a:pt x="2004" y="426"/>
                </a:lnTo>
                <a:lnTo>
                  <a:pt x="2004" y="426"/>
                </a:lnTo>
                <a:lnTo>
                  <a:pt x="2004" y="426"/>
                </a:lnTo>
                <a:lnTo>
                  <a:pt x="2004" y="426"/>
                </a:lnTo>
                <a:close/>
                <a:moveTo>
                  <a:pt x="2007" y="421"/>
                </a:moveTo>
                <a:lnTo>
                  <a:pt x="2007" y="421"/>
                </a:lnTo>
                <a:lnTo>
                  <a:pt x="2006" y="422"/>
                </a:lnTo>
                <a:lnTo>
                  <a:pt x="2007" y="421"/>
                </a:lnTo>
                <a:lnTo>
                  <a:pt x="2007" y="421"/>
                </a:lnTo>
                <a:close/>
                <a:moveTo>
                  <a:pt x="2007" y="420"/>
                </a:moveTo>
                <a:lnTo>
                  <a:pt x="2007" y="419"/>
                </a:lnTo>
                <a:lnTo>
                  <a:pt x="2007" y="418"/>
                </a:lnTo>
                <a:lnTo>
                  <a:pt x="2007" y="419"/>
                </a:lnTo>
                <a:lnTo>
                  <a:pt x="2007" y="420"/>
                </a:lnTo>
                <a:close/>
                <a:moveTo>
                  <a:pt x="2008" y="771"/>
                </a:moveTo>
                <a:lnTo>
                  <a:pt x="2008" y="771"/>
                </a:lnTo>
                <a:lnTo>
                  <a:pt x="2008" y="770"/>
                </a:lnTo>
                <a:lnTo>
                  <a:pt x="2008" y="771"/>
                </a:lnTo>
                <a:lnTo>
                  <a:pt x="2008" y="771"/>
                </a:lnTo>
                <a:close/>
                <a:moveTo>
                  <a:pt x="2010" y="425"/>
                </a:moveTo>
                <a:lnTo>
                  <a:pt x="2009" y="425"/>
                </a:lnTo>
                <a:lnTo>
                  <a:pt x="2009" y="425"/>
                </a:lnTo>
                <a:lnTo>
                  <a:pt x="2009" y="425"/>
                </a:lnTo>
                <a:lnTo>
                  <a:pt x="2010" y="425"/>
                </a:lnTo>
                <a:close/>
                <a:moveTo>
                  <a:pt x="2011" y="427"/>
                </a:moveTo>
                <a:lnTo>
                  <a:pt x="2011" y="426"/>
                </a:lnTo>
                <a:lnTo>
                  <a:pt x="2010" y="426"/>
                </a:lnTo>
                <a:lnTo>
                  <a:pt x="2011" y="426"/>
                </a:lnTo>
                <a:lnTo>
                  <a:pt x="2011" y="427"/>
                </a:lnTo>
                <a:close/>
                <a:moveTo>
                  <a:pt x="2011" y="311"/>
                </a:moveTo>
                <a:lnTo>
                  <a:pt x="2011" y="311"/>
                </a:lnTo>
                <a:lnTo>
                  <a:pt x="2011" y="311"/>
                </a:lnTo>
                <a:lnTo>
                  <a:pt x="2011" y="311"/>
                </a:lnTo>
                <a:lnTo>
                  <a:pt x="2011" y="311"/>
                </a:lnTo>
                <a:close/>
                <a:moveTo>
                  <a:pt x="2013" y="677"/>
                </a:moveTo>
                <a:lnTo>
                  <a:pt x="2014" y="685"/>
                </a:lnTo>
                <a:lnTo>
                  <a:pt x="2014" y="692"/>
                </a:lnTo>
                <a:lnTo>
                  <a:pt x="2013" y="700"/>
                </a:lnTo>
                <a:lnTo>
                  <a:pt x="2013" y="707"/>
                </a:lnTo>
                <a:lnTo>
                  <a:pt x="2012" y="700"/>
                </a:lnTo>
                <a:lnTo>
                  <a:pt x="2012" y="692"/>
                </a:lnTo>
                <a:lnTo>
                  <a:pt x="2011" y="685"/>
                </a:lnTo>
                <a:lnTo>
                  <a:pt x="2013" y="677"/>
                </a:lnTo>
                <a:close/>
                <a:moveTo>
                  <a:pt x="2013" y="744"/>
                </a:moveTo>
                <a:lnTo>
                  <a:pt x="2013" y="736"/>
                </a:lnTo>
                <a:lnTo>
                  <a:pt x="2013" y="727"/>
                </a:lnTo>
                <a:lnTo>
                  <a:pt x="2013" y="727"/>
                </a:lnTo>
                <a:lnTo>
                  <a:pt x="2013" y="727"/>
                </a:lnTo>
                <a:lnTo>
                  <a:pt x="2013" y="736"/>
                </a:lnTo>
                <a:lnTo>
                  <a:pt x="2013" y="744"/>
                </a:lnTo>
                <a:lnTo>
                  <a:pt x="2013" y="744"/>
                </a:lnTo>
                <a:lnTo>
                  <a:pt x="2013" y="744"/>
                </a:lnTo>
                <a:close/>
                <a:moveTo>
                  <a:pt x="2011" y="807"/>
                </a:moveTo>
                <a:lnTo>
                  <a:pt x="2011" y="808"/>
                </a:lnTo>
                <a:lnTo>
                  <a:pt x="2011" y="808"/>
                </a:lnTo>
                <a:lnTo>
                  <a:pt x="2010" y="809"/>
                </a:lnTo>
                <a:lnTo>
                  <a:pt x="2010" y="809"/>
                </a:lnTo>
                <a:lnTo>
                  <a:pt x="2008" y="805"/>
                </a:lnTo>
                <a:lnTo>
                  <a:pt x="2006" y="803"/>
                </a:lnTo>
                <a:lnTo>
                  <a:pt x="2005" y="803"/>
                </a:lnTo>
                <a:lnTo>
                  <a:pt x="2005" y="803"/>
                </a:lnTo>
                <a:lnTo>
                  <a:pt x="2005" y="803"/>
                </a:lnTo>
                <a:lnTo>
                  <a:pt x="2006" y="803"/>
                </a:lnTo>
                <a:lnTo>
                  <a:pt x="2006" y="800"/>
                </a:lnTo>
                <a:lnTo>
                  <a:pt x="2007" y="798"/>
                </a:lnTo>
                <a:lnTo>
                  <a:pt x="2010" y="799"/>
                </a:lnTo>
                <a:lnTo>
                  <a:pt x="2011" y="801"/>
                </a:lnTo>
                <a:lnTo>
                  <a:pt x="2011" y="804"/>
                </a:lnTo>
                <a:lnTo>
                  <a:pt x="2011" y="807"/>
                </a:lnTo>
                <a:lnTo>
                  <a:pt x="2013" y="805"/>
                </a:lnTo>
                <a:lnTo>
                  <a:pt x="2014" y="804"/>
                </a:lnTo>
                <a:lnTo>
                  <a:pt x="2013" y="805"/>
                </a:lnTo>
                <a:lnTo>
                  <a:pt x="2011" y="807"/>
                </a:lnTo>
                <a:close/>
                <a:moveTo>
                  <a:pt x="2013" y="824"/>
                </a:moveTo>
                <a:lnTo>
                  <a:pt x="2013" y="816"/>
                </a:lnTo>
                <a:lnTo>
                  <a:pt x="2012" y="810"/>
                </a:lnTo>
                <a:lnTo>
                  <a:pt x="2013" y="816"/>
                </a:lnTo>
                <a:lnTo>
                  <a:pt x="2013" y="824"/>
                </a:lnTo>
                <a:close/>
                <a:moveTo>
                  <a:pt x="2013" y="1408"/>
                </a:move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lnTo>
                  <a:pt x="2013" y="1408"/>
                </a:lnTo>
                <a:close/>
                <a:moveTo>
                  <a:pt x="1953" y="1120"/>
                </a:moveTo>
                <a:lnTo>
                  <a:pt x="1956" y="1115"/>
                </a:lnTo>
                <a:lnTo>
                  <a:pt x="1958" y="1113"/>
                </a:lnTo>
                <a:lnTo>
                  <a:pt x="1956" y="1115"/>
                </a:lnTo>
                <a:lnTo>
                  <a:pt x="1953" y="1120"/>
                </a:lnTo>
                <a:lnTo>
                  <a:pt x="1950" y="1129"/>
                </a:lnTo>
                <a:lnTo>
                  <a:pt x="1949" y="1138"/>
                </a:lnTo>
                <a:lnTo>
                  <a:pt x="1950" y="1129"/>
                </a:lnTo>
                <a:lnTo>
                  <a:pt x="1953" y="1120"/>
                </a:lnTo>
                <a:close/>
                <a:moveTo>
                  <a:pt x="1947" y="968"/>
                </a:moveTo>
                <a:lnTo>
                  <a:pt x="1944" y="969"/>
                </a:lnTo>
                <a:lnTo>
                  <a:pt x="1942" y="970"/>
                </a:lnTo>
                <a:lnTo>
                  <a:pt x="1944" y="969"/>
                </a:lnTo>
                <a:lnTo>
                  <a:pt x="1947" y="968"/>
                </a:lnTo>
                <a:close/>
                <a:moveTo>
                  <a:pt x="1943" y="927"/>
                </a:moveTo>
                <a:lnTo>
                  <a:pt x="1943" y="931"/>
                </a:lnTo>
                <a:lnTo>
                  <a:pt x="1942" y="933"/>
                </a:lnTo>
                <a:lnTo>
                  <a:pt x="1940" y="935"/>
                </a:lnTo>
                <a:lnTo>
                  <a:pt x="1938" y="936"/>
                </a:lnTo>
                <a:lnTo>
                  <a:pt x="1934" y="936"/>
                </a:lnTo>
                <a:lnTo>
                  <a:pt x="1929" y="935"/>
                </a:lnTo>
                <a:lnTo>
                  <a:pt x="1935" y="931"/>
                </a:lnTo>
                <a:lnTo>
                  <a:pt x="1943" y="927"/>
                </a:lnTo>
                <a:close/>
                <a:moveTo>
                  <a:pt x="1938" y="918"/>
                </a:moveTo>
                <a:lnTo>
                  <a:pt x="1935" y="920"/>
                </a:lnTo>
                <a:lnTo>
                  <a:pt x="1932" y="923"/>
                </a:lnTo>
                <a:lnTo>
                  <a:pt x="1931" y="923"/>
                </a:lnTo>
                <a:lnTo>
                  <a:pt x="1930" y="924"/>
                </a:lnTo>
                <a:lnTo>
                  <a:pt x="1930" y="923"/>
                </a:lnTo>
                <a:lnTo>
                  <a:pt x="1930" y="922"/>
                </a:lnTo>
                <a:lnTo>
                  <a:pt x="1934" y="912"/>
                </a:lnTo>
                <a:lnTo>
                  <a:pt x="1940" y="904"/>
                </a:lnTo>
                <a:lnTo>
                  <a:pt x="1943" y="908"/>
                </a:lnTo>
                <a:lnTo>
                  <a:pt x="1944" y="911"/>
                </a:lnTo>
                <a:lnTo>
                  <a:pt x="1943" y="915"/>
                </a:lnTo>
                <a:lnTo>
                  <a:pt x="1938" y="918"/>
                </a:lnTo>
                <a:close/>
                <a:moveTo>
                  <a:pt x="1945" y="878"/>
                </a:moveTo>
                <a:lnTo>
                  <a:pt x="1947" y="881"/>
                </a:lnTo>
                <a:lnTo>
                  <a:pt x="1947" y="884"/>
                </a:lnTo>
                <a:lnTo>
                  <a:pt x="1945" y="886"/>
                </a:lnTo>
                <a:lnTo>
                  <a:pt x="1944" y="888"/>
                </a:lnTo>
                <a:lnTo>
                  <a:pt x="1942" y="888"/>
                </a:lnTo>
                <a:lnTo>
                  <a:pt x="1941" y="888"/>
                </a:lnTo>
                <a:lnTo>
                  <a:pt x="1941" y="888"/>
                </a:lnTo>
                <a:lnTo>
                  <a:pt x="1940" y="887"/>
                </a:lnTo>
                <a:lnTo>
                  <a:pt x="1938" y="884"/>
                </a:lnTo>
                <a:lnTo>
                  <a:pt x="1936" y="882"/>
                </a:lnTo>
                <a:lnTo>
                  <a:pt x="1937" y="880"/>
                </a:lnTo>
                <a:lnTo>
                  <a:pt x="1937" y="879"/>
                </a:lnTo>
                <a:lnTo>
                  <a:pt x="1938" y="878"/>
                </a:lnTo>
                <a:lnTo>
                  <a:pt x="1941" y="878"/>
                </a:lnTo>
                <a:lnTo>
                  <a:pt x="1943" y="879"/>
                </a:lnTo>
                <a:lnTo>
                  <a:pt x="1945" y="878"/>
                </a:lnTo>
                <a:close/>
                <a:moveTo>
                  <a:pt x="1950" y="844"/>
                </a:moveTo>
                <a:lnTo>
                  <a:pt x="1952" y="847"/>
                </a:lnTo>
                <a:lnTo>
                  <a:pt x="1953" y="851"/>
                </a:lnTo>
                <a:lnTo>
                  <a:pt x="1953" y="853"/>
                </a:lnTo>
                <a:lnTo>
                  <a:pt x="1952" y="855"/>
                </a:lnTo>
                <a:lnTo>
                  <a:pt x="1951" y="856"/>
                </a:lnTo>
                <a:lnTo>
                  <a:pt x="1949" y="858"/>
                </a:lnTo>
                <a:lnTo>
                  <a:pt x="1945" y="861"/>
                </a:lnTo>
                <a:lnTo>
                  <a:pt x="1941" y="864"/>
                </a:lnTo>
                <a:lnTo>
                  <a:pt x="1940" y="864"/>
                </a:lnTo>
                <a:lnTo>
                  <a:pt x="1938" y="864"/>
                </a:lnTo>
                <a:lnTo>
                  <a:pt x="1940" y="864"/>
                </a:lnTo>
                <a:lnTo>
                  <a:pt x="1940" y="863"/>
                </a:lnTo>
                <a:lnTo>
                  <a:pt x="1944" y="854"/>
                </a:lnTo>
                <a:lnTo>
                  <a:pt x="1950" y="844"/>
                </a:lnTo>
                <a:close/>
                <a:moveTo>
                  <a:pt x="1948" y="803"/>
                </a:moveTo>
                <a:lnTo>
                  <a:pt x="1953" y="794"/>
                </a:lnTo>
                <a:lnTo>
                  <a:pt x="1958" y="784"/>
                </a:lnTo>
                <a:lnTo>
                  <a:pt x="1960" y="787"/>
                </a:lnTo>
                <a:lnTo>
                  <a:pt x="1962" y="789"/>
                </a:lnTo>
                <a:lnTo>
                  <a:pt x="1962" y="792"/>
                </a:lnTo>
                <a:lnTo>
                  <a:pt x="1962" y="794"/>
                </a:lnTo>
                <a:lnTo>
                  <a:pt x="1958" y="798"/>
                </a:lnTo>
                <a:lnTo>
                  <a:pt x="1948" y="803"/>
                </a:lnTo>
                <a:close/>
                <a:moveTo>
                  <a:pt x="1963" y="799"/>
                </a:moveTo>
                <a:lnTo>
                  <a:pt x="1964" y="803"/>
                </a:lnTo>
                <a:lnTo>
                  <a:pt x="1963" y="807"/>
                </a:lnTo>
                <a:lnTo>
                  <a:pt x="1961" y="811"/>
                </a:lnTo>
                <a:lnTo>
                  <a:pt x="1960" y="814"/>
                </a:lnTo>
                <a:lnTo>
                  <a:pt x="1958" y="815"/>
                </a:lnTo>
                <a:lnTo>
                  <a:pt x="1957" y="816"/>
                </a:lnTo>
                <a:lnTo>
                  <a:pt x="1955" y="816"/>
                </a:lnTo>
                <a:lnTo>
                  <a:pt x="1952" y="815"/>
                </a:lnTo>
                <a:lnTo>
                  <a:pt x="1951" y="814"/>
                </a:lnTo>
                <a:lnTo>
                  <a:pt x="1952" y="813"/>
                </a:lnTo>
                <a:lnTo>
                  <a:pt x="1953" y="812"/>
                </a:lnTo>
                <a:lnTo>
                  <a:pt x="1953" y="811"/>
                </a:lnTo>
                <a:lnTo>
                  <a:pt x="1956" y="808"/>
                </a:lnTo>
                <a:lnTo>
                  <a:pt x="1958" y="804"/>
                </a:lnTo>
                <a:lnTo>
                  <a:pt x="1961" y="802"/>
                </a:lnTo>
                <a:lnTo>
                  <a:pt x="1963" y="799"/>
                </a:lnTo>
                <a:close/>
                <a:moveTo>
                  <a:pt x="1967" y="783"/>
                </a:moveTo>
                <a:lnTo>
                  <a:pt x="1964" y="779"/>
                </a:lnTo>
                <a:lnTo>
                  <a:pt x="1963" y="774"/>
                </a:lnTo>
                <a:lnTo>
                  <a:pt x="1964" y="769"/>
                </a:lnTo>
                <a:lnTo>
                  <a:pt x="1966" y="766"/>
                </a:lnTo>
                <a:lnTo>
                  <a:pt x="1968" y="765"/>
                </a:lnTo>
                <a:lnTo>
                  <a:pt x="1970" y="765"/>
                </a:lnTo>
                <a:lnTo>
                  <a:pt x="1971" y="766"/>
                </a:lnTo>
                <a:lnTo>
                  <a:pt x="1971" y="768"/>
                </a:lnTo>
                <a:lnTo>
                  <a:pt x="1971" y="775"/>
                </a:lnTo>
                <a:lnTo>
                  <a:pt x="1967" y="783"/>
                </a:lnTo>
                <a:close/>
                <a:moveTo>
                  <a:pt x="1977" y="657"/>
                </a:moveTo>
                <a:lnTo>
                  <a:pt x="1978" y="655"/>
                </a:lnTo>
                <a:lnTo>
                  <a:pt x="1981" y="654"/>
                </a:lnTo>
                <a:lnTo>
                  <a:pt x="1982" y="655"/>
                </a:lnTo>
                <a:lnTo>
                  <a:pt x="1983" y="656"/>
                </a:lnTo>
                <a:lnTo>
                  <a:pt x="1983" y="657"/>
                </a:lnTo>
                <a:lnTo>
                  <a:pt x="1982" y="659"/>
                </a:lnTo>
                <a:lnTo>
                  <a:pt x="1981" y="664"/>
                </a:lnTo>
                <a:lnTo>
                  <a:pt x="1981" y="671"/>
                </a:lnTo>
                <a:lnTo>
                  <a:pt x="1978" y="667"/>
                </a:lnTo>
                <a:lnTo>
                  <a:pt x="1976" y="664"/>
                </a:lnTo>
                <a:lnTo>
                  <a:pt x="1976" y="661"/>
                </a:lnTo>
                <a:lnTo>
                  <a:pt x="1977" y="657"/>
                </a:lnTo>
                <a:close/>
                <a:moveTo>
                  <a:pt x="1973" y="643"/>
                </a:moveTo>
                <a:lnTo>
                  <a:pt x="1974" y="641"/>
                </a:lnTo>
                <a:lnTo>
                  <a:pt x="1976" y="637"/>
                </a:lnTo>
                <a:lnTo>
                  <a:pt x="1977" y="635"/>
                </a:lnTo>
                <a:lnTo>
                  <a:pt x="1980" y="634"/>
                </a:lnTo>
                <a:lnTo>
                  <a:pt x="1981" y="634"/>
                </a:lnTo>
                <a:lnTo>
                  <a:pt x="1982" y="635"/>
                </a:lnTo>
                <a:lnTo>
                  <a:pt x="1982" y="636"/>
                </a:lnTo>
                <a:lnTo>
                  <a:pt x="1982" y="637"/>
                </a:lnTo>
                <a:lnTo>
                  <a:pt x="1981" y="640"/>
                </a:lnTo>
                <a:lnTo>
                  <a:pt x="1980" y="643"/>
                </a:lnTo>
                <a:lnTo>
                  <a:pt x="1978" y="645"/>
                </a:lnTo>
                <a:lnTo>
                  <a:pt x="1975" y="645"/>
                </a:lnTo>
                <a:lnTo>
                  <a:pt x="1974" y="645"/>
                </a:lnTo>
                <a:lnTo>
                  <a:pt x="1974" y="645"/>
                </a:lnTo>
                <a:lnTo>
                  <a:pt x="1973" y="645"/>
                </a:lnTo>
                <a:lnTo>
                  <a:pt x="1973" y="643"/>
                </a:lnTo>
                <a:close/>
                <a:moveTo>
                  <a:pt x="1978" y="617"/>
                </a:moveTo>
                <a:lnTo>
                  <a:pt x="1979" y="618"/>
                </a:lnTo>
                <a:lnTo>
                  <a:pt x="1981" y="620"/>
                </a:lnTo>
                <a:lnTo>
                  <a:pt x="1982" y="621"/>
                </a:lnTo>
                <a:lnTo>
                  <a:pt x="1982" y="624"/>
                </a:lnTo>
                <a:lnTo>
                  <a:pt x="1982" y="625"/>
                </a:lnTo>
                <a:lnTo>
                  <a:pt x="1980" y="627"/>
                </a:lnTo>
                <a:lnTo>
                  <a:pt x="1976" y="631"/>
                </a:lnTo>
                <a:lnTo>
                  <a:pt x="1971" y="635"/>
                </a:lnTo>
                <a:lnTo>
                  <a:pt x="1970" y="634"/>
                </a:lnTo>
                <a:lnTo>
                  <a:pt x="1970" y="634"/>
                </a:lnTo>
                <a:lnTo>
                  <a:pt x="1972" y="628"/>
                </a:lnTo>
                <a:lnTo>
                  <a:pt x="1974" y="621"/>
                </a:lnTo>
                <a:lnTo>
                  <a:pt x="1975" y="618"/>
                </a:lnTo>
                <a:lnTo>
                  <a:pt x="1978" y="617"/>
                </a:lnTo>
                <a:close/>
                <a:moveTo>
                  <a:pt x="1975" y="589"/>
                </a:moveTo>
                <a:lnTo>
                  <a:pt x="1977" y="586"/>
                </a:lnTo>
                <a:lnTo>
                  <a:pt x="1980" y="583"/>
                </a:lnTo>
                <a:lnTo>
                  <a:pt x="1982" y="582"/>
                </a:lnTo>
                <a:lnTo>
                  <a:pt x="1985" y="582"/>
                </a:lnTo>
                <a:lnTo>
                  <a:pt x="1986" y="584"/>
                </a:lnTo>
                <a:lnTo>
                  <a:pt x="1986" y="585"/>
                </a:lnTo>
                <a:lnTo>
                  <a:pt x="1986" y="586"/>
                </a:lnTo>
                <a:lnTo>
                  <a:pt x="1985" y="587"/>
                </a:lnTo>
                <a:lnTo>
                  <a:pt x="1982" y="590"/>
                </a:lnTo>
                <a:lnTo>
                  <a:pt x="1979" y="594"/>
                </a:lnTo>
                <a:lnTo>
                  <a:pt x="1978" y="596"/>
                </a:lnTo>
                <a:lnTo>
                  <a:pt x="1976" y="597"/>
                </a:lnTo>
                <a:lnTo>
                  <a:pt x="1978" y="596"/>
                </a:lnTo>
                <a:lnTo>
                  <a:pt x="1979" y="594"/>
                </a:lnTo>
                <a:lnTo>
                  <a:pt x="1976" y="593"/>
                </a:lnTo>
                <a:lnTo>
                  <a:pt x="1974" y="590"/>
                </a:lnTo>
                <a:lnTo>
                  <a:pt x="1974" y="589"/>
                </a:lnTo>
                <a:lnTo>
                  <a:pt x="1975" y="589"/>
                </a:lnTo>
                <a:close/>
                <a:moveTo>
                  <a:pt x="1980" y="564"/>
                </a:moveTo>
                <a:lnTo>
                  <a:pt x="1983" y="569"/>
                </a:lnTo>
                <a:lnTo>
                  <a:pt x="1985" y="573"/>
                </a:lnTo>
                <a:lnTo>
                  <a:pt x="1981" y="576"/>
                </a:lnTo>
                <a:lnTo>
                  <a:pt x="1973" y="583"/>
                </a:lnTo>
                <a:lnTo>
                  <a:pt x="1976" y="573"/>
                </a:lnTo>
                <a:lnTo>
                  <a:pt x="1980" y="564"/>
                </a:lnTo>
                <a:close/>
                <a:moveTo>
                  <a:pt x="1994" y="508"/>
                </a:moveTo>
                <a:lnTo>
                  <a:pt x="1994" y="509"/>
                </a:lnTo>
                <a:lnTo>
                  <a:pt x="1993" y="510"/>
                </a:lnTo>
                <a:lnTo>
                  <a:pt x="1993" y="513"/>
                </a:lnTo>
                <a:lnTo>
                  <a:pt x="1993" y="515"/>
                </a:lnTo>
                <a:lnTo>
                  <a:pt x="1991" y="514"/>
                </a:lnTo>
                <a:lnTo>
                  <a:pt x="1989" y="512"/>
                </a:lnTo>
                <a:lnTo>
                  <a:pt x="1988" y="510"/>
                </a:lnTo>
                <a:lnTo>
                  <a:pt x="1988" y="508"/>
                </a:lnTo>
                <a:lnTo>
                  <a:pt x="1987" y="506"/>
                </a:lnTo>
                <a:lnTo>
                  <a:pt x="1988" y="505"/>
                </a:lnTo>
                <a:lnTo>
                  <a:pt x="1988" y="503"/>
                </a:lnTo>
                <a:lnTo>
                  <a:pt x="1990" y="503"/>
                </a:lnTo>
                <a:lnTo>
                  <a:pt x="1991" y="502"/>
                </a:lnTo>
                <a:lnTo>
                  <a:pt x="1993" y="503"/>
                </a:lnTo>
                <a:lnTo>
                  <a:pt x="1993" y="504"/>
                </a:lnTo>
                <a:lnTo>
                  <a:pt x="1994" y="505"/>
                </a:lnTo>
                <a:lnTo>
                  <a:pt x="1994" y="507"/>
                </a:lnTo>
                <a:lnTo>
                  <a:pt x="1994" y="508"/>
                </a:lnTo>
                <a:close/>
                <a:moveTo>
                  <a:pt x="2001" y="644"/>
                </a:moveTo>
                <a:lnTo>
                  <a:pt x="2002" y="646"/>
                </a:lnTo>
                <a:lnTo>
                  <a:pt x="2003" y="649"/>
                </a:lnTo>
                <a:lnTo>
                  <a:pt x="2004" y="649"/>
                </a:lnTo>
                <a:lnTo>
                  <a:pt x="2005" y="649"/>
                </a:lnTo>
                <a:lnTo>
                  <a:pt x="2004" y="649"/>
                </a:lnTo>
                <a:lnTo>
                  <a:pt x="2003" y="649"/>
                </a:lnTo>
                <a:lnTo>
                  <a:pt x="2002" y="646"/>
                </a:lnTo>
                <a:lnTo>
                  <a:pt x="2001" y="644"/>
                </a:lnTo>
                <a:close/>
                <a:moveTo>
                  <a:pt x="1992" y="651"/>
                </a:moveTo>
                <a:lnTo>
                  <a:pt x="1992" y="646"/>
                </a:lnTo>
                <a:lnTo>
                  <a:pt x="1992" y="640"/>
                </a:lnTo>
                <a:lnTo>
                  <a:pt x="1995" y="644"/>
                </a:lnTo>
                <a:lnTo>
                  <a:pt x="1997" y="647"/>
                </a:lnTo>
                <a:lnTo>
                  <a:pt x="1997" y="649"/>
                </a:lnTo>
                <a:lnTo>
                  <a:pt x="1996" y="650"/>
                </a:lnTo>
                <a:lnTo>
                  <a:pt x="1994" y="650"/>
                </a:lnTo>
                <a:lnTo>
                  <a:pt x="1992" y="651"/>
                </a:lnTo>
                <a:close/>
                <a:moveTo>
                  <a:pt x="2002" y="670"/>
                </a:moveTo>
                <a:lnTo>
                  <a:pt x="2001" y="673"/>
                </a:lnTo>
                <a:lnTo>
                  <a:pt x="1999" y="675"/>
                </a:lnTo>
                <a:lnTo>
                  <a:pt x="1996" y="676"/>
                </a:lnTo>
                <a:lnTo>
                  <a:pt x="1993" y="675"/>
                </a:lnTo>
                <a:lnTo>
                  <a:pt x="1993" y="675"/>
                </a:lnTo>
                <a:lnTo>
                  <a:pt x="1993" y="673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1" y="672"/>
                </a:lnTo>
                <a:lnTo>
                  <a:pt x="1992" y="671"/>
                </a:lnTo>
                <a:lnTo>
                  <a:pt x="1994" y="670"/>
                </a:lnTo>
                <a:lnTo>
                  <a:pt x="1997" y="665"/>
                </a:lnTo>
                <a:lnTo>
                  <a:pt x="2002" y="661"/>
                </a:lnTo>
                <a:lnTo>
                  <a:pt x="2003" y="662"/>
                </a:lnTo>
                <a:lnTo>
                  <a:pt x="2004" y="662"/>
                </a:lnTo>
                <a:lnTo>
                  <a:pt x="2003" y="666"/>
                </a:lnTo>
                <a:lnTo>
                  <a:pt x="2002" y="670"/>
                </a:lnTo>
                <a:lnTo>
                  <a:pt x="2004" y="670"/>
                </a:lnTo>
                <a:lnTo>
                  <a:pt x="2007" y="668"/>
                </a:lnTo>
                <a:lnTo>
                  <a:pt x="2004" y="670"/>
                </a:lnTo>
                <a:lnTo>
                  <a:pt x="2002" y="670"/>
                </a:lnTo>
                <a:close/>
                <a:moveTo>
                  <a:pt x="1998" y="777"/>
                </a:moveTo>
                <a:lnTo>
                  <a:pt x="1999" y="773"/>
                </a:lnTo>
                <a:lnTo>
                  <a:pt x="2002" y="770"/>
                </a:lnTo>
                <a:lnTo>
                  <a:pt x="2003" y="770"/>
                </a:lnTo>
                <a:lnTo>
                  <a:pt x="2004" y="770"/>
                </a:lnTo>
                <a:lnTo>
                  <a:pt x="2005" y="771"/>
                </a:lnTo>
                <a:lnTo>
                  <a:pt x="2006" y="773"/>
                </a:lnTo>
                <a:lnTo>
                  <a:pt x="2005" y="775"/>
                </a:lnTo>
                <a:lnTo>
                  <a:pt x="2004" y="778"/>
                </a:lnTo>
                <a:lnTo>
                  <a:pt x="2002" y="778"/>
                </a:lnTo>
                <a:lnTo>
                  <a:pt x="1998" y="777"/>
                </a:lnTo>
                <a:close/>
                <a:moveTo>
                  <a:pt x="2004" y="813"/>
                </a:moveTo>
                <a:lnTo>
                  <a:pt x="2002" y="811"/>
                </a:lnTo>
                <a:lnTo>
                  <a:pt x="2001" y="807"/>
                </a:lnTo>
                <a:lnTo>
                  <a:pt x="2001" y="803"/>
                </a:lnTo>
                <a:lnTo>
                  <a:pt x="2001" y="800"/>
                </a:lnTo>
                <a:lnTo>
                  <a:pt x="2003" y="801"/>
                </a:lnTo>
                <a:lnTo>
                  <a:pt x="2004" y="803"/>
                </a:lnTo>
                <a:lnTo>
                  <a:pt x="2005" y="809"/>
                </a:lnTo>
                <a:lnTo>
                  <a:pt x="2004" y="813"/>
                </a:lnTo>
                <a:close/>
                <a:moveTo>
                  <a:pt x="2007" y="818"/>
                </a:moveTo>
                <a:lnTo>
                  <a:pt x="2005" y="817"/>
                </a:lnTo>
                <a:lnTo>
                  <a:pt x="2004" y="816"/>
                </a:lnTo>
                <a:lnTo>
                  <a:pt x="2004" y="815"/>
                </a:lnTo>
                <a:lnTo>
                  <a:pt x="2004" y="813"/>
                </a:lnTo>
                <a:lnTo>
                  <a:pt x="2006" y="814"/>
                </a:lnTo>
                <a:lnTo>
                  <a:pt x="2007" y="815"/>
                </a:lnTo>
                <a:lnTo>
                  <a:pt x="2007" y="816"/>
                </a:lnTo>
                <a:lnTo>
                  <a:pt x="2007" y="818"/>
                </a:lnTo>
                <a:close/>
                <a:moveTo>
                  <a:pt x="2005" y="858"/>
                </a:moveTo>
                <a:lnTo>
                  <a:pt x="2005" y="857"/>
                </a:lnTo>
                <a:lnTo>
                  <a:pt x="2007" y="856"/>
                </a:lnTo>
                <a:lnTo>
                  <a:pt x="2008" y="856"/>
                </a:lnTo>
                <a:lnTo>
                  <a:pt x="2009" y="858"/>
                </a:lnTo>
                <a:lnTo>
                  <a:pt x="2009" y="863"/>
                </a:lnTo>
                <a:lnTo>
                  <a:pt x="2009" y="869"/>
                </a:lnTo>
                <a:lnTo>
                  <a:pt x="2007" y="866"/>
                </a:lnTo>
                <a:lnTo>
                  <a:pt x="2005" y="864"/>
                </a:lnTo>
                <a:lnTo>
                  <a:pt x="2004" y="861"/>
                </a:lnTo>
                <a:lnTo>
                  <a:pt x="2005" y="858"/>
                </a:lnTo>
                <a:close/>
                <a:moveTo>
                  <a:pt x="1970" y="1085"/>
                </a:moveTo>
                <a:lnTo>
                  <a:pt x="1968" y="1085"/>
                </a:lnTo>
                <a:lnTo>
                  <a:pt x="1967" y="1085"/>
                </a:lnTo>
                <a:lnTo>
                  <a:pt x="1967" y="1085"/>
                </a:lnTo>
                <a:lnTo>
                  <a:pt x="1968" y="1085"/>
                </a:lnTo>
                <a:lnTo>
                  <a:pt x="1970" y="1085"/>
                </a:lnTo>
                <a:close/>
                <a:moveTo>
                  <a:pt x="1990" y="1084"/>
                </a:moveTo>
                <a:lnTo>
                  <a:pt x="1990" y="1084"/>
                </a:lnTo>
                <a:lnTo>
                  <a:pt x="1986" y="1082"/>
                </a:lnTo>
                <a:lnTo>
                  <a:pt x="1982" y="1079"/>
                </a:lnTo>
                <a:lnTo>
                  <a:pt x="1980" y="1077"/>
                </a:lnTo>
                <a:lnTo>
                  <a:pt x="1979" y="1074"/>
                </a:lnTo>
                <a:lnTo>
                  <a:pt x="1979" y="1071"/>
                </a:lnTo>
                <a:lnTo>
                  <a:pt x="1980" y="1068"/>
                </a:lnTo>
                <a:lnTo>
                  <a:pt x="1982" y="1063"/>
                </a:lnTo>
                <a:lnTo>
                  <a:pt x="1987" y="1058"/>
                </a:lnTo>
                <a:lnTo>
                  <a:pt x="1982" y="1063"/>
                </a:lnTo>
                <a:lnTo>
                  <a:pt x="1980" y="1068"/>
                </a:lnTo>
                <a:lnTo>
                  <a:pt x="1979" y="1071"/>
                </a:lnTo>
                <a:lnTo>
                  <a:pt x="1979" y="1074"/>
                </a:lnTo>
                <a:lnTo>
                  <a:pt x="1980" y="1077"/>
                </a:lnTo>
                <a:lnTo>
                  <a:pt x="1982" y="1079"/>
                </a:lnTo>
                <a:lnTo>
                  <a:pt x="1986" y="1082"/>
                </a:lnTo>
                <a:lnTo>
                  <a:pt x="1990" y="1084"/>
                </a:lnTo>
                <a:close/>
                <a:moveTo>
                  <a:pt x="1986" y="860"/>
                </a:moveTo>
                <a:lnTo>
                  <a:pt x="1988" y="862"/>
                </a:lnTo>
                <a:lnTo>
                  <a:pt x="1989" y="863"/>
                </a:lnTo>
                <a:lnTo>
                  <a:pt x="1989" y="865"/>
                </a:lnTo>
                <a:lnTo>
                  <a:pt x="1989" y="866"/>
                </a:lnTo>
                <a:lnTo>
                  <a:pt x="1987" y="870"/>
                </a:lnTo>
                <a:lnTo>
                  <a:pt x="1986" y="873"/>
                </a:lnTo>
                <a:lnTo>
                  <a:pt x="1983" y="870"/>
                </a:lnTo>
                <a:lnTo>
                  <a:pt x="1983" y="866"/>
                </a:lnTo>
                <a:lnTo>
                  <a:pt x="1985" y="863"/>
                </a:lnTo>
                <a:lnTo>
                  <a:pt x="1986" y="860"/>
                </a:lnTo>
                <a:close/>
                <a:moveTo>
                  <a:pt x="1987" y="601"/>
                </a:moveTo>
                <a:lnTo>
                  <a:pt x="1988" y="602"/>
                </a:lnTo>
                <a:lnTo>
                  <a:pt x="1989" y="604"/>
                </a:lnTo>
                <a:lnTo>
                  <a:pt x="1989" y="611"/>
                </a:lnTo>
                <a:lnTo>
                  <a:pt x="1989" y="617"/>
                </a:lnTo>
                <a:lnTo>
                  <a:pt x="1985" y="615"/>
                </a:lnTo>
                <a:lnTo>
                  <a:pt x="1981" y="612"/>
                </a:lnTo>
                <a:lnTo>
                  <a:pt x="1981" y="610"/>
                </a:lnTo>
                <a:lnTo>
                  <a:pt x="1980" y="609"/>
                </a:lnTo>
                <a:lnTo>
                  <a:pt x="1981" y="606"/>
                </a:lnTo>
                <a:lnTo>
                  <a:pt x="1981" y="603"/>
                </a:lnTo>
                <a:lnTo>
                  <a:pt x="1982" y="602"/>
                </a:lnTo>
                <a:lnTo>
                  <a:pt x="1983" y="601"/>
                </a:lnTo>
                <a:lnTo>
                  <a:pt x="1985" y="600"/>
                </a:lnTo>
                <a:lnTo>
                  <a:pt x="1987" y="601"/>
                </a:lnTo>
                <a:close/>
                <a:moveTo>
                  <a:pt x="1990" y="564"/>
                </a:moveTo>
                <a:lnTo>
                  <a:pt x="1988" y="561"/>
                </a:lnTo>
                <a:lnTo>
                  <a:pt x="1986" y="559"/>
                </a:lnTo>
                <a:lnTo>
                  <a:pt x="1985" y="557"/>
                </a:lnTo>
                <a:lnTo>
                  <a:pt x="1985" y="554"/>
                </a:lnTo>
                <a:lnTo>
                  <a:pt x="1987" y="552"/>
                </a:lnTo>
                <a:lnTo>
                  <a:pt x="1988" y="552"/>
                </a:lnTo>
                <a:lnTo>
                  <a:pt x="1990" y="554"/>
                </a:lnTo>
                <a:lnTo>
                  <a:pt x="1990" y="557"/>
                </a:lnTo>
                <a:lnTo>
                  <a:pt x="1990" y="560"/>
                </a:lnTo>
                <a:lnTo>
                  <a:pt x="1990" y="564"/>
                </a:lnTo>
                <a:close/>
                <a:moveTo>
                  <a:pt x="1992" y="847"/>
                </a:moveTo>
                <a:lnTo>
                  <a:pt x="1994" y="848"/>
                </a:lnTo>
                <a:lnTo>
                  <a:pt x="1995" y="850"/>
                </a:lnTo>
                <a:lnTo>
                  <a:pt x="1995" y="853"/>
                </a:lnTo>
                <a:lnTo>
                  <a:pt x="1995" y="854"/>
                </a:lnTo>
                <a:lnTo>
                  <a:pt x="1994" y="855"/>
                </a:lnTo>
                <a:lnTo>
                  <a:pt x="1992" y="855"/>
                </a:lnTo>
                <a:lnTo>
                  <a:pt x="1991" y="855"/>
                </a:lnTo>
                <a:lnTo>
                  <a:pt x="1989" y="855"/>
                </a:lnTo>
                <a:lnTo>
                  <a:pt x="1988" y="854"/>
                </a:lnTo>
                <a:lnTo>
                  <a:pt x="1988" y="853"/>
                </a:lnTo>
                <a:lnTo>
                  <a:pt x="1989" y="849"/>
                </a:lnTo>
                <a:lnTo>
                  <a:pt x="1992" y="847"/>
                </a:lnTo>
                <a:close/>
                <a:moveTo>
                  <a:pt x="2002" y="1181"/>
                </a:moveTo>
                <a:lnTo>
                  <a:pt x="2003" y="1180"/>
                </a:lnTo>
                <a:lnTo>
                  <a:pt x="2003" y="1180"/>
                </a:lnTo>
                <a:lnTo>
                  <a:pt x="2003" y="1180"/>
                </a:lnTo>
                <a:lnTo>
                  <a:pt x="2002" y="1181"/>
                </a:lnTo>
                <a:close/>
                <a:moveTo>
                  <a:pt x="1997" y="1208"/>
                </a:moveTo>
                <a:lnTo>
                  <a:pt x="1998" y="1201"/>
                </a:lnTo>
                <a:lnTo>
                  <a:pt x="1999" y="1195"/>
                </a:lnTo>
                <a:lnTo>
                  <a:pt x="2003" y="1199"/>
                </a:lnTo>
                <a:lnTo>
                  <a:pt x="2003" y="1205"/>
                </a:lnTo>
                <a:lnTo>
                  <a:pt x="2003" y="1209"/>
                </a:lnTo>
                <a:lnTo>
                  <a:pt x="2003" y="1213"/>
                </a:lnTo>
                <a:lnTo>
                  <a:pt x="1999" y="1213"/>
                </a:lnTo>
                <a:lnTo>
                  <a:pt x="1997" y="1212"/>
                </a:lnTo>
                <a:lnTo>
                  <a:pt x="1997" y="1210"/>
                </a:lnTo>
                <a:lnTo>
                  <a:pt x="1997" y="1208"/>
                </a:lnTo>
                <a:close/>
                <a:moveTo>
                  <a:pt x="1998" y="1139"/>
                </a:moveTo>
                <a:lnTo>
                  <a:pt x="1995" y="1136"/>
                </a:lnTo>
                <a:lnTo>
                  <a:pt x="1994" y="1132"/>
                </a:lnTo>
                <a:lnTo>
                  <a:pt x="1994" y="1129"/>
                </a:lnTo>
                <a:lnTo>
                  <a:pt x="1994" y="1125"/>
                </a:lnTo>
                <a:lnTo>
                  <a:pt x="1996" y="1118"/>
                </a:lnTo>
                <a:lnTo>
                  <a:pt x="1996" y="1110"/>
                </a:lnTo>
                <a:lnTo>
                  <a:pt x="1996" y="1109"/>
                </a:lnTo>
                <a:lnTo>
                  <a:pt x="1997" y="1108"/>
                </a:lnTo>
                <a:lnTo>
                  <a:pt x="1998" y="1108"/>
                </a:lnTo>
                <a:lnTo>
                  <a:pt x="1999" y="1108"/>
                </a:lnTo>
                <a:lnTo>
                  <a:pt x="2002" y="1109"/>
                </a:lnTo>
                <a:lnTo>
                  <a:pt x="2002" y="1111"/>
                </a:lnTo>
                <a:lnTo>
                  <a:pt x="2001" y="1125"/>
                </a:lnTo>
                <a:lnTo>
                  <a:pt x="1998" y="1139"/>
                </a:lnTo>
                <a:close/>
                <a:moveTo>
                  <a:pt x="1993" y="880"/>
                </a:moveTo>
                <a:lnTo>
                  <a:pt x="1993" y="878"/>
                </a:lnTo>
                <a:lnTo>
                  <a:pt x="1993" y="877"/>
                </a:lnTo>
                <a:lnTo>
                  <a:pt x="1994" y="875"/>
                </a:lnTo>
                <a:lnTo>
                  <a:pt x="1995" y="875"/>
                </a:lnTo>
                <a:lnTo>
                  <a:pt x="1997" y="876"/>
                </a:lnTo>
                <a:lnTo>
                  <a:pt x="1998" y="877"/>
                </a:lnTo>
                <a:lnTo>
                  <a:pt x="1998" y="879"/>
                </a:lnTo>
                <a:lnTo>
                  <a:pt x="1999" y="881"/>
                </a:lnTo>
                <a:lnTo>
                  <a:pt x="1999" y="884"/>
                </a:lnTo>
                <a:lnTo>
                  <a:pt x="1999" y="884"/>
                </a:lnTo>
                <a:lnTo>
                  <a:pt x="1998" y="884"/>
                </a:lnTo>
                <a:lnTo>
                  <a:pt x="1997" y="884"/>
                </a:lnTo>
                <a:lnTo>
                  <a:pt x="1995" y="884"/>
                </a:lnTo>
                <a:lnTo>
                  <a:pt x="1993" y="884"/>
                </a:lnTo>
                <a:lnTo>
                  <a:pt x="1993" y="882"/>
                </a:lnTo>
                <a:lnTo>
                  <a:pt x="1993" y="880"/>
                </a:lnTo>
                <a:close/>
                <a:moveTo>
                  <a:pt x="1993" y="888"/>
                </a:moveTo>
                <a:lnTo>
                  <a:pt x="1997" y="889"/>
                </a:lnTo>
                <a:lnTo>
                  <a:pt x="2001" y="891"/>
                </a:lnTo>
                <a:lnTo>
                  <a:pt x="1999" y="894"/>
                </a:lnTo>
                <a:lnTo>
                  <a:pt x="1997" y="895"/>
                </a:lnTo>
                <a:lnTo>
                  <a:pt x="1994" y="896"/>
                </a:lnTo>
                <a:lnTo>
                  <a:pt x="1990" y="897"/>
                </a:lnTo>
                <a:lnTo>
                  <a:pt x="1989" y="897"/>
                </a:lnTo>
                <a:lnTo>
                  <a:pt x="1988" y="896"/>
                </a:lnTo>
                <a:lnTo>
                  <a:pt x="1987" y="894"/>
                </a:lnTo>
                <a:lnTo>
                  <a:pt x="1987" y="892"/>
                </a:lnTo>
                <a:lnTo>
                  <a:pt x="1987" y="890"/>
                </a:lnTo>
                <a:lnTo>
                  <a:pt x="1989" y="889"/>
                </a:lnTo>
                <a:lnTo>
                  <a:pt x="1990" y="888"/>
                </a:lnTo>
                <a:lnTo>
                  <a:pt x="1993" y="888"/>
                </a:lnTo>
                <a:close/>
                <a:moveTo>
                  <a:pt x="1994" y="997"/>
                </a:moveTo>
                <a:lnTo>
                  <a:pt x="1992" y="997"/>
                </a:lnTo>
                <a:lnTo>
                  <a:pt x="1991" y="996"/>
                </a:lnTo>
                <a:lnTo>
                  <a:pt x="1992" y="997"/>
                </a:lnTo>
                <a:lnTo>
                  <a:pt x="1994" y="997"/>
                </a:lnTo>
                <a:lnTo>
                  <a:pt x="1994" y="997"/>
                </a:lnTo>
                <a:lnTo>
                  <a:pt x="1994" y="997"/>
                </a:lnTo>
                <a:lnTo>
                  <a:pt x="1994" y="997"/>
                </a:lnTo>
                <a:close/>
                <a:moveTo>
                  <a:pt x="1994" y="997"/>
                </a:moveTo>
                <a:lnTo>
                  <a:pt x="1994" y="998"/>
                </a:lnTo>
                <a:lnTo>
                  <a:pt x="1994" y="999"/>
                </a:lnTo>
                <a:lnTo>
                  <a:pt x="1994" y="998"/>
                </a:lnTo>
                <a:lnTo>
                  <a:pt x="1994" y="997"/>
                </a:lnTo>
                <a:close/>
                <a:moveTo>
                  <a:pt x="1992" y="1153"/>
                </a:moveTo>
                <a:lnTo>
                  <a:pt x="1992" y="1151"/>
                </a:lnTo>
                <a:lnTo>
                  <a:pt x="1992" y="1149"/>
                </a:lnTo>
                <a:lnTo>
                  <a:pt x="1992" y="1147"/>
                </a:lnTo>
                <a:lnTo>
                  <a:pt x="1994" y="1146"/>
                </a:lnTo>
                <a:lnTo>
                  <a:pt x="1996" y="1146"/>
                </a:lnTo>
                <a:lnTo>
                  <a:pt x="1998" y="1148"/>
                </a:lnTo>
                <a:lnTo>
                  <a:pt x="1998" y="1150"/>
                </a:lnTo>
                <a:lnTo>
                  <a:pt x="1999" y="1152"/>
                </a:lnTo>
                <a:lnTo>
                  <a:pt x="1997" y="1156"/>
                </a:lnTo>
                <a:lnTo>
                  <a:pt x="1997" y="1161"/>
                </a:lnTo>
                <a:lnTo>
                  <a:pt x="1997" y="1161"/>
                </a:lnTo>
                <a:lnTo>
                  <a:pt x="1995" y="1160"/>
                </a:lnTo>
                <a:lnTo>
                  <a:pt x="1993" y="1157"/>
                </a:lnTo>
                <a:lnTo>
                  <a:pt x="1992" y="1155"/>
                </a:lnTo>
                <a:lnTo>
                  <a:pt x="1992" y="1153"/>
                </a:lnTo>
                <a:close/>
                <a:moveTo>
                  <a:pt x="2003" y="1148"/>
                </a:moveTo>
                <a:lnTo>
                  <a:pt x="2003" y="1139"/>
                </a:lnTo>
                <a:lnTo>
                  <a:pt x="2004" y="1131"/>
                </a:lnTo>
                <a:lnTo>
                  <a:pt x="2005" y="1122"/>
                </a:lnTo>
                <a:lnTo>
                  <a:pt x="2007" y="1114"/>
                </a:lnTo>
                <a:lnTo>
                  <a:pt x="2007" y="1126"/>
                </a:lnTo>
                <a:lnTo>
                  <a:pt x="2007" y="1139"/>
                </a:lnTo>
                <a:lnTo>
                  <a:pt x="2006" y="1141"/>
                </a:lnTo>
                <a:lnTo>
                  <a:pt x="2006" y="1145"/>
                </a:lnTo>
                <a:lnTo>
                  <a:pt x="2005" y="1147"/>
                </a:lnTo>
                <a:lnTo>
                  <a:pt x="2003" y="1148"/>
                </a:lnTo>
                <a:close/>
                <a:moveTo>
                  <a:pt x="2004" y="1189"/>
                </a:moveTo>
                <a:lnTo>
                  <a:pt x="2004" y="1191"/>
                </a:lnTo>
                <a:lnTo>
                  <a:pt x="2005" y="1192"/>
                </a:lnTo>
                <a:lnTo>
                  <a:pt x="2004" y="1191"/>
                </a:lnTo>
                <a:lnTo>
                  <a:pt x="2004" y="1189"/>
                </a:lnTo>
                <a:close/>
                <a:moveTo>
                  <a:pt x="2004" y="1274"/>
                </a:moveTo>
                <a:lnTo>
                  <a:pt x="2005" y="1281"/>
                </a:lnTo>
                <a:lnTo>
                  <a:pt x="2005" y="1287"/>
                </a:lnTo>
                <a:lnTo>
                  <a:pt x="2005" y="1281"/>
                </a:lnTo>
                <a:lnTo>
                  <a:pt x="2004" y="1274"/>
                </a:lnTo>
                <a:close/>
                <a:moveTo>
                  <a:pt x="1996" y="864"/>
                </a:moveTo>
                <a:lnTo>
                  <a:pt x="1996" y="863"/>
                </a:lnTo>
                <a:lnTo>
                  <a:pt x="1997" y="862"/>
                </a:lnTo>
                <a:lnTo>
                  <a:pt x="1998" y="861"/>
                </a:lnTo>
                <a:lnTo>
                  <a:pt x="2001" y="862"/>
                </a:lnTo>
                <a:lnTo>
                  <a:pt x="2001" y="862"/>
                </a:lnTo>
                <a:lnTo>
                  <a:pt x="2002" y="863"/>
                </a:lnTo>
                <a:lnTo>
                  <a:pt x="2004" y="870"/>
                </a:lnTo>
                <a:lnTo>
                  <a:pt x="2008" y="877"/>
                </a:lnTo>
                <a:lnTo>
                  <a:pt x="2004" y="875"/>
                </a:lnTo>
                <a:lnTo>
                  <a:pt x="2001" y="872"/>
                </a:lnTo>
                <a:lnTo>
                  <a:pt x="1999" y="868"/>
                </a:lnTo>
                <a:lnTo>
                  <a:pt x="1996" y="864"/>
                </a:lnTo>
                <a:close/>
                <a:moveTo>
                  <a:pt x="1994" y="682"/>
                </a:moveTo>
                <a:lnTo>
                  <a:pt x="1998" y="680"/>
                </a:lnTo>
                <a:lnTo>
                  <a:pt x="2001" y="681"/>
                </a:lnTo>
                <a:lnTo>
                  <a:pt x="2001" y="685"/>
                </a:lnTo>
                <a:lnTo>
                  <a:pt x="2001" y="691"/>
                </a:lnTo>
                <a:lnTo>
                  <a:pt x="1996" y="687"/>
                </a:lnTo>
                <a:lnTo>
                  <a:pt x="1994" y="682"/>
                </a:lnTo>
                <a:close/>
                <a:moveTo>
                  <a:pt x="2003" y="830"/>
                </a:moveTo>
                <a:lnTo>
                  <a:pt x="2005" y="831"/>
                </a:lnTo>
                <a:lnTo>
                  <a:pt x="2006" y="833"/>
                </a:lnTo>
                <a:lnTo>
                  <a:pt x="2005" y="835"/>
                </a:lnTo>
                <a:lnTo>
                  <a:pt x="2004" y="836"/>
                </a:lnTo>
                <a:lnTo>
                  <a:pt x="2004" y="840"/>
                </a:lnTo>
                <a:lnTo>
                  <a:pt x="2003" y="842"/>
                </a:lnTo>
                <a:lnTo>
                  <a:pt x="2002" y="844"/>
                </a:lnTo>
                <a:lnTo>
                  <a:pt x="1999" y="846"/>
                </a:lnTo>
                <a:lnTo>
                  <a:pt x="1997" y="842"/>
                </a:lnTo>
                <a:lnTo>
                  <a:pt x="1994" y="838"/>
                </a:lnTo>
                <a:lnTo>
                  <a:pt x="1993" y="835"/>
                </a:lnTo>
                <a:lnTo>
                  <a:pt x="1992" y="833"/>
                </a:lnTo>
                <a:lnTo>
                  <a:pt x="1992" y="831"/>
                </a:lnTo>
                <a:lnTo>
                  <a:pt x="1993" y="830"/>
                </a:lnTo>
                <a:lnTo>
                  <a:pt x="1995" y="829"/>
                </a:lnTo>
                <a:lnTo>
                  <a:pt x="1997" y="829"/>
                </a:lnTo>
                <a:lnTo>
                  <a:pt x="2001" y="829"/>
                </a:lnTo>
                <a:lnTo>
                  <a:pt x="2003" y="830"/>
                </a:lnTo>
                <a:close/>
                <a:moveTo>
                  <a:pt x="1952" y="880"/>
                </a:moveTo>
                <a:lnTo>
                  <a:pt x="1953" y="885"/>
                </a:lnTo>
                <a:lnTo>
                  <a:pt x="1953" y="889"/>
                </a:lnTo>
                <a:lnTo>
                  <a:pt x="1953" y="892"/>
                </a:lnTo>
                <a:lnTo>
                  <a:pt x="1952" y="895"/>
                </a:lnTo>
                <a:lnTo>
                  <a:pt x="1952" y="897"/>
                </a:lnTo>
                <a:lnTo>
                  <a:pt x="1952" y="900"/>
                </a:lnTo>
                <a:lnTo>
                  <a:pt x="1951" y="901"/>
                </a:lnTo>
                <a:lnTo>
                  <a:pt x="1950" y="902"/>
                </a:lnTo>
                <a:lnTo>
                  <a:pt x="1948" y="901"/>
                </a:lnTo>
                <a:lnTo>
                  <a:pt x="1946" y="900"/>
                </a:lnTo>
                <a:lnTo>
                  <a:pt x="1946" y="897"/>
                </a:lnTo>
                <a:lnTo>
                  <a:pt x="1945" y="895"/>
                </a:lnTo>
                <a:lnTo>
                  <a:pt x="1946" y="891"/>
                </a:lnTo>
                <a:lnTo>
                  <a:pt x="1947" y="888"/>
                </a:lnTo>
                <a:lnTo>
                  <a:pt x="1949" y="884"/>
                </a:lnTo>
                <a:lnTo>
                  <a:pt x="1952" y="880"/>
                </a:lnTo>
                <a:close/>
                <a:moveTo>
                  <a:pt x="1953" y="869"/>
                </a:moveTo>
                <a:lnTo>
                  <a:pt x="1952" y="872"/>
                </a:lnTo>
                <a:lnTo>
                  <a:pt x="1950" y="874"/>
                </a:lnTo>
                <a:lnTo>
                  <a:pt x="1948" y="876"/>
                </a:lnTo>
                <a:lnTo>
                  <a:pt x="1945" y="876"/>
                </a:lnTo>
                <a:lnTo>
                  <a:pt x="1943" y="876"/>
                </a:lnTo>
                <a:lnTo>
                  <a:pt x="1942" y="876"/>
                </a:lnTo>
                <a:lnTo>
                  <a:pt x="1943" y="874"/>
                </a:lnTo>
                <a:lnTo>
                  <a:pt x="1944" y="872"/>
                </a:lnTo>
                <a:lnTo>
                  <a:pt x="1945" y="870"/>
                </a:lnTo>
                <a:lnTo>
                  <a:pt x="1947" y="869"/>
                </a:lnTo>
                <a:lnTo>
                  <a:pt x="1949" y="868"/>
                </a:lnTo>
                <a:lnTo>
                  <a:pt x="1951" y="866"/>
                </a:lnTo>
                <a:lnTo>
                  <a:pt x="1953" y="868"/>
                </a:lnTo>
                <a:lnTo>
                  <a:pt x="1953" y="869"/>
                </a:lnTo>
                <a:close/>
                <a:moveTo>
                  <a:pt x="1960" y="925"/>
                </a:moveTo>
                <a:lnTo>
                  <a:pt x="1959" y="924"/>
                </a:lnTo>
                <a:lnTo>
                  <a:pt x="1959" y="923"/>
                </a:lnTo>
                <a:lnTo>
                  <a:pt x="1959" y="924"/>
                </a:lnTo>
                <a:lnTo>
                  <a:pt x="1960" y="925"/>
                </a:lnTo>
                <a:close/>
                <a:moveTo>
                  <a:pt x="1974" y="920"/>
                </a:moveTo>
                <a:lnTo>
                  <a:pt x="1974" y="927"/>
                </a:lnTo>
                <a:lnTo>
                  <a:pt x="1974" y="935"/>
                </a:lnTo>
                <a:lnTo>
                  <a:pt x="1971" y="932"/>
                </a:lnTo>
                <a:lnTo>
                  <a:pt x="1970" y="928"/>
                </a:lnTo>
                <a:lnTo>
                  <a:pt x="1971" y="925"/>
                </a:lnTo>
                <a:lnTo>
                  <a:pt x="1974" y="920"/>
                </a:lnTo>
                <a:close/>
                <a:moveTo>
                  <a:pt x="1982" y="932"/>
                </a:moveTo>
                <a:lnTo>
                  <a:pt x="1982" y="932"/>
                </a:lnTo>
                <a:lnTo>
                  <a:pt x="1981" y="932"/>
                </a:lnTo>
                <a:lnTo>
                  <a:pt x="1981" y="931"/>
                </a:lnTo>
                <a:lnTo>
                  <a:pt x="1981" y="932"/>
                </a:lnTo>
                <a:lnTo>
                  <a:pt x="1982" y="932"/>
                </a:lnTo>
                <a:close/>
                <a:moveTo>
                  <a:pt x="1964" y="888"/>
                </a:moveTo>
                <a:lnTo>
                  <a:pt x="1967" y="887"/>
                </a:lnTo>
                <a:lnTo>
                  <a:pt x="1971" y="885"/>
                </a:lnTo>
                <a:lnTo>
                  <a:pt x="1972" y="882"/>
                </a:lnTo>
                <a:lnTo>
                  <a:pt x="1972" y="878"/>
                </a:lnTo>
                <a:lnTo>
                  <a:pt x="1972" y="881"/>
                </a:lnTo>
                <a:lnTo>
                  <a:pt x="1973" y="884"/>
                </a:lnTo>
                <a:lnTo>
                  <a:pt x="1972" y="887"/>
                </a:lnTo>
                <a:lnTo>
                  <a:pt x="1971" y="889"/>
                </a:lnTo>
                <a:lnTo>
                  <a:pt x="1970" y="890"/>
                </a:lnTo>
                <a:lnTo>
                  <a:pt x="1968" y="891"/>
                </a:lnTo>
                <a:lnTo>
                  <a:pt x="1968" y="892"/>
                </a:lnTo>
                <a:lnTo>
                  <a:pt x="1968" y="894"/>
                </a:lnTo>
                <a:lnTo>
                  <a:pt x="1971" y="894"/>
                </a:lnTo>
                <a:lnTo>
                  <a:pt x="1972" y="894"/>
                </a:lnTo>
                <a:lnTo>
                  <a:pt x="1973" y="893"/>
                </a:lnTo>
                <a:lnTo>
                  <a:pt x="1974" y="891"/>
                </a:lnTo>
                <a:lnTo>
                  <a:pt x="1975" y="891"/>
                </a:lnTo>
                <a:lnTo>
                  <a:pt x="1975" y="891"/>
                </a:lnTo>
                <a:lnTo>
                  <a:pt x="1976" y="884"/>
                </a:lnTo>
                <a:lnTo>
                  <a:pt x="1977" y="872"/>
                </a:lnTo>
                <a:lnTo>
                  <a:pt x="1978" y="859"/>
                </a:lnTo>
                <a:lnTo>
                  <a:pt x="1977" y="851"/>
                </a:lnTo>
                <a:lnTo>
                  <a:pt x="1975" y="850"/>
                </a:lnTo>
                <a:lnTo>
                  <a:pt x="1974" y="850"/>
                </a:lnTo>
                <a:lnTo>
                  <a:pt x="1973" y="850"/>
                </a:lnTo>
                <a:lnTo>
                  <a:pt x="1971" y="851"/>
                </a:lnTo>
                <a:lnTo>
                  <a:pt x="1968" y="853"/>
                </a:lnTo>
                <a:lnTo>
                  <a:pt x="1966" y="853"/>
                </a:lnTo>
                <a:lnTo>
                  <a:pt x="1965" y="850"/>
                </a:lnTo>
                <a:lnTo>
                  <a:pt x="1966" y="847"/>
                </a:lnTo>
                <a:lnTo>
                  <a:pt x="1968" y="845"/>
                </a:lnTo>
                <a:lnTo>
                  <a:pt x="1970" y="842"/>
                </a:lnTo>
                <a:lnTo>
                  <a:pt x="1972" y="841"/>
                </a:lnTo>
                <a:lnTo>
                  <a:pt x="1975" y="840"/>
                </a:lnTo>
                <a:lnTo>
                  <a:pt x="1978" y="838"/>
                </a:lnTo>
                <a:lnTo>
                  <a:pt x="1980" y="835"/>
                </a:lnTo>
                <a:lnTo>
                  <a:pt x="1980" y="832"/>
                </a:lnTo>
                <a:lnTo>
                  <a:pt x="1979" y="829"/>
                </a:lnTo>
                <a:lnTo>
                  <a:pt x="1978" y="827"/>
                </a:lnTo>
                <a:lnTo>
                  <a:pt x="1979" y="825"/>
                </a:lnTo>
                <a:lnTo>
                  <a:pt x="1979" y="823"/>
                </a:lnTo>
                <a:lnTo>
                  <a:pt x="1980" y="820"/>
                </a:lnTo>
                <a:lnTo>
                  <a:pt x="1980" y="830"/>
                </a:lnTo>
                <a:lnTo>
                  <a:pt x="1981" y="840"/>
                </a:lnTo>
                <a:lnTo>
                  <a:pt x="1981" y="849"/>
                </a:lnTo>
                <a:lnTo>
                  <a:pt x="1980" y="859"/>
                </a:lnTo>
                <a:lnTo>
                  <a:pt x="1980" y="859"/>
                </a:lnTo>
                <a:lnTo>
                  <a:pt x="1979" y="869"/>
                </a:lnTo>
                <a:lnTo>
                  <a:pt x="1979" y="878"/>
                </a:lnTo>
                <a:lnTo>
                  <a:pt x="1978" y="888"/>
                </a:lnTo>
                <a:lnTo>
                  <a:pt x="1977" y="897"/>
                </a:lnTo>
                <a:lnTo>
                  <a:pt x="1977" y="905"/>
                </a:lnTo>
                <a:lnTo>
                  <a:pt x="1976" y="914"/>
                </a:lnTo>
                <a:lnTo>
                  <a:pt x="1976" y="914"/>
                </a:lnTo>
                <a:lnTo>
                  <a:pt x="1976" y="914"/>
                </a:lnTo>
                <a:lnTo>
                  <a:pt x="1976" y="914"/>
                </a:lnTo>
                <a:lnTo>
                  <a:pt x="1967" y="918"/>
                </a:lnTo>
                <a:lnTo>
                  <a:pt x="1959" y="922"/>
                </a:lnTo>
                <a:lnTo>
                  <a:pt x="1959" y="920"/>
                </a:lnTo>
                <a:lnTo>
                  <a:pt x="1959" y="918"/>
                </a:lnTo>
                <a:lnTo>
                  <a:pt x="1957" y="918"/>
                </a:lnTo>
                <a:lnTo>
                  <a:pt x="1955" y="918"/>
                </a:lnTo>
                <a:lnTo>
                  <a:pt x="1955" y="914"/>
                </a:lnTo>
                <a:lnTo>
                  <a:pt x="1956" y="909"/>
                </a:lnTo>
                <a:lnTo>
                  <a:pt x="1958" y="905"/>
                </a:lnTo>
                <a:lnTo>
                  <a:pt x="1961" y="902"/>
                </a:lnTo>
                <a:lnTo>
                  <a:pt x="1963" y="900"/>
                </a:lnTo>
                <a:lnTo>
                  <a:pt x="1964" y="897"/>
                </a:lnTo>
                <a:lnTo>
                  <a:pt x="1963" y="896"/>
                </a:lnTo>
                <a:lnTo>
                  <a:pt x="1962" y="893"/>
                </a:lnTo>
                <a:lnTo>
                  <a:pt x="1959" y="896"/>
                </a:lnTo>
                <a:lnTo>
                  <a:pt x="1956" y="901"/>
                </a:lnTo>
                <a:lnTo>
                  <a:pt x="1957" y="892"/>
                </a:lnTo>
                <a:lnTo>
                  <a:pt x="1959" y="884"/>
                </a:lnTo>
                <a:lnTo>
                  <a:pt x="1961" y="876"/>
                </a:lnTo>
                <a:lnTo>
                  <a:pt x="1961" y="868"/>
                </a:lnTo>
                <a:lnTo>
                  <a:pt x="1963" y="870"/>
                </a:lnTo>
                <a:lnTo>
                  <a:pt x="1965" y="872"/>
                </a:lnTo>
                <a:lnTo>
                  <a:pt x="1965" y="875"/>
                </a:lnTo>
                <a:lnTo>
                  <a:pt x="1965" y="877"/>
                </a:lnTo>
                <a:lnTo>
                  <a:pt x="1964" y="882"/>
                </a:lnTo>
                <a:lnTo>
                  <a:pt x="1964" y="888"/>
                </a:lnTo>
                <a:close/>
                <a:moveTo>
                  <a:pt x="1958" y="844"/>
                </a:moveTo>
                <a:lnTo>
                  <a:pt x="1956" y="841"/>
                </a:lnTo>
                <a:lnTo>
                  <a:pt x="1953" y="838"/>
                </a:lnTo>
                <a:lnTo>
                  <a:pt x="1953" y="835"/>
                </a:lnTo>
                <a:lnTo>
                  <a:pt x="1953" y="832"/>
                </a:lnTo>
                <a:lnTo>
                  <a:pt x="1957" y="828"/>
                </a:lnTo>
                <a:lnTo>
                  <a:pt x="1960" y="823"/>
                </a:lnTo>
                <a:lnTo>
                  <a:pt x="1962" y="824"/>
                </a:lnTo>
                <a:lnTo>
                  <a:pt x="1962" y="825"/>
                </a:lnTo>
                <a:lnTo>
                  <a:pt x="1962" y="826"/>
                </a:lnTo>
                <a:lnTo>
                  <a:pt x="1962" y="828"/>
                </a:lnTo>
                <a:lnTo>
                  <a:pt x="1962" y="842"/>
                </a:lnTo>
                <a:lnTo>
                  <a:pt x="1961" y="857"/>
                </a:lnTo>
                <a:lnTo>
                  <a:pt x="1961" y="859"/>
                </a:lnTo>
                <a:lnTo>
                  <a:pt x="1960" y="861"/>
                </a:lnTo>
                <a:lnTo>
                  <a:pt x="1959" y="864"/>
                </a:lnTo>
                <a:lnTo>
                  <a:pt x="1957" y="866"/>
                </a:lnTo>
                <a:lnTo>
                  <a:pt x="1953" y="863"/>
                </a:lnTo>
                <a:lnTo>
                  <a:pt x="1952" y="861"/>
                </a:lnTo>
                <a:lnTo>
                  <a:pt x="1953" y="859"/>
                </a:lnTo>
                <a:lnTo>
                  <a:pt x="1957" y="856"/>
                </a:lnTo>
                <a:lnTo>
                  <a:pt x="1959" y="854"/>
                </a:lnTo>
                <a:lnTo>
                  <a:pt x="1960" y="850"/>
                </a:lnTo>
                <a:lnTo>
                  <a:pt x="1960" y="847"/>
                </a:lnTo>
                <a:lnTo>
                  <a:pt x="1958" y="844"/>
                </a:lnTo>
                <a:close/>
                <a:moveTo>
                  <a:pt x="1961" y="1102"/>
                </a:moveTo>
                <a:lnTo>
                  <a:pt x="1960" y="1102"/>
                </a:lnTo>
                <a:lnTo>
                  <a:pt x="1960" y="1101"/>
                </a:lnTo>
                <a:lnTo>
                  <a:pt x="1960" y="1099"/>
                </a:lnTo>
                <a:lnTo>
                  <a:pt x="1961" y="1095"/>
                </a:lnTo>
                <a:lnTo>
                  <a:pt x="1961" y="1095"/>
                </a:lnTo>
                <a:lnTo>
                  <a:pt x="1960" y="1099"/>
                </a:lnTo>
                <a:lnTo>
                  <a:pt x="1960" y="1101"/>
                </a:lnTo>
                <a:lnTo>
                  <a:pt x="1960" y="1102"/>
                </a:lnTo>
                <a:lnTo>
                  <a:pt x="1961" y="1102"/>
                </a:lnTo>
                <a:close/>
                <a:moveTo>
                  <a:pt x="1952" y="964"/>
                </a:moveTo>
                <a:lnTo>
                  <a:pt x="1952" y="960"/>
                </a:lnTo>
                <a:lnTo>
                  <a:pt x="1953" y="957"/>
                </a:lnTo>
                <a:lnTo>
                  <a:pt x="1957" y="955"/>
                </a:lnTo>
                <a:lnTo>
                  <a:pt x="1961" y="955"/>
                </a:lnTo>
                <a:lnTo>
                  <a:pt x="1968" y="951"/>
                </a:lnTo>
                <a:lnTo>
                  <a:pt x="1977" y="946"/>
                </a:lnTo>
                <a:lnTo>
                  <a:pt x="1979" y="943"/>
                </a:lnTo>
                <a:lnTo>
                  <a:pt x="1981" y="942"/>
                </a:lnTo>
                <a:lnTo>
                  <a:pt x="1982" y="942"/>
                </a:lnTo>
                <a:lnTo>
                  <a:pt x="1985" y="942"/>
                </a:lnTo>
                <a:lnTo>
                  <a:pt x="1986" y="943"/>
                </a:lnTo>
                <a:lnTo>
                  <a:pt x="1987" y="946"/>
                </a:lnTo>
                <a:lnTo>
                  <a:pt x="1990" y="941"/>
                </a:lnTo>
                <a:lnTo>
                  <a:pt x="1994" y="938"/>
                </a:lnTo>
                <a:lnTo>
                  <a:pt x="1990" y="941"/>
                </a:lnTo>
                <a:lnTo>
                  <a:pt x="1987" y="946"/>
                </a:lnTo>
                <a:lnTo>
                  <a:pt x="1981" y="950"/>
                </a:lnTo>
                <a:lnTo>
                  <a:pt x="1976" y="953"/>
                </a:lnTo>
                <a:lnTo>
                  <a:pt x="1971" y="956"/>
                </a:lnTo>
                <a:lnTo>
                  <a:pt x="1964" y="958"/>
                </a:lnTo>
                <a:lnTo>
                  <a:pt x="1959" y="962"/>
                </a:lnTo>
                <a:lnTo>
                  <a:pt x="1952" y="964"/>
                </a:lnTo>
                <a:close/>
                <a:moveTo>
                  <a:pt x="1967" y="1126"/>
                </a:moveTo>
                <a:lnTo>
                  <a:pt x="1968" y="1118"/>
                </a:lnTo>
                <a:lnTo>
                  <a:pt x="1970" y="1110"/>
                </a:lnTo>
                <a:lnTo>
                  <a:pt x="1971" y="1107"/>
                </a:lnTo>
                <a:lnTo>
                  <a:pt x="1970" y="1104"/>
                </a:lnTo>
                <a:lnTo>
                  <a:pt x="1970" y="1104"/>
                </a:lnTo>
                <a:lnTo>
                  <a:pt x="1970" y="1103"/>
                </a:lnTo>
                <a:lnTo>
                  <a:pt x="1970" y="1101"/>
                </a:lnTo>
                <a:lnTo>
                  <a:pt x="1970" y="1103"/>
                </a:lnTo>
                <a:lnTo>
                  <a:pt x="1970" y="1104"/>
                </a:lnTo>
                <a:lnTo>
                  <a:pt x="1972" y="1106"/>
                </a:lnTo>
                <a:lnTo>
                  <a:pt x="1974" y="1107"/>
                </a:lnTo>
                <a:lnTo>
                  <a:pt x="1976" y="1107"/>
                </a:lnTo>
                <a:lnTo>
                  <a:pt x="1979" y="1107"/>
                </a:lnTo>
                <a:lnTo>
                  <a:pt x="1982" y="1107"/>
                </a:lnTo>
                <a:lnTo>
                  <a:pt x="1985" y="1108"/>
                </a:lnTo>
                <a:lnTo>
                  <a:pt x="1986" y="1110"/>
                </a:lnTo>
                <a:lnTo>
                  <a:pt x="1986" y="1115"/>
                </a:lnTo>
                <a:lnTo>
                  <a:pt x="1986" y="1125"/>
                </a:lnTo>
                <a:lnTo>
                  <a:pt x="1986" y="1136"/>
                </a:lnTo>
                <a:lnTo>
                  <a:pt x="1986" y="1138"/>
                </a:lnTo>
                <a:lnTo>
                  <a:pt x="1986" y="1141"/>
                </a:lnTo>
                <a:lnTo>
                  <a:pt x="1985" y="1144"/>
                </a:lnTo>
                <a:lnTo>
                  <a:pt x="1982" y="1145"/>
                </a:lnTo>
                <a:lnTo>
                  <a:pt x="1979" y="1144"/>
                </a:lnTo>
                <a:lnTo>
                  <a:pt x="1976" y="1141"/>
                </a:lnTo>
                <a:lnTo>
                  <a:pt x="1975" y="1138"/>
                </a:lnTo>
                <a:lnTo>
                  <a:pt x="1974" y="1134"/>
                </a:lnTo>
                <a:lnTo>
                  <a:pt x="1974" y="1131"/>
                </a:lnTo>
                <a:lnTo>
                  <a:pt x="1974" y="1126"/>
                </a:lnTo>
                <a:lnTo>
                  <a:pt x="1973" y="1126"/>
                </a:lnTo>
                <a:lnTo>
                  <a:pt x="1971" y="1129"/>
                </a:lnTo>
                <a:lnTo>
                  <a:pt x="1970" y="1130"/>
                </a:lnTo>
                <a:lnTo>
                  <a:pt x="1968" y="1130"/>
                </a:lnTo>
                <a:lnTo>
                  <a:pt x="1968" y="1129"/>
                </a:lnTo>
                <a:lnTo>
                  <a:pt x="1967" y="1126"/>
                </a:lnTo>
                <a:close/>
                <a:moveTo>
                  <a:pt x="1985" y="1257"/>
                </a:moveTo>
                <a:lnTo>
                  <a:pt x="1983" y="1257"/>
                </a:lnTo>
                <a:lnTo>
                  <a:pt x="1982" y="1256"/>
                </a:lnTo>
                <a:lnTo>
                  <a:pt x="1981" y="1255"/>
                </a:lnTo>
                <a:lnTo>
                  <a:pt x="1981" y="1253"/>
                </a:lnTo>
                <a:lnTo>
                  <a:pt x="1981" y="1247"/>
                </a:lnTo>
                <a:lnTo>
                  <a:pt x="1983" y="1242"/>
                </a:lnTo>
                <a:lnTo>
                  <a:pt x="1982" y="1240"/>
                </a:lnTo>
                <a:lnTo>
                  <a:pt x="1982" y="1238"/>
                </a:lnTo>
                <a:lnTo>
                  <a:pt x="1982" y="1240"/>
                </a:lnTo>
                <a:lnTo>
                  <a:pt x="1983" y="1242"/>
                </a:lnTo>
                <a:lnTo>
                  <a:pt x="1985" y="1242"/>
                </a:lnTo>
                <a:lnTo>
                  <a:pt x="1986" y="1242"/>
                </a:lnTo>
                <a:lnTo>
                  <a:pt x="1987" y="1241"/>
                </a:lnTo>
                <a:lnTo>
                  <a:pt x="1988" y="1240"/>
                </a:lnTo>
                <a:lnTo>
                  <a:pt x="1987" y="1241"/>
                </a:lnTo>
                <a:lnTo>
                  <a:pt x="1986" y="1242"/>
                </a:lnTo>
                <a:lnTo>
                  <a:pt x="1988" y="1242"/>
                </a:lnTo>
                <a:lnTo>
                  <a:pt x="1990" y="1243"/>
                </a:lnTo>
                <a:lnTo>
                  <a:pt x="1989" y="1244"/>
                </a:lnTo>
                <a:lnTo>
                  <a:pt x="1989" y="1245"/>
                </a:lnTo>
                <a:lnTo>
                  <a:pt x="1990" y="1246"/>
                </a:lnTo>
                <a:lnTo>
                  <a:pt x="1992" y="1246"/>
                </a:lnTo>
                <a:lnTo>
                  <a:pt x="1992" y="1246"/>
                </a:lnTo>
                <a:lnTo>
                  <a:pt x="1992" y="1247"/>
                </a:lnTo>
                <a:lnTo>
                  <a:pt x="1992" y="1248"/>
                </a:lnTo>
                <a:lnTo>
                  <a:pt x="1992" y="1248"/>
                </a:lnTo>
                <a:lnTo>
                  <a:pt x="1991" y="1251"/>
                </a:lnTo>
                <a:lnTo>
                  <a:pt x="1990" y="1254"/>
                </a:lnTo>
                <a:lnTo>
                  <a:pt x="1990" y="1256"/>
                </a:lnTo>
                <a:lnTo>
                  <a:pt x="1989" y="1257"/>
                </a:lnTo>
                <a:lnTo>
                  <a:pt x="1987" y="1257"/>
                </a:lnTo>
                <a:lnTo>
                  <a:pt x="1985" y="1257"/>
                </a:lnTo>
                <a:close/>
                <a:moveTo>
                  <a:pt x="1990" y="1230"/>
                </a:moveTo>
                <a:lnTo>
                  <a:pt x="1989" y="1233"/>
                </a:lnTo>
                <a:lnTo>
                  <a:pt x="1987" y="1236"/>
                </a:lnTo>
                <a:lnTo>
                  <a:pt x="1989" y="1233"/>
                </a:lnTo>
                <a:lnTo>
                  <a:pt x="1990" y="1230"/>
                </a:lnTo>
                <a:lnTo>
                  <a:pt x="1990" y="1229"/>
                </a:lnTo>
                <a:lnTo>
                  <a:pt x="1990" y="1227"/>
                </a:lnTo>
                <a:lnTo>
                  <a:pt x="1987" y="1226"/>
                </a:lnTo>
                <a:lnTo>
                  <a:pt x="1986" y="1224"/>
                </a:lnTo>
                <a:lnTo>
                  <a:pt x="1985" y="1221"/>
                </a:lnTo>
                <a:lnTo>
                  <a:pt x="1985" y="1217"/>
                </a:lnTo>
                <a:lnTo>
                  <a:pt x="1986" y="1205"/>
                </a:lnTo>
                <a:lnTo>
                  <a:pt x="1988" y="1193"/>
                </a:lnTo>
                <a:lnTo>
                  <a:pt x="1988" y="1187"/>
                </a:lnTo>
                <a:lnTo>
                  <a:pt x="1991" y="1184"/>
                </a:lnTo>
                <a:lnTo>
                  <a:pt x="1993" y="1186"/>
                </a:lnTo>
                <a:lnTo>
                  <a:pt x="1996" y="1190"/>
                </a:lnTo>
                <a:lnTo>
                  <a:pt x="1996" y="1194"/>
                </a:lnTo>
                <a:lnTo>
                  <a:pt x="1995" y="1198"/>
                </a:lnTo>
                <a:lnTo>
                  <a:pt x="1992" y="1201"/>
                </a:lnTo>
                <a:lnTo>
                  <a:pt x="1992" y="1206"/>
                </a:lnTo>
                <a:lnTo>
                  <a:pt x="1992" y="1210"/>
                </a:lnTo>
                <a:lnTo>
                  <a:pt x="1993" y="1214"/>
                </a:lnTo>
                <a:lnTo>
                  <a:pt x="1994" y="1217"/>
                </a:lnTo>
                <a:lnTo>
                  <a:pt x="1994" y="1221"/>
                </a:lnTo>
                <a:lnTo>
                  <a:pt x="1993" y="1223"/>
                </a:lnTo>
                <a:lnTo>
                  <a:pt x="1992" y="1226"/>
                </a:lnTo>
                <a:lnTo>
                  <a:pt x="1996" y="1224"/>
                </a:lnTo>
                <a:lnTo>
                  <a:pt x="2001" y="1221"/>
                </a:lnTo>
                <a:lnTo>
                  <a:pt x="2001" y="1225"/>
                </a:lnTo>
                <a:lnTo>
                  <a:pt x="2002" y="1228"/>
                </a:lnTo>
                <a:lnTo>
                  <a:pt x="2001" y="1230"/>
                </a:lnTo>
                <a:lnTo>
                  <a:pt x="2001" y="1232"/>
                </a:lnTo>
                <a:lnTo>
                  <a:pt x="1995" y="1231"/>
                </a:lnTo>
                <a:lnTo>
                  <a:pt x="1990" y="1230"/>
                </a:lnTo>
                <a:close/>
                <a:moveTo>
                  <a:pt x="1999" y="1463"/>
                </a:moveTo>
                <a:lnTo>
                  <a:pt x="2001" y="1462"/>
                </a:lnTo>
                <a:lnTo>
                  <a:pt x="2004" y="1461"/>
                </a:lnTo>
                <a:lnTo>
                  <a:pt x="2005" y="1461"/>
                </a:lnTo>
                <a:lnTo>
                  <a:pt x="2006" y="1462"/>
                </a:lnTo>
                <a:lnTo>
                  <a:pt x="2005" y="1461"/>
                </a:lnTo>
                <a:lnTo>
                  <a:pt x="2004" y="1461"/>
                </a:lnTo>
                <a:lnTo>
                  <a:pt x="2001" y="1462"/>
                </a:lnTo>
                <a:lnTo>
                  <a:pt x="1999" y="1463"/>
                </a:lnTo>
                <a:close/>
                <a:moveTo>
                  <a:pt x="2003" y="1491"/>
                </a:moveTo>
                <a:lnTo>
                  <a:pt x="2005" y="1490"/>
                </a:lnTo>
                <a:lnTo>
                  <a:pt x="2007" y="1490"/>
                </a:lnTo>
                <a:lnTo>
                  <a:pt x="2008" y="1490"/>
                </a:lnTo>
                <a:lnTo>
                  <a:pt x="2008" y="1489"/>
                </a:lnTo>
                <a:lnTo>
                  <a:pt x="2010" y="1489"/>
                </a:lnTo>
                <a:lnTo>
                  <a:pt x="2012" y="1489"/>
                </a:lnTo>
                <a:lnTo>
                  <a:pt x="2013" y="1490"/>
                </a:lnTo>
                <a:lnTo>
                  <a:pt x="2014" y="1492"/>
                </a:lnTo>
                <a:lnTo>
                  <a:pt x="2012" y="1496"/>
                </a:lnTo>
                <a:lnTo>
                  <a:pt x="2008" y="1498"/>
                </a:lnTo>
                <a:lnTo>
                  <a:pt x="2007" y="1495"/>
                </a:lnTo>
                <a:lnTo>
                  <a:pt x="2007" y="1490"/>
                </a:lnTo>
                <a:lnTo>
                  <a:pt x="2005" y="1490"/>
                </a:lnTo>
                <a:lnTo>
                  <a:pt x="2003" y="1491"/>
                </a:lnTo>
                <a:close/>
                <a:moveTo>
                  <a:pt x="2007" y="611"/>
                </a:moveTo>
                <a:lnTo>
                  <a:pt x="2006" y="617"/>
                </a:lnTo>
                <a:lnTo>
                  <a:pt x="2006" y="624"/>
                </a:lnTo>
                <a:lnTo>
                  <a:pt x="2006" y="626"/>
                </a:lnTo>
                <a:lnTo>
                  <a:pt x="2006" y="628"/>
                </a:lnTo>
                <a:lnTo>
                  <a:pt x="2005" y="632"/>
                </a:lnTo>
                <a:lnTo>
                  <a:pt x="2004" y="636"/>
                </a:lnTo>
                <a:lnTo>
                  <a:pt x="2001" y="636"/>
                </a:lnTo>
                <a:lnTo>
                  <a:pt x="1998" y="634"/>
                </a:lnTo>
                <a:lnTo>
                  <a:pt x="1997" y="633"/>
                </a:lnTo>
                <a:lnTo>
                  <a:pt x="1996" y="631"/>
                </a:lnTo>
                <a:lnTo>
                  <a:pt x="1997" y="629"/>
                </a:lnTo>
                <a:lnTo>
                  <a:pt x="1998" y="628"/>
                </a:lnTo>
                <a:lnTo>
                  <a:pt x="1999" y="628"/>
                </a:lnTo>
                <a:lnTo>
                  <a:pt x="2001" y="628"/>
                </a:lnTo>
                <a:lnTo>
                  <a:pt x="2004" y="628"/>
                </a:lnTo>
                <a:lnTo>
                  <a:pt x="2006" y="628"/>
                </a:lnTo>
                <a:lnTo>
                  <a:pt x="2006" y="626"/>
                </a:lnTo>
                <a:lnTo>
                  <a:pt x="2006" y="624"/>
                </a:lnTo>
                <a:lnTo>
                  <a:pt x="2001" y="622"/>
                </a:lnTo>
                <a:lnTo>
                  <a:pt x="1995" y="622"/>
                </a:lnTo>
                <a:lnTo>
                  <a:pt x="1999" y="615"/>
                </a:lnTo>
                <a:lnTo>
                  <a:pt x="2004" y="609"/>
                </a:lnTo>
                <a:lnTo>
                  <a:pt x="2006" y="609"/>
                </a:lnTo>
                <a:lnTo>
                  <a:pt x="2007" y="609"/>
                </a:lnTo>
                <a:lnTo>
                  <a:pt x="2007" y="610"/>
                </a:lnTo>
                <a:lnTo>
                  <a:pt x="2007" y="611"/>
                </a:lnTo>
                <a:close/>
                <a:moveTo>
                  <a:pt x="1995" y="585"/>
                </a:moveTo>
                <a:lnTo>
                  <a:pt x="1997" y="587"/>
                </a:lnTo>
                <a:lnTo>
                  <a:pt x="1998" y="590"/>
                </a:lnTo>
                <a:lnTo>
                  <a:pt x="1999" y="593"/>
                </a:lnTo>
                <a:lnTo>
                  <a:pt x="1999" y="596"/>
                </a:lnTo>
                <a:lnTo>
                  <a:pt x="1997" y="597"/>
                </a:lnTo>
                <a:lnTo>
                  <a:pt x="1995" y="597"/>
                </a:lnTo>
                <a:lnTo>
                  <a:pt x="1994" y="594"/>
                </a:lnTo>
                <a:lnTo>
                  <a:pt x="1994" y="591"/>
                </a:lnTo>
                <a:lnTo>
                  <a:pt x="1994" y="588"/>
                </a:lnTo>
                <a:lnTo>
                  <a:pt x="1995" y="585"/>
                </a:lnTo>
                <a:close/>
                <a:moveTo>
                  <a:pt x="1978" y="540"/>
                </a:moveTo>
                <a:lnTo>
                  <a:pt x="1980" y="538"/>
                </a:lnTo>
                <a:lnTo>
                  <a:pt x="1982" y="536"/>
                </a:lnTo>
                <a:lnTo>
                  <a:pt x="1985" y="535"/>
                </a:lnTo>
                <a:lnTo>
                  <a:pt x="1988" y="534"/>
                </a:lnTo>
                <a:lnTo>
                  <a:pt x="1987" y="536"/>
                </a:lnTo>
                <a:lnTo>
                  <a:pt x="1986" y="539"/>
                </a:lnTo>
                <a:lnTo>
                  <a:pt x="1985" y="541"/>
                </a:lnTo>
                <a:lnTo>
                  <a:pt x="1981" y="542"/>
                </a:lnTo>
                <a:lnTo>
                  <a:pt x="1979" y="541"/>
                </a:lnTo>
                <a:lnTo>
                  <a:pt x="1978" y="540"/>
                </a:lnTo>
                <a:close/>
                <a:moveTo>
                  <a:pt x="1983" y="515"/>
                </a:moveTo>
                <a:lnTo>
                  <a:pt x="1986" y="519"/>
                </a:lnTo>
                <a:lnTo>
                  <a:pt x="1987" y="522"/>
                </a:lnTo>
                <a:lnTo>
                  <a:pt x="1986" y="524"/>
                </a:lnTo>
                <a:lnTo>
                  <a:pt x="1985" y="525"/>
                </a:lnTo>
                <a:lnTo>
                  <a:pt x="1980" y="528"/>
                </a:lnTo>
                <a:lnTo>
                  <a:pt x="1977" y="532"/>
                </a:lnTo>
                <a:lnTo>
                  <a:pt x="1980" y="524"/>
                </a:lnTo>
                <a:lnTo>
                  <a:pt x="1983" y="515"/>
                </a:lnTo>
                <a:close/>
                <a:moveTo>
                  <a:pt x="1968" y="737"/>
                </a:moveTo>
                <a:lnTo>
                  <a:pt x="1963" y="742"/>
                </a:lnTo>
                <a:lnTo>
                  <a:pt x="1957" y="749"/>
                </a:lnTo>
                <a:lnTo>
                  <a:pt x="1960" y="738"/>
                </a:lnTo>
                <a:lnTo>
                  <a:pt x="1964" y="728"/>
                </a:lnTo>
                <a:lnTo>
                  <a:pt x="1964" y="727"/>
                </a:lnTo>
                <a:lnTo>
                  <a:pt x="1965" y="727"/>
                </a:lnTo>
                <a:lnTo>
                  <a:pt x="1966" y="727"/>
                </a:lnTo>
                <a:lnTo>
                  <a:pt x="1967" y="727"/>
                </a:lnTo>
                <a:lnTo>
                  <a:pt x="1968" y="729"/>
                </a:lnTo>
                <a:lnTo>
                  <a:pt x="1970" y="733"/>
                </a:lnTo>
                <a:lnTo>
                  <a:pt x="1971" y="735"/>
                </a:lnTo>
                <a:lnTo>
                  <a:pt x="1968" y="737"/>
                </a:lnTo>
                <a:close/>
                <a:moveTo>
                  <a:pt x="1973" y="710"/>
                </a:moveTo>
                <a:lnTo>
                  <a:pt x="1974" y="708"/>
                </a:lnTo>
                <a:lnTo>
                  <a:pt x="1976" y="708"/>
                </a:lnTo>
                <a:lnTo>
                  <a:pt x="1978" y="709"/>
                </a:lnTo>
                <a:lnTo>
                  <a:pt x="1978" y="712"/>
                </a:lnTo>
                <a:lnTo>
                  <a:pt x="1977" y="720"/>
                </a:lnTo>
                <a:lnTo>
                  <a:pt x="1976" y="727"/>
                </a:lnTo>
                <a:lnTo>
                  <a:pt x="1972" y="723"/>
                </a:lnTo>
                <a:lnTo>
                  <a:pt x="1971" y="719"/>
                </a:lnTo>
                <a:lnTo>
                  <a:pt x="1971" y="715"/>
                </a:lnTo>
                <a:lnTo>
                  <a:pt x="1973" y="710"/>
                </a:lnTo>
                <a:close/>
                <a:moveTo>
                  <a:pt x="1946" y="813"/>
                </a:moveTo>
                <a:lnTo>
                  <a:pt x="1947" y="816"/>
                </a:lnTo>
                <a:lnTo>
                  <a:pt x="1947" y="818"/>
                </a:lnTo>
                <a:lnTo>
                  <a:pt x="1949" y="819"/>
                </a:lnTo>
                <a:lnTo>
                  <a:pt x="1952" y="820"/>
                </a:lnTo>
                <a:lnTo>
                  <a:pt x="1955" y="820"/>
                </a:lnTo>
                <a:lnTo>
                  <a:pt x="1956" y="824"/>
                </a:lnTo>
                <a:lnTo>
                  <a:pt x="1955" y="826"/>
                </a:lnTo>
                <a:lnTo>
                  <a:pt x="1953" y="828"/>
                </a:lnTo>
                <a:lnTo>
                  <a:pt x="1951" y="829"/>
                </a:lnTo>
                <a:lnTo>
                  <a:pt x="1949" y="829"/>
                </a:lnTo>
                <a:lnTo>
                  <a:pt x="1947" y="824"/>
                </a:lnTo>
                <a:lnTo>
                  <a:pt x="1947" y="818"/>
                </a:lnTo>
                <a:lnTo>
                  <a:pt x="1947" y="816"/>
                </a:lnTo>
                <a:lnTo>
                  <a:pt x="1946" y="813"/>
                </a:lnTo>
                <a:close/>
                <a:moveTo>
                  <a:pt x="1937" y="1033"/>
                </a:moveTo>
                <a:lnTo>
                  <a:pt x="1938" y="1034"/>
                </a:lnTo>
                <a:lnTo>
                  <a:pt x="1940" y="1035"/>
                </a:lnTo>
                <a:lnTo>
                  <a:pt x="1941" y="1035"/>
                </a:lnTo>
                <a:lnTo>
                  <a:pt x="1942" y="1035"/>
                </a:lnTo>
                <a:lnTo>
                  <a:pt x="1944" y="1033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1"/>
                </a:lnTo>
                <a:lnTo>
                  <a:pt x="1947" y="1033"/>
                </a:lnTo>
                <a:lnTo>
                  <a:pt x="1948" y="1035"/>
                </a:lnTo>
                <a:lnTo>
                  <a:pt x="1947" y="1033"/>
                </a:lnTo>
                <a:lnTo>
                  <a:pt x="1947" y="1031"/>
                </a:lnTo>
                <a:lnTo>
                  <a:pt x="1944" y="1033"/>
                </a:lnTo>
                <a:lnTo>
                  <a:pt x="1942" y="1035"/>
                </a:lnTo>
                <a:lnTo>
                  <a:pt x="1941" y="1035"/>
                </a:lnTo>
                <a:lnTo>
                  <a:pt x="1940" y="1035"/>
                </a:lnTo>
                <a:lnTo>
                  <a:pt x="1938" y="1034"/>
                </a:lnTo>
                <a:lnTo>
                  <a:pt x="1937" y="1033"/>
                </a:lnTo>
                <a:close/>
                <a:moveTo>
                  <a:pt x="1955" y="1126"/>
                </a:moveTo>
                <a:lnTo>
                  <a:pt x="1953" y="1123"/>
                </a:lnTo>
                <a:lnTo>
                  <a:pt x="1953" y="1120"/>
                </a:lnTo>
                <a:lnTo>
                  <a:pt x="1957" y="1119"/>
                </a:lnTo>
                <a:lnTo>
                  <a:pt x="1959" y="1119"/>
                </a:lnTo>
                <a:lnTo>
                  <a:pt x="1957" y="1119"/>
                </a:lnTo>
                <a:lnTo>
                  <a:pt x="1953" y="1120"/>
                </a:lnTo>
                <a:lnTo>
                  <a:pt x="1953" y="1123"/>
                </a:lnTo>
                <a:lnTo>
                  <a:pt x="1955" y="1126"/>
                </a:lnTo>
                <a:close/>
                <a:moveTo>
                  <a:pt x="1967" y="1168"/>
                </a:moveTo>
                <a:lnTo>
                  <a:pt x="1965" y="1168"/>
                </a:lnTo>
                <a:lnTo>
                  <a:pt x="1964" y="1166"/>
                </a:lnTo>
                <a:lnTo>
                  <a:pt x="1963" y="1164"/>
                </a:lnTo>
                <a:lnTo>
                  <a:pt x="1963" y="1161"/>
                </a:lnTo>
                <a:lnTo>
                  <a:pt x="1961" y="1166"/>
                </a:lnTo>
                <a:lnTo>
                  <a:pt x="1958" y="1169"/>
                </a:lnTo>
                <a:lnTo>
                  <a:pt x="1958" y="1163"/>
                </a:lnTo>
                <a:lnTo>
                  <a:pt x="1960" y="1157"/>
                </a:lnTo>
                <a:lnTo>
                  <a:pt x="1962" y="1152"/>
                </a:lnTo>
                <a:lnTo>
                  <a:pt x="1964" y="1147"/>
                </a:lnTo>
                <a:lnTo>
                  <a:pt x="1966" y="1145"/>
                </a:lnTo>
                <a:lnTo>
                  <a:pt x="1968" y="1144"/>
                </a:lnTo>
                <a:lnTo>
                  <a:pt x="1972" y="1144"/>
                </a:lnTo>
                <a:lnTo>
                  <a:pt x="1975" y="1145"/>
                </a:lnTo>
                <a:lnTo>
                  <a:pt x="1977" y="1145"/>
                </a:lnTo>
                <a:lnTo>
                  <a:pt x="1977" y="1147"/>
                </a:lnTo>
                <a:lnTo>
                  <a:pt x="1976" y="1149"/>
                </a:lnTo>
                <a:lnTo>
                  <a:pt x="1976" y="1150"/>
                </a:lnTo>
                <a:lnTo>
                  <a:pt x="1976" y="1153"/>
                </a:lnTo>
                <a:lnTo>
                  <a:pt x="1977" y="1155"/>
                </a:lnTo>
                <a:lnTo>
                  <a:pt x="1979" y="1156"/>
                </a:lnTo>
                <a:lnTo>
                  <a:pt x="1980" y="1159"/>
                </a:lnTo>
                <a:lnTo>
                  <a:pt x="1980" y="1162"/>
                </a:lnTo>
                <a:lnTo>
                  <a:pt x="1978" y="1164"/>
                </a:lnTo>
                <a:lnTo>
                  <a:pt x="1976" y="1166"/>
                </a:lnTo>
                <a:lnTo>
                  <a:pt x="1973" y="1167"/>
                </a:lnTo>
                <a:lnTo>
                  <a:pt x="1970" y="1168"/>
                </a:lnTo>
                <a:lnTo>
                  <a:pt x="1967" y="1168"/>
                </a:lnTo>
                <a:close/>
                <a:moveTo>
                  <a:pt x="1978" y="1172"/>
                </a:moveTo>
                <a:lnTo>
                  <a:pt x="1976" y="1175"/>
                </a:lnTo>
                <a:lnTo>
                  <a:pt x="1975" y="1177"/>
                </a:lnTo>
                <a:lnTo>
                  <a:pt x="1973" y="1179"/>
                </a:lnTo>
                <a:lnTo>
                  <a:pt x="1968" y="1179"/>
                </a:lnTo>
                <a:lnTo>
                  <a:pt x="1967" y="1178"/>
                </a:lnTo>
                <a:lnTo>
                  <a:pt x="1966" y="1177"/>
                </a:lnTo>
                <a:lnTo>
                  <a:pt x="1968" y="1174"/>
                </a:lnTo>
                <a:lnTo>
                  <a:pt x="1970" y="1171"/>
                </a:lnTo>
                <a:lnTo>
                  <a:pt x="1973" y="1170"/>
                </a:lnTo>
                <a:lnTo>
                  <a:pt x="1975" y="1170"/>
                </a:lnTo>
                <a:lnTo>
                  <a:pt x="1976" y="1169"/>
                </a:lnTo>
                <a:lnTo>
                  <a:pt x="1978" y="1168"/>
                </a:lnTo>
                <a:lnTo>
                  <a:pt x="1978" y="1171"/>
                </a:lnTo>
                <a:lnTo>
                  <a:pt x="1978" y="1172"/>
                </a:lnTo>
                <a:close/>
                <a:moveTo>
                  <a:pt x="1975" y="1481"/>
                </a:moveTo>
                <a:lnTo>
                  <a:pt x="1975" y="1482"/>
                </a:lnTo>
                <a:lnTo>
                  <a:pt x="1974" y="1484"/>
                </a:lnTo>
                <a:lnTo>
                  <a:pt x="1975" y="1482"/>
                </a:lnTo>
                <a:lnTo>
                  <a:pt x="1975" y="1481"/>
                </a:lnTo>
                <a:close/>
                <a:moveTo>
                  <a:pt x="1973" y="1476"/>
                </a:moveTo>
                <a:lnTo>
                  <a:pt x="1975" y="1477"/>
                </a:lnTo>
                <a:lnTo>
                  <a:pt x="1976" y="1481"/>
                </a:lnTo>
                <a:lnTo>
                  <a:pt x="1975" y="1477"/>
                </a:lnTo>
                <a:lnTo>
                  <a:pt x="1973" y="1476"/>
                </a:lnTo>
                <a:close/>
                <a:moveTo>
                  <a:pt x="2016" y="1543"/>
                </a:moveTo>
                <a:lnTo>
                  <a:pt x="2017" y="1546"/>
                </a:lnTo>
                <a:lnTo>
                  <a:pt x="2018" y="1549"/>
                </a:lnTo>
                <a:lnTo>
                  <a:pt x="2018" y="1551"/>
                </a:lnTo>
                <a:lnTo>
                  <a:pt x="2018" y="1554"/>
                </a:lnTo>
                <a:lnTo>
                  <a:pt x="2016" y="1560"/>
                </a:lnTo>
                <a:lnTo>
                  <a:pt x="2014" y="1566"/>
                </a:lnTo>
                <a:lnTo>
                  <a:pt x="2013" y="1568"/>
                </a:lnTo>
                <a:lnTo>
                  <a:pt x="2011" y="1569"/>
                </a:lnTo>
                <a:lnTo>
                  <a:pt x="2009" y="1569"/>
                </a:lnTo>
                <a:lnTo>
                  <a:pt x="2007" y="1570"/>
                </a:lnTo>
                <a:lnTo>
                  <a:pt x="2010" y="1574"/>
                </a:lnTo>
                <a:lnTo>
                  <a:pt x="2014" y="1578"/>
                </a:lnTo>
                <a:lnTo>
                  <a:pt x="2010" y="1574"/>
                </a:lnTo>
                <a:lnTo>
                  <a:pt x="2007" y="1570"/>
                </a:lnTo>
                <a:lnTo>
                  <a:pt x="2004" y="1570"/>
                </a:lnTo>
                <a:lnTo>
                  <a:pt x="2001" y="1570"/>
                </a:lnTo>
                <a:lnTo>
                  <a:pt x="1998" y="1569"/>
                </a:lnTo>
                <a:lnTo>
                  <a:pt x="1998" y="1568"/>
                </a:lnTo>
                <a:lnTo>
                  <a:pt x="1997" y="1566"/>
                </a:lnTo>
                <a:lnTo>
                  <a:pt x="1997" y="1564"/>
                </a:lnTo>
                <a:lnTo>
                  <a:pt x="1997" y="1561"/>
                </a:lnTo>
                <a:lnTo>
                  <a:pt x="1995" y="1560"/>
                </a:lnTo>
                <a:lnTo>
                  <a:pt x="1992" y="1559"/>
                </a:lnTo>
                <a:lnTo>
                  <a:pt x="1989" y="1559"/>
                </a:lnTo>
                <a:lnTo>
                  <a:pt x="1987" y="1559"/>
                </a:lnTo>
                <a:lnTo>
                  <a:pt x="1983" y="1559"/>
                </a:lnTo>
                <a:lnTo>
                  <a:pt x="1982" y="1557"/>
                </a:lnTo>
                <a:lnTo>
                  <a:pt x="1980" y="1556"/>
                </a:lnTo>
                <a:lnTo>
                  <a:pt x="1979" y="1556"/>
                </a:lnTo>
                <a:lnTo>
                  <a:pt x="1977" y="1556"/>
                </a:lnTo>
                <a:lnTo>
                  <a:pt x="1975" y="1556"/>
                </a:lnTo>
                <a:lnTo>
                  <a:pt x="1974" y="1554"/>
                </a:lnTo>
                <a:lnTo>
                  <a:pt x="1973" y="1552"/>
                </a:lnTo>
                <a:lnTo>
                  <a:pt x="1973" y="1550"/>
                </a:lnTo>
                <a:lnTo>
                  <a:pt x="1974" y="1548"/>
                </a:lnTo>
                <a:lnTo>
                  <a:pt x="1975" y="1547"/>
                </a:lnTo>
                <a:lnTo>
                  <a:pt x="1977" y="1547"/>
                </a:lnTo>
                <a:lnTo>
                  <a:pt x="1979" y="1547"/>
                </a:lnTo>
                <a:lnTo>
                  <a:pt x="1983" y="1548"/>
                </a:lnTo>
                <a:lnTo>
                  <a:pt x="1988" y="1548"/>
                </a:lnTo>
                <a:lnTo>
                  <a:pt x="1992" y="1548"/>
                </a:lnTo>
                <a:lnTo>
                  <a:pt x="1996" y="1546"/>
                </a:lnTo>
                <a:lnTo>
                  <a:pt x="1998" y="1544"/>
                </a:lnTo>
                <a:lnTo>
                  <a:pt x="1999" y="1541"/>
                </a:lnTo>
                <a:lnTo>
                  <a:pt x="1997" y="1538"/>
                </a:lnTo>
                <a:lnTo>
                  <a:pt x="1995" y="1537"/>
                </a:lnTo>
                <a:lnTo>
                  <a:pt x="1993" y="1537"/>
                </a:lnTo>
                <a:lnTo>
                  <a:pt x="1990" y="1538"/>
                </a:lnTo>
                <a:lnTo>
                  <a:pt x="1989" y="1541"/>
                </a:lnTo>
                <a:lnTo>
                  <a:pt x="1988" y="1544"/>
                </a:lnTo>
                <a:lnTo>
                  <a:pt x="1988" y="1545"/>
                </a:lnTo>
                <a:lnTo>
                  <a:pt x="1987" y="1546"/>
                </a:lnTo>
                <a:lnTo>
                  <a:pt x="1987" y="1546"/>
                </a:lnTo>
                <a:lnTo>
                  <a:pt x="1985" y="1545"/>
                </a:lnTo>
                <a:lnTo>
                  <a:pt x="1982" y="1543"/>
                </a:lnTo>
                <a:lnTo>
                  <a:pt x="1980" y="1539"/>
                </a:lnTo>
                <a:lnTo>
                  <a:pt x="1979" y="1535"/>
                </a:lnTo>
                <a:lnTo>
                  <a:pt x="1979" y="1531"/>
                </a:lnTo>
                <a:lnTo>
                  <a:pt x="1982" y="1522"/>
                </a:lnTo>
                <a:lnTo>
                  <a:pt x="1985" y="1515"/>
                </a:lnTo>
                <a:lnTo>
                  <a:pt x="1985" y="1515"/>
                </a:lnTo>
                <a:lnTo>
                  <a:pt x="1988" y="1511"/>
                </a:lnTo>
                <a:lnTo>
                  <a:pt x="1991" y="1506"/>
                </a:lnTo>
                <a:lnTo>
                  <a:pt x="1993" y="1504"/>
                </a:lnTo>
                <a:lnTo>
                  <a:pt x="1995" y="1504"/>
                </a:lnTo>
                <a:lnTo>
                  <a:pt x="1997" y="1504"/>
                </a:lnTo>
                <a:lnTo>
                  <a:pt x="1999" y="1505"/>
                </a:lnTo>
                <a:lnTo>
                  <a:pt x="2004" y="1508"/>
                </a:lnTo>
                <a:lnTo>
                  <a:pt x="2007" y="1511"/>
                </a:lnTo>
                <a:lnTo>
                  <a:pt x="2010" y="1514"/>
                </a:lnTo>
                <a:lnTo>
                  <a:pt x="2013" y="1516"/>
                </a:lnTo>
                <a:lnTo>
                  <a:pt x="2013" y="1516"/>
                </a:lnTo>
                <a:lnTo>
                  <a:pt x="2014" y="1518"/>
                </a:lnTo>
                <a:lnTo>
                  <a:pt x="2017" y="1519"/>
                </a:lnTo>
                <a:lnTo>
                  <a:pt x="2017" y="1520"/>
                </a:lnTo>
                <a:lnTo>
                  <a:pt x="2018" y="1521"/>
                </a:lnTo>
                <a:lnTo>
                  <a:pt x="2020" y="1526"/>
                </a:lnTo>
                <a:lnTo>
                  <a:pt x="2021" y="1529"/>
                </a:lnTo>
                <a:lnTo>
                  <a:pt x="2020" y="1533"/>
                </a:lnTo>
                <a:lnTo>
                  <a:pt x="2017" y="1537"/>
                </a:lnTo>
                <a:lnTo>
                  <a:pt x="2016" y="1538"/>
                </a:lnTo>
                <a:lnTo>
                  <a:pt x="2014" y="1539"/>
                </a:lnTo>
                <a:lnTo>
                  <a:pt x="2014" y="1542"/>
                </a:lnTo>
                <a:lnTo>
                  <a:pt x="2016" y="1543"/>
                </a:lnTo>
                <a:close/>
                <a:moveTo>
                  <a:pt x="2023" y="1486"/>
                </a:moveTo>
                <a:lnTo>
                  <a:pt x="2021" y="1488"/>
                </a:lnTo>
                <a:lnTo>
                  <a:pt x="2020" y="1489"/>
                </a:lnTo>
                <a:lnTo>
                  <a:pt x="2018" y="1489"/>
                </a:lnTo>
                <a:lnTo>
                  <a:pt x="2017" y="1489"/>
                </a:lnTo>
                <a:lnTo>
                  <a:pt x="2013" y="1487"/>
                </a:lnTo>
                <a:lnTo>
                  <a:pt x="2011" y="1485"/>
                </a:lnTo>
                <a:lnTo>
                  <a:pt x="2011" y="1484"/>
                </a:lnTo>
                <a:lnTo>
                  <a:pt x="2011" y="1483"/>
                </a:lnTo>
                <a:lnTo>
                  <a:pt x="2014" y="1481"/>
                </a:lnTo>
                <a:lnTo>
                  <a:pt x="2018" y="1482"/>
                </a:lnTo>
                <a:lnTo>
                  <a:pt x="2020" y="1484"/>
                </a:lnTo>
                <a:lnTo>
                  <a:pt x="2023" y="1486"/>
                </a:lnTo>
                <a:close/>
                <a:moveTo>
                  <a:pt x="2021" y="1215"/>
                </a:moveTo>
                <a:lnTo>
                  <a:pt x="2021" y="1215"/>
                </a:lnTo>
                <a:lnTo>
                  <a:pt x="2020" y="1216"/>
                </a:lnTo>
                <a:lnTo>
                  <a:pt x="2021" y="1215"/>
                </a:lnTo>
                <a:lnTo>
                  <a:pt x="2021" y="1215"/>
                </a:lnTo>
                <a:close/>
                <a:moveTo>
                  <a:pt x="2021" y="1257"/>
                </a:moveTo>
                <a:lnTo>
                  <a:pt x="2021" y="1258"/>
                </a:lnTo>
                <a:lnTo>
                  <a:pt x="2022" y="1258"/>
                </a:lnTo>
                <a:lnTo>
                  <a:pt x="2021" y="1258"/>
                </a:lnTo>
                <a:lnTo>
                  <a:pt x="2021" y="1257"/>
                </a:lnTo>
                <a:close/>
                <a:moveTo>
                  <a:pt x="2022" y="1215"/>
                </a:moveTo>
                <a:lnTo>
                  <a:pt x="2026" y="1211"/>
                </a:lnTo>
                <a:lnTo>
                  <a:pt x="2028" y="1207"/>
                </a:lnTo>
                <a:lnTo>
                  <a:pt x="2029" y="1210"/>
                </a:lnTo>
                <a:lnTo>
                  <a:pt x="2032" y="1213"/>
                </a:lnTo>
                <a:lnTo>
                  <a:pt x="2033" y="1217"/>
                </a:lnTo>
                <a:lnTo>
                  <a:pt x="2032" y="1222"/>
                </a:lnTo>
                <a:lnTo>
                  <a:pt x="2032" y="1223"/>
                </a:lnTo>
                <a:lnTo>
                  <a:pt x="2033" y="1224"/>
                </a:lnTo>
                <a:lnTo>
                  <a:pt x="2034" y="1225"/>
                </a:lnTo>
                <a:lnTo>
                  <a:pt x="2035" y="1224"/>
                </a:lnTo>
                <a:lnTo>
                  <a:pt x="2037" y="1223"/>
                </a:lnTo>
                <a:lnTo>
                  <a:pt x="2039" y="1223"/>
                </a:lnTo>
                <a:lnTo>
                  <a:pt x="2040" y="1224"/>
                </a:lnTo>
                <a:lnTo>
                  <a:pt x="2041" y="1226"/>
                </a:lnTo>
                <a:lnTo>
                  <a:pt x="2041" y="1227"/>
                </a:lnTo>
                <a:lnTo>
                  <a:pt x="2040" y="1229"/>
                </a:lnTo>
                <a:lnTo>
                  <a:pt x="2039" y="1231"/>
                </a:lnTo>
                <a:lnTo>
                  <a:pt x="2037" y="1232"/>
                </a:lnTo>
                <a:lnTo>
                  <a:pt x="2033" y="1233"/>
                </a:lnTo>
                <a:lnTo>
                  <a:pt x="2029" y="1235"/>
                </a:lnTo>
                <a:lnTo>
                  <a:pt x="2027" y="1230"/>
                </a:lnTo>
                <a:lnTo>
                  <a:pt x="2024" y="1226"/>
                </a:lnTo>
                <a:lnTo>
                  <a:pt x="2023" y="1224"/>
                </a:lnTo>
                <a:lnTo>
                  <a:pt x="2022" y="1221"/>
                </a:lnTo>
                <a:lnTo>
                  <a:pt x="2022" y="1218"/>
                </a:lnTo>
                <a:lnTo>
                  <a:pt x="2022" y="1215"/>
                </a:lnTo>
                <a:close/>
                <a:moveTo>
                  <a:pt x="2028" y="1187"/>
                </a:moveTo>
                <a:lnTo>
                  <a:pt x="2026" y="1186"/>
                </a:lnTo>
                <a:lnTo>
                  <a:pt x="2025" y="1184"/>
                </a:lnTo>
                <a:lnTo>
                  <a:pt x="2026" y="1186"/>
                </a:lnTo>
                <a:lnTo>
                  <a:pt x="2028" y="1187"/>
                </a:lnTo>
                <a:lnTo>
                  <a:pt x="2029" y="1187"/>
                </a:lnTo>
                <a:lnTo>
                  <a:pt x="2029" y="1187"/>
                </a:lnTo>
                <a:lnTo>
                  <a:pt x="2033" y="1192"/>
                </a:lnTo>
                <a:lnTo>
                  <a:pt x="2037" y="1196"/>
                </a:lnTo>
                <a:lnTo>
                  <a:pt x="2038" y="1198"/>
                </a:lnTo>
                <a:lnTo>
                  <a:pt x="2039" y="1200"/>
                </a:lnTo>
                <a:lnTo>
                  <a:pt x="2040" y="1202"/>
                </a:lnTo>
                <a:lnTo>
                  <a:pt x="2040" y="1206"/>
                </a:lnTo>
                <a:lnTo>
                  <a:pt x="2039" y="1208"/>
                </a:lnTo>
                <a:lnTo>
                  <a:pt x="2039" y="1209"/>
                </a:lnTo>
                <a:lnTo>
                  <a:pt x="2038" y="1209"/>
                </a:lnTo>
                <a:lnTo>
                  <a:pt x="2037" y="1210"/>
                </a:lnTo>
                <a:lnTo>
                  <a:pt x="2036" y="1207"/>
                </a:lnTo>
                <a:lnTo>
                  <a:pt x="2035" y="1202"/>
                </a:lnTo>
                <a:lnTo>
                  <a:pt x="2032" y="1205"/>
                </a:lnTo>
                <a:lnTo>
                  <a:pt x="2028" y="1207"/>
                </a:lnTo>
                <a:lnTo>
                  <a:pt x="2029" y="1202"/>
                </a:lnTo>
                <a:lnTo>
                  <a:pt x="2029" y="1199"/>
                </a:lnTo>
                <a:lnTo>
                  <a:pt x="2028" y="1197"/>
                </a:lnTo>
                <a:lnTo>
                  <a:pt x="2026" y="1194"/>
                </a:lnTo>
                <a:lnTo>
                  <a:pt x="2024" y="1192"/>
                </a:lnTo>
                <a:lnTo>
                  <a:pt x="2025" y="1191"/>
                </a:lnTo>
                <a:lnTo>
                  <a:pt x="2026" y="1189"/>
                </a:lnTo>
                <a:lnTo>
                  <a:pt x="2028" y="1187"/>
                </a:lnTo>
                <a:close/>
                <a:moveTo>
                  <a:pt x="2028" y="1149"/>
                </a:moveTo>
                <a:lnTo>
                  <a:pt x="2029" y="1146"/>
                </a:lnTo>
                <a:lnTo>
                  <a:pt x="2031" y="1144"/>
                </a:lnTo>
                <a:lnTo>
                  <a:pt x="2033" y="1144"/>
                </a:lnTo>
                <a:lnTo>
                  <a:pt x="2034" y="1146"/>
                </a:lnTo>
                <a:lnTo>
                  <a:pt x="2034" y="1149"/>
                </a:lnTo>
                <a:lnTo>
                  <a:pt x="2033" y="1152"/>
                </a:lnTo>
                <a:lnTo>
                  <a:pt x="2033" y="1153"/>
                </a:lnTo>
                <a:lnTo>
                  <a:pt x="2033" y="1154"/>
                </a:lnTo>
                <a:lnTo>
                  <a:pt x="2034" y="1156"/>
                </a:lnTo>
                <a:lnTo>
                  <a:pt x="2036" y="1157"/>
                </a:lnTo>
                <a:lnTo>
                  <a:pt x="2035" y="1161"/>
                </a:lnTo>
                <a:lnTo>
                  <a:pt x="2029" y="1166"/>
                </a:lnTo>
                <a:lnTo>
                  <a:pt x="2031" y="1162"/>
                </a:lnTo>
                <a:lnTo>
                  <a:pt x="2032" y="1160"/>
                </a:lnTo>
                <a:lnTo>
                  <a:pt x="2031" y="1156"/>
                </a:lnTo>
                <a:lnTo>
                  <a:pt x="2028" y="1155"/>
                </a:lnTo>
                <a:lnTo>
                  <a:pt x="2027" y="1152"/>
                </a:lnTo>
                <a:lnTo>
                  <a:pt x="2028" y="1149"/>
                </a:lnTo>
                <a:close/>
                <a:moveTo>
                  <a:pt x="2040" y="1174"/>
                </a:moveTo>
                <a:lnTo>
                  <a:pt x="2039" y="1175"/>
                </a:lnTo>
                <a:lnTo>
                  <a:pt x="2039" y="1176"/>
                </a:lnTo>
                <a:lnTo>
                  <a:pt x="2039" y="1175"/>
                </a:lnTo>
                <a:lnTo>
                  <a:pt x="2040" y="1174"/>
                </a:lnTo>
                <a:close/>
                <a:moveTo>
                  <a:pt x="2041" y="1513"/>
                </a:moveTo>
                <a:lnTo>
                  <a:pt x="2040" y="1516"/>
                </a:lnTo>
                <a:lnTo>
                  <a:pt x="2039" y="1520"/>
                </a:lnTo>
                <a:lnTo>
                  <a:pt x="2039" y="1524"/>
                </a:lnTo>
                <a:lnTo>
                  <a:pt x="2039" y="1529"/>
                </a:lnTo>
                <a:lnTo>
                  <a:pt x="2041" y="1530"/>
                </a:lnTo>
                <a:lnTo>
                  <a:pt x="2042" y="1532"/>
                </a:lnTo>
                <a:lnTo>
                  <a:pt x="2042" y="1534"/>
                </a:lnTo>
                <a:lnTo>
                  <a:pt x="2042" y="1536"/>
                </a:lnTo>
                <a:lnTo>
                  <a:pt x="2041" y="1538"/>
                </a:lnTo>
                <a:lnTo>
                  <a:pt x="2039" y="1539"/>
                </a:lnTo>
                <a:lnTo>
                  <a:pt x="2038" y="1541"/>
                </a:lnTo>
                <a:lnTo>
                  <a:pt x="2036" y="1539"/>
                </a:lnTo>
                <a:lnTo>
                  <a:pt x="2035" y="1536"/>
                </a:lnTo>
                <a:lnTo>
                  <a:pt x="2035" y="1534"/>
                </a:lnTo>
                <a:lnTo>
                  <a:pt x="2037" y="1531"/>
                </a:lnTo>
                <a:lnTo>
                  <a:pt x="2039" y="1529"/>
                </a:lnTo>
                <a:lnTo>
                  <a:pt x="2039" y="1524"/>
                </a:lnTo>
                <a:lnTo>
                  <a:pt x="2039" y="1520"/>
                </a:lnTo>
                <a:lnTo>
                  <a:pt x="2040" y="1516"/>
                </a:lnTo>
                <a:lnTo>
                  <a:pt x="2041" y="1513"/>
                </a:lnTo>
                <a:close/>
                <a:moveTo>
                  <a:pt x="2041" y="1166"/>
                </a:moveTo>
                <a:lnTo>
                  <a:pt x="2041" y="1166"/>
                </a:lnTo>
                <a:lnTo>
                  <a:pt x="2041" y="1166"/>
                </a:lnTo>
                <a:lnTo>
                  <a:pt x="2041" y="1167"/>
                </a:lnTo>
                <a:lnTo>
                  <a:pt x="2041" y="1167"/>
                </a:lnTo>
                <a:lnTo>
                  <a:pt x="2041" y="1167"/>
                </a:lnTo>
                <a:lnTo>
                  <a:pt x="2041" y="1166"/>
                </a:lnTo>
                <a:close/>
                <a:moveTo>
                  <a:pt x="2049" y="1189"/>
                </a:moveTo>
                <a:lnTo>
                  <a:pt x="2050" y="1185"/>
                </a:lnTo>
                <a:lnTo>
                  <a:pt x="2050" y="1183"/>
                </a:lnTo>
                <a:lnTo>
                  <a:pt x="2050" y="1185"/>
                </a:lnTo>
                <a:lnTo>
                  <a:pt x="2049" y="1189"/>
                </a:lnTo>
                <a:lnTo>
                  <a:pt x="2049" y="1194"/>
                </a:lnTo>
                <a:lnTo>
                  <a:pt x="2048" y="1199"/>
                </a:lnTo>
                <a:lnTo>
                  <a:pt x="2046" y="1196"/>
                </a:lnTo>
                <a:lnTo>
                  <a:pt x="2043" y="1194"/>
                </a:lnTo>
                <a:lnTo>
                  <a:pt x="2043" y="1192"/>
                </a:lnTo>
                <a:lnTo>
                  <a:pt x="2043" y="1191"/>
                </a:lnTo>
                <a:lnTo>
                  <a:pt x="2046" y="1190"/>
                </a:lnTo>
                <a:lnTo>
                  <a:pt x="2049" y="1189"/>
                </a:lnTo>
                <a:close/>
                <a:moveTo>
                  <a:pt x="2046" y="1137"/>
                </a:moveTo>
                <a:lnTo>
                  <a:pt x="2044" y="1137"/>
                </a:lnTo>
                <a:lnTo>
                  <a:pt x="2044" y="1138"/>
                </a:lnTo>
                <a:lnTo>
                  <a:pt x="2044" y="1137"/>
                </a:lnTo>
                <a:lnTo>
                  <a:pt x="2046" y="1137"/>
                </a:lnTo>
                <a:close/>
                <a:moveTo>
                  <a:pt x="2051" y="1146"/>
                </a:moveTo>
                <a:lnTo>
                  <a:pt x="2051" y="1139"/>
                </a:lnTo>
                <a:lnTo>
                  <a:pt x="2051" y="1134"/>
                </a:lnTo>
                <a:lnTo>
                  <a:pt x="2051" y="1133"/>
                </a:lnTo>
                <a:lnTo>
                  <a:pt x="2052" y="1132"/>
                </a:lnTo>
                <a:lnTo>
                  <a:pt x="2052" y="1131"/>
                </a:lnTo>
                <a:lnTo>
                  <a:pt x="2054" y="1131"/>
                </a:lnTo>
                <a:lnTo>
                  <a:pt x="2054" y="1128"/>
                </a:lnTo>
                <a:lnTo>
                  <a:pt x="2054" y="1125"/>
                </a:lnTo>
                <a:lnTo>
                  <a:pt x="2054" y="1128"/>
                </a:lnTo>
                <a:lnTo>
                  <a:pt x="2054" y="1131"/>
                </a:lnTo>
                <a:lnTo>
                  <a:pt x="2054" y="1134"/>
                </a:lnTo>
                <a:lnTo>
                  <a:pt x="2054" y="1138"/>
                </a:lnTo>
                <a:lnTo>
                  <a:pt x="2054" y="1138"/>
                </a:lnTo>
                <a:lnTo>
                  <a:pt x="2054" y="1149"/>
                </a:lnTo>
                <a:lnTo>
                  <a:pt x="2052" y="1160"/>
                </a:lnTo>
                <a:lnTo>
                  <a:pt x="2052" y="1153"/>
                </a:lnTo>
                <a:lnTo>
                  <a:pt x="2051" y="1146"/>
                </a:lnTo>
                <a:close/>
                <a:moveTo>
                  <a:pt x="2055" y="627"/>
                </a:moveTo>
                <a:lnTo>
                  <a:pt x="2055" y="626"/>
                </a:lnTo>
                <a:lnTo>
                  <a:pt x="2056" y="624"/>
                </a:lnTo>
                <a:lnTo>
                  <a:pt x="2058" y="625"/>
                </a:lnTo>
                <a:lnTo>
                  <a:pt x="2062" y="628"/>
                </a:lnTo>
                <a:lnTo>
                  <a:pt x="2061" y="633"/>
                </a:lnTo>
                <a:lnTo>
                  <a:pt x="2061" y="637"/>
                </a:lnTo>
                <a:lnTo>
                  <a:pt x="2059" y="643"/>
                </a:lnTo>
                <a:lnTo>
                  <a:pt x="2056" y="648"/>
                </a:lnTo>
                <a:lnTo>
                  <a:pt x="2055" y="643"/>
                </a:lnTo>
                <a:lnTo>
                  <a:pt x="2055" y="637"/>
                </a:lnTo>
                <a:lnTo>
                  <a:pt x="2055" y="632"/>
                </a:lnTo>
                <a:lnTo>
                  <a:pt x="2055" y="627"/>
                </a:lnTo>
                <a:close/>
                <a:moveTo>
                  <a:pt x="2057" y="573"/>
                </a:moveTo>
                <a:lnTo>
                  <a:pt x="2059" y="574"/>
                </a:lnTo>
                <a:lnTo>
                  <a:pt x="2062" y="576"/>
                </a:lnTo>
                <a:lnTo>
                  <a:pt x="2059" y="574"/>
                </a:lnTo>
                <a:lnTo>
                  <a:pt x="2057" y="573"/>
                </a:lnTo>
                <a:lnTo>
                  <a:pt x="2056" y="573"/>
                </a:lnTo>
                <a:lnTo>
                  <a:pt x="2055" y="574"/>
                </a:lnTo>
                <a:lnTo>
                  <a:pt x="2056" y="573"/>
                </a:lnTo>
                <a:lnTo>
                  <a:pt x="2057" y="573"/>
                </a:lnTo>
                <a:close/>
                <a:moveTo>
                  <a:pt x="2065" y="854"/>
                </a:moveTo>
                <a:lnTo>
                  <a:pt x="2068" y="855"/>
                </a:lnTo>
                <a:lnTo>
                  <a:pt x="2070" y="858"/>
                </a:lnTo>
                <a:lnTo>
                  <a:pt x="2070" y="860"/>
                </a:lnTo>
                <a:lnTo>
                  <a:pt x="2071" y="862"/>
                </a:lnTo>
                <a:lnTo>
                  <a:pt x="2070" y="865"/>
                </a:lnTo>
                <a:lnTo>
                  <a:pt x="2069" y="870"/>
                </a:lnTo>
                <a:lnTo>
                  <a:pt x="2069" y="872"/>
                </a:lnTo>
                <a:lnTo>
                  <a:pt x="2068" y="874"/>
                </a:lnTo>
                <a:lnTo>
                  <a:pt x="2066" y="875"/>
                </a:lnTo>
                <a:lnTo>
                  <a:pt x="2063" y="876"/>
                </a:lnTo>
                <a:lnTo>
                  <a:pt x="2063" y="868"/>
                </a:lnTo>
                <a:lnTo>
                  <a:pt x="2063" y="859"/>
                </a:lnTo>
                <a:lnTo>
                  <a:pt x="2063" y="858"/>
                </a:lnTo>
                <a:lnTo>
                  <a:pt x="2063" y="856"/>
                </a:lnTo>
                <a:lnTo>
                  <a:pt x="2063" y="855"/>
                </a:lnTo>
                <a:lnTo>
                  <a:pt x="2065" y="854"/>
                </a:lnTo>
                <a:close/>
                <a:moveTo>
                  <a:pt x="2063" y="443"/>
                </a:moveTo>
                <a:lnTo>
                  <a:pt x="2063" y="443"/>
                </a:lnTo>
                <a:lnTo>
                  <a:pt x="2063" y="443"/>
                </a:lnTo>
                <a:lnTo>
                  <a:pt x="2063" y="443"/>
                </a:lnTo>
                <a:close/>
                <a:moveTo>
                  <a:pt x="2065" y="447"/>
                </a:moveTo>
                <a:lnTo>
                  <a:pt x="2065" y="449"/>
                </a:lnTo>
                <a:lnTo>
                  <a:pt x="2065" y="450"/>
                </a:lnTo>
                <a:lnTo>
                  <a:pt x="2065" y="449"/>
                </a:lnTo>
                <a:lnTo>
                  <a:pt x="2065" y="447"/>
                </a:lnTo>
                <a:close/>
                <a:moveTo>
                  <a:pt x="2069" y="659"/>
                </a:moveTo>
                <a:lnTo>
                  <a:pt x="2070" y="660"/>
                </a:lnTo>
                <a:lnTo>
                  <a:pt x="2070" y="660"/>
                </a:lnTo>
                <a:lnTo>
                  <a:pt x="2070" y="664"/>
                </a:lnTo>
                <a:lnTo>
                  <a:pt x="2069" y="667"/>
                </a:lnTo>
                <a:lnTo>
                  <a:pt x="2068" y="668"/>
                </a:lnTo>
                <a:lnTo>
                  <a:pt x="2067" y="667"/>
                </a:lnTo>
                <a:lnTo>
                  <a:pt x="2065" y="665"/>
                </a:lnTo>
                <a:lnTo>
                  <a:pt x="2065" y="664"/>
                </a:lnTo>
                <a:lnTo>
                  <a:pt x="2065" y="662"/>
                </a:lnTo>
                <a:lnTo>
                  <a:pt x="2066" y="660"/>
                </a:lnTo>
                <a:lnTo>
                  <a:pt x="2068" y="660"/>
                </a:lnTo>
                <a:lnTo>
                  <a:pt x="2069" y="659"/>
                </a:lnTo>
                <a:close/>
                <a:moveTo>
                  <a:pt x="2077" y="419"/>
                </a:moveTo>
                <a:lnTo>
                  <a:pt x="2077" y="419"/>
                </a:lnTo>
                <a:lnTo>
                  <a:pt x="2077" y="419"/>
                </a:lnTo>
                <a:lnTo>
                  <a:pt x="2077" y="419"/>
                </a:lnTo>
                <a:lnTo>
                  <a:pt x="2077" y="419"/>
                </a:lnTo>
                <a:lnTo>
                  <a:pt x="2077" y="421"/>
                </a:lnTo>
                <a:lnTo>
                  <a:pt x="2077" y="423"/>
                </a:lnTo>
                <a:lnTo>
                  <a:pt x="2074" y="425"/>
                </a:lnTo>
                <a:lnTo>
                  <a:pt x="2072" y="425"/>
                </a:lnTo>
                <a:lnTo>
                  <a:pt x="2071" y="423"/>
                </a:lnTo>
                <a:lnTo>
                  <a:pt x="2070" y="422"/>
                </a:lnTo>
                <a:lnTo>
                  <a:pt x="2070" y="419"/>
                </a:lnTo>
                <a:lnTo>
                  <a:pt x="2069" y="415"/>
                </a:lnTo>
                <a:lnTo>
                  <a:pt x="2073" y="418"/>
                </a:lnTo>
                <a:lnTo>
                  <a:pt x="2077" y="419"/>
                </a:lnTo>
                <a:close/>
                <a:moveTo>
                  <a:pt x="2081" y="328"/>
                </a:moveTo>
                <a:lnTo>
                  <a:pt x="2083" y="338"/>
                </a:lnTo>
                <a:lnTo>
                  <a:pt x="2084" y="346"/>
                </a:lnTo>
                <a:lnTo>
                  <a:pt x="2082" y="344"/>
                </a:lnTo>
                <a:lnTo>
                  <a:pt x="2081" y="342"/>
                </a:lnTo>
                <a:lnTo>
                  <a:pt x="2080" y="340"/>
                </a:lnTo>
                <a:lnTo>
                  <a:pt x="2080" y="338"/>
                </a:lnTo>
                <a:lnTo>
                  <a:pt x="2080" y="334"/>
                </a:lnTo>
                <a:lnTo>
                  <a:pt x="2081" y="328"/>
                </a:lnTo>
                <a:close/>
                <a:moveTo>
                  <a:pt x="2087" y="383"/>
                </a:moveTo>
                <a:lnTo>
                  <a:pt x="2083" y="381"/>
                </a:lnTo>
                <a:lnTo>
                  <a:pt x="2082" y="377"/>
                </a:lnTo>
                <a:lnTo>
                  <a:pt x="2082" y="373"/>
                </a:lnTo>
                <a:lnTo>
                  <a:pt x="2085" y="367"/>
                </a:lnTo>
                <a:lnTo>
                  <a:pt x="2087" y="375"/>
                </a:lnTo>
                <a:lnTo>
                  <a:pt x="2087" y="383"/>
                </a:lnTo>
                <a:close/>
                <a:moveTo>
                  <a:pt x="2088" y="405"/>
                </a:moveTo>
                <a:lnTo>
                  <a:pt x="2090" y="415"/>
                </a:lnTo>
                <a:lnTo>
                  <a:pt x="2090" y="425"/>
                </a:lnTo>
                <a:lnTo>
                  <a:pt x="2087" y="421"/>
                </a:lnTo>
                <a:lnTo>
                  <a:pt x="2084" y="418"/>
                </a:lnTo>
                <a:lnTo>
                  <a:pt x="2085" y="412"/>
                </a:lnTo>
                <a:lnTo>
                  <a:pt x="2088" y="405"/>
                </a:lnTo>
                <a:close/>
                <a:moveTo>
                  <a:pt x="2096" y="472"/>
                </a:moveTo>
                <a:lnTo>
                  <a:pt x="2092" y="466"/>
                </a:lnTo>
                <a:lnTo>
                  <a:pt x="2088" y="463"/>
                </a:lnTo>
                <a:lnTo>
                  <a:pt x="2088" y="462"/>
                </a:lnTo>
                <a:lnTo>
                  <a:pt x="2087" y="461"/>
                </a:lnTo>
                <a:lnTo>
                  <a:pt x="2089" y="453"/>
                </a:lnTo>
                <a:lnTo>
                  <a:pt x="2094" y="446"/>
                </a:lnTo>
                <a:lnTo>
                  <a:pt x="2095" y="458"/>
                </a:lnTo>
                <a:lnTo>
                  <a:pt x="2096" y="472"/>
                </a:lnTo>
                <a:close/>
                <a:moveTo>
                  <a:pt x="2099" y="505"/>
                </a:moveTo>
                <a:lnTo>
                  <a:pt x="2099" y="505"/>
                </a:lnTo>
                <a:lnTo>
                  <a:pt x="2099" y="509"/>
                </a:lnTo>
                <a:lnTo>
                  <a:pt x="2099" y="512"/>
                </a:lnTo>
                <a:lnTo>
                  <a:pt x="2100" y="514"/>
                </a:lnTo>
                <a:lnTo>
                  <a:pt x="2098" y="517"/>
                </a:lnTo>
                <a:lnTo>
                  <a:pt x="2097" y="517"/>
                </a:lnTo>
                <a:lnTo>
                  <a:pt x="2096" y="515"/>
                </a:lnTo>
                <a:lnTo>
                  <a:pt x="2095" y="514"/>
                </a:lnTo>
                <a:lnTo>
                  <a:pt x="2095" y="512"/>
                </a:lnTo>
                <a:lnTo>
                  <a:pt x="2094" y="511"/>
                </a:lnTo>
                <a:lnTo>
                  <a:pt x="2093" y="511"/>
                </a:lnTo>
                <a:lnTo>
                  <a:pt x="2093" y="510"/>
                </a:lnTo>
                <a:lnTo>
                  <a:pt x="2093" y="510"/>
                </a:lnTo>
                <a:lnTo>
                  <a:pt x="2092" y="505"/>
                </a:lnTo>
                <a:lnTo>
                  <a:pt x="2093" y="501"/>
                </a:lnTo>
                <a:lnTo>
                  <a:pt x="2095" y="495"/>
                </a:lnTo>
                <a:lnTo>
                  <a:pt x="2096" y="490"/>
                </a:lnTo>
                <a:lnTo>
                  <a:pt x="2097" y="498"/>
                </a:lnTo>
                <a:lnTo>
                  <a:pt x="2099" y="505"/>
                </a:lnTo>
                <a:close/>
                <a:moveTo>
                  <a:pt x="2101" y="535"/>
                </a:moveTo>
                <a:lnTo>
                  <a:pt x="2102" y="543"/>
                </a:lnTo>
                <a:lnTo>
                  <a:pt x="2103" y="552"/>
                </a:lnTo>
                <a:lnTo>
                  <a:pt x="2103" y="559"/>
                </a:lnTo>
                <a:lnTo>
                  <a:pt x="2104" y="567"/>
                </a:lnTo>
                <a:lnTo>
                  <a:pt x="2101" y="565"/>
                </a:lnTo>
                <a:lnTo>
                  <a:pt x="2098" y="563"/>
                </a:lnTo>
                <a:lnTo>
                  <a:pt x="2097" y="560"/>
                </a:lnTo>
                <a:lnTo>
                  <a:pt x="2096" y="557"/>
                </a:lnTo>
                <a:lnTo>
                  <a:pt x="2096" y="553"/>
                </a:lnTo>
                <a:lnTo>
                  <a:pt x="2097" y="549"/>
                </a:lnTo>
                <a:lnTo>
                  <a:pt x="2098" y="542"/>
                </a:lnTo>
                <a:lnTo>
                  <a:pt x="2101" y="535"/>
                </a:lnTo>
                <a:close/>
                <a:moveTo>
                  <a:pt x="2108" y="619"/>
                </a:moveTo>
                <a:lnTo>
                  <a:pt x="2107" y="619"/>
                </a:lnTo>
                <a:lnTo>
                  <a:pt x="2105" y="618"/>
                </a:lnTo>
                <a:lnTo>
                  <a:pt x="2102" y="616"/>
                </a:lnTo>
                <a:lnTo>
                  <a:pt x="2100" y="613"/>
                </a:lnTo>
                <a:lnTo>
                  <a:pt x="2099" y="610"/>
                </a:lnTo>
                <a:lnTo>
                  <a:pt x="2098" y="605"/>
                </a:lnTo>
                <a:lnTo>
                  <a:pt x="2101" y="598"/>
                </a:lnTo>
                <a:lnTo>
                  <a:pt x="2103" y="590"/>
                </a:lnTo>
                <a:lnTo>
                  <a:pt x="2103" y="589"/>
                </a:lnTo>
                <a:lnTo>
                  <a:pt x="2103" y="588"/>
                </a:lnTo>
                <a:lnTo>
                  <a:pt x="2103" y="589"/>
                </a:lnTo>
                <a:lnTo>
                  <a:pt x="2103" y="590"/>
                </a:lnTo>
                <a:lnTo>
                  <a:pt x="2105" y="597"/>
                </a:lnTo>
                <a:lnTo>
                  <a:pt x="2107" y="603"/>
                </a:lnTo>
                <a:lnTo>
                  <a:pt x="2107" y="610"/>
                </a:lnTo>
                <a:lnTo>
                  <a:pt x="2108" y="617"/>
                </a:lnTo>
                <a:lnTo>
                  <a:pt x="2109" y="618"/>
                </a:lnTo>
                <a:lnTo>
                  <a:pt x="2108" y="619"/>
                </a:lnTo>
                <a:close/>
                <a:moveTo>
                  <a:pt x="2112" y="644"/>
                </a:moveTo>
                <a:lnTo>
                  <a:pt x="2112" y="644"/>
                </a:lnTo>
                <a:lnTo>
                  <a:pt x="2111" y="642"/>
                </a:lnTo>
                <a:lnTo>
                  <a:pt x="2110" y="641"/>
                </a:lnTo>
                <a:lnTo>
                  <a:pt x="2111" y="642"/>
                </a:lnTo>
                <a:lnTo>
                  <a:pt x="2112" y="644"/>
                </a:lnTo>
                <a:close/>
                <a:moveTo>
                  <a:pt x="2108" y="639"/>
                </a:moveTo>
                <a:lnTo>
                  <a:pt x="2108" y="639"/>
                </a:lnTo>
                <a:lnTo>
                  <a:pt x="2109" y="639"/>
                </a:lnTo>
                <a:lnTo>
                  <a:pt x="2109" y="639"/>
                </a:lnTo>
                <a:lnTo>
                  <a:pt x="2108" y="639"/>
                </a:lnTo>
                <a:lnTo>
                  <a:pt x="2108" y="639"/>
                </a:lnTo>
                <a:close/>
                <a:moveTo>
                  <a:pt x="2115" y="674"/>
                </a:moveTo>
                <a:lnTo>
                  <a:pt x="2111" y="672"/>
                </a:lnTo>
                <a:lnTo>
                  <a:pt x="2109" y="668"/>
                </a:lnTo>
                <a:lnTo>
                  <a:pt x="2107" y="665"/>
                </a:lnTo>
                <a:lnTo>
                  <a:pt x="2104" y="662"/>
                </a:lnTo>
                <a:lnTo>
                  <a:pt x="2105" y="658"/>
                </a:lnTo>
                <a:lnTo>
                  <a:pt x="2107" y="652"/>
                </a:lnTo>
                <a:lnTo>
                  <a:pt x="2108" y="648"/>
                </a:lnTo>
                <a:lnTo>
                  <a:pt x="2112" y="644"/>
                </a:lnTo>
                <a:lnTo>
                  <a:pt x="2113" y="659"/>
                </a:lnTo>
                <a:lnTo>
                  <a:pt x="2115" y="674"/>
                </a:lnTo>
                <a:close/>
                <a:moveTo>
                  <a:pt x="2118" y="698"/>
                </a:moveTo>
                <a:lnTo>
                  <a:pt x="2117" y="695"/>
                </a:lnTo>
                <a:lnTo>
                  <a:pt x="2116" y="692"/>
                </a:lnTo>
                <a:lnTo>
                  <a:pt x="2117" y="695"/>
                </a:lnTo>
                <a:lnTo>
                  <a:pt x="2118" y="698"/>
                </a:lnTo>
                <a:lnTo>
                  <a:pt x="2118" y="698"/>
                </a:lnTo>
                <a:lnTo>
                  <a:pt x="2118" y="698"/>
                </a:lnTo>
                <a:close/>
                <a:moveTo>
                  <a:pt x="2118" y="705"/>
                </a:moveTo>
                <a:lnTo>
                  <a:pt x="2119" y="706"/>
                </a:lnTo>
                <a:lnTo>
                  <a:pt x="2120" y="707"/>
                </a:lnTo>
                <a:lnTo>
                  <a:pt x="2119" y="706"/>
                </a:lnTo>
                <a:lnTo>
                  <a:pt x="2118" y="705"/>
                </a:lnTo>
                <a:lnTo>
                  <a:pt x="2120" y="718"/>
                </a:lnTo>
                <a:lnTo>
                  <a:pt x="2122" y="731"/>
                </a:lnTo>
                <a:lnTo>
                  <a:pt x="2117" y="726"/>
                </a:lnTo>
                <a:lnTo>
                  <a:pt x="2114" y="723"/>
                </a:lnTo>
                <a:lnTo>
                  <a:pt x="2112" y="719"/>
                </a:lnTo>
                <a:lnTo>
                  <a:pt x="2111" y="716"/>
                </a:lnTo>
                <a:lnTo>
                  <a:pt x="2112" y="711"/>
                </a:lnTo>
                <a:lnTo>
                  <a:pt x="2113" y="707"/>
                </a:lnTo>
                <a:lnTo>
                  <a:pt x="2115" y="703"/>
                </a:lnTo>
                <a:lnTo>
                  <a:pt x="2118" y="698"/>
                </a:lnTo>
                <a:lnTo>
                  <a:pt x="2118" y="702"/>
                </a:lnTo>
                <a:lnTo>
                  <a:pt x="2118" y="705"/>
                </a:lnTo>
                <a:close/>
                <a:moveTo>
                  <a:pt x="2126" y="755"/>
                </a:moveTo>
                <a:lnTo>
                  <a:pt x="2127" y="764"/>
                </a:lnTo>
                <a:lnTo>
                  <a:pt x="2128" y="771"/>
                </a:lnTo>
                <a:lnTo>
                  <a:pt x="2129" y="780"/>
                </a:lnTo>
                <a:lnTo>
                  <a:pt x="2131" y="788"/>
                </a:lnTo>
                <a:lnTo>
                  <a:pt x="2126" y="784"/>
                </a:lnTo>
                <a:lnTo>
                  <a:pt x="2123" y="780"/>
                </a:lnTo>
                <a:lnTo>
                  <a:pt x="2120" y="778"/>
                </a:lnTo>
                <a:lnTo>
                  <a:pt x="2119" y="774"/>
                </a:lnTo>
                <a:lnTo>
                  <a:pt x="2119" y="771"/>
                </a:lnTo>
                <a:lnTo>
                  <a:pt x="2120" y="767"/>
                </a:lnTo>
                <a:lnTo>
                  <a:pt x="2123" y="762"/>
                </a:lnTo>
                <a:lnTo>
                  <a:pt x="2126" y="755"/>
                </a:lnTo>
                <a:close/>
                <a:moveTo>
                  <a:pt x="2134" y="812"/>
                </a:moveTo>
                <a:lnTo>
                  <a:pt x="2137" y="821"/>
                </a:lnTo>
                <a:lnTo>
                  <a:pt x="2139" y="830"/>
                </a:lnTo>
                <a:lnTo>
                  <a:pt x="2140" y="839"/>
                </a:lnTo>
                <a:lnTo>
                  <a:pt x="2142" y="848"/>
                </a:lnTo>
                <a:lnTo>
                  <a:pt x="2133" y="841"/>
                </a:lnTo>
                <a:lnTo>
                  <a:pt x="2127" y="834"/>
                </a:lnTo>
                <a:lnTo>
                  <a:pt x="2125" y="835"/>
                </a:lnTo>
                <a:lnTo>
                  <a:pt x="2123" y="834"/>
                </a:lnTo>
                <a:lnTo>
                  <a:pt x="2125" y="835"/>
                </a:lnTo>
                <a:lnTo>
                  <a:pt x="2127" y="834"/>
                </a:lnTo>
                <a:lnTo>
                  <a:pt x="2127" y="832"/>
                </a:lnTo>
                <a:lnTo>
                  <a:pt x="2126" y="830"/>
                </a:lnTo>
                <a:lnTo>
                  <a:pt x="2130" y="823"/>
                </a:lnTo>
                <a:lnTo>
                  <a:pt x="2134" y="812"/>
                </a:lnTo>
                <a:close/>
                <a:moveTo>
                  <a:pt x="2154" y="907"/>
                </a:moveTo>
                <a:lnTo>
                  <a:pt x="2148" y="903"/>
                </a:lnTo>
                <a:lnTo>
                  <a:pt x="2144" y="900"/>
                </a:lnTo>
                <a:lnTo>
                  <a:pt x="2141" y="895"/>
                </a:lnTo>
                <a:lnTo>
                  <a:pt x="2140" y="891"/>
                </a:lnTo>
                <a:lnTo>
                  <a:pt x="2140" y="887"/>
                </a:lnTo>
                <a:lnTo>
                  <a:pt x="2141" y="882"/>
                </a:lnTo>
                <a:lnTo>
                  <a:pt x="2142" y="877"/>
                </a:lnTo>
                <a:lnTo>
                  <a:pt x="2145" y="871"/>
                </a:lnTo>
                <a:lnTo>
                  <a:pt x="2148" y="879"/>
                </a:lnTo>
                <a:lnTo>
                  <a:pt x="2150" y="889"/>
                </a:lnTo>
                <a:lnTo>
                  <a:pt x="2152" y="899"/>
                </a:lnTo>
                <a:lnTo>
                  <a:pt x="2154" y="907"/>
                </a:lnTo>
                <a:close/>
                <a:moveTo>
                  <a:pt x="2157" y="935"/>
                </a:moveTo>
                <a:lnTo>
                  <a:pt x="2158" y="934"/>
                </a:lnTo>
                <a:lnTo>
                  <a:pt x="2158" y="934"/>
                </a:lnTo>
                <a:lnTo>
                  <a:pt x="2159" y="935"/>
                </a:lnTo>
                <a:lnTo>
                  <a:pt x="2160" y="935"/>
                </a:lnTo>
                <a:lnTo>
                  <a:pt x="2160" y="941"/>
                </a:lnTo>
                <a:lnTo>
                  <a:pt x="2160" y="948"/>
                </a:lnTo>
                <a:lnTo>
                  <a:pt x="2160" y="950"/>
                </a:lnTo>
                <a:lnTo>
                  <a:pt x="2159" y="952"/>
                </a:lnTo>
                <a:lnTo>
                  <a:pt x="2158" y="952"/>
                </a:lnTo>
                <a:lnTo>
                  <a:pt x="2156" y="952"/>
                </a:lnTo>
                <a:lnTo>
                  <a:pt x="2154" y="952"/>
                </a:lnTo>
                <a:lnTo>
                  <a:pt x="2154" y="950"/>
                </a:lnTo>
                <a:lnTo>
                  <a:pt x="2154" y="949"/>
                </a:lnTo>
                <a:lnTo>
                  <a:pt x="2154" y="947"/>
                </a:lnTo>
                <a:lnTo>
                  <a:pt x="2155" y="941"/>
                </a:lnTo>
                <a:lnTo>
                  <a:pt x="2157" y="935"/>
                </a:lnTo>
                <a:close/>
                <a:moveTo>
                  <a:pt x="2160" y="933"/>
                </a:moveTo>
                <a:lnTo>
                  <a:pt x="2159" y="930"/>
                </a:lnTo>
                <a:lnTo>
                  <a:pt x="2157" y="927"/>
                </a:lnTo>
                <a:lnTo>
                  <a:pt x="2159" y="930"/>
                </a:lnTo>
                <a:lnTo>
                  <a:pt x="2160" y="933"/>
                </a:lnTo>
                <a:close/>
                <a:moveTo>
                  <a:pt x="2165" y="1103"/>
                </a:moveTo>
                <a:lnTo>
                  <a:pt x="2165" y="1106"/>
                </a:lnTo>
                <a:lnTo>
                  <a:pt x="2164" y="1109"/>
                </a:lnTo>
                <a:lnTo>
                  <a:pt x="2162" y="1103"/>
                </a:lnTo>
                <a:lnTo>
                  <a:pt x="2159" y="1096"/>
                </a:lnTo>
                <a:lnTo>
                  <a:pt x="2161" y="1095"/>
                </a:lnTo>
                <a:lnTo>
                  <a:pt x="2162" y="1096"/>
                </a:lnTo>
                <a:lnTo>
                  <a:pt x="2163" y="1098"/>
                </a:lnTo>
                <a:lnTo>
                  <a:pt x="2164" y="1099"/>
                </a:lnTo>
                <a:lnTo>
                  <a:pt x="2164" y="1101"/>
                </a:lnTo>
                <a:lnTo>
                  <a:pt x="2165" y="1103"/>
                </a:lnTo>
                <a:close/>
                <a:moveTo>
                  <a:pt x="2159" y="1227"/>
                </a:moveTo>
                <a:lnTo>
                  <a:pt x="2162" y="1235"/>
                </a:lnTo>
                <a:lnTo>
                  <a:pt x="2165" y="1243"/>
                </a:lnTo>
                <a:lnTo>
                  <a:pt x="2163" y="1245"/>
                </a:lnTo>
                <a:lnTo>
                  <a:pt x="2162" y="1245"/>
                </a:lnTo>
                <a:lnTo>
                  <a:pt x="2161" y="1244"/>
                </a:lnTo>
                <a:lnTo>
                  <a:pt x="2160" y="1241"/>
                </a:lnTo>
                <a:lnTo>
                  <a:pt x="2157" y="1231"/>
                </a:lnTo>
                <a:lnTo>
                  <a:pt x="2154" y="1223"/>
                </a:lnTo>
                <a:lnTo>
                  <a:pt x="2156" y="1223"/>
                </a:lnTo>
                <a:lnTo>
                  <a:pt x="2157" y="1224"/>
                </a:lnTo>
                <a:lnTo>
                  <a:pt x="2158" y="1225"/>
                </a:lnTo>
                <a:lnTo>
                  <a:pt x="2159" y="1227"/>
                </a:lnTo>
                <a:close/>
                <a:moveTo>
                  <a:pt x="2093" y="1599"/>
                </a:moveTo>
                <a:lnTo>
                  <a:pt x="2093" y="1599"/>
                </a:lnTo>
                <a:lnTo>
                  <a:pt x="2092" y="1598"/>
                </a:lnTo>
                <a:lnTo>
                  <a:pt x="2093" y="1599"/>
                </a:lnTo>
                <a:lnTo>
                  <a:pt x="2093" y="1599"/>
                </a:lnTo>
                <a:close/>
                <a:moveTo>
                  <a:pt x="2088" y="1260"/>
                </a:moveTo>
                <a:lnTo>
                  <a:pt x="2088" y="1257"/>
                </a:lnTo>
                <a:lnTo>
                  <a:pt x="2088" y="1254"/>
                </a:lnTo>
                <a:lnTo>
                  <a:pt x="2092" y="1256"/>
                </a:lnTo>
                <a:lnTo>
                  <a:pt x="2092" y="1257"/>
                </a:lnTo>
                <a:lnTo>
                  <a:pt x="2090" y="1259"/>
                </a:lnTo>
                <a:lnTo>
                  <a:pt x="2088" y="1260"/>
                </a:lnTo>
                <a:close/>
                <a:moveTo>
                  <a:pt x="2086" y="1266"/>
                </a:moveTo>
                <a:lnTo>
                  <a:pt x="2087" y="1267"/>
                </a:lnTo>
                <a:lnTo>
                  <a:pt x="2087" y="1268"/>
                </a:lnTo>
                <a:lnTo>
                  <a:pt x="2087" y="1267"/>
                </a:lnTo>
                <a:lnTo>
                  <a:pt x="2086" y="1266"/>
                </a:lnTo>
                <a:close/>
                <a:moveTo>
                  <a:pt x="2083" y="1544"/>
                </a:moveTo>
                <a:lnTo>
                  <a:pt x="2083" y="1544"/>
                </a:lnTo>
                <a:lnTo>
                  <a:pt x="2084" y="1545"/>
                </a:lnTo>
                <a:lnTo>
                  <a:pt x="2083" y="1544"/>
                </a:lnTo>
                <a:lnTo>
                  <a:pt x="2083" y="1544"/>
                </a:lnTo>
                <a:close/>
                <a:moveTo>
                  <a:pt x="2078" y="1486"/>
                </a:moveTo>
                <a:lnTo>
                  <a:pt x="2079" y="1487"/>
                </a:lnTo>
                <a:lnTo>
                  <a:pt x="2080" y="1489"/>
                </a:lnTo>
                <a:lnTo>
                  <a:pt x="2079" y="1487"/>
                </a:lnTo>
                <a:lnTo>
                  <a:pt x="2078" y="1486"/>
                </a:lnTo>
                <a:close/>
                <a:moveTo>
                  <a:pt x="2078" y="1486"/>
                </a:moveTo>
                <a:lnTo>
                  <a:pt x="2078" y="1486"/>
                </a:lnTo>
                <a:lnTo>
                  <a:pt x="2078" y="1486"/>
                </a:lnTo>
                <a:lnTo>
                  <a:pt x="2078" y="1486"/>
                </a:lnTo>
                <a:lnTo>
                  <a:pt x="2078" y="1486"/>
                </a:lnTo>
                <a:close/>
                <a:moveTo>
                  <a:pt x="2072" y="845"/>
                </a:moveTo>
                <a:lnTo>
                  <a:pt x="2074" y="845"/>
                </a:lnTo>
                <a:lnTo>
                  <a:pt x="2076" y="847"/>
                </a:lnTo>
                <a:lnTo>
                  <a:pt x="2074" y="849"/>
                </a:lnTo>
                <a:lnTo>
                  <a:pt x="2072" y="850"/>
                </a:lnTo>
                <a:lnTo>
                  <a:pt x="2069" y="848"/>
                </a:lnTo>
                <a:lnTo>
                  <a:pt x="2067" y="844"/>
                </a:lnTo>
                <a:lnTo>
                  <a:pt x="2070" y="845"/>
                </a:lnTo>
                <a:lnTo>
                  <a:pt x="2072" y="845"/>
                </a:lnTo>
                <a:close/>
                <a:moveTo>
                  <a:pt x="2072" y="826"/>
                </a:moveTo>
                <a:lnTo>
                  <a:pt x="2074" y="825"/>
                </a:lnTo>
                <a:lnTo>
                  <a:pt x="2076" y="824"/>
                </a:lnTo>
                <a:lnTo>
                  <a:pt x="2077" y="825"/>
                </a:lnTo>
                <a:lnTo>
                  <a:pt x="2079" y="826"/>
                </a:lnTo>
                <a:lnTo>
                  <a:pt x="2081" y="828"/>
                </a:lnTo>
                <a:lnTo>
                  <a:pt x="2084" y="829"/>
                </a:lnTo>
                <a:lnTo>
                  <a:pt x="2082" y="833"/>
                </a:lnTo>
                <a:lnTo>
                  <a:pt x="2082" y="838"/>
                </a:lnTo>
                <a:lnTo>
                  <a:pt x="2082" y="838"/>
                </a:lnTo>
                <a:lnTo>
                  <a:pt x="2082" y="838"/>
                </a:lnTo>
                <a:lnTo>
                  <a:pt x="2081" y="840"/>
                </a:lnTo>
                <a:lnTo>
                  <a:pt x="2079" y="841"/>
                </a:lnTo>
                <a:lnTo>
                  <a:pt x="2077" y="842"/>
                </a:lnTo>
                <a:lnTo>
                  <a:pt x="2076" y="842"/>
                </a:lnTo>
                <a:lnTo>
                  <a:pt x="2071" y="841"/>
                </a:lnTo>
                <a:lnTo>
                  <a:pt x="2067" y="841"/>
                </a:lnTo>
                <a:lnTo>
                  <a:pt x="2067" y="836"/>
                </a:lnTo>
                <a:lnTo>
                  <a:pt x="2068" y="832"/>
                </a:lnTo>
                <a:lnTo>
                  <a:pt x="2070" y="829"/>
                </a:lnTo>
                <a:lnTo>
                  <a:pt x="2072" y="826"/>
                </a:lnTo>
                <a:close/>
                <a:moveTo>
                  <a:pt x="2073" y="715"/>
                </a:moveTo>
                <a:lnTo>
                  <a:pt x="2073" y="717"/>
                </a:lnTo>
                <a:lnTo>
                  <a:pt x="2074" y="718"/>
                </a:lnTo>
                <a:lnTo>
                  <a:pt x="2074" y="720"/>
                </a:lnTo>
                <a:lnTo>
                  <a:pt x="2074" y="722"/>
                </a:lnTo>
                <a:lnTo>
                  <a:pt x="2073" y="724"/>
                </a:lnTo>
                <a:lnTo>
                  <a:pt x="2072" y="725"/>
                </a:lnTo>
                <a:lnTo>
                  <a:pt x="2070" y="726"/>
                </a:lnTo>
                <a:lnTo>
                  <a:pt x="2068" y="726"/>
                </a:lnTo>
                <a:lnTo>
                  <a:pt x="2067" y="724"/>
                </a:lnTo>
                <a:lnTo>
                  <a:pt x="2066" y="723"/>
                </a:lnTo>
                <a:lnTo>
                  <a:pt x="2066" y="721"/>
                </a:lnTo>
                <a:lnTo>
                  <a:pt x="2066" y="719"/>
                </a:lnTo>
                <a:lnTo>
                  <a:pt x="2067" y="718"/>
                </a:lnTo>
                <a:lnTo>
                  <a:pt x="2067" y="716"/>
                </a:lnTo>
                <a:lnTo>
                  <a:pt x="2070" y="715"/>
                </a:lnTo>
                <a:lnTo>
                  <a:pt x="2073" y="715"/>
                </a:lnTo>
                <a:close/>
                <a:moveTo>
                  <a:pt x="2076" y="471"/>
                </a:moveTo>
                <a:lnTo>
                  <a:pt x="2073" y="465"/>
                </a:lnTo>
                <a:lnTo>
                  <a:pt x="2073" y="460"/>
                </a:lnTo>
                <a:lnTo>
                  <a:pt x="2076" y="460"/>
                </a:lnTo>
                <a:lnTo>
                  <a:pt x="2077" y="461"/>
                </a:lnTo>
                <a:lnTo>
                  <a:pt x="2078" y="462"/>
                </a:lnTo>
                <a:lnTo>
                  <a:pt x="2080" y="463"/>
                </a:lnTo>
                <a:lnTo>
                  <a:pt x="2078" y="467"/>
                </a:lnTo>
                <a:lnTo>
                  <a:pt x="2076" y="471"/>
                </a:lnTo>
                <a:close/>
                <a:moveTo>
                  <a:pt x="2082" y="513"/>
                </a:moveTo>
                <a:lnTo>
                  <a:pt x="2081" y="515"/>
                </a:lnTo>
                <a:lnTo>
                  <a:pt x="2080" y="515"/>
                </a:lnTo>
                <a:lnTo>
                  <a:pt x="2078" y="515"/>
                </a:lnTo>
                <a:lnTo>
                  <a:pt x="2077" y="515"/>
                </a:lnTo>
                <a:lnTo>
                  <a:pt x="2076" y="512"/>
                </a:lnTo>
                <a:lnTo>
                  <a:pt x="2076" y="509"/>
                </a:lnTo>
                <a:lnTo>
                  <a:pt x="2076" y="506"/>
                </a:lnTo>
                <a:lnTo>
                  <a:pt x="2077" y="503"/>
                </a:lnTo>
                <a:lnTo>
                  <a:pt x="2079" y="505"/>
                </a:lnTo>
                <a:lnTo>
                  <a:pt x="2081" y="507"/>
                </a:lnTo>
                <a:lnTo>
                  <a:pt x="2082" y="510"/>
                </a:lnTo>
                <a:lnTo>
                  <a:pt x="2082" y="513"/>
                </a:lnTo>
                <a:close/>
                <a:moveTo>
                  <a:pt x="2096" y="604"/>
                </a:moveTo>
                <a:lnTo>
                  <a:pt x="2095" y="604"/>
                </a:lnTo>
                <a:lnTo>
                  <a:pt x="2094" y="602"/>
                </a:lnTo>
                <a:lnTo>
                  <a:pt x="2094" y="602"/>
                </a:lnTo>
                <a:lnTo>
                  <a:pt x="2093" y="601"/>
                </a:lnTo>
                <a:lnTo>
                  <a:pt x="2092" y="599"/>
                </a:lnTo>
                <a:lnTo>
                  <a:pt x="2090" y="597"/>
                </a:lnTo>
                <a:lnTo>
                  <a:pt x="2090" y="596"/>
                </a:lnTo>
                <a:lnTo>
                  <a:pt x="2092" y="594"/>
                </a:lnTo>
                <a:lnTo>
                  <a:pt x="2094" y="591"/>
                </a:lnTo>
                <a:lnTo>
                  <a:pt x="2097" y="588"/>
                </a:lnTo>
                <a:lnTo>
                  <a:pt x="2096" y="596"/>
                </a:lnTo>
                <a:lnTo>
                  <a:pt x="2094" y="602"/>
                </a:lnTo>
                <a:lnTo>
                  <a:pt x="2095" y="604"/>
                </a:lnTo>
                <a:lnTo>
                  <a:pt x="2096" y="604"/>
                </a:lnTo>
                <a:close/>
                <a:moveTo>
                  <a:pt x="2101" y="635"/>
                </a:moveTo>
                <a:lnTo>
                  <a:pt x="2097" y="636"/>
                </a:lnTo>
                <a:lnTo>
                  <a:pt x="2094" y="639"/>
                </a:lnTo>
                <a:lnTo>
                  <a:pt x="2093" y="641"/>
                </a:lnTo>
                <a:lnTo>
                  <a:pt x="2090" y="641"/>
                </a:lnTo>
                <a:lnTo>
                  <a:pt x="2088" y="641"/>
                </a:lnTo>
                <a:lnTo>
                  <a:pt x="2086" y="640"/>
                </a:lnTo>
                <a:lnTo>
                  <a:pt x="2086" y="639"/>
                </a:lnTo>
                <a:lnTo>
                  <a:pt x="2086" y="639"/>
                </a:lnTo>
                <a:lnTo>
                  <a:pt x="2090" y="632"/>
                </a:lnTo>
                <a:lnTo>
                  <a:pt x="2097" y="628"/>
                </a:lnTo>
                <a:lnTo>
                  <a:pt x="2099" y="629"/>
                </a:lnTo>
                <a:lnTo>
                  <a:pt x="2101" y="629"/>
                </a:lnTo>
                <a:lnTo>
                  <a:pt x="2101" y="630"/>
                </a:lnTo>
                <a:lnTo>
                  <a:pt x="2099" y="632"/>
                </a:lnTo>
                <a:lnTo>
                  <a:pt x="2099" y="633"/>
                </a:lnTo>
                <a:lnTo>
                  <a:pt x="2101" y="635"/>
                </a:lnTo>
                <a:close/>
                <a:moveTo>
                  <a:pt x="2100" y="657"/>
                </a:moveTo>
                <a:lnTo>
                  <a:pt x="2099" y="657"/>
                </a:lnTo>
                <a:lnTo>
                  <a:pt x="2098" y="657"/>
                </a:lnTo>
                <a:lnTo>
                  <a:pt x="2096" y="652"/>
                </a:lnTo>
                <a:lnTo>
                  <a:pt x="2097" y="648"/>
                </a:lnTo>
                <a:lnTo>
                  <a:pt x="2099" y="644"/>
                </a:lnTo>
                <a:lnTo>
                  <a:pt x="2103" y="641"/>
                </a:lnTo>
                <a:lnTo>
                  <a:pt x="2102" y="649"/>
                </a:lnTo>
                <a:lnTo>
                  <a:pt x="2100" y="657"/>
                </a:lnTo>
                <a:close/>
                <a:moveTo>
                  <a:pt x="2101" y="668"/>
                </a:moveTo>
                <a:lnTo>
                  <a:pt x="2107" y="673"/>
                </a:lnTo>
                <a:lnTo>
                  <a:pt x="2111" y="678"/>
                </a:lnTo>
                <a:lnTo>
                  <a:pt x="2107" y="677"/>
                </a:lnTo>
                <a:lnTo>
                  <a:pt x="2102" y="677"/>
                </a:lnTo>
                <a:lnTo>
                  <a:pt x="2101" y="676"/>
                </a:lnTo>
                <a:lnTo>
                  <a:pt x="2100" y="675"/>
                </a:lnTo>
                <a:lnTo>
                  <a:pt x="2100" y="672"/>
                </a:lnTo>
                <a:lnTo>
                  <a:pt x="2101" y="668"/>
                </a:lnTo>
                <a:close/>
                <a:moveTo>
                  <a:pt x="2109" y="724"/>
                </a:moveTo>
                <a:lnTo>
                  <a:pt x="2113" y="728"/>
                </a:lnTo>
                <a:lnTo>
                  <a:pt x="2116" y="734"/>
                </a:lnTo>
                <a:lnTo>
                  <a:pt x="2110" y="734"/>
                </a:lnTo>
                <a:lnTo>
                  <a:pt x="2108" y="733"/>
                </a:lnTo>
                <a:lnTo>
                  <a:pt x="2107" y="729"/>
                </a:lnTo>
                <a:lnTo>
                  <a:pt x="2109" y="724"/>
                </a:lnTo>
                <a:close/>
                <a:moveTo>
                  <a:pt x="2114" y="768"/>
                </a:moveTo>
                <a:lnTo>
                  <a:pt x="2112" y="768"/>
                </a:lnTo>
                <a:lnTo>
                  <a:pt x="2111" y="766"/>
                </a:lnTo>
                <a:lnTo>
                  <a:pt x="2111" y="763"/>
                </a:lnTo>
                <a:lnTo>
                  <a:pt x="2112" y="761"/>
                </a:lnTo>
                <a:lnTo>
                  <a:pt x="2114" y="757"/>
                </a:lnTo>
                <a:lnTo>
                  <a:pt x="2116" y="754"/>
                </a:lnTo>
                <a:lnTo>
                  <a:pt x="2117" y="758"/>
                </a:lnTo>
                <a:lnTo>
                  <a:pt x="2117" y="763"/>
                </a:lnTo>
                <a:lnTo>
                  <a:pt x="2116" y="765"/>
                </a:lnTo>
                <a:lnTo>
                  <a:pt x="2114" y="768"/>
                </a:lnTo>
                <a:close/>
                <a:moveTo>
                  <a:pt x="2117" y="793"/>
                </a:moveTo>
                <a:lnTo>
                  <a:pt x="2115" y="792"/>
                </a:lnTo>
                <a:lnTo>
                  <a:pt x="2114" y="789"/>
                </a:lnTo>
                <a:lnTo>
                  <a:pt x="2114" y="786"/>
                </a:lnTo>
                <a:lnTo>
                  <a:pt x="2116" y="783"/>
                </a:lnTo>
                <a:lnTo>
                  <a:pt x="2119" y="783"/>
                </a:lnTo>
                <a:lnTo>
                  <a:pt x="2120" y="785"/>
                </a:lnTo>
                <a:lnTo>
                  <a:pt x="2124" y="788"/>
                </a:lnTo>
                <a:lnTo>
                  <a:pt x="2127" y="794"/>
                </a:lnTo>
                <a:lnTo>
                  <a:pt x="2122" y="794"/>
                </a:lnTo>
                <a:lnTo>
                  <a:pt x="2117" y="793"/>
                </a:lnTo>
                <a:close/>
                <a:moveTo>
                  <a:pt x="2118" y="820"/>
                </a:moveTo>
                <a:lnTo>
                  <a:pt x="2118" y="819"/>
                </a:lnTo>
                <a:lnTo>
                  <a:pt x="2118" y="819"/>
                </a:lnTo>
                <a:lnTo>
                  <a:pt x="2118" y="819"/>
                </a:lnTo>
                <a:lnTo>
                  <a:pt x="2118" y="820"/>
                </a:lnTo>
                <a:lnTo>
                  <a:pt x="2123" y="817"/>
                </a:lnTo>
                <a:lnTo>
                  <a:pt x="2127" y="814"/>
                </a:lnTo>
                <a:lnTo>
                  <a:pt x="2126" y="821"/>
                </a:lnTo>
                <a:lnTo>
                  <a:pt x="2124" y="828"/>
                </a:lnTo>
                <a:lnTo>
                  <a:pt x="2122" y="827"/>
                </a:lnTo>
                <a:lnTo>
                  <a:pt x="2119" y="825"/>
                </a:lnTo>
                <a:lnTo>
                  <a:pt x="2118" y="823"/>
                </a:lnTo>
                <a:lnTo>
                  <a:pt x="2118" y="820"/>
                </a:lnTo>
                <a:close/>
                <a:moveTo>
                  <a:pt x="2135" y="858"/>
                </a:moveTo>
                <a:lnTo>
                  <a:pt x="2128" y="864"/>
                </a:lnTo>
                <a:lnTo>
                  <a:pt x="2120" y="870"/>
                </a:lnTo>
                <a:lnTo>
                  <a:pt x="2120" y="871"/>
                </a:lnTo>
                <a:lnTo>
                  <a:pt x="2120" y="872"/>
                </a:lnTo>
                <a:lnTo>
                  <a:pt x="2128" y="869"/>
                </a:lnTo>
                <a:lnTo>
                  <a:pt x="2135" y="865"/>
                </a:lnTo>
                <a:lnTo>
                  <a:pt x="2133" y="873"/>
                </a:lnTo>
                <a:lnTo>
                  <a:pt x="2130" y="876"/>
                </a:lnTo>
                <a:lnTo>
                  <a:pt x="2128" y="877"/>
                </a:lnTo>
                <a:lnTo>
                  <a:pt x="2126" y="877"/>
                </a:lnTo>
                <a:lnTo>
                  <a:pt x="2123" y="877"/>
                </a:lnTo>
                <a:lnTo>
                  <a:pt x="2120" y="876"/>
                </a:lnTo>
                <a:lnTo>
                  <a:pt x="2118" y="875"/>
                </a:lnTo>
                <a:lnTo>
                  <a:pt x="2117" y="874"/>
                </a:lnTo>
                <a:lnTo>
                  <a:pt x="2118" y="875"/>
                </a:lnTo>
                <a:lnTo>
                  <a:pt x="2120" y="876"/>
                </a:lnTo>
                <a:lnTo>
                  <a:pt x="2120" y="874"/>
                </a:lnTo>
                <a:lnTo>
                  <a:pt x="2120" y="872"/>
                </a:lnTo>
                <a:lnTo>
                  <a:pt x="2120" y="871"/>
                </a:lnTo>
                <a:lnTo>
                  <a:pt x="2120" y="870"/>
                </a:lnTo>
                <a:lnTo>
                  <a:pt x="2118" y="869"/>
                </a:lnTo>
                <a:lnTo>
                  <a:pt x="2117" y="868"/>
                </a:lnTo>
                <a:lnTo>
                  <a:pt x="2118" y="863"/>
                </a:lnTo>
                <a:lnTo>
                  <a:pt x="2119" y="861"/>
                </a:lnTo>
                <a:lnTo>
                  <a:pt x="2122" y="859"/>
                </a:lnTo>
                <a:lnTo>
                  <a:pt x="2124" y="858"/>
                </a:lnTo>
                <a:lnTo>
                  <a:pt x="2129" y="857"/>
                </a:lnTo>
                <a:lnTo>
                  <a:pt x="2135" y="858"/>
                </a:lnTo>
                <a:close/>
                <a:moveTo>
                  <a:pt x="2126" y="840"/>
                </a:moveTo>
                <a:lnTo>
                  <a:pt x="2132" y="846"/>
                </a:lnTo>
                <a:lnTo>
                  <a:pt x="2138" y="853"/>
                </a:lnTo>
                <a:lnTo>
                  <a:pt x="2132" y="853"/>
                </a:lnTo>
                <a:lnTo>
                  <a:pt x="2128" y="851"/>
                </a:lnTo>
                <a:lnTo>
                  <a:pt x="2125" y="850"/>
                </a:lnTo>
                <a:lnTo>
                  <a:pt x="2124" y="849"/>
                </a:lnTo>
                <a:lnTo>
                  <a:pt x="2123" y="847"/>
                </a:lnTo>
                <a:lnTo>
                  <a:pt x="2124" y="845"/>
                </a:lnTo>
                <a:lnTo>
                  <a:pt x="2125" y="843"/>
                </a:lnTo>
                <a:lnTo>
                  <a:pt x="2126" y="840"/>
                </a:lnTo>
                <a:close/>
                <a:moveTo>
                  <a:pt x="2137" y="874"/>
                </a:moveTo>
                <a:lnTo>
                  <a:pt x="2138" y="874"/>
                </a:lnTo>
                <a:lnTo>
                  <a:pt x="2138" y="875"/>
                </a:lnTo>
                <a:lnTo>
                  <a:pt x="2138" y="877"/>
                </a:lnTo>
                <a:lnTo>
                  <a:pt x="2138" y="880"/>
                </a:lnTo>
                <a:lnTo>
                  <a:pt x="2137" y="884"/>
                </a:lnTo>
                <a:lnTo>
                  <a:pt x="2134" y="886"/>
                </a:lnTo>
                <a:lnTo>
                  <a:pt x="2132" y="886"/>
                </a:lnTo>
                <a:lnTo>
                  <a:pt x="2131" y="884"/>
                </a:lnTo>
                <a:lnTo>
                  <a:pt x="2131" y="880"/>
                </a:lnTo>
                <a:lnTo>
                  <a:pt x="2132" y="877"/>
                </a:lnTo>
                <a:lnTo>
                  <a:pt x="2134" y="876"/>
                </a:lnTo>
                <a:lnTo>
                  <a:pt x="2137" y="874"/>
                </a:lnTo>
                <a:close/>
                <a:moveTo>
                  <a:pt x="2112" y="902"/>
                </a:moveTo>
                <a:lnTo>
                  <a:pt x="2110" y="903"/>
                </a:lnTo>
                <a:lnTo>
                  <a:pt x="2109" y="903"/>
                </a:lnTo>
                <a:lnTo>
                  <a:pt x="2109" y="903"/>
                </a:lnTo>
                <a:lnTo>
                  <a:pt x="2109" y="903"/>
                </a:lnTo>
                <a:lnTo>
                  <a:pt x="2109" y="901"/>
                </a:lnTo>
                <a:lnTo>
                  <a:pt x="2109" y="897"/>
                </a:lnTo>
                <a:lnTo>
                  <a:pt x="2107" y="899"/>
                </a:lnTo>
                <a:lnTo>
                  <a:pt x="2104" y="899"/>
                </a:lnTo>
                <a:lnTo>
                  <a:pt x="2103" y="901"/>
                </a:lnTo>
                <a:lnTo>
                  <a:pt x="2102" y="903"/>
                </a:lnTo>
                <a:lnTo>
                  <a:pt x="2103" y="901"/>
                </a:lnTo>
                <a:lnTo>
                  <a:pt x="2104" y="899"/>
                </a:lnTo>
                <a:lnTo>
                  <a:pt x="2107" y="899"/>
                </a:lnTo>
                <a:lnTo>
                  <a:pt x="2109" y="897"/>
                </a:lnTo>
                <a:lnTo>
                  <a:pt x="2110" y="894"/>
                </a:lnTo>
                <a:lnTo>
                  <a:pt x="2111" y="891"/>
                </a:lnTo>
                <a:lnTo>
                  <a:pt x="2112" y="888"/>
                </a:lnTo>
                <a:lnTo>
                  <a:pt x="2115" y="886"/>
                </a:lnTo>
                <a:lnTo>
                  <a:pt x="2115" y="886"/>
                </a:lnTo>
                <a:lnTo>
                  <a:pt x="2115" y="885"/>
                </a:lnTo>
                <a:lnTo>
                  <a:pt x="2115" y="886"/>
                </a:lnTo>
                <a:lnTo>
                  <a:pt x="2115" y="886"/>
                </a:lnTo>
                <a:lnTo>
                  <a:pt x="2115" y="890"/>
                </a:lnTo>
                <a:lnTo>
                  <a:pt x="2115" y="895"/>
                </a:lnTo>
                <a:lnTo>
                  <a:pt x="2113" y="899"/>
                </a:lnTo>
                <a:lnTo>
                  <a:pt x="2112" y="902"/>
                </a:lnTo>
                <a:close/>
                <a:moveTo>
                  <a:pt x="2101" y="1116"/>
                </a:moveTo>
                <a:lnTo>
                  <a:pt x="2103" y="1115"/>
                </a:lnTo>
                <a:lnTo>
                  <a:pt x="2105" y="1115"/>
                </a:lnTo>
                <a:lnTo>
                  <a:pt x="2107" y="1116"/>
                </a:lnTo>
                <a:lnTo>
                  <a:pt x="2108" y="1118"/>
                </a:lnTo>
                <a:lnTo>
                  <a:pt x="2110" y="1133"/>
                </a:lnTo>
                <a:lnTo>
                  <a:pt x="2112" y="1148"/>
                </a:lnTo>
                <a:lnTo>
                  <a:pt x="2113" y="1150"/>
                </a:lnTo>
                <a:lnTo>
                  <a:pt x="2111" y="1152"/>
                </a:lnTo>
                <a:lnTo>
                  <a:pt x="2109" y="1152"/>
                </a:lnTo>
                <a:lnTo>
                  <a:pt x="2107" y="1150"/>
                </a:lnTo>
                <a:lnTo>
                  <a:pt x="2099" y="1139"/>
                </a:lnTo>
                <a:lnTo>
                  <a:pt x="2089" y="1130"/>
                </a:lnTo>
                <a:lnTo>
                  <a:pt x="2089" y="1129"/>
                </a:lnTo>
                <a:lnTo>
                  <a:pt x="2088" y="1126"/>
                </a:lnTo>
                <a:lnTo>
                  <a:pt x="2096" y="1122"/>
                </a:lnTo>
                <a:lnTo>
                  <a:pt x="2101" y="1116"/>
                </a:lnTo>
                <a:close/>
                <a:moveTo>
                  <a:pt x="2085" y="870"/>
                </a:moveTo>
                <a:lnTo>
                  <a:pt x="2084" y="869"/>
                </a:lnTo>
                <a:lnTo>
                  <a:pt x="2082" y="868"/>
                </a:lnTo>
                <a:lnTo>
                  <a:pt x="2084" y="869"/>
                </a:lnTo>
                <a:lnTo>
                  <a:pt x="2085" y="870"/>
                </a:lnTo>
                <a:close/>
                <a:moveTo>
                  <a:pt x="2087" y="831"/>
                </a:moveTo>
                <a:lnTo>
                  <a:pt x="2087" y="832"/>
                </a:lnTo>
                <a:lnTo>
                  <a:pt x="2088" y="832"/>
                </a:lnTo>
                <a:lnTo>
                  <a:pt x="2088" y="832"/>
                </a:lnTo>
                <a:lnTo>
                  <a:pt x="2088" y="833"/>
                </a:lnTo>
                <a:lnTo>
                  <a:pt x="2088" y="832"/>
                </a:lnTo>
                <a:lnTo>
                  <a:pt x="2088" y="832"/>
                </a:lnTo>
                <a:lnTo>
                  <a:pt x="2087" y="832"/>
                </a:lnTo>
                <a:lnTo>
                  <a:pt x="2087" y="831"/>
                </a:lnTo>
                <a:close/>
                <a:moveTo>
                  <a:pt x="2097" y="664"/>
                </a:moveTo>
                <a:lnTo>
                  <a:pt x="2096" y="668"/>
                </a:lnTo>
                <a:lnTo>
                  <a:pt x="2095" y="672"/>
                </a:lnTo>
                <a:lnTo>
                  <a:pt x="2094" y="673"/>
                </a:lnTo>
                <a:lnTo>
                  <a:pt x="2093" y="674"/>
                </a:lnTo>
                <a:lnTo>
                  <a:pt x="2090" y="674"/>
                </a:lnTo>
                <a:lnTo>
                  <a:pt x="2087" y="673"/>
                </a:lnTo>
                <a:lnTo>
                  <a:pt x="2086" y="666"/>
                </a:lnTo>
                <a:lnTo>
                  <a:pt x="2086" y="660"/>
                </a:lnTo>
                <a:lnTo>
                  <a:pt x="2087" y="659"/>
                </a:lnTo>
                <a:lnTo>
                  <a:pt x="2090" y="657"/>
                </a:lnTo>
                <a:lnTo>
                  <a:pt x="2094" y="661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lnTo>
                  <a:pt x="2097" y="664"/>
                </a:lnTo>
                <a:close/>
                <a:moveTo>
                  <a:pt x="2094" y="693"/>
                </a:moveTo>
                <a:lnTo>
                  <a:pt x="2096" y="688"/>
                </a:lnTo>
                <a:lnTo>
                  <a:pt x="2098" y="685"/>
                </a:lnTo>
                <a:lnTo>
                  <a:pt x="2100" y="683"/>
                </a:lnTo>
                <a:lnTo>
                  <a:pt x="2102" y="682"/>
                </a:lnTo>
                <a:lnTo>
                  <a:pt x="2104" y="683"/>
                </a:lnTo>
                <a:lnTo>
                  <a:pt x="2108" y="683"/>
                </a:lnTo>
                <a:lnTo>
                  <a:pt x="2104" y="687"/>
                </a:lnTo>
                <a:lnTo>
                  <a:pt x="2101" y="689"/>
                </a:lnTo>
                <a:lnTo>
                  <a:pt x="2098" y="692"/>
                </a:lnTo>
                <a:lnTo>
                  <a:pt x="2094" y="693"/>
                </a:lnTo>
                <a:close/>
                <a:moveTo>
                  <a:pt x="2105" y="711"/>
                </a:moveTo>
                <a:lnTo>
                  <a:pt x="2103" y="708"/>
                </a:lnTo>
                <a:lnTo>
                  <a:pt x="2103" y="706"/>
                </a:lnTo>
                <a:lnTo>
                  <a:pt x="2103" y="705"/>
                </a:lnTo>
                <a:lnTo>
                  <a:pt x="2104" y="703"/>
                </a:lnTo>
                <a:lnTo>
                  <a:pt x="2107" y="701"/>
                </a:lnTo>
                <a:lnTo>
                  <a:pt x="2109" y="698"/>
                </a:lnTo>
                <a:lnTo>
                  <a:pt x="2110" y="702"/>
                </a:lnTo>
                <a:lnTo>
                  <a:pt x="2109" y="705"/>
                </a:lnTo>
                <a:lnTo>
                  <a:pt x="2108" y="708"/>
                </a:lnTo>
                <a:lnTo>
                  <a:pt x="2105" y="711"/>
                </a:lnTo>
                <a:close/>
                <a:moveTo>
                  <a:pt x="2109" y="747"/>
                </a:moveTo>
                <a:lnTo>
                  <a:pt x="2107" y="749"/>
                </a:lnTo>
                <a:lnTo>
                  <a:pt x="2102" y="750"/>
                </a:lnTo>
                <a:lnTo>
                  <a:pt x="2101" y="749"/>
                </a:lnTo>
                <a:lnTo>
                  <a:pt x="2101" y="748"/>
                </a:lnTo>
                <a:lnTo>
                  <a:pt x="2103" y="743"/>
                </a:lnTo>
                <a:lnTo>
                  <a:pt x="2107" y="740"/>
                </a:lnTo>
                <a:lnTo>
                  <a:pt x="2111" y="741"/>
                </a:lnTo>
                <a:lnTo>
                  <a:pt x="2116" y="740"/>
                </a:lnTo>
                <a:lnTo>
                  <a:pt x="2112" y="743"/>
                </a:lnTo>
                <a:lnTo>
                  <a:pt x="2109" y="747"/>
                </a:lnTo>
                <a:close/>
                <a:moveTo>
                  <a:pt x="2105" y="758"/>
                </a:moveTo>
                <a:lnTo>
                  <a:pt x="2104" y="758"/>
                </a:lnTo>
                <a:lnTo>
                  <a:pt x="2104" y="756"/>
                </a:lnTo>
                <a:lnTo>
                  <a:pt x="2105" y="754"/>
                </a:lnTo>
                <a:lnTo>
                  <a:pt x="2108" y="753"/>
                </a:lnTo>
                <a:lnTo>
                  <a:pt x="2110" y="752"/>
                </a:lnTo>
                <a:lnTo>
                  <a:pt x="2113" y="751"/>
                </a:lnTo>
                <a:lnTo>
                  <a:pt x="2112" y="754"/>
                </a:lnTo>
                <a:lnTo>
                  <a:pt x="2111" y="756"/>
                </a:lnTo>
                <a:lnTo>
                  <a:pt x="2109" y="758"/>
                </a:lnTo>
                <a:lnTo>
                  <a:pt x="2105" y="758"/>
                </a:lnTo>
                <a:close/>
                <a:moveTo>
                  <a:pt x="2099" y="838"/>
                </a:moveTo>
                <a:lnTo>
                  <a:pt x="2097" y="830"/>
                </a:lnTo>
                <a:lnTo>
                  <a:pt x="2096" y="821"/>
                </a:lnTo>
                <a:lnTo>
                  <a:pt x="2098" y="819"/>
                </a:lnTo>
                <a:lnTo>
                  <a:pt x="2100" y="819"/>
                </a:lnTo>
                <a:lnTo>
                  <a:pt x="2103" y="823"/>
                </a:lnTo>
                <a:lnTo>
                  <a:pt x="2104" y="825"/>
                </a:lnTo>
                <a:lnTo>
                  <a:pt x="2104" y="833"/>
                </a:lnTo>
                <a:lnTo>
                  <a:pt x="2104" y="841"/>
                </a:lnTo>
                <a:lnTo>
                  <a:pt x="2101" y="840"/>
                </a:lnTo>
                <a:lnTo>
                  <a:pt x="2099" y="838"/>
                </a:lnTo>
                <a:close/>
                <a:moveTo>
                  <a:pt x="2096" y="888"/>
                </a:moveTo>
                <a:lnTo>
                  <a:pt x="2095" y="885"/>
                </a:lnTo>
                <a:lnTo>
                  <a:pt x="2095" y="880"/>
                </a:lnTo>
                <a:lnTo>
                  <a:pt x="2095" y="880"/>
                </a:lnTo>
                <a:lnTo>
                  <a:pt x="2094" y="879"/>
                </a:lnTo>
                <a:lnTo>
                  <a:pt x="2094" y="879"/>
                </a:lnTo>
                <a:lnTo>
                  <a:pt x="2094" y="878"/>
                </a:lnTo>
                <a:lnTo>
                  <a:pt x="2094" y="879"/>
                </a:lnTo>
                <a:lnTo>
                  <a:pt x="2094" y="879"/>
                </a:lnTo>
                <a:lnTo>
                  <a:pt x="2095" y="878"/>
                </a:lnTo>
                <a:lnTo>
                  <a:pt x="2095" y="877"/>
                </a:lnTo>
                <a:lnTo>
                  <a:pt x="2097" y="872"/>
                </a:lnTo>
                <a:lnTo>
                  <a:pt x="2098" y="868"/>
                </a:lnTo>
                <a:lnTo>
                  <a:pt x="2098" y="866"/>
                </a:lnTo>
                <a:lnTo>
                  <a:pt x="2099" y="865"/>
                </a:lnTo>
                <a:lnTo>
                  <a:pt x="2100" y="873"/>
                </a:lnTo>
                <a:lnTo>
                  <a:pt x="2102" y="880"/>
                </a:lnTo>
                <a:lnTo>
                  <a:pt x="2103" y="888"/>
                </a:lnTo>
                <a:lnTo>
                  <a:pt x="2103" y="895"/>
                </a:lnTo>
                <a:lnTo>
                  <a:pt x="2099" y="892"/>
                </a:lnTo>
                <a:lnTo>
                  <a:pt x="2096" y="888"/>
                </a:lnTo>
                <a:lnTo>
                  <a:pt x="2094" y="890"/>
                </a:lnTo>
                <a:lnTo>
                  <a:pt x="2093" y="892"/>
                </a:lnTo>
                <a:lnTo>
                  <a:pt x="2093" y="895"/>
                </a:lnTo>
                <a:lnTo>
                  <a:pt x="2093" y="899"/>
                </a:lnTo>
                <a:lnTo>
                  <a:pt x="2093" y="895"/>
                </a:lnTo>
                <a:lnTo>
                  <a:pt x="2093" y="892"/>
                </a:lnTo>
                <a:lnTo>
                  <a:pt x="2094" y="890"/>
                </a:lnTo>
                <a:lnTo>
                  <a:pt x="2096" y="888"/>
                </a:lnTo>
                <a:close/>
                <a:moveTo>
                  <a:pt x="2095" y="731"/>
                </a:moveTo>
                <a:lnTo>
                  <a:pt x="2094" y="726"/>
                </a:lnTo>
                <a:lnTo>
                  <a:pt x="2094" y="722"/>
                </a:lnTo>
                <a:lnTo>
                  <a:pt x="2094" y="719"/>
                </a:lnTo>
                <a:lnTo>
                  <a:pt x="2094" y="717"/>
                </a:lnTo>
                <a:lnTo>
                  <a:pt x="2095" y="715"/>
                </a:lnTo>
                <a:lnTo>
                  <a:pt x="2098" y="713"/>
                </a:lnTo>
                <a:lnTo>
                  <a:pt x="2100" y="715"/>
                </a:lnTo>
                <a:lnTo>
                  <a:pt x="2102" y="717"/>
                </a:lnTo>
                <a:lnTo>
                  <a:pt x="2103" y="719"/>
                </a:lnTo>
                <a:lnTo>
                  <a:pt x="2103" y="722"/>
                </a:lnTo>
                <a:lnTo>
                  <a:pt x="2102" y="725"/>
                </a:lnTo>
                <a:lnTo>
                  <a:pt x="2101" y="728"/>
                </a:lnTo>
                <a:lnTo>
                  <a:pt x="2101" y="729"/>
                </a:lnTo>
                <a:lnTo>
                  <a:pt x="2099" y="731"/>
                </a:lnTo>
                <a:lnTo>
                  <a:pt x="2097" y="732"/>
                </a:lnTo>
                <a:lnTo>
                  <a:pt x="2095" y="731"/>
                </a:lnTo>
                <a:close/>
                <a:moveTo>
                  <a:pt x="2100" y="769"/>
                </a:moveTo>
                <a:lnTo>
                  <a:pt x="2100" y="774"/>
                </a:lnTo>
                <a:lnTo>
                  <a:pt x="2099" y="779"/>
                </a:lnTo>
                <a:lnTo>
                  <a:pt x="2099" y="779"/>
                </a:lnTo>
                <a:lnTo>
                  <a:pt x="2100" y="774"/>
                </a:lnTo>
                <a:lnTo>
                  <a:pt x="2100" y="769"/>
                </a:lnTo>
                <a:close/>
                <a:moveTo>
                  <a:pt x="2111" y="781"/>
                </a:moveTo>
                <a:lnTo>
                  <a:pt x="2111" y="784"/>
                </a:lnTo>
                <a:lnTo>
                  <a:pt x="2110" y="787"/>
                </a:lnTo>
                <a:lnTo>
                  <a:pt x="2109" y="788"/>
                </a:lnTo>
                <a:lnTo>
                  <a:pt x="2108" y="789"/>
                </a:lnTo>
                <a:lnTo>
                  <a:pt x="2105" y="789"/>
                </a:lnTo>
                <a:lnTo>
                  <a:pt x="2103" y="789"/>
                </a:lnTo>
                <a:lnTo>
                  <a:pt x="2102" y="784"/>
                </a:lnTo>
                <a:lnTo>
                  <a:pt x="2101" y="779"/>
                </a:lnTo>
                <a:lnTo>
                  <a:pt x="2101" y="775"/>
                </a:lnTo>
                <a:lnTo>
                  <a:pt x="2102" y="773"/>
                </a:lnTo>
                <a:lnTo>
                  <a:pt x="2103" y="771"/>
                </a:lnTo>
                <a:lnTo>
                  <a:pt x="2107" y="771"/>
                </a:lnTo>
                <a:lnTo>
                  <a:pt x="2109" y="772"/>
                </a:lnTo>
                <a:lnTo>
                  <a:pt x="2111" y="774"/>
                </a:lnTo>
                <a:lnTo>
                  <a:pt x="2112" y="778"/>
                </a:lnTo>
                <a:lnTo>
                  <a:pt x="2111" y="781"/>
                </a:lnTo>
                <a:close/>
                <a:moveTo>
                  <a:pt x="2110" y="811"/>
                </a:moveTo>
                <a:lnTo>
                  <a:pt x="2110" y="812"/>
                </a:lnTo>
                <a:lnTo>
                  <a:pt x="2111" y="813"/>
                </a:lnTo>
                <a:lnTo>
                  <a:pt x="2110" y="812"/>
                </a:lnTo>
                <a:lnTo>
                  <a:pt x="2110" y="811"/>
                </a:lnTo>
                <a:lnTo>
                  <a:pt x="2109" y="809"/>
                </a:lnTo>
                <a:lnTo>
                  <a:pt x="2108" y="807"/>
                </a:lnTo>
                <a:lnTo>
                  <a:pt x="2110" y="802"/>
                </a:lnTo>
                <a:lnTo>
                  <a:pt x="2114" y="799"/>
                </a:lnTo>
                <a:lnTo>
                  <a:pt x="2116" y="798"/>
                </a:lnTo>
                <a:lnTo>
                  <a:pt x="2118" y="797"/>
                </a:lnTo>
                <a:lnTo>
                  <a:pt x="2120" y="798"/>
                </a:lnTo>
                <a:lnTo>
                  <a:pt x="2125" y="799"/>
                </a:lnTo>
                <a:lnTo>
                  <a:pt x="2117" y="805"/>
                </a:lnTo>
                <a:lnTo>
                  <a:pt x="2110" y="811"/>
                </a:lnTo>
                <a:close/>
                <a:moveTo>
                  <a:pt x="2118" y="818"/>
                </a:moveTo>
                <a:lnTo>
                  <a:pt x="2117" y="818"/>
                </a:lnTo>
                <a:lnTo>
                  <a:pt x="2115" y="819"/>
                </a:lnTo>
                <a:lnTo>
                  <a:pt x="2114" y="816"/>
                </a:lnTo>
                <a:lnTo>
                  <a:pt x="2111" y="815"/>
                </a:lnTo>
                <a:lnTo>
                  <a:pt x="2111" y="817"/>
                </a:lnTo>
                <a:lnTo>
                  <a:pt x="2110" y="819"/>
                </a:lnTo>
                <a:lnTo>
                  <a:pt x="2111" y="817"/>
                </a:lnTo>
                <a:lnTo>
                  <a:pt x="2111" y="815"/>
                </a:lnTo>
                <a:lnTo>
                  <a:pt x="2111" y="814"/>
                </a:lnTo>
                <a:lnTo>
                  <a:pt x="2111" y="813"/>
                </a:lnTo>
                <a:lnTo>
                  <a:pt x="2117" y="810"/>
                </a:lnTo>
                <a:lnTo>
                  <a:pt x="2124" y="808"/>
                </a:lnTo>
                <a:lnTo>
                  <a:pt x="2122" y="814"/>
                </a:lnTo>
                <a:lnTo>
                  <a:pt x="2118" y="818"/>
                </a:lnTo>
                <a:lnTo>
                  <a:pt x="2118" y="818"/>
                </a:lnTo>
                <a:close/>
                <a:moveTo>
                  <a:pt x="2112" y="848"/>
                </a:moveTo>
                <a:lnTo>
                  <a:pt x="2111" y="841"/>
                </a:lnTo>
                <a:lnTo>
                  <a:pt x="2110" y="833"/>
                </a:lnTo>
                <a:lnTo>
                  <a:pt x="2113" y="831"/>
                </a:lnTo>
                <a:lnTo>
                  <a:pt x="2115" y="829"/>
                </a:lnTo>
                <a:lnTo>
                  <a:pt x="2114" y="826"/>
                </a:lnTo>
                <a:lnTo>
                  <a:pt x="2114" y="823"/>
                </a:lnTo>
                <a:lnTo>
                  <a:pt x="2114" y="826"/>
                </a:lnTo>
                <a:lnTo>
                  <a:pt x="2115" y="829"/>
                </a:lnTo>
                <a:lnTo>
                  <a:pt x="2118" y="831"/>
                </a:lnTo>
                <a:lnTo>
                  <a:pt x="2120" y="833"/>
                </a:lnTo>
                <a:lnTo>
                  <a:pt x="2120" y="841"/>
                </a:lnTo>
                <a:lnTo>
                  <a:pt x="2119" y="845"/>
                </a:lnTo>
                <a:lnTo>
                  <a:pt x="2118" y="846"/>
                </a:lnTo>
                <a:lnTo>
                  <a:pt x="2116" y="847"/>
                </a:lnTo>
                <a:lnTo>
                  <a:pt x="2114" y="848"/>
                </a:lnTo>
                <a:lnTo>
                  <a:pt x="2112" y="848"/>
                </a:lnTo>
                <a:close/>
                <a:moveTo>
                  <a:pt x="2114" y="880"/>
                </a:moveTo>
                <a:lnTo>
                  <a:pt x="2114" y="880"/>
                </a:lnTo>
                <a:lnTo>
                  <a:pt x="2114" y="880"/>
                </a:lnTo>
                <a:lnTo>
                  <a:pt x="2114" y="880"/>
                </a:lnTo>
                <a:lnTo>
                  <a:pt x="2114" y="880"/>
                </a:lnTo>
                <a:lnTo>
                  <a:pt x="2115" y="879"/>
                </a:lnTo>
                <a:lnTo>
                  <a:pt x="2115" y="879"/>
                </a:lnTo>
                <a:lnTo>
                  <a:pt x="2115" y="879"/>
                </a:lnTo>
                <a:lnTo>
                  <a:pt x="2114" y="880"/>
                </a:lnTo>
                <a:close/>
                <a:moveTo>
                  <a:pt x="2082" y="604"/>
                </a:moveTo>
                <a:lnTo>
                  <a:pt x="2082" y="603"/>
                </a:lnTo>
                <a:lnTo>
                  <a:pt x="2082" y="602"/>
                </a:lnTo>
                <a:lnTo>
                  <a:pt x="2082" y="603"/>
                </a:lnTo>
                <a:lnTo>
                  <a:pt x="2082" y="604"/>
                </a:lnTo>
                <a:lnTo>
                  <a:pt x="2084" y="604"/>
                </a:lnTo>
                <a:lnTo>
                  <a:pt x="2086" y="605"/>
                </a:lnTo>
                <a:lnTo>
                  <a:pt x="2088" y="608"/>
                </a:lnTo>
                <a:lnTo>
                  <a:pt x="2090" y="609"/>
                </a:lnTo>
                <a:lnTo>
                  <a:pt x="2092" y="611"/>
                </a:lnTo>
                <a:lnTo>
                  <a:pt x="2092" y="613"/>
                </a:lnTo>
                <a:lnTo>
                  <a:pt x="2090" y="615"/>
                </a:lnTo>
                <a:lnTo>
                  <a:pt x="2089" y="618"/>
                </a:lnTo>
                <a:lnTo>
                  <a:pt x="2087" y="620"/>
                </a:lnTo>
                <a:lnTo>
                  <a:pt x="2084" y="621"/>
                </a:lnTo>
                <a:lnTo>
                  <a:pt x="2082" y="617"/>
                </a:lnTo>
                <a:lnTo>
                  <a:pt x="2081" y="613"/>
                </a:lnTo>
                <a:lnTo>
                  <a:pt x="2081" y="609"/>
                </a:lnTo>
                <a:lnTo>
                  <a:pt x="2082" y="604"/>
                </a:lnTo>
                <a:close/>
                <a:moveTo>
                  <a:pt x="2079" y="790"/>
                </a:moveTo>
                <a:lnTo>
                  <a:pt x="2081" y="792"/>
                </a:lnTo>
                <a:lnTo>
                  <a:pt x="2081" y="792"/>
                </a:lnTo>
                <a:lnTo>
                  <a:pt x="2082" y="794"/>
                </a:lnTo>
                <a:lnTo>
                  <a:pt x="2082" y="795"/>
                </a:lnTo>
                <a:lnTo>
                  <a:pt x="2082" y="797"/>
                </a:lnTo>
                <a:lnTo>
                  <a:pt x="2082" y="798"/>
                </a:lnTo>
                <a:lnTo>
                  <a:pt x="2080" y="799"/>
                </a:lnTo>
                <a:lnTo>
                  <a:pt x="2079" y="799"/>
                </a:lnTo>
                <a:lnTo>
                  <a:pt x="2078" y="799"/>
                </a:lnTo>
                <a:lnTo>
                  <a:pt x="2077" y="799"/>
                </a:lnTo>
                <a:lnTo>
                  <a:pt x="2076" y="798"/>
                </a:lnTo>
                <a:lnTo>
                  <a:pt x="2076" y="797"/>
                </a:lnTo>
                <a:lnTo>
                  <a:pt x="2077" y="794"/>
                </a:lnTo>
                <a:lnTo>
                  <a:pt x="2079" y="790"/>
                </a:lnTo>
                <a:close/>
                <a:moveTo>
                  <a:pt x="2078" y="771"/>
                </a:moveTo>
                <a:lnTo>
                  <a:pt x="2079" y="773"/>
                </a:lnTo>
                <a:lnTo>
                  <a:pt x="2079" y="777"/>
                </a:lnTo>
                <a:lnTo>
                  <a:pt x="2078" y="779"/>
                </a:lnTo>
                <a:lnTo>
                  <a:pt x="2077" y="782"/>
                </a:lnTo>
                <a:lnTo>
                  <a:pt x="2073" y="783"/>
                </a:lnTo>
                <a:lnTo>
                  <a:pt x="2070" y="783"/>
                </a:lnTo>
                <a:lnTo>
                  <a:pt x="2068" y="782"/>
                </a:lnTo>
                <a:lnTo>
                  <a:pt x="2068" y="781"/>
                </a:lnTo>
                <a:lnTo>
                  <a:pt x="2067" y="779"/>
                </a:lnTo>
                <a:lnTo>
                  <a:pt x="2067" y="777"/>
                </a:lnTo>
                <a:lnTo>
                  <a:pt x="2067" y="775"/>
                </a:lnTo>
                <a:lnTo>
                  <a:pt x="2068" y="775"/>
                </a:lnTo>
                <a:lnTo>
                  <a:pt x="2070" y="774"/>
                </a:lnTo>
                <a:lnTo>
                  <a:pt x="2072" y="772"/>
                </a:lnTo>
                <a:lnTo>
                  <a:pt x="2074" y="770"/>
                </a:lnTo>
                <a:lnTo>
                  <a:pt x="2078" y="771"/>
                </a:lnTo>
                <a:close/>
                <a:moveTo>
                  <a:pt x="2078" y="626"/>
                </a:moveTo>
                <a:lnTo>
                  <a:pt x="2074" y="620"/>
                </a:lnTo>
                <a:lnTo>
                  <a:pt x="2073" y="617"/>
                </a:lnTo>
                <a:lnTo>
                  <a:pt x="2073" y="613"/>
                </a:lnTo>
                <a:lnTo>
                  <a:pt x="2077" y="609"/>
                </a:lnTo>
                <a:lnTo>
                  <a:pt x="2078" y="617"/>
                </a:lnTo>
                <a:lnTo>
                  <a:pt x="2078" y="626"/>
                </a:lnTo>
                <a:close/>
                <a:moveTo>
                  <a:pt x="2079" y="566"/>
                </a:moveTo>
                <a:lnTo>
                  <a:pt x="2078" y="565"/>
                </a:lnTo>
                <a:lnTo>
                  <a:pt x="2078" y="563"/>
                </a:lnTo>
                <a:lnTo>
                  <a:pt x="2077" y="559"/>
                </a:lnTo>
                <a:lnTo>
                  <a:pt x="2078" y="557"/>
                </a:lnTo>
                <a:lnTo>
                  <a:pt x="2079" y="555"/>
                </a:lnTo>
                <a:lnTo>
                  <a:pt x="2081" y="554"/>
                </a:lnTo>
                <a:lnTo>
                  <a:pt x="2083" y="554"/>
                </a:lnTo>
                <a:lnTo>
                  <a:pt x="2085" y="556"/>
                </a:lnTo>
                <a:lnTo>
                  <a:pt x="2086" y="558"/>
                </a:lnTo>
                <a:lnTo>
                  <a:pt x="2086" y="560"/>
                </a:lnTo>
                <a:lnTo>
                  <a:pt x="2085" y="563"/>
                </a:lnTo>
                <a:lnTo>
                  <a:pt x="2084" y="566"/>
                </a:lnTo>
                <a:lnTo>
                  <a:pt x="2083" y="566"/>
                </a:lnTo>
                <a:lnTo>
                  <a:pt x="2082" y="567"/>
                </a:lnTo>
                <a:lnTo>
                  <a:pt x="2081" y="567"/>
                </a:lnTo>
                <a:lnTo>
                  <a:pt x="2079" y="566"/>
                </a:lnTo>
                <a:close/>
                <a:moveTo>
                  <a:pt x="2082" y="838"/>
                </a:moveTo>
                <a:lnTo>
                  <a:pt x="2084" y="838"/>
                </a:lnTo>
                <a:lnTo>
                  <a:pt x="2085" y="839"/>
                </a:lnTo>
                <a:lnTo>
                  <a:pt x="2086" y="840"/>
                </a:lnTo>
                <a:lnTo>
                  <a:pt x="2086" y="842"/>
                </a:lnTo>
                <a:lnTo>
                  <a:pt x="2086" y="842"/>
                </a:lnTo>
                <a:lnTo>
                  <a:pt x="2086" y="843"/>
                </a:lnTo>
                <a:lnTo>
                  <a:pt x="2086" y="844"/>
                </a:lnTo>
                <a:lnTo>
                  <a:pt x="2084" y="844"/>
                </a:lnTo>
                <a:lnTo>
                  <a:pt x="2084" y="846"/>
                </a:lnTo>
                <a:lnTo>
                  <a:pt x="2086" y="853"/>
                </a:lnTo>
                <a:lnTo>
                  <a:pt x="2086" y="858"/>
                </a:lnTo>
                <a:lnTo>
                  <a:pt x="2085" y="861"/>
                </a:lnTo>
                <a:lnTo>
                  <a:pt x="2084" y="862"/>
                </a:lnTo>
                <a:lnTo>
                  <a:pt x="2083" y="864"/>
                </a:lnTo>
                <a:lnTo>
                  <a:pt x="2081" y="865"/>
                </a:lnTo>
                <a:lnTo>
                  <a:pt x="2079" y="861"/>
                </a:lnTo>
                <a:lnTo>
                  <a:pt x="2077" y="858"/>
                </a:lnTo>
                <a:lnTo>
                  <a:pt x="2079" y="854"/>
                </a:lnTo>
                <a:lnTo>
                  <a:pt x="2081" y="848"/>
                </a:lnTo>
                <a:lnTo>
                  <a:pt x="2083" y="843"/>
                </a:lnTo>
                <a:lnTo>
                  <a:pt x="2082" y="838"/>
                </a:lnTo>
                <a:close/>
                <a:moveTo>
                  <a:pt x="2073" y="896"/>
                </a:moveTo>
                <a:lnTo>
                  <a:pt x="2074" y="894"/>
                </a:lnTo>
                <a:lnTo>
                  <a:pt x="2078" y="893"/>
                </a:lnTo>
                <a:lnTo>
                  <a:pt x="2081" y="890"/>
                </a:lnTo>
                <a:lnTo>
                  <a:pt x="2085" y="890"/>
                </a:lnTo>
                <a:lnTo>
                  <a:pt x="2086" y="892"/>
                </a:lnTo>
                <a:lnTo>
                  <a:pt x="2086" y="895"/>
                </a:lnTo>
                <a:lnTo>
                  <a:pt x="2085" y="897"/>
                </a:lnTo>
                <a:lnTo>
                  <a:pt x="2084" y="900"/>
                </a:lnTo>
                <a:lnTo>
                  <a:pt x="2084" y="900"/>
                </a:lnTo>
                <a:lnTo>
                  <a:pt x="2081" y="901"/>
                </a:lnTo>
                <a:lnTo>
                  <a:pt x="2078" y="901"/>
                </a:lnTo>
                <a:lnTo>
                  <a:pt x="2076" y="899"/>
                </a:lnTo>
                <a:lnTo>
                  <a:pt x="2073" y="896"/>
                </a:lnTo>
                <a:close/>
                <a:moveTo>
                  <a:pt x="2077" y="1486"/>
                </a:moveTo>
                <a:lnTo>
                  <a:pt x="2077" y="1486"/>
                </a:lnTo>
                <a:lnTo>
                  <a:pt x="2077" y="1486"/>
                </a:lnTo>
                <a:lnTo>
                  <a:pt x="2077" y="1486"/>
                </a:lnTo>
                <a:lnTo>
                  <a:pt x="2077" y="1486"/>
                </a:lnTo>
                <a:close/>
                <a:moveTo>
                  <a:pt x="2077" y="1129"/>
                </a:moveTo>
                <a:lnTo>
                  <a:pt x="2077" y="1123"/>
                </a:lnTo>
                <a:lnTo>
                  <a:pt x="2079" y="1118"/>
                </a:lnTo>
                <a:lnTo>
                  <a:pt x="2077" y="1123"/>
                </a:lnTo>
                <a:lnTo>
                  <a:pt x="2077" y="1129"/>
                </a:lnTo>
                <a:close/>
                <a:moveTo>
                  <a:pt x="2087" y="1125"/>
                </a:moveTo>
                <a:lnTo>
                  <a:pt x="2085" y="1125"/>
                </a:lnTo>
                <a:lnTo>
                  <a:pt x="2084" y="1124"/>
                </a:lnTo>
                <a:lnTo>
                  <a:pt x="2083" y="1120"/>
                </a:lnTo>
                <a:lnTo>
                  <a:pt x="2080" y="1117"/>
                </a:lnTo>
                <a:lnTo>
                  <a:pt x="2086" y="1115"/>
                </a:lnTo>
                <a:lnTo>
                  <a:pt x="2093" y="1114"/>
                </a:lnTo>
                <a:lnTo>
                  <a:pt x="2096" y="1110"/>
                </a:lnTo>
                <a:lnTo>
                  <a:pt x="2100" y="1108"/>
                </a:lnTo>
                <a:lnTo>
                  <a:pt x="2103" y="1108"/>
                </a:lnTo>
                <a:lnTo>
                  <a:pt x="2108" y="1109"/>
                </a:lnTo>
                <a:lnTo>
                  <a:pt x="2103" y="1108"/>
                </a:lnTo>
                <a:lnTo>
                  <a:pt x="2100" y="1108"/>
                </a:lnTo>
                <a:lnTo>
                  <a:pt x="2096" y="1110"/>
                </a:lnTo>
                <a:lnTo>
                  <a:pt x="2093" y="1114"/>
                </a:lnTo>
                <a:lnTo>
                  <a:pt x="2090" y="1120"/>
                </a:lnTo>
                <a:lnTo>
                  <a:pt x="2087" y="1125"/>
                </a:lnTo>
                <a:close/>
                <a:moveTo>
                  <a:pt x="2134" y="933"/>
                </a:moveTo>
                <a:lnTo>
                  <a:pt x="2132" y="932"/>
                </a:lnTo>
                <a:lnTo>
                  <a:pt x="2130" y="931"/>
                </a:lnTo>
                <a:lnTo>
                  <a:pt x="2132" y="932"/>
                </a:lnTo>
                <a:lnTo>
                  <a:pt x="2134" y="933"/>
                </a:lnTo>
                <a:close/>
                <a:moveTo>
                  <a:pt x="2140" y="917"/>
                </a:moveTo>
                <a:lnTo>
                  <a:pt x="2143" y="918"/>
                </a:lnTo>
                <a:lnTo>
                  <a:pt x="2148" y="919"/>
                </a:lnTo>
                <a:lnTo>
                  <a:pt x="2139" y="924"/>
                </a:lnTo>
                <a:lnTo>
                  <a:pt x="2129" y="927"/>
                </a:lnTo>
                <a:lnTo>
                  <a:pt x="2127" y="919"/>
                </a:lnTo>
                <a:lnTo>
                  <a:pt x="2123" y="909"/>
                </a:lnTo>
                <a:lnTo>
                  <a:pt x="2123" y="907"/>
                </a:lnTo>
                <a:lnTo>
                  <a:pt x="2122" y="905"/>
                </a:lnTo>
                <a:lnTo>
                  <a:pt x="2120" y="901"/>
                </a:lnTo>
                <a:lnTo>
                  <a:pt x="2119" y="897"/>
                </a:lnTo>
                <a:lnTo>
                  <a:pt x="2117" y="897"/>
                </a:lnTo>
                <a:lnTo>
                  <a:pt x="2116" y="895"/>
                </a:lnTo>
                <a:lnTo>
                  <a:pt x="2117" y="897"/>
                </a:lnTo>
                <a:lnTo>
                  <a:pt x="2119" y="897"/>
                </a:lnTo>
                <a:lnTo>
                  <a:pt x="2118" y="888"/>
                </a:lnTo>
                <a:lnTo>
                  <a:pt x="2117" y="879"/>
                </a:lnTo>
                <a:lnTo>
                  <a:pt x="2125" y="888"/>
                </a:lnTo>
                <a:lnTo>
                  <a:pt x="2133" y="895"/>
                </a:lnTo>
                <a:lnTo>
                  <a:pt x="2142" y="903"/>
                </a:lnTo>
                <a:lnTo>
                  <a:pt x="2149" y="912"/>
                </a:lnTo>
                <a:lnTo>
                  <a:pt x="2144" y="914"/>
                </a:lnTo>
                <a:lnTo>
                  <a:pt x="2140" y="917"/>
                </a:lnTo>
                <a:close/>
                <a:moveTo>
                  <a:pt x="2150" y="926"/>
                </a:moveTo>
                <a:lnTo>
                  <a:pt x="2148" y="930"/>
                </a:lnTo>
                <a:lnTo>
                  <a:pt x="2146" y="932"/>
                </a:lnTo>
                <a:lnTo>
                  <a:pt x="2143" y="934"/>
                </a:lnTo>
                <a:lnTo>
                  <a:pt x="2140" y="936"/>
                </a:lnTo>
                <a:lnTo>
                  <a:pt x="2140" y="936"/>
                </a:lnTo>
                <a:lnTo>
                  <a:pt x="2141" y="937"/>
                </a:lnTo>
                <a:lnTo>
                  <a:pt x="2140" y="936"/>
                </a:lnTo>
                <a:lnTo>
                  <a:pt x="2140" y="936"/>
                </a:lnTo>
                <a:lnTo>
                  <a:pt x="2138" y="934"/>
                </a:lnTo>
                <a:lnTo>
                  <a:pt x="2135" y="933"/>
                </a:lnTo>
                <a:lnTo>
                  <a:pt x="2139" y="930"/>
                </a:lnTo>
                <a:lnTo>
                  <a:pt x="2142" y="927"/>
                </a:lnTo>
                <a:lnTo>
                  <a:pt x="2145" y="926"/>
                </a:lnTo>
                <a:lnTo>
                  <a:pt x="2149" y="925"/>
                </a:lnTo>
                <a:lnTo>
                  <a:pt x="2150" y="924"/>
                </a:lnTo>
                <a:lnTo>
                  <a:pt x="2150" y="925"/>
                </a:lnTo>
                <a:lnTo>
                  <a:pt x="2150" y="925"/>
                </a:lnTo>
                <a:lnTo>
                  <a:pt x="2150" y="926"/>
                </a:lnTo>
                <a:close/>
                <a:moveTo>
                  <a:pt x="2147" y="951"/>
                </a:moveTo>
                <a:lnTo>
                  <a:pt x="2146" y="950"/>
                </a:lnTo>
                <a:lnTo>
                  <a:pt x="2145" y="950"/>
                </a:lnTo>
                <a:lnTo>
                  <a:pt x="2146" y="950"/>
                </a:lnTo>
                <a:lnTo>
                  <a:pt x="2147" y="951"/>
                </a:lnTo>
                <a:close/>
                <a:moveTo>
                  <a:pt x="2144" y="948"/>
                </a:moveTo>
                <a:lnTo>
                  <a:pt x="2144" y="945"/>
                </a:lnTo>
                <a:lnTo>
                  <a:pt x="2145" y="941"/>
                </a:lnTo>
                <a:lnTo>
                  <a:pt x="2147" y="938"/>
                </a:lnTo>
                <a:lnTo>
                  <a:pt x="2148" y="936"/>
                </a:lnTo>
                <a:lnTo>
                  <a:pt x="2150" y="934"/>
                </a:lnTo>
                <a:lnTo>
                  <a:pt x="2152" y="935"/>
                </a:lnTo>
                <a:lnTo>
                  <a:pt x="2150" y="938"/>
                </a:lnTo>
                <a:lnTo>
                  <a:pt x="2150" y="942"/>
                </a:lnTo>
                <a:lnTo>
                  <a:pt x="2148" y="946"/>
                </a:lnTo>
                <a:lnTo>
                  <a:pt x="2144" y="948"/>
                </a:lnTo>
                <a:close/>
                <a:moveTo>
                  <a:pt x="2095" y="535"/>
                </a:moveTo>
                <a:lnTo>
                  <a:pt x="2095" y="536"/>
                </a:lnTo>
                <a:lnTo>
                  <a:pt x="2095" y="536"/>
                </a:lnTo>
                <a:lnTo>
                  <a:pt x="2095" y="536"/>
                </a:lnTo>
                <a:lnTo>
                  <a:pt x="2095" y="535"/>
                </a:lnTo>
                <a:close/>
                <a:moveTo>
                  <a:pt x="2094" y="537"/>
                </a:moveTo>
                <a:lnTo>
                  <a:pt x="2093" y="543"/>
                </a:lnTo>
                <a:lnTo>
                  <a:pt x="2090" y="549"/>
                </a:lnTo>
                <a:lnTo>
                  <a:pt x="2087" y="545"/>
                </a:lnTo>
                <a:lnTo>
                  <a:pt x="2086" y="543"/>
                </a:lnTo>
                <a:lnTo>
                  <a:pt x="2088" y="540"/>
                </a:lnTo>
                <a:lnTo>
                  <a:pt x="2094" y="537"/>
                </a:lnTo>
                <a:close/>
                <a:moveTo>
                  <a:pt x="2093" y="526"/>
                </a:moveTo>
                <a:lnTo>
                  <a:pt x="2093" y="526"/>
                </a:lnTo>
                <a:lnTo>
                  <a:pt x="2093" y="527"/>
                </a:lnTo>
                <a:lnTo>
                  <a:pt x="2093" y="527"/>
                </a:lnTo>
                <a:lnTo>
                  <a:pt x="2093" y="526"/>
                </a:lnTo>
                <a:lnTo>
                  <a:pt x="2093" y="526"/>
                </a:lnTo>
                <a:close/>
                <a:moveTo>
                  <a:pt x="2090" y="488"/>
                </a:move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lnTo>
                  <a:pt x="2092" y="487"/>
                </a:ln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lnTo>
                  <a:pt x="2090" y="488"/>
                </a:lnTo>
                <a:close/>
                <a:moveTo>
                  <a:pt x="2093" y="527"/>
                </a:moveTo>
                <a:lnTo>
                  <a:pt x="2087" y="532"/>
                </a:lnTo>
                <a:lnTo>
                  <a:pt x="2082" y="536"/>
                </a:lnTo>
                <a:lnTo>
                  <a:pt x="2081" y="536"/>
                </a:lnTo>
                <a:lnTo>
                  <a:pt x="2081" y="536"/>
                </a:lnTo>
                <a:lnTo>
                  <a:pt x="2082" y="536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5"/>
                </a:lnTo>
                <a:lnTo>
                  <a:pt x="2081" y="534"/>
                </a:lnTo>
                <a:lnTo>
                  <a:pt x="2083" y="530"/>
                </a:lnTo>
                <a:lnTo>
                  <a:pt x="2084" y="526"/>
                </a:lnTo>
                <a:lnTo>
                  <a:pt x="2085" y="525"/>
                </a:lnTo>
                <a:lnTo>
                  <a:pt x="2087" y="524"/>
                </a:lnTo>
                <a:lnTo>
                  <a:pt x="2089" y="525"/>
                </a:lnTo>
                <a:lnTo>
                  <a:pt x="2093" y="527"/>
                </a:lnTo>
                <a:close/>
                <a:moveTo>
                  <a:pt x="2089" y="490"/>
                </a:moveTo>
                <a:lnTo>
                  <a:pt x="2089" y="490"/>
                </a:lnTo>
                <a:lnTo>
                  <a:pt x="2088" y="490"/>
                </a:lnTo>
                <a:lnTo>
                  <a:pt x="2088" y="490"/>
                </a:lnTo>
                <a:lnTo>
                  <a:pt x="2089" y="490"/>
                </a:lnTo>
                <a:lnTo>
                  <a:pt x="2089" y="490"/>
                </a:lnTo>
                <a:lnTo>
                  <a:pt x="2088" y="492"/>
                </a:lnTo>
                <a:lnTo>
                  <a:pt x="2088" y="495"/>
                </a:lnTo>
                <a:lnTo>
                  <a:pt x="2088" y="497"/>
                </a:lnTo>
                <a:lnTo>
                  <a:pt x="2087" y="497"/>
                </a:lnTo>
                <a:lnTo>
                  <a:pt x="2085" y="497"/>
                </a:lnTo>
                <a:lnTo>
                  <a:pt x="2083" y="496"/>
                </a:lnTo>
                <a:lnTo>
                  <a:pt x="2083" y="494"/>
                </a:lnTo>
                <a:lnTo>
                  <a:pt x="2085" y="492"/>
                </a:lnTo>
                <a:lnTo>
                  <a:pt x="2086" y="491"/>
                </a:lnTo>
                <a:lnTo>
                  <a:pt x="2089" y="490"/>
                </a:lnTo>
                <a:close/>
                <a:moveTo>
                  <a:pt x="2084" y="420"/>
                </a:moveTo>
                <a:lnTo>
                  <a:pt x="2084" y="419"/>
                </a:lnTo>
                <a:lnTo>
                  <a:pt x="2084" y="418"/>
                </a:lnTo>
                <a:lnTo>
                  <a:pt x="2084" y="419"/>
                </a:lnTo>
                <a:lnTo>
                  <a:pt x="2084" y="420"/>
                </a:lnTo>
                <a:close/>
                <a:moveTo>
                  <a:pt x="2064" y="798"/>
                </a:moveTo>
                <a:lnTo>
                  <a:pt x="2065" y="797"/>
                </a:lnTo>
                <a:lnTo>
                  <a:pt x="2066" y="797"/>
                </a:lnTo>
                <a:lnTo>
                  <a:pt x="2068" y="799"/>
                </a:lnTo>
                <a:lnTo>
                  <a:pt x="2068" y="801"/>
                </a:lnTo>
                <a:lnTo>
                  <a:pt x="2068" y="805"/>
                </a:lnTo>
                <a:lnTo>
                  <a:pt x="2069" y="809"/>
                </a:lnTo>
                <a:lnTo>
                  <a:pt x="2071" y="811"/>
                </a:lnTo>
                <a:lnTo>
                  <a:pt x="2073" y="814"/>
                </a:lnTo>
                <a:lnTo>
                  <a:pt x="2067" y="815"/>
                </a:lnTo>
                <a:lnTo>
                  <a:pt x="2064" y="814"/>
                </a:lnTo>
                <a:lnTo>
                  <a:pt x="2063" y="805"/>
                </a:lnTo>
                <a:lnTo>
                  <a:pt x="2064" y="798"/>
                </a:lnTo>
                <a:close/>
                <a:moveTo>
                  <a:pt x="2071" y="1266"/>
                </a:moveTo>
                <a:lnTo>
                  <a:pt x="2069" y="1266"/>
                </a:lnTo>
                <a:lnTo>
                  <a:pt x="2068" y="1266"/>
                </a:lnTo>
                <a:lnTo>
                  <a:pt x="2067" y="1266"/>
                </a:lnTo>
                <a:lnTo>
                  <a:pt x="2066" y="1264"/>
                </a:lnTo>
                <a:lnTo>
                  <a:pt x="2067" y="1266"/>
                </a:lnTo>
                <a:lnTo>
                  <a:pt x="2068" y="1266"/>
                </a:lnTo>
                <a:lnTo>
                  <a:pt x="2068" y="1264"/>
                </a:lnTo>
                <a:lnTo>
                  <a:pt x="2069" y="1264"/>
                </a:lnTo>
                <a:lnTo>
                  <a:pt x="2068" y="1264"/>
                </a:lnTo>
                <a:lnTo>
                  <a:pt x="2068" y="1266"/>
                </a:lnTo>
                <a:lnTo>
                  <a:pt x="2069" y="1266"/>
                </a:lnTo>
                <a:lnTo>
                  <a:pt x="2071" y="1266"/>
                </a:lnTo>
                <a:close/>
                <a:moveTo>
                  <a:pt x="2059" y="1486"/>
                </a:moveTo>
                <a:lnTo>
                  <a:pt x="2063" y="1481"/>
                </a:lnTo>
                <a:lnTo>
                  <a:pt x="2068" y="1476"/>
                </a:lnTo>
                <a:lnTo>
                  <a:pt x="2063" y="1481"/>
                </a:lnTo>
                <a:lnTo>
                  <a:pt x="2059" y="1486"/>
                </a:lnTo>
                <a:lnTo>
                  <a:pt x="2061" y="1487"/>
                </a:lnTo>
                <a:lnTo>
                  <a:pt x="2062" y="1488"/>
                </a:lnTo>
                <a:lnTo>
                  <a:pt x="2062" y="1489"/>
                </a:lnTo>
                <a:lnTo>
                  <a:pt x="2061" y="1491"/>
                </a:lnTo>
                <a:lnTo>
                  <a:pt x="2058" y="1493"/>
                </a:lnTo>
                <a:lnTo>
                  <a:pt x="2057" y="1497"/>
                </a:lnTo>
                <a:lnTo>
                  <a:pt x="2059" y="1497"/>
                </a:lnTo>
                <a:lnTo>
                  <a:pt x="2061" y="1496"/>
                </a:lnTo>
                <a:lnTo>
                  <a:pt x="2059" y="1497"/>
                </a:lnTo>
                <a:lnTo>
                  <a:pt x="2057" y="1497"/>
                </a:lnTo>
                <a:lnTo>
                  <a:pt x="2057" y="1497"/>
                </a:lnTo>
                <a:lnTo>
                  <a:pt x="2056" y="1498"/>
                </a:lnTo>
                <a:lnTo>
                  <a:pt x="2055" y="1498"/>
                </a:lnTo>
                <a:lnTo>
                  <a:pt x="2054" y="1495"/>
                </a:lnTo>
                <a:lnTo>
                  <a:pt x="2055" y="1491"/>
                </a:lnTo>
                <a:lnTo>
                  <a:pt x="2056" y="1488"/>
                </a:lnTo>
                <a:lnTo>
                  <a:pt x="2059" y="1486"/>
                </a:lnTo>
                <a:close/>
                <a:moveTo>
                  <a:pt x="2058" y="1120"/>
                </a:moveTo>
                <a:lnTo>
                  <a:pt x="2058" y="1120"/>
                </a:lnTo>
                <a:lnTo>
                  <a:pt x="2058" y="1121"/>
                </a:lnTo>
                <a:lnTo>
                  <a:pt x="2058" y="1120"/>
                </a:lnTo>
                <a:lnTo>
                  <a:pt x="2058" y="1120"/>
                </a:lnTo>
                <a:lnTo>
                  <a:pt x="2058" y="1120"/>
                </a:lnTo>
                <a:lnTo>
                  <a:pt x="2058" y="1120"/>
                </a:lnTo>
                <a:close/>
                <a:moveTo>
                  <a:pt x="2061" y="716"/>
                </a:moveTo>
                <a:lnTo>
                  <a:pt x="2059" y="716"/>
                </a:lnTo>
                <a:lnTo>
                  <a:pt x="2058" y="715"/>
                </a:lnTo>
                <a:lnTo>
                  <a:pt x="2058" y="713"/>
                </a:lnTo>
                <a:lnTo>
                  <a:pt x="2059" y="713"/>
                </a:lnTo>
                <a:lnTo>
                  <a:pt x="2061" y="713"/>
                </a:lnTo>
                <a:lnTo>
                  <a:pt x="2061" y="716"/>
                </a:lnTo>
                <a:lnTo>
                  <a:pt x="2061" y="716"/>
                </a:lnTo>
                <a:lnTo>
                  <a:pt x="2061" y="716"/>
                </a:lnTo>
                <a:close/>
                <a:moveTo>
                  <a:pt x="2061" y="687"/>
                </a:moveTo>
                <a:lnTo>
                  <a:pt x="2061" y="695"/>
                </a:lnTo>
                <a:lnTo>
                  <a:pt x="2061" y="702"/>
                </a:lnTo>
                <a:lnTo>
                  <a:pt x="2058" y="702"/>
                </a:lnTo>
                <a:lnTo>
                  <a:pt x="2057" y="702"/>
                </a:lnTo>
                <a:lnTo>
                  <a:pt x="2056" y="701"/>
                </a:lnTo>
                <a:lnTo>
                  <a:pt x="2056" y="698"/>
                </a:lnTo>
                <a:lnTo>
                  <a:pt x="2056" y="689"/>
                </a:lnTo>
                <a:lnTo>
                  <a:pt x="2056" y="679"/>
                </a:lnTo>
                <a:lnTo>
                  <a:pt x="2057" y="678"/>
                </a:lnTo>
                <a:lnTo>
                  <a:pt x="2059" y="678"/>
                </a:lnTo>
                <a:lnTo>
                  <a:pt x="2061" y="679"/>
                </a:lnTo>
                <a:lnTo>
                  <a:pt x="2061" y="680"/>
                </a:lnTo>
                <a:lnTo>
                  <a:pt x="2061" y="685"/>
                </a:lnTo>
                <a:lnTo>
                  <a:pt x="2061" y="687"/>
                </a:lnTo>
                <a:close/>
                <a:moveTo>
                  <a:pt x="2046" y="1569"/>
                </a:moveTo>
                <a:lnTo>
                  <a:pt x="2046" y="1569"/>
                </a:lnTo>
                <a:lnTo>
                  <a:pt x="2047" y="1569"/>
                </a:lnTo>
                <a:lnTo>
                  <a:pt x="2046" y="1569"/>
                </a:lnTo>
                <a:lnTo>
                  <a:pt x="2046" y="1569"/>
                </a:lnTo>
                <a:close/>
                <a:moveTo>
                  <a:pt x="2050" y="1462"/>
                </a:moveTo>
                <a:lnTo>
                  <a:pt x="2049" y="1462"/>
                </a:lnTo>
                <a:lnTo>
                  <a:pt x="2049" y="1462"/>
                </a:lnTo>
                <a:lnTo>
                  <a:pt x="2050" y="1462"/>
                </a:lnTo>
                <a:close/>
                <a:moveTo>
                  <a:pt x="2054" y="1447"/>
                </a:move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9"/>
                </a:lnTo>
                <a:lnTo>
                  <a:pt x="2054" y="1447"/>
                </a:lnTo>
                <a:close/>
                <a:moveTo>
                  <a:pt x="2054" y="1500"/>
                </a:moveTo>
                <a:lnTo>
                  <a:pt x="2053" y="1500"/>
                </a:lnTo>
                <a:lnTo>
                  <a:pt x="2052" y="1501"/>
                </a:lnTo>
                <a:lnTo>
                  <a:pt x="2052" y="1500"/>
                </a:lnTo>
                <a:lnTo>
                  <a:pt x="2051" y="1499"/>
                </a:lnTo>
                <a:lnTo>
                  <a:pt x="2053" y="1499"/>
                </a:lnTo>
                <a:lnTo>
                  <a:pt x="2054" y="1500"/>
                </a:lnTo>
                <a:close/>
                <a:moveTo>
                  <a:pt x="2047" y="1202"/>
                </a:moveTo>
                <a:lnTo>
                  <a:pt x="2047" y="1205"/>
                </a:lnTo>
                <a:lnTo>
                  <a:pt x="2048" y="1208"/>
                </a:lnTo>
                <a:lnTo>
                  <a:pt x="2050" y="1210"/>
                </a:lnTo>
                <a:lnTo>
                  <a:pt x="2051" y="1212"/>
                </a:lnTo>
                <a:lnTo>
                  <a:pt x="2051" y="1217"/>
                </a:lnTo>
                <a:lnTo>
                  <a:pt x="2051" y="1224"/>
                </a:lnTo>
                <a:lnTo>
                  <a:pt x="2048" y="1221"/>
                </a:lnTo>
                <a:lnTo>
                  <a:pt x="2046" y="1216"/>
                </a:lnTo>
                <a:lnTo>
                  <a:pt x="2044" y="1214"/>
                </a:lnTo>
                <a:lnTo>
                  <a:pt x="2044" y="1213"/>
                </a:lnTo>
                <a:lnTo>
                  <a:pt x="2046" y="1210"/>
                </a:lnTo>
                <a:lnTo>
                  <a:pt x="2048" y="1208"/>
                </a:lnTo>
                <a:lnTo>
                  <a:pt x="2047" y="1205"/>
                </a:lnTo>
                <a:lnTo>
                  <a:pt x="2047" y="1202"/>
                </a:lnTo>
                <a:close/>
                <a:moveTo>
                  <a:pt x="2025" y="1568"/>
                </a:moveTo>
                <a:lnTo>
                  <a:pt x="2027" y="1556"/>
                </a:lnTo>
                <a:lnTo>
                  <a:pt x="2031" y="1543"/>
                </a:lnTo>
                <a:lnTo>
                  <a:pt x="2036" y="1549"/>
                </a:lnTo>
                <a:lnTo>
                  <a:pt x="2040" y="1557"/>
                </a:lnTo>
                <a:lnTo>
                  <a:pt x="2042" y="1563"/>
                </a:lnTo>
                <a:lnTo>
                  <a:pt x="2046" y="1570"/>
                </a:lnTo>
                <a:lnTo>
                  <a:pt x="2046" y="1575"/>
                </a:lnTo>
                <a:lnTo>
                  <a:pt x="2047" y="1578"/>
                </a:lnTo>
                <a:lnTo>
                  <a:pt x="2048" y="1582"/>
                </a:lnTo>
                <a:lnTo>
                  <a:pt x="2047" y="1584"/>
                </a:lnTo>
                <a:lnTo>
                  <a:pt x="2044" y="1585"/>
                </a:lnTo>
                <a:lnTo>
                  <a:pt x="2042" y="1588"/>
                </a:lnTo>
                <a:lnTo>
                  <a:pt x="2041" y="1590"/>
                </a:lnTo>
                <a:lnTo>
                  <a:pt x="2039" y="1590"/>
                </a:lnTo>
                <a:lnTo>
                  <a:pt x="2037" y="1589"/>
                </a:lnTo>
                <a:lnTo>
                  <a:pt x="2036" y="1588"/>
                </a:lnTo>
                <a:lnTo>
                  <a:pt x="2032" y="1587"/>
                </a:lnTo>
                <a:lnTo>
                  <a:pt x="2029" y="1585"/>
                </a:lnTo>
                <a:lnTo>
                  <a:pt x="2027" y="1583"/>
                </a:lnTo>
                <a:lnTo>
                  <a:pt x="2026" y="1580"/>
                </a:lnTo>
                <a:lnTo>
                  <a:pt x="2025" y="1575"/>
                </a:lnTo>
                <a:lnTo>
                  <a:pt x="2025" y="1568"/>
                </a:lnTo>
                <a:close/>
                <a:moveTo>
                  <a:pt x="2023" y="1260"/>
                </a:moveTo>
                <a:lnTo>
                  <a:pt x="2023" y="1260"/>
                </a:lnTo>
                <a:lnTo>
                  <a:pt x="2023" y="1257"/>
                </a:lnTo>
                <a:lnTo>
                  <a:pt x="2023" y="1255"/>
                </a:lnTo>
                <a:lnTo>
                  <a:pt x="2024" y="1254"/>
                </a:lnTo>
                <a:lnTo>
                  <a:pt x="2025" y="1253"/>
                </a:lnTo>
                <a:lnTo>
                  <a:pt x="2027" y="1252"/>
                </a:lnTo>
                <a:lnTo>
                  <a:pt x="2029" y="1252"/>
                </a:lnTo>
                <a:lnTo>
                  <a:pt x="2031" y="1253"/>
                </a:lnTo>
                <a:lnTo>
                  <a:pt x="2032" y="1255"/>
                </a:lnTo>
                <a:lnTo>
                  <a:pt x="2031" y="1258"/>
                </a:lnTo>
                <a:lnTo>
                  <a:pt x="2028" y="1259"/>
                </a:lnTo>
                <a:lnTo>
                  <a:pt x="2026" y="1260"/>
                </a:lnTo>
                <a:lnTo>
                  <a:pt x="2023" y="1260"/>
                </a:lnTo>
                <a:close/>
                <a:moveTo>
                  <a:pt x="2037" y="1263"/>
                </a:moveTo>
                <a:lnTo>
                  <a:pt x="2029" y="1262"/>
                </a:lnTo>
                <a:lnTo>
                  <a:pt x="2023" y="1260"/>
                </a:lnTo>
                <a:lnTo>
                  <a:pt x="2023" y="1260"/>
                </a:lnTo>
                <a:lnTo>
                  <a:pt x="2029" y="1262"/>
                </a:lnTo>
                <a:lnTo>
                  <a:pt x="2037" y="1263"/>
                </a:lnTo>
                <a:close/>
                <a:moveTo>
                  <a:pt x="2082" y="1604"/>
                </a:moveTo>
                <a:lnTo>
                  <a:pt x="2082" y="1604"/>
                </a:lnTo>
                <a:lnTo>
                  <a:pt x="2082" y="1603"/>
                </a:lnTo>
                <a:lnTo>
                  <a:pt x="2082" y="1604"/>
                </a:lnTo>
                <a:lnTo>
                  <a:pt x="2082" y="1604"/>
                </a:lnTo>
                <a:close/>
                <a:moveTo>
                  <a:pt x="2083" y="1582"/>
                </a:moveTo>
                <a:lnTo>
                  <a:pt x="2087" y="1585"/>
                </a:lnTo>
                <a:lnTo>
                  <a:pt x="2092" y="1588"/>
                </a:lnTo>
                <a:lnTo>
                  <a:pt x="2086" y="1588"/>
                </a:lnTo>
                <a:lnTo>
                  <a:pt x="2081" y="1588"/>
                </a:lnTo>
                <a:lnTo>
                  <a:pt x="2077" y="1591"/>
                </a:lnTo>
                <a:lnTo>
                  <a:pt x="2072" y="1594"/>
                </a:lnTo>
                <a:lnTo>
                  <a:pt x="2070" y="1595"/>
                </a:lnTo>
                <a:lnTo>
                  <a:pt x="2067" y="1595"/>
                </a:lnTo>
                <a:lnTo>
                  <a:pt x="2064" y="1594"/>
                </a:lnTo>
                <a:lnTo>
                  <a:pt x="2063" y="1595"/>
                </a:lnTo>
                <a:lnTo>
                  <a:pt x="2062" y="1597"/>
                </a:lnTo>
                <a:lnTo>
                  <a:pt x="2063" y="1600"/>
                </a:lnTo>
                <a:lnTo>
                  <a:pt x="2063" y="1600"/>
                </a:lnTo>
                <a:lnTo>
                  <a:pt x="2062" y="1600"/>
                </a:lnTo>
                <a:lnTo>
                  <a:pt x="2059" y="1600"/>
                </a:lnTo>
                <a:lnTo>
                  <a:pt x="2059" y="1592"/>
                </a:lnTo>
                <a:lnTo>
                  <a:pt x="2057" y="1583"/>
                </a:lnTo>
                <a:lnTo>
                  <a:pt x="2055" y="1575"/>
                </a:lnTo>
                <a:lnTo>
                  <a:pt x="2054" y="1567"/>
                </a:lnTo>
                <a:lnTo>
                  <a:pt x="2054" y="1558"/>
                </a:lnTo>
                <a:lnTo>
                  <a:pt x="2053" y="1548"/>
                </a:lnTo>
                <a:lnTo>
                  <a:pt x="2052" y="1539"/>
                </a:lnTo>
                <a:lnTo>
                  <a:pt x="2049" y="1531"/>
                </a:lnTo>
                <a:lnTo>
                  <a:pt x="2048" y="1527"/>
                </a:lnTo>
                <a:lnTo>
                  <a:pt x="2047" y="1523"/>
                </a:lnTo>
                <a:lnTo>
                  <a:pt x="2048" y="1520"/>
                </a:lnTo>
                <a:lnTo>
                  <a:pt x="2050" y="1516"/>
                </a:lnTo>
                <a:lnTo>
                  <a:pt x="2048" y="1513"/>
                </a:lnTo>
                <a:lnTo>
                  <a:pt x="2046" y="1508"/>
                </a:lnTo>
                <a:lnTo>
                  <a:pt x="2046" y="1506"/>
                </a:lnTo>
                <a:lnTo>
                  <a:pt x="2046" y="1504"/>
                </a:lnTo>
                <a:lnTo>
                  <a:pt x="2047" y="1503"/>
                </a:lnTo>
                <a:lnTo>
                  <a:pt x="2049" y="1502"/>
                </a:lnTo>
                <a:lnTo>
                  <a:pt x="2050" y="1501"/>
                </a:lnTo>
                <a:lnTo>
                  <a:pt x="2050" y="1500"/>
                </a:lnTo>
                <a:lnTo>
                  <a:pt x="2050" y="1501"/>
                </a:lnTo>
                <a:lnTo>
                  <a:pt x="2049" y="1502"/>
                </a:lnTo>
                <a:lnTo>
                  <a:pt x="2063" y="1516"/>
                </a:lnTo>
                <a:lnTo>
                  <a:pt x="2074" y="1530"/>
                </a:lnTo>
                <a:lnTo>
                  <a:pt x="2074" y="1530"/>
                </a:lnTo>
                <a:lnTo>
                  <a:pt x="2074" y="1530"/>
                </a:lnTo>
                <a:lnTo>
                  <a:pt x="2078" y="1535"/>
                </a:lnTo>
                <a:lnTo>
                  <a:pt x="2080" y="1541"/>
                </a:lnTo>
                <a:lnTo>
                  <a:pt x="2080" y="1541"/>
                </a:lnTo>
                <a:lnTo>
                  <a:pt x="2074" y="1546"/>
                </a:lnTo>
                <a:lnTo>
                  <a:pt x="2068" y="1549"/>
                </a:lnTo>
                <a:lnTo>
                  <a:pt x="2072" y="1550"/>
                </a:lnTo>
                <a:lnTo>
                  <a:pt x="2077" y="1550"/>
                </a:lnTo>
                <a:lnTo>
                  <a:pt x="2079" y="1551"/>
                </a:lnTo>
                <a:lnTo>
                  <a:pt x="2080" y="1552"/>
                </a:lnTo>
                <a:lnTo>
                  <a:pt x="2082" y="1553"/>
                </a:lnTo>
                <a:lnTo>
                  <a:pt x="2083" y="1556"/>
                </a:lnTo>
                <a:lnTo>
                  <a:pt x="2085" y="1554"/>
                </a:lnTo>
                <a:lnTo>
                  <a:pt x="2087" y="1553"/>
                </a:lnTo>
                <a:lnTo>
                  <a:pt x="2086" y="1551"/>
                </a:lnTo>
                <a:lnTo>
                  <a:pt x="2086" y="1550"/>
                </a:lnTo>
                <a:lnTo>
                  <a:pt x="2086" y="1551"/>
                </a:lnTo>
                <a:lnTo>
                  <a:pt x="2087" y="1553"/>
                </a:lnTo>
                <a:lnTo>
                  <a:pt x="2089" y="1561"/>
                </a:lnTo>
                <a:lnTo>
                  <a:pt x="2093" y="1568"/>
                </a:lnTo>
                <a:lnTo>
                  <a:pt x="2090" y="1573"/>
                </a:lnTo>
                <a:lnTo>
                  <a:pt x="2088" y="1576"/>
                </a:lnTo>
                <a:lnTo>
                  <a:pt x="2086" y="1577"/>
                </a:lnTo>
                <a:lnTo>
                  <a:pt x="2084" y="1578"/>
                </a:lnTo>
                <a:lnTo>
                  <a:pt x="2083" y="1578"/>
                </a:lnTo>
                <a:lnTo>
                  <a:pt x="2082" y="1578"/>
                </a:lnTo>
                <a:lnTo>
                  <a:pt x="2080" y="1577"/>
                </a:lnTo>
                <a:lnTo>
                  <a:pt x="2079" y="1576"/>
                </a:lnTo>
                <a:lnTo>
                  <a:pt x="2077" y="1576"/>
                </a:lnTo>
                <a:lnTo>
                  <a:pt x="2077" y="1577"/>
                </a:lnTo>
                <a:lnTo>
                  <a:pt x="2074" y="1579"/>
                </a:lnTo>
                <a:lnTo>
                  <a:pt x="2072" y="1582"/>
                </a:lnTo>
                <a:lnTo>
                  <a:pt x="2079" y="1582"/>
                </a:lnTo>
                <a:lnTo>
                  <a:pt x="2083" y="1582"/>
                </a:lnTo>
                <a:close/>
                <a:moveTo>
                  <a:pt x="2098" y="1300"/>
                </a:moveTo>
                <a:lnTo>
                  <a:pt x="2098" y="1300"/>
                </a:lnTo>
                <a:lnTo>
                  <a:pt x="2096" y="1300"/>
                </a:lnTo>
                <a:lnTo>
                  <a:pt x="2094" y="1299"/>
                </a:lnTo>
                <a:lnTo>
                  <a:pt x="2095" y="1294"/>
                </a:lnTo>
                <a:lnTo>
                  <a:pt x="2094" y="1290"/>
                </a:lnTo>
                <a:lnTo>
                  <a:pt x="2094" y="1288"/>
                </a:lnTo>
                <a:lnTo>
                  <a:pt x="2094" y="1285"/>
                </a:lnTo>
                <a:lnTo>
                  <a:pt x="2095" y="1283"/>
                </a:lnTo>
                <a:lnTo>
                  <a:pt x="2097" y="1281"/>
                </a:lnTo>
                <a:lnTo>
                  <a:pt x="2098" y="1282"/>
                </a:lnTo>
                <a:lnTo>
                  <a:pt x="2100" y="1282"/>
                </a:lnTo>
                <a:lnTo>
                  <a:pt x="2102" y="1283"/>
                </a:lnTo>
                <a:lnTo>
                  <a:pt x="2102" y="1285"/>
                </a:lnTo>
                <a:lnTo>
                  <a:pt x="2102" y="1292"/>
                </a:lnTo>
                <a:lnTo>
                  <a:pt x="2102" y="1300"/>
                </a:lnTo>
                <a:lnTo>
                  <a:pt x="2100" y="1300"/>
                </a:lnTo>
                <a:lnTo>
                  <a:pt x="2098" y="1300"/>
                </a:lnTo>
                <a:close/>
                <a:moveTo>
                  <a:pt x="2170" y="1167"/>
                </a:moveTo>
                <a:lnTo>
                  <a:pt x="2171" y="1166"/>
                </a:lnTo>
                <a:lnTo>
                  <a:pt x="2173" y="1166"/>
                </a:lnTo>
                <a:lnTo>
                  <a:pt x="2175" y="1167"/>
                </a:lnTo>
                <a:lnTo>
                  <a:pt x="2176" y="1170"/>
                </a:lnTo>
                <a:lnTo>
                  <a:pt x="2176" y="1172"/>
                </a:lnTo>
                <a:lnTo>
                  <a:pt x="2176" y="1177"/>
                </a:lnTo>
                <a:lnTo>
                  <a:pt x="2173" y="1175"/>
                </a:lnTo>
                <a:lnTo>
                  <a:pt x="2171" y="1172"/>
                </a:lnTo>
                <a:lnTo>
                  <a:pt x="2170" y="1170"/>
                </a:lnTo>
                <a:lnTo>
                  <a:pt x="2170" y="1167"/>
                </a:lnTo>
                <a:close/>
                <a:moveTo>
                  <a:pt x="2172" y="956"/>
                </a:moveTo>
                <a:lnTo>
                  <a:pt x="2173" y="957"/>
                </a:lnTo>
                <a:lnTo>
                  <a:pt x="2174" y="957"/>
                </a:lnTo>
                <a:lnTo>
                  <a:pt x="2174" y="960"/>
                </a:lnTo>
                <a:lnTo>
                  <a:pt x="2173" y="961"/>
                </a:lnTo>
                <a:lnTo>
                  <a:pt x="2172" y="960"/>
                </a:lnTo>
                <a:lnTo>
                  <a:pt x="2171" y="958"/>
                </a:lnTo>
                <a:lnTo>
                  <a:pt x="2171" y="957"/>
                </a:lnTo>
                <a:lnTo>
                  <a:pt x="2172" y="956"/>
                </a:lnTo>
                <a:close/>
                <a:moveTo>
                  <a:pt x="2175" y="1126"/>
                </a:moveTo>
                <a:lnTo>
                  <a:pt x="2176" y="1129"/>
                </a:lnTo>
                <a:lnTo>
                  <a:pt x="2177" y="1131"/>
                </a:lnTo>
                <a:lnTo>
                  <a:pt x="2176" y="1133"/>
                </a:lnTo>
                <a:lnTo>
                  <a:pt x="2174" y="1136"/>
                </a:lnTo>
                <a:lnTo>
                  <a:pt x="2176" y="1133"/>
                </a:lnTo>
                <a:lnTo>
                  <a:pt x="2177" y="1131"/>
                </a:lnTo>
                <a:lnTo>
                  <a:pt x="2176" y="1129"/>
                </a:lnTo>
                <a:lnTo>
                  <a:pt x="2175" y="1126"/>
                </a:lnTo>
                <a:close/>
                <a:moveTo>
                  <a:pt x="2178" y="1113"/>
                </a:moveTo>
                <a:lnTo>
                  <a:pt x="2179" y="1113"/>
                </a:lnTo>
                <a:lnTo>
                  <a:pt x="2179" y="1114"/>
                </a:lnTo>
                <a:lnTo>
                  <a:pt x="2179" y="1113"/>
                </a:lnTo>
                <a:lnTo>
                  <a:pt x="2178" y="1113"/>
                </a:lnTo>
                <a:lnTo>
                  <a:pt x="2178" y="1113"/>
                </a:lnTo>
                <a:lnTo>
                  <a:pt x="2178" y="1113"/>
                </a:lnTo>
                <a:lnTo>
                  <a:pt x="2178" y="1111"/>
                </a:lnTo>
                <a:lnTo>
                  <a:pt x="2178" y="1113"/>
                </a:lnTo>
                <a:lnTo>
                  <a:pt x="2178" y="1113"/>
                </a:lnTo>
                <a:close/>
                <a:moveTo>
                  <a:pt x="2180" y="1022"/>
                </a:moveTo>
                <a:lnTo>
                  <a:pt x="2184" y="1028"/>
                </a:lnTo>
                <a:lnTo>
                  <a:pt x="2186" y="1034"/>
                </a:lnTo>
                <a:lnTo>
                  <a:pt x="2183" y="1031"/>
                </a:lnTo>
                <a:lnTo>
                  <a:pt x="2180" y="1029"/>
                </a:lnTo>
                <a:lnTo>
                  <a:pt x="2179" y="1028"/>
                </a:lnTo>
                <a:lnTo>
                  <a:pt x="2179" y="1026"/>
                </a:lnTo>
                <a:lnTo>
                  <a:pt x="2179" y="1025"/>
                </a:lnTo>
                <a:lnTo>
                  <a:pt x="2180" y="1022"/>
                </a:lnTo>
                <a:close/>
                <a:moveTo>
                  <a:pt x="2190" y="1175"/>
                </a:moveTo>
                <a:lnTo>
                  <a:pt x="2190" y="1178"/>
                </a:lnTo>
                <a:lnTo>
                  <a:pt x="2188" y="1180"/>
                </a:lnTo>
                <a:lnTo>
                  <a:pt x="2186" y="1179"/>
                </a:lnTo>
                <a:lnTo>
                  <a:pt x="2185" y="1177"/>
                </a:lnTo>
                <a:lnTo>
                  <a:pt x="2184" y="1170"/>
                </a:lnTo>
                <a:lnTo>
                  <a:pt x="2183" y="1164"/>
                </a:lnTo>
                <a:lnTo>
                  <a:pt x="2186" y="1166"/>
                </a:lnTo>
                <a:lnTo>
                  <a:pt x="2188" y="1168"/>
                </a:lnTo>
                <a:lnTo>
                  <a:pt x="2189" y="1171"/>
                </a:lnTo>
                <a:lnTo>
                  <a:pt x="2190" y="1175"/>
                </a:lnTo>
                <a:close/>
                <a:moveTo>
                  <a:pt x="2185" y="1486"/>
                </a:moveTo>
                <a:lnTo>
                  <a:pt x="2185" y="1484"/>
                </a:lnTo>
                <a:lnTo>
                  <a:pt x="2187" y="1483"/>
                </a:lnTo>
                <a:lnTo>
                  <a:pt x="2190" y="1485"/>
                </a:lnTo>
                <a:lnTo>
                  <a:pt x="2192" y="1487"/>
                </a:lnTo>
                <a:lnTo>
                  <a:pt x="2193" y="1489"/>
                </a:lnTo>
                <a:lnTo>
                  <a:pt x="2194" y="1492"/>
                </a:lnTo>
                <a:lnTo>
                  <a:pt x="2194" y="1496"/>
                </a:lnTo>
                <a:lnTo>
                  <a:pt x="2192" y="1496"/>
                </a:lnTo>
                <a:lnTo>
                  <a:pt x="2188" y="1491"/>
                </a:lnTo>
                <a:lnTo>
                  <a:pt x="2185" y="1486"/>
                </a:lnTo>
                <a:close/>
                <a:moveTo>
                  <a:pt x="2182" y="1489"/>
                </a:moveTo>
                <a:lnTo>
                  <a:pt x="2185" y="1496"/>
                </a:lnTo>
                <a:lnTo>
                  <a:pt x="2189" y="1500"/>
                </a:lnTo>
                <a:lnTo>
                  <a:pt x="2190" y="1501"/>
                </a:lnTo>
                <a:lnTo>
                  <a:pt x="2189" y="1503"/>
                </a:lnTo>
                <a:lnTo>
                  <a:pt x="2187" y="1504"/>
                </a:lnTo>
                <a:lnTo>
                  <a:pt x="2186" y="1502"/>
                </a:lnTo>
                <a:lnTo>
                  <a:pt x="2184" y="1500"/>
                </a:lnTo>
                <a:lnTo>
                  <a:pt x="2182" y="1497"/>
                </a:lnTo>
                <a:lnTo>
                  <a:pt x="2180" y="1496"/>
                </a:lnTo>
                <a:lnTo>
                  <a:pt x="2179" y="1493"/>
                </a:lnTo>
                <a:lnTo>
                  <a:pt x="2180" y="1491"/>
                </a:lnTo>
                <a:lnTo>
                  <a:pt x="2182" y="1489"/>
                </a:lnTo>
                <a:close/>
                <a:moveTo>
                  <a:pt x="2175" y="1503"/>
                </a:moveTo>
                <a:lnTo>
                  <a:pt x="2175" y="1500"/>
                </a:lnTo>
                <a:lnTo>
                  <a:pt x="2177" y="1499"/>
                </a:lnTo>
                <a:lnTo>
                  <a:pt x="2179" y="1501"/>
                </a:lnTo>
                <a:lnTo>
                  <a:pt x="2183" y="1502"/>
                </a:lnTo>
                <a:lnTo>
                  <a:pt x="2184" y="1505"/>
                </a:lnTo>
                <a:lnTo>
                  <a:pt x="2186" y="1508"/>
                </a:lnTo>
                <a:lnTo>
                  <a:pt x="2185" y="1511"/>
                </a:lnTo>
                <a:lnTo>
                  <a:pt x="2184" y="1514"/>
                </a:lnTo>
                <a:lnTo>
                  <a:pt x="2178" y="1508"/>
                </a:lnTo>
                <a:lnTo>
                  <a:pt x="2175" y="1503"/>
                </a:lnTo>
                <a:close/>
                <a:moveTo>
                  <a:pt x="2173" y="1497"/>
                </a:moveTo>
                <a:lnTo>
                  <a:pt x="2171" y="1499"/>
                </a:lnTo>
                <a:lnTo>
                  <a:pt x="2170" y="1498"/>
                </a:lnTo>
                <a:lnTo>
                  <a:pt x="2168" y="1496"/>
                </a:lnTo>
                <a:lnTo>
                  <a:pt x="2165" y="1492"/>
                </a:lnTo>
                <a:lnTo>
                  <a:pt x="2164" y="1489"/>
                </a:lnTo>
                <a:lnTo>
                  <a:pt x="2165" y="1485"/>
                </a:lnTo>
                <a:lnTo>
                  <a:pt x="2168" y="1486"/>
                </a:lnTo>
                <a:lnTo>
                  <a:pt x="2168" y="1486"/>
                </a:lnTo>
                <a:lnTo>
                  <a:pt x="2170" y="1488"/>
                </a:lnTo>
                <a:lnTo>
                  <a:pt x="2172" y="1490"/>
                </a:lnTo>
                <a:lnTo>
                  <a:pt x="2173" y="1491"/>
                </a:lnTo>
                <a:lnTo>
                  <a:pt x="2174" y="1493"/>
                </a:lnTo>
                <a:lnTo>
                  <a:pt x="2173" y="1495"/>
                </a:lnTo>
                <a:lnTo>
                  <a:pt x="2173" y="1497"/>
                </a:lnTo>
                <a:close/>
                <a:moveTo>
                  <a:pt x="2183" y="1482"/>
                </a:moveTo>
                <a:lnTo>
                  <a:pt x="2183" y="1482"/>
                </a:lnTo>
                <a:lnTo>
                  <a:pt x="2183" y="1482"/>
                </a:lnTo>
                <a:lnTo>
                  <a:pt x="2183" y="1482"/>
                </a:lnTo>
                <a:lnTo>
                  <a:pt x="2183" y="1482"/>
                </a:lnTo>
                <a:close/>
                <a:moveTo>
                  <a:pt x="2184" y="1470"/>
                </a:moveTo>
                <a:lnTo>
                  <a:pt x="2184" y="1473"/>
                </a:lnTo>
                <a:lnTo>
                  <a:pt x="2184" y="1475"/>
                </a:lnTo>
                <a:lnTo>
                  <a:pt x="2184" y="1478"/>
                </a:lnTo>
                <a:lnTo>
                  <a:pt x="2183" y="1482"/>
                </a:lnTo>
                <a:lnTo>
                  <a:pt x="2175" y="1475"/>
                </a:lnTo>
                <a:lnTo>
                  <a:pt x="2170" y="1468"/>
                </a:lnTo>
                <a:lnTo>
                  <a:pt x="2169" y="1469"/>
                </a:lnTo>
                <a:lnTo>
                  <a:pt x="2168" y="1469"/>
                </a:lnTo>
                <a:lnTo>
                  <a:pt x="2170" y="1473"/>
                </a:lnTo>
                <a:lnTo>
                  <a:pt x="2172" y="1477"/>
                </a:lnTo>
                <a:lnTo>
                  <a:pt x="2174" y="1481"/>
                </a:lnTo>
                <a:lnTo>
                  <a:pt x="2178" y="1484"/>
                </a:lnTo>
                <a:lnTo>
                  <a:pt x="2178" y="1486"/>
                </a:lnTo>
                <a:lnTo>
                  <a:pt x="2178" y="1487"/>
                </a:lnTo>
                <a:lnTo>
                  <a:pt x="2177" y="1488"/>
                </a:lnTo>
                <a:lnTo>
                  <a:pt x="2176" y="1489"/>
                </a:lnTo>
                <a:lnTo>
                  <a:pt x="2173" y="1488"/>
                </a:lnTo>
                <a:lnTo>
                  <a:pt x="2172" y="1486"/>
                </a:lnTo>
                <a:lnTo>
                  <a:pt x="2167" y="1480"/>
                </a:lnTo>
                <a:lnTo>
                  <a:pt x="2163" y="1473"/>
                </a:lnTo>
                <a:lnTo>
                  <a:pt x="2162" y="1471"/>
                </a:lnTo>
                <a:lnTo>
                  <a:pt x="2163" y="1469"/>
                </a:lnTo>
                <a:lnTo>
                  <a:pt x="2164" y="1468"/>
                </a:lnTo>
                <a:lnTo>
                  <a:pt x="2165" y="1468"/>
                </a:lnTo>
                <a:lnTo>
                  <a:pt x="2167" y="1469"/>
                </a:lnTo>
                <a:lnTo>
                  <a:pt x="2168" y="1469"/>
                </a:lnTo>
                <a:lnTo>
                  <a:pt x="2169" y="1469"/>
                </a:lnTo>
                <a:lnTo>
                  <a:pt x="2170" y="1468"/>
                </a:lnTo>
                <a:lnTo>
                  <a:pt x="2172" y="1467"/>
                </a:lnTo>
                <a:lnTo>
                  <a:pt x="2174" y="1466"/>
                </a:lnTo>
                <a:lnTo>
                  <a:pt x="2175" y="1467"/>
                </a:lnTo>
                <a:lnTo>
                  <a:pt x="2177" y="1468"/>
                </a:lnTo>
                <a:lnTo>
                  <a:pt x="2180" y="1470"/>
                </a:lnTo>
                <a:lnTo>
                  <a:pt x="2184" y="1470"/>
                </a:lnTo>
                <a:close/>
                <a:moveTo>
                  <a:pt x="2186" y="1257"/>
                </a:moveTo>
                <a:lnTo>
                  <a:pt x="2186" y="1257"/>
                </a:lnTo>
                <a:lnTo>
                  <a:pt x="2187" y="1256"/>
                </a:lnTo>
                <a:lnTo>
                  <a:pt x="2186" y="1257"/>
                </a:lnTo>
                <a:lnTo>
                  <a:pt x="2186" y="1257"/>
                </a:lnTo>
                <a:close/>
                <a:moveTo>
                  <a:pt x="2180" y="1154"/>
                </a:moveTo>
                <a:lnTo>
                  <a:pt x="2182" y="1155"/>
                </a:lnTo>
                <a:lnTo>
                  <a:pt x="2182" y="1156"/>
                </a:lnTo>
                <a:lnTo>
                  <a:pt x="2182" y="1155"/>
                </a:lnTo>
                <a:lnTo>
                  <a:pt x="2180" y="1154"/>
                </a:lnTo>
                <a:close/>
                <a:moveTo>
                  <a:pt x="2174" y="1274"/>
                </a:moveTo>
                <a:lnTo>
                  <a:pt x="2177" y="1274"/>
                </a:lnTo>
                <a:lnTo>
                  <a:pt x="2180" y="1275"/>
                </a:lnTo>
                <a:lnTo>
                  <a:pt x="2177" y="1274"/>
                </a:lnTo>
                <a:lnTo>
                  <a:pt x="2174" y="1274"/>
                </a:lnTo>
                <a:close/>
                <a:moveTo>
                  <a:pt x="2186" y="1291"/>
                </a:moveTo>
                <a:lnTo>
                  <a:pt x="2186" y="1297"/>
                </a:lnTo>
                <a:lnTo>
                  <a:pt x="2186" y="1302"/>
                </a:lnTo>
                <a:lnTo>
                  <a:pt x="2186" y="1304"/>
                </a:lnTo>
                <a:lnTo>
                  <a:pt x="2186" y="1307"/>
                </a:lnTo>
                <a:lnTo>
                  <a:pt x="2186" y="1308"/>
                </a:lnTo>
                <a:lnTo>
                  <a:pt x="2185" y="1309"/>
                </a:lnTo>
                <a:lnTo>
                  <a:pt x="2183" y="1309"/>
                </a:lnTo>
                <a:lnTo>
                  <a:pt x="2180" y="1309"/>
                </a:lnTo>
                <a:lnTo>
                  <a:pt x="2177" y="1309"/>
                </a:lnTo>
                <a:lnTo>
                  <a:pt x="2174" y="1308"/>
                </a:lnTo>
                <a:lnTo>
                  <a:pt x="2173" y="1305"/>
                </a:lnTo>
                <a:lnTo>
                  <a:pt x="2173" y="1302"/>
                </a:lnTo>
                <a:lnTo>
                  <a:pt x="2173" y="1296"/>
                </a:lnTo>
                <a:lnTo>
                  <a:pt x="2172" y="1290"/>
                </a:lnTo>
                <a:lnTo>
                  <a:pt x="2179" y="1290"/>
                </a:lnTo>
                <a:lnTo>
                  <a:pt x="2186" y="1291"/>
                </a:lnTo>
                <a:close/>
                <a:moveTo>
                  <a:pt x="2164" y="1306"/>
                </a:moveTo>
                <a:lnTo>
                  <a:pt x="2164" y="1307"/>
                </a:lnTo>
                <a:lnTo>
                  <a:pt x="2163" y="1308"/>
                </a:lnTo>
                <a:lnTo>
                  <a:pt x="2162" y="1308"/>
                </a:lnTo>
                <a:lnTo>
                  <a:pt x="2160" y="1308"/>
                </a:lnTo>
                <a:lnTo>
                  <a:pt x="2158" y="1307"/>
                </a:lnTo>
                <a:lnTo>
                  <a:pt x="2155" y="1307"/>
                </a:lnTo>
                <a:lnTo>
                  <a:pt x="2153" y="1306"/>
                </a:lnTo>
                <a:lnTo>
                  <a:pt x="2152" y="1306"/>
                </a:lnTo>
                <a:lnTo>
                  <a:pt x="2150" y="1305"/>
                </a:lnTo>
                <a:lnTo>
                  <a:pt x="2149" y="1302"/>
                </a:lnTo>
                <a:lnTo>
                  <a:pt x="2149" y="1296"/>
                </a:lnTo>
                <a:lnTo>
                  <a:pt x="2149" y="1288"/>
                </a:lnTo>
                <a:lnTo>
                  <a:pt x="2156" y="1288"/>
                </a:lnTo>
                <a:lnTo>
                  <a:pt x="2161" y="1288"/>
                </a:lnTo>
                <a:lnTo>
                  <a:pt x="2162" y="1288"/>
                </a:lnTo>
                <a:lnTo>
                  <a:pt x="2163" y="1288"/>
                </a:lnTo>
                <a:lnTo>
                  <a:pt x="2162" y="1288"/>
                </a:lnTo>
                <a:lnTo>
                  <a:pt x="2161" y="1288"/>
                </a:lnTo>
                <a:lnTo>
                  <a:pt x="2163" y="1290"/>
                </a:lnTo>
                <a:lnTo>
                  <a:pt x="2165" y="1292"/>
                </a:lnTo>
                <a:lnTo>
                  <a:pt x="2165" y="1294"/>
                </a:lnTo>
                <a:lnTo>
                  <a:pt x="2167" y="1297"/>
                </a:lnTo>
                <a:lnTo>
                  <a:pt x="2165" y="1302"/>
                </a:lnTo>
                <a:lnTo>
                  <a:pt x="2164" y="1306"/>
                </a:lnTo>
                <a:close/>
                <a:moveTo>
                  <a:pt x="2144" y="1288"/>
                </a:moveTo>
                <a:lnTo>
                  <a:pt x="2145" y="1287"/>
                </a:lnTo>
                <a:lnTo>
                  <a:pt x="2146" y="1287"/>
                </a:lnTo>
                <a:lnTo>
                  <a:pt x="2147" y="1288"/>
                </a:lnTo>
                <a:lnTo>
                  <a:pt x="2147" y="1288"/>
                </a:lnTo>
                <a:lnTo>
                  <a:pt x="2147" y="1297"/>
                </a:lnTo>
                <a:lnTo>
                  <a:pt x="2147" y="1304"/>
                </a:lnTo>
                <a:lnTo>
                  <a:pt x="2145" y="1301"/>
                </a:lnTo>
                <a:lnTo>
                  <a:pt x="2145" y="1297"/>
                </a:lnTo>
                <a:lnTo>
                  <a:pt x="2145" y="1292"/>
                </a:lnTo>
                <a:lnTo>
                  <a:pt x="2144" y="1288"/>
                </a:lnTo>
                <a:close/>
                <a:moveTo>
                  <a:pt x="2143" y="1301"/>
                </a:moveTo>
                <a:lnTo>
                  <a:pt x="2142" y="1303"/>
                </a:lnTo>
                <a:lnTo>
                  <a:pt x="2141" y="1305"/>
                </a:lnTo>
                <a:lnTo>
                  <a:pt x="2140" y="1306"/>
                </a:lnTo>
                <a:lnTo>
                  <a:pt x="2138" y="1306"/>
                </a:lnTo>
                <a:lnTo>
                  <a:pt x="2134" y="1306"/>
                </a:lnTo>
                <a:lnTo>
                  <a:pt x="2132" y="1305"/>
                </a:lnTo>
                <a:lnTo>
                  <a:pt x="2130" y="1303"/>
                </a:lnTo>
                <a:lnTo>
                  <a:pt x="2129" y="1301"/>
                </a:lnTo>
                <a:lnTo>
                  <a:pt x="2129" y="1292"/>
                </a:lnTo>
                <a:lnTo>
                  <a:pt x="2129" y="1285"/>
                </a:lnTo>
                <a:lnTo>
                  <a:pt x="2137" y="1286"/>
                </a:lnTo>
                <a:lnTo>
                  <a:pt x="2143" y="1288"/>
                </a:lnTo>
                <a:lnTo>
                  <a:pt x="2143" y="1294"/>
                </a:lnTo>
                <a:lnTo>
                  <a:pt x="2143" y="1301"/>
                </a:lnTo>
                <a:close/>
                <a:moveTo>
                  <a:pt x="2104" y="1302"/>
                </a:moveTo>
                <a:lnTo>
                  <a:pt x="2104" y="1298"/>
                </a:lnTo>
                <a:lnTo>
                  <a:pt x="2104" y="1294"/>
                </a:lnTo>
                <a:lnTo>
                  <a:pt x="2104" y="1288"/>
                </a:lnTo>
                <a:lnTo>
                  <a:pt x="2107" y="1284"/>
                </a:lnTo>
                <a:lnTo>
                  <a:pt x="2110" y="1283"/>
                </a:lnTo>
                <a:lnTo>
                  <a:pt x="2116" y="1284"/>
                </a:lnTo>
                <a:lnTo>
                  <a:pt x="2119" y="1285"/>
                </a:lnTo>
                <a:lnTo>
                  <a:pt x="2122" y="1286"/>
                </a:lnTo>
                <a:lnTo>
                  <a:pt x="2123" y="1288"/>
                </a:lnTo>
                <a:lnTo>
                  <a:pt x="2123" y="1290"/>
                </a:lnTo>
                <a:lnTo>
                  <a:pt x="2122" y="1296"/>
                </a:lnTo>
                <a:lnTo>
                  <a:pt x="2122" y="1300"/>
                </a:lnTo>
                <a:lnTo>
                  <a:pt x="2122" y="1302"/>
                </a:lnTo>
                <a:lnTo>
                  <a:pt x="2120" y="1303"/>
                </a:lnTo>
                <a:lnTo>
                  <a:pt x="2119" y="1303"/>
                </a:lnTo>
                <a:lnTo>
                  <a:pt x="2118" y="1303"/>
                </a:lnTo>
                <a:lnTo>
                  <a:pt x="2115" y="1303"/>
                </a:lnTo>
                <a:lnTo>
                  <a:pt x="2112" y="1303"/>
                </a:lnTo>
                <a:lnTo>
                  <a:pt x="2109" y="1302"/>
                </a:lnTo>
                <a:lnTo>
                  <a:pt x="2104" y="1302"/>
                </a:lnTo>
                <a:close/>
                <a:moveTo>
                  <a:pt x="2120" y="1520"/>
                </a:moveTo>
                <a:lnTo>
                  <a:pt x="2120" y="1518"/>
                </a:lnTo>
                <a:lnTo>
                  <a:pt x="2119" y="1517"/>
                </a:lnTo>
                <a:lnTo>
                  <a:pt x="2117" y="1512"/>
                </a:lnTo>
                <a:lnTo>
                  <a:pt x="2117" y="1506"/>
                </a:lnTo>
                <a:lnTo>
                  <a:pt x="2119" y="1501"/>
                </a:lnTo>
                <a:lnTo>
                  <a:pt x="2122" y="1496"/>
                </a:lnTo>
                <a:lnTo>
                  <a:pt x="2125" y="1492"/>
                </a:lnTo>
                <a:lnTo>
                  <a:pt x="2127" y="1489"/>
                </a:lnTo>
                <a:lnTo>
                  <a:pt x="2130" y="1488"/>
                </a:lnTo>
                <a:lnTo>
                  <a:pt x="2133" y="1486"/>
                </a:lnTo>
                <a:lnTo>
                  <a:pt x="2141" y="1484"/>
                </a:lnTo>
                <a:lnTo>
                  <a:pt x="2147" y="1481"/>
                </a:lnTo>
                <a:lnTo>
                  <a:pt x="2148" y="1481"/>
                </a:lnTo>
                <a:lnTo>
                  <a:pt x="2149" y="1482"/>
                </a:lnTo>
                <a:lnTo>
                  <a:pt x="2150" y="1483"/>
                </a:lnTo>
                <a:lnTo>
                  <a:pt x="2152" y="1485"/>
                </a:lnTo>
                <a:lnTo>
                  <a:pt x="2153" y="1486"/>
                </a:lnTo>
                <a:lnTo>
                  <a:pt x="2153" y="1488"/>
                </a:lnTo>
                <a:lnTo>
                  <a:pt x="2152" y="1489"/>
                </a:lnTo>
                <a:lnTo>
                  <a:pt x="2150" y="1490"/>
                </a:lnTo>
                <a:lnTo>
                  <a:pt x="2148" y="1491"/>
                </a:lnTo>
                <a:lnTo>
                  <a:pt x="2147" y="1493"/>
                </a:lnTo>
                <a:lnTo>
                  <a:pt x="2149" y="1496"/>
                </a:lnTo>
                <a:lnTo>
                  <a:pt x="2152" y="1497"/>
                </a:lnTo>
                <a:lnTo>
                  <a:pt x="2154" y="1497"/>
                </a:lnTo>
                <a:lnTo>
                  <a:pt x="2156" y="1496"/>
                </a:lnTo>
                <a:lnTo>
                  <a:pt x="2157" y="1496"/>
                </a:lnTo>
                <a:lnTo>
                  <a:pt x="2158" y="1498"/>
                </a:lnTo>
                <a:lnTo>
                  <a:pt x="2159" y="1501"/>
                </a:lnTo>
                <a:lnTo>
                  <a:pt x="2160" y="1505"/>
                </a:lnTo>
                <a:lnTo>
                  <a:pt x="2160" y="1508"/>
                </a:lnTo>
                <a:lnTo>
                  <a:pt x="2159" y="1513"/>
                </a:lnTo>
                <a:lnTo>
                  <a:pt x="2158" y="1515"/>
                </a:lnTo>
                <a:lnTo>
                  <a:pt x="2158" y="1516"/>
                </a:lnTo>
                <a:lnTo>
                  <a:pt x="2159" y="1517"/>
                </a:lnTo>
                <a:lnTo>
                  <a:pt x="2160" y="1519"/>
                </a:lnTo>
                <a:lnTo>
                  <a:pt x="2162" y="1526"/>
                </a:lnTo>
                <a:lnTo>
                  <a:pt x="2163" y="1533"/>
                </a:lnTo>
                <a:lnTo>
                  <a:pt x="2163" y="1536"/>
                </a:lnTo>
                <a:lnTo>
                  <a:pt x="2163" y="1539"/>
                </a:lnTo>
                <a:lnTo>
                  <a:pt x="2162" y="1544"/>
                </a:lnTo>
                <a:lnTo>
                  <a:pt x="2160" y="1547"/>
                </a:lnTo>
                <a:lnTo>
                  <a:pt x="2161" y="1547"/>
                </a:lnTo>
                <a:lnTo>
                  <a:pt x="2161" y="1548"/>
                </a:lnTo>
                <a:lnTo>
                  <a:pt x="2161" y="1547"/>
                </a:lnTo>
                <a:lnTo>
                  <a:pt x="2160" y="1547"/>
                </a:lnTo>
                <a:lnTo>
                  <a:pt x="2153" y="1548"/>
                </a:lnTo>
                <a:lnTo>
                  <a:pt x="2145" y="1548"/>
                </a:lnTo>
                <a:lnTo>
                  <a:pt x="2138" y="1546"/>
                </a:lnTo>
                <a:lnTo>
                  <a:pt x="2130" y="1544"/>
                </a:lnTo>
                <a:lnTo>
                  <a:pt x="2126" y="1544"/>
                </a:lnTo>
                <a:lnTo>
                  <a:pt x="2124" y="1545"/>
                </a:lnTo>
                <a:lnTo>
                  <a:pt x="2122" y="1538"/>
                </a:lnTo>
                <a:lnTo>
                  <a:pt x="2119" y="1533"/>
                </a:lnTo>
                <a:lnTo>
                  <a:pt x="2119" y="1527"/>
                </a:lnTo>
                <a:lnTo>
                  <a:pt x="2120" y="1520"/>
                </a:lnTo>
                <a:close/>
                <a:moveTo>
                  <a:pt x="2172" y="1592"/>
                </a:moveTo>
                <a:lnTo>
                  <a:pt x="2172" y="1596"/>
                </a:lnTo>
                <a:lnTo>
                  <a:pt x="2171" y="1599"/>
                </a:lnTo>
                <a:lnTo>
                  <a:pt x="2172" y="1596"/>
                </a:lnTo>
                <a:lnTo>
                  <a:pt x="2172" y="1592"/>
                </a:lnTo>
                <a:lnTo>
                  <a:pt x="2168" y="1594"/>
                </a:lnTo>
                <a:lnTo>
                  <a:pt x="2163" y="1597"/>
                </a:lnTo>
                <a:lnTo>
                  <a:pt x="2159" y="1600"/>
                </a:lnTo>
                <a:lnTo>
                  <a:pt x="2156" y="1605"/>
                </a:lnTo>
                <a:lnTo>
                  <a:pt x="2156" y="1605"/>
                </a:lnTo>
                <a:lnTo>
                  <a:pt x="2155" y="1605"/>
                </a:lnTo>
                <a:lnTo>
                  <a:pt x="2153" y="1608"/>
                </a:lnTo>
                <a:lnTo>
                  <a:pt x="2149" y="1611"/>
                </a:lnTo>
                <a:lnTo>
                  <a:pt x="2145" y="1613"/>
                </a:lnTo>
                <a:lnTo>
                  <a:pt x="2142" y="1614"/>
                </a:lnTo>
                <a:lnTo>
                  <a:pt x="2145" y="1613"/>
                </a:lnTo>
                <a:lnTo>
                  <a:pt x="2149" y="1611"/>
                </a:lnTo>
                <a:lnTo>
                  <a:pt x="2153" y="1608"/>
                </a:lnTo>
                <a:lnTo>
                  <a:pt x="2155" y="1605"/>
                </a:lnTo>
                <a:lnTo>
                  <a:pt x="2146" y="1602"/>
                </a:lnTo>
                <a:lnTo>
                  <a:pt x="2137" y="1599"/>
                </a:lnTo>
                <a:lnTo>
                  <a:pt x="2132" y="1598"/>
                </a:lnTo>
                <a:lnTo>
                  <a:pt x="2130" y="1596"/>
                </a:lnTo>
                <a:lnTo>
                  <a:pt x="2129" y="1593"/>
                </a:lnTo>
                <a:lnTo>
                  <a:pt x="2129" y="1589"/>
                </a:lnTo>
                <a:lnTo>
                  <a:pt x="2130" y="1587"/>
                </a:lnTo>
                <a:lnTo>
                  <a:pt x="2130" y="1584"/>
                </a:lnTo>
                <a:lnTo>
                  <a:pt x="2129" y="1583"/>
                </a:lnTo>
                <a:lnTo>
                  <a:pt x="2127" y="1581"/>
                </a:lnTo>
                <a:lnTo>
                  <a:pt x="2127" y="1580"/>
                </a:lnTo>
                <a:lnTo>
                  <a:pt x="2125" y="1578"/>
                </a:lnTo>
                <a:lnTo>
                  <a:pt x="2123" y="1574"/>
                </a:lnTo>
                <a:lnTo>
                  <a:pt x="2125" y="1578"/>
                </a:lnTo>
                <a:lnTo>
                  <a:pt x="2127" y="1580"/>
                </a:lnTo>
                <a:lnTo>
                  <a:pt x="2126" y="1570"/>
                </a:lnTo>
                <a:lnTo>
                  <a:pt x="2124" y="1561"/>
                </a:lnTo>
                <a:lnTo>
                  <a:pt x="2125" y="1558"/>
                </a:lnTo>
                <a:lnTo>
                  <a:pt x="2126" y="1556"/>
                </a:lnTo>
                <a:lnTo>
                  <a:pt x="2128" y="1553"/>
                </a:lnTo>
                <a:lnTo>
                  <a:pt x="2130" y="1552"/>
                </a:lnTo>
                <a:lnTo>
                  <a:pt x="2146" y="1552"/>
                </a:lnTo>
                <a:lnTo>
                  <a:pt x="2162" y="1552"/>
                </a:lnTo>
                <a:lnTo>
                  <a:pt x="2165" y="1560"/>
                </a:lnTo>
                <a:lnTo>
                  <a:pt x="2169" y="1566"/>
                </a:lnTo>
                <a:lnTo>
                  <a:pt x="2169" y="1569"/>
                </a:lnTo>
                <a:lnTo>
                  <a:pt x="2169" y="1574"/>
                </a:lnTo>
                <a:lnTo>
                  <a:pt x="2169" y="1577"/>
                </a:lnTo>
                <a:lnTo>
                  <a:pt x="2168" y="1581"/>
                </a:lnTo>
                <a:lnTo>
                  <a:pt x="2170" y="1587"/>
                </a:lnTo>
                <a:lnTo>
                  <a:pt x="2172" y="1592"/>
                </a:lnTo>
                <a:close/>
                <a:moveTo>
                  <a:pt x="2183" y="1753"/>
                </a:moveTo>
                <a:lnTo>
                  <a:pt x="2179" y="1752"/>
                </a:lnTo>
                <a:lnTo>
                  <a:pt x="2177" y="1752"/>
                </a:lnTo>
                <a:lnTo>
                  <a:pt x="2176" y="1751"/>
                </a:lnTo>
                <a:lnTo>
                  <a:pt x="2175" y="1750"/>
                </a:lnTo>
                <a:lnTo>
                  <a:pt x="2175" y="1749"/>
                </a:lnTo>
                <a:lnTo>
                  <a:pt x="2175" y="1748"/>
                </a:lnTo>
                <a:lnTo>
                  <a:pt x="2175" y="1749"/>
                </a:lnTo>
                <a:lnTo>
                  <a:pt x="2175" y="1750"/>
                </a:lnTo>
                <a:lnTo>
                  <a:pt x="2176" y="1751"/>
                </a:lnTo>
                <a:lnTo>
                  <a:pt x="2177" y="1752"/>
                </a:lnTo>
                <a:lnTo>
                  <a:pt x="2179" y="1752"/>
                </a:lnTo>
                <a:lnTo>
                  <a:pt x="2183" y="1753"/>
                </a:lnTo>
                <a:lnTo>
                  <a:pt x="2183" y="1753"/>
                </a:lnTo>
                <a:close/>
                <a:moveTo>
                  <a:pt x="2215" y="1748"/>
                </a:move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close/>
                <a:moveTo>
                  <a:pt x="2259" y="1737"/>
                </a:moveTo>
                <a:lnTo>
                  <a:pt x="2264" y="1740"/>
                </a:lnTo>
                <a:lnTo>
                  <a:pt x="2269" y="1742"/>
                </a:lnTo>
                <a:lnTo>
                  <a:pt x="2271" y="1744"/>
                </a:lnTo>
                <a:lnTo>
                  <a:pt x="2271" y="1745"/>
                </a:lnTo>
                <a:lnTo>
                  <a:pt x="2271" y="1747"/>
                </a:lnTo>
                <a:lnTo>
                  <a:pt x="2270" y="1748"/>
                </a:lnTo>
                <a:lnTo>
                  <a:pt x="2265" y="1749"/>
                </a:lnTo>
                <a:lnTo>
                  <a:pt x="2261" y="1749"/>
                </a:lnTo>
                <a:lnTo>
                  <a:pt x="2261" y="1749"/>
                </a:lnTo>
                <a:lnTo>
                  <a:pt x="2261" y="1749"/>
                </a:lnTo>
                <a:lnTo>
                  <a:pt x="2258" y="1747"/>
                </a:lnTo>
                <a:lnTo>
                  <a:pt x="2254" y="1745"/>
                </a:lnTo>
                <a:lnTo>
                  <a:pt x="2252" y="1744"/>
                </a:lnTo>
                <a:lnTo>
                  <a:pt x="2250" y="1744"/>
                </a:lnTo>
                <a:lnTo>
                  <a:pt x="2248" y="1745"/>
                </a:lnTo>
                <a:lnTo>
                  <a:pt x="2246" y="1747"/>
                </a:lnTo>
                <a:lnTo>
                  <a:pt x="2245" y="1747"/>
                </a:lnTo>
                <a:lnTo>
                  <a:pt x="2245" y="1748"/>
                </a:lnTo>
                <a:lnTo>
                  <a:pt x="2238" y="1747"/>
                </a:lnTo>
                <a:lnTo>
                  <a:pt x="2233" y="1746"/>
                </a:lnTo>
                <a:lnTo>
                  <a:pt x="2226" y="1745"/>
                </a:lnTo>
                <a:lnTo>
                  <a:pt x="2221" y="1743"/>
                </a:lnTo>
                <a:lnTo>
                  <a:pt x="2219" y="1742"/>
                </a:lnTo>
                <a:lnTo>
                  <a:pt x="2218" y="1743"/>
                </a:lnTo>
                <a:lnTo>
                  <a:pt x="2216" y="1744"/>
                </a:lnTo>
                <a:lnTo>
                  <a:pt x="2216" y="1746"/>
                </a:lnTo>
                <a:lnTo>
                  <a:pt x="2216" y="1747"/>
                </a:lnTo>
                <a:lnTo>
                  <a:pt x="2215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15" y="1748"/>
                </a:lnTo>
                <a:lnTo>
                  <a:pt x="2215" y="1748"/>
                </a:lnTo>
                <a:lnTo>
                  <a:pt x="2215" y="1748"/>
                </a:lnTo>
                <a:lnTo>
                  <a:pt x="2214" y="1747"/>
                </a:lnTo>
                <a:lnTo>
                  <a:pt x="2214" y="1747"/>
                </a:lnTo>
                <a:lnTo>
                  <a:pt x="2214" y="1747"/>
                </a:lnTo>
                <a:lnTo>
                  <a:pt x="2208" y="1747"/>
                </a:lnTo>
                <a:lnTo>
                  <a:pt x="2204" y="1747"/>
                </a:lnTo>
                <a:lnTo>
                  <a:pt x="2203" y="1747"/>
                </a:lnTo>
                <a:lnTo>
                  <a:pt x="2203" y="1748"/>
                </a:lnTo>
                <a:lnTo>
                  <a:pt x="2203" y="1747"/>
                </a:lnTo>
                <a:lnTo>
                  <a:pt x="2204" y="1747"/>
                </a:lnTo>
                <a:lnTo>
                  <a:pt x="2203" y="1747"/>
                </a:lnTo>
                <a:lnTo>
                  <a:pt x="2202" y="1747"/>
                </a:lnTo>
                <a:lnTo>
                  <a:pt x="2200" y="1747"/>
                </a:lnTo>
                <a:lnTo>
                  <a:pt x="2199" y="1746"/>
                </a:lnTo>
                <a:lnTo>
                  <a:pt x="2186" y="1745"/>
                </a:lnTo>
                <a:lnTo>
                  <a:pt x="2174" y="1745"/>
                </a:lnTo>
                <a:lnTo>
                  <a:pt x="2167" y="1743"/>
                </a:lnTo>
                <a:lnTo>
                  <a:pt x="2158" y="1741"/>
                </a:lnTo>
                <a:lnTo>
                  <a:pt x="2150" y="1738"/>
                </a:lnTo>
                <a:lnTo>
                  <a:pt x="2142" y="1736"/>
                </a:lnTo>
                <a:lnTo>
                  <a:pt x="2150" y="1734"/>
                </a:lnTo>
                <a:lnTo>
                  <a:pt x="2159" y="1735"/>
                </a:lnTo>
                <a:lnTo>
                  <a:pt x="2184" y="1735"/>
                </a:lnTo>
                <a:lnTo>
                  <a:pt x="2208" y="1735"/>
                </a:lnTo>
                <a:lnTo>
                  <a:pt x="2234" y="1736"/>
                </a:lnTo>
                <a:lnTo>
                  <a:pt x="2259" y="1737"/>
                </a:lnTo>
                <a:close/>
                <a:moveTo>
                  <a:pt x="2177" y="1531"/>
                </a:moveTo>
                <a:lnTo>
                  <a:pt x="2174" y="1529"/>
                </a:lnTo>
                <a:lnTo>
                  <a:pt x="2171" y="1527"/>
                </a:lnTo>
                <a:lnTo>
                  <a:pt x="2170" y="1526"/>
                </a:lnTo>
                <a:lnTo>
                  <a:pt x="2169" y="1523"/>
                </a:lnTo>
                <a:lnTo>
                  <a:pt x="2170" y="1518"/>
                </a:lnTo>
                <a:lnTo>
                  <a:pt x="2173" y="1507"/>
                </a:lnTo>
                <a:lnTo>
                  <a:pt x="2176" y="1511"/>
                </a:lnTo>
                <a:lnTo>
                  <a:pt x="2179" y="1513"/>
                </a:lnTo>
                <a:lnTo>
                  <a:pt x="2180" y="1514"/>
                </a:lnTo>
                <a:lnTo>
                  <a:pt x="2182" y="1516"/>
                </a:lnTo>
                <a:lnTo>
                  <a:pt x="2182" y="1518"/>
                </a:lnTo>
                <a:lnTo>
                  <a:pt x="2180" y="1520"/>
                </a:lnTo>
                <a:lnTo>
                  <a:pt x="2177" y="1520"/>
                </a:lnTo>
                <a:lnTo>
                  <a:pt x="2173" y="1519"/>
                </a:lnTo>
                <a:lnTo>
                  <a:pt x="2175" y="1521"/>
                </a:lnTo>
                <a:lnTo>
                  <a:pt x="2177" y="1524"/>
                </a:lnTo>
                <a:lnTo>
                  <a:pt x="2178" y="1526"/>
                </a:lnTo>
                <a:lnTo>
                  <a:pt x="2178" y="1527"/>
                </a:lnTo>
                <a:lnTo>
                  <a:pt x="2178" y="1529"/>
                </a:lnTo>
                <a:lnTo>
                  <a:pt x="2177" y="1531"/>
                </a:lnTo>
                <a:close/>
                <a:moveTo>
                  <a:pt x="2193" y="1475"/>
                </a:moveTo>
                <a:lnTo>
                  <a:pt x="2195" y="1477"/>
                </a:lnTo>
                <a:lnTo>
                  <a:pt x="2199" y="1480"/>
                </a:lnTo>
                <a:lnTo>
                  <a:pt x="2200" y="1483"/>
                </a:lnTo>
                <a:lnTo>
                  <a:pt x="2201" y="1486"/>
                </a:lnTo>
                <a:lnTo>
                  <a:pt x="2200" y="1489"/>
                </a:lnTo>
                <a:lnTo>
                  <a:pt x="2199" y="1490"/>
                </a:lnTo>
                <a:lnTo>
                  <a:pt x="2195" y="1487"/>
                </a:lnTo>
                <a:lnTo>
                  <a:pt x="2193" y="1485"/>
                </a:lnTo>
                <a:lnTo>
                  <a:pt x="2191" y="1482"/>
                </a:lnTo>
                <a:lnTo>
                  <a:pt x="2190" y="1478"/>
                </a:lnTo>
                <a:lnTo>
                  <a:pt x="2191" y="1476"/>
                </a:lnTo>
                <a:lnTo>
                  <a:pt x="2193" y="1475"/>
                </a:lnTo>
                <a:close/>
                <a:moveTo>
                  <a:pt x="2203" y="1079"/>
                </a:moveTo>
                <a:lnTo>
                  <a:pt x="2200" y="1077"/>
                </a:lnTo>
                <a:lnTo>
                  <a:pt x="2198" y="1076"/>
                </a:lnTo>
                <a:lnTo>
                  <a:pt x="2194" y="1077"/>
                </a:lnTo>
                <a:lnTo>
                  <a:pt x="2191" y="1078"/>
                </a:lnTo>
                <a:lnTo>
                  <a:pt x="2194" y="1077"/>
                </a:lnTo>
                <a:lnTo>
                  <a:pt x="2198" y="1076"/>
                </a:lnTo>
                <a:lnTo>
                  <a:pt x="2200" y="1077"/>
                </a:lnTo>
                <a:lnTo>
                  <a:pt x="2203" y="1079"/>
                </a:lnTo>
                <a:close/>
                <a:moveTo>
                  <a:pt x="2234" y="1194"/>
                </a:moveTo>
                <a:lnTo>
                  <a:pt x="2230" y="1195"/>
                </a:lnTo>
                <a:lnTo>
                  <a:pt x="2226" y="1194"/>
                </a:lnTo>
                <a:lnTo>
                  <a:pt x="2224" y="1193"/>
                </a:lnTo>
                <a:lnTo>
                  <a:pt x="2223" y="1191"/>
                </a:lnTo>
                <a:lnTo>
                  <a:pt x="2222" y="1189"/>
                </a:lnTo>
                <a:lnTo>
                  <a:pt x="2222" y="1186"/>
                </a:lnTo>
                <a:lnTo>
                  <a:pt x="2228" y="1184"/>
                </a:lnTo>
                <a:lnTo>
                  <a:pt x="2233" y="1182"/>
                </a:lnTo>
                <a:lnTo>
                  <a:pt x="2234" y="1184"/>
                </a:lnTo>
                <a:lnTo>
                  <a:pt x="2235" y="1185"/>
                </a:lnTo>
                <a:lnTo>
                  <a:pt x="2237" y="1186"/>
                </a:lnTo>
                <a:lnTo>
                  <a:pt x="2239" y="1187"/>
                </a:lnTo>
                <a:lnTo>
                  <a:pt x="2237" y="1191"/>
                </a:lnTo>
                <a:lnTo>
                  <a:pt x="2234" y="1194"/>
                </a:lnTo>
                <a:close/>
                <a:moveTo>
                  <a:pt x="2218" y="1230"/>
                </a:moveTo>
                <a:lnTo>
                  <a:pt x="2221" y="1230"/>
                </a:lnTo>
                <a:lnTo>
                  <a:pt x="2224" y="1232"/>
                </a:lnTo>
                <a:lnTo>
                  <a:pt x="2229" y="1236"/>
                </a:lnTo>
                <a:lnTo>
                  <a:pt x="2233" y="1238"/>
                </a:lnTo>
                <a:lnTo>
                  <a:pt x="2236" y="1239"/>
                </a:lnTo>
                <a:lnTo>
                  <a:pt x="2238" y="1241"/>
                </a:lnTo>
                <a:lnTo>
                  <a:pt x="2238" y="1244"/>
                </a:lnTo>
                <a:lnTo>
                  <a:pt x="2238" y="1247"/>
                </a:lnTo>
                <a:lnTo>
                  <a:pt x="2238" y="1249"/>
                </a:lnTo>
                <a:lnTo>
                  <a:pt x="2239" y="1252"/>
                </a:lnTo>
                <a:lnTo>
                  <a:pt x="2238" y="1253"/>
                </a:lnTo>
                <a:lnTo>
                  <a:pt x="2237" y="1254"/>
                </a:lnTo>
                <a:lnTo>
                  <a:pt x="2235" y="1255"/>
                </a:lnTo>
                <a:lnTo>
                  <a:pt x="2233" y="1256"/>
                </a:lnTo>
                <a:lnTo>
                  <a:pt x="2231" y="1257"/>
                </a:lnTo>
                <a:lnTo>
                  <a:pt x="2229" y="1256"/>
                </a:lnTo>
                <a:lnTo>
                  <a:pt x="2226" y="1254"/>
                </a:lnTo>
                <a:lnTo>
                  <a:pt x="2224" y="1252"/>
                </a:lnTo>
                <a:lnTo>
                  <a:pt x="2222" y="1244"/>
                </a:lnTo>
                <a:lnTo>
                  <a:pt x="2219" y="1237"/>
                </a:lnTo>
                <a:lnTo>
                  <a:pt x="2218" y="1236"/>
                </a:lnTo>
                <a:lnTo>
                  <a:pt x="2217" y="1233"/>
                </a:lnTo>
                <a:lnTo>
                  <a:pt x="2217" y="1232"/>
                </a:lnTo>
                <a:lnTo>
                  <a:pt x="2218" y="1230"/>
                </a:lnTo>
                <a:close/>
                <a:moveTo>
                  <a:pt x="2217" y="1248"/>
                </a:moveTo>
                <a:lnTo>
                  <a:pt x="2218" y="1246"/>
                </a:lnTo>
                <a:lnTo>
                  <a:pt x="2218" y="1245"/>
                </a:lnTo>
                <a:lnTo>
                  <a:pt x="2218" y="1246"/>
                </a:lnTo>
                <a:lnTo>
                  <a:pt x="2217" y="1248"/>
                </a:lnTo>
                <a:close/>
                <a:moveTo>
                  <a:pt x="2200" y="1148"/>
                </a:moveTo>
                <a:lnTo>
                  <a:pt x="2200" y="1149"/>
                </a:lnTo>
                <a:lnTo>
                  <a:pt x="2201" y="1150"/>
                </a:lnTo>
                <a:lnTo>
                  <a:pt x="2200" y="1149"/>
                </a:lnTo>
                <a:lnTo>
                  <a:pt x="2200" y="1148"/>
                </a:lnTo>
                <a:close/>
                <a:moveTo>
                  <a:pt x="2199" y="1146"/>
                </a:moveTo>
                <a:lnTo>
                  <a:pt x="2199" y="1147"/>
                </a:lnTo>
                <a:lnTo>
                  <a:pt x="2199" y="1147"/>
                </a:lnTo>
                <a:lnTo>
                  <a:pt x="2199" y="1147"/>
                </a:lnTo>
                <a:lnTo>
                  <a:pt x="2199" y="1146"/>
                </a:lnTo>
                <a:close/>
                <a:moveTo>
                  <a:pt x="2201" y="1184"/>
                </a:moveTo>
                <a:lnTo>
                  <a:pt x="2200" y="1183"/>
                </a:lnTo>
                <a:lnTo>
                  <a:pt x="2198" y="1181"/>
                </a:lnTo>
                <a:lnTo>
                  <a:pt x="2198" y="1179"/>
                </a:lnTo>
                <a:lnTo>
                  <a:pt x="2198" y="1177"/>
                </a:lnTo>
                <a:lnTo>
                  <a:pt x="2200" y="1175"/>
                </a:lnTo>
                <a:lnTo>
                  <a:pt x="2201" y="1172"/>
                </a:lnTo>
                <a:lnTo>
                  <a:pt x="2203" y="1172"/>
                </a:lnTo>
                <a:lnTo>
                  <a:pt x="2204" y="1172"/>
                </a:lnTo>
                <a:lnTo>
                  <a:pt x="2207" y="1174"/>
                </a:lnTo>
                <a:lnTo>
                  <a:pt x="2210" y="1177"/>
                </a:lnTo>
                <a:lnTo>
                  <a:pt x="2210" y="1180"/>
                </a:lnTo>
                <a:lnTo>
                  <a:pt x="2210" y="1183"/>
                </a:lnTo>
                <a:lnTo>
                  <a:pt x="2209" y="1185"/>
                </a:lnTo>
                <a:lnTo>
                  <a:pt x="2209" y="1186"/>
                </a:lnTo>
                <a:lnTo>
                  <a:pt x="2207" y="1187"/>
                </a:lnTo>
                <a:lnTo>
                  <a:pt x="2206" y="1189"/>
                </a:lnTo>
                <a:lnTo>
                  <a:pt x="2204" y="1189"/>
                </a:lnTo>
                <a:lnTo>
                  <a:pt x="2202" y="1187"/>
                </a:lnTo>
                <a:lnTo>
                  <a:pt x="2201" y="1186"/>
                </a:lnTo>
                <a:lnTo>
                  <a:pt x="2201" y="1184"/>
                </a:lnTo>
                <a:close/>
                <a:moveTo>
                  <a:pt x="2205" y="1227"/>
                </a:moveTo>
                <a:lnTo>
                  <a:pt x="2205" y="1227"/>
                </a:lnTo>
                <a:lnTo>
                  <a:pt x="2205" y="1226"/>
                </a:lnTo>
                <a:lnTo>
                  <a:pt x="2205" y="1223"/>
                </a:lnTo>
                <a:lnTo>
                  <a:pt x="2204" y="1220"/>
                </a:lnTo>
                <a:lnTo>
                  <a:pt x="2205" y="1223"/>
                </a:lnTo>
                <a:lnTo>
                  <a:pt x="2205" y="1226"/>
                </a:lnTo>
                <a:lnTo>
                  <a:pt x="2205" y="1227"/>
                </a:lnTo>
                <a:lnTo>
                  <a:pt x="2205" y="1227"/>
                </a:lnTo>
                <a:close/>
                <a:moveTo>
                  <a:pt x="2215" y="1192"/>
                </a:moveTo>
                <a:lnTo>
                  <a:pt x="2215" y="1190"/>
                </a:lnTo>
                <a:lnTo>
                  <a:pt x="2216" y="1187"/>
                </a:lnTo>
                <a:lnTo>
                  <a:pt x="2217" y="1186"/>
                </a:lnTo>
                <a:lnTo>
                  <a:pt x="2219" y="1186"/>
                </a:lnTo>
                <a:lnTo>
                  <a:pt x="2217" y="1186"/>
                </a:lnTo>
                <a:lnTo>
                  <a:pt x="2216" y="1187"/>
                </a:lnTo>
                <a:lnTo>
                  <a:pt x="2215" y="1190"/>
                </a:lnTo>
                <a:lnTo>
                  <a:pt x="2215" y="1192"/>
                </a:lnTo>
                <a:close/>
                <a:moveTo>
                  <a:pt x="2216" y="1202"/>
                </a:moveTo>
                <a:lnTo>
                  <a:pt x="2217" y="1203"/>
                </a:lnTo>
                <a:lnTo>
                  <a:pt x="2217" y="1203"/>
                </a:lnTo>
                <a:lnTo>
                  <a:pt x="2223" y="1202"/>
                </a:lnTo>
                <a:lnTo>
                  <a:pt x="2229" y="1201"/>
                </a:lnTo>
                <a:lnTo>
                  <a:pt x="2223" y="1202"/>
                </a:lnTo>
                <a:lnTo>
                  <a:pt x="2217" y="1203"/>
                </a:lnTo>
                <a:lnTo>
                  <a:pt x="2221" y="1208"/>
                </a:lnTo>
                <a:lnTo>
                  <a:pt x="2226" y="1211"/>
                </a:lnTo>
                <a:lnTo>
                  <a:pt x="2228" y="1213"/>
                </a:lnTo>
                <a:lnTo>
                  <a:pt x="2228" y="1215"/>
                </a:lnTo>
                <a:lnTo>
                  <a:pt x="2226" y="1216"/>
                </a:lnTo>
                <a:lnTo>
                  <a:pt x="2225" y="1217"/>
                </a:lnTo>
                <a:lnTo>
                  <a:pt x="2222" y="1217"/>
                </a:lnTo>
                <a:lnTo>
                  <a:pt x="2220" y="1215"/>
                </a:lnTo>
                <a:lnTo>
                  <a:pt x="2218" y="1213"/>
                </a:lnTo>
                <a:lnTo>
                  <a:pt x="2216" y="1211"/>
                </a:lnTo>
                <a:lnTo>
                  <a:pt x="2215" y="1209"/>
                </a:lnTo>
                <a:lnTo>
                  <a:pt x="2214" y="1207"/>
                </a:lnTo>
                <a:lnTo>
                  <a:pt x="2214" y="1205"/>
                </a:lnTo>
                <a:lnTo>
                  <a:pt x="2216" y="1202"/>
                </a:lnTo>
                <a:close/>
                <a:moveTo>
                  <a:pt x="2208" y="1123"/>
                </a:moveTo>
                <a:lnTo>
                  <a:pt x="2206" y="1124"/>
                </a:lnTo>
                <a:lnTo>
                  <a:pt x="2205" y="1125"/>
                </a:lnTo>
                <a:lnTo>
                  <a:pt x="2202" y="1121"/>
                </a:lnTo>
                <a:lnTo>
                  <a:pt x="2196" y="1116"/>
                </a:lnTo>
                <a:lnTo>
                  <a:pt x="2202" y="1117"/>
                </a:lnTo>
                <a:lnTo>
                  <a:pt x="2205" y="1118"/>
                </a:lnTo>
                <a:lnTo>
                  <a:pt x="2207" y="1120"/>
                </a:lnTo>
                <a:lnTo>
                  <a:pt x="2208" y="1123"/>
                </a:lnTo>
                <a:lnTo>
                  <a:pt x="2213" y="1128"/>
                </a:lnTo>
                <a:lnTo>
                  <a:pt x="2215" y="1132"/>
                </a:lnTo>
                <a:lnTo>
                  <a:pt x="2213" y="1128"/>
                </a:lnTo>
                <a:lnTo>
                  <a:pt x="2208" y="1123"/>
                </a:lnTo>
                <a:close/>
                <a:moveTo>
                  <a:pt x="2200" y="1277"/>
                </a:moveTo>
                <a:lnTo>
                  <a:pt x="2204" y="1279"/>
                </a:lnTo>
                <a:lnTo>
                  <a:pt x="2208" y="1278"/>
                </a:lnTo>
                <a:lnTo>
                  <a:pt x="2204" y="1281"/>
                </a:lnTo>
                <a:lnTo>
                  <a:pt x="2200" y="1281"/>
                </a:lnTo>
                <a:lnTo>
                  <a:pt x="2195" y="1279"/>
                </a:lnTo>
                <a:lnTo>
                  <a:pt x="2191" y="1277"/>
                </a:lnTo>
                <a:lnTo>
                  <a:pt x="2195" y="1277"/>
                </a:lnTo>
                <a:lnTo>
                  <a:pt x="2200" y="1277"/>
                </a:lnTo>
                <a:close/>
                <a:moveTo>
                  <a:pt x="2206" y="1486"/>
                </a:moveTo>
                <a:lnTo>
                  <a:pt x="2202" y="1480"/>
                </a:lnTo>
                <a:lnTo>
                  <a:pt x="2199" y="1474"/>
                </a:lnTo>
                <a:lnTo>
                  <a:pt x="2198" y="1473"/>
                </a:lnTo>
                <a:lnTo>
                  <a:pt x="2198" y="1472"/>
                </a:lnTo>
                <a:lnTo>
                  <a:pt x="2198" y="1471"/>
                </a:lnTo>
                <a:lnTo>
                  <a:pt x="2199" y="1470"/>
                </a:lnTo>
                <a:lnTo>
                  <a:pt x="2200" y="1470"/>
                </a:lnTo>
                <a:lnTo>
                  <a:pt x="2202" y="1471"/>
                </a:lnTo>
                <a:lnTo>
                  <a:pt x="2204" y="1474"/>
                </a:lnTo>
                <a:lnTo>
                  <a:pt x="2206" y="1477"/>
                </a:lnTo>
                <a:lnTo>
                  <a:pt x="2207" y="1481"/>
                </a:lnTo>
                <a:lnTo>
                  <a:pt x="2206" y="1486"/>
                </a:lnTo>
                <a:close/>
                <a:moveTo>
                  <a:pt x="2193" y="1312"/>
                </a:moveTo>
                <a:lnTo>
                  <a:pt x="2193" y="1302"/>
                </a:lnTo>
                <a:lnTo>
                  <a:pt x="2193" y="1293"/>
                </a:lnTo>
                <a:lnTo>
                  <a:pt x="2196" y="1293"/>
                </a:lnTo>
                <a:lnTo>
                  <a:pt x="2199" y="1293"/>
                </a:lnTo>
                <a:lnTo>
                  <a:pt x="2202" y="1292"/>
                </a:lnTo>
                <a:lnTo>
                  <a:pt x="2204" y="1293"/>
                </a:lnTo>
                <a:lnTo>
                  <a:pt x="2206" y="1293"/>
                </a:lnTo>
                <a:lnTo>
                  <a:pt x="2207" y="1294"/>
                </a:lnTo>
                <a:lnTo>
                  <a:pt x="2208" y="1299"/>
                </a:lnTo>
                <a:lnTo>
                  <a:pt x="2208" y="1303"/>
                </a:lnTo>
                <a:lnTo>
                  <a:pt x="2209" y="1301"/>
                </a:lnTo>
                <a:lnTo>
                  <a:pt x="2210" y="1298"/>
                </a:lnTo>
                <a:lnTo>
                  <a:pt x="2209" y="1301"/>
                </a:lnTo>
                <a:lnTo>
                  <a:pt x="2208" y="1303"/>
                </a:lnTo>
                <a:lnTo>
                  <a:pt x="2208" y="1308"/>
                </a:lnTo>
                <a:lnTo>
                  <a:pt x="2208" y="1314"/>
                </a:lnTo>
                <a:lnTo>
                  <a:pt x="2201" y="1313"/>
                </a:lnTo>
                <a:lnTo>
                  <a:pt x="2193" y="1312"/>
                </a:lnTo>
                <a:close/>
                <a:moveTo>
                  <a:pt x="2205" y="1227"/>
                </a:moveTo>
                <a:lnTo>
                  <a:pt x="2205" y="1227"/>
                </a:lnTo>
                <a:lnTo>
                  <a:pt x="2205" y="1227"/>
                </a:lnTo>
                <a:lnTo>
                  <a:pt x="2209" y="1230"/>
                </a:lnTo>
                <a:lnTo>
                  <a:pt x="2211" y="1235"/>
                </a:lnTo>
                <a:lnTo>
                  <a:pt x="2214" y="1239"/>
                </a:lnTo>
                <a:lnTo>
                  <a:pt x="2216" y="1243"/>
                </a:lnTo>
                <a:lnTo>
                  <a:pt x="2215" y="1245"/>
                </a:lnTo>
                <a:lnTo>
                  <a:pt x="2215" y="1246"/>
                </a:lnTo>
                <a:lnTo>
                  <a:pt x="2216" y="1248"/>
                </a:lnTo>
                <a:lnTo>
                  <a:pt x="2217" y="1249"/>
                </a:lnTo>
                <a:lnTo>
                  <a:pt x="2217" y="1252"/>
                </a:lnTo>
                <a:lnTo>
                  <a:pt x="2217" y="1253"/>
                </a:lnTo>
                <a:lnTo>
                  <a:pt x="2214" y="1251"/>
                </a:lnTo>
                <a:lnTo>
                  <a:pt x="2211" y="1247"/>
                </a:lnTo>
                <a:lnTo>
                  <a:pt x="2209" y="1245"/>
                </a:lnTo>
                <a:lnTo>
                  <a:pt x="2208" y="1241"/>
                </a:lnTo>
                <a:lnTo>
                  <a:pt x="2206" y="1235"/>
                </a:lnTo>
                <a:lnTo>
                  <a:pt x="2205" y="1227"/>
                </a:lnTo>
                <a:close/>
                <a:moveTo>
                  <a:pt x="2228" y="1141"/>
                </a:moveTo>
                <a:lnTo>
                  <a:pt x="2233" y="1153"/>
                </a:lnTo>
                <a:lnTo>
                  <a:pt x="2237" y="1165"/>
                </a:lnTo>
                <a:lnTo>
                  <a:pt x="2241" y="1177"/>
                </a:lnTo>
                <a:lnTo>
                  <a:pt x="2247" y="1187"/>
                </a:lnTo>
                <a:lnTo>
                  <a:pt x="2244" y="1187"/>
                </a:lnTo>
                <a:lnTo>
                  <a:pt x="2239" y="1187"/>
                </a:lnTo>
                <a:lnTo>
                  <a:pt x="2239" y="1183"/>
                </a:lnTo>
                <a:lnTo>
                  <a:pt x="2238" y="1182"/>
                </a:lnTo>
                <a:lnTo>
                  <a:pt x="2236" y="1182"/>
                </a:lnTo>
                <a:lnTo>
                  <a:pt x="2233" y="1182"/>
                </a:lnTo>
                <a:lnTo>
                  <a:pt x="2233" y="1180"/>
                </a:lnTo>
                <a:lnTo>
                  <a:pt x="2233" y="1179"/>
                </a:lnTo>
                <a:lnTo>
                  <a:pt x="2232" y="1177"/>
                </a:lnTo>
                <a:lnTo>
                  <a:pt x="2231" y="1176"/>
                </a:lnTo>
                <a:lnTo>
                  <a:pt x="2225" y="1174"/>
                </a:lnTo>
                <a:lnTo>
                  <a:pt x="2222" y="1169"/>
                </a:lnTo>
                <a:lnTo>
                  <a:pt x="2219" y="1165"/>
                </a:lnTo>
                <a:lnTo>
                  <a:pt x="2215" y="1162"/>
                </a:lnTo>
                <a:lnTo>
                  <a:pt x="2215" y="1160"/>
                </a:lnTo>
                <a:lnTo>
                  <a:pt x="2214" y="1159"/>
                </a:lnTo>
                <a:lnTo>
                  <a:pt x="2215" y="1159"/>
                </a:lnTo>
                <a:lnTo>
                  <a:pt x="2216" y="1157"/>
                </a:lnTo>
                <a:lnTo>
                  <a:pt x="2218" y="1156"/>
                </a:lnTo>
                <a:lnTo>
                  <a:pt x="2221" y="1155"/>
                </a:lnTo>
                <a:lnTo>
                  <a:pt x="2222" y="1153"/>
                </a:lnTo>
                <a:lnTo>
                  <a:pt x="2223" y="1152"/>
                </a:lnTo>
                <a:lnTo>
                  <a:pt x="2223" y="1150"/>
                </a:lnTo>
                <a:lnTo>
                  <a:pt x="2223" y="1148"/>
                </a:lnTo>
                <a:lnTo>
                  <a:pt x="2223" y="1145"/>
                </a:lnTo>
                <a:lnTo>
                  <a:pt x="2224" y="1144"/>
                </a:lnTo>
                <a:lnTo>
                  <a:pt x="2225" y="1142"/>
                </a:lnTo>
                <a:lnTo>
                  <a:pt x="2228" y="1141"/>
                </a:lnTo>
                <a:lnTo>
                  <a:pt x="2222" y="1138"/>
                </a:lnTo>
                <a:lnTo>
                  <a:pt x="2219" y="1134"/>
                </a:lnTo>
                <a:lnTo>
                  <a:pt x="2222" y="1138"/>
                </a:lnTo>
                <a:lnTo>
                  <a:pt x="2228" y="1141"/>
                </a:lnTo>
                <a:close/>
                <a:moveTo>
                  <a:pt x="2264" y="1272"/>
                </a:moveTo>
                <a:lnTo>
                  <a:pt x="2262" y="1271"/>
                </a:lnTo>
                <a:lnTo>
                  <a:pt x="2260" y="1270"/>
                </a:lnTo>
                <a:lnTo>
                  <a:pt x="2259" y="1268"/>
                </a:lnTo>
                <a:lnTo>
                  <a:pt x="2258" y="1266"/>
                </a:lnTo>
                <a:lnTo>
                  <a:pt x="2256" y="1262"/>
                </a:lnTo>
                <a:lnTo>
                  <a:pt x="2254" y="1261"/>
                </a:lnTo>
                <a:lnTo>
                  <a:pt x="2251" y="1260"/>
                </a:lnTo>
                <a:lnTo>
                  <a:pt x="2248" y="1261"/>
                </a:lnTo>
                <a:lnTo>
                  <a:pt x="2247" y="1261"/>
                </a:lnTo>
                <a:lnTo>
                  <a:pt x="2245" y="1261"/>
                </a:lnTo>
                <a:lnTo>
                  <a:pt x="2244" y="1260"/>
                </a:lnTo>
                <a:lnTo>
                  <a:pt x="2244" y="1259"/>
                </a:lnTo>
                <a:lnTo>
                  <a:pt x="2244" y="1257"/>
                </a:lnTo>
                <a:lnTo>
                  <a:pt x="2244" y="1256"/>
                </a:lnTo>
                <a:lnTo>
                  <a:pt x="2245" y="1255"/>
                </a:lnTo>
                <a:lnTo>
                  <a:pt x="2246" y="1255"/>
                </a:lnTo>
                <a:lnTo>
                  <a:pt x="2251" y="1253"/>
                </a:lnTo>
                <a:lnTo>
                  <a:pt x="2256" y="1251"/>
                </a:lnTo>
                <a:lnTo>
                  <a:pt x="2260" y="1252"/>
                </a:lnTo>
                <a:lnTo>
                  <a:pt x="2263" y="1253"/>
                </a:lnTo>
                <a:lnTo>
                  <a:pt x="2265" y="1254"/>
                </a:lnTo>
                <a:lnTo>
                  <a:pt x="2266" y="1256"/>
                </a:lnTo>
                <a:lnTo>
                  <a:pt x="2267" y="1258"/>
                </a:lnTo>
                <a:lnTo>
                  <a:pt x="2267" y="1261"/>
                </a:lnTo>
                <a:lnTo>
                  <a:pt x="2266" y="1264"/>
                </a:lnTo>
                <a:lnTo>
                  <a:pt x="2265" y="1269"/>
                </a:lnTo>
                <a:lnTo>
                  <a:pt x="2264" y="1270"/>
                </a:lnTo>
                <a:lnTo>
                  <a:pt x="2264" y="1272"/>
                </a:lnTo>
                <a:close/>
                <a:moveTo>
                  <a:pt x="2248" y="1285"/>
                </a:moveTo>
                <a:lnTo>
                  <a:pt x="2245" y="1285"/>
                </a:lnTo>
                <a:lnTo>
                  <a:pt x="2243" y="1284"/>
                </a:lnTo>
                <a:lnTo>
                  <a:pt x="2243" y="1283"/>
                </a:lnTo>
                <a:lnTo>
                  <a:pt x="2243" y="1278"/>
                </a:lnTo>
                <a:lnTo>
                  <a:pt x="2244" y="1275"/>
                </a:lnTo>
                <a:lnTo>
                  <a:pt x="2244" y="1271"/>
                </a:lnTo>
                <a:lnTo>
                  <a:pt x="2250" y="1276"/>
                </a:lnTo>
                <a:lnTo>
                  <a:pt x="2256" y="1281"/>
                </a:lnTo>
                <a:lnTo>
                  <a:pt x="2258" y="1283"/>
                </a:lnTo>
                <a:lnTo>
                  <a:pt x="2259" y="1285"/>
                </a:lnTo>
                <a:lnTo>
                  <a:pt x="2256" y="1286"/>
                </a:lnTo>
                <a:lnTo>
                  <a:pt x="2253" y="1286"/>
                </a:lnTo>
                <a:lnTo>
                  <a:pt x="2251" y="1286"/>
                </a:lnTo>
                <a:lnTo>
                  <a:pt x="2248" y="1285"/>
                </a:lnTo>
                <a:close/>
                <a:moveTo>
                  <a:pt x="2250" y="1299"/>
                </a:moveTo>
                <a:lnTo>
                  <a:pt x="2252" y="1299"/>
                </a:lnTo>
                <a:lnTo>
                  <a:pt x="2254" y="1300"/>
                </a:lnTo>
                <a:lnTo>
                  <a:pt x="2260" y="1301"/>
                </a:lnTo>
                <a:lnTo>
                  <a:pt x="2264" y="1304"/>
                </a:lnTo>
                <a:lnTo>
                  <a:pt x="2264" y="1306"/>
                </a:lnTo>
                <a:lnTo>
                  <a:pt x="2263" y="1306"/>
                </a:lnTo>
                <a:lnTo>
                  <a:pt x="2261" y="1306"/>
                </a:lnTo>
                <a:lnTo>
                  <a:pt x="2258" y="1305"/>
                </a:lnTo>
                <a:lnTo>
                  <a:pt x="2255" y="1304"/>
                </a:lnTo>
                <a:lnTo>
                  <a:pt x="2252" y="1302"/>
                </a:lnTo>
                <a:lnTo>
                  <a:pt x="2251" y="1301"/>
                </a:lnTo>
                <a:lnTo>
                  <a:pt x="2250" y="1301"/>
                </a:lnTo>
                <a:lnTo>
                  <a:pt x="2250" y="1300"/>
                </a:lnTo>
                <a:lnTo>
                  <a:pt x="2250" y="1299"/>
                </a:lnTo>
                <a:close/>
                <a:moveTo>
                  <a:pt x="2255" y="1210"/>
                </a:moveTo>
                <a:lnTo>
                  <a:pt x="2256" y="1211"/>
                </a:lnTo>
                <a:lnTo>
                  <a:pt x="2258" y="1212"/>
                </a:lnTo>
                <a:lnTo>
                  <a:pt x="2263" y="1223"/>
                </a:lnTo>
                <a:lnTo>
                  <a:pt x="2267" y="1235"/>
                </a:lnTo>
                <a:lnTo>
                  <a:pt x="2273" y="1246"/>
                </a:lnTo>
                <a:lnTo>
                  <a:pt x="2278" y="1257"/>
                </a:lnTo>
                <a:lnTo>
                  <a:pt x="2277" y="1258"/>
                </a:lnTo>
                <a:lnTo>
                  <a:pt x="2276" y="1259"/>
                </a:lnTo>
                <a:lnTo>
                  <a:pt x="2260" y="1245"/>
                </a:lnTo>
                <a:lnTo>
                  <a:pt x="2245" y="1231"/>
                </a:lnTo>
                <a:lnTo>
                  <a:pt x="2241" y="1227"/>
                </a:lnTo>
                <a:lnTo>
                  <a:pt x="2241" y="1223"/>
                </a:lnTo>
                <a:lnTo>
                  <a:pt x="2243" y="1218"/>
                </a:lnTo>
                <a:lnTo>
                  <a:pt x="2245" y="1214"/>
                </a:lnTo>
                <a:lnTo>
                  <a:pt x="2246" y="1213"/>
                </a:lnTo>
                <a:lnTo>
                  <a:pt x="2247" y="1211"/>
                </a:lnTo>
                <a:lnTo>
                  <a:pt x="2247" y="1210"/>
                </a:lnTo>
                <a:lnTo>
                  <a:pt x="2247" y="1208"/>
                </a:lnTo>
                <a:lnTo>
                  <a:pt x="2247" y="1206"/>
                </a:lnTo>
                <a:lnTo>
                  <a:pt x="2249" y="1206"/>
                </a:lnTo>
                <a:lnTo>
                  <a:pt x="2252" y="1207"/>
                </a:lnTo>
                <a:lnTo>
                  <a:pt x="2255" y="1210"/>
                </a:lnTo>
                <a:close/>
                <a:moveTo>
                  <a:pt x="2274" y="1416"/>
                </a:moveTo>
                <a:lnTo>
                  <a:pt x="2274" y="1415"/>
                </a:lnTo>
                <a:lnTo>
                  <a:pt x="2273" y="1414"/>
                </a:lnTo>
                <a:lnTo>
                  <a:pt x="2273" y="1414"/>
                </a:lnTo>
                <a:lnTo>
                  <a:pt x="2274" y="1415"/>
                </a:lnTo>
                <a:lnTo>
                  <a:pt x="2274" y="1416"/>
                </a:lnTo>
                <a:close/>
                <a:moveTo>
                  <a:pt x="2294" y="1291"/>
                </a:moveTo>
                <a:lnTo>
                  <a:pt x="2284" y="1290"/>
                </a:lnTo>
                <a:lnTo>
                  <a:pt x="2276" y="1289"/>
                </a:lnTo>
                <a:lnTo>
                  <a:pt x="2275" y="1288"/>
                </a:lnTo>
                <a:lnTo>
                  <a:pt x="2274" y="1287"/>
                </a:lnTo>
                <a:lnTo>
                  <a:pt x="2273" y="1286"/>
                </a:lnTo>
                <a:lnTo>
                  <a:pt x="2274" y="1285"/>
                </a:lnTo>
                <a:lnTo>
                  <a:pt x="2276" y="1285"/>
                </a:lnTo>
                <a:lnTo>
                  <a:pt x="2277" y="1284"/>
                </a:lnTo>
                <a:lnTo>
                  <a:pt x="2278" y="1283"/>
                </a:lnTo>
                <a:lnTo>
                  <a:pt x="2278" y="1281"/>
                </a:lnTo>
                <a:lnTo>
                  <a:pt x="2278" y="1278"/>
                </a:lnTo>
                <a:lnTo>
                  <a:pt x="2278" y="1275"/>
                </a:lnTo>
                <a:lnTo>
                  <a:pt x="2278" y="1274"/>
                </a:lnTo>
                <a:lnTo>
                  <a:pt x="2278" y="1272"/>
                </a:lnTo>
                <a:lnTo>
                  <a:pt x="2283" y="1275"/>
                </a:lnTo>
                <a:lnTo>
                  <a:pt x="2289" y="1279"/>
                </a:lnTo>
                <a:lnTo>
                  <a:pt x="2292" y="1285"/>
                </a:lnTo>
                <a:lnTo>
                  <a:pt x="2294" y="1291"/>
                </a:lnTo>
                <a:close/>
                <a:moveTo>
                  <a:pt x="2291" y="1507"/>
                </a:moveTo>
                <a:lnTo>
                  <a:pt x="2290" y="1508"/>
                </a:lnTo>
                <a:lnTo>
                  <a:pt x="2289" y="1508"/>
                </a:lnTo>
                <a:lnTo>
                  <a:pt x="2287" y="1508"/>
                </a:lnTo>
                <a:lnTo>
                  <a:pt x="2287" y="1508"/>
                </a:lnTo>
                <a:lnTo>
                  <a:pt x="2285" y="1506"/>
                </a:lnTo>
                <a:lnTo>
                  <a:pt x="2284" y="1504"/>
                </a:lnTo>
                <a:lnTo>
                  <a:pt x="2285" y="1501"/>
                </a:lnTo>
                <a:lnTo>
                  <a:pt x="2286" y="1499"/>
                </a:lnTo>
                <a:lnTo>
                  <a:pt x="2286" y="1499"/>
                </a:lnTo>
                <a:lnTo>
                  <a:pt x="2287" y="1499"/>
                </a:lnTo>
                <a:lnTo>
                  <a:pt x="2290" y="1501"/>
                </a:lnTo>
                <a:lnTo>
                  <a:pt x="2291" y="1503"/>
                </a:lnTo>
                <a:lnTo>
                  <a:pt x="2291" y="1505"/>
                </a:lnTo>
                <a:lnTo>
                  <a:pt x="2291" y="1507"/>
                </a:lnTo>
                <a:close/>
                <a:moveTo>
                  <a:pt x="2284" y="1304"/>
                </a:moveTo>
                <a:lnTo>
                  <a:pt x="2289" y="1302"/>
                </a:lnTo>
                <a:lnTo>
                  <a:pt x="2292" y="1302"/>
                </a:lnTo>
                <a:lnTo>
                  <a:pt x="2295" y="1302"/>
                </a:lnTo>
                <a:lnTo>
                  <a:pt x="2299" y="1303"/>
                </a:lnTo>
                <a:lnTo>
                  <a:pt x="2295" y="1304"/>
                </a:lnTo>
                <a:lnTo>
                  <a:pt x="2292" y="1305"/>
                </a:lnTo>
                <a:lnTo>
                  <a:pt x="2289" y="1305"/>
                </a:lnTo>
                <a:lnTo>
                  <a:pt x="2284" y="1304"/>
                </a:lnTo>
                <a:close/>
                <a:moveTo>
                  <a:pt x="2302" y="1521"/>
                </a:moveTo>
                <a:lnTo>
                  <a:pt x="2301" y="1519"/>
                </a:lnTo>
                <a:lnTo>
                  <a:pt x="2298" y="1518"/>
                </a:lnTo>
                <a:lnTo>
                  <a:pt x="2297" y="1516"/>
                </a:lnTo>
                <a:lnTo>
                  <a:pt x="2296" y="1513"/>
                </a:lnTo>
                <a:lnTo>
                  <a:pt x="2297" y="1512"/>
                </a:lnTo>
                <a:lnTo>
                  <a:pt x="2297" y="1511"/>
                </a:lnTo>
                <a:lnTo>
                  <a:pt x="2298" y="1511"/>
                </a:lnTo>
                <a:lnTo>
                  <a:pt x="2299" y="1512"/>
                </a:lnTo>
                <a:lnTo>
                  <a:pt x="2301" y="1513"/>
                </a:lnTo>
                <a:lnTo>
                  <a:pt x="2302" y="1515"/>
                </a:lnTo>
                <a:lnTo>
                  <a:pt x="2304" y="1518"/>
                </a:lnTo>
                <a:lnTo>
                  <a:pt x="2302" y="1521"/>
                </a:lnTo>
                <a:close/>
                <a:moveTo>
                  <a:pt x="2309" y="1476"/>
                </a:move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lnTo>
                  <a:pt x="2309" y="1476"/>
                </a:lnTo>
                <a:close/>
                <a:moveTo>
                  <a:pt x="2308" y="1317"/>
                </a:moveTo>
                <a:lnTo>
                  <a:pt x="2310" y="1319"/>
                </a:lnTo>
                <a:lnTo>
                  <a:pt x="2310" y="1322"/>
                </a:lnTo>
                <a:lnTo>
                  <a:pt x="2309" y="1325"/>
                </a:lnTo>
                <a:lnTo>
                  <a:pt x="2308" y="1329"/>
                </a:lnTo>
                <a:lnTo>
                  <a:pt x="2308" y="1325"/>
                </a:lnTo>
                <a:lnTo>
                  <a:pt x="2308" y="1323"/>
                </a:lnTo>
                <a:lnTo>
                  <a:pt x="2307" y="1322"/>
                </a:lnTo>
                <a:lnTo>
                  <a:pt x="2305" y="1321"/>
                </a:lnTo>
                <a:lnTo>
                  <a:pt x="2300" y="1319"/>
                </a:lnTo>
                <a:lnTo>
                  <a:pt x="2297" y="1317"/>
                </a:lnTo>
                <a:lnTo>
                  <a:pt x="2300" y="1315"/>
                </a:lnTo>
                <a:lnTo>
                  <a:pt x="2302" y="1314"/>
                </a:lnTo>
                <a:lnTo>
                  <a:pt x="2306" y="1315"/>
                </a:lnTo>
                <a:lnTo>
                  <a:pt x="2308" y="1317"/>
                </a:lnTo>
                <a:close/>
                <a:moveTo>
                  <a:pt x="2315" y="1480"/>
                </a:moveTo>
                <a:lnTo>
                  <a:pt x="2315" y="1480"/>
                </a:lnTo>
                <a:lnTo>
                  <a:pt x="2314" y="1480"/>
                </a:lnTo>
                <a:lnTo>
                  <a:pt x="2315" y="1480"/>
                </a:lnTo>
                <a:lnTo>
                  <a:pt x="2315" y="1480"/>
                </a:lnTo>
                <a:close/>
                <a:moveTo>
                  <a:pt x="2316" y="1313"/>
                </a:moveTo>
                <a:lnTo>
                  <a:pt x="2320" y="1312"/>
                </a:lnTo>
                <a:lnTo>
                  <a:pt x="2322" y="1310"/>
                </a:lnTo>
                <a:lnTo>
                  <a:pt x="2323" y="1313"/>
                </a:lnTo>
                <a:lnTo>
                  <a:pt x="2323" y="1315"/>
                </a:lnTo>
                <a:lnTo>
                  <a:pt x="2323" y="1321"/>
                </a:lnTo>
                <a:lnTo>
                  <a:pt x="2323" y="1330"/>
                </a:lnTo>
                <a:lnTo>
                  <a:pt x="2320" y="1322"/>
                </a:lnTo>
                <a:lnTo>
                  <a:pt x="2316" y="1317"/>
                </a:lnTo>
                <a:lnTo>
                  <a:pt x="2315" y="1315"/>
                </a:lnTo>
                <a:lnTo>
                  <a:pt x="2316" y="1313"/>
                </a:lnTo>
                <a:close/>
                <a:moveTo>
                  <a:pt x="2330" y="1469"/>
                </a:moveTo>
                <a:lnTo>
                  <a:pt x="2330" y="1468"/>
                </a:lnTo>
                <a:lnTo>
                  <a:pt x="2330" y="1468"/>
                </a:lnTo>
                <a:lnTo>
                  <a:pt x="2330" y="1468"/>
                </a:lnTo>
                <a:lnTo>
                  <a:pt x="2330" y="1469"/>
                </a:lnTo>
                <a:lnTo>
                  <a:pt x="2330" y="1469"/>
                </a:lnTo>
                <a:lnTo>
                  <a:pt x="2329" y="1469"/>
                </a:lnTo>
                <a:lnTo>
                  <a:pt x="2330" y="1469"/>
                </a:lnTo>
                <a:lnTo>
                  <a:pt x="2330" y="1469"/>
                </a:lnTo>
                <a:close/>
                <a:moveTo>
                  <a:pt x="2342" y="1480"/>
                </a:moveTo>
                <a:lnTo>
                  <a:pt x="2342" y="1480"/>
                </a:lnTo>
                <a:lnTo>
                  <a:pt x="2342" y="1480"/>
                </a:lnTo>
                <a:lnTo>
                  <a:pt x="2342" y="1478"/>
                </a:lnTo>
                <a:lnTo>
                  <a:pt x="2341" y="1476"/>
                </a:lnTo>
                <a:lnTo>
                  <a:pt x="2342" y="1478"/>
                </a:lnTo>
                <a:lnTo>
                  <a:pt x="2342" y="1480"/>
                </a:lnTo>
                <a:close/>
                <a:moveTo>
                  <a:pt x="2345" y="1388"/>
                </a:moveTo>
                <a:lnTo>
                  <a:pt x="2345" y="1389"/>
                </a:lnTo>
                <a:lnTo>
                  <a:pt x="2344" y="1390"/>
                </a:lnTo>
                <a:lnTo>
                  <a:pt x="2345" y="1390"/>
                </a:lnTo>
                <a:lnTo>
                  <a:pt x="2346" y="1390"/>
                </a:lnTo>
                <a:lnTo>
                  <a:pt x="2345" y="1390"/>
                </a:lnTo>
                <a:lnTo>
                  <a:pt x="2344" y="1390"/>
                </a:lnTo>
                <a:lnTo>
                  <a:pt x="2345" y="1389"/>
                </a:lnTo>
                <a:lnTo>
                  <a:pt x="2345" y="1388"/>
                </a:lnTo>
                <a:close/>
                <a:moveTo>
                  <a:pt x="2351" y="1486"/>
                </a:moveTo>
                <a:lnTo>
                  <a:pt x="2351" y="1486"/>
                </a:lnTo>
                <a:lnTo>
                  <a:pt x="2351" y="1486"/>
                </a:lnTo>
                <a:lnTo>
                  <a:pt x="2351" y="1486"/>
                </a:lnTo>
                <a:lnTo>
                  <a:pt x="2351" y="1486"/>
                </a:lnTo>
                <a:close/>
                <a:moveTo>
                  <a:pt x="2358" y="1475"/>
                </a:moveTo>
                <a:lnTo>
                  <a:pt x="2357" y="1474"/>
                </a:lnTo>
                <a:lnTo>
                  <a:pt x="2357" y="1473"/>
                </a:lnTo>
                <a:lnTo>
                  <a:pt x="2357" y="1474"/>
                </a:lnTo>
                <a:lnTo>
                  <a:pt x="2358" y="1475"/>
                </a:lnTo>
                <a:close/>
                <a:moveTo>
                  <a:pt x="2362" y="1442"/>
                </a:moveTo>
                <a:lnTo>
                  <a:pt x="2362" y="1440"/>
                </a:lnTo>
                <a:lnTo>
                  <a:pt x="2361" y="1439"/>
                </a:lnTo>
                <a:lnTo>
                  <a:pt x="2362" y="1440"/>
                </a:lnTo>
                <a:lnTo>
                  <a:pt x="2362" y="1442"/>
                </a:lnTo>
                <a:close/>
                <a:moveTo>
                  <a:pt x="2365" y="1436"/>
                </a:moveTo>
                <a:lnTo>
                  <a:pt x="2365" y="1436"/>
                </a:lnTo>
                <a:lnTo>
                  <a:pt x="2365" y="1435"/>
                </a:lnTo>
                <a:lnTo>
                  <a:pt x="2364" y="1435"/>
                </a:lnTo>
                <a:lnTo>
                  <a:pt x="2365" y="1435"/>
                </a:lnTo>
                <a:lnTo>
                  <a:pt x="2365" y="1436"/>
                </a:lnTo>
                <a:close/>
                <a:moveTo>
                  <a:pt x="2352" y="1406"/>
                </a:moveTo>
                <a:lnTo>
                  <a:pt x="2354" y="1401"/>
                </a:lnTo>
                <a:lnTo>
                  <a:pt x="2356" y="1399"/>
                </a:lnTo>
                <a:lnTo>
                  <a:pt x="2358" y="1399"/>
                </a:lnTo>
                <a:lnTo>
                  <a:pt x="2362" y="1402"/>
                </a:lnTo>
                <a:lnTo>
                  <a:pt x="2364" y="1405"/>
                </a:lnTo>
                <a:lnTo>
                  <a:pt x="2365" y="1407"/>
                </a:lnTo>
                <a:lnTo>
                  <a:pt x="2362" y="1410"/>
                </a:lnTo>
                <a:lnTo>
                  <a:pt x="2360" y="1412"/>
                </a:lnTo>
                <a:lnTo>
                  <a:pt x="2359" y="1413"/>
                </a:lnTo>
                <a:lnTo>
                  <a:pt x="2358" y="1413"/>
                </a:lnTo>
                <a:lnTo>
                  <a:pt x="2356" y="1412"/>
                </a:lnTo>
                <a:lnTo>
                  <a:pt x="2354" y="1411"/>
                </a:lnTo>
                <a:lnTo>
                  <a:pt x="2353" y="1413"/>
                </a:lnTo>
                <a:lnTo>
                  <a:pt x="2352" y="1416"/>
                </a:lnTo>
                <a:lnTo>
                  <a:pt x="2353" y="1413"/>
                </a:lnTo>
                <a:lnTo>
                  <a:pt x="2354" y="1411"/>
                </a:lnTo>
                <a:lnTo>
                  <a:pt x="2353" y="1408"/>
                </a:lnTo>
                <a:lnTo>
                  <a:pt x="2352" y="1406"/>
                </a:lnTo>
                <a:close/>
                <a:moveTo>
                  <a:pt x="2406" y="1462"/>
                </a:moveTo>
                <a:lnTo>
                  <a:pt x="2404" y="1467"/>
                </a:lnTo>
                <a:lnTo>
                  <a:pt x="2403" y="1471"/>
                </a:lnTo>
                <a:lnTo>
                  <a:pt x="2402" y="1475"/>
                </a:lnTo>
                <a:lnTo>
                  <a:pt x="2403" y="1481"/>
                </a:lnTo>
                <a:lnTo>
                  <a:pt x="2405" y="1476"/>
                </a:lnTo>
                <a:lnTo>
                  <a:pt x="2406" y="1472"/>
                </a:lnTo>
                <a:lnTo>
                  <a:pt x="2406" y="1470"/>
                </a:lnTo>
                <a:lnTo>
                  <a:pt x="2407" y="1468"/>
                </a:lnTo>
                <a:lnTo>
                  <a:pt x="2408" y="1467"/>
                </a:lnTo>
                <a:lnTo>
                  <a:pt x="2412" y="1466"/>
                </a:lnTo>
                <a:lnTo>
                  <a:pt x="2412" y="1467"/>
                </a:lnTo>
                <a:lnTo>
                  <a:pt x="2413" y="1467"/>
                </a:lnTo>
                <a:lnTo>
                  <a:pt x="2420" y="1477"/>
                </a:lnTo>
                <a:lnTo>
                  <a:pt x="2428" y="1489"/>
                </a:lnTo>
                <a:lnTo>
                  <a:pt x="2422" y="1491"/>
                </a:lnTo>
                <a:lnTo>
                  <a:pt x="2416" y="1491"/>
                </a:lnTo>
                <a:lnTo>
                  <a:pt x="2411" y="1491"/>
                </a:lnTo>
                <a:lnTo>
                  <a:pt x="2404" y="1490"/>
                </a:lnTo>
                <a:lnTo>
                  <a:pt x="2404" y="1490"/>
                </a:lnTo>
                <a:lnTo>
                  <a:pt x="2400" y="1484"/>
                </a:lnTo>
                <a:lnTo>
                  <a:pt x="2396" y="1477"/>
                </a:lnTo>
                <a:lnTo>
                  <a:pt x="2395" y="1474"/>
                </a:lnTo>
                <a:lnTo>
                  <a:pt x="2395" y="1473"/>
                </a:lnTo>
                <a:lnTo>
                  <a:pt x="2392" y="1472"/>
                </a:lnTo>
                <a:lnTo>
                  <a:pt x="2390" y="1472"/>
                </a:lnTo>
                <a:lnTo>
                  <a:pt x="2387" y="1472"/>
                </a:lnTo>
                <a:lnTo>
                  <a:pt x="2386" y="1470"/>
                </a:lnTo>
                <a:lnTo>
                  <a:pt x="2385" y="1466"/>
                </a:lnTo>
                <a:lnTo>
                  <a:pt x="2384" y="1462"/>
                </a:lnTo>
                <a:lnTo>
                  <a:pt x="2389" y="1460"/>
                </a:lnTo>
                <a:lnTo>
                  <a:pt x="2395" y="1460"/>
                </a:lnTo>
                <a:lnTo>
                  <a:pt x="2401" y="1461"/>
                </a:lnTo>
                <a:lnTo>
                  <a:pt x="2406" y="1462"/>
                </a:lnTo>
                <a:close/>
                <a:moveTo>
                  <a:pt x="2452" y="1520"/>
                </a:moveTo>
                <a:lnTo>
                  <a:pt x="2453" y="1523"/>
                </a:lnTo>
                <a:lnTo>
                  <a:pt x="2452" y="1526"/>
                </a:lnTo>
                <a:lnTo>
                  <a:pt x="2451" y="1528"/>
                </a:lnTo>
                <a:lnTo>
                  <a:pt x="2450" y="1530"/>
                </a:lnTo>
                <a:lnTo>
                  <a:pt x="2449" y="1530"/>
                </a:lnTo>
                <a:lnTo>
                  <a:pt x="2449" y="1530"/>
                </a:lnTo>
                <a:lnTo>
                  <a:pt x="2447" y="1530"/>
                </a:lnTo>
                <a:lnTo>
                  <a:pt x="2446" y="1530"/>
                </a:lnTo>
                <a:lnTo>
                  <a:pt x="2445" y="1530"/>
                </a:lnTo>
                <a:lnTo>
                  <a:pt x="2444" y="1529"/>
                </a:lnTo>
                <a:lnTo>
                  <a:pt x="2445" y="1524"/>
                </a:lnTo>
                <a:lnTo>
                  <a:pt x="2445" y="1520"/>
                </a:lnTo>
                <a:lnTo>
                  <a:pt x="2444" y="1517"/>
                </a:lnTo>
                <a:lnTo>
                  <a:pt x="2443" y="1515"/>
                </a:lnTo>
                <a:lnTo>
                  <a:pt x="2441" y="1514"/>
                </a:lnTo>
                <a:lnTo>
                  <a:pt x="2438" y="1512"/>
                </a:lnTo>
                <a:lnTo>
                  <a:pt x="2434" y="1511"/>
                </a:lnTo>
                <a:lnTo>
                  <a:pt x="2429" y="1509"/>
                </a:lnTo>
                <a:lnTo>
                  <a:pt x="2429" y="1513"/>
                </a:lnTo>
                <a:lnTo>
                  <a:pt x="2430" y="1515"/>
                </a:lnTo>
                <a:lnTo>
                  <a:pt x="2430" y="1518"/>
                </a:lnTo>
                <a:lnTo>
                  <a:pt x="2429" y="1520"/>
                </a:lnTo>
                <a:lnTo>
                  <a:pt x="2427" y="1520"/>
                </a:lnTo>
                <a:lnTo>
                  <a:pt x="2426" y="1519"/>
                </a:lnTo>
                <a:lnTo>
                  <a:pt x="2422" y="1519"/>
                </a:lnTo>
                <a:lnTo>
                  <a:pt x="2420" y="1518"/>
                </a:lnTo>
                <a:lnTo>
                  <a:pt x="2419" y="1516"/>
                </a:lnTo>
                <a:lnTo>
                  <a:pt x="2418" y="1515"/>
                </a:lnTo>
                <a:lnTo>
                  <a:pt x="2416" y="1511"/>
                </a:lnTo>
                <a:lnTo>
                  <a:pt x="2412" y="1507"/>
                </a:lnTo>
                <a:lnTo>
                  <a:pt x="2412" y="1505"/>
                </a:lnTo>
                <a:lnTo>
                  <a:pt x="2414" y="1503"/>
                </a:lnTo>
                <a:lnTo>
                  <a:pt x="2415" y="1500"/>
                </a:lnTo>
                <a:lnTo>
                  <a:pt x="2414" y="1498"/>
                </a:lnTo>
                <a:lnTo>
                  <a:pt x="2414" y="1497"/>
                </a:lnTo>
                <a:lnTo>
                  <a:pt x="2414" y="1496"/>
                </a:lnTo>
                <a:lnTo>
                  <a:pt x="2415" y="1496"/>
                </a:lnTo>
                <a:lnTo>
                  <a:pt x="2416" y="1496"/>
                </a:lnTo>
                <a:lnTo>
                  <a:pt x="2421" y="1496"/>
                </a:lnTo>
                <a:lnTo>
                  <a:pt x="2427" y="1496"/>
                </a:lnTo>
                <a:lnTo>
                  <a:pt x="2430" y="1496"/>
                </a:lnTo>
                <a:lnTo>
                  <a:pt x="2432" y="1497"/>
                </a:lnTo>
                <a:lnTo>
                  <a:pt x="2434" y="1498"/>
                </a:lnTo>
                <a:lnTo>
                  <a:pt x="2436" y="1499"/>
                </a:lnTo>
                <a:lnTo>
                  <a:pt x="2445" y="1509"/>
                </a:lnTo>
                <a:lnTo>
                  <a:pt x="2452" y="1520"/>
                </a:lnTo>
                <a:close/>
                <a:moveTo>
                  <a:pt x="1674" y="1612"/>
                </a:moveTo>
                <a:lnTo>
                  <a:pt x="1675" y="1609"/>
                </a:lnTo>
                <a:lnTo>
                  <a:pt x="1675" y="1605"/>
                </a:lnTo>
                <a:lnTo>
                  <a:pt x="1675" y="1605"/>
                </a:lnTo>
                <a:lnTo>
                  <a:pt x="1675" y="1609"/>
                </a:lnTo>
                <a:lnTo>
                  <a:pt x="1674" y="1612"/>
                </a:lnTo>
                <a:close/>
                <a:moveTo>
                  <a:pt x="1675" y="1605"/>
                </a:moveTo>
                <a:lnTo>
                  <a:pt x="1676" y="1605"/>
                </a:lnTo>
                <a:lnTo>
                  <a:pt x="1676" y="1605"/>
                </a:lnTo>
                <a:lnTo>
                  <a:pt x="1676" y="1605"/>
                </a:lnTo>
                <a:lnTo>
                  <a:pt x="1675" y="1605"/>
                </a:lnTo>
                <a:lnTo>
                  <a:pt x="1675" y="1605"/>
                </a:lnTo>
                <a:close/>
                <a:moveTo>
                  <a:pt x="1665" y="1558"/>
                </a:moveTo>
                <a:lnTo>
                  <a:pt x="1664" y="1562"/>
                </a:lnTo>
                <a:lnTo>
                  <a:pt x="1664" y="1566"/>
                </a:lnTo>
                <a:lnTo>
                  <a:pt x="1664" y="1566"/>
                </a:lnTo>
                <a:lnTo>
                  <a:pt x="1661" y="1567"/>
                </a:lnTo>
                <a:lnTo>
                  <a:pt x="1658" y="1568"/>
                </a:lnTo>
                <a:lnTo>
                  <a:pt x="1657" y="1570"/>
                </a:lnTo>
                <a:lnTo>
                  <a:pt x="1658" y="1575"/>
                </a:lnTo>
                <a:lnTo>
                  <a:pt x="1657" y="1575"/>
                </a:lnTo>
                <a:lnTo>
                  <a:pt x="1649" y="1577"/>
                </a:lnTo>
                <a:lnTo>
                  <a:pt x="1641" y="1578"/>
                </a:lnTo>
                <a:lnTo>
                  <a:pt x="1641" y="1582"/>
                </a:lnTo>
                <a:lnTo>
                  <a:pt x="1639" y="1587"/>
                </a:lnTo>
                <a:lnTo>
                  <a:pt x="1635" y="1591"/>
                </a:lnTo>
                <a:lnTo>
                  <a:pt x="1632" y="1594"/>
                </a:lnTo>
                <a:lnTo>
                  <a:pt x="1635" y="1591"/>
                </a:lnTo>
                <a:lnTo>
                  <a:pt x="1639" y="1587"/>
                </a:lnTo>
                <a:lnTo>
                  <a:pt x="1641" y="1582"/>
                </a:lnTo>
                <a:lnTo>
                  <a:pt x="1641" y="1578"/>
                </a:lnTo>
                <a:lnTo>
                  <a:pt x="1641" y="1578"/>
                </a:lnTo>
                <a:lnTo>
                  <a:pt x="1641" y="1575"/>
                </a:lnTo>
                <a:lnTo>
                  <a:pt x="1641" y="1572"/>
                </a:lnTo>
                <a:lnTo>
                  <a:pt x="1640" y="1573"/>
                </a:lnTo>
                <a:lnTo>
                  <a:pt x="1640" y="1574"/>
                </a:lnTo>
                <a:lnTo>
                  <a:pt x="1640" y="1573"/>
                </a:lnTo>
                <a:lnTo>
                  <a:pt x="1641" y="1572"/>
                </a:lnTo>
                <a:lnTo>
                  <a:pt x="1645" y="1568"/>
                </a:lnTo>
                <a:lnTo>
                  <a:pt x="1650" y="1566"/>
                </a:lnTo>
                <a:lnTo>
                  <a:pt x="1653" y="1565"/>
                </a:lnTo>
                <a:lnTo>
                  <a:pt x="1655" y="1563"/>
                </a:lnTo>
                <a:lnTo>
                  <a:pt x="1657" y="1561"/>
                </a:lnTo>
                <a:lnTo>
                  <a:pt x="1658" y="1558"/>
                </a:lnTo>
                <a:lnTo>
                  <a:pt x="1659" y="1557"/>
                </a:lnTo>
                <a:lnTo>
                  <a:pt x="1661" y="1557"/>
                </a:lnTo>
                <a:lnTo>
                  <a:pt x="1663" y="1557"/>
                </a:lnTo>
                <a:lnTo>
                  <a:pt x="1665" y="1558"/>
                </a:lnTo>
                <a:lnTo>
                  <a:pt x="1668" y="1558"/>
                </a:lnTo>
                <a:lnTo>
                  <a:pt x="1669" y="1557"/>
                </a:lnTo>
                <a:lnTo>
                  <a:pt x="1670" y="1556"/>
                </a:lnTo>
                <a:lnTo>
                  <a:pt x="1669" y="1553"/>
                </a:lnTo>
                <a:lnTo>
                  <a:pt x="1670" y="1556"/>
                </a:lnTo>
                <a:lnTo>
                  <a:pt x="1669" y="1557"/>
                </a:lnTo>
                <a:lnTo>
                  <a:pt x="1668" y="1558"/>
                </a:lnTo>
                <a:lnTo>
                  <a:pt x="1665" y="1558"/>
                </a:lnTo>
                <a:close/>
                <a:moveTo>
                  <a:pt x="1658" y="1819"/>
                </a:moveTo>
                <a:lnTo>
                  <a:pt x="1655" y="1819"/>
                </a:lnTo>
                <a:lnTo>
                  <a:pt x="1652" y="1817"/>
                </a:lnTo>
                <a:lnTo>
                  <a:pt x="1649" y="1814"/>
                </a:lnTo>
                <a:lnTo>
                  <a:pt x="1649" y="1811"/>
                </a:lnTo>
                <a:lnTo>
                  <a:pt x="1650" y="1808"/>
                </a:lnTo>
                <a:lnTo>
                  <a:pt x="1652" y="1806"/>
                </a:lnTo>
                <a:lnTo>
                  <a:pt x="1655" y="1805"/>
                </a:lnTo>
                <a:lnTo>
                  <a:pt x="1657" y="1805"/>
                </a:lnTo>
                <a:lnTo>
                  <a:pt x="1661" y="1806"/>
                </a:lnTo>
                <a:lnTo>
                  <a:pt x="1663" y="1807"/>
                </a:lnTo>
                <a:lnTo>
                  <a:pt x="1665" y="1810"/>
                </a:lnTo>
                <a:lnTo>
                  <a:pt x="1665" y="1813"/>
                </a:lnTo>
                <a:lnTo>
                  <a:pt x="1665" y="1816"/>
                </a:lnTo>
                <a:lnTo>
                  <a:pt x="1663" y="1818"/>
                </a:lnTo>
                <a:lnTo>
                  <a:pt x="1661" y="1819"/>
                </a:lnTo>
                <a:lnTo>
                  <a:pt x="1658" y="1819"/>
                </a:lnTo>
                <a:close/>
                <a:moveTo>
                  <a:pt x="1619" y="1793"/>
                </a:moveTo>
                <a:lnTo>
                  <a:pt x="1615" y="1793"/>
                </a:lnTo>
                <a:lnTo>
                  <a:pt x="1613" y="1794"/>
                </a:lnTo>
                <a:lnTo>
                  <a:pt x="1610" y="1795"/>
                </a:lnTo>
                <a:lnTo>
                  <a:pt x="1608" y="1798"/>
                </a:lnTo>
                <a:lnTo>
                  <a:pt x="1607" y="1797"/>
                </a:lnTo>
                <a:lnTo>
                  <a:pt x="1606" y="1796"/>
                </a:lnTo>
                <a:lnTo>
                  <a:pt x="1604" y="1793"/>
                </a:lnTo>
                <a:lnTo>
                  <a:pt x="1601" y="1791"/>
                </a:lnTo>
                <a:lnTo>
                  <a:pt x="1600" y="1790"/>
                </a:lnTo>
                <a:lnTo>
                  <a:pt x="1600" y="1789"/>
                </a:lnTo>
                <a:lnTo>
                  <a:pt x="1600" y="1787"/>
                </a:lnTo>
                <a:lnTo>
                  <a:pt x="1600" y="1786"/>
                </a:lnTo>
                <a:lnTo>
                  <a:pt x="1602" y="1783"/>
                </a:lnTo>
                <a:lnTo>
                  <a:pt x="1606" y="1782"/>
                </a:lnTo>
                <a:lnTo>
                  <a:pt x="1610" y="1783"/>
                </a:lnTo>
                <a:lnTo>
                  <a:pt x="1613" y="1783"/>
                </a:lnTo>
                <a:lnTo>
                  <a:pt x="1628" y="1784"/>
                </a:lnTo>
                <a:lnTo>
                  <a:pt x="1642" y="1787"/>
                </a:lnTo>
                <a:lnTo>
                  <a:pt x="1637" y="1790"/>
                </a:lnTo>
                <a:lnTo>
                  <a:pt x="1631" y="1793"/>
                </a:lnTo>
                <a:lnTo>
                  <a:pt x="1626" y="1794"/>
                </a:lnTo>
                <a:lnTo>
                  <a:pt x="1619" y="1793"/>
                </a:lnTo>
                <a:close/>
                <a:moveTo>
                  <a:pt x="1668" y="1551"/>
                </a:moveTo>
                <a:lnTo>
                  <a:pt x="1669" y="1552"/>
                </a:lnTo>
                <a:lnTo>
                  <a:pt x="1669" y="1553"/>
                </a:lnTo>
                <a:lnTo>
                  <a:pt x="1669" y="1552"/>
                </a:lnTo>
                <a:lnTo>
                  <a:pt x="1668" y="1551"/>
                </a:lnTo>
                <a:close/>
                <a:moveTo>
                  <a:pt x="1586" y="1801"/>
                </a:moveTo>
                <a:lnTo>
                  <a:pt x="1583" y="1809"/>
                </a:lnTo>
                <a:lnTo>
                  <a:pt x="1580" y="1818"/>
                </a:lnTo>
                <a:lnTo>
                  <a:pt x="1579" y="1820"/>
                </a:lnTo>
                <a:lnTo>
                  <a:pt x="1576" y="1822"/>
                </a:lnTo>
                <a:lnTo>
                  <a:pt x="1574" y="1821"/>
                </a:lnTo>
                <a:lnTo>
                  <a:pt x="1572" y="1820"/>
                </a:lnTo>
                <a:lnTo>
                  <a:pt x="1572" y="1819"/>
                </a:lnTo>
                <a:lnTo>
                  <a:pt x="1571" y="1817"/>
                </a:lnTo>
                <a:lnTo>
                  <a:pt x="1571" y="1808"/>
                </a:lnTo>
                <a:lnTo>
                  <a:pt x="1570" y="1799"/>
                </a:lnTo>
                <a:lnTo>
                  <a:pt x="1570" y="1795"/>
                </a:lnTo>
                <a:lnTo>
                  <a:pt x="1571" y="1792"/>
                </a:lnTo>
                <a:lnTo>
                  <a:pt x="1573" y="1790"/>
                </a:lnTo>
                <a:lnTo>
                  <a:pt x="1577" y="1788"/>
                </a:lnTo>
                <a:lnTo>
                  <a:pt x="1579" y="1787"/>
                </a:lnTo>
                <a:lnTo>
                  <a:pt x="1581" y="1787"/>
                </a:lnTo>
                <a:lnTo>
                  <a:pt x="1583" y="1788"/>
                </a:lnTo>
                <a:lnTo>
                  <a:pt x="1585" y="1789"/>
                </a:lnTo>
                <a:lnTo>
                  <a:pt x="1587" y="1792"/>
                </a:lnTo>
                <a:lnTo>
                  <a:pt x="1587" y="1794"/>
                </a:lnTo>
                <a:lnTo>
                  <a:pt x="1587" y="1797"/>
                </a:lnTo>
                <a:lnTo>
                  <a:pt x="1586" y="1801"/>
                </a:lnTo>
                <a:close/>
                <a:moveTo>
                  <a:pt x="1539" y="1801"/>
                </a:moveTo>
                <a:lnTo>
                  <a:pt x="1529" y="1802"/>
                </a:lnTo>
                <a:lnTo>
                  <a:pt x="1520" y="1802"/>
                </a:lnTo>
                <a:lnTo>
                  <a:pt x="1516" y="1801"/>
                </a:lnTo>
                <a:lnTo>
                  <a:pt x="1511" y="1801"/>
                </a:lnTo>
                <a:lnTo>
                  <a:pt x="1507" y="1801"/>
                </a:lnTo>
                <a:lnTo>
                  <a:pt x="1504" y="1803"/>
                </a:lnTo>
                <a:lnTo>
                  <a:pt x="1497" y="1806"/>
                </a:lnTo>
                <a:lnTo>
                  <a:pt x="1491" y="1812"/>
                </a:lnTo>
                <a:lnTo>
                  <a:pt x="1488" y="1814"/>
                </a:lnTo>
                <a:lnTo>
                  <a:pt x="1485" y="1817"/>
                </a:lnTo>
                <a:lnTo>
                  <a:pt x="1481" y="1818"/>
                </a:lnTo>
                <a:lnTo>
                  <a:pt x="1477" y="1819"/>
                </a:lnTo>
                <a:lnTo>
                  <a:pt x="1476" y="1819"/>
                </a:lnTo>
                <a:lnTo>
                  <a:pt x="1475" y="1818"/>
                </a:lnTo>
                <a:lnTo>
                  <a:pt x="1474" y="1817"/>
                </a:lnTo>
                <a:lnTo>
                  <a:pt x="1473" y="1816"/>
                </a:lnTo>
                <a:lnTo>
                  <a:pt x="1473" y="1813"/>
                </a:lnTo>
                <a:lnTo>
                  <a:pt x="1473" y="1811"/>
                </a:lnTo>
                <a:lnTo>
                  <a:pt x="1474" y="1809"/>
                </a:lnTo>
                <a:lnTo>
                  <a:pt x="1475" y="1808"/>
                </a:lnTo>
                <a:lnTo>
                  <a:pt x="1477" y="1806"/>
                </a:lnTo>
                <a:lnTo>
                  <a:pt x="1479" y="1805"/>
                </a:lnTo>
                <a:lnTo>
                  <a:pt x="1480" y="1803"/>
                </a:lnTo>
                <a:lnTo>
                  <a:pt x="1479" y="1799"/>
                </a:lnTo>
                <a:lnTo>
                  <a:pt x="1477" y="1797"/>
                </a:lnTo>
                <a:lnTo>
                  <a:pt x="1474" y="1796"/>
                </a:lnTo>
                <a:lnTo>
                  <a:pt x="1472" y="1797"/>
                </a:lnTo>
                <a:lnTo>
                  <a:pt x="1468" y="1798"/>
                </a:lnTo>
                <a:lnTo>
                  <a:pt x="1466" y="1798"/>
                </a:lnTo>
                <a:lnTo>
                  <a:pt x="1465" y="1799"/>
                </a:lnTo>
                <a:lnTo>
                  <a:pt x="1463" y="1799"/>
                </a:lnTo>
                <a:lnTo>
                  <a:pt x="1461" y="1799"/>
                </a:lnTo>
                <a:lnTo>
                  <a:pt x="1459" y="1798"/>
                </a:lnTo>
                <a:lnTo>
                  <a:pt x="1458" y="1796"/>
                </a:lnTo>
                <a:lnTo>
                  <a:pt x="1458" y="1794"/>
                </a:lnTo>
                <a:lnTo>
                  <a:pt x="1460" y="1793"/>
                </a:lnTo>
                <a:lnTo>
                  <a:pt x="1462" y="1792"/>
                </a:lnTo>
                <a:lnTo>
                  <a:pt x="1464" y="1792"/>
                </a:lnTo>
                <a:lnTo>
                  <a:pt x="1468" y="1791"/>
                </a:lnTo>
                <a:lnTo>
                  <a:pt x="1474" y="1791"/>
                </a:lnTo>
                <a:lnTo>
                  <a:pt x="1489" y="1793"/>
                </a:lnTo>
                <a:lnTo>
                  <a:pt x="1505" y="1793"/>
                </a:lnTo>
                <a:lnTo>
                  <a:pt x="1507" y="1793"/>
                </a:lnTo>
                <a:lnTo>
                  <a:pt x="1510" y="1793"/>
                </a:lnTo>
                <a:lnTo>
                  <a:pt x="1512" y="1792"/>
                </a:lnTo>
                <a:lnTo>
                  <a:pt x="1516" y="1791"/>
                </a:lnTo>
                <a:lnTo>
                  <a:pt x="1517" y="1790"/>
                </a:lnTo>
                <a:lnTo>
                  <a:pt x="1518" y="1790"/>
                </a:lnTo>
                <a:lnTo>
                  <a:pt x="1520" y="1790"/>
                </a:lnTo>
                <a:lnTo>
                  <a:pt x="1522" y="1790"/>
                </a:lnTo>
                <a:lnTo>
                  <a:pt x="1525" y="1792"/>
                </a:lnTo>
                <a:lnTo>
                  <a:pt x="1529" y="1793"/>
                </a:lnTo>
                <a:lnTo>
                  <a:pt x="1534" y="1794"/>
                </a:lnTo>
                <a:lnTo>
                  <a:pt x="1539" y="1794"/>
                </a:lnTo>
                <a:lnTo>
                  <a:pt x="1540" y="1794"/>
                </a:lnTo>
                <a:lnTo>
                  <a:pt x="1541" y="1795"/>
                </a:lnTo>
                <a:lnTo>
                  <a:pt x="1542" y="1796"/>
                </a:lnTo>
                <a:lnTo>
                  <a:pt x="1542" y="1797"/>
                </a:lnTo>
                <a:lnTo>
                  <a:pt x="1541" y="1799"/>
                </a:lnTo>
                <a:lnTo>
                  <a:pt x="1539" y="1801"/>
                </a:lnTo>
                <a:close/>
                <a:moveTo>
                  <a:pt x="1465" y="1408"/>
                </a:moveTo>
                <a:lnTo>
                  <a:pt x="1465" y="1408"/>
                </a:lnTo>
                <a:lnTo>
                  <a:pt x="1464" y="1409"/>
                </a:lnTo>
                <a:lnTo>
                  <a:pt x="1464" y="1409"/>
                </a:lnTo>
                <a:lnTo>
                  <a:pt x="1464" y="1409"/>
                </a:lnTo>
                <a:lnTo>
                  <a:pt x="1465" y="1408"/>
                </a:lnTo>
                <a:close/>
                <a:moveTo>
                  <a:pt x="1501" y="1472"/>
                </a:moveTo>
                <a:lnTo>
                  <a:pt x="1503" y="1471"/>
                </a:lnTo>
                <a:lnTo>
                  <a:pt x="1505" y="1470"/>
                </a:lnTo>
                <a:lnTo>
                  <a:pt x="1507" y="1468"/>
                </a:lnTo>
                <a:lnTo>
                  <a:pt x="1508" y="1465"/>
                </a:lnTo>
                <a:lnTo>
                  <a:pt x="1509" y="1463"/>
                </a:lnTo>
                <a:lnTo>
                  <a:pt x="1511" y="1463"/>
                </a:lnTo>
                <a:lnTo>
                  <a:pt x="1512" y="1463"/>
                </a:lnTo>
                <a:lnTo>
                  <a:pt x="1515" y="1465"/>
                </a:lnTo>
                <a:lnTo>
                  <a:pt x="1515" y="1467"/>
                </a:lnTo>
                <a:lnTo>
                  <a:pt x="1515" y="1469"/>
                </a:lnTo>
                <a:lnTo>
                  <a:pt x="1513" y="1471"/>
                </a:lnTo>
                <a:lnTo>
                  <a:pt x="1512" y="1473"/>
                </a:lnTo>
                <a:lnTo>
                  <a:pt x="1508" y="1478"/>
                </a:lnTo>
                <a:lnTo>
                  <a:pt x="1504" y="1483"/>
                </a:lnTo>
                <a:lnTo>
                  <a:pt x="1502" y="1483"/>
                </a:lnTo>
                <a:lnTo>
                  <a:pt x="1500" y="1482"/>
                </a:lnTo>
                <a:lnTo>
                  <a:pt x="1498" y="1481"/>
                </a:lnTo>
                <a:lnTo>
                  <a:pt x="1498" y="1480"/>
                </a:lnTo>
                <a:lnTo>
                  <a:pt x="1497" y="1477"/>
                </a:lnTo>
                <a:lnTo>
                  <a:pt x="1497" y="1475"/>
                </a:lnTo>
                <a:lnTo>
                  <a:pt x="1498" y="1473"/>
                </a:lnTo>
                <a:lnTo>
                  <a:pt x="1501" y="1472"/>
                </a:lnTo>
                <a:close/>
                <a:moveTo>
                  <a:pt x="1512" y="1400"/>
                </a:moveTo>
                <a:lnTo>
                  <a:pt x="1513" y="1401"/>
                </a:lnTo>
                <a:lnTo>
                  <a:pt x="1512" y="1404"/>
                </a:lnTo>
                <a:lnTo>
                  <a:pt x="1510" y="1405"/>
                </a:lnTo>
                <a:lnTo>
                  <a:pt x="1509" y="1405"/>
                </a:lnTo>
                <a:lnTo>
                  <a:pt x="1507" y="1404"/>
                </a:lnTo>
                <a:lnTo>
                  <a:pt x="1505" y="1404"/>
                </a:lnTo>
                <a:lnTo>
                  <a:pt x="1506" y="1401"/>
                </a:lnTo>
                <a:lnTo>
                  <a:pt x="1508" y="1400"/>
                </a:lnTo>
                <a:lnTo>
                  <a:pt x="1510" y="1399"/>
                </a:lnTo>
                <a:lnTo>
                  <a:pt x="1512" y="1400"/>
                </a:lnTo>
                <a:close/>
                <a:moveTo>
                  <a:pt x="1453" y="1562"/>
                </a:moveTo>
                <a:lnTo>
                  <a:pt x="1452" y="1567"/>
                </a:lnTo>
                <a:lnTo>
                  <a:pt x="1452" y="1572"/>
                </a:lnTo>
                <a:lnTo>
                  <a:pt x="1451" y="1574"/>
                </a:lnTo>
                <a:lnTo>
                  <a:pt x="1451" y="1576"/>
                </a:lnTo>
                <a:lnTo>
                  <a:pt x="1449" y="1578"/>
                </a:lnTo>
                <a:lnTo>
                  <a:pt x="1446" y="1579"/>
                </a:lnTo>
                <a:lnTo>
                  <a:pt x="1444" y="1579"/>
                </a:lnTo>
                <a:lnTo>
                  <a:pt x="1441" y="1579"/>
                </a:lnTo>
                <a:lnTo>
                  <a:pt x="1440" y="1579"/>
                </a:lnTo>
                <a:lnTo>
                  <a:pt x="1437" y="1578"/>
                </a:lnTo>
                <a:lnTo>
                  <a:pt x="1434" y="1575"/>
                </a:lnTo>
                <a:lnTo>
                  <a:pt x="1432" y="1570"/>
                </a:lnTo>
                <a:lnTo>
                  <a:pt x="1430" y="1567"/>
                </a:lnTo>
                <a:lnTo>
                  <a:pt x="1429" y="1565"/>
                </a:lnTo>
                <a:lnTo>
                  <a:pt x="1428" y="1564"/>
                </a:lnTo>
                <a:lnTo>
                  <a:pt x="1426" y="1564"/>
                </a:lnTo>
                <a:lnTo>
                  <a:pt x="1425" y="1564"/>
                </a:lnTo>
                <a:lnTo>
                  <a:pt x="1422" y="1566"/>
                </a:lnTo>
                <a:lnTo>
                  <a:pt x="1420" y="1567"/>
                </a:lnTo>
                <a:lnTo>
                  <a:pt x="1419" y="1569"/>
                </a:lnTo>
                <a:lnTo>
                  <a:pt x="1418" y="1569"/>
                </a:lnTo>
                <a:lnTo>
                  <a:pt x="1416" y="1569"/>
                </a:lnTo>
                <a:lnTo>
                  <a:pt x="1415" y="1567"/>
                </a:lnTo>
                <a:lnTo>
                  <a:pt x="1414" y="1566"/>
                </a:lnTo>
                <a:lnTo>
                  <a:pt x="1414" y="1564"/>
                </a:lnTo>
                <a:lnTo>
                  <a:pt x="1415" y="1562"/>
                </a:lnTo>
                <a:lnTo>
                  <a:pt x="1415" y="1560"/>
                </a:lnTo>
                <a:lnTo>
                  <a:pt x="1415" y="1557"/>
                </a:lnTo>
                <a:lnTo>
                  <a:pt x="1415" y="1556"/>
                </a:lnTo>
                <a:lnTo>
                  <a:pt x="1416" y="1553"/>
                </a:lnTo>
                <a:lnTo>
                  <a:pt x="1414" y="1551"/>
                </a:lnTo>
                <a:lnTo>
                  <a:pt x="1413" y="1549"/>
                </a:lnTo>
                <a:lnTo>
                  <a:pt x="1413" y="1547"/>
                </a:lnTo>
                <a:lnTo>
                  <a:pt x="1413" y="1545"/>
                </a:lnTo>
                <a:lnTo>
                  <a:pt x="1413" y="1547"/>
                </a:lnTo>
                <a:lnTo>
                  <a:pt x="1413" y="1549"/>
                </a:lnTo>
                <a:lnTo>
                  <a:pt x="1414" y="1551"/>
                </a:lnTo>
                <a:lnTo>
                  <a:pt x="1416" y="1553"/>
                </a:lnTo>
                <a:lnTo>
                  <a:pt x="1418" y="1549"/>
                </a:lnTo>
                <a:lnTo>
                  <a:pt x="1420" y="1546"/>
                </a:lnTo>
                <a:lnTo>
                  <a:pt x="1421" y="1544"/>
                </a:lnTo>
                <a:lnTo>
                  <a:pt x="1420" y="1543"/>
                </a:lnTo>
                <a:lnTo>
                  <a:pt x="1419" y="1541"/>
                </a:lnTo>
                <a:lnTo>
                  <a:pt x="1417" y="1538"/>
                </a:lnTo>
                <a:lnTo>
                  <a:pt x="1417" y="1537"/>
                </a:lnTo>
                <a:lnTo>
                  <a:pt x="1417" y="1537"/>
                </a:lnTo>
                <a:lnTo>
                  <a:pt x="1418" y="1536"/>
                </a:lnTo>
                <a:lnTo>
                  <a:pt x="1419" y="1536"/>
                </a:lnTo>
                <a:lnTo>
                  <a:pt x="1418" y="1535"/>
                </a:lnTo>
                <a:lnTo>
                  <a:pt x="1417" y="1534"/>
                </a:lnTo>
                <a:lnTo>
                  <a:pt x="1417" y="1532"/>
                </a:lnTo>
                <a:lnTo>
                  <a:pt x="1418" y="1529"/>
                </a:lnTo>
                <a:lnTo>
                  <a:pt x="1418" y="1527"/>
                </a:lnTo>
                <a:lnTo>
                  <a:pt x="1419" y="1524"/>
                </a:lnTo>
                <a:lnTo>
                  <a:pt x="1418" y="1527"/>
                </a:lnTo>
                <a:lnTo>
                  <a:pt x="1418" y="1529"/>
                </a:lnTo>
                <a:lnTo>
                  <a:pt x="1421" y="1528"/>
                </a:lnTo>
                <a:lnTo>
                  <a:pt x="1422" y="1527"/>
                </a:lnTo>
                <a:lnTo>
                  <a:pt x="1422" y="1524"/>
                </a:lnTo>
                <a:lnTo>
                  <a:pt x="1423" y="1522"/>
                </a:lnTo>
                <a:lnTo>
                  <a:pt x="1426" y="1520"/>
                </a:lnTo>
                <a:lnTo>
                  <a:pt x="1428" y="1518"/>
                </a:lnTo>
                <a:lnTo>
                  <a:pt x="1431" y="1517"/>
                </a:lnTo>
                <a:lnTo>
                  <a:pt x="1433" y="1516"/>
                </a:lnTo>
                <a:lnTo>
                  <a:pt x="1436" y="1517"/>
                </a:lnTo>
                <a:lnTo>
                  <a:pt x="1440" y="1517"/>
                </a:lnTo>
                <a:lnTo>
                  <a:pt x="1442" y="1519"/>
                </a:lnTo>
                <a:lnTo>
                  <a:pt x="1444" y="1521"/>
                </a:lnTo>
                <a:lnTo>
                  <a:pt x="1445" y="1522"/>
                </a:lnTo>
                <a:lnTo>
                  <a:pt x="1445" y="1522"/>
                </a:lnTo>
                <a:lnTo>
                  <a:pt x="1443" y="1526"/>
                </a:lnTo>
                <a:lnTo>
                  <a:pt x="1442" y="1529"/>
                </a:lnTo>
                <a:lnTo>
                  <a:pt x="1442" y="1532"/>
                </a:lnTo>
                <a:lnTo>
                  <a:pt x="1441" y="1535"/>
                </a:lnTo>
                <a:lnTo>
                  <a:pt x="1441" y="1538"/>
                </a:lnTo>
                <a:lnTo>
                  <a:pt x="1438" y="1542"/>
                </a:lnTo>
                <a:lnTo>
                  <a:pt x="1436" y="1544"/>
                </a:lnTo>
                <a:lnTo>
                  <a:pt x="1432" y="1546"/>
                </a:lnTo>
                <a:lnTo>
                  <a:pt x="1430" y="1547"/>
                </a:lnTo>
                <a:lnTo>
                  <a:pt x="1428" y="1548"/>
                </a:lnTo>
                <a:lnTo>
                  <a:pt x="1428" y="1549"/>
                </a:lnTo>
                <a:lnTo>
                  <a:pt x="1427" y="1550"/>
                </a:lnTo>
                <a:lnTo>
                  <a:pt x="1429" y="1553"/>
                </a:lnTo>
                <a:lnTo>
                  <a:pt x="1432" y="1556"/>
                </a:lnTo>
                <a:lnTo>
                  <a:pt x="1435" y="1556"/>
                </a:lnTo>
                <a:lnTo>
                  <a:pt x="1436" y="1554"/>
                </a:lnTo>
                <a:lnTo>
                  <a:pt x="1435" y="1556"/>
                </a:lnTo>
                <a:lnTo>
                  <a:pt x="1432" y="1556"/>
                </a:lnTo>
                <a:lnTo>
                  <a:pt x="1432" y="1558"/>
                </a:lnTo>
                <a:lnTo>
                  <a:pt x="1432" y="1559"/>
                </a:lnTo>
                <a:lnTo>
                  <a:pt x="1433" y="1560"/>
                </a:lnTo>
                <a:lnTo>
                  <a:pt x="1435" y="1561"/>
                </a:lnTo>
                <a:lnTo>
                  <a:pt x="1437" y="1560"/>
                </a:lnTo>
                <a:lnTo>
                  <a:pt x="1438" y="1560"/>
                </a:lnTo>
                <a:lnTo>
                  <a:pt x="1438" y="1558"/>
                </a:lnTo>
                <a:lnTo>
                  <a:pt x="1440" y="1557"/>
                </a:lnTo>
                <a:lnTo>
                  <a:pt x="1441" y="1552"/>
                </a:lnTo>
                <a:lnTo>
                  <a:pt x="1442" y="1550"/>
                </a:lnTo>
                <a:lnTo>
                  <a:pt x="1445" y="1550"/>
                </a:lnTo>
                <a:lnTo>
                  <a:pt x="1448" y="1551"/>
                </a:lnTo>
                <a:lnTo>
                  <a:pt x="1451" y="1553"/>
                </a:lnTo>
                <a:lnTo>
                  <a:pt x="1453" y="1556"/>
                </a:lnTo>
                <a:lnTo>
                  <a:pt x="1455" y="1560"/>
                </a:lnTo>
                <a:lnTo>
                  <a:pt x="1453" y="1562"/>
                </a:lnTo>
                <a:close/>
                <a:moveTo>
                  <a:pt x="1367" y="1817"/>
                </a:moveTo>
                <a:lnTo>
                  <a:pt x="1362" y="1816"/>
                </a:lnTo>
                <a:lnTo>
                  <a:pt x="1360" y="1813"/>
                </a:lnTo>
                <a:lnTo>
                  <a:pt x="1358" y="1810"/>
                </a:lnTo>
                <a:lnTo>
                  <a:pt x="1358" y="1807"/>
                </a:lnTo>
                <a:lnTo>
                  <a:pt x="1359" y="1803"/>
                </a:lnTo>
                <a:lnTo>
                  <a:pt x="1361" y="1801"/>
                </a:lnTo>
                <a:lnTo>
                  <a:pt x="1365" y="1799"/>
                </a:lnTo>
                <a:lnTo>
                  <a:pt x="1369" y="1799"/>
                </a:lnTo>
                <a:lnTo>
                  <a:pt x="1372" y="1799"/>
                </a:lnTo>
                <a:lnTo>
                  <a:pt x="1374" y="1801"/>
                </a:lnTo>
                <a:lnTo>
                  <a:pt x="1376" y="1804"/>
                </a:lnTo>
                <a:lnTo>
                  <a:pt x="1377" y="1807"/>
                </a:lnTo>
                <a:lnTo>
                  <a:pt x="1376" y="1810"/>
                </a:lnTo>
                <a:lnTo>
                  <a:pt x="1374" y="1813"/>
                </a:lnTo>
                <a:lnTo>
                  <a:pt x="1371" y="1816"/>
                </a:lnTo>
                <a:lnTo>
                  <a:pt x="1367" y="1817"/>
                </a:lnTo>
                <a:close/>
                <a:moveTo>
                  <a:pt x="1354" y="1766"/>
                </a:moveTo>
                <a:lnTo>
                  <a:pt x="1354" y="1764"/>
                </a:lnTo>
                <a:lnTo>
                  <a:pt x="1355" y="1762"/>
                </a:lnTo>
                <a:lnTo>
                  <a:pt x="1356" y="1761"/>
                </a:lnTo>
                <a:lnTo>
                  <a:pt x="1358" y="1761"/>
                </a:lnTo>
                <a:lnTo>
                  <a:pt x="1362" y="1761"/>
                </a:lnTo>
                <a:lnTo>
                  <a:pt x="1366" y="1761"/>
                </a:lnTo>
                <a:lnTo>
                  <a:pt x="1370" y="1761"/>
                </a:lnTo>
                <a:lnTo>
                  <a:pt x="1373" y="1762"/>
                </a:lnTo>
                <a:lnTo>
                  <a:pt x="1374" y="1763"/>
                </a:lnTo>
                <a:lnTo>
                  <a:pt x="1375" y="1764"/>
                </a:lnTo>
                <a:lnTo>
                  <a:pt x="1376" y="1766"/>
                </a:lnTo>
                <a:lnTo>
                  <a:pt x="1376" y="1768"/>
                </a:lnTo>
                <a:lnTo>
                  <a:pt x="1375" y="1772"/>
                </a:lnTo>
                <a:lnTo>
                  <a:pt x="1373" y="1774"/>
                </a:lnTo>
                <a:lnTo>
                  <a:pt x="1370" y="1775"/>
                </a:lnTo>
                <a:lnTo>
                  <a:pt x="1367" y="1776"/>
                </a:lnTo>
                <a:lnTo>
                  <a:pt x="1362" y="1774"/>
                </a:lnTo>
                <a:lnTo>
                  <a:pt x="1358" y="1773"/>
                </a:lnTo>
                <a:lnTo>
                  <a:pt x="1356" y="1772"/>
                </a:lnTo>
                <a:lnTo>
                  <a:pt x="1355" y="1771"/>
                </a:lnTo>
                <a:lnTo>
                  <a:pt x="1354" y="1768"/>
                </a:lnTo>
                <a:lnTo>
                  <a:pt x="1354" y="1766"/>
                </a:lnTo>
                <a:close/>
                <a:moveTo>
                  <a:pt x="1336" y="1770"/>
                </a:moveTo>
                <a:lnTo>
                  <a:pt x="1336" y="1772"/>
                </a:lnTo>
                <a:lnTo>
                  <a:pt x="1335" y="1773"/>
                </a:lnTo>
                <a:lnTo>
                  <a:pt x="1334" y="1774"/>
                </a:lnTo>
                <a:lnTo>
                  <a:pt x="1331" y="1774"/>
                </a:lnTo>
                <a:lnTo>
                  <a:pt x="1328" y="1774"/>
                </a:lnTo>
                <a:lnTo>
                  <a:pt x="1325" y="1774"/>
                </a:lnTo>
                <a:lnTo>
                  <a:pt x="1315" y="1773"/>
                </a:lnTo>
                <a:lnTo>
                  <a:pt x="1307" y="1773"/>
                </a:lnTo>
                <a:lnTo>
                  <a:pt x="1297" y="1773"/>
                </a:lnTo>
                <a:lnTo>
                  <a:pt x="1289" y="1774"/>
                </a:lnTo>
                <a:lnTo>
                  <a:pt x="1278" y="1774"/>
                </a:lnTo>
                <a:lnTo>
                  <a:pt x="1267" y="1772"/>
                </a:lnTo>
                <a:lnTo>
                  <a:pt x="1262" y="1771"/>
                </a:lnTo>
                <a:lnTo>
                  <a:pt x="1258" y="1772"/>
                </a:lnTo>
                <a:lnTo>
                  <a:pt x="1254" y="1775"/>
                </a:lnTo>
                <a:lnTo>
                  <a:pt x="1252" y="1780"/>
                </a:lnTo>
                <a:lnTo>
                  <a:pt x="1250" y="1784"/>
                </a:lnTo>
                <a:lnTo>
                  <a:pt x="1248" y="1787"/>
                </a:lnTo>
                <a:lnTo>
                  <a:pt x="1245" y="1788"/>
                </a:lnTo>
                <a:lnTo>
                  <a:pt x="1240" y="1789"/>
                </a:lnTo>
                <a:lnTo>
                  <a:pt x="1237" y="1790"/>
                </a:lnTo>
                <a:lnTo>
                  <a:pt x="1234" y="1791"/>
                </a:lnTo>
                <a:lnTo>
                  <a:pt x="1231" y="1793"/>
                </a:lnTo>
                <a:lnTo>
                  <a:pt x="1228" y="1795"/>
                </a:lnTo>
                <a:lnTo>
                  <a:pt x="1225" y="1796"/>
                </a:lnTo>
                <a:lnTo>
                  <a:pt x="1223" y="1797"/>
                </a:lnTo>
                <a:lnTo>
                  <a:pt x="1221" y="1798"/>
                </a:lnTo>
                <a:lnTo>
                  <a:pt x="1219" y="1797"/>
                </a:lnTo>
                <a:lnTo>
                  <a:pt x="1208" y="1795"/>
                </a:lnTo>
                <a:lnTo>
                  <a:pt x="1199" y="1795"/>
                </a:lnTo>
                <a:lnTo>
                  <a:pt x="1188" y="1795"/>
                </a:lnTo>
                <a:lnTo>
                  <a:pt x="1177" y="1794"/>
                </a:lnTo>
                <a:lnTo>
                  <a:pt x="1161" y="1793"/>
                </a:lnTo>
                <a:lnTo>
                  <a:pt x="1145" y="1792"/>
                </a:lnTo>
                <a:lnTo>
                  <a:pt x="1129" y="1792"/>
                </a:lnTo>
                <a:lnTo>
                  <a:pt x="1113" y="1792"/>
                </a:lnTo>
                <a:lnTo>
                  <a:pt x="1088" y="1792"/>
                </a:lnTo>
                <a:lnTo>
                  <a:pt x="1064" y="1792"/>
                </a:lnTo>
                <a:lnTo>
                  <a:pt x="1039" y="1792"/>
                </a:lnTo>
                <a:lnTo>
                  <a:pt x="1015" y="1791"/>
                </a:lnTo>
                <a:lnTo>
                  <a:pt x="1006" y="1790"/>
                </a:lnTo>
                <a:lnTo>
                  <a:pt x="996" y="1790"/>
                </a:lnTo>
                <a:lnTo>
                  <a:pt x="987" y="1789"/>
                </a:lnTo>
                <a:lnTo>
                  <a:pt x="977" y="1788"/>
                </a:lnTo>
                <a:lnTo>
                  <a:pt x="966" y="1787"/>
                </a:lnTo>
                <a:lnTo>
                  <a:pt x="955" y="1788"/>
                </a:lnTo>
                <a:lnTo>
                  <a:pt x="944" y="1790"/>
                </a:lnTo>
                <a:lnTo>
                  <a:pt x="932" y="1791"/>
                </a:lnTo>
                <a:lnTo>
                  <a:pt x="931" y="1792"/>
                </a:lnTo>
                <a:lnTo>
                  <a:pt x="930" y="1793"/>
                </a:lnTo>
                <a:lnTo>
                  <a:pt x="930" y="1794"/>
                </a:lnTo>
                <a:lnTo>
                  <a:pt x="931" y="1796"/>
                </a:lnTo>
                <a:lnTo>
                  <a:pt x="936" y="1801"/>
                </a:lnTo>
                <a:lnTo>
                  <a:pt x="940" y="1806"/>
                </a:lnTo>
                <a:lnTo>
                  <a:pt x="943" y="1811"/>
                </a:lnTo>
                <a:lnTo>
                  <a:pt x="944" y="1818"/>
                </a:lnTo>
                <a:lnTo>
                  <a:pt x="945" y="1822"/>
                </a:lnTo>
                <a:lnTo>
                  <a:pt x="947" y="1824"/>
                </a:lnTo>
                <a:lnTo>
                  <a:pt x="950" y="1824"/>
                </a:lnTo>
                <a:lnTo>
                  <a:pt x="953" y="1823"/>
                </a:lnTo>
                <a:lnTo>
                  <a:pt x="959" y="1821"/>
                </a:lnTo>
                <a:lnTo>
                  <a:pt x="964" y="1820"/>
                </a:lnTo>
                <a:lnTo>
                  <a:pt x="968" y="1820"/>
                </a:lnTo>
                <a:lnTo>
                  <a:pt x="974" y="1821"/>
                </a:lnTo>
                <a:lnTo>
                  <a:pt x="982" y="1825"/>
                </a:lnTo>
                <a:lnTo>
                  <a:pt x="991" y="1830"/>
                </a:lnTo>
                <a:lnTo>
                  <a:pt x="993" y="1832"/>
                </a:lnTo>
                <a:lnTo>
                  <a:pt x="994" y="1833"/>
                </a:lnTo>
                <a:lnTo>
                  <a:pt x="994" y="1835"/>
                </a:lnTo>
                <a:lnTo>
                  <a:pt x="994" y="1836"/>
                </a:lnTo>
                <a:lnTo>
                  <a:pt x="993" y="1840"/>
                </a:lnTo>
                <a:lnTo>
                  <a:pt x="990" y="1842"/>
                </a:lnTo>
                <a:lnTo>
                  <a:pt x="982" y="1845"/>
                </a:lnTo>
                <a:lnTo>
                  <a:pt x="975" y="1848"/>
                </a:lnTo>
                <a:lnTo>
                  <a:pt x="966" y="1849"/>
                </a:lnTo>
                <a:lnTo>
                  <a:pt x="958" y="1849"/>
                </a:lnTo>
                <a:lnTo>
                  <a:pt x="956" y="1849"/>
                </a:lnTo>
                <a:lnTo>
                  <a:pt x="953" y="1847"/>
                </a:lnTo>
                <a:lnTo>
                  <a:pt x="950" y="1843"/>
                </a:lnTo>
                <a:lnTo>
                  <a:pt x="946" y="1839"/>
                </a:lnTo>
                <a:lnTo>
                  <a:pt x="942" y="1837"/>
                </a:lnTo>
                <a:lnTo>
                  <a:pt x="936" y="1835"/>
                </a:lnTo>
                <a:lnTo>
                  <a:pt x="934" y="1834"/>
                </a:lnTo>
                <a:lnTo>
                  <a:pt x="933" y="1832"/>
                </a:lnTo>
                <a:lnTo>
                  <a:pt x="933" y="1829"/>
                </a:lnTo>
                <a:lnTo>
                  <a:pt x="932" y="1827"/>
                </a:lnTo>
                <a:lnTo>
                  <a:pt x="918" y="1823"/>
                </a:lnTo>
                <a:lnTo>
                  <a:pt x="903" y="1817"/>
                </a:lnTo>
                <a:lnTo>
                  <a:pt x="887" y="1817"/>
                </a:lnTo>
                <a:lnTo>
                  <a:pt x="872" y="1817"/>
                </a:lnTo>
                <a:lnTo>
                  <a:pt x="861" y="1818"/>
                </a:lnTo>
                <a:lnTo>
                  <a:pt x="850" y="1820"/>
                </a:lnTo>
                <a:lnTo>
                  <a:pt x="845" y="1821"/>
                </a:lnTo>
                <a:lnTo>
                  <a:pt x="841" y="1821"/>
                </a:lnTo>
                <a:lnTo>
                  <a:pt x="837" y="1820"/>
                </a:lnTo>
                <a:lnTo>
                  <a:pt x="834" y="1818"/>
                </a:lnTo>
                <a:lnTo>
                  <a:pt x="830" y="1816"/>
                </a:lnTo>
                <a:lnTo>
                  <a:pt x="828" y="1814"/>
                </a:lnTo>
                <a:lnTo>
                  <a:pt x="825" y="1814"/>
                </a:lnTo>
                <a:lnTo>
                  <a:pt x="822" y="1814"/>
                </a:lnTo>
                <a:lnTo>
                  <a:pt x="818" y="1816"/>
                </a:lnTo>
                <a:lnTo>
                  <a:pt x="813" y="1816"/>
                </a:lnTo>
                <a:lnTo>
                  <a:pt x="804" y="1814"/>
                </a:lnTo>
                <a:lnTo>
                  <a:pt x="794" y="1816"/>
                </a:lnTo>
                <a:lnTo>
                  <a:pt x="784" y="1818"/>
                </a:lnTo>
                <a:lnTo>
                  <a:pt x="775" y="1820"/>
                </a:lnTo>
                <a:lnTo>
                  <a:pt x="766" y="1821"/>
                </a:lnTo>
                <a:lnTo>
                  <a:pt x="758" y="1819"/>
                </a:lnTo>
                <a:lnTo>
                  <a:pt x="748" y="1819"/>
                </a:lnTo>
                <a:lnTo>
                  <a:pt x="737" y="1819"/>
                </a:lnTo>
                <a:lnTo>
                  <a:pt x="727" y="1819"/>
                </a:lnTo>
                <a:lnTo>
                  <a:pt x="716" y="1820"/>
                </a:lnTo>
                <a:lnTo>
                  <a:pt x="714" y="1821"/>
                </a:lnTo>
                <a:lnTo>
                  <a:pt x="712" y="1822"/>
                </a:lnTo>
                <a:lnTo>
                  <a:pt x="712" y="1824"/>
                </a:lnTo>
                <a:lnTo>
                  <a:pt x="712" y="1827"/>
                </a:lnTo>
                <a:lnTo>
                  <a:pt x="712" y="1829"/>
                </a:lnTo>
                <a:lnTo>
                  <a:pt x="713" y="1833"/>
                </a:lnTo>
                <a:lnTo>
                  <a:pt x="714" y="1835"/>
                </a:lnTo>
                <a:lnTo>
                  <a:pt x="717" y="1836"/>
                </a:lnTo>
                <a:lnTo>
                  <a:pt x="725" y="1837"/>
                </a:lnTo>
                <a:lnTo>
                  <a:pt x="734" y="1837"/>
                </a:lnTo>
                <a:lnTo>
                  <a:pt x="743" y="1837"/>
                </a:lnTo>
                <a:lnTo>
                  <a:pt x="751" y="1838"/>
                </a:lnTo>
                <a:lnTo>
                  <a:pt x="753" y="1838"/>
                </a:lnTo>
                <a:lnTo>
                  <a:pt x="754" y="1837"/>
                </a:lnTo>
                <a:lnTo>
                  <a:pt x="759" y="1835"/>
                </a:lnTo>
                <a:lnTo>
                  <a:pt x="764" y="1834"/>
                </a:lnTo>
                <a:lnTo>
                  <a:pt x="768" y="1833"/>
                </a:lnTo>
                <a:lnTo>
                  <a:pt x="773" y="1833"/>
                </a:lnTo>
                <a:lnTo>
                  <a:pt x="781" y="1836"/>
                </a:lnTo>
                <a:lnTo>
                  <a:pt x="790" y="1839"/>
                </a:lnTo>
                <a:lnTo>
                  <a:pt x="791" y="1839"/>
                </a:lnTo>
                <a:lnTo>
                  <a:pt x="792" y="1839"/>
                </a:lnTo>
                <a:lnTo>
                  <a:pt x="804" y="1840"/>
                </a:lnTo>
                <a:lnTo>
                  <a:pt x="815" y="1841"/>
                </a:lnTo>
                <a:lnTo>
                  <a:pt x="828" y="1843"/>
                </a:lnTo>
                <a:lnTo>
                  <a:pt x="840" y="1842"/>
                </a:lnTo>
                <a:lnTo>
                  <a:pt x="849" y="1842"/>
                </a:lnTo>
                <a:lnTo>
                  <a:pt x="857" y="1843"/>
                </a:lnTo>
                <a:lnTo>
                  <a:pt x="866" y="1847"/>
                </a:lnTo>
                <a:lnTo>
                  <a:pt x="874" y="1850"/>
                </a:lnTo>
                <a:lnTo>
                  <a:pt x="865" y="1854"/>
                </a:lnTo>
                <a:lnTo>
                  <a:pt x="855" y="1855"/>
                </a:lnTo>
                <a:lnTo>
                  <a:pt x="845" y="1856"/>
                </a:lnTo>
                <a:lnTo>
                  <a:pt x="836" y="1857"/>
                </a:lnTo>
                <a:lnTo>
                  <a:pt x="815" y="1859"/>
                </a:lnTo>
                <a:lnTo>
                  <a:pt x="796" y="1860"/>
                </a:lnTo>
                <a:lnTo>
                  <a:pt x="776" y="1862"/>
                </a:lnTo>
                <a:lnTo>
                  <a:pt x="755" y="1862"/>
                </a:lnTo>
                <a:lnTo>
                  <a:pt x="736" y="1863"/>
                </a:lnTo>
                <a:lnTo>
                  <a:pt x="716" y="1864"/>
                </a:lnTo>
                <a:lnTo>
                  <a:pt x="697" y="1866"/>
                </a:lnTo>
                <a:lnTo>
                  <a:pt x="677" y="1865"/>
                </a:lnTo>
                <a:lnTo>
                  <a:pt x="659" y="1864"/>
                </a:lnTo>
                <a:lnTo>
                  <a:pt x="641" y="1863"/>
                </a:lnTo>
                <a:lnTo>
                  <a:pt x="624" y="1860"/>
                </a:lnTo>
                <a:lnTo>
                  <a:pt x="606" y="1856"/>
                </a:lnTo>
                <a:lnTo>
                  <a:pt x="599" y="1853"/>
                </a:lnTo>
                <a:lnTo>
                  <a:pt x="592" y="1849"/>
                </a:lnTo>
                <a:lnTo>
                  <a:pt x="589" y="1845"/>
                </a:lnTo>
                <a:lnTo>
                  <a:pt x="588" y="1842"/>
                </a:lnTo>
                <a:lnTo>
                  <a:pt x="589" y="1840"/>
                </a:lnTo>
                <a:lnTo>
                  <a:pt x="594" y="1837"/>
                </a:lnTo>
                <a:lnTo>
                  <a:pt x="602" y="1835"/>
                </a:lnTo>
                <a:lnTo>
                  <a:pt x="611" y="1834"/>
                </a:lnTo>
                <a:lnTo>
                  <a:pt x="621" y="1835"/>
                </a:lnTo>
                <a:lnTo>
                  <a:pt x="629" y="1837"/>
                </a:lnTo>
                <a:lnTo>
                  <a:pt x="634" y="1838"/>
                </a:lnTo>
                <a:lnTo>
                  <a:pt x="639" y="1837"/>
                </a:lnTo>
                <a:lnTo>
                  <a:pt x="644" y="1836"/>
                </a:lnTo>
                <a:lnTo>
                  <a:pt x="648" y="1834"/>
                </a:lnTo>
                <a:lnTo>
                  <a:pt x="649" y="1833"/>
                </a:lnTo>
                <a:lnTo>
                  <a:pt x="651" y="1830"/>
                </a:lnTo>
                <a:lnTo>
                  <a:pt x="652" y="1828"/>
                </a:lnTo>
                <a:lnTo>
                  <a:pt x="652" y="1826"/>
                </a:lnTo>
                <a:lnTo>
                  <a:pt x="651" y="1824"/>
                </a:lnTo>
                <a:lnTo>
                  <a:pt x="651" y="1823"/>
                </a:lnTo>
                <a:lnTo>
                  <a:pt x="648" y="1821"/>
                </a:lnTo>
                <a:lnTo>
                  <a:pt x="647" y="1820"/>
                </a:lnTo>
                <a:lnTo>
                  <a:pt x="639" y="1819"/>
                </a:lnTo>
                <a:lnTo>
                  <a:pt x="631" y="1817"/>
                </a:lnTo>
                <a:lnTo>
                  <a:pt x="627" y="1817"/>
                </a:lnTo>
                <a:lnTo>
                  <a:pt x="623" y="1817"/>
                </a:lnTo>
                <a:lnTo>
                  <a:pt x="619" y="1817"/>
                </a:lnTo>
                <a:lnTo>
                  <a:pt x="614" y="1819"/>
                </a:lnTo>
                <a:lnTo>
                  <a:pt x="609" y="1821"/>
                </a:lnTo>
                <a:lnTo>
                  <a:pt x="603" y="1822"/>
                </a:lnTo>
                <a:lnTo>
                  <a:pt x="600" y="1822"/>
                </a:lnTo>
                <a:lnTo>
                  <a:pt x="597" y="1821"/>
                </a:lnTo>
                <a:lnTo>
                  <a:pt x="593" y="1819"/>
                </a:lnTo>
                <a:lnTo>
                  <a:pt x="589" y="1817"/>
                </a:lnTo>
                <a:lnTo>
                  <a:pt x="583" y="1811"/>
                </a:lnTo>
                <a:lnTo>
                  <a:pt x="577" y="1808"/>
                </a:lnTo>
                <a:lnTo>
                  <a:pt x="568" y="1806"/>
                </a:lnTo>
                <a:lnTo>
                  <a:pt x="560" y="1804"/>
                </a:lnTo>
                <a:lnTo>
                  <a:pt x="557" y="1804"/>
                </a:lnTo>
                <a:lnTo>
                  <a:pt x="555" y="1803"/>
                </a:lnTo>
                <a:lnTo>
                  <a:pt x="554" y="1801"/>
                </a:lnTo>
                <a:lnTo>
                  <a:pt x="554" y="1798"/>
                </a:lnTo>
                <a:lnTo>
                  <a:pt x="553" y="1796"/>
                </a:lnTo>
                <a:lnTo>
                  <a:pt x="552" y="1794"/>
                </a:lnTo>
                <a:lnTo>
                  <a:pt x="551" y="1793"/>
                </a:lnTo>
                <a:lnTo>
                  <a:pt x="549" y="1791"/>
                </a:lnTo>
                <a:lnTo>
                  <a:pt x="547" y="1790"/>
                </a:lnTo>
                <a:lnTo>
                  <a:pt x="546" y="1789"/>
                </a:lnTo>
                <a:lnTo>
                  <a:pt x="546" y="1787"/>
                </a:lnTo>
                <a:lnTo>
                  <a:pt x="545" y="1786"/>
                </a:lnTo>
                <a:lnTo>
                  <a:pt x="546" y="1781"/>
                </a:lnTo>
                <a:lnTo>
                  <a:pt x="549" y="1779"/>
                </a:lnTo>
                <a:lnTo>
                  <a:pt x="555" y="1776"/>
                </a:lnTo>
                <a:lnTo>
                  <a:pt x="562" y="1774"/>
                </a:lnTo>
                <a:lnTo>
                  <a:pt x="568" y="1773"/>
                </a:lnTo>
                <a:lnTo>
                  <a:pt x="574" y="1772"/>
                </a:lnTo>
                <a:lnTo>
                  <a:pt x="581" y="1772"/>
                </a:lnTo>
                <a:lnTo>
                  <a:pt x="587" y="1772"/>
                </a:lnTo>
                <a:lnTo>
                  <a:pt x="594" y="1774"/>
                </a:lnTo>
                <a:lnTo>
                  <a:pt x="600" y="1776"/>
                </a:lnTo>
                <a:lnTo>
                  <a:pt x="607" y="1779"/>
                </a:lnTo>
                <a:lnTo>
                  <a:pt x="613" y="1780"/>
                </a:lnTo>
                <a:lnTo>
                  <a:pt x="619" y="1781"/>
                </a:lnTo>
                <a:lnTo>
                  <a:pt x="626" y="1781"/>
                </a:lnTo>
                <a:lnTo>
                  <a:pt x="639" y="1781"/>
                </a:lnTo>
                <a:lnTo>
                  <a:pt x="652" y="1779"/>
                </a:lnTo>
                <a:lnTo>
                  <a:pt x="655" y="1778"/>
                </a:lnTo>
                <a:lnTo>
                  <a:pt x="657" y="1776"/>
                </a:lnTo>
                <a:lnTo>
                  <a:pt x="658" y="1773"/>
                </a:lnTo>
                <a:lnTo>
                  <a:pt x="659" y="1771"/>
                </a:lnTo>
                <a:lnTo>
                  <a:pt x="664" y="1763"/>
                </a:lnTo>
                <a:lnTo>
                  <a:pt x="670" y="1757"/>
                </a:lnTo>
                <a:lnTo>
                  <a:pt x="675" y="1751"/>
                </a:lnTo>
                <a:lnTo>
                  <a:pt x="683" y="1747"/>
                </a:lnTo>
                <a:lnTo>
                  <a:pt x="689" y="1745"/>
                </a:lnTo>
                <a:lnTo>
                  <a:pt x="695" y="1746"/>
                </a:lnTo>
                <a:lnTo>
                  <a:pt x="714" y="1747"/>
                </a:lnTo>
                <a:lnTo>
                  <a:pt x="732" y="1747"/>
                </a:lnTo>
                <a:lnTo>
                  <a:pt x="750" y="1747"/>
                </a:lnTo>
                <a:lnTo>
                  <a:pt x="768" y="1747"/>
                </a:lnTo>
                <a:lnTo>
                  <a:pt x="794" y="1748"/>
                </a:lnTo>
                <a:lnTo>
                  <a:pt x="819" y="1749"/>
                </a:lnTo>
                <a:lnTo>
                  <a:pt x="843" y="1750"/>
                </a:lnTo>
                <a:lnTo>
                  <a:pt x="868" y="1751"/>
                </a:lnTo>
                <a:lnTo>
                  <a:pt x="880" y="1751"/>
                </a:lnTo>
                <a:lnTo>
                  <a:pt x="890" y="1751"/>
                </a:lnTo>
                <a:lnTo>
                  <a:pt x="902" y="1752"/>
                </a:lnTo>
                <a:lnTo>
                  <a:pt x="914" y="1752"/>
                </a:lnTo>
                <a:lnTo>
                  <a:pt x="930" y="1752"/>
                </a:lnTo>
                <a:lnTo>
                  <a:pt x="946" y="1752"/>
                </a:lnTo>
                <a:lnTo>
                  <a:pt x="961" y="1751"/>
                </a:lnTo>
                <a:lnTo>
                  <a:pt x="977" y="1752"/>
                </a:lnTo>
                <a:lnTo>
                  <a:pt x="998" y="1755"/>
                </a:lnTo>
                <a:lnTo>
                  <a:pt x="1019" y="1756"/>
                </a:lnTo>
                <a:lnTo>
                  <a:pt x="1039" y="1757"/>
                </a:lnTo>
                <a:lnTo>
                  <a:pt x="1061" y="1757"/>
                </a:lnTo>
                <a:lnTo>
                  <a:pt x="1080" y="1758"/>
                </a:lnTo>
                <a:lnTo>
                  <a:pt x="1100" y="1759"/>
                </a:lnTo>
                <a:lnTo>
                  <a:pt x="1121" y="1759"/>
                </a:lnTo>
                <a:lnTo>
                  <a:pt x="1141" y="1759"/>
                </a:lnTo>
                <a:lnTo>
                  <a:pt x="1155" y="1759"/>
                </a:lnTo>
                <a:lnTo>
                  <a:pt x="1170" y="1760"/>
                </a:lnTo>
                <a:lnTo>
                  <a:pt x="1184" y="1760"/>
                </a:lnTo>
                <a:lnTo>
                  <a:pt x="1198" y="1760"/>
                </a:lnTo>
                <a:lnTo>
                  <a:pt x="1216" y="1760"/>
                </a:lnTo>
                <a:lnTo>
                  <a:pt x="1235" y="1758"/>
                </a:lnTo>
                <a:lnTo>
                  <a:pt x="1254" y="1757"/>
                </a:lnTo>
                <a:lnTo>
                  <a:pt x="1274" y="1757"/>
                </a:lnTo>
                <a:lnTo>
                  <a:pt x="1284" y="1758"/>
                </a:lnTo>
                <a:lnTo>
                  <a:pt x="1296" y="1758"/>
                </a:lnTo>
                <a:lnTo>
                  <a:pt x="1308" y="1759"/>
                </a:lnTo>
                <a:lnTo>
                  <a:pt x="1320" y="1760"/>
                </a:lnTo>
                <a:lnTo>
                  <a:pt x="1323" y="1760"/>
                </a:lnTo>
                <a:lnTo>
                  <a:pt x="1326" y="1761"/>
                </a:lnTo>
                <a:lnTo>
                  <a:pt x="1329" y="1762"/>
                </a:lnTo>
                <a:lnTo>
                  <a:pt x="1332" y="1764"/>
                </a:lnTo>
                <a:lnTo>
                  <a:pt x="1336" y="1766"/>
                </a:lnTo>
                <a:lnTo>
                  <a:pt x="1336" y="1770"/>
                </a:lnTo>
                <a:close/>
                <a:moveTo>
                  <a:pt x="1281" y="1823"/>
                </a:moveTo>
                <a:lnTo>
                  <a:pt x="1280" y="1826"/>
                </a:lnTo>
                <a:lnTo>
                  <a:pt x="1277" y="1827"/>
                </a:lnTo>
                <a:lnTo>
                  <a:pt x="1275" y="1827"/>
                </a:lnTo>
                <a:lnTo>
                  <a:pt x="1271" y="1826"/>
                </a:lnTo>
                <a:lnTo>
                  <a:pt x="1269" y="1826"/>
                </a:lnTo>
                <a:lnTo>
                  <a:pt x="1266" y="1826"/>
                </a:lnTo>
                <a:lnTo>
                  <a:pt x="1264" y="1827"/>
                </a:lnTo>
                <a:lnTo>
                  <a:pt x="1263" y="1828"/>
                </a:lnTo>
                <a:lnTo>
                  <a:pt x="1260" y="1833"/>
                </a:lnTo>
                <a:lnTo>
                  <a:pt x="1256" y="1837"/>
                </a:lnTo>
                <a:lnTo>
                  <a:pt x="1254" y="1840"/>
                </a:lnTo>
                <a:lnTo>
                  <a:pt x="1251" y="1842"/>
                </a:lnTo>
                <a:lnTo>
                  <a:pt x="1248" y="1843"/>
                </a:lnTo>
                <a:lnTo>
                  <a:pt x="1245" y="1843"/>
                </a:lnTo>
                <a:lnTo>
                  <a:pt x="1240" y="1842"/>
                </a:lnTo>
                <a:lnTo>
                  <a:pt x="1237" y="1841"/>
                </a:lnTo>
                <a:lnTo>
                  <a:pt x="1235" y="1840"/>
                </a:lnTo>
                <a:lnTo>
                  <a:pt x="1234" y="1839"/>
                </a:lnTo>
                <a:lnTo>
                  <a:pt x="1234" y="1837"/>
                </a:lnTo>
                <a:lnTo>
                  <a:pt x="1233" y="1835"/>
                </a:lnTo>
                <a:lnTo>
                  <a:pt x="1234" y="1830"/>
                </a:lnTo>
                <a:lnTo>
                  <a:pt x="1236" y="1826"/>
                </a:lnTo>
                <a:lnTo>
                  <a:pt x="1239" y="1824"/>
                </a:lnTo>
                <a:lnTo>
                  <a:pt x="1243" y="1823"/>
                </a:lnTo>
                <a:lnTo>
                  <a:pt x="1248" y="1822"/>
                </a:lnTo>
                <a:lnTo>
                  <a:pt x="1251" y="1820"/>
                </a:lnTo>
                <a:lnTo>
                  <a:pt x="1253" y="1817"/>
                </a:lnTo>
                <a:lnTo>
                  <a:pt x="1255" y="1813"/>
                </a:lnTo>
                <a:lnTo>
                  <a:pt x="1256" y="1810"/>
                </a:lnTo>
                <a:lnTo>
                  <a:pt x="1259" y="1808"/>
                </a:lnTo>
                <a:lnTo>
                  <a:pt x="1261" y="1807"/>
                </a:lnTo>
                <a:lnTo>
                  <a:pt x="1263" y="1806"/>
                </a:lnTo>
                <a:lnTo>
                  <a:pt x="1268" y="1804"/>
                </a:lnTo>
                <a:lnTo>
                  <a:pt x="1274" y="1802"/>
                </a:lnTo>
                <a:lnTo>
                  <a:pt x="1274" y="1802"/>
                </a:lnTo>
                <a:lnTo>
                  <a:pt x="1275" y="1802"/>
                </a:lnTo>
                <a:lnTo>
                  <a:pt x="1277" y="1805"/>
                </a:lnTo>
                <a:lnTo>
                  <a:pt x="1279" y="1811"/>
                </a:lnTo>
                <a:lnTo>
                  <a:pt x="1281" y="1819"/>
                </a:lnTo>
                <a:lnTo>
                  <a:pt x="1281" y="1823"/>
                </a:lnTo>
                <a:close/>
                <a:moveTo>
                  <a:pt x="1202" y="1542"/>
                </a:moveTo>
                <a:lnTo>
                  <a:pt x="1205" y="1543"/>
                </a:lnTo>
                <a:lnTo>
                  <a:pt x="1207" y="1546"/>
                </a:lnTo>
                <a:lnTo>
                  <a:pt x="1207" y="1549"/>
                </a:lnTo>
                <a:lnTo>
                  <a:pt x="1208" y="1552"/>
                </a:lnTo>
                <a:lnTo>
                  <a:pt x="1208" y="1556"/>
                </a:lnTo>
                <a:lnTo>
                  <a:pt x="1207" y="1559"/>
                </a:lnTo>
                <a:lnTo>
                  <a:pt x="1205" y="1561"/>
                </a:lnTo>
                <a:lnTo>
                  <a:pt x="1202" y="1561"/>
                </a:lnTo>
                <a:lnTo>
                  <a:pt x="1199" y="1561"/>
                </a:lnTo>
                <a:lnTo>
                  <a:pt x="1198" y="1559"/>
                </a:lnTo>
                <a:lnTo>
                  <a:pt x="1197" y="1556"/>
                </a:lnTo>
                <a:lnTo>
                  <a:pt x="1197" y="1552"/>
                </a:lnTo>
                <a:lnTo>
                  <a:pt x="1197" y="1549"/>
                </a:lnTo>
                <a:lnTo>
                  <a:pt x="1198" y="1546"/>
                </a:lnTo>
                <a:lnTo>
                  <a:pt x="1199" y="1544"/>
                </a:lnTo>
                <a:lnTo>
                  <a:pt x="1200" y="1543"/>
                </a:lnTo>
                <a:lnTo>
                  <a:pt x="1201" y="1542"/>
                </a:lnTo>
                <a:lnTo>
                  <a:pt x="1202" y="1542"/>
                </a:lnTo>
                <a:close/>
                <a:moveTo>
                  <a:pt x="1281" y="1463"/>
                </a:moveTo>
                <a:lnTo>
                  <a:pt x="1285" y="1463"/>
                </a:lnTo>
                <a:lnTo>
                  <a:pt x="1289" y="1467"/>
                </a:lnTo>
                <a:lnTo>
                  <a:pt x="1291" y="1470"/>
                </a:lnTo>
                <a:lnTo>
                  <a:pt x="1292" y="1474"/>
                </a:lnTo>
                <a:lnTo>
                  <a:pt x="1292" y="1476"/>
                </a:lnTo>
                <a:lnTo>
                  <a:pt x="1291" y="1478"/>
                </a:lnTo>
                <a:lnTo>
                  <a:pt x="1290" y="1480"/>
                </a:lnTo>
                <a:lnTo>
                  <a:pt x="1289" y="1481"/>
                </a:lnTo>
                <a:lnTo>
                  <a:pt x="1285" y="1481"/>
                </a:lnTo>
                <a:lnTo>
                  <a:pt x="1282" y="1482"/>
                </a:lnTo>
                <a:lnTo>
                  <a:pt x="1278" y="1482"/>
                </a:lnTo>
                <a:lnTo>
                  <a:pt x="1275" y="1480"/>
                </a:lnTo>
                <a:lnTo>
                  <a:pt x="1274" y="1476"/>
                </a:lnTo>
                <a:lnTo>
                  <a:pt x="1274" y="1473"/>
                </a:lnTo>
                <a:lnTo>
                  <a:pt x="1274" y="1470"/>
                </a:lnTo>
                <a:lnTo>
                  <a:pt x="1275" y="1467"/>
                </a:lnTo>
                <a:lnTo>
                  <a:pt x="1277" y="1463"/>
                </a:lnTo>
                <a:lnTo>
                  <a:pt x="1281" y="1463"/>
                </a:lnTo>
                <a:close/>
                <a:moveTo>
                  <a:pt x="1313" y="1438"/>
                </a:moveTo>
                <a:lnTo>
                  <a:pt x="1313" y="1438"/>
                </a:lnTo>
                <a:lnTo>
                  <a:pt x="1313" y="1436"/>
                </a:lnTo>
                <a:lnTo>
                  <a:pt x="1312" y="1434"/>
                </a:lnTo>
                <a:lnTo>
                  <a:pt x="1313" y="1436"/>
                </a:lnTo>
                <a:lnTo>
                  <a:pt x="1313" y="1438"/>
                </a:lnTo>
                <a:close/>
                <a:moveTo>
                  <a:pt x="1723" y="1454"/>
                </a:moveTo>
                <a:lnTo>
                  <a:pt x="1722" y="1455"/>
                </a:lnTo>
                <a:lnTo>
                  <a:pt x="1722" y="1454"/>
                </a:lnTo>
                <a:lnTo>
                  <a:pt x="1722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lnTo>
                  <a:pt x="1723" y="1454"/>
                </a:lnTo>
                <a:close/>
                <a:moveTo>
                  <a:pt x="1751" y="1390"/>
                </a:moveTo>
                <a:lnTo>
                  <a:pt x="1749" y="1390"/>
                </a:lnTo>
                <a:lnTo>
                  <a:pt x="1749" y="1388"/>
                </a:lnTo>
                <a:lnTo>
                  <a:pt x="1750" y="1386"/>
                </a:lnTo>
                <a:lnTo>
                  <a:pt x="1751" y="1386"/>
                </a:lnTo>
                <a:lnTo>
                  <a:pt x="1752" y="1386"/>
                </a:lnTo>
                <a:lnTo>
                  <a:pt x="1754" y="1388"/>
                </a:lnTo>
                <a:lnTo>
                  <a:pt x="1752" y="1389"/>
                </a:lnTo>
                <a:lnTo>
                  <a:pt x="1751" y="1390"/>
                </a:lnTo>
                <a:close/>
                <a:moveTo>
                  <a:pt x="1883" y="1310"/>
                </a:moveTo>
                <a:lnTo>
                  <a:pt x="1884" y="1306"/>
                </a:lnTo>
                <a:lnTo>
                  <a:pt x="1883" y="1303"/>
                </a:lnTo>
                <a:lnTo>
                  <a:pt x="1883" y="1297"/>
                </a:lnTo>
                <a:lnTo>
                  <a:pt x="1884" y="1292"/>
                </a:lnTo>
                <a:lnTo>
                  <a:pt x="1887" y="1289"/>
                </a:lnTo>
                <a:lnTo>
                  <a:pt x="1892" y="1287"/>
                </a:lnTo>
                <a:lnTo>
                  <a:pt x="1895" y="1288"/>
                </a:lnTo>
                <a:lnTo>
                  <a:pt x="1896" y="1288"/>
                </a:lnTo>
                <a:lnTo>
                  <a:pt x="1897" y="1289"/>
                </a:lnTo>
                <a:lnTo>
                  <a:pt x="1897" y="1291"/>
                </a:lnTo>
                <a:lnTo>
                  <a:pt x="1897" y="1297"/>
                </a:lnTo>
                <a:lnTo>
                  <a:pt x="1897" y="1300"/>
                </a:lnTo>
                <a:lnTo>
                  <a:pt x="1897" y="1303"/>
                </a:lnTo>
                <a:lnTo>
                  <a:pt x="1896" y="1305"/>
                </a:lnTo>
                <a:lnTo>
                  <a:pt x="1894" y="1307"/>
                </a:lnTo>
                <a:lnTo>
                  <a:pt x="1891" y="1308"/>
                </a:lnTo>
                <a:lnTo>
                  <a:pt x="1887" y="1309"/>
                </a:lnTo>
                <a:lnTo>
                  <a:pt x="1883" y="1310"/>
                </a:lnTo>
                <a:close/>
                <a:moveTo>
                  <a:pt x="1877" y="1307"/>
                </a:moveTo>
                <a:lnTo>
                  <a:pt x="1877" y="1309"/>
                </a:lnTo>
                <a:lnTo>
                  <a:pt x="1876" y="1312"/>
                </a:lnTo>
                <a:lnTo>
                  <a:pt x="1874" y="1313"/>
                </a:lnTo>
                <a:lnTo>
                  <a:pt x="1873" y="1314"/>
                </a:lnTo>
                <a:lnTo>
                  <a:pt x="1869" y="1315"/>
                </a:lnTo>
                <a:lnTo>
                  <a:pt x="1866" y="1317"/>
                </a:lnTo>
                <a:lnTo>
                  <a:pt x="1865" y="1312"/>
                </a:lnTo>
                <a:lnTo>
                  <a:pt x="1864" y="1306"/>
                </a:lnTo>
                <a:lnTo>
                  <a:pt x="1864" y="1301"/>
                </a:lnTo>
                <a:lnTo>
                  <a:pt x="1864" y="1296"/>
                </a:lnTo>
                <a:lnTo>
                  <a:pt x="1869" y="1293"/>
                </a:lnTo>
                <a:lnTo>
                  <a:pt x="1875" y="1292"/>
                </a:lnTo>
                <a:lnTo>
                  <a:pt x="1877" y="1296"/>
                </a:lnTo>
                <a:lnTo>
                  <a:pt x="1879" y="1300"/>
                </a:lnTo>
                <a:lnTo>
                  <a:pt x="1877" y="1304"/>
                </a:lnTo>
                <a:lnTo>
                  <a:pt x="1877" y="1307"/>
                </a:lnTo>
                <a:close/>
                <a:moveTo>
                  <a:pt x="1860" y="1308"/>
                </a:moveTo>
                <a:lnTo>
                  <a:pt x="1860" y="1309"/>
                </a:lnTo>
                <a:lnTo>
                  <a:pt x="1860" y="1310"/>
                </a:lnTo>
                <a:lnTo>
                  <a:pt x="1859" y="1312"/>
                </a:lnTo>
                <a:lnTo>
                  <a:pt x="1858" y="1312"/>
                </a:lnTo>
                <a:lnTo>
                  <a:pt x="1856" y="1310"/>
                </a:lnTo>
                <a:lnTo>
                  <a:pt x="1855" y="1308"/>
                </a:lnTo>
                <a:lnTo>
                  <a:pt x="1856" y="1303"/>
                </a:lnTo>
                <a:lnTo>
                  <a:pt x="1858" y="1298"/>
                </a:lnTo>
                <a:lnTo>
                  <a:pt x="1860" y="1303"/>
                </a:lnTo>
                <a:lnTo>
                  <a:pt x="1860" y="1308"/>
                </a:lnTo>
                <a:close/>
                <a:moveTo>
                  <a:pt x="1854" y="1313"/>
                </a:moveTo>
                <a:lnTo>
                  <a:pt x="1852" y="1316"/>
                </a:lnTo>
                <a:lnTo>
                  <a:pt x="1850" y="1317"/>
                </a:lnTo>
                <a:lnTo>
                  <a:pt x="1846" y="1318"/>
                </a:lnTo>
                <a:lnTo>
                  <a:pt x="1843" y="1318"/>
                </a:lnTo>
                <a:lnTo>
                  <a:pt x="1841" y="1317"/>
                </a:lnTo>
                <a:lnTo>
                  <a:pt x="1840" y="1315"/>
                </a:lnTo>
                <a:lnTo>
                  <a:pt x="1840" y="1313"/>
                </a:lnTo>
                <a:lnTo>
                  <a:pt x="1840" y="1310"/>
                </a:lnTo>
                <a:lnTo>
                  <a:pt x="1840" y="1307"/>
                </a:lnTo>
                <a:lnTo>
                  <a:pt x="1841" y="1304"/>
                </a:lnTo>
                <a:lnTo>
                  <a:pt x="1842" y="1302"/>
                </a:lnTo>
                <a:lnTo>
                  <a:pt x="1845" y="1300"/>
                </a:lnTo>
                <a:lnTo>
                  <a:pt x="1849" y="1299"/>
                </a:lnTo>
                <a:lnTo>
                  <a:pt x="1853" y="1298"/>
                </a:lnTo>
                <a:lnTo>
                  <a:pt x="1854" y="1305"/>
                </a:lnTo>
                <a:lnTo>
                  <a:pt x="1854" y="1313"/>
                </a:lnTo>
                <a:close/>
                <a:moveTo>
                  <a:pt x="1835" y="1300"/>
                </a:moveTo>
                <a:lnTo>
                  <a:pt x="1835" y="1301"/>
                </a:lnTo>
                <a:lnTo>
                  <a:pt x="1836" y="1301"/>
                </a:lnTo>
                <a:lnTo>
                  <a:pt x="1835" y="1301"/>
                </a:lnTo>
                <a:lnTo>
                  <a:pt x="1835" y="1300"/>
                </a:lnTo>
                <a:close/>
                <a:moveTo>
                  <a:pt x="1830" y="1318"/>
                </a:moveTo>
                <a:lnTo>
                  <a:pt x="1828" y="1320"/>
                </a:lnTo>
                <a:lnTo>
                  <a:pt x="1826" y="1321"/>
                </a:lnTo>
                <a:lnTo>
                  <a:pt x="1824" y="1321"/>
                </a:lnTo>
                <a:lnTo>
                  <a:pt x="1823" y="1320"/>
                </a:lnTo>
                <a:lnTo>
                  <a:pt x="1823" y="1319"/>
                </a:lnTo>
                <a:lnTo>
                  <a:pt x="1823" y="1318"/>
                </a:lnTo>
                <a:lnTo>
                  <a:pt x="1820" y="1314"/>
                </a:lnTo>
                <a:lnTo>
                  <a:pt x="1820" y="1309"/>
                </a:lnTo>
                <a:lnTo>
                  <a:pt x="1821" y="1306"/>
                </a:lnTo>
                <a:lnTo>
                  <a:pt x="1823" y="1305"/>
                </a:lnTo>
                <a:lnTo>
                  <a:pt x="1826" y="1305"/>
                </a:lnTo>
                <a:lnTo>
                  <a:pt x="1828" y="1305"/>
                </a:lnTo>
                <a:lnTo>
                  <a:pt x="1828" y="1305"/>
                </a:lnTo>
                <a:lnTo>
                  <a:pt x="1831" y="1308"/>
                </a:lnTo>
                <a:lnTo>
                  <a:pt x="1831" y="1312"/>
                </a:lnTo>
                <a:lnTo>
                  <a:pt x="1831" y="1315"/>
                </a:lnTo>
                <a:lnTo>
                  <a:pt x="1830" y="1318"/>
                </a:lnTo>
                <a:close/>
                <a:moveTo>
                  <a:pt x="1795" y="1333"/>
                </a:moveTo>
                <a:lnTo>
                  <a:pt x="1794" y="1330"/>
                </a:lnTo>
                <a:lnTo>
                  <a:pt x="1793" y="1328"/>
                </a:lnTo>
                <a:lnTo>
                  <a:pt x="1794" y="1324"/>
                </a:lnTo>
                <a:lnTo>
                  <a:pt x="1795" y="1321"/>
                </a:lnTo>
                <a:lnTo>
                  <a:pt x="1796" y="1321"/>
                </a:lnTo>
                <a:lnTo>
                  <a:pt x="1797" y="1322"/>
                </a:lnTo>
                <a:lnTo>
                  <a:pt x="1799" y="1324"/>
                </a:lnTo>
                <a:lnTo>
                  <a:pt x="1799" y="1325"/>
                </a:lnTo>
                <a:lnTo>
                  <a:pt x="1799" y="1328"/>
                </a:lnTo>
                <a:lnTo>
                  <a:pt x="1798" y="1330"/>
                </a:lnTo>
                <a:lnTo>
                  <a:pt x="1795" y="1333"/>
                </a:lnTo>
                <a:close/>
                <a:moveTo>
                  <a:pt x="1780" y="1331"/>
                </a:moveTo>
                <a:lnTo>
                  <a:pt x="1780" y="1333"/>
                </a:lnTo>
                <a:lnTo>
                  <a:pt x="1779" y="1336"/>
                </a:lnTo>
                <a:lnTo>
                  <a:pt x="1778" y="1338"/>
                </a:lnTo>
                <a:lnTo>
                  <a:pt x="1775" y="1339"/>
                </a:lnTo>
                <a:lnTo>
                  <a:pt x="1773" y="1339"/>
                </a:lnTo>
                <a:lnTo>
                  <a:pt x="1770" y="1338"/>
                </a:lnTo>
                <a:lnTo>
                  <a:pt x="1770" y="1336"/>
                </a:lnTo>
                <a:lnTo>
                  <a:pt x="1770" y="1334"/>
                </a:lnTo>
                <a:lnTo>
                  <a:pt x="1769" y="1327"/>
                </a:lnTo>
                <a:lnTo>
                  <a:pt x="1770" y="1319"/>
                </a:lnTo>
                <a:lnTo>
                  <a:pt x="1774" y="1320"/>
                </a:lnTo>
                <a:lnTo>
                  <a:pt x="1777" y="1320"/>
                </a:lnTo>
                <a:lnTo>
                  <a:pt x="1779" y="1321"/>
                </a:lnTo>
                <a:lnTo>
                  <a:pt x="1780" y="1322"/>
                </a:lnTo>
                <a:lnTo>
                  <a:pt x="1781" y="1323"/>
                </a:lnTo>
                <a:lnTo>
                  <a:pt x="1781" y="1324"/>
                </a:lnTo>
                <a:lnTo>
                  <a:pt x="1781" y="1328"/>
                </a:lnTo>
                <a:lnTo>
                  <a:pt x="1780" y="1331"/>
                </a:lnTo>
                <a:close/>
                <a:moveTo>
                  <a:pt x="1877" y="1129"/>
                </a:moveTo>
                <a:lnTo>
                  <a:pt x="1880" y="1126"/>
                </a:lnTo>
                <a:lnTo>
                  <a:pt x="1882" y="1124"/>
                </a:lnTo>
                <a:lnTo>
                  <a:pt x="1883" y="1123"/>
                </a:lnTo>
                <a:lnTo>
                  <a:pt x="1885" y="1123"/>
                </a:lnTo>
                <a:lnTo>
                  <a:pt x="1886" y="1124"/>
                </a:lnTo>
                <a:lnTo>
                  <a:pt x="1888" y="1126"/>
                </a:lnTo>
                <a:lnTo>
                  <a:pt x="1886" y="1129"/>
                </a:lnTo>
                <a:lnTo>
                  <a:pt x="1884" y="1130"/>
                </a:lnTo>
                <a:lnTo>
                  <a:pt x="1882" y="1131"/>
                </a:lnTo>
                <a:lnTo>
                  <a:pt x="1881" y="1131"/>
                </a:lnTo>
                <a:lnTo>
                  <a:pt x="1880" y="1131"/>
                </a:lnTo>
                <a:lnTo>
                  <a:pt x="1877" y="1129"/>
                </a:lnTo>
                <a:close/>
                <a:moveTo>
                  <a:pt x="1873" y="1129"/>
                </a:moveTo>
                <a:lnTo>
                  <a:pt x="1874" y="1132"/>
                </a:lnTo>
                <a:lnTo>
                  <a:pt x="1873" y="1134"/>
                </a:lnTo>
                <a:lnTo>
                  <a:pt x="1873" y="1136"/>
                </a:lnTo>
                <a:lnTo>
                  <a:pt x="1872" y="1137"/>
                </a:lnTo>
                <a:lnTo>
                  <a:pt x="1870" y="1138"/>
                </a:lnTo>
                <a:lnTo>
                  <a:pt x="1869" y="1138"/>
                </a:lnTo>
                <a:lnTo>
                  <a:pt x="1867" y="1137"/>
                </a:lnTo>
                <a:lnTo>
                  <a:pt x="1867" y="1136"/>
                </a:lnTo>
                <a:lnTo>
                  <a:pt x="1868" y="1134"/>
                </a:lnTo>
                <a:lnTo>
                  <a:pt x="1869" y="1133"/>
                </a:lnTo>
                <a:lnTo>
                  <a:pt x="1869" y="1131"/>
                </a:lnTo>
                <a:lnTo>
                  <a:pt x="1869" y="1129"/>
                </a:lnTo>
                <a:lnTo>
                  <a:pt x="1867" y="1130"/>
                </a:lnTo>
                <a:lnTo>
                  <a:pt x="1866" y="1130"/>
                </a:lnTo>
                <a:lnTo>
                  <a:pt x="1867" y="1130"/>
                </a:lnTo>
                <a:lnTo>
                  <a:pt x="1869" y="1129"/>
                </a:lnTo>
                <a:lnTo>
                  <a:pt x="1874" y="1115"/>
                </a:lnTo>
                <a:lnTo>
                  <a:pt x="1879" y="1100"/>
                </a:lnTo>
                <a:lnTo>
                  <a:pt x="1882" y="1101"/>
                </a:lnTo>
                <a:lnTo>
                  <a:pt x="1883" y="1102"/>
                </a:lnTo>
                <a:lnTo>
                  <a:pt x="1883" y="1104"/>
                </a:lnTo>
                <a:lnTo>
                  <a:pt x="1883" y="1106"/>
                </a:lnTo>
                <a:lnTo>
                  <a:pt x="1880" y="1117"/>
                </a:lnTo>
                <a:lnTo>
                  <a:pt x="1877" y="1129"/>
                </a:lnTo>
                <a:lnTo>
                  <a:pt x="1876" y="1128"/>
                </a:lnTo>
                <a:lnTo>
                  <a:pt x="1875" y="1128"/>
                </a:lnTo>
                <a:lnTo>
                  <a:pt x="1874" y="1128"/>
                </a:lnTo>
                <a:lnTo>
                  <a:pt x="1873" y="1129"/>
                </a:lnTo>
                <a:close/>
                <a:moveTo>
                  <a:pt x="1855" y="1214"/>
                </a:moveTo>
                <a:lnTo>
                  <a:pt x="1856" y="1211"/>
                </a:lnTo>
                <a:lnTo>
                  <a:pt x="1857" y="1209"/>
                </a:lnTo>
                <a:lnTo>
                  <a:pt x="1859" y="1205"/>
                </a:lnTo>
                <a:lnTo>
                  <a:pt x="1862" y="1201"/>
                </a:lnTo>
                <a:lnTo>
                  <a:pt x="1864" y="1201"/>
                </a:lnTo>
                <a:lnTo>
                  <a:pt x="1865" y="1203"/>
                </a:lnTo>
                <a:lnTo>
                  <a:pt x="1865" y="1206"/>
                </a:lnTo>
                <a:lnTo>
                  <a:pt x="1865" y="1208"/>
                </a:lnTo>
                <a:lnTo>
                  <a:pt x="1865" y="1210"/>
                </a:lnTo>
                <a:lnTo>
                  <a:pt x="1864" y="1211"/>
                </a:lnTo>
                <a:lnTo>
                  <a:pt x="1864" y="1212"/>
                </a:lnTo>
                <a:lnTo>
                  <a:pt x="1862" y="1213"/>
                </a:lnTo>
                <a:lnTo>
                  <a:pt x="1859" y="1214"/>
                </a:lnTo>
                <a:lnTo>
                  <a:pt x="1855" y="1214"/>
                </a:lnTo>
                <a:close/>
                <a:moveTo>
                  <a:pt x="1852" y="1249"/>
                </a:moveTo>
                <a:lnTo>
                  <a:pt x="1847" y="1251"/>
                </a:lnTo>
                <a:lnTo>
                  <a:pt x="1843" y="1254"/>
                </a:lnTo>
                <a:lnTo>
                  <a:pt x="1841" y="1255"/>
                </a:lnTo>
                <a:lnTo>
                  <a:pt x="1839" y="1256"/>
                </a:lnTo>
                <a:lnTo>
                  <a:pt x="1837" y="1256"/>
                </a:lnTo>
                <a:lnTo>
                  <a:pt x="1835" y="1256"/>
                </a:lnTo>
                <a:lnTo>
                  <a:pt x="1832" y="1256"/>
                </a:lnTo>
                <a:lnTo>
                  <a:pt x="1831" y="1255"/>
                </a:lnTo>
                <a:lnTo>
                  <a:pt x="1830" y="1255"/>
                </a:lnTo>
                <a:lnTo>
                  <a:pt x="1829" y="1257"/>
                </a:lnTo>
                <a:lnTo>
                  <a:pt x="1828" y="1258"/>
                </a:lnTo>
                <a:lnTo>
                  <a:pt x="1829" y="1259"/>
                </a:lnTo>
                <a:lnTo>
                  <a:pt x="1830" y="1260"/>
                </a:lnTo>
                <a:lnTo>
                  <a:pt x="1831" y="1260"/>
                </a:lnTo>
                <a:lnTo>
                  <a:pt x="1834" y="1262"/>
                </a:lnTo>
                <a:lnTo>
                  <a:pt x="1835" y="1263"/>
                </a:lnTo>
                <a:lnTo>
                  <a:pt x="1839" y="1264"/>
                </a:lnTo>
                <a:lnTo>
                  <a:pt x="1842" y="1267"/>
                </a:lnTo>
                <a:lnTo>
                  <a:pt x="1840" y="1273"/>
                </a:lnTo>
                <a:lnTo>
                  <a:pt x="1837" y="1279"/>
                </a:lnTo>
                <a:lnTo>
                  <a:pt x="1834" y="1282"/>
                </a:lnTo>
                <a:lnTo>
                  <a:pt x="1828" y="1285"/>
                </a:lnTo>
                <a:lnTo>
                  <a:pt x="1829" y="1279"/>
                </a:lnTo>
                <a:lnTo>
                  <a:pt x="1830" y="1276"/>
                </a:lnTo>
                <a:lnTo>
                  <a:pt x="1829" y="1275"/>
                </a:lnTo>
                <a:lnTo>
                  <a:pt x="1828" y="1274"/>
                </a:lnTo>
                <a:lnTo>
                  <a:pt x="1827" y="1274"/>
                </a:lnTo>
                <a:lnTo>
                  <a:pt x="1824" y="1274"/>
                </a:lnTo>
                <a:lnTo>
                  <a:pt x="1822" y="1273"/>
                </a:lnTo>
                <a:lnTo>
                  <a:pt x="1820" y="1271"/>
                </a:lnTo>
                <a:lnTo>
                  <a:pt x="1817" y="1268"/>
                </a:lnTo>
                <a:lnTo>
                  <a:pt x="1817" y="1264"/>
                </a:lnTo>
                <a:lnTo>
                  <a:pt x="1821" y="1255"/>
                </a:lnTo>
                <a:lnTo>
                  <a:pt x="1825" y="1245"/>
                </a:lnTo>
                <a:lnTo>
                  <a:pt x="1829" y="1236"/>
                </a:lnTo>
                <a:lnTo>
                  <a:pt x="1834" y="1226"/>
                </a:lnTo>
                <a:lnTo>
                  <a:pt x="1835" y="1224"/>
                </a:lnTo>
                <a:lnTo>
                  <a:pt x="1836" y="1222"/>
                </a:lnTo>
                <a:lnTo>
                  <a:pt x="1838" y="1221"/>
                </a:lnTo>
                <a:lnTo>
                  <a:pt x="1838" y="1218"/>
                </a:lnTo>
                <a:lnTo>
                  <a:pt x="1842" y="1223"/>
                </a:lnTo>
                <a:lnTo>
                  <a:pt x="1844" y="1228"/>
                </a:lnTo>
                <a:lnTo>
                  <a:pt x="1845" y="1235"/>
                </a:lnTo>
                <a:lnTo>
                  <a:pt x="1843" y="1242"/>
                </a:lnTo>
                <a:lnTo>
                  <a:pt x="1846" y="1240"/>
                </a:lnTo>
                <a:lnTo>
                  <a:pt x="1849" y="1238"/>
                </a:lnTo>
                <a:lnTo>
                  <a:pt x="1851" y="1236"/>
                </a:lnTo>
                <a:lnTo>
                  <a:pt x="1851" y="1232"/>
                </a:lnTo>
                <a:lnTo>
                  <a:pt x="1854" y="1235"/>
                </a:lnTo>
                <a:lnTo>
                  <a:pt x="1855" y="1237"/>
                </a:lnTo>
                <a:lnTo>
                  <a:pt x="1855" y="1239"/>
                </a:lnTo>
                <a:lnTo>
                  <a:pt x="1854" y="1241"/>
                </a:lnTo>
                <a:lnTo>
                  <a:pt x="1852" y="1245"/>
                </a:lnTo>
                <a:lnTo>
                  <a:pt x="1852" y="1249"/>
                </a:lnTo>
                <a:close/>
                <a:moveTo>
                  <a:pt x="1843" y="1190"/>
                </a:moveTo>
                <a:lnTo>
                  <a:pt x="1843" y="1193"/>
                </a:lnTo>
                <a:lnTo>
                  <a:pt x="1844" y="1196"/>
                </a:lnTo>
                <a:lnTo>
                  <a:pt x="1849" y="1187"/>
                </a:lnTo>
                <a:lnTo>
                  <a:pt x="1852" y="1179"/>
                </a:lnTo>
                <a:lnTo>
                  <a:pt x="1854" y="1170"/>
                </a:lnTo>
                <a:lnTo>
                  <a:pt x="1857" y="1162"/>
                </a:lnTo>
                <a:lnTo>
                  <a:pt x="1858" y="1160"/>
                </a:lnTo>
                <a:lnTo>
                  <a:pt x="1860" y="1159"/>
                </a:lnTo>
                <a:lnTo>
                  <a:pt x="1861" y="1159"/>
                </a:lnTo>
                <a:lnTo>
                  <a:pt x="1861" y="1161"/>
                </a:lnTo>
                <a:lnTo>
                  <a:pt x="1862" y="1166"/>
                </a:lnTo>
                <a:lnTo>
                  <a:pt x="1862" y="1171"/>
                </a:lnTo>
                <a:lnTo>
                  <a:pt x="1861" y="1176"/>
                </a:lnTo>
                <a:lnTo>
                  <a:pt x="1857" y="1180"/>
                </a:lnTo>
                <a:lnTo>
                  <a:pt x="1855" y="1182"/>
                </a:lnTo>
                <a:lnTo>
                  <a:pt x="1854" y="1185"/>
                </a:lnTo>
                <a:lnTo>
                  <a:pt x="1854" y="1187"/>
                </a:lnTo>
                <a:lnTo>
                  <a:pt x="1854" y="1191"/>
                </a:lnTo>
                <a:lnTo>
                  <a:pt x="1855" y="1194"/>
                </a:lnTo>
                <a:lnTo>
                  <a:pt x="1854" y="1197"/>
                </a:lnTo>
                <a:lnTo>
                  <a:pt x="1852" y="1200"/>
                </a:lnTo>
                <a:lnTo>
                  <a:pt x="1851" y="1203"/>
                </a:lnTo>
                <a:lnTo>
                  <a:pt x="1850" y="1206"/>
                </a:lnTo>
                <a:lnTo>
                  <a:pt x="1847" y="1206"/>
                </a:lnTo>
                <a:lnTo>
                  <a:pt x="1846" y="1205"/>
                </a:lnTo>
                <a:lnTo>
                  <a:pt x="1845" y="1205"/>
                </a:lnTo>
                <a:lnTo>
                  <a:pt x="1843" y="1203"/>
                </a:lnTo>
                <a:lnTo>
                  <a:pt x="1842" y="1202"/>
                </a:lnTo>
                <a:lnTo>
                  <a:pt x="1843" y="1201"/>
                </a:lnTo>
                <a:lnTo>
                  <a:pt x="1843" y="1200"/>
                </a:lnTo>
                <a:lnTo>
                  <a:pt x="1844" y="1198"/>
                </a:lnTo>
                <a:lnTo>
                  <a:pt x="1844" y="1196"/>
                </a:lnTo>
                <a:lnTo>
                  <a:pt x="1843" y="1193"/>
                </a:lnTo>
                <a:lnTo>
                  <a:pt x="1843" y="119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D6065C1-4822-2640-9E2F-65A6B0166B28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6FBCBB0E-34F5-9A41-BD7A-F0219CB966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83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363">
            <a:extLst>
              <a:ext uri="{FF2B5EF4-FFF2-40B4-BE49-F238E27FC236}">
                <a16:creationId xmlns:a16="http://schemas.microsoft.com/office/drawing/2014/main" id="{BA8BFAF1-162E-8541-8547-82C4AA1F04B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1170162"/>
            <a:ext cx="24385588" cy="12542812"/>
          </a:xfrm>
          <a:custGeom>
            <a:avLst/>
            <a:gdLst>
              <a:gd name="T0" fmla="*/ 1970 w 2042"/>
              <a:gd name="T1" fmla="*/ 530 h 993"/>
              <a:gd name="T2" fmla="*/ 2037 w 2042"/>
              <a:gd name="T3" fmla="*/ 365 h 993"/>
              <a:gd name="T4" fmla="*/ 1936 w 2042"/>
              <a:gd name="T5" fmla="*/ 306 h 993"/>
              <a:gd name="T6" fmla="*/ 1887 w 2042"/>
              <a:gd name="T7" fmla="*/ 307 h 993"/>
              <a:gd name="T8" fmla="*/ 1935 w 2042"/>
              <a:gd name="T9" fmla="*/ 376 h 993"/>
              <a:gd name="T10" fmla="*/ 1772 w 2042"/>
              <a:gd name="T11" fmla="*/ 466 h 993"/>
              <a:gd name="T12" fmla="*/ 1823 w 2042"/>
              <a:gd name="T13" fmla="*/ 277 h 993"/>
              <a:gd name="T14" fmla="*/ 1989 w 2042"/>
              <a:gd name="T15" fmla="*/ 155 h 993"/>
              <a:gd name="T16" fmla="*/ 1915 w 2042"/>
              <a:gd name="T17" fmla="*/ 92 h 993"/>
              <a:gd name="T18" fmla="*/ 1831 w 2042"/>
              <a:gd name="T19" fmla="*/ 11 h 993"/>
              <a:gd name="T20" fmla="*/ 1808 w 2042"/>
              <a:gd name="T21" fmla="*/ 31 h 993"/>
              <a:gd name="T22" fmla="*/ 1942 w 2042"/>
              <a:gd name="T23" fmla="*/ 137 h 993"/>
              <a:gd name="T24" fmla="*/ 1814 w 2042"/>
              <a:gd name="T25" fmla="*/ 135 h 993"/>
              <a:gd name="T26" fmla="*/ 1642 w 2042"/>
              <a:gd name="T27" fmla="*/ 349 h 993"/>
              <a:gd name="T28" fmla="*/ 1770 w 2042"/>
              <a:gd name="T29" fmla="*/ 116 h 993"/>
              <a:gd name="T30" fmla="*/ 1594 w 2042"/>
              <a:gd name="T31" fmla="*/ 97 h 993"/>
              <a:gd name="T32" fmla="*/ 1403 w 2042"/>
              <a:gd name="T33" fmla="*/ 62 h 993"/>
              <a:gd name="T34" fmla="*/ 1333 w 2042"/>
              <a:gd name="T35" fmla="*/ 208 h 993"/>
              <a:gd name="T36" fmla="*/ 1143 w 2042"/>
              <a:gd name="T37" fmla="*/ 266 h 993"/>
              <a:gd name="T38" fmla="*/ 1003 w 2042"/>
              <a:gd name="T39" fmla="*/ 622 h 993"/>
              <a:gd name="T40" fmla="*/ 490 w 2042"/>
              <a:gd name="T41" fmla="*/ 511 h 993"/>
              <a:gd name="T42" fmla="*/ 540 w 2042"/>
              <a:gd name="T43" fmla="*/ 730 h 993"/>
              <a:gd name="T44" fmla="*/ 371 w 2042"/>
              <a:gd name="T45" fmla="*/ 831 h 993"/>
              <a:gd name="T46" fmla="*/ 1335 w 2042"/>
              <a:gd name="T47" fmla="*/ 949 h 993"/>
              <a:gd name="T48" fmla="*/ 2037 w 2042"/>
              <a:gd name="T49" fmla="*/ 661 h 993"/>
              <a:gd name="T50" fmla="*/ 1977 w 2042"/>
              <a:gd name="T51" fmla="*/ 395 h 993"/>
              <a:gd name="T52" fmla="*/ 1975 w 2042"/>
              <a:gd name="T53" fmla="*/ 259 h 993"/>
              <a:gd name="T54" fmla="*/ 1917 w 2042"/>
              <a:gd name="T55" fmla="*/ 438 h 993"/>
              <a:gd name="T56" fmla="*/ 1933 w 2042"/>
              <a:gd name="T57" fmla="*/ 28 h 993"/>
              <a:gd name="T58" fmla="*/ 1978 w 2042"/>
              <a:gd name="T59" fmla="*/ 127 h 993"/>
              <a:gd name="T60" fmla="*/ 1455 w 2042"/>
              <a:gd name="T61" fmla="*/ 93 h 993"/>
              <a:gd name="T62" fmla="*/ 219 w 2042"/>
              <a:gd name="T63" fmla="*/ 868 h 993"/>
              <a:gd name="T64" fmla="*/ 1956 w 2042"/>
              <a:gd name="T65" fmla="*/ 624 h 993"/>
              <a:gd name="T66" fmla="*/ 1790 w 2042"/>
              <a:gd name="T67" fmla="*/ 657 h 993"/>
              <a:gd name="T68" fmla="*/ 1666 w 2042"/>
              <a:gd name="T69" fmla="*/ 643 h 993"/>
              <a:gd name="T70" fmla="*/ 1822 w 2042"/>
              <a:gd name="T71" fmla="*/ 535 h 993"/>
              <a:gd name="T72" fmla="*/ 1596 w 2042"/>
              <a:gd name="T73" fmla="*/ 606 h 993"/>
              <a:gd name="T74" fmla="*/ 1591 w 2042"/>
              <a:gd name="T75" fmla="*/ 216 h 993"/>
              <a:gd name="T76" fmla="*/ 1554 w 2042"/>
              <a:gd name="T77" fmla="*/ 391 h 993"/>
              <a:gd name="T78" fmla="*/ 1504 w 2042"/>
              <a:gd name="T79" fmla="*/ 278 h 993"/>
              <a:gd name="T80" fmla="*/ 1504 w 2042"/>
              <a:gd name="T81" fmla="*/ 363 h 993"/>
              <a:gd name="T82" fmla="*/ 1456 w 2042"/>
              <a:gd name="T83" fmla="*/ 320 h 993"/>
              <a:gd name="T84" fmla="*/ 1373 w 2042"/>
              <a:gd name="T85" fmla="*/ 129 h 993"/>
              <a:gd name="T86" fmla="*/ 1348 w 2042"/>
              <a:gd name="T87" fmla="*/ 187 h 993"/>
              <a:gd name="T88" fmla="*/ 1401 w 2042"/>
              <a:gd name="T89" fmla="*/ 470 h 993"/>
              <a:gd name="T90" fmla="*/ 1435 w 2042"/>
              <a:gd name="T91" fmla="*/ 487 h 993"/>
              <a:gd name="T92" fmla="*/ 1268 w 2042"/>
              <a:gd name="T93" fmla="*/ 261 h 993"/>
              <a:gd name="T94" fmla="*/ 1222 w 2042"/>
              <a:gd name="T95" fmla="*/ 667 h 993"/>
              <a:gd name="T96" fmla="*/ 1036 w 2042"/>
              <a:gd name="T97" fmla="*/ 632 h 993"/>
              <a:gd name="T98" fmla="*/ 838 w 2042"/>
              <a:gd name="T99" fmla="*/ 622 h 993"/>
              <a:gd name="T100" fmla="*/ 955 w 2042"/>
              <a:gd name="T101" fmla="*/ 717 h 993"/>
              <a:gd name="T102" fmla="*/ 738 w 2042"/>
              <a:gd name="T103" fmla="*/ 711 h 993"/>
              <a:gd name="T104" fmla="*/ 496 w 2042"/>
              <a:gd name="T105" fmla="*/ 755 h 993"/>
              <a:gd name="T106" fmla="*/ 1137 w 2042"/>
              <a:gd name="T107" fmla="*/ 783 h 993"/>
              <a:gd name="T108" fmla="*/ 908 w 2042"/>
              <a:gd name="T109" fmla="*/ 813 h 993"/>
              <a:gd name="T110" fmla="*/ 1589 w 2042"/>
              <a:gd name="T111" fmla="*/ 633 h 993"/>
              <a:gd name="T112" fmla="*/ 1670 w 2042"/>
              <a:gd name="T113" fmla="*/ 632 h 993"/>
              <a:gd name="T114" fmla="*/ 1516 w 2042"/>
              <a:gd name="T115" fmla="*/ 698 h 993"/>
              <a:gd name="T116" fmla="*/ 1383 w 2042"/>
              <a:gd name="T117" fmla="*/ 756 h 993"/>
              <a:gd name="T118" fmla="*/ 1451 w 2042"/>
              <a:gd name="T119" fmla="*/ 782 h 993"/>
              <a:gd name="T120" fmla="*/ 1551 w 2042"/>
              <a:gd name="T121" fmla="*/ 682 h 993"/>
              <a:gd name="T122" fmla="*/ 1951 w 2042"/>
              <a:gd name="T123" fmla="*/ 710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42" h="993">
                <a:moveTo>
                  <a:pt x="2037" y="661"/>
                </a:moveTo>
                <a:cubicBezTo>
                  <a:pt x="2022" y="663"/>
                  <a:pt x="1999" y="669"/>
                  <a:pt x="1985" y="664"/>
                </a:cubicBezTo>
                <a:cubicBezTo>
                  <a:pt x="2000" y="659"/>
                  <a:pt x="2032" y="657"/>
                  <a:pt x="2037" y="647"/>
                </a:cubicBezTo>
                <a:cubicBezTo>
                  <a:pt x="2040" y="639"/>
                  <a:pt x="2039" y="603"/>
                  <a:pt x="2030" y="605"/>
                </a:cubicBezTo>
                <a:cubicBezTo>
                  <a:pt x="2026" y="612"/>
                  <a:pt x="2017" y="614"/>
                  <a:pt x="2009" y="611"/>
                </a:cubicBezTo>
                <a:cubicBezTo>
                  <a:pt x="2016" y="609"/>
                  <a:pt x="2023" y="607"/>
                  <a:pt x="2030" y="605"/>
                </a:cubicBezTo>
                <a:cubicBezTo>
                  <a:pt x="2042" y="606"/>
                  <a:pt x="2037" y="575"/>
                  <a:pt x="2037" y="565"/>
                </a:cubicBezTo>
                <a:cubicBezTo>
                  <a:pt x="2016" y="571"/>
                  <a:pt x="1982" y="589"/>
                  <a:pt x="1961" y="583"/>
                </a:cubicBezTo>
                <a:cubicBezTo>
                  <a:pt x="1975" y="576"/>
                  <a:pt x="1991" y="573"/>
                  <a:pt x="2006" y="569"/>
                </a:cubicBezTo>
                <a:cubicBezTo>
                  <a:pt x="2012" y="567"/>
                  <a:pt x="2025" y="566"/>
                  <a:pt x="2030" y="562"/>
                </a:cubicBezTo>
                <a:cubicBezTo>
                  <a:pt x="2039" y="557"/>
                  <a:pt x="2037" y="549"/>
                  <a:pt x="2037" y="537"/>
                </a:cubicBezTo>
                <a:cubicBezTo>
                  <a:pt x="2019" y="538"/>
                  <a:pt x="1995" y="547"/>
                  <a:pt x="1980" y="556"/>
                </a:cubicBezTo>
                <a:cubicBezTo>
                  <a:pt x="1982" y="557"/>
                  <a:pt x="1985" y="558"/>
                  <a:pt x="1987" y="559"/>
                </a:cubicBezTo>
                <a:cubicBezTo>
                  <a:pt x="1974" y="568"/>
                  <a:pt x="1960" y="560"/>
                  <a:pt x="1946" y="565"/>
                </a:cubicBezTo>
                <a:cubicBezTo>
                  <a:pt x="1937" y="568"/>
                  <a:pt x="1929" y="575"/>
                  <a:pt x="1919" y="578"/>
                </a:cubicBezTo>
                <a:cubicBezTo>
                  <a:pt x="1913" y="580"/>
                  <a:pt x="1905" y="582"/>
                  <a:pt x="1902" y="582"/>
                </a:cubicBezTo>
                <a:cubicBezTo>
                  <a:pt x="1900" y="582"/>
                  <a:pt x="1898" y="580"/>
                  <a:pt x="1894" y="579"/>
                </a:cubicBezTo>
                <a:cubicBezTo>
                  <a:pt x="1892" y="580"/>
                  <a:pt x="1890" y="580"/>
                  <a:pt x="1887" y="580"/>
                </a:cubicBezTo>
                <a:cubicBezTo>
                  <a:pt x="1890" y="579"/>
                  <a:pt x="1892" y="579"/>
                  <a:pt x="1894" y="579"/>
                </a:cubicBezTo>
                <a:cubicBezTo>
                  <a:pt x="1917" y="574"/>
                  <a:pt x="1940" y="564"/>
                  <a:pt x="1961" y="556"/>
                </a:cubicBezTo>
                <a:cubicBezTo>
                  <a:pt x="1979" y="549"/>
                  <a:pt x="2042" y="538"/>
                  <a:pt x="2037" y="515"/>
                </a:cubicBezTo>
                <a:cubicBezTo>
                  <a:pt x="2009" y="517"/>
                  <a:pt x="1978" y="536"/>
                  <a:pt x="1953" y="547"/>
                </a:cubicBezTo>
                <a:cubicBezTo>
                  <a:pt x="1951" y="541"/>
                  <a:pt x="1938" y="548"/>
                  <a:pt x="1930" y="546"/>
                </a:cubicBezTo>
                <a:cubicBezTo>
                  <a:pt x="1941" y="542"/>
                  <a:pt x="1949" y="539"/>
                  <a:pt x="1959" y="535"/>
                </a:cubicBezTo>
                <a:cubicBezTo>
                  <a:pt x="1963" y="534"/>
                  <a:pt x="1966" y="531"/>
                  <a:pt x="1970" y="530"/>
                </a:cubicBezTo>
                <a:cubicBezTo>
                  <a:pt x="1974" y="530"/>
                  <a:pt x="1977" y="532"/>
                  <a:pt x="1979" y="531"/>
                </a:cubicBezTo>
                <a:cubicBezTo>
                  <a:pt x="1991" y="527"/>
                  <a:pt x="2034" y="514"/>
                  <a:pt x="2037" y="504"/>
                </a:cubicBezTo>
                <a:cubicBezTo>
                  <a:pt x="2026" y="507"/>
                  <a:pt x="2017" y="515"/>
                  <a:pt x="2006" y="513"/>
                </a:cubicBezTo>
                <a:cubicBezTo>
                  <a:pt x="2004" y="515"/>
                  <a:pt x="2005" y="515"/>
                  <a:pt x="2006" y="513"/>
                </a:cubicBezTo>
                <a:cubicBezTo>
                  <a:pt x="2025" y="501"/>
                  <a:pt x="2037" y="501"/>
                  <a:pt x="2037" y="478"/>
                </a:cubicBezTo>
                <a:cubicBezTo>
                  <a:pt x="2007" y="483"/>
                  <a:pt x="1984" y="513"/>
                  <a:pt x="1957" y="523"/>
                </a:cubicBezTo>
                <a:cubicBezTo>
                  <a:pt x="1925" y="536"/>
                  <a:pt x="1891" y="542"/>
                  <a:pt x="1862" y="561"/>
                </a:cubicBezTo>
                <a:cubicBezTo>
                  <a:pt x="1860" y="553"/>
                  <a:pt x="1851" y="554"/>
                  <a:pt x="1844" y="554"/>
                </a:cubicBezTo>
                <a:cubicBezTo>
                  <a:pt x="1845" y="552"/>
                  <a:pt x="1846" y="550"/>
                  <a:pt x="1846" y="550"/>
                </a:cubicBezTo>
                <a:cubicBezTo>
                  <a:pt x="1862" y="554"/>
                  <a:pt x="1882" y="537"/>
                  <a:pt x="1899" y="531"/>
                </a:cubicBezTo>
                <a:cubicBezTo>
                  <a:pt x="1890" y="533"/>
                  <a:pt x="1887" y="524"/>
                  <a:pt x="1876" y="528"/>
                </a:cubicBezTo>
                <a:cubicBezTo>
                  <a:pt x="1895" y="515"/>
                  <a:pt x="1912" y="493"/>
                  <a:pt x="1933" y="485"/>
                </a:cubicBezTo>
                <a:cubicBezTo>
                  <a:pt x="1931" y="485"/>
                  <a:pt x="1928" y="485"/>
                  <a:pt x="1926" y="485"/>
                </a:cubicBezTo>
                <a:cubicBezTo>
                  <a:pt x="1934" y="476"/>
                  <a:pt x="1941" y="467"/>
                  <a:pt x="1951" y="463"/>
                </a:cubicBezTo>
                <a:cubicBezTo>
                  <a:pt x="1957" y="461"/>
                  <a:pt x="1963" y="463"/>
                  <a:pt x="1968" y="457"/>
                </a:cubicBezTo>
                <a:cubicBezTo>
                  <a:pt x="1968" y="457"/>
                  <a:pt x="1964" y="456"/>
                  <a:pt x="1964" y="455"/>
                </a:cubicBezTo>
                <a:cubicBezTo>
                  <a:pt x="1971" y="450"/>
                  <a:pt x="1978" y="445"/>
                  <a:pt x="1982" y="438"/>
                </a:cubicBezTo>
                <a:cubicBezTo>
                  <a:pt x="1971" y="445"/>
                  <a:pt x="1960" y="453"/>
                  <a:pt x="1948" y="460"/>
                </a:cubicBezTo>
                <a:cubicBezTo>
                  <a:pt x="1963" y="442"/>
                  <a:pt x="1978" y="429"/>
                  <a:pt x="1992" y="415"/>
                </a:cubicBezTo>
                <a:cubicBezTo>
                  <a:pt x="1998" y="409"/>
                  <a:pt x="2004" y="404"/>
                  <a:pt x="2010" y="399"/>
                </a:cubicBezTo>
                <a:cubicBezTo>
                  <a:pt x="2014" y="395"/>
                  <a:pt x="2026" y="401"/>
                  <a:pt x="2017" y="393"/>
                </a:cubicBezTo>
                <a:cubicBezTo>
                  <a:pt x="2019" y="391"/>
                  <a:pt x="2021" y="388"/>
                  <a:pt x="2023" y="387"/>
                </a:cubicBezTo>
                <a:cubicBezTo>
                  <a:pt x="2021" y="387"/>
                  <a:pt x="2020" y="386"/>
                  <a:pt x="2019" y="385"/>
                </a:cubicBezTo>
                <a:cubicBezTo>
                  <a:pt x="2026" y="376"/>
                  <a:pt x="2036" y="372"/>
                  <a:pt x="2029" y="361"/>
                </a:cubicBezTo>
                <a:cubicBezTo>
                  <a:pt x="2031" y="362"/>
                  <a:pt x="2034" y="362"/>
                  <a:pt x="2037" y="365"/>
                </a:cubicBezTo>
                <a:cubicBezTo>
                  <a:pt x="2039" y="355"/>
                  <a:pt x="2032" y="352"/>
                  <a:pt x="2032" y="344"/>
                </a:cubicBezTo>
                <a:cubicBezTo>
                  <a:pt x="2032" y="338"/>
                  <a:pt x="2037" y="336"/>
                  <a:pt x="2037" y="329"/>
                </a:cubicBezTo>
                <a:cubicBezTo>
                  <a:pt x="2028" y="332"/>
                  <a:pt x="2023" y="341"/>
                  <a:pt x="2024" y="350"/>
                </a:cubicBezTo>
                <a:cubicBezTo>
                  <a:pt x="2024" y="346"/>
                  <a:pt x="2019" y="341"/>
                  <a:pt x="2019" y="338"/>
                </a:cubicBezTo>
                <a:cubicBezTo>
                  <a:pt x="2019" y="335"/>
                  <a:pt x="2018" y="335"/>
                  <a:pt x="2018" y="335"/>
                </a:cubicBezTo>
                <a:cubicBezTo>
                  <a:pt x="2017" y="336"/>
                  <a:pt x="2017" y="335"/>
                  <a:pt x="2018" y="335"/>
                </a:cubicBezTo>
                <a:cubicBezTo>
                  <a:pt x="2018" y="335"/>
                  <a:pt x="2018" y="334"/>
                  <a:pt x="2019" y="332"/>
                </a:cubicBezTo>
                <a:cubicBezTo>
                  <a:pt x="2018" y="334"/>
                  <a:pt x="2028" y="321"/>
                  <a:pt x="2029" y="320"/>
                </a:cubicBezTo>
                <a:cubicBezTo>
                  <a:pt x="2035" y="311"/>
                  <a:pt x="2034" y="320"/>
                  <a:pt x="2037" y="305"/>
                </a:cubicBezTo>
                <a:cubicBezTo>
                  <a:pt x="2041" y="283"/>
                  <a:pt x="2037" y="256"/>
                  <a:pt x="2037" y="234"/>
                </a:cubicBezTo>
                <a:cubicBezTo>
                  <a:pt x="2037" y="226"/>
                  <a:pt x="2035" y="203"/>
                  <a:pt x="2022" y="217"/>
                </a:cubicBezTo>
                <a:cubicBezTo>
                  <a:pt x="2023" y="214"/>
                  <a:pt x="2022" y="211"/>
                  <a:pt x="2023" y="208"/>
                </a:cubicBezTo>
                <a:cubicBezTo>
                  <a:pt x="2007" y="218"/>
                  <a:pt x="2030" y="226"/>
                  <a:pt x="2017" y="236"/>
                </a:cubicBezTo>
                <a:cubicBezTo>
                  <a:pt x="2005" y="245"/>
                  <a:pt x="2002" y="224"/>
                  <a:pt x="2008" y="214"/>
                </a:cubicBezTo>
                <a:cubicBezTo>
                  <a:pt x="2001" y="218"/>
                  <a:pt x="1988" y="233"/>
                  <a:pt x="1993" y="217"/>
                </a:cubicBezTo>
                <a:cubicBezTo>
                  <a:pt x="1996" y="205"/>
                  <a:pt x="2019" y="198"/>
                  <a:pt x="2010" y="185"/>
                </a:cubicBezTo>
                <a:cubicBezTo>
                  <a:pt x="2001" y="190"/>
                  <a:pt x="1991" y="195"/>
                  <a:pt x="1991" y="207"/>
                </a:cubicBezTo>
                <a:cubicBezTo>
                  <a:pt x="1993" y="207"/>
                  <a:pt x="1993" y="205"/>
                  <a:pt x="1995" y="205"/>
                </a:cubicBezTo>
                <a:cubicBezTo>
                  <a:pt x="1986" y="211"/>
                  <a:pt x="1990" y="215"/>
                  <a:pt x="1985" y="224"/>
                </a:cubicBezTo>
                <a:cubicBezTo>
                  <a:pt x="1983" y="228"/>
                  <a:pt x="1979" y="233"/>
                  <a:pt x="1975" y="242"/>
                </a:cubicBezTo>
                <a:cubicBezTo>
                  <a:pt x="1971" y="251"/>
                  <a:pt x="1970" y="257"/>
                  <a:pt x="1971" y="265"/>
                </a:cubicBezTo>
                <a:cubicBezTo>
                  <a:pt x="1971" y="271"/>
                  <a:pt x="1974" y="287"/>
                  <a:pt x="1966" y="274"/>
                </a:cubicBezTo>
                <a:cubicBezTo>
                  <a:pt x="1962" y="279"/>
                  <a:pt x="1960" y="282"/>
                  <a:pt x="1963" y="287"/>
                </a:cubicBezTo>
                <a:cubicBezTo>
                  <a:pt x="1961" y="288"/>
                  <a:pt x="1958" y="288"/>
                  <a:pt x="1956" y="289"/>
                </a:cubicBezTo>
                <a:cubicBezTo>
                  <a:pt x="1964" y="303"/>
                  <a:pt x="1939" y="292"/>
                  <a:pt x="1936" y="306"/>
                </a:cubicBezTo>
                <a:cubicBezTo>
                  <a:pt x="1932" y="297"/>
                  <a:pt x="1963" y="279"/>
                  <a:pt x="1952" y="273"/>
                </a:cubicBezTo>
                <a:cubicBezTo>
                  <a:pt x="1940" y="268"/>
                  <a:pt x="1944" y="283"/>
                  <a:pt x="1943" y="283"/>
                </a:cubicBezTo>
                <a:cubicBezTo>
                  <a:pt x="1939" y="286"/>
                  <a:pt x="1929" y="286"/>
                  <a:pt x="1921" y="278"/>
                </a:cubicBezTo>
                <a:cubicBezTo>
                  <a:pt x="1925" y="272"/>
                  <a:pt x="1924" y="274"/>
                  <a:pt x="1925" y="267"/>
                </a:cubicBezTo>
                <a:cubicBezTo>
                  <a:pt x="1931" y="269"/>
                  <a:pt x="1933" y="266"/>
                  <a:pt x="1933" y="260"/>
                </a:cubicBezTo>
                <a:cubicBezTo>
                  <a:pt x="1931" y="260"/>
                  <a:pt x="1928" y="261"/>
                  <a:pt x="1925" y="262"/>
                </a:cubicBezTo>
                <a:cubicBezTo>
                  <a:pt x="1925" y="258"/>
                  <a:pt x="1923" y="253"/>
                  <a:pt x="1919" y="248"/>
                </a:cubicBezTo>
                <a:cubicBezTo>
                  <a:pt x="1922" y="250"/>
                  <a:pt x="1929" y="254"/>
                  <a:pt x="1932" y="253"/>
                </a:cubicBezTo>
                <a:cubicBezTo>
                  <a:pt x="1936" y="251"/>
                  <a:pt x="1949" y="230"/>
                  <a:pt x="1946" y="224"/>
                </a:cubicBezTo>
                <a:cubicBezTo>
                  <a:pt x="1939" y="213"/>
                  <a:pt x="1926" y="227"/>
                  <a:pt x="1934" y="237"/>
                </a:cubicBezTo>
                <a:cubicBezTo>
                  <a:pt x="1928" y="238"/>
                  <a:pt x="1928" y="237"/>
                  <a:pt x="1923" y="239"/>
                </a:cubicBezTo>
                <a:cubicBezTo>
                  <a:pt x="1922" y="237"/>
                  <a:pt x="1925" y="217"/>
                  <a:pt x="1924" y="216"/>
                </a:cubicBezTo>
                <a:cubicBezTo>
                  <a:pt x="1914" y="204"/>
                  <a:pt x="1907" y="227"/>
                  <a:pt x="1903" y="230"/>
                </a:cubicBezTo>
                <a:cubicBezTo>
                  <a:pt x="1904" y="225"/>
                  <a:pt x="1902" y="225"/>
                  <a:pt x="1905" y="220"/>
                </a:cubicBezTo>
                <a:cubicBezTo>
                  <a:pt x="1899" y="222"/>
                  <a:pt x="1885" y="237"/>
                  <a:pt x="1894" y="241"/>
                </a:cubicBezTo>
                <a:cubicBezTo>
                  <a:pt x="1896" y="236"/>
                  <a:pt x="1897" y="237"/>
                  <a:pt x="1900" y="234"/>
                </a:cubicBezTo>
                <a:cubicBezTo>
                  <a:pt x="1901" y="239"/>
                  <a:pt x="1898" y="238"/>
                  <a:pt x="1894" y="241"/>
                </a:cubicBezTo>
                <a:cubicBezTo>
                  <a:pt x="1890" y="250"/>
                  <a:pt x="1886" y="258"/>
                  <a:pt x="1887" y="265"/>
                </a:cubicBezTo>
                <a:cubicBezTo>
                  <a:pt x="1911" y="258"/>
                  <a:pt x="1887" y="272"/>
                  <a:pt x="1886" y="277"/>
                </a:cubicBezTo>
                <a:cubicBezTo>
                  <a:pt x="1895" y="275"/>
                  <a:pt x="1898" y="273"/>
                  <a:pt x="1905" y="270"/>
                </a:cubicBezTo>
                <a:cubicBezTo>
                  <a:pt x="1908" y="269"/>
                  <a:pt x="1913" y="264"/>
                  <a:pt x="1919" y="262"/>
                </a:cubicBezTo>
                <a:cubicBezTo>
                  <a:pt x="1919" y="263"/>
                  <a:pt x="1919" y="263"/>
                  <a:pt x="1919" y="264"/>
                </a:cubicBezTo>
                <a:cubicBezTo>
                  <a:pt x="1910" y="268"/>
                  <a:pt x="1903" y="273"/>
                  <a:pt x="1911" y="280"/>
                </a:cubicBezTo>
                <a:cubicBezTo>
                  <a:pt x="1901" y="277"/>
                  <a:pt x="1891" y="280"/>
                  <a:pt x="1897" y="293"/>
                </a:cubicBezTo>
                <a:cubicBezTo>
                  <a:pt x="1887" y="289"/>
                  <a:pt x="1879" y="300"/>
                  <a:pt x="1887" y="307"/>
                </a:cubicBezTo>
                <a:cubicBezTo>
                  <a:pt x="1889" y="298"/>
                  <a:pt x="1893" y="300"/>
                  <a:pt x="1899" y="297"/>
                </a:cubicBezTo>
                <a:cubicBezTo>
                  <a:pt x="1901" y="296"/>
                  <a:pt x="1906" y="301"/>
                  <a:pt x="1906" y="301"/>
                </a:cubicBezTo>
                <a:cubicBezTo>
                  <a:pt x="1910" y="299"/>
                  <a:pt x="1908" y="293"/>
                  <a:pt x="1909" y="292"/>
                </a:cubicBezTo>
                <a:cubicBezTo>
                  <a:pt x="1910" y="291"/>
                  <a:pt x="1918" y="275"/>
                  <a:pt x="1920" y="291"/>
                </a:cubicBezTo>
                <a:cubicBezTo>
                  <a:pt x="1922" y="301"/>
                  <a:pt x="1910" y="308"/>
                  <a:pt x="1902" y="311"/>
                </a:cubicBezTo>
                <a:cubicBezTo>
                  <a:pt x="1909" y="317"/>
                  <a:pt x="1901" y="317"/>
                  <a:pt x="1897" y="323"/>
                </a:cubicBezTo>
                <a:cubicBezTo>
                  <a:pt x="1895" y="326"/>
                  <a:pt x="1891" y="334"/>
                  <a:pt x="1889" y="337"/>
                </a:cubicBezTo>
                <a:cubicBezTo>
                  <a:pt x="1887" y="339"/>
                  <a:pt x="1885" y="340"/>
                  <a:pt x="1883" y="342"/>
                </a:cubicBezTo>
                <a:cubicBezTo>
                  <a:pt x="1884" y="344"/>
                  <a:pt x="1885" y="346"/>
                  <a:pt x="1886" y="348"/>
                </a:cubicBezTo>
                <a:cubicBezTo>
                  <a:pt x="1886" y="351"/>
                  <a:pt x="1890" y="358"/>
                  <a:pt x="1890" y="361"/>
                </a:cubicBezTo>
                <a:cubicBezTo>
                  <a:pt x="1887" y="359"/>
                  <a:pt x="1869" y="360"/>
                  <a:pt x="1872" y="359"/>
                </a:cubicBezTo>
                <a:cubicBezTo>
                  <a:pt x="1862" y="363"/>
                  <a:pt x="1868" y="363"/>
                  <a:pt x="1864" y="369"/>
                </a:cubicBezTo>
                <a:cubicBezTo>
                  <a:pt x="1862" y="372"/>
                  <a:pt x="1850" y="384"/>
                  <a:pt x="1842" y="391"/>
                </a:cubicBezTo>
                <a:cubicBezTo>
                  <a:pt x="1834" y="398"/>
                  <a:pt x="1825" y="409"/>
                  <a:pt x="1814" y="412"/>
                </a:cubicBezTo>
                <a:cubicBezTo>
                  <a:pt x="1823" y="414"/>
                  <a:pt x="1824" y="419"/>
                  <a:pt x="1817" y="426"/>
                </a:cubicBezTo>
                <a:cubicBezTo>
                  <a:pt x="1826" y="424"/>
                  <a:pt x="1838" y="421"/>
                  <a:pt x="1846" y="417"/>
                </a:cubicBezTo>
                <a:cubicBezTo>
                  <a:pt x="1849" y="416"/>
                  <a:pt x="1849" y="412"/>
                  <a:pt x="1852" y="411"/>
                </a:cubicBezTo>
                <a:cubicBezTo>
                  <a:pt x="1856" y="410"/>
                  <a:pt x="1862" y="411"/>
                  <a:pt x="1865" y="409"/>
                </a:cubicBezTo>
                <a:cubicBezTo>
                  <a:pt x="1867" y="408"/>
                  <a:pt x="1869" y="410"/>
                  <a:pt x="1872" y="409"/>
                </a:cubicBezTo>
                <a:cubicBezTo>
                  <a:pt x="1875" y="408"/>
                  <a:pt x="1874" y="400"/>
                  <a:pt x="1877" y="398"/>
                </a:cubicBezTo>
                <a:cubicBezTo>
                  <a:pt x="1885" y="393"/>
                  <a:pt x="1889" y="396"/>
                  <a:pt x="1896" y="389"/>
                </a:cubicBezTo>
                <a:cubicBezTo>
                  <a:pt x="1899" y="386"/>
                  <a:pt x="1902" y="376"/>
                  <a:pt x="1901" y="377"/>
                </a:cubicBezTo>
                <a:cubicBezTo>
                  <a:pt x="1905" y="373"/>
                  <a:pt x="1914" y="375"/>
                  <a:pt x="1919" y="372"/>
                </a:cubicBezTo>
                <a:cubicBezTo>
                  <a:pt x="1927" y="369"/>
                  <a:pt x="1915" y="362"/>
                  <a:pt x="1927" y="365"/>
                </a:cubicBezTo>
                <a:cubicBezTo>
                  <a:pt x="1923" y="364"/>
                  <a:pt x="1936" y="379"/>
                  <a:pt x="1935" y="376"/>
                </a:cubicBezTo>
                <a:cubicBezTo>
                  <a:pt x="1936" y="381"/>
                  <a:pt x="1926" y="420"/>
                  <a:pt x="1948" y="406"/>
                </a:cubicBezTo>
                <a:cubicBezTo>
                  <a:pt x="1946" y="409"/>
                  <a:pt x="1929" y="418"/>
                  <a:pt x="1924" y="419"/>
                </a:cubicBezTo>
                <a:cubicBezTo>
                  <a:pt x="1930" y="414"/>
                  <a:pt x="1933" y="406"/>
                  <a:pt x="1926" y="402"/>
                </a:cubicBezTo>
                <a:cubicBezTo>
                  <a:pt x="1935" y="395"/>
                  <a:pt x="1929" y="370"/>
                  <a:pt x="1922" y="388"/>
                </a:cubicBezTo>
                <a:cubicBezTo>
                  <a:pt x="1919" y="394"/>
                  <a:pt x="1929" y="398"/>
                  <a:pt x="1918" y="402"/>
                </a:cubicBezTo>
                <a:cubicBezTo>
                  <a:pt x="1910" y="405"/>
                  <a:pt x="1915" y="391"/>
                  <a:pt x="1915" y="390"/>
                </a:cubicBezTo>
                <a:cubicBezTo>
                  <a:pt x="1907" y="394"/>
                  <a:pt x="1896" y="395"/>
                  <a:pt x="1904" y="404"/>
                </a:cubicBezTo>
                <a:cubicBezTo>
                  <a:pt x="1910" y="411"/>
                  <a:pt x="1915" y="407"/>
                  <a:pt x="1922" y="404"/>
                </a:cubicBezTo>
                <a:cubicBezTo>
                  <a:pt x="1911" y="414"/>
                  <a:pt x="1889" y="452"/>
                  <a:pt x="1877" y="436"/>
                </a:cubicBezTo>
                <a:cubicBezTo>
                  <a:pt x="1876" y="442"/>
                  <a:pt x="1876" y="445"/>
                  <a:pt x="1880" y="450"/>
                </a:cubicBezTo>
                <a:cubicBezTo>
                  <a:pt x="1876" y="461"/>
                  <a:pt x="1872" y="453"/>
                  <a:pt x="1865" y="454"/>
                </a:cubicBezTo>
                <a:cubicBezTo>
                  <a:pt x="1862" y="455"/>
                  <a:pt x="1863" y="453"/>
                  <a:pt x="1859" y="454"/>
                </a:cubicBezTo>
                <a:cubicBezTo>
                  <a:pt x="1854" y="456"/>
                  <a:pt x="1852" y="461"/>
                  <a:pt x="1848" y="463"/>
                </a:cubicBezTo>
                <a:cubicBezTo>
                  <a:pt x="1844" y="466"/>
                  <a:pt x="1839" y="467"/>
                  <a:pt x="1830" y="469"/>
                </a:cubicBezTo>
                <a:cubicBezTo>
                  <a:pt x="1817" y="472"/>
                  <a:pt x="1802" y="481"/>
                  <a:pt x="1789" y="487"/>
                </a:cubicBezTo>
                <a:cubicBezTo>
                  <a:pt x="1787" y="487"/>
                  <a:pt x="1787" y="485"/>
                  <a:pt x="1787" y="484"/>
                </a:cubicBezTo>
                <a:cubicBezTo>
                  <a:pt x="1802" y="482"/>
                  <a:pt x="1823" y="471"/>
                  <a:pt x="1834" y="460"/>
                </a:cubicBezTo>
                <a:cubicBezTo>
                  <a:pt x="1827" y="462"/>
                  <a:pt x="1805" y="477"/>
                  <a:pt x="1807" y="462"/>
                </a:cubicBezTo>
                <a:cubicBezTo>
                  <a:pt x="1801" y="466"/>
                  <a:pt x="1797" y="467"/>
                  <a:pt x="1797" y="460"/>
                </a:cubicBezTo>
                <a:cubicBezTo>
                  <a:pt x="1793" y="463"/>
                  <a:pt x="1790" y="471"/>
                  <a:pt x="1783" y="474"/>
                </a:cubicBezTo>
                <a:cubicBezTo>
                  <a:pt x="1771" y="478"/>
                  <a:pt x="1788" y="459"/>
                  <a:pt x="1792" y="457"/>
                </a:cubicBezTo>
                <a:cubicBezTo>
                  <a:pt x="1798" y="454"/>
                  <a:pt x="1795" y="463"/>
                  <a:pt x="1801" y="459"/>
                </a:cubicBezTo>
                <a:cubicBezTo>
                  <a:pt x="1805" y="457"/>
                  <a:pt x="1805" y="452"/>
                  <a:pt x="1806" y="451"/>
                </a:cubicBezTo>
                <a:cubicBezTo>
                  <a:pt x="1814" y="445"/>
                  <a:pt x="1822" y="436"/>
                  <a:pt x="1832" y="431"/>
                </a:cubicBezTo>
                <a:cubicBezTo>
                  <a:pt x="1801" y="436"/>
                  <a:pt x="1800" y="454"/>
                  <a:pt x="1772" y="466"/>
                </a:cubicBezTo>
                <a:cubicBezTo>
                  <a:pt x="1764" y="470"/>
                  <a:pt x="1734" y="481"/>
                  <a:pt x="1743" y="469"/>
                </a:cubicBezTo>
                <a:cubicBezTo>
                  <a:pt x="1736" y="468"/>
                  <a:pt x="1725" y="469"/>
                  <a:pt x="1718" y="467"/>
                </a:cubicBezTo>
                <a:cubicBezTo>
                  <a:pt x="1703" y="465"/>
                  <a:pt x="1713" y="458"/>
                  <a:pt x="1694" y="470"/>
                </a:cubicBezTo>
                <a:cubicBezTo>
                  <a:pt x="1668" y="486"/>
                  <a:pt x="1658" y="466"/>
                  <a:pt x="1688" y="458"/>
                </a:cubicBezTo>
                <a:cubicBezTo>
                  <a:pt x="1695" y="456"/>
                  <a:pt x="1697" y="458"/>
                  <a:pt x="1704" y="456"/>
                </a:cubicBezTo>
                <a:cubicBezTo>
                  <a:pt x="1713" y="452"/>
                  <a:pt x="1714" y="448"/>
                  <a:pt x="1722" y="442"/>
                </a:cubicBezTo>
                <a:cubicBezTo>
                  <a:pt x="1727" y="437"/>
                  <a:pt x="1736" y="434"/>
                  <a:pt x="1743" y="431"/>
                </a:cubicBezTo>
                <a:cubicBezTo>
                  <a:pt x="1749" y="429"/>
                  <a:pt x="1776" y="426"/>
                  <a:pt x="1757" y="422"/>
                </a:cubicBezTo>
                <a:cubicBezTo>
                  <a:pt x="1771" y="403"/>
                  <a:pt x="1797" y="398"/>
                  <a:pt x="1813" y="382"/>
                </a:cubicBezTo>
                <a:cubicBezTo>
                  <a:pt x="1822" y="373"/>
                  <a:pt x="1833" y="359"/>
                  <a:pt x="1842" y="348"/>
                </a:cubicBezTo>
                <a:cubicBezTo>
                  <a:pt x="1843" y="346"/>
                  <a:pt x="1850" y="337"/>
                  <a:pt x="1850" y="337"/>
                </a:cubicBezTo>
                <a:cubicBezTo>
                  <a:pt x="1851" y="337"/>
                  <a:pt x="1849" y="332"/>
                  <a:pt x="1850" y="331"/>
                </a:cubicBezTo>
                <a:cubicBezTo>
                  <a:pt x="1852" y="330"/>
                  <a:pt x="1854" y="337"/>
                  <a:pt x="1856" y="335"/>
                </a:cubicBezTo>
                <a:cubicBezTo>
                  <a:pt x="1863" y="327"/>
                  <a:pt x="1866" y="314"/>
                  <a:pt x="1854" y="325"/>
                </a:cubicBezTo>
                <a:cubicBezTo>
                  <a:pt x="1864" y="314"/>
                  <a:pt x="1847" y="318"/>
                  <a:pt x="1850" y="304"/>
                </a:cubicBezTo>
                <a:cubicBezTo>
                  <a:pt x="1842" y="300"/>
                  <a:pt x="1830" y="308"/>
                  <a:pt x="1824" y="313"/>
                </a:cubicBezTo>
                <a:cubicBezTo>
                  <a:pt x="1824" y="313"/>
                  <a:pt x="1816" y="323"/>
                  <a:pt x="1814" y="324"/>
                </a:cubicBezTo>
                <a:cubicBezTo>
                  <a:pt x="1810" y="330"/>
                  <a:pt x="1804" y="329"/>
                  <a:pt x="1805" y="339"/>
                </a:cubicBezTo>
                <a:cubicBezTo>
                  <a:pt x="1803" y="335"/>
                  <a:pt x="1799" y="334"/>
                  <a:pt x="1797" y="332"/>
                </a:cubicBezTo>
                <a:cubicBezTo>
                  <a:pt x="1793" y="339"/>
                  <a:pt x="1797" y="334"/>
                  <a:pt x="1791" y="335"/>
                </a:cubicBezTo>
                <a:cubicBezTo>
                  <a:pt x="1810" y="324"/>
                  <a:pt x="1817" y="317"/>
                  <a:pt x="1822" y="294"/>
                </a:cubicBezTo>
                <a:cubicBezTo>
                  <a:pt x="1824" y="297"/>
                  <a:pt x="1827" y="304"/>
                  <a:pt x="1828" y="307"/>
                </a:cubicBezTo>
                <a:cubicBezTo>
                  <a:pt x="1830" y="306"/>
                  <a:pt x="1834" y="302"/>
                  <a:pt x="1835" y="300"/>
                </a:cubicBezTo>
                <a:cubicBezTo>
                  <a:pt x="1827" y="296"/>
                  <a:pt x="1829" y="288"/>
                  <a:pt x="1829" y="288"/>
                </a:cubicBezTo>
                <a:cubicBezTo>
                  <a:pt x="1828" y="286"/>
                  <a:pt x="1823" y="276"/>
                  <a:pt x="1823" y="277"/>
                </a:cubicBezTo>
                <a:cubicBezTo>
                  <a:pt x="1820" y="262"/>
                  <a:pt x="1826" y="268"/>
                  <a:pt x="1833" y="254"/>
                </a:cubicBezTo>
                <a:cubicBezTo>
                  <a:pt x="1833" y="256"/>
                  <a:pt x="1834" y="259"/>
                  <a:pt x="1834" y="260"/>
                </a:cubicBezTo>
                <a:cubicBezTo>
                  <a:pt x="1839" y="252"/>
                  <a:pt x="1844" y="257"/>
                  <a:pt x="1850" y="253"/>
                </a:cubicBezTo>
                <a:cubicBezTo>
                  <a:pt x="1854" y="251"/>
                  <a:pt x="1856" y="249"/>
                  <a:pt x="1860" y="245"/>
                </a:cubicBezTo>
                <a:cubicBezTo>
                  <a:pt x="1865" y="235"/>
                  <a:pt x="1852" y="232"/>
                  <a:pt x="1848" y="227"/>
                </a:cubicBezTo>
                <a:cubicBezTo>
                  <a:pt x="1843" y="221"/>
                  <a:pt x="1848" y="202"/>
                  <a:pt x="1837" y="202"/>
                </a:cubicBezTo>
                <a:cubicBezTo>
                  <a:pt x="1840" y="197"/>
                  <a:pt x="1836" y="197"/>
                  <a:pt x="1843" y="195"/>
                </a:cubicBezTo>
                <a:cubicBezTo>
                  <a:pt x="1842" y="194"/>
                  <a:pt x="1841" y="193"/>
                  <a:pt x="1839" y="193"/>
                </a:cubicBezTo>
                <a:cubicBezTo>
                  <a:pt x="1843" y="193"/>
                  <a:pt x="1846" y="194"/>
                  <a:pt x="1850" y="195"/>
                </a:cubicBezTo>
                <a:cubicBezTo>
                  <a:pt x="1847" y="197"/>
                  <a:pt x="1846" y="199"/>
                  <a:pt x="1843" y="200"/>
                </a:cubicBezTo>
                <a:cubicBezTo>
                  <a:pt x="1848" y="203"/>
                  <a:pt x="1852" y="206"/>
                  <a:pt x="1857" y="207"/>
                </a:cubicBezTo>
                <a:cubicBezTo>
                  <a:pt x="1851" y="221"/>
                  <a:pt x="1873" y="222"/>
                  <a:pt x="1869" y="209"/>
                </a:cubicBezTo>
                <a:cubicBezTo>
                  <a:pt x="1868" y="211"/>
                  <a:pt x="1866" y="212"/>
                  <a:pt x="1864" y="213"/>
                </a:cubicBezTo>
                <a:cubicBezTo>
                  <a:pt x="1870" y="210"/>
                  <a:pt x="1872" y="205"/>
                  <a:pt x="1871" y="198"/>
                </a:cubicBezTo>
                <a:cubicBezTo>
                  <a:pt x="1880" y="203"/>
                  <a:pt x="1874" y="228"/>
                  <a:pt x="1888" y="212"/>
                </a:cubicBezTo>
                <a:cubicBezTo>
                  <a:pt x="1902" y="195"/>
                  <a:pt x="1879" y="198"/>
                  <a:pt x="1874" y="193"/>
                </a:cubicBezTo>
                <a:cubicBezTo>
                  <a:pt x="1877" y="188"/>
                  <a:pt x="1904" y="178"/>
                  <a:pt x="1905" y="179"/>
                </a:cubicBezTo>
                <a:cubicBezTo>
                  <a:pt x="1909" y="183"/>
                  <a:pt x="1899" y="189"/>
                  <a:pt x="1902" y="193"/>
                </a:cubicBezTo>
                <a:cubicBezTo>
                  <a:pt x="1907" y="198"/>
                  <a:pt x="1914" y="192"/>
                  <a:pt x="1919" y="190"/>
                </a:cubicBezTo>
                <a:cubicBezTo>
                  <a:pt x="1920" y="192"/>
                  <a:pt x="1920" y="194"/>
                  <a:pt x="1920" y="195"/>
                </a:cubicBezTo>
                <a:cubicBezTo>
                  <a:pt x="1931" y="186"/>
                  <a:pt x="1931" y="205"/>
                  <a:pt x="1936" y="201"/>
                </a:cubicBezTo>
                <a:cubicBezTo>
                  <a:pt x="1938" y="199"/>
                  <a:pt x="1932" y="184"/>
                  <a:pt x="1937" y="178"/>
                </a:cubicBezTo>
                <a:cubicBezTo>
                  <a:pt x="1944" y="171"/>
                  <a:pt x="1949" y="176"/>
                  <a:pt x="1958" y="172"/>
                </a:cubicBezTo>
                <a:cubicBezTo>
                  <a:pt x="1963" y="169"/>
                  <a:pt x="1967" y="162"/>
                  <a:pt x="1968" y="156"/>
                </a:cubicBezTo>
                <a:cubicBezTo>
                  <a:pt x="1977" y="157"/>
                  <a:pt x="1983" y="161"/>
                  <a:pt x="1989" y="155"/>
                </a:cubicBezTo>
                <a:cubicBezTo>
                  <a:pt x="1988" y="155"/>
                  <a:pt x="1988" y="155"/>
                  <a:pt x="1988" y="155"/>
                </a:cubicBezTo>
                <a:cubicBezTo>
                  <a:pt x="1989" y="154"/>
                  <a:pt x="1991" y="153"/>
                  <a:pt x="1992" y="151"/>
                </a:cubicBezTo>
                <a:cubicBezTo>
                  <a:pt x="1991" y="153"/>
                  <a:pt x="1990" y="154"/>
                  <a:pt x="1989" y="155"/>
                </a:cubicBezTo>
                <a:cubicBezTo>
                  <a:pt x="1992" y="158"/>
                  <a:pt x="1992" y="160"/>
                  <a:pt x="1997" y="161"/>
                </a:cubicBezTo>
                <a:cubicBezTo>
                  <a:pt x="1992" y="166"/>
                  <a:pt x="1995" y="171"/>
                  <a:pt x="1995" y="178"/>
                </a:cubicBezTo>
                <a:cubicBezTo>
                  <a:pt x="2012" y="180"/>
                  <a:pt x="2017" y="172"/>
                  <a:pt x="2009" y="160"/>
                </a:cubicBezTo>
                <a:cubicBezTo>
                  <a:pt x="2008" y="165"/>
                  <a:pt x="2005" y="168"/>
                  <a:pt x="2001" y="171"/>
                </a:cubicBezTo>
                <a:cubicBezTo>
                  <a:pt x="2000" y="160"/>
                  <a:pt x="2000" y="151"/>
                  <a:pt x="2006" y="144"/>
                </a:cubicBezTo>
                <a:cubicBezTo>
                  <a:pt x="1997" y="161"/>
                  <a:pt x="2025" y="152"/>
                  <a:pt x="2033" y="160"/>
                </a:cubicBezTo>
                <a:cubicBezTo>
                  <a:pt x="2033" y="143"/>
                  <a:pt x="2033" y="127"/>
                  <a:pt x="2033" y="111"/>
                </a:cubicBezTo>
                <a:cubicBezTo>
                  <a:pt x="2027" y="114"/>
                  <a:pt x="2025" y="120"/>
                  <a:pt x="2020" y="123"/>
                </a:cubicBezTo>
                <a:cubicBezTo>
                  <a:pt x="2022" y="119"/>
                  <a:pt x="2022" y="116"/>
                  <a:pt x="2018" y="113"/>
                </a:cubicBezTo>
                <a:cubicBezTo>
                  <a:pt x="2021" y="113"/>
                  <a:pt x="2020" y="112"/>
                  <a:pt x="2022" y="110"/>
                </a:cubicBezTo>
                <a:cubicBezTo>
                  <a:pt x="2027" y="110"/>
                  <a:pt x="2028" y="108"/>
                  <a:pt x="2034" y="110"/>
                </a:cubicBezTo>
                <a:cubicBezTo>
                  <a:pt x="2035" y="107"/>
                  <a:pt x="2035" y="100"/>
                  <a:pt x="2034" y="98"/>
                </a:cubicBezTo>
                <a:cubicBezTo>
                  <a:pt x="2031" y="100"/>
                  <a:pt x="2030" y="98"/>
                  <a:pt x="2028" y="104"/>
                </a:cubicBezTo>
                <a:cubicBezTo>
                  <a:pt x="2027" y="103"/>
                  <a:pt x="2027" y="103"/>
                  <a:pt x="2027" y="102"/>
                </a:cubicBezTo>
                <a:cubicBezTo>
                  <a:pt x="2027" y="102"/>
                  <a:pt x="2026" y="102"/>
                  <a:pt x="2025" y="102"/>
                </a:cubicBezTo>
                <a:cubicBezTo>
                  <a:pt x="2034" y="87"/>
                  <a:pt x="1997" y="95"/>
                  <a:pt x="2016" y="100"/>
                </a:cubicBezTo>
                <a:cubicBezTo>
                  <a:pt x="2008" y="122"/>
                  <a:pt x="1979" y="98"/>
                  <a:pt x="1979" y="109"/>
                </a:cubicBezTo>
                <a:cubicBezTo>
                  <a:pt x="1972" y="109"/>
                  <a:pt x="1964" y="108"/>
                  <a:pt x="1957" y="111"/>
                </a:cubicBezTo>
                <a:cubicBezTo>
                  <a:pt x="1957" y="110"/>
                  <a:pt x="1957" y="109"/>
                  <a:pt x="1958" y="109"/>
                </a:cubicBezTo>
                <a:cubicBezTo>
                  <a:pt x="1954" y="105"/>
                  <a:pt x="1944" y="105"/>
                  <a:pt x="1938" y="105"/>
                </a:cubicBezTo>
                <a:cubicBezTo>
                  <a:pt x="1931" y="105"/>
                  <a:pt x="1933" y="111"/>
                  <a:pt x="1923" y="104"/>
                </a:cubicBezTo>
                <a:cubicBezTo>
                  <a:pt x="1921" y="102"/>
                  <a:pt x="1916" y="93"/>
                  <a:pt x="1915" y="92"/>
                </a:cubicBezTo>
                <a:cubicBezTo>
                  <a:pt x="1913" y="91"/>
                  <a:pt x="1907" y="92"/>
                  <a:pt x="1907" y="92"/>
                </a:cubicBezTo>
                <a:cubicBezTo>
                  <a:pt x="1902" y="89"/>
                  <a:pt x="1891" y="88"/>
                  <a:pt x="1889" y="81"/>
                </a:cubicBezTo>
                <a:cubicBezTo>
                  <a:pt x="1886" y="72"/>
                  <a:pt x="1889" y="66"/>
                  <a:pt x="1897" y="64"/>
                </a:cubicBezTo>
                <a:cubicBezTo>
                  <a:pt x="1896" y="64"/>
                  <a:pt x="1903" y="69"/>
                  <a:pt x="1904" y="70"/>
                </a:cubicBezTo>
                <a:cubicBezTo>
                  <a:pt x="1909" y="70"/>
                  <a:pt x="1910" y="65"/>
                  <a:pt x="1915" y="65"/>
                </a:cubicBezTo>
                <a:cubicBezTo>
                  <a:pt x="1925" y="67"/>
                  <a:pt x="1935" y="73"/>
                  <a:pt x="1947" y="74"/>
                </a:cubicBezTo>
                <a:cubicBezTo>
                  <a:pt x="1954" y="75"/>
                  <a:pt x="1965" y="68"/>
                  <a:pt x="1968" y="78"/>
                </a:cubicBezTo>
                <a:cubicBezTo>
                  <a:pt x="1976" y="71"/>
                  <a:pt x="1993" y="64"/>
                  <a:pt x="1980" y="54"/>
                </a:cubicBezTo>
                <a:cubicBezTo>
                  <a:pt x="1985" y="54"/>
                  <a:pt x="2006" y="75"/>
                  <a:pt x="1999" y="56"/>
                </a:cubicBezTo>
                <a:cubicBezTo>
                  <a:pt x="2006" y="59"/>
                  <a:pt x="2020" y="61"/>
                  <a:pt x="2024" y="52"/>
                </a:cubicBezTo>
                <a:cubicBezTo>
                  <a:pt x="2030" y="40"/>
                  <a:pt x="2019" y="45"/>
                  <a:pt x="2013" y="41"/>
                </a:cubicBezTo>
                <a:cubicBezTo>
                  <a:pt x="2001" y="34"/>
                  <a:pt x="1994" y="26"/>
                  <a:pt x="1978" y="28"/>
                </a:cubicBezTo>
                <a:cubicBezTo>
                  <a:pt x="1968" y="30"/>
                  <a:pt x="1963" y="39"/>
                  <a:pt x="1954" y="33"/>
                </a:cubicBezTo>
                <a:cubicBezTo>
                  <a:pt x="1966" y="23"/>
                  <a:pt x="1947" y="20"/>
                  <a:pt x="1941" y="30"/>
                </a:cubicBezTo>
                <a:cubicBezTo>
                  <a:pt x="1939" y="22"/>
                  <a:pt x="1928" y="25"/>
                  <a:pt x="1919" y="25"/>
                </a:cubicBezTo>
                <a:cubicBezTo>
                  <a:pt x="1912" y="25"/>
                  <a:pt x="1899" y="27"/>
                  <a:pt x="1904" y="33"/>
                </a:cubicBezTo>
                <a:cubicBezTo>
                  <a:pt x="1895" y="40"/>
                  <a:pt x="1895" y="25"/>
                  <a:pt x="1899" y="19"/>
                </a:cubicBezTo>
                <a:cubicBezTo>
                  <a:pt x="1896" y="19"/>
                  <a:pt x="1891" y="21"/>
                  <a:pt x="1889" y="22"/>
                </a:cubicBezTo>
                <a:cubicBezTo>
                  <a:pt x="1897" y="28"/>
                  <a:pt x="1883" y="37"/>
                  <a:pt x="1873" y="37"/>
                </a:cubicBezTo>
                <a:cubicBezTo>
                  <a:pt x="1876" y="37"/>
                  <a:pt x="1879" y="36"/>
                  <a:pt x="1882" y="35"/>
                </a:cubicBezTo>
                <a:cubicBezTo>
                  <a:pt x="1878" y="26"/>
                  <a:pt x="1856" y="31"/>
                  <a:pt x="1847" y="25"/>
                </a:cubicBezTo>
                <a:cubicBezTo>
                  <a:pt x="1852" y="21"/>
                  <a:pt x="1854" y="21"/>
                  <a:pt x="1849" y="17"/>
                </a:cubicBezTo>
                <a:cubicBezTo>
                  <a:pt x="1867" y="12"/>
                  <a:pt x="1892" y="15"/>
                  <a:pt x="1911" y="15"/>
                </a:cubicBezTo>
                <a:cubicBezTo>
                  <a:pt x="1900" y="9"/>
                  <a:pt x="1884" y="14"/>
                  <a:pt x="1871" y="14"/>
                </a:cubicBezTo>
                <a:cubicBezTo>
                  <a:pt x="1858" y="13"/>
                  <a:pt x="1844" y="12"/>
                  <a:pt x="1831" y="11"/>
                </a:cubicBezTo>
                <a:cubicBezTo>
                  <a:pt x="1819" y="10"/>
                  <a:pt x="1785" y="2"/>
                  <a:pt x="1775" y="13"/>
                </a:cubicBezTo>
                <a:cubicBezTo>
                  <a:pt x="1783" y="19"/>
                  <a:pt x="1781" y="28"/>
                  <a:pt x="1787" y="31"/>
                </a:cubicBezTo>
                <a:cubicBezTo>
                  <a:pt x="1786" y="31"/>
                  <a:pt x="1785" y="32"/>
                  <a:pt x="1784" y="32"/>
                </a:cubicBezTo>
                <a:cubicBezTo>
                  <a:pt x="1778" y="30"/>
                  <a:pt x="1765" y="31"/>
                  <a:pt x="1759" y="27"/>
                </a:cubicBezTo>
                <a:cubicBezTo>
                  <a:pt x="1753" y="24"/>
                  <a:pt x="1772" y="22"/>
                  <a:pt x="1772" y="12"/>
                </a:cubicBezTo>
                <a:cubicBezTo>
                  <a:pt x="1765" y="9"/>
                  <a:pt x="1767" y="14"/>
                  <a:pt x="1767" y="7"/>
                </a:cubicBezTo>
                <a:cubicBezTo>
                  <a:pt x="1760" y="7"/>
                  <a:pt x="1759" y="15"/>
                  <a:pt x="1755" y="15"/>
                </a:cubicBezTo>
                <a:cubicBezTo>
                  <a:pt x="1749" y="17"/>
                  <a:pt x="1748" y="14"/>
                  <a:pt x="1742" y="14"/>
                </a:cubicBezTo>
                <a:cubicBezTo>
                  <a:pt x="1736" y="13"/>
                  <a:pt x="1733" y="0"/>
                  <a:pt x="1730" y="12"/>
                </a:cubicBezTo>
                <a:cubicBezTo>
                  <a:pt x="1726" y="41"/>
                  <a:pt x="1763" y="25"/>
                  <a:pt x="1771" y="37"/>
                </a:cubicBezTo>
                <a:cubicBezTo>
                  <a:pt x="1756" y="39"/>
                  <a:pt x="1771" y="41"/>
                  <a:pt x="1780" y="37"/>
                </a:cubicBezTo>
                <a:cubicBezTo>
                  <a:pt x="1781" y="37"/>
                  <a:pt x="1789" y="33"/>
                  <a:pt x="1791" y="33"/>
                </a:cubicBezTo>
                <a:cubicBezTo>
                  <a:pt x="1789" y="39"/>
                  <a:pt x="1784" y="38"/>
                  <a:pt x="1781" y="42"/>
                </a:cubicBezTo>
                <a:cubicBezTo>
                  <a:pt x="1779" y="46"/>
                  <a:pt x="1781" y="50"/>
                  <a:pt x="1779" y="53"/>
                </a:cubicBezTo>
                <a:cubicBezTo>
                  <a:pt x="1771" y="51"/>
                  <a:pt x="1764" y="51"/>
                  <a:pt x="1757" y="47"/>
                </a:cubicBezTo>
                <a:cubicBezTo>
                  <a:pt x="1759" y="51"/>
                  <a:pt x="1767" y="56"/>
                  <a:pt x="1774" y="56"/>
                </a:cubicBezTo>
                <a:cubicBezTo>
                  <a:pt x="1798" y="64"/>
                  <a:pt x="1822" y="67"/>
                  <a:pt x="1843" y="54"/>
                </a:cubicBezTo>
                <a:cubicBezTo>
                  <a:pt x="1831" y="41"/>
                  <a:pt x="1812" y="56"/>
                  <a:pt x="1800" y="50"/>
                </a:cubicBezTo>
                <a:cubicBezTo>
                  <a:pt x="1793" y="60"/>
                  <a:pt x="1784" y="46"/>
                  <a:pt x="1797" y="38"/>
                </a:cubicBezTo>
                <a:cubicBezTo>
                  <a:pt x="1800" y="38"/>
                  <a:pt x="1803" y="36"/>
                  <a:pt x="1807" y="32"/>
                </a:cubicBezTo>
                <a:cubicBezTo>
                  <a:pt x="1800" y="27"/>
                  <a:pt x="1794" y="21"/>
                  <a:pt x="1785" y="23"/>
                </a:cubicBezTo>
                <a:cubicBezTo>
                  <a:pt x="1788" y="11"/>
                  <a:pt x="1813" y="9"/>
                  <a:pt x="1821" y="16"/>
                </a:cubicBezTo>
                <a:cubicBezTo>
                  <a:pt x="1821" y="16"/>
                  <a:pt x="1820" y="16"/>
                  <a:pt x="1819" y="15"/>
                </a:cubicBezTo>
                <a:cubicBezTo>
                  <a:pt x="1816" y="19"/>
                  <a:pt x="1796" y="13"/>
                  <a:pt x="1801" y="22"/>
                </a:cubicBezTo>
                <a:cubicBezTo>
                  <a:pt x="1799" y="19"/>
                  <a:pt x="1827" y="23"/>
                  <a:pt x="1808" y="31"/>
                </a:cubicBezTo>
                <a:cubicBezTo>
                  <a:pt x="1813" y="39"/>
                  <a:pt x="1825" y="23"/>
                  <a:pt x="1836" y="32"/>
                </a:cubicBezTo>
                <a:cubicBezTo>
                  <a:pt x="1842" y="36"/>
                  <a:pt x="1842" y="43"/>
                  <a:pt x="1848" y="46"/>
                </a:cubicBezTo>
                <a:cubicBezTo>
                  <a:pt x="1852" y="47"/>
                  <a:pt x="1854" y="40"/>
                  <a:pt x="1858" y="42"/>
                </a:cubicBezTo>
                <a:cubicBezTo>
                  <a:pt x="1863" y="44"/>
                  <a:pt x="1869" y="53"/>
                  <a:pt x="1872" y="59"/>
                </a:cubicBezTo>
                <a:cubicBezTo>
                  <a:pt x="1879" y="56"/>
                  <a:pt x="1880" y="58"/>
                  <a:pt x="1879" y="65"/>
                </a:cubicBezTo>
                <a:cubicBezTo>
                  <a:pt x="1880" y="64"/>
                  <a:pt x="1887" y="54"/>
                  <a:pt x="1889" y="61"/>
                </a:cubicBezTo>
                <a:cubicBezTo>
                  <a:pt x="1889" y="64"/>
                  <a:pt x="1882" y="71"/>
                  <a:pt x="1882" y="75"/>
                </a:cubicBezTo>
                <a:cubicBezTo>
                  <a:pt x="1876" y="77"/>
                  <a:pt x="1872" y="76"/>
                  <a:pt x="1872" y="69"/>
                </a:cubicBezTo>
                <a:cubicBezTo>
                  <a:pt x="1865" y="71"/>
                  <a:pt x="1861" y="67"/>
                  <a:pt x="1860" y="60"/>
                </a:cubicBezTo>
                <a:cubicBezTo>
                  <a:pt x="1862" y="59"/>
                  <a:pt x="1864" y="60"/>
                  <a:pt x="1863" y="57"/>
                </a:cubicBezTo>
                <a:cubicBezTo>
                  <a:pt x="1844" y="63"/>
                  <a:pt x="1848" y="76"/>
                  <a:pt x="1860" y="89"/>
                </a:cubicBezTo>
                <a:cubicBezTo>
                  <a:pt x="1865" y="80"/>
                  <a:pt x="1854" y="66"/>
                  <a:pt x="1868" y="76"/>
                </a:cubicBezTo>
                <a:cubicBezTo>
                  <a:pt x="1868" y="75"/>
                  <a:pt x="1867" y="75"/>
                  <a:pt x="1867" y="75"/>
                </a:cubicBezTo>
                <a:cubicBezTo>
                  <a:pt x="1868" y="75"/>
                  <a:pt x="1868" y="75"/>
                  <a:pt x="1868" y="76"/>
                </a:cubicBezTo>
                <a:cubicBezTo>
                  <a:pt x="1868" y="76"/>
                  <a:pt x="1868" y="76"/>
                  <a:pt x="1868" y="76"/>
                </a:cubicBezTo>
                <a:cubicBezTo>
                  <a:pt x="1871" y="80"/>
                  <a:pt x="1875" y="85"/>
                  <a:pt x="1879" y="89"/>
                </a:cubicBezTo>
                <a:cubicBezTo>
                  <a:pt x="1881" y="92"/>
                  <a:pt x="1888" y="100"/>
                  <a:pt x="1893" y="102"/>
                </a:cubicBezTo>
                <a:cubicBezTo>
                  <a:pt x="1902" y="79"/>
                  <a:pt x="1895" y="110"/>
                  <a:pt x="1892" y="102"/>
                </a:cubicBezTo>
                <a:cubicBezTo>
                  <a:pt x="1896" y="111"/>
                  <a:pt x="1900" y="105"/>
                  <a:pt x="1909" y="110"/>
                </a:cubicBezTo>
                <a:cubicBezTo>
                  <a:pt x="1923" y="119"/>
                  <a:pt x="1910" y="121"/>
                  <a:pt x="1914" y="132"/>
                </a:cubicBezTo>
                <a:cubicBezTo>
                  <a:pt x="1916" y="137"/>
                  <a:pt x="1929" y="142"/>
                  <a:pt x="1934" y="132"/>
                </a:cubicBezTo>
                <a:cubicBezTo>
                  <a:pt x="1927" y="134"/>
                  <a:pt x="1921" y="134"/>
                  <a:pt x="1920" y="126"/>
                </a:cubicBezTo>
                <a:cubicBezTo>
                  <a:pt x="1928" y="133"/>
                  <a:pt x="1934" y="109"/>
                  <a:pt x="1945" y="113"/>
                </a:cubicBezTo>
                <a:cubicBezTo>
                  <a:pt x="1944" y="122"/>
                  <a:pt x="1947" y="132"/>
                  <a:pt x="1938" y="137"/>
                </a:cubicBezTo>
                <a:cubicBezTo>
                  <a:pt x="1939" y="137"/>
                  <a:pt x="1941" y="137"/>
                  <a:pt x="1942" y="137"/>
                </a:cubicBezTo>
                <a:cubicBezTo>
                  <a:pt x="1935" y="139"/>
                  <a:pt x="1929" y="142"/>
                  <a:pt x="1930" y="148"/>
                </a:cubicBezTo>
                <a:cubicBezTo>
                  <a:pt x="1924" y="145"/>
                  <a:pt x="1918" y="134"/>
                  <a:pt x="1911" y="141"/>
                </a:cubicBezTo>
                <a:cubicBezTo>
                  <a:pt x="1901" y="149"/>
                  <a:pt x="1923" y="147"/>
                  <a:pt x="1915" y="153"/>
                </a:cubicBezTo>
                <a:cubicBezTo>
                  <a:pt x="1910" y="157"/>
                  <a:pt x="1897" y="147"/>
                  <a:pt x="1896" y="148"/>
                </a:cubicBezTo>
                <a:cubicBezTo>
                  <a:pt x="1889" y="152"/>
                  <a:pt x="1898" y="157"/>
                  <a:pt x="1891" y="163"/>
                </a:cubicBezTo>
                <a:cubicBezTo>
                  <a:pt x="1884" y="152"/>
                  <a:pt x="1885" y="171"/>
                  <a:pt x="1878" y="166"/>
                </a:cubicBezTo>
                <a:cubicBezTo>
                  <a:pt x="1870" y="159"/>
                  <a:pt x="1884" y="148"/>
                  <a:pt x="1869" y="147"/>
                </a:cubicBezTo>
                <a:cubicBezTo>
                  <a:pt x="1877" y="142"/>
                  <a:pt x="1880" y="128"/>
                  <a:pt x="1871" y="123"/>
                </a:cubicBezTo>
                <a:cubicBezTo>
                  <a:pt x="1857" y="116"/>
                  <a:pt x="1865" y="134"/>
                  <a:pt x="1866" y="131"/>
                </a:cubicBezTo>
                <a:cubicBezTo>
                  <a:pt x="1863" y="139"/>
                  <a:pt x="1872" y="135"/>
                  <a:pt x="1862" y="137"/>
                </a:cubicBezTo>
                <a:cubicBezTo>
                  <a:pt x="1857" y="138"/>
                  <a:pt x="1850" y="136"/>
                  <a:pt x="1846" y="135"/>
                </a:cubicBezTo>
                <a:cubicBezTo>
                  <a:pt x="1846" y="133"/>
                  <a:pt x="1846" y="131"/>
                  <a:pt x="1847" y="128"/>
                </a:cubicBezTo>
                <a:cubicBezTo>
                  <a:pt x="1823" y="118"/>
                  <a:pt x="1842" y="165"/>
                  <a:pt x="1843" y="139"/>
                </a:cubicBezTo>
                <a:cubicBezTo>
                  <a:pt x="1843" y="139"/>
                  <a:pt x="1844" y="139"/>
                  <a:pt x="1844" y="139"/>
                </a:cubicBezTo>
                <a:cubicBezTo>
                  <a:pt x="1847" y="147"/>
                  <a:pt x="1856" y="155"/>
                  <a:pt x="1862" y="154"/>
                </a:cubicBezTo>
                <a:cubicBezTo>
                  <a:pt x="1865" y="180"/>
                  <a:pt x="1824" y="131"/>
                  <a:pt x="1835" y="167"/>
                </a:cubicBezTo>
                <a:cubicBezTo>
                  <a:pt x="1827" y="165"/>
                  <a:pt x="1823" y="170"/>
                  <a:pt x="1822" y="176"/>
                </a:cubicBezTo>
                <a:cubicBezTo>
                  <a:pt x="1814" y="166"/>
                  <a:pt x="1825" y="167"/>
                  <a:pt x="1827" y="159"/>
                </a:cubicBezTo>
                <a:cubicBezTo>
                  <a:pt x="1829" y="153"/>
                  <a:pt x="1827" y="150"/>
                  <a:pt x="1826" y="143"/>
                </a:cubicBezTo>
                <a:cubicBezTo>
                  <a:pt x="1820" y="145"/>
                  <a:pt x="1822" y="149"/>
                  <a:pt x="1817" y="151"/>
                </a:cubicBezTo>
                <a:cubicBezTo>
                  <a:pt x="1821" y="149"/>
                  <a:pt x="1807" y="163"/>
                  <a:pt x="1809" y="158"/>
                </a:cubicBezTo>
                <a:cubicBezTo>
                  <a:pt x="1806" y="164"/>
                  <a:pt x="1809" y="174"/>
                  <a:pt x="1801" y="174"/>
                </a:cubicBezTo>
                <a:cubicBezTo>
                  <a:pt x="1807" y="158"/>
                  <a:pt x="1789" y="167"/>
                  <a:pt x="1788" y="158"/>
                </a:cubicBezTo>
                <a:cubicBezTo>
                  <a:pt x="1788" y="152"/>
                  <a:pt x="1799" y="154"/>
                  <a:pt x="1803" y="152"/>
                </a:cubicBezTo>
                <a:cubicBezTo>
                  <a:pt x="1813" y="147"/>
                  <a:pt x="1809" y="142"/>
                  <a:pt x="1814" y="135"/>
                </a:cubicBezTo>
                <a:cubicBezTo>
                  <a:pt x="1818" y="131"/>
                  <a:pt x="1825" y="133"/>
                  <a:pt x="1828" y="125"/>
                </a:cubicBezTo>
                <a:cubicBezTo>
                  <a:pt x="1826" y="126"/>
                  <a:pt x="1823" y="126"/>
                  <a:pt x="1821" y="126"/>
                </a:cubicBezTo>
                <a:cubicBezTo>
                  <a:pt x="1823" y="115"/>
                  <a:pt x="1829" y="117"/>
                  <a:pt x="1836" y="114"/>
                </a:cubicBezTo>
                <a:cubicBezTo>
                  <a:pt x="1840" y="112"/>
                  <a:pt x="1837" y="124"/>
                  <a:pt x="1843" y="112"/>
                </a:cubicBezTo>
                <a:cubicBezTo>
                  <a:pt x="1852" y="91"/>
                  <a:pt x="1831" y="113"/>
                  <a:pt x="1829" y="101"/>
                </a:cubicBezTo>
                <a:cubicBezTo>
                  <a:pt x="1825" y="102"/>
                  <a:pt x="1811" y="134"/>
                  <a:pt x="1807" y="112"/>
                </a:cubicBezTo>
                <a:cubicBezTo>
                  <a:pt x="1802" y="113"/>
                  <a:pt x="1792" y="114"/>
                  <a:pt x="1791" y="123"/>
                </a:cubicBezTo>
                <a:cubicBezTo>
                  <a:pt x="1798" y="120"/>
                  <a:pt x="1815" y="118"/>
                  <a:pt x="1803" y="126"/>
                </a:cubicBezTo>
                <a:cubicBezTo>
                  <a:pt x="1810" y="133"/>
                  <a:pt x="1802" y="140"/>
                  <a:pt x="1797" y="144"/>
                </a:cubicBezTo>
                <a:cubicBezTo>
                  <a:pt x="1796" y="133"/>
                  <a:pt x="1784" y="143"/>
                  <a:pt x="1781" y="149"/>
                </a:cubicBezTo>
                <a:cubicBezTo>
                  <a:pt x="1779" y="154"/>
                  <a:pt x="1784" y="161"/>
                  <a:pt x="1780" y="164"/>
                </a:cubicBezTo>
                <a:cubicBezTo>
                  <a:pt x="1776" y="168"/>
                  <a:pt x="1772" y="164"/>
                  <a:pt x="1768" y="166"/>
                </a:cubicBezTo>
                <a:cubicBezTo>
                  <a:pt x="1749" y="174"/>
                  <a:pt x="1761" y="177"/>
                  <a:pt x="1764" y="193"/>
                </a:cubicBezTo>
                <a:cubicBezTo>
                  <a:pt x="1756" y="193"/>
                  <a:pt x="1742" y="203"/>
                  <a:pt x="1758" y="203"/>
                </a:cubicBezTo>
                <a:cubicBezTo>
                  <a:pt x="1754" y="206"/>
                  <a:pt x="1719" y="219"/>
                  <a:pt x="1730" y="230"/>
                </a:cubicBezTo>
                <a:cubicBezTo>
                  <a:pt x="1729" y="231"/>
                  <a:pt x="1724" y="233"/>
                  <a:pt x="1723" y="233"/>
                </a:cubicBezTo>
                <a:cubicBezTo>
                  <a:pt x="1711" y="215"/>
                  <a:pt x="1709" y="268"/>
                  <a:pt x="1709" y="269"/>
                </a:cubicBezTo>
                <a:cubicBezTo>
                  <a:pt x="1709" y="269"/>
                  <a:pt x="1712" y="268"/>
                  <a:pt x="1712" y="269"/>
                </a:cubicBezTo>
                <a:cubicBezTo>
                  <a:pt x="1711" y="277"/>
                  <a:pt x="1706" y="277"/>
                  <a:pt x="1704" y="282"/>
                </a:cubicBezTo>
                <a:cubicBezTo>
                  <a:pt x="1700" y="273"/>
                  <a:pt x="1690" y="278"/>
                  <a:pt x="1687" y="287"/>
                </a:cubicBezTo>
                <a:cubicBezTo>
                  <a:pt x="1686" y="285"/>
                  <a:pt x="1684" y="282"/>
                  <a:pt x="1684" y="280"/>
                </a:cubicBezTo>
                <a:cubicBezTo>
                  <a:pt x="1678" y="292"/>
                  <a:pt x="1671" y="306"/>
                  <a:pt x="1667" y="319"/>
                </a:cubicBezTo>
                <a:cubicBezTo>
                  <a:pt x="1664" y="328"/>
                  <a:pt x="1667" y="331"/>
                  <a:pt x="1661" y="340"/>
                </a:cubicBezTo>
                <a:cubicBezTo>
                  <a:pt x="1662" y="338"/>
                  <a:pt x="1663" y="336"/>
                  <a:pt x="1663" y="334"/>
                </a:cubicBezTo>
                <a:cubicBezTo>
                  <a:pt x="1655" y="336"/>
                  <a:pt x="1648" y="354"/>
                  <a:pt x="1642" y="349"/>
                </a:cubicBezTo>
                <a:cubicBezTo>
                  <a:pt x="1642" y="349"/>
                  <a:pt x="1642" y="349"/>
                  <a:pt x="1642" y="349"/>
                </a:cubicBezTo>
                <a:cubicBezTo>
                  <a:pt x="1640" y="349"/>
                  <a:pt x="1641" y="347"/>
                  <a:pt x="1640" y="345"/>
                </a:cubicBezTo>
                <a:cubicBezTo>
                  <a:pt x="1641" y="347"/>
                  <a:pt x="1642" y="348"/>
                  <a:pt x="1642" y="349"/>
                </a:cubicBezTo>
                <a:cubicBezTo>
                  <a:pt x="1657" y="335"/>
                  <a:pt x="1661" y="309"/>
                  <a:pt x="1668" y="291"/>
                </a:cubicBezTo>
                <a:cubicBezTo>
                  <a:pt x="1673" y="281"/>
                  <a:pt x="1675" y="268"/>
                  <a:pt x="1679" y="257"/>
                </a:cubicBezTo>
                <a:cubicBezTo>
                  <a:pt x="1684" y="244"/>
                  <a:pt x="1693" y="235"/>
                  <a:pt x="1698" y="222"/>
                </a:cubicBezTo>
                <a:cubicBezTo>
                  <a:pt x="1700" y="218"/>
                  <a:pt x="1697" y="215"/>
                  <a:pt x="1699" y="211"/>
                </a:cubicBezTo>
                <a:cubicBezTo>
                  <a:pt x="1700" y="209"/>
                  <a:pt x="1704" y="206"/>
                  <a:pt x="1705" y="204"/>
                </a:cubicBezTo>
                <a:cubicBezTo>
                  <a:pt x="1708" y="195"/>
                  <a:pt x="1707" y="192"/>
                  <a:pt x="1708" y="183"/>
                </a:cubicBezTo>
                <a:cubicBezTo>
                  <a:pt x="1708" y="185"/>
                  <a:pt x="1719" y="164"/>
                  <a:pt x="1713" y="167"/>
                </a:cubicBezTo>
                <a:cubicBezTo>
                  <a:pt x="1723" y="162"/>
                  <a:pt x="1742" y="172"/>
                  <a:pt x="1729" y="183"/>
                </a:cubicBezTo>
                <a:cubicBezTo>
                  <a:pt x="1734" y="185"/>
                  <a:pt x="1751" y="185"/>
                  <a:pt x="1755" y="179"/>
                </a:cubicBezTo>
                <a:cubicBezTo>
                  <a:pt x="1759" y="171"/>
                  <a:pt x="1748" y="172"/>
                  <a:pt x="1743" y="168"/>
                </a:cubicBezTo>
                <a:cubicBezTo>
                  <a:pt x="1737" y="170"/>
                  <a:pt x="1735" y="171"/>
                  <a:pt x="1743" y="167"/>
                </a:cubicBezTo>
                <a:cubicBezTo>
                  <a:pt x="1740" y="160"/>
                  <a:pt x="1747" y="144"/>
                  <a:pt x="1737" y="148"/>
                </a:cubicBezTo>
                <a:cubicBezTo>
                  <a:pt x="1731" y="149"/>
                  <a:pt x="1738" y="161"/>
                  <a:pt x="1726" y="162"/>
                </a:cubicBezTo>
                <a:cubicBezTo>
                  <a:pt x="1699" y="162"/>
                  <a:pt x="1731" y="124"/>
                  <a:pt x="1733" y="119"/>
                </a:cubicBezTo>
                <a:cubicBezTo>
                  <a:pt x="1720" y="119"/>
                  <a:pt x="1727" y="113"/>
                  <a:pt x="1738" y="119"/>
                </a:cubicBezTo>
                <a:cubicBezTo>
                  <a:pt x="1747" y="124"/>
                  <a:pt x="1754" y="131"/>
                  <a:pt x="1743" y="139"/>
                </a:cubicBezTo>
                <a:cubicBezTo>
                  <a:pt x="1749" y="139"/>
                  <a:pt x="1748" y="141"/>
                  <a:pt x="1752" y="143"/>
                </a:cubicBezTo>
                <a:cubicBezTo>
                  <a:pt x="1738" y="153"/>
                  <a:pt x="1761" y="159"/>
                  <a:pt x="1769" y="156"/>
                </a:cubicBezTo>
                <a:cubicBezTo>
                  <a:pt x="1793" y="149"/>
                  <a:pt x="1759" y="148"/>
                  <a:pt x="1750" y="148"/>
                </a:cubicBezTo>
                <a:cubicBezTo>
                  <a:pt x="1754" y="141"/>
                  <a:pt x="1764" y="143"/>
                  <a:pt x="1763" y="132"/>
                </a:cubicBezTo>
                <a:cubicBezTo>
                  <a:pt x="1761" y="135"/>
                  <a:pt x="1757" y="136"/>
                  <a:pt x="1755" y="138"/>
                </a:cubicBezTo>
                <a:cubicBezTo>
                  <a:pt x="1757" y="129"/>
                  <a:pt x="1774" y="124"/>
                  <a:pt x="1770" y="116"/>
                </a:cubicBezTo>
                <a:cubicBezTo>
                  <a:pt x="1772" y="119"/>
                  <a:pt x="1751" y="117"/>
                  <a:pt x="1750" y="118"/>
                </a:cubicBezTo>
                <a:cubicBezTo>
                  <a:pt x="1745" y="113"/>
                  <a:pt x="1746" y="107"/>
                  <a:pt x="1751" y="102"/>
                </a:cubicBezTo>
                <a:cubicBezTo>
                  <a:pt x="1755" y="114"/>
                  <a:pt x="1762" y="104"/>
                  <a:pt x="1754" y="94"/>
                </a:cubicBezTo>
                <a:cubicBezTo>
                  <a:pt x="1752" y="93"/>
                  <a:pt x="1735" y="84"/>
                  <a:pt x="1735" y="84"/>
                </a:cubicBezTo>
                <a:cubicBezTo>
                  <a:pt x="1733" y="63"/>
                  <a:pt x="1751" y="83"/>
                  <a:pt x="1755" y="88"/>
                </a:cubicBezTo>
                <a:cubicBezTo>
                  <a:pt x="1762" y="96"/>
                  <a:pt x="1776" y="104"/>
                  <a:pt x="1780" y="114"/>
                </a:cubicBezTo>
                <a:cubicBezTo>
                  <a:pt x="1780" y="112"/>
                  <a:pt x="1781" y="109"/>
                  <a:pt x="1781" y="106"/>
                </a:cubicBezTo>
                <a:cubicBezTo>
                  <a:pt x="1786" y="105"/>
                  <a:pt x="1812" y="98"/>
                  <a:pt x="1802" y="88"/>
                </a:cubicBezTo>
                <a:cubicBezTo>
                  <a:pt x="1799" y="84"/>
                  <a:pt x="1785" y="91"/>
                  <a:pt x="1779" y="90"/>
                </a:cubicBezTo>
                <a:cubicBezTo>
                  <a:pt x="1775" y="90"/>
                  <a:pt x="1767" y="81"/>
                  <a:pt x="1764" y="79"/>
                </a:cubicBezTo>
                <a:cubicBezTo>
                  <a:pt x="1763" y="79"/>
                  <a:pt x="1762" y="74"/>
                  <a:pt x="1760" y="73"/>
                </a:cubicBezTo>
                <a:cubicBezTo>
                  <a:pt x="1757" y="71"/>
                  <a:pt x="1754" y="74"/>
                  <a:pt x="1751" y="73"/>
                </a:cubicBezTo>
                <a:cubicBezTo>
                  <a:pt x="1743" y="70"/>
                  <a:pt x="1735" y="70"/>
                  <a:pt x="1727" y="71"/>
                </a:cubicBezTo>
                <a:cubicBezTo>
                  <a:pt x="1729" y="69"/>
                  <a:pt x="1728" y="68"/>
                  <a:pt x="1730" y="65"/>
                </a:cubicBezTo>
                <a:cubicBezTo>
                  <a:pt x="1717" y="63"/>
                  <a:pt x="1665" y="48"/>
                  <a:pt x="1664" y="74"/>
                </a:cubicBezTo>
                <a:cubicBezTo>
                  <a:pt x="1661" y="65"/>
                  <a:pt x="1649" y="59"/>
                  <a:pt x="1645" y="70"/>
                </a:cubicBezTo>
                <a:cubicBezTo>
                  <a:pt x="1643" y="76"/>
                  <a:pt x="1649" y="88"/>
                  <a:pt x="1648" y="94"/>
                </a:cubicBezTo>
                <a:cubicBezTo>
                  <a:pt x="1647" y="96"/>
                  <a:pt x="1642" y="98"/>
                  <a:pt x="1641" y="102"/>
                </a:cubicBezTo>
                <a:cubicBezTo>
                  <a:pt x="1639" y="107"/>
                  <a:pt x="1644" y="113"/>
                  <a:pt x="1641" y="119"/>
                </a:cubicBezTo>
                <a:cubicBezTo>
                  <a:pt x="1640" y="121"/>
                  <a:pt x="1632" y="117"/>
                  <a:pt x="1632" y="119"/>
                </a:cubicBezTo>
                <a:cubicBezTo>
                  <a:pt x="1631" y="122"/>
                  <a:pt x="1635" y="128"/>
                  <a:pt x="1635" y="130"/>
                </a:cubicBezTo>
                <a:cubicBezTo>
                  <a:pt x="1634" y="136"/>
                  <a:pt x="1642" y="144"/>
                  <a:pt x="1628" y="132"/>
                </a:cubicBezTo>
                <a:cubicBezTo>
                  <a:pt x="1619" y="123"/>
                  <a:pt x="1628" y="126"/>
                  <a:pt x="1624" y="115"/>
                </a:cubicBezTo>
                <a:cubicBezTo>
                  <a:pt x="1620" y="107"/>
                  <a:pt x="1615" y="104"/>
                  <a:pt x="1609" y="102"/>
                </a:cubicBezTo>
                <a:cubicBezTo>
                  <a:pt x="1608" y="102"/>
                  <a:pt x="1595" y="98"/>
                  <a:pt x="1594" y="97"/>
                </a:cubicBezTo>
                <a:cubicBezTo>
                  <a:pt x="1593" y="96"/>
                  <a:pt x="1589" y="89"/>
                  <a:pt x="1592" y="91"/>
                </a:cubicBezTo>
                <a:cubicBezTo>
                  <a:pt x="1584" y="85"/>
                  <a:pt x="1587" y="81"/>
                  <a:pt x="1576" y="87"/>
                </a:cubicBezTo>
                <a:cubicBezTo>
                  <a:pt x="1566" y="93"/>
                  <a:pt x="1561" y="105"/>
                  <a:pt x="1565" y="115"/>
                </a:cubicBezTo>
                <a:cubicBezTo>
                  <a:pt x="1562" y="114"/>
                  <a:pt x="1559" y="114"/>
                  <a:pt x="1556" y="112"/>
                </a:cubicBezTo>
                <a:cubicBezTo>
                  <a:pt x="1547" y="119"/>
                  <a:pt x="1531" y="84"/>
                  <a:pt x="1529" y="106"/>
                </a:cubicBezTo>
                <a:cubicBezTo>
                  <a:pt x="1526" y="100"/>
                  <a:pt x="1506" y="79"/>
                  <a:pt x="1501" y="80"/>
                </a:cubicBezTo>
                <a:cubicBezTo>
                  <a:pt x="1491" y="81"/>
                  <a:pt x="1494" y="99"/>
                  <a:pt x="1485" y="96"/>
                </a:cubicBezTo>
                <a:cubicBezTo>
                  <a:pt x="1481" y="101"/>
                  <a:pt x="1480" y="101"/>
                  <a:pt x="1482" y="106"/>
                </a:cubicBezTo>
                <a:cubicBezTo>
                  <a:pt x="1473" y="103"/>
                  <a:pt x="1462" y="113"/>
                  <a:pt x="1455" y="119"/>
                </a:cubicBezTo>
                <a:cubicBezTo>
                  <a:pt x="1456" y="113"/>
                  <a:pt x="1439" y="97"/>
                  <a:pt x="1428" y="104"/>
                </a:cubicBezTo>
                <a:cubicBezTo>
                  <a:pt x="1427" y="99"/>
                  <a:pt x="1424" y="94"/>
                  <a:pt x="1420" y="90"/>
                </a:cubicBezTo>
                <a:cubicBezTo>
                  <a:pt x="1424" y="88"/>
                  <a:pt x="1439" y="92"/>
                  <a:pt x="1444" y="95"/>
                </a:cubicBezTo>
                <a:cubicBezTo>
                  <a:pt x="1450" y="98"/>
                  <a:pt x="1463" y="115"/>
                  <a:pt x="1461" y="98"/>
                </a:cubicBezTo>
                <a:cubicBezTo>
                  <a:pt x="1472" y="106"/>
                  <a:pt x="1495" y="83"/>
                  <a:pt x="1487" y="73"/>
                </a:cubicBezTo>
                <a:cubicBezTo>
                  <a:pt x="1484" y="70"/>
                  <a:pt x="1474" y="71"/>
                  <a:pt x="1469" y="70"/>
                </a:cubicBezTo>
                <a:cubicBezTo>
                  <a:pt x="1466" y="69"/>
                  <a:pt x="1455" y="54"/>
                  <a:pt x="1452" y="67"/>
                </a:cubicBezTo>
                <a:cubicBezTo>
                  <a:pt x="1450" y="77"/>
                  <a:pt x="1466" y="71"/>
                  <a:pt x="1467" y="77"/>
                </a:cubicBezTo>
                <a:cubicBezTo>
                  <a:pt x="1468" y="84"/>
                  <a:pt x="1457" y="83"/>
                  <a:pt x="1453" y="81"/>
                </a:cubicBezTo>
                <a:cubicBezTo>
                  <a:pt x="1446" y="78"/>
                  <a:pt x="1441" y="59"/>
                  <a:pt x="1432" y="63"/>
                </a:cubicBezTo>
                <a:cubicBezTo>
                  <a:pt x="1425" y="66"/>
                  <a:pt x="1427" y="73"/>
                  <a:pt x="1431" y="78"/>
                </a:cubicBezTo>
                <a:cubicBezTo>
                  <a:pt x="1425" y="73"/>
                  <a:pt x="1415" y="77"/>
                  <a:pt x="1411" y="70"/>
                </a:cubicBezTo>
                <a:cubicBezTo>
                  <a:pt x="1409" y="67"/>
                  <a:pt x="1407" y="55"/>
                  <a:pt x="1410" y="53"/>
                </a:cubicBezTo>
                <a:cubicBezTo>
                  <a:pt x="1415" y="51"/>
                  <a:pt x="1417" y="62"/>
                  <a:pt x="1420" y="61"/>
                </a:cubicBezTo>
                <a:cubicBezTo>
                  <a:pt x="1428" y="59"/>
                  <a:pt x="1433" y="44"/>
                  <a:pt x="1427" y="38"/>
                </a:cubicBezTo>
                <a:cubicBezTo>
                  <a:pt x="1418" y="29"/>
                  <a:pt x="1409" y="53"/>
                  <a:pt x="1403" y="62"/>
                </a:cubicBezTo>
                <a:cubicBezTo>
                  <a:pt x="1416" y="70"/>
                  <a:pt x="1391" y="57"/>
                  <a:pt x="1390" y="67"/>
                </a:cubicBezTo>
                <a:cubicBezTo>
                  <a:pt x="1384" y="66"/>
                  <a:pt x="1379" y="63"/>
                  <a:pt x="1375" y="58"/>
                </a:cubicBezTo>
                <a:cubicBezTo>
                  <a:pt x="1371" y="67"/>
                  <a:pt x="1365" y="75"/>
                  <a:pt x="1372" y="84"/>
                </a:cubicBezTo>
                <a:cubicBezTo>
                  <a:pt x="1367" y="86"/>
                  <a:pt x="1360" y="89"/>
                  <a:pt x="1358" y="89"/>
                </a:cubicBezTo>
                <a:cubicBezTo>
                  <a:pt x="1355" y="95"/>
                  <a:pt x="1352" y="93"/>
                  <a:pt x="1346" y="97"/>
                </a:cubicBezTo>
                <a:cubicBezTo>
                  <a:pt x="1346" y="97"/>
                  <a:pt x="1348" y="100"/>
                  <a:pt x="1345" y="102"/>
                </a:cubicBezTo>
                <a:cubicBezTo>
                  <a:pt x="1342" y="103"/>
                  <a:pt x="1335" y="102"/>
                  <a:pt x="1334" y="103"/>
                </a:cubicBezTo>
                <a:cubicBezTo>
                  <a:pt x="1320" y="115"/>
                  <a:pt x="1343" y="118"/>
                  <a:pt x="1339" y="107"/>
                </a:cubicBezTo>
                <a:cubicBezTo>
                  <a:pt x="1364" y="111"/>
                  <a:pt x="1326" y="121"/>
                  <a:pt x="1326" y="124"/>
                </a:cubicBezTo>
                <a:cubicBezTo>
                  <a:pt x="1316" y="123"/>
                  <a:pt x="1312" y="140"/>
                  <a:pt x="1321" y="137"/>
                </a:cubicBezTo>
                <a:cubicBezTo>
                  <a:pt x="1321" y="144"/>
                  <a:pt x="1322" y="150"/>
                  <a:pt x="1327" y="144"/>
                </a:cubicBezTo>
                <a:cubicBezTo>
                  <a:pt x="1327" y="143"/>
                  <a:pt x="1324" y="144"/>
                  <a:pt x="1324" y="143"/>
                </a:cubicBezTo>
                <a:cubicBezTo>
                  <a:pt x="1325" y="141"/>
                  <a:pt x="1327" y="140"/>
                  <a:pt x="1329" y="138"/>
                </a:cubicBezTo>
                <a:cubicBezTo>
                  <a:pt x="1332" y="148"/>
                  <a:pt x="1327" y="156"/>
                  <a:pt x="1342" y="155"/>
                </a:cubicBezTo>
                <a:cubicBezTo>
                  <a:pt x="1342" y="155"/>
                  <a:pt x="1342" y="155"/>
                  <a:pt x="1342" y="155"/>
                </a:cubicBezTo>
                <a:cubicBezTo>
                  <a:pt x="1342" y="155"/>
                  <a:pt x="1342" y="155"/>
                  <a:pt x="1343" y="155"/>
                </a:cubicBezTo>
                <a:cubicBezTo>
                  <a:pt x="1342" y="155"/>
                  <a:pt x="1342" y="155"/>
                  <a:pt x="1342" y="155"/>
                </a:cubicBezTo>
                <a:cubicBezTo>
                  <a:pt x="1344" y="162"/>
                  <a:pt x="1348" y="163"/>
                  <a:pt x="1354" y="158"/>
                </a:cubicBezTo>
                <a:cubicBezTo>
                  <a:pt x="1353" y="162"/>
                  <a:pt x="1353" y="166"/>
                  <a:pt x="1353" y="171"/>
                </a:cubicBezTo>
                <a:cubicBezTo>
                  <a:pt x="1344" y="172"/>
                  <a:pt x="1345" y="161"/>
                  <a:pt x="1337" y="158"/>
                </a:cubicBezTo>
                <a:cubicBezTo>
                  <a:pt x="1330" y="157"/>
                  <a:pt x="1321" y="160"/>
                  <a:pt x="1329" y="164"/>
                </a:cubicBezTo>
                <a:cubicBezTo>
                  <a:pt x="1328" y="167"/>
                  <a:pt x="1327" y="168"/>
                  <a:pt x="1327" y="171"/>
                </a:cubicBezTo>
                <a:cubicBezTo>
                  <a:pt x="1325" y="169"/>
                  <a:pt x="1325" y="169"/>
                  <a:pt x="1323" y="167"/>
                </a:cubicBezTo>
                <a:cubicBezTo>
                  <a:pt x="1323" y="192"/>
                  <a:pt x="1330" y="179"/>
                  <a:pt x="1342" y="195"/>
                </a:cubicBezTo>
                <a:cubicBezTo>
                  <a:pt x="1338" y="196"/>
                  <a:pt x="1333" y="208"/>
                  <a:pt x="1333" y="208"/>
                </a:cubicBezTo>
                <a:cubicBezTo>
                  <a:pt x="1326" y="207"/>
                  <a:pt x="1335" y="197"/>
                  <a:pt x="1333" y="193"/>
                </a:cubicBezTo>
                <a:cubicBezTo>
                  <a:pt x="1328" y="182"/>
                  <a:pt x="1325" y="192"/>
                  <a:pt x="1324" y="192"/>
                </a:cubicBezTo>
                <a:cubicBezTo>
                  <a:pt x="1323" y="192"/>
                  <a:pt x="1312" y="197"/>
                  <a:pt x="1309" y="198"/>
                </a:cubicBezTo>
                <a:cubicBezTo>
                  <a:pt x="1307" y="199"/>
                  <a:pt x="1301" y="200"/>
                  <a:pt x="1299" y="202"/>
                </a:cubicBezTo>
                <a:cubicBezTo>
                  <a:pt x="1293" y="208"/>
                  <a:pt x="1299" y="207"/>
                  <a:pt x="1298" y="210"/>
                </a:cubicBezTo>
                <a:cubicBezTo>
                  <a:pt x="1296" y="215"/>
                  <a:pt x="1307" y="221"/>
                  <a:pt x="1293" y="219"/>
                </a:cubicBezTo>
                <a:cubicBezTo>
                  <a:pt x="1282" y="217"/>
                  <a:pt x="1280" y="197"/>
                  <a:pt x="1268" y="196"/>
                </a:cubicBezTo>
                <a:cubicBezTo>
                  <a:pt x="1269" y="195"/>
                  <a:pt x="1271" y="194"/>
                  <a:pt x="1272" y="193"/>
                </a:cubicBezTo>
                <a:cubicBezTo>
                  <a:pt x="1263" y="193"/>
                  <a:pt x="1257" y="199"/>
                  <a:pt x="1255" y="189"/>
                </a:cubicBezTo>
                <a:cubicBezTo>
                  <a:pt x="1255" y="197"/>
                  <a:pt x="1253" y="211"/>
                  <a:pt x="1251" y="219"/>
                </a:cubicBezTo>
                <a:cubicBezTo>
                  <a:pt x="1258" y="215"/>
                  <a:pt x="1266" y="213"/>
                  <a:pt x="1268" y="222"/>
                </a:cubicBezTo>
                <a:cubicBezTo>
                  <a:pt x="1259" y="221"/>
                  <a:pt x="1260" y="228"/>
                  <a:pt x="1255" y="229"/>
                </a:cubicBezTo>
                <a:cubicBezTo>
                  <a:pt x="1251" y="231"/>
                  <a:pt x="1255" y="229"/>
                  <a:pt x="1249" y="229"/>
                </a:cubicBezTo>
                <a:cubicBezTo>
                  <a:pt x="1244" y="229"/>
                  <a:pt x="1235" y="227"/>
                  <a:pt x="1233" y="224"/>
                </a:cubicBezTo>
                <a:cubicBezTo>
                  <a:pt x="1231" y="223"/>
                  <a:pt x="1231" y="218"/>
                  <a:pt x="1236" y="219"/>
                </a:cubicBezTo>
                <a:cubicBezTo>
                  <a:pt x="1235" y="218"/>
                  <a:pt x="1228" y="217"/>
                  <a:pt x="1229" y="217"/>
                </a:cubicBezTo>
                <a:cubicBezTo>
                  <a:pt x="1227" y="216"/>
                  <a:pt x="1214" y="217"/>
                  <a:pt x="1212" y="219"/>
                </a:cubicBezTo>
                <a:cubicBezTo>
                  <a:pt x="1212" y="218"/>
                  <a:pt x="1213" y="227"/>
                  <a:pt x="1212" y="229"/>
                </a:cubicBezTo>
                <a:cubicBezTo>
                  <a:pt x="1210" y="234"/>
                  <a:pt x="1209" y="231"/>
                  <a:pt x="1206" y="235"/>
                </a:cubicBezTo>
                <a:cubicBezTo>
                  <a:pt x="1203" y="239"/>
                  <a:pt x="1201" y="238"/>
                  <a:pt x="1198" y="241"/>
                </a:cubicBezTo>
                <a:cubicBezTo>
                  <a:pt x="1195" y="244"/>
                  <a:pt x="1199" y="245"/>
                  <a:pt x="1196" y="248"/>
                </a:cubicBezTo>
                <a:cubicBezTo>
                  <a:pt x="1194" y="250"/>
                  <a:pt x="1182" y="262"/>
                  <a:pt x="1181" y="263"/>
                </a:cubicBezTo>
                <a:cubicBezTo>
                  <a:pt x="1173" y="264"/>
                  <a:pt x="1157" y="253"/>
                  <a:pt x="1159" y="245"/>
                </a:cubicBezTo>
                <a:cubicBezTo>
                  <a:pt x="1149" y="254"/>
                  <a:pt x="1134" y="237"/>
                  <a:pt x="1128" y="241"/>
                </a:cubicBezTo>
                <a:cubicBezTo>
                  <a:pt x="1129" y="240"/>
                  <a:pt x="1139" y="263"/>
                  <a:pt x="1143" y="266"/>
                </a:cubicBezTo>
                <a:cubicBezTo>
                  <a:pt x="1151" y="273"/>
                  <a:pt x="1160" y="266"/>
                  <a:pt x="1167" y="276"/>
                </a:cubicBezTo>
                <a:cubicBezTo>
                  <a:pt x="1170" y="281"/>
                  <a:pt x="1162" y="283"/>
                  <a:pt x="1164" y="287"/>
                </a:cubicBezTo>
                <a:cubicBezTo>
                  <a:pt x="1166" y="291"/>
                  <a:pt x="1176" y="295"/>
                  <a:pt x="1179" y="301"/>
                </a:cubicBezTo>
                <a:cubicBezTo>
                  <a:pt x="1184" y="308"/>
                  <a:pt x="1185" y="309"/>
                  <a:pt x="1184" y="316"/>
                </a:cubicBezTo>
                <a:cubicBezTo>
                  <a:pt x="1182" y="328"/>
                  <a:pt x="1186" y="319"/>
                  <a:pt x="1177" y="324"/>
                </a:cubicBezTo>
                <a:cubicBezTo>
                  <a:pt x="1170" y="329"/>
                  <a:pt x="1155" y="330"/>
                  <a:pt x="1148" y="335"/>
                </a:cubicBezTo>
                <a:cubicBezTo>
                  <a:pt x="1143" y="339"/>
                  <a:pt x="1146" y="333"/>
                  <a:pt x="1143" y="339"/>
                </a:cubicBezTo>
                <a:cubicBezTo>
                  <a:pt x="1146" y="333"/>
                  <a:pt x="1147" y="352"/>
                  <a:pt x="1146" y="349"/>
                </a:cubicBezTo>
                <a:cubicBezTo>
                  <a:pt x="1147" y="353"/>
                  <a:pt x="1140" y="354"/>
                  <a:pt x="1143" y="360"/>
                </a:cubicBezTo>
                <a:cubicBezTo>
                  <a:pt x="1147" y="369"/>
                  <a:pt x="1150" y="356"/>
                  <a:pt x="1153" y="359"/>
                </a:cubicBezTo>
                <a:cubicBezTo>
                  <a:pt x="1156" y="362"/>
                  <a:pt x="1153" y="368"/>
                  <a:pt x="1155" y="372"/>
                </a:cubicBezTo>
                <a:cubicBezTo>
                  <a:pt x="1158" y="376"/>
                  <a:pt x="1161" y="373"/>
                  <a:pt x="1163" y="378"/>
                </a:cubicBezTo>
                <a:cubicBezTo>
                  <a:pt x="1170" y="389"/>
                  <a:pt x="1165" y="399"/>
                  <a:pt x="1164" y="411"/>
                </a:cubicBezTo>
                <a:cubicBezTo>
                  <a:pt x="1161" y="432"/>
                  <a:pt x="1162" y="438"/>
                  <a:pt x="1150" y="456"/>
                </a:cubicBezTo>
                <a:cubicBezTo>
                  <a:pt x="1143" y="467"/>
                  <a:pt x="1143" y="478"/>
                  <a:pt x="1137" y="487"/>
                </a:cubicBezTo>
                <a:cubicBezTo>
                  <a:pt x="1134" y="491"/>
                  <a:pt x="1128" y="491"/>
                  <a:pt x="1125" y="495"/>
                </a:cubicBezTo>
                <a:cubicBezTo>
                  <a:pt x="1122" y="499"/>
                  <a:pt x="1122" y="505"/>
                  <a:pt x="1119" y="508"/>
                </a:cubicBezTo>
                <a:cubicBezTo>
                  <a:pt x="1112" y="518"/>
                  <a:pt x="1106" y="516"/>
                  <a:pt x="1097" y="526"/>
                </a:cubicBezTo>
                <a:cubicBezTo>
                  <a:pt x="1093" y="530"/>
                  <a:pt x="1092" y="535"/>
                  <a:pt x="1088" y="539"/>
                </a:cubicBezTo>
                <a:cubicBezTo>
                  <a:pt x="1084" y="543"/>
                  <a:pt x="1080" y="545"/>
                  <a:pt x="1075" y="549"/>
                </a:cubicBezTo>
                <a:cubicBezTo>
                  <a:pt x="1071" y="553"/>
                  <a:pt x="1068" y="560"/>
                  <a:pt x="1064" y="563"/>
                </a:cubicBezTo>
                <a:cubicBezTo>
                  <a:pt x="1061" y="566"/>
                  <a:pt x="1056" y="567"/>
                  <a:pt x="1054" y="569"/>
                </a:cubicBezTo>
                <a:cubicBezTo>
                  <a:pt x="1042" y="582"/>
                  <a:pt x="1020" y="595"/>
                  <a:pt x="1013" y="613"/>
                </a:cubicBezTo>
                <a:cubicBezTo>
                  <a:pt x="1013" y="614"/>
                  <a:pt x="1024" y="615"/>
                  <a:pt x="1016" y="622"/>
                </a:cubicBezTo>
                <a:cubicBezTo>
                  <a:pt x="1014" y="624"/>
                  <a:pt x="1006" y="622"/>
                  <a:pt x="1003" y="622"/>
                </a:cubicBezTo>
                <a:cubicBezTo>
                  <a:pt x="998" y="621"/>
                  <a:pt x="993" y="617"/>
                  <a:pt x="988" y="617"/>
                </a:cubicBezTo>
                <a:cubicBezTo>
                  <a:pt x="981" y="618"/>
                  <a:pt x="983" y="624"/>
                  <a:pt x="975" y="622"/>
                </a:cubicBezTo>
                <a:cubicBezTo>
                  <a:pt x="979" y="635"/>
                  <a:pt x="964" y="632"/>
                  <a:pt x="960" y="640"/>
                </a:cubicBezTo>
                <a:cubicBezTo>
                  <a:pt x="969" y="637"/>
                  <a:pt x="987" y="634"/>
                  <a:pt x="981" y="648"/>
                </a:cubicBezTo>
                <a:cubicBezTo>
                  <a:pt x="980" y="653"/>
                  <a:pt x="972" y="650"/>
                  <a:pt x="973" y="649"/>
                </a:cubicBezTo>
                <a:cubicBezTo>
                  <a:pt x="972" y="651"/>
                  <a:pt x="966" y="654"/>
                  <a:pt x="978" y="656"/>
                </a:cubicBezTo>
                <a:cubicBezTo>
                  <a:pt x="965" y="662"/>
                  <a:pt x="959" y="647"/>
                  <a:pt x="945" y="656"/>
                </a:cubicBezTo>
                <a:cubicBezTo>
                  <a:pt x="950" y="666"/>
                  <a:pt x="939" y="661"/>
                  <a:pt x="936" y="662"/>
                </a:cubicBezTo>
                <a:cubicBezTo>
                  <a:pt x="934" y="663"/>
                  <a:pt x="929" y="652"/>
                  <a:pt x="931" y="665"/>
                </a:cubicBezTo>
                <a:cubicBezTo>
                  <a:pt x="923" y="666"/>
                  <a:pt x="924" y="664"/>
                  <a:pt x="925" y="657"/>
                </a:cubicBezTo>
                <a:cubicBezTo>
                  <a:pt x="906" y="658"/>
                  <a:pt x="891" y="671"/>
                  <a:pt x="890" y="646"/>
                </a:cubicBezTo>
                <a:cubicBezTo>
                  <a:pt x="889" y="611"/>
                  <a:pt x="882" y="580"/>
                  <a:pt x="867" y="549"/>
                </a:cubicBezTo>
                <a:cubicBezTo>
                  <a:pt x="855" y="524"/>
                  <a:pt x="835" y="484"/>
                  <a:pt x="813" y="468"/>
                </a:cubicBezTo>
                <a:cubicBezTo>
                  <a:pt x="799" y="457"/>
                  <a:pt x="781" y="456"/>
                  <a:pt x="768" y="447"/>
                </a:cubicBezTo>
                <a:cubicBezTo>
                  <a:pt x="755" y="439"/>
                  <a:pt x="762" y="441"/>
                  <a:pt x="761" y="428"/>
                </a:cubicBezTo>
                <a:cubicBezTo>
                  <a:pt x="761" y="411"/>
                  <a:pt x="758" y="384"/>
                  <a:pt x="739" y="376"/>
                </a:cubicBezTo>
                <a:cubicBezTo>
                  <a:pt x="715" y="366"/>
                  <a:pt x="699" y="381"/>
                  <a:pt x="695" y="403"/>
                </a:cubicBezTo>
                <a:cubicBezTo>
                  <a:pt x="692" y="421"/>
                  <a:pt x="693" y="428"/>
                  <a:pt x="702" y="443"/>
                </a:cubicBezTo>
                <a:cubicBezTo>
                  <a:pt x="711" y="460"/>
                  <a:pt x="709" y="458"/>
                  <a:pt x="698" y="468"/>
                </a:cubicBezTo>
                <a:cubicBezTo>
                  <a:pt x="687" y="477"/>
                  <a:pt x="677" y="480"/>
                  <a:pt x="663" y="482"/>
                </a:cubicBezTo>
                <a:cubicBezTo>
                  <a:pt x="626" y="486"/>
                  <a:pt x="588" y="485"/>
                  <a:pt x="551" y="487"/>
                </a:cubicBezTo>
                <a:cubicBezTo>
                  <a:pt x="531" y="489"/>
                  <a:pt x="511" y="491"/>
                  <a:pt x="491" y="494"/>
                </a:cubicBezTo>
                <a:cubicBezTo>
                  <a:pt x="484" y="496"/>
                  <a:pt x="463" y="497"/>
                  <a:pt x="472" y="506"/>
                </a:cubicBezTo>
                <a:cubicBezTo>
                  <a:pt x="465" y="512"/>
                  <a:pt x="469" y="514"/>
                  <a:pt x="477" y="512"/>
                </a:cubicBezTo>
                <a:cubicBezTo>
                  <a:pt x="475" y="524"/>
                  <a:pt x="484" y="512"/>
                  <a:pt x="490" y="511"/>
                </a:cubicBezTo>
                <a:cubicBezTo>
                  <a:pt x="495" y="511"/>
                  <a:pt x="492" y="517"/>
                  <a:pt x="496" y="517"/>
                </a:cubicBezTo>
                <a:cubicBezTo>
                  <a:pt x="500" y="517"/>
                  <a:pt x="503" y="514"/>
                  <a:pt x="505" y="514"/>
                </a:cubicBezTo>
                <a:cubicBezTo>
                  <a:pt x="524" y="516"/>
                  <a:pt x="532" y="503"/>
                  <a:pt x="553" y="507"/>
                </a:cubicBezTo>
                <a:cubicBezTo>
                  <a:pt x="586" y="512"/>
                  <a:pt x="614" y="517"/>
                  <a:pt x="648" y="514"/>
                </a:cubicBezTo>
                <a:cubicBezTo>
                  <a:pt x="664" y="513"/>
                  <a:pt x="682" y="514"/>
                  <a:pt x="698" y="511"/>
                </a:cubicBezTo>
                <a:cubicBezTo>
                  <a:pt x="710" y="508"/>
                  <a:pt x="707" y="504"/>
                  <a:pt x="717" y="510"/>
                </a:cubicBezTo>
                <a:cubicBezTo>
                  <a:pt x="724" y="513"/>
                  <a:pt x="730" y="523"/>
                  <a:pt x="735" y="529"/>
                </a:cubicBezTo>
                <a:cubicBezTo>
                  <a:pt x="745" y="541"/>
                  <a:pt x="794" y="582"/>
                  <a:pt x="790" y="597"/>
                </a:cubicBezTo>
                <a:cubicBezTo>
                  <a:pt x="765" y="586"/>
                  <a:pt x="737" y="581"/>
                  <a:pt x="711" y="580"/>
                </a:cubicBezTo>
                <a:cubicBezTo>
                  <a:pt x="692" y="579"/>
                  <a:pt x="689" y="587"/>
                  <a:pt x="683" y="603"/>
                </a:cubicBezTo>
                <a:cubicBezTo>
                  <a:pt x="677" y="620"/>
                  <a:pt x="676" y="630"/>
                  <a:pt x="666" y="643"/>
                </a:cubicBezTo>
                <a:cubicBezTo>
                  <a:pt x="657" y="654"/>
                  <a:pt x="658" y="652"/>
                  <a:pt x="659" y="666"/>
                </a:cubicBezTo>
                <a:cubicBezTo>
                  <a:pt x="659" y="678"/>
                  <a:pt x="660" y="692"/>
                  <a:pt x="647" y="698"/>
                </a:cubicBezTo>
                <a:cubicBezTo>
                  <a:pt x="644" y="700"/>
                  <a:pt x="639" y="695"/>
                  <a:pt x="635" y="696"/>
                </a:cubicBezTo>
                <a:cubicBezTo>
                  <a:pt x="634" y="696"/>
                  <a:pt x="623" y="702"/>
                  <a:pt x="622" y="703"/>
                </a:cubicBezTo>
                <a:cubicBezTo>
                  <a:pt x="621" y="704"/>
                  <a:pt x="614" y="710"/>
                  <a:pt x="616" y="714"/>
                </a:cubicBezTo>
                <a:cubicBezTo>
                  <a:pt x="617" y="716"/>
                  <a:pt x="631" y="717"/>
                  <a:pt x="634" y="718"/>
                </a:cubicBezTo>
                <a:cubicBezTo>
                  <a:pt x="637" y="720"/>
                  <a:pt x="631" y="724"/>
                  <a:pt x="640" y="724"/>
                </a:cubicBezTo>
                <a:cubicBezTo>
                  <a:pt x="642" y="724"/>
                  <a:pt x="644" y="723"/>
                  <a:pt x="646" y="722"/>
                </a:cubicBezTo>
                <a:cubicBezTo>
                  <a:pt x="648" y="720"/>
                  <a:pt x="651" y="718"/>
                  <a:pt x="657" y="719"/>
                </a:cubicBezTo>
                <a:cubicBezTo>
                  <a:pt x="652" y="719"/>
                  <a:pt x="649" y="721"/>
                  <a:pt x="646" y="722"/>
                </a:cubicBezTo>
                <a:cubicBezTo>
                  <a:pt x="642" y="727"/>
                  <a:pt x="640" y="734"/>
                  <a:pt x="633" y="738"/>
                </a:cubicBezTo>
                <a:cubicBezTo>
                  <a:pt x="616" y="748"/>
                  <a:pt x="597" y="733"/>
                  <a:pt x="581" y="733"/>
                </a:cubicBezTo>
                <a:cubicBezTo>
                  <a:pt x="575" y="733"/>
                  <a:pt x="574" y="738"/>
                  <a:pt x="569" y="737"/>
                </a:cubicBezTo>
                <a:cubicBezTo>
                  <a:pt x="560" y="737"/>
                  <a:pt x="549" y="732"/>
                  <a:pt x="540" y="730"/>
                </a:cubicBezTo>
                <a:cubicBezTo>
                  <a:pt x="520" y="725"/>
                  <a:pt x="501" y="719"/>
                  <a:pt x="481" y="718"/>
                </a:cubicBezTo>
                <a:cubicBezTo>
                  <a:pt x="483" y="719"/>
                  <a:pt x="485" y="720"/>
                  <a:pt x="486" y="722"/>
                </a:cubicBezTo>
                <a:cubicBezTo>
                  <a:pt x="482" y="718"/>
                  <a:pt x="478" y="717"/>
                  <a:pt x="474" y="715"/>
                </a:cubicBezTo>
                <a:cubicBezTo>
                  <a:pt x="475" y="718"/>
                  <a:pt x="475" y="720"/>
                  <a:pt x="477" y="722"/>
                </a:cubicBezTo>
                <a:cubicBezTo>
                  <a:pt x="464" y="717"/>
                  <a:pt x="449" y="720"/>
                  <a:pt x="437" y="716"/>
                </a:cubicBezTo>
                <a:cubicBezTo>
                  <a:pt x="423" y="711"/>
                  <a:pt x="407" y="699"/>
                  <a:pt x="396" y="690"/>
                </a:cubicBezTo>
                <a:cubicBezTo>
                  <a:pt x="390" y="686"/>
                  <a:pt x="372" y="670"/>
                  <a:pt x="379" y="689"/>
                </a:cubicBezTo>
                <a:cubicBezTo>
                  <a:pt x="384" y="700"/>
                  <a:pt x="407" y="708"/>
                  <a:pt x="417" y="713"/>
                </a:cubicBezTo>
                <a:cubicBezTo>
                  <a:pt x="444" y="730"/>
                  <a:pt x="470" y="749"/>
                  <a:pt x="500" y="763"/>
                </a:cubicBezTo>
                <a:cubicBezTo>
                  <a:pt x="518" y="771"/>
                  <a:pt x="536" y="779"/>
                  <a:pt x="555" y="785"/>
                </a:cubicBezTo>
                <a:cubicBezTo>
                  <a:pt x="565" y="789"/>
                  <a:pt x="591" y="793"/>
                  <a:pt x="594" y="801"/>
                </a:cubicBezTo>
                <a:cubicBezTo>
                  <a:pt x="591" y="801"/>
                  <a:pt x="588" y="803"/>
                  <a:pt x="587" y="803"/>
                </a:cubicBezTo>
                <a:cubicBezTo>
                  <a:pt x="570" y="801"/>
                  <a:pt x="541" y="811"/>
                  <a:pt x="522" y="814"/>
                </a:cubicBezTo>
                <a:cubicBezTo>
                  <a:pt x="511" y="816"/>
                  <a:pt x="467" y="813"/>
                  <a:pt x="464" y="823"/>
                </a:cubicBezTo>
                <a:cubicBezTo>
                  <a:pt x="464" y="823"/>
                  <a:pt x="465" y="823"/>
                  <a:pt x="466" y="823"/>
                </a:cubicBezTo>
                <a:cubicBezTo>
                  <a:pt x="474" y="820"/>
                  <a:pt x="484" y="819"/>
                  <a:pt x="492" y="823"/>
                </a:cubicBezTo>
                <a:cubicBezTo>
                  <a:pt x="486" y="824"/>
                  <a:pt x="480" y="825"/>
                  <a:pt x="474" y="825"/>
                </a:cubicBezTo>
                <a:cubicBezTo>
                  <a:pt x="474" y="826"/>
                  <a:pt x="474" y="826"/>
                  <a:pt x="475" y="827"/>
                </a:cubicBezTo>
                <a:cubicBezTo>
                  <a:pt x="472" y="825"/>
                  <a:pt x="469" y="824"/>
                  <a:pt x="466" y="823"/>
                </a:cubicBezTo>
                <a:cubicBezTo>
                  <a:pt x="465" y="823"/>
                  <a:pt x="464" y="823"/>
                  <a:pt x="464" y="824"/>
                </a:cubicBezTo>
                <a:cubicBezTo>
                  <a:pt x="464" y="823"/>
                  <a:pt x="464" y="823"/>
                  <a:pt x="464" y="823"/>
                </a:cubicBezTo>
                <a:cubicBezTo>
                  <a:pt x="460" y="822"/>
                  <a:pt x="457" y="821"/>
                  <a:pt x="452" y="821"/>
                </a:cubicBezTo>
                <a:cubicBezTo>
                  <a:pt x="447" y="823"/>
                  <a:pt x="441" y="824"/>
                  <a:pt x="435" y="823"/>
                </a:cubicBezTo>
                <a:cubicBezTo>
                  <a:pt x="436" y="822"/>
                  <a:pt x="438" y="822"/>
                  <a:pt x="439" y="821"/>
                </a:cubicBezTo>
                <a:cubicBezTo>
                  <a:pt x="415" y="822"/>
                  <a:pt x="385" y="829"/>
                  <a:pt x="371" y="831"/>
                </a:cubicBezTo>
                <a:cubicBezTo>
                  <a:pt x="364" y="833"/>
                  <a:pt x="361" y="836"/>
                  <a:pt x="354" y="837"/>
                </a:cubicBezTo>
                <a:cubicBezTo>
                  <a:pt x="346" y="838"/>
                  <a:pt x="337" y="838"/>
                  <a:pt x="329" y="839"/>
                </a:cubicBezTo>
                <a:cubicBezTo>
                  <a:pt x="321" y="841"/>
                  <a:pt x="304" y="842"/>
                  <a:pt x="299" y="847"/>
                </a:cubicBezTo>
                <a:cubicBezTo>
                  <a:pt x="294" y="837"/>
                  <a:pt x="231" y="849"/>
                  <a:pt x="216" y="849"/>
                </a:cubicBezTo>
                <a:cubicBezTo>
                  <a:pt x="221" y="850"/>
                  <a:pt x="224" y="851"/>
                  <a:pt x="228" y="852"/>
                </a:cubicBezTo>
                <a:cubicBezTo>
                  <a:pt x="212" y="852"/>
                  <a:pt x="177" y="855"/>
                  <a:pt x="164" y="863"/>
                </a:cubicBezTo>
                <a:cubicBezTo>
                  <a:pt x="170" y="864"/>
                  <a:pt x="175" y="864"/>
                  <a:pt x="180" y="862"/>
                </a:cubicBezTo>
                <a:cubicBezTo>
                  <a:pt x="175" y="869"/>
                  <a:pt x="139" y="866"/>
                  <a:pt x="127" y="868"/>
                </a:cubicBezTo>
                <a:cubicBezTo>
                  <a:pt x="103" y="870"/>
                  <a:pt x="79" y="874"/>
                  <a:pt x="58" y="872"/>
                </a:cubicBezTo>
                <a:cubicBezTo>
                  <a:pt x="65" y="869"/>
                  <a:pt x="72" y="867"/>
                  <a:pt x="79" y="865"/>
                </a:cubicBezTo>
                <a:cubicBezTo>
                  <a:pt x="66" y="866"/>
                  <a:pt x="53" y="867"/>
                  <a:pt x="41" y="868"/>
                </a:cubicBezTo>
                <a:cubicBezTo>
                  <a:pt x="26" y="870"/>
                  <a:pt x="10" y="867"/>
                  <a:pt x="5" y="878"/>
                </a:cubicBezTo>
                <a:cubicBezTo>
                  <a:pt x="0" y="893"/>
                  <a:pt x="5" y="923"/>
                  <a:pt x="5" y="938"/>
                </a:cubicBezTo>
                <a:cubicBezTo>
                  <a:pt x="5" y="948"/>
                  <a:pt x="2" y="977"/>
                  <a:pt x="8" y="982"/>
                </a:cubicBezTo>
                <a:cubicBezTo>
                  <a:pt x="16" y="987"/>
                  <a:pt x="47" y="982"/>
                  <a:pt x="56" y="982"/>
                </a:cubicBezTo>
                <a:cubicBezTo>
                  <a:pt x="224" y="982"/>
                  <a:pt x="392" y="982"/>
                  <a:pt x="561" y="982"/>
                </a:cubicBezTo>
                <a:cubicBezTo>
                  <a:pt x="660" y="982"/>
                  <a:pt x="769" y="993"/>
                  <a:pt x="865" y="975"/>
                </a:cubicBezTo>
                <a:cubicBezTo>
                  <a:pt x="878" y="973"/>
                  <a:pt x="886" y="974"/>
                  <a:pt x="898" y="972"/>
                </a:cubicBezTo>
                <a:cubicBezTo>
                  <a:pt x="921" y="970"/>
                  <a:pt x="947" y="973"/>
                  <a:pt x="970" y="968"/>
                </a:cubicBezTo>
                <a:cubicBezTo>
                  <a:pt x="1015" y="959"/>
                  <a:pt x="1062" y="954"/>
                  <a:pt x="1110" y="954"/>
                </a:cubicBezTo>
                <a:cubicBezTo>
                  <a:pt x="1136" y="954"/>
                  <a:pt x="1162" y="956"/>
                  <a:pt x="1187" y="957"/>
                </a:cubicBezTo>
                <a:cubicBezTo>
                  <a:pt x="1198" y="957"/>
                  <a:pt x="1206" y="955"/>
                  <a:pt x="1217" y="957"/>
                </a:cubicBezTo>
                <a:cubicBezTo>
                  <a:pt x="1223" y="957"/>
                  <a:pt x="1227" y="958"/>
                  <a:pt x="1234" y="959"/>
                </a:cubicBezTo>
                <a:cubicBezTo>
                  <a:pt x="1252" y="960"/>
                  <a:pt x="1268" y="956"/>
                  <a:pt x="1285" y="954"/>
                </a:cubicBezTo>
                <a:cubicBezTo>
                  <a:pt x="1294" y="954"/>
                  <a:pt x="1331" y="959"/>
                  <a:pt x="1335" y="949"/>
                </a:cubicBezTo>
                <a:cubicBezTo>
                  <a:pt x="1345" y="963"/>
                  <a:pt x="1354" y="943"/>
                  <a:pt x="1361" y="948"/>
                </a:cubicBezTo>
                <a:cubicBezTo>
                  <a:pt x="1371" y="954"/>
                  <a:pt x="1346" y="961"/>
                  <a:pt x="1351" y="968"/>
                </a:cubicBezTo>
                <a:cubicBezTo>
                  <a:pt x="1356" y="975"/>
                  <a:pt x="1366" y="960"/>
                  <a:pt x="1368" y="957"/>
                </a:cubicBezTo>
                <a:cubicBezTo>
                  <a:pt x="1377" y="943"/>
                  <a:pt x="1371" y="938"/>
                  <a:pt x="1362" y="926"/>
                </a:cubicBezTo>
                <a:cubicBezTo>
                  <a:pt x="1383" y="951"/>
                  <a:pt x="1392" y="949"/>
                  <a:pt x="1424" y="947"/>
                </a:cubicBezTo>
                <a:cubicBezTo>
                  <a:pt x="1448" y="945"/>
                  <a:pt x="1464" y="940"/>
                  <a:pt x="1488" y="939"/>
                </a:cubicBezTo>
                <a:cubicBezTo>
                  <a:pt x="1533" y="938"/>
                  <a:pt x="1577" y="929"/>
                  <a:pt x="1622" y="924"/>
                </a:cubicBezTo>
                <a:cubicBezTo>
                  <a:pt x="1635" y="923"/>
                  <a:pt x="1641" y="914"/>
                  <a:pt x="1651" y="911"/>
                </a:cubicBezTo>
                <a:cubicBezTo>
                  <a:pt x="1658" y="909"/>
                  <a:pt x="1671" y="907"/>
                  <a:pt x="1678" y="906"/>
                </a:cubicBezTo>
                <a:cubicBezTo>
                  <a:pt x="1692" y="904"/>
                  <a:pt x="1704" y="905"/>
                  <a:pt x="1718" y="902"/>
                </a:cubicBezTo>
                <a:cubicBezTo>
                  <a:pt x="1736" y="898"/>
                  <a:pt x="1756" y="895"/>
                  <a:pt x="1774" y="893"/>
                </a:cubicBezTo>
                <a:cubicBezTo>
                  <a:pt x="1792" y="891"/>
                  <a:pt x="1810" y="891"/>
                  <a:pt x="1828" y="887"/>
                </a:cubicBezTo>
                <a:cubicBezTo>
                  <a:pt x="1843" y="884"/>
                  <a:pt x="1856" y="877"/>
                  <a:pt x="1871" y="872"/>
                </a:cubicBezTo>
                <a:cubicBezTo>
                  <a:pt x="1883" y="869"/>
                  <a:pt x="1903" y="866"/>
                  <a:pt x="1913" y="857"/>
                </a:cubicBezTo>
                <a:cubicBezTo>
                  <a:pt x="1917" y="854"/>
                  <a:pt x="1917" y="846"/>
                  <a:pt x="1920" y="844"/>
                </a:cubicBezTo>
                <a:cubicBezTo>
                  <a:pt x="1925" y="840"/>
                  <a:pt x="1931" y="841"/>
                  <a:pt x="1936" y="839"/>
                </a:cubicBezTo>
                <a:cubicBezTo>
                  <a:pt x="1942" y="836"/>
                  <a:pt x="1945" y="827"/>
                  <a:pt x="1952" y="828"/>
                </a:cubicBezTo>
                <a:cubicBezTo>
                  <a:pt x="1957" y="828"/>
                  <a:pt x="1967" y="838"/>
                  <a:pt x="1972" y="840"/>
                </a:cubicBezTo>
                <a:cubicBezTo>
                  <a:pt x="1980" y="843"/>
                  <a:pt x="1997" y="844"/>
                  <a:pt x="2009" y="849"/>
                </a:cubicBezTo>
                <a:cubicBezTo>
                  <a:pt x="2016" y="852"/>
                  <a:pt x="2016" y="853"/>
                  <a:pt x="2022" y="857"/>
                </a:cubicBezTo>
                <a:cubicBezTo>
                  <a:pt x="2027" y="860"/>
                  <a:pt x="2030" y="865"/>
                  <a:pt x="2037" y="867"/>
                </a:cubicBezTo>
                <a:cubicBezTo>
                  <a:pt x="2037" y="804"/>
                  <a:pt x="2037" y="741"/>
                  <a:pt x="2037" y="677"/>
                </a:cubicBezTo>
                <a:cubicBezTo>
                  <a:pt x="2010" y="679"/>
                  <a:pt x="1983" y="678"/>
                  <a:pt x="1956" y="678"/>
                </a:cubicBezTo>
                <a:cubicBezTo>
                  <a:pt x="1968" y="670"/>
                  <a:pt x="1979" y="674"/>
                  <a:pt x="1994" y="672"/>
                </a:cubicBezTo>
                <a:cubicBezTo>
                  <a:pt x="2006" y="670"/>
                  <a:pt x="2041" y="678"/>
                  <a:pt x="2037" y="661"/>
                </a:cubicBezTo>
                <a:close/>
                <a:moveTo>
                  <a:pt x="1986" y="536"/>
                </a:moveTo>
                <a:cubicBezTo>
                  <a:pt x="1984" y="538"/>
                  <a:pt x="1983" y="536"/>
                  <a:pt x="1982" y="535"/>
                </a:cubicBezTo>
                <a:cubicBezTo>
                  <a:pt x="1983" y="536"/>
                  <a:pt x="1984" y="536"/>
                  <a:pt x="1986" y="536"/>
                </a:cubicBezTo>
                <a:close/>
                <a:moveTo>
                  <a:pt x="1902" y="289"/>
                </a:moveTo>
                <a:cubicBezTo>
                  <a:pt x="1902" y="287"/>
                  <a:pt x="1899" y="285"/>
                  <a:pt x="1904" y="287"/>
                </a:cubicBezTo>
                <a:cubicBezTo>
                  <a:pt x="1904" y="289"/>
                  <a:pt x="1902" y="288"/>
                  <a:pt x="1902" y="289"/>
                </a:cubicBezTo>
                <a:close/>
                <a:moveTo>
                  <a:pt x="1833" y="418"/>
                </a:moveTo>
                <a:cubicBezTo>
                  <a:pt x="1825" y="412"/>
                  <a:pt x="1838" y="409"/>
                  <a:pt x="1845" y="413"/>
                </a:cubicBezTo>
                <a:cubicBezTo>
                  <a:pt x="1840" y="413"/>
                  <a:pt x="1837" y="416"/>
                  <a:pt x="1833" y="418"/>
                </a:cubicBezTo>
                <a:close/>
                <a:moveTo>
                  <a:pt x="1867" y="385"/>
                </a:moveTo>
                <a:cubicBezTo>
                  <a:pt x="1861" y="394"/>
                  <a:pt x="1848" y="399"/>
                  <a:pt x="1857" y="386"/>
                </a:cubicBezTo>
                <a:cubicBezTo>
                  <a:pt x="1861" y="382"/>
                  <a:pt x="1870" y="372"/>
                  <a:pt x="1867" y="385"/>
                </a:cubicBezTo>
                <a:close/>
                <a:moveTo>
                  <a:pt x="1901" y="341"/>
                </a:moveTo>
                <a:cubicBezTo>
                  <a:pt x="1897" y="344"/>
                  <a:pt x="1893" y="341"/>
                  <a:pt x="1894" y="349"/>
                </a:cubicBezTo>
                <a:cubicBezTo>
                  <a:pt x="1884" y="337"/>
                  <a:pt x="1905" y="334"/>
                  <a:pt x="1901" y="341"/>
                </a:cubicBezTo>
                <a:close/>
                <a:moveTo>
                  <a:pt x="1930" y="292"/>
                </a:moveTo>
                <a:cubicBezTo>
                  <a:pt x="1929" y="290"/>
                  <a:pt x="1928" y="288"/>
                  <a:pt x="1926" y="287"/>
                </a:cubicBezTo>
                <a:cubicBezTo>
                  <a:pt x="1934" y="288"/>
                  <a:pt x="1934" y="290"/>
                  <a:pt x="1935" y="296"/>
                </a:cubicBezTo>
                <a:cubicBezTo>
                  <a:pt x="1931" y="296"/>
                  <a:pt x="1932" y="293"/>
                  <a:pt x="1930" y="292"/>
                </a:cubicBezTo>
                <a:close/>
                <a:moveTo>
                  <a:pt x="1953" y="393"/>
                </a:moveTo>
                <a:cubicBezTo>
                  <a:pt x="1951" y="393"/>
                  <a:pt x="1949" y="394"/>
                  <a:pt x="1948" y="395"/>
                </a:cubicBezTo>
                <a:cubicBezTo>
                  <a:pt x="1950" y="391"/>
                  <a:pt x="1951" y="389"/>
                  <a:pt x="1954" y="387"/>
                </a:cubicBezTo>
                <a:cubicBezTo>
                  <a:pt x="1955" y="384"/>
                  <a:pt x="1954" y="384"/>
                  <a:pt x="1956" y="382"/>
                </a:cubicBezTo>
                <a:cubicBezTo>
                  <a:pt x="1954" y="385"/>
                  <a:pt x="1954" y="389"/>
                  <a:pt x="1953" y="393"/>
                </a:cubicBezTo>
                <a:close/>
                <a:moveTo>
                  <a:pt x="1977" y="395"/>
                </a:moveTo>
                <a:cubicBezTo>
                  <a:pt x="1940" y="439"/>
                  <a:pt x="1964" y="385"/>
                  <a:pt x="1977" y="395"/>
                </a:cubicBezTo>
                <a:close/>
                <a:moveTo>
                  <a:pt x="1967" y="380"/>
                </a:moveTo>
                <a:cubicBezTo>
                  <a:pt x="1968" y="380"/>
                  <a:pt x="1967" y="380"/>
                  <a:pt x="1967" y="380"/>
                </a:cubicBezTo>
                <a:close/>
                <a:moveTo>
                  <a:pt x="2000" y="358"/>
                </a:moveTo>
                <a:cubicBezTo>
                  <a:pt x="2000" y="358"/>
                  <a:pt x="2000" y="354"/>
                  <a:pt x="2000" y="354"/>
                </a:cubicBezTo>
                <a:cubicBezTo>
                  <a:pt x="2004" y="353"/>
                  <a:pt x="2005" y="352"/>
                  <a:pt x="2000" y="358"/>
                </a:cubicBezTo>
                <a:close/>
                <a:moveTo>
                  <a:pt x="2008" y="371"/>
                </a:moveTo>
                <a:cubicBezTo>
                  <a:pt x="2007" y="372"/>
                  <a:pt x="2006" y="374"/>
                  <a:pt x="2004" y="375"/>
                </a:cubicBezTo>
                <a:cubicBezTo>
                  <a:pt x="2003" y="369"/>
                  <a:pt x="2004" y="368"/>
                  <a:pt x="2009" y="364"/>
                </a:cubicBezTo>
                <a:cubicBezTo>
                  <a:pt x="2009" y="366"/>
                  <a:pt x="2008" y="369"/>
                  <a:pt x="2008" y="371"/>
                </a:cubicBezTo>
                <a:close/>
                <a:moveTo>
                  <a:pt x="2029" y="359"/>
                </a:moveTo>
                <a:cubicBezTo>
                  <a:pt x="2022" y="356"/>
                  <a:pt x="2026" y="357"/>
                  <a:pt x="2019" y="358"/>
                </a:cubicBezTo>
                <a:cubicBezTo>
                  <a:pt x="2021" y="350"/>
                  <a:pt x="2016" y="345"/>
                  <a:pt x="2009" y="350"/>
                </a:cubicBezTo>
                <a:cubicBezTo>
                  <a:pt x="2009" y="344"/>
                  <a:pt x="2012" y="347"/>
                  <a:pt x="2016" y="345"/>
                </a:cubicBezTo>
                <a:cubicBezTo>
                  <a:pt x="2020" y="350"/>
                  <a:pt x="2028" y="350"/>
                  <a:pt x="2029" y="359"/>
                </a:cubicBezTo>
                <a:close/>
                <a:moveTo>
                  <a:pt x="2015" y="303"/>
                </a:moveTo>
                <a:cubicBezTo>
                  <a:pt x="2018" y="307"/>
                  <a:pt x="2015" y="305"/>
                  <a:pt x="2015" y="307"/>
                </a:cubicBezTo>
                <a:cubicBezTo>
                  <a:pt x="2015" y="305"/>
                  <a:pt x="2013" y="304"/>
                  <a:pt x="2015" y="303"/>
                </a:cubicBezTo>
                <a:close/>
                <a:moveTo>
                  <a:pt x="2001" y="287"/>
                </a:moveTo>
                <a:cubicBezTo>
                  <a:pt x="2000" y="285"/>
                  <a:pt x="1999" y="282"/>
                  <a:pt x="1998" y="279"/>
                </a:cubicBezTo>
                <a:cubicBezTo>
                  <a:pt x="2005" y="281"/>
                  <a:pt x="2002" y="283"/>
                  <a:pt x="2001" y="287"/>
                </a:cubicBezTo>
                <a:close/>
                <a:moveTo>
                  <a:pt x="1982" y="234"/>
                </a:moveTo>
                <a:cubicBezTo>
                  <a:pt x="1990" y="239"/>
                  <a:pt x="2005" y="231"/>
                  <a:pt x="2000" y="243"/>
                </a:cubicBezTo>
                <a:cubicBezTo>
                  <a:pt x="1998" y="248"/>
                  <a:pt x="1979" y="253"/>
                  <a:pt x="1989" y="241"/>
                </a:cubicBezTo>
                <a:cubicBezTo>
                  <a:pt x="1980" y="244"/>
                  <a:pt x="1981" y="253"/>
                  <a:pt x="1975" y="259"/>
                </a:cubicBezTo>
                <a:cubicBezTo>
                  <a:pt x="1976" y="250"/>
                  <a:pt x="1981" y="242"/>
                  <a:pt x="1982" y="234"/>
                </a:cubicBezTo>
                <a:close/>
                <a:moveTo>
                  <a:pt x="1940" y="388"/>
                </a:moveTo>
                <a:cubicBezTo>
                  <a:pt x="1940" y="384"/>
                  <a:pt x="1937" y="382"/>
                  <a:pt x="1944" y="380"/>
                </a:cubicBezTo>
                <a:cubicBezTo>
                  <a:pt x="1943" y="383"/>
                  <a:pt x="1941" y="385"/>
                  <a:pt x="1940" y="388"/>
                </a:cubicBezTo>
                <a:close/>
                <a:moveTo>
                  <a:pt x="1936" y="361"/>
                </a:moveTo>
                <a:cubicBezTo>
                  <a:pt x="1932" y="348"/>
                  <a:pt x="1946" y="342"/>
                  <a:pt x="1956" y="346"/>
                </a:cubicBezTo>
                <a:cubicBezTo>
                  <a:pt x="1946" y="336"/>
                  <a:pt x="1957" y="337"/>
                  <a:pt x="1963" y="331"/>
                </a:cubicBezTo>
                <a:cubicBezTo>
                  <a:pt x="1968" y="326"/>
                  <a:pt x="1967" y="314"/>
                  <a:pt x="1978" y="325"/>
                </a:cubicBezTo>
                <a:cubicBezTo>
                  <a:pt x="1981" y="319"/>
                  <a:pt x="1987" y="303"/>
                  <a:pt x="1985" y="299"/>
                </a:cubicBezTo>
                <a:cubicBezTo>
                  <a:pt x="1993" y="300"/>
                  <a:pt x="2009" y="288"/>
                  <a:pt x="2010" y="277"/>
                </a:cubicBezTo>
                <a:cubicBezTo>
                  <a:pt x="2012" y="281"/>
                  <a:pt x="2015" y="285"/>
                  <a:pt x="2018" y="289"/>
                </a:cubicBezTo>
                <a:cubicBezTo>
                  <a:pt x="2019" y="300"/>
                  <a:pt x="2009" y="305"/>
                  <a:pt x="2007" y="317"/>
                </a:cubicBezTo>
                <a:cubicBezTo>
                  <a:pt x="2005" y="333"/>
                  <a:pt x="2007" y="338"/>
                  <a:pt x="1989" y="348"/>
                </a:cubicBezTo>
                <a:cubicBezTo>
                  <a:pt x="1989" y="338"/>
                  <a:pt x="1984" y="333"/>
                  <a:pt x="1976" y="339"/>
                </a:cubicBezTo>
                <a:cubicBezTo>
                  <a:pt x="1984" y="340"/>
                  <a:pt x="1985" y="348"/>
                  <a:pt x="1987" y="355"/>
                </a:cubicBezTo>
                <a:cubicBezTo>
                  <a:pt x="1968" y="358"/>
                  <a:pt x="1951" y="346"/>
                  <a:pt x="1936" y="361"/>
                </a:cubicBezTo>
                <a:close/>
                <a:moveTo>
                  <a:pt x="1946" y="446"/>
                </a:moveTo>
                <a:cubicBezTo>
                  <a:pt x="1945" y="448"/>
                  <a:pt x="1943" y="450"/>
                  <a:pt x="1941" y="452"/>
                </a:cubicBezTo>
                <a:cubicBezTo>
                  <a:pt x="1942" y="451"/>
                  <a:pt x="1941" y="449"/>
                  <a:pt x="1946" y="446"/>
                </a:cubicBezTo>
                <a:close/>
                <a:moveTo>
                  <a:pt x="1928" y="468"/>
                </a:moveTo>
                <a:cubicBezTo>
                  <a:pt x="1925" y="472"/>
                  <a:pt x="1922" y="476"/>
                  <a:pt x="1918" y="479"/>
                </a:cubicBezTo>
                <a:cubicBezTo>
                  <a:pt x="1921" y="475"/>
                  <a:pt x="1916" y="463"/>
                  <a:pt x="1928" y="468"/>
                </a:cubicBezTo>
                <a:close/>
                <a:moveTo>
                  <a:pt x="1917" y="438"/>
                </a:moveTo>
                <a:cubicBezTo>
                  <a:pt x="1915" y="440"/>
                  <a:pt x="1915" y="443"/>
                  <a:pt x="1911" y="444"/>
                </a:cubicBezTo>
                <a:cubicBezTo>
                  <a:pt x="1913" y="442"/>
                  <a:pt x="1915" y="440"/>
                  <a:pt x="1917" y="438"/>
                </a:cubicBezTo>
                <a:close/>
                <a:moveTo>
                  <a:pt x="1904" y="476"/>
                </a:moveTo>
                <a:cubicBezTo>
                  <a:pt x="1905" y="476"/>
                  <a:pt x="1906" y="477"/>
                  <a:pt x="1907" y="477"/>
                </a:cubicBezTo>
                <a:cubicBezTo>
                  <a:pt x="1910" y="477"/>
                  <a:pt x="1914" y="478"/>
                  <a:pt x="1917" y="478"/>
                </a:cubicBezTo>
                <a:cubicBezTo>
                  <a:pt x="1915" y="478"/>
                  <a:pt x="1913" y="479"/>
                  <a:pt x="1912" y="479"/>
                </a:cubicBezTo>
                <a:cubicBezTo>
                  <a:pt x="1911" y="478"/>
                  <a:pt x="1909" y="478"/>
                  <a:pt x="1907" y="477"/>
                </a:cubicBezTo>
                <a:cubicBezTo>
                  <a:pt x="1902" y="477"/>
                  <a:pt x="1899" y="478"/>
                  <a:pt x="1905" y="485"/>
                </a:cubicBezTo>
                <a:cubicBezTo>
                  <a:pt x="1903" y="483"/>
                  <a:pt x="1902" y="481"/>
                  <a:pt x="1900" y="479"/>
                </a:cubicBezTo>
                <a:cubicBezTo>
                  <a:pt x="1903" y="477"/>
                  <a:pt x="1903" y="478"/>
                  <a:pt x="1904" y="476"/>
                </a:cubicBezTo>
                <a:close/>
                <a:moveTo>
                  <a:pt x="1894" y="502"/>
                </a:moveTo>
                <a:cubicBezTo>
                  <a:pt x="1889" y="506"/>
                  <a:pt x="1884" y="510"/>
                  <a:pt x="1878" y="514"/>
                </a:cubicBezTo>
                <a:cubicBezTo>
                  <a:pt x="1876" y="507"/>
                  <a:pt x="1888" y="507"/>
                  <a:pt x="1894" y="502"/>
                </a:cubicBezTo>
                <a:close/>
                <a:moveTo>
                  <a:pt x="1882" y="483"/>
                </a:moveTo>
                <a:cubicBezTo>
                  <a:pt x="1881" y="489"/>
                  <a:pt x="1878" y="487"/>
                  <a:pt x="1874" y="485"/>
                </a:cubicBezTo>
                <a:cubicBezTo>
                  <a:pt x="1876" y="484"/>
                  <a:pt x="1879" y="483"/>
                  <a:pt x="1882" y="483"/>
                </a:cubicBezTo>
                <a:close/>
                <a:moveTo>
                  <a:pt x="1867" y="494"/>
                </a:moveTo>
                <a:cubicBezTo>
                  <a:pt x="1864" y="499"/>
                  <a:pt x="1861" y="500"/>
                  <a:pt x="1857" y="502"/>
                </a:cubicBezTo>
                <a:cubicBezTo>
                  <a:pt x="1859" y="499"/>
                  <a:pt x="1861" y="496"/>
                  <a:pt x="1867" y="494"/>
                </a:cubicBezTo>
                <a:close/>
                <a:moveTo>
                  <a:pt x="1843" y="241"/>
                </a:moveTo>
                <a:cubicBezTo>
                  <a:pt x="1844" y="239"/>
                  <a:pt x="1846" y="241"/>
                  <a:pt x="1847" y="241"/>
                </a:cubicBezTo>
                <a:cubicBezTo>
                  <a:pt x="1849" y="242"/>
                  <a:pt x="1850" y="243"/>
                  <a:pt x="1853" y="243"/>
                </a:cubicBezTo>
                <a:cubicBezTo>
                  <a:pt x="1853" y="230"/>
                  <a:pt x="1862" y="237"/>
                  <a:pt x="1854" y="245"/>
                </a:cubicBezTo>
                <a:cubicBezTo>
                  <a:pt x="1846" y="252"/>
                  <a:pt x="1842" y="249"/>
                  <a:pt x="1843" y="241"/>
                </a:cubicBezTo>
                <a:close/>
                <a:moveTo>
                  <a:pt x="1958" y="63"/>
                </a:moveTo>
                <a:cubicBezTo>
                  <a:pt x="1967" y="70"/>
                  <a:pt x="1958" y="71"/>
                  <a:pt x="1958" y="63"/>
                </a:cubicBezTo>
                <a:close/>
                <a:moveTo>
                  <a:pt x="1933" y="28"/>
                </a:moveTo>
                <a:cubicBezTo>
                  <a:pt x="1928" y="34"/>
                  <a:pt x="1919" y="34"/>
                  <a:pt x="1917" y="28"/>
                </a:cubicBezTo>
                <a:cubicBezTo>
                  <a:pt x="1922" y="27"/>
                  <a:pt x="1928" y="27"/>
                  <a:pt x="1933" y="28"/>
                </a:cubicBezTo>
                <a:close/>
                <a:moveTo>
                  <a:pt x="1919" y="35"/>
                </a:moveTo>
                <a:cubicBezTo>
                  <a:pt x="1916" y="35"/>
                  <a:pt x="1915" y="35"/>
                  <a:pt x="1919" y="35"/>
                </a:cubicBezTo>
                <a:close/>
                <a:moveTo>
                  <a:pt x="1843" y="26"/>
                </a:moveTo>
                <a:cubicBezTo>
                  <a:pt x="1841" y="28"/>
                  <a:pt x="1845" y="25"/>
                  <a:pt x="1846" y="25"/>
                </a:cubicBezTo>
                <a:cubicBezTo>
                  <a:pt x="1847" y="25"/>
                  <a:pt x="1844" y="26"/>
                  <a:pt x="1843" y="26"/>
                </a:cubicBezTo>
                <a:close/>
                <a:moveTo>
                  <a:pt x="1892" y="57"/>
                </a:moveTo>
                <a:cubicBezTo>
                  <a:pt x="1891" y="59"/>
                  <a:pt x="1893" y="59"/>
                  <a:pt x="1891" y="61"/>
                </a:cubicBezTo>
                <a:cubicBezTo>
                  <a:pt x="1889" y="59"/>
                  <a:pt x="1891" y="59"/>
                  <a:pt x="1892" y="57"/>
                </a:cubicBezTo>
                <a:close/>
                <a:moveTo>
                  <a:pt x="1997" y="131"/>
                </a:moveTo>
                <a:cubicBezTo>
                  <a:pt x="1998" y="130"/>
                  <a:pt x="1999" y="130"/>
                  <a:pt x="2001" y="130"/>
                </a:cubicBezTo>
                <a:cubicBezTo>
                  <a:pt x="1999" y="130"/>
                  <a:pt x="1992" y="132"/>
                  <a:pt x="1997" y="131"/>
                </a:cubicBezTo>
                <a:close/>
                <a:moveTo>
                  <a:pt x="1956" y="138"/>
                </a:moveTo>
                <a:cubicBezTo>
                  <a:pt x="1954" y="137"/>
                  <a:pt x="1952" y="137"/>
                  <a:pt x="1950" y="137"/>
                </a:cubicBezTo>
                <a:cubicBezTo>
                  <a:pt x="1953" y="136"/>
                  <a:pt x="1956" y="134"/>
                  <a:pt x="1957" y="131"/>
                </a:cubicBezTo>
                <a:cubicBezTo>
                  <a:pt x="1956" y="132"/>
                  <a:pt x="1956" y="125"/>
                  <a:pt x="1956" y="118"/>
                </a:cubicBezTo>
                <a:cubicBezTo>
                  <a:pt x="1957" y="118"/>
                  <a:pt x="1959" y="117"/>
                  <a:pt x="1961" y="117"/>
                </a:cubicBezTo>
                <a:cubicBezTo>
                  <a:pt x="1965" y="117"/>
                  <a:pt x="1968" y="113"/>
                  <a:pt x="1973" y="113"/>
                </a:cubicBezTo>
                <a:cubicBezTo>
                  <a:pt x="1975" y="113"/>
                  <a:pt x="1982" y="117"/>
                  <a:pt x="1981" y="117"/>
                </a:cubicBezTo>
                <a:cubicBezTo>
                  <a:pt x="1979" y="117"/>
                  <a:pt x="1990" y="120"/>
                  <a:pt x="1988" y="119"/>
                </a:cubicBezTo>
                <a:cubicBezTo>
                  <a:pt x="1988" y="119"/>
                  <a:pt x="1988" y="113"/>
                  <a:pt x="1992" y="113"/>
                </a:cubicBezTo>
                <a:cubicBezTo>
                  <a:pt x="1998" y="114"/>
                  <a:pt x="2006" y="123"/>
                  <a:pt x="2015" y="126"/>
                </a:cubicBezTo>
                <a:cubicBezTo>
                  <a:pt x="2008" y="131"/>
                  <a:pt x="1998" y="124"/>
                  <a:pt x="1988" y="125"/>
                </a:cubicBezTo>
                <a:cubicBezTo>
                  <a:pt x="1979" y="126"/>
                  <a:pt x="1984" y="121"/>
                  <a:pt x="1978" y="127"/>
                </a:cubicBezTo>
                <a:cubicBezTo>
                  <a:pt x="1978" y="127"/>
                  <a:pt x="1982" y="134"/>
                  <a:pt x="1975" y="137"/>
                </a:cubicBezTo>
                <a:cubicBezTo>
                  <a:pt x="1981" y="144"/>
                  <a:pt x="1974" y="150"/>
                  <a:pt x="1969" y="155"/>
                </a:cubicBezTo>
                <a:cubicBezTo>
                  <a:pt x="1969" y="148"/>
                  <a:pt x="1966" y="143"/>
                  <a:pt x="1956" y="147"/>
                </a:cubicBezTo>
                <a:cubicBezTo>
                  <a:pt x="1961" y="143"/>
                  <a:pt x="1966" y="140"/>
                  <a:pt x="1970" y="136"/>
                </a:cubicBezTo>
                <a:cubicBezTo>
                  <a:pt x="1960" y="138"/>
                  <a:pt x="1956" y="144"/>
                  <a:pt x="1949" y="148"/>
                </a:cubicBezTo>
                <a:cubicBezTo>
                  <a:pt x="1954" y="155"/>
                  <a:pt x="1950" y="156"/>
                  <a:pt x="1943" y="154"/>
                </a:cubicBezTo>
                <a:cubicBezTo>
                  <a:pt x="1937" y="143"/>
                  <a:pt x="1946" y="144"/>
                  <a:pt x="1956" y="138"/>
                </a:cubicBezTo>
                <a:close/>
                <a:moveTo>
                  <a:pt x="1859" y="193"/>
                </a:moveTo>
                <a:cubicBezTo>
                  <a:pt x="1861" y="191"/>
                  <a:pt x="1862" y="189"/>
                  <a:pt x="1866" y="188"/>
                </a:cubicBezTo>
                <a:cubicBezTo>
                  <a:pt x="1867" y="197"/>
                  <a:pt x="1857" y="207"/>
                  <a:pt x="1859" y="193"/>
                </a:cubicBezTo>
                <a:close/>
                <a:moveTo>
                  <a:pt x="1840" y="178"/>
                </a:moveTo>
                <a:cubicBezTo>
                  <a:pt x="1831" y="180"/>
                  <a:pt x="1832" y="173"/>
                  <a:pt x="1840" y="178"/>
                </a:cubicBezTo>
                <a:close/>
                <a:moveTo>
                  <a:pt x="1819" y="184"/>
                </a:moveTo>
                <a:cubicBezTo>
                  <a:pt x="1839" y="164"/>
                  <a:pt x="1820" y="204"/>
                  <a:pt x="1819" y="184"/>
                </a:cubicBezTo>
                <a:close/>
                <a:moveTo>
                  <a:pt x="1815" y="281"/>
                </a:moveTo>
                <a:cubicBezTo>
                  <a:pt x="1809" y="278"/>
                  <a:pt x="1813" y="277"/>
                  <a:pt x="1815" y="274"/>
                </a:cubicBezTo>
                <a:cubicBezTo>
                  <a:pt x="1818" y="276"/>
                  <a:pt x="1820" y="276"/>
                  <a:pt x="1815" y="281"/>
                </a:cubicBezTo>
                <a:close/>
                <a:moveTo>
                  <a:pt x="1814" y="213"/>
                </a:moveTo>
                <a:cubicBezTo>
                  <a:pt x="1814" y="218"/>
                  <a:pt x="1817" y="220"/>
                  <a:pt x="1811" y="222"/>
                </a:cubicBezTo>
                <a:cubicBezTo>
                  <a:pt x="1810" y="217"/>
                  <a:pt x="1812" y="216"/>
                  <a:pt x="1814" y="213"/>
                </a:cubicBezTo>
                <a:close/>
                <a:moveTo>
                  <a:pt x="1653" y="111"/>
                </a:moveTo>
                <a:cubicBezTo>
                  <a:pt x="1656" y="105"/>
                  <a:pt x="1652" y="94"/>
                  <a:pt x="1658" y="91"/>
                </a:cubicBezTo>
                <a:cubicBezTo>
                  <a:pt x="1673" y="84"/>
                  <a:pt x="1655" y="115"/>
                  <a:pt x="1654" y="115"/>
                </a:cubicBezTo>
                <a:cubicBezTo>
                  <a:pt x="1650" y="113"/>
                  <a:pt x="1653" y="112"/>
                  <a:pt x="1653" y="111"/>
                </a:cubicBezTo>
                <a:close/>
                <a:moveTo>
                  <a:pt x="1455" y="93"/>
                </a:moveTo>
                <a:cubicBezTo>
                  <a:pt x="1453" y="92"/>
                  <a:pt x="1452" y="92"/>
                  <a:pt x="1450" y="92"/>
                </a:cubicBezTo>
                <a:cubicBezTo>
                  <a:pt x="1450" y="90"/>
                  <a:pt x="1450" y="89"/>
                  <a:pt x="1449" y="88"/>
                </a:cubicBezTo>
                <a:cubicBezTo>
                  <a:pt x="1451" y="90"/>
                  <a:pt x="1452" y="90"/>
                  <a:pt x="1455" y="93"/>
                </a:cubicBezTo>
                <a:close/>
                <a:moveTo>
                  <a:pt x="493" y="511"/>
                </a:moveTo>
                <a:cubicBezTo>
                  <a:pt x="494" y="511"/>
                  <a:pt x="494" y="508"/>
                  <a:pt x="497" y="509"/>
                </a:cubicBezTo>
                <a:cubicBezTo>
                  <a:pt x="497" y="513"/>
                  <a:pt x="495" y="510"/>
                  <a:pt x="493" y="511"/>
                </a:cubicBezTo>
                <a:close/>
                <a:moveTo>
                  <a:pt x="449" y="725"/>
                </a:moveTo>
                <a:cubicBezTo>
                  <a:pt x="459" y="730"/>
                  <a:pt x="470" y="735"/>
                  <a:pt x="479" y="741"/>
                </a:cubicBezTo>
                <a:cubicBezTo>
                  <a:pt x="470" y="735"/>
                  <a:pt x="459" y="730"/>
                  <a:pt x="449" y="725"/>
                </a:cubicBezTo>
                <a:close/>
                <a:moveTo>
                  <a:pt x="219" y="868"/>
                </a:moveTo>
                <a:cubicBezTo>
                  <a:pt x="205" y="871"/>
                  <a:pt x="177" y="881"/>
                  <a:pt x="165" y="874"/>
                </a:cubicBezTo>
                <a:cubicBezTo>
                  <a:pt x="167" y="873"/>
                  <a:pt x="172" y="870"/>
                  <a:pt x="174" y="869"/>
                </a:cubicBezTo>
                <a:cubicBezTo>
                  <a:pt x="167" y="868"/>
                  <a:pt x="160" y="867"/>
                  <a:pt x="153" y="867"/>
                </a:cubicBezTo>
                <a:cubicBezTo>
                  <a:pt x="164" y="867"/>
                  <a:pt x="172" y="869"/>
                  <a:pt x="181" y="867"/>
                </a:cubicBezTo>
                <a:cubicBezTo>
                  <a:pt x="183" y="866"/>
                  <a:pt x="185" y="865"/>
                  <a:pt x="188" y="864"/>
                </a:cubicBezTo>
                <a:cubicBezTo>
                  <a:pt x="185" y="865"/>
                  <a:pt x="183" y="866"/>
                  <a:pt x="181" y="867"/>
                </a:cubicBezTo>
                <a:cubicBezTo>
                  <a:pt x="179" y="867"/>
                  <a:pt x="177" y="868"/>
                  <a:pt x="175" y="869"/>
                </a:cubicBezTo>
                <a:cubicBezTo>
                  <a:pt x="213" y="867"/>
                  <a:pt x="251" y="857"/>
                  <a:pt x="289" y="851"/>
                </a:cubicBezTo>
                <a:cubicBezTo>
                  <a:pt x="329" y="846"/>
                  <a:pt x="369" y="841"/>
                  <a:pt x="409" y="835"/>
                </a:cubicBezTo>
                <a:cubicBezTo>
                  <a:pt x="406" y="836"/>
                  <a:pt x="404" y="836"/>
                  <a:pt x="401" y="837"/>
                </a:cubicBezTo>
                <a:cubicBezTo>
                  <a:pt x="409" y="837"/>
                  <a:pt x="416" y="834"/>
                  <a:pt x="425" y="835"/>
                </a:cubicBezTo>
                <a:cubicBezTo>
                  <a:pt x="422" y="835"/>
                  <a:pt x="420" y="835"/>
                  <a:pt x="418" y="835"/>
                </a:cubicBezTo>
                <a:cubicBezTo>
                  <a:pt x="422" y="836"/>
                  <a:pt x="427" y="838"/>
                  <a:pt x="431" y="839"/>
                </a:cubicBezTo>
                <a:cubicBezTo>
                  <a:pt x="382" y="851"/>
                  <a:pt x="328" y="849"/>
                  <a:pt x="278" y="861"/>
                </a:cubicBezTo>
                <a:cubicBezTo>
                  <a:pt x="259" y="859"/>
                  <a:pt x="238" y="865"/>
                  <a:pt x="219" y="868"/>
                </a:cubicBezTo>
                <a:close/>
                <a:moveTo>
                  <a:pt x="429" y="944"/>
                </a:moveTo>
                <a:cubicBezTo>
                  <a:pt x="415" y="935"/>
                  <a:pt x="394" y="944"/>
                  <a:pt x="378" y="943"/>
                </a:cubicBezTo>
                <a:cubicBezTo>
                  <a:pt x="370" y="942"/>
                  <a:pt x="329" y="943"/>
                  <a:pt x="333" y="936"/>
                </a:cubicBezTo>
                <a:cubicBezTo>
                  <a:pt x="338" y="925"/>
                  <a:pt x="387" y="924"/>
                  <a:pt x="397" y="924"/>
                </a:cubicBezTo>
                <a:cubicBezTo>
                  <a:pt x="404" y="924"/>
                  <a:pt x="424" y="924"/>
                  <a:pt x="428" y="927"/>
                </a:cubicBezTo>
                <a:cubicBezTo>
                  <a:pt x="437" y="932"/>
                  <a:pt x="426" y="930"/>
                  <a:pt x="429" y="944"/>
                </a:cubicBezTo>
                <a:close/>
                <a:moveTo>
                  <a:pt x="566" y="830"/>
                </a:moveTo>
                <a:cubicBezTo>
                  <a:pt x="535" y="831"/>
                  <a:pt x="505" y="837"/>
                  <a:pt x="474" y="837"/>
                </a:cubicBezTo>
                <a:cubicBezTo>
                  <a:pt x="504" y="831"/>
                  <a:pt x="535" y="821"/>
                  <a:pt x="566" y="819"/>
                </a:cubicBezTo>
                <a:cubicBezTo>
                  <a:pt x="560" y="823"/>
                  <a:pt x="561" y="826"/>
                  <a:pt x="566" y="830"/>
                </a:cubicBezTo>
                <a:close/>
                <a:moveTo>
                  <a:pt x="2011" y="617"/>
                </a:moveTo>
                <a:cubicBezTo>
                  <a:pt x="2010" y="618"/>
                  <a:pt x="2002" y="619"/>
                  <a:pt x="1995" y="617"/>
                </a:cubicBezTo>
                <a:cubicBezTo>
                  <a:pt x="2000" y="617"/>
                  <a:pt x="2006" y="617"/>
                  <a:pt x="2011" y="617"/>
                </a:cubicBezTo>
                <a:close/>
                <a:moveTo>
                  <a:pt x="1981" y="606"/>
                </a:moveTo>
                <a:cubicBezTo>
                  <a:pt x="1982" y="608"/>
                  <a:pt x="1982" y="608"/>
                  <a:pt x="1981" y="606"/>
                </a:cubicBezTo>
                <a:close/>
                <a:moveTo>
                  <a:pt x="1991" y="619"/>
                </a:moveTo>
                <a:cubicBezTo>
                  <a:pt x="1986" y="620"/>
                  <a:pt x="1980" y="622"/>
                  <a:pt x="1975" y="623"/>
                </a:cubicBezTo>
                <a:cubicBezTo>
                  <a:pt x="1977" y="624"/>
                  <a:pt x="1979" y="625"/>
                  <a:pt x="1981" y="626"/>
                </a:cubicBezTo>
                <a:cubicBezTo>
                  <a:pt x="1975" y="628"/>
                  <a:pt x="1968" y="629"/>
                  <a:pt x="1961" y="631"/>
                </a:cubicBezTo>
                <a:cubicBezTo>
                  <a:pt x="1974" y="639"/>
                  <a:pt x="1988" y="622"/>
                  <a:pt x="2002" y="628"/>
                </a:cubicBezTo>
                <a:cubicBezTo>
                  <a:pt x="1986" y="635"/>
                  <a:pt x="1957" y="643"/>
                  <a:pt x="1940" y="640"/>
                </a:cubicBezTo>
                <a:cubicBezTo>
                  <a:pt x="1946" y="638"/>
                  <a:pt x="1952" y="635"/>
                  <a:pt x="1958" y="633"/>
                </a:cubicBezTo>
                <a:cubicBezTo>
                  <a:pt x="1940" y="632"/>
                  <a:pt x="1922" y="637"/>
                  <a:pt x="1904" y="639"/>
                </a:cubicBezTo>
                <a:cubicBezTo>
                  <a:pt x="1924" y="632"/>
                  <a:pt x="1945" y="630"/>
                  <a:pt x="1966" y="628"/>
                </a:cubicBezTo>
                <a:cubicBezTo>
                  <a:pt x="1963" y="627"/>
                  <a:pt x="1960" y="625"/>
                  <a:pt x="1956" y="624"/>
                </a:cubicBezTo>
                <a:cubicBezTo>
                  <a:pt x="1961" y="624"/>
                  <a:pt x="1964" y="622"/>
                  <a:pt x="1968" y="622"/>
                </a:cubicBezTo>
                <a:cubicBezTo>
                  <a:pt x="1966" y="621"/>
                  <a:pt x="1964" y="620"/>
                  <a:pt x="1961" y="620"/>
                </a:cubicBezTo>
                <a:cubicBezTo>
                  <a:pt x="1971" y="617"/>
                  <a:pt x="1981" y="618"/>
                  <a:pt x="1991" y="619"/>
                </a:cubicBezTo>
                <a:close/>
                <a:moveTo>
                  <a:pt x="1905" y="646"/>
                </a:moveTo>
                <a:cubicBezTo>
                  <a:pt x="1911" y="642"/>
                  <a:pt x="1921" y="639"/>
                  <a:pt x="1924" y="645"/>
                </a:cubicBezTo>
                <a:cubicBezTo>
                  <a:pt x="1921" y="649"/>
                  <a:pt x="1912" y="649"/>
                  <a:pt x="1905" y="646"/>
                </a:cubicBezTo>
                <a:close/>
                <a:moveTo>
                  <a:pt x="1950" y="670"/>
                </a:moveTo>
                <a:cubicBezTo>
                  <a:pt x="1936" y="677"/>
                  <a:pt x="1922" y="676"/>
                  <a:pt x="1907" y="678"/>
                </a:cubicBezTo>
                <a:cubicBezTo>
                  <a:pt x="1921" y="674"/>
                  <a:pt x="1935" y="671"/>
                  <a:pt x="1950" y="670"/>
                </a:cubicBezTo>
                <a:close/>
                <a:moveTo>
                  <a:pt x="1961" y="609"/>
                </a:moveTo>
                <a:cubicBezTo>
                  <a:pt x="1965" y="609"/>
                  <a:pt x="1969" y="608"/>
                  <a:pt x="1974" y="609"/>
                </a:cubicBezTo>
                <a:cubicBezTo>
                  <a:pt x="1930" y="623"/>
                  <a:pt x="1886" y="629"/>
                  <a:pt x="1841" y="637"/>
                </a:cubicBezTo>
                <a:cubicBezTo>
                  <a:pt x="1820" y="641"/>
                  <a:pt x="1799" y="645"/>
                  <a:pt x="1778" y="649"/>
                </a:cubicBezTo>
                <a:cubicBezTo>
                  <a:pt x="1765" y="652"/>
                  <a:pt x="1739" y="664"/>
                  <a:pt x="1728" y="653"/>
                </a:cubicBezTo>
                <a:cubicBezTo>
                  <a:pt x="1766" y="651"/>
                  <a:pt x="1805" y="635"/>
                  <a:pt x="1844" y="630"/>
                </a:cubicBezTo>
                <a:cubicBezTo>
                  <a:pt x="1883" y="624"/>
                  <a:pt x="1922" y="618"/>
                  <a:pt x="1961" y="609"/>
                </a:cubicBezTo>
                <a:close/>
                <a:moveTo>
                  <a:pt x="1896" y="641"/>
                </a:moveTo>
                <a:cubicBezTo>
                  <a:pt x="1891" y="644"/>
                  <a:pt x="1886" y="645"/>
                  <a:pt x="1880" y="643"/>
                </a:cubicBezTo>
                <a:cubicBezTo>
                  <a:pt x="1885" y="641"/>
                  <a:pt x="1891" y="640"/>
                  <a:pt x="1896" y="641"/>
                </a:cubicBezTo>
                <a:close/>
                <a:moveTo>
                  <a:pt x="1867" y="653"/>
                </a:moveTo>
                <a:cubicBezTo>
                  <a:pt x="1859" y="657"/>
                  <a:pt x="1841" y="663"/>
                  <a:pt x="1835" y="656"/>
                </a:cubicBezTo>
                <a:cubicBezTo>
                  <a:pt x="1844" y="654"/>
                  <a:pt x="1859" y="648"/>
                  <a:pt x="1867" y="653"/>
                </a:cubicBezTo>
                <a:close/>
                <a:moveTo>
                  <a:pt x="1789" y="653"/>
                </a:moveTo>
                <a:cubicBezTo>
                  <a:pt x="1800" y="653"/>
                  <a:pt x="1820" y="650"/>
                  <a:pt x="1829" y="655"/>
                </a:cubicBezTo>
                <a:cubicBezTo>
                  <a:pt x="1818" y="656"/>
                  <a:pt x="1802" y="654"/>
                  <a:pt x="1790" y="657"/>
                </a:cubicBezTo>
                <a:cubicBezTo>
                  <a:pt x="1788" y="658"/>
                  <a:pt x="1785" y="660"/>
                  <a:pt x="1783" y="660"/>
                </a:cubicBezTo>
                <a:cubicBezTo>
                  <a:pt x="1785" y="659"/>
                  <a:pt x="1788" y="658"/>
                  <a:pt x="1790" y="657"/>
                </a:cubicBezTo>
                <a:cubicBezTo>
                  <a:pt x="1790" y="657"/>
                  <a:pt x="1791" y="657"/>
                  <a:pt x="1791" y="657"/>
                </a:cubicBezTo>
                <a:cubicBezTo>
                  <a:pt x="1789" y="656"/>
                  <a:pt x="1788" y="655"/>
                  <a:pt x="1789" y="653"/>
                </a:cubicBezTo>
                <a:close/>
                <a:moveTo>
                  <a:pt x="1895" y="607"/>
                </a:moveTo>
                <a:cubicBezTo>
                  <a:pt x="1893" y="608"/>
                  <a:pt x="1892" y="608"/>
                  <a:pt x="1891" y="609"/>
                </a:cubicBezTo>
                <a:cubicBezTo>
                  <a:pt x="1892" y="608"/>
                  <a:pt x="1890" y="605"/>
                  <a:pt x="1894" y="606"/>
                </a:cubicBezTo>
                <a:cubicBezTo>
                  <a:pt x="1894" y="607"/>
                  <a:pt x="1894" y="607"/>
                  <a:pt x="1895" y="607"/>
                </a:cubicBezTo>
                <a:close/>
                <a:moveTo>
                  <a:pt x="1894" y="598"/>
                </a:moveTo>
                <a:cubicBezTo>
                  <a:pt x="1909" y="597"/>
                  <a:pt x="1928" y="586"/>
                  <a:pt x="1941" y="593"/>
                </a:cubicBezTo>
                <a:cubicBezTo>
                  <a:pt x="1924" y="595"/>
                  <a:pt x="1907" y="602"/>
                  <a:pt x="1889" y="600"/>
                </a:cubicBezTo>
                <a:cubicBezTo>
                  <a:pt x="1891" y="598"/>
                  <a:pt x="1892" y="599"/>
                  <a:pt x="1894" y="598"/>
                </a:cubicBezTo>
                <a:close/>
                <a:moveTo>
                  <a:pt x="1890" y="609"/>
                </a:moveTo>
                <a:cubicBezTo>
                  <a:pt x="1865" y="617"/>
                  <a:pt x="1840" y="622"/>
                  <a:pt x="1815" y="629"/>
                </a:cubicBezTo>
                <a:cubicBezTo>
                  <a:pt x="1787" y="636"/>
                  <a:pt x="1761" y="635"/>
                  <a:pt x="1733" y="639"/>
                </a:cubicBezTo>
                <a:cubicBezTo>
                  <a:pt x="1717" y="640"/>
                  <a:pt x="1708" y="645"/>
                  <a:pt x="1690" y="646"/>
                </a:cubicBezTo>
                <a:cubicBezTo>
                  <a:pt x="1674" y="647"/>
                  <a:pt x="1642" y="663"/>
                  <a:pt x="1630" y="652"/>
                </a:cubicBezTo>
                <a:cubicBezTo>
                  <a:pt x="1635" y="652"/>
                  <a:pt x="1639" y="649"/>
                  <a:pt x="1642" y="646"/>
                </a:cubicBezTo>
                <a:cubicBezTo>
                  <a:pt x="1638" y="646"/>
                  <a:pt x="1634" y="647"/>
                  <a:pt x="1630" y="648"/>
                </a:cubicBezTo>
                <a:cubicBezTo>
                  <a:pt x="1633" y="647"/>
                  <a:pt x="1638" y="646"/>
                  <a:pt x="1642" y="645"/>
                </a:cubicBezTo>
                <a:cubicBezTo>
                  <a:pt x="1643" y="645"/>
                  <a:pt x="1644" y="645"/>
                  <a:pt x="1645" y="645"/>
                </a:cubicBezTo>
                <a:cubicBezTo>
                  <a:pt x="1644" y="645"/>
                  <a:pt x="1643" y="645"/>
                  <a:pt x="1642" y="645"/>
                </a:cubicBezTo>
                <a:cubicBezTo>
                  <a:pt x="1642" y="646"/>
                  <a:pt x="1642" y="647"/>
                  <a:pt x="1641" y="648"/>
                </a:cubicBezTo>
                <a:cubicBezTo>
                  <a:pt x="1649" y="653"/>
                  <a:pt x="1657" y="651"/>
                  <a:pt x="1658" y="642"/>
                </a:cubicBezTo>
                <a:cubicBezTo>
                  <a:pt x="1660" y="643"/>
                  <a:pt x="1664" y="643"/>
                  <a:pt x="1666" y="643"/>
                </a:cubicBezTo>
                <a:cubicBezTo>
                  <a:pt x="1665" y="644"/>
                  <a:pt x="1663" y="645"/>
                  <a:pt x="1663" y="646"/>
                </a:cubicBezTo>
                <a:cubicBezTo>
                  <a:pt x="1671" y="647"/>
                  <a:pt x="1679" y="644"/>
                  <a:pt x="1687" y="641"/>
                </a:cubicBezTo>
                <a:cubicBezTo>
                  <a:pt x="1682" y="641"/>
                  <a:pt x="1682" y="639"/>
                  <a:pt x="1680" y="638"/>
                </a:cubicBezTo>
                <a:cubicBezTo>
                  <a:pt x="1699" y="634"/>
                  <a:pt x="1719" y="628"/>
                  <a:pt x="1737" y="622"/>
                </a:cubicBezTo>
                <a:cubicBezTo>
                  <a:pt x="1736" y="623"/>
                  <a:pt x="1734" y="624"/>
                  <a:pt x="1733" y="624"/>
                </a:cubicBezTo>
                <a:cubicBezTo>
                  <a:pt x="1748" y="631"/>
                  <a:pt x="1777" y="619"/>
                  <a:pt x="1794" y="617"/>
                </a:cubicBezTo>
                <a:cubicBezTo>
                  <a:pt x="1826" y="615"/>
                  <a:pt x="1858" y="605"/>
                  <a:pt x="1890" y="609"/>
                </a:cubicBezTo>
                <a:close/>
                <a:moveTo>
                  <a:pt x="1706" y="626"/>
                </a:moveTo>
                <a:cubicBezTo>
                  <a:pt x="1711" y="626"/>
                  <a:pt x="1715" y="626"/>
                  <a:pt x="1720" y="624"/>
                </a:cubicBezTo>
                <a:cubicBezTo>
                  <a:pt x="1715" y="626"/>
                  <a:pt x="1711" y="626"/>
                  <a:pt x="1706" y="626"/>
                </a:cubicBezTo>
                <a:close/>
                <a:moveTo>
                  <a:pt x="1869" y="581"/>
                </a:moveTo>
                <a:cubicBezTo>
                  <a:pt x="1870" y="585"/>
                  <a:pt x="1868" y="583"/>
                  <a:pt x="1867" y="583"/>
                </a:cubicBezTo>
                <a:cubicBezTo>
                  <a:pt x="1868" y="582"/>
                  <a:pt x="1865" y="579"/>
                  <a:pt x="1869" y="581"/>
                </a:cubicBezTo>
                <a:close/>
                <a:moveTo>
                  <a:pt x="1884" y="600"/>
                </a:moveTo>
                <a:cubicBezTo>
                  <a:pt x="1874" y="603"/>
                  <a:pt x="1863" y="605"/>
                  <a:pt x="1853" y="605"/>
                </a:cubicBezTo>
                <a:cubicBezTo>
                  <a:pt x="1863" y="601"/>
                  <a:pt x="1873" y="602"/>
                  <a:pt x="1884" y="600"/>
                </a:cubicBezTo>
                <a:close/>
                <a:moveTo>
                  <a:pt x="1945" y="549"/>
                </a:moveTo>
                <a:cubicBezTo>
                  <a:pt x="1948" y="548"/>
                  <a:pt x="1949" y="547"/>
                  <a:pt x="1952" y="548"/>
                </a:cubicBezTo>
                <a:cubicBezTo>
                  <a:pt x="1946" y="550"/>
                  <a:pt x="1942" y="554"/>
                  <a:pt x="1938" y="557"/>
                </a:cubicBezTo>
                <a:cubicBezTo>
                  <a:pt x="1937" y="558"/>
                  <a:pt x="1936" y="558"/>
                  <a:pt x="1934" y="560"/>
                </a:cubicBezTo>
                <a:cubicBezTo>
                  <a:pt x="1935" y="559"/>
                  <a:pt x="1936" y="558"/>
                  <a:pt x="1938" y="557"/>
                </a:cubicBezTo>
                <a:cubicBezTo>
                  <a:pt x="1938" y="557"/>
                  <a:pt x="1938" y="556"/>
                  <a:pt x="1939" y="555"/>
                </a:cubicBezTo>
                <a:cubicBezTo>
                  <a:pt x="1923" y="561"/>
                  <a:pt x="1890" y="586"/>
                  <a:pt x="1873" y="580"/>
                </a:cubicBezTo>
                <a:cubicBezTo>
                  <a:pt x="1897" y="571"/>
                  <a:pt x="1920" y="555"/>
                  <a:pt x="1945" y="549"/>
                </a:cubicBezTo>
                <a:close/>
                <a:moveTo>
                  <a:pt x="1822" y="535"/>
                </a:moveTo>
                <a:cubicBezTo>
                  <a:pt x="1814" y="539"/>
                  <a:pt x="1806" y="545"/>
                  <a:pt x="1798" y="544"/>
                </a:cubicBezTo>
                <a:cubicBezTo>
                  <a:pt x="1806" y="541"/>
                  <a:pt x="1814" y="538"/>
                  <a:pt x="1822" y="535"/>
                </a:cubicBezTo>
                <a:close/>
                <a:moveTo>
                  <a:pt x="1791" y="549"/>
                </a:moveTo>
                <a:cubicBezTo>
                  <a:pt x="1784" y="551"/>
                  <a:pt x="1777" y="554"/>
                  <a:pt x="1770" y="556"/>
                </a:cubicBezTo>
                <a:cubicBezTo>
                  <a:pt x="1776" y="552"/>
                  <a:pt x="1786" y="546"/>
                  <a:pt x="1791" y="549"/>
                </a:cubicBezTo>
                <a:close/>
                <a:moveTo>
                  <a:pt x="1797" y="472"/>
                </a:moveTo>
                <a:cubicBezTo>
                  <a:pt x="1806" y="473"/>
                  <a:pt x="1790" y="485"/>
                  <a:pt x="1783" y="481"/>
                </a:cubicBezTo>
                <a:cubicBezTo>
                  <a:pt x="1787" y="477"/>
                  <a:pt x="1792" y="474"/>
                  <a:pt x="1797" y="472"/>
                </a:cubicBezTo>
                <a:close/>
                <a:moveTo>
                  <a:pt x="1778" y="533"/>
                </a:moveTo>
                <a:cubicBezTo>
                  <a:pt x="1782" y="531"/>
                  <a:pt x="1785" y="530"/>
                  <a:pt x="1787" y="528"/>
                </a:cubicBezTo>
                <a:cubicBezTo>
                  <a:pt x="1790" y="538"/>
                  <a:pt x="1767" y="542"/>
                  <a:pt x="1759" y="543"/>
                </a:cubicBezTo>
                <a:cubicBezTo>
                  <a:pt x="1765" y="539"/>
                  <a:pt x="1772" y="536"/>
                  <a:pt x="1778" y="533"/>
                </a:cubicBezTo>
                <a:close/>
                <a:moveTo>
                  <a:pt x="1722" y="559"/>
                </a:moveTo>
                <a:cubicBezTo>
                  <a:pt x="1712" y="562"/>
                  <a:pt x="1705" y="568"/>
                  <a:pt x="1693" y="567"/>
                </a:cubicBezTo>
                <a:cubicBezTo>
                  <a:pt x="1703" y="563"/>
                  <a:pt x="1712" y="559"/>
                  <a:pt x="1722" y="559"/>
                </a:cubicBezTo>
                <a:close/>
                <a:moveTo>
                  <a:pt x="1690" y="575"/>
                </a:moveTo>
                <a:cubicBezTo>
                  <a:pt x="1714" y="568"/>
                  <a:pt x="1694" y="588"/>
                  <a:pt x="1690" y="575"/>
                </a:cubicBezTo>
                <a:close/>
                <a:moveTo>
                  <a:pt x="1689" y="566"/>
                </a:moveTo>
                <a:cubicBezTo>
                  <a:pt x="1687" y="574"/>
                  <a:pt x="1681" y="572"/>
                  <a:pt x="1678" y="565"/>
                </a:cubicBezTo>
                <a:cubicBezTo>
                  <a:pt x="1682" y="563"/>
                  <a:pt x="1685" y="565"/>
                  <a:pt x="1689" y="566"/>
                </a:cubicBezTo>
                <a:close/>
                <a:moveTo>
                  <a:pt x="1622" y="593"/>
                </a:moveTo>
                <a:cubicBezTo>
                  <a:pt x="1630" y="588"/>
                  <a:pt x="1649" y="580"/>
                  <a:pt x="1659" y="579"/>
                </a:cubicBezTo>
                <a:cubicBezTo>
                  <a:pt x="1672" y="577"/>
                  <a:pt x="1676" y="578"/>
                  <a:pt x="1669" y="584"/>
                </a:cubicBezTo>
                <a:cubicBezTo>
                  <a:pt x="1666" y="586"/>
                  <a:pt x="1648" y="596"/>
                  <a:pt x="1644" y="598"/>
                </a:cubicBezTo>
                <a:cubicBezTo>
                  <a:pt x="1631" y="602"/>
                  <a:pt x="1609" y="606"/>
                  <a:pt x="1596" y="606"/>
                </a:cubicBezTo>
                <a:cubicBezTo>
                  <a:pt x="1602" y="596"/>
                  <a:pt x="1614" y="599"/>
                  <a:pt x="1622" y="593"/>
                </a:cubicBezTo>
                <a:close/>
                <a:moveTo>
                  <a:pt x="1589" y="332"/>
                </a:moveTo>
                <a:cubicBezTo>
                  <a:pt x="1584" y="332"/>
                  <a:pt x="1581" y="329"/>
                  <a:pt x="1578" y="336"/>
                </a:cubicBezTo>
                <a:cubicBezTo>
                  <a:pt x="1574" y="323"/>
                  <a:pt x="1597" y="321"/>
                  <a:pt x="1606" y="322"/>
                </a:cubicBezTo>
                <a:cubicBezTo>
                  <a:pt x="1594" y="321"/>
                  <a:pt x="1600" y="333"/>
                  <a:pt x="1595" y="339"/>
                </a:cubicBezTo>
                <a:cubicBezTo>
                  <a:pt x="1599" y="344"/>
                  <a:pt x="1595" y="347"/>
                  <a:pt x="1588" y="349"/>
                </a:cubicBezTo>
                <a:cubicBezTo>
                  <a:pt x="1589" y="344"/>
                  <a:pt x="1591" y="337"/>
                  <a:pt x="1589" y="332"/>
                </a:cubicBezTo>
                <a:close/>
                <a:moveTo>
                  <a:pt x="1575" y="592"/>
                </a:moveTo>
                <a:cubicBezTo>
                  <a:pt x="1577" y="590"/>
                  <a:pt x="1575" y="588"/>
                  <a:pt x="1579" y="590"/>
                </a:cubicBezTo>
                <a:cubicBezTo>
                  <a:pt x="1576" y="589"/>
                  <a:pt x="1576" y="591"/>
                  <a:pt x="1575" y="592"/>
                </a:cubicBezTo>
                <a:close/>
                <a:moveTo>
                  <a:pt x="1576" y="593"/>
                </a:moveTo>
                <a:cubicBezTo>
                  <a:pt x="1573" y="592"/>
                  <a:pt x="1573" y="592"/>
                  <a:pt x="1576" y="593"/>
                </a:cubicBezTo>
                <a:close/>
                <a:moveTo>
                  <a:pt x="1576" y="372"/>
                </a:moveTo>
                <a:cubicBezTo>
                  <a:pt x="1575" y="365"/>
                  <a:pt x="1579" y="358"/>
                  <a:pt x="1581" y="351"/>
                </a:cubicBezTo>
                <a:cubicBezTo>
                  <a:pt x="1584" y="359"/>
                  <a:pt x="1584" y="368"/>
                  <a:pt x="1576" y="372"/>
                </a:cubicBezTo>
                <a:close/>
                <a:moveTo>
                  <a:pt x="1602" y="200"/>
                </a:moveTo>
                <a:cubicBezTo>
                  <a:pt x="1599" y="193"/>
                  <a:pt x="1607" y="185"/>
                  <a:pt x="1608" y="176"/>
                </a:cubicBezTo>
                <a:cubicBezTo>
                  <a:pt x="1609" y="172"/>
                  <a:pt x="1611" y="164"/>
                  <a:pt x="1615" y="171"/>
                </a:cubicBezTo>
                <a:cubicBezTo>
                  <a:pt x="1617" y="174"/>
                  <a:pt x="1609" y="181"/>
                  <a:pt x="1609" y="182"/>
                </a:cubicBezTo>
                <a:cubicBezTo>
                  <a:pt x="1609" y="194"/>
                  <a:pt x="1616" y="194"/>
                  <a:pt x="1602" y="200"/>
                </a:cubicBezTo>
                <a:close/>
                <a:moveTo>
                  <a:pt x="1596" y="152"/>
                </a:moveTo>
                <a:cubicBezTo>
                  <a:pt x="1607" y="150"/>
                  <a:pt x="1621" y="124"/>
                  <a:pt x="1615" y="144"/>
                </a:cubicBezTo>
                <a:cubicBezTo>
                  <a:pt x="1610" y="163"/>
                  <a:pt x="1598" y="149"/>
                  <a:pt x="1594" y="162"/>
                </a:cubicBezTo>
                <a:cubicBezTo>
                  <a:pt x="1594" y="158"/>
                  <a:pt x="1595" y="156"/>
                  <a:pt x="1596" y="152"/>
                </a:cubicBezTo>
                <a:close/>
                <a:moveTo>
                  <a:pt x="1591" y="216"/>
                </a:moveTo>
                <a:cubicBezTo>
                  <a:pt x="1593" y="212"/>
                  <a:pt x="1595" y="208"/>
                  <a:pt x="1598" y="205"/>
                </a:cubicBezTo>
                <a:cubicBezTo>
                  <a:pt x="1596" y="220"/>
                  <a:pt x="1586" y="229"/>
                  <a:pt x="1581" y="243"/>
                </a:cubicBezTo>
                <a:cubicBezTo>
                  <a:pt x="1584" y="244"/>
                  <a:pt x="1586" y="245"/>
                  <a:pt x="1589" y="245"/>
                </a:cubicBezTo>
                <a:cubicBezTo>
                  <a:pt x="1584" y="248"/>
                  <a:pt x="1577" y="248"/>
                  <a:pt x="1574" y="248"/>
                </a:cubicBezTo>
                <a:cubicBezTo>
                  <a:pt x="1571" y="247"/>
                  <a:pt x="1568" y="253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1"/>
                  <a:pt x="1572" y="241"/>
                </a:cubicBezTo>
                <a:cubicBezTo>
                  <a:pt x="1572" y="241"/>
                  <a:pt x="1572" y="242"/>
                  <a:pt x="1572" y="243"/>
                </a:cubicBezTo>
                <a:cubicBezTo>
                  <a:pt x="1576" y="238"/>
                  <a:pt x="1574" y="237"/>
                  <a:pt x="1567" y="235"/>
                </a:cubicBezTo>
                <a:cubicBezTo>
                  <a:pt x="1575" y="231"/>
                  <a:pt x="1587" y="226"/>
                  <a:pt x="1591" y="216"/>
                </a:cubicBezTo>
                <a:close/>
                <a:moveTo>
                  <a:pt x="1569" y="162"/>
                </a:moveTo>
                <a:cubicBezTo>
                  <a:pt x="1570" y="162"/>
                  <a:pt x="1571" y="163"/>
                  <a:pt x="1572" y="163"/>
                </a:cubicBezTo>
                <a:cubicBezTo>
                  <a:pt x="1573" y="162"/>
                  <a:pt x="1574" y="161"/>
                  <a:pt x="1574" y="160"/>
                </a:cubicBezTo>
                <a:cubicBezTo>
                  <a:pt x="1574" y="162"/>
                  <a:pt x="1573" y="163"/>
                  <a:pt x="1572" y="163"/>
                </a:cubicBezTo>
                <a:cubicBezTo>
                  <a:pt x="1571" y="164"/>
                  <a:pt x="1570" y="166"/>
                  <a:pt x="1569" y="167"/>
                </a:cubicBezTo>
                <a:cubicBezTo>
                  <a:pt x="1571" y="164"/>
                  <a:pt x="1570" y="164"/>
                  <a:pt x="1569" y="162"/>
                </a:cubicBezTo>
                <a:close/>
                <a:moveTo>
                  <a:pt x="1574" y="215"/>
                </a:moveTo>
                <a:cubicBezTo>
                  <a:pt x="1576" y="209"/>
                  <a:pt x="1578" y="200"/>
                  <a:pt x="1580" y="195"/>
                </a:cubicBezTo>
                <a:cubicBezTo>
                  <a:pt x="1583" y="206"/>
                  <a:pt x="1579" y="214"/>
                  <a:pt x="1575" y="222"/>
                </a:cubicBezTo>
                <a:cubicBezTo>
                  <a:pt x="1574" y="220"/>
                  <a:pt x="1574" y="218"/>
                  <a:pt x="1574" y="215"/>
                </a:cubicBezTo>
                <a:cubicBezTo>
                  <a:pt x="1570" y="215"/>
                  <a:pt x="1569" y="216"/>
                  <a:pt x="1566" y="214"/>
                </a:cubicBezTo>
                <a:cubicBezTo>
                  <a:pt x="1569" y="215"/>
                  <a:pt x="1570" y="215"/>
                  <a:pt x="1574" y="215"/>
                </a:cubicBezTo>
                <a:close/>
                <a:moveTo>
                  <a:pt x="1548" y="406"/>
                </a:moveTo>
                <a:cubicBezTo>
                  <a:pt x="1549" y="401"/>
                  <a:pt x="1551" y="396"/>
                  <a:pt x="1554" y="391"/>
                </a:cubicBezTo>
                <a:cubicBezTo>
                  <a:pt x="1554" y="385"/>
                  <a:pt x="1554" y="383"/>
                  <a:pt x="1555" y="378"/>
                </a:cubicBezTo>
                <a:cubicBezTo>
                  <a:pt x="1560" y="386"/>
                  <a:pt x="1567" y="383"/>
                  <a:pt x="1573" y="378"/>
                </a:cubicBezTo>
                <a:cubicBezTo>
                  <a:pt x="1573" y="390"/>
                  <a:pt x="1566" y="384"/>
                  <a:pt x="1562" y="391"/>
                </a:cubicBezTo>
                <a:cubicBezTo>
                  <a:pt x="1557" y="397"/>
                  <a:pt x="1559" y="396"/>
                  <a:pt x="1559" y="398"/>
                </a:cubicBezTo>
                <a:cubicBezTo>
                  <a:pt x="1559" y="398"/>
                  <a:pt x="1563" y="402"/>
                  <a:pt x="1559" y="408"/>
                </a:cubicBezTo>
                <a:cubicBezTo>
                  <a:pt x="1558" y="410"/>
                  <a:pt x="1550" y="412"/>
                  <a:pt x="1548" y="413"/>
                </a:cubicBezTo>
                <a:cubicBezTo>
                  <a:pt x="1553" y="406"/>
                  <a:pt x="1552" y="408"/>
                  <a:pt x="1548" y="406"/>
                </a:cubicBezTo>
                <a:close/>
                <a:moveTo>
                  <a:pt x="1481" y="265"/>
                </a:moveTo>
                <a:cubicBezTo>
                  <a:pt x="1480" y="265"/>
                  <a:pt x="1482" y="265"/>
                  <a:pt x="1484" y="265"/>
                </a:cubicBezTo>
                <a:cubicBezTo>
                  <a:pt x="1482" y="269"/>
                  <a:pt x="1484" y="268"/>
                  <a:pt x="1478" y="269"/>
                </a:cubicBezTo>
                <a:cubicBezTo>
                  <a:pt x="1478" y="269"/>
                  <a:pt x="1480" y="265"/>
                  <a:pt x="1481" y="265"/>
                </a:cubicBezTo>
                <a:close/>
                <a:moveTo>
                  <a:pt x="1446" y="200"/>
                </a:moveTo>
                <a:cubicBezTo>
                  <a:pt x="1447" y="200"/>
                  <a:pt x="1448" y="200"/>
                  <a:pt x="1450" y="200"/>
                </a:cubicBezTo>
                <a:cubicBezTo>
                  <a:pt x="1451" y="200"/>
                  <a:pt x="1453" y="200"/>
                  <a:pt x="1455" y="200"/>
                </a:cubicBezTo>
                <a:cubicBezTo>
                  <a:pt x="1452" y="200"/>
                  <a:pt x="1449" y="200"/>
                  <a:pt x="1446" y="200"/>
                </a:cubicBezTo>
                <a:cubicBezTo>
                  <a:pt x="1444" y="200"/>
                  <a:pt x="1442" y="200"/>
                  <a:pt x="1439" y="200"/>
                </a:cubicBezTo>
                <a:cubicBezTo>
                  <a:pt x="1441" y="200"/>
                  <a:pt x="1444" y="200"/>
                  <a:pt x="1446" y="200"/>
                </a:cubicBezTo>
                <a:close/>
                <a:moveTo>
                  <a:pt x="1434" y="238"/>
                </a:moveTo>
                <a:cubicBezTo>
                  <a:pt x="1434" y="238"/>
                  <a:pt x="1436" y="242"/>
                  <a:pt x="1436" y="243"/>
                </a:cubicBezTo>
                <a:cubicBezTo>
                  <a:pt x="1428" y="244"/>
                  <a:pt x="1433" y="241"/>
                  <a:pt x="1434" y="238"/>
                </a:cubicBezTo>
                <a:close/>
                <a:moveTo>
                  <a:pt x="1430" y="267"/>
                </a:moveTo>
                <a:cubicBezTo>
                  <a:pt x="1435" y="265"/>
                  <a:pt x="1482" y="283"/>
                  <a:pt x="1483" y="269"/>
                </a:cubicBezTo>
                <a:cubicBezTo>
                  <a:pt x="1489" y="271"/>
                  <a:pt x="1492" y="268"/>
                  <a:pt x="1496" y="268"/>
                </a:cubicBezTo>
                <a:cubicBezTo>
                  <a:pt x="1502" y="267"/>
                  <a:pt x="1506" y="267"/>
                  <a:pt x="1513" y="272"/>
                </a:cubicBezTo>
                <a:cubicBezTo>
                  <a:pt x="1512" y="272"/>
                  <a:pt x="1504" y="275"/>
                  <a:pt x="1504" y="278"/>
                </a:cubicBezTo>
                <a:cubicBezTo>
                  <a:pt x="1508" y="286"/>
                  <a:pt x="1511" y="281"/>
                  <a:pt x="1511" y="280"/>
                </a:cubicBezTo>
                <a:cubicBezTo>
                  <a:pt x="1513" y="283"/>
                  <a:pt x="1522" y="291"/>
                  <a:pt x="1516" y="299"/>
                </a:cubicBezTo>
                <a:cubicBezTo>
                  <a:pt x="1518" y="296"/>
                  <a:pt x="1502" y="303"/>
                  <a:pt x="1502" y="303"/>
                </a:cubicBezTo>
                <a:cubicBezTo>
                  <a:pt x="1500" y="304"/>
                  <a:pt x="1500" y="309"/>
                  <a:pt x="1498" y="310"/>
                </a:cubicBezTo>
                <a:cubicBezTo>
                  <a:pt x="1497" y="310"/>
                  <a:pt x="1491" y="306"/>
                  <a:pt x="1490" y="307"/>
                </a:cubicBezTo>
                <a:cubicBezTo>
                  <a:pt x="1485" y="311"/>
                  <a:pt x="1485" y="303"/>
                  <a:pt x="1487" y="316"/>
                </a:cubicBezTo>
                <a:cubicBezTo>
                  <a:pt x="1489" y="324"/>
                  <a:pt x="1499" y="321"/>
                  <a:pt x="1494" y="332"/>
                </a:cubicBezTo>
                <a:cubicBezTo>
                  <a:pt x="1488" y="321"/>
                  <a:pt x="1482" y="330"/>
                  <a:pt x="1477" y="326"/>
                </a:cubicBezTo>
                <a:cubicBezTo>
                  <a:pt x="1469" y="321"/>
                  <a:pt x="1472" y="315"/>
                  <a:pt x="1469" y="308"/>
                </a:cubicBezTo>
                <a:cubicBezTo>
                  <a:pt x="1466" y="302"/>
                  <a:pt x="1458" y="288"/>
                  <a:pt x="1450" y="289"/>
                </a:cubicBezTo>
                <a:cubicBezTo>
                  <a:pt x="1448" y="291"/>
                  <a:pt x="1445" y="292"/>
                  <a:pt x="1443" y="294"/>
                </a:cubicBezTo>
                <a:cubicBezTo>
                  <a:pt x="1445" y="290"/>
                  <a:pt x="1447" y="289"/>
                  <a:pt x="1450" y="289"/>
                </a:cubicBezTo>
                <a:cubicBezTo>
                  <a:pt x="1451" y="286"/>
                  <a:pt x="1453" y="284"/>
                  <a:pt x="1453" y="281"/>
                </a:cubicBezTo>
                <a:cubicBezTo>
                  <a:pt x="1445" y="283"/>
                  <a:pt x="1443" y="278"/>
                  <a:pt x="1444" y="273"/>
                </a:cubicBezTo>
                <a:cubicBezTo>
                  <a:pt x="1435" y="274"/>
                  <a:pt x="1436" y="277"/>
                  <a:pt x="1444" y="280"/>
                </a:cubicBezTo>
                <a:cubicBezTo>
                  <a:pt x="1441" y="285"/>
                  <a:pt x="1438" y="291"/>
                  <a:pt x="1436" y="296"/>
                </a:cubicBezTo>
                <a:cubicBezTo>
                  <a:pt x="1434" y="292"/>
                  <a:pt x="1432" y="288"/>
                  <a:pt x="1429" y="284"/>
                </a:cubicBezTo>
                <a:cubicBezTo>
                  <a:pt x="1441" y="290"/>
                  <a:pt x="1434" y="273"/>
                  <a:pt x="1430" y="267"/>
                </a:cubicBezTo>
                <a:close/>
                <a:moveTo>
                  <a:pt x="1508" y="370"/>
                </a:moveTo>
                <a:cubicBezTo>
                  <a:pt x="1505" y="359"/>
                  <a:pt x="1495" y="364"/>
                  <a:pt x="1485" y="365"/>
                </a:cubicBezTo>
                <a:cubicBezTo>
                  <a:pt x="1480" y="366"/>
                  <a:pt x="1476" y="365"/>
                  <a:pt x="1475" y="360"/>
                </a:cubicBezTo>
                <a:cubicBezTo>
                  <a:pt x="1474" y="353"/>
                  <a:pt x="1486" y="360"/>
                  <a:pt x="1489" y="357"/>
                </a:cubicBezTo>
                <a:cubicBezTo>
                  <a:pt x="1494" y="352"/>
                  <a:pt x="1494" y="325"/>
                  <a:pt x="1504" y="339"/>
                </a:cubicBezTo>
                <a:cubicBezTo>
                  <a:pt x="1505" y="336"/>
                  <a:pt x="1506" y="334"/>
                  <a:pt x="1505" y="331"/>
                </a:cubicBezTo>
                <a:cubicBezTo>
                  <a:pt x="1519" y="340"/>
                  <a:pt x="1510" y="352"/>
                  <a:pt x="1504" y="363"/>
                </a:cubicBezTo>
                <a:cubicBezTo>
                  <a:pt x="1509" y="367"/>
                  <a:pt x="1507" y="363"/>
                  <a:pt x="1508" y="370"/>
                </a:cubicBezTo>
                <a:close/>
                <a:moveTo>
                  <a:pt x="1508" y="430"/>
                </a:moveTo>
                <a:cubicBezTo>
                  <a:pt x="1504" y="435"/>
                  <a:pt x="1505" y="442"/>
                  <a:pt x="1504" y="448"/>
                </a:cubicBezTo>
                <a:cubicBezTo>
                  <a:pt x="1503" y="451"/>
                  <a:pt x="1502" y="453"/>
                  <a:pt x="1499" y="455"/>
                </a:cubicBezTo>
                <a:cubicBezTo>
                  <a:pt x="1502" y="453"/>
                  <a:pt x="1503" y="451"/>
                  <a:pt x="1504" y="448"/>
                </a:cubicBezTo>
                <a:cubicBezTo>
                  <a:pt x="1505" y="442"/>
                  <a:pt x="1504" y="435"/>
                  <a:pt x="1508" y="430"/>
                </a:cubicBezTo>
                <a:close/>
                <a:moveTo>
                  <a:pt x="1499" y="390"/>
                </a:moveTo>
                <a:cubicBezTo>
                  <a:pt x="1493" y="394"/>
                  <a:pt x="1485" y="397"/>
                  <a:pt x="1478" y="402"/>
                </a:cubicBezTo>
                <a:cubicBezTo>
                  <a:pt x="1480" y="394"/>
                  <a:pt x="1497" y="384"/>
                  <a:pt x="1499" y="390"/>
                </a:cubicBezTo>
                <a:close/>
                <a:moveTo>
                  <a:pt x="1461" y="359"/>
                </a:moveTo>
                <a:cubicBezTo>
                  <a:pt x="1460" y="358"/>
                  <a:pt x="1459" y="355"/>
                  <a:pt x="1459" y="354"/>
                </a:cubicBezTo>
                <a:cubicBezTo>
                  <a:pt x="1460" y="355"/>
                  <a:pt x="1460" y="356"/>
                  <a:pt x="1460" y="358"/>
                </a:cubicBezTo>
                <a:cubicBezTo>
                  <a:pt x="1475" y="347"/>
                  <a:pt x="1457" y="352"/>
                  <a:pt x="1459" y="343"/>
                </a:cubicBezTo>
                <a:cubicBezTo>
                  <a:pt x="1463" y="332"/>
                  <a:pt x="1477" y="334"/>
                  <a:pt x="1487" y="330"/>
                </a:cubicBezTo>
                <a:cubicBezTo>
                  <a:pt x="1480" y="337"/>
                  <a:pt x="1491" y="337"/>
                  <a:pt x="1489" y="343"/>
                </a:cubicBezTo>
                <a:cubicBezTo>
                  <a:pt x="1488" y="348"/>
                  <a:pt x="1481" y="344"/>
                  <a:pt x="1479" y="353"/>
                </a:cubicBezTo>
                <a:cubicBezTo>
                  <a:pt x="1478" y="350"/>
                  <a:pt x="1474" y="348"/>
                  <a:pt x="1472" y="345"/>
                </a:cubicBezTo>
                <a:cubicBezTo>
                  <a:pt x="1471" y="352"/>
                  <a:pt x="1466" y="356"/>
                  <a:pt x="1461" y="359"/>
                </a:cubicBezTo>
                <a:close/>
                <a:moveTo>
                  <a:pt x="1466" y="380"/>
                </a:moveTo>
                <a:cubicBezTo>
                  <a:pt x="1464" y="381"/>
                  <a:pt x="1464" y="384"/>
                  <a:pt x="1460" y="382"/>
                </a:cubicBezTo>
                <a:cubicBezTo>
                  <a:pt x="1464" y="384"/>
                  <a:pt x="1464" y="381"/>
                  <a:pt x="1466" y="380"/>
                </a:cubicBezTo>
                <a:close/>
                <a:moveTo>
                  <a:pt x="1517" y="374"/>
                </a:moveTo>
                <a:cubicBezTo>
                  <a:pt x="1513" y="375"/>
                  <a:pt x="1513" y="373"/>
                  <a:pt x="1511" y="370"/>
                </a:cubicBezTo>
                <a:cubicBezTo>
                  <a:pt x="1513" y="371"/>
                  <a:pt x="1515" y="372"/>
                  <a:pt x="1517" y="374"/>
                </a:cubicBezTo>
                <a:close/>
                <a:moveTo>
                  <a:pt x="1456" y="320"/>
                </a:moveTo>
                <a:cubicBezTo>
                  <a:pt x="1456" y="319"/>
                  <a:pt x="1454" y="319"/>
                  <a:pt x="1453" y="317"/>
                </a:cubicBezTo>
                <a:cubicBezTo>
                  <a:pt x="1454" y="319"/>
                  <a:pt x="1456" y="319"/>
                  <a:pt x="1456" y="320"/>
                </a:cubicBezTo>
                <a:close/>
                <a:moveTo>
                  <a:pt x="1429" y="393"/>
                </a:moveTo>
                <a:cubicBezTo>
                  <a:pt x="1437" y="387"/>
                  <a:pt x="1435" y="394"/>
                  <a:pt x="1429" y="393"/>
                </a:cubicBezTo>
                <a:close/>
                <a:moveTo>
                  <a:pt x="1403" y="76"/>
                </a:moveTo>
                <a:cubicBezTo>
                  <a:pt x="1409" y="73"/>
                  <a:pt x="1413" y="79"/>
                  <a:pt x="1417" y="85"/>
                </a:cubicBezTo>
                <a:cubicBezTo>
                  <a:pt x="1416" y="86"/>
                  <a:pt x="1411" y="90"/>
                  <a:pt x="1410" y="91"/>
                </a:cubicBezTo>
                <a:cubicBezTo>
                  <a:pt x="1405" y="86"/>
                  <a:pt x="1399" y="81"/>
                  <a:pt x="1403" y="76"/>
                </a:cubicBezTo>
                <a:close/>
                <a:moveTo>
                  <a:pt x="1386" y="90"/>
                </a:moveTo>
                <a:cubicBezTo>
                  <a:pt x="1395" y="91"/>
                  <a:pt x="1399" y="105"/>
                  <a:pt x="1405" y="105"/>
                </a:cubicBezTo>
                <a:cubicBezTo>
                  <a:pt x="1408" y="103"/>
                  <a:pt x="1411" y="100"/>
                  <a:pt x="1413" y="95"/>
                </a:cubicBezTo>
                <a:cubicBezTo>
                  <a:pt x="1410" y="103"/>
                  <a:pt x="1407" y="105"/>
                  <a:pt x="1405" y="105"/>
                </a:cubicBezTo>
                <a:cubicBezTo>
                  <a:pt x="1401" y="107"/>
                  <a:pt x="1397" y="107"/>
                  <a:pt x="1392" y="106"/>
                </a:cubicBezTo>
                <a:cubicBezTo>
                  <a:pt x="1394" y="108"/>
                  <a:pt x="1396" y="110"/>
                  <a:pt x="1398" y="112"/>
                </a:cubicBezTo>
                <a:cubicBezTo>
                  <a:pt x="1394" y="109"/>
                  <a:pt x="1392" y="107"/>
                  <a:pt x="1389" y="106"/>
                </a:cubicBezTo>
                <a:cubicBezTo>
                  <a:pt x="1388" y="103"/>
                  <a:pt x="1383" y="96"/>
                  <a:pt x="1386" y="90"/>
                </a:cubicBezTo>
                <a:close/>
                <a:moveTo>
                  <a:pt x="1401" y="197"/>
                </a:moveTo>
                <a:cubicBezTo>
                  <a:pt x="1397" y="197"/>
                  <a:pt x="1394" y="196"/>
                  <a:pt x="1391" y="192"/>
                </a:cubicBezTo>
                <a:cubicBezTo>
                  <a:pt x="1395" y="192"/>
                  <a:pt x="1399" y="192"/>
                  <a:pt x="1403" y="193"/>
                </a:cubicBezTo>
                <a:cubicBezTo>
                  <a:pt x="1397" y="188"/>
                  <a:pt x="1409" y="196"/>
                  <a:pt x="1401" y="197"/>
                </a:cubicBezTo>
                <a:close/>
                <a:moveTo>
                  <a:pt x="1378" y="135"/>
                </a:moveTo>
                <a:cubicBezTo>
                  <a:pt x="1380" y="136"/>
                  <a:pt x="1381" y="138"/>
                  <a:pt x="1383" y="139"/>
                </a:cubicBezTo>
                <a:cubicBezTo>
                  <a:pt x="1387" y="143"/>
                  <a:pt x="1385" y="152"/>
                  <a:pt x="1382" y="148"/>
                </a:cubicBezTo>
                <a:cubicBezTo>
                  <a:pt x="1378" y="144"/>
                  <a:pt x="1381" y="140"/>
                  <a:pt x="1378" y="135"/>
                </a:cubicBezTo>
                <a:cubicBezTo>
                  <a:pt x="1377" y="133"/>
                  <a:pt x="1375" y="131"/>
                  <a:pt x="1373" y="129"/>
                </a:cubicBezTo>
                <a:cubicBezTo>
                  <a:pt x="1376" y="131"/>
                  <a:pt x="1377" y="133"/>
                  <a:pt x="1378" y="135"/>
                </a:cubicBezTo>
                <a:close/>
                <a:moveTo>
                  <a:pt x="1376" y="183"/>
                </a:moveTo>
                <a:cubicBezTo>
                  <a:pt x="1384" y="180"/>
                  <a:pt x="1388" y="172"/>
                  <a:pt x="1389" y="164"/>
                </a:cubicBezTo>
                <a:cubicBezTo>
                  <a:pt x="1393" y="171"/>
                  <a:pt x="1387" y="176"/>
                  <a:pt x="1387" y="178"/>
                </a:cubicBezTo>
                <a:cubicBezTo>
                  <a:pt x="1387" y="180"/>
                  <a:pt x="1393" y="188"/>
                  <a:pt x="1391" y="191"/>
                </a:cubicBezTo>
                <a:cubicBezTo>
                  <a:pt x="1387" y="196"/>
                  <a:pt x="1379" y="198"/>
                  <a:pt x="1372" y="196"/>
                </a:cubicBezTo>
                <a:cubicBezTo>
                  <a:pt x="1371" y="196"/>
                  <a:pt x="1369" y="195"/>
                  <a:pt x="1366" y="193"/>
                </a:cubicBezTo>
                <a:cubicBezTo>
                  <a:pt x="1368" y="195"/>
                  <a:pt x="1370" y="195"/>
                  <a:pt x="1372" y="196"/>
                </a:cubicBezTo>
                <a:cubicBezTo>
                  <a:pt x="1374" y="196"/>
                  <a:pt x="1374" y="194"/>
                  <a:pt x="1375" y="191"/>
                </a:cubicBezTo>
                <a:cubicBezTo>
                  <a:pt x="1368" y="191"/>
                  <a:pt x="1371" y="191"/>
                  <a:pt x="1365" y="187"/>
                </a:cubicBezTo>
                <a:cubicBezTo>
                  <a:pt x="1370" y="189"/>
                  <a:pt x="1372" y="186"/>
                  <a:pt x="1376" y="183"/>
                </a:cubicBezTo>
                <a:close/>
                <a:moveTo>
                  <a:pt x="1361" y="130"/>
                </a:moveTo>
                <a:cubicBezTo>
                  <a:pt x="1373" y="141"/>
                  <a:pt x="1371" y="148"/>
                  <a:pt x="1361" y="141"/>
                </a:cubicBezTo>
                <a:cubicBezTo>
                  <a:pt x="1363" y="140"/>
                  <a:pt x="1364" y="140"/>
                  <a:pt x="1366" y="141"/>
                </a:cubicBezTo>
                <a:cubicBezTo>
                  <a:pt x="1364" y="138"/>
                  <a:pt x="1364" y="135"/>
                  <a:pt x="1359" y="133"/>
                </a:cubicBezTo>
                <a:cubicBezTo>
                  <a:pt x="1359" y="132"/>
                  <a:pt x="1361" y="131"/>
                  <a:pt x="1361" y="130"/>
                </a:cubicBezTo>
                <a:close/>
                <a:moveTo>
                  <a:pt x="1355" y="135"/>
                </a:moveTo>
                <a:cubicBezTo>
                  <a:pt x="1354" y="138"/>
                  <a:pt x="1354" y="138"/>
                  <a:pt x="1355" y="135"/>
                </a:cubicBezTo>
                <a:close/>
                <a:moveTo>
                  <a:pt x="1348" y="136"/>
                </a:moveTo>
                <a:cubicBezTo>
                  <a:pt x="1344" y="141"/>
                  <a:pt x="1341" y="143"/>
                  <a:pt x="1337" y="138"/>
                </a:cubicBezTo>
                <a:cubicBezTo>
                  <a:pt x="1337" y="139"/>
                  <a:pt x="1336" y="139"/>
                  <a:pt x="1335" y="139"/>
                </a:cubicBezTo>
                <a:cubicBezTo>
                  <a:pt x="1339" y="134"/>
                  <a:pt x="1344" y="128"/>
                  <a:pt x="1351" y="128"/>
                </a:cubicBezTo>
                <a:cubicBezTo>
                  <a:pt x="1358" y="128"/>
                  <a:pt x="1350" y="136"/>
                  <a:pt x="1348" y="136"/>
                </a:cubicBezTo>
                <a:close/>
                <a:moveTo>
                  <a:pt x="1346" y="176"/>
                </a:moveTo>
                <a:cubicBezTo>
                  <a:pt x="1352" y="180"/>
                  <a:pt x="1350" y="182"/>
                  <a:pt x="1348" y="187"/>
                </a:cubicBezTo>
                <a:cubicBezTo>
                  <a:pt x="1348" y="188"/>
                  <a:pt x="1349" y="189"/>
                  <a:pt x="1349" y="189"/>
                </a:cubicBezTo>
                <a:cubicBezTo>
                  <a:pt x="1349" y="189"/>
                  <a:pt x="1348" y="188"/>
                  <a:pt x="1348" y="188"/>
                </a:cubicBezTo>
                <a:cubicBezTo>
                  <a:pt x="1348" y="188"/>
                  <a:pt x="1348" y="188"/>
                  <a:pt x="1348" y="187"/>
                </a:cubicBezTo>
                <a:cubicBezTo>
                  <a:pt x="1346" y="184"/>
                  <a:pt x="1345" y="181"/>
                  <a:pt x="1346" y="176"/>
                </a:cubicBezTo>
                <a:close/>
                <a:moveTo>
                  <a:pt x="1351" y="197"/>
                </a:moveTo>
                <a:cubicBezTo>
                  <a:pt x="1352" y="198"/>
                  <a:pt x="1355" y="199"/>
                  <a:pt x="1354" y="203"/>
                </a:cubicBezTo>
                <a:cubicBezTo>
                  <a:pt x="1349" y="201"/>
                  <a:pt x="1347" y="200"/>
                  <a:pt x="1345" y="195"/>
                </a:cubicBezTo>
                <a:cubicBezTo>
                  <a:pt x="1347" y="195"/>
                  <a:pt x="1349" y="196"/>
                  <a:pt x="1351" y="197"/>
                </a:cubicBezTo>
                <a:close/>
                <a:moveTo>
                  <a:pt x="1340" y="206"/>
                </a:moveTo>
                <a:cubicBezTo>
                  <a:pt x="1344" y="223"/>
                  <a:pt x="1325" y="209"/>
                  <a:pt x="1340" y="206"/>
                </a:cubicBezTo>
                <a:close/>
                <a:moveTo>
                  <a:pt x="1330" y="556"/>
                </a:moveTo>
                <a:cubicBezTo>
                  <a:pt x="1331" y="557"/>
                  <a:pt x="1332" y="558"/>
                  <a:pt x="1332" y="559"/>
                </a:cubicBezTo>
                <a:cubicBezTo>
                  <a:pt x="1333" y="560"/>
                  <a:pt x="1333" y="561"/>
                  <a:pt x="1334" y="561"/>
                </a:cubicBezTo>
                <a:cubicBezTo>
                  <a:pt x="1344" y="556"/>
                  <a:pt x="1337" y="547"/>
                  <a:pt x="1342" y="540"/>
                </a:cubicBezTo>
                <a:cubicBezTo>
                  <a:pt x="1345" y="536"/>
                  <a:pt x="1353" y="537"/>
                  <a:pt x="1357" y="534"/>
                </a:cubicBezTo>
                <a:cubicBezTo>
                  <a:pt x="1358" y="533"/>
                  <a:pt x="1351" y="530"/>
                  <a:pt x="1351" y="530"/>
                </a:cubicBezTo>
                <a:cubicBezTo>
                  <a:pt x="1353" y="528"/>
                  <a:pt x="1356" y="526"/>
                  <a:pt x="1358" y="523"/>
                </a:cubicBezTo>
                <a:cubicBezTo>
                  <a:pt x="1363" y="519"/>
                  <a:pt x="1373" y="515"/>
                  <a:pt x="1378" y="512"/>
                </a:cubicBezTo>
                <a:cubicBezTo>
                  <a:pt x="1376" y="512"/>
                  <a:pt x="1374" y="511"/>
                  <a:pt x="1372" y="511"/>
                </a:cubicBezTo>
                <a:cubicBezTo>
                  <a:pt x="1373" y="509"/>
                  <a:pt x="1400" y="507"/>
                  <a:pt x="1381" y="499"/>
                </a:cubicBezTo>
                <a:cubicBezTo>
                  <a:pt x="1388" y="497"/>
                  <a:pt x="1388" y="491"/>
                  <a:pt x="1395" y="488"/>
                </a:cubicBezTo>
                <a:cubicBezTo>
                  <a:pt x="1408" y="482"/>
                  <a:pt x="1409" y="491"/>
                  <a:pt x="1414" y="475"/>
                </a:cubicBezTo>
                <a:cubicBezTo>
                  <a:pt x="1411" y="476"/>
                  <a:pt x="1407" y="475"/>
                  <a:pt x="1404" y="476"/>
                </a:cubicBezTo>
                <a:cubicBezTo>
                  <a:pt x="1405" y="473"/>
                  <a:pt x="1405" y="472"/>
                  <a:pt x="1407" y="470"/>
                </a:cubicBezTo>
                <a:cubicBezTo>
                  <a:pt x="1405" y="470"/>
                  <a:pt x="1403" y="471"/>
                  <a:pt x="1401" y="470"/>
                </a:cubicBezTo>
                <a:cubicBezTo>
                  <a:pt x="1403" y="454"/>
                  <a:pt x="1412" y="469"/>
                  <a:pt x="1420" y="469"/>
                </a:cubicBezTo>
                <a:cubicBezTo>
                  <a:pt x="1433" y="469"/>
                  <a:pt x="1435" y="460"/>
                  <a:pt x="1446" y="456"/>
                </a:cubicBezTo>
                <a:cubicBezTo>
                  <a:pt x="1446" y="456"/>
                  <a:pt x="1442" y="454"/>
                  <a:pt x="1442" y="454"/>
                </a:cubicBezTo>
                <a:cubicBezTo>
                  <a:pt x="1452" y="456"/>
                  <a:pt x="1449" y="449"/>
                  <a:pt x="1446" y="442"/>
                </a:cubicBezTo>
                <a:cubicBezTo>
                  <a:pt x="1453" y="446"/>
                  <a:pt x="1457" y="446"/>
                  <a:pt x="1452" y="438"/>
                </a:cubicBezTo>
                <a:cubicBezTo>
                  <a:pt x="1457" y="434"/>
                  <a:pt x="1457" y="432"/>
                  <a:pt x="1453" y="426"/>
                </a:cubicBezTo>
                <a:cubicBezTo>
                  <a:pt x="1454" y="426"/>
                  <a:pt x="1454" y="425"/>
                  <a:pt x="1455" y="425"/>
                </a:cubicBezTo>
                <a:cubicBezTo>
                  <a:pt x="1456" y="423"/>
                  <a:pt x="1456" y="421"/>
                  <a:pt x="1457" y="420"/>
                </a:cubicBezTo>
                <a:cubicBezTo>
                  <a:pt x="1456" y="419"/>
                  <a:pt x="1455" y="418"/>
                  <a:pt x="1452" y="417"/>
                </a:cubicBezTo>
                <a:cubicBezTo>
                  <a:pt x="1452" y="416"/>
                  <a:pt x="1455" y="415"/>
                  <a:pt x="1455" y="413"/>
                </a:cubicBezTo>
                <a:cubicBezTo>
                  <a:pt x="1452" y="410"/>
                  <a:pt x="1452" y="408"/>
                  <a:pt x="1450" y="406"/>
                </a:cubicBezTo>
                <a:cubicBezTo>
                  <a:pt x="1456" y="408"/>
                  <a:pt x="1461" y="413"/>
                  <a:pt x="1464" y="418"/>
                </a:cubicBezTo>
                <a:cubicBezTo>
                  <a:pt x="1462" y="418"/>
                  <a:pt x="1459" y="419"/>
                  <a:pt x="1457" y="419"/>
                </a:cubicBezTo>
                <a:cubicBezTo>
                  <a:pt x="1457" y="419"/>
                  <a:pt x="1457" y="419"/>
                  <a:pt x="1457" y="420"/>
                </a:cubicBezTo>
                <a:cubicBezTo>
                  <a:pt x="1457" y="420"/>
                  <a:pt x="1458" y="421"/>
                  <a:pt x="1459" y="422"/>
                </a:cubicBezTo>
                <a:cubicBezTo>
                  <a:pt x="1458" y="422"/>
                  <a:pt x="1456" y="424"/>
                  <a:pt x="1455" y="425"/>
                </a:cubicBezTo>
                <a:cubicBezTo>
                  <a:pt x="1455" y="425"/>
                  <a:pt x="1455" y="425"/>
                  <a:pt x="1455" y="426"/>
                </a:cubicBezTo>
                <a:cubicBezTo>
                  <a:pt x="1462" y="428"/>
                  <a:pt x="1463" y="428"/>
                  <a:pt x="1465" y="422"/>
                </a:cubicBezTo>
                <a:cubicBezTo>
                  <a:pt x="1475" y="432"/>
                  <a:pt x="1485" y="415"/>
                  <a:pt x="1468" y="408"/>
                </a:cubicBezTo>
                <a:cubicBezTo>
                  <a:pt x="1472" y="406"/>
                  <a:pt x="1508" y="407"/>
                  <a:pt x="1508" y="408"/>
                </a:cubicBezTo>
                <a:cubicBezTo>
                  <a:pt x="1508" y="411"/>
                  <a:pt x="1492" y="414"/>
                  <a:pt x="1489" y="418"/>
                </a:cubicBezTo>
                <a:cubicBezTo>
                  <a:pt x="1488" y="421"/>
                  <a:pt x="1494" y="424"/>
                  <a:pt x="1493" y="428"/>
                </a:cubicBezTo>
                <a:cubicBezTo>
                  <a:pt x="1491" y="432"/>
                  <a:pt x="1484" y="436"/>
                  <a:pt x="1480" y="440"/>
                </a:cubicBezTo>
                <a:cubicBezTo>
                  <a:pt x="1471" y="449"/>
                  <a:pt x="1467" y="463"/>
                  <a:pt x="1457" y="470"/>
                </a:cubicBezTo>
                <a:cubicBezTo>
                  <a:pt x="1448" y="477"/>
                  <a:pt x="1443" y="479"/>
                  <a:pt x="1435" y="487"/>
                </a:cubicBezTo>
                <a:cubicBezTo>
                  <a:pt x="1429" y="495"/>
                  <a:pt x="1424" y="498"/>
                  <a:pt x="1416" y="504"/>
                </a:cubicBezTo>
                <a:cubicBezTo>
                  <a:pt x="1405" y="514"/>
                  <a:pt x="1399" y="526"/>
                  <a:pt x="1388" y="536"/>
                </a:cubicBezTo>
                <a:cubicBezTo>
                  <a:pt x="1374" y="550"/>
                  <a:pt x="1348" y="573"/>
                  <a:pt x="1328" y="572"/>
                </a:cubicBezTo>
                <a:cubicBezTo>
                  <a:pt x="1329" y="570"/>
                  <a:pt x="1333" y="564"/>
                  <a:pt x="1332" y="559"/>
                </a:cubicBezTo>
                <a:cubicBezTo>
                  <a:pt x="1331" y="558"/>
                  <a:pt x="1331" y="557"/>
                  <a:pt x="1330" y="556"/>
                </a:cubicBezTo>
                <a:cubicBezTo>
                  <a:pt x="1328" y="556"/>
                  <a:pt x="1327" y="555"/>
                  <a:pt x="1324" y="556"/>
                </a:cubicBezTo>
                <a:cubicBezTo>
                  <a:pt x="1327" y="555"/>
                  <a:pt x="1329" y="555"/>
                  <a:pt x="1330" y="556"/>
                </a:cubicBezTo>
                <a:close/>
                <a:moveTo>
                  <a:pt x="1415" y="678"/>
                </a:moveTo>
                <a:cubicBezTo>
                  <a:pt x="1428" y="677"/>
                  <a:pt x="1438" y="669"/>
                  <a:pt x="1451" y="670"/>
                </a:cubicBezTo>
                <a:cubicBezTo>
                  <a:pt x="1441" y="674"/>
                  <a:pt x="1430" y="681"/>
                  <a:pt x="1420" y="680"/>
                </a:cubicBezTo>
                <a:cubicBezTo>
                  <a:pt x="1420" y="680"/>
                  <a:pt x="1421" y="678"/>
                  <a:pt x="1422" y="677"/>
                </a:cubicBezTo>
                <a:cubicBezTo>
                  <a:pt x="1420" y="678"/>
                  <a:pt x="1418" y="679"/>
                  <a:pt x="1415" y="678"/>
                </a:cubicBezTo>
                <a:close/>
                <a:moveTo>
                  <a:pt x="1429" y="500"/>
                </a:moveTo>
                <a:cubicBezTo>
                  <a:pt x="1430" y="502"/>
                  <a:pt x="1433" y="502"/>
                  <a:pt x="1428" y="504"/>
                </a:cubicBezTo>
                <a:cubicBezTo>
                  <a:pt x="1430" y="500"/>
                  <a:pt x="1431" y="504"/>
                  <a:pt x="1429" y="500"/>
                </a:cubicBezTo>
                <a:close/>
                <a:moveTo>
                  <a:pt x="1429" y="499"/>
                </a:moveTo>
                <a:cubicBezTo>
                  <a:pt x="1435" y="496"/>
                  <a:pt x="1441" y="494"/>
                  <a:pt x="1447" y="492"/>
                </a:cubicBezTo>
                <a:cubicBezTo>
                  <a:pt x="1441" y="494"/>
                  <a:pt x="1435" y="496"/>
                  <a:pt x="1429" y="499"/>
                </a:cubicBezTo>
                <a:close/>
                <a:moveTo>
                  <a:pt x="1380" y="646"/>
                </a:moveTo>
                <a:cubicBezTo>
                  <a:pt x="1375" y="650"/>
                  <a:pt x="1368" y="651"/>
                  <a:pt x="1363" y="648"/>
                </a:cubicBezTo>
                <a:cubicBezTo>
                  <a:pt x="1370" y="646"/>
                  <a:pt x="1379" y="639"/>
                  <a:pt x="1380" y="646"/>
                </a:cubicBezTo>
                <a:close/>
                <a:moveTo>
                  <a:pt x="1248" y="248"/>
                </a:moveTo>
                <a:cubicBezTo>
                  <a:pt x="1261" y="250"/>
                  <a:pt x="1283" y="222"/>
                  <a:pt x="1277" y="245"/>
                </a:cubicBezTo>
                <a:cubicBezTo>
                  <a:pt x="1278" y="244"/>
                  <a:pt x="1280" y="243"/>
                  <a:pt x="1281" y="243"/>
                </a:cubicBezTo>
                <a:cubicBezTo>
                  <a:pt x="1272" y="251"/>
                  <a:pt x="1258" y="246"/>
                  <a:pt x="1268" y="261"/>
                </a:cubicBezTo>
                <a:cubicBezTo>
                  <a:pt x="1265" y="259"/>
                  <a:pt x="1231" y="268"/>
                  <a:pt x="1248" y="248"/>
                </a:cubicBezTo>
                <a:close/>
                <a:moveTo>
                  <a:pt x="1246" y="626"/>
                </a:moveTo>
                <a:cubicBezTo>
                  <a:pt x="1252" y="620"/>
                  <a:pt x="1254" y="612"/>
                  <a:pt x="1258" y="607"/>
                </a:cubicBezTo>
                <a:cubicBezTo>
                  <a:pt x="1262" y="603"/>
                  <a:pt x="1266" y="611"/>
                  <a:pt x="1264" y="602"/>
                </a:cubicBezTo>
                <a:cubicBezTo>
                  <a:pt x="1272" y="603"/>
                  <a:pt x="1269" y="604"/>
                  <a:pt x="1272" y="598"/>
                </a:cubicBezTo>
                <a:cubicBezTo>
                  <a:pt x="1279" y="601"/>
                  <a:pt x="1285" y="596"/>
                  <a:pt x="1283" y="587"/>
                </a:cubicBezTo>
                <a:cubicBezTo>
                  <a:pt x="1291" y="593"/>
                  <a:pt x="1299" y="589"/>
                  <a:pt x="1305" y="580"/>
                </a:cubicBezTo>
                <a:cubicBezTo>
                  <a:pt x="1308" y="575"/>
                  <a:pt x="1295" y="568"/>
                  <a:pt x="1314" y="568"/>
                </a:cubicBezTo>
                <a:cubicBezTo>
                  <a:pt x="1326" y="568"/>
                  <a:pt x="1330" y="576"/>
                  <a:pt x="1325" y="585"/>
                </a:cubicBezTo>
                <a:cubicBezTo>
                  <a:pt x="1320" y="594"/>
                  <a:pt x="1311" y="587"/>
                  <a:pt x="1315" y="602"/>
                </a:cubicBezTo>
                <a:cubicBezTo>
                  <a:pt x="1298" y="577"/>
                  <a:pt x="1310" y="608"/>
                  <a:pt x="1301" y="605"/>
                </a:cubicBezTo>
                <a:cubicBezTo>
                  <a:pt x="1301" y="608"/>
                  <a:pt x="1301" y="610"/>
                  <a:pt x="1300" y="612"/>
                </a:cubicBezTo>
                <a:cubicBezTo>
                  <a:pt x="1297" y="611"/>
                  <a:pt x="1289" y="604"/>
                  <a:pt x="1287" y="604"/>
                </a:cubicBezTo>
                <a:cubicBezTo>
                  <a:pt x="1279" y="605"/>
                  <a:pt x="1272" y="620"/>
                  <a:pt x="1267" y="628"/>
                </a:cubicBezTo>
                <a:cubicBezTo>
                  <a:pt x="1266" y="626"/>
                  <a:pt x="1264" y="625"/>
                  <a:pt x="1263" y="624"/>
                </a:cubicBezTo>
                <a:cubicBezTo>
                  <a:pt x="1263" y="627"/>
                  <a:pt x="1264" y="627"/>
                  <a:pt x="1265" y="629"/>
                </a:cubicBezTo>
                <a:cubicBezTo>
                  <a:pt x="1265" y="630"/>
                  <a:pt x="1262" y="631"/>
                  <a:pt x="1261" y="633"/>
                </a:cubicBezTo>
                <a:cubicBezTo>
                  <a:pt x="1257" y="625"/>
                  <a:pt x="1250" y="625"/>
                  <a:pt x="1247" y="633"/>
                </a:cubicBezTo>
                <a:cubicBezTo>
                  <a:pt x="1242" y="630"/>
                  <a:pt x="1240" y="625"/>
                  <a:pt x="1240" y="622"/>
                </a:cubicBezTo>
                <a:cubicBezTo>
                  <a:pt x="1242" y="623"/>
                  <a:pt x="1244" y="623"/>
                  <a:pt x="1246" y="626"/>
                </a:cubicBezTo>
                <a:close/>
                <a:moveTo>
                  <a:pt x="1256" y="643"/>
                </a:moveTo>
                <a:cubicBezTo>
                  <a:pt x="1258" y="644"/>
                  <a:pt x="1257" y="643"/>
                  <a:pt x="1256" y="643"/>
                </a:cubicBezTo>
                <a:close/>
                <a:moveTo>
                  <a:pt x="1251" y="648"/>
                </a:moveTo>
                <a:cubicBezTo>
                  <a:pt x="1254" y="646"/>
                  <a:pt x="1254" y="646"/>
                  <a:pt x="1251" y="648"/>
                </a:cubicBezTo>
                <a:close/>
                <a:moveTo>
                  <a:pt x="1222" y="667"/>
                </a:moveTo>
                <a:cubicBezTo>
                  <a:pt x="1223" y="667"/>
                  <a:pt x="1224" y="664"/>
                  <a:pt x="1223" y="670"/>
                </a:cubicBezTo>
                <a:cubicBezTo>
                  <a:pt x="1221" y="669"/>
                  <a:pt x="1221" y="667"/>
                  <a:pt x="1222" y="667"/>
                </a:cubicBezTo>
                <a:close/>
                <a:moveTo>
                  <a:pt x="1191" y="313"/>
                </a:moveTo>
                <a:cubicBezTo>
                  <a:pt x="1193" y="310"/>
                  <a:pt x="1200" y="302"/>
                  <a:pt x="1200" y="311"/>
                </a:cubicBezTo>
                <a:cubicBezTo>
                  <a:pt x="1199" y="326"/>
                  <a:pt x="1182" y="325"/>
                  <a:pt x="1191" y="313"/>
                </a:cubicBezTo>
                <a:close/>
                <a:moveTo>
                  <a:pt x="1212" y="693"/>
                </a:moveTo>
                <a:cubicBezTo>
                  <a:pt x="1193" y="698"/>
                  <a:pt x="1174" y="700"/>
                  <a:pt x="1155" y="704"/>
                </a:cubicBezTo>
                <a:cubicBezTo>
                  <a:pt x="1168" y="694"/>
                  <a:pt x="1196" y="690"/>
                  <a:pt x="1212" y="693"/>
                </a:cubicBezTo>
                <a:close/>
                <a:moveTo>
                  <a:pt x="1154" y="713"/>
                </a:moveTo>
                <a:cubicBezTo>
                  <a:pt x="1115" y="722"/>
                  <a:pt x="1074" y="735"/>
                  <a:pt x="1034" y="739"/>
                </a:cubicBezTo>
                <a:cubicBezTo>
                  <a:pt x="1034" y="738"/>
                  <a:pt x="1035" y="737"/>
                  <a:pt x="1036" y="737"/>
                </a:cubicBezTo>
                <a:cubicBezTo>
                  <a:pt x="1017" y="736"/>
                  <a:pt x="1000" y="747"/>
                  <a:pt x="980" y="746"/>
                </a:cubicBezTo>
                <a:cubicBezTo>
                  <a:pt x="1016" y="736"/>
                  <a:pt x="1056" y="719"/>
                  <a:pt x="1094" y="717"/>
                </a:cubicBezTo>
                <a:cubicBezTo>
                  <a:pt x="1113" y="721"/>
                  <a:pt x="1134" y="712"/>
                  <a:pt x="1154" y="713"/>
                </a:cubicBezTo>
                <a:close/>
                <a:moveTo>
                  <a:pt x="1086" y="709"/>
                </a:moveTo>
                <a:cubicBezTo>
                  <a:pt x="1088" y="708"/>
                  <a:pt x="1088" y="707"/>
                  <a:pt x="1091" y="707"/>
                </a:cubicBezTo>
                <a:cubicBezTo>
                  <a:pt x="1076" y="716"/>
                  <a:pt x="1049" y="724"/>
                  <a:pt x="1030" y="723"/>
                </a:cubicBezTo>
                <a:cubicBezTo>
                  <a:pt x="1048" y="717"/>
                  <a:pt x="1067" y="710"/>
                  <a:pt x="1086" y="709"/>
                </a:cubicBezTo>
                <a:close/>
                <a:moveTo>
                  <a:pt x="1040" y="610"/>
                </a:moveTo>
                <a:cubicBezTo>
                  <a:pt x="1055" y="613"/>
                  <a:pt x="1046" y="620"/>
                  <a:pt x="1035" y="616"/>
                </a:cubicBezTo>
                <a:cubicBezTo>
                  <a:pt x="1034" y="612"/>
                  <a:pt x="1036" y="612"/>
                  <a:pt x="1040" y="610"/>
                </a:cubicBezTo>
                <a:close/>
                <a:moveTo>
                  <a:pt x="1040" y="698"/>
                </a:moveTo>
                <a:cubicBezTo>
                  <a:pt x="1038" y="699"/>
                  <a:pt x="1038" y="702"/>
                  <a:pt x="1034" y="700"/>
                </a:cubicBezTo>
                <a:cubicBezTo>
                  <a:pt x="1036" y="696"/>
                  <a:pt x="1037" y="699"/>
                  <a:pt x="1040" y="698"/>
                </a:cubicBezTo>
                <a:close/>
                <a:moveTo>
                  <a:pt x="1036" y="632"/>
                </a:moveTo>
                <a:cubicBezTo>
                  <a:pt x="1032" y="632"/>
                  <a:pt x="1030" y="633"/>
                  <a:pt x="1026" y="630"/>
                </a:cubicBezTo>
                <a:cubicBezTo>
                  <a:pt x="1031" y="626"/>
                  <a:pt x="1032" y="629"/>
                  <a:pt x="1036" y="632"/>
                </a:cubicBezTo>
                <a:close/>
                <a:moveTo>
                  <a:pt x="987" y="691"/>
                </a:moveTo>
                <a:cubicBezTo>
                  <a:pt x="988" y="695"/>
                  <a:pt x="986" y="696"/>
                  <a:pt x="988" y="700"/>
                </a:cubicBezTo>
                <a:cubicBezTo>
                  <a:pt x="984" y="700"/>
                  <a:pt x="980" y="699"/>
                  <a:pt x="976" y="696"/>
                </a:cubicBezTo>
                <a:cubicBezTo>
                  <a:pt x="978" y="696"/>
                  <a:pt x="981" y="695"/>
                  <a:pt x="982" y="694"/>
                </a:cubicBezTo>
                <a:cubicBezTo>
                  <a:pt x="979" y="693"/>
                  <a:pt x="977" y="691"/>
                  <a:pt x="974" y="690"/>
                </a:cubicBezTo>
                <a:cubicBezTo>
                  <a:pt x="979" y="690"/>
                  <a:pt x="983" y="690"/>
                  <a:pt x="987" y="691"/>
                </a:cubicBezTo>
                <a:close/>
                <a:moveTo>
                  <a:pt x="886" y="671"/>
                </a:moveTo>
                <a:cubicBezTo>
                  <a:pt x="895" y="662"/>
                  <a:pt x="899" y="673"/>
                  <a:pt x="894" y="676"/>
                </a:cubicBezTo>
                <a:cubicBezTo>
                  <a:pt x="887" y="679"/>
                  <a:pt x="875" y="677"/>
                  <a:pt x="886" y="671"/>
                </a:cubicBezTo>
                <a:close/>
                <a:moveTo>
                  <a:pt x="873" y="640"/>
                </a:moveTo>
                <a:cubicBezTo>
                  <a:pt x="870" y="644"/>
                  <a:pt x="866" y="648"/>
                  <a:pt x="862" y="650"/>
                </a:cubicBezTo>
                <a:cubicBezTo>
                  <a:pt x="850" y="647"/>
                  <a:pt x="867" y="637"/>
                  <a:pt x="873" y="640"/>
                </a:cubicBezTo>
                <a:close/>
                <a:moveTo>
                  <a:pt x="861" y="685"/>
                </a:moveTo>
                <a:cubicBezTo>
                  <a:pt x="859" y="685"/>
                  <a:pt x="856" y="685"/>
                  <a:pt x="855" y="684"/>
                </a:cubicBezTo>
                <a:cubicBezTo>
                  <a:pt x="859" y="683"/>
                  <a:pt x="862" y="681"/>
                  <a:pt x="866" y="681"/>
                </a:cubicBezTo>
                <a:cubicBezTo>
                  <a:pt x="862" y="682"/>
                  <a:pt x="859" y="683"/>
                  <a:pt x="855" y="684"/>
                </a:cubicBezTo>
                <a:cubicBezTo>
                  <a:pt x="857" y="684"/>
                  <a:pt x="859" y="685"/>
                  <a:pt x="861" y="685"/>
                </a:cubicBezTo>
                <a:close/>
                <a:moveTo>
                  <a:pt x="848" y="604"/>
                </a:moveTo>
                <a:cubicBezTo>
                  <a:pt x="852" y="606"/>
                  <a:pt x="855" y="608"/>
                  <a:pt x="855" y="613"/>
                </a:cubicBezTo>
                <a:cubicBezTo>
                  <a:pt x="848" y="613"/>
                  <a:pt x="842" y="609"/>
                  <a:pt x="848" y="604"/>
                </a:cubicBezTo>
                <a:close/>
                <a:moveTo>
                  <a:pt x="855" y="622"/>
                </a:moveTo>
                <a:cubicBezTo>
                  <a:pt x="861" y="624"/>
                  <a:pt x="863" y="630"/>
                  <a:pt x="869" y="633"/>
                </a:cubicBezTo>
                <a:cubicBezTo>
                  <a:pt x="856" y="630"/>
                  <a:pt x="842" y="644"/>
                  <a:pt x="838" y="622"/>
                </a:cubicBezTo>
                <a:cubicBezTo>
                  <a:pt x="843" y="624"/>
                  <a:pt x="851" y="621"/>
                  <a:pt x="855" y="622"/>
                </a:cubicBezTo>
                <a:close/>
                <a:moveTo>
                  <a:pt x="838" y="682"/>
                </a:moveTo>
                <a:cubicBezTo>
                  <a:pt x="841" y="682"/>
                  <a:pt x="844" y="681"/>
                  <a:pt x="847" y="682"/>
                </a:cubicBezTo>
                <a:cubicBezTo>
                  <a:pt x="843" y="681"/>
                  <a:pt x="840" y="682"/>
                  <a:pt x="836" y="683"/>
                </a:cubicBezTo>
                <a:cubicBezTo>
                  <a:pt x="837" y="682"/>
                  <a:pt x="837" y="682"/>
                  <a:pt x="838" y="682"/>
                </a:cubicBezTo>
                <a:close/>
                <a:moveTo>
                  <a:pt x="835" y="700"/>
                </a:moveTo>
                <a:cubicBezTo>
                  <a:pt x="841" y="699"/>
                  <a:pt x="845" y="698"/>
                  <a:pt x="850" y="700"/>
                </a:cubicBezTo>
                <a:cubicBezTo>
                  <a:pt x="841" y="702"/>
                  <a:pt x="833" y="704"/>
                  <a:pt x="826" y="709"/>
                </a:cubicBezTo>
                <a:cubicBezTo>
                  <a:pt x="824" y="702"/>
                  <a:pt x="828" y="699"/>
                  <a:pt x="835" y="700"/>
                </a:cubicBezTo>
                <a:close/>
                <a:moveTo>
                  <a:pt x="828" y="724"/>
                </a:moveTo>
                <a:cubicBezTo>
                  <a:pt x="827" y="731"/>
                  <a:pt x="826" y="716"/>
                  <a:pt x="826" y="713"/>
                </a:cubicBezTo>
                <a:cubicBezTo>
                  <a:pt x="826" y="717"/>
                  <a:pt x="827" y="721"/>
                  <a:pt x="828" y="724"/>
                </a:cubicBezTo>
                <a:close/>
                <a:moveTo>
                  <a:pt x="814" y="748"/>
                </a:moveTo>
                <a:cubicBezTo>
                  <a:pt x="818" y="745"/>
                  <a:pt x="821" y="735"/>
                  <a:pt x="823" y="734"/>
                </a:cubicBezTo>
                <a:cubicBezTo>
                  <a:pt x="828" y="732"/>
                  <a:pt x="829" y="738"/>
                  <a:pt x="837" y="737"/>
                </a:cubicBezTo>
                <a:cubicBezTo>
                  <a:pt x="842" y="736"/>
                  <a:pt x="847" y="732"/>
                  <a:pt x="844" y="732"/>
                </a:cubicBezTo>
                <a:cubicBezTo>
                  <a:pt x="850" y="732"/>
                  <a:pt x="853" y="734"/>
                  <a:pt x="860" y="734"/>
                </a:cubicBezTo>
                <a:cubicBezTo>
                  <a:pt x="862" y="733"/>
                  <a:pt x="870" y="729"/>
                  <a:pt x="872" y="729"/>
                </a:cubicBezTo>
                <a:cubicBezTo>
                  <a:pt x="876" y="728"/>
                  <a:pt x="887" y="728"/>
                  <a:pt x="892" y="727"/>
                </a:cubicBezTo>
                <a:cubicBezTo>
                  <a:pt x="902" y="727"/>
                  <a:pt x="904" y="729"/>
                  <a:pt x="915" y="727"/>
                </a:cubicBezTo>
                <a:cubicBezTo>
                  <a:pt x="925" y="725"/>
                  <a:pt x="937" y="722"/>
                  <a:pt x="946" y="719"/>
                </a:cubicBezTo>
                <a:cubicBezTo>
                  <a:pt x="946" y="719"/>
                  <a:pt x="943" y="720"/>
                  <a:pt x="942" y="720"/>
                </a:cubicBezTo>
                <a:cubicBezTo>
                  <a:pt x="946" y="721"/>
                  <a:pt x="950" y="719"/>
                  <a:pt x="955" y="717"/>
                </a:cubicBezTo>
                <a:cubicBezTo>
                  <a:pt x="959" y="715"/>
                  <a:pt x="963" y="713"/>
                  <a:pt x="968" y="712"/>
                </a:cubicBezTo>
                <a:cubicBezTo>
                  <a:pt x="964" y="713"/>
                  <a:pt x="959" y="715"/>
                  <a:pt x="955" y="717"/>
                </a:cubicBezTo>
                <a:cubicBezTo>
                  <a:pt x="955" y="717"/>
                  <a:pt x="954" y="717"/>
                  <a:pt x="954" y="717"/>
                </a:cubicBezTo>
                <a:cubicBezTo>
                  <a:pt x="972" y="718"/>
                  <a:pt x="1009" y="710"/>
                  <a:pt x="1022" y="700"/>
                </a:cubicBezTo>
                <a:cubicBezTo>
                  <a:pt x="1022" y="700"/>
                  <a:pt x="1022" y="701"/>
                  <a:pt x="1021" y="700"/>
                </a:cubicBezTo>
                <a:cubicBezTo>
                  <a:pt x="1029" y="700"/>
                  <a:pt x="1041" y="707"/>
                  <a:pt x="1046" y="709"/>
                </a:cubicBezTo>
                <a:cubicBezTo>
                  <a:pt x="1030" y="714"/>
                  <a:pt x="1020" y="712"/>
                  <a:pt x="1005" y="714"/>
                </a:cubicBezTo>
                <a:cubicBezTo>
                  <a:pt x="994" y="716"/>
                  <a:pt x="996" y="716"/>
                  <a:pt x="987" y="723"/>
                </a:cubicBezTo>
                <a:cubicBezTo>
                  <a:pt x="962" y="741"/>
                  <a:pt x="914" y="748"/>
                  <a:pt x="881" y="755"/>
                </a:cubicBezTo>
                <a:cubicBezTo>
                  <a:pt x="889" y="756"/>
                  <a:pt x="895" y="754"/>
                  <a:pt x="903" y="756"/>
                </a:cubicBezTo>
                <a:cubicBezTo>
                  <a:pt x="882" y="762"/>
                  <a:pt x="858" y="763"/>
                  <a:pt x="833" y="765"/>
                </a:cubicBezTo>
                <a:cubicBezTo>
                  <a:pt x="804" y="768"/>
                  <a:pt x="778" y="776"/>
                  <a:pt x="748" y="776"/>
                </a:cubicBezTo>
                <a:cubicBezTo>
                  <a:pt x="758" y="771"/>
                  <a:pt x="796" y="771"/>
                  <a:pt x="798" y="763"/>
                </a:cubicBezTo>
                <a:cubicBezTo>
                  <a:pt x="793" y="762"/>
                  <a:pt x="755" y="772"/>
                  <a:pt x="772" y="759"/>
                </a:cubicBezTo>
                <a:cubicBezTo>
                  <a:pt x="773" y="758"/>
                  <a:pt x="790" y="755"/>
                  <a:pt x="790" y="755"/>
                </a:cubicBezTo>
                <a:cubicBezTo>
                  <a:pt x="795" y="755"/>
                  <a:pt x="807" y="757"/>
                  <a:pt x="809" y="758"/>
                </a:cubicBezTo>
                <a:cubicBezTo>
                  <a:pt x="822" y="754"/>
                  <a:pt x="834" y="748"/>
                  <a:pt x="814" y="748"/>
                </a:cubicBezTo>
                <a:close/>
                <a:moveTo>
                  <a:pt x="906" y="770"/>
                </a:moveTo>
                <a:cubicBezTo>
                  <a:pt x="905" y="769"/>
                  <a:pt x="901" y="766"/>
                  <a:pt x="901" y="765"/>
                </a:cubicBezTo>
                <a:cubicBezTo>
                  <a:pt x="910" y="760"/>
                  <a:pt x="909" y="754"/>
                  <a:pt x="920" y="752"/>
                </a:cubicBezTo>
                <a:cubicBezTo>
                  <a:pt x="931" y="750"/>
                  <a:pt x="940" y="754"/>
                  <a:pt x="952" y="750"/>
                </a:cubicBezTo>
                <a:cubicBezTo>
                  <a:pt x="949" y="751"/>
                  <a:pt x="948" y="753"/>
                  <a:pt x="948" y="754"/>
                </a:cubicBezTo>
                <a:cubicBezTo>
                  <a:pt x="933" y="759"/>
                  <a:pt x="917" y="762"/>
                  <a:pt x="903" y="767"/>
                </a:cubicBezTo>
                <a:cubicBezTo>
                  <a:pt x="903" y="767"/>
                  <a:pt x="906" y="769"/>
                  <a:pt x="906" y="770"/>
                </a:cubicBezTo>
                <a:close/>
                <a:moveTo>
                  <a:pt x="793" y="718"/>
                </a:moveTo>
                <a:cubicBezTo>
                  <a:pt x="793" y="719"/>
                  <a:pt x="791" y="720"/>
                  <a:pt x="793" y="718"/>
                </a:cubicBezTo>
                <a:close/>
                <a:moveTo>
                  <a:pt x="738" y="711"/>
                </a:moveTo>
                <a:cubicBezTo>
                  <a:pt x="753" y="697"/>
                  <a:pt x="789" y="706"/>
                  <a:pt x="798" y="688"/>
                </a:cubicBezTo>
                <a:cubicBezTo>
                  <a:pt x="794" y="693"/>
                  <a:pt x="790" y="706"/>
                  <a:pt x="786" y="709"/>
                </a:cubicBezTo>
                <a:cubicBezTo>
                  <a:pt x="779" y="715"/>
                  <a:pt x="770" y="713"/>
                  <a:pt x="761" y="715"/>
                </a:cubicBezTo>
                <a:cubicBezTo>
                  <a:pt x="769" y="715"/>
                  <a:pt x="777" y="716"/>
                  <a:pt x="785" y="717"/>
                </a:cubicBezTo>
                <a:cubicBezTo>
                  <a:pt x="783" y="725"/>
                  <a:pt x="748" y="732"/>
                  <a:pt x="742" y="732"/>
                </a:cubicBezTo>
                <a:cubicBezTo>
                  <a:pt x="739" y="725"/>
                  <a:pt x="732" y="716"/>
                  <a:pt x="738" y="711"/>
                </a:cubicBezTo>
                <a:close/>
                <a:moveTo>
                  <a:pt x="713" y="756"/>
                </a:moveTo>
                <a:cubicBezTo>
                  <a:pt x="714" y="754"/>
                  <a:pt x="713" y="752"/>
                  <a:pt x="715" y="750"/>
                </a:cubicBezTo>
                <a:cubicBezTo>
                  <a:pt x="717" y="754"/>
                  <a:pt x="714" y="753"/>
                  <a:pt x="713" y="756"/>
                </a:cubicBezTo>
                <a:close/>
                <a:moveTo>
                  <a:pt x="707" y="728"/>
                </a:moveTo>
                <a:cubicBezTo>
                  <a:pt x="711" y="732"/>
                  <a:pt x="713" y="734"/>
                  <a:pt x="714" y="739"/>
                </a:cubicBezTo>
                <a:cubicBezTo>
                  <a:pt x="709" y="737"/>
                  <a:pt x="705" y="731"/>
                  <a:pt x="707" y="728"/>
                </a:cubicBezTo>
                <a:close/>
                <a:moveTo>
                  <a:pt x="701" y="765"/>
                </a:moveTo>
                <a:cubicBezTo>
                  <a:pt x="697" y="770"/>
                  <a:pt x="693" y="769"/>
                  <a:pt x="688" y="767"/>
                </a:cubicBezTo>
                <a:cubicBezTo>
                  <a:pt x="692" y="766"/>
                  <a:pt x="696" y="766"/>
                  <a:pt x="701" y="765"/>
                </a:cubicBezTo>
                <a:close/>
                <a:moveTo>
                  <a:pt x="685" y="767"/>
                </a:moveTo>
                <a:cubicBezTo>
                  <a:pt x="678" y="767"/>
                  <a:pt x="681" y="765"/>
                  <a:pt x="680" y="763"/>
                </a:cubicBezTo>
                <a:cubicBezTo>
                  <a:pt x="681" y="763"/>
                  <a:pt x="684" y="764"/>
                  <a:pt x="685" y="767"/>
                </a:cubicBezTo>
                <a:close/>
                <a:moveTo>
                  <a:pt x="501" y="747"/>
                </a:moveTo>
                <a:cubicBezTo>
                  <a:pt x="510" y="753"/>
                  <a:pt x="520" y="755"/>
                  <a:pt x="529" y="760"/>
                </a:cubicBezTo>
                <a:cubicBezTo>
                  <a:pt x="522" y="757"/>
                  <a:pt x="514" y="754"/>
                  <a:pt x="507" y="751"/>
                </a:cubicBezTo>
                <a:cubicBezTo>
                  <a:pt x="505" y="750"/>
                  <a:pt x="495" y="745"/>
                  <a:pt x="501" y="747"/>
                </a:cubicBezTo>
                <a:close/>
                <a:moveTo>
                  <a:pt x="594" y="794"/>
                </a:moveTo>
                <a:cubicBezTo>
                  <a:pt x="573" y="784"/>
                  <a:pt x="549" y="780"/>
                  <a:pt x="527" y="771"/>
                </a:cubicBezTo>
                <a:cubicBezTo>
                  <a:pt x="516" y="766"/>
                  <a:pt x="507" y="759"/>
                  <a:pt x="496" y="755"/>
                </a:cubicBezTo>
                <a:cubicBezTo>
                  <a:pt x="528" y="763"/>
                  <a:pt x="565" y="789"/>
                  <a:pt x="599" y="789"/>
                </a:cubicBezTo>
                <a:cubicBezTo>
                  <a:pt x="597" y="791"/>
                  <a:pt x="596" y="793"/>
                  <a:pt x="594" y="794"/>
                </a:cubicBezTo>
                <a:close/>
                <a:moveTo>
                  <a:pt x="613" y="801"/>
                </a:moveTo>
                <a:cubicBezTo>
                  <a:pt x="609" y="800"/>
                  <a:pt x="606" y="798"/>
                  <a:pt x="603" y="797"/>
                </a:cubicBezTo>
                <a:cubicBezTo>
                  <a:pt x="604" y="796"/>
                  <a:pt x="607" y="793"/>
                  <a:pt x="609" y="792"/>
                </a:cubicBezTo>
                <a:cubicBezTo>
                  <a:pt x="615" y="795"/>
                  <a:pt x="621" y="794"/>
                  <a:pt x="626" y="798"/>
                </a:cubicBezTo>
                <a:cubicBezTo>
                  <a:pt x="622" y="799"/>
                  <a:pt x="617" y="801"/>
                  <a:pt x="613" y="801"/>
                </a:cubicBezTo>
                <a:close/>
                <a:moveTo>
                  <a:pt x="620" y="791"/>
                </a:moveTo>
                <a:cubicBezTo>
                  <a:pt x="624" y="791"/>
                  <a:pt x="626" y="791"/>
                  <a:pt x="630" y="792"/>
                </a:cubicBezTo>
                <a:cubicBezTo>
                  <a:pt x="626" y="792"/>
                  <a:pt x="624" y="791"/>
                  <a:pt x="620" y="791"/>
                </a:cubicBezTo>
                <a:close/>
                <a:moveTo>
                  <a:pt x="631" y="791"/>
                </a:moveTo>
                <a:cubicBezTo>
                  <a:pt x="629" y="788"/>
                  <a:pt x="630" y="790"/>
                  <a:pt x="631" y="791"/>
                </a:cubicBezTo>
                <a:cubicBezTo>
                  <a:pt x="632" y="792"/>
                  <a:pt x="632" y="792"/>
                  <a:pt x="632" y="792"/>
                </a:cubicBezTo>
                <a:cubicBezTo>
                  <a:pt x="633" y="792"/>
                  <a:pt x="635" y="794"/>
                  <a:pt x="632" y="792"/>
                </a:cubicBezTo>
                <a:cubicBezTo>
                  <a:pt x="632" y="792"/>
                  <a:pt x="632" y="792"/>
                  <a:pt x="632" y="792"/>
                </a:cubicBezTo>
                <a:cubicBezTo>
                  <a:pt x="632" y="792"/>
                  <a:pt x="632" y="792"/>
                  <a:pt x="631" y="791"/>
                </a:cubicBezTo>
                <a:cubicBezTo>
                  <a:pt x="631" y="791"/>
                  <a:pt x="631" y="791"/>
                  <a:pt x="631" y="791"/>
                </a:cubicBezTo>
                <a:close/>
                <a:moveTo>
                  <a:pt x="765" y="952"/>
                </a:moveTo>
                <a:cubicBezTo>
                  <a:pt x="755" y="952"/>
                  <a:pt x="692" y="959"/>
                  <a:pt x="690" y="946"/>
                </a:cubicBezTo>
                <a:cubicBezTo>
                  <a:pt x="688" y="931"/>
                  <a:pt x="782" y="925"/>
                  <a:pt x="790" y="948"/>
                </a:cubicBezTo>
                <a:cubicBezTo>
                  <a:pt x="781" y="948"/>
                  <a:pt x="774" y="952"/>
                  <a:pt x="765" y="952"/>
                </a:cubicBezTo>
                <a:close/>
                <a:moveTo>
                  <a:pt x="1191" y="762"/>
                </a:moveTo>
                <a:cubicBezTo>
                  <a:pt x="1169" y="763"/>
                  <a:pt x="1139" y="768"/>
                  <a:pt x="1121" y="781"/>
                </a:cubicBezTo>
                <a:cubicBezTo>
                  <a:pt x="1131" y="779"/>
                  <a:pt x="1142" y="778"/>
                  <a:pt x="1152" y="780"/>
                </a:cubicBezTo>
                <a:cubicBezTo>
                  <a:pt x="1150" y="782"/>
                  <a:pt x="1137" y="783"/>
                  <a:pt x="1137" y="783"/>
                </a:cubicBezTo>
                <a:cubicBezTo>
                  <a:pt x="1133" y="792"/>
                  <a:pt x="1147" y="783"/>
                  <a:pt x="1149" y="787"/>
                </a:cubicBezTo>
                <a:cubicBezTo>
                  <a:pt x="1149" y="787"/>
                  <a:pt x="1147" y="802"/>
                  <a:pt x="1145" y="804"/>
                </a:cubicBezTo>
                <a:cubicBezTo>
                  <a:pt x="1139" y="813"/>
                  <a:pt x="1128" y="814"/>
                  <a:pt x="1122" y="816"/>
                </a:cubicBezTo>
                <a:cubicBezTo>
                  <a:pt x="1122" y="816"/>
                  <a:pt x="1117" y="813"/>
                  <a:pt x="1115" y="814"/>
                </a:cubicBezTo>
                <a:cubicBezTo>
                  <a:pt x="1112" y="815"/>
                  <a:pt x="1112" y="820"/>
                  <a:pt x="1109" y="820"/>
                </a:cubicBezTo>
                <a:cubicBezTo>
                  <a:pt x="1102" y="822"/>
                  <a:pt x="1093" y="823"/>
                  <a:pt x="1085" y="824"/>
                </a:cubicBezTo>
                <a:cubicBezTo>
                  <a:pt x="1081" y="825"/>
                  <a:pt x="1079" y="830"/>
                  <a:pt x="1076" y="830"/>
                </a:cubicBezTo>
                <a:cubicBezTo>
                  <a:pt x="1074" y="830"/>
                  <a:pt x="1071" y="826"/>
                  <a:pt x="1068" y="826"/>
                </a:cubicBezTo>
                <a:cubicBezTo>
                  <a:pt x="1062" y="826"/>
                  <a:pt x="1054" y="826"/>
                  <a:pt x="1049" y="826"/>
                </a:cubicBezTo>
                <a:cubicBezTo>
                  <a:pt x="1019" y="824"/>
                  <a:pt x="983" y="827"/>
                  <a:pt x="948" y="832"/>
                </a:cubicBezTo>
                <a:cubicBezTo>
                  <a:pt x="900" y="838"/>
                  <a:pt x="848" y="844"/>
                  <a:pt x="798" y="849"/>
                </a:cubicBezTo>
                <a:cubicBezTo>
                  <a:pt x="742" y="854"/>
                  <a:pt x="688" y="852"/>
                  <a:pt x="632" y="857"/>
                </a:cubicBezTo>
                <a:cubicBezTo>
                  <a:pt x="632" y="856"/>
                  <a:pt x="633" y="848"/>
                  <a:pt x="633" y="848"/>
                </a:cubicBezTo>
                <a:cubicBezTo>
                  <a:pt x="640" y="847"/>
                  <a:pt x="668" y="846"/>
                  <a:pt x="672" y="840"/>
                </a:cubicBezTo>
                <a:cubicBezTo>
                  <a:pt x="678" y="833"/>
                  <a:pt x="671" y="830"/>
                  <a:pt x="664" y="830"/>
                </a:cubicBezTo>
                <a:cubicBezTo>
                  <a:pt x="677" y="828"/>
                  <a:pt x="712" y="824"/>
                  <a:pt x="711" y="815"/>
                </a:cubicBezTo>
                <a:cubicBezTo>
                  <a:pt x="710" y="805"/>
                  <a:pt x="655" y="811"/>
                  <a:pt x="645" y="811"/>
                </a:cubicBezTo>
                <a:cubicBezTo>
                  <a:pt x="645" y="809"/>
                  <a:pt x="648" y="805"/>
                  <a:pt x="648" y="805"/>
                </a:cubicBezTo>
                <a:cubicBezTo>
                  <a:pt x="654" y="808"/>
                  <a:pt x="660" y="804"/>
                  <a:pt x="667" y="804"/>
                </a:cubicBezTo>
                <a:cubicBezTo>
                  <a:pt x="682" y="803"/>
                  <a:pt x="695" y="809"/>
                  <a:pt x="709" y="810"/>
                </a:cubicBezTo>
                <a:cubicBezTo>
                  <a:pt x="719" y="811"/>
                  <a:pt x="723" y="806"/>
                  <a:pt x="732" y="805"/>
                </a:cubicBezTo>
                <a:cubicBezTo>
                  <a:pt x="739" y="804"/>
                  <a:pt x="744" y="806"/>
                  <a:pt x="751" y="805"/>
                </a:cubicBezTo>
                <a:cubicBezTo>
                  <a:pt x="753" y="815"/>
                  <a:pt x="808" y="803"/>
                  <a:pt x="822" y="800"/>
                </a:cubicBezTo>
                <a:cubicBezTo>
                  <a:pt x="811" y="819"/>
                  <a:pt x="811" y="821"/>
                  <a:pt x="837" y="820"/>
                </a:cubicBezTo>
                <a:cubicBezTo>
                  <a:pt x="860" y="819"/>
                  <a:pt x="884" y="817"/>
                  <a:pt x="908" y="813"/>
                </a:cubicBezTo>
                <a:cubicBezTo>
                  <a:pt x="917" y="811"/>
                  <a:pt x="950" y="808"/>
                  <a:pt x="937" y="796"/>
                </a:cubicBezTo>
                <a:cubicBezTo>
                  <a:pt x="929" y="789"/>
                  <a:pt x="884" y="796"/>
                  <a:pt x="908" y="776"/>
                </a:cubicBezTo>
                <a:cubicBezTo>
                  <a:pt x="905" y="776"/>
                  <a:pt x="900" y="774"/>
                  <a:pt x="897" y="774"/>
                </a:cubicBezTo>
                <a:cubicBezTo>
                  <a:pt x="905" y="767"/>
                  <a:pt x="914" y="776"/>
                  <a:pt x="916" y="784"/>
                </a:cubicBezTo>
                <a:cubicBezTo>
                  <a:pt x="962" y="774"/>
                  <a:pt x="1013" y="768"/>
                  <a:pt x="1061" y="770"/>
                </a:cubicBezTo>
                <a:cubicBezTo>
                  <a:pt x="1067" y="771"/>
                  <a:pt x="1070" y="775"/>
                  <a:pt x="1081" y="774"/>
                </a:cubicBezTo>
                <a:cubicBezTo>
                  <a:pt x="1096" y="772"/>
                  <a:pt x="1111" y="766"/>
                  <a:pt x="1126" y="764"/>
                </a:cubicBezTo>
                <a:cubicBezTo>
                  <a:pt x="1140" y="762"/>
                  <a:pt x="1154" y="760"/>
                  <a:pt x="1169" y="759"/>
                </a:cubicBezTo>
                <a:cubicBezTo>
                  <a:pt x="1174" y="758"/>
                  <a:pt x="1198" y="756"/>
                  <a:pt x="1191" y="762"/>
                </a:cubicBezTo>
                <a:close/>
                <a:moveTo>
                  <a:pt x="1183" y="749"/>
                </a:moveTo>
                <a:cubicBezTo>
                  <a:pt x="1197" y="739"/>
                  <a:pt x="1223" y="735"/>
                  <a:pt x="1240" y="732"/>
                </a:cubicBezTo>
                <a:cubicBezTo>
                  <a:pt x="1245" y="730"/>
                  <a:pt x="1249" y="729"/>
                  <a:pt x="1252" y="731"/>
                </a:cubicBezTo>
                <a:cubicBezTo>
                  <a:pt x="1236" y="738"/>
                  <a:pt x="1200" y="754"/>
                  <a:pt x="1183" y="749"/>
                </a:cubicBezTo>
                <a:close/>
                <a:moveTo>
                  <a:pt x="1195" y="777"/>
                </a:moveTo>
                <a:cubicBezTo>
                  <a:pt x="1204" y="776"/>
                  <a:pt x="1212" y="773"/>
                  <a:pt x="1220" y="772"/>
                </a:cubicBezTo>
                <a:cubicBezTo>
                  <a:pt x="1223" y="772"/>
                  <a:pt x="1227" y="771"/>
                  <a:pt x="1230" y="771"/>
                </a:cubicBezTo>
                <a:cubicBezTo>
                  <a:pt x="1218" y="772"/>
                  <a:pt x="1207" y="776"/>
                  <a:pt x="1195" y="777"/>
                </a:cubicBezTo>
                <a:close/>
                <a:moveTo>
                  <a:pt x="1229" y="744"/>
                </a:moveTo>
                <a:cubicBezTo>
                  <a:pt x="1232" y="740"/>
                  <a:pt x="1252" y="742"/>
                  <a:pt x="1258" y="737"/>
                </a:cubicBezTo>
                <a:cubicBezTo>
                  <a:pt x="1256" y="737"/>
                  <a:pt x="1254" y="736"/>
                  <a:pt x="1252" y="735"/>
                </a:cubicBezTo>
                <a:cubicBezTo>
                  <a:pt x="1272" y="731"/>
                  <a:pt x="1289" y="721"/>
                  <a:pt x="1309" y="717"/>
                </a:cubicBezTo>
                <a:cubicBezTo>
                  <a:pt x="1326" y="713"/>
                  <a:pt x="1343" y="709"/>
                  <a:pt x="1360" y="703"/>
                </a:cubicBezTo>
                <a:cubicBezTo>
                  <a:pt x="1386" y="694"/>
                  <a:pt x="1412" y="686"/>
                  <a:pt x="1439" y="679"/>
                </a:cubicBezTo>
                <a:cubicBezTo>
                  <a:pt x="1455" y="675"/>
                  <a:pt x="1472" y="670"/>
                  <a:pt x="1490" y="667"/>
                </a:cubicBezTo>
                <a:cubicBezTo>
                  <a:pt x="1525" y="662"/>
                  <a:pt x="1556" y="647"/>
                  <a:pt x="1589" y="633"/>
                </a:cubicBezTo>
                <a:cubicBezTo>
                  <a:pt x="1594" y="631"/>
                  <a:pt x="1599" y="630"/>
                  <a:pt x="1604" y="626"/>
                </a:cubicBezTo>
                <a:cubicBezTo>
                  <a:pt x="1596" y="629"/>
                  <a:pt x="1590" y="633"/>
                  <a:pt x="1583" y="631"/>
                </a:cubicBezTo>
                <a:cubicBezTo>
                  <a:pt x="1598" y="612"/>
                  <a:pt x="1641" y="631"/>
                  <a:pt x="1656" y="609"/>
                </a:cubicBezTo>
                <a:cubicBezTo>
                  <a:pt x="1648" y="610"/>
                  <a:pt x="1640" y="614"/>
                  <a:pt x="1630" y="613"/>
                </a:cubicBezTo>
                <a:cubicBezTo>
                  <a:pt x="1643" y="605"/>
                  <a:pt x="1660" y="601"/>
                  <a:pt x="1675" y="598"/>
                </a:cubicBezTo>
                <a:cubicBezTo>
                  <a:pt x="1675" y="598"/>
                  <a:pt x="1675" y="598"/>
                  <a:pt x="1675" y="598"/>
                </a:cubicBezTo>
                <a:cubicBezTo>
                  <a:pt x="1676" y="597"/>
                  <a:pt x="1677" y="597"/>
                  <a:pt x="1678" y="597"/>
                </a:cubicBezTo>
                <a:cubicBezTo>
                  <a:pt x="1677" y="597"/>
                  <a:pt x="1676" y="597"/>
                  <a:pt x="1675" y="598"/>
                </a:cubicBezTo>
                <a:cubicBezTo>
                  <a:pt x="1681" y="602"/>
                  <a:pt x="1661" y="606"/>
                  <a:pt x="1655" y="609"/>
                </a:cubicBezTo>
                <a:cubicBezTo>
                  <a:pt x="1666" y="611"/>
                  <a:pt x="1681" y="603"/>
                  <a:pt x="1691" y="599"/>
                </a:cubicBezTo>
                <a:cubicBezTo>
                  <a:pt x="1688" y="599"/>
                  <a:pt x="1684" y="597"/>
                  <a:pt x="1680" y="597"/>
                </a:cubicBezTo>
                <a:cubicBezTo>
                  <a:pt x="1705" y="587"/>
                  <a:pt x="1727" y="578"/>
                  <a:pt x="1750" y="567"/>
                </a:cubicBezTo>
                <a:cubicBezTo>
                  <a:pt x="1758" y="585"/>
                  <a:pt x="1831" y="571"/>
                  <a:pt x="1847" y="566"/>
                </a:cubicBezTo>
                <a:cubicBezTo>
                  <a:pt x="1871" y="560"/>
                  <a:pt x="1904" y="559"/>
                  <a:pt x="1926" y="548"/>
                </a:cubicBezTo>
                <a:cubicBezTo>
                  <a:pt x="1917" y="557"/>
                  <a:pt x="1891" y="563"/>
                  <a:pt x="1878" y="570"/>
                </a:cubicBezTo>
                <a:cubicBezTo>
                  <a:pt x="1861" y="577"/>
                  <a:pt x="1839" y="589"/>
                  <a:pt x="1821" y="592"/>
                </a:cubicBezTo>
                <a:cubicBezTo>
                  <a:pt x="1828" y="584"/>
                  <a:pt x="1841" y="581"/>
                  <a:pt x="1848" y="573"/>
                </a:cubicBezTo>
                <a:cubicBezTo>
                  <a:pt x="1832" y="576"/>
                  <a:pt x="1817" y="587"/>
                  <a:pt x="1801" y="588"/>
                </a:cubicBezTo>
                <a:cubicBezTo>
                  <a:pt x="1803" y="586"/>
                  <a:pt x="1805" y="584"/>
                  <a:pt x="1806" y="583"/>
                </a:cubicBezTo>
                <a:cubicBezTo>
                  <a:pt x="1775" y="588"/>
                  <a:pt x="1747" y="610"/>
                  <a:pt x="1717" y="618"/>
                </a:cubicBezTo>
                <a:cubicBezTo>
                  <a:pt x="1718" y="618"/>
                  <a:pt x="1715" y="613"/>
                  <a:pt x="1713" y="614"/>
                </a:cubicBezTo>
                <a:cubicBezTo>
                  <a:pt x="1709" y="615"/>
                  <a:pt x="1705" y="620"/>
                  <a:pt x="1701" y="622"/>
                </a:cubicBezTo>
                <a:cubicBezTo>
                  <a:pt x="1698" y="624"/>
                  <a:pt x="1693" y="628"/>
                  <a:pt x="1689" y="630"/>
                </a:cubicBezTo>
                <a:cubicBezTo>
                  <a:pt x="1680" y="634"/>
                  <a:pt x="1671" y="634"/>
                  <a:pt x="1663" y="637"/>
                </a:cubicBezTo>
                <a:cubicBezTo>
                  <a:pt x="1665" y="635"/>
                  <a:pt x="1667" y="634"/>
                  <a:pt x="1670" y="632"/>
                </a:cubicBezTo>
                <a:cubicBezTo>
                  <a:pt x="1657" y="629"/>
                  <a:pt x="1628" y="640"/>
                  <a:pt x="1617" y="647"/>
                </a:cubicBezTo>
                <a:cubicBezTo>
                  <a:pt x="1618" y="649"/>
                  <a:pt x="1619" y="648"/>
                  <a:pt x="1620" y="650"/>
                </a:cubicBezTo>
                <a:cubicBezTo>
                  <a:pt x="1623" y="648"/>
                  <a:pt x="1622" y="645"/>
                  <a:pt x="1628" y="646"/>
                </a:cubicBezTo>
                <a:cubicBezTo>
                  <a:pt x="1627" y="650"/>
                  <a:pt x="1624" y="649"/>
                  <a:pt x="1620" y="650"/>
                </a:cubicBezTo>
                <a:cubicBezTo>
                  <a:pt x="1567" y="669"/>
                  <a:pt x="1511" y="672"/>
                  <a:pt x="1460" y="694"/>
                </a:cubicBezTo>
                <a:cubicBezTo>
                  <a:pt x="1476" y="698"/>
                  <a:pt x="1490" y="684"/>
                  <a:pt x="1504" y="691"/>
                </a:cubicBezTo>
                <a:cubicBezTo>
                  <a:pt x="1493" y="699"/>
                  <a:pt x="1453" y="705"/>
                  <a:pt x="1439" y="703"/>
                </a:cubicBezTo>
                <a:cubicBezTo>
                  <a:pt x="1446" y="700"/>
                  <a:pt x="1453" y="699"/>
                  <a:pt x="1460" y="699"/>
                </a:cubicBezTo>
                <a:cubicBezTo>
                  <a:pt x="1446" y="695"/>
                  <a:pt x="1420" y="701"/>
                  <a:pt x="1406" y="706"/>
                </a:cubicBezTo>
                <a:cubicBezTo>
                  <a:pt x="1406" y="706"/>
                  <a:pt x="1409" y="708"/>
                  <a:pt x="1409" y="708"/>
                </a:cubicBezTo>
                <a:cubicBezTo>
                  <a:pt x="1401" y="703"/>
                  <a:pt x="1381" y="709"/>
                  <a:pt x="1372" y="713"/>
                </a:cubicBezTo>
                <a:cubicBezTo>
                  <a:pt x="1374" y="713"/>
                  <a:pt x="1378" y="715"/>
                  <a:pt x="1382" y="715"/>
                </a:cubicBezTo>
                <a:cubicBezTo>
                  <a:pt x="1373" y="719"/>
                  <a:pt x="1363" y="722"/>
                  <a:pt x="1354" y="725"/>
                </a:cubicBezTo>
                <a:cubicBezTo>
                  <a:pt x="1355" y="725"/>
                  <a:pt x="1356" y="725"/>
                  <a:pt x="1357" y="725"/>
                </a:cubicBezTo>
                <a:cubicBezTo>
                  <a:pt x="1349" y="727"/>
                  <a:pt x="1339" y="725"/>
                  <a:pt x="1332" y="730"/>
                </a:cubicBezTo>
                <a:cubicBezTo>
                  <a:pt x="1335" y="730"/>
                  <a:pt x="1337" y="731"/>
                  <a:pt x="1339" y="733"/>
                </a:cubicBezTo>
                <a:cubicBezTo>
                  <a:pt x="1337" y="732"/>
                  <a:pt x="1335" y="730"/>
                  <a:pt x="1332" y="730"/>
                </a:cubicBezTo>
                <a:cubicBezTo>
                  <a:pt x="1332" y="730"/>
                  <a:pt x="1332" y="730"/>
                  <a:pt x="1332" y="730"/>
                </a:cubicBezTo>
                <a:cubicBezTo>
                  <a:pt x="1310" y="725"/>
                  <a:pt x="1268" y="739"/>
                  <a:pt x="1257" y="749"/>
                </a:cubicBezTo>
                <a:cubicBezTo>
                  <a:pt x="1259" y="742"/>
                  <a:pt x="1225" y="750"/>
                  <a:pt x="1229" y="744"/>
                </a:cubicBezTo>
                <a:close/>
                <a:moveTo>
                  <a:pt x="1595" y="725"/>
                </a:moveTo>
                <a:cubicBezTo>
                  <a:pt x="1595" y="726"/>
                  <a:pt x="1596" y="727"/>
                  <a:pt x="1597" y="728"/>
                </a:cubicBezTo>
                <a:cubicBezTo>
                  <a:pt x="1594" y="728"/>
                  <a:pt x="1596" y="727"/>
                  <a:pt x="1595" y="725"/>
                </a:cubicBezTo>
                <a:close/>
                <a:moveTo>
                  <a:pt x="1544" y="696"/>
                </a:moveTo>
                <a:cubicBezTo>
                  <a:pt x="1541" y="702"/>
                  <a:pt x="1522" y="700"/>
                  <a:pt x="1516" y="698"/>
                </a:cubicBezTo>
                <a:cubicBezTo>
                  <a:pt x="1520" y="697"/>
                  <a:pt x="1547" y="691"/>
                  <a:pt x="1544" y="696"/>
                </a:cubicBezTo>
                <a:close/>
                <a:moveTo>
                  <a:pt x="1447" y="739"/>
                </a:moveTo>
                <a:cubicBezTo>
                  <a:pt x="1447" y="740"/>
                  <a:pt x="1447" y="740"/>
                  <a:pt x="1448" y="739"/>
                </a:cubicBezTo>
                <a:cubicBezTo>
                  <a:pt x="1459" y="739"/>
                  <a:pt x="1469" y="736"/>
                  <a:pt x="1479" y="734"/>
                </a:cubicBezTo>
                <a:cubicBezTo>
                  <a:pt x="1468" y="736"/>
                  <a:pt x="1458" y="739"/>
                  <a:pt x="1447" y="739"/>
                </a:cubicBezTo>
                <a:close/>
                <a:moveTo>
                  <a:pt x="1504" y="738"/>
                </a:moveTo>
                <a:cubicBezTo>
                  <a:pt x="1498" y="742"/>
                  <a:pt x="1490" y="743"/>
                  <a:pt x="1483" y="745"/>
                </a:cubicBezTo>
                <a:cubicBezTo>
                  <a:pt x="1479" y="745"/>
                  <a:pt x="1459" y="751"/>
                  <a:pt x="1466" y="746"/>
                </a:cubicBezTo>
                <a:cubicBezTo>
                  <a:pt x="1479" y="744"/>
                  <a:pt x="1491" y="739"/>
                  <a:pt x="1504" y="738"/>
                </a:cubicBezTo>
                <a:close/>
                <a:moveTo>
                  <a:pt x="1400" y="733"/>
                </a:moveTo>
                <a:cubicBezTo>
                  <a:pt x="1395" y="736"/>
                  <a:pt x="1390" y="737"/>
                  <a:pt x="1384" y="734"/>
                </a:cubicBezTo>
                <a:cubicBezTo>
                  <a:pt x="1388" y="734"/>
                  <a:pt x="1392" y="732"/>
                  <a:pt x="1396" y="731"/>
                </a:cubicBezTo>
                <a:cubicBezTo>
                  <a:pt x="1400" y="730"/>
                  <a:pt x="1404" y="728"/>
                  <a:pt x="1409" y="727"/>
                </a:cubicBezTo>
                <a:cubicBezTo>
                  <a:pt x="1404" y="728"/>
                  <a:pt x="1400" y="730"/>
                  <a:pt x="1396" y="731"/>
                </a:cubicBezTo>
                <a:cubicBezTo>
                  <a:pt x="1397" y="732"/>
                  <a:pt x="1399" y="732"/>
                  <a:pt x="1400" y="733"/>
                </a:cubicBezTo>
                <a:close/>
                <a:moveTo>
                  <a:pt x="1392" y="715"/>
                </a:moveTo>
                <a:cubicBezTo>
                  <a:pt x="1389" y="715"/>
                  <a:pt x="1386" y="715"/>
                  <a:pt x="1383" y="715"/>
                </a:cubicBezTo>
                <a:cubicBezTo>
                  <a:pt x="1385" y="715"/>
                  <a:pt x="1387" y="714"/>
                  <a:pt x="1389" y="714"/>
                </a:cubicBezTo>
                <a:cubicBezTo>
                  <a:pt x="1391" y="714"/>
                  <a:pt x="1391" y="715"/>
                  <a:pt x="1392" y="715"/>
                </a:cubicBezTo>
                <a:cubicBezTo>
                  <a:pt x="1392" y="715"/>
                  <a:pt x="1393" y="715"/>
                  <a:pt x="1394" y="715"/>
                </a:cubicBezTo>
                <a:cubicBezTo>
                  <a:pt x="1392" y="716"/>
                  <a:pt x="1392" y="716"/>
                  <a:pt x="1392" y="715"/>
                </a:cubicBezTo>
                <a:close/>
                <a:moveTo>
                  <a:pt x="1398" y="739"/>
                </a:moveTo>
                <a:cubicBezTo>
                  <a:pt x="1392" y="741"/>
                  <a:pt x="1386" y="742"/>
                  <a:pt x="1380" y="743"/>
                </a:cubicBezTo>
                <a:cubicBezTo>
                  <a:pt x="1386" y="742"/>
                  <a:pt x="1392" y="741"/>
                  <a:pt x="1398" y="739"/>
                </a:cubicBezTo>
                <a:close/>
                <a:moveTo>
                  <a:pt x="1383" y="756"/>
                </a:moveTo>
                <a:cubicBezTo>
                  <a:pt x="1373" y="758"/>
                  <a:pt x="1357" y="760"/>
                  <a:pt x="1352" y="765"/>
                </a:cubicBezTo>
                <a:cubicBezTo>
                  <a:pt x="1357" y="760"/>
                  <a:pt x="1373" y="758"/>
                  <a:pt x="1383" y="756"/>
                </a:cubicBezTo>
                <a:close/>
                <a:moveTo>
                  <a:pt x="1392" y="761"/>
                </a:moveTo>
                <a:cubicBezTo>
                  <a:pt x="1404" y="759"/>
                  <a:pt x="1423" y="760"/>
                  <a:pt x="1434" y="752"/>
                </a:cubicBezTo>
                <a:cubicBezTo>
                  <a:pt x="1438" y="753"/>
                  <a:pt x="1443" y="754"/>
                  <a:pt x="1448" y="755"/>
                </a:cubicBezTo>
                <a:cubicBezTo>
                  <a:pt x="1431" y="763"/>
                  <a:pt x="1389" y="778"/>
                  <a:pt x="1371" y="772"/>
                </a:cubicBezTo>
                <a:cubicBezTo>
                  <a:pt x="1355" y="766"/>
                  <a:pt x="1385" y="763"/>
                  <a:pt x="1392" y="761"/>
                </a:cubicBezTo>
                <a:close/>
                <a:moveTo>
                  <a:pt x="1441" y="752"/>
                </a:moveTo>
                <a:cubicBezTo>
                  <a:pt x="1443" y="750"/>
                  <a:pt x="1444" y="751"/>
                  <a:pt x="1446" y="750"/>
                </a:cubicBezTo>
                <a:cubicBezTo>
                  <a:pt x="1444" y="751"/>
                  <a:pt x="1444" y="752"/>
                  <a:pt x="1441" y="752"/>
                </a:cubicBezTo>
                <a:close/>
                <a:moveTo>
                  <a:pt x="1447" y="739"/>
                </a:moveTo>
                <a:cubicBezTo>
                  <a:pt x="1442" y="740"/>
                  <a:pt x="1437" y="739"/>
                  <a:pt x="1432" y="738"/>
                </a:cubicBezTo>
                <a:cubicBezTo>
                  <a:pt x="1438" y="738"/>
                  <a:pt x="1445" y="737"/>
                  <a:pt x="1451" y="736"/>
                </a:cubicBezTo>
                <a:cubicBezTo>
                  <a:pt x="1450" y="737"/>
                  <a:pt x="1448" y="739"/>
                  <a:pt x="1447" y="739"/>
                </a:cubicBezTo>
                <a:close/>
                <a:moveTo>
                  <a:pt x="1483" y="815"/>
                </a:moveTo>
                <a:cubicBezTo>
                  <a:pt x="1475" y="824"/>
                  <a:pt x="1436" y="826"/>
                  <a:pt x="1438" y="839"/>
                </a:cubicBezTo>
                <a:cubicBezTo>
                  <a:pt x="1432" y="840"/>
                  <a:pt x="1431" y="842"/>
                  <a:pt x="1426" y="837"/>
                </a:cubicBezTo>
                <a:cubicBezTo>
                  <a:pt x="1426" y="838"/>
                  <a:pt x="1425" y="840"/>
                  <a:pt x="1424" y="841"/>
                </a:cubicBezTo>
                <a:cubicBezTo>
                  <a:pt x="1419" y="839"/>
                  <a:pt x="1419" y="841"/>
                  <a:pt x="1413" y="842"/>
                </a:cubicBezTo>
                <a:cubicBezTo>
                  <a:pt x="1402" y="844"/>
                  <a:pt x="1395" y="840"/>
                  <a:pt x="1385" y="838"/>
                </a:cubicBezTo>
                <a:cubicBezTo>
                  <a:pt x="1369" y="835"/>
                  <a:pt x="1354" y="835"/>
                  <a:pt x="1338" y="835"/>
                </a:cubicBezTo>
                <a:cubicBezTo>
                  <a:pt x="1327" y="835"/>
                  <a:pt x="1315" y="830"/>
                  <a:pt x="1304" y="830"/>
                </a:cubicBezTo>
                <a:cubicBezTo>
                  <a:pt x="1293" y="831"/>
                  <a:pt x="1283" y="841"/>
                  <a:pt x="1273" y="831"/>
                </a:cubicBezTo>
                <a:cubicBezTo>
                  <a:pt x="1250" y="811"/>
                  <a:pt x="1326" y="808"/>
                  <a:pt x="1337" y="807"/>
                </a:cubicBezTo>
                <a:cubicBezTo>
                  <a:pt x="1376" y="803"/>
                  <a:pt x="1412" y="786"/>
                  <a:pt x="1451" y="782"/>
                </a:cubicBezTo>
                <a:cubicBezTo>
                  <a:pt x="1468" y="780"/>
                  <a:pt x="1475" y="780"/>
                  <a:pt x="1484" y="791"/>
                </a:cubicBezTo>
                <a:cubicBezTo>
                  <a:pt x="1491" y="800"/>
                  <a:pt x="1500" y="815"/>
                  <a:pt x="1483" y="815"/>
                </a:cubicBezTo>
                <a:close/>
                <a:moveTo>
                  <a:pt x="1505" y="834"/>
                </a:moveTo>
                <a:cubicBezTo>
                  <a:pt x="1499" y="836"/>
                  <a:pt x="1494" y="835"/>
                  <a:pt x="1490" y="832"/>
                </a:cubicBezTo>
                <a:cubicBezTo>
                  <a:pt x="1498" y="830"/>
                  <a:pt x="1506" y="825"/>
                  <a:pt x="1511" y="820"/>
                </a:cubicBezTo>
                <a:cubicBezTo>
                  <a:pt x="1509" y="825"/>
                  <a:pt x="1507" y="829"/>
                  <a:pt x="1505" y="834"/>
                </a:cubicBezTo>
                <a:close/>
                <a:moveTo>
                  <a:pt x="1524" y="835"/>
                </a:moveTo>
                <a:cubicBezTo>
                  <a:pt x="1524" y="833"/>
                  <a:pt x="1521" y="834"/>
                  <a:pt x="1524" y="830"/>
                </a:cubicBezTo>
                <a:cubicBezTo>
                  <a:pt x="1524" y="832"/>
                  <a:pt x="1524" y="833"/>
                  <a:pt x="1524" y="835"/>
                </a:cubicBezTo>
                <a:close/>
                <a:moveTo>
                  <a:pt x="1524" y="707"/>
                </a:moveTo>
                <a:cubicBezTo>
                  <a:pt x="1512" y="711"/>
                  <a:pt x="1488" y="710"/>
                  <a:pt x="1479" y="718"/>
                </a:cubicBezTo>
                <a:cubicBezTo>
                  <a:pt x="1494" y="721"/>
                  <a:pt x="1479" y="727"/>
                  <a:pt x="1472" y="728"/>
                </a:cubicBezTo>
                <a:cubicBezTo>
                  <a:pt x="1474" y="726"/>
                  <a:pt x="1474" y="723"/>
                  <a:pt x="1476" y="720"/>
                </a:cubicBezTo>
                <a:cubicBezTo>
                  <a:pt x="1463" y="714"/>
                  <a:pt x="1452" y="725"/>
                  <a:pt x="1439" y="722"/>
                </a:cubicBezTo>
                <a:cubicBezTo>
                  <a:pt x="1472" y="715"/>
                  <a:pt x="1506" y="706"/>
                  <a:pt x="1540" y="700"/>
                </a:cubicBezTo>
                <a:cubicBezTo>
                  <a:pt x="1534" y="701"/>
                  <a:pt x="1527" y="703"/>
                  <a:pt x="1524" y="707"/>
                </a:cubicBezTo>
                <a:cubicBezTo>
                  <a:pt x="1528" y="707"/>
                  <a:pt x="1533" y="707"/>
                  <a:pt x="1538" y="707"/>
                </a:cubicBezTo>
                <a:cubicBezTo>
                  <a:pt x="1533" y="708"/>
                  <a:pt x="1528" y="707"/>
                  <a:pt x="1524" y="707"/>
                </a:cubicBezTo>
                <a:close/>
                <a:moveTo>
                  <a:pt x="1551" y="828"/>
                </a:moveTo>
                <a:cubicBezTo>
                  <a:pt x="1548" y="834"/>
                  <a:pt x="1541" y="833"/>
                  <a:pt x="1534" y="835"/>
                </a:cubicBezTo>
                <a:cubicBezTo>
                  <a:pt x="1538" y="820"/>
                  <a:pt x="1534" y="816"/>
                  <a:pt x="1552" y="820"/>
                </a:cubicBezTo>
                <a:cubicBezTo>
                  <a:pt x="1552" y="823"/>
                  <a:pt x="1552" y="825"/>
                  <a:pt x="1551" y="828"/>
                </a:cubicBezTo>
                <a:close/>
                <a:moveTo>
                  <a:pt x="1551" y="682"/>
                </a:moveTo>
                <a:cubicBezTo>
                  <a:pt x="1560" y="680"/>
                  <a:pt x="1568" y="677"/>
                  <a:pt x="1576" y="677"/>
                </a:cubicBezTo>
                <a:cubicBezTo>
                  <a:pt x="1569" y="681"/>
                  <a:pt x="1560" y="682"/>
                  <a:pt x="1551" y="682"/>
                </a:cubicBezTo>
                <a:close/>
                <a:moveTo>
                  <a:pt x="1581" y="750"/>
                </a:moveTo>
                <a:cubicBezTo>
                  <a:pt x="1573" y="737"/>
                  <a:pt x="1592" y="740"/>
                  <a:pt x="1596" y="733"/>
                </a:cubicBezTo>
                <a:cubicBezTo>
                  <a:pt x="1596" y="733"/>
                  <a:pt x="1595" y="733"/>
                  <a:pt x="1594" y="733"/>
                </a:cubicBezTo>
                <a:cubicBezTo>
                  <a:pt x="1602" y="728"/>
                  <a:pt x="1607" y="739"/>
                  <a:pt x="1609" y="747"/>
                </a:cubicBezTo>
                <a:cubicBezTo>
                  <a:pt x="1600" y="747"/>
                  <a:pt x="1590" y="746"/>
                  <a:pt x="1581" y="750"/>
                </a:cubicBezTo>
                <a:close/>
                <a:moveTo>
                  <a:pt x="1961" y="730"/>
                </a:moveTo>
                <a:cubicBezTo>
                  <a:pt x="1946" y="763"/>
                  <a:pt x="1779" y="711"/>
                  <a:pt x="1789" y="755"/>
                </a:cubicBezTo>
                <a:cubicBezTo>
                  <a:pt x="1791" y="766"/>
                  <a:pt x="1821" y="770"/>
                  <a:pt x="1825" y="781"/>
                </a:cubicBezTo>
                <a:cubicBezTo>
                  <a:pt x="1831" y="796"/>
                  <a:pt x="1812" y="805"/>
                  <a:pt x="1801" y="809"/>
                </a:cubicBezTo>
                <a:cubicBezTo>
                  <a:pt x="1788" y="814"/>
                  <a:pt x="1772" y="815"/>
                  <a:pt x="1762" y="804"/>
                </a:cubicBezTo>
                <a:cubicBezTo>
                  <a:pt x="1754" y="795"/>
                  <a:pt x="1758" y="781"/>
                  <a:pt x="1750" y="773"/>
                </a:cubicBezTo>
                <a:cubicBezTo>
                  <a:pt x="1740" y="763"/>
                  <a:pt x="1712" y="759"/>
                  <a:pt x="1698" y="757"/>
                </a:cubicBezTo>
                <a:cubicBezTo>
                  <a:pt x="1678" y="754"/>
                  <a:pt x="1655" y="754"/>
                  <a:pt x="1637" y="744"/>
                </a:cubicBezTo>
                <a:cubicBezTo>
                  <a:pt x="1639" y="743"/>
                  <a:pt x="1640" y="741"/>
                  <a:pt x="1641" y="739"/>
                </a:cubicBezTo>
                <a:cubicBezTo>
                  <a:pt x="1631" y="736"/>
                  <a:pt x="1613" y="732"/>
                  <a:pt x="1621" y="722"/>
                </a:cubicBezTo>
                <a:cubicBezTo>
                  <a:pt x="1626" y="717"/>
                  <a:pt x="1657" y="711"/>
                  <a:pt x="1665" y="709"/>
                </a:cubicBezTo>
                <a:cubicBezTo>
                  <a:pt x="1663" y="708"/>
                  <a:pt x="1661" y="706"/>
                  <a:pt x="1659" y="705"/>
                </a:cubicBezTo>
                <a:cubicBezTo>
                  <a:pt x="1682" y="702"/>
                  <a:pt x="1704" y="696"/>
                  <a:pt x="1726" y="694"/>
                </a:cubicBezTo>
                <a:cubicBezTo>
                  <a:pt x="1740" y="693"/>
                  <a:pt x="1754" y="690"/>
                  <a:pt x="1768" y="689"/>
                </a:cubicBezTo>
                <a:cubicBezTo>
                  <a:pt x="1785" y="688"/>
                  <a:pt x="1800" y="693"/>
                  <a:pt x="1817" y="693"/>
                </a:cubicBezTo>
                <a:cubicBezTo>
                  <a:pt x="1828" y="693"/>
                  <a:pt x="1842" y="688"/>
                  <a:pt x="1854" y="689"/>
                </a:cubicBezTo>
                <a:cubicBezTo>
                  <a:pt x="1858" y="690"/>
                  <a:pt x="1867" y="696"/>
                  <a:pt x="1871" y="697"/>
                </a:cubicBezTo>
                <a:cubicBezTo>
                  <a:pt x="1895" y="702"/>
                  <a:pt x="1927" y="693"/>
                  <a:pt x="1951" y="700"/>
                </a:cubicBezTo>
                <a:cubicBezTo>
                  <a:pt x="1946" y="702"/>
                  <a:pt x="1942" y="706"/>
                  <a:pt x="1939" y="709"/>
                </a:cubicBezTo>
                <a:cubicBezTo>
                  <a:pt x="1942" y="709"/>
                  <a:pt x="1947" y="710"/>
                  <a:pt x="1951" y="710"/>
                </a:cubicBezTo>
                <a:cubicBezTo>
                  <a:pt x="1923" y="713"/>
                  <a:pt x="1958" y="718"/>
                  <a:pt x="1961" y="730"/>
                </a:cubicBezTo>
                <a:close/>
                <a:moveTo>
                  <a:pt x="1924" y="657"/>
                </a:moveTo>
                <a:cubicBezTo>
                  <a:pt x="1935" y="649"/>
                  <a:pt x="1951" y="652"/>
                  <a:pt x="1963" y="647"/>
                </a:cubicBezTo>
                <a:cubicBezTo>
                  <a:pt x="1956" y="645"/>
                  <a:pt x="1949" y="646"/>
                  <a:pt x="1941" y="646"/>
                </a:cubicBezTo>
                <a:cubicBezTo>
                  <a:pt x="1957" y="642"/>
                  <a:pt x="1971" y="644"/>
                  <a:pt x="1987" y="644"/>
                </a:cubicBezTo>
                <a:cubicBezTo>
                  <a:pt x="1997" y="645"/>
                  <a:pt x="2009" y="641"/>
                  <a:pt x="2019" y="643"/>
                </a:cubicBezTo>
                <a:cubicBezTo>
                  <a:pt x="2003" y="649"/>
                  <a:pt x="1987" y="650"/>
                  <a:pt x="1972" y="653"/>
                </a:cubicBezTo>
                <a:cubicBezTo>
                  <a:pt x="1956" y="657"/>
                  <a:pt x="1940" y="655"/>
                  <a:pt x="1924" y="657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82EA106-800B-2943-A60E-1FA7F074FE2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FCA6BA21-48D5-9F42-9705-75F2F3530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405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38ADC21F-E5E4-014A-9A1B-A0692DCD9622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21195" y="2203971"/>
            <a:ext cx="24363003" cy="11469886"/>
          </a:xfrm>
          <a:custGeom>
            <a:avLst/>
            <a:gdLst>
              <a:gd name="T0" fmla="*/ 13759 w 16578"/>
              <a:gd name="T1" fmla="*/ 1090 h 6380"/>
              <a:gd name="T2" fmla="*/ 12414 w 16578"/>
              <a:gd name="T3" fmla="*/ 1035 h 6380"/>
              <a:gd name="T4" fmla="*/ 11984 w 16578"/>
              <a:gd name="T5" fmla="*/ 2332 h 6380"/>
              <a:gd name="T6" fmla="*/ 7714 w 16578"/>
              <a:gd name="T7" fmla="*/ 2384 h 6380"/>
              <a:gd name="T8" fmla="*/ 392 w 16578"/>
              <a:gd name="T9" fmla="*/ 4064 h 6380"/>
              <a:gd name="T10" fmla="*/ 5142 w 16578"/>
              <a:gd name="T11" fmla="*/ 6354 h 6380"/>
              <a:gd name="T12" fmla="*/ 16488 w 16578"/>
              <a:gd name="T13" fmla="*/ 4734 h 6380"/>
              <a:gd name="T14" fmla="*/ 404 w 16578"/>
              <a:gd name="T15" fmla="*/ 4037 h 6380"/>
              <a:gd name="T16" fmla="*/ 1484 w 16578"/>
              <a:gd name="T17" fmla="*/ 3249 h 6380"/>
              <a:gd name="T18" fmla="*/ 16172 w 16578"/>
              <a:gd name="T19" fmla="*/ 3556 h 6380"/>
              <a:gd name="T20" fmla="*/ 15296 w 16578"/>
              <a:gd name="T21" fmla="*/ 5198 h 6380"/>
              <a:gd name="T22" fmla="*/ 15610 w 16578"/>
              <a:gd name="T23" fmla="*/ 2714 h 6380"/>
              <a:gd name="T24" fmla="*/ 15792 w 16578"/>
              <a:gd name="T25" fmla="*/ 3439 h 6380"/>
              <a:gd name="T26" fmla="*/ 15346 w 16578"/>
              <a:gd name="T27" fmla="*/ 2475 h 6380"/>
              <a:gd name="T28" fmla="*/ 14574 w 16578"/>
              <a:gd name="T29" fmla="*/ 2485 h 6380"/>
              <a:gd name="T30" fmla="*/ 14296 w 16578"/>
              <a:gd name="T31" fmla="*/ 1323 h 6380"/>
              <a:gd name="T32" fmla="*/ 15315 w 16578"/>
              <a:gd name="T33" fmla="*/ 3762 h 6380"/>
              <a:gd name="T34" fmla="*/ 14045 w 16578"/>
              <a:gd name="T35" fmla="*/ 3917 h 6380"/>
              <a:gd name="T36" fmla="*/ 13268 w 16578"/>
              <a:gd name="T37" fmla="*/ 187 h 6380"/>
              <a:gd name="T38" fmla="*/ 13143 w 16578"/>
              <a:gd name="T39" fmla="*/ 2741 h 6380"/>
              <a:gd name="T40" fmla="*/ 12554 w 16578"/>
              <a:gd name="T41" fmla="*/ 2751 h 6380"/>
              <a:gd name="T42" fmla="*/ 12094 w 16578"/>
              <a:gd name="T43" fmla="*/ 2829 h 6380"/>
              <a:gd name="T44" fmla="*/ 9118 w 16578"/>
              <a:gd name="T45" fmla="*/ 2673 h 6380"/>
              <a:gd name="T46" fmla="*/ 11453 w 16578"/>
              <a:gd name="T47" fmla="*/ 3496 h 6380"/>
              <a:gd name="T48" fmla="*/ 11359 w 16578"/>
              <a:gd name="T49" fmla="*/ 4302 h 6380"/>
              <a:gd name="T50" fmla="*/ 9920 w 16578"/>
              <a:gd name="T51" fmla="*/ 5316 h 6380"/>
              <a:gd name="T52" fmla="*/ 7871 w 16578"/>
              <a:gd name="T53" fmla="*/ 5852 h 6380"/>
              <a:gd name="T54" fmla="*/ 7662 w 16578"/>
              <a:gd name="T55" fmla="*/ 4596 h 6380"/>
              <a:gd name="T56" fmla="*/ 9200 w 16578"/>
              <a:gd name="T57" fmla="*/ 3661 h 6380"/>
              <a:gd name="T58" fmla="*/ 9341 w 16578"/>
              <a:gd name="T59" fmla="*/ 3799 h 6380"/>
              <a:gd name="T60" fmla="*/ 8188 w 16578"/>
              <a:gd name="T61" fmla="*/ 4748 h 6380"/>
              <a:gd name="T62" fmla="*/ 7407 w 16578"/>
              <a:gd name="T63" fmla="*/ 4614 h 6380"/>
              <a:gd name="T64" fmla="*/ 10733 w 16578"/>
              <a:gd name="T65" fmla="*/ 3910 h 6380"/>
              <a:gd name="T66" fmla="*/ 8192 w 16578"/>
              <a:gd name="T67" fmla="*/ 3704 h 6380"/>
              <a:gd name="T68" fmla="*/ 6933 w 16578"/>
              <a:gd name="T69" fmla="*/ 4432 h 6380"/>
              <a:gd name="T70" fmla="*/ 6366 w 16578"/>
              <a:gd name="T71" fmla="*/ 4750 h 6380"/>
              <a:gd name="T72" fmla="*/ 5013 w 16578"/>
              <a:gd name="T73" fmla="*/ 5085 h 6380"/>
              <a:gd name="T74" fmla="*/ 3915 w 16578"/>
              <a:gd name="T75" fmla="*/ 4356 h 6380"/>
              <a:gd name="T76" fmla="*/ 5789 w 16578"/>
              <a:gd name="T77" fmla="*/ 4746 h 6380"/>
              <a:gd name="T78" fmla="*/ 5744 w 16578"/>
              <a:gd name="T79" fmla="*/ 4795 h 6380"/>
              <a:gd name="T80" fmla="*/ 6225 w 16578"/>
              <a:gd name="T81" fmla="*/ 4290 h 6380"/>
              <a:gd name="T82" fmla="*/ 5348 w 16578"/>
              <a:gd name="T83" fmla="*/ 4221 h 6380"/>
              <a:gd name="T84" fmla="*/ 4356 w 16578"/>
              <a:gd name="T85" fmla="*/ 4084 h 6380"/>
              <a:gd name="T86" fmla="*/ 3011 w 16578"/>
              <a:gd name="T87" fmla="*/ 4801 h 6380"/>
              <a:gd name="T88" fmla="*/ 2196 w 16578"/>
              <a:gd name="T89" fmla="*/ 4744 h 6380"/>
              <a:gd name="T90" fmla="*/ 2268 w 16578"/>
              <a:gd name="T91" fmla="*/ 4525 h 6380"/>
              <a:gd name="T92" fmla="*/ 2666 w 16578"/>
              <a:gd name="T93" fmla="*/ 4306 h 6380"/>
              <a:gd name="T94" fmla="*/ 1764 w 16578"/>
              <a:gd name="T95" fmla="*/ 4457 h 6380"/>
              <a:gd name="T96" fmla="*/ 1589 w 16578"/>
              <a:gd name="T97" fmla="*/ 4206 h 6380"/>
              <a:gd name="T98" fmla="*/ 728 w 16578"/>
              <a:gd name="T99" fmla="*/ 4893 h 6380"/>
              <a:gd name="T100" fmla="*/ 438 w 16578"/>
              <a:gd name="T101" fmla="*/ 5761 h 6380"/>
              <a:gd name="T102" fmla="*/ 1794 w 16578"/>
              <a:gd name="T103" fmla="*/ 4436 h 6380"/>
              <a:gd name="T104" fmla="*/ 2736 w 16578"/>
              <a:gd name="T105" fmla="*/ 5354 h 6380"/>
              <a:gd name="T106" fmla="*/ 3907 w 16578"/>
              <a:gd name="T107" fmla="*/ 5109 h 6380"/>
              <a:gd name="T108" fmla="*/ 5263 w 16578"/>
              <a:gd name="T109" fmla="*/ 6255 h 6380"/>
              <a:gd name="T110" fmla="*/ 6608 w 16578"/>
              <a:gd name="T111" fmla="*/ 4900 h 6380"/>
              <a:gd name="T112" fmla="*/ 7491 w 16578"/>
              <a:gd name="T113" fmla="*/ 6197 h 6380"/>
              <a:gd name="T114" fmla="*/ 9505 w 16578"/>
              <a:gd name="T115" fmla="*/ 5767 h 6380"/>
              <a:gd name="T116" fmla="*/ 10512 w 16578"/>
              <a:gd name="T117" fmla="*/ 5600 h 6380"/>
              <a:gd name="T118" fmla="*/ 13553 w 16578"/>
              <a:gd name="T119" fmla="*/ 5698 h 6380"/>
              <a:gd name="T120" fmla="*/ 14409 w 16578"/>
              <a:gd name="T121" fmla="*/ 5266 h 6380"/>
              <a:gd name="T122" fmla="*/ 15104 w 16578"/>
              <a:gd name="T123" fmla="*/ 4571 h 6380"/>
              <a:gd name="T124" fmla="*/ 15853 w 16578"/>
              <a:gd name="T125" fmla="*/ 4889 h 6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578" h="6380">
                <a:moveTo>
                  <a:pt x="16496" y="2241"/>
                </a:moveTo>
                <a:cubicBezTo>
                  <a:pt x="16453" y="2248"/>
                  <a:pt x="16470" y="2261"/>
                  <a:pt x="16459" y="2291"/>
                </a:cubicBezTo>
                <a:cubicBezTo>
                  <a:pt x="16451" y="2317"/>
                  <a:pt x="16444" y="2322"/>
                  <a:pt x="16430" y="2342"/>
                </a:cubicBezTo>
                <a:cubicBezTo>
                  <a:pt x="16414" y="2365"/>
                  <a:pt x="16408" y="2353"/>
                  <a:pt x="16403" y="2389"/>
                </a:cubicBezTo>
                <a:cubicBezTo>
                  <a:pt x="16400" y="2415"/>
                  <a:pt x="16422" y="2437"/>
                  <a:pt x="16425" y="2461"/>
                </a:cubicBezTo>
                <a:cubicBezTo>
                  <a:pt x="16432" y="2522"/>
                  <a:pt x="16404" y="2589"/>
                  <a:pt x="16391" y="2648"/>
                </a:cubicBezTo>
                <a:cubicBezTo>
                  <a:pt x="16387" y="2604"/>
                  <a:pt x="16389" y="2553"/>
                  <a:pt x="16390" y="2510"/>
                </a:cubicBezTo>
                <a:cubicBezTo>
                  <a:pt x="16390" y="2487"/>
                  <a:pt x="16409" y="2455"/>
                  <a:pt x="16379" y="2443"/>
                </a:cubicBezTo>
                <a:cubicBezTo>
                  <a:pt x="16363" y="2436"/>
                  <a:pt x="16330" y="2470"/>
                  <a:pt x="16305" y="2450"/>
                </a:cubicBezTo>
                <a:cubicBezTo>
                  <a:pt x="16278" y="2427"/>
                  <a:pt x="16304" y="2394"/>
                  <a:pt x="16289" y="2369"/>
                </a:cubicBezTo>
                <a:cubicBezTo>
                  <a:pt x="16277" y="2349"/>
                  <a:pt x="16251" y="2354"/>
                  <a:pt x="16238" y="2330"/>
                </a:cubicBezTo>
                <a:cubicBezTo>
                  <a:pt x="16227" y="2312"/>
                  <a:pt x="16251" y="2292"/>
                  <a:pt x="16226" y="2274"/>
                </a:cubicBezTo>
                <a:cubicBezTo>
                  <a:pt x="16169" y="2234"/>
                  <a:pt x="16126" y="2328"/>
                  <a:pt x="16084" y="2325"/>
                </a:cubicBezTo>
                <a:cubicBezTo>
                  <a:pt x="16118" y="2375"/>
                  <a:pt x="16094" y="2421"/>
                  <a:pt x="16036" y="2387"/>
                </a:cubicBezTo>
                <a:cubicBezTo>
                  <a:pt x="15980" y="2354"/>
                  <a:pt x="15928" y="2292"/>
                  <a:pt x="15880" y="2249"/>
                </a:cubicBezTo>
                <a:cubicBezTo>
                  <a:pt x="15782" y="2162"/>
                  <a:pt x="15685" y="2073"/>
                  <a:pt x="15590" y="1983"/>
                </a:cubicBezTo>
                <a:cubicBezTo>
                  <a:pt x="15380" y="1782"/>
                  <a:pt x="15182" y="1570"/>
                  <a:pt x="14980" y="1361"/>
                </a:cubicBezTo>
                <a:cubicBezTo>
                  <a:pt x="14787" y="1161"/>
                  <a:pt x="14605" y="939"/>
                  <a:pt x="14430" y="724"/>
                </a:cubicBezTo>
                <a:cubicBezTo>
                  <a:pt x="14346" y="621"/>
                  <a:pt x="14270" y="509"/>
                  <a:pt x="14192" y="402"/>
                </a:cubicBezTo>
                <a:cubicBezTo>
                  <a:pt x="14153" y="349"/>
                  <a:pt x="14114" y="295"/>
                  <a:pt x="14074" y="242"/>
                </a:cubicBezTo>
                <a:cubicBezTo>
                  <a:pt x="14053" y="214"/>
                  <a:pt x="13973" y="82"/>
                  <a:pt x="13948" y="100"/>
                </a:cubicBezTo>
                <a:cubicBezTo>
                  <a:pt x="13994" y="144"/>
                  <a:pt x="14026" y="215"/>
                  <a:pt x="14064" y="266"/>
                </a:cubicBezTo>
                <a:cubicBezTo>
                  <a:pt x="14106" y="322"/>
                  <a:pt x="14143" y="379"/>
                  <a:pt x="14183" y="436"/>
                </a:cubicBezTo>
                <a:cubicBezTo>
                  <a:pt x="14213" y="478"/>
                  <a:pt x="14256" y="511"/>
                  <a:pt x="14285" y="554"/>
                </a:cubicBezTo>
                <a:cubicBezTo>
                  <a:pt x="14301" y="576"/>
                  <a:pt x="14304" y="613"/>
                  <a:pt x="14317" y="632"/>
                </a:cubicBezTo>
                <a:cubicBezTo>
                  <a:pt x="14322" y="639"/>
                  <a:pt x="14341" y="637"/>
                  <a:pt x="14349" y="647"/>
                </a:cubicBezTo>
                <a:cubicBezTo>
                  <a:pt x="14368" y="671"/>
                  <a:pt x="14413" y="712"/>
                  <a:pt x="14421" y="739"/>
                </a:cubicBezTo>
                <a:cubicBezTo>
                  <a:pt x="14422" y="742"/>
                  <a:pt x="14413" y="790"/>
                  <a:pt x="14412" y="801"/>
                </a:cubicBezTo>
                <a:cubicBezTo>
                  <a:pt x="14408" y="840"/>
                  <a:pt x="14411" y="881"/>
                  <a:pt x="14411" y="921"/>
                </a:cubicBezTo>
                <a:cubicBezTo>
                  <a:pt x="14410" y="1080"/>
                  <a:pt x="14409" y="1239"/>
                  <a:pt x="14408" y="1398"/>
                </a:cubicBezTo>
                <a:cubicBezTo>
                  <a:pt x="14344" y="1361"/>
                  <a:pt x="14304" y="1288"/>
                  <a:pt x="14260" y="1239"/>
                </a:cubicBezTo>
                <a:cubicBezTo>
                  <a:pt x="14210" y="1185"/>
                  <a:pt x="14165" y="1132"/>
                  <a:pt x="14119" y="1076"/>
                </a:cubicBezTo>
                <a:cubicBezTo>
                  <a:pt x="14101" y="1054"/>
                  <a:pt x="14094" y="1025"/>
                  <a:pt x="14078" y="1004"/>
                </a:cubicBezTo>
                <a:cubicBezTo>
                  <a:pt x="14056" y="976"/>
                  <a:pt x="14022" y="956"/>
                  <a:pt x="13999" y="925"/>
                </a:cubicBezTo>
                <a:cubicBezTo>
                  <a:pt x="13983" y="903"/>
                  <a:pt x="13969" y="872"/>
                  <a:pt x="13947" y="855"/>
                </a:cubicBezTo>
                <a:cubicBezTo>
                  <a:pt x="13950" y="858"/>
                  <a:pt x="13899" y="805"/>
                  <a:pt x="13912" y="845"/>
                </a:cubicBezTo>
                <a:cubicBezTo>
                  <a:pt x="13912" y="964"/>
                  <a:pt x="13881" y="1986"/>
                  <a:pt x="13930" y="1990"/>
                </a:cubicBezTo>
                <a:cubicBezTo>
                  <a:pt x="13928" y="1781"/>
                  <a:pt x="13922" y="1572"/>
                  <a:pt x="13923" y="1362"/>
                </a:cubicBezTo>
                <a:cubicBezTo>
                  <a:pt x="13923" y="1197"/>
                  <a:pt x="13942" y="1019"/>
                  <a:pt x="13915" y="855"/>
                </a:cubicBezTo>
                <a:cubicBezTo>
                  <a:pt x="13924" y="886"/>
                  <a:pt x="13957" y="895"/>
                  <a:pt x="13969" y="922"/>
                </a:cubicBezTo>
                <a:cubicBezTo>
                  <a:pt x="13981" y="948"/>
                  <a:pt x="13971" y="991"/>
                  <a:pt x="13970" y="1023"/>
                </a:cubicBezTo>
                <a:cubicBezTo>
                  <a:pt x="13967" y="1137"/>
                  <a:pt x="13968" y="1252"/>
                  <a:pt x="13968" y="1367"/>
                </a:cubicBezTo>
                <a:cubicBezTo>
                  <a:pt x="13967" y="1484"/>
                  <a:pt x="13966" y="1601"/>
                  <a:pt x="13965" y="1718"/>
                </a:cubicBezTo>
                <a:cubicBezTo>
                  <a:pt x="13964" y="1802"/>
                  <a:pt x="13927" y="1993"/>
                  <a:pt x="13980" y="2063"/>
                </a:cubicBezTo>
                <a:cubicBezTo>
                  <a:pt x="13980" y="1687"/>
                  <a:pt x="13980" y="1311"/>
                  <a:pt x="13980" y="934"/>
                </a:cubicBezTo>
                <a:cubicBezTo>
                  <a:pt x="14050" y="1011"/>
                  <a:pt x="14041" y="1075"/>
                  <a:pt x="14040" y="1175"/>
                </a:cubicBezTo>
                <a:cubicBezTo>
                  <a:pt x="14039" y="1288"/>
                  <a:pt x="14037" y="1402"/>
                  <a:pt x="14035" y="1515"/>
                </a:cubicBezTo>
                <a:cubicBezTo>
                  <a:pt x="14032" y="1734"/>
                  <a:pt x="14022" y="1951"/>
                  <a:pt x="14022" y="2168"/>
                </a:cubicBezTo>
                <a:cubicBezTo>
                  <a:pt x="14022" y="2202"/>
                  <a:pt x="14024" y="2287"/>
                  <a:pt x="14043" y="2216"/>
                </a:cubicBezTo>
                <a:cubicBezTo>
                  <a:pt x="14056" y="2169"/>
                  <a:pt x="14046" y="2106"/>
                  <a:pt x="14046" y="2057"/>
                </a:cubicBezTo>
                <a:cubicBezTo>
                  <a:pt x="14046" y="1935"/>
                  <a:pt x="14046" y="1814"/>
                  <a:pt x="14045" y="1692"/>
                </a:cubicBezTo>
                <a:cubicBezTo>
                  <a:pt x="14045" y="1475"/>
                  <a:pt x="14064" y="1248"/>
                  <a:pt x="14046" y="1032"/>
                </a:cubicBezTo>
                <a:cubicBezTo>
                  <a:pt x="14151" y="1061"/>
                  <a:pt x="14146" y="1199"/>
                  <a:pt x="14146" y="1279"/>
                </a:cubicBezTo>
                <a:cubicBezTo>
                  <a:pt x="14145" y="1418"/>
                  <a:pt x="14144" y="1558"/>
                  <a:pt x="14143" y="1697"/>
                </a:cubicBezTo>
                <a:cubicBezTo>
                  <a:pt x="14141" y="1965"/>
                  <a:pt x="14129" y="2233"/>
                  <a:pt x="14147" y="2500"/>
                </a:cubicBezTo>
                <a:cubicBezTo>
                  <a:pt x="14121" y="2500"/>
                  <a:pt x="14096" y="2501"/>
                  <a:pt x="14070" y="2502"/>
                </a:cubicBezTo>
                <a:cubicBezTo>
                  <a:pt x="14071" y="2442"/>
                  <a:pt x="14073" y="2381"/>
                  <a:pt x="14074" y="2321"/>
                </a:cubicBezTo>
                <a:cubicBezTo>
                  <a:pt x="14042" y="2321"/>
                  <a:pt x="14101" y="2501"/>
                  <a:pt x="14040" y="2503"/>
                </a:cubicBezTo>
                <a:cubicBezTo>
                  <a:pt x="14043" y="2456"/>
                  <a:pt x="14050" y="2396"/>
                  <a:pt x="14033" y="2350"/>
                </a:cubicBezTo>
                <a:cubicBezTo>
                  <a:pt x="14027" y="2351"/>
                  <a:pt x="14002" y="2377"/>
                  <a:pt x="13996" y="2374"/>
                </a:cubicBezTo>
                <a:cubicBezTo>
                  <a:pt x="13977" y="2361"/>
                  <a:pt x="13956" y="2340"/>
                  <a:pt x="13954" y="2315"/>
                </a:cubicBezTo>
                <a:cubicBezTo>
                  <a:pt x="13952" y="2286"/>
                  <a:pt x="13977" y="2257"/>
                  <a:pt x="13980" y="2228"/>
                </a:cubicBezTo>
                <a:cubicBezTo>
                  <a:pt x="13982" y="2199"/>
                  <a:pt x="13971" y="2169"/>
                  <a:pt x="13968" y="2140"/>
                </a:cubicBezTo>
                <a:cubicBezTo>
                  <a:pt x="13942" y="2228"/>
                  <a:pt x="13944" y="2326"/>
                  <a:pt x="13945" y="2417"/>
                </a:cubicBezTo>
                <a:cubicBezTo>
                  <a:pt x="13945" y="2444"/>
                  <a:pt x="13961" y="2512"/>
                  <a:pt x="13928" y="2510"/>
                </a:cubicBezTo>
                <a:cubicBezTo>
                  <a:pt x="13895" y="2508"/>
                  <a:pt x="13906" y="2464"/>
                  <a:pt x="13880" y="2465"/>
                </a:cubicBezTo>
                <a:cubicBezTo>
                  <a:pt x="13871" y="2482"/>
                  <a:pt x="13892" y="2507"/>
                  <a:pt x="13860" y="2509"/>
                </a:cubicBezTo>
                <a:cubicBezTo>
                  <a:pt x="13861" y="2483"/>
                  <a:pt x="13879" y="2425"/>
                  <a:pt x="13879" y="2409"/>
                </a:cubicBezTo>
                <a:cubicBezTo>
                  <a:pt x="13879" y="2391"/>
                  <a:pt x="13860" y="2353"/>
                  <a:pt x="13858" y="2330"/>
                </a:cubicBezTo>
                <a:cubicBezTo>
                  <a:pt x="13855" y="2298"/>
                  <a:pt x="13858" y="2265"/>
                  <a:pt x="13858" y="2232"/>
                </a:cubicBezTo>
                <a:cubicBezTo>
                  <a:pt x="13858" y="2100"/>
                  <a:pt x="13859" y="1967"/>
                  <a:pt x="13858" y="1834"/>
                </a:cubicBezTo>
                <a:cubicBezTo>
                  <a:pt x="13858" y="1734"/>
                  <a:pt x="13858" y="1634"/>
                  <a:pt x="13858" y="1534"/>
                </a:cubicBezTo>
                <a:cubicBezTo>
                  <a:pt x="13859" y="1392"/>
                  <a:pt x="13860" y="1249"/>
                  <a:pt x="13858" y="1106"/>
                </a:cubicBezTo>
                <a:cubicBezTo>
                  <a:pt x="13858" y="1040"/>
                  <a:pt x="13880" y="907"/>
                  <a:pt x="13847" y="845"/>
                </a:cubicBezTo>
                <a:cubicBezTo>
                  <a:pt x="13848" y="1399"/>
                  <a:pt x="13830" y="1955"/>
                  <a:pt x="13850" y="2505"/>
                </a:cubicBezTo>
                <a:cubicBezTo>
                  <a:pt x="13806" y="2484"/>
                  <a:pt x="13813" y="2498"/>
                  <a:pt x="13815" y="2443"/>
                </a:cubicBezTo>
                <a:cubicBezTo>
                  <a:pt x="13817" y="2389"/>
                  <a:pt x="13815" y="2335"/>
                  <a:pt x="13814" y="2282"/>
                </a:cubicBezTo>
                <a:cubicBezTo>
                  <a:pt x="13814" y="2228"/>
                  <a:pt x="13844" y="2026"/>
                  <a:pt x="13803" y="1990"/>
                </a:cubicBezTo>
                <a:cubicBezTo>
                  <a:pt x="13798" y="2085"/>
                  <a:pt x="13796" y="2179"/>
                  <a:pt x="13796" y="2274"/>
                </a:cubicBezTo>
                <a:cubicBezTo>
                  <a:pt x="13796" y="2321"/>
                  <a:pt x="13797" y="2367"/>
                  <a:pt x="13798" y="2414"/>
                </a:cubicBezTo>
                <a:cubicBezTo>
                  <a:pt x="13800" y="2472"/>
                  <a:pt x="13817" y="2493"/>
                  <a:pt x="13756" y="2502"/>
                </a:cubicBezTo>
                <a:cubicBezTo>
                  <a:pt x="13756" y="2031"/>
                  <a:pt x="13759" y="1561"/>
                  <a:pt x="13759" y="1090"/>
                </a:cubicBezTo>
                <a:cubicBezTo>
                  <a:pt x="13718" y="1098"/>
                  <a:pt x="13744" y="1701"/>
                  <a:pt x="13744" y="1777"/>
                </a:cubicBezTo>
                <a:cubicBezTo>
                  <a:pt x="13743" y="2019"/>
                  <a:pt x="13742" y="2261"/>
                  <a:pt x="13742" y="2504"/>
                </a:cubicBezTo>
                <a:cubicBezTo>
                  <a:pt x="13690" y="2508"/>
                  <a:pt x="13713" y="2324"/>
                  <a:pt x="13713" y="2284"/>
                </a:cubicBezTo>
                <a:cubicBezTo>
                  <a:pt x="13713" y="2174"/>
                  <a:pt x="13713" y="2065"/>
                  <a:pt x="13713" y="1955"/>
                </a:cubicBezTo>
                <a:cubicBezTo>
                  <a:pt x="13713" y="1898"/>
                  <a:pt x="13725" y="1363"/>
                  <a:pt x="13704" y="1362"/>
                </a:cubicBezTo>
                <a:cubicBezTo>
                  <a:pt x="13701" y="1700"/>
                  <a:pt x="13689" y="2040"/>
                  <a:pt x="13702" y="2378"/>
                </a:cubicBezTo>
                <a:cubicBezTo>
                  <a:pt x="13694" y="2367"/>
                  <a:pt x="13670" y="2380"/>
                  <a:pt x="13657" y="2357"/>
                </a:cubicBezTo>
                <a:cubicBezTo>
                  <a:pt x="13643" y="2334"/>
                  <a:pt x="13655" y="2284"/>
                  <a:pt x="13656" y="2257"/>
                </a:cubicBezTo>
                <a:cubicBezTo>
                  <a:pt x="13665" y="2111"/>
                  <a:pt x="13660" y="1962"/>
                  <a:pt x="13660" y="1816"/>
                </a:cubicBezTo>
                <a:cubicBezTo>
                  <a:pt x="13661" y="1529"/>
                  <a:pt x="13659" y="1242"/>
                  <a:pt x="13656" y="955"/>
                </a:cubicBezTo>
                <a:cubicBezTo>
                  <a:pt x="13628" y="1058"/>
                  <a:pt x="13650" y="1206"/>
                  <a:pt x="13650" y="1316"/>
                </a:cubicBezTo>
                <a:cubicBezTo>
                  <a:pt x="13650" y="1448"/>
                  <a:pt x="13651" y="1580"/>
                  <a:pt x="13649" y="1712"/>
                </a:cubicBezTo>
                <a:cubicBezTo>
                  <a:pt x="13645" y="1981"/>
                  <a:pt x="13627" y="2249"/>
                  <a:pt x="13648" y="2518"/>
                </a:cubicBezTo>
                <a:cubicBezTo>
                  <a:pt x="13636" y="2517"/>
                  <a:pt x="13612" y="2512"/>
                  <a:pt x="13598" y="2517"/>
                </a:cubicBezTo>
                <a:cubicBezTo>
                  <a:pt x="13598" y="2430"/>
                  <a:pt x="13598" y="2343"/>
                  <a:pt x="13598" y="2255"/>
                </a:cubicBezTo>
                <a:cubicBezTo>
                  <a:pt x="13598" y="2166"/>
                  <a:pt x="13620" y="2029"/>
                  <a:pt x="13583" y="1948"/>
                </a:cubicBezTo>
                <a:cubicBezTo>
                  <a:pt x="13574" y="2137"/>
                  <a:pt x="13597" y="2327"/>
                  <a:pt x="13576" y="2516"/>
                </a:cubicBezTo>
                <a:cubicBezTo>
                  <a:pt x="13534" y="2503"/>
                  <a:pt x="13542" y="2539"/>
                  <a:pt x="13524" y="2489"/>
                </a:cubicBezTo>
                <a:cubicBezTo>
                  <a:pt x="13510" y="2453"/>
                  <a:pt x="13554" y="2428"/>
                  <a:pt x="13553" y="2414"/>
                </a:cubicBezTo>
                <a:cubicBezTo>
                  <a:pt x="13544" y="2410"/>
                  <a:pt x="13535" y="2405"/>
                  <a:pt x="13528" y="2398"/>
                </a:cubicBezTo>
                <a:cubicBezTo>
                  <a:pt x="13525" y="2389"/>
                  <a:pt x="13525" y="2379"/>
                  <a:pt x="13527" y="2369"/>
                </a:cubicBezTo>
                <a:cubicBezTo>
                  <a:pt x="13517" y="2335"/>
                  <a:pt x="13528" y="2282"/>
                  <a:pt x="13528" y="2246"/>
                </a:cubicBezTo>
                <a:cubicBezTo>
                  <a:pt x="13529" y="2150"/>
                  <a:pt x="13530" y="2054"/>
                  <a:pt x="13531" y="1959"/>
                </a:cubicBezTo>
                <a:cubicBezTo>
                  <a:pt x="13532" y="1758"/>
                  <a:pt x="13530" y="1557"/>
                  <a:pt x="13534" y="1356"/>
                </a:cubicBezTo>
                <a:cubicBezTo>
                  <a:pt x="13538" y="1159"/>
                  <a:pt x="13543" y="962"/>
                  <a:pt x="13532" y="766"/>
                </a:cubicBezTo>
                <a:cubicBezTo>
                  <a:pt x="13527" y="676"/>
                  <a:pt x="13529" y="588"/>
                  <a:pt x="13529" y="498"/>
                </a:cubicBezTo>
                <a:cubicBezTo>
                  <a:pt x="13528" y="464"/>
                  <a:pt x="13491" y="326"/>
                  <a:pt x="13549" y="337"/>
                </a:cubicBezTo>
                <a:cubicBezTo>
                  <a:pt x="13563" y="418"/>
                  <a:pt x="13652" y="497"/>
                  <a:pt x="13697" y="565"/>
                </a:cubicBezTo>
                <a:cubicBezTo>
                  <a:pt x="13752" y="646"/>
                  <a:pt x="13814" y="719"/>
                  <a:pt x="13871" y="799"/>
                </a:cubicBezTo>
                <a:cubicBezTo>
                  <a:pt x="13899" y="734"/>
                  <a:pt x="13820" y="707"/>
                  <a:pt x="13792" y="655"/>
                </a:cubicBezTo>
                <a:cubicBezTo>
                  <a:pt x="13780" y="633"/>
                  <a:pt x="13777" y="618"/>
                  <a:pt x="13766" y="604"/>
                </a:cubicBezTo>
                <a:cubicBezTo>
                  <a:pt x="13755" y="589"/>
                  <a:pt x="13733" y="566"/>
                  <a:pt x="13719" y="550"/>
                </a:cubicBezTo>
                <a:cubicBezTo>
                  <a:pt x="13661" y="481"/>
                  <a:pt x="13606" y="407"/>
                  <a:pt x="13549" y="337"/>
                </a:cubicBezTo>
                <a:cubicBezTo>
                  <a:pt x="13510" y="287"/>
                  <a:pt x="13520" y="261"/>
                  <a:pt x="13525" y="194"/>
                </a:cubicBezTo>
                <a:cubicBezTo>
                  <a:pt x="13529" y="128"/>
                  <a:pt x="13529" y="85"/>
                  <a:pt x="13453" y="78"/>
                </a:cubicBezTo>
                <a:cubicBezTo>
                  <a:pt x="13407" y="73"/>
                  <a:pt x="13411" y="90"/>
                  <a:pt x="13379" y="97"/>
                </a:cubicBezTo>
                <a:cubicBezTo>
                  <a:pt x="13345" y="106"/>
                  <a:pt x="13320" y="104"/>
                  <a:pt x="13284" y="103"/>
                </a:cubicBezTo>
                <a:cubicBezTo>
                  <a:pt x="13121" y="101"/>
                  <a:pt x="12987" y="114"/>
                  <a:pt x="12861" y="0"/>
                </a:cubicBezTo>
                <a:cubicBezTo>
                  <a:pt x="12837" y="44"/>
                  <a:pt x="12888" y="77"/>
                  <a:pt x="12885" y="119"/>
                </a:cubicBezTo>
                <a:cubicBezTo>
                  <a:pt x="12884" y="132"/>
                  <a:pt x="12877" y="149"/>
                  <a:pt x="12872" y="160"/>
                </a:cubicBezTo>
                <a:cubicBezTo>
                  <a:pt x="12863" y="167"/>
                  <a:pt x="12854" y="175"/>
                  <a:pt x="12845" y="183"/>
                </a:cubicBezTo>
                <a:cubicBezTo>
                  <a:pt x="12839" y="201"/>
                  <a:pt x="12839" y="219"/>
                  <a:pt x="12844" y="238"/>
                </a:cubicBezTo>
                <a:cubicBezTo>
                  <a:pt x="12842" y="288"/>
                  <a:pt x="12851" y="357"/>
                  <a:pt x="12833" y="402"/>
                </a:cubicBezTo>
                <a:cubicBezTo>
                  <a:pt x="12816" y="445"/>
                  <a:pt x="12755" y="481"/>
                  <a:pt x="12756" y="534"/>
                </a:cubicBezTo>
                <a:cubicBezTo>
                  <a:pt x="12788" y="511"/>
                  <a:pt x="12799" y="490"/>
                  <a:pt x="12819" y="457"/>
                </a:cubicBezTo>
                <a:cubicBezTo>
                  <a:pt x="12819" y="867"/>
                  <a:pt x="12807" y="1278"/>
                  <a:pt x="12805" y="1688"/>
                </a:cubicBezTo>
                <a:cubicBezTo>
                  <a:pt x="12803" y="1889"/>
                  <a:pt x="12806" y="2092"/>
                  <a:pt x="12794" y="2292"/>
                </a:cubicBezTo>
                <a:cubicBezTo>
                  <a:pt x="12792" y="2339"/>
                  <a:pt x="12786" y="2386"/>
                  <a:pt x="12792" y="2433"/>
                </a:cubicBezTo>
                <a:cubicBezTo>
                  <a:pt x="12795" y="2458"/>
                  <a:pt x="12814" y="2499"/>
                  <a:pt x="12793" y="2523"/>
                </a:cubicBezTo>
                <a:cubicBezTo>
                  <a:pt x="12750" y="2570"/>
                  <a:pt x="12786" y="2478"/>
                  <a:pt x="12741" y="2480"/>
                </a:cubicBezTo>
                <a:cubicBezTo>
                  <a:pt x="12740" y="2506"/>
                  <a:pt x="12742" y="2552"/>
                  <a:pt x="12721" y="2574"/>
                </a:cubicBezTo>
                <a:cubicBezTo>
                  <a:pt x="12763" y="2530"/>
                  <a:pt x="12653" y="2563"/>
                  <a:pt x="12635" y="2557"/>
                </a:cubicBezTo>
                <a:cubicBezTo>
                  <a:pt x="12589" y="2542"/>
                  <a:pt x="12602" y="2544"/>
                  <a:pt x="12601" y="2492"/>
                </a:cubicBezTo>
                <a:cubicBezTo>
                  <a:pt x="12599" y="2402"/>
                  <a:pt x="12601" y="2311"/>
                  <a:pt x="12601" y="2221"/>
                </a:cubicBezTo>
                <a:cubicBezTo>
                  <a:pt x="12601" y="2024"/>
                  <a:pt x="12602" y="1826"/>
                  <a:pt x="12603" y="1629"/>
                </a:cubicBezTo>
                <a:cubicBezTo>
                  <a:pt x="12603" y="1437"/>
                  <a:pt x="12608" y="1246"/>
                  <a:pt x="12617" y="1055"/>
                </a:cubicBezTo>
                <a:cubicBezTo>
                  <a:pt x="12620" y="973"/>
                  <a:pt x="12621" y="890"/>
                  <a:pt x="12619" y="808"/>
                </a:cubicBezTo>
                <a:cubicBezTo>
                  <a:pt x="12619" y="767"/>
                  <a:pt x="12613" y="773"/>
                  <a:pt x="12633" y="730"/>
                </a:cubicBezTo>
                <a:cubicBezTo>
                  <a:pt x="12624" y="707"/>
                  <a:pt x="12628" y="697"/>
                  <a:pt x="12645" y="700"/>
                </a:cubicBezTo>
                <a:cubicBezTo>
                  <a:pt x="12660" y="686"/>
                  <a:pt x="12674" y="670"/>
                  <a:pt x="12687" y="654"/>
                </a:cubicBezTo>
                <a:cubicBezTo>
                  <a:pt x="12685" y="960"/>
                  <a:pt x="12687" y="1266"/>
                  <a:pt x="12676" y="1572"/>
                </a:cubicBezTo>
                <a:cubicBezTo>
                  <a:pt x="12664" y="1893"/>
                  <a:pt x="12679" y="2218"/>
                  <a:pt x="12679" y="2541"/>
                </a:cubicBezTo>
                <a:cubicBezTo>
                  <a:pt x="12712" y="2482"/>
                  <a:pt x="12690" y="2399"/>
                  <a:pt x="12691" y="2333"/>
                </a:cubicBezTo>
                <a:cubicBezTo>
                  <a:pt x="12693" y="2246"/>
                  <a:pt x="12691" y="2160"/>
                  <a:pt x="12692" y="2074"/>
                </a:cubicBezTo>
                <a:cubicBezTo>
                  <a:pt x="12693" y="1898"/>
                  <a:pt x="12702" y="1730"/>
                  <a:pt x="12706" y="1555"/>
                </a:cubicBezTo>
                <a:cubicBezTo>
                  <a:pt x="12710" y="1360"/>
                  <a:pt x="12706" y="1164"/>
                  <a:pt x="12703" y="969"/>
                </a:cubicBezTo>
                <a:cubicBezTo>
                  <a:pt x="12702" y="889"/>
                  <a:pt x="12702" y="809"/>
                  <a:pt x="12702" y="729"/>
                </a:cubicBezTo>
                <a:cubicBezTo>
                  <a:pt x="12702" y="708"/>
                  <a:pt x="12690" y="663"/>
                  <a:pt x="12694" y="645"/>
                </a:cubicBezTo>
                <a:cubicBezTo>
                  <a:pt x="12703" y="610"/>
                  <a:pt x="12741" y="573"/>
                  <a:pt x="12754" y="536"/>
                </a:cubicBezTo>
                <a:cubicBezTo>
                  <a:pt x="12702" y="558"/>
                  <a:pt x="12656" y="666"/>
                  <a:pt x="12625" y="709"/>
                </a:cubicBezTo>
                <a:cubicBezTo>
                  <a:pt x="12602" y="741"/>
                  <a:pt x="12565" y="813"/>
                  <a:pt x="12536" y="832"/>
                </a:cubicBezTo>
                <a:cubicBezTo>
                  <a:pt x="12561" y="835"/>
                  <a:pt x="12572" y="810"/>
                  <a:pt x="12590" y="798"/>
                </a:cubicBezTo>
                <a:cubicBezTo>
                  <a:pt x="12592" y="1384"/>
                  <a:pt x="12617" y="1981"/>
                  <a:pt x="12577" y="2562"/>
                </a:cubicBezTo>
                <a:cubicBezTo>
                  <a:pt x="12601" y="2565"/>
                  <a:pt x="12625" y="2577"/>
                  <a:pt x="12649" y="2575"/>
                </a:cubicBezTo>
                <a:cubicBezTo>
                  <a:pt x="12635" y="2576"/>
                  <a:pt x="12522" y="2570"/>
                  <a:pt x="12514" y="2561"/>
                </a:cubicBezTo>
                <a:cubicBezTo>
                  <a:pt x="12494" y="2537"/>
                  <a:pt x="12522" y="2346"/>
                  <a:pt x="12522" y="2311"/>
                </a:cubicBezTo>
                <a:cubicBezTo>
                  <a:pt x="12522" y="2151"/>
                  <a:pt x="12523" y="1992"/>
                  <a:pt x="12523" y="1833"/>
                </a:cubicBezTo>
                <a:cubicBezTo>
                  <a:pt x="12523" y="1511"/>
                  <a:pt x="12510" y="1185"/>
                  <a:pt x="12525" y="864"/>
                </a:cubicBezTo>
                <a:cubicBezTo>
                  <a:pt x="12490" y="875"/>
                  <a:pt x="12493" y="925"/>
                  <a:pt x="12447" y="921"/>
                </a:cubicBezTo>
                <a:cubicBezTo>
                  <a:pt x="12456" y="950"/>
                  <a:pt x="12369" y="1104"/>
                  <a:pt x="12328" y="1103"/>
                </a:cubicBezTo>
                <a:cubicBezTo>
                  <a:pt x="12331" y="1111"/>
                  <a:pt x="12335" y="1118"/>
                  <a:pt x="12341" y="1125"/>
                </a:cubicBezTo>
                <a:cubicBezTo>
                  <a:pt x="12364" y="1095"/>
                  <a:pt x="12389" y="1062"/>
                  <a:pt x="12414" y="1035"/>
                </a:cubicBezTo>
                <a:cubicBezTo>
                  <a:pt x="12405" y="1044"/>
                  <a:pt x="12417" y="1135"/>
                  <a:pt x="12416" y="1153"/>
                </a:cubicBezTo>
                <a:cubicBezTo>
                  <a:pt x="12414" y="1221"/>
                  <a:pt x="12412" y="1289"/>
                  <a:pt x="12411" y="1357"/>
                </a:cubicBezTo>
                <a:cubicBezTo>
                  <a:pt x="12410" y="1503"/>
                  <a:pt x="12410" y="1649"/>
                  <a:pt x="12409" y="1795"/>
                </a:cubicBezTo>
                <a:cubicBezTo>
                  <a:pt x="12409" y="1933"/>
                  <a:pt x="12408" y="2072"/>
                  <a:pt x="12408" y="2211"/>
                </a:cubicBezTo>
                <a:cubicBezTo>
                  <a:pt x="12407" y="2280"/>
                  <a:pt x="12407" y="2350"/>
                  <a:pt x="12407" y="2419"/>
                </a:cubicBezTo>
                <a:cubicBezTo>
                  <a:pt x="12407" y="2450"/>
                  <a:pt x="12415" y="2494"/>
                  <a:pt x="12406" y="2523"/>
                </a:cubicBezTo>
                <a:cubicBezTo>
                  <a:pt x="12392" y="2572"/>
                  <a:pt x="12405" y="2568"/>
                  <a:pt x="12341" y="2575"/>
                </a:cubicBezTo>
                <a:cubicBezTo>
                  <a:pt x="12352" y="2330"/>
                  <a:pt x="12338" y="2081"/>
                  <a:pt x="12338" y="1835"/>
                </a:cubicBezTo>
                <a:cubicBezTo>
                  <a:pt x="12338" y="1699"/>
                  <a:pt x="12332" y="1562"/>
                  <a:pt x="12338" y="1426"/>
                </a:cubicBezTo>
                <a:cubicBezTo>
                  <a:pt x="12340" y="1375"/>
                  <a:pt x="12348" y="1325"/>
                  <a:pt x="12346" y="1274"/>
                </a:cubicBezTo>
                <a:cubicBezTo>
                  <a:pt x="12345" y="1249"/>
                  <a:pt x="12321" y="1151"/>
                  <a:pt x="12334" y="1134"/>
                </a:cubicBezTo>
                <a:cubicBezTo>
                  <a:pt x="12275" y="1147"/>
                  <a:pt x="12201" y="1277"/>
                  <a:pt x="12166" y="1318"/>
                </a:cubicBezTo>
                <a:cubicBezTo>
                  <a:pt x="12105" y="1390"/>
                  <a:pt x="12053" y="1464"/>
                  <a:pt x="11992" y="1534"/>
                </a:cubicBezTo>
                <a:cubicBezTo>
                  <a:pt x="11992" y="1338"/>
                  <a:pt x="11972" y="1131"/>
                  <a:pt x="11992" y="936"/>
                </a:cubicBezTo>
                <a:cubicBezTo>
                  <a:pt x="11997" y="885"/>
                  <a:pt x="12012" y="872"/>
                  <a:pt x="12041" y="828"/>
                </a:cubicBezTo>
                <a:cubicBezTo>
                  <a:pt x="12056" y="806"/>
                  <a:pt x="12069" y="787"/>
                  <a:pt x="12084" y="762"/>
                </a:cubicBezTo>
                <a:cubicBezTo>
                  <a:pt x="12130" y="680"/>
                  <a:pt x="12243" y="578"/>
                  <a:pt x="12247" y="480"/>
                </a:cubicBezTo>
                <a:cubicBezTo>
                  <a:pt x="12217" y="545"/>
                  <a:pt x="12160" y="617"/>
                  <a:pt x="12118" y="675"/>
                </a:cubicBezTo>
                <a:cubicBezTo>
                  <a:pt x="12059" y="757"/>
                  <a:pt x="12004" y="841"/>
                  <a:pt x="11945" y="922"/>
                </a:cubicBezTo>
                <a:cubicBezTo>
                  <a:pt x="11890" y="998"/>
                  <a:pt x="11834" y="1081"/>
                  <a:pt x="11776" y="1160"/>
                </a:cubicBezTo>
                <a:cubicBezTo>
                  <a:pt x="11727" y="1227"/>
                  <a:pt x="11601" y="1335"/>
                  <a:pt x="11599" y="1417"/>
                </a:cubicBezTo>
                <a:cubicBezTo>
                  <a:pt x="11619" y="1411"/>
                  <a:pt x="11736" y="1282"/>
                  <a:pt x="11733" y="1272"/>
                </a:cubicBezTo>
                <a:cubicBezTo>
                  <a:pt x="11752" y="1339"/>
                  <a:pt x="11732" y="1446"/>
                  <a:pt x="11732" y="1516"/>
                </a:cubicBezTo>
                <a:cubicBezTo>
                  <a:pt x="11732" y="1594"/>
                  <a:pt x="11728" y="1672"/>
                  <a:pt x="11730" y="1750"/>
                </a:cubicBezTo>
                <a:cubicBezTo>
                  <a:pt x="11732" y="1792"/>
                  <a:pt x="11736" y="1802"/>
                  <a:pt x="11713" y="1836"/>
                </a:cubicBezTo>
                <a:cubicBezTo>
                  <a:pt x="11699" y="1858"/>
                  <a:pt x="11668" y="1882"/>
                  <a:pt x="11649" y="1901"/>
                </a:cubicBezTo>
                <a:cubicBezTo>
                  <a:pt x="11611" y="1938"/>
                  <a:pt x="11563" y="2004"/>
                  <a:pt x="11514" y="2022"/>
                </a:cubicBezTo>
                <a:cubicBezTo>
                  <a:pt x="11514" y="1884"/>
                  <a:pt x="11510" y="1745"/>
                  <a:pt x="11510" y="1606"/>
                </a:cubicBezTo>
                <a:cubicBezTo>
                  <a:pt x="11502" y="1719"/>
                  <a:pt x="11501" y="1833"/>
                  <a:pt x="11501" y="1946"/>
                </a:cubicBezTo>
                <a:cubicBezTo>
                  <a:pt x="11501" y="2046"/>
                  <a:pt x="11505" y="2038"/>
                  <a:pt x="11427" y="2104"/>
                </a:cubicBezTo>
                <a:cubicBezTo>
                  <a:pt x="11431" y="1955"/>
                  <a:pt x="11439" y="1805"/>
                  <a:pt x="11427" y="1657"/>
                </a:cubicBezTo>
                <a:cubicBezTo>
                  <a:pt x="11415" y="1770"/>
                  <a:pt x="11421" y="1889"/>
                  <a:pt x="11424" y="2004"/>
                </a:cubicBezTo>
                <a:cubicBezTo>
                  <a:pt x="11426" y="2065"/>
                  <a:pt x="11436" y="2100"/>
                  <a:pt x="11390" y="2143"/>
                </a:cubicBezTo>
                <a:cubicBezTo>
                  <a:pt x="11360" y="2170"/>
                  <a:pt x="11302" y="2197"/>
                  <a:pt x="11279" y="2228"/>
                </a:cubicBezTo>
                <a:cubicBezTo>
                  <a:pt x="11280" y="2139"/>
                  <a:pt x="11281" y="2050"/>
                  <a:pt x="11281" y="1961"/>
                </a:cubicBezTo>
                <a:cubicBezTo>
                  <a:pt x="11281" y="1926"/>
                  <a:pt x="11260" y="1851"/>
                  <a:pt x="11270" y="1822"/>
                </a:cubicBezTo>
                <a:cubicBezTo>
                  <a:pt x="11282" y="1788"/>
                  <a:pt x="11328" y="1769"/>
                  <a:pt x="11341" y="1733"/>
                </a:cubicBezTo>
                <a:cubicBezTo>
                  <a:pt x="11341" y="1728"/>
                  <a:pt x="11389" y="1684"/>
                  <a:pt x="11397" y="1675"/>
                </a:cubicBezTo>
                <a:cubicBezTo>
                  <a:pt x="11418" y="1649"/>
                  <a:pt x="11441" y="1629"/>
                  <a:pt x="11464" y="1597"/>
                </a:cubicBezTo>
                <a:cubicBezTo>
                  <a:pt x="11498" y="1550"/>
                  <a:pt x="11544" y="1511"/>
                  <a:pt x="11576" y="1463"/>
                </a:cubicBezTo>
                <a:cubicBezTo>
                  <a:pt x="11589" y="1443"/>
                  <a:pt x="11623" y="1408"/>
                  <a:pt x="11574" y="1424"/>
                </a:cubicBezTo>
                <a:cubicBezTo>
                  <a:pt x="11544" y="1434"/>
                  <a:pt x="11515" y="1499"/>
                  <a:pt x="11495" y="1522"/>
                </a:cubicBezTo>
                <a:cubicBezTo>
                  <a:pt x="11457" y="1567"/>
                  <a:pt x="11420" y="1613"/>
                  <a:pt x="11381" y="1658"/>
                </a:cubicBezTo>
                <a:cubicBezTo>
                  <a:pt x="11311" y="1741"/>
                  <a:pt x="11231" y="1826"/>
                  <a:pt x="11152" y="1908"/>
                </a:cubicBezTo>
                <a:cubicBezTo>
                  <a:pt x="11087" y="1977"/>
                  <a:pt x="11006" y="2068"/>
                  <a:pt x="10941" y="2122"/>
                </a:cubicBezTo>
                <a:cubicBezTo>
                  <a:pt x="10928" y="2133"/>
                  <a:pt x="10867" y="2159"/>
                  <a:pt x="10876" y="2184"/>
                </a:cubicBezTo>
                <a:cubicBezTo>
                  <a:pt x="10885" y="2207"/>
                  <a:pt x="10944" y="2140"/>
                  <a:pt x="10951" y="2133"/>
                </a:cubicBezTo>
                <a:cubicBezTo>
                  <a:pt x="10997" y="2093"/>
                  <a:pt x="11047" y="2049"/>
                  <a:pt x="11093" y="1999"/>
                </a:cubicBezTo>
                <a:cubicBezTo>
                  <a:pt x="11138" y="1951"/>
                  <a:pt x="11208" y="1858"/>
                  <a:pt x="11267" y="1826"/>
                </a:cubicBezTo>
                <a:cubicBezTo>
                  <a:pt x="11267" y="1915"/>
                  <a:pt x="11268" y="2005"/>
                  <a:pt x="11268" y="2095"/>
                </a:cubicBezTo>
                <a:cubicBezTo>
                  <a:pt x="11268" y="2137"/>
                  <a:pt x="11255" y="2220"/>
                  <a:pt x="11268" y="2255"/>
                </a:cubicBezTo>
                <a:cubicBezTo>
                  <a:pt x="11311" y="2278"/>
                  <a:pt x="11417" y="2149"/>
                  <a:pt x="11447" y="2124"/>
                </a:cubicBezTo>
                <a:cubicBezTo>
                  <a:pt x="11523" y="2062"/>
                  <a:pt x="11584" y="1988"/>
                  <a:pt x="11659" y="1926"/>
                </a:cubicBezTo>
                <a:cubicBezTo>
                  <a:pt x="11659" y="2141"/>
                  <a:pt x="11656" y="2357"/>
                  <a:pt x="11656" y="2573"/>
                </a:cubicBezTo>
                <a:cubicBezTo>
                  <a:pt x="11666" y="2573"/>
                  <a:pt x="11663" y="2211"/>
                  <a:pt x="11663" y="2177"/>
                </a:cubicBezTo>
                <a:cubicBezTo>
                  <a:pt x="11664" y="2112"/>
                  <a:pt x="11653" y="2033"/>
                  <a:pt x="11664" y="1970"/>
                </a:cubicBezTo>
                <a:cubicBezTo>
                  <a:pt x="11671" y="1933"/>
                  <a:pt x="11668" y="1931"/>
                  <a:pt x="11686" y="1903"/>
                </a:cubicBezTo>
                <a:cubicBezTo>
                  <a:pt x="11697" y="1886"/>
                  <a:pt x="11719" y="1869"/>
                  <a:pt x="11734" y="1853"/>
                </a:cubicBezTo>
                <a:cubicBezTo>
                  <a:pt x="11734" y="1913"/>
                  <a:pt x="11728" y="2429"/>
                  <a:pt x="11740" y="2429"/>
                </a:cubicBezTo>
                <a:cubicBezTo>
                  <a:pt x="11740" y="2318"/>
                  <a:pt x="11740" y="2207"/>
                  <a:pt x="11740" y="2096"/>
                </a:cubicBezTo>
                <a:cubicBezTo>
                  <a:pt x="11740" y="2031"/>
                  <a:pt x="11740" y="1966"/>
                  <a:pt x="11740" y="1902"/>
                </a:cubicBezTo>
                <a:cubicBezTo>
                  <a:pt x="11740" y="1832"/>
                  <a:pt x="11765" y="1816"/>
                  <a:pt x="11818" y="1763"/>
                </a:cubicBezTo>
                <a:cubicBezTo>
                  <a:pt x="11818" y="1953"/>
                  <a:pt x="11820" y="2142"/>
                  <a:pt x="11820" y="2331"/>
                </a:cubicBezTo>
                <a:cubicBezTo>
                  <a:pt x="11857" y="2280"/>
                  <a:pt x="11829" y="2134"/>
                  <a:pt x="11829" y="2068"/>
                </a:cubicBezTo>
                <a:cubicBezTo>
                  <a:pt x="11829" y="1993"/>
                  <a:pt x="11831" y="1916"/>
                  <a:pt x="11830" y="1840"/>
                </a:cubicBezTo>
                <a:cubicBezTo>
                  <a:pt x="11829" y="1821"/>
                  <a:pt x="11816" y="1777"/>
                  <a:pt x="11822" y="1759"/>
                </a:cubicBezTo>
                <a:cubicBezTo>
                  <a:pt x="11819" y="1769"/>
                  <a:pt x="11891" y="1698"/>
                  <a:pt x="11863" y="1691"/>
                </a:cubicBezTo>
                <a:cubicBezTo>
                  <a:pt x="11840" y="1686"/>
                  <a:pt x="11751" y="1783"/>
                  <a:pt x="11741" y="1800"/>
                </a:cubicBezTo>
                <a:cubicBezTo>
                  <a:pt x="11750" y="1675"/>
                  <a:pt x="11749" y="1550"/>
                  <a:pt x="11754" y="1425"/>
                </a:cubicBezTo>
                <a:cubicBezTo>
                  <a:pt x="11755" y="1379"/>
                  <a:pt x="11757" y="1337"/>
                  <a:pt x="11752" y="1292"/>
                </a:cubicBezTo>
                <a:cubicBezTo>
                  <a:pt x="11731" y="1284"/>
                  <a:pt x="11727" y="1273"/>
                  <a:pt x="11739" y="1260"/>
                </a:cubicBezTo>
                <a:cubicBezTo>
                  <a:pt x="11746" y="1247"/>
                  <a:pt x="11752" y="1235"/>
                  <a:pt x="11759" y="1222"/>
                </a:cubicBezTo>
                <a:cubicBezTo>
                  <a:pt x="11775" y="1198"/>
                  <a:pt x="11790" y="1176"/>
                  <a:pt x="11818" y="1163"/>
                </a:cubicBezTo>
                <a:cubicBezTo>
                  <a:pt x="11843" y="1198"/>
                  <a:pt x="11818" y="1344"/>
                  <a:pt x="11818" y="1385"/>
                </a:cubicBezTo>
                <a:cubicBezTo>
                  <a:pt x="11818" y="1472"/>
                  <a:pt x="11818" y="1560"/>
                  <a:pt x="11818" y="1647"/>
                </a:cubicBezTo>
                <a:cubicBezTo>
                  <a:pt x="11825" y="1522"/>
                  <a:pt x="11827" y="1398"/>
                  <a:pt x="11827" y="1273"/>
                </a:cubicBezTo>
                <a:cubicBezTo>
                  <a:pt x="11827" y="1235"/>
                  <a:pt x="11814" y="1169"/>
                  <a:pt x="11822" y="1135"/>
                </a:cubicBezTo>
                <a:cubicBezTo>
                  <a:pt x="11831" y="1097"/>
                  <a:pt x="11876" y="1064"/>
                  <a:pt x="11899" y="1034"/>
                </a:cubicBezTo>
                <a:cubicBezTo>
                  <a:pt x="11894" y="1178"/>
                  <a:pt x="11895" y="1322"/>
                  <a:pt x="11896" y="1467"/>
                </a:cubicBezTo>
                <a:cubicBezTo>
                  <a:pt x="11896" y="1488"/>
                  <a:pt x="11896" y="1653"/>
                  <a:pt x="11899" y="1654"/>
                </a:cubicBezTo>
                <a:cubicBezTo>
                  <a:pt x="11923" y="1662"/>
                  <a:pt x="11975" y="1595"/>
                  <a:pt x="11985" y="1573"/>
                </a:cubicBezTo>
                <a:cubicBezTo>
                  <a:pt x="11972" y="1826"/>
                  <a:pt x="11987" y="2079"/>
                  <a:pt x="11984" y="2332"/>
                </a:cubicBezTo>
                <a:cubicBezTo>
                  <a:pt x="12026" y="2258"/>
                  <a:pt x="12008" y="1551"/>
                  <a:pt x="12008" y="1551"/>
                </a:cubicBezTo>
                <a:cubicBezTo>
                  <a:pt x="12024" y="1541"/>
                  <a:pt x="12039" y="1493"/>
                  <a:pt x="12061" y="1492"/>
                </a:cubicBezTo>
                <a:cubicBezTo>
                  <a:pt x="12079" y="1719"/>
                  <a:pt x="12063" y="1954"/>
                  <a:pt x="12063" y="2183"/>
                </a:cubicBezTo>
                <a:cubicBezTo>
                  <a:pt x="12062" y="2294"/>
                  <a:pt x="12065" y="2406"/>
                  <a:pt x="12062" y="2518"/>
                </a:cubicBezTo>
                <a:cubicBezTo>
                  <a:pt x="12061" y="2562"/>
                  <a:pt x="12069" y="2574"/>
                  <a:pt x="12036" y="2587"/>
                </a:cubicBezTo>
                <a:cubicBezTo>
                  <a:pt x="12004" y="2598"/>
                  <a:pt x="11933" y="2586"/>
                  <a:pt x="11898" y="2589"/>
                </a:cubicBezTo>
                <a:cubicBezTo>
                  <a:pt x="11831" y="2596"/>
                  <a:pt x="11764" y="2595"/>
                  <a:pt x="11698" y="2599"/>
                </a:cubicBezTo>
                <a:cubicBezTo>
                  <a:pt x="11667" y="2601"/>
                  <a:pt x="11634" y="2618"/>
                  <a:pt x="11599" y="2617"/>
                </a:cubicBezTo>
                <a:cubicBezTo>
                  <a:pt x="11593" y="2617"/>
                  <a:pt x="11510" y="2618"/>
                  <a:pt x="11509" y="2617"/>
                </a:cubicBezTo>
                <a:cubicBezTo>
                  <a:pt x="11497" y="2608"/>
                  <a:pt x="11487" y="2468"/>
                  <a:pt x="11459" y="2555"/>
                </a:cubicBezTo>
                <a:cubicBezTo>
                  <a:pt x="11454" y="2570"/>
                  <a:pt x="11479" y="2600"/>
                  <a:pt x="11466" y="2618"/>
                </a:cubicBezTo>
                <a:cubicBezTo>
                  <a:pt x="11457" y="2628"/>
                  <a:pt x="11390" y="2624"/>
                  <a:pt x="11378" y="2625"/>
                </a:cubicBezTo>
                <a:cubicBezTo>
                  <a:pt x="11359" y="2627"/>
                  <a:pt x="11269" y="2648"/>
                  <a:pt x="11266" y="2618"/>
                </a:cubicBezTo>
                <a:cubicBezTo>
                  <a:pt x="11178" y="2689"/>
                  <a:pt x="10975" y="2652"/>
                  <a:pt x="10861" y="2661"/>
                </a:cubicBezTo>
                <a:cubicBezTo>
                  <a:pt x="10850" y="2634"/>
                  <a:pt x="10827" y="2556"/>
                  <a:pt x="10868" y="2542"/>
                </a:cubicBezTo>
                <a:cubicBezTo>
                  <a:pt x="10911" y="2528"/>
                  <a:pt x="10884" y="2612"/>
                  <a:pt x="10908" y="2635"/>
                </a:cubicBezTo>
                <a:cubicBezTo>
                  <a:pt x="10938" y="2600"/>
                  <a:pt x="10902" y="2570"/>
                  <a:pt x="10915" y="2536"/>
                </a:cubicBezTo>
                <a:cubicBezTo>
                  <a:pt x="10928" y="2502"/>
                  <a:pt x="10969" y="2489"/>
                  <a:pt x="10999" y="2469"/>
                </a:cubicBezTo>
                <a:cubicBezTo>
                  <a:pt x="11043" y="2438"/>
                  <a:pt x="11086" y="2406"/>
                  <a:pt x="11130" y="2375"/>
                </a:cubicBezTo>
                <a:cubicBezTo>
                  <a:pt x="11128" y="2355"/>
                  <a:pt x="11136" y="2348"/>
                  <a:pt x="11154" y="2356"/>
                </a:cubicBezTo>
                <a:cubicBezTo>
                  <a:pt x="11161" y="2349"/>
                  <a:pt x="11169" y="2343"/>
                  <a:pt x="11177" y="2338"/>
                </a:cubicBezTo>
                <a:cubicBezTo>
                  <a:pt x="11197" y="2322"/>
                  <a:pt x="11221" y="2308"/>
                  <a:pt x="11239" y="2290"/>
                </a:cubicBezTo>
                <a:cubicBezTo>
                  <a:pt x="11239" y="2290"/>
                  <a:pt x="11298" y="2272"/>
                  <a:pt x="11267" y="2255"/>
                </a:cubicBezTo>
                <a:cubicBezTo>
                  <a:pt x="11240" y="2239"/>
                  <a:pt x="11238" y="2280"/>
                  <a:pt x="11233" y="2284"/>
                </a:cubicBezTo>
                <a:cubicBezTo>
                  <a:pt x="11176" y="2329"/>
                  <a:pt x="10664" y="2660"/>
                  <a:pt x="10636" y="2597"/>
                </a:cubicBezTo>
                <a:cubicBezTo>
                  <a:pt x="10639" y="2608"/>
                  <a:pt x="10606" y="2649"/>
                  <a:pt x="10605" y="2652"/>
                </a:cubicBezTo>
                <a:cubicBezTo>
                  <a:pt x="10657" y="2658"/>
                  <a:pt x="10798" y="2554"/>
                  <a:pt x="10822" y="2590"/>
                </a:cubicBezTo>
                <a:cubicBezTo>
                  <a:pt x="10836" y="2611"/>
                  <a:pt x="10820" y="2663"/>
                  <a:pt x="10804" y="2673"/>
                </a:cubicBezTo>
                <a:cubicBezTo>
                  <a:pt x="10783" y="2685"/>
                  <a:pt x="10761" y="2665"/>
                  <a:pt x="10742" y="2664"/>
                </a:cubicBezTo>
                <a:cubicBezTo>
                  <a:pt x="10710" y="2664"/>
                  <a:pt x="10688" y="2678"/>
                  <a:pt x="10657" y="2683"/>
                </a:cubicBezTo>
                <a:cubicBezTo>
                  <a:pt x="10606" y="2692"/>
                  <a:pt x="10556" y="2679"/>
                  <a:pt x="10506" y="2680"/>
                </a:cubicBezTo>
                <a:cubicBezTo>
                  <a:pt x="10442" y="2682"/>
                  <a:pt x="10375" y="2710"/>
                  <a:pt x="10310" y="2717"/>
                </a:cubicBezTo>
                <a:cubicBezTo>
                  <a:pt x="10181" y="2730"/>
                  <a:pt x="10031" y="2766"/>
                  <a:pt x="9902" y="2749"/>
                </a:cubicBezTo>
                <a:cubicBezTo>
                  <a:pt x="9946" y="2729"/>
                  <a:pt x="9997" y="2722"/>
                  <a:pt x="10044" y="2707"/>
                </a:cubicBezTo>
                <a:cubicBezTo>
                  <a:pt x="10107" y="2686"/>
                  <a:pt x="10169" y="2648"/>
                  <a:pt x="10236" y="2637"/>
                </a:cubicBezTo>
                <a:cubicBezTo>
                  <a:pt x="10231" y="2656"/>
                  <a:pt x="10231" y="2676"/>
                  <a:pt x="10235" y="2695"/>
                </a:cubicBezTo>
                <a:cubicBezTo>
                  <a:pt x="10247" y="2687"/>
                  <a:pt x="10261" y="2683"/>
                  <a:pt x="10275" y="2684"/>
                </a:cubicBezTo>
                <a:cubicBezTo>
                  <a:pt x="10279" y="2660"/>
                  <a:pt x="10257" y="2650"/>
                  <a:pt x="10243" y="2636"/>
                </a:cubicBezTo>
                <a:cubicBezTo>
                  <a:pt x="10364" y="2547"/>
                  <a:pt x="10507" y="2493"/>
                  <a:pt x="10626" y="2407"/>
                </a:cubicBezTo>
                <a:cubicBezTo>
                  <a:pt x="10669" y="2376"/>
                  <a:pt x="10896" y="2218"/>
                  <a:pt x="10873" y="2177"/>
                </a:cubicBezTo>
                <a:cubicBezTo>
                  <a:pt x="10697" y="2322"/>
                  <a:pt x="10512" y="2460"/>
                  <a:pt x="10309" y="2566"/>
                </a:cubicBezTo>
                <a:cubicBezTo>
                  <a:pt x="10206" y="2620"/>
                  <a:pt x="10100" y="2656"/>
                  <a:pt x="9991" y="2696"/>
                </a:cubicBezTo>
                <a:cubicBezTo>
                  <a:pt x="9878" y="2738"/>
                  <a:pt x="9794" y="2730"/>
                  <a:pt x="9679" y="2696"/>
                </a:cubicBezTo>
                <a:cubicBezTo>
                  <a:pt x="9434" y="2624"/>
                  <a:pt x="9224" y="2490"/>
                  <a:pt x="9033" y="2322"/>
                </a:cubicBezTo>
                <a:cubicBezTo>
                  <a:pt x="8909" y="2213"/>
                  <a:pt x="8820" y="2057"/>
                  <a:pt x="8689" y="1951"/>
                </a:cubicBezTo>
                <a:cubicBezTo>
                  <a:pt x="8683" y="1995"/>
                  <a:pt x="8774" y="2076"/>
                  <a:pt x="8804" y="2110"/>
                </a:cubicBezTo>
                <a:cubicBezTo>
                  <a:pt x="8865" y="2179"/>
                  <a:pt x="8932" y="2241"/>
                  <a:pt x="8997" y="2307"/>
                </a:cubicBezTo>
                <a:cubicBezTo>
                  <a:pt x="9071" y="2381"/>
                  <a:pt x="9155" y="2446"/>
                  <a:pt x="9242" y="2510"/>
                </a:cubicBezTo>
                <a:cubicBezTo>
                  <a:pt x="9273" y="2533"/>
                  <a:pt x="9435" y="2606"/>
                  <a:pt x="9427" y="2641"/>
                </a:cubicBezTo>
                <a:cubicBezTo>
                  <a:pt x="9468" y="2619"/>
                  <a:pt x="9496" y="2650"/>
                  <a:pt x="9532" y="2668"/>
                </a:cubicBezTo>
                <a:cubicBezTo>
                  <a:pt x="9559" y="2683"/>
                  <a:pt x="9668" y="2701"/>
                  <a:pt x="9683" y="2724"/>
                </a:cubicBezTo>
                <a:cubicBezTo>
                  <a:pt x="9708" y="2762"/>
                  <a:pt x="9510" y="2786"/>
                  <a:pt x="9555" y="2706"/>
                </a:cubicBezTo>
                <a:cubicBezTo>
                  <a:pt x="9512" y="2778"/>
                  <a:pt x="9408" y="2734"/>
                  <a:pt x="9354" y="2720"/>
                </a:cubicBezTo>
                <a:cubicBezTo>
                  <a:pt x="9312" y="2710"/>
                  <a:pt x="9103" y="2599"/>
                  <a:pt x="9067" y="2635"/>
                </a:cubicBezTo>
                <a:cubicBezTo>
                  <a:pt x="9070" y="2632"/>
                  <a:pt x="9068" y="2769"/>
                  <a:pt x="9067" y="2781"/>
                </a:cubicBezTo>
                <a:cubicBezTo>
                  <a:pt x="9066" y="2796"/>
                  <a:pt x="9070" y="2838"/>
                  <a:pt x="9066" y="2849"/>
                </a:cubicBezTo>
                <a:cubicBezTo>
                  <a:pt x="9054" y="2880"/>
                  <a:pt x="9029" y="2864"/>
                  <a:pt x="8997" y="2880"/>
                </a:cubicBezTo>
                <a:cubicBezTo>
                  <a:pt x="8984" y="2836"/>
                  <a:pt x="8948" y="2594"/>
                  <a:pt x="9028" y="2613"/>
                </a:cubicBezTo>
                <a:cubicBezTo>
                  <a:pt x="9020" y="2560"/>
                  <a:pt x="8834" y="2482"/>
                  <a:pt x="8793" y="2449"/>
                </a:cubicBezTo>
                <a:cubicBezTo>
                  <a:pt x="8749" y="2414"/>
                  <a:pt x="8675" y="2343"/>
                  <a:pt x="8624" y="2293"/>
                </a:cubicBezTo>
                <a:cubicBezTo>
                  <a:pt x="8551" y="2222"/>
                  <a:pt x="8481" y="2146"/>
                  <a:pt x="8417" y="2065"/>
                </a:cubicBezTo>
                <a:cubicBezTo>
                  <a:pt x="8375" y="2011"/>
                  <a:pt x="8328" y="1925"/>
                  <a:pt x="8265" y="1891"/>
                </a:cubicBezTo>
                <a:cubicBezTo>
                  <a:pt x="8306" y="1975"/>
                  <a:pt x="8377" y="2051"/>
                  <a:pt x="8432" y="2122"/>
                </a:cubicBezTo>
                <a:cubicBezTo>
                  <a:pt x="8508" y="2221"/>
                  <a:pt x="8604" y="2314"/>
                  <a:pt x="8697" y="2397"/>
                </a:cubicBezTo>
                <a:cubicBezTo>
                  <a:pt x="8739" y="2434"/>
                  <a:pt x="8784" y="2463"/>
                  <a:pt x="8829" y="2494"/>
                </a:cubicBezTo>
                <a:cubicBezTo>
                  <a:pt x="8857" y="2514"/>
                  <a:pt x="8883" y="2537"/>
                  <a:pt x="8912" y="2554"/>
                </a:cubicBezTo>
                <a:cubicBezTo>
                  <a:pt x="8959" y="2582"/>
                  <a:pt x="8962" y="2568"/>
                  <a:pt x="8975" y="2615"/>
                </a:cubicBezTo>
                <a:cubicBezTo>
                  <a:pt x="8991" y="2675"/>
                  <a:pt x="8982" y="2778"/>
                  <a:pt x="8974" y="2840"/>
                </a:cubicBezTo>
                <a:cubicBezTo>
                  <a:pt x="8965" y="2911"/>
                  <a:pt x="8977" y="2869"/>
                  <a:pt x="8924" y="2886"/>
                </a:cubicBezTo>
                <a:cubicBezTo>
                  <a:pt x="8895" y="2894"/>
                  <a:pt x="8866" y="2892"/>
                  <a:pt x="8837" y="2898"/>
                </a:cubicBezTo>
                <a:cubicBezTo>
                  <a:pt x="8709" y="2924"/>
                  <a:pt x="8578" y="2945"/>
                  <a:pt x="8448" y="2967"/>
                </a:cubicBezTo>
                <a:cubicBezTo>
                  <a:pt x="8418" y="2973"/>
                  <a:pt x="8233" y="3026"/>
                  <a:pt x="8211" y="3008"/>
                </a:cubicBezTo>
                <a:cubicBezTo>
                  <a:pt x="8188" y="2989"/>
                  <a:pt x="8205" y="2832"/>
                  <a:pt x="8205" y="2807"/>
                </a:cubicBezTo>
                <a:cubicBezTo>
                  <a:pt x="8205" y="2644"/>
                  <a:pt x="8205" y="2481"/>
                  <a:pt x="8205" y="2318"/>
                </a:cubicBezTo>
                <a:cubicBezTo>
                  <a:pt x="8205" y="2172"/>
                  <a:pt x="8220" y="2013"/>
                  <a:pt x="8190" y="1873"/>
                </a:cubicBezTo>
                <a:cubicBezTo>
                  <a:pt x="8165" y="1880"/>
                  <a:pt x="8141" y="1886"/>
                  <a:pt x="8117" y="1892"/>
                </a:cubicBezTo>
                <a:cubicBezTo>
                  <a:pt x="8116" y="1908"/>
                  <a:pt x="8115" y="1924"/>
                  <a:pt x="8112" y="1940"/>
                </a:cubicBezTo>
                <a:cubicBezTo>
                  <a:pt x="8094" y="1961"/>
                  <a:pt x="8099" y="1967"/>
                  <a:pt x="8071" y="1981"/>
                </a:cubicBezTo>
                <a:cubicBezTo>
                  <a:pt x="8038" y="1997"/>
                  <a:pt x="7905" y="1991"/>
                  <a:pt x="7875" y="1970"/>
                </a:cubicBezTo>
                <a:cubicBezTo>
                  <a:pt x="7820" y="1932"/>
                  <a:pt x="7867" y="1877"/>
                  <a:pt x="7833" y="1834"/>
                </a:cubicBezTo>
                <a:cubicBezTo>
                  <a:pt x="7785" y="1774"/>
                  <a:pt x="7769" y="1846"/>
                  <a:pt x="7760" y="1879"/>
                </a:cubicBezTo>
                <a:cubicBezTo>
                  <a:pt x="7720" y="2038"/>
                  <a:pt x="7780" y="2224"/>
                  <a:pt x="7714" y="2384"/>
                </a:cubicBezTo>
                <a:cubicBezTo>
                  <a:pt x="7685" y="2454"/>
                  <a:pt x="7661" y="2529"/>
                  <a:pt x="7628" y="2597"/>
                </a:cubicBezTo>
                <a:cubicBezTo>
                  <a:pt x="7599" y="2657"/>
                  <a:pt x="7552" y="2723"/>
                  <a:pt x="7569" y="2794"/>
                </a:cubicBezTo>
                <a:cubicBezTo>
                  <a:pt x="7633" y="2666"/>
                  <a:pt x="7657" y="2488"/>
                  <a:pt x="7745" y="2375"/>
                </a:cubicBezTo>
                <a:cubicBezTo>
                  <a:pt x="7745" y="2510"/>
                  <a:pt x="7745" y="2646"/>
                  <a:pt x="7745" y="2782"/>
                </a:cubicBezTo>
                <a:cubicBezTo>
                  <a:pt x="7745" y="2850"/>
                  <a:pt x="7745" y="2918"/>
                  <a:pt x="7745" y="2985"/>
                </a:cubicBezTo>
                <a:cubicBezTo>
                  <a:pt x="7745" y="3046"/>
                  <a:pt x="7749" y="3053"/>
                  <a:pt x="7709" y="3090"/>
                </a:cubicBezTo>
                <a:cubicBezTo>
                  <a:pt x="7663" y="3133"/>
                  <a:pt x="7546" y="3151"/>
                  <a:pt x="7479" y="3168"/>
                </a:cubicBezTo>
                <a:cubicBezTo>
                  <a:pt x="7365" y="3196"/>
                  <a:pt x="7448" y="3068"/>
                  <a:pt x="7460" y="3005"/>
                </a:cubicBezTo>
                <a:cubicBezTo>
                  <a:pt x="7438" y="3036"/>
                  <a:pt x="7423" y="3128"/>
                  <a:pt x="7376" y="3131"/>
                </a:cubicBezTo>
                <a:cubicBezTo>
                  <a:pt x="7390" y="3130"/>
                  <a:pt x="7327" y="3099"/>
                  <a:pt x="7331" y="3100"/>
                </a:cubicBezTo>
                <a:cubicBezTo>
                  <a:pt x="7312" y="3108"/>
                  <a:pt x="7294" y="3107"/>
                  <a:pt x="7276" y="3096"/>
                </a:cubicBezTo>
                <a:cubicBezTo>
                  <a:pt x="7262" y="3084"/>
                  <a:pt x="7246" y="3074"/>
                  <a:pt x="7231" y="3064"/>
                </a:cubicBezTo>
                <a:cubicBezTo>
                  <a:pt x="7217" y="3056"/>
                  <a:pt x="7143" y="3039"/>
                  <a:pt x="7139" y="3028"/>
                </a:cubicBezTo>
                <a:cubicBezTo>
                  <a:pt x="7130" y="3006"/>
                  <a:pt x="7150" y="3003"/>
                  <a:pt x="7159" y="2981"/>
                </a:cubicBezTo>
                <a:cubicBezTo>
                  <a:pt x="7197" y="2885"/>
                  <a:pt x="7237" y="2790"/>
                  <a:pt x="7275" y="2694"/>
                </a:cubicBezTo>
                <a:cubicBezTo>
                  <a:pt x="7328" y="2559"/>
                  <a:pt x="7373" y="2432"/>
                  <a:pt x="7420" y="2298"/>
                </a:cubicBezTo>
                <a:cubicBezTo>
                  <a:pt x="7471" y="2154"/>
                  <a:pt x="7520" y="2020"/>
                  <a:pt x="7568" y="1871"/>
                </a:cubicBezTo>
                <a:cubicBezTo>
                  <a:pt x="7533" y="1857"/>
                  <a:pt x="7408" y="2262"/>
                  <a:pt x="7391" y="2315"/>
                </a:cubicBezTo>
                <a:cubicBezTo>
                  <a:pt x="7332" y="2490"/>
                  <a:pt x="7260" y="2665"/>
                  <a:pt x="7186" y="2838"/>
                </a:cubicBezTo>
                <a:cubicBezTo>
                  <a:pt x="7172" y="2871"/>
                  <a:pt x="7164" y="2920"/>
                  <a:pt x="7145" y="2951"/>
                </a:cubicBezTo>
                <a:cubicBezTo>
                  <a:pt x="7119" y="2994"/>
                  <a:pt x="7114" y="2991"/>
                  <a:pt x="7078" y="2969"/>
                </a:cubicBezTo>
                <a:cubicBezTo>
                  <a:pt x="6990" y="2917"/>
                  <a:pt x="6937" y="2844"/>
                  <a:pt x="6833" y="2812"/>
                </a:cubicBezTo>
                <a:cubicBezTo>
                  <a:pt x="6781" y="2796"/>
                  <a:pt x="6730" y="2796"/>
                  <a:pt x="6678" y="2785"/>
                </a:cubicBezTo>
                <a:cubicBezTo>
                  <a:pt x="6643" y="2777"/>
                  <a:pt x="6617" y="2756"/>
                  <a:pt x="6583" y="2743"/>
                </a:cubicBezTo>
                <a:cubicBezTo>
                  <a:pt x="6496" y="2709"/>
                  <a:pt x="6384" y="2678"/>
                  <a:pt x="6292" y="2659"/>
                </a:cubicBezTo>
                <a:cubicBezTo>
                  <a:pt x="6197" y="2641"/>
                  <a:pt x="6115" y="2635"/>
                  <a:pt x="6023" y="2599"/>
                </a:cubicBezTo>
                <a:cubicBezTo>
                  <a:pt x="5968" y="2578"/>
                  <a:pt x="5914" y="2555"/>
                  <a:pt x="5860" y="2531"/>
                </a:cubicBezTo>
                <a:cubicBezTo>
                  <a:pt x="5805" y="2506"/>
                  <a:pt x="5742" y="2493"/>
                  <a:pt x="5690" y="2470"/>
                </a:cubicBezTo>
                <a:cubicBezTo>
                  <a:pt x="5672" y="2462"/>
                  <a:pt x="5643" y="2436"/>
                  <a:pt x="5624" y="2424"/>
                </a:cubicBezTo>
                <a:cubicBezTo>
                  <a:pt x="5604" y="2412"/>
                  <a:pt x="5588" y="2401"/>
                  <a:pt x="5568" y="2389"/>
                </a:cubicBezTo>
                <a:cubicBezTo>
                  <a:pt x="5471" y="2333"/>
                  <a:pt x="5373" y="2340"/>
                  <a:pt x="5272" y="2312"/>
                </a:cubicBezTo>
                <a:cubicBezTo>
                  <a:pt x="5081" y="2258"/>
                  <a:pt x="4844" y="2290"/>
                  <a:pt x="4644" y="2289"/>
                </a:cubicBezTo>
                <a:cubicBezTo>
                  <a:pt x="4543" y="2289"/>
                  <a:pt x="4440" y="2280"/>
                  <a:pt x="4340" y="2288"/>
                </a:cubicBezTo>
                <a:cubicBezTo>
                  <a:pt x="4224" y="2297"/>
                  <a:pt x="4163" y="2378"/>
                  <a:pt x="4058" y="2414"/>
                </a:cubicBezTo>
                <a:cubicBezTo>
                  <a:pt x="3944" y="2454"/>
                  <a:pt x="3843" y="2399"/>
                  <a:pt x="3730" y="2417"/>
                </a:cubicBezTo>
                <a:cubicBezTo>
                  <a:pt x="3602" y="2437"/>
                  <a:pt x="3500" y="2476"/>
                  <a:pt x="3367" y="2468"/>
                </a:cubicBezTo>
                <a:cubicBezTo>
                  <a:pt x="3239" y="2460"/>
                  <a:pt x="3117" y="2462"/>
                  <a:pt x="2993" y="2496"/>
                </a:cubicBezTo>
                <a:cubicBezTo>
                  <a:pt x="2966" y="2503"/>
                  <a:pt x="2723" y="2557"/>
                  <a:pt x="2710" y="2512"/>
                </a:cubicBezTo>
                <a:cubicBezTo>
                  <a:pt x="2708" y="2506"/>
                  <a:pt x="2874" y="2538"/>
                  <a:pt x="2865" y="2463"/>
                </a:cubicBezTo>
                <a:cubicBezTo>
                  <a:pt x="2857" y="2395"/>
                  <a:pt x="2772" y="2345"/>
                  <a:pt x="2718" y="2337"/>
                </a:cubicBezTo>
                <a:cubicBezTo>
                  <a:pt x="2679" y="2332"/>
                  <a:pt x="2628" y="2337"/>
                  <a:pt x="2588" y="2338"/>
                </a:cubicBezTo>
                <a:cubicBezTo>
                  <a:pt x="2527" y="2339"/>
                  <a:pt x="2471" y="2328"/>
                  <a:pt x="2410" y="2321"/>
                </a:cubicBezTo>
                <a:cubicBezTo>
                  <a:pt x="2309" y="2310"/>
                  <a:pt x="2208" y="2309"/>
                  <a:pt x="2110" y="2292"/>
                </a:cubicBezTo>
                <a:cubicBezTo>
                  <a:pt x="2079" y="2287"/>
                  <a:pt x="2041" y="2281"/>
                  <a:pt x="2008" y="2275"/>
                </a:cubicBezTo>
                <a:cubicBezTo>
                  <a:pt x="1971" y="2269"/>
                  <a:pt x="1947" y="2253"/>
                  <a:pt x="1912" y="2239"/>
                </a:cubicBezTo>
                <a:cubicBezTo>
                  <a:pt x="1879" y="2226"/>
                  <a:pt x="1848" y="2232"/>
                  <a:pt x="1815" y="2222"/>
                </a:cubicBezTo>
                <a:cubicBezTo>
                  <a:pt x="1803" y="2218"/>
                  <a:pt x="1806" y="2202"/>
                  <a:pt x="1793" y="2196"/>
                </a:cubicBezTo>
                <a:cubicBezTo>
                  <a:pt x="1777" y="2189"/>
                  <a:pt x="1761" y="2188"/>
                  <a:pt x="1743" y="2184"/>
                </a:cubicBezTo>
                <a:cubicBezTo>
                  <a:pt x="1641" y="2162"/>
                  <a:pt x="1538" y="2152"/>
                  <a:pt x="1442" y="2107"/>
                </a:cubicBezTo>
                <a:cubicBezTo>
                  <a:pt x="1348" y="2064"/>
                  <a:pt x="1266" y="1998"/>
                  <a:pt x="1171" y="1959"/>
                </a:cubicBezTo>
                <a:cubicBezTo>
                  <a:pt x="1164" y="1993"/>
                  <a:pt x="1258" y="2053"/>
                  <a:pt x="1195" y="2050"/>
                </a:cubicBezTo>
                <a:cubicBezTo>
                  <a:pt x="1177" y="2049"/>
                  <a:pt x="1147" y="2011"/>
                  <a:pt x="1128" y="2003"/>
                </a:cubicBezTo>
                <a:cubicBezTo>
                  <a:pt x="1095" y="1989"/>
                  <a:pt x="1064" y="1984"/>
                  <a:pt x="1029" y="1992"/>
                </a:cubicBezTo>
                <a:cubicBezTo>
                  <a:pt x="1015" y="1953"/>
                  <a:pt x="1055" y="1976"/>
                  <a:pt x="999" y="1952"/>
                </a:cubicBezTo>
                <a:cubicBezTo>
                  <a:pt x="947" y="1930"/>
                  <a:pt x="884" y="1942"/>
                  <a:pt x="829" y="1941"/>
                </a:cubicBezTo>
                <a:cubicBezTo>
                  <a:pt x="800" y="1940"/>
                  <a:pt x="728" y="1910"/>
                  <a:pt x="703" y="1930"/>
                </a:cubicBezTo>
                <a:cubicBezTo>
                  <a:pt x="663" y="1961"/>
                  <a:pt x="703" y="1965"/>
                  <a:pt x="717" y="1981"/>
                </a:cubicBezTo>
                <a:cubicBezTo>
                  <a:pt x="734" y="2001"/>
                  <a:pt x="762" y="2000"/>
                  <a:pt x="729" y="2018"/>
                </a:cubicBezTo>
                <a:cubicBezTo>
                  <a:pt x="725" y="2021"/>
                  <a:pt x="697" y="2012"/>
                  <a:pt x="687" y="2014"/>
                </a:cubicBezTo>
                <a:cubicBezTo>
                  <a:pt x="672" y="2017"/>
                  <a:pt x="662" y="2028"/>
                  <a:pt x="649" y="2032"/>
                </a:cubicBezTo>
                <a:cubicBezTo>
                  <a:pt x="580" y="2050"/>
                  <a:pt x="549" y="1999"/>
                  <a:pt x="493" y="2047"/>
                </a:cubicBezTo>
                <a:cubicBezTo>
                  <a:pt x="485" y="2054"/>
                  <a:pt x="444" y="2104"/>
                  <a:pt x="447" y="2102"/>
                </a:cubicBezTo>
                <a:cubicBezTo>
                  <a:pt x="418" y="2116"/>
                  <a:pt x="382" y="2078"/>
                  <a:pt x="358" y="2058"/>
                </a:cubicBezTo>
                <a:cubicBezTo>
                  <a:pt x="350" y="2052"/>
                  <a:pt x="327" y="2055"/>
                  <a:pt x="323" y="2043"/>
                </a:cubicBezTo>
                <a:cubicBezTo>
                  <a:pt x="319" y="2031"/>
                  <a:pt x="342" y="2015"/>
                  <a:pt x="340" y="2009"/>
                </a:cubicBezTo>
                <a:cubicBezTo>
                  <a:pt x="329" y="1984"/>
                  <a:pt x="310" y="1961"/>
                  <a:pt x="272" y="1947"/>
                </a:cubicBezTo>
                <a:cubicBezTo>
                  <a:pt x="247" y="1938"/>
                  <a:pt x="177" y="1917"/>
                  <a:pt x="152" y="1918"/>
                </a:cubicBezTo>
                <a:cubicBezTo>
                  <a:pt x="105" y="1921"/>
                  <a:pt x="128" y="1922"/>
                  <a:pt x="109" y="1958"/>
                </a:cubicBezTo>
                <a:cubicBezTo>
                  <a:pt x="102" y="1972"/>
                  <a:pt x="102" y="2037"/>
                  <a:pt x="57" y="1993"/>
                </a:cubicBezTo>
                <a:cubicBezTo>
                  <a:pt x="28" y="1964"/>
                  <a:pt x="74" y="1931"/>
                  <a:pt x="87" y="1908"/>
                </a:cubicBezTo>
                <a:cubicBezTo>
                  <a:pt x="51" y="1911"/>
                  <a:pt x="38" y="1904"/>
                  <a:pt x="24" y="1933"/>
                </a:cubicBezTo>
                <a:cubicBezTo>
                  <a:pt x="16" y="1950"/>
                  <a:pt x="24" y="1992"/>
                  <a:pt x="24" y="2011"/>
                </a:cubicBezTo>
                <a:cubicBezTo>
                  <a:pt x="24" y="2077"/>
                  <a:pt x="24" y="2142"/>
                  <a:pt x="24" y="2207"/>
                </a:cubicBezTo>
                <a:cubicBezTo>
                  <a:pt x="24" y="2270"/>
                  <a:pt x="10" y="2304"/>
                  <a:pt x="82" y="2312"/>
                </a:cubicBezTo>
                <a:cubicBezTo>
                  <a:pt x="127" y="2318"/>
                  <a:pt x="184" y="2323"/>
                  <a:pt x="226" y="2305"/>
                </a:cubicBezTo>
                <a:cubicBezTo>
                  <a:pt x="185" y="2322"/>
                  <a:pt x="167" y="2331"/>
                  <a:pt x="128" y="2338"/>
                </a:cubicBezTo>
                <a:cubicBezTo>
                  <a:pt x="101" y="2342"/>
                  <a:pt x="70" y="2326"/>
                  <a:pt x="46" y="2340"/>
                </a:cubicBezTo>
                <a:cubicBezTo>
                  <a:pt x="13" y="2358"/>
                  <a:pt x="24" y="2386"/>
                  <a:pt x="24" y="2427"/>
                </a:cubicBezTo>
                <a:cubicBezTo>
                  <a:pt x="24" y="2481"/>
                  <a:pt x="24" y="2534"/>
                  <a:pt x="24" y="2588"/>
                </a:cubicBezTo>
                <a:cubicBezTo>
                  <a:pt x="24" y="2750"/>
                  <a:pt x="24" y="2912"/>
                  <a:pt x="24" y="3074"/>
                </a:cubicBezTo>
                <a:cubicBezTo>
                  <a:pt x="24" y="3407"/>
                  <a:pt x="24" y="3740"/>
                  <a:pt x="24" y="4073"/>
                </a:cubicBezTo>
                <a:cubicBezTo>
                  <a:pt x="130" y="4038"/>
                  <a:pt x="280" y="4063"/>
                  <a:pt x="392" y="4064"/>
                </a:cubicBezTo>
                <a:cubicBezTo>
                  <a:pt x="445" y="4065"/>
                  <a:pt x="504" y="4056"/>
                  <a:pt x="554" y="4074"/>
                </a:cubicBezTo>
                <a:cubicBezTo>
                  <a:pt x="563" y="4078"/>
                  <a:pt x="555" y="4098"/>
                  <a:pt x="580" y="4102"/>
                </a:cubicBezTo>
                <a:cubicBezTo>
                  <a:pt x="600" y="4105"/>
                  <a:pt x="622" y="4087"/>
                  <a:pt x="644" y="4092"/>
                </a:cubicBezTo>
                <a:cubicBezTo>
                  <a:pt x="704" y="4103"/>
                  <a:pt x="761" y="4240"/>
                  <a:pt x="831" y="4170"/>
                </a:cubicBezTo>
                <a:cubicBezTo>
                  <a:pt x="864" y="4136"/>
                  <a:pt x="845" y="4123"/>
                  <a:pt x="888" y="4109"/>
                </a:cubicBezTo>
                <a:cubicBezTo>
                  <a:pt x="918" y="4099"/>
                  <a:pt x="970" y="4092"/>
                  <a:pt x="1010" y="4098"/>
                </a:cubicBezTo>
                <a:cubicBezTo>
                  <a:pt x="1041" y="4103"/>
                  <a:pt x="1073" y="4136"/>
                  <a:pt x="1104" y="4136"/>
                </a:cubicBezTo>
                <a:cubicBezTo>
                  <a:pt x="1114" y="4136"/>
                  <a:pt x="1128" y="4115"/>
                  <a:pt x="1148" y="4116"/>
                </a:cubicBezTo>
                <a:cubicBezTo>
                  <a:pt x="1166" y="4117"/>
                  <a:pt x="1176" y="4140"/>
                  <a:pt x="1197" y="4139"/>
                </a:cubicBezTo>
                <a:cubicBezTo>
                  <a:pt x="1222" y="4138"/>
                  <a:pt x="1225" y="4095"/>
                  <a:pt x="1255" y="4096"/>
                </a:cubicBezTo>
                <a:cubicBezTo>
                  <a:pt x="1278" y="4097"/>
                  <a:pt x="1294" y="4122"/>
                  <a:pt x="1315" y="4127"/>
                </a:cubicBezTo>
                <a:cubicBezTo>
                  <a:pt x="1366" y="4140"/>
                  <a:pt x="1401" y="4107"/>
                  <a:pt x="1449" y="4099"/>
                </a:cubicBezTo>
                <a:cubicBezTo>
                  <a:pt x="1498" y="4091"/>
                  <a:pt x="1526" y="4116"/>
                  <a:pt x="1570" y="4116"/>
                </a:cubicBezTo>
                <a:cubicBezTo>
                  <a:pt x="1596" y="4116"/>
                  <a:pt x="1610" y="4097"/>
                  <a:pt x="1642" y="4104"/>
                </a:cubicBezTo>
                <a:cubicBezTo>
                  <a:pt x="1663" y="4108"/>
                  <a:pt x="1691" y="4125"/>
                  <a:pt x="1707" y="4139"/>
                </a:cubicBezTo>
                <a:cubicBezTo>
                  <a:pt x="1723" y="4152"/>
                  <a:pt x="1759" y="4154"/>
                  <a:pt x="1715" y="4179"/>
                </a:cubicBezTo>
                <a:cubicBezTo>
                  <a:pt x="1692" y="4191"/>
                  <a:pt x="1587" y="4166"/>
                  <a:pt x="1555" y="4164"/>
                </a:cubicBezTo>
                <a:cubicBezTo>
                  <a:pt x="1556" y="4181"/>
                  <a:pt x="1540" y="4210"/>
                  <a:pt x="1547" y="4226"/>
                </a:cubicBezTo>
                <a:cubicBezTo>
                  <a:pt x="1498" y="4226"/>
                  <a:pt x="1440" y="4238"/>
                  <a:pt x="1394" y="4218"/>
                </a:cubicBezTo>
                <a:cubicBezTo>
                  <a:pt x="1381" y="4213"/>
                  <a:pt x="1375" y="4190"/>
                  <a:pt x="1362" y="4184"/>
                </a:cubicBezTo>
                <a:cubicBezTo>
                  <a:pt x="1339" y="4173"/>
                  <a:pt x="1312" y="4175"/>
                  <a:pt x="1287" y="4171"/>
                </a:cubicBezTo>
                <a:cubicBezTo>
                  <a:pt x="1309" y="4200"/>
                  <a:pt x="1285" y="4265"/>
                  <a:pt x="1245" y="4235"/>
                </a:cubicBezTo>
                <a:cubicBezTo>
                  <a:pt x="1239" y="4231"/>
                  <a:pt x="1245" y="4203"/>
                  <a:pt x="1229" y="4190"/>
                </a:cubicBezTo>
                <a:cubicBezTo>
                  <a:pt x="1217" y="4179"/>
                  <a:pt x="1215" y="4188"/>
                  <a:pt x="1197" y="4188"/>
                </a:cubicBezTo>
                <a:cubicBezTo>
                  <a:pt x="1176" y="4187"/>
                  <a:pt x="1178" y="4175"/>
                  <a:pt x="1157" y="4181"/>
                </a:cubicBezTo>
                <a:cubicBezTo>
                  <a:pt x="1168" y="4178"/>
                  <a:pt x="1125" y="4227"/>
                  <a:pt x="1125" y="4213"/>
                </a:cubicBezTo>
                <a:cubicBezTo>
                  <a:pt x="1125" y="4243"/>
                  <a:pt x="1208" y="4233"/>
                  <a:pt x="1181" y="4262"/>
                </a:cubicBezTo>
                <a:cubicBezTo>
                  <a:pt x="1161" y="4284"/>
                  <a:pt x="1101" y="4233"/>
                  <a:pt x="1091" y="4259"/>
                </a:cubicBezTo>
                <a:cubicBezTo>
                  <a:pt x="1089" y="4267"/>
                  <a:pt x="1117" y="4285"/>
                  <a:pt x="1113" y="4289"/>
                </a:cubicBezTo>
                <a:cubicBezTo>
                  <a:pt x="1091" y="4314"/>
                  <a:pt x="1083" y="4308"/>
                  <a:pt x="1051" y="4300"/>
                </a:cubicBezTo>
                <a:cubicBezTo>
                  <a:pt x="984" y="4282"/>
                  <a:pt x="954" y="4246"/>
                  <a:pt x="880" y="4275"/>
                </a:cubicBezTo>
                <a:cubicBezTo>
                  <a:pt x="946" y="4309"/>
                  <a:pt x="869" y="4308"/>
                  <a:pt x="840" y="4308"/>
                </a:cubicBezTo>
                <a:cubicBezTo>
                  <a:pt x="790" y="4309"/>
                  <a:pt x="752" y="4300"/>
                  <a:pt x="770" y="4368"/>
                </a:cubicBezTo>
                <a:cubicBezTo>
                  <a:pt x="738" y="4356"/>
                  <a:pt x="706" y="4365"/>
                  <a:pt x="675" y="4358"/>
                </a:cubicBezTo>
                <a:cubicBezTo>
                  <a:pt x="649" y="4353"/>
                  <a:pt x="609" y="4318"/>
                  <a:pt x="585" y="4325"/>
                </a:cubicBezTo>
                <a:cubicBezTo>
                  <a:pt x="538" y="4338"/>
                  <a:pt x="566" y="4404"/>
                  <a:pt x="514" y="4424"/>
                </a:cubicBezTo>
                <a:cubicBezTo>
                  <a:pt x="571" y="4342"/>
                  <a:pt x="488" y="4292"/>
                  <a:pt x="444" y="4230"/>
                </a:cubicBezTo>
                <a:cubicBezTo>
                  <a:pt x="429" y="4209"/>
                  <a:pt x="400" y="4139"/>
                  <a:pt x="374" y="4133"/>
                </a:cubicBezTo>
                <a:cubicBezTo>
                  <a:pt x="309" y="4119"/>
                  <a:pt x="351" y="4196"/>
                  <a:pt x="341" y="4207"/>
                </a:cubicBezTo>
                <a:cubicBezTo>
                  <a:pt x="334" y="4214"/>
                  <a:pt x="305" y="4208"/>
                  <a:pt x="297" y="4206"/>
                </a:cubicBezTo>
                <a:cubicBezTo>
                  <a:pt x="271" y="4198"/>
                  <a:pt x="286" y="4184"/>
                  <a:pt x="270" y="4177"/>
                </a:cubicBezTo>
                <a:cubicBezTo>
                  <a:pt x="240" y="4166"/>
                  <a:pt x="188" y="4150"/>
                  <a:pt x="215" y="4202"/>
                </a:cubicBezTo>
                <a:cubicBezTo>
                  <a:pt x="136" y="4210"/>
                  <a:pt x="158" y="4272"/>
                  <a:pt x="110" y="4301"/>
                </a:cubicBezTo>
                <a:cubicBezTo>
                  <a:pt x="87" y="4315"/>
                  <a:pt x="27" y="4287"/>
                  <a:pt x="24" y="4316"/>
                </a:cubicBezTo>
                <a:cubicBezTo>
                  <a:pt x="23" y="4332"/>
                  <a:pt x="108" y="4336"/>
                  <a:pt x="128" y="4336"/>
                </a:cubicBezTo>
                <a:cubicBezTo>
                  <a:pt x="158" y="4338"/>
                  <a:pt x="189" y="4330"/>
                  <a:pt x="218" y="4339"/>
                </a:cubicBezTo>
                <a:cubicBezTo>
                  <a:pt x="240" y="4345"/>
                  <a:pt x="272" y="4388"/>
                  <a:pt x="300" y="4373"/>
                </a:cubicBezTo>
                <a:cubicBezTo>
                  <a:pt x="344" y="4350"/>
                  <a:pt x="249" y="4293"/>
                  <a:pt x="254" y="4253"/>
                </a:cubicBezTo>
                <a:cubicBezTo>
                  <a:pt x="339" y="4244"/>
                  <a:pt x="362" y="4207"/>
                  <a:pt x="422" y="4288"/>
                </a:cubicBezTo>
                <a:cubicBezTo>
                  <a:pt x="442" y="4316"/>
                  <a:pt x="475" y="4354"/>
                  <a:pt x="456" y="4390"/>
                </a:cubicBezTo>
                <a:cubicBezTo>
                  <a:pt x="433" y="4436"/>
                  <a:pt x="387" y="4414"/>
                  <a:pt x="356" y="4403"/>
                </a:cubicBezTo>
                <a:cubicBezTo>
                  <a:pt x="280" y="4379"/>
                  <a:pt x="243" y="4409"/>
                  <a:pt x="341" y="4427"/>
                </a:cubicBezTo>
                <a:cubicBezTo>
                  <a:pt x="360" y="4431"/>
                  <a:pt x="481" y="4449"/>
                  <a:pt x="481" y="4459"/>
                </a:cubicBezTo>
                <a:cubicBezTo>
                  <a:pt x="482" y="4479"/>
                  <a:pt x="399" y="4531"/>
                  <a:pt x="431" y="4536"/>
                </a:cubicBezTo>
                <a:cubicBezTo>
                  <a:pt x="393" y="4530"/>
                  <a:pt x="383" y="4559"/>
                  <a:pt x="347" y="4556"/>
                </a:cubicBezTo>
                <a:cubicBezTo>
                  <a:pt x="301" y="4554"/>
                  <a:pt x="304" y="4489"/>
                  <a:pt x="251" y="4493"/>
                </a:cubicBezTo>
                <a:cubicBezTo>
                  <a:pt x="234" y="4494"/>
                  <a:pt x="220" y="4515"/>
                  <a:pt x="203" y="4517"/>
                </a:cubicBezTo>
                <a:cubicBezTo>
                  <a:pt x="180" y="4521"/>
                  <a:pt x="170" y="4508"/>
                  <a:pt x="149" y="4506"/>
                </a:cubicBezTo>
                <a:cubicBezTo>
                  <a:pt x="104" y="4501"/>
                  <a:pt x="68" y="4514"/>
                  <a:pt x="24" y="4492"/>
                </a:cubicBezTo>
                <a:cubicBezTo>
                  <a:pt x="24" y="4606"/>
                  <a:pt x="24" y="4720"/>
                  <a:pt x="24" y="4834"/>
                </a:cubicBezTo>
                <a:cubicBezTo>
                  <a:pt x="29" y="4834"/>
                  <a:pt x="95" y="4823"/>
                  <a:pt x="95" y="4823"/>
                </a:cubicBezTo>
                <a:cubicBezTo>
                  <a:pt x="121" y="4849"/>
                  <a:pt x="87" y="4840"/>
                  <a:pt x="80" y="4864"/>
                </a:cubicBezTo>
                <a:cubicBezTo>
                  <a:pt x="133" y="4881"/>
                  <a:pt x="191" y="4833"/>
                  <a:pt x="229" y="4894"/>
                </a:cubicBezTo>
                <a:cubicBezTo>
                  <a:pt x="159" y="4864"/>
                  <a:pt x="95" y="4923"/>
                  <a:pt x="24" y="4911"/>
                </a:cubicBezTo>
                <a:cubicBezTo>
                  <a:pt x="24" y="5046"/>
                  <a:pt x="24" y="5181"/>
                  <a:pt x="24" y="5316"/>
                </a:cubicBezTo>
                <a:cubicBezTo>
                  <a:pt x="24" y="5381"/>
                  <a:pt x="24" y="5445"/>
                  <a:pt x="24" y="5509"/>
                </a:cubicBezTo>
                <a:cubicBezTo>
                  <a:pt x="24" y="5581"/>
                  <a:pt x="13" y="5615"/>
                  <a:pt x="92" y="5634"/>
                </a:cubicBezTo>
                <a:cubicBezTo>
                  <a:pt x="64" y="5654"/>
                  <a:pt x="32" y="5688"/>
                  <a:pt x="24" y="5715"/>
                </a:cubicBezTo>
                <a:cubicBezTo>
                  <a:pt x="14" y="5749"/>
                  <a:pt x="24" y="5803"/>
                  <a:pt x="24" y="5840"/>
                </a:cubicBezTo>
                <a:cubicBezTo>
                  <a:pt x="24" y="5944"/>
                  <a:pt x="24" y="6048"/>
                  <a:pt x="24" y="6152"/>
                </a:cubicBezTo>
                <a:cubicBezTo>
                  <a:pt x="24" y="6203"/>
                  <a:pt x="0" y="6338"/>
                  <a:pt x="37" y="6360"/>
                </a:cubicBezTo>
                <a:cubicBezTo>
                  <a:pt x="71" y="6380"/>
                  <a:pt x="180" y="6360"/>
                  <a:pt x="218" y="6360"/>
                </a:cubicBezTo>
                <a:cubicBezTo>
                  <a:pt x="501" y="6360"/>
                  <a:pt x="784" y="6360"/>
                  <a:pt x="1067" y="6360"/>
                </a:cubicBezTo>
                <a:cubicBezTo>
                  <a:pt x="1794" y="6360"/>
                  <a:pt x="2521" y="6360"/>
                  <a:pt x="3248" y="6360"/>
                </a:cubicBezTo>
                <a:cubicBezTo>
                  <a:pt x="3424" y="6360"/>
                  <a:pt x="3599" y="6360"/>
                  <a:pt x="3775" y="6360"/>
                </a:cubicBezTo>
                <a:cubicBezTo>
                  <a:pt x="3733" y="6332"/>
                  <a:pt x="3900" y="6336"/>
                  <a:pt x="3872" y="6360"/>
                </a:cubicBezTo>
                <a:cubicBezTo>
                  <a:pt x="4049" y="6360"/>
                  <a:pt x="4226" y="6360"/>
                  <a:pt x="4403" y="6360"/>
                </a:cubicBezTo>
                <a:cubicBezTo>
                  <a:pt x="4518" y="6360"/>
                  <a:pt x="4633" y="6360"/>
                  <a:pt x="4748" y="6360"/>
                </a:cubicBezTo>
                <a:cubicBezTo>
                  <a:pt x="4784" y="6360"/>
                  <a:pt x="4824" y="6364"/>
                  <a:pt x="4860" y="6360"/>
                </a:cubicBezTo>
                <a:cubicBezTo>
                  <a:pt x="4885" y="6357"/>
                  <a:pt x="4919" y="6343"/>
                  <a:pt x="4940" y="6344"/>
                </a:cubicBezTo>
                <a:cubicBezTo>
                  <a:pt x="4935" y="6375"/>
                  <a:pt x="4964" y="6359"/>
                  <a:pt x="4985" y="6357"/>
                </a:cubicBezTo>
                <a:cubicBezTo>
                  <a:pt x="5031" y="6355"/>
                  <a:pt x="5092" y="6354"/>
                  <a:pt x="5142" y="6354"/>
                </a:cubicBezTo>
                <a:cubicBezTo>
                  <a:pt x="5096" y="6354"/>
                  <a:pt x="5051" y="6354"/>
                  <a:pt x="5005" y="6354"/>
                </a:cubicBezTo>
                <a:cubicBezTo>
                  <a:pt x="5027" y="6380"/>
                  <a:pt x="5157" y="6361"/>
                  <a:pt x="5189" y="6360"/>
                </a:cubicBezTo>
                <a:cubicBezTo>
                  <a:pt x="5240" y="6359"/>
                  <a:pt x="5289" y="6362"/>
                  <a:pt x="5346" y="6360"/>
                </a:cubicBezTo>
                <a:cubicBezTo>
                  <a:pt x="5451" y="6357"/>
                  <a:pt x="5556" y="6360"/>
                  <a:pt x="5666" y="6360"/>
                </a:cubicBezTo>
                <a:cubicBezTo>
                  <a:pt x="5826" y="6360"/>
                  <a:pt x="5985" y="6360"/>
                  <a:pt x="6145" y="6360"/>
                </a:cubicBezTo>
                <a:cubicBezTo>
                  <a:pt x="6199" y="6360"/>
                  <a:pt x="6254" y="6362"/>
                  <a:pt x="6309" y="6360"/>
                </a:cubicBezTo>
                <a:cubicBezTo>
                  <a:pt x="6318" y="6360"/>
                  <a:pt x="6331" y="6363"/>
                  <a:pt x="6339" y="6360"/>
                </a:cubicBezTo>
                <a:cubicBezTo>
                  <a:pt x="6346" y="6358"/>
                  <a:pt x="6366" y="6359"/>
                  <a:pt x="6370" y="6355"/>
                </a:cubicBezTo>
                <a:cubicBezTo>
                  <a:pt x="6386" y="6337"/>
                  <a:pt x="6351" y="6328"/>
                  <a:pt x="6359" y="6318"/>
                </a:cubicBezTo>
                <a:cubicBezTo>
                  <a:pt x="6373" y="6301"/>
                  <a:pt x="6411" y="6304"/>
                  <a:pt x="6429" y="6301"/>
                </a:cubicBezTo>
                <a:cubicBezTo>
                  <a:pt x="6476" y="6293"/>
                  <a:pt x="6501" y="6281"/>
                  <a:pt x="6529" y="6321"/>
                </a:cubicBezTo>
                <a:cubicBezTo>
                  <a:pt x="6514" y="6325"/>
                  <a:pt x="6495" y="6343"/>
                  <a:pt x="6519" y="6352"/>
                </a:cubicBezTo>
                <a:cubicBezTo>
                  <a:pt x="6545" y="6361"/>
                  <a:pt x="6549" y="6345"/>
                  <a:pt x="6579" y="6338"/>
                </a:cubicBezTo>
                <a:cubicBezTo>
                  <a:pt x="6631" y="6325"/>
                  <a:pt x="6683" y="6342"/>
                  <a:pt x="6735" y="6337"/>
                </a:cubicBezTo>
                <a:cubicBezTo>
                  <a:pt x="6719" y="6364"/>
                  <a:pt x="6701" y="6343"/>
                  <a:pt x="6681" y="6359"/>
                </a:cubicBezTo>
                <a:cubicBezTo>
                  <a:pt x="6693" y="6376"/>
                  <a:pt x="6832" y="6360"/>
                  <a:pt x="6851" y="6360"/>
                </a:cubicBezTo>
                <a:cubicBezTo>
                  <a:pt x="7007" y="6360"/>
                  <a:pt x="7163" y="6360"/>
                  <a:pt x="7318" y="6360"/>
                </a:cubicBezTo>
                <a:cubicBezTo>
                  <a:pt x="7835" y="6360"/>
                  <a:pt x="8352" y="6360"/>
                  <a:pt x="8869" y="6360"/>
                </a:cubicBezTo>
                <a:cubicBezTo>
                  <a:pt x="10031" y="6360"/>
                  <a:pt x="11192" y="6360"/>
                  <a:pt x="12353" y="6360"/>
                </a:cubicBezTo>
                <a:cubicBezTo>
                  <a:pt x="12619" y="6360"/>
                  <a:pt x="12884" y="6360"/>
                  <a:pt x="13150" y="6360"/>
                </a:cubicBezTo>
                <a:cubicBezTo>
                  <a:pt x="13130" y="6337"/>
                  <a:pt x="13073" y="6363"/>
                  <a:pt x="13044" y="6347"/>
                </a:cubicBezTo>
                <a:cubicBezTo>
                  <a:pt x="13069" y="6331"/>
                  <a:pt x="13134" y="6299"/>
                  <a:pt x="13161" y="6294"/>
                </a:cubicBezTo>
                <a:cubicBezTo>
                  <a:pt x="13162" y="6294"/>
                  <a:pt x="13210" y="6309"/>
                  <a:pt x="13221" y="6308"/>
                </a:cubicBezTo>
                <a:cubicBezTo>
                  <a:pt x="13251" y="6307"/>
                  <a:pt x="13271" y="6282"/>
                  <a:pt x="13305" y="6290"/>
                </a:cubicBezTo>
                <a:cubicBezTo>
                  <a:pt x="13289" y="6279"/>
                  <a:pt x="13155" y="6267"/>
                  <a:pt x="13197" y="6225"/>
                </a:cubicBezTo>
                <a:cubicBezTo>
                  <a:pt x="13209" y="6214"/>
                  <a:pt x="13274" y="6226"/>
                  <a:pt x="13287" y="6224"/>
                </a:cubicBezTo>
                <a:cubicBezTo>
                  <a:pt x="13317" y="6218"/>
                  <a:pt x="13328" y="6195"/>
                  <a:pt x="13351" y="6190"/>
                </a:cubicBezTo>
                <a:cubicBezTo>
                  <a:pt x="13382" y="6183"/>
                  <a:pt x="13531" y="6164"/>
                  <a:pt x="13558" y="6179"/>
                </a:cubicBezTo>
                <a:cubicBezTo>
                  <a:pt x="13592" y="6199"/>
                  <a:pt x="13596" y="6269"/>
                  <a:pt x="13664" y="6222"/>
                </a:cubicBezTo>
                <a:cubicBezTo>
                  <a:pt x="13640" y="6209"/>
                  <a:pt x="13580" y="6207"/>
                  <a:pt x="13586" y="6173"/>
                </a:cubicBezTo>
                <a:cubicBezTo>
                  <a:pt x="13590" y="6153"/>
                  <a:pt x="13663" y="6142"/>
                  <a:pt x="13663" y="6142"/>
                </a:cubicBezTo>
                <a:cubicBezTo>
                  <a:pt x="13715" y="6141"/>
                  <a:pt x="13790" y="6156"/>
                  <a:pt x="13853" y="6150"/>
                </a:cubicBezTo>
                <a:cubicBezTo>
                  <a:pt x="13881" y="6147"/>
                  <a:pt x="13939" y="6126"/>
                  <a:pt x="13957" y="6146"/>
                </a:cubicBezTo>
                <a:cubicBezTo>
                  <a:pt x="13978" y="6169"/>
                  <a:pt x="13942" y="6180"/>
                  <a:pt x="13936" y="6201"/>
                </a:cubicBezTo>
                <a:cubicBezTo>
                  <a:pt x="13963" y="6201"/>
                  <a:pt x="13977" y="6203"/>
                  <a:pt x="14002" y="6190"/>
                </a:cubicBezTo>
                <a:cubicBezTo>
                  <a:pt x="13944" y="6220"/>
                  <a:pt x="14029" y="6226"/>
                  <a:pt x="14053" y="6225"/>
                </a:cubicBezTo>
                <a:cubicBezTo>
                  <a:pt x="14027" y="6266"/>
                  <a:pt x="14001" y="6310"/>
                  <a:pt x="13952" y="6327"/>
                </a:cubicBezTo>
                <a:cubicBezTo>
                  <a:pt x="13909" y="6343"/>
                  <a:pt x="13883" y="6313"/>
                  <a:pt x="13830" y="6332"/>
                </a:cubicBezTo>
                <a:cubicBezTo>
                  <a:pt x="13856" y="6323"/>
                  <a:pt x="13886" y="6320"/>
                  <a:pt x="13913" y="6327"/>
                </a:cubicBezTo>
                <a:cubicBezTo>
                  <a:pt x="13911" y="6302"/>
                  <a:pt x="13874" y="6299"/>
                  <a:pt x="13882" y="6271"/>
                </a:cubicBezTo>
                <a:cubicBezTo>
                  <a:pt x="13889" y="6250"/>
                  <a:pt x="13915" y="6257"/>
                  <a:pt x="13927" y="6240"/>
                </a:cubicBezTo>
                <a:cubicBezTo>
                  <a:pt x="13878" y="6258"/>
                  <a:pt x="13844" y="6221"/>
                  <a:pt x="13797" y="6225"/>
                </a:cubicBezTo>
                <a:cubicBezTo>
                  <a:pt x="13778" y="6227"/>
                  <a:pt x="13726" y="6251"/>
                  <a:pt x="13701" y="6261"/>
                </a:cubicBezTo>
                <a:cubicBezTo>
                  <a:pt x="13741" y="6301"/>
                  <a:pt x="13809" y="6264"/>
                  <a:pt x="13851" y="6256"/>
                </a:cubicBezTo>
                <a:cubicBezTo>
                  <a:pt x="13818" y="6301"/>
                  <a:pt x="13668" y="6303"/>
                  <a:pt x="13617" y="6310"/>
                </a:cubicBezTo>
                <a:cubicBezTo>
                  <a:pt x="13605" y="6314"/>
                  <a:pt x="13593" y="6318"/>
                  <a:pt x="13582" y="6322"/>
                </a:cubicBezTo>
                <a:cubicBezTo>
                  <a:pt x="13568" y="6310"/>
                  <a:pt x="13552" y="6306"/>
                  <a:pt x="13534" y="6310"/>
                </a:cubicBezTo>
                <a:cubicBezTo>
                  <a:pt x="13508" y="6320"/>
                  <a:pt x="13503" y="6346"/>
                  <a:pt x="13482" y="6360"/>
                </a:cubicBezTo>
                <a:cubicBezTo>
                  <a:pt x="13736" y="6360"/>
                  <a:pt x="13989" y="6360"/>
                  <a:pt x="14243" y="6360"/>
                </a:cubicBezTo>
                <a:cubicBezTo>
                  <a:pt x="14237" y="6341"/>
                  <a:pt x="14232" y="6327"/>
                  <a:pt x="14217" y="6314"/>
                </a:cubicBezTo>
                <a:cubicBezTo>
                  <a:pt x="14265" y="6350"/>
                  <a:pt x="14262" y="6360"/>
                  <a:pt x="14321" y="6360"/>
                </a:cubicBezTo>
                <a:cubicBezTo>
                  <a:pt x="14390" y="6360"/>
                  <a:pt x="14458" y="6360"/>
                  <a:pt x="14527" y="6360"/>
                </a:cubicBezTo>
                <a:cubicBezTo>
                  <a:pt x="14765" y="6360"/>
                  <a:pt x="15004" y="6360"/>
                  <a:pt x="15243" y="6360"/>
                </a:cubicBezTo>
                <a:cubicBezTo>
                  <a:pt x="15505" y="6360"/>
                  <a:pt x="15767" y="6360"/>
                  <a:pt x="16029" y="6360"/>
                </a:cubicBezTo>
                <a:cubicBezTo>
                  <a:pt x="16132" y="6360"/>
                  <a:pt x="16235" y="6360"/>
                  <a:pt x="16339" y="6360"/>
                </a:cubicBezTo>
                <a:cubicBezTo>
                  <a:pt x="16396" y="6360"/>
                  <a:pt x="16466" y="6371"/>
                  <a:pt x="16522" y="6360"/>
                </a:cubicBezTo>
                <a:cubicBezTo>
                  <a:pt x="16530" y="6359"/>
                  <a:pt x="16552" y="6365"/>
                  <a:pt x="16558" y="6360"/>
                </a:cubicBezTo>
                <a:cubicBezTo>
                  <a:pt x="16575" y="6347"/>
                  <a:pt x="16558" y="6214"/>
                  <a:pt x="16558" y="6190"/>
                </a:cubicBezTo>
                <a:cubicBezTo>
                  <a:pt x="16558" y="6120"/>
                  <a:pt x="16558" y="6050"/>
                  <a:pt x="16558" y="5980"/>
                </a:cubicBezTo>
                <a:cubicBezTo>
                  <a:pt x="16558" y="5836"/>
                  <a:pt x="16558" y="5692"/>
                  <a:pt x="16558" y="5547"/>
                </a:cubicBezTo>
                <a:cubicBezTo>
                  <a:pt x="16558" y="5489"/>
                  <a:pt x="16571" y="5414"/>
                  <a:pt x="16558" y="5357"/>
                </a:cubicBezTo>
                <a:cubicBezTo>
                  <a:pt x="16547" y="5305"/>
                  <a:pt x="16559" y="5316"/>
                  <a:pt x="16505" y="5322"/>
                </a:cubicBezTo>
                <a:cubicBezTo>
                  <a:pt x="16473" y="5325"/>
                  <a:pt x="16451" y="5334"/>
                  <a:pt x="16415" y="5330"/>
                </a:cubicBezTo>
                <a:cubicBezTo>
                  <a:pt x="16469" y="5336"/>
                  <a:pt x="16508" y="5313"/>
                  <a:pt x="16558" y="5319"/>
                </a:cubicBezTo>
                <a:cubicBezTo>
                  <a:pt x="16558" y="5271"/>
                  <a:pt x="16558" y="5224"/>
                  <a:pt x="16558" y="5176"/>
                </a:cubicBezTo>
                <a:cubicBezTo>
                  <a:pt x="16410" y="5188"/>
                  <a:pt x="16262" y="5167"/>
                  <a:pt x="16114" y="5158"/>
                </a:cubicBezTo>
                <a:cubicBezTo>
                  <a:pt x="16087" y="5156"/>
                  <a:pt x="15976" y="5161"/>
                  <a:pt x="15996" y="5106"/>
                </a:cubicBezTo>
                <a:cubicBezTo>
                  <a:pt x="16002" y="5089"/>
                  <a:pt x="16123" y="5076"/>
                  <a:pt x="16144" y="5073"/>
                </a:cubicBezTo>
                <a:cubicBezTo>
                  <a:pt x="16205" y="5065"/>
                  <a:pt x="16268" y="5069"/>
                  <a:pt x="16330" y="5064"/>
                </a:cubicBezTo>
                <a:cubicBezTo>
                  <a:pt x="16367" y="5060"/>
                  <a:pt x="16404" y="5048"/>
                  <a:pt x="16440" y="5046"/>
                </a:cubicBezTo>
                <a:cubicBezTo>
                  <a:pt x="16464" y="5044"/>
                  <a:pt x="16473" y="5057"/>
                  <a:pt x="16502" y="5048"/>
                </a:cubicBezTo>
                <a:cubicBezTo>
                  <a:pt x="16558" y="5032"/>
                  <a:pt x="16558" y="5007"/>
                  <a:pt x="16558" y="4955"/>
                </a:cubicBezTo>
                <a:cubicBezTo>
                  <a:pt x="16558" y="4893"/>
                  <a:pt x="16558" y="4830"/>
                  <a:pt x="16558" y="4768"/>
                </a:cubicBezTo>
                <a:cubicBezTo>
                  <a:pt x="16525" y="4778"/>
                  <a:pt x="16293" y="4731"/>
                  <a:pt x="16293" y="4766"/>
                </a:cubicBezTo>
                <a:cubicBezTo>
                  <a:pt x="16293" y="4748"/>
                  <a:pt x="16184" y="4765"/>
                  <a:pt x="16161" y="4744"/>
                </a:cubicBezTo>
                <a:cubicBezTo>
                  <a:pt x="16153" y="4778"/>
                  <a:pt x="16095" y="4767"/>
                  <a:pt x="16070" y="4767"/>
                </a:cubicBezTo>
                <a:cubicBezTo>
                  <a:pt x="16185" y="4768"/>
                  <a:pt x="16095" y="4729"/>
                  <a:pt x="16150" y="4702"/>
                </a:cubicBezTo>
                <a:cubicBezTo>
                  <a:pt x="16137" y="4708"/>
                  <a:pt x="16212" y="4714"/>
                  <a:pt x="16206" y="4713"/>
                </a:cubicBezTo>
                <a:cubicBezTo>
                  <a:pt x="16226" y="4716"/>
                  <a:pt x="16252" y="4710"/>
                  <a:pt x="16279" y="4713"/>
                </a:cubicBezTo>
                <a:cubicBezTo>
                  <a:pt x="16339" y="4720"/>
                  <a:pt x="16387" y="4703"/>
                  <a:pt x="16448" y="4713"/>
                </a:cubicBezTo>
                <a:cubicBezTo>
                  <a:pt x="16454" y="4714"/>
                  <a:pt x="16468" y="4710"/>
                  <a:pt x="16476" y="4712"/>
                </a:cubicBezTo>
                <a:cubicBezTo>
                  <a:pt x="16482" y="4719"/>
                  <a:pt x="16485" y="4726"/>
                  <a:pt x="16488" y="4734"/>
                </a:cubicBezTo>
                <a:cubicBezTo>
                  <a:pt x="16511" y="4734"/>
                  <a:pt x="16535" y="4735"/>
                  <a:pt x="16558" y="4735"/>
                </a:cubicBezTo>
                <a:cubicBezTo>
                  <a:pt x="16558" y="4614"/>
                  <a:pt x="16558" y="4492"/>
                  <a:pt x="16558" y="4371"/>
                </a:cubicBezTo>
                <a:cubicBezTo>
                  <a:pt x="16549" y="4371"/>
                  <a:pt x="16484" y="4383"/>
                  <a:pt x="16483" y="4359"/>
                </a:cubicBezTo>
                <a:cubicBezTo>
                  <a:pt x="16482" y="4326"/>
                  <a:pt x="16509" y="4351"/>
                  <a:pt x="16517" y="4329"/>
                </a:cubicBezTo>
                <a:cubicBezTo>
                  <a:pt x="16496" y="4300"/>
                  <a:pt x="16454" y="4333"/>
                  <a:pt x="16434" y="4301"/>
                </a:cubicBezTo>
                <a:cubicBezTo>
                  <a:pt x="16447" y="4280"/>
                  <a:pt x="16518" y="4299"/>
                  <a:pt x="16544" y="4276"/>
                </a:cubicBezTo>
                <a:cubicBezTo>
                  <a:pt x="16571" y="4251"/>
                  <a:pt x="16558" y="4166"/>
                  <a:pt x="16558" y="4122"/>
                </a:cubicBezTo>
                <a:cubicBezTo>
                  <a:pt x="16558" y="4023"/>
                  <a:pt x="16578" y="3880"/>
                  <a:pt x="16549" y="3797"/>
                </a:cubicBezTo>
                <a:cubicBezTo>
                  <a:pt x="16547" y="3792"/>
                  <a:pt x="16529" y="3789"/>
                  <a:pt x="16527" y="3775"/>
                </a:cubicBezTo>
                <a:cubicBezTo>
                  <a:pt x="16523" y="3760"/>
                  <a:pt x="16537" y="3751"/>
                  <a:pt x="16535" y="3736"/>
                </a:cubicBezTo>
                <a:cubicBezTo>
                  <a:pt x="16528" y="3695"/>
                  <a:pt x="16506" y="3651"/>
                  <a:pt x="16507" y="3605"/>
                </a:cubicBezTo>
                <a:cubicBezTo>
                  <a:pt x="16507" y="3589"/>
                  <a:pt x="16508" y="3551"/>
                  <a:pt x="16512" y="3544"/>
                </a:cubicBezTo>
                <a:cubicBezTo>
                  <a:pt x="16515" y="3534"/>
                  <a:pt x="16514" y="3522"/>
                  <a:pt x="16517" y="3512"/>
                </a:cubicBezTo>
                <a:cubicBezTo>
                  <a:pt x="16533" y="3468"/>
                  <a:pt x="16558" y="3550"/>
                  <a:pt x="16558" y="3489"/>
                </a:cubicBezTo>
                <a:cubicBezTo>
                  <a:pt x="16493" y="3516"/>
                  <a:pt x="16495" y="3399"/>
                  <a:pt x="16558" y="3412"/>
                </a:cubicBezTo>
                <a:cubicBezTo>
                  <a:pt x="16558" y="3379"/>
                  <a:pt x="16558" y="3346"/>
                  <a:pt x="16558" y="3313"/>
                </a:cubicBezTo>
                <a:cubicBezTo>
                  <a:pt x="16528" y="3341"/>
                  <a:pt x="16499" y="3322"/>
                  <a:pt x="16471" y="3302"/>
                </a:cubicBezTo>
                <a:cubicBezTo>
                  <a:pt x="16470" y="3359"/>
                  <a:pt x="16459" y="3407"/>
                  <a:pt x="16491" y="3442"/>
                </a:cubicBezTo>
                <a:cubicBezTo>
                  <a:pt x="16464" y="3422"/>
                  <a:pt x="16457" y="3431"/>
                  <a:pt x="16472" y="3471"/>
                </a:cubicBezTo>
                <a:cubicBezTo>
                  <a:pt x="16481" y="3495"/>
                  <a:pt x="16478" y="3516"/>
                  <a:pt x="16462" y="3535"/>
                </a:cubicBezTo>
                <a:cubicBezTo>
                  <a:pt x="16459" y="3577"/>
                  <a:pt x="16463" y="3619"/>
                  <a:pt x="16461" y="3662"/>
                </a:cubicBezTo>
                <a:cubicBezTo>
                  <a:pt x="16458" y="3739"/>
                  <a:pt x="16445" y="3811"/>
                  <a:pt x="16358" y="3835"/>
                </a:cubicBezTo>
                <a:cubicBezTo>
                  <a:pt x="16358" y="3738"/>
                  <a:pt x="16359" y="3668"/>
                  <a:pt x="16304" y="3588"/>
                </a:cubicBezTo>
                <a:cubicBezTo>
                  <a:pt x="16336" y="3575"/>
                  <a:pt x="16345" y="3608"/>
                  <a:pt x="16359" y="3628"/>
                </a:cubicBezTo>
                <a:cubicBezTo>
                  <a:pt x="16364" y="3612"/>
                  <a:pt x="16365" y="3497"/>
                  <a:pt x="16349" y="3499"/>
                </a:cubicBezTo>
                <a:cubicBezTo>
                  <a:pt x="16361" y="3498"/>
                  <a:pt x="16376" y="3365"/>
                  <a:pt x="16378" y="3342"/>
                </a:cubicBezTo>
                <a:cubicBezTo>
                  <a:pt x="16364" y="3334"/>
                  <a:pt x="16359" y="3324"/>
                  <a:pt x="16365" y="3311"/>
                </a:cubicBezTo>
                <a:cubicBezTo>
                  <a:pt x="16366" y="3298"/>
                  <a:pt x="16369" y="3285"/>
                  <a:pt x="16373" y="3273"/>
                </a:cubicBezTo>
                <a:cubicBezTo>
                  <a:pt x="16370" y="3250"/>
                  <a:pt x="16352" y="3223"/>
                  <a:pt x="16335" y="3205"/>
                </a:cubicBezTo>
                <a:cubicBezTo>
                  <a:pt x="16353" y="3224"/>
                  <a:pt x="16344" y="3234"/>
                  <a:pt x="16369" y="3246"/>
                </a:cubicBezTo>
                <a:cubicBezTo>
                  <a:pt x="16381" y="3226"/>
                  <a:pt x="16381" y="3206"/>
                  <a:pt x="16369" y="3186"/>
                </a:cubicBezTo>
                <a:cubicBezTo>
                  <a:pt x="16344" y="3168"/>
                  <a:pt x="16345" y="3151"/>
                  <a:pt x="16371" y="3134"/>
                </a:cubicBezTo>
                <a:cubicBezTo>
                  <a:pt x="16374" y="3092"/>
                  <a:pt x="16371" y="3057"/>
                  <a:pt x="16371" y="3015"/>
                </a:cubicBezTo>
                <a:cubicBezTo>
                  <a:pt x="16371" y="2953"/>
                  <a:pt x="16373" y="2889"/>
                  <a:pt x="16378" y="2825"/>
                </a:cubicBezTo>
                <a:cubicBezTo>
                  <a:pt x="16381" y="2770"/>
                  <a:pt x="16384" y="2724"/>
                  <a:pt x="16401" y="2672"/>
                </a:cubicBezTo>
                <a:cubicBezTo>
                  <a:pt x="16414" y="2636"/>
                  <a:pt x="16434" y="2604"/>
                  <a:pt x="16445" y="2567"/>
                </a:cubicBezTo>
                <a:cubicBezTo>
                  <a:pt x="16462" y="2514"/>
                  <a:pt x="16446" y="2424"/>
                  <a:pt x="16491" y="2388"/>
                </a:cubicBezTo>
                <a:cubicBezTo>
                  <a:pt x="16490" y="2488"/>
                  <a:pt x="16490" y="2587"/>
                  <a:pt x="16489" y="2687"/>
                </a:cubicBezTo>
                <a:cubicBezTo>
                  <a:pt x="16489" y="2743"/>
                  <a:pt x="16446" y="3010"/>
                  <a:pt x="16558" y="2971"/>
                </a:cubicBezTo>
                <a:cubicBezTo>
                  <a:pt x="16558" y="2725"/>
                  <a:pt x="16558" y="2479"/>
                  <a:pt x="16558" y="2233"/>
                </a:cubicBezTo>
                <a:cubicBezTo>
                  <a:pt x="16540" y="2250"/>
                  <a:pt x="16517" y="2238"/>
                  <a:pt x="16496" y="2241"/>
                </a:cubicBezTo>
                <a:cubicBezTo>
                  <a:pt x="16471" y="2245"/>
                  <a:pt x="16517" y="2238"/>
                  <a:pt x="16496" y="2241"/>
                </a:cubicBezTo>
                <a:close/>
                <a:moveTo>
                  <a:pt x="11818" y="1163"/>
                </a:moveTo>
                <a:cubicBezTo>
                  <a:pt x="11818" y="1163"/>
                  <a:pt x="11818" y="1149"/>
                  <a:pt x="11818" y="1147"/>
                </a:cubicBezTo>
                <a:cubicBezTo>
                  <a:pt x="11818" y="1152"/>
                  <a:pt x="11818" y="1158"/>
                  <a:pt x="11818" y="1163"/>
                </a:cubicBezTo>
                <a:close/>
                <a:moveTo>
                  <a:pt x="11909" y="1610"/>
                </a:moveTo>
                <a:cubicBezTo>
                  <a:pt x="11918" y="1479"/>
                  <a:pt x="11916" y="1347"/>
                  <a:pt x="11911" y="1215"/>
                </a:cubicBezTo>
                <a:cubicBezTo>
                  <a:pt x="11909" y="1161"/>
                  <a:pt x="11890" y="1084"/>
                  <a:pt x="11901" y="1032"/>
                </a:cubicBezTo>
                <a:cubicBezTo>
                  <a:pt x="11910" y="987"/>
                  <a:pt x="11963" y="953"/>
                  <a:pt x="11983" y="912"/>
                </a:cubicBezTo>
                <a:cubicBezTo>
                  <a:pt x="11983" y="1041"/>
                  <a:pt x="11983" y="1169"/>
                  <a:pt x="11983" y="1297"/>
                </a:cubicBezTo>
                <a:cubicBezTo>
                  <a:pt x="11983" y="1387"/>
                  <a:pt x="12024" y="1574"/>
                  <a:pt x="11909" y="1610"/>
                </a:cubicBezTo>
                <a:cubicBezTo>
                  <a:pt x="11920" y="1437"/>
                  <a:pt x="11944" y="1599"/>
                  <a:pt x="11909" y="1610"/>
                </a:cubicBezTo>
                <a:close/>
                <a:moveTo>
                  <a:pt x="156" y="3196"/>
                </a:moveTo>
                <a:cubicBezTo>
                  <a:pt x="155" y="3195"/>
                  <a:pt x="151" y="3192"/>
                  <a:pt x="156" y="3196"/>
                </a:cubicBezTo>
                <a:cubicBezTo>
                  <a:pt x="156" y="3196"/>
                  <a:pt x="155" y="3195"/>
                  <a:pt x="156" y="3196"/>
                </a:cubicBezTo>
                <a:close/>
                <a:moveTo>
                  <a:pt x="85" y="3060"/>
                </a:moveTo>
                <a:cubicBezTo>
                  <a:pt x="88" y="3065"/>
                  <a:pt x="89" y="3070"/>
                  <a:pt x="89" y="3075"/>
                </a:cubicBezTo>
                <a:cubicBezTo>
                  <a:pt x="84" y="3054"/>
                  <a:pt x="93" y="3031"/>
                  <a:pt x="118" y="3027"/>
                </a:cubicBezTo>
                <a:cubicBezTo>
                  <a:pt x="102" y="3032"/>
                  <a:pt x="91" y="3043"/>
                  <a:pt x="85" y="3060"/>
                </a:cubicBezTo>
                <a:cubicBezTo>
                  <a:pt x="87" y="3065"/>
                  <a:pt x="93" y="3040"/>
                  <a:pt x="85" y="3060"/>
                </a:cubicBezTo>
                <a:close/>
                <a:moveTo>
                  <a:pt x="125" y="3324"/>
                </a:moveTo>
                <a:cubicBezTo>
                  <a:pt x="128" y="3318"/>
                  <a:pt x="126" y="3319"/>
                  <a:pt x="139" y="3329"/>
                </a:cubicBezTo>
                <a:cubicBezTo>
                  <a:pt x="134" y="3328"/>
                  <a:pt x="130" y="3326"/>
                  <a:pt x="125" y="3324"/>
                </a:cubicBezTo>
                <a:cubicBezTo>
                  <a:pt x="126" y="3321"/>
                  <a:pt x="130" y="3325"/>
                  <a:pt x="125" y="3324"/>
                </a:cubicBezTo>
                <a:close/>
                <a:moveTo>
                  <a:pt x="158" y="3279"/>
                </a:moveTo>
                <a:cubicBezTo>
                  <a:pt x="143" y="3282"/>
                  <a:pt x="131" y="3278"/>
                  <a:pt x="122" y="3266"/>
                </a:cubicBezTo>
                <a:cubicBezTo>
                  <a:pt x="136" y="3288"/>
                  <a:pt x="159" y="3269"/>
                  <a:pt x="175" y="3289"/>
                </a:cubicBezTo>
                <a:cubicBezTo>
                  <a:pt x="169" y="3286"/>
                  <a:pt x="164" y="3282"/>
                  <a:pt x="158" y="3279"/>
                </a:cubicBezTo>
                <a:cubicBezTo>
                  <a:pt x="141" y="3282"/>
                  <a:pt x="167" y="3283"/>
                  <a:pt x="158" y="3279"/>
                </a:cubicBezTo>
                <a:close/>
                <a:moveTo>
                  <a:pt x="188" y="3256"/>
                </a:moveTo>
                <a:cubicBezTo>
                  <a:pt x="191" y="3249"/>
                  <a:pt x="193" y="3242"/>
                  <a:pt x="195" y="3236"/>
                </a:cubicBezTo>
                <a:cubicBezTo>
                  <a:pt x="200" y="3241"/>
                  <a:pt x="198" y="3247"/>
                  <a:pt x="188" y="3256"/>
                </a:cubicBezTo>
                <a:cubicBezTo>
                  <a:pt x="191" y="3249"/>
                  <a:pt x="191" y="3249"/>
                  <a:pt x="188" y="3256"/>
                </a:cubicBezTo>
                <a:close/>
                <a:moveTo>
                  <a:pt x="205" y="3242"/>
                </a:moveTo>
                <a:cubicBezTo>
                  <a:pt x="211" y="3242"/>
                  <a:pt x="213" y="3234"/>
                  <a:pt x="216" y="3229"/>
                </a:cubicBezTo>
                <a:cubicBezTo>
                  <a:pt x="213" y="3234"/>
                  <a:pt x="211" y="3242"/>
                  <a:pt x="205" y="3242"/>
                </a:cubicBezTo>
                <a:close/>
                <a:moveTo>
                  <a:pt x="217" y="3081"/>
                </a:moveTo>
                <a:cubicBezTo>
                  <a:pt x="216" y="3094"/>
                  <a:pt x="211" y="3104"/>
                  <a:pt x="202" y="3112"/>
                </a:cubicBezTo>
                <a:cubicBezTo>
                  <a:pt x="217" y="3101"/>
                  <a:pt x="216" y="3077"/>
                  <a:pt x="224" y="3062"/>
                </a:cubicBezTo>
                <a:cubicBezTo>
                  <a:pt x="222" y="3068"/>
                  <a:pt x="219" y="3075"/>
                  <a:pt x="217" y="3081"/>
                </a:cubicBezTo>
                <a:cubicBezTo>
                  <a:pt x="215" y="3094"/>
                  <a:pt x="219" y="3075"/>
                  <a:pt x="217" y="3081"/>
                </a:cubicBezTo>
                <a:close/>
                <a:moveTo>
                  <a:pt x="404" y="4037"/>
                </a:moveTo>
                <a:cubicBezTo>
                  <a:pt x="408" y="4042"/>
                  <a:pt x="411" y="4047"/>
                  <a:pt x="412" y="4053"/>
                </a:cubicBezTo>
                <a:cubicBezTo>
                  <a:pt x="411" y="4047"/>
                  <a:pt x="408" y="4042"/>
                  <a:pt x="404" y="4037"/>
                </a:cubicBezTo>
                <a:close/>
                <a:moveTo>
                  <a:pt x="536" y="2587"/>
                </a:moveTo>
                <a:cubicBezTo>
                  <a:pt x="540" y="2578"/>
                  <a:pt x="542" y="2573"/>
                  <a:pt x="536" y="2587"/>
                </a:cubicBezTo>
                <a:cubicBezTo>
                  <a:pt x="537" y="2585"/>
                  <a:pt x="537" y="2585"/>
                  <a:pt x="536" y="2587"/>
                </a:cubicBezTo>
                <a:close/>
                <a:moveTo>
                  <a:pt x="558" y="3941"/>
                </a:moveTo>
                <a:cubicBezTo>
                  <a:pt x="536" y="3939"/>
                  <a:pt x="565" y="3948"/>
                  <a:pt x="558" y="3941"/>
                </a:cubicBezTo>
                <a:cubicBezTo>
                  <a:pt x="555" y="3940"/>
                  <a:pt x="559" y="3942"/>
                  <a:pt x="558" y="3941"/>
                </a:cubicBezTo>
                <a:close/>
                <a:moveTo>
                  <a:pt x="689" y="2096"/>
                </a:moveTo>
                <a:cubicBezTo>
                  <a:pt x="705" y="2045"/>
                  <a:pt x="758" y="2080"/>
                  <a:pt x="788" y="2097"/>
                </a:cubicBezTo>
                <a:cubicBezTo>
                  <a:pt x="843" y="2129"/>
                  <a:pt x="878" y="2144"/>
                  <a:pt x="943" y="2147"/>
                </a:cubicBezTo>
                <a:cubicBezTo>
                  <a:pt x="965" y="2149"/>
                  <a:pt x="1053" y="2137"/>
                  <a:pt x="1065" y="2162"/>
                </a:cubicBezTo>
                <a:cubicBezTo>
                  <a:pt x="1079" y="2188"/>
                  <a:pt x="1047" y="2209"/>
                  <a:pt x="1036" y="2239"/>
                </a:cubicBezTo>
                <a:cubicBezTo>
                  <a:pt x="1035" y="2237"/>
                  <a:pt x="1003" y="2194"/>
                  <a:pt x="998" y="2191"/>
                </a:cubicBezTo>
                <a:cubicBezTo>
                  <a:pt x="957" y="2167"/>
                  <a:pt x="935" y="2190"/>
                  <a:pt x="893" y="2183"/>
                </a:cubicBezTo>
                <a:cubicBezTo>
                  <a:pt x="850" y="2176"/>
                  <a:pt x="819" y="2138"/>
                  <a:pt x="777" y="2126"/>
                </a:cubicBezTo>
                <a:cubicBezTo>
                  <a:pt x="758" y="2121"/>
                  <a:pt x="678" y="2134"/>
                  <a:pt x="689" y="2096"/>
                </a:cubicBezTo>
                <a:cubicBezTo>
                  <a:pt x="696" y="2074"/>
                  <a:pt x="684" y="2113"/>
                  <a:pt x="689" y="2096"/>
                </a:cubicBezTo>
                <a:close/>
                <a:moveTo>
                  <a:pt x="685" y="3997"/>
                </a:moveTo>
                <a:cubicBezTo>
                  <a:pt x="685" y="4002"/>
                  <a:pt x="685" y="4006"/>
                  <a:pt x="686" y="4010"/>
                </a:cubicBezTo>
                <a:cubicBezTo>
                  <a:pt x="685" y="4006"/>
                  <a:pt x="685" y="4002"/>
                  <a:pt x="685" y="3997"/>
                </a:cubicBezTo>
                <a:close/>
                <a:moveTo>
                  <a:pt x="685" y="3997"/>
                </a:moveTo>
                <a:cubicBezTo>
                  <a:pt x="648" y="3980"/>
                  <a:pt x="628" y="3902"/>
                  <a:pt x="685" y="3902"/>
                </a:cubicBezTo>
                <a:cubicBezTo>
                  <a:pt x="732" y="3901"/>
                  <a:pt x="749" y="4024"/>
                  <a:pt x="685" y="3997"/>
                </a:cubicBezTo>
                <a:close/>
                <a:moveTo>
                  <a:pt x="726" y="2201"/>
                </a:moveTo>
                <a:cubicBezTo>
                  <a:pt x="730" y="2148"/>
                  <a:pt x="842" y="2221"/>
                  <a:pt x="850" y="2241"/>
                </a:cubicBezTo>
                <a:cubicBezTo>
                  <a:pt x="831" y="2239"/>
                  <a:pt x="724" y="2223"/>
                  <a:pt x="726" y="2201"/>
                </a:cubicBezTo>
                <a:cubicBezTo>
                  <a:pt x="727" y="2189"/>
                  <a:pt x="725" y="2212"/>
                  <a:pt x="726" y="2201"/>
                </a:cubicBezTo>
                <a:close/>
                <a:moveTo>
                  <a:pt x="767" y="3940"/>
                </a:moveTo>
                <a:cubicBezTo>
                  <a:pt x="761" y="3913"/>
                  <a:pt x="761" y="3882"/>
                  <a:pt x="771" y="3855"/>
                </a:cubicBezTo>
                <a:cubicBezTo>
                  <a:pt x="758" y="3892"/>
                  <a:pt x="779" y="3923"/>
                  <a:pt x="777" y="3950"/>
                </a:cubicBezTo>
                <a:cubicBezTo>
                  <a:pt x="774" y="3947"/>
                  <a:pt x="770" y="3943"/>
                  <a:pt x="767" y="3940"/>
                </a:cubicBezTo>
                <a:cubicBezTo>
                  <a:pt x="761" y="3909"/>
                  <a:pt x="775" y="3943"/>
                  <a:pt x="767" y="3940"/>
                </a:cubicBezTo>
                <a:close/>
                <a:moveTo>
                  <a:pt x="738" y="3996"/>
                </a:moveTo>
                <a:cubicBezTo>
                  <a:pt x="742" y="4004"/>
                  <a:pt x="745" y="4015"/>
                  <a:pt x="755" y="4018"/>
                </a:cubicBezTo>
                <a:cubicBezTo>
                  <a:pt x="745" y="4015"/>
                  <a:pt x="742" y="4004"/>
                  <a:pt x="738" y="3996"/>
                </a:cubicBezTo>
                <a:close/>
                <a:moveTo>
                  <a:pt x="758" y="4086"/>
                </a:moveTo>
                <a:cubicBezTo>
                  <a:pt x="787" y="4126"/>
                  <a:pt x="829" y="4074"/>
                  <a:pt x="851" y="4118"/>
                </a:cubicBezTo>
                <a:cubicBezTo>
                  <a:pt x="818" y="4127"/>
                  <a:pt x="781" y="4162"/>
                  <a:pt x="758" y="4086"/>
                </a:cubicBezTo>
                <a:close/>
                <a:moveTo>
                  <a:pt x="907" y="3920"/>
                </a:moveTo>
                <a:cubicBezTo>
                  <a:pt x="899" y="3977"/>
                  <a:pt x="924" y="3954"/>
                  <a:pt x="870" y="3986"/>
                </a:cubicBezTo>
                <a:cubicBezTo>
                  <a:pt x="808" y="4023"/>
                  <a:pt x="817" y="4011"/>
                  <a:pt x="770" y="3971"/>
                </a:cubicBezTo>
                <a:cubicBezTo>
                  <a:pt x="801" y="3997"/>
                  <a:pt x="804" y="3928"/>
                  <a:pt x="816" y="3920"/>
                </a:cubicBezTo>
                <a:cubicBezTo>
                  <a:pt x="837" y="3907"/>
                  <a:pt x="874" y="3929"/>
                  <a:pt x="905" y="3934"/>
                </a:cubicBezTo>
                <a:cubicBezTo>
                  <a:pt x="903" y="3918"/>
                  <a:pt x="911" y="3909"/>
                  <a:pt x="929" y="3906"/>
                </a:cubicBezTo>
                <a:cubicBezTo>
                  <a:pt x="922" y="3911"/>
                  <a:pt x="914" y="3915"/>
                  <a:pt x="907" y="3920"/>
                </a:cubicBezTo>
                <a:cubicBezTo>
                  <a:pt x="906" y="3924"/>
                  <a:pt x="913" y="3915"/>
                  <a:pt x="907" y="3920"/>
                </a:cubicBezTo>
                <a:close/>
                <a:moveTo>
                  <a:pt x="942" y="3957"/>
                </a:moveTo>
                <a:cubicBezTo>
                  <a:pt x="941" y="3964"/>
                  <a:pt x="945" y="3955"/>
                  <a:pt x="962" y="3944"/>
                </a:cubicBezTo>
                <a:cubicBezTo>
                  <a:pt x="955" y="3948"/>
                  <a:pt x="949" y="3953"/>
                  <a:pt x="942" y="3957"/>
                </a:cubicBezTo>
                <a:cubicBezTo>
                  <a:pt x="942" y="3959"/>
                  <a:pt x="949" y="3953"/>
                  <a:pt x="942" y="3957"/>
                </a:cubicBezTo>
                <a:close/>
                <a:moveTo>
                  <a:pt x="964" y="3987"/>
                </a:moveTo>
                <a:cubicBezTo>
                  <a:pt x="970" y="3994"/>
                  <a:pt x="980" y="3995"/>
                  <a:pt x="990" y="3996"/>
                </a:cubicBezTo>
                <a:cubicBezTo>
                  <a:pt x="980" y="3995"/>
                  <a:pt x="970" y="3994"/>
                  <a:pt x="964" y="3987"/>
                </a:cubicBezTo>
                <a:close/>
                <a:moveTo>
                  <a:pt x="992" y="3996"/>
                </a:moveTo>
                <a:cubicBezTo>
                  <a:pt x="1008" y="4013"/>
                  <a:pt x="1005" y="4000"/>
                  <a:pt x="1018" y="4028"/>
                </a:cubicBezTo>
                <a:cubicBezTo>
                  <a:pt x="1016" y="4012"/>
                  <a:pt x="1007" y="4001"/>
                  <a:pt x="992" y="3996"/>
                </a:cubicBezTo>
                <a:close/>
                <a:moveTo>
                  <a:pt x="1006" y="3807"/>
                </a:moveTo>
                <a:cubicBezTo>
                  <a:pt x="1007" y="3807"/>
                  <a:pt x="1006" y="3808"/>
                  <a:pt x="1006" y="3807"/>
                </a:cubicBezTo>
                <a:cubicBezTo>
                  <a:pt x="1006" y="3807"/>
                  <a:pt x="1006" y="3807"/>
                  <a:pt x="1006" y="3807"/>
                </a:cubicBezTo>
                <a:close/>
                <a:moveTo>
                  <a:pt x="1053" y="2982"/>
                </a:moveTo>
                <a:cubicBezTo>
                  <a:pt x="1047" y="2982"/>
                  <a:pt x="1042" y="2981"/>
                  <a:pt x="1037" y="2981"/>
                </a:cubicBezTo>
                <a:cubicBezTo>
                  <a:pt x="1047" y="2977"/>
                  <a:pt x="1053" y="2977"/>
                  <a:pt x="1053" y="2982"/>
                </a:cubicBezTo>
                <a:close/>
                <a:moveTo>
                  <a:pt x="1084" y="2965"/>
                </a:moveTo>
                <a:cubicBezTo>
                  <a:pt x="1034" y="2935"/>
                  <a:pt x="973" y="2888"/>
                  <a:pt x="916" y="2867"/>
                </a:cubicBezTo>
                <a:cubicBezTo>
                  <a:pt x="859" y="2845"/>
                  <a:pt x="814" y="2840"/>
                  <a:pt x="780" y="2784"/>
                </a:cubicBezTo>
                <a:cubicBezTo>
                  <a:pt x="789" y="2796"/>
                  <a:pt x="800" y="2805"/>
                  <a:pt x="815" y="2810"/>
                </a:cubicBezTo>
                <a:cubicBezTo>
                  <a:pt x="853" y="2739"/>
                  <a:pt x="952" y="2848"/>
                  <a:pt x="970" y="2814"/>
                </a:cubicBezTo>
                <a:cubicBezTo>
                  <a:pt x="987" y="2781"/>
                  <a:pt x="863" y="2738"/>
                  <a:pt x="853" y="2745"/>
                </a:cubicBezTo>
                <a:cubicBezTo>
                  <a:pt x="867" y="2736"/>
                  <a:pt x="930" y="2739"/>
                  <a:pt x="947" y="2740"/>
                </a:cubicBezTo>
                <a:cubicBezTo>
                  <a:pt x="1061" y="2744"/>
                  <a:pt x="976" y="2808"/>
                  <a:pt x="1019" y="2866"/>
                </a:cubicBezTo>
                <a:cubicBezTo>
                  <a:pt x="1043" y="2898"/>
                  <a:pt x="1096" y="2856"/>
                  <a:pt x="1124" y="2885"/>
                </a:cubicBezTo>
                <a:cubicBezTo>
                  <a:pt x="1146" y="2907"/>
                  <a:pt x="1136" y="2994"/>
                  <a:pt x="1084" y="2965"/>
                </a:cubicBezTo>
                <a:cubicBezTo>
                  <a:pt x="1072" y="2957"/>
                  <a:pt x="1095" y="2971"/>
                  <a:pt x="1084" y="2965"/>
                </a:cubicBezTo>
                <a:close/>
                <a:moveTo>
                  <a:pt x="1344" y="2798"/>
                </a:moveTo>
                <a:cubicBezTo>
                  <a:pt x="1344" y="2782"/>
                  <a:pt x="1319" y="2811"/>
                  <a:pt x="1328" y="2775"/>
                </a:cubicBezTo>
                <a:cubicBezTo>
                  <a:pt x="1319" y="2811"/>
                  <a:pt x="1362" y="2793"/>
                  <a:pt x="1377" y="2783"/>
                </a:cubicBezTo>
                <a:cubicBezTo>
                  <a:pt x="1366" y="2788"/>
                  <a:pt x="1355" y="2793"/>
                  <a:pt x="1344" y="2798"/>
                </a:cubicBezTo>
                <a:cubicBezTo>
                  <a:pt x="1344" y="2798"/>
                  <a:pt x="1356" y="2795"/>
                  <a:pt x="1344" y="2798"/>
                </a:cubicBezTo>
                <a:close/>
                <a:moveTo>
                  <a:pt x="1484" y="3249"/>
                </a:moveTo>
                <a:cubicBezTo>
                  <a:pt x="1493" y="3253"/>
                  <a:pt x="1502" y="3256"/>
                  <a:pt x="1512" y="3257"/>
                </a:cubicBezTo>
                <a:cubicBezTo>
                  <a:pt x="1502" y="3256"/>
                  <a:pt x="1493" y="3253"/>
                  <a:pt x="1484" y="3249"/>
                </a:cubicBezTo>
                <a:close/>
                <a:moveTo>
                  <a:pt x="1649" y="3547"/>
                </a:moveTo>
                <a:cubicBezTo>
                  <a:pt x="1641" y="3547"/>
                  <a:pt x="1633" y="3547"/>
                  <a:pt x="1624" y="3547"/>
                </a:cubicBezTo>
                <a:cubicBezTo>
                  <a:pt x="1632" y="3548"/>
                  <a:pt x="1662" y="3541"/>
                  <a:pt x="1665" y="3555"/>
                </a:cubicBezTo>
                <a:cubicBezTo>
                  <a:pt x="1660" y="3552"/>
                  <a:pt x="1654" y="3549"/>
                  <a:pt x="1649" y="3547"/>
                </a:cubicBezTo>
                <a:cubicBezTo>
                  <a:pt x="1643" y="3546"/>
                  <a:pt x="1659" y="3547"/>
                  <a:pt x="1649" y="3547"/>
                </a:cubicBezTo>
                <a:close/>
                <a:moveTo>
                  <a:pt x="166" y="4222"/>
                </a:moveTo>
                <a:cubicBezTo>
                  <a:pt x="176" y="4222"/>
                  <a:pt x="177" y="4226"/>
                  <a:pt x="170" y="4233"/>
                </a:cubicBezTo>
                <a:cubicBezTo>
                  <a:pt x="160" y="4233"/>
                  <a:pt x="159" y="4229"/>
                  <a:pt x="166" y="4222"/>
                </a:cubicBezTo>
                <a:cubicBezTo>
                  <a:pt x="168" y="4221"/>
                  <a:pt x="164" y="4223"/>
                  <a:pt x="166" y="4222"/>
                </a:cubicBezTo>
                <a:close/>
                <a:moveTo>
                  <a:pt x="164" y="4264"/>
                </a:moveTo>
                <a:cubicBezTo>
                  <a:pt x="183" y="4275"/>
                  <a:pt x="183" y="4292"/>
                  <a:pt x="186" y="4316"/>
                </a:cubicBezTo>
                <a:cubicBezTo>
                  <a:pt x="156" y="4302"/>
                  <a:pt x="152" y="4287"/>
                  <a:pt x="164" y="4264"/>
                </a:cubicBezTo>
                <a:close/>
                <a:moveTo>
                  <a:pt x="213" y="4238"/>
                </a:moveTo>
                <a:cubicBezTo>
                  <a:pt x="210" y="4235"/>
                  <a:pt x="208" y="4231"/>
                  <a:pt x="205" y="4228"/>
                </a:cubicBezTo>
                <a:cubicBezTo>
                  <a:pt x="214" y="4225"/>
                  <a:pt x="235" y="4231"/>
                  <a:pt x="213" y="4238"/>
                </a:cubicBezTo>
                <a:cubicBezTo>
                  <a:pt x="211" y="4235"/>
                  <a:pt x="218" y="4237"/>
                  <a:pt x="213" y="4238"/>
                </a:cubicBezTo>
                <a:close/>
                <a:moveTo>
                  <a:pt x="206" y="4923"/>
                </a:moveTo>
                <a:cubicBezTo>
                  <a:pt x="218" y="4926"/>
                  <a:pt x="218" y="4929"/>
                  <a:pt x="206" y="4932"/>
                </a:cubicBezTo>
                <a:cubicBezTo>
                  <a:pt x="195" y="4929"/>
                  <a:pt x="195" y="4926"/>
                  <a:pt x="206" y="4923"/>
                </a:cubicBezTo>
                <a:cubicBezTo>
                  <a:pt x="209" y="4923"/>
                  <a:pt x="203" y="4923"/>
                  <a:pt x="206" y="4923"/>
                </a:cubicBezTo>
                <a:close/>
                <a:moveTo>
                  <a:pt x="163" y="6257"/>
                </a:moveTo>
                <a:cubicBezTo>
                  <a:pt x="146" y="6246"/>
                  <a:pt x="130" y="6234"/>
                  <a:pt x="127" y="6212"/>
                </a:cubicBezTo>
                <a:cubicBezTo>
                  <a:pt x="170" y="6212"/>
                  <a:pt x="170" y="6212"/>
                  <a:pt x="163" y="6257"/>
                </a:cubicBezTo>
                <a:close/>
                <a:moveTo>
                  <a:pt x="132" y="5722"/>
                </a:moveTo>
                <a:cubicBezTo>
                  <a:pt x="133" y="5718"/>
                  <a:pt x="176" y="5728"/>
                  <a:pt x="174" y="5727"/>
                </a:cubicBezTo>
                <a:cubicBezTo>
                  <a:pt x="160" y="5724"/>
                  <a:pt x="146" y="5722"/>
                  <a:pt x="132" y="5722"/>
                </a:cubicBezTo>
                <a:cubicBezTo>
                  <a:pt x="132" y="5722"/>
                  <a:pt x="146" y="5724"/>
                  <a:pt x="132" y="5722"/>
                </a:cubicBezTo>
                <a:close/>
                <a:moveTo>
                  <a:pt x="206" y="5709"/>
                </a:moveTo>
                <a:cubicBezTo>
                  <a:pt x="179" y="5703"/>
                  <a:pt x="220" y="5686"/>
                  <a:pt x="219" y="5707"/>
                </a:cubicBezTo>
                <a:cubicBezTo>
                  <a:pt x="215" y="5708"/>
                  <a:pt x="210" y="5708"/>
                  <a:pt x="206" y="5709"/>
                </a:cubicBezTo>
                <a:cubicBezTo>
                  <a:pt x="202" y="5708"/>
                  <a:pt x="210" y="5710"/>
                  <a:pt x="206" y="5709"/>
                </a:cubicBezTo>
                <a:close/>
                <a:moveTo>
                  <a:pt x="169" y="5251"/>
                </a:moveTo>
                <a:cubicBezTo>
                  <a:pt x="103" y="5229"/>
                  <a:pt x="207" y="5184"/>
                  <a:pt x="221" y="5261"/>
                </a:cubicBezTo>
                <a:cubicBezTo>
                  <a:pt x="203" y="5259"/>
                  <a:pt x="186" y="5256"/>
                  <a:pt x="169" y="5251"/>
                </a:cubicBezTo>
                <a:cubicBezTo>
                  <a:pt x="159" y="5248"/>
                  <a:pt x="184" y="5256"/>
                  <a:pt x="169" y="5251"/>
                </a:cubicBezTo>
                <a:close/>
                <a:moveTo>
                  <a:pt x="16275" y="2783"/>
                </a:moveTo>
                <a:cubicBezTo>
                  <a:pt x="16275" y="2889"/>
                  <a:pt x="16282" y="2999"/>
                  <a:pt x="16282" y="3103"/>
                </a:cubicBezTo>
                <a:cubicBezTo>
                  <a:pt x="16282" y="2999"/>
                  <a:pt x="16275" y="2889"/>
                  <a:pt x="16275" y="2783"/>
                </a:cubicBezTo>
                <a:close/>
                <a:moveTo>
                  <a:pt x="16281" y="3116"/>
                </a:moveTo>
                <a:cubicBezTo>
                  <a:pt x="16281" y="3133"/>
                  <a:pt x="16288" y="3148"/>
                  <a:pt x="16301" y="3158"/>
                </a:cubicBezTo>
                <a:cubicBezTo>
                  <a:pt x="16268" y="3132"/>
                  <a:pt x="16299" y="3123"/>
                  <a:pt x="16253" y="3105"/>
                </a:cubicBezTo>
                <a:cubicBezTo>
                  <a:pt x="16262" y="3109"/>
                  <a:pt x="16272" y="3113"/>
                  <a:pt x="16281" y="3116"/>
                </a:cubicBezTo>
                <a:cubicBezTo>
                  <a:pt x="16282" y="3135"/>
                  <a:pt x="16272" y="3113"/>
                  <a:pt x="16281" y="3116"/>
                </a:cubicBezTo>
                <a:close/>
                <a:moveTo>
                  <a:pt x="16227" y="4232"/>
                </a:moveTo>
                <a:cubicBezTo>
                  <a:pt x="16227" y="4237"/>
                  <a:pt x="16228" y="4241"/>
                  <a:pt x="16229" y="4245"/>
                </a:cubicBezTo>
                <a:cubicBezTo>
                  <a:pt x="16228" y="4241"/>
                  <a:pt x="16227" y="4237"/>
                  <a:pt x="16227" y="4232"/>
                </a:cubicBezTo>
                <a:close/>
                <a:moveTo>
                  <a:pt x="16215" y="3420"/>
                </a:moveTo>
                <a:cubicBezTo>
                  <a:pt x="16239" y="3451"/>
                  <a:pt x="16274" y="3477"/>
                  <a:pt x="16292" y="3511"/>
                </a:cubicBezTo>
                <a:cubicBezTo>
                  <a:pt x="16274" y="3477"/>
                  <a:pt x="16239" y="3451"/>
                  <a:pt x="16215" y="3420"/>
                </a:cubicBezTo>
                <a:cubicBezTo>
                  <a:pt x="16235" y="3446"/>
                  <a:pt x="16235" y="3446"/>
                  <a:pt x="16215" y="3420"/>
                </a:cubicBezTo>
                <a:close/>
                <a:moveTo>
                  <a:pt x="16214" y="3301"/>
                </a:moveTo>
                <a:cubicBezTo>
                  <a:pt x="16223" y="3303"/>
                  <a:pt x="16227" y="3307"/>
                  <a:pt x="16227" y="3313"/>
                </a:cubicBezTo>
                <a:cubicBezTo>
                  <a:pt x="16223" y="3309"/>
                  <a:pt x="16218" y="3305"/>
                  <a:pt x="16214" y="3301"/>
                </a:cubicBezTo>
                <a:cubicBezTo>
                  <a:pt x="16218" y="3306"/>
                  <a:pt x="16218" y="3306"/>
                  <a:pt x="16214" y="3301"/>
                </a:cubicBezTo>
                <a:close/>
                <a:moveTo>
                  <a:pt x="16236" y="3314"/>
                </a:moveTo>
                <a:cubicBezTo>
                  <a:pt x="16236" y="3305"/>
                  <a:pt x="16242" y="3312"/>
                  <a:pt x="16253" y="3337"/>
                </a:cubicBezTo>
                <a:cubicBezTo>
                  <a:pt x="16248" y="3329"/>
                  <a:pt x="16242" y="3322"/>
                  <a:pt x="16236" y="3314"/>
                </a:cubicBezTo>
                <a:close/>
                <a:moveTo>
                  <a:pt x="16272" y="3349"/>
                </a:moveTo>
                <a:cubicBezTo>
                  <a:pt x="16272" y="3342"/>
                  <a:pt x="16278" y="3339"/>
                  <a:pt x="16288" y="3338"/>
                </a:cubicBezTo>
                <a:cubicBezTo>
                  <a:pt x="16283" y="3341"/>
                  <a:pt x="16278" y="3345"/>
                  <a:pt x="16272" y="3349"/>
                </a:cubicBezTo>
                <a:cubicBezTo>
                  <a:pt x="16272" y="3349"/>
                  <a:pt x="16276" y="3340"/>
                  <a:pt x="16272" y="3349"/>
                </a:cubicBezTo>
                <a:close/>
                <a:moveTo>
                  <a:pt x="16257" y="3256"/>
                </a:moveTo>
                <a:cubicBezTo>
                  <a:pt x="16263" y="3272"/>
                  <a:pt x="16240" y="3260"/>
                  <a:pt x="16229" y="3247"/>
                </a:cubicBezTo>
                <a:cubicBezTo>
                  <a:pt x="16237" y="3255"/>
                  <a:pt x="16246" y="3258"/>
                  <a:pt x="16257" y="3256"/>
                </a:cubicBezTo>
                <a:cubicBezTo>
                  <a:pt x="16259" y="3260"/>
                  <a:pt x="16243" y="3257"/>
                  <a:pt x="16257" y="3256"/>
                </a:cubicBezTo>
                <a:close/>
                <a:moveTo>
                  <a:pt x="16207" y="2744"/>
                </a:moveTo>
                <a:cubicBezTo>
                  <a:pt x="16215" y="2737"/>
                  <a:pt x="16225" y="2734"/>
                  <a:pt x="16236" y="2736"/>
                </a:cubicBezTo>
                <a:cubicBezTo>
                  <a:pt x="16210" y="2732"/>
                  <a:pt x="16206" y="2761"/>
                  <a:pt x="16207" y="2744"/>
                </a:cubicBezTo>
                <a:cubicBezTo>
                  <a:pt x="16216" y="2735"/>
                  <a:pt x="16207" y="2748"/>
                  <a:pt x="16207" y="2744"/>
                </a:cubicBezTo>
                <a:close/>
                <a:moveTo>
                  <a:pt x="16176" y="2897"/>
                </a:moveTo>
                <a:cubicBezTo>
                  <a:pt x="16185" y="2897"/>
                  <a:pt x="16194" y="2897"/>
                  <a:pt x="16203" y="2897"/>
                </a:cubicBezTo>
                <a:cubicBezTo>
                  <a:pt x="16147" y="2896"/>
                  <a:pt x="16189" y="2936"/>
                  <a:pt x="16174" y="2975"/>
                </a:cubicBezTo>
                <a:cubicBezTo>
                  <a:pt x="16184" y="2949"/>
                  <a:pt x="16169" y="2923"/>
                  <a:pt x="16176" y="2897"/>
                </a:cubicBezTo>
                <a:cubicBezTo>
                  <a:pt x="16185" y="2897"/>
                  <a:pt x="16169" y="2922"/>
                  <a:pt x="16176" y="2897"/>
                </a:cubicBezTo>
                <a:close/>
                <a:moveTo>
                  <a:pt x="16163" y="2992"/>
                </a:moveTo>
                <a:cubicBezTo>
                  <a:pt x="16173" y="3003"/>
                  <a:pt x="16183" y="3014"/>
                  <a:pt x="16193" y="3026"/>
                </a:cubicBezTo>
                <a:cubicBezTo>
                  <a:pt x="16187" y="3020"/>
                  <a:pt x="16158" y="2976"/>
                  <a:pt x="16163" y="2992"/>
                </a:cubicBezTo>
                <a:cubicBezTo>
                  <a:pt x="16173" y="3003"/>
                  <a:pt x="16163" y="2989"/>
                  <a:pt x="16163" y="2992"/>
                </a:cubicBezTo>
                <a:close/>
                <a:moveTo>
                  <a:pt x="16172" y="3556"/>
                </a:moveTo>
                <a:cubicBezTo>
                  <a:pt x="16172" y="3568"/>
                  <a:pt x="16160" y="3565"/>
                  <a:pt x="16135" y="3547"/>
                </a:cubicBezTo>
                <a:cubicBezTo>
                  <a:pt x="16148" y="3550"/>
                  <a:pt x="16160" y="3553"/>
                  <a:pt x="16172" y="3556"/>
                </a:cubicBezTo>
                <a:cubicBezTo>
                  <a:pt x="16172" y="3556"/>
                  <a:pt x="16159" y="3550"/>
                  <a:pt x="16172" y="3556"/>
                </a:cubicBezTo>
                <a:close/>
                <a:moveTo>
                  <a:pt x="16138" y="3136"/>
                </a:moveTo>
                <a:cubicBezTo>
                  <a:pt x="16138" y="3136"/>
                  <a:pt x="16140" y="3137"/>
                  <a:pt x="16138" y="3136"/>
                </a:cubicBezTo>
                <a:cubicBezTo>
                  <a:pt x="16138" y="3136"/>
                  <a:pt x="16138" y="3136"/>
                  <a:pt x="16138" y="3136"/>
                </a:cubicBezTo>
                <a:close/>
                <a:moveTo>
                  <a:pt x="16139" y="3137"/>
                </a:moveTo>
                <a:cubicBezTo>
                  <a:pt x="16147" y="3143"/>
                  <a:pt x="16150" y="3153"/>
                  <a:pt x="16148" y="3165"/>
                </a:cubicBezTo>
                <a:cubicBezTo>
                  <a:pt x="16150" y="3153"/>
                  <a:pt x="16147" y="3143"/>
                  <a:pt x="16139" y="3137"/>
                </a:cubicBezTo>
                <a:close/>
                <a:moveTo>
                  <a:pt x="16161" y="3063"/>
                </a:moveTo>
                <a:cubicBezTo>
                  <a:pt x="16174" y="3057"/>
                  <a:pt x="16178" y="3049"/>
                  <a:pt x="16173" y="3038"/>
                </a:cubicBezTo>
                <a:cubicBezTo>
                  <a:pt x="16173" y="3051"/>
                  <a:pt x="16178" y="3052"/>
                  <a:pt x="16189" y="3040"/>
                </a:cubicBezTo>
                <a:cubicBezTo>
                  <a:pt x="16177" y="3045"/>
                  <a:pt x="16168" y="3052"/>
                  <a:pt x="16161" y="3063"/>
                </a:cubicBezTo>
                <a:close/>
                <a:moveTo>
                  <a:pt x="16156" y="3086"/>
                </a:moveTo>
                <a:cubicBezTo>
                  <a:pt x="16137" y="3105"/>
                  <a:pt x="16136" y="3111"/>
                  <a:pt x="16117" y="3087"/>
                </a:cubicBezTo>
                <a:cubicBezTo>
                  <a:pt x="16136" y="3111"/>
                  <a:pt x="16137" y="3105"/>
                  <a:pt x="16156" y="3086"/>
                </a:cubicBezTo>
                <a:cubicBezTo>
                  <a:pt x="16149" y="3093"/>
                  <a:pt x="16149" y="3093"/>
                  <a:pt x="16156" y="3086"/>
                </a:cubicBezTo>
                <a:close/>
                <a:moveTo>
                  <a:pt x="16126" y="2986"/>
                </a:moveTo>
                <a:cubicBezTo>
                  <a:pt x="16131" y="3007"/>
                  <a:pt x="16129" y="2997"/>
                  <a:pt x="16128" y="3028"/>
                </a:cubicBezTo>
                <a:cubicBezTo>
                  <a:pt x="16130" y="2992"/>
                  <a:pt x="16135" y="2988"/>
                  <a:pt x="16100" y="2980"/>
                </a:cubicBezTo>
                <a:cubicBezTo>
                  <a:pt x="16108" y="2982"/>
                  <a:pt x="16117" y="2984"/>
                  <a:pt x="16126" y="2986"/>
                </a:cubicBezTo>
                <a:cubicBezTo>
                  <a:pt x="16127" y="2990"/>
                  <a:pt x="16117" y="2984"/>
                  <a:pt x="16126" y="2986"/>
                </a:cubicBezTo>
                <a:close/>
                <a:moveTo>
                  <a:pt x="16164" y="3715"/>
                </a:moveTo>
                <a:cubicBezTo>
                  <a:pt x="16164" y="3714"/>
                  <a:pt x="16080" y="3710"/>
                  <a:pt x="16074" y="3709"/>
                </a:cubicBezTo>
                <a:cubicBezTo>
                  <a:pt x="16104" y="3711"/>
                  <a:pt x="16134" y="3713"/>
                  <a:pt x="16164" y="3715"/>
                </a:cubicBezTo>
                <a:cubicBezTo>
                  <a:pt x="16164" y="3715"/>
                  <a:pt x="16134" y="3713"/>
                  <a:pt x="16164" y="3715"/>
                </a:cubicBezTo>
                <a:close/>
                <a:moveTo>
                  <a:pt x="15998" y="4703"/>
                </a:moveTo>
                <a:cubicBezTo>
                  <a:pt x="15993" y="4728"/>
                  <a:pt x="16047" y="4716"/>
                  <a:pt x="16064" y="4715"/>
                </a:cubicBezTo>
                <a:cubicBezTo>
                  <a:pt x="16022" y="4717"/>
                  <a:pt x="15982" y="4730"/>
                  <a:pt x="15947" y="4708"/>
                </a:cubicBezTo>
                <a:cubicBezTo>
                  <a:pt x="15964" y="4701"/>
                  <a:pt x="15980" y="4699"/>
                  <a:pt x="15998" y="4703"/>
                </a:cubicBezTo>
                <a:cubicBezTo>
                  <a:pt x="15997" y="4707"/>
                  <a:pt x="15982" y="4701"/>
                  <a:pt x="15998" y="4703"/>
                </a:cubicBezTo>
                <a:close/>
                <a:moveTo>
                  <a:pt x="15997" y="4667"/>
                </a:moveTo>
                <a:cubicBezTo>
                  <a:pt x="16004" y="4665"/>
                  <a:pt x="16012" y="4664"/>
                  <a:pt x="16020" y="4664"/>
                </a:cubicBezTo>
                <a:cubicBezTo>
                  <a:pt x="16012" y="4665"/>
                  <a:pt x="16004" y="4666"/>
                  <a:pt x="15997" y="4667"/>
                </a:cubicBezTo>
                <a:close/>
                <a:moveTo>
                  <a:pt x="16030" y="4605"/>
                </a:moveTo>
                <a:cubicBezTo>
                  <a:pt x="15984" y="4608"/>
                  <a:pt x="15934" y="4621"/>
                  <a:pt x="15890" y="4635"/>
                </a:cubicBezTo>
                <a:cubicBezTo>
                  <a:pt x="15957" y="4613"/>
                  <a:pt x="15877" y="4617"/>
                  <a:pt x="15932" y="4584"/>
                </a:cubicBezTo>
                <a:cubicBezTo>
                  <a:pt x="15952" y="4573"/>
                  <a:pt x="15974" y="4569"/>
                  <a:pt x="15997" y="4569"/>
                </a:cubicBezTo>
                <a:cubicBezTo>
                  <a:pt x="16019" y="4570"/>
                  <a:pt x="16080" y="4602"/>
                  <a:pt x="16030" y="4605"/>
                </a:cubicBezTo>
                <a:cubicBezTo>
                  <a:pt x="16015" y="4606"/>
                  <a:pt x="16070" y="4602"/>
                  <a:pt x="16030" y="4605"/>
                </a:cubicBezTo>
                <a:close/>
                <a:moveTo>
                  <a:pt x="15928" y="4663"/>
                </a:moveTo>
                <a:cubicBezTo>
                  <a:pt x="15915" y="4664"/>
                  <a:pt x="15901" y="4664"/>
                  <a:pt x="15887" y="4664"/>
                </a:cubicBezTo>
                <a:cubicBezTo>
                  <a:pt x="15901" y="4664"/>
                  <a:pt x="15915" y="4663"/>
                  <a:pt x="15928" y="4663"/>
                </a:cubicBezTo>
                <a:close/>
                <a:moveTo>
                  <a:pt x="15895" y="4489"/>
                </a:moveTo>
                <a:cubicBezTo>
                  <a:pt x="15904" y="4502"/>
                  <a:pt x="15914" y="4515"/>
                  <a:pt x="15924" y="4527"/>
                </a:cubicBezTo>
                <a:cubicBezTo>
                  <a:pt x="15900" y="4499"/>
                  <a:pt x="15852" y="4472"/>
                  <a:pt x="15887" y="4436"/>
                </a:cubicBezTo>
                <a:cubicBezTo>
                  <a:pt x="15915" y="4409"/>
                  <a:pt x="15966" y="4427"/>
                  <a:pt x="15966" y="4470"/>
                </a:cubicBezTo>
                <a:cubicBezTo>
                  <a:pt x="15939" y="4473"/>
                  <a:pt x="15909" y="4455"/>
                  <a:pt x="15895" y="4489"/>
                </a:cubicBezTo>
                <a:cubicBezTo>
                  <a:pt x="15904" y="4502"/>
                  <a:pt x="15910" y="4453"/>
                  <a:pt x="15895" y="4489"/>
                </a:cubicBezTo>
                <a:close/>
                <a:moveTo>
                  <a:pt x="15764" y="3710"/>
                </a:moveTo>
                <a:cubicBezTo>
                  <a:pt x="15761" y="3670"/>
                  <a:pt x="15784" y="3648"/>
                  <a:pt x="15783" y="3611"/>
                </a:cubicBezTo>
                <a:cubicBezTo>
                  <a:pt x="15813" y="3618"/>
                  <a:pt x="15875" y="3600"/>
                  <a:pt x="15866" y="3656"/>
                </a:cubicBezTo>
                <a:cubicBezTo>
                  <a:pt x="15860" y="3698"/>
                  <a:pt x="15787" y="3681"/>
                  <a:pt x="15764" y="3710"/>
                </a:cubicBezTo>
                <a:cubicBezTo>
                  <a:pt x="15762" y="3683"/>
                  <a:pt x="15781" y="3688"/>
                  <a:pt x="15764" y="3710"/>
                </a:cubicBezTo>
                <a:close/>
                <a:moveTo>
                  <a:pt x="15821" y="4108"/>
                </a:moveTo>
                <a:cubicBezTo>
                  <a:pt x="15819" y="4105"/>
                  <a:pt x="15819" y="4105"/>
                  <a:pt x="15819" y="4105"/>
                </a:cubicBezTo>
                <a:cubicBezTo>
                  <a:pt x="15819" y="4105"/>
                  <a:pt x="15820" y="4107"/>
                  <a:pt x="15821" y="4108"/>
                </a:cubicBezTo>
                <a:close/>
                <a:moveTo>
                  <a:pt x="15779" y="3906"/>
                </a:moveTo>
                <a:cubicBezTo>
                  <a:pt x="15777" y="3907"/>
                  <a:pt x="15768" y="3914"/>
                  <a:pt x="15779" y="3906"/>
                </a:cubicBezTo>
                <a:cubicBezTo>
                  <a:pt x="15779" y="3906"/>
                  <a:pt x="15777" y="3907"/>
                  <a:pt x="15779" y="3906"/>
                </a:cubicBezTo>
                <a:close/>
                <a:moveTo>
                  <a:pt x="15763" y="3899"/>
                </a:moveTo>
                <a:cubicBezTo>
                  <a:pt x="15763" y="3895"/>
                  <a:pt x="15767" y="3894"/>
                  <a:pt x="15776" y="3897"/>
                </a:cubicBezTo>
                <a:cubicBezTo>
                  <a:pt x="15771" y="3898"/>
                  <a:pt x="15767" y="3899"/>
                  <a:pt x="15763" y="3899"/>
                </a:cubicBezTo>
                <a:close/>
                <a:moveTo>
                  <a:pt x="15770" y="3842"/>
                </a:moveTo>
                <a:cubicBezTo>
                  <a:pt x="15756" y="3838"/>
                  <a:pt x="15742" y="3834"/>
                  <a:pt x="15728" y="3831"/>
                </a:cubicBezTo>
                <a:cubicBezTo>
                  <a:pt x="15750" y="3775"/>
                  <a:pt x="15762" y="3762"/>
                  <a:pt x="15807" y="3807"/>
                </a:cubicBezTo>
                <a:cubicBezTo>
                  <a:pt x="15789" y="3813"/>
                  <a:pt x="15768" y="3818"/>
                  <a:pt x="15770" y="3842"/>
                </a:cubicBezTo>
                <a:cubicBezTo>
                  <a:pt x="15756" y="3838"/>
                  <a:pt x="15768" y="3815"/>
                  <a:pt x="15770" y="3842"/>
                </a:cubicBezTo>
                <a:close/>
                <a:moveTo>
                  <a:pt x="15501" y="4216"/>
                </a:moveTo>
                <a:cubicBezTo>
                  <a:pt x="15506" y="4218"/>
                  <a:pt x="15512" y="4221"/>
                  <a:pt x="15518" y="4223"/>
                </a:cubicBezTo>
                <a:cubicBezTo>
                  <a:pt x="15484" y="4178"/>
                  <a:pt x="15427" y="4181"/>
                  <a:pt x="15377" y="4178"/>
                </a:cubicBezTo>
                <a:cubicBezTo>
                  <a:pt x="15323" y="4174"/>
                  <a:pt x="15327" y="4183"/>
                  <a:pt x="15314" y="4143"/>
                </a:cubicBezTo>
                <a:cubicBezTo>
                  <a:pt x="15387" y="4126"/>
                  <a:pt x="15474" y="4132"/>
                  <a:pt x="15543" y="4141"/>
                </a:cubicBezTo>
                <a:cubicBezTo>
                  <a:pt x="15540" y="4182"/>
                  <a:pt x="15494" y="4167"/>
                  <a:pt x="15473" y="4190"/>
                </a:cubicBezTo>
                <a:cubicBezTo>
                  <a:pt x="15483" y="4199"/>
                  <a:pt x="15492" y="4207"/>
                  <a:pt x="15501" y="4216"/>
                </a:cubicBezTo>
                <a:cubicBezTo>
                  <a:pt x="15509" y="4216"/>
                  <a:pt x="15492" y="4207"/>
                  <a:pt x="15501" y="4216"/>
                </a:cubicBezTo>
                <a:close/>
                <a:moveTo>
                  <a:pt x="15326" y="4489"/>
                </a:moveTo>
                <a:cubicBezTo>
                  <a:pt x="15304" y="4492"/>
                  <a:pt x="15251" y="4494"/>
                  <a:pt x="15276" y="4459"/>
                </a:cubicBezTo>
                <a:cubicBezTo>
                  <a:pt x="15265" y="4475"/>
                  <a:pt x="15341" y="4459"/>
                  <a:pt x="15336" y="4460"/>
                </a:cubicBezTo>
                <a:cubicBezTo>
                  <a:pt x="15375" y="4456"/>
                  <a:pt x="15468" y="4432"/>
                  <a:pt x="15499" y="4469"/>
                </a:cubicBezTo>
                <a:cubicBezTo>
                  <a:pt x="15442" y="4476"/>
                  <a:pt x="15384" y="4483"/>
                  <a:pt x="15326" y="4489"/>
                </a:cubicBezTo>
                <a:cubicBezTo>
                  <a:pt x="15307" y="4492"/>
                  <a:pt x="15384" y="4483"/>
                  <a:pt x="15326" y="4489"/>
                </a:cubicBezTo>
                <a:close/>
                <a:moveTo>
                  <a:pt x="15386" y="5221"/>
                </a:moveTo>
                <a:cubicBezTo>
                  <a:pt x="15364" y="5215"/>
                  <a:pt x="15378" y="5251"/>
                  <a:pt x="15336" y="5241"/>
                </a:cubicBezTo>
                <a:cubicBezTo>
                  <a:pt x="15332" y="5240"/>
                  <a:pt x="15305" y="5203"/>
                  <a:pt x="15296" y="5198"/>
                </a:cubicBezTo>
                <a:cubicBezTo>
                  <a:pt x="15298" y="5199"/>
                  <a:pt x="15342" y="5242"/>
                  <a:pt x="15336" y="5241"/>
                </a:cubicBezTo>
                <a:cubicBezTo>
                  <a:pt x="15363" y="5248"/>
                  <a:pt x="15371" y="5217"/>
                  <a:pt x="15386" y="5221"/>
                </a:cubicBezTo>
                <a:cubicBezTo>
                  <a:pt x="15377" y="5218"/>
                  <a:pt x="15377" y="5218"/>
                  <a:pt x="15386" y="5221"/>
                </a:cubicBezTo>
                <a:close/>
                <a:moveTo>
                  <a:pt x="15169" y="4545"/>
                </a:moveTo>
                <a:cubicBezTo>
                  <a:pt x="15125" y="4498"/>
                  <a:pt x="15229" y="4464"/>
                  <a:pt x="15209" y="4409"/>
                </a:cubicBezTo>
                <a:cubicBezTo>
                  <a:pt x="15223" y="4448"/>
                  <a:pt x="15225" y="4427"/>
                  <a:pt x="15242" y="4463"/>
                </a:cubicBezTo>
                <a:cubicBezTo>
                  <a:pt x="15257" y="4495"/>
                  <a:pt x="15256" y="4486"/>
                  <a:pt x="15225" y="4514"/>
                </a:cubicBezTo>
                <a:cubicBezTo>
                  <a:pt x="15241" y="4532"/>
                  <a:pt x="15265" y="4522"/>
                  <a:pt x="15282" y="4535"/>
                </a:cubicBezTo>
                <a:cubicBezTo>
                  <a:pt x="15240" y="4560"/>
                  <a:pt x="15190" y="4543"/>
                  <a:pt x="15145" y="4552"/>
                </a:cubicBezTo>
                <a:cubicBezTo>
                  <a:pt x="15153" y="4550"/>
                  <a:pt x="15161" y="4547"/>
                  <a:pt x="15169" y="4545"/>
                </a:cubicBezTo>
                <a:cubicBezTo>
                  <a:pt x="15142" y="4516"/>
                  <a:pt x="15161" y="4548"/>
                  <a:pt x="15169" y="4545"/>
                </a:cubicBezTo>
                <a:close/>
                <a:moveTo>
                  <a:pt x="15150" y="4306"/>
                </a:moveTo>
                <a:cubicBezTo>
                  <a:pt x="15155" y="4290"/>
                  <a:pt x="15229" y="4401"/>
                  <a:pt x="15235" y="4416"/>
                </a:cubicBezTo>
                <a:cubicBezTo>
                  <a:pt x="15230" y="4403"/>
                  <a:pt x="15194" y="4386"/>
                  <a:pt x="15181" y="4370"/>
                </a:cubicBezTo>
                <a:cubicBezTo>
                  <a:pt x="15175" y="4363"/>
                  <a:pt x="15148" y="4313"/>
                  <a:pt x="15150" y="4306"/>
                </a:cubicBezTo>
                <a:cubicBezTo>
                  <a:pt x="15151" y="4303"/>
                  <a:pt x="15146" y="4321"/>
                  <a:pt x="15150" y="4306"/>
                </a:cubicBezTo>
                <a:close/>
                <a:moveTo>
                  <a:pt x="15237" y="4200"/>
                </a:moveTo>
                <a:cubicBezTo>
                  <a:pt x="15244" y="4222"/>
                  <a:pt x="15276" y="4253"/>
                  <a:pt x="15290" y="4271"/>
                </a:cubicBezTo>
                <a:cubicBezTo>
                  <a:pt x="15276" y="4253"/>
                  <a:pt x="15244" y="4222"/>
                  <a:pt x="15237" y="4200"/>
                </a:cubicBezTo>
                <a:close/>
                <a:moveTo>
                  <a:pt x="15429" y="4372"/>
                </a:moveTo>
                <a:cubicBezTo>
                  <a:pt x="15420" y="4371"/>
                  <a:pt x="15348" y="4339"/>
                  <a:pt x="15375" y="4321"/>
                </a:cubicBezTo>
                <a:cubicBezTo>
                  <a:pt x="15409" y="4299"/>
                  <a:pt x="15450" y="4339"/>
                  <a:pt x="15429" y="4372"/>
                </a:cubicBezTo>
                <a:cubicBezTo>
                  <a:pt x="15416" y="4370"/>
                  <a:pt x="15432" y="4368"/>
                  <a:pt x="15429" y="4372"/>
                </a:cubicBezTo>
                <a:close/>
                <a:moveTo>
                  <a:pt x="15434" y="4427"/>
                </a:moveTo>
                <a:cubicBezTo>
                  <a:pt x="15415" y="4428"/>
                  <a:pt x="15404" y="4421"/>
                  <a:pt x="15387" y="4424"/>
                </a:cubicBezTo>
                <a:cubicBezTo>
                  <a:pt x="15389" y="4424"/>
                  <a:pt x="15467" y="4387"/>
                  <a:pt x="15434" y="4427"/>
                </a:cubicBezTo>
                <a:cubicBezTo>
                  <a:pt x="15422" y="4427"/>
                  <a:pt x="15440" y="4419"/>
                  <a:pt x="15434" y="4427"/>
                </a:cubicBezTo>
                <a:close/>
                <a:moveTo>
                  <a:pt x="15339" y="3801"/>
                </a:moveTo>
                <a:cubicBezTo>
                  <a:pt x="15345" y="3810"/>
                  <a:pt x="15354" y="3815"/>
                  <a:pt x="15366" y="3814"/>
                </a:cubicBezTo>
                <a:cubicBezTo>
                  <a:pt x="15361" y="3820"/>
                  <a:pt x="15340" y="3803"/>
                  <a:pt x="15339" y="3801"/>
                </a:cubicBezTo>
                <a:cubicBezTo>
                  <a:pt x="15343" y="3809"/>
                  <a:pt x="15343" y="3809"/>
                  <a:pt x="15339" y="3801"/>
                </a:cubicBezTo>
                <a:close/>
                <a:moveTo>
                  <a:pt x="15390" y="3644"/>
                </a:moveTo>
                <a:cubicBezTo>
                  <a:pt x="15415" y="3680"/>
                  <a:pt x="15404" y="3756"/>
                  <a:pt x="15399" y="3797"/>
                </a:cubicBezTo>
                <a:cubicBezTo>
                  <a:pt x="15351" y="3792"/>
                  <a:pt x="15395" y="3665"/>
                  <a:pt x="15390" y="3644"/>
                </a:cubicBezTo>
                <a:cubicBezTo>
                  <a:pt x="15417" y="3682"/>
                  <a:pt x="15397" y="3675"/>
                  <a:pt x="15390" y="3644"/>
                </a:cubicBezTo>
                <a:close/>
                <a:moveTo>
                  <a:pt x="15437" y="3711"/>
                </a:moveTo>
                <a:cubicBezTo>
                  <a:pt x="15441" y="3714"/>
                  <a:pt x="15445" y="3720"/>
                  <a:pt x="15450" y="3724"/>
                </a:cubicBezTo>
                <a:cubicBezTo>
                  <a:pt x="15445" y="3720"/>
                  <a:pt x="15441" y="3714"/>
                  <a:pt x="15437" y="3711"/>
                </a:cubicBezTo>
                <a:close/>
                <a:moveTo>
                  <a:pt x="15483" y="3482"/>
                </a:moveTo>
                <a:cubicBezTo>
                  <a:pt x="15488" y="3481"/>
                  <a:pt x="15468" y="3492"/>
                  <a:pt x="15477" y="3470"/>
                </a:cubicBezTo>
                <a:cubicBezTo>
                  <a:pt x="15479" y="3474"/>
                  <a:pt x="15481" y="3478"/>
                  <a:pt x="15483" y="3482"/>
                </a:cubicBezTo>
                <a:cubicBezTo>
                  <a:pt x="15483" y="3482"/>
                  <a:pt x="15477" y="3479"/>
                  <a:pt x="15483" y="3482"/>
                </a:cubicBezTo>
                <a:close/>
                <a:moveTo>
                  <a:pt x="15477" y="3983"/>
                </a:moveTo>
                <a:cubicBezTo>
                  <a:pt x="15480" y="3988"/>
                  <a:pt x="15482" y="3992"/>
                  <a:pt x="15485" y="3997"/>
                </a:cubicBezTo>
                <a:cubicBezTo>
                  <a:pt x="15474" y="3988"/>
                  <a:pt x="15471" y="3983"/>
                  <a:pt x="15477" y="3983"/>
                </a:cubicBezTo>
                <a:close/>
                <a:moveTo>
                  <a:pt x="15485" y="3484"/>
                </a:moveTo>
                <a:cubicBezTo>
                  <a:pt x="15480" y="3485"/>
                  <a:pt x="15479" y="3485"/>
                  <a:pt x="15485" y="3484"/>
                </a:cubicBezTo>
                <a:cubicBezTo>
                  <a:pt x="15485" y="3484"/>
                  <a:pt x="15485" y="3484"/>
                  <a:pt x="15485" y="3484"/>
                </a:cubicBezTo>
                <a:close/>
                <a:moveTo>
                  <a:pt x="15477" y="3418"/>
                </a:moveTo>
                <a:cubicBezTo>
                  <a:pt x="15481" y="3424"/>
                  <a:pt x="15484" y="3430"/>
                  <a:pt x="15488" y="3436"/>
                </a:cubicBezTo>
                <a:cubicBezTo>
                  <a:pt x="15481" y="3436"/>
                  <a:pt x="15477" y="3430"/>
                  <a:pt x="15477" y="3418"/>
                </a:cubicBezTo>
                <a:cubicBezTo>
                  <a:pt x="15481" y="3424"/>
                  <a:pt x="15481" y="3424"/>
                  <a:pt x="15477" y="3418"/>
                </a:cubicBezTo>
                <a:close/>
                <a:moveTo>
                  <a:pt x="15474" y="3413"/>
                </a:moveTo>
                <a:cubicBezTo>
                  <a:pt x="15474" y="3408"/>
                  <a:pt x="15479" y="3408"/>
                  <a:pt x="15488" y="3412"/>
                </a:cubicBezTo>
                <a:cubicBezTo>
                  <a:pt x="15483" y="3412"/>
                  <a:pt x="15479" y="3412"/>
                  <a:pt x="15474" y="3413"/>
                </a:cubicBezTo>
                <a:close/>
                <a:moveTo>
                  <a:pt x="15534" y="3607"/>
                </a:moveTo>
                <a:cubicBezTo>
                  <a:pt x="15537" y="3573"/>
                  <a:pt x="15534" y="3568"/>
                  <a:pt x="15523" y="3594"/>
                </a:cubicBezTo>
                <a:cubicBezTo>
                  <a:pt x="15534" y="3568"/>
                  <a:pt x="15537" y="3573"/>
                  <a:pt x="15534" y="3607"/>
                </a:cubicBezTo>
                <a:close/>
                <a:moveTo>
                  <a:pt x="15532" y="3513"/>
                </a:moveTo>
                <a:cubicBezTo>
                  <a:pt x="15537" y="3513"/>
                  <a:pt x="15538" y="3518"/>
                  <a:pt x="15535" y="3528"/>
                </a:cubicBezTo>
                <a:cubicBezTo>
                  <a:pt x="15534" y="3523"/>
                  <a:pt x="15533" y="3518"/>
                  <a:pt x="15532" y="3513"/>
                </a:cubicBezTo>
                <a:close/>
                <a:moveTo>
                  <a:pt x="15518" y="3524"/>
                </a:moveTo>
                <a:cubicBezTo>
                  <a:pt x="15516" y="3520"/>
                  <a:pt x="15518" y="3515"/>
                  <a:pt x="15522" y="3511"/>
                </a:cubicBezTo>
                <a:cubicBezTo>
                  <a:pt x="15520" y="3515"/>
                  <a:pt x="15519" y="3520"/>
                  <a:pt x="15518" y="3524"/>
                </a:cubicBezTo>
                <a:cubicBezTo>
                  <a:pt x="15518" y="3524"/>
                  <a:pt x="15519" y="3520"/>
                  <a:pt x="15518" y="3524"/>
                </a:cubicBezTo>
                <a:close/>
                <a:moveTo>
                  <a:pt x="15535" y="3983"/>
                </a:moveTo>
                <a:cubicBezTo>
                  <a:pt x="15573" y="4008"/>
                  <a:pt x="15580" y="4044"/>
                  <a:pt x="15615" y="4069"/>
                </a:cubicBezTo>
                <a:cubicBezTo>
                  <a:pt x="15580" y="4044"/>
                  <a:pt x="15574" y="4008"/>
                  <a:pt x="15535" y="3983"/>
                </a:cubicBezTo>
                <a:close/>
                <a:moveTo>
                  <a:pt x="15685" y="2965"/>
                </a:moveTo>
                <a:cubicBezTo>
                  <a:pt x="15682" y="2992"/>
                  <a:pt x="15683" y="3014"/>
                  <a:pt x="15700" y="3037"/>
                </a:cubicBezTo>
                <a:cubicBezTo>
                  <a:pt x="15683" y="3016"/>
                  <a:pt x="15682" y="2990"/>
                  <a:pt x="15685" y="2965"/>
                </a:cubicBezTo>
                <a:close/>
                <a:moveTo>
                  <a:pt x="15699" y="3135"/>
                </a:moveTo>
                <a:cubicBezTo>
                  <a:pt x="15698" y="3119"/>
                  <a:pt x="15697" y="3105"/>
                  <a:pt x="15696" y="3091"/>
                </a:cubicBezTo>
                <a:cubicBezTo>
                  <a:pt x="15697" y="3105"/>
                  <a:pt x="15698" y="3119"/>
                  <a:pt x="15699" y="3135"/>
                </a:cubicBezTo>
                <a:close/>
                <a:moveTo>
                  <a:pt x="15699" y="2828"/>
                </a:moveTo>
                <a:cubicBezTo>
                  <a:pt x="15699" y="2897"/>
                  <a:pt x="15700" y="2967"/>
                  <a:pt x="15700" y="3036"/>
                </a:cubicBezTo>
                <a:cubicBezTo>
                  <a:pt x="15700" y="2967"/>
                  <a:pt x="15699" y="2897"/>
                  <a:pt x="15699" y="2828"/>
                </a:cubicBezTo>
                <a:cubicBezTo>
                  <a:pt x="15699" y="2897"/>
                  <a:pt x="15699" y="2897"/>
                  <a:pt x="15699" y="2828"/>
                </a:cubicBezTo>
                <a:close/>
                <a:moveTo>
                  <a:pt x="15567" y="2555"/>
                </a:moveTo>
                <a:cubicBezTo>
                  <a:pt x="15618" y="2555"/>
                  <a:pt x="15668" y="2554"/>
                  <a:pt x="15719" y="2554"/>
                </a:cubicBezTo>
                <a:cubicBezTo>
                  <a:pt x="15668" y="2554"/>
                  <a:pt x="15618" y="2555"/>
                  <a:pt x="15567" y="2555"/>
                </a:cubicBezTo>
                <a:close/>
                <a:moveTo>
                  <a:pt x="15610" y="2714"/>
                </a:moveTo>
                <a:cubicBezTo>
                  <a:pt x="15595" y="2715"/>
                  <a:pt x="15581" y="2715"/>
                  <a:pt x="15567" y="2715"/>
                </a:cubicBezTo>
                <a:cubicBezTo>
                  <a:pt x="15581" y="2715"/>
                  <a:pt x="15595" y="2715"/>
                  <a:pt x="15610" y="2714"/>
                </a:cubicBezTo>
                <a:close/>
                <a:moveTo>
                  <a:pt x="15595" y="2733"/>
                </a:moveTo>
                <a:cubicBezTo>
                  <a:pt x="15587" y="2729"/>
                  <a:pt x="15580" y="2728"/>
                  <a:pt x="15573" y="2733"/>
                </a:cubicBezTo>
                <a:cubicBezTo>
                  <a:pt x="15580" y="2728"/>
                  <a:pt x="15587" y="2729"/>
                  <a:pt x="15595" y="2733"/>
                </a:cubicBezTo>
                <a:close/>
                <a:moveTo>
                  <a:pt x="15617" y="3136"/>
                </a:moveTo>
                <a:cubicBezTo>
                  <a:pt x="15623" y="3121"/>
                  <a:pt x="15604" y="3205"/>
                  <a:pt x="15566" y="3213"/>
                </a:cubicBezTo>
                <a:cubicBezTo>
                  <a:pt x="15566" y="3226"/>
                  <a:pt x="15615" y="3144"/>
                  <a:pt x="15617" y="3136"/>
                </a:cubicBezTo>
                <a:cubicBezTo>
                  <a:pt x="15618" y="3132"/>
                  <a:pt x="15609" y="3167"/>
                  <a:pt x="15617" y="3136"/>
                </a:cubicBezTo>
                <a:close/>
                <a:moveTo>
                  <a:pt x="15632" y="4256"/>
                </a:moveTo>
                <a:cubicBezTo>
                  <a:pt x="15636" y="4257"/>
                  <a:pt x="15640" y="4258"/>
                  <a:pt x="15645" y="4259"/>
                </a:cubicBezTo>
                <a:cubicBezTo>
                  <a:pt x="15628" y="4262"/>
                  <a:pt x="15597" y="4258"/>
                  <a:pt x="15580" y="4259"/>
                </a:cubicBezTo>
                <a:cubicBezTo>
                  <a:pt x="15597" y="4258"/>
                  <a:pt x="15615" y="4257"/>
                  <a:pt x="15632" y="4256"/>
                </a:cubicBezTo>
                <a:cubicBezTo>
                  <a:pt x="15635" y="4259"/>
                  <a:pt x="15615" y="4257"/>
                  <a:pt x="15632" y="4256"/>
                </a:cubicBezTo>
                <a:close/>
                <a:moveTo>
                  <a:pt x="15644" y="4243"/>
                </a:moveTo>
                <a:cubicBezTo>
                  <a:pt x="15647" y="4242"/>
                  <a:pt x="15652" y="4241"/>
                  <a:pt x="15656" y="4241"/>
                </a:cubicBezTo>
                <a:cubicBezTo>
                  <a:pt x="15652" y="4241"/>
                  <a:pt x="15647" y="4242"/>
                  <a:pt x="15644" y="4243"/>
                </a:cubicBezTo>
                <a:close/>
                <a:moveTo>
                  <a:pt x="15582" y="3501"/>
                </a:moveTo>
                <a:cubicBezTo>
                  <a:pt x="15581" y="3506"/>
                  <a:pt x="15579" y="3511"/>
                  <a:pt x="15577" y="3516"/>
                </a:cubicBezTo>
                <a:cubicBezTo>
                  <a:pt x="15602" y="3436"/>
                  <a:pt x="15674" y="3346"/>
                  <a:pt x="15678" y="3263"/>
                </a:cubicBezTo>
                <a:cubicBezTo>
                  <a:pt x="15674" y="3334"/>
                  <a:pt x="15610" y="3436"/>
                  <a:pt x="15582" y="3501"/>
                </a:cubicBezTo>
                <a:cubicBezTo>
                  <a:pt x="15581" y="3506"/>
                  <a:pt x="15613" y="3427"/>
                  <a:pt x="15582" y="3501"/>
                </a:cubicBezTo>
                <a:close/>
                <a:moveTo>
                  <a:pt x="15697" y="3962"/>
                </a:moveTo>
                <a:cubicBezTo>
                  <a:pt x="15687" y="3961"/>
                  <a:pt x="15678" y="3968"/>
                  <a:pt x="15669" y="3972"/>
                </a:cubicBezTo>
                <a:cubicBezTo>
                  <a:pt x="15678" y="3968"/>
                  <a:pt x="15687" y="3961"/>
                  <a:pt x="15697" y="3962"/>
                </a:cubicBezTo>
                <a:close/>
                <a:moveTo>
                  <a:pt x="15725" y="3157"/>
                </a:moveTo>
                <a:cubicBezTo>
                  <a:pt x="15732" y="3142"/>
                  <a:pt x="15745" y="3139"/>
                  <a:pt x="15763" y="3147"/>
                </a:cubicBezTo>
                <a:cubicBezTo>
                  <a:pt x="15745" y="3139"/>
                  <a:pt x="15732" y="3142"/>
                  <a:pt x="15725" y="3157"/>
                </a:cubicBezTo>
                <a:close/>
                <a:moveTo>
                  <a:pt x="15732" y="3921"/>
                </a:moveTo>
                <a:cubicBezTo>
                  <a:pt x="15731" y="3922"/>
                  <a:pt x="15696" y="3953"/>
                  <a:pt x="15704" y="3963"/>
                </a:cubicBezTo>
                <a:cubicBezTo>
                  <a:pt x="15706" y="3944"/>
                  <a:pt x="15716" y="3930"/>
                  <a:pt x="15732" y="3921"/>
                </a:cubicBezTo>
                <a:cubicBezTo>
                  <a:pt x="15718" y="3932"/>
                  <a:pt x="15718" y="3932"/>
                  <a:pt x="15732" y="3921"/>
                </a:cubicBezTo>
                <a:close/>
                <a:moveTo>
                  <a:pt x="15746" y="4305"/>
                </a:moveTo>
                <a:cubicBezTo>
                  <a:pt x="15737" y="4304"/>
                  <a:pt x="15727" y="4304"/>
                  <a:pt x="15717" y="4303"/>
                </a:cubicBezTo>
                <a:cubicBezTo>
                  <a:pt x="15727" y="4304"/>
                  <a:pt x="15737" y="4304"/>
                  <a:pt x="15746" y="4305"/>
                </a:cubicBezTo>
                <a:close/>
                <a:moveTo>
                  <a:pt x="15841" y="2516"/>
                </a:moveTo>
                <a:cubicBezTo>
                  <a:pt x="15889" y="2517"/>
                  <a:pt x="15936" y="2518"/>
                  <a:pt x="15984" y="2519"/>
                </a:cubicBezTo>
                <a:cubicBezTo>
                  <a:pt x="15956" y="2518"/>
                  <a:pt x="15823" y="2534"/>
                  <a:pt x="15841" y="2489"/>
                </a:cubicBezTo>
                <a:cubicBezTo>
                  <a:pt x="15841" y="2498"/>
                  <a:pt x="15841" y="2507"/>
                  <a:pt x="15841" y="2516"/>
                </a:cubicBezTo>
                <a:cubicBezTo>
                  <a:pt x="15889" y="2517"/>
                  <a:pt x="15838" y="2506"/>
                  <a:pt x="15841" y="2516"/>
                </a:cubicBezTo>
                <a:close/>
                <a:moveTo>
                  <a:pt x="15987" y="2902"/>
                </a:moveTo>
                <a:cubicBezTo>
                  <a:pt x="16420" y="3482"/>
                  <a:pt x="15545" y="2305"/>
                  <a:pt x="15987" y="2902"/>
                </a:cubicBezTo>
                <a:cubicBezTo>
                  <a:pt x="15986" y="2900"/>
                  <a:pt x="15986" y="2900"/>
                  <a:pt x="15987" y="2902"/>
                </a:cubicBezTo>
                <a:close/>
                <a:moveTo>
                  <a:pt x="15974" y="2883"/>
                </a:moveTo>
                <a:cubicBezTo>
                  <a:pt x="15973" y="2883"/>
                  <a:pt x="15973" y="2883"/>
                  <a:pt x="15974" y="2883"/>
                </a:cubicBezTo>
                <a:cubicBezTo>
                  <a:pt x="15974" y="2883"/>
                  <a:pt x="15974" y="2883"/>
                  <a:pt x="15974" y="2883"/>
                </a:cubicBezTo>
                <a:close/>
                <a:moveTo>
                  <a:pt x="15936" y="2915"/>
                </a:moveTo>
                <a:cubicBezTo>
                  <a:pt x="15933" y="2915"/>
                  <a:pt x="15930" y="2914"/>
                  <a:pt x="15927" y="2913"/>
                </a:cubicBezTo>
                <a:cubicBezTo>
                  <a:pt x="15930" y="2914"/>
                  <a:pt x="15933" y="2915"/>
                  <a:pt x="15936" y="2915"/>
                </a:cubicBezTo>
                <a:close/>
                <a:moveTo>
                  <a:pt x="15894" y="2695"/>
                </a:moveTo>
                <a:cubicBezTo>
                  <a:pt x="15894" y="2704"/>
                  <a:pt x="15890" y="2717"/>
                  <a:pt x="15880" y="2719"/>
                </a:cubicBezTo>
                <a:cubicBezTo>
                  <a:pt x="15891" y="2715"/>
                  <a:pt x="15895" y="2707"/>
                  <a:pt x="15894" y="2695"/>
                </a:cubicBezTo>
                <a:cubicBezTo>
                  <a:pt x="15894" y="2695"/>
                  <a:pt x="15893" y="2712"/>
                  <a:pt x="15894" y="2695"/>
                </a:cubicBezTo>
                <a:close/>
                <a:moveTo>
                  <a:pt x="15877" y="3045"/>
                </a:moveTo>
                <a:cubicBezTo>
                  <a:pt x="15871" y="3056"/>
                  <a:pt x="15871" y="3061"/>
                  <a:pt x="15876" y="3061"/>
                </a:cubicBezTo>
                <a:cubicBezTo>
                  <a:pt x="15878" y="3058"/>
                  <a:pt x="15826" y="3081"/>
                  <a:pt x="15825" y="3081"/>
                </a:cubicBezTo>
                <a:cubicBezTo>
                  <a:pt x="15808" y="3040"/>
                  <a:pt x="15850" y="3046"/>
                  <a:pt x="15877" y="3045"/>
                </a:cubicBezTo>
                <a:cubicBezTo>
                  <a:pt x="15876" y="3051"/>
                  <a:pt x="15861" y="3046"/>
                  <a:pt x="15877" y="3045"/>
                </a:cubicBezTo>
                <a:close/>
                <a:moveTo>
                  <a:pt x="15892" y="3645"/>
                </a:moveTo>
                <a:cubicBezTo>
                  <a:pt x="15904" y="3650"/>
                  <a:pt x="15875" y="3656"/>
                  <a:pt x="15873" y="3655"/>
                </a:cubicBezTo>
                <a:cubicBezTo>
                  <a:pt x="15876" y="3646"/>
                  <a:pt x="15883" y="3643"/>
                  <a:pt x="15892" y="3645"/>
                </a:cubicBezTo>
                <a:cubicBezTo>
                  <a:pt x="15893" y="3646"/>
                  <a:pt x="15882" y="3640"/>
                  <a:pt x="15892" y="3645"/>
                </a:cubicBezTo>
                <a:close/>
                <a:moveTo>
                  <a:pt x="15889" y="3618"/>
                </a:moveTo>
                <a:cubicBezTo>
                  <a:pt x="15894" y="3597"/>
                  <a:pt x="15886" y="3628"/>
                  <a:pt x="15889" y="3618"/>
                </a:cubicBezTo>
                <a:cubicBezTo>
                  <a:pt x="15889" y="3616"/>
                  <a:pt x="15888" y="3619"/>
                  <a:pt x="15889" y="3618"/>
                </a:cubicBezTo>
                <a:close/>
                <a:moveTo>
                  <a:pt x="15848" y="3555"/>
                </a:moveTo>
                <a:cubicBezTo>
                  <a:pt x="15834" y="3551"/>
                  <a:pt x="15798" y="3516"/>
                  <a:pt x="15830" y="3511"/>
                </a:cubicBezTo>
                <a:cubicBezTo>
                  <a:pt x="15839" y="3524"/>
                  <a:pt x="15827" y="3524"/>
                  <a:pt x="15818" y="3528"/>
                </a:cubicBezTo>
                <a:cubicBezTo>
                  <a:pt x="15823" y="3542"/>
                  <a:pt x="15833" y="3551"/>
                  <a:pt x="15848" y="3555"/>
                </a:cubicBezTo>
                <a:cubicBezTo>
                  <a:pt x="15835" y="3551"/>
                  <a:pt x="15835" y="3551"/>
                  <a:pt x="15848" y="3555"/>
                </a:cubicBezTo>
                <a:close/>
                <a:moveTo>
                  <a:pt x="15814" y="3155"/>
                </a:moveTo>
                <a:cubicBezTo>
                  <a:pt x="15820" y="3163"/>
                  <a:pt x="15821" y="3172"/>
                  <a:pt x="15818" y="3181"/>
                </a:cubicBezTo>
                <a:cubicBezTo>
                  <a:pt x="15824" y="3184"/>
                  <a:pt x="15809" y="3147"/>
                  <a:pt x="15814" y="3155"/>
                </a:cubicBezTo>
                <a:cubicBezTo>
                  <a:pt x="15820" y="3166"/>
                  <a:pt x="15820" y="3166"/>
                  <a:pt x="15814" y="3155"/>
                </a:cubicBezTo>
                <a:close/>
                <a:moveTo>
                  <a:pt x="15777" y="2962"/>
                </a:moveTo>
                <a:cubicBezTo>
                  <a:pt x="15773" y="2964"/>
                  <a:pt x="15769" y="2966"/>
                  <a:pt x="15765" y="2969"/>
                </a:cubicBezTo>
                <a:cubicBezTo>
                  <a:pt x="15796" y="2951"/>
                  <a:pt x="15825" y="2956"/>
                  <a:pt x="15830" y="2913"/>
                </a:cubicBezTo>
                <a:cubicBezTo>
                  <a:pt x="15826" y="2943"/>
                  <a:pt x="15808" y="2960"/>
                  <a:pt x="15777" y="2962"/>
                </a:cubicBezTo>
                <a:cubicBezTo>
                  <a:pt x="15773" y="2964"/>
                  <a:pt x="15817" y="2959"/>
                  <a:pt x="15777" y="2962"/>
                </a:cubicBezTo>
                <a:close/>
                <a:moveTo>
                  <a:pt x="15792" y="3439"/>
                </a:moveTo>
                <a:cubicBezTo>
                  <a:pt x="15783" y="3442"/>
                  <a:pt x="15774" y="3444"/>
                  <a:pt x="15764" y="3445"/>
                </a:cubicBezTo>
                <a:cubicBezTo>
                  <a:pt x="15764" y="3447"/>
                  <a:pt x="15795" y="3438"/>
                  <a:pt x="15792" y="3439"/>
                </a:cubicBezTo>
                <a:cubicBezTo>
                  <a:pt x="15783" y="3441"/>
                  <a:pt x="15783" y="3441"/>
                  <a:pt x="15792" y="3439"/>
                </a:cubicBezTo>
                <a:close/>
                <a:moveTo>
                  <a:pt x="15781" y="3102"/>
                </a:moveTo>
                <a:cubicBezTo>
                  <a:pt x="15785" y="3097"/>
                  <a:pt x="15788" y="3092"/>
                  <a:pt x="15792" y="3088"/>
                </a:cubicBezTo>
                <a:cubicBezTo>
                  <a:pt x="15788" y="3092"/>
                  <a:pt x="15785" y="3097"/>
                  <a:pt x="15781" y="3102"/>
                </a:cubicBezTo>
                <a:close/>
                <a:moveTo>
                  <a:pt x="15792" y="3088"/>
                </a:moveTo>
                <a:cubicBezTo>
                  <a:pt x="15796" y="3083"/>
                  <a:pt x="15801" y="3080"/>
                  <a:pt x="15808" y="3080"/>
                </a:cubicBezTo>
                <a:cubicBezTo>
                  <a:pt x="15801" y="3080"/>
                  <a:pt x="15796" y="3083"/>
                  <a:pt x="15792" y="3088"/>
                </a:cubicBezTo>
                <a:close/>
                <a:moveTo>
                  <a:pt x="15776" y="2999"/>
                </a:moveTo>
                <a:cubicBezTo>
                  <a:pt x="15777" y="2985"/>
                  <a:pt x="15764" y="2986"/>
                  <a:pt x="15764" y="2979"/>
                </a:cubicBezTo>
                <a:cubicBezTo>
                  <a:pt x="15764" y="2986"/>
                  <a:pt x="15777" y="2985"/>
                  <a:pt x="15776" y="2999"/>
                </a:cubicBezTo>
                <a:close/>
                <a:moveTo>
                  <a:pt x="15764" y="2974"/>
                </a:moveTo>
                <a:cubicBezTo>
                  <a:pt x="15764" y="2974"/>
                  <a:pt x="15764" y="2974"/>
                  <a:pt x="15764" y="2974"/>
                </a:cubicBezTo>
                <a:cubicBezTo>
                  <a:pt x="15764" y="2974"/>
                  <a:pt x="15764" y="2974"/>
                  <a:pt x="15764" y="2974"/>
                </a:cubicBezTo>
                <a:close/>
                <a:moveTo>
                  <a:pt x="15830" y="3510"/>
                </a:moveTo>
                <a:cubicBezTo>
                  <a:pt x="15825" y="3461"/>
                  <a:pt x="15874" y="3466"/>
                  <a:pt x="15883" y="3515"/>
                </a:cubicBezTo>
                <a:cubicBezTo>
                  <a:pt x="15865" y="3519"/>
                  <a:pt x="15847" y="3517"/>
                  <a:pt x="15830" y="3510"/>
                </a:cubicBezTo>
                <a:close/>
                <a:moveTo>
                  <a:pt x="15878" y="3061"/>
                </a:moveTo>
                <a:cubicBezTo>
                  <a:pt x="15881" y="3061"/>
                  <a:pt x="15883" y="3060"/>
                  <a:pt x="15884" y="3059"/>
                </a:cubicBezTo>
                <a:cubicBezTo>
                  <a:pt x="15883" y="3060"/>
                  <a:pt x="15881" y="3061"/>
                  <a:pt x="15878" y="3061"/>
                </a:cubicBezTo>
                <a:close/>
                <a:moveTo>
                  <a:pt x="15908" y="3727"/>
                </a:moveTo>
                <a:cubicBezTo>
                  <a:pt x="15906" y="3711"/>
                  <a:pt x="15912" y="3705"/>
                  <a:pt x="15927" y="3710"/>
                </a:cubicBezTo>
                <a:cubicBezTo>
                  <a:pt x="15912" y="3705"/>
                  <a:pt x="15906" y="3711"/>
                  <a:pt x="15908" y="3727"/>
                </a:cubicBezTo>
                <a:close/>
                <a:moveTo>
                  <a:pt x="15892" y="3587"/>
                </a:moveTo>
                <a:cubicBezTo>
                  <a:pt x="15902" y="3567"/>
                  <a:pt x="15926" y="3575"/>
                  <a:pt x="15946" y="3578"/>
                </a:cubicBezTo>
                <a:cubicBezTo>
                  <a:pt x="16000" y="3586"/>
                  <a:pt x="15990" y="3601"/>
                  <a:pt x="16042" y="3572"/>
                </a:cubicBezTo>
                <a:cubicBezTo>
                  <a:pt x="15988" y="3602"/>
                  <a:pt x="15944" y="3652"/>
                  <a:pt x="15892" y="3587"/>
                </a:cubicBezTo>
                <a:cubicBezTo>
                  <a:pt x="15894" y="3584"/>
                  <a:pt x="15922" y="3625"/>
                  <a:pt x="15892" y="3587"/>
                </a:cubicBezTo>
                <a:close/>
                <a:moveTo>
                  <a:pt x="16020" y="3059"/>
                </a:moveTo>
                <a:cubicBezTo>
                  <a:pt x="15976" y="3040"/>
                  <a:pt x="15929" y="3065"/>
                  <a:pt x="15889" y="3052"/>
                </a:cubicBezTo>
                <a:cubicBezTo>
                  <a:pt x="15885" y="3050"/>
                  <a:pt x="15881" y="3047"/>
                  <a:pt x="15877" y="3045"/>
                </a:cubicBezTo>
                <a:cubicBezTo>
                  <a:pt x="15877" y="3011"/>
                  <a:pt x="15892" y="3005"/>
                  <a:pt x="15921" y="3026"/>
                </a:cubicBezTo>
                <a:cubicBezTo>
                  <a:pt x="15945" y="3023"/>
                  <a:pt x="16064" y="3032"/>
                  <a:pt x="16062" y="3059"/>
                </a:cubicBezTo>
                <a:cubicBezTo>
                  <a:pt x="16048" y="3059"/>
                  <a:pt x="16034" y="3059"/>
                  <a:pt x="16020" y="3059"/>
                </a:cubicBezTo>
                <a:cubicBezTo>
                  <a:pt x="15977" y="3041"/>
                  <a:pt x="16034" y="3059"/>
                  <a:pt x="16020" y="3059"/>
                </a:cubicBezTo>
                <a:close/>
                <a:moveTo>
                  <a:pt x="15974" y="2941"/>
                </a:moveTo>
                <a:cubicBezTo>
                  <a:pt x="15974" y="2918"/>
                  <a:pt x="16059" y="2952"/>
                  <a:pt x="16065" y="2955"/>
                </a:cubicBezTo>
                <a:cubicBezTo>
                  <a:pt x="16037" y="2938"/>
                  <a:pt x="16005" y="2931"/>
                  <a:pt x="15974" y="2941"/>
                </a:cubicBezTo>
                <a:cubicBezTo>
                  <a:pt x="15974" y="2941"/>
                  <a:pt x="16009" y="2929"/>
                  <a:pt x="15974" y="2941"/>
                </a:cubicBezTo>
                <a:close/>
                <a:moveTo>
                  <a:pt x="15513" y="2186"/>
                </a:moveTo>
                <a:cubicBezTo>
                  <a:pt x="15521" y="2110"/>
                  <a:pt x="15504" y="2033"/>
                  <a:pt x="15523" y="1958"/>
                </a:cubicBezTo>
                <a:cubicBezTo>
                  <a:pt x="15552" y="1986"/>
                  <a:pt x="15596" y="2012"/>
                  <a:pt x="15617" y="2047"/>
                </a:cubicBezTo>
                <a:cubicBezTo>
                  <a:pt x="15641" y="2087"/>
                  <a:pt x="15635" y="2121"/>
                  <a:pt x="15635" y="2167"/>
                </a:cubicBezTo>
                <a:cubicBezTo>
                  <a:pt x="15635" y="2263"/>
                  <a:pt x="15635" y="2358"/>
                  <a:pt x="15635" y="2453"/>
                </a:cubicBezTo>
                <a:cubicBezTo>
                  <a:pt x="15660" y="2407"/>
                  <a:pt x="15637" y="2372"/>
                  <a:pt x="15676" y="2329"/>
                </a:cubicBezTo>
                <a:cubicBezTo>
                  <a:pt x="15659" y="2295"/>
                  <a:pt x="15652" y="2312"/>
                  <a:pt x="15653" y="2252"/>
                </a:cubicBezTo>
                <a:cubicBezTo>
                  <a:pt x="15655" y="2198"/>
                  <a:pt x="15646" y="2143"/>
                  <a:pt x="15665" y="2092"/>
                </a:cubicBezTo>
                <a:cubicBezTo>
                  <a:pt x="15757" y="2162"/>
                  <a:pt x="15842" y="2249"/>
                  <a:pt x="15929" y="2325"/>
                </a:cubicBezTo>
                <a:cubicBezTo>
                  <a:pt x="15956" y="2349"/>
                  <a:pt x="16039" y="2406"/>
                  <a:pt x="16032" y="2442"/>
                </a:cubicBezTo>
                <a:cubicBezTo>
                  <a:pt x="16025" y="2482"/>
                  <a:pt x="15992" y="2422"/>
                  <a:pt x="15965" y="2415"/>
                </a:cubicBezTo>
                <a:cubicBezTo>
                  <a:pt x="15948" y="2411"/>
                  <a:pt x="15904" y="2419"/>
                  <a:pt x="15886" y="2423"/>
                </a:cubicBezTo>
                <a:cubicBezTo>
                  <a:pt x="15872" y="2427"/>
                  <a:pt x="15863" y="2418"/>
                  <a:pt x="15851" y="2424"/>
                </a:cubicBezTo>
                <a:cubicBezTo>
                  <a:pt x="15837" y="2431"/>
                  <a:pt x="15846" y="2459"/>
                  <a:pt x="15833" y="2464"/>
                </a:cubicBezTo>
                <a:cubicBezTo>
                  <a:pt x="15783" y="2486"/>
                  <a:pt x="15800" y="2382"/>
                  <a:pt x="15797" y="2353"/>
                </a:cubicBezTo>
                <a:cubicBezTo>
                  <a:pt x="15793" y="2310"/>
                  <a:pt x="15802" y="2222"/>
                  <a:pt x="15773" y="2194"/>
                </a:cubicBezTo>
                <a:cubicBezTo>
                  <a:pt x="15757" y="2283"/>
                  <a:pt x="15763" y="2374"/>
                  <a:pt x="15775" y="2463"/>
                </a:cubicBezTo>
                <a:cubicBezTo>
                  <a:pt x="15721" y="2465"/>
                  <a:pt x="15664" y="2470"/>
                  <a:pt x="15610" y="2464"/>
                </a:cubicBezTo>
                <a:cubicBezTo>
                  <a:pt x="15544" y="2457"/>
                  <a:pt x="15553" y="2458"/>
                  <a:pt x="15549" y="2406"/>
                </a:cubicBezTo>
                <a:cubicBezTo>
                  <a:pt x="15547" y="2386"/>
                  <a:pt x="15561" y="2351"/>
                  <a:pt x="15556" y="2334"/>
                </a:cubicBezTo>
                <a:cubicBezTo>
                  <a:pt x="15547" y="2301"/>
                  <a:pt x="15544" y="2331"/>
                  <a:pt x="15533" y="2311"/>
                </a:cubicBezTo>
                <a:cubicBezTo>
                  <a:pt x="15509" y="2268"/>
                  <a:pt x="15506" y="2252"/>
                  <a:pt x="15513" y="2186"/>
                </a:cubicBezTo>
                <a:cubicBezTo>
                  <a:pt x="15521" y="2110"/>
                  <a:pt x="15510" y="2213"/>
                  <a:pt x="15513" y="2186"/>
                </a:cubicBezTo>
                <a:close/>
                <a:moveTo>
                  <a:pt x="15286" y="2320"/>
                </a:moveTo>
                <a:cubicBezTo>
                  <a:pt x="15286" y="2305"/>
                  <a:pt x="15272" y="2302"/>
                  <a:pt x="15267" y="2291"/>
                </a:cubicBezTo>
                <a:cubicBezTo>
                  <a:pt x="15256" y="2265"/>
                  <a:pt x="15265" y="2262"/>
                  <a:pt x="15265" y="2231"/>
                </a:cubicBezTo>
                <a:cubicBezTo>
                  <a:pt x="15265" y="2176"/>
                  <a:pt x="15268" y="2120"/>
                  <a:pt x="15268" y="2064"/>
                </a:cubicBezTo>
                <a:cubicBezTo>
                  <a:pt x="15268" y="1946"/>
                  <a:pt x="15269" y="1828"/>
                  <a:pt x="15269" y="1709"/>
                </a:cubicBezTo>
                <a:cubicBezTo>
                  <a:pt x="15338" y="1773"/>
                  <a:pt x="15449" y="1848"/>
                  <a:pt x="15492" y="1931"/>
                </a:cubicBezTo>
                <a:cubicBezTo>
                  <a:pt x="15514" y="1973"/>
                  <a:pt x="15501" y="2037"/>
                  <a:pt x="15501" y="2086"/>
                </a:cubicBezTo>
                <a:cubicBezTo>
                  <a:pt x="15501" y="2115"/>
                  <a:pt x="15520" y="2251"/>
                  <a:pt x="15504" y="2268"/>
                </a:cubicBezTo>
                <a:cubicBezTo>
                  <a:pt x="15490" y="2283"/>
                  <a:pt x="15441" y="2265"/>
                  <a:pt x="15422" y="2282"/>
                </a:cubicBezTo>
                <a:cubicBezTo>
                  <a:pt x="15405" y="2297"/>
                  <a:pt x="15415" y="2310"/>
                  <a:pt x="15407" y="2329"/>
                </a:cubicBezTo>
                <a:cubicBezTo>
                  <a:pt x="15387" y="2380"/>
                  <a:pt x="15380" y="2373"/>
                  <a:pt x="15333" y="2348"/>
                </a:cubicBezTo>
                <a:cubicBezTo>
                  <a:pt x="15300" y="2330"/>
                  <a:pt x="15280" y="2319"/>
                  <a:pt x="15240" y="2309"/>
                </a:cubicBezTo>
                <a:cubicBezTo>
                  <a:pt x="15237" y="2413"/>
                  <a:pt x="15260" y="2473"/>
                  <a:pt x="15140" y="2484"/>
                </a:cubicBezTo>
                <a:cubicBezTo>
                  <a:pt x="15140" y="2391"/>
                  <a:pt x="15140" y="2297"/>
                  <a:pt x="15140" y="2204"/>
                </a:cubicBezTo>
                <a:cubicBezTo>
                  <a:pt x="15182" y="2249"/>
                  <a:pt x="15229" y="2306"/>
                  <a:pt x="15286" y="2320"/>
                </a:cubicBezTo>
                <a:cubicBezTo>
                  <a:pt x="15286" y="2299"/>
                  <a:pt x="15271" y="2316"/>
                  <a:pt x="15286" y="2320"/>
                </a:cubicBezTo>
                <a:close/>
                <a:moveTo>
                  <a:pt x="15346" y="2475"/>
                </a:moveTo>
                <a:cubicBezTo>
                  <a:pt x="15316" y="2474"/>
                  <a:pt x="15314" y="2479"/>
                  <a:pt x="15303" y="2456"/>
                </a:cubicBezTo>
                <a:cubicBezTo>
                  <a:pt x="15295" y="2439"/>
                  <a:pt x="15303" y="2381"/>
                  <a:pt x="15303" y="2364"/>
                </a:cubicBezTo>
                <a:cubicBezTo>
                  <a:pt x="15366" y="2380"/>
                  <a:pt x="15337" y="2430"/>
                  <a:pt x="15346" y="2475"/>
                </a:cubicBezTo>
                <a:cubicBezTo>
                  <a:pt x="15332" y="2475"/>
                  <a:pt x="15338" y="2436"/>
                  <a:pt x="15346" y="2475"/>
                </a:cubicBezTo>
                <a:close/>
                <a:moveTo>
                  <a:pt x="15256" y="2485"/>
                </a:moveTo>
                <a:cubicBezTo>
                  <a:pt x="15245" y="2486"/>
                  <a:pt x="15235" y="2486"/>
                  <a:pt x="15224" y="2486"/>
                </a:cubicBezTo>
                <a:cubicBezTo>
                  <a:pt x="15235" y="2486"/>
                  <a:pt x="15245" y="2486"/>
                  <a:pt x="15256" y="2485"/>
                </a:cubicBezTo>
                <a:close/>
                <a:moveTo>
                  <a:pt x="15168" y="2685"/>
                </a:moveTo>
                <a:cubicBezTo>
                  <a:pt x="15157" y="2682"/>
                  <a:pt x="15147" y="2686"/>
                  <a:pt x="15137" y="2695"/>
                </a:cubicBezTo>
                <a:cubicBezTo>
                  <a:pt x="15147" y="2686"/>
                  <a:pt x="15157" y="2682"/>
                  <a:pt x="15168" y="2685"/>
                </a:cubicBezTo>
                <a:cubicBezTo>
                  <a:pt x="15166" y="2684"/>
                  <a:pt x="15166" y="2684"/>
                  <a:pt x="15168" y="2685"/>
                </a:cubicBezTo>
                <a:close/>
                <a:moveTo>
                  <a:pt x="15131" y="2552"/>
                </a:moveTo>
                <a:cubicBezTo>
                  <a:pt x="15135" y="2544"/>
                  <a:pt x="15145" y="2544"/>
                  <a:pt x="15159" y="2553"/>
                </a:cubicBezTo>
                <a:cubicBezTo>
                  <a:pt x="15150" y="2553"/>
                  <a:pt x="15140" y="2552"/>
                  <a:pt x="15131" y="2552"/>
                </a:cubicBezTo>
                <a:cubicBezTo>
                  <a:pt x="15131" y="2552"/>
                  <a:pt x="15140" y="2552"/>
                  <a:pt x="15131" y="2552"/>
                </a:cubicBezTo>
                <a:close/>
                <a:moveTo>
                  <a:pt x="14878" y="1894"/>
                </a:moveTo>
                <a:cubicBezTo>
                  <a:pt x="14911" y="1857"/>
                  <a:pt x="14887" y="1739"/>
                  <a:pt x="14887" y="1690"/>
                </a:cubicBezTo>
                <a:cubicBezTo>
                  <a:pt x="14887" y="1613"/>
                  <a:pt x="14887" y="1536"/>
                  <a:pt x="14887" y="1459"/>
                </a:cubicBezTo>
                <a:cubicBezTo>
                  <a:pt x="14887" y="1421"/>
                  <a:pt x="14866" y="1309"/>
                  <a:pt x="14925" y="1331"/>
                </a:cubicBezTo>
                <a:cubicBezTo>
                  <a:pt x="14964" y="1345"/>
                  <a:pt x="14981" y="1432"/>
                  <a:pt x="15013" y="1447"/>
                </a:cubicBezTo>
                <a:cubicBezTo>
                  <a:pt x="15006" y="1443"/>
                  <a:pt x="14992" y="1704"/>
                  <a:pt x="14992" y="1727"/>
                </a:cubicBezTo>
                <a:cubicBezTo>
                  <a:pt x="14992" y="1819"/>
                  <a:pt x="14973" y="1937"/>
                  <a:pt x="15004" y="2024"/>
                </a:cubicBezTo>
                <a:cubicBezTo>
                  <a:pt x="15037" y="1955"/>
                  <a:pt x="15015" y="1823"/>
                  <a:pt x="15017" y="1746"/>
                </a:cubicBezTo>
                <a:cubicBezTo>
                  <a:pt x="15020" y="1646"/>
                  <a:pt x="15021" y="1546"/>
                  <a:pt x="15013" y="1447"/>
                </a:cubicBezTo>
                <a:cubicBezTo>
                  <a:pt x="15071" y="1483"/>
                  <a:pt x="15122" y="1530"/>
                  <a:pt x="15131" y="1602"/>
                </a:cubicBezTo>
                <a:cubicBezTo>
                  <a:pt x="15133" y="1594"/>
                  <a:pt x="15136" y="1587"/>
                  <a:pt x="15139" y="1580"/>
                </a:cubicBezTo>
                <a:cubicBezTo>
                  <a:pt x="15150" y="1570"/>
                  <a:pt x="15223" y="1654"/>
                  <a:pt x="15228" y="1663"/>
                </a:cubicBezTo>
                <a:cubicBezTo>
                  <a:pt x="15253" y="1713"/>
                  <a:pt x="15238" y="1796"/>
                  <a:pt x="15238" y="1852"/>
                </a:cubicBezTo>
                <a:cubicBezTo>
                  <a:pt x="15237" y="1987"/>
                  <a:pt x="15236" y="2122"/>
                  <a:pt x="15236" y="2257"/>
                </a:cubicBezTo>
                <a:cubicBezTo>
                  <a:pt x="15170" y="2221"/>
                  <a:pt x="15135" y="2147"/>
                  <a:pt x="15065" y="2116"/>
                </a:cubicBezTo>
                <a:cubicBezTo>
                  <a:pt x="15088" y="2158"/>
                  <a:pt x="15120" y="2211"/>
                  <a:pt x="15120" y="2260"/>
                </a:cubicBezTo>
                <a:cubicBezTo>
                  <a:pt x="15120" y="2310"/>
                  <a:pt x="15088" y="2307"/>
                  <a:pt x="15077" y="2340"/>
                </a:cubicBezTo>
                <a:cubicBezTo>
                  <a:pt x="15063" y="2381"/>
                  <a:pt x="15110" y="2456"/>
                  <a:pt x="15061" y="2483"/>
                </a:cubicBezTo>
                <a:cubicBezTo>
                  <a:pt x="14996" y="2517"/>
                  <a:pt x="15003" y="2432"/>
                  <a:pt x="15004" y="2398"/>
                </a:cubicBezTo>
                <a:cubicBezTo>
                  <a:pt x="15004" y="2327"/>
                  <a:pt x="15002" y="2256"/>
                  <a:pt x="15003" y="2185"/>
                </a:cubicBezTo>
                <a:cubicBezTo>
                  <a:pt x="15004" y="2163"/>
                  <a:pt x="14996" y="2130"/>
                  <a:pt x="15003" y="2111"/>
                </a:cubicBezTo>
                <a:cubicBezTo>
                  <a:pt x="15006" y="2104"/>
                  <a:pt x="15036" y="2081"/>
                  <a:pt x="15036" y="2085"/>
                </a:cubicBezTo>
                <a:cubicBezTo>
                  <a:pt x="15037" y="2065"/>
                  <a:pt x="15028" y="2076"/>
                  <a:pt x="15019" y="2058"/>
                </a:cubicBezTo>
                <a:cubicBezTo>
                  <a:pt x="15000" y="2016"/>
                  <a:pt x="15003" y="2048"/>
                  <a:pt x="14972" y="2023"/>
                </a:cubicBezTo>
                <a:cubicBezTo>
                  <a:pt x="14947" y="2003"/>
                  <a:pt x="14936" y="1971"/>
                  <a:pt x="14905" y="1951"/>
                </a:cubicBezTo>
                <a:cubicBezTo>
                  <a:pt x="14900" y="1995"/>
                  <a:pt x="14922" y="1974"/>
                  <a:pt x="14938" y="1991"/>
                </a:cubicBezTo>
                <a:cubicBezTo>
                  <a:pt x="14911" y="1963"/>
                  <a:pt x="14992" y="2064"/>
                  <a:pt x="14971" y="2024"/>
                </a:cubicBezTo>
                <a:cubicBezTo>
                  <a:pt x="15001" y="2080"/>
                  <a:pt x="14990" y="2157"/>
                  <a:pt x="14991" y="2218"/>
                </a:cubicBezTo>
                <a:cubicBezTo>
                  <a:pt x="14991" y="2256"/>
                  <a:pt x="15021" y="2514"/>
                  <a:pt x="14940" y="2486"/>
                </a:cubicBezTo>
                <a:cubicBezTo>
                  <a:pt x="14905" y="2474"/>
                  <a:pt x="14927" y="2400"/>
                  <a:pt x="14917" y="2368"/>
                </a:cubicBezTo>
                <a:cubicBezTo>
                  <a:pt x="14910" y="2347"/>
                  <a:pt x="14891" y="2341"/>
                  <a:pt x="14884" y="2315"/>
                </a:cubicBezTo>
                <a:cubicBezTo>
                  <a:pt x="14876" y="2283"/>
                  <a:pt x="14884" y="2226"/>
                  <a:pt x="14884" y="2194"/>
                </a:cubicBezTo>
                <a:cubicBezTo>
                  <a:pt x="14884" y="2122"/>
                  <a:pt x="14879" y="2047"/>
                  <a:pt x="14889" y="1977"/>
                </a:cubicBezTo>
                <a:cubicBezTo>
                  <a:pt x="14891" y="1965"/>
                  <a:pt x="14903" y="1961"/>
                  <a:pt x="14899" y="1936"/>
                </a:cubicBezTo>
                <a:cubicBezTo>
                  <a:pt x="14897" y="1928"/>
                  <a:pt x="14873" y="1897"/>
                  <a:pt x="14878" y="1894"/>
                </a:cubicBezTo>
                <a:cubicBezTo>
                  <a:pt x="14887" y="1884"/>
                  <a:pt x="14878" y="1894"/>
                  <a:pt x="14878" y="1894"/>
                </a:cubicBezTo>
                <a:close/>
                <a:moveTo>
                  <a:pt x="14904" y="2485"/>
                </a:moveTo>
                <a:cubicBezTo>
                  <a:pt x="14858" y="2486"/>
                  <a:pt x="14887" y="2402"/>
                  <a:pt x="14895" y="2372"/>
                </a:cubicBezTo>
                <a:cubicBezTo>
                  <a:pt x="14911" y="2408"/>
                  <a:pt x="14905" y="2448"/>
                  <a:pt x="14904" y="2485"/>
                </a:cubicBezTo>
                <a:cubicBezTo>
                  <a:pt x="14897" y="2485"/>
                  <a:pt x="14905" y="2447"/>
                  <a:pt x="14904" y="2485"/>
                </a:cubicBezTo>
                <a:close/>
                <a:moveTo>
                  <a:pt x="14420" y="1340"/>
                </a:moveTo>
                <a:cubicBezTo>
                  <a:pt x="14420" y="1233"/>
                  <a:pt x="14420" y="1127"/>
                  <a:pt x="14420" y="1021"/>
                </a:cubicBezTo>
                <a:cubicBezTo>
                  <a:pt x="14419" y="954"/>
                  <a:pt x="14390" y="811"/>
                  <a:pt x="14431" y="753"/>
                </a:cubicBezTo>
                <a:cubicBezTo>
                  <a:pt x="14479" y="814"/>
                  <a:pt x="14526" y="873"/>
                  <a:pt x="14576" y="930"/>
                </a:cubicBezTo>
                <a:cubicBezTo>
                  <a:pt x="14635" y="996"/>
                  <a:pt x="14642" y="1016"/>
                  <a:pt x="14642" y="1102"/>
                </a:cubicBezTo>
                <a:cubicBezTo>
                  <a:pt x="14641" y="1280"/>
                  <a:pt x="14641" y="1459"/>
                  <a:pt x="14640" y="1638"/>
                </a:cubicBezTo>
                <a:cubicBezTo>
                  <a:pt x="14687" y="1620"/>
                  <a:pt x="14656" y="1398"/>
                  <a:pt x="14656" y="1353"/>
                </a:cubicBezTo>
                <a:cubicBezTo>
                  <a:pt x="14654" y="1247"/>
                  <a:pt x="14646" y="1139"/>
                  <a:pt x="14664" y="1034"/>
                </a:cubicBezTo>
                <a:cubicBezTo>
                  <a:pt x="14698" y="1077"/>
                  <a:pt x="14748" y="1123"/>
                  <a:pt x="14760" y="1175"/>
                </a:cubicBezTo>
                <a:cubicBezTo>
                  <a:pt x="14774" y="1234"/>
                  <a:pt x="14760" y="1317"/>
                  <a:pt x="14758" y="1377"/>
                </a:cubicBezTo>
                <a:cubicBezTo>
                  <a:pt x="14755" y="1506"/>
                  <a:pt x="14752" y="1635"/>
                  <a:pt x="14763" y="1763"/>
                </a:cubicBezTo>
                <a:cubicBezTo>
                  <a:pt x="14798" y="1686"/>
                  <a:pt x="14773" y="1559"/>
                  <a:pt x="14773" y="1477"/>
                </a:cubicBezTo>
                <a:cubicBezTo>
                  <a:pt x="14773" y="1398"/>
                  <a:pt x="14744" y="1251"/>
                  <a:pt x="14784" y="1182"/>
                </a:cubicBezTo>
                <a:cubicBezTo>
                  <a:pt x="14815" y="1215"/>
                  <a:pt x="14861" y="1248"/>
                  <a:pt x="14875" y="1294"/>
                </a:cubicBezTo>
                <a:cubicBezTo>
                  <a:pt x="14892" y="1347"/>
                  <a:pt x="14873" y="1439"/>
                  <a:pt x="14873" y="1496"/>
                </a:cubicBezTo>
                <a:cubicBezTo>
                  <a:pt x="14871" y="1624"/>
                  <a:pt x="14853" y="1767"/>
                  <a:pt x="14876" y="1894"/>
                </a:cubicBezTo>
                <a:cubicBezTo>
                  <a:pt x="14816" y="1880"/>
                  <a:pt x="14787" y="1812"/>
                  <a:pt x="14746" y="1772"/>
                </a:cubicBezTo>
                <a:cubicBezTo>
                  <a:pt x="14736" y="1761"/>
                  <a:pt x="14723" y="1757"/>
                  <a:pt x="14707" y="1759"/>
                </a:cubicBezTo>
                <a:cubicBezTo>
                  <a:pt x="14705" y="1743"/>
                  <a:pt x="14698" y="1729"/>
                  <a:pt x="14687" y="1718"/>
                </a:cubicBezTo>
                <a:cubicBezTo>
                  <a:pt x="14669" y="1699"/>
                  <a:pt x="14653" y="1676"/>
                  <a:pt x="14635" y="1658"/>
                </a:cubicBezTo>
                <a:cubicBezTo>
                  <a:pt x="14587" y="1607"/>
                  <a:pt x="14537" y="1555"/>
                  <a:pt x="14489" y="1503"/>
                </a:cubicBezTo>
                <a:cubicBezTo>
                  <a:pt x="14467" y="1479"/>
                  <a:pt x="14433" y="1456"/>
                  <a:pt x="14422" y="1424"/>
                </a:cubicBezTo>
                <a:cubicBezTo>
                  <a:pt x="14410" y="1389"/>
                  <a:pt x="14420" y="1378"/>
                  <a:pt x="14420" y="1340"/>
                </a:cubicBezTo>
                <a:cubicBezTo>
                  <a:pt x="14420" y="1167"/>
                  <a:pt x="14420" y="1359"/>
                  <a:pt x="14420" y="1340"/>
                </a:cubicBezTo>
                <a:close/>
                <a:moveTo>
                  <a:pt x="14749" y="2554"/>
                </a:moveTo>
                <a:cubicBezTo>
                  <a:pt x="14767" y="2551"/>
                  <a:pt x="14769" y="2558"/>
                  <a:pt x="14756" y="2578"/>
                </a:cubicBezTo>
                <a:cubicBezTo>
                  <a:pt x="14769" y="2558"/>
                  <a:pt x="14767" y="2551"/>
                  <a:pt x="14749" y="2554"/>
                </a:cubicBezTo>
                <a:cubicBezTo>
                  <a:pt x="14753" y="2553"/>
                  <a:pt x="14753" y="2553"/>
                  <a:pt x="14749" y="2554"/>
                </a:cubicBezTo>
                <a:close/>
                <a:moveTo>
                  <a:pt x="14762" y="2484"/>
                </a:moveTo>
                <a:cubicBezTo>
                  <a:pt x="14724" y="2490"/>
                  <a:pt x="14685" y="2485"/>
                  <a:pt x="14648" y="2485"/>
                </a:cubicBezTo>
                <a:cubicBezTo>
                  <a:pt x="14623" y="2485"/>
                  <a:pt x="14599" y="2485"/>
                  <a:pt x="14574" y="2485"/>
                </a:cubicBezTo>
                <a:cubicBezTo>
                  <a:pt x="14573" y="2469"/>
                  <a:pt x="14573" y="2452"/>
                  <a:pt x="14574" y="2436"/>
                </a:cubicBezTo>
                <a:cubicBezTo>
                  <a:pt x="14574" y="2419"/>
                  <a:pt x="14573" y="2403"/>
                  <a:pt x="14568" y="2387"/>
                </a:cubicBezTo>
                <a:cubicBezTo>
                  <a:pt x="14562" y="2370"/>
                  <a:pt x="14550" y="2356"/>
                  <a:pt x="14534" y="2346"/>
                </a:cubicBezTo>
                <a:cubicBezTo>
                  <a:pt x="14521" y="2317"/>
                  <a:pt x="14530" y="2278"/>
                  <a:pt x="14531" y="2247"/>
                </a:cubicBezTo>
                <a:cubicBezTo>
                  <a:pt x="14535" y="2036"/>
                  <a:pt x="14513" y="1819"/>
                  <a:pt x="14541" y="1610"/>
                </a:cubicBezTo>
                <a:cubicBezTo>
                  <a:pt x="14664" y="1673"/>
                  <a:pt x="14610" y="1873"/>
                  <a:pt x="14609" y="1988"/>
                </a:cubicBezTo>
                <a:cubicBezTo>
                  <a:pt x="14609" y="2062"/>
                  <a:pt x="14608" y="2136"/>
                  <a:pt x="14608" y="2210"/>
                </a:cubicBezTo>
                <a:cubicBezTo>
                  <a:pt x="14608" y="2255"/>
                  <a:pt x="14585" y="2402"/>
                  <a:pt x="14607" y="2440"/>
                </a:cubicBezTo>
                <a:cubicBezTo>
                  <a:pt x="14627" y="2474"/>
                  <a:pt x="14629" y="2475"/>
                  <a:pt x="14642" y="2433"/>
                </a:cubicBezTo>
                <a:cubicBezTo>
                  <a:pt x="14662" y="2367"/>
                  <a:pt x="14641" y="2264"/>
                  <a:pt x="14643" y="2193"/>
                </a:cubicBezTo>
                <a:cubicBezTo>
                  <a:pt x="14647" y="2032"/>
                  <a:pt x="14656" y="1871"/>
                  <a:pt x="14641" y="1711"/>
                </a:cubicBezTo>
                <a:cubicBezTo>
                  <a:pt x="14745" y="1733"/>
                  <a:pt x="14740" y="1892"/>
                  <a:pt x="14739" y="1968"/>
                </a:cubicBezTo>
                <a:cubicBezTo>
                  <a:pt x="14737" y="2039"/>
                  <a:pt x="14737" y="2109"/>
                  <a:pt x="14738" y="2180"/>
                </a:cubicBezTo>
                <a:cubicBezTo>
                  <a:pt x="14738" y="2228"/>
                  <a:pt x="14757" y="2317"/>
                  <a:pt x="14709" y="2351"/>
                </a:cubicBezTo>
                <a:cubicBezTo>
                  <a:pt x="14771" y="2349"/>
                  <a:pt x="14712" y="2449"/>
                  <a:pt x="14757" y="2470"/>
                </a:cubicBezTo>
                <a:cubicBezTo>
                  <a:pt x="14760" y="2343"/>
                  <a:pt x="14763" y="2216"/>
                  <a:pt x="14764" y="2089"/>
                </a:cubicBezTo>
                <a:cubicBezTo>
                  <a:pt x="14765" y="2030"/>
                  <a:pt x="14737" y="1770"/>
                  <a:pt x="14834" y="1910"/>
                </a:cubicBezTo>
                <a:cubicBezTo>
                  <a:pt x="14894" y="1996"/>
                  <a:pt x="14861" y="2146"/>
                  <a:pt x="14860" y="2245"/>
                </a:cubicBezTo>
                <a:cubicBezTo>
                  <a:pt x="14860" y="2306"/>
                  <a:pt x="14872" y="2383"/>
                  <a:pt x="14859" y="2442"/>
                </a:cubicBezTo>
                <a:cubicBezTo>
                  <a:pt x="14845" y="2503"/>
                  <a:pt x="14830" y="2486"/>
                  <a:pt x="14762" y="2484"/>
                </a:cubicBezTo>
                <a:cubicBezTo>
                  <a:pt x="14754" y="2486"/>
                  <a:pt x="14791" y="2485"/>
                  <a:pt x="14762" y="2484"/>
                </a:cubicBezTo>
                <a:close/>
                <a:moveTo>
                  <a:pt x="14719" y="2604"/>
                </a:moveTo>
                <a:cubicBezTo>
                  <a:pt x="14722" y="2621"/>
                  <a:pt x="14749" y="2628"/>
                  <a:pt x="14733" y="2645"/>
                </a:cubicBezTo>
                <a:cubicBezTo>
                  <a:pt x="14749" y="2628"/>
                  <a:pt x="14722" y="2621"/>
                  <a:pt x="14719" y="2604"/>
                </a:cubicBezTo>
                <a:close/>
                <a:moveTo>
                  <a:pt x="14631" y="2557"/>
                </a:moveTo>
                <a:cubicBezTo>
                  <a:pt x="14660" y="2546"/>
                  <a:pt x="14695" y="2546"/>
                  <a:pt x="14720" y="2564"/>
                </a:cubicBezTo>
                <a:cubicBezTo>
                  <a:pt x="14695" y="2548"/>
                  <a:pt x="14661" y="2546"/>
                  <a:pt x="14631" y="2557"/>
                </a:cubicBezTo>
                <a:cubicBezTo>
                  <a:pt x="14659" y="2546"/>
                  <a:pt x="14659" y="2546"/>
                  <a:pt x="14631" y="2557"/>
                </a:cubicBezTo>
                <a:close/>
                <a:moveTo>
                  <a:pt x="14718" y="2585"/>
                </a:moveTo>
                <a:cubicBezTo>
                  <a:pt x="14714" y="2589"/>
                  <a:pt x="14712" y="2593"/>
                  <a:pt x="14711" y="2599"/>
                </a:cubicBezTo>
                <a:cubicBezTo>
                  <a:pt x="14712" y="2593"/>
                  <a:pt x="14714" y="2589"/>
                  <a:pt x="14718" y="2585"/>
                </a:cubicBezTo>
                <a:close/>
                <a:moveTo>
                  <a:pt x="14726" y="2567"/>
                </a:moveTo>
                <a:cubicBezTo>
                  <a:pt x="14729" y="2569"/>
                  <a:pt x="14730" y="2572"/>
                  <a:pt x="14731" y="2576"/>
                </a:cubicBezTo>
                <a:cubicBezTo>
                  <a:pt x="14730" y="2572"/>
                  <a:pt x="14729" y="2569"/>
                  <a:pt x="14726" y="2567"/>
                </a:cubicBezTo>
                <a:close/>
                <a:moveTo>
                  <a:pt x="14739" y="2580"/>
                </a:moveTo>
                <a:cubicBezTo>
                  <a:pt x="14739" y="2574"/>
                  <a:pt x="14739" y="2569"/>
                  <a:pt x="14740" y="2563"/>
                </a:cubicBezTo>
                <a:cubicBezTo>
                  <a:pt x="14734" y="2582"/>
                  <a:pt x="14740" y="2611"/>
                  <a:pt x="14740" y="2629"/>
                </a:cubicBezTo>
                <a:cubicBezTo>
                  <a:pt x="14740" y="2613"/>
                  <a:pt x="14739" y="2596"/>
                  <a:pt x="14739" y="2580"/>
                </a:cubicBezTo>
                <a:cubicBezTo>
                  <a:pt x="14738" y="2574"/>
                  <a:pt x="14739" y="2596"/>
                  <a:pt x="14739" y="2580"/>
                </a:cubicBezTo>
                <a:close/>
                <a:moveTo>
                  <a:pt x="14756" y="1852"/>
                </a:moveTo>
                <a:cubicBezTo>
                  <a:pt x="14760" y="1854"/>
                  <a:pt x="14761" y="1855"/>
                  <a:pt x="14756" y="1852"/>
                </a:cubicBezTo>
                <a:close/>
                <a:moveTo>
                  <a:pt x="14422" y="1481"/>
                </a:moveTo>
                <a:cubicBezTo>
                  <a:pt x="14400" y="1511"/>
                  <a:pt x="14409" y="1567"/>
                  <a:pt x="14408" y="1607"/>
                </a:cubicBezTo>
                <a:cubicBezTo>
                  <a:pt x="14408" y="1705"/>
                  <a:pt x="14406" y="1802"/>
                  <a:pt x="14397" y="1899"/>
                </a:cubicBezTo>
                <a:cubicBezTo>
                  <a:pt x="14397" y="1815"/>
                  <a:pt x="14397" y="1730"/>
                  <a:pt x="14397" y="1646"/>
                </a:cubicBezTo>
                <a:cubicBezTo>
                  <a:pt x="14397" y="1612"/>
                  <a:pt x="14375" y="1471"/>
                  <a:pt x="14407" y="1451"/>
                </a:cubicBezTo>
                <a:cubicBezTo>
                  <a:pt x="14406" y="1466"/>
                  <a:pt x="14494" y="1555"/>
                  <a:pt x="14514" y="1571"/>
                </a:cubicBezTo>
                <a:cubicBezTo>
                  <a:pt x="14471" y="1587"/>
                  <a:pt x="14495" y="1778"/>
                  <a:pt x="14493" y="1820"/>
                </a:cubicBezTo>
                <a:cubicBezTo>
                  <a:pt x="14490" y="1931"/>
                  <a:pt x="14489" y="2043"/>
                  <a:pt x="14489" y="2155"/>
                </a:cubicBezTo>
                <a:cubicBezTo>
                  <a:pt x="14489" y="2211"/>
                  <a:pt x="14490" y="2267"/>
                  <a:pt x="14489" y="2323"/>
                </a:cubicBezTo>
                <a:cubicBezTo>
                  <a:pt x="14489" y="2344"/>
                  <a:pt x="14473" y="2426"/>
                  <a:pt x="14485" y="2445"/>
                </a:cubicBezTo>
                <a:cubicBezTo>
                  <a:pt x="14527" y="2507"/>
                  <a:pt x="14524" y="2413"/>
                  <a:pt x="14542" y="2383"/>
                </a:cubicBezTo>
                <a:cubicBezTo>
                  <a:pt x="14542" y="2401"/>
                  <a:pt x="14550" y="2446"/>
                  <a:pt x="14542" y="2464"/>
                </a:cubicBezTo>
                <a:cubicBezTo>
                  <a:pt x="14525" y="2498"/>
                  <a:pt x="14532" y="2484"/>
                  <a:pt x="14484" y="2487"/>
                </a:cubicBezTo>
                <a:cubicBezTo>
                  <a:pt x="14464" y="2489"/>
                  <a:pt x="14381" y="2505"/>
                  <a:pt x="14363" y="2495"/>
                </a:cubicBezTo>
                <a:cubicBezTo>
                  <a:pt x="14336" y="2479"/>
                  <a:pt x="14337" y="2467"/>
                  <a:pt x="14343" y="2430"/>
                </a:cubicBezTo>
                <a:cubicBezTo>
                  <a:pt x="14345" y="2419"/>
                  <a:pt x="14336" y="2375"/>
                  <a:pt x="14360" y="2378"/>
                </a:cubicBezTo>
                <a:cubicBezTo>
                  <a:pt x="14397" y="2384"/>
                  <a:pt x="14356" y="2460"/>
                  <a:pt x="14407" y="2473"/>
                </a:cubicBezTo>
                <a:cubicBezTo>
                  <a:pt x="14417" y="2142"/>
                  <a:pt x="14420" y="1812"/>
                  <a:pt x="14422" y="1481"/>
                </a:cubicBezTo>
                <a:cubicBezTo>
                  <a:pt x="14422" y="1481"/>
                  <a:pt x="14421" y="1688"/>
                  <a:pt x="14422" y="1481"/>
                </a:cubicBezTo>
                <a:close/>
                <a:moveTo>
                  <a:pt x="14493" y="2579"/>
                </a:moveTo>
                <a:cubicBezTo>
                  <a:pt x="14486" y="2587"/>
                  <a:pt x="14479" y="2589"/>
                  <a:pt x="14474" y="2585"/>
                </a:cubicBezTo>
                <a:cubicBezTo>
                  <a:pt x="14481" y="2583"/>
                  <a:pt x="14487" y="2581"/>
                  <a:pt x="14493" y="2579"/>
                </a:cubicBezTo>
                <a:close/>
                <a:moveTo>
                  <a:pt x="14441" y="2563"/>
                </a:moveTo>
                <a:cubicBezTo>
                  <a:pt x="14426" y="2564"/>
                  <a:pt x="14412" y="2565"/>
                  <a:pt x="14397" y="2566"/>
                </a:cubicBezTo>
                <a:cubicBezTo>
                  <a:pt x="14412" y="2565"/>
                  <a:pt x="14426" y="2564"/>
                  <a:pt x="14441" y="2563"/>
                </a:cubicBezTo>
                <a:close/>
                <a:moveTo>
                  <a:pt x="14378" y="1426"/>
                </a:moveTo>
                <a:cubicBezTo>
                  <a:pt x="14377" y="1629"/>
                  <a:pt x="14376" y="1832"/>
                  <a:pt x="14375" y="2035"/>
                </a:cubicBezTo>
                <a:cubicBezTo>
                  <a:pt x="14375" y="2110"/>
                  <a:pt x="14398" y="2234"/>
                  <a:pt x="14376" y="2306"/>
                </a:cubicBezTo>
                <a:cubicBezTo>
                  <a:pt x="14364" y="2345"/>
                  <a:pt x="14334" y="2362"/>
                  <a:pt x="14328" y="2405"/>
                </a:cubicBezTo>
                <a:cubicBezTo>
                  <a:pt x="14324" y="2439"/>
                  <a:pt x="14354" y="2487"/>
                  <a:pt x="14309" y="2494"/>
                </a:cubicBezTo>
                <a:cubicBezTo>
                  <a:pt x="14308" y="2108"/>
                  <a:pt x="14308" y="1721"/>
                  <a:pt x="14307" y="1335"/>
                </a:cubicBezTo>
                <a:cubicBezTo>
                  <a:pt x="14333" y="1363"/>
                  <a:pt x="14358" y="1393"/>
                  <a:pt x="14378" y="1426"/>
                </a:cubicBezTo>
                <a:cubicBezTo>
                  <a:pt x="14377" y="1710"/>
                  <a:pt x="14357" y="1393"/>
                  <a:pt x="14378" y="1426"/>
                </a:cubicBezTo>
                <a:close/>
                <a:moveTo>
                  <a:pt x="14296" y="1323"/>
                </a:moveTo>
                <a:cubicBezTo>
                  <a:pt x="14295" y="1559"/>
                  <a:pt x="14291" y="1795"/>
                  <a:pt x="14295" y="2030"/>
                </a:cubicBezTo>
                <a:cubicBezTo>
                  <a:pt x="14297" y="2184"/>
                  <a:pt x="14289" y="2342"/>
                  <a:pt x="14300" y="2495"/>
                </a:cubicBezTo>
                <a:cubicBezTo>
                  <a:pt x="14262" y="2498"/>
                  <a:pt x="14278" y="2439"/>
                  <a:pt x="14278" y="2408"/>
                </a:cubicBezTo>
                <a:cubicBezTo>
                  <a:pt x="14278" y="2361"/>
                  <a:pt x="14278" y="2314"/>
                  <a:pt x="14278" y="2267"/>
                </a:cubicBezTo>
                <a:cubicBezTo>
                  <a:pt x="14278" y="2198"/>
                  <a:pt x="14278" y="2130"/>
                  <a:pt x="14278" y="2062"/>
                </a:cubicBezTo>
                <a:cubicBezTo>
                  <a:pt x="14277" y="1808"/>
                  <a:pt x="14276" y="1554"/>
                  <a:pt x="14275" y="1300"/>
                </a:cubicBezTo>
                <a:cubicBezTo>
                  <a:pt x="14282" y="1308"/>
                  <a:pt x="14289" y="1315"/>
                  <a:pt x="14296" y="1323"/>
                </a:cubicBezTo>
                <a:cubicBezTo>
                  <a:pt x="14295" y="1547"/>
                  <a:pt x="14289" y="1315"/>
                  <a:pt x="14296" y="1323"/>
                </a:cubicBezTo>
                <a:close/>
                <a:moveTo>
                  <a:pt x="14300" y="2682"/>
                </a:moveTo>
                <a:cubicBezTo>
                  <a:pt x="14296" y="2671"/>
                  <a:pt x="14292" y="2660"/>
                  <a:pt x="14289" y="2649"/>
                </a:cubicBezTo>
                <a:cubicBezTo>
                  <a:pt x="14292" y="2660"/>
                  <a:pt x="14296" y="2671"/>
                  <a:pt x="14300" y="2682"/>
                </a:cubicBezTo>
                <a:close/>
                <a:moveTo>
                  <a:pt x="14264" y="1289"/>
                </a:moveTo>
                <a:cubicBezTo>
                  <a:pt x="14263" y="1549"/>
                  <a:pt x="14259" y="1810"/>
                  <a:pt x="14261" y="2070"/>
                </a:cubicBezTo>
                <a:cubicBezTo>
                  <a:pt x="14262" y="2142"/>
                  <a:pt x="14264" y="2215"/>
                  <a:pt x="14265" y="2287"/>
                </a:cubicBezTo>
                <a:cubicBezTo>
                  <a:pt x="14265" y="2332"/>
                  <a:pt x="14266" y="2377"/>
                  <a:pt x="14266" y="2422"/>
                </a:cubicBezTo>
                <a:cubicBezTo>
                  <a:pt x="14267" y="2496"/>
                  <a:pt x="14276" y="2495"/>
                  <a:pt x="14193" y="2498"/>
                </a:cubicBezTo>
                <a:cubicBezTo>
                  <a:pt x="14193" y="2429"/>
                  <a:pt x="14185" y="1816"/>
                  <a:pt x="14184" y="1816"/>
                </a:cubicBezTo>
                <a:cubicBezTo>
                  <a:pt x="14204" y="1813"/>
                  <a:pt x="14193" y="1259"/>
                  <a:pt x="14193" y="1199"/>
                </a:cubicBezTo>
                <a:cubicBezTo>
                  <a:pt x="14218" y="1225"/>
                  <a:pt x="14239" y="1261"/>
                  <a:pt x="14264" y="1289"/>
                </a:cubicBezTo>
                <a:cubicBezTo>
                  <a:pt x="14263" y="1523"/>
                  <a:pt x="14240" y="1263"/>
                  <a:pt x="14264" y="1289"/>
                </a:cubicBezTo>
                <a:close/>
                <a:moveTo>
                  <a:pt x="14188" y="2562"/>
                </a:moveTo>
                <a:cubicBezTo>
                  <a:pt x="14178" y="2564"/>
                  <a:pt x="14168" y="2567"/>
                  <a:pt x="14159" y="2570"/>
                </a:cubicBezTo>
                <a:cubicBezTo>
                  <a:pt x="14159" y="2560"/>
                  <a:pt x="14168" y="2557"/>
                  <a:pt x="14188" y="2562"/>
                </a:cubicBezTo>
                <a:close/>
                <a:moveTo>
                  <a:pt x="14158" y="1923"/>
                </a:moveTo>
                <a:cubicBezTo>
                  <a:pt x="14157" y="1668"/>
                  <a:pt x="14158" y="1414"/>
                  <a:pt x="14157" y="1159"/>
                </a:cubicBezTo>
                <a:cubicBezTo>
                  <a:pt x="14215" y="1194"/>
                  <a:pt x="14182" y="1390"/>
                  <a:pt x="14182" y="1450"/>
                </a:cubicBezTo>
                <a:cubicBezTo>
                  <a:pt x="14181" y="1558"/>
                  <a:pt x="14181" y="1665"/>
                  <a:pt x="14180" y="1772"/>
                </a:cubicBezTo>
                <a:cubicBezTo>
                  <a:pt x="14180" y="1914"/>
                  <a:pt x="14176" y="2055"/>
                  <a:pt x="14178" y="2197"/>
                </a:cubicBezTo>
                <a:cubicBezTo>
                  <a:pt x="14179" y="2248"/>
                  <a:pt x="14180" y="2299"/>
                  <a:pt x="14178" y="2350"/>
                </a:cubicBezTo>
                <a:cubicBezTo>
                  <a:pt x="14177" y="2384"/>
                  <a:pt x="14186" y="2498"/>
                  <a:pt x="14159" y="2499"/>
                </a:cubicBezTo>
                <a:cubicBezTo>
                  <a:pt x="14159" y="2307"/>
                  <a:pt x="14159" y="2115"/>
                  <a:pt x="14158" y="1923"/>
                </a:cubicBezTo>
                <a:cubicBezTo>
                  <a:pt x="14157" y="1698"/>
                  <a:pt x="14158" y="1938"/>
                  <a:pt x="14158" y="1923"/>
                </a:cubicBezTo>
                <a:close/>
                <a:moveTo>
                  <a:pt x="14152" y="2574"/>
                </a:moveTo>
                <a:cubicBezTo>
                  <a:pt x="14143" y="2579"/>
                  <a:pt x="14152" y="2574"/>
                  <a:pt x="14152" y="2574"/>
                </a:cubicBezTo>
                <a:cubicBezTo>
                  <a:pt x="14151" y="2574"/>
                  <a:pt x="14152" y="2574"/>
                  <a:pt x="14152" y="2574"/>
                </a:cubicBezTo>
                <a:close/>
                <a:moveTo>
                  <a:pt x="14056" y="2571"/>
                </a:moveTo>
                <a:cubicBezTo>
                  <a:pt x="14068" y="2562"/>
                  <a:pt x="14082" y="2560"/>
                  <a:pt x="14096" y="2565"/>
                </a:cubicBezTo>
                <a:cubicBezTo>
                  <a:pt x="14077" y="2558"/>
                  <a:pt x="14061" y="2569"/>
                  <a:pt x="14043" y="2574"/>
                </a:cubicBezTo>
                <a:cubicBezTo>
                  <a:pt x="14047" y="2573"/>
                  <a:pt x="14051" y="2572"/>
                  <a:pt x="14056" y="2571"/>
                </a:cubicBezTo>
                <a:cubicBezTo>
                  <a:pt x="14069" y="2562"/>
                  <a:pt x="14051" y="2572"/>
                  <a:pt x="14056" y="2571"/>
                </a:cubicBezTo>
                <a:close/>
                <a:moveTo>
                  <a:pt x="13972" y="2397"/>
                </a:moveTo>
                <a:cubicBezTo>
                  <a:pt x="13989" y="2411"/>
                  <a:pt x="13974" y="2418"/>
                  <a:pt x="13997" y="2429"/>
                </a:cubicBezTo>
                <a:cubicBezTo>
                  <a:pt x="14008" y="2435"/>
                  <a:pt x="14015" y="2400"/>
                  <a:pt x="14020" y="2397"/>
                </a:cubicBezTo>
                <a:cubicBezTo>
                  <a:pt x="14028" y="2431"/>
                  <a:pt x="14026" y="2469"/>
                  <a:pt x="14028" y="2504"/>
                </a:cubicBezTo>
                <a:cubicBezTo>
                  <a:pt x="14004" y="2505"/>
                  <a:pt x="13980" y="2506"/>
                  <a:pt x="13955" y="2508"/>
                </a:cubicBezTo>
                <a:cubicBezTo>
                  <a:pt x="13960" y="2471"/>
                  <a:pt x="13963" y="2433"/>
                  <a:pt x="13972" y="2397"/>
                </a:cubicBezTo>
                <a:cubicBezTo>
                  <a:pt x="13983" y="2406"/>
                  <a:pt x="13967" y="2413"/>
                  <a:pt x="13972" y="2397"/>
                </a:cubicBezTo>
                <a:close/>
                <a:moveTo>
                  <a:pt x="13948" y="2574"/>
                </a:moveTo>
                <a:cubicBezTo>
                  <a:pt x="13940" y="2580"/>
                  <a:pt x="13935" y="2581"/>
                  <a:pt x="13933" y="2576"/>
                </a:cubicBezTo>
                <a:cubicBezTo>
                  <a:pt x="13938" y="2575"/>
                  <a:pt x="13943" y="2574"/>
                  <a:pt x="13948" y="2574"/>
                </a:cubicBezTo>
                <a:cubicBezTo>
                  <a:pt x="13943" y="2574"/>
                  <a:pt x="13943" y="2574"/>
                  <a:pt x="13948" y="2574"/>
                </a:cubicBezTo>
                <a:close/>
                <a:moveTo>
                  <a:pt x="13882" y="2695"/>
                </a:moveTo>
                <a:cubicBezTo>
                  <a:pt x="13882" y="2696"/>
                  <a:pt x="13875" y="2697"/>
                  <a:pt x="13882" y="2695"/>
                </a:cubicBezTo>
                <a:cubicBezTo>
                  <a:pt x="13882" y="2695"/>
                  <a:pt x="13882" y="2695"/>
                  <a:pt x="13882" y="2695"/>
                </a:cubicBezTo>
                <a:close/>
                <a:moveTo>
                  <a:pt x="13718" y="2698"/>
                </a:moveTo>
                <a:cubicBezTo>
                  <a:pt x="13713" y="2711"/>
                  <a:pt x="13651" y="2746"/>
                  <a:pt x="13651" y="2729"/>
                </a:cubicBezTo>
                <a:cubicBezTo>
                  <a:pt x="13679" y="2734"/>
                  <a:pt x="13706" y="2727"/>
                  <a:pt x="13718" y="2698"/>
                </a:cubicBezTo>
                <a:cubicBezTo>
                  <a:pt x="13708" y="2722"/>
                  <a:pt x="13708" y="2722"/>
                  <a:pt x="13718" y="2698"/>
                </a:cubicBezTo>
                <a:close/>
                <a:moveTo>
                  <a:pt x="13660" y="2582"/>
                </a:moveTo>
                <a:cubicBezTo>
                  <a:pt x="13660" y="2576"/>
                  <a:pt x="13606" y="2589"/>
                  <a:pt x="13605" y="2617"/>
                </a:cubicBezTo>
                <a:cubicBezTo>
                  <a:pt x="13606" y="2586"/>
                  <a:pt x="13634" y="2580"/>
                  <a:pt x="13660" y="2582"/>
                </a:cubicBezTo>
                <a:cubicBezTo>
                  <a:pt x="13660" y="2582"/>
                  <a:pt x="13621" y="2579"/>
                  <a:pt x="13660" y="2582"/>
                </a:cubicBezTo>
                <a:close/>
                <a:moveTo>
                  <a:pt x="13518" y="3280"/>
                </a:moveTo>
                <a:cubicBezTo>
                  <a:pt x="13518" y="3160"/>
                  <a:pt x="13519" y="3040"/>
                  <a:pt x="13520" y="2920"/>
                </a:cubicBezTo>
                <a:cubicBezTo>
                  <a:pt x="13520" y="2892"/>
                  <a:pt x="13509" y="2842"/>
                  <a:pt x="13520" y="2819"/>
                </a:cubicBezTo>
                <a:cubicBezTo>
                  <a:pt x="13535" y="2788"/>
                  <a:pt x="13522" y="2802"/>
                  <a:pt x="13556" y="2796"/>
                </a:cubicBezTo>
                <a:cubicBezTo>
                  <a:pt x="13596" y="2790"/>
                  <a:pt x="13622" y="2809"/>
                  <a:pt x="13662" y="2798"/>
                </a:cubicBezTo>
                <a:cubicBezTo>
                  <a:pt x="13685" y="2792"/>
                  <a:pt x="13699" y="2774"/>
                  <a:pt x="13723" y="2768"/>
                </a:cubicBezTo>
                <a:cubicBezTo>
                  <a:pt x="13747" y="2762"/>
                  <a:pt x="13779" y="2763"/>
                  <a:pt x="13804" y="2762"/>
                </a:cubicBezTo>
                <a:cubicBezTo>
                  <a:pt x="13862" y="2761"/>
                  <a:pt x="13921" y="2763"/>
                  <a:pt x="13979" y="2762"/>
                </a:cubicBezTo>
                <a:cubicBezTo>
                  <a:pt x="14084" y="2759"/>
                  <a:pt x="14187" y="2748"/>
                  <a:pt x="14294" y="2751"/>
                </a:cubicBezTo>
                <a:cubicBezTo>
                  <a:pt x="14511" y="2756"/>
                  <a:pt x="14729" y="2749"/>
                  <a:pt x="14946" y="2749"/>
                </a:cubicBezTo>
                <a:cubicBezTo>
                  <a:pt x="15007" y="2749"/>
                  <a:pt x="15069" y="2749"/>
                  <a:pt x="15130" y="2749"/>
                </a:cubicBezTo>
                <a:cubicBezTo>
                  <a:pt x="15181" y="2749"/>
                  <a:pt x="15268" y="2768"/>
                  <a:pt x="15314" y="2749"/>
                </a:cubicBezTo>
                <a:cubicBezTo>
                  <a:pt x="15371" y="2726"/>
                  <a:pt x="15348" y="2607"/>
                  <a:pt x="15346" y="2548"/>
                </a:cubicBezTo>
                <a:cubicBezTo>
                  <a:pt x="15349" y="2624"/>
                  <a:pt x="15359" y="2501"/>
                  <a:pt x="15367" y="2490"/>
                </a:cubicBezTo>
                <a:cubicBezTo>
                  <a:pt x="15405" y="2519"/>
                  <a:pt x="15358" y="2724"/>
                  <a:pt x="15401" y="2718"/>
                </a:cubicBezTo>
                <a:cubicBezTo>
                  <a:pt x="15403" y="2669"/>
                  <a:pt x="15403" y="2621"/>
                  <a:pt x="15403" y="2572"/>
                </a:cubicBezTo>
                <a:cubicBezTo>
                  <a:pt x="15403" y="2545"/>
                  <a:pt x="15403" y="2519"/>
                  <a:pt x="15403" y="2492"/>
                </a:cubicBezTo>
                <a:cubicBezTo>
                  <a:pt x="15387" y="2476"/>
                  <a:pt x="15379" y="2457"/>
                  <a:pt x="15379" y="2435"/>
                </a:cubicBezTo>
                <a:cubicBezTo>
                  <a:pt x="15379" y="2457"/>
                  <a:pt x="15387" y="2476"/>
                  <a:pt x="15403" y="2492"/>
                </a:cubicBezTo>
                <a:cubicBezTo>
                  <a:pt x="15420" y="2457"/>
                  <a:pt x="15418" y="2428"/>
                  <a:pt x="15421" y="2387"/>
                </a:cubicBezTo>
                <a:cubicBezTo>
                  <a:pt x="15475" y="2402"/>
                  <a:pt x="15396" y="2572"/>
                  <a:pt x="15473" y="2568"/>
                </a:cubicBezTo>
                <a:cubicBezTo>
                  <a:pt x="15412" y="2571"/>
                  <a:pt x="15436" y="2693"/>
                  <a:pt x="15434" y="2732"/>
                </a:cubicBezTo>
                <a:cubicBezTo>
                  <a:pt x="15431" y="2845"/>
                  <a:pt x="15423" y="2959"/>
                  <a:pt x="15420" y="3071"/>
                </a:cubicBezTo>
                <a:cubicBezTo>
                  <a:pt x="15418" y="3162"/>
                  <a:pt x="15411" y="3273"/>
                  <a:pt x="15401" y="3346"/>
                </a:cubicBezTo>
                <a:cubicBezTo>
                  <a:pt x="15389" y="3431"/>
                  <a:pt x="15419" y="3526"/>
                  <a:pt x="15401" y="3610"/>
                </a:cubicBezTo>
                <a:cubicBezTo>
                  <a:pt x="15362" y="3582"/>
                  <a:pt x="15320" y="3622"/>
                  <a:pt x="15337" y="3623"/>
                </a:cubicBezTo>
                <a:cubicBezTo>
                  <a:pt x="15291" y="3620"/>
                  <a:pt x="15320" y="3725"/>
                  <a:pt x="15315" y="3762"/>
                </a:cubicBezTo>
                <a:cubicBezTo>
                  <a:pt x="15309" y="3809"/>
                  <a:pt x="15289" y="3859"/>
                  <a:pt x="15291" y="3909"/>
                </a:cubicBezTo>
                <a:cubicBezTo>
                  <a:pt x="15291" y="3933"/>
                  <a:pt x="15330" y="4017"/>
                  <a:pt x="15302" y="4039"/>
                </a:cubicBezTo>
                <a:cubicBezTo>
                  <a:pt x="15286" y="4052"/>
                  <a:pt x="15237" y="4030"/>
                  <a:pt x="15214" y="4041"/>
                </a:cubicBezTo>
                <a:cubicBezTo>
                  <a:pt x="15196" y="4050"/>
                  <a:pt x="15173" y="4079"/>
                  <a:pt x="15181" y="4100"/>
                </a:cubicBezTo>
                <a:cubicBezTo>
                  <a:pt x="15197" y="4140"/>
                  <a:pt x="15260" y="4106"/>
                  <a:pt x="15283" y="4119"/>
                </a:cubicBezTo>
                <a:cubicBezTo>
                  <a:pt x="15308" y="4133"/>
                  <a:pt x="15308" y="4159"/>
                  <a:pt x="15279" y="4168"/>
                </a:cubicBezTo>
                <a:cubicBezTo>
                  <a:pt x="15267" y="4171"/>
                  <a:pt x="15247" y="4151"/>
                  <a:pt x="15233" y="4151"/>
                </a:cubicBezTo>
                <a:cubicBezTo>
                  <a:pt x="15215" y="4151"/>
                  <a:pt x="15206" y="4161"/>
                  <a:pt x="15191" y="4164"/>
                </a:cubicBezTo>
                <a:cubicBezTo>
                  <a:pt x="15103" y="4179"/>
                  <a:pt x="15098" y="4162"/>
                  <a:pt x="15069" y="4089"/>
                </a:cubicBezTo>
                <a:cubicBezTo>
                  <a:pt x="15054" y="4051"/>
                  <a:pt x="15042" y="4062"/>
                  <a:pt x="15018" y="4039"/>
                </a:cubicBezTo>
                <a:cubicBezTo>
                  <a:pt x="14999" y="4020"/>
                  <a:pt x="14985" y="3991"/>
                  <a:pt x="14969" y="3963"/>
                </a:cubicBezTo>
                <a:cubicBezTo>
                  <a:pt x="14959" y="3947"/>
                  <a:pt x="14946" y="3946"/>
                  <a:pt x="14939" y="3930"/>
                </a:cubicBezTo>
                <a:cubicBezTo>
                  <a:pt x="14933" y="3919"/>
                  <a:pt x="14936" y="3898"/>
                  <a:pt x="14930" y="3886"/>
                </a:cubicBezTo>
                <a:cubicBezTo>
                  <a:pt x="14923" y="3871"/>
                  <a:pt x="14895" y="3850"/>
                  <a:pt x="14871" y="3858"/>
                </a:cubicBezTo>
                <a:cubicBezTo>
                  <a:pt x="14910" y="3845"/>
                  <a:pt x="14932" y="3893"/>
                  <a:pt x="14974" y="3894"/>
                </a:cubicBezTo>
                <a:cubicBezTo>
                  <a:pt x="15002" y="3894"/>
                  <a:pt x="15014" y="3869"/>
                  <a:pt x="15049" y="3881"/>
                </a:cubicBezTo>
                <a:cubicBezTo>
                  <a:pt x="15072" y="3889"/>
                  <a:pt x="15090" y="3918"/>
                  <a:pt x="15103" y="3935"/>
                </a:cubicBezTo>
                <a:cubicBezTo>
                  <a:pt x="15086" y="3944"/>
                  <a:pt x="14969" y="3906"/>
                  <a:pt x="14996" y="3965"/>
                </a:cubicBezTo>
                <a:cubicBezTo>
                  <a:pt x="15015" y="4005"/>
                  <a:pt x="15154" y="3966"/>
                  <a:pt x="15182" y="3952"/>
                </a:cubicBezTo>
                <a:cubicBezTo>
                  <a:pt x="15183" y="3954"/>
                  <a:pt x="15150" y="3917"/>
                  <a:pt x="15150" y="3926"/>
                </a:cubicBezTo>
                <a:cubicBezTo>
                  <a:pt x="15141" y="3926"/>
                  <a:pt x="15136" y="3922"/>
                  <a:pt x="15135" y="3913"/>
                </a:cubicBezTo>
                <a:cubicBezTo>
                  <a:pt x="15140" y="3908"/>
                  <a:pt x="15145" y="3903"/>
                  <a:pt x="15149" y="3897"/>
                </a:cubicBezTo>
                <a:cubicBezTo>
                  <a:pt x="15152" y="3869"/>
                  <a:pt x="15178" y="3827"/>
                  <a:pt x="15204" y="3813"/>
                </a:cubicBezTo>
                <a:cubicBezTo>
                  <a:pt x="15229" y="3799"/>
                  <a:pt x="15275" y="3821"/>
                  <a:pt x="15267" y="3775"/>
                </a:cubicBezTo>
                <a:cubicBezTo>
                  <a:pt x="15257" y="3712"/>
                  <a:pt x="15213" y="3765"/>
                  <a:pt x="15195" y="3781"/>
                </a:cubicBezTo>
                <a:cubicBezTo>
                  <a:pt x="15182" y="3749"/>
                  <a:pt x="15223" y="3642"/>
                  <a:pt x="15148" y="3664"/>
                </a:cubicBezTo>
                <a:cubicBezTo>
                  <a:pt x="15132" y="3669"/>
                  <a:pt x="15128" y="3699"/>
                  <a:pt x="15112" y="3707"/>
                </a:cubicBezTo>
                <a:cubicBezTo>
                  <a:pt x="15090" y="3719"/>
                  <a:pt x="15064" y="3707"/>
                  <a:pt x="15041" y="3710"/>
                </a:cubicBezTo>
                <a:cubicBezTo>
                  <a:pt x="15056" y="3670"/>
                  <a:pt x="15122" y="3674"/>
                  <a:pt x="15126" y="3644"/>
                </a:cubicBezTo>
                <a:cubicBezTo>
                  <a:pt x="15131" y="3599"/>
                  <a:pt x="15069" y="3621"/>
                  <a:pt x="15053" y="3595"/>
                </a:cubicBezTo>
                <a:cubicBezTo>
                  <a:pt x="15035" y="3565"/>
                  <a:pt x="15075" y="3542"/>
                  <a:pt x="15061" y="3514"/>
                </a:cubicBezTo>
                <a:cubicBezTo>
                  <a:pt x="15054" y="3500"/>
                  <a:pt x="14996" y="3493"/>
                  <a:pt x="14996" y="3493"/>
                </a:cubicBezTo>
                <a:cubicBezTo>
                  <a:pt x="14991" y="3499"/>
                  <a:pt x="14986" y="3505"/>
                  <a:pt x="14981" y="3511"/>
                </a:cubicBezTo>
                <a:cubicBezTo>
                  <a:pt x="14971" y="3504"/>
                  <a:pt x="14960" y="3501"/>
                  <a:pt x="14948" y="3501"/>
                </a:cubicBezTo>
                <a:cubicBezTo>
                  <a:pt x="14876" y="3508"/>
                  <a:pt x="14874" y="3521"/>
                  <a:pt x="14873" y="3595"/>
                </a:cubicBezTo>
                <a:cubicBezTo>
                  <a:pt x="14873" y="3686"/>
                  <a:pt x="14908" y="3699"/>
                  <a:pt x="14991" y="3674"/>
                </a:cubicBezTo>
                <a:cubicBezTo>
                  <a:pt x="15048" y="3737"/>
                  <a:pt x="14798" y="3699"/>
                  <a:pt x="14849" y="3760"/>
                </a:cubicBezTo>
                <a:cubicBezTo>
                  <a:pt x="14828" y="3734"/>
                  <a:pt x="14848" y="3637"/>
                  <a:pt x="14790" y="3675"/>
                </a:cubicBezTo>
                <a:cubicBezTo>
                  <a:pt x="14765" y="3691"/>
                  <a:pt x="14781" y="3704"/>
                  <a:pt x="14773" y="3743"/>
                </a:cubicBezTo>
                <a:cubicBezTo>
                  <a:pt x="14760" y="3745"/>
                  <a:pt x="14741" y="3719"/>
                  <a:pt x="14717" y="3719"/>
                </a:cubicBezTo>
                <a:cubicBezTo>
                  <a:pt x="14679" y="3719"/>
                  <a:pt x="14667" y="3760"/>
                  <a:pt x="14648" y="3719"/>
                </a:cubicBezTo>
                <a:cubicBezTo>
                  <a:pt x="14634" y="3689"/>
                  <a:pt x="14673" y="3664"/>
                  <a:pt x="14637" y="3639"/>
                </a:cubicBezTo>
                <a:cubicBezTo>
                  <a:pt x="14612" y="3621"/>
                  <a:pt x="14546" y="3634"/>
                  <a:pt x="14523" y="3649"/>
                </a:cubicBezTo>
                <a:cubicBezTo>
                  <a:pt x="14530" y="3671"/>
                  <a:pt x="14578" y="3658"/>
                  <a:pt x="14576" y="3675"/>
                </a:cubicBezTo>
                <a:cubicBezTo>
                  <a:pt x="14572" y="3715"/>
                  <a:pt x="14489" y="3672"/>
                  <a:pt x="14469" y="3667"/>
                </a:cubicBezTo>
                <a:cubicBezTo>
                  <a:pt x="14420" y="3655"/>
                  <a:pt x="14344" y="3598"/>
                  <a:pt x="14294" y="3650"/>
                </a:cubicBezTo>
                <a:cubicBezTo>
                  <a:pt x="14264" y="3682"/>
                  <a:pt x="14298" y="3674"/>
                  <a:pt x="14302" y="3695"/>
                </a:cubicBezTo>
                <a:cubicBezTo>
                  <a:pt x="14308" y="3723"/>
                  <a:pt x="14311" y="3746"/>
                  <a:pt x="14256" y="3741"/>
                </a:cubicBezTo>
                <a:cubicBezTo>
                  <a:pt x="14192" y="3737"/>
                  <a:pt x="14238" y="3709"/>
                  <a:pt x="14210" y="3690"/>
                </a:cubicBezTo>
                <a:cubicBezTo>
                  <a:pt x="14195" y="3679"/>
                  <a:pt x="14164" y="3712"/>
                  <a:pt x="14151" y="3681"/>
                </a:cubicBezTo>
                <a:cubicBezTo>
                  <a:pt x="14188" y="3673"/>
                  <a:pt x="14185" y="3634"/>
                  <a:pt x="14158" y="3624"/>
                </a:cubicBezTo>
                <a:cubicBezTo>
                  <a:pt x="14141" y="3617"/>
                  <a:pt x="14121" y="3640"/>
                  <a:pt x="14104" y="3638"/>
                </a:cubicBezTo>
                <a:cubicBezTo>
                  <a:pt x="14079" y="3636"/>
                  <a:pt x="14063" y="3605"/>
                  <a:pt x="14047" y="3604"/>
                </a:cubicBezTo>
                <a:cubicBezTo>
                  <a:pt x="14027" y="3602"/>
                  <a:pt x="14030" y="3626"/>
                  <a:pt x="14015" y="3630"/>
                </a:cubicBezTo>
                <a:cubicBezTo>
                  <a:pt x="13965" y="3643"/>
                  <a:pt x="13896" y="3593"/>
                  <a:pt x="13836" y="3611"/>
                </a:cubicBezTo>
                <a:cubicBezTo>
                  <a:pt x="13814" y="3617"/>
                  <a:pt x="13829" y="3647"/>
                  <a:pt x="13793" y="3641"/>
                </a:cubicBezTo>
                <a:cubicBezTo>
                  <a:pt x="13750" y="3634"/>
                  <a:pt x="13811" y="3603"/>
                  <a:pt x="13812" y="3602"/>
                </a:cubicBezTo>
                <a:cubicBezTo>
                  <a:pt x="13787" y="3600"/>
                  <a:pt x="13750" y="3607"/>
                  <a:pt x="13726" y="3600"/>
                </a:cubicBezTo>
                <a:cubicBezTo>
                  <a:pt x="13714" y="3596"/>
                  <a:pt x="13684" y="3567"/>
                  <a:pt x="13680" y="3567"/>
                </a:cubicBezTo>
                <a:cubicBezTo>
                  <a:pt x="13604" y="3551"/>
                  <a:pt x="13649" y="3601"/>
                  <a:pt x="13626" y="3631"/>
                </a:cubicBezTo>
                <a:cubicBezTo>
                  <a:pt x="13600" y="3664"/>
                  <a:pt x="13564" y="3625"/>
                  <a:pt x="13553" y="3677"/>
                </a:cubicBezTo>
                <a:cubicBezTo>
                  <a:pt x="13546" y="3712"/>
                  <a:pt x="13579" y="3747"/>
                  <a:pt x="13613" y="3744"/>
                </a:cubicBezTo>
                <a:cubicBezTo>
                  <a:pt x="13586" y="3757"/>
                  <a:pt x="13567" y="3777"/>
                  <a:pt x="13571" y="3809"/>
                </a:cubicBezTo>
                <a:cubicBezTo>
                  <a:pt x="13592" y="3804"/>
                  <a:pt x="13612" y="3806"/>
                  <a:pt x="13631" y="3816"/>
                </a:cubicBezTo>
                <a:cubicBezTo>
                  <a:pt x="13614" y="3834"/>
                  <a:pt x="13604" y="3896"/>
                  <a:pt x="13625" y="3914"/>
                </a:cubicBezTo>
                <a:cubicBezTo>
                  <a:pt x="13653" y="3938"/>
                  <a:pt x="13677" y="3893"/>
                  <a:pt x="13711" y="3946"/>
                </a:cubicBezTo>
                <a:cubicBezTo>
                  <a:pt x="13687" y="3947"/>
                  <a:pt x="13619" y="3983"/>
                  <a:pt x="13664" y="4003"/>
                </a:cubicBezTo>
                <a:cubicBezTo>
                  <a:pt x="13691" y="4015"/>
                  <a:pt x="13707" y="3957"/>
                  <a:pt x="13714" y="3952"/>
                </a:cubicBezTo>
                <a:cubicBezTo>
                  <a:pt x="13730" y="3938"/>
                  <a:pt x="13759" y="3958"/>
                  <a:pt x="13781" y="3930"/>
                </a:cubicBezTo>
                <a:cubicBezTo>
                  <a:pt x="13797" y="3962"/>
                  <a:pt x="13839" y="3962"/>
                  <a:pt x="13872" y="3947"/>
                </a:cubicBezTo>
                <a:cubicBezTo>
                  <a:pt x="13893" y="3937"/>
                  <a:pt x="13897" y="3929"/>
                  <a:pt x="13912" y="3913"/>
                </a:cubicBezTo>
                <a:cubicBezTo>
                  <a:pt x="13918" y="3901"/>
                  <a:pt x="13918" y="3888"/>
                  <a:pt x="13914" y="3875"/>
                </a:cubicBezTo>
                <a:cubicBezTo>
                  <a:pt x="13928" y="3873"/>
                  <a:pt x="13942" y="3873"/>
                  <a:pt x="13956" y="3873"/>
                </a:cubicBezTo>
                <a:cubicBezTo>
                  <a:pt x="13985" y="3864"/>
                  <a:pt x="14022" y="3864"/>
                  <a:pt x="14052" y="3859"/>
                </a:cubicBezTo>
                <a:cubicBezTo>
                  <a:pt x="14071" y="3855"/>
                  <a:pt x="14090" y="3852"/>
                  <a:pt x="14110" y="3850"/>
                </a:cubicBezTo>
                <a:cubicBezTo>
                  <a:pt x="14128" y="3854"/>
                  <a:pt x="14138" y="3845"/>
                  <a:pt x="14138" y="3825"/>
                </a:cubicBezTo>
                <a:cubicBezTo>
                  <a:pt x="14150" y="3820"/>
                  <a:pt x="14152" y="3808"/>
                  <a:pt x="14169" y="3803"/>
                </a:cubicBezTo>
                <a:cubicBezTo>
                  <a:pt x="14188" y="3797"/>
                  <a:pt x="14199" y="3828"/>
                  <a:pt x="14227" y="3818"/>
                </a:cubicBezTo>
                <a:cubicBezTo>
                  <a:pt x="14198" y="3828"/>
                  <a:pt x="14208" y="3861"/>
                  <a:pt x="14178" y="3877"/>
                </a:cubicBezTo>
                <a:cubicBezTo>
                  <a:pt x="14170" y="3882"/>
                  <a:pt x="14130" y="3881"/>
                  <a:pt x="14130" y="3882"/>
                </a:cubicBezTo>
                <a:cubicBezTo>
                  <a:pt x="14131" y="3881"/>
                  <a:pt x="14094" y="3895"/>
                  <a:pt x="14089" y="3897"/>
                </a:cubicBezTo>
                <a:cubicBezTo>
                  <a:pt x="14072" y="3904"/>
                  <a:pt x="14049" y="3889"/>
                  <a:pt x="14045" y="3917"/>
                </a:cubicBezTo>
                <a:cubicBezTo>
                  <a:pt x="14040" y="3950"/>
                  <a:pt x="14072" y="3938"/>
                  <a:pt x="14088" y="3943"/>
                </a:cubicBezTo>
                <a:cubicBezTo>
                  <a:pt x="14143" y="3960"/>
                  <a:pt x="14203" y="3911"/>
                  <a:pt x="14216" y="3985"/>
                </a:cubicBezTo>
                <a:cubicBezTo>
                  <a:pt x="14226" y="4040"/>
                  <a:pt x="14196" y="4038"/>
                  <a:pt x="14161" y="4045"/>
                </a:cubicBezTo>
                <a:cubicBezTo>
                  <a:pt x="14116" y="4055"/>
                  <a:pt x="14078" y="4052"/>
                  <a:pt x="14033" y="4044"/>
                </a:cubicBezTo>
                <a:cubicBezTo>
                  <a:pt x="13971" y="4032"/>
                  <a:pt x="13907" y="4044"/>
                  <a:pt x="13844" y="4047"/>
                </a:cubicBezTo>
                <a:cubicBezTo>
                  <a:pt x="13763" y="4051"/>
                  <a:pt x="13681" y="4045"/>
                  <a:pt x="13600" y="4050"/>
                </a:cubicBezTo>
                <a:cubicBezTo>
                  <a:pt x="13598" y="3999"/>
                  <a:pt x="13605" y="3936"/>
                  <a:pt x="13594" y="3886"/>
                </a:cubicBezTo>
                <a:cubicBezTo>
                  <a:pt x="13590" y="3865"/>
                  <a:pt x="13593" y="3868"/>
                  <a:pt x="13580" y="3842"/>
                </a:cubicBezTo>
                <a:cubicBezTo>
                  <a:pt x="13575" y="3830"/>
                  <a:pt x="13552" y="3820"/>
                  <a:pt x="13549" y="3810"/>
                </a:cubicBezTo>
                <a:cubicBezTo>
                  <a:pt x="13541" y="3789"/>
                  <a:pt x="13557" y="3765"/>
                  <a:pt x="13549" y="3745"/>
                </a:cubicBezTo>
                <a:cubicBezTo>
                  <a:pt x="13535" y="3707"/>
                  <a:pt x="13527" y="3714"/>
                  <a:pt x="13518" y="3669"/>
                </a:cubicBezTo>
                <a:cubicBezTo>
                  <a:pt x="13510" y="3633"/>
                  <a:pt x="13518" y="3588"/>
                  <a:pt x="13518" y="3552"/>
                </a:cubicBezTo>
                <a:cubicBezTo>
                  <a:pt x="13518" y="3461"/>
                  <a:pt x="13518" y="3370"/>
                  <a:pt x="13518" y="3280"/>
                </a:cubicBezTo>
                <a:cubicBezTo>
                  <a:pt x="13518" y="3254"/>
                  <a:pt x="13518" y="3422"/>
                  <a:pt x="13518" y="3280"/>
                </a:cubicBezTo>
                <a:close/>
                <a:moveTo>
                  <a:pt x="14885" y="4144"/>
                </a:moveTo>
                <a:cubicBezTo>
                  <a:pt x="14938" y="4144"/>
                  <a:pt x="14977" y="4144"/>
                  <a:pt x="15031" y="4144"/>
                </a:cubicBezTo>
                <a:cubicBezTo>
                  <a:pt x="14977" y="4166"/>
                  <a:pt x="14938" y="4165"/>
                  <a:pt x="14885" y="4144"/>
                </a:cubicBezTo>
                <a:close/>
                <a:moveTo>
                  <a:pt x="14993" y="4263"/>
                </a:moveTo>
                <a:cubicBezTo>
                  <a:pt x="14974" y="4289"/>
                  <a:pt x="14958" y="4267"/>
                  <a:pt x="14949" y="4252"/>
                </a:cubicBezTo>
                <a:cubicBezTo>
                  <a:pt x="14965" y="4249"/>
                  <a:pt x="14980" y="4253"/>
                  <a:pt x="14993" y="4263"/>
                </a:cubicBezTo>
                <a:cubicBezTo>
                  <a:pt x="14985" y="4274"/>
                  <a:pt x="14981" y="4249"/>
                  <a:pt x="14993" y="4263"/>
                </a:cubicBezTo>
                <a:close/>
                <a:moveTo>
                  <a:pt x="14947" y="4250"/>
                </a:moveTo>
                <a:cubicBezTo>
                  <a:pt x="14942" y="4248"/>
                  <a:pt x="14936" y="4247"/>
                  <a:pt x="14938" y="4239"/>
                </a:cubicBezTo>
                <a:cubicBezTo>
                  <a:pt x="14944" y="4241"/>
                  <a:pt x="14950" y="4243"/>
                  <a:pt x="14947" y="4250"/>
                </a:cubicBezTo>
                <a:close/>
                <a:moveTo>
                  <a:pt x="14937" y="4238"/>
                </a:moveTo>
                <a:cubicBezTo>
                  <a:pt x="14905" y="4238"/>
                  <a:pt x="14873" y="4238"/>
                  <a:pt x="14840" y="4238"/>
                </a:cubicBezTo>
                <a:cubicBezTo>
                  <a:pt x="14866" y="4192"/>
                  <a:pt x="14891" y="4192"/>
                  <a:pt x="14937" y="4238"/>
                </a:cubicBezTo>
                <a:close/>
                <a:moveTo>
                  <a:pt x="14909" y="3572"/>
                </a:moveTo>
                <a:cubicBezTo>
                  <a:pt x="14940" y="3558"/>
                  <a:pt x="15079" y="3635"/>
                  <a:pt x="15023" y="3657"/>
                </a:cubicBezTo>
                <a:cubicBezTo>
                  <a:pt x="14959" y="3681"/>
                  <a:pt x="14931" y="3612"/>
                  <a:pt x="14909" y="3572"/>
                </a:cubicBezTo>
                <a:cubicBezTo>
                  <a:pt x="14934" y="3561"/>
                  <a:pt x="14917" y="3588"/>
                  <a:pt x="14909" y="3572"/>
                </a:cubicBezTo>
                <a:close/>
                <a:moveTo>
                  <a:pt x="14765" y="3876"/>
                </a:moveTo>
                <a:cubicBezTo>
                  <a:pt x="14775" y="3894"/>
                  <a:pt x="14630" y="3877"/>
                  <a:pt x="14611" y="3887"/>
                </a:cubicBezTo>
                <a:cubicBezTo>
                  <a:pt x="14542" y="3926"/>
                  <a:pt x="14757" y="3897"/>
                  <a:pt x="14696" y="3948"/>
                </a:cubicBezTo>
                <a:cubicBezTo>
                  <a:pt x="14681" y="3960"/>
                  <a:pt x="14592" y="3940"/>
                  <a:pt x="14569" y="3941"/>
                </a:cubicBezTo>
                <a:cubicBezTo>
                  <a:pt x="14542" y="3943"/>
                  <a:pt x="14472" y="3967"/>
                  <a:pt x="14449" y="3941"/>
                </a:cubicBezTo>
                <a:cubicBezTo>
                  <a:pt x="14416" y="3901"/>
                  <a:pt x="14471" y="3870"/>
                  <a:pt x="14499" y="3851"/>
                </a:cubicBezTo>
                <a:cubicBezTo>
                  <a:pt x="14517" y="3839"/>
                  <a:pt x="14529" y="3839"/>
                  <a:pt x="14541" y="3828"/>
                </a:cubicBezTo>
                <a:cubicBezTo>
                  <a:pt x="14553" y="3816"/>
                  <a:pt x="14541" y="3800"/>
                  <a:pt x="14564" y="3792"/>
                </a:cubicBezTo>
                <a:cubicBezTo>
                  <a:pt x="14545" y="3799"/>
                  <a:pt x="14540" y="3822"/>
                  <a:pt x="14539" y="3840"/>
                </a:cubicBezTo>
                <a:cubicBezTo>
                  <a:pt x="14577" y="3842"/>
                  <a:pt x="14637" y="3857"/>
                  <a:pt x="14673" y="3848"/>
                </a:cubicBezTo>
                <a:cubicBezTo>
                  <a:pt x="14703" y="3841"/>
                  <a:pt x="14679" y="3813"/>
                  <a:pt x="14734" y="3809"/>
                </a:cubicBezTo>
                <a:cubicBezTo>
                  <a:pt x="14826" y="3801"/>
                  <a:pt x="14741" y="3833"/>
                  <a:pt x="14765" y="3876"/>
                </a:cubicBezTo>
                <a:cubicBezTo>
                  <a:pt x="14768" y="3882"/>
                  <a:pt x="14753" y="3854"/>
                  <a:pt x="14765" y="3876"/>
                </a:cubicBezTo>
                <a:close/>
                <a:moveTo>
                  <a:pt x="14427" y="3841"/>
                </a:moveTo>
                <a:cubicBezTo>
                  <a:pt x="14415" y="3842"/>
                  <a:pt x="14362" y="3857"/>
                  <a:pt x="14357" y="3840"/>
                </a:cubicBezTo>
                <a:cubicBezTo>
                  <a:pt x="14348" y="3805"/>
                  <a:pt x="14386" y="3811"/>
                  <a:pt x="14406" y="3809"/>
                </a:cubicBezTo>
                <a:cubicBezTo>
                  <a:pt x="14419" y="3807"/>
                  <a:pt x="14477" y="3798"/>
                  <a:pt x="14470" y="3829"/>
                </a:cubicBezTo>
                <a:cubicBezTo>
                  <a:pt x="14462" y="3862"/>
                  <a:pt x="14444" y="3827"/>
                  <a:pt x="14427" y="3841"/>
                </a:cubicBezTo>
                <a:cubicBezTo>
                  <a:pt x="14408" y="3843"/>
                  <a:pt x="14436" y="3833"/>
                  <a:pt x="14427" y="3841"/>
                </a:cubicBezTo>
                <a:close/>
                <a:moveTo>
                  <a:pt x="13872" y="3805"/>
                </a:moveTo>
                <a:cubicBezTo>
                  <a:pt x="13829" y="3813"/>
                  <a:pt x="13828" y="3840"/>
                  <a:pt x="13846" y="3874"/>
                </a:cubicBezTo>
                <a:cubicBezTo>
                  <a:pt x="13829" y="3875"/>
                  <a:pt x="13753" y="3893"/>
                  <a:pt x="13757" y="3858"/>
                </a:cubicBezTo>
                <a:cubicBezTo>
                  <a:pt x="13758" y="3845"/>
                  <a:pt x="13815" y="3814"/>
                  <a:pt x="13822" y="3794"/>
                </a:cubicBezTo>
                <a:cubicBezTo>
                  <a:pt x="13833" y="3763"/>
                  <a:pt x="13790" y="3718"/>
                  <a:pt x="13840" y="3729"/>
                </a:cubicBezTo>
                <a:cubicBezTo>
                  <a:pt x="13859" y="3734"/>
                  <a:pt x="13865" y="3753"/>
                  <a:pt x="13890" y="3756"/>
                </a:cubicBezTo>
                <a:cubicBezTo>
                  <a:pt x="13909" y="3759"/>
                  <a:pt x="13965" y="3739"/>
                  <a:pt x="13982" y="3729"/>
                </a:cubicBezTo>
                <a:cubicBezTo>
                  <a:pt x="13956" y="3744"/>
                  <a:pt x="13912" y="3737"/>
                  <a:pt x="13890" y="3756"/>
                </a:cubicBezTo>
                <a:cubicBezTo>
                  <a:pt x="13879" y="3766"/>
                  <a:pt x="13887" y="3802"/>
                  <a:pt x="13872" y="3805"/>
                </a:cubicBezTo>
                <a:cubicBezTo>
                  <a:pt x="13820" y="3815"/>
                  <a:pt x="13889" y="3802"/>
                  <a:pt x="13872" y="3805"/>
                </a:cubicBezTo>
                <a:close/>
                <a:moveTo>
                  <a:pt x="13750" y="3645"/>
                </a:moveTo>
                <a:cubicBezTo>
                  <a:pt x="13733" y="3671"/>
                  <a:pt x="13683" y="3631"/>
                  <a:pt x="13661" y="3636"/>
                </a:cubicBezTo>
                <a:cubicBezTo>
                  <a:pt x="13683" y="3631"/>
                  <a:pt x="13691" y="3605"/>
                  <a:pt x="13713" y="3608"/>
                </a:cubicBezTo>
                <a:cubicBezTo>
                  <a:pt x="13726" y="3610"/>
                  <a:pt x="13763" y="3625"/>
                  <a:pt x="13750" y="3645"/>
                </a:cubicBezTo>
                <a:cubicBezTo>
                  <a:pt x="13733" y="3672"/>
                  <a:pt x="13756" y="3636"/>
                  <a:pt x="13750" y="3645"/>
                </a:cubicBezTo>
                <a:close/>
                <a:moveTo>
                  <a:pt x="13488" y="2520"/>
                </a:moveTo>
                <a:cubicBezTo>
                  <a:pt x="13483" y="2520"/>
                  <a:pt x="13344" y="2522"/>
                  <a:pt x="13389" y="2493"/>
                </a:cubicBezTo>
                <a:cubicBezTo>
                  <a:pt x="13405" y="2484"/>
                  <a:pt x="13474" y="2503"/>
                  <a:pt x="13488" y="2520"/>
                </a:cubicBezTo>
                <a:cubicBezTo>
                  <a:pt x="13457" y="2523"/>
                  <a:pt x="13464" y="2490"/>
                  <a:pt x="13488" y="2520"/>
                </a:cubicBezTo>
                <a:close/>
                <a:moveTo>
                  <a:pt x="13420" y="2686"/>
                </a:moveTo>
                <a:cubicBezTo>
                  <a:pt x="13427" y="2684"/>
                  <a:pt x="13434" y="2682"/>
                  <a:pt x="13441" y="2680"/>
                </a:cubicBezTo>
                <a:cubicBezTo>
                  <a:pt x="13419" y="2694"/>
                  <a:pt x="13412" y="2688"/>
                  <a:pt x="13421" y="2662"/>
                </a:cubicBezTo>
                <a:cubicBezTo>
                  <a:pt x="13420" y="2670"/>
                  <a:pt x="13420" y="2678"/>
                  <a:pt x="13420" y="2686"/>
                </a:cubicBezTo>
                <a:cubicBezTo>
                  <a:pt x="13427" y="2685"/>
                  <a:pt x="13417" y="2677"/>
                  <a:pt x="13420" y="2686"/>
                </a:cubicBezTo>
                <a:close/>
                <a:moveTo>
                  <a:pt x="13472" y="307"/>
                </a:moveTo>
                <a:cubicBezTo>
                  <a:pt x="13468" y="307"/>
                  <a:pt x="13407" y="237"/>
                  <a:pt x="13400" y="231"/>
                </a:cubicBezTo>
                <a:cubicBezTo>
                  <a:pt x="13362" y="206"/>
                  <a:pt x="13318" y="191"/>
                  <a:pt x="13273" y="188"/>
                </a:cubicBezTo>
                <a:cubicBezTo>
                  <a:pt x="13354" y="193"/>
                  <a:pt x="13429" y="237"/>
                  <a:pt x="13472" y="307"/>
                </a:cubicBezTo>
                <a:cubicBezTo>
                  <a:pt x="13472" y="307"/>
                  <a:pt x="13429" y="237"/>
                  <a:pt x="13472" y="307"/>
                </a:cubicBezTo>
                <a:close/>
                <a:moveTo>
                  <a:pt x="13268" y="187"/>
                </a:moveTo>
                <a:cubicBezTo>
                  <a:pt x="13264" y="187"/>
                  <a:pt x="13260" y="187"/>
                  <a:pt x="13255" y="187"/>
                </a:cubicBezTo>
                <a:cubicBezTo>
                  <a:pt x="13260" y="187"/>
                  <a:pt x="13264" y="187"/>
                  <a:pt x="13268" y="187"/>
                </a:cubicBezTo>
                <a:close/>
                <a:moveTo>
                  <a:pt x="12981" y="384"/>
                </a:moveTo>
                <a:cubicBezTo>
                  <a:pt x="12999" y="284"/>
                  <a:pt x="13123" y="307"/>
                  <a:pt x="13196" y="307"/>
                </a:cubicBezTo>
                <a:cubicBezTo>
                  <a:pt x="13295" y="308"/>
                  <a:pt x="13370" y="313"/>
                  <a:pt x="13383" y="426"/>
                </a:cubicBezTo>
                <a:cubicBezTo>
                  <a:pt x="13392" y="506"/>
                  <a:pt x="13402" y="638"/>
                  <a:pt x="13382" y="714"/>
                </a:cubicBezTo>
                <a:cubicBezTo>
                  <a:pt x="13374" y="746"/>
                  <a:pt x="13363" y="762"/>
                  <a:pt x="13333" y="775"/>
                </a:cubicBezTo>
                <a:cubicBezTo>
                  <a:pt x="13310" y="785"/>
                  <a:pt x="13272" y="780"/>
                  <a:pt x="13247" y="781"/>
                </a:cubicBezTo>
                <a:cubicBezTo>
                  <a:pt x="13237" y="782"/>
                  <a:pt x="13154" y="782"/>
                  <a:pt x="13207" y="790"/>
                </a:cubicBezTo>
                <a:cubicBezTo>
                  <a:pt x="13145" y="781"/>
                  <a:pt x="13003" y="799"/>
                  <a:pt x="12974" y="730"/>
                </a:cubicBezTo>
                <a:cubicBezTo>
                  <a:pt x="12958" y="695"/>
                  <a:pt x="12971" y="627"/>
                  <a:pt x="12971" y="588"/>
                </a:cubicBezTo>
                <a:cubicBezTo>
                  <a:pt x="12970" y="520"/>
                  <a:pt x="12969" y="452"/>
                  <a:pt x="12981" y="384"/>
                </a:cubicBezTo>
                <a:cubicBezTo>
                  <a:pt x="12990" y="333"/>
                  <a:pt x="12961" y="493"/>
                  <a:pt x="12981" y="384"/>
                </a:cubicBezTo>
                <a:close/>
                <a:moveTo>
                  <a:pt x="13354" y="1527"/>
                </a:moveTo>
                <a:cubicBezTo>
                  <a:pt x="13387" y="1657"/>
                  <a:pt x="13015" y="1627"/>
                  <a:pt x="12980" y="1564"/>
                </a:cubicBezTo>
                <a:cubicBezTo>
                  <a:pt x="12964" y="1535"/>
                  <a:pt x="12979" y="1439"/>
                  <a:pt x="12978" y="1404"/>
                </a:cubicBezTo>
                <a:cubicBezTo>
                  <a:pt x="12976" y="1350"/>
                  <a:pt x="12974" y="1297"/>
                  <a:pt x="12977" y="1243"/>
                </a:cubicBezTo>
                <a:cubicBezTo>
                  <a:pt x="12980" y="1196"/>
                  <a:pt x="12975" y="1091"/>
                  <a:pt x="13013" y="1053"/>
                </a:cubicBezTo>
                <a:cubicBezTo>
                  <a:pt x="13066" y="1000"/>
                  <a:pt x="13292" y="1005"/>
                  <a:pt x="13335" y="1071"/>
                </a:cubicBezTo>
                <a:cubicBezTo>
                  <a:pt x="13361" y="1110"/>
                  <a:pt x="13366" y="1201"/>
                  <a:pt x="13366" y="1246"/>
                </a:cubicBezTo>
                <a:cubicBezTo>
                  <a:pt x="13367" y="1339"/>
                  <a:pt x="13349" y="1435"/>
                  <a:pt x="13354" y="1527"/>
                </a:cubicBezTo>
                <a:cubicBezTo>
                  <a:pt x="13368" y="1582"/>
                  <a:pt x="13353" y="1508"/>
                  <a:pt x="13354" y="1527"/>
                </a:cubicBezTo>
                <a:close/>
                <a:moveTo>
                  <a:pt x="13350" y="3568"/>
                </a:moveTo>
                <a:cubicBezTo>
                  <a:pt x="13328" y="3579"/>
                  <a:pt x="13250" y="3478"/>
                  <a:pt x="13234" y="3450"/>
                </a:cubicBezTo>
                <a:cubicBezTo>
                  <a:pt x="13193" y="3381"/>
                  <a:pt x="13224" y="3373"/>
                  <a:pt x="13273" y="3321"/>
                </a:cubicBezTo>
                <a:cubicBezTo>
                  <a:pt x="13314" y="3278"/>
                  <a:pt x="13320" y="3227"/>
                  <a:pt x="13349" y="3277"/>
                </a:cubicBezTo>
                <a:cubicBezTo>
                  <a:pt x="13363" y="3301"/>
                  <a:pt x="13350" y="3370"/>
                  <a:pt x="13350" y="3401"/>
                </a:cubicBezTo>
                <a:cubicBezTo>
                  <a:pt x="13350" y="3457"/>
                  <a:pt x="13350" y="3512"/>
                  <a:pt x="13350" y="3568"/>
                </a:cubicBezTo>
                <a:cubicBezTo>
                  <a:pt x="13345" y="3570"/>
                  <a:pt x="13350" y="3471"/>
                  <a:pt x="13350" y="3568"/>
                </a:cubicBezTo>
                <a:close/>
                <a:moveTo>
                  <a:pt x="13313" y="3882"/>
                </a:moveTo>
                <a:cubicBezTo>
                  <a:pt x="13318" y="3896"/>
                  <a:pt x="13318" y="3910"/>
                  <a:pt x="13314" y="3924"/>
                </a:cubicBezTo>
                <a:cubicBezTo>
                  <a:pt x="13318" y="3910"/>
                  <a:pt x="13318" y="3896"/>
                  <a:pt x="13313" y="3882"/>
                </a:cubicBezTo>
                <a:cubicBezTo>
                  <a:pt x="13318" y="3888"/>
                  <a:pt x="13318" y="3888"/>
                  <a:pt x="13313" y="3882"/>
                </a:cubicBezTo>
                <a:close/>
                <a:moveTo>
                  <a:pt x="13274" y="3799"/>
                </a:moveTo>
                <a:cubicBezTo>
                  <a:pt x="13202" y="3806"/>
                  <a:pt x="13093" y="3828"/>
                  <a:pt x="13025" y="3796"/>
                </a:cubicBezTo>
                <a:cubicBezTo>
                  <a:pt x="12967" y="3770"/>
                  <a:pt x="12977" y="3722"/>
                  <a:pt x="13026" y="3697"/>
                </a:cubicBezTo>
                <a:cubicBezTo>
                  <a:pt x="13062" y="3679"/>
                  <a:pt x="13239" y="3681"/>
                  <a:pt x="13275" y="3698"/>
                </a:cubicBezTo>
                <a:cubicBezTo>
                  <a:pt x="13318" y="3719"/>
                  <a:pt x="13346" y="3792"/>
                  <a:pt x="13274" y="3799"/>
                </a:cubicBezTo>
                <a:cubicBezTo>
                  <a:pt x="13197" y="3806"/>
                  <a:pt x="13308" y="3796"/>
                  <a:pt x="13274" y="3799"/>
                </a:cubicBezTo>
                <a:close/>
                <a:moveTo>
                  <a:pt x="13053" y="2420"/>
                </a:moveTo>
                <a:cubicBezTo>
                  <a:pt x="13053" y="2314"/>
                  <a:pt x="13053" y="2209"/>
                  <a:pt x="13053" y="2103"/>
                </a:cubicBezTo>
                <a:cubicBezTo>
                  <a:pt x="13053" y="2052"/>
                  <a:pt x="13042" y="1983"/>
                  <a:pt x="13053" y="1933"/>
                </a:cubicBezTo>
                <a:cubicBezTo>
                  <a:pt x="13063" y="1887"/>
                  <a:pt x="13031" y="1897"/>
                  <a:pt x="13090" y="1883"/>
                </a:cubicBezTo>
                <a:cubicBezTo>
                  <a:pt x="13112" y="1877"/>
                  <a:pt x="13141" y="1880"/>
                  <a:pt x="13164" y="1880"/>
                </a:cubicBezTo>
                <a:cubicBezTo>
                  <a:pt x="13182" y="1880"/>
                  <a:pt x="13237" y="1876"/>
                  <a:pt x="13256" y="1886"/>
                </a:cubicBezTo>
                <a:cubicBezTo>
                  <a:pt x="13292" y="1906"/>
                  <a:pt x="13262" y="1880"/>
                  <a:pt x="13275" y="1914"/>
                </a:cubicBezTo>
                <a:cubicBezTo>
                  <a:pt x="13287" y="1946"/>
                  <a:pt x="13274" y="2013"/>
                  <a:pt x="13274" y="2049"/>
                </a:cubicBezTo>
                <a:cubicBezTo>
                  <a:pt x="13274" y="2148"/>
                  <a:pt x="13272" y="2247"/>
                  <a:pt x="13273" y="2346"/>
                </a:cubicBezTo>
                <a:cubicBezTo>
                  <a:pt x="13273" y="2360"/>
                  <a:pt x="13277" y="2380"/>
                  <a:pt x="13274" y="2394"/>
                </a:cubicBezTo>
                <a:cubicBezTo>
                  <a:pt x="13271" y="2406"/>
                  <a:pt x="13252" y="2430"/>
                  <a:pt x="13252" y="2431"/>
                </a:cubicBezTo>
                <a:cubicBezTo>
                  <a:pt x="13250" y="2457"/>
                  <a:pt x="13280" y="2505"/>
                  <a:pt x="13261" y="2526"/>
                </a:cubicBezTo>
                <a:cubicBezTo>
                  <a:pt x="13204" y="2589"/>
                  <a:pt x="13154" y="2471"/>
                  <a:pt x="13150" y="2433"/>
                </a:cubicBezTo>
                <a:cubicBezTo>
                  <a:pt x="13135" y="2267"/>
                  <a:pt x="13151" y="2093"/>
                  <a:pt x="13151" y="1926"/>
                </a:cubicBezTo>
                <a:cubicBezTo>
                  <a:pt x="13144" y="2045"/>
                  <a:pt x="13147" y="2164"/>
                  <a:pt x="13144" y="2284"/>
                </a:cubicBezTo>
                <a:cubicBezTo>
                  <a:pt x="13144" y="2317"/>
                  <a:pt x="13159" y="2512"/>
                  <a:pt x="13134" y="2533"/>
                </a:cubicBezTo>
                <a:cubicBezTo>
                  <a:pt x="13048" y="2608"/>
                  <a:pt x="13052" y="2454"/>
                  <a:pt x="13053" y="2420"/>
                </a:cubicBezTo>
                <a:cubicBezTo>
                  <a:pt x="13053" y="2269"/>
                  <a:pt x="13052" y="2453"/>
                  <a:pt x="13053" y="2420"/>
                </a:cubicBezTo>
                <a:close/>
                <a:moveTo>
                  <a:pt x="13327" y="2011"/>
                </a:moveTo>
                <a:cubicBezTo>
                  <a:pt x="13333" y="2132"/>
                  <a:pt x="13351" y="2248"/>
                  <a:pt x="13349" y="2373"/>
                </a:cubicBezTo>
                <a:cubicBezTo>
                  <a:pt x="13348" y="2409"/>
                  <a:pt x="13353" y="2607"/>
                  <a:pt x="13295" y="2501"/>
                </a:cubicBezTo>
                <a:cubicBezTo>
                  <a:pt x="13255" y="2428"/>
                  <a:pt x="13284" y="2275"/>
                  <a:pt x="13286" y="2191"/>
                </a:cubicBezTo>
                <a:cubicBezTo>
                  <a:pt x="13288" y="2134"/>
                  <a:pt x="13289" y="2077"/>
                  <a:pt x="13289" y="2020"/>
                </a:cubicBezTo>
                <a:cubicBezTo>
                  <a:pt x="13289" y="1992"/>
                  <a:pt x="13282" y="1951"/>
                  <a:pt x="13287" y="1924"/>
                </a:cubicBezTo>
                <a:cubicBezTo>
                  <a:pt x="13292" y="1892"/>
                  <a:pt x="13294" y="1903"/>
                  <a:pt x="13308" y="1875"/>
                </a:cubicBezTo>
                <a:cubicBezTo>
                  <a:pt x="13264" y="1854"/>
                  <a:pt x="13196" y="1855"/>
                  <a:pt x="13149" y="1856"/>
                </a:cubicBezTo>
                <a:cubicBezTo>
                  <a:pt x="13169" y="1856"/>
                  <a:pt x="13319" y="1869"/>
                  <a:pt x="13317" y="1864"/>
                </a:cubicBezTo>
                <a:cubicBezTo>
                  <a:pt x="13315" y="1874"/>
                  <a:pt x="13317" y="1882"/>
                  <a:pt x="13325" y="1888"/>
                </a:cubicBezTo>
                <a:cubicBezTo>
                  <a:pt x="13323" y="1886"/>
                  <a:pt x="13326" y="1995"/>
                  <a:pt x="13327" y="2011"/>
                </a:cubicBezTo>
                <a:cubicBezTo>
                  <a:pt x="13328" y="2030"/>
                  <a:pt x="13324" y="1943"/>
                  <a:pt x="13327" y="2011"/>
                </a:cubicBezTo>
                <a:close/>
                <a:moveTo>
                  <a:pt x="13343" y="2685"/>
                </a:moveTo>
                <a:cubicBezTo>
                  <a:pt x="13354" y="2697"/>
                  <a:pt x="13353" y="2712"/>
                  <a:pt x="13338" y="2729"/>
                </a:cubicBezTo>
                <a:cubicBezTo>
                  <a:pt x="13353" y="2712"/>
                  <a:pt x="13354" y="2697"/>
                  <a:pt x="13343" y="2685"/>
                </a:cubicBezTo>
                <a:close/>
                <a:moveTo>
                  <a:pt x="13240" y="2685"/>
                </a:moveTo>
                <a:cubicBezTo>
                  <a:pt x="13220" y="2688"/>
                  <a:pt x="13213" y="2698"/>
                  <a:pt x="13220" y="2717"/>
                </a:cubicBezTo>
                <a:cubicBezTo>
                  <a:pt x="13213" y="2698"/>
                  <a:pt x="13220" y="2688"/>
                  <a:pt x="13240" y="2685"/>
                </a:cubicBezTo>
                <a:close/>
                <a:moveTo>
                  <a:pt x="13207" y="2677"/>
                </a:moveTo>
                <a:cubicBezTo>
                  <a:pt x="13207" y="2677"/>
                  <a:pt x="13214" y="2701"/>
                  <a:pt x="13207" y="2677"/>
                </a:cubicBezTo>
                <a:cubicBezTo>
                  <a:pt x="13208" y="2680"/>
                  <a:pt x="13208" y="2680"/>
                  <a:pt x="13207" y="2677"/>
                </a:cubicBezTo>
                <a:close/>
                <a:moveTo>
                  <a:pt x="13208" y="2733"/>
                </a:moveTo>
                <a:cubicBezTo>
                  <a:pt x="13194" y="2745"/>
                  <a:pt x="13179" y="2746"/>
                  <a:pt x="13163" y="2737"/>
                </a:cubicBezTo>
                <a:cubicBezTo>
                  <a:pt x="13163" y="2750"/>
                  <a:pt x="13207" y="2734"/>
                  <a:pt x="13208" y="2733"/>
                </a:cubicBezTo>
                <a:cubicBezTo>
                  <a:pt x="13197" y="2745"/>
                  <a:pt x="13197" y="2745"/>
                  <a:pt x="13208" y="2733"/>
                </a:cubicBezTo>
                <a:close/>
                <a:moveTo>
                  <a:pt x="13143" y="2741"/>
                </a:moveTo>
                <a:cubicBezTo>
                  <a:pt x="13142" y="2741"/>
                  <a:pt x="13142" y="2740"/>
                  <a:pt x="13143" y="2741"/>
                </a:cubicBezTo>
                <a:close/>
                <a:moveTo>
                  <a:pt x="13153" y="2787"/>
                </a:moveTo>
                <a:cubicBezTo>
                  <a:pt x="13171" y="2799"/>
                  <a:pt x="13182" y="2770"/>
                  <a:pt x="13189" y="2802"/>
                </a:cubicBezTo>
                <a:cubicBezTo>
                  <a:pt x="13194" y="2824"/>
                  <a:pt x="13162" y="2836"/>
                  <a:pt x="13147" y="2831"/>
                </a:cubicBezTo>
                <a:cubicBezTo>
                  <a:pt x="13136" y="2828"/>
                  <a:pt x="13115" y="2813"/>
                  <a:pt x="13120" y="2799"/>
                </a:cubicBezTo>
                <a:cubicBezTo>
                  <a:pt x="13127" y="2777"/>
                  <a:pt x="13136" y="2793"/>
                  <a:pt x="13153" y="2787"/>
                </a:cubicBezTo>
                <a:cubicBezTo>
                  <a:pt x="13164" y="2795"/>
                  <a:pt x="13141" y="2791"/>
                  <a:pt x="13153" y="2787"/>
                </a:cubicBezTo>
                <a:close/>
                <a:moveTo>
                  <a:pt x="13155" y="2949"/>
                </a:moveTo>
                <a:cubicBezTo>
                  <a:pt x="13183" y="2981"/>
                  <a:pt x="13275" y="3052"/>
                  <a:pt x="13281" y="3095"/>
                </a:cubicBezTo>
                <a:cubicBezTo>
                  <a:pt x="13288" y="3148"/>
                  <a:pt x="13176" y="3123"/>
                  <a:pt x="13136" y="3123"/>
                </a:cubicBezTo>
                <a:cubicBezTo>
                  <a:pt x="13109" y="3122"/>
                  <a:pt x="13021" y="3139"/>
                  <a:pt x="13026" y="3097"/>
                </a:cubicBezTo>
                <a:cubicBezTo>
                  <a:pt x="13031" y="3058"/>
                  <a:pt x="13130" y="2977"/>
                  <a:pt x="13155" y="2949"/>
                </a:cubicBezTo>
                <a:cubicBezTo>
                  <a:pt x="13197" y="2996"/>
                  <a:pt x="13113" y="2996"/>
                  <a:pt x="13155" y="2949"/>
                </a:cubicBezTo>
                <a:close/>
                <a:moveTo>
                  <a:pt x="13030" y="3196"/>
                </a:moveTo>
                <a:cubicBezTo>
                  <a:pt x="13041" y="3162"/>
                  <a:pt x="13153" y="3181"/>
                  <a:pt x="13181" y="3180"/>
                </a:cubicBezTo>
                <a:cubicBezTo>
                  <a:pt x="13255" y="3180"/>
                  <a:pt x="13317" y="3175"/>
                  <a:pt x="13246" y="3253"/>
                </a:cubicBezTo>
                <a:cubicBezTo>
                  <a:pt x="13223" y="3277"/>
                  <a:pt x="13175" y="3350"/>
                  <a:pt x="13139" y="3340"/>
                </a:cubicBezTo>
                <a:cubicBezTo>
                  <a:pt x="13117" y="3335"/>
                  <a:pt x="13023" y="3216"/>
                  <a:pt x="13030" y="3196"/>
                </a:cubicBezTo>
                <a:cubicBezTo>
                  <a:pt x="13042" y="3161"/>
                  <a:pt x="13019" y="3228"/>
                  <a:pt x="13030" y="3196"/>
                </a:cubicBezTo>
                <a:close/>
                <a:moveTo>
                  <a:pt x="13132" y="3482"/>
                </a:moveTo>
                <a:cubicBezTo>
                  <a:pt x="13163" y="3445"/>
                  <a:pt x="13266" y="3571"/>
                  <a:pt x="13273" y="3603"/>
                </a:cubicBezTo>
                <a:cubicBezTo>
                  <a:pt x="13285" y="3653"/>
                  <a:pt x="13214" y="3638"/>
                  <a:pt x="13171" y="3639"/>
                </a:cubicBezTo>
                <a:cubicBezTo>
                  <a:pt x="13150" y="3640"/>
                  <a:pt x="13044" y="3654"/>
                  <a:pt x="13029" y="3634"/>
                </a:cubicBezTo>
                <a:cubicBezTo>
                  <a:pt x="13007" y="3606"/>
                  <a:pt x="13113" y="3504"/>
                  <a:pt x="13132" y="3482"/>
                </a:cubicBezTo>
                <a:cubicBezTo>
                  <a:pt x="13145" y="3466"/>
                  <a:pt x="13098" y="3522"/>
                  <a:pt x="13132" y="3482"/>
                </a:cubicBezTo>
                <a:close/>
                <a:moveTo>
                  <a:pt x="13349" y="2839"/>
                </a:moveTo>
                <a:cubicBezTo>
                  <a:pt x="13342" y="2912"/>
                  <a:pt x="13348" y="2990"/>
                  <a:pt x="13348" y="3064"/>
                </a:cubicBezTo>
                <a:cubicBezTo>
                  <a:pt x="13305" y="3023"/>
                  <a:pt x="13199" y="2938"/>
                  <a:pt x="13221" y="2871"/>
                </a:cubicBezTo>
                <a:cubicBezTo>
                  <a:pt x="13237" y="2823"/>
                  <a:pt x="13359" y="2743"/>
                  <a:pt x="13349" y="2839"/>
                </a:cubicBezTo>
                <a:cubicBezTo>
                  <a:pt x="13348" y="2850"/>
                  <a:pt x="13351" y="2825"/>
                  <a:pt x="13349" y="2839"/>
                </a:cubicBezTo>
                <a:close/>
                <a:moveTo>
                  <a:pt x="12988" y="2131"/>
                </a:moveTo>
                <a:cubicBezTo>
                  <a:pt x="12986" y="2092"/>
                  <a:pt x="12980" y="1896"/>
                  <a:pt x="13042" y="1888"/>
                </a:cubicBezTo>
                <a:cubicBezTo>
                  <a:pt x="13042" y="2079"/>
                  <a:pt x="13061" y="2283"/>
                  <a:pt x="13029" y="2469"/>
                </a:cubicBezTo>
                <a:cubicBezTo>
                  <a:pt x="13025" y="2492"/>
                  <a:pt x="13026" y="2557"/>
                  <a:pt x="12984" y="2534"/>
                </a:cubicBezTo>
                <a:cubicBezTo>
                  <a:pt x="12959" y="2522"/>
                  <a:pt x="12971" y="2463"/>
                  <a:pt x="12971" y="2440"/>
                </a:cubicBezTo>
                <a:cubicBezTo>
                  <a:pt x="12969" y="2382"/>
                  <a:pt x="12968" y="2324"/>
                  <a:pt x="12967" y="2266"/>
                </a:cubicBezTo>
                <a:cubicBezTo>
                  <a:pt x="12967" y="2237"/>
                  <a:pt x="12967" y="2207"/>
                  <a:pt x="12972" y="2180"/>
                </a:cubicBezTo>
                <a:cubicBezTo>
                  <a:pt x="12976" y="2161"/>
                  <a:pt x="12989" y="2155"/>
                  <a:pt x="12988" y="2131"/>
                </a:cubicBezTo>
                <a:cubicBezTo>
                  <a:pt x="12986" y="2094"/>
                  <a:pt x="12989" y="2154"/>
                  <a:pt x="12988" y="2131"/>
                </a:cubicBezTo>
                <a:close/>
                <a:moveTo>
                  <a:pt x="12963" y="2984"/>
                </a:moveTo>
                <a:cubicBezTo>
                  <a:pt x="12960" y="2960"/>
                  <a:pt x="12951" y="2823"/>
                  <a:pt x="12964" y="2809"/>
                </a:cubicBezTo>
                <a:cubicBezTo>
                  <a:pt x="12988" y="2783"/>
                  <a:pt x="13051" y="2817"/>
                  <a:pt x="13075" y="2852"/>
                </a:cubicBezTo>
                <a:cubicBezTo>
                  <a:pt x="13109" y="2904"/>
                  <a:pt x="13073" y="2943"/>
                  <a:pt x="13039" y="2982"/>
                </a:cubicBezTo>
                <a:cubicBezTo>
                  <a:pt x="13033" y="2989"/>
                  <a:pt x="13000" y="3041"/>
                  <a:pt x="12990" y="3042"/>
                </a:cubicBezTo>
                <a:cubicBezTo>
                  <a:pt x="12945" y="3047"/>
                  <a:pt x="12967" y="3017"/>
                  <a:pt x="12963" y="2984"/>
                </a:cubicBezTo>
                <a:cubicBezTo>
                  <a:pt x="12960" y="2962"/>
                  <a:pt x="12966" y="3006"/>
                  <a:pt x="12963" y="2984"/>
                </a:cubicBezTo>
                <a:close/>
                <a:moveTo>
                  <a:pt x="12967" y="3249"/>
                </a:moveTo>
                <a:cubicBezTo>
                  <a:pt x="12996" y="3245"/>
                  <a:pt x="13085" y="3372"/>
                  <a:pt x="13088" y="3399"/>
                </a:cubicBezTo>
                <a:cubicBezTo>
                  <a:pt x="13093" y="3459"/>
                  <a:pt x="13004" y="3542"/>
                  <a:pt x="12958" y="3575"/>
                </a:cubicBezTo>
                <a:cubicBezTo>
                  <a:pt x="12958" y="3541"/>
                  <a:pt x="12943" y="3252"/>
                  <a:pt x="12967" y="3249"/>
                </a:cubicBezTo>
                <a:cubicBezTo>
                  <a:pt x="12977" y="3248"/>
                  <a:pt x="12949" y="3252"/>
                  <a:pt x="12967" y="3249"/>
                </a:cubicBezTo>
                <a:close/>
                <a:moveTo>
                  <a:pt x="12953" y="3701"/>
                </a:moveTo>
                <a:cubicBezTo>
                  <a:pt x="12949" y="3686"/>
                  <a:pt x="12937" y="3675"/>
                  <a:pt x="12928" y="3662"/>
                </a:cubicBezTo>
                <a:cubicBezTo>
                  <a:pt x="12937" y="3675"/>
                  <a:pt x="12949" y="3686"/>
                  <a:pt x="12953" y="3701"/>
                </a:cubicBezTo>
                <a:close/>
                <a:moveTo>
                  <a:pt x="12951" y="3726"/>
                </a:moveTo>
                <a:cubicBezTo>
                  <a:pt x="12935" y="3738"/>
                  <a:pt x="12918" y="3734"/>
                  <a:pt x="12901" y="3731"/>
                </a:cubicBezTo>
                <a:cubicBezTo>
                  <a:pt x="12918" y="3734"/>
                  <a:pt x="12935" y="3738"/>
                  <a:pt x="12951" y="3726"/>
                </a:cubicBezTo>
                <a:close/>
                <a:moveTo>
                  <a:pt x="12875" y="3735"/>
                </a:moveTo>
                <a:cubicBezTo>
                  <a:pt x="12886" y="3711"/>
                  <a:pt x="12875" y="3740"/>
                  <a:pt x="12875" y="3735"/>
                </a:cubicBezTo>
                <a:cubicBezTo>
                  <a:pt x="12876" y="3733"/>
                  <a:pt x="12875" y="3735"/>
                  <a:pt x="12875" y="3735"/>
                </a:cubicBezTo>
                <a:close/>
                <a:moveTo>
                  <a:pt x="12855" y="3875"/>
                </a:moveTo>
                <a:cubicBezTo>
                  <a:pt x="12867" y="3866"/>
                  <a:pt x="12881" y="3860"/>
                  <a:pt x="12896" y="3858"/>
                </a:cubicBezTo>
                <a:cubicBezTo>
                  <a:pt x="12868" y="3862"/>
                  <a:pt x="12858" y="3878"/>
                  <a:pt x="12827" y="3875"/>
                </a:cubicBezTo>
                <a:cubicBezTo>
                  <a:pt x="12837" y="3875"/>
                  <a:pt x="12846" y="3875"/>
                  <a:pt x="12855" y="3875"/>
                </a:cubicBezTo>
                <a:cubicBezTo>
                  <a:pt x="12869" y="3865"/>
                  <a:pt x="12846" y="3877"/>
                  <a:pt x="12855" y="3875"/>
                </a:cubicBezTo>
                <a:close/>
                <a:moveTo>
                  <a:pt x="12715" y="2686"/>
                </a:moveTo>
                <a:cubicBezTo>
                  <a:pt x="12729" y="2680"/>
                  <a:pt x="12740" y="2670"/>
                  <a:pt x="12747" y="2657"/>
                </a:cubicBezTo>
                <a:cubicBezTo>
                  <a:pt x="12742" y="2661"/>
                  <a:pt x="12715" y="2701"/>
                  <a:pt x="12700" y="2686"/>
                </a:cubicBezTo>
                <a:cubicBezTo>
                  <a:pt x="12705" y="2686"/>
                  <a:pt x="12710" y="2686"/>
                  <a:pt x="12715" y="2686"/>
                </a:cubicBezTo>
                <a:cubicBezTo>
                  <a:pt x="12732" y="2684"/>
                  <a:pt x="12709" y="2691"/>
                  <a:pt x="12715" y="2686"/>
                </a:cubicBezTo>
                <a:close/>
                <a:moveTo>
                  <a:pt x="12692" y="2717"/>
                </a:moveTo>
                <a:cubicBezTo>
                  <a:pt x="12702" y="2729"/>
                  <a:pt x="12701" y="2740"/>
                  <a:pt x="12689" y="2751"/>
                </a:cubicBezTo>
                <a:cubicBezTo>
                  <a:pt x="12704" y="2756"/>
                  <a:pt x="12690" y="2712"/>
                  <a:pt x="12692" y="2717"/>
                </a:cubicBezTo>
                <a:cubicBezTo>
                  <a:pt x="12696" y="2729"/>
                  <a:pt x="12696" y="2729"/>
                  <a:pt x="12692" y="2717"/>
                </a:cubicBezTo>
                <a:close/>
                <a:moveTo>
                  <a:pt x="12633" y="2621"/>
                </a:moveTo>
                <a:cubicBezTo>
                  <a:pt x="12619" y="2619"/>
                  <a:pt x="12603" y="2614"/>
                  <a:pt x="12594" y="2626"/>
                </a:cubicBezTo>
                <a:cubicBezTo>
                  <a:pt x="12603" y="2614"/>
                  <a:pt x="12619" y="2619"/>
                  <a:pt x="12633" y="2621"/>
                </a:cubicBezTo>
                <a:close/>
                <a:moveTo>
                  <a:pt x="12606" y="2751"/>
                </a:moveTo>
                <a:cubicBezTo>
                  <a:pt x="12594" y="2751"/>
                  <a:pt x="12581" y="2742"/>
                  <a:pt x="12570" y="2750"/>
                </a:cubicBezTo>
                <a:cubicBezTo>
                  <a:pt x="12581" y="2742"/>
                  <a:pt x="12594" y="2751"/>
                  <a:pt x="12606" y="2751"/>
                </a:cubicBezTo>
                <a:close/>
                <a:moveTo>
                  <a:pt x="12554" y="2751"/>
                </a:moveTo>
                <a:cubicBezTo>
                  <a:pt x="12562" y="2751"/>
                  <a:pt x="12543" y="2748"/>
                  <a:pt x="12554" y="2751"/>
                </a:cubicBezTo>
                <a:cubicBezTo>
                  <a:pt x="12554" y="2751"/>
                  <a:pt x="12553" y="2751"/>
                  <a:pt x="12554" y="2751"/>
                </a:cubicBezTo>
                <a:close/>
                <a:moveTo>
                  <a:pt x="12436" y="1065"/>
                </a:moveTo>
                <a:cubicBezTo>
                  <a:pt x="12437" y="1024"/>
                  <a:pt x="12426" y="1021"/>
                  <a:pt x="12455" y="978"/>
                </a:cubicBezTo>
                <a:cubicBezTo>
                  <a:pt x="12469" y="956"/>
                  <a:pt x="12491" y="937"/>
                  <a:pt x="12504" y="913"/>
                </a:cubicBezTo>
                <a:cubicBezTo>
                  <a:pt x="12493" y="933"/>
                  <a:pt x="12510" y="1054"/>
                  <a:pt x="12509" y="1084"/>
                </a:cubicBezTo>
                <a:cubicBezTo>
                  <a:pt x="12506" y="1159"/>
                  <a:pt x="12504" y="1233"/>
                  <a:pt x="12501" y="1307"/>
                </a:cubicBezTo>
                <a:cubicBezTo>
                  <a:pt x="12496" y="1458"/>
                  <a:pt x="12493" y="1609"/>
                  <a:pt x="12492" y="1760"/>
                </a:cubicBezTo>
                <a:cubicBezTo>
                  <a:pt x="12491" y="1913"/>
                  <a:pt x="12491" y="2067"/>
                  <a:pt x="12490" y="2221"/>
                </a:cubicBezTo>
                <a:cubicBezTo>
                  <a:pt x="12490" y="2284"/>
                  <a:pt x="12499" y="2355"/>
                  <a:pt x="12491" y="2418"/>
                </a:cubicBezTo>
                <a:cubicBezTo>
                  <a:pt x="12483" y="2476"/>
                  <a:pt x="12436" y="2508"/>
                  <a:pt x="12480" y="2564"/>
                </a:cubicBezTo>
                <a:cubicBezTo>
                  <a:pt x="12409" y="2618"/>
                  <a:pt x="12426" y="2501"/>
                  <a:pt x="12426" y="2467"/>
                </a:cubicBezTo>
                <a:cubicBezTo>
                  <a:pt x="12426" y="2403"/>
                  <a:pt x="12426" y="2340"/>
                  <a:pt x="12425" y="2276"/>
                </a:cubicBezTo>
                <a:cubicBezTo>
                  <a:pt x="12425" y="2141"/>
                  <a:pt x="12425" y="2007"/>
                  <a:pt x="12426" y="1872"/>
                </a:cubicBezTo>
                <a:cubicBezTo>
                  <a:pt x="12428" y="1603"/>
                  <a:pt x="12431" y="1334"/>
                  <a:pt x="12436" y="1065"/>
                </a:cubicBezTo>
                <a:cubicBezTo>
                  <a:pt x="12436" y="1053"/>
                  <a:pt x="12427" y="1546"/>
                  <a:pt x="12436" y="1065"/>
                </a:cubicBezTo>
                <a:close/>
                <a:moveTo>
                  <a:pt x="12463" y="2770"/>
                </a:moveTo>
                <a:cubicBezTo>
                  <a:pt x="12471" y="2761"/>
                  <a:pt x="12471" y="2761"/>
                  <a:pt x="12463" y="2770"/>
                </a:cubicBezTo>
                <a:cubicBezTo>
                  <a:pt x="12465" y="2768"/>
                  <a:pt x="12465" y="2768"/>
                  <a:pt x="12463" y="2770"/>
                </a:cubicBezTo>
                <a:close/>
                <a:moveTo>
                  <a:pt x="12417" y="2636"/>
                </a:moveTo>
                <a:cubicBezTo>
                  <a:pt x="12425" y="2635"/>
                  <a:pt x="12502" y="2647"/>
                  <a:pt x="12499" y="2649"/>
                </a:cubicBezTo>
                <a:cubicBezTo>
                  <a:pt x="12475" y="2634"/>
                  <a:pt x="12445" y="2632"/>
                  <a:pt x="12417" y="2636"/>
                </a:cubicBezTo>
                <a:cubicBezTo>
                  <a:pt x="12445" y="2632"/>
                  <a:pt x="12445" y="2632"/>
                  <a:pt x="12417" y="2636"/>
                </a:cubicBezTo>
                <a:close/>
                <a:moveTo>
                  <a:pt x="12314" y="2608"/>
                </a:moveTo>
                <a:cubicBezTo>
                  <a:pt x="12311" y="2613"/>
                  <a:pt x="12308" y="2616"/>
                  <a:pt x="12303" y="2616"/>
                </a:cubicBezTo>
                <a:cubicBezTo>
                  <a:pt x="12310" y="2606"/>
                  <a:pt x="12314" y="2603"/>
                  <a:pt x="12314" y="2608"/>
                </a:cubicBezTo>
                <a:cubicBezTo>
                  <a:pt x="12310" y="2610"/>
                  <a:pt x="12314" y="2608"/>
                  <a:pt x="12314" y="2608"/>
                </a:cubicBezTo>
                <a:close/>
                <a:moveTo>
                  <a:pt x="12314" y="2654"/>
                </a:moveTo>
                <a:cubicBezTo>
                  <a:pt x="12308" y="2654"/>
                  <a:pt x="12303" y="2650"/>
                  <a:pt x="12299" y="2641"/>
                </a:cubicBezTo>
                <a:cubicBezTo>
                  <a:pt x="12304" y="2646"/>
                  <a:pt x="12309" y="2650"/>
                  <a:pt x="12314" y="2654"/>
                </a:cubicBezTo>
                <a:cubicBezTo>
                  <a:pt x="12314" y="2654"/>
                  <a:pt x="12309" y="2650"/>
                  <a:pt x="12314" y="2654"/>
                </a:cubicBezTo>
                <a:close/>
                <a:moveTo>
                  <a:pt x="12327" y="2651"/>
                </a:moveTo>
                <a:cubicBezTo>
                  <a:pt x="12327" y="2651"/>
                  <a:pt x="12310" y="2656"/>
                  <a:pt x="12327" y="2651"/>
                </a:cubicBezTo>
                <a:cubicBezTo>
                  <a:pt x="12327" y="2651"/>
                  <a:pt x="12325" y="2652"/>
                  <a:pt x="12327" y="2651"/>
                </a:cubicBezTo>
                <a:close/>
                <a:moveTo>
                  <a:pt x="12328" y="1142"/>
                </a:moveTo>
                <a:cubicBezTo>
                  <a:pt x="12328" y="1394"/>
                  <a:pt x="12327" y="1645"/>
                  <a:pt x="12326" y="1897"/>
                </a:cubicBezTo>
                <a:cubicBezTo>
                  <a:pt x="12326" y="2033"/>
                  <a:pt x="12326" y="2169"/>
                  <a:pt x="12325" y="2305"/>
                </a:cubicBezTo>
                <a:cubicBezTo>
                  <a:pt x="12325" y="2362"/>
                  <a:pt x="12317" y="2416"/>
                  <a:pt x="12314" y="2472"/>
                </a:cubicBezTo>
                <a:cubicBezTo>
                  <a:pt x="12313" y="2493"/>
                  <a:pt x="12320" y="2531"/>
                  <a:pt x="12313" y="2549"/>
                </a:cubicBezTo>
                <a:cubicBezTo>
                  <a:pt x="12300" y="2587"/>
                  <a:pt x="12304" y="2580"/>
                  <a:pt x="12253" y="2582"/>
                </a:cubicBezTo>
                <a:cubicBezTo>
                  <a:pt x="12257" y="2345"/>
                  <a:pt x="12257" y="2109"/>
                  <a:pt x="12258" y="1872"/>
                </a:cubicBezTo>
                <a:cubicBezTo>
                  <a:pt x="12258" y="1748"/>
                  <a:pt x="12258" y="1624"/>
                  <a:pt x="12259" y="1499"/>
                </a:cubicBezTo>
                <a:cubicBezTo>
                  <a:pt x="12259" y="1432"/>
                  <a:pt x="12255" y="1364"/>
                  <a:pt x="12257" y="1298"/>
                </a:cubicBezTo>
                <a:cubicBezTo>
                  <a:pt x="12259" y="1236"/>
                  <a:pt x="12290" y="1193"/>
                  <a:pt x="12328" y="1142"/>
                </a:cubicBezTo>
                <a:cubicBezTo>
                  <a:pt x="12328" y="1216"/>
                  <a:pt x="12300" y="1180"/>
                  <a:pt x="12328" y="1142"/>
                </a:cubicBezTo>
                <a:close/>
                <a:moveTo>
                  <a:pt x="12247" y="2786"/>
                </a:moveTo>
                <a:cubicBezTo>
                  <a:pt x="12258" y="2788"/>
                  <a:pt x="12269" y="2791"/>
                  <a:pt x="12280" y="2794"/>
                </a:cubicBezTo>
                <a:cubicBezTo>
                  <a:pt x="12253" y="2798"/>
                  <a:pt x="12242" y="2795"/>
                  <a:pt x="12247" y="2786"/>
                </a:cubicBezTo>
                <a:cubicBezTo>
                  <a:pt x="12258" y="2788"/>
                  <a:pt x="12247" y="2786"/>
                  <a:pt x="12247" y="2786"/>
                </a:cubicBezTo>
                <a:close/>
                <a:moveTo>
                  <a:pt x="12178" y="1473"/>
                </a:moveTo>
                <a:cubicBezTo>
                  <a:pt x="12180" y="1434"/>
                  <a:pt x="12161" y="1391"/>
                  <a:pt x="12169" y="1361"/>
                </a:cubicBezTo>
                <a:cubicBezTo>
                  <a:pt x="12178" y="1333"/>
                  <a:pt x="12219" y="1291"/>
                  <a:pt x="12242" y="1275"/>
                </a:cubicBezTo>
                <a:cubicBezTo>
                  <a:pt x="12242" y="1515"/>
                  <a:pt x="12239" y="1754"/>
                  <a:pt x="12235" y="1994"/>
                </a:cubicBezTo>
                <a:cubicBezTo>
                  <a:pt x="12234" y="2111"/>
                  <a:pt x="12232" y="2227"/>
                  <a:pt x="12231" y="2344"/>
                </a:cubicBezTo>
                <a:cubicBezTo>
                  <a:pt x="12230" y="2393"/>
                  <a:pt x="12230" y="2441"/>
                  <a:pt x="12230" y="2489"/>
                </a:cubicBezTo>
                <a:cubicBezTo>
                  <a:pt x="12231" y="2567"/>
                  <a:pt x="12247" y="2582"/>
                  <a:pt x="12166" y="2583"/>
                </a:cubicBezTo>
                <a:cubicBezTo>
                  <a:pt x="12176" y="2512"/>
                  <a:pt x="12161" y="2446"/>
                  <a:pt x="12159" y="2376"/>
                </a:cubicBezTo>
                <a:cubicBezTo>
                  <a:pt x="12156" y="2280"/>
                  <a:pt x="12173" y="2183"/>
                  <a:pt x="12173" y="2087"/>
                </a:cubicBezTo>
                <a:cubicBezTo>
                  <a:pt x="12173" y="1882"/>
                  <a:pt x="12168" y="1678"/>
                  <a:pt x="12178" y="1473"/>
                </a:cubicBezTo>
                <a:cubicBezTo>
                  <a:pt x="12180" y="1440"/>
                  <a:pt x="12167" y="1699"/>
                  <a:pt x="12178" y="1473"/>
                </a:cubicBezTo>
                <a:close/>
                <a:moveTo>
                  <a:pt x="12200" y="2708"/>
                </a:moveTo>
                <a:cubicBezTo>
                  <a:pt x="12190" y="2718"/>
                  <a:pt x="12178" y="2741"/>
                  <a:pt x="12172" y="2752"/>
                </a:cubicBezTo>
                <a:cubicBezTo>
                  <a:pt x="12178" y="2741"/>
                  <a:pt x="12190" y="2718"/>
                  <a:pt x="12200" y="2708"/>
                </a:cubicBezTo>
                <a:cubicBezTo>
                  <a:pt x="12193" y="2715"/>
                  <a:pt x="12193" y="2715"/>
                  <a:pt x="12200" y="2708"/>
                </a:cubicBezTo>
                <a:close/>
                <a:moveTo>
                  <a:pt x="12077" y="1471"/>
                </a:moveTo>
                <a:cubicBezTo>
                  <a:pt x="12105" y="1447"/>
                  <a:pt x="12129" y="1408"/>
                  <a:pt x="12150" y="1379"/>
                </a:cubicBezTo>
                <a:cubicBezTo>
                  <a:pt x="12141" y="1391"/>
                  <a:pt x="12157" y="1469"/>
                  <a:pt x="12156" y="1493"/>
                </a:cubicBezTo>
                <a:cubicBezTo>
                  <a:pt x="12154" y="1549"/>
                  <a:pt x="12151" y="1605"/>
                  <a:pt x="12151" y="1662"/>
                </a:cubicBezTo>
                <a:cubicBezTo>
                  <a:pt x="12149" y="1786"/>
                  <a:pt x="12149" y="1911"/>
                  <a:pt x="12149" y="2036"/>
                </a:cubicBezTo>
                <a:cubicBezTo>
                  <a:pt x="12149" y="2134"/>
                  <a:pt x="12148" y="2231"/>
                  <a:pt x="12148" y="2329"/>
                </a:cubicBezTo>
                <a:cubicBezTo>
                  <a:pt x="12147" y="2381"/>
                  <a:pt x="12147" y="2433"/>
                  <a:pt x="12146" y="2486"/>
                </a:cubicBezTo>
                <a:cubicBezTo>
                  <a:pt x="12146" y="2559"/>
                  <a:pt x="12164" y="2582"/>
                  <a:pt x="12088" y="2586"/>
                </a:cubicBezTo>
                <a:cubicBezTo>
                  <a:pt x="12089" y="2395"/>
                  <a:pt x="12090" y="2205"/>
                  <a:pt x="12091" y="2014"/>
                </a:cubicBezTo>
                <a:cubicBezTo>
                  <a:pt x="12091" y="1917"/>
                  <a:pt x="12092" y="1821"/>
                  <a:pt x="12092" y="1724"/>
                </a:cubicBezTo>
                <a:cubicBezTo>
                  <a:pt x="12092" y="1680"/>
                  <a:pt x="12119" y="1496"/>
                  <a:pt x="12077" y="1471"/>
                </a:cubicBezTo>
                <a:cubicBezTo>
                  <a:pt x="12104" y="1447"/>
                  <a:pt x="12097" y="1483"/>
                  <a:pt x="12077" y="1471"/>
                </a:cubicBezTo>
                <a:close/>
                <a:moveTo>
                  <a:pt x="12094" y="2829"/>
                </a:moveTo>
                <a:cubicBezTo>
                  <a:pt x="12108" y="2837"/>
                  <a:pt x="12186" y="2833"/>
                  <a:pt x="12144" y="2821"/>
                </a:cubicBezTo>
                <a:cubicBezTo>
                  <a:pt x="12211" y="2841"/>
                  <a:pt x="12306" y="2841"/>
                  <a:pt x="12377" y="2837"/>
                </a:cubicBezTo>
                <a:cubicBezTo>
                  <a:pt x="12428" y="2834"/>
                  <a:pt x="12506" y="2817"/>
                  <a:pt x="12551" y="2856"/>
                </a:cubicBezTo>
                <a:cubicBezTo>
                  <a:pt x="12520" y="2888"/>
                  <a:pt x="12467" y="2865"/>
                  <a:pt x="12429" y="2864"/>
                </a:cubicBezTo>
                <a:cubicBezTo>
                  <a:pt x="12375" y="2862"/>
                  <a:pt x="12330" y="2880"/>
                  <a:pt x="12278" y="2874"/>
                </a:cubicBezTo>
                <a:cubicBezTo>
                  <a:pt x="12241" y="2871"/>
                  <a:pt x="12052" y="2880"/>
                  <a:pt x="12049" y="2837"/>
                </a:cubicBezTo>
                <a:cubicBezTo>
                  <a:pt x="12064" y="2834"/>
                  <a:pt x="12079" y="2832"/>
                  <a:pt x="12094" y="2829"/>
                </a:cubicBezTo>
                <a:cubicBezTo>
                  <a:pt x="12116" y="2841"/>
                  <a:pt x="12079" y="2832"/>
                  <a:pt x="12094" y="2829"/>
                </a:cubicBezTo>
                <a:close/>
                <a:moveTo>
                  <a:pt x="12028" y="2609"/>
                </a:moveTo>
                <a:cubicBezTo>
                  <a:pt x="12035" y="2602"/>
                  <a:pt x="12042" y="2596"/>
                  <a:pt x="12049" y="2589"/>
                </a:cubicBezTo>
                <a:cubicBezTo>
                  <a:pt x="12035" y="2612"/>
                  <a:pt x="12028" y="2619"/>
                  <a:pt x="12028" y="2609"/>
                </a:cubicBezTo>
                <a:cubicBezTo>
                  <a:pt x="12035" y="2602"/>
                  <a:pt x="12028" y="2609"/>
                  <a:pt x="12028" y="2609"/>
                </a:cubicBezTo>
                <a:close/>
                <a:moveTo>
                  <a:pt x="11990" y="2617"/>
                </a:moveTo>
                <a:cubicBezTo>
                  <a:pt x="11986" y="2619"/>
                  <a:pt x="11960" y="2640"/>
                  <a:pt x="11953" y="2640"/>
                </a:cubicBezTo>
                <a:cubicBezTo>
                  <a:pt x="11965" y="2632"/>
                  <a:pt x="11977" y="2625"/>
                  <a:pt x="11990" y="2617"/>
                </a:cubicBezTo>
                <a:close/>
                <a:moveTo>
                  <a:pt x="11981" y="2772"/>
                </a:moveTo>
                <a:cubicBezTo>
                  <a:pt x="11974" y="2777"/>
                  <a:pt x="11986" y="2788"/>
                  <a:pt x="11972" y="2793"/>
                </a:cubicBezTo>
                <a:cubicBezTo>
                  <a:pt x="11980" y="2789"/>
                  <a:pt x="11983" y="2782"/>
                  <a:pt x="11981" y="2772"/>
                </a:cubicBezTo>
                <a:cubicBezTo>
                  <a:pt x="11981" y="2772"/>
                  <a:pt x="11982" y="2785"/>
                  <a:pt x="11981" y="2772"/>
                </a:cubicBezTo>
                <a:close/>
                <a:moveTo>
                  <a:pt x="11865" y="2777"/>
                </a:moveTo>
                <a:cubicBezTo>
                  <a:pt x="11863" y="2774"/>
                  <a:pt x="11861" y="2770"/>
                  <a:pt x="11860" y="2764"/>
                </a:cubicBezTo>
                <a:cubicBezTo>
                  <a:pt x="11861" y="2770"/>
                  <a:pt x="11863" y="2774"/>
                  <a:pt x="11865" y="2777"/>
                </a:cubicBezTo>
                <a:close/>
                <a:moveTo>
                  <a:pt x="11820" y="2642"/>
                </a:moveTo>
                <a:cubicBezTo>
                  <a:pt x="11811" y="2644"/>
                  <a:pt x="11802" y="2648"/>
                  <a:pt x="11799" y="2658"/>
                </a:cubicBezTo>
                <a:cubicBezTo>
                  <a:pt x="11802" y="2648"/>
                  <a:pt x="11811" y="2644"/>
                  <a:pt x="11820" y="2642"/>
                </a:cubicBezTo>
                <a:close/>
                <a:moveTo>
                  <a:pt x="11798" y="2673"/>
                </a:moveTo>
                <a:cubicBezTo>
                  <a:pt x="11798" y="2683"/>
                  <a:pt x="11719" y="2684"/>
                  <a:pt x="11712" y="2684"/>
                </a:cubicBezTo>
                <a:cubicBezTo>
                  <a:pt x="11740" y="2686"/>
                  <a:pt x="11770" y="2681"/>
                  <a:pt x="11798" y="2673"/>
                </a:cubicBezTo>
                <a:cubicBezTo>
                  <a:pt x="11798" y="2673"/>
                  <a:pt x="11769" y="2682"/>
                  <a:pt x="11798" y="2673"/>
                </a:cubicBezTo>
                <a:close/>
                <a:moveTo>
                  <a:pt x="11322" y="2688"/>
                </a:moveTo>
                <a:cubicBezTo>
                  <a:pt x="11326" y="2690"/>
                  <a:pt x="11330" y="2693"/>
                  <a:pt x="11333" y="2696"/>
                </a:cubicBezTo>
                <a:cubicBezTo>
                  <a:pt x="11322" y="2694"/>
                  <a:pt x="11318" y="2691"/>
                  <a:pt x="11322" y="2688"/>
                </a:cubicBezTo>
                <a:cubicBezTo>
                  <a:pt x="11326" y="2690"/>
                  <a:pt x="11322" y="2688"/>
                  <a:pt x="11322" y="2688"/>
                </a:cubicBezTo>
                <a:close/>
                <a:moveTo>
                  <a:pt x="10939" y="2682"/>
                </a:moveTo>
                <a:cubicBezTo>
                  <a:pt x="10977" y="2684"/>
                  <a:pt x="11049" y="2697"/>
                  <a:pt x="11074" y="2670"/>
                </a:cubicBezTo>
                <a:cubicBezTo>
                  <a:pt x="11057" y="2689"/>
                  <a:pt x="11148" y="2683"/>
                  <a:pt x="11162" y="2683"/>
                </a:cubicBezTo>
                <a:cubicBezTo>
                  <a:pt x="11059" y="2682"/>
                  <a:pt x="10951" y="2668"/>
                  <a:pt x="10850" y="2674"/>
                </a:cubicBezTo>
                <a:cubicBezTo>
                  <a:pt x="10880" y="2672"/>
                  <a:pt x="10912" y="2666"/>
                  <a:pt x="10939" y="2682"/>
                </a:cubicBezTo>
                <a:cubicBezTo>
                  <a:pt x="10942" y="2682"/>
                  <a:pt x="10911" y="2665"/>
                  <a:pt x="10939" y="2682"/>
                </a:cubicBezTo>
                <a:close/>
                <a:moveTo>
                  <a:pt x="10904" y="2694"/>
                </a:moveTo>
                <a:cubicBezTo>
                  <a:pt x="10897" y="2697"/>
                  <a:pt x="10889" y="2698"/>
                  <a:pt x="10881" y="2697"/>
                </a:cubicBezTo>
                <a:cubicBezTo>
                  <a:pt x="10889" y="2696"/>
                  <a:pt x="10896" y="2695"/>
                  <a:pt x="10904" y="2694"/>
                </a:cubicBezTo>
                <a:close/>
                <a:moveTo>
                  <a:pt x="10860" y="2718"/>
                </a:moveTo>
                <a:cubicBezTo>
                  <a:pt x="10860" y="2719"/>
                  <a:pt x="10860" y="2719"/>
                  <a:pt x="10860" y="2719"/>
                </a:cubicBezTo>
                <a:cubicBezTo>
                  <a:pt x="10860" y="2719"/>
                  <a:pt x="10860" y="2718"/>
                  <a:pt x="10860" y="2718"/>
                </a:cubicBezTo>
                <a:close/>
                <a:moveTo>
                  <a:pt x="10864" y="2828"/>
                </a:moveTo>
                <a:cubicBezTo>
                  <a:pt x="10891" y="2827"/>
                  <a:pt x="10926" y="2823"/>
                  <a:pt x="10947" y="2824"/>
                </a:cubicBezTo>
                <a:cubicBezTo>
                  <a:pt x="10967" y="2825"/>
                  <a:pt x="10996" y="2847"/>
                  <a:pt x="11015" y="2847"/>
                </a:cubicBezTo>
                <a:cubicBezTo>
                  <a:pt x="10977" y="2847"/>
                  <a:pt x="10876" y="2867"/>
                  <a:pt x="10850" y="2841"/>
                </a:cubicBezTo>
                <a:cubicBezTo>
                  <a:pt x="10855" y="2837"/>
                  <a:pt x="10859" y="2833"/>
                  <a:pt x="10864" y="2828"/>
                </a:cubicBezTo>
                <a:close/>
                <a:moveTo>
                  <a:pt x="10795" y="2684"/>
                </a:moveTo>
                <a:cubicBezTo>
                  <a:pt x="10795" y="2694"/>
                  <a:pt x="10774" y="2710"/>
                  <a:pt x="10767" y="2713"/>
                </a:cubicBezTo>
                <a:cubicBezTo>
                  <a:pt x="10780" y="2707"/>
                  <a:pt x="10790" y="2698"/>
                  <a:pt x="10795" y="2684"/>
                </a:cubicBezTo>
                <a:cubicBezTo>
                  <a:pt x="10795" y="2684"/>
                  <a:pt x="10788" y="2700"/>
                  <a:pt x="10795" y="2684"/>
                </a:cubicBezTo>
                <a:close/>
                <a:moveTo>
                  <a:pt x="10726" y="2813"/>
                </a:moveTo>
                <a:cubicBezTo>
                  <a:pt x="10709" y="2823"/>
                  <a:pt x="10703" y="2752"/>
                  <a:pt x="10704" y="2748"/>
                </a:cubicBezTo>
                <a:cubicBezTo>
                  <a:pt x="10704" y="2776"/>
                  <a:pt x="10704" y="2792"/>
                  <a:pt x="10726" y="2813"/>
                </a:cubicBezTo>
                <a:cubicBezTo>
                  <a:pt x="10726" y="2813"/>
                  <a:pt x="10707" y="2795"/>
                  <a:pt x="10726" y="2813"/>
                </a:cubicBezTo>
                <a:close/>
                <a:moveTo>
                  <a:pt x="10722" y="2814"/>
                </a:moveTo>
                <a:cubicBezTo>
                  <a:pt x="10715" y="2819"/>
                  <a:pt x="10709" y="2830"/>
                  <a:pt x="10701" y="2836"/>
                </a:cubicBezTo>
                <a:cubicBezTo>
                  <a:pt x="10709" y="2830"/>
                  <a:pt x="10715" y="2819"/>
                  <a:pt x="10722" y="2814"/>
                </a:cubicBezTo>
                <a:close/>
                <a:moveTo>
                  <a:pt x="10704" y="2714"/>
                </a:moveTo>
                <a:cubicBezTo>
                  <a:pt x="10701" y="2714"/>
                  <a:pt x="10685" y="2714"/>
                  <a:pt x="10704" y="2714"/>
                </a:cubicBezTo>
                <a:cubicBezTo>
                  <a:pt x="10704" y="2714"/>
                  <a:pt x="10702" y="2714"/>
                  <a:pt x="10704" y="2714"/>
                </a:cubicBezTo>
                <a:close/>
                <a:moveTo>
                  <a:pt x="10640" y="2715"/>
                </a:moveTo>
                <a:cubicBezTo>
                  <a:pt x="10607" y="2705"/>
                  <a:pt x="10576" y="2727"/>
                  <a:pt x="10547" y="2735"/>
                </a:cubicBezTo>
                <a:cubicBezTo>
                  <a:pt x="10577" y="2726"/>
                  <a:pt x="10607" y="2706"/>
                  <a:pt x="10640" y="2715"/>
                </a:cubicBezTo>
                <a:cubicBezTo>
                  <a:pt x="10640" y="2715"/>
                  <a:pt x="10606" y="2706"/>
                  <a:pt x="10640" y="2715"/>
                </a:cubicBezTo>
                <a:close/>
                <a:moveTo>
                  <a:pt x="10239" y="2751"/>
                </a:moveTo>
                <a:cubicBezTo>
                  <a:pt x="10228" y="2753"/>
                  <a:pt x="10221" y="2759"/>
                  <a:pt x="10221" y="2772"/>
                </a:cubicBezTo>
                <a:cubicBezTo>
                  <a:pt x="10221" y="2759"/>
                  <a:pt x="10228" y="2753"/>
                  <a:pt x="10239" y="2751"/>
                </a:cubicBezTo>
                <a:close/>
                <a:moveTo>
                  <a:pt x="10222" y="2781"/>
                </a:moveTo>
                <a:cubicBezTo>
                  <a:pt x="10222" y="2781"/>
                  <a:pt x="10192" y="2783"/>
                  <a:pt x="10222" y="2781"/>
                </a:cubicBezTo>
                <a:cubicBezTo>
                  <a:pt x="10222" y="2781"/>
                  <a:pt x="10218" y="2781"/>
                  <a:pt x="10222" y="2781"/>
                </a:cubicBezTo>
                <a:close/>
                <a:moveTo>
                  <a:pt x="9823" y="2780"/>
                </a:moveTo>
                <a:cubicBezTo>
                  <a:pt x="9810" y="2791"/>
                  <a:pt x="9818" y="2791"/>
                  <a:pt x="9797" y="2796"/>
                </a:cubicBezTo>
                <a:cubicBezTo>
                  <a:pt x="9810" y="2796"/>
                  <a:pt x="9818" y="2791"/>
                  <a:pt x="9823" y="2780"/>
                </a:cubicBezTo>
                <a:close/>
                <a:moveTo>
                  <a:pt x="9118" y="2673"/>
                </a:moveTo>
                <a:cubicBezTo>
                  <a:pt x="9193" y="2692"/>
                  <a:pt x="9268" y="2713"/>
                  <a:pt x="9342" y="2736"/>
                </a:cubicBezTo>
                <a:cubicBezTo>
                  <a:pt x="9376" y="2747"/>
                  <a:pt x="9403" y="2757"/>
                  <a:pt x="9441" y="2762"/>
                </a:cubicBezTo>
                <a:cubicBezTo>
                  <a:pt x="9477" y="2767"/>
                  <a:pt x="9602" y="2762"/>
                  <a:pt x="9625" y="2783"/>
                </a:cubicBezTo>
                <a:cubicBezTo>
                  <a:pt x="9567" y="2829"/>
                  <a:pt x="9408" y="2820"/>
                  <a:pt x="9336" y="2829"/>
                </a:cubicBezTo>
                <a:cubicBezTo>
                  <a:pt x="9286" y="2836"/>
                  <a:pt x="9235" y="2843"/>
                  <a:pt x="9184" y="2850"/>
                </a:cubicBezTo>
                <a:cubicBezTo>
                  <a:pt x="9193" y="2849"/>
                  <a:pt x="9121" y="2855"/>
                  <a:pt x="9126" y="2858"/>
                </a:cubicBezTo>
                <a:cubicBezTo>
                  <a:pt x="9137" y="2803"/>
                  <a:pt x="9132" y="2741"/>
                  <a:pt x="9119" y="2687"/>
                </a:cubicBezTo>
                <a:cubicBezTo>
                  <a:pt x="9119" y="2742"/>
                  <a:pt x="9119" y="2796"/>
                  <a:pt x="9119" y="2850"/>
                </a:cubicBezTo>
                <a:cubicBezTo>
                  <a:pt x="9117" y="2848"/>
                  <a:pt x="9089" y="2854"/>
                  <a:pt x="9087" y="2854"/>
                </a:cubicBezTo>
                <a:cubicBezTo>
                  <a:pt x="9093" y="2804"/>
                  <a:pt x="9083" y="2755"/>
                  <a:pt x="9083" y="2706"/>
                </a:cubicBezTo>
                <a:cubicBezTo>
                  <a:pt x="9083" y="2678"/>
                  <a:pt x="9083" y="2623"/>
                  <a:pt x="9118" y="2673"/>
                </a:cubicBezTo>
                <a:cubicBezTo>
                  <a:pt x="9142" y="2679"/>
                  <a:pt x="9101" y="2648"/>
                  <a:pt x="9118" y="2673"/>
                </a:cubicBezTo>
                <a:close/>
                <a:moveTo>
                  <a:pt x="9318" y="3051"/>
                </a:moveTo>
                <a:cubicBezTo>
                  <a:pt x="9350" y="3050"/>
                  <a:pt x="9369" y="3062"/>
                  <a:pt x="9401" y="3067"/>
                </a:cubicBezTo>
                <a:cubicBezTo>
                  <a:pt x="9430" y="3071"/>
                  <a:pt x="9454" y="3057"/>
                  <a:pt x="9478" y="3082"/>
                </a:cubicBezTo>
                <a:cubicBezTo>
                  <a:pt x="9446" y="3082"/>
                  <a:pt x="9210" y="3097"/>
                  <a:pt x="9209" y="3069"/>
                </a:cubicBezTo>
                <a:cubicBezTo>
                  <a:pt x="9240" y="3064"/>
                  <a:pt x="9254" y="3067"/>
                  <a:pt x="9282" y="3053"/>
                </a:cubicBezTo>
                <a:cubicBezTo>
                  <a:pt x="9260" y="3064"/>
                  <a:pt x="9305" y="3077"/>
                  <a:pt x="9318" y="3051"/>
                </a:cubicBezTo>
                <a:cubicBezTo>
                  <a:pt x="9328" y="3051"/>
                  <a:pt x="9307" y="3073"/>
                  <a:pt x="9318" y="3051"/>
                </a:cubicBezTo>
                <a:close/>
                <a:moveTo>
                  <a:pt x="9043" y="2907"/>
                </a:moveTo>
                <a:cubicBezTo>
                  <a:pt x="9040" y="2907"/>
                  <a:pt x="9024" y="2894"/>
                  <a:pt x="9043" y="2907"/>
                </a:cubicBezTo>
                <a:cubicBezTo>
                  <a:pt x="9043" y="2907"/>
                  <a:pt x="9040" y="2905"/>
                  <a:pt x="9043" y="2907"/>
                </a:cubicBezTo>
                <a:close/>
                <a:moveTo>
                  <a:pt x="9048" y="2983"/>
                </a:moveTo>
                <a:cubicBezTo>
                  <a:pt x="9048" y="2990"/>
                  <a:pt x="9043" y="2986"/>
                  <a:pt x="9033" y="2971"/>
                </a:cubicBezTo>
                <a:cubicBezTo>
                  <a:pt x="9038" y="2975"/>
                  <a:pt x="9043" y="2979"/>
                  <a:pt x="9048" y="2983"/>
                </a:cubicBezTo>
                <a:cubicBezTo>
                  <a:pt x="9048" y="2983"/>
                  <a:pt x="9040" y="2981"/>
                  <a:pt x="9048" y="2983"/>
                </a:cubicBezTo>
                <a:close/>
                <a:moveTo>
                  <a:pt x="8207" y="3324"/>
                </a:moveTo>
                <a:cubicBezTo>
                  <a:pt x="8196" y="3197"/>
                  <a:pt x="8271" y="3219"/>
                  <a:pt x="8380" y="3200"/>
                </a:cubicBezTo>
                <a:cubicBezTo>
                  <a:pt x="8548" y="3170"/>
                  <a:pt x="8716" y="3140"/>
                  <a:pt x="8884" y="3113"/>
                </a:cubicBezTo>
                <a:cubicBezTo>
                  <a:pt x="8964" y="3100"/>
                  <a:pt x="9070" y="3071"/>
                  <a:pt x="9151" y="3081"/>
                </a:cubicBezTo>
                <a:cubicBezTo>
                  <a:pt x="9222" y="3090"/>
                  <a:pt x="9286" y="3103"/>
                  <a:pt x="9361" y="3104"/>
                </a:cubicBezTo>
                <a:cubicBezTo>
                  <a:pt x="9464" y="3106"/>
                  <a:pt x="9498" y="3100"/>
                  <a:pt x="9547" y="3024"/>
                </a:cubicBezTo>
                <a:cubicBezTo>
                  <a:pt x="9545" y="3027"/>
                  <a:pt x="9660" y="3009"/>
                  <a:pt x="9683" y="3006"/>
                </a:cubicBezTo>
                <a:cubicBezTo>
                  <a:pt x="9758" y="2997"/>
                  <a:pt x="9832" y="2987"/>
                  <a:pt x="9906" y="2979"/>
                </a:cubicBezTo>
                <a:cubicBezTo>
                  <a:pt x="10052" y="2962"/>
                  <a:pt x="10199" y="2951"/>
                  <a:pt x="10346" y="2936"/>
                </a:cubicBezTo>
                <a:cubicBezTo>
                  <a:pt x="10434" y="2926"/>
                  <a:pt x="11123" y="2846"/>
                  <a:pt x="11127" y="2903"/>
                </a:cubicBezTo>
                <a:cubicBezTo>
                  <a:pt x="11137" y="2808"/>
                  <a:pt x="11557" y="2870"/>
                  <a:pt x="11628" y="2843"/>
                </a:cubicBezTo>
                <a:cubicBezTo>
                  <a:pt x="11600" y="2854"/>
                  <a:pt x="11656" y="2844"/>
                  <a:pt x="11661" y="2844"/>
                </a:cubicBezTo>
                <a:cubicBezTo>
                  <a:pt x="11680" y="2844"/>
                  <a:pt x="11705" y="2847"/>
                  <a:pt x="11720" y="2846"/>
                </a:cubicBezTo>
                <a:cubicBezTo>
                  <a:pt x="11760" y="2843"/>
                  <a:pt x="11808" y="2834"/>
                  <a:pt x="11852" y="2832"/>
                </a:cubicBezTo>
                <a:cubicBezTo>
                  <a:pt x="11943" y="2829"/>
                  <a:pt x="11962" y="2830"/>
                  <a:pt x="12037" y="2867"/>
                </a:cubicBezTo>
                <a:cubicBezTo>
                  <a:pt x="12089" y="2893"/>
                  <a:pt x="12125" y="2886"/>
                  <a:pt x="12179" y="2884"/>
                </a:cubicBezTo>
                <a:cubicBezTo>
                  <a:pt x="12232" y="2881"/>
                  <a:pt x="12284" y="2898"/>
                  <a:pt x="12338" y="2901"/>
                </a:cubicBezTo>
                <a:cubicBezTo>
                  <a:pt x="12359" y="2902"/>
                  <a:pt x="12645" y="2908"/>
                  <a:pt x="12580" y="2841"/>
                </a:cubicBezTo>
                <a:cubicBezTo>
                  <a:pt x="12591" y="2839"/>
                  <a:pt x="12601" y="2838"/>
                  <a:pt x="12612" y="2838"/>
                </a:cubicBezTo>
                <a:cubicBezTo>
                  <a:pt x="12625" y="2834"/>
                  <a:pt x="12630" y="2824"/>
                  <a:pt x="12625" y="2809"/>
                </a:cubicBezTo>
                <a:cubicBezTo>
                  <a:pt x="12645" y="2799"/>
                  <a:pt x="12747" y="2798"/>
                  <a:pt x="12704" y="2786"/>
                </a:cubicBezTo>
                <a:cubicBezTo>
                  <a:pt x="12784" y="2809"/>
                  <a:pt x="12790" y="2813"/>
                  <a:pt x="12789" y="2900"/>
                </a:cubicBezTo>
                <a:cubicBezTo>
                  <a:pt x="12786" y="3007"/>
                  <a:pt x="12788" y="3114"/>
                  <a:pt x="12787" y="3221"/>
                </a:cubicBezTo>
                <a:cubicBezTo>
                  <a:pt x="12787" y="3315"/>
                  <a:pt x="12785" y="3409"/>
                  <a:pt x="12786" y="3504"/>
                </a:cubicBezTo>
                <a:cubicBezTo>
                  <a:pt x="12786" y="3555"/>
                  <a:pt x="12792" y="3606"/>
                  <a:pt x="12790" y="3657"/>
                </a:cubicBezTo>
                <a:cubicBezTo>
                  <a:pt x="12789" y="3711"/>
                  <a:pt x="12780" y="3697"/>
                  <a:pt x="12756" y="3731"/>
                </a:cubicBezTo>
                <a:cubicBezTo>
                  <a:pt x="12764" y="3719"/>
                  <a:pt x="12791" y="3723"/>
                  <a:pt x="12789" y="3701"/>
                </a:cubicBezTo>
                <a:cubicBezTo>
                  <a:pt x="12769" y="3713"/>
                  <a:pt x="12711" y="3679"/>
                  <a:pt x="12699" y="3664"/>
                </a:cubicBezTo>
                <a:cubicBezTo>
                  <a:pt x="12687" y="3650"/>
                  <a:pt x="12726" y="3618"/>
                  <a:pt x="12685" y="3613"/>
                </a:cubicBezTo>
                <a:cubicBezTo>
                  <a:pt x="12646" y="3607"/>
                  <a:pt x="12681" y="3634"/>
                  <a:pt x="12654" y="3648"/>
                </a:cubicBezTo>
                <a:cubicBezTo>
                  <a:pt x="12620" y="3666"/>
                  <a:pt x="12598" y="3658"/>
                  <a:pt x="12578" y="3625"/>
                </a:cubicBezTo>
                <a:cubicBezTo>
                  <a:pt x="12571" y="3615"/>
                  <a:pt x="12594" y="3597"/>
                  <a:pt x="12583" y="3584"/>
                </a:cubicBezTo>
                <a:cubicBezTo>
                  <a:pt x="12568" y="3566"/>
                  <a:pt x="12537" y="3574"/>
                  <a:pt x="12520" y="3589"/>
                </a:cubicBezTo>
                <a:cubicBezTo>
                  <a:pt x="12532" y="3626"/>
                  <a:pt x="12569" y="3649"/>
                  <a:pt x="12585" y="3670"/>
                </a:cubicBezTo>
                <a:cubicBezTo>
                  <a:pt x="12601" y="3668"/>
                  <a:pt x="12609" y="3674"/>
                  <a:pt x="12608" y="3688"/>
                </a:cubicBezTo>
                <a:cubicBezTo>
                  <a:pt x="12609" y="3699"/>
                  <a:pt x="12614" y="3708"/>
                  <a:pt x="12621" y="3717"/>
                </a:cubicBezTo>
                <a:cubicBezTo>
                  <a:pt x="12623" y="3719"/>
                  <a:pt x="12661" y="3755"/>
                  <a:pt x="12665" y="3754"/>
                </a:cubicBezTo>
                <a:cubicBezTo>
                  <a:pt x="12691" y="3751"/>
                  <a:pt x="12749" y="3720"/>
                  <a:pt x="12756" y="3765"/>
                </a:cubicBezTo>
                <a:cubicBezTo>
                  <a:pt x="12762" y="3801"/>
                  <a:pt x="12742" y="3801"/>
                  <a:pt x="12725" y="3802"/>
                </a:cubicBezTo>
                <a:cubicBezTo>
                  <a:pt x="12716" y="3794"/>
                  <a:pt x="12707" y="3786"/>
                  <a:pt x="12697" y="3779"/>
                </a:cubicBezTo>
                <a:cubicBezTo>
                  <a:pt x="12682" y="3777"/>
                  <a:pt x="12667" y="3777"/>
                  <a:pt x="12652" y="3778"/>
                </a:cubicBezTo>
                <a:cubicBezTo>
                  <a:pt x="12612" y="3772"/>
                  <a:pt x="12564" y="3765"/>
                  <a:pt x="12525" y="3778"/>
                </a:cubicBezTo>
                <a:cubicBezTo>
                  <a:pt x="12568" y="3850"/>
                  <a:pt x="12727" y="3761"/>
                  <a:pt x="12720" y="3866"/>
                </a:cubicBezTo>
                <a:cubicBezTo>
                  <a:pt x="12715" y="3942"/>
                  <a:pt x="12557" y="3920"/>
                  <a:pt x="12571" y="3878"/>
                </a:cubicBezTo>
                <a:cubicBezTo>
                  <a:pt x="12548" y="3877"/>
                  <a:pt x="12525" y="3877"/>
                  <a:pt x="12503" y="3876"/>
                </a:cubicBezTo>
                <a:cubicBezTo>
                  <a:pt x="12543" y="3877"/>
                  <a:pt x="12621" y="3893"/>
                  <a:pt x="12658" y="3878"/>
                </a:cubicBezTo>
                <a:cubicBezTo>
                  <a:pt x="12716" y="3855"/>
                  <a:pt x="12667" y="3846"/>
                  <a:pt x="12625" y="3843"/>
                </a:cubicBezTo>
                <a:cubicBezTo>
                  <a:pt x="12577" y="3840"/>
                  <a:pt x="12516" y="3861"/>
                  <a:pt x="12474" y="3853"/>
                </a:cubicBezTo>
                <a:cubicBezTo>
                  <a:pt x="12456" y="3849"/>
                  <a:pt x="12444" y="3841"/>
                  <a:pt x="12429" y="3831"/>
                </a:cubicBezTo>
                <a:cubicBezTo>
                  <a:pt x="12410" y="3820"/>
                  <a:pt x="12437" y="3810"/>
                  <a:pt x="12430" y="3797"/>
                </a:cubicBezTo>
                <a:cubicBezTo>
                  <a:pt x="12360" y="3814"/>
                  <a:pt x="12406" y="3782"/>
                  <a:pt x="12357" y="3775"/>
                </a:cubicBezTo>
                <a:cubicBezTo>
                  <a:pt x="12310" y="3768"/>
                  <a:pt x="12257" y="3775"/>
                  <a:pt x="12209" y="3775"/>
                </a:cubicBezTo>
                <a:cubicBezTo>
                  <a:pt x="12250" y="3775"/>
                  <a:pt x="12419" y="3800"/>
                  <a:pt x="12398" y="3735"/>
                </a:cubicBezTo>
                <a:cubicBezTo>
                  <a:pt x="12384" y="3687"/>
                  <a:pt x="12247" y="3706"/>
                  <a:pt x="12205" y="3699"/>
                </a:cubicBezTo>
                <a:cubicBezTo>
                  <a:pt x="12207" y="3687"/>
                  <a:pt x="12223" y="3635"/>
                  <a:pt x="12214" y="3623"/>
                </a:cubicBezTo>
                <a:cubicBezTo>
                  <a:pt x="12202" y="3607"/>
                  <a:pt x="12179" y="3617"/>
                  <a:pt x="12165" y="3606"/>
                </a:cubicBezTo>
                <a:cubicBezTo>
                  <a:pt x="12143" y="3589"/>
                  <a:pt x="12146" y="3533"/>
                  <a:pt x="12120" y="3527"/>
                </a:cubicBezTo>
                <a:cubicBezTo>
                  <a:pt x="12093" y="3520"/>
                  <a:pt x="12100" y="3565"/>
                  <a:pt x="12086" y="3574"/>
                </a:cubicBezTo>
                <a:cubicBezTo>
                  <a:pt x="12071" y="3584"/>
                  <a:pt x="12042" y="3575"/>
                  <a:pt x="12025" y="3577"/>
                </a:cubicBezTo>
                <a:cubicBezTo>
                  <a:pt x="11988" y="3581"/>
                  <a:pt x="11926" y="3573"/>
                  <a:pt x="11901" y="3592"/>
                </a:cubicBezTo>
                <a:cubicBezTo>
                  <a:pt x="11879" y="3611"/>
                  <a:pt x="11884" y="3692"/>
                  <a:pt x="11827" y="3678"/>
                </a:cubicBezTo>
                <a:cubicBezTo>
                  <a:pt x="11793" y="3670"/>
                  <a:pt x="11814" y="3627"/>
                  <a:pt x="11782" y="3605"/>
                </a:cubicBezTo>
                <a:cubicBezTo>
                  <a:pt x="11770" y="3596"/>
                  <a:pt x="11740" y="3602"/>
                  <a:pt x="11732" y="3594"/>
                </a:cubicBezTo>
                <a:cubicBezTo>
                  <a:pt x="11719" y="3582"/>
                  <a:pt x="11723" y="3530"/>
                  <a:pt x="11707" y="3514"/>
                </a:cubicBezTo>
                <a:cubicBezTo>
                  <a:pt x="11669" y="3478"/>
                  <a:pt x="11616" y="3510"/>
                  <a:pt x="11565" y="3516"/>
                </a:cubicBezTo>
                <a:cubicBezTo>
                  <a:pt x="11539" y="3519"/>
                  <a:pt x="11505" y="3528"/>
                  <a:pt x="11480" y="3517"/>
                </a:cubicBezTo>
                <a:cubicBezTo>
                  <a:pt x="11449" y="3503"/>
                  <a:pt x="11479" y="3523"/>
                  <a:pt x="11453" y="3496"/>
                </a:cubicBezTo>
                <a:cubicBezTo>
                  <a:pt x="11428" y="3471"/>
                  <a:pt x="11457" y="3446"/>
                  <a:pt x="11401" y="3431"/>
                </a:cubicBezTo>
                <a:cubicBezTo>
                  <a:pt x="11380" y="3425"/>
                  <a:pt x="11360" y="3439"/>
                  <a:pt x="11341" y="3433"/>
                </a:cubicBezTo>
                <a:cubicBezTo>
                  <a:pt x="11324" y="3428"/>
                  <a:pt x="11299" y="3405"/>
                  <a:pt x="11279" y="3395"/>
                </a:cubicBezTo>
                <a:cubicBezTo>
                  <a:pt x="11221" y="3367"/>
                  <a:pt x="11160" y="3332"/>
                  <a:pt x="11096" y="3321"/>
                </a:cubicBezTo>
                <a:cubicBezTo>
                  <a:pt x="11036" y="3311"/>
                  <a:pt x="10986" y="3333"/>
                  <a:pt x="10928" y="3342"/>
                </a:cubicBezTo>
                <a:cubicBezTo>
                  <a:pt x="10852" y="3354"/>
                  <a:pt x="10774" y="3344"/>
                  <a:pt x="10697" y="3344"/>
                </a:cubicBezTo>
                <a:cubicBezTo>
                  <a:pt x="10667" y="3343"/>
                  <a:pt x="10625" y="3353"/>
                  <a:pt x="10597" y="3343"/>
                </a:cubicBezTo>
                <a:cubicBezTo>
                  <a:pt x="10571" y="3334"/>
                  <a:pt x="10577" y="3326"/>
                  <a:pt x="10555" y="3310"/>
                </a:cubicBezTo>
                <a:cubicBezTo>
                  <a:pt x="10550" y="3306"/>
                  <a:pt x="10527" y="3275"/>
                  <a:pt x="10520" y="3277"/>
                </a:cubicBezTo>
                <a:cubicBezTo>
                  <a:pt x="10499" y="3283"/>
                  <a:pt x="10513" y="3317"/>
                  <a:pt x="10501" y="3329"/>
                </a:cubicBezTo>
                <a:cubicBezTo>
                  <a:pt x="10473" y="3294"/>
                  <a:pt x="10463" y="3284"/>
                  <a:pt x="10427" y="3312"/>
                </a:cubicBezTo>
                <a:cubicBezTo>
                  <a:pt x="10418" y="3234"/>
                  <a:pt x="10298" y="3254"/>
                  <a:pt x="10240" y="3249"/>
                </a:cubicBezTo>
                <a:cubicBezTo>
                  <a:pt x="10207" y="3245"/>
                  <a:pt x="10171" y="3252"/>
                  <a:pt x="10140" y="3237"/>
                </a:cubicBezTo>
                <a:cubicBezTo>
                  <a:pt x="10116" y="3225"/>
                  <a:pt x="10107" y="3209"/>
                  <a:pt x="10083" y="3205"/>
                </a:cubicBezTo>
                <a:cubicBezTo>
                  <a:pt x="10038" y="3196"/>
                  <a:pt x="9973" y="3219"/>
                  <a:pt x="9925" y="3215"/>
                </a:cubicBezTo>
                <a:cubicBezTo>
                  <a:pt x="9884" y="3212"/>
                  <a:pt x="9843" y="3204"/>
                  <a:pt x="9802" y="3199"/>
                </a:cubicBezTo>
                <a:cubicBezTo>
                  <a:pt x="9706" y="3188"/>
                  <a:pt x="9617" y="3160"/>
                  <a:pt x="9531" y="3202"/>
                </a:cubicBezTo>
                <a:cubicBezTo>
                  <a:pt x="9458" y="3237"/>
                  <a:pt x="9385" y="3262"/>
                  <a:pt x="9313" y="3297"/>
                </a:cubicBezTo>
                <a:cubicBezTo>
                  <a:pt x="9259" y="3324"/>
                  <a:pt x="9204" y="3327"/>
                  <a:pt x="9184" y="3395"/>
                </a:cubicBezTo>
                <a:cubicBezTo>
                  <a:pt x="9172" y="3434"/>
                  <a:pt x="9191" y="3457"/>
                  <a:pt x="9141" y="3466"/>
                </a:cubicBezTo>
                <a:cubicBezTo>
                  <a:pt x="9129" y="3468"/>
                  <a:pt x="9075" y="3451"/>
                  <a:pt x="9061" y="3447"/>
                </a:cubicBezTo>
                <a:cubicBezTo>
                  <a:pt x="8984" y="3424"/>
                  <a:pt x="8895" y="3423"/>
                  <a:pt x="8824" y="3382"/>
                </a:cubicBezTo>
                <a:cubicBezTo>
                  <a:pt x="8802" y="3431"/>
                  <a:pt x="8890" y="3415"/>
                  <a:pt x="8908" y="3434"/>
                </a:cubicBezTo>
                <a:cubicBezTo>
                  <a:pt x="8882" y="3488"/>
                  <a:pt x="8809" y="3459"/>
                  <a:pt x="8759" y="3451"/>
                </a:cubicBezTo>
                <a:cubicBezTo>
                  <a:pt x="8738" y="3448"/>
                  <a:pt x="8715" y="3451"/>
                  <a:pt x="8695" y="3444"/>
                </a:cubicBezTo>
                <a:cubicBezTo>
                  <a:pt x="8680" y="3438"/>
                  <a:pt x="8657" y="3413"/>
                  <a:pt x="8641" y="3414"/>
                </a:cubicBezTo>
                <a:cubicBezTo>
                  <a:pt x="8626" y="3414"/>
                  <a:pt x="8607" y="3441"/>
                  <a:pt x="8592" y="3447"/>
                </a:cubicBezTo>
                <a:cubicBezTo>
                  <a:pt x="8576" y="3453"/>
                  <a:pt x="8548" y="3456"/>
                  <a:pt x="8532" y="3456"/>
                </a:cubicBezTo>
                <a:cubicBezTo>
                  <a:pt x="8514" y="3455"/>
                  <a:pt x="8440" y="3455"/>
                  <a:pt x="8424" y="3444"/>
                </a:cubicBezTo>
                <a:cubicBezTo>
                  <a:pt x="8412" y="3435"/>
                  <a:pt x="8422" y="3404"/>
                  <a:pt x="8402" y="3392"/>
                </a:cubicBezTo>
                <a:cubicBezTo>
                  <a:pt x="8379" y="3378"/>
                  <a:pt x="8382" y="3390"/>
                  <a:pt x="8366" y="3394"/>
                </a:cubicBezTo>
                <a:cubicBezTo>
                  <a:pt x="8360" y="3395"/>
                  <a:pt x="8329" y="3401"/>
                  <a:pt x="8326" y="3405"/>
                </a:cubicBezTo>
                <a:cubicBezTo>
                  <a:pt x="8314" y="3418"/>
                  <a:pt x="8335" y="3446"/>
                  <a:pt x="8310" y="3449"/>
                </a:cubicBezTo>
                <a:cubicBezTo>
                  <a:pt x="8290" y="3451"/>
                  <a:pt x="8305" y="3415"/>
                  <a:pt x="8291" y="3411"/>
                </a:cubicBezTo>
                <a:cubicBezTo>
                  <a:pt x="8282" y="3408"/>
                  <a:pt x="8261" y="3401"/>
                  <a:pt x="8251" y="3397"/>
                </a:cubicBezTo>
                <a:cubicBezTo>
                  <a:pt x="8209" y="3382"/>
                  <a:pt x="8224" y="3448"/>
                  <a:pt x="8204" y="3385"/>
                </a:cubicBezTo>
                <a:cubicBezTo>
                  <a:pt x="8198" y="3365"/>
                  <a:pt x="8208" y="3342"/>
                  <a:pt x="8207" y="3324"/>
                </a:cubicBezTo>
                <a:cubicBezTo>
                  <a:pt x="8198" y="3223"/>
                  <a:pt x="8207" y="3327"/>
                  <a:pt x="8207" y="3324"/>
                </a:cubicBezTo>
                <a:close/>
                <a:moveTo>
                  <a:pt x="12719" y="3964"/>
                </a:moveTo>
                <a:cubicBezTo>
                  <a:pt x="12712" y="3965"/>
                  <a:pt x="12709" y="3962"/>
                  <a:pt x="12713" y="3953"/>
                </a:cubicBezTo>
                <a:cubicBezTo>
                  <a:pt x="12710" y="3961"/>
                  <a:pt x="12712" y="3965"/>
                  <a:pt x="12719" y="3964"/>
                </a:cubicBezTo>
                <a:cubicBezTo>
                  <a:pt x="12717" y="3964"/>
                  <a:pt x="12717" y="3964"/>
                  <a:pt x="12719" y="3964"/>
                </a:cubicBezTo>
                <a:close/>
                <a:moveTo>
                  <a:pt x="12426" y="3955"/>
                </a:moveTo>
                <a:cubicBezTo>
                  <a:pt x="12421" y="3953"/>
                  <a:pt x="12415" y="3953"/>
                  <a:pt x="12410" y="3952"/>
                </a:cubicBezTo>
                <a:cubicBezTo>
                  <a:pt x="12415" y="3953"/>
                  <a:pt x="12421" y="3953"/>
                  <a:pt x="12426" y="3955"/>
                </a:cubicBezTo>
                <a:close/>
                <a:moveTo>
                  <a:pt x="12392" y="4117"/>
                </a:moveTo>
                <a:cubicBezTo>
                  <a:pt x="12379" y="4114"/>
                  <a:pt x="12395" y="4111"/>
                  <a:pt x="12392" y="4117"/>
                </a:cubicBezTo>
                <a:cubicBezTo>
                  <a:pt x="12390" y="4117"/>
                  <a:pt x="12393" y="4114"/>
                  <a:pt x="12392" y="4117"/>
                </a:cubicBezTo>
                <a:close/>
                <a:moveTo>
                  <a:pt x="12117" y="3797"/>
                </a:moveTo>
                <a:cubicBezTo>
                  <a:pt x="12124" y="3853"/>
                  <a:pt x="12068" y="3825"/>
                  <a:pt x="12060" y="3857"/>
                </a:cubicBezTo>
                <a:cubicBezTo>
                  <a:pt x="12078" y="3787"/>
                  <a:pt x="12045" y="3718"/>
                  <a:pt x="12142" y="3700"/>
                </a:cubicBezTo>
                <a:cubicBezTo>
                  <a:pt x="12174" y="3695"/>
                  <a:pt x="12232" y="3694"/>
                  <a:pt x="12205" y="3744"/>
                </a:cubicBezTo>
                <a:cubicBezTo>
                  <a:pt x="12192" y="3766"/>
                  <a:pt x="12112" y="3761"/>
                  <a:pt x="12117" y="3797"/>
                </a:cubicBezTo>
                <a:cubicBezTo>
                  <a:pt x="12123" y="3843"/>
                  <a:pt x="12115" y="3782"/>
                  <a:pt x="12117" y="3797"/>
                </a:cubicBezTo>
                <a:close/>
                <a:moveTo>
                  <a:pt x="11875" y="4012"/>
                </a:moveTo>
                <a:cubicBezTo>
                  <a:pt x="11819" y="4002"/>
                  <a:pt x="11773" y="4021"/>
                  <a:pt x="11726" y="4049"/>
                </a:cubicBezTo>
                <a:cubicBezTo>
                  <a:pt x="11710" y="4058"/>
                  <a:pt x="11684" y="4085"/>
                  <a:pt x="11668" y="4088"/>
                </a:cubicBezTo>
                <a:cubicBezTo>
                  <a:pt x="11653" y="4091"/>
                  <a:pt x="11602" y="4075"/>
                  <a:pt x="11583" y="4073"/>
                </a:cubicBezTo>
                <a:cubicBezTo>
                  <a:pt x="11591" y="4009"/>
                  <a:pt x="11576" y="4007"/>
                  <a:pt x="11525" y="4003"/>
                </a:cubicBezTo>
                <a:cubicBezTo>
                  <a:pt x="11507" y="4001"/>
                  <a:pt x="11464" y="4027"/>
                  <a:pt x="11460" y="3990"/>
                </a:cubicBezTo>
                <a:cubicBezTo>
                  <a:pt x="11455" y="3959"/>
                  <a:pt x="11515" y="3967"/>
                  <a:pt x="11529" y="3967"/>
                </a:cubicBezTo>
                <a:cubicBezTo>
                  <a:pt x="11600" y="3963"/>
                  <a:pt x="11665" y="3945"/>
                  <a:pt x="11736" y="3939"/>
                </a:cubicBezTo>
                <a:cubicBezTo>
                  <a:pt x="11760" y="3937"/>
                  <a:pt x="11784" y="3940"/>
                  <a:pt x="11808" y="3942"/>
                </a:cubicBezTo>
                <a:cubicBezTo>
                  <a:pt x="11827" y="3930"/>
                  <a:pt x="11846" y="3930"/>
                  <a:pt x="11862" y="3943"/>
                </a:cubicBezTo>
                <a:cubicBezTo>
                  <a:pt x="11871" y="3954"/>
                  <a:pt x="11879" y="3965"/>
                  <a:pt x="11889" y="3976"/>
                </a:cubicBezTo>
                <a:cubicBezTo>
                  <a:pt x="11896" y="3971"/>
                  <a:pt x="11899" y="3964"/>
                  <a:pt x="11899" y="3957"/>
                </a:cubicBezTo>
                <a:cubicBezTo>
                  <a:pt x="11914" y="3989"/>
                  <a:pt x="11949" y="3966"/>
                  <a:pt x="11960" y="3954"/>
                </a:cubicBezTo>
                <a:cubicBezTo>
                  <a:pt x="11955" y="3990"/>
                  <a:pt x="11980" y="3992"/>
                  <a:pt x="12004" y="4002"/>
                </a:cubicBezTo>
                <a:cubicBezTo>
                  <a:pt x="11969" y="3988"/>
                  <a:pt x="11918" y="4019"/>
                  <a:pt x="11875" y="4012"/>
                </a:cubicBezTo>
                <a:cubicBezTo>
                  <a:pt x="11787" y="3997"/>
                  <a:pt x="11903" y="4017"/>
                  <a:pt x="11875" y="4012"/>
                </a:cubicBezTo>
                <a:close/>
                <a:moveTo>
                  <a:pt x="11935" y="4181"/>
                </a:moveTo>
                <a:cubicBezTo>
                  <a:pt x="11929" y="4187"/>
                  <a:pt x="11920" y="4176"/>
                  <a:pt x="11935" y="4181"/>
                </a:cubicBezTo>
                <a:cubicBezTo>
                  <a:pt x="11934" y="4183"/>
                  <a:pt x="11933" y="4180"/>
                  <a:pt x="11935" y="4181"/>
                </a:cubicBezTo>
                <a:close/>
                <a:moveTo>
                  <a:pt x="11711" y="4288"/>
                </a:moveTo>
                <a:cubicBezTo>
                  <a:pt x="11709" y="4283"/>
                  <a:pt x="11577" y="4267"/>
                  <a:pt x="11562" y="4268"/>
                </a:cubicBezTo>
                <a:cubicBezTo>
                  <a:pt x="11618" y="4206"/>
                  <a:pt x="11516" y="4247"/>
                  <a:pt x="11514" y="4257"/>
                </a:cubicBezTo>
                <a:cubicBezTo>
                  <a:pt x="11511" y="4277"/>
                  <a:pt x="11560" y="4288"/>
                  <a:pt x="11568" y="4303"/>
                </a:cubicBezTo>
                <a:cubicBezTo>
                  <a:pt x="11521" y="4314"/>
                  <a:pt x="11506" y="4323"/>
                  <a:pt x="11467" y="4295"/>
                </a:cubicBezTo>
                <a:cubicBezTo>
                  <a:pt x="11451" y="4283"/>
                  <a:pt x="11430" y="4222"/>
                  <a:pt x="11408" y="4232"/>
                </a:cubicBezTo>
                <a:cubicBezTo>
                  <a:pt x="11392" y="4240"/>
                  <a:pt x="11407" y="4255"/>
                  <a:pt x="11400" y="4262"/>
                </a:cubicBezTo>
                <a:cubicBezTo>
                  <a:pt x="11403" y="4274"/>
                  <a:pt x="11402" y="4285"/>
                  <a:pt x="11394" y="4295"/>
                </a:cubicBezTo>
                <a:cubicBezTo>
                  <a:pt x="11389" y="4311"/>
                  <a:pt x="11378" y="4313"/>
                  <a:pt x="11359" y="4302"/>
                </a:cubicBezTo>
                <a:cubicBezTo>
                  <a:pt x="11331" y="4313"/>
                  <a:pt x="11310" y="4311"/>
                  <a:pt x="11289" y="4338"/>
                </a:cubicBezTo>
                <a:cubicBezTo>
                  <a:pt x="11290" y="4337"/>
                  <a:pt x="11314" y="4366"/>
                  <a:pt x="11314" y="4372"/>
                </a:cubicBezTo>
                <a:cubicBezTo>
                  <a:pt x="11299" y="4372"/>
                  <a:pt x="11213" y="4383"/>
                  <a:pt x="11206" y="4364"/>
                </a:cubicBezTo>
                <a:cubicBezTo>
                  <a:pt x="11200" y="4347"/>
                  <a:pt x="11238" y="4334"/>
                  <a:pt x="11231" y="4322"/>
                </a:cubicBezTo>
                <a:cubicBezTo>
                  <a:pt x="11204" y="4277"/>
                  <a:pt x="11090" y="4260"/>
                  <a:pt x="11040" y="4276"/>
                </a:cubicBezTo>
                <a:cubicBezTo>
                  <a:pt x="11036" y="4251"/>
                  <a:pt x="11060" y="4243"/>
                  <a:pt x="11063" y="4221"/>
                </a:cubicBezTo>
                <a:cubicBezTo>
                  <a:pt x="11029" y="4217"/>
                  <a:pt x="10991" y="4217"/>
                  <a:pt x="10958" y="4208"/>
                </a:cubicBezTo>
                <a:cubicBezTo>
                  <a:pt x="10913" y="4196"/>
                  <a:pt x="10958" y="4194"/>
                  <a:pt x="10932" y="4182"/>
                </a:cubicBezTo>
                <a:cubicBezTo>
                  <a:pt x="10922" y="4177"/>
                  <a:pt x="10626" y="4262"/>
                  <a:pt x="10781" y="4179"/>
                </a:cubicBezTo>
                <a:cubicBezTo>
                  <a:pt x="10720" y="4168"/>
                  <a:pt x="10705" y="4240"/>
                  <a:pt x="10654" y="4216"/>
                </a:cubicBezTo>
                <a:cubicBezTo>
                  <a:pt x="10621" y="4201"/>
                  <a:pt x="10647" y="4180"/>
                  <a:pt x="10627" y="4155"/>
                </a:cubicBezTo>
                <a:cubicBezTo>
                  <a:pt x="10606" y="4130"/>
                  <a:pt x="10580" y="4120"/>
                  <a:pt x="10552" y="4106"/>
                </a:cubicBezTo>
                <a:cubicBezTo>
                  <a:pt x="10569" y="4092"/>
                  <a:pt x="10715" y="4050"/>
                  <a:pt x="10672" y="4100"/>
                </a:cubicBezTo>
                <a:cubicBezTo>
                  <a:pt x="10809" y="4115"/>
                  <a:pt x="10950" y="4107"/>
                  <a:pt x="11088" y="4108"/>
                </a:cubicBezTo>
                <a:cubicBezTo>
                  <a:pt x="11154" y="4109"/>
                  <a:pt x="11220" y="4107"/>
                  <a:pt x="11286" y="4107"/>
                </a:cubicBezTo>
                <a:cubicBezTo>
                  <a:pt x="11320" y="4108"/>
                  <a:pt x="11358" y="4103"/>
                  <a:pt x="11391" y="4108"/>
                </a:cubicBezTo>
                <a:cubicBezTo>
                  <a:pt x="11405" y="4107"/>
                  <a:pt x="11419" y="4105"/>
                  <a:pt x="11433" y="4104"/>
                </a:cubicBezTo>
                <a:cubicBezTo>
                  <a:pt x="11433" y="4127"/>
                  <a:pt x="11446" y="4133"/>
                  <a:pt x="11472" y="4120"/>
                </a:cubicBezTo>
                <a:cubicBezTo>
                  <a:pt x="11425" y="4122"/>
                  <a:pt x="11397" y="4149"/>
                  <a:pt x="11358" y="4175"/>
                </a:cubicBezTo>
                <a:cubicBezTo>
                  <a:pt x="11406" y="4233"/>
                  <a:pt x="11519" y="4162"/>
                  <a:pt x="11577" y="4172"/>
                </a:cubicBezTo>
                <a:cubicBezTo>
                  <a:pt x="11591" y="4174"/>
                  <a:pt x="11601" y="4199"/>
                  <a:pt x="11618" y="4200"/>
                </a:cubicBezTo>
                <a:cubicBezTo>
                  <a:pt x="11643" y="4203"/>
                  <a:pt x="11658" y="4184"/>
                  <a:pt x="11684" y="4194"/>
                </a:cubicBezTo>
                <a:cubicBezTo>
                  <a:pt x="11750" y="4220"/>
                  <a:pt x="11697" y="4241"/>
                  <a:pt x="11711" y="4288"/>
                </a:cubicBezTo>
                <a:cubicBezTo>
                  <a:pt x="11713" y="4295"/>
                  <a:pt x="11702" y="4259"/>
                  <a:pt x="11711" y="4288"/>
                </a:cubicBezTo>
                <a:close/>
                <a:moveTo>
                  <a:pt x="11594" y="4427"/>
                </a:moveTo>
                <a:cubicBezTo>
                  <a:pt x="11582" y="4456"/>
                  <a:pt x="11522" y="4418"/>
                  <a:pt x="11507" y="4411"/>
                </a:cubicBezTo>
                <a:cubicBezTo>
                  <a:pt x="11507" y="4411"/>
                  <a:pt x="11621" y="4363"/>
                  <a:pt x="11594" y="4427"/>
                </a:cubicBezTo>
                <a:cubicBezTo>
                  <a:pt x="11587" y="4445"/>
                  <a:pt x="11602" y="4408"/>
                  <a:pt x="11594" y="4427"/>
                </a:cubicBezTo>
                <a:close/>
                <a:moveTo>
                  <a:pt x="11058" y="4402"/>
                </a:moveTo>
                <a:cubicBezTo>
                  <a:pt x="11077" y="4399"/>
                  <a:pt x="10983" y="4358"/>
                  <a:pt x="10983" y="4359"/>
                </a:cubicBezTo>
                <a:cubicBezTo>
                  <a:pt x="11004" y="4345"/>
                  <a:pt x="11032" y="4352"/>
                  <a:pt x="11053" y="4341"/>
                </a:cubicBezTo>
                <a:cubicBezTo>
                  <a:pt x="11057" y="4339"/>
                  <a:pt x="11075" y="4310"/>
                  <a:pt x="11074" y="4310"/>
                </a:cubicBezTo>
                <a:cubicBezTo>
                  <a:pt x="11111" y="4304"/>
                  <a:pt x="11100" y="4332"/>
                  <a:pt x="11071" y="4340"/>
                </a:cubicBezTo>
                <a:cubicBezTo>
                  <a:pt x="11107" y="4393"/>
                  <a:pt x="11143" y="4345"/>
                  <a:pt x="11182" y="4364"/>
                </a:cubicBezTo>
                <a:cubicBezTo>
                  <a:pt x="11178" y="4362"/>
                  <a:pt x="11197" y="4400"/>
                  <a:pt x="11201" y="4404"/>
                </a:cubicBezTo>
                <a:cubicBezTo>
                  <a:pt x="11209" y="4410"/>
                  <a:pt x="11235" y="4402"/>
                  <a:pt x="11245" y="4407"/>
                </a:cubicBezTo>
                <a:cubicBezTo>
                  <a:pt x="11204" y="4484"/>
                  <a:pt x="11117" y="4391"/>
                  <a:pt x="11058" y="4402"/>
                </a:cubicBezTo>
                <a:cubicBezTo>
                  <a:pt x="11055" y="4403"/>
                  <a:pt x="11112" y="4392"/>
                  <a:pt x="11058" y="4402"/>
                </a:cubicBezTo>
                <a:close/>
                <a:moveTo>
                  <a:pt x="11127" y="4785"/>
                </a:moveTo>
                <a:cubicBezTo>
                  <a:pt x="11081" y="4823"/>
                  <a:pt x="11024" y="4817"/>
                  <a:pt x="10976" y="4772"/>
                </a:cubicBezTo>
                <a:cubicBezTo>
                  <a:pt x="11030" y="4763"/>
                  <a:pt x="11077" y="4789"/>
                  <a:pt x="11127" y="4785"/>
                </a:cubicBezTo>
                <a:close/>
                <a:moveTo>
                  <a:pt x="11171" y="4934"/>
                </a:moveTo>
                <a:cubicBezTo>
                  <a:pt x="11184" y="4938"/>
                  <a:pt x="11239" y="4923"/>
                  <a:pt x="11242" y="4926"/>
                </a:cubicBezTo>
                <a:cubicBezTo>
                  <a:pt x="11263" y="4950"/>
                  <a:pt x="11230" y="4948"/>
                  <a:pt x="11236" y="4961"/>
                </a:cubicBezTo>
                <a:cubicBezTo>
                  <a:pt x="11241" y="4976"/>
                  <a:pt x="11226" y="4967"/>
                  <a:pt x="11248" y="4986"/>
                </a:cubicBezTo>
                <a:cubicBezTo>
                  <a:pt x="11267" y="5003"/>
                  <a:pt x="11304" y="4993"/>
                  <a:pt x="11327" y="5015"/>
                </a:cubicBezTo>
                <a:cubicBezTo>
                  <a:pt x="11310" y="5018"/>
                  <a:pt x="11233" y="5037"/>
                  <a:pt x="11217" y="5030"/>
                </a:cubicBezTo>
                <a:cubicBezTo>
                  <a:pt x="11186" y="5016"/>
                  <a:pt x="11235" y="5027"/>
                  <a:pt x="11199" y="5000"/>
                </a:cubicBezTo>
                <a:cubicBezTo>
                  <a:pt x="11193" y="4996"/>
                  <a:pt x="11124" y="4922"/>
                  <a:pt x="11171" y="4934"/>
                </a:cubicBezTo>
                <a:cubicBezTo>
                  <a:pt x="11194" y="4940"/>
                  <a:pt x="11159" y="4931"/>
                  <a:pt x="11171" y="4934"/>
                </a:cubicBezTo>
                <a:close/>
                <a:moveTo>
                  <a:pt x="11326" y="4832"/>
                </a:moveTo>
                <a:cubicBezTo>
                  <a:pt x="11269" y="4824"/>
                  <a:pt x="11213" y="4815"/>
                  <a:pt x="11157" y="4807"/>
                </a:cubicBezTo>
                <a:cubicBezTo>
                  <a:pt x="11199" y="4797"/>
                  <a:pt x="11287" y="4785"/>
                  <a:pt x="11330" y="4801"/>
                </a:cubicBezTo>
                <a:cubicBezTo>
                  <a:pt x="11354" y="4810"/>
                  <a:pt x="11375" y="4840"/>
                  <a:pt x="11326" y="4832"/>
                </a:cubicBezTo>
                <a:cubicBezTo>
                  <a:pt x="11270" y="4824"/>
                  <a:pt x="11341" y="4835"/>
                  <a:pt x="11326" y="4832"/>
                </a:cubicBezTo>
                <a:close/>
                <a:moveTo>
                  <a:pt x="10907" y="4351"/>
                </a:moveTo>
                <a:cubicBezTo>
                  <a:pt x="10903" y="4290"/>
                  <a:pt x="10969" y="4235"/>
                  <a:pt x="10944" y="4325"/>
                </a:cubicBezTo>
                <a:cubicBezTo>
                  <a:pt x="10936" y="4352"/>
                  <a:pt x="10910" y="4405"/>
                  <a:pt x="10907" y="4351"/>
                </a:cubicBezTo>
                <a:cubicBezTo>
                  <a:pt x="10905" y="4321"/>
                  <a:pt x="10908" y="4361"/>
                  <a:pt x="10907" y="4351"/>
                </a:cubicBezTo>
                <a:close/>
                <a:moveTo>
                  <a:pt x="10937" y="4206"/>
                </a:moveTo>
                <a:cubicBezTo>
                  <a:pt x="10936" y="4213"/>
                  <a:pt x="10935" y="4220"/>
                  <a:pt x="10934" y="4227"/>
                </a:cubicBezTo>
                <a:cubicBezTo>
                  <a:pt x="10923" y="4224"/>
                  <a:pt x="10924" y="4217"/>
                  <a:pt x="10937" y="4206"/>
                </a:cubicBezTo>
                <a:cubicBezTo>
                  <a:pt x="10936" y="4213"/>
                  <a:pt x="10930" y="4210"/>
                  <a:pt x="10937" y="4206"/>
                </a:cubicBezTo>
                <a:close/>
                <a:moveTo>
                  <a:pt x="10831" y="4343"/>
                </a:moveTo>
                <a:cubicBezTo>
                  <a:pt x="10740" y="4371"/>
                  <a:pt x="10691" y="4359"/>
                  <a:pt x="10648" y="4300"/>
                </a:cubicBezTo>
                <a:cubicBezTo>
                  <a:pt x="10796" y="4307"/>
                  <a:pt x="10801" y="4309"/>
                  <a:pt x="10831" y="4343"/>
                </a:cubicBezTo>
                <a:close/>
                <a:moveTo>
                  <a:pt x="10153" y="5593"/>
                </a:moveTo>
                <a:cubicBezTo>
                  <a:pt x="10151" y="5590"/>
                  <a:pt x="10149" y="5587"/>
                  <a:pt x="10146" y="5583"/>
                </a:cubicBezTo>
                <a:cubicBezTo>
                  <a:pt x="10158" y="5581"/>
                  <a:pt x="10153" y="5589"/>
                  <a:pt x="10153" y="5593"/>
                </a:cubicBezTo>
                <a:close/>
                <a:moveTo>
                  <a:pt x="10029" y="4897"/>
                </a:moveTo>
                <a:cubicBezTo>
                  <a:pt x="10020" y="4907"/>
                  <a:pt x="10018" y="4879"/>
                  <a:pt x="10028" y="4868"/>
                </a:cubicBezTo>
                <a:cubicBezTo>
                  <a:pt x="10050" y="4843"/>
                  <a:pt x="10139" y="4854"/>
                  <a:pt x="10166" y="4853"/>
                </a:cubicBezTo>
                <a:cubicBezTo>
                  <a:pt x="10279" y="4851"/>
                  <a:pt x="10391" y="4855"/>
                  <a:pt x="10504" y="4858"/>
                </a:cubicBezTo>
                <a:cubicBezTo>
                  <a:pt x="10429" y="4926"/>
                  <a:pt x="10358" y="4872"/>
                  <a:pt x="10274" y="4865"/>
                </a:cubicBezTo>
                <a:cubicBezTo>
                  <a:pt x="10227" y="4861"/>
                  <a:pt x="10186" y="4876"/>
                  <a:pt x="10140" y="4878"/>
                </a:cubicBezTo>
                <a:cubicBezTo>
                  <a:pt x="10100" y="4880"/>
                  <a:pt x="10060" y="4862"/>
                  <a:pt x="10029" y="4897"/>
                </a:cubicBezTo>
                <a:cubicBezTo>
                  <a:pt x="10028" y="4899"/>
                  <a:pt x="10068" y="4853"/>
                  <a:pt x="10029" y="4897"/>
                </a:cubicBezTo>
                <a:close/>
                <a:moveTo>
                  <a:pt x="9920" y="5316"/>
                </a:moveTo>
                <a:cubicBezTo>
                  <a:pt x="9898" y="5334"/>
                  <a:pt x="9908" y="5292"/>
                  <a:pt x="9916" y="5283"/>
                </a:cubicBezTo>
                <a:cubicBezTo>
                  <a:pt x="9932" y="5266"/>
                  <a:pt x="10013" y="5279"/>
                  <a:pt x="10036" y="5279"/>
                </a:cubicBezTo>
                <a:cubicBezTo>
                  <a:pt x="10001" y="5303"/>
                  <a:pt x="9953" y="5288"/>
                  <a:pt x="9920" y="5316"/>
                </a:cubicBezTo>
                <a:cubicBezTo>
                  <a:pt x="9915" y="5321"/>
                  <a:pt x="9954" y="5287"/>
                  <a:pt x="9920" y="5316"/>
                </a:cubicBezTo>
                <a:close/>
                <a:moveTo>
                  <a:pt x="9963" y="5588"/>
                </a:moveTo>
                <a:cubicBezTo>
                  <a:pt x="9951" y="5597"/>
                  <a:pt x="9943" y="5594"/>
                  <a:pt x="9939" y="5581"/>
                </a:cubicBezTo>
                <a:cubicBezTo>
                  <a:pt x="9948" y="5574"/>
                  <a:pt x="9956" y="5576"/>
                  <a:pt x="9963" y="5588"/>
                </a:cubicBezTo>
                <a:cubicBezTo>
                  <a:pt x="9955" y="5590"/>
                  <a:pt x="9956" y="5583"/>
                  <a:pt x="9963" y="5588"/>
                </a:cubicBezTo>
                <a:close/>
                <a:moveTo>
                  <a:pt x="10063" y="5582"/>
                </a:moveTo>
                <a:cubicBezTo>
                  <a:pt x="10030" y="5598"/>
                  <a:pt x="10013" y="5598"/>
                  <a:pt x="9990" y="5584"/>
                </a:cubicBezTo>
                <a:cubicBezTo>
                  <a:pt x="10013" y="5568"/>
                  <a:pt x="10030" y="5572"/>
                  <a:pt x="10063" y="5582"/>
                </a:cubicBezTo>
                <a:close/>
                <a:moveTo>
                  <a:pt x="10467" y="4740"/>
                </a:moveTo>
                <a:cubicBezTo>
                  <a:pt x="10460" y="4731"/>
                  <a:pt x="10420" y="4770"/>
                  <a:pt x="10402" y="4774"/>
                </a:cubicBezTo>
                <a:cubicBezTo>
                  <a:pt x="10360" y="4782"/>
                  <a:pt x="10294" y="4762"/>
                  <a:pt x="10251" y="4762"/>
                </a:cubicBezTo>
                <a:cubicBezTo>
                  <a:pt x="10127" y="4763"/>
                  <a:pt x="9999" y="4772"/>
                  <a:pt x="9876" y="4764"/>
                </a:cubicBezTo>
                <a:cubicBezTo>
                  <a:pt x="9893" y="4718"/>
                  <a:pt x="9913" y="4746"/>
                  <a:pt x="9952" y="4735"/>
                </a:cubicBezTo>
                <a:cubicBezTo>
                  <a:pt x="9971" y="4729"/>
                  <a:pt x="9983" y="4710"/>
                  <a:pt x="10001" y="4709"/>
                </a:cubicBezTo>
                <a:cubicBezTo>
                  <a:pt x="10019" y="4707"/>
                  <a:pt x="10048" y="4735"/>
                  <a:pt x="10069" y="4738"/>
                </a:cubicBezTo>
                <a:cubicBezTo>
                  <a:pt x="10107" y="4743"/>
                  <a:pt x="10138" y="4720"/>
                  <a:pt x="10174" y="4716"/>
                </a:cubicBezTo>
                <a:cubicBezTo>
                  <a:pt x="10249" y="4708"/>
                  <a:pt x="10300" y="4750"/>
                  <a:pt x="10376" y="4733"/>
                </a:cubicBezTo>
                <a:cubicBezTo>
                  <a:pt x="10456" y="4716"/>
                  <a:pt x="10521" y="4705"/>
                  <a:pt x="10599" y="4748"/>
                </a:cubicBezTo>
                <a:cubicBezTo>
                  <a:pt x="10550" y="4738"/>
                  <a:pt x="10507" y="4790"/>
                  <a:pt x="10467" y="4740"/>
                </a:cubicBezTo>
                <a:cubicBezTo>
                  <a:pt x="10464" y="4737"/>
                  <a:pt x="10510" y="4792"/>
                  <a:pt x="10467" y="4740"/>
                </a:cubicBezTo>
                <a:close/>
                <a:moveTo>
                  <a:pt x="9099" y="4890"/>
                </a:moveTo>
                <a:cubicBezTo>
                  <a:pt x="8951" y="4883"/>
                  <a:pt x="8802" y="4891"/>
                  <a:pt x="8654" y="4906"/>
                </a:cubicBezTo>
                <a:cubicBezTo>
                  <a:pt x="8631" y="4909"/>
                  <a:pt x="8597" y="4922"/>
                  <a:pt x="8575" y="4917"/>
                </a:cubicBezTo>
                <a:cubicBezTo>
                  <a:pt x="8558" y="4913"/>
                  <a:pt x="8545" y="4887"/>
                  <a:pt x="8530" y="4888"/>
                </a:cubicBezTo>
                <a:cubicBezTo>
                  <a:pt x="8468" y="4890"/>
                  <a:pt x="8505" y="4921"/>
                  <a:pt x="8523" y="4938"/>
                </a:cubicBezTo>
                <a:cubicBezTo>
                  <a:pt x="8472" y="4954"/>
                  <a:pt x="8379" y="4946"/>
                  <a:pt x="8345" y="4898"/>
                </a:cubicBezTo>
                <a:cubicBezTo>
                  <a:pt x="8364" y="4880"/>
                  <a:pt x="8394" y="4890"/>
                  <a:pt x="8412" y="4869"/>
                </a:cubicBezTo>
                <a:cubicBezTo>
                  <a:pt x="8312" y="4860"/>
                  <a:pt x="8211" y="4864"/>
                  <a:pt x="8112" y="4867"/>
                </a:cubicBezTo>
                <a:cubicBezTo>
                  <a:pt x="8068" y="4869"/>
                  <a:pt x="8043" y="4826"/>
                  <a:pt x="8124" y="4832"/>
                </a:cubicBezTo>
                <a:cubicBezTo>
                  <a:pt x="8176" y="4836"/>
                  <a:pt x="8230" y="4832"/>
                  <a:pt x="8283" y="4833"/>
                </a:cubicBezTo>
                <a:cubicBezTo>
                  <a:pt x="8307" y="4834"/>
                  <a:pt x="8331" y="4836"/>
                  <a:pt x="8354" y="4831"/>
                </a:cubicBezTo>
                <a:cubicBezTo>
                  <a:pt x="8374" y="4826"/>
                  <a:pt x="8385" y="4805"/>
                  <a:pt x="8407" y="4806"/>
                </a:cubicBezTo>
                <a:cubicBezTo>
                  <a:pt x="8410" y="4829"/>
                  <a:pt x="8372" y="4838"/>
                  <a:pt x="8380" y="4858"/>
                </a:cubicBezTo>
                <a:cubicBezTo>
                  <a:pt x="8393" y="4893"/>
                  <a:pt x="8415" y="4860"/>
                  <a:pt x="8430" y="4847"/>
                </a:cubicBezTo>
                <a:cubicBezTo>
                  <a:pt x="8466" y="4818"/>
                  <a:pt x="8427" y="4795"/>
                  <a:pt x="8481" y="4823"/>
                </a:cubicBezTo>
                <a:cubicBezTo>
                  <a:pt x="8501" y="4833"/>
                  <a:pt x="8516" y="4861"/>
                  <a:pt x="8534" y="4868"/>
                </a:cubicBezTo>
                <a:cubicBezTo>
                  <a:pt x="8562" y="4879"/>
                  <a:pt x="8603" y="4867"/>
                  <a:pt x="8632" y="4866"/>
                </a:cubicBezTo>
                <a:cubicBezTo>
                  <a:pt x="8715" y="4864"/>
                  <a:pt x="8807" y="4882"/>
                  <a:pt x="8889" y="4868"/>
                </a:cubicBezTo>
                <a:cubicBezTo>
                  <a:pt x="8922" y="4862"/>
                  <a:pt x="8939" y="4851"/>
                  <a:pt x="8976" y="4851"/>
                </a:cubicBezTo>
                <a:cubicBezTo>
                  <a:pt x="9012" y="4851"/>
                  <a:pt x="9048" y="4855"/>
                  <a:pt x="9085" y="4854"/>
                </a:cubicBezTo>
                <a:cubicBezTo>
                  <a:pt x="9172" y="4853"/>
                  <a:pt x="9259" y="4853"/>
                  <a:pt x="9346" y="4853"/>
                </a:cubicBezTo>
                <a:cubicBezTo>
                  <a:pt x="9514" y="4853"/>
                  <a:pt x="9703" y="4819"/>
                  <a:pt x="9866" y="4868"/>
                </a:cubicBezTo>
                <a:cubicBezTo>
                  <a:pt x="9612" y="4868"/>
                  <a:pt x="9354" y="4901"/>
                  <a:pt x="9099" y="4890"/>
                </a:cubicBezTo>
                <a:cubicBezTo>
                  <a:pt x="9039" y="4887"/>
                  <a:pt x="9314" y="4899"/>
                  <a:pt x="9099" y="4890"/>
                </a:cubicBezTo>
                <a:close/>
                <a:moveTo>
                  <a:pt x="9322" y="5232"/>
                </a:moveTo>
                <a:cubicBezTo>
                  <a:pt x="9321" y="5253"/>
                  <a:pt x="9276" y="5261"/>
                  <a:pt x="9269" y="5244"/>
                </a:cubicBezTo>
                <a:cubicBezTo>
                  <a:pt x="9257" y="5215"/>
                  <a:pt x="9324" y="5195"/>
                  <a:pt x="9322" y="5232"/>
                </a:cubicBezTo>
                <a:cubicBezTo>
                  <a:pt x="9321" y="5248"/>
                  <a:pt x="9323" y="5216"/>
                  <a:pt x="9322" y="5232"/>
                </a:cubicBezTo>
                <a:close/>
                <a:moveTo>
                  <a:pt x="9164" y="5787"/>
                </a:moveTo>
                <a:cubicBezTo>
                  <a:pt x="9128" y="5789"/>
                  <a:pt x="9099" y="5827"/>
                  <a:pt x="9059" y="5807"/>
                </a:cubicBezTo>
                <a:cubicBezTo>
                  <a:pt x="9106" y="5769"/>
                  <a:pt x="9110" y="5768"/>
                  <a:pt x="9164" y="5787"/>
                </a:cubicBezTo>
                <a:close/>
                <a:moveTo>
                  <a:pt x="8648" y="5922"/>
                </a:moveTo>
                <a:cubicBezTo>
                  <a:pt x="8631" y="5883"/>
                  <a:pt x="8389" y="5976"/>
                  <a:pt x="8375" y="5896"/>
                </a:cubicBezTo>
                <a:cubicBezTo>
                  <a:pt x="8498" y="5892"/>
                  <a:pt x="8611" y="5846"/>
                  <a:pt x="8733" y="5893"/>
                </a:cubicBezTo>
                <a:cubicBezTo>
                  <a:pt x="8726" y="5960"/>
                  <a:pt x="8674" y="5944"/>
                  <a:pt x="8625" y="5947"/>
                </a:cubicBezTo>
                <a:cubicBezTo>
                  <a:pt x="8623" y="5929"/>
                  <a:pt x="8656" y="5940"/>
                  <a:pt x="8648" y="5922"/>
                </a:cubicBezTo>
                <a:cubicBezTo>
                  <a:pt x="8643" y="5911"/>
                  <a:pt x="8657" y="5941"/>
                  <a:pt x="8648" y="5922"/>
                </a:cubicBezTo>
                <a:close/>
                <a:moveTo>
                  <a:pt x="8664" y="5523"/>
                </a:moveTo>
                <a:cubicBezTo>
                  <a:pt x="8645" y="5517"/>
                  <a:pt x="8671" y="5502"/>
                  <a:pt x="8673" y="5499"/>
                </a:cubicBezTo>
                <a:cubicBezTo>
                  <a:pt x="8690" y="5486"/>
                  <a:pt x="8726" y="5498"/>
                  <a:pt x="8742" y="5502"/>
                </a:cubicBezTo>
                <a:cubicBezTo>
                  <a:pt x="8721" y="5527"/>
                  <a:pt x="8694" y="5533"/>
                  <a:pt x="8664" y="5523"/>
                </a:cubicBezTo>
                <a:cubicBezTo>
                  <a:pt x="8656" y="5520"/>
                  <a:pt x="8691" y="5532"/>
                  <a:pt x="8664" y="5523"/>
                </a:cubicBezTo>
                <a:close/>
                <a:moveTo>
                  <a:pt x="8672" y="5132"/>
                </a:moveTo>
                <a:cubicBezTo>
                  <a:pt x="8723" y="5133"/>
                  <a:pt x="8775" y="5124"/>
                  <a:pt x="8827" y="5162"/>
                </a:cubicBezTo>
                <a:cubicBezTo>
                  <a:pt x="8767" y="5167"/>
                  <a:pt x="8715" y="5170"/>
                  <a:pt x="8672" y="5132"/>
                </a:cubicBezTo>
                <a:close/>
                <a:moveTo>
                  <a:pt x="8332" y="4921"/>
                </a:moveTo>
                <a:cubicBezTo>
                  <a:pt x="8333" y="4933"/>
                  <a:pt x="8332" y="4914"/>
                  <a:pt x="8332" y="4921"/>
                </a:cubicBezTo>
                <a:cubicBezTo>
                  <a:pt x="8332" y="4922"/>
                  <a:pt x="8332" y="4920"/>
                  <a:pt x="8332" y="4921"/>
                </a:cubicBezTo>
                <a:close/>
                <a:moveTo>
                  <a:pt x="8258" y="4899"/>
                </a:moveTo>
                <a:cubicBezTo>
                  <a:pt x="8244" y="4931"/>
                  <a:pt x="8230" y="4930"/>
                  <a:pt x="8213" y="4902"/>
                </a:cubicBezTo>
                <a:cubicBezTo>
                  <a:pt x="8228" y="4901"/>
                  <a:pt x="8243" y="4900"/>
                  <a:pt x="8258" y="4899"/>
                </a:cubicBezTo>
                <a:close/>
                <a:moveTo>
                  <a:pt x="7830" y="5681"/>
                </a:moveTo>
                <a:cubicBezTo>
                  <a:pt x="7872" y="5660"/>
                  <a:pt x="7906" y="5690"/>
                  <a:pt x="7941" y="5686"/>
                </a:cubicBezTo>
                <a:cubicBezTo>
                  <a:pt x="7906" y="5692"/>
                  <a:pt x="7870" y="5716"/>
                  <a:pt x="7830" y="5681"/>
                </a:cubicBezTo>
                <a:close/>
                <a:moveTo>
                  <a:pt x="7927" y="5825"/>
                </a:moveTo>
                <a:cubicBezTo>
                  <a:pt x="7914" y="5832"/>
                  <a:pt x="7901" y="5832"/>
                  <a:pt x="7888" y="5827"/>
                </a:cubicBezTo>
                <a:cubicBezTo>
                  <a:pt x="7901" y="5832"/>
                  <a:pt x="7914" y="5832"/>
                  <a:pt x="7927" y="5825"/>
                </a:cubicBezTo>
                <a:close/>
                <a:moveTo>
                  <a:pt x="7878" y="5860"/>
                </a:moveTo>
                <a:cubicBezTo>
                  <a:pt x="7878" y="5860"/>
                  <a:pt x="7868" y="5837"/>
                  <a:pt x="7878" y="5860"/>
                </a:cubicBezTo>
                <a:cubicBezTo>
                  <a:pt x="7878" y="5860"/>
                  <a:pt x="7877" y="5857"/>
                  <a:pt x="7878" y="5860"/>
                </a:cubicBezTo>
                <a:close/>
                <a:moveTo>
                  <a:pt x="7871" y="5852"/>
                </a:moveTo>
                <a:cubicBezTo>
                  <a:pt x="7869" y="5853"/>
                  <a:pt x="7870" y="5853"/>
                  <a:pt x="7871" y="5852"/>
                </a:cubicBezTo>
                <a:cubicBezTo>
                  <a:pt x="7871" y="5853"/>
                  <a:pt x="7871" y="5853"/>
                  <a:pt x="7871" y="5852"/>
                </a:cubicBezTo>
                <a:close/>
                <a:moveTo>
                  <a:pt x="7788" y="5058"/>
                </a:moveTo>
                <a:cubicBezTo>
                  <a:pt x="7804" y="4991"/>
                  <a:pt x="7905" y="5016"/>
                  <a:pt x="7954" y="5031"/>
                </a:cubicBezTo>
                <a:cubicBezTo>
                  <a:pt x="7903" y="5059"/>
                  <a:pt x="7844" y="5060"/>
                  <a:pt x="7788" y="5058"/>
                </a:cubicBezTo>
                <a:cubicBezTo>
                  <a:pt x="7790" y="5050"/>
                  <a:pt x="7845" y="5060"/>
                  <a:pt x="7788" y="5058"/>
                </a:cubicBezTo>
                <a:close/>
                <a:moveTo>
                  <a:pt x="7796" y="5697"/>
                </a:moveTo>
                <a:cubicBezTo>
                  <a:pt x="7797" y="5708"/>
                  <a:pt x="7790" y="5709"/>
                  <a:pt x="7773" y="5702"/>
                </a:cubicBezTo>
                <a:cubicBezTo>
                  <a:pt x="7771" y="5691"/>
                  <a:pt x="7779" y="5689"/>
                  <a:pt x="7796" y="5697"/>
                </a:cubicBezTo>
                <a:cubicBezTo>
                  <a:pt x="7796" y="5699"/>
                  <a:pt x="7788" y="5697"/>
                  <a:pt x="7796" y="5697"/>
                </a:cubicBezTo>
                <a:close/>
                <a:moveTo>
                  <a:pt x="7771" y="4931"/>
                </a:moveTo>
                <a:cubicBezTo>
                  <a:pt x="7777" y="4885"/>
                  <a:pt x="7708" y="4902"/>
                  <a:pt x="7683" y="4901"/>
                </a:cubicBezTo>
                <a:cubicBezTo>
                  <a:pt x="7638" y="4898"/>
                  <a:pt x="7601" y="4875"/>
                  <a:pt x="7600" y="4929"/>
                </a:cubicBezTo>
                <a:cubicBezTo>
                  <a:pt x="7573" y="4930"/>
                  <a:pt x="7546" y="4932"/>
                  <a:pt x="7518" y="4933"/>
                </a:cubicBezTo>
                <a:cubicBezTo>
                  <a:pt x="7520" y="4917"/>
                  <a:pt x="7515" y="4907"/>
                  <a:pt x="7501" y="4903"/>
                </a:cubicBezTo>
                <a:cubicBezTo>
                  <a:pt x="7479" y="4896"/>
                  <a:pt x="7456" y="4892"/>
                  <a:pt x="7435" y="4895"/>
                </a:cubicBezTo>
                <a:cubicBezTo>
                  <a:pt x="7459" y="4891"/>
                  <a:pt x="7460" y="4873"/>
                  <a:pt x="7491" y="4868"/>
                </a:cubicBezTo>
                <a:cubicBezTo>
                  <a:pt x="7525" y="4862"/>
                  <a:pt x="7571" y="4877"/>
                  <a:pt x="7608" y="4877"/>
                </a:cubicBezTo>
                <a:cubicBezTo>
                  <a:pt x="7658" y="4876"/>
                  <a:pt x="7716" y="4859"/>
                  <a:pt x="7765" y="4866"/>
                </a:cubicBezTo>
                <a:cubicBezTo>
                  <a:pt x="7824" y="4875"/>
                  <a:pt x="7792" y="4884"/>
                  <a:pt x="7834" y="4895"/>
                </a:cubicBezTo>
                <a:cubicBezTo>
                  <a:pt x="7875" y="4906"/>
                  <a:pt x="7915" y="4902"/>
                  <a:pt x="7955" y="4890"/>
                </a:cubicBezTo>
                <a:cubicBezTo>
                  <a:pt x="7957" y="4883"/>
                  <a:pt x="7959" y="4876"/>
                  <a:pt x="7959" y="4869"/>
                </a:cubicBezTo>
                <a:cubicBezTo>
                  <a:pt x="7976" y="4869"/>
                  <a:pt x="7994" y="4870"/>
                  <a:pt x="8012" y="4870"/>
                </a:cubicBezTo>
                <a:cubicBezTo>
                  <a:pt x="8044" y="4876"/>
                  <a:pt x="8058" y="4895"/>
                  <a:pt x="8094" y="4899"/>
                </a:cubicBezTo>
                <a:cubicBezTo>
                  <a:pt x="8128" y="4904"/>
                  <a:pt x="8157" y="4876"/>
                  <a:pt x="8191" y="4896"/>
                </a:cubicBezTo>
                <a:cubicBezTo>
                  <a:pt x="8177" y="4940"/>
                  <a:pt x="8150" y="4924"/>
                  <a:pt x="8117" y="4928"/>
                </a:cubicBezTo>
                <a:cubicBezTo>
                  <a:pt x="8103" y="4923"/>
                  <a:pt x="8089" y="4922"/>
                  <a:pt x="8074" y="4923"/>
                </a:cubicBezTo>
                <a:cubicBezTo>
                  <a:pt x="8059" y="4930"/>
                  <a:pt x="8045" y="4940"/>
                  <a:pt x="8033" y="4951"/>
                </a:cubicBezTo>
                <a:cubicBezTo>
                  <a:pt x="7988" y="4964"/>
                  <a:pt x="7966" y="4949"/>
                  <a:pt x="7922" y="4941"/>
                </a:cubicBezTo>
                <a:cubicBezTo>
                  <a:pt x="7872" y="4931"/>
                  <a:pt x="7821" y="4937"/>
                  <a:pt x="7771" y="4931"/>
                </a:cubicBezTo>
                <a:cubicBezTo>
                  <a:pt x="7774" y="4910"/>
                  <a:pt x="7834" y="4938"/>
                  <a:pt x="7771" y="4931"/>
                </a:cubicBezTo>
                <a:close/>
                <a:moveTo>
                  <a:pt x="7485" y="5411"/>
                </a:moveTo>
                <a:cubicBezTo>
                  <a:pt x="7459" y="5427"/>
                  <a:pt x="7470" y="5386"/>
                  <a:pt x="7482" y="5376"/>
                </a:cubicBezTo>
                <a:cubicBezTo>
                  <a:pt x="7503" y="5359"/>
                  <a:pt x="7572" y="5361"/>
                  <a:pt x="7595" y="5371"/>
                </a:cubicBezTo>
                <a:cubicBezTo>
                  <a:pt x="7562" y="5397"/>
                  <a:pt x="7519" y="5388"/>
                  <a:pt x="7485" y="5411"/>
                </a:cubicBezTo>
                <a:cubicBezTo>
                  <a:pt x="7475" y="5417"/>
                  <a:pt x="7517" y="5390"/>
                  <a:pt x="7485" y="5411"/>
                </a:cubicBezTo>
                <a:close/>
                <a:moveTo>
                  <a:pt x="7499" y="5877"/>
                </a:moveTo>
                <a:cubicBezTo>
                  <a:pt x="7450" y="5869"/>
                  <a:pt x="7402" y="5887"/>
                  <a:pt x="7365" y="5844"/>
                </a:cubicBezTo>
                <a:cubicBezTo>
                  <a:pt x="7396" y="5837"/>
                  <a:pt x="7466" y="5820"/>
                  <a:pt x="7496" y="5838"/>
                </a:cubicBezTo>
                <a:cubicBezTo>
                  <a:pt x="7507" y="5844"/>
                  <a:pt x="7544" y="5884"/>
                  <a:pt x="7499" y="5877"/>
                </a:cubicBezTo>
                <a:cubicBezTo>
                  <a:pt x="7456" y="5870"/>
                  <a:pt x="7510" y="5879"/>
                  <a:pt x="7499" y="5877"/>
                </a:cubicBezTo>
                <a:close/>
                <a:moveTo>
                  <a:pt x="7387" y="5032"/>
                </a:moveTo>
                <a:cubicBezTo>
                  <a:pt x="7407" y="5011"/>
                  <a:pt x="7440" y="5027"/>
                  <a:pt x="7463" y="5016"/>
                </a:cubicBezTo>
                <a:cubicBezTo>
                  <a:pt x="7452" y="5002"/>
                  <a:pt x="7354" y="5001"/>
                  <a:pt x="7346" y="5009"/>
                </a:cubicBezTo>
                <a:cubicBezTo>
                  <a:pt x="7296" y="5057"/>
                  <a:pt x="7363" y="5056"/>
                  <a:pt x="7383" y="5075"/>
                </a:cubicBezTo>
                <a:cubicBezTo>
                  <a:pt x="7344" y="5089"/>
                  <a:pt x="7331" y="5096"/>
                  <a:pt x="7307" y="5063"/>
                </a:cubicBezTo>
                <a:cubicBezTo>
                  <a:pt x="7260" y="4999"/>
                  <a:pt x="7332" y="4982"/>
                  <a:pt x="7379" y="4976"/>
                </a:cubicBezTo>
                <a:cubicBezTo>
                  <a:pt x="7305" y="4931"/>
                  <a:pt x="7515" y="4927"/>
                  <a:pt x="7501" y="5007"/>
                </a:cubicBezTo>
                <a:cubicBezTo>
                  <a:pt x="7498" y="5024"/>
                  <a:pt x="7618" y="5034"/>
                  <a:pt x="7631" y="5032"/>
                </a:cubicBezTo>
                <a:cubicBezTo>
                  <a:pt x="7644" y="5029"/>
                  <a:pt x="7671" y="5011"/>
                  <a:pt x="7682" y="5011"/>
                </a:cubicBezTo>
                <a:cubicBezTo>
                  <a:pt x="7714" y="5013"/>
                  <a:pt x="7651" y="5033"/>
                  <a:pt x="7707" y="5049"/>
                </a:cubicBezTo>
                <a:cubicBezTo>
                  <a:pt x="7669" y="5038"/>
                  <a:pt x="7621" y="5064"/>
                  <a:pt x="7577" y="5064"/>
                </a:cubicBezTo>
                <a:cubicBezTo>
                  <a:pt x="7512" y="5065"/>
                  <a:pt x="7448" y="5055"/>
                  <a:pt x="7387" y="5032"/>
                </a:cubicBezTo>
                <a:cubicBezTo>
                  <a:pt x="7407" y="5010"/>
                  <a:pt x="7461" y="5061"/>
                  <a:pt x="7387" y="5032"/>
                </a:cubicBezTo>
                <a:close/>
                <a:moveTo>
                  <a:pt x="7343" y="5690"/>
                </a:moveTo>
                <a:cubicBezTo>
                  <a:pt x="7306" y="5699"/>
                  <a:pt x="7273" y="5692"/>
                  <a:pt x="7233" y="5667"/>
                </a:cubicBezTo>
                <a:cubicBezTo>
                  <a:pt x="7290" y="5658"/>
                  <a:pt x="7290" y="5658"/>
                  <a:pt x="7343" y="5690"/>
                </a:cubicBezTo>
                <a:close/>
                <a:moveTo>
                  <a:pt x="7288" y="4573"/>
                </a:moveTo>
                <a:cubicBezTo>
                  <a:pt x="7285" y="4533"/>
                  <a:pt x="7277" y="4519"/>
                  <a:pt x="7294" y="4477"/>
                </a:cubicBezTo>
                <a:cubicBezTo>
                  <a:pt x="7242" y="4462"/>
                  <a:pt x="7087" y="4485"/>
                  <a:pt x="7090" y="4441"/>
                </a:cubicBezTo>
                <a:cubicBezTo>
                  <a:pt x="7101" y="4444"/>
                  <a:pt x="7113" y="4445"/>
                  <a:pt x="7125" y="4444"/>
                </a:cubicBezTo>
                <a:cubicBezTo>
                  <a:pt x="7130" y="4435"/>
                  <a:pt x="7130" y="4426"/>
                  <a:pt x="7125" y="4416"/>
                </a:cubicBezTo>
                <a:cubicBezTo>
                  <a:pt x="7138" y="4383"/>
                  <a:pt x="7116" y="4352"/>
                  <a:pt x="7163" y="4332"/>
                </a:cubicBezTo>
                <a:cubicBezTo>
                  <a:pt x="7175" y="4327"/>
                  <a:pt x="7228" y="4320"/>
                  <a:pt x="7228" y="4346"/>
                </a:cubicBezTo>
                <a:cubicBezTo>
                  <a:pt x="7228" y="4371"/>
                  <a:pt x="7180" y="4362"/>
                  <a:pt x="7167" y="4372"/>
                </a:cubicBezTo>
                <a:cubicBezTo>
                  <a:pt x="7088" y="4430"/>
                  <a:pt x="7195" y="4439"/>
                  <a:pt x="7243" y="4436"/>
                </a:cubicBezTo>
                <a:cubicBezTo>
                  <a:pt x="7247" y="4420"/>
                  <a:pt x="7223" y="4421"/>
                  <a:pt x="7224" y="4405"/>
                </a:cubicBezTo>
                <a:cubicBezTo>
                  <a:pt x="7331" y="4409"/>
                  <a:pt x="7439" y="4408"/>
                  <a:pt x="7546" y="4415"/>
                </a:cubicBezTo>
                <a:cubicBezTo>
                  <a:pt x="7600" y="4418"/>
                  <a:pt x="7654" y="4421"/>
                  <a:pt x="7707" y="4428"/>
                </a:cubicBezTo>
                <a:cubicBezTo>
                  <a:pt x="7742" y="4433"/>
                  <a:pt x="7789" y="4459"/>
                  <a:pt x="7818" y="4438"/>
                </a:cubicBezTo>
                <a:cubicBezTo>
                  <a:pt x="7845" y="4507"/>
                  <a:pt x="8022" y="4375"/>
                  <a:pt x="8087" y="4437"/>
                </a:cubicBezTo>
                <a:cubicBezTo>
                  <a:pt x="8082" y="4428"/>
                  <a:pt x="8076" y="4430"/>
                  <a:pt x="8070" y="4444"/>
                </a:cubicBezTo>
                <a:cubicBezTo>
                  <a:pt x="8119" y="4424"/>
                  <a:pt x="8136" y="4476"/>
                  <a:pt x="8101" y="4499"/>
                </a:cubicBezTo>
                <a:cubicBezTo>
                  <a:pt x="8091" y="4505"/>
                  <a:pt x="8062" y="4500"/>
                  <a:pt x="8058" y="4501"/>
                </a:cubicBezTo>
                <a:cubicBezTo>
                  <a:pt x="8054" y="4496"/>
                  <a:pt x="8048" y="4493"/>
                  <a:pt x="8041" y="4494"/>
                </a:cubicBezTo>
                <a:cubicBezTo>
                  <a:pt x="8032" y="4500"/>
                  <a:pt x="8026" y="4508"/>
                  <a:pt x="8022" y="4517"/>
                </a:cubicBezTo>
                <a:cubicBezTo>
                  <a:pt x="8005" y="4526"/>
                  <a:pt x="7999" y="4551"/>
                  <a:pt x="7975" y="4554"/>
                </a:cubicBezTo>
                <a:cubicBezTo>
                  <a:pt x="7951" y="4558"/>
                  <a:pt x="7927" y="4528"/>
                  <a:pt x="7908" y="4533"/>
                </a:cubicBezTo>
                <a:cubicBezTo>
                  <a:pt x="7888" y="4538"/>
                  <a:pt x="7899" y="4564"/>
                  <a:pt x="7872" y="4567"/>
                </a:cubicBezTo>
                <a:cubicBezTo>
                  <a:pt x="7861" y="4568"/>
                  <a:pt x="7870" y="4534"/>
                  <a:pt x="7859" y="4529"/>
                </a:cubicBezTo>
                <a:cubicBezTo>
                  <a:pt x="7845" y="4536"/>
                  <a:pt x="7843" y="4565"/>
                  <a:pt x="7825" y="4567"/>
                </a:cubicBezTo>
                <a:cubicBezTo>
                  <a:pt x="7794" y="4572"/>
                  <a:pt x="7799" y="4515"/>
                  <a:pt x="7761" y="4552"/>
                </a:cubicBezTo>
                <a:cubicBezTo>
                  <a:pt x="7751" y="4562"/>
                  <a:pt x="7781" y="4576"/>
                  <a:pt x="7765" y="4589"/>
                </a:cubicBezTo>
                <a:cubicBezTo>
                  <a:pt x="7759" y="4595"/>
                  <a:pt x="7676" y="4593"/>
                  <a:pt x="7662" y="4596"/>
                </a:cubicBezTo>
                <a:cubicBezTo>
                  <a:pt x="7586" y="4613"/>
                  <a:pt x="7535" y="4601"/>
                  <a:pt x="7467" y="4562"/>
                </a:cubicBezTo>
                <a:cubicBezTo>
                  <a:pt x="7452" y="4554"/>
                  <a:pt x="7444" y="4540"/>
                  <a:pt x="7426" y="4535"/>
                </a:cubicBezTo>
                <a:cubicBezTo>
                  <a:pt x="7379" y="4521"/>
                  <a:pt x="7408" y="4529"/>
                  <a:pt x="7371" y="4540"/>
                </a:cubicBezTo>
                <a:cubicBezTo>
                  <a:pt x="7352" y="4546"/>
                  <a:pt x="7307" y="4561"/>
                  <a:pt x="7313" y="4585"/>
                </a:cubicBezTo>
                <a:cubicBezTo>
                  <a:pt x="7307" y="4563"/>
                  <a:pt x="7166" y="4573"/>
                  <a:pt x="7145" y="4573"/>
                </a:cubicBezTo>
                <a:cubicBezTo>
                  <a:pt x="7193" y="4573"/>
                  <a:pt x="7240" y="4573"/>
                  <a:pt x="7288" y="4573"/>
                </a:cubicBezTo>
                <a:cubicBezTo>
                  <a:pt x="7287" y="4560"/>
                  <a:pt x="7240" y="4573"/>
                  <a:pt x="7288" y="4573"/>
                </a:cubicBezTo>
                <a:close/>
                <a:moveTo>
                  <a:pt x="7108" y="4488"/>
                </a:moveTo>
                <a:cubicBezTo>
                  <a:pt x="7116" y="4486"/>
                  <a:pt x="7214" y="4473"/>
                  <a:pt x="7182" y="4517"/>
                </a:cubicBezTo>
                <a:cubicBezTo>
                  <a:pt x="7162" y="4544"/>
                  <a:pt x="7126" y="4502"/>
                  <a:pt x="7108" y="4488"/>
                </a:cubicBezTo>
                <a:cubicBezTo>
                  <a:pt x="7141" y="4480"/>
                  <a:pt x="7126" y="4502"/>
                  <a:pt x="7108" y="4488"/>
                </a:cubicBezTo>
                <a:close/>
                <a:moveTo>
                  <a:pt x="7236" y="4492"/>
                </a:moveTo>
                <a:cubicBezTo>
                  <a:pt x="7237" y="4478"/>
                  <a:pt x="7235" y="4506"/>
                  <a:pt x="7236" y="4492"/>
                </a:cubicBezTo>
                <a:cubicBezTo>
                  <a:pt x="7236" y="4491"/>
                  <a:pt x="7236" y="4494"/>
                  <a:pt x="7236" y="4492"/>
                </a:cubicBezTo>
                <a:close/>
                <a:moveTo>
                  <a:pt x="7090" y="4596"/>
                </a:moveTo>
                <a:cubicBezTo>
                  <a:pt x="7066" y="4602"/>
                  <a:pt x="7040" y="4613"/>
                  <a:pt x="7030" y="4574"/>
                </a:cubicBezTo>
                <a:cubicBezTo>
                  <a:pt x="7058" y="4565"/>
                  <a:pt x="7069" y="4595"/>
                  <a:pt x="7090" y="4596"/>
                </a:cubicBezTo>
                <a:close/>
                <a:moveTo>
                  <a:pt x="7627" y="4264"/>
                </a:moveTo>
                <a:cubicBezTo>
                  <a:pt x="7655" y="4230"/>
                  <a:pt x="7660" y="4276"/>
                  <a:pt x="7685" y="4277"/>
                </a:cubicBezTo>
                <a:cubicBezTo>
                  <a:pt x="7665" y="4286"/>
                  <a:pt x="7594" y="4305"/>
                  <a:pt x="7627" y="4264"/>
                </a:cubicBezTo>
                <a:cubicBezTo>
                  <a:pt x="7655" y="4230"/>
                  <a:pt x="7622" y="4270"/>
                  <a:pt x="7627" y="4264"/>
                </a:cubicBezTo>
                <a:close/>
                <a:moveTo>
                  <a:pt x="8020" y="4362"/>
                </a:moveTo>
                <a:cubicBezTo>
                  <a:pt x="7999" y="4382"/>
                  <a:pt x="7959" y="4329"/>
                  <a:pt x="7947" y="4319"/>
                </a:cubicBezTo>
                <a:cubicBezTo>
                  <a:pt x="7914" y="4290"/>
                  <a:pt x="7891" y="4301"/>
                  <a:pt x="7936" y="4264"/>
                </a:cubicBezTo>
                <a:cubicBezTo>
                  <a:pt x="7969" y="4237"/>
                  <a:pt x="8014" y="4241"/>
                  <a:pt x="8038" y="4277"/>
                </a:cubicBezTo>
                <a:cubicBezTo>
                  <a:pt x="8086" y="4349"/>
                  <a:pt x="8025" y="4300"/>
                  <a:pt x="8000" y="4323"/>
                </a:cubicBezTo>
                <a:cubicBezTo>
                  <a:pt x="7994" y="4344"/>
                  <a:pt x="8042" y="4340"/>
                  <a:pt x="8020" y="4362"/>
                </a:cubicBezTo>
                <a:cubicBezTo>
                  <a:pt x="8004" y="4377"/>
                  <a:pt x="8042" y="4340"/>
                  <a:pt x="8020" y="4362"/>
                </a:cubicBezTo>
                <a:close/>
                <a:moveTo>
                  <a:pt x="7914" y="4425"/>
                </a:moveTo>
                <a:cubicBezTo>
                  <a:pt x="7897" y="4448"/>
                  <a:pt x="7864" y="4419"/>
                  <a:pt x="7838" y="4428"/>
                </a:cubicBezTo>
                <a:cubicBezTo>
                  <a:pt x="7865" y="4419"/>
                  <a:pt x="7891" y="4431"/>
                  <a:pt x="7914" y="4425"/>
                </a:cubicBezTo>
                <a:cubicBezTo>
                  <a:pt x="7900" y="4443"/>
                  <a:pt x="7900" y="4429"/>
                  <a:pt x="7914" y="4425"/>
                </a:cubicBezTo>
                <a:close/>
                <a:moveTo>
                  <a:pt x="8104" y="4173"/>
                </a:moveTo>
                <a:cubicBezTo>
                  <a:pt x="8125" y="4140"/>
                  <a:pt x="8218" y="4137"/>
                  <a:pt x="8257" y="4129"/>
                </a:cubicBezTo>
                <a:cubicBezTo>
                  <a:pt x="8346" y="4112"/>
                  <a:pt x="8420" y="4148"/>
                  <a:pt x="8505" y="4148"/>
                </a:cubicBezTo>
                <a:cubicBezTo>
                  <a:pt x="8572" y="4148"/>
                  <a:pt x="8636" y="4127"/>
                  <a:pt x="8707" y="4131"/>
                </a:cubicBezTo>
                <a:cubicBezTo>
                  <a:pt x="8806" y="4136"/>
                  <a:pt x="8905" y="4130"/>
                  <a:pt x="9004" y="4135"/>
                </a:cubicBezTo>
                <a:cubicBezTo>
                  <a:pt x="9043" y="4137"/>
                  <a:pt x="9080" y="4133"/>
                  <a:pt x="9119" y="4132"/>
                </a:cubicBezTo>
                <a:cubicBezTo>
                  <a:pt x="9155" y="4132"/>
                  <a:pt x="9190" y="4149"/>
                  <a:pt x="9224" y="4148"/>
                </a:cubicBezTo>
                <a:cubicBezTo>
                  <a:pt x="9257" y="4148"/>
                  <a:pt x="9334" y="4105"/>
                  <a:pt x="9358" y="4141"/>
                </a:cubicBezTo>
                <a:cubicBezTo>
                  <a:pt x="9390" y="4189"/>
                  <a:pt x="9274" y="4199"/>
                  <a:pt x="9250" y="4198"/>
                </a:cubicBezTo>
                <a:cubicBezTo>
                  <a:pt x="9181" y="4196"/>
                  <a:pt x="9131" y="4207"/>
                  <a:pt x="9062" y="4233"/>
                </a:cubicBezTo>
                <a:cubicBezTo>
                  <a:pt x="9082" y="4249"/>
                  <a:pt x="9106" y="4229"/>
                  <a:pt x="9126" y="4250"/>
                </a:cubicBezTo>
                <a:cubicBezTo>
                  <a:pt x="9093" y="4268"/>
                  <a:pt x="9049" y="4296"/>
                  <a:pt x="9023" y="4279"/>
                </a:cubicBezTo>
                <a:cubicBezTo>
                  <a:pt x="9021" y="4278"/>
                  <a:pt x="9025" y="4251"/>
                  <a:pt x="9018" y="4243"/>
                </a:cubicBezTo>
                <a:cubicBezTo>
                  <a:pt x="9010" y="4235"/>
                  <a:pt x="8982" y="4238"/>
                  <a:pt x="8972" y="4236"/>
                </a:cubicBezTo>
                <a:cubicBezTo>
                  <a:pt x="8979" y="4213"/>
                  <a:pt x="9005" y="4223"/>
                  <a:pt x="9015" y="4205"/>
                </a:cubicBezTo>
                <a:cubicBezTo>
                  <a:pt x="8959" y="4164"/>
                  <a:pt x="8880" y="4192"/>
                  <a:pt x="8819" y="4196"/>
                </a:cubicBezTo>
                <a:cubicBezTo>
                  <a:pt x="8731" y="4203"/>
                  <a:pt x="8775" y="4196"/>
                  <a:pt x="8792" y="4258"/>
                </a:cubicBezTo>
                <a:cubicBezTo>
                  <a:pt x="8726" y="4179"/>
                  <a:pt x="8665" y="4266"/>
                  <a:pt x="8594" y="4238"/>
                </a:cubicBezTo>
                <a:cubicBezTo>
                  <a:pt x="8575" y="4230"/>
                  <a:pt x="8597" y="4183"/>
                  <a:pt x="8557" y="4204"/>
                </a:cubicBezTo>
                <a:cubicBezTo>
                  <a:pt x="8527" y="4221"/>
                  <a:pt x="8560" y="4258"/>
                  <a:pt x="8519" y="4246"/>
                </a:cubicBezTo>
                <a:cubicBezTo>
                  <a:pt x="8494" y="4238"/>
                  <a:pt x="8490" y="4205"/>
                  <a:pt x="8456" y="4201"/>
                </a:cubicBezTo>
                <a:cubicBezTo>
                  <a:pt x="8415" y="4196"/>
                  <a:pt x="8408" y="4231"/>
                  <a:pt x="8379" y="4239"/>
                </a:cubicBezTo>
                <a:cubicBezTo>
                  <a:pt x="8355" y="4245"/>
                  <a:pt x="8321" y="4229"/>
                  <a:pt x="8298" y="4241"/>
                </a:cubicBezTo>
                <a:cubicBezTo>
                  <a:pt x="8248" y="4266"/>
                  <a:pt x="8293" y="4262"/>
                  <a:pt x="8297" y="4287"/>
                </a:cubicBezTo>
                <a:cubicBezTo>
                  <a:pt x="8260" y="4287"/>
                  <a:pt x="8225" y="4313"/>
                  <a:pt x="8195" y="4311"/>
                </a:cubicBezTo>
                <a:cubicBezTo>
                  <a:pt x="8176" y="4310"/>
                  <a:pt x="8153" y="4281"/>
                  <a:pt x="8135" y="4275"/>
                </a:cubicBezTo>
                <a:cubicBezTo>
                  <a:pt x="8119" y="4270"/>
                  <a:pt x="8083" y="4278"/>
                  <a:pt x="8074" y="4269"/>
                </a:cubicBezTo>
                <a:cubicBezTo>
                  <a:pt x="8039" y="4237"/>
                  <a:pt x="8171" y="4256"/>
                  <a:pt x="8104" y="4173"/>
                </a:cubicBezTo>
                <a:cubicBezTo>
                  <a:pt x="8131" y="4131"/>
                  <a:pt x="8148" y="4228"/>
                  <a:pt x="8104" y="4173"/>
                </a:cubicBezTo>
                <a:close/>
                <a:moveTo>
                  <a:pt x="8500" y="3542"/>
                </a:moveTo>
                <a:cubicBezTo>
                  <a:pt x="8535" y="3549"/>
                  <a:pt x="8564" y="3491"/>
                  <a:pt x="8601" y="3512"/>
                </a:cubicBezTo>
                <a:cubicBezTo>
                  <a:pt x="8645" y="3537"/>
                  <a:pt x="8560" y="3566"/>
                  <a:pt x="8566" y="3609"/>
                </a:cubicBezTo>
                <a:cubicBezTo>
                  <a:pt x="8530" y="3572"/>
                  <a:pt x="8465" y="3609"/>
                  <a:pt x="8423" y="3576"/>
                </a:cubicBezTo>
                <a:cubicBezTo>
                  <a:pt x="8439" y="3548"/>
                  <a:pt x="8471" y="3547"/>
                  <a:pt x="8500" y="3542"/>
                </a:cubicBezTo>
                <a:cubicBezTo>
                  <a:pt x="8509" y="3544"/>
                  <a:pt x="8471" y="3547"/>
                  <a:pt x="8500" y="3542"/>
                </a:cubicBezTo>
                <a:close/>
                <a:moveTo>
                  <a:pt x="8401" y="3476"/>
                </a:moveTo>
                <a:cubicBezTo>
                  <a:pt x="8401" y="3498"/>
                  <a:pt x="8412" y="3511"/>
                  <a:pt x="8436" y="3513"/>
                </a:cubicBezTo>
                <a:cubicBezTo>
                  <a:pt x="8412" y="3511"/>
                  <a:pt x="8401" y="3498"/>
                  <a:pt x="8401" y="3476"/>
                </a:cubicBezTo>
                <a:close/>
                <a:moveTo>
                  <a:pt x="9135" y="3512"/>
                </a:moveTo>
                <a:cubicBezTo>
                  <a:pt x="9143" y="3437"/>
                  <a:pt x="9184" y="3538"/>
                  <a:pt x="9189" y="3542"/>
                </a:cubicBezTo>
                <a:cubicBezTo>
                  <a:pt x="9215" y="3561"/>
                  <a:pt x="9279" y="3542"/>
                  <a:pt x="9285" y="3524"/>
                </a:cubicBezTo>
                <a:cubicBezTo>
                  <a:pt x="9272" y="3564"/>
                  <a:pt x="9310" y="3534"/>
                  <a:pt x="9327" y="3546"/>
                </a:cubicBezTo>
                <a:cubicBezTo>
                  <a:pt x="9337" y="3553"/>
                  <a:pt x="9331" y="3569"/>
                  <a:pt x="9343" y="3574"/>
                </a:cubicBezTo>
                <a:cubicBezTo>
                  <a:pt x="9378" y="3587"/>
                  <a:pt x="9460" y="3596"/>
                  <a:pt x="9482" y="3558"/>
                </a:cubicBezTo>
                <a:cubicBezTo>
                  <a:pt x="9473" y="3573"/>
                  <a:pt x="9460" y="3581"/>
                  <a:pt x="9443" y="3585"/>
                </a:cubicBezTo>
                <a:cubicBezTo>
                  <a:pt x="9446" y="3589"/>
                  <a:pt x="9478" y="3687"/>
                  <a:pt x="9480" y="3680"/>
                </a:cubicBezTo>
                <a:cubicBezTo>
                  <a:pt x="9476" y="3697"/>
                  <a:pt x="9420" y="3729"/>
                  <a:pt x="9405" y="3731"/>
                </a:cubicBezTo>
                <a:cubicBezTo>
                  <a:pt x="9369" y="3735"/>
                  <a:pt x="9356" y="3702"/>
                  <a:pt x="9316" y="3707"/>
                </a:cubicBezTo>
                <a:cubicBezTo>
                  <a:pt x="9282" y="3711"/>
                  <a:pt x="9272" y="3774"/>
                  <a:pt x="9225" y="3735"/>
                </a:cubicBezTo>
                <a:cubicBezTo>
                  <a:pt x="9201" y="3715"/>
                  <a:pt x="9217" y="3681"/>
                  <a:pt x="9200" y="3661"/>
                </a:cubicBezTo>
                <a:cubicBezTo>
                  <a:pt x="9190" y="3650"/>
                  <a:pt x="9182" y="3649"/>
                  <a:pt x="9172" y="3640"/>
                </a:cubicBezTo>
                <a:cubicBezTo>
                  <a:pt x="9178" y="3646"/>
                  <a:pt x="9134" y="3622"/>
                  <a:pt x="9141" y="3624"/>
                </a:cubicBezTo>
                <a:cubicBezTo>
                  <a:pt x="9083" y="3613"/>
                  <a:pt x="8961" y="3661"/>
                  <a:pt x="8904" y="3614"/>
                </a:cubicBezTo>
                <a:cubicBezTo>
                  <a:pt x="8993" y="3620"/>
                  <a:pt x="9077" y="3546"/>
                  <a:pt x="9166" y="3553"/>
                </a:cubicBezTo>
                <a:cubicBezTo>
                  <a:pt x="9146" y="3546"/>
                  <a:pt x="9136" y="3532"/>
                  <a:pt x="9135" y="3512"/>
                </a:cubicBezTo>
                <a:cubicBezTo>
                  <a:pt x="9136" y="3500"/>
                  <a:pt x="9133" y="3534"/>
                  <a:pt x="9135" y="3512"/>
                </a:cubicBezTo>
                <a:close/>
                <a:moveTo>
                  <a:pt x="9644" y="3928"/>
                </a:moveTo>
                <a:cubicBezTo>
                  <a:pt x="9681" y="3926"/>
                  <a:pt x="9727" y="3880"/>
                  <a:pt x="9745" y="3913"/>
                </a:cubicBezTo>
                <a:cubicBezTo>
                  <a:pt x="9753" y="3928"/>
                  <a:pt x="9717" y="3924"/>
                  <a:pt x="9721" y="3942"/>
                </a:cubicBezTo>
                <a:cubicBezTo>
                  <a:pt x="9724" y="3956"/>
                  <a:pt x="9735" y="3958"/>
                  <a:pt x="9737" y="3973"/>
                </a:cubicBezTo>
                <a:cubicBezTo>
                  <a:pt x="9737" y="3973"/>
                  <a:pt x="9774" y="3975"/>
                  <a:pt x="9759" y="3995"/>
                </a:cubicBezTo>
                <a:cubicBezTo>
                  <a:pt x="9745" y="4015"/>
                  <a:pt x="9730" y="3981"/>
                  <a:pt x="9727" y="3982"/>
                </a:cubicBezTo>
                <a:cubicBezTo>
                  <a:pt x="9687" y="3997"/>
                  <a:pt x="9702" y="4041"/>
                  <a:pt x="9652" y="4035"/>
                </a:cubicBezTo>
                <a:cubicBezTo>
                  <a:pt x="9654" y="4017"/>
                  <a:pt x="9678" y="4033"/>
                  <a:pt x="9678" y="4010"/>
                </a:cubicBezTo>
                <a:cubicBezTo>
                  <a:pt x="9664" y="4008"/>
                  <a:pt x="9650" y="4006"/>
                  <a:pt x="9637" y="4004"/>
                </a:cubicBezTo>
                <a:cubicBezTo>
                  <a:pt x="9633" y="3979"/>
                  <a:pt x="9665" y="3967"/>
                  <a:pt x="9643" y="3942"/>
                </a:cubicBezTo>
                <a:cubicBezTo>
                  <a:pt x="9636" y="3943"/>
                  <a:pt x="9604" y="3984"/>
                  <a:pt x="9597" y="3989"/>
                </a:cubicBezTo>
                <a:cubicBezTo>
                  <a:pt x="9604" y="3984"/>
                  <a:pt x="9601" y="3960"/>
                  <a:pt x="9591" y="3963"/>
                </a:cubicBezTo>
                <a:cubicBezTo>
                  <a:pt x="9579" y="3967"/>
                  <a:pt x="9580" y="3990"/>
                  <a:pt x="9568" y="3998"/>
                </a:cubicBezTo>
                <a:cubicBezTo>
                  <a:pt x="9535" y="4019"/>
                  <a:pt x="9506" y="4024"/>
                  <a:pt x="9467" y="4018"/>
                </a:cubicBezTo>
                <a:cubicBezTo>
                  <a:pt x="9510" y="3961"/>
                  <a:pt x="9574" y="3933"/>
                  <a:pt x="9644" y="3928"/>
                </a:cubicBezTo>
                <a:cubicBezTo>
                  <a:pt x="9670" y="3927"/>
                  <a:pt x="9572" y="3933"/>
                  <a:pt x="9644" y="3928"/>
                </a:cubicBezTo>
                <a:close/>
                <a:moveTo>
                  <a:pt x="9586" y="3839"/>
                </a:moveTo>
                <a:cubicBezTo>
                  <a:pt x="9598" y="3846"/>
                  <a:pt x="9599" y="3837"/>
                  <a:pt x="9607" y="3832"/>
                </a:cubicBezTo>
                <a:cubicBezTo>
                  <a:pt x="9639" y="3808"/>
                  <a:pt x="9580" y="3805"/>
                  <a:pt x="9647" y="3797"/>
                </a:cubicBezTo>
                <a:cubicBezTo>
                  <a:pt x="9605" y="3802"/>
                  <a:pt x="9633" y="3814"/>
                  <a:pt x="9607" y="3832"/>
                </a:cubicBezTo>
                <a:cubicBezTo>
                  <a:pt x="9599" y="3837"/>
                  <a:pt x="9600" y="3848"/>
                  <a:pt x="9586" y="3839"/>
                </a:cubicBezTo>
                <a:cubicBezTo>
                  <a:pt x="9599" y="3847"/>
                  <a:pt x="9599" y="3847"/>
                  <a:pt x="9586" y="3839"/>
                </a:cubicBezTo>
                <a:close/>
                <a:moveTo>
                  <a:pt x="9925" y="3812"/>
                </a:moveTo>
                <a:cubicBezTo>
                  <a:pt x="9945" y="3797"/>
                  <a:pt x="9972" y="3816"/>
                  <a:pt x="9992" y="3824"/>
                </a:cubicBezTo>
                <a:cubicBezTo>
                  <a:pt x="9982" y="3794"/>
                  <a:pt x="9966" y="3722"/>
                  <a:pt x="9980" y="3693"/>
                </a:cubicBezTo>
                <a:cubicBezTo>
                  <a:pt x="9990" y="3673"/>
                  <a:pt x="10017" y="3645"/>
                  <a:pt x="10030" y="3686"/>
                </a:cubicBezTo>
                <a:cubicBezTo>
                  <a:pt x="10037" y="3708"/>
                  <a:pt x="9996" y="3743"/>
                  <a:pt x="10009" y="3774"/>
                </a:cubicBezTo>
                <a:cubicBezTo>
                  <a:pt x="10019" y="3800"/>
                  <a:pt x="10050" y="3814"/>
                  <a:pt x="10070" y="3813"/>
                </a:cubicBezTo>
                <a:cubicBezTo>
                  <a:pt x="10090" y="3839"/>
                  <a:pt x="10117" y="3842"/>
                  <a:pt x="10147" y="3846"/>
                </a:cubicBezTo>
                <a:cubicBezTo>
                  <a:pt x="10169" y="3849"/>
                  <a:pt x="10185" y="3840"/>
                  <a:pt x="10208" y="3849"/>
                </a:cubicBezTo>
                <a:cubicBezTo>
                  <a:pt x="10233" y="3859"/>
                  <a:pt x="10232" y="3872"/>
                  <a:pt x="10250" y="3885"/>
                </a:cubicBezTo>
                <a:cubicBezTo>
                  <a:pt x="10270" y="3897"/>
                  <a:pt x="10321" y="3910"/>
                  <a:pt x="10328" y="3929"/>
                </a:cubicBezTo>
                <a:cubicBezTo>
                  <a:pt x="10342" y="3968"/>
                  <a:pt x="10288" y="3932"/>
                  <a:pt x="10279" y="3945"/>
                </a:cubicBezTo>
                <a:cubicBezTo>
                  <a:pt x="10281" y="3942"/>
                  <a:pt x="10310" y="3974"/>
                  <a:pt x="10309" y="3974"/>
                </a:cubicBezTo>
                <a:cubicBezTo>
                  <a:pt x="10329" y="3983"/>
                  <a:pt x="10371" y="3956"/>
                  <a:pt x="10374" y="3986"/>
                </a:cubicBezTo>
                <a:cubicBezTo>
                  <a:pt x="10376" y="4020"/>
                  <a:pt x="10291" y="4020"/>
                  <a:pt x="10307" y="3976"/>
                </a:cubicBezTo>
                <a:cubicBezTo>
                  <a:pt x="10289" y="3988"/>
                  <a:pt x="10300" y="4024"/>
                  <a:pt x="10276" y="4040"/>
                </a:cubicBezTo>
                <a:cubicBezTo>
                  <a:pt x="10277" y="3995"/>
                  <a:pt x="10222" y="4025"/>
                  <a:pt x="10220" y="3995"/>
                </a:cubicBezTo>
                <a:cubicBezTo>
                  <a:pt x="10235" y="3993"/>
                  <a:pt x="10261" y="3999"/>
                  <a:pt x="10262" y="3976"/>
                </a:cubicBezTo>
                <a:cubicBezTo>
                  <a:pt x="10232" y="3972"/>
                  <a:pt x="10207" y="3966"/>
                  <a:pt x="10178" y="3962"/>
                </a:cubicBezTo>
                <a:cubicBezTo>
                  <a:pt x="10159" y="3961"/>
                  <a:pt x="10140" y="3959"/>
                  <a:pt x="10122" y="3957"/>
                </a:cubicBezTo>
                <a:cubicBezTo>
                  <a:pt x="10110" y="3935"/>
                  <a:pt x="10099" y="3935"/>
                  <a:pt x="10088" y="3957"/>
                </a:cubicBezTo>
                <a:cubicBezTo>
                  <a:pt x="10077" y="3958"/>
                  <a:pt x="10066" y="3960"/>
                  <a:pt x="10055" y="3961"/>
                </a:cubicBezTo>
                <a:cubicBezTo>
                  <a:pt x="10041" y="3966"/>
                  <a:pt x="10035" y="3960"/>
                  <a:pt x="10038" y="3940"/>
                </a:cubicBezTo>
                <a:cubicBezTo>
                  <a:pt x="10008" y="3923"/>
                  <a:pt x="10005" y="3896"/>
                  <a:pt x="9963" y="3891"/>
                </a:cubicBezTo>
                <a:cubicBezTo>
                  <a:pt x="9935" y="3888"/>
                  <a:pt x="9818" y="3919"/>
                  <a:pt x="9818" y="3857"/>
                </a:cubicBezTo>
                <a:cubicBezTo>
                  <a:pt x="9818" y="3828"/>
                  <a:pt x="9907" y="3821"/>
                  <a:pt x="9925" y="3812"/>
                </a:cubicBezTo>
                <a:close/>
                <a:moveTo>
                  <a:pt x="10376" y="4041"/>
                </a:moveTo>
                <a:cubicBezTo>
                  <a:pt x="10374" y="4072"/>
                  <a:pt x="10335" y="4061"/>
                  <a:pt x="10344" y="4021"/>
                </a:cubicBezTo>
                <a:cubicBezTo>
                  <a:pt x="10357" y="4024"/>
                  <a:pt x="10368" y="4031"/>
                  <a:pt x="10376" y="4041"/>
                </a:cubicBezTo>
                <a:cubicBezTo>
                  <a:pt x="10374" y="4065"/>
                  <a:pt x="10367" y="4032"/>
                  <a:pt x="10376" y="4041"/>
                </a:cubicBezTo>
                <a:close/>
                <a:moveTo>
                  <a:pt x="10077" y="4007"/>
                </a:moveTo>
                <a:cubicBezTo>
                  <a:pt x="10077" y="4013"/>
                  <a:pt x="10080" y="4034"/>
                  <a:pt x="10077" y="4007"/>
                </a:cubicBezTo>
                <a:cubicBezTo>
                  <a:pt x="10077" y="4007"/>
                  <a:pt x="10078" y="4011"/>
                  <a:pt x="10077" y="4007"/>
                </a:cubicBezTo>
                <a:close/>
                <a:moveTo>
                  <a:pt x="10011" y="3941"/>
                </a:moveTo>
                <a:cubicBezTo>
                  <a:pt x="10012" y="3939"/>
                  <a:pt x="10013" y="3937"/>
                  <a:pt x="10014" y="3934"/>
                </a:cubicBezTo>
                <a:cubicBezTo>
                  <a:pt x="10021" y="3941"/>
                  <a:pt x="10013" y="3939"/>
                  <a:pt x="10011" y="3941"/>
                </a:cubicBezTo>
                <a:close/>
                <a:moveTo>
                  <a:pt x="9757" y="3842"/>
                </a:moveTo>
                <a:cubicBezTo>
                  <a:pt x="9779" y="3842"/>
                  <a:pt x="9797" y="3799"/>
                  <a:pt x="9814" y="3799"/>
                </a:cubicBezTo>
                <a:cubicBezTo>
                  <a:pt x="9812" y="3811"/>
                  <a:pt x="9767" y="3842"/>
                  <a:pt x="9757" y="3842"/>
                </a:cubicBezTo>
                <a:cubicBezTo>
                  <a:pt x="9768" y="3842"/>
                  <a:pt x="9768" y="3842"/>
                  <a:pt x="9757" y="3842"/>
                </a:cubicBezTo>
                <a:close/>
                <a:moveTo>
                  <a:pt x="9144" y="4510"/>
                </a:moveTo>
                <a:cubicBezTo>
                  <a:pt x="9104" y="4457"/>
                  <a:pt x="9233" y="4488"/>
                  <a:pt x="9235" y="4489"/>
                </a:cubicBezTo>
                <a:cubicBezTo>
                  <a:pt x="9275" y="4498"/>
                  <a:pt x="9332" y="4493"/>
                  <a:pt x="9352" y="4536"/>
                </a:cubicBezTo>
                <a:cubicBezTo>
                  <a:pt x="9281" y="4527"/>
                  <a:pt x="9192" y="4573"/>
                  <a:pt x="9144" y="4510"/>
                </a:cubicBezTo>
                <a:cubicBezTo>
                  <a:pt x="9139" y="4502"/>
                  <a:pt x="9158" y="4527"/>
                  <a:pt x="9144" y="4510"/>
                </a:cubicBezTo>
                <a:close/>
                <a:moveTo>
                  <a:pt x="9147" y="4599"/>
                </a:moveTo>
                <a:cubicBezTo>
                  <a:pt x="9123" y="4588"/>
                  <a:pt x="9134" y="4579"/>
                  <a:pt x="9131" y="4573"/>
                </a:cubicBezTo>
                <a:cubicBezTo>
                  <a:pt x="9124" y="4559"/>
                  <a:pt x="9188" y="4604"/>
                  <a:pt x="9147" y="4599"/>
                </a:cubicBezTo>
                <a:cubicBezTo>
                  <a:pt x="9138" y="4595"/>
                  <a:pt x="9154" y="4600"/>
                  <a:pt x="9147" y="4599"/>
                </a:cubicBezTo>
                <a:close/>
                <a:moveTo>
                  <a:pt x="9315" y="4712"/>
                </a:moveTo>
                <a:cubicBezTo>
                  <a:pt x="9318" y="4686"/>
                  <a:pt x="9457" y="4717"/>
                  <a:pt x="9473" y="4719"/>
                </a:cubicBezTo>
                <a:cubicBezTo>
                  <a:pt x="9451" y="4729"/>
                  <a:pt x="9309" y="4759"/>
                  <a:pt x="9315" y="4712"/>
                </a:cubicBezTo>
                <a:cubicBezTo>
                  <a:pt x="9317" y="4697"/>
                  <a:pt x="9313" y="4727"/>
                  <a:pt x="9315" y="4712"/>
                </a:cubicBezTo>
                <a:close/>
                <a:moveTo>
                  <a:pt x="9341" y="3830"/>
                </a:moveTo>
                <a:cubicBezTo>
                  <a:pt x="9341" y="3819"/>
                  <a:pt x="9341" y="3809"/>
                  <a:pt x="9341" y="3799"/>
                </a:cubicBezTo>
                <a:cubicBezTo>
                  <a:pt x="9349" y="3805"/>
                  <a:pt x="9349" y="3815"/>
                  <a:pt x="9341" y="3830"/>
                </a:cubicBezTo>
                <a:close/>
                <a:moveTo>
                  <a:pt x="9349" y="3875"/>
                </a:moveTo>
                <a:cubicBezTo>
                  <a:pt x="9357" y="3882"/>
                  <a:pt x="9366" y="3889"/>
                  <a:pt x="9374" y="3896"/>
                </a:cubicBezTo>
                <a:cubicBezTo>
                  <a:pt x="9336" y="3874"/>
                  <a:pt x="9327" y="3882"/>
                  <a:pt x="9283" y="3875"/>
                </a:cubicBezTo>
                <a:cubicBezTo>
                  <a:pt x="9309" y="3882"/>
                  <a:pt x="9324" y="3880"/>
                  <a:pt x="9349" y="3875"/>
                </a:cubicBezTo>
                <a:cubicBezTo>
                  <a:pt x="9357" y="3884"/>
                  <a:pt x="9342" y="3877"/>
                  <a:pt x="9349" y="3875"/>
                </a:cubicBezTo>
                <a:close/>
                <a:moveTo>
                  <a:pt x="9425" y="4096"/>
                </a:moveTo>
                <a:cubicBezTo>
                  <a:pt x="9400" y="4099"/>
                  <a:pt x="9374" y="4102"/>
                  <a:pt x="9349" y="4104"/>
                </a:cubicBezTo>
                <a:cubicBezTo>
                  <a:pt x="9374" y="4102"/>
                  <a:pt x="9400" y="4099"/>
                  <a:pt x="9425" y="4096"/>
                </a:cubicBezTo>
                <a:close/>
                <a:moveTo>
                  <a:pt x="9424" y="4024"/>
                </a:moveTo>
                <a:cubicBezTo>
                  <a:pt x="9430" y="4041"/>
                  <a:pt x="9438" y="4044"/>
                  <a:pt x="9446" y="4033"/>
                </a:cubicBezTo>
                <a:cubicBezTo>
                  <a:pt x="9438" y="4044"/>
                  <a:pt x="9430" y="4041"/>
                  <a:pt x="9424" y="4024"/>
                </a:cubicBezTo>
                <a:close/>
                <a:moveTo>
                  <a:pt x="9283" y="3875"/>
                </a:moveTo>
                <a:cubicBezTo>
                  <a:pt x="9279" y="3875"/>
                  <a:pt x="9275" y="3875"/>
                  <a:pt x="9271" y="3876"/>
                </a:cubicBezTo>
                <a:cubicBezTo>
                  <a:pt x="9275" y="3875"/>
                  <a:pt x="9279" y="3875"/>
                  <a:pt x="9283" y="3875"/>
                </a:cubicBezTo>
                <a:close/>
                <a:moveTo>
                  <a:pt x="9237" y="3842"/>
                </a:moveTo>
                <a:cubicBezTo>
                  <a:pt x="9229" y="3842"/>
                  <a:pt x="9221" y="3843"/>
                  <a:pt x="9214" y="3847"/>
                </a:cubicBezTo>
                <a:cubicBezTo>
                  <a:pt x="9221" y="3843"/>
                  <a:pt x="9229" y="3842"/>
                  <a:pt x="9237" y="3842"/>
                </a:cubicBezTo>
                <a:close/>
                <a:moveTo>
                  <a:pt x="9136" y="3777"/>
                </a:moveTo>
                <a:cubicBezTo>
                  <a:pt x="9128" y="3768"/>
                  <a:pt x="9045" y="3766"/>
                  <a:pt x="9044" y="3768"/>
                </a:cubicBezTo>
                <a:cubicBezTo>
                  <a:pt x="9014" y="3818"/>
                  <a:pt x="9089" y="3839"/>
                  <a:pt x="8998" y="3840"/>
                </a:cubicBezTo>
                <a:cubicBezTo>
                  <a:pt x="9000" y="3751"/>
                  <a:pt x="9020" y="3724"/>
                  <a:pt x="9108" y="3740"/>
                </a:cubicBezTo>
                <a:cubicBezTo>
                  <a:pt x="9133" y="3745"/>
                  <a:pt x="9163" y="3734"/>
                  <a:pt x="9177" y="3762"/>
                </a:cubicBezTo>
                <a:cubicBezTo>
                  <a:pt x="9206" y="3821"/>
                  <a:pt x="9128" y="3811"/>
                  <a:pt x="9205" y="3854"/>
                </a:cubicBezTo>
                <a:cubicBezTo>
                  <a:pt x="9161" y="3830"/>
                  <a:pt x="9156" y="3841"/>
                  <a:pt x="9116" y="3840"/>
                </a:cubicBezTo>
                <a:cubicBezTo>
                  <a:pt x="9131" y="3841"/>
                  <a:pt x="9149" y="3793"/>
                  <a:pt x="9136" y="3777"/>
                </a:cubicBezTo>
                <a:cubicBezTo>
                  <a:pt x="9120" y="3760"/>
                  <a:pt x="9150" y="3794"/>
                  <a:pt x="9136" y="3777"/>
                </a:cubicBezTo>
                <a:close/>
                <a:moveTo>
                  <a:pt x="9085" y="3875"/>
                </a:moveTo>
                <a:cubicBezTo>
                  <a:pt x="9085" y="3867"/>
                  <a:pt x="9084" y="3860"/>
                  <a:pt x="9084" y="3852"/>
                </a:cubicBezTo>
                <a:cubicBezTo>
                  <a:pt x="9091" y="3852"/>
                  <a:pt x="9092" y="3860"/>
                  <a:pt x="9085" y="3875"/>
                </a:cubicBezTo>
                <a:close/>
                <a:moveTo>
                  <a:pt x="9094" y="3710"/>
                </a:moveTo>
                <a:cubicBezTo>
                  <a:pt x="9095" y="3693"/>
                  <a:pt x="9104" y="3683"/>
                  <a:pt x="9118" y="3677"/>
                </a:cubicBezTo>
                <a:cubicBezTo>
                  <a:pt x="9120" y="3693"/>
                  <a:pt x="9123" y="3709"/>
                  <a:pt x="9094" y="3710"/>
                </a:cubicBezTo>
                <a:close/>
                <a:moveTo>
                  <a:pt x="9119" y="3676"/>
                </a:moveTo>
                <a:cubicBezTo>
                  <a:pt x="9131" y="3662"/>
                  <a:pt x="9139" y="3661"/>
                  <a:pt x="9143" y="3673"/>
                </a:cubicBezTo>
                <a:cubicBezTo>
                  <a:pt x="9135" y="3674"/>
                  <a:pt x="9127" y="3675"/>
                  <a:pt x="9119" y="3676"/>
                </a:cubicBezTo>
                <a:cubicBezTo>
                  <a:pt x="9123" y="3667"/>
                  <a:pt x="9127" y="3675"/>
                  <a:pt x="9119" y="3676"/>
                </a:cubicBezTo>
                <a:close/>
                <a:moveTo>
                  <a:pt x="8936" y="3758"/>
                </a:moveTo>
                <a:cubicBezTo>
                  <a:pt x="8951" y="3745"/>
                  <a:pt x="8969" y="3739"/>
                  <a:pt x="8989" y="3741"/>
                </a:cubicBezTo>
                <a:cubicBezTo>
                  <a:pt x="8969" y="3739"/>
                  <a:pt x="8951" y="3745"/>
                  <a:pt x="8936" y="3758"/>
                </a:cubicBezTo>
                <a:cubicBezTo>
                  <a:pt x="8978" y="3804"/>
                  <a:pt x="8915" y="3821"/>
                  <a:pt x="8876" y="3826"/>
                </a:cubicBezTo>
                <a:cubicBezTo>
                  <a:pt x="8881" y="3792"/>
                  <a:pt x="8912" y="3777"/>
                  <a:pt x="8936" y="3758"/>
                </a:cubicBezTo>
                <a:cubicBezTo>
                  <a:pt x="8952" y="3742"/>
                  <a:pt x="8912" y="3777"/>
                  <a:pt x="8936" y="3758"/>
                </a:cubicBezTo>
                <a:close/>
                <a:moveTo>
                  <a:pt x="8876" y="3841"/>
                </a:moveTo>
                <a:cubicBezTo>
                  <a:pt x="8915" y="3846"/>
                  <a:pt x="8958" y="3838"/>
                  <a:pt x="8936" y="3897"/>
                </a:cubicBezTo>
                <a:cubicBezTo>
                  <a:pt x="8949" y="3894"/>
                  <a:pt x="8971" y="3887"/>
                  <a:pt x="8985" y="3887"/>
                </a:cubicBezTo>
                <a:cubicBezTo>
                  <a:pt x="8952" y="3893"/>
                  <a:pt x="8938" y="3894"/>
                  <a:pt x="8904" y="3893"/>
                </a:cubicBezTo>
                <a:cubicBezTo>
                  <a:pt x="8905" y="3893"/>
                  <a:pt x="8834" y="3886"/>
                  <a:pt x="8837" y="3888"/>
                </a:cubicBezTo>
                <a:cubicBezTo>
                  <a:pt x="8777" y="3841"/>
                  <a:pt x="8853" y="3853"/>
                  <a:pt x="8876" y="3841"/>
                </a:cubicBezTo>
                <a:cubicBezTo>
                  <a:pt x="8909" y="3845"/>
                  <a:pt x="8856" y="3852"/>
                  <a:pt x="8876" y="3841"/>
                </a:cubicBezTo>
                <a:close/>
                <a:moveTo>
                  <a:pt x="8934" y="4098"/>
                </a:moveTo>
                <a:cubicBezTo>
                  <a:pt x="8929" y="4100"/>
                  <a:pt x="8924" y="4102"/>
                  <a:pt x="8919" y="4103"/>
                </a:cubicBezTo>
                <a:cubicBezTo>
                  <a:pt x="8924" y="4102"/>
                  <a:pt x="8929" y="4100"/>
                  <a:pt x="8934" y="4098"/>
                </a:cubicBezTo>
                <a:close/>
                <a:moveTo>
                  <a:pt x="8854" y="4095"/>
                </a:moveTo>
                <a:cubicBezTo>
                  <a:pt x="8854" y="4105"/>
                  <a:pt x="8804" y="4107"/>
                  <a:pt x="8804" y="4107"/>
                </a:cubicBezTo>
                <a:cubicBezTo>
                  <a:pt x="8822" y="4109"/>
                  <a:pt x="8839" y="4105"/>
                  <a:pt x="8854" y="4095"/>
                </a:cubicBezTo>
                <a:cubicBezTo>
                  <a:pt x="8854" y="4095"/>
                  <a:pt x="8838" y="4107"/>
                  <a:pt x="8854" y="4095"/>
                </a:cubicBezTo>
                <a:close/>
                <a:moveTo>
                  <a:pt x="8820" y="3562"/>
                </a:moveTo>
                <a:cubicBezTo>
                  <a:pt x="8811" y="3562"/>
                  <a:pt x="8802" y="3563"/>
                  <a:pt x="8793" y="3564"/>
                </a:cubicBezTo>
                <a:cubicBezTo>
                  <a:pt x="8811" y="3553"/>
                  <a:pt x="8820" y="3552"/>
                  <a:pt x="8820" y="3562"/>
                </a:cubicBezTo>
                <a:close/>
                <a:moveTo>
                  <a:pt x="9070" y="4593"/>
                </a:moveTo>
                <a:cubicBezTo>
                  <a:pt x="9044" y="4599"/>
                  <a:pt x="8991" y="4589"/>
                  <a:pt x="9013" y="4548"/>
                </a:cubicBezTo>
                <a:cubicBezTo>
                  <a:pt x="9023" y="4529"/>
                  <a:pt x="9074" y="4546"/>
                  <a:pt x="9090" y="4545"/>
                </a:cubicBezTo>
                <a:cubicBezTo>
                  <a:pt x="9093" y="4559"/>
                  <a:pt x="9093" y="4588"/>
                  <a:pt x="9070" y="4593"/>
                </a:cubicBezTo>
                <a:cubicBezTo>
                  <a:pt x="9035" y="4601"/>
                  <a:pt x="9109" y="4584"/>
                  <a:pt x="9070" y="4593"/>
                </a:cubicBezTo>
                <a:close/>
                <a:moveTo>
                  <a:pt x="8968" y="4453"/>
                </a:moveTo>
                <a:cubicBezTo>
                  <a:pt x="9043" y="4373"/>
                  <a:pt x="9043" y="4373"/>
                  <a:pt x="9121" y="4444"/>
                </a:cubicBezTo>
                <a:cubicBezTo>
                  <a:pt x="9064" y="4447"/>
                  <a:pt x="9019" y="4471"/>
                  <a:pt x="8968" y="4453"/>
                </a:cubicBezTo>
                <a:close/>
                <a:moveTo>
                  <a:pt x="8956" y="4329"/>
                </a:moveTo>
                <a:cubicBezTo>
                  <a:pt x="8961" y="4314"/>
                  <a:pt x="9057" y="4319"/>
                  <a:pt x="9077" y="4313"/>
                </a:cubicBezTo>
                <a:cubicBezTo>
                  <a:pt x="9059" y="4345"/>
                  <a:pt x="8936" y="4383"/>
                  <a:pt x="8956" y="4329"/>
                </a:cubicBezTo>
                <a:cubicBezTo>
                  <a:pt x="8961" y="4314"/>
                  <a:pt x="8952" y="4340"/>
                  <a:pt x="8956" y="4329"/>
                </a:cubicBezTo>
                <a:close/>
                <a:moveTo>
                  <a:pt x="8940" y="4300"/>
                </a:moveTo>
                <a:cubicBezTo>
                  <a:pt x="8950" y="4292"/>
                  <a:pt x="8960" y="4291"/>
                  <a:pt x="8970" y="4297"/>
                </a:cubicBezTo>
                <a:cubicBezTo>
                  <a:pt x="8975" y="4313"/>
                  <a:pt x="8941" y="4300"/>
                  <a:pt x="8940" y="4300"/>
                </a:cubicBezTo>
                <a:cubicBezTo>
                  <a:pt x="8951" y="4291"/>
                  <a:pt x="8946" y="4301"/>
                  <a:pt x="8940" y="4300"/>
                </a:cubicBezTo>
                <a:close/>
                <a:moveTo>
                  <a:pt x="8328" y="4570"/>
                </a:moveTo>
                <a:cubicBezTo>
                  <a:pt x="8344" y="4570"/>
                  <a:pt x="8532" y="4565"/>
                  <a:pt x="8473" y="4601"/>
                </a:cubicBezTo>
                <a:cubicBezTo>
                  <a:pt x="8440" y="4622"/>
                  <a:pt x="8352" y="4598"/>
                  <a:pt x="8328" y="4570"/>
                </a:cubicBezTo>
                <a:cubicBezTo>
                  <a:pt x="8376" y="4570"/>
                  <a:pt x="8353" y="4599"/>
                  <a:pt x="8328" y="4570"/>
                </a:cubicBezTo>
                <a:close/>
                <a:moveTo>
                  <a:pt x="8346" y="4772"/>
                </a:moveTo>
                <a:cubicBezTo>
                  <a:pt x="8293" y="4777"/>
                  <a:pt x="8205" y="4840"/>
                  <a:pt x="8188" y="4748"/>
                </a:cubicBezTo>
                <a:cubicBezTo>
                  <a:pt x="8237" y="4773"/>
                  <a:pt x="8293" y="4766"/>
                  <a:pt x="8346" y="4772"/>
                </a:cubicBezTo>
                <a:cubicBezTo>
                  <a:pt x="8294" y="4777"/>
                  <a:pt x="8293" y="4766"/>
                  <a:pt x="8346" y="4772"/>
                </a:cubicBezTo>
                <a:close/>
                <a:moveTo>
                  <a:pt x="8439" y="4464"/>
                </a:moveTo>
                <a:cubicBezTo>
                  <a:pt x="8408" y="4479"/>
                  <a:pt x="8483" y="4539"/>
                  <a:pt x="8403" y="4538"/>
                </a:cubicBezTo>
                <a:cubicBezTo>
                  <a:pt x="8412" y="4538"/>
                  <a:pt x="8315" y="4481"/>
                  <a:pt x="8319" y="4492"/>
                </a:cubicBezTo>
                <a:cubicBezTo>
                  <a:pt x="8308" y="4462"/>
                  <a:pt x="8373" y="4488"/>
                  <a:pt x="8382" y="4479"/>
                </a:cubicBezTo>
                <a:cubicBezTo>
                  <a:pt x="8423" y="4437"/>
                  <a:pt x="8276" y="4428"/>
                  <a:pt x="8258" y="4437"/>
                </a:cubicBezTo>
                <a:cubicBezTo>
                  <a:pt x="8251" y="4376"/>
                  <a:pt x="8515" y="4390"/>
                  <a:pt x="8565" y="4397"/>
                </a:cubicBezTo>
                <a:cubicBezTo>
                  <a:pt x="8616" y="4404"/>
                  <a:pt x="8634" y="4400"/>
                  <a:pt x="8655" y="4441"/>
                </a:cubicBezTo>
                <a:cubicBezTo>
                  <a:pt x="8666" y="4462"/>
                  <a:pt x="8652" y="4495"/>
                  <a:pt x="8687" y="4503"/>
                </a:cubicBezTo>
                <a:cubicBezTo>
                  <a:pt x="8674" y="4556"/>
                  <a:pt x="8553" y="4515"/>
                  <a:pt x="8528" y="4502"/>
                </a:cubicBezTo>
                <a:cubicBezTo>
                  <a:pt x="8476" y="4476"/>
                  <a:pt x="8525" y="4480"/>
                  <a:pt x="8507" y="4459"/>
                </a:cubicBezTo>
                <a:cubicBezTo>
                  <a:pt x="8487" y="4435"/>
                  <a:pt x="8476" y="4445"/>
                  <a:pt x="8439" y="4464"/>
                </a:cubicBezTo>
                <a:cubicBezTo>
                  <a:pt x="8422" y="4472"/>
                  <a:pt x="8459" y="4453"/>
                  <a:pt x="8439" y="4464"/>
                </a:cubicBezTo>
                <a:close/>
                <a:moveTo>
                  <a:pt x="8342" y="4255"/>
                </a:moveTo>
                <a:cubicBezTo>
                  <a:pt x="8383" y="4226"/>
                  <a:pt x="8413" y="4313"/>
                  <a:pt x="8358" y="4305"/>
                </a:cubicBezTo>
                <a:cubicBezTo>
                  <a:pt x="8347" y="4303"/>
                  <a:pt x="8322" y="4269"/>
                  <a:pt x="8342" y="4255"/>
                </a:cubicBezTo>
                <a:cubicBezTo>
                  <a:pt x="8358" y="4244"/>
                  <a:pt x="8301" y="4284"/>
                  <a:pt x="8342" y="4255"/>
                </a:cubicBezTo>
                <a:close/>
                <a:moveTo>
                  <a:pt x="8357" y="4305"/>
                </a:moveTo>
                <a:cubicBezTo>
                  <a:pt x="8348" y="4315"/>
                  <a:pt x="8338" y="4319"/>
                  <a:pt x="8324" y="4311"/>
                </a:cubicBezTo>
                <a:cubicBezTo>
                  <a:pt x="8334" y="4300"/>
                  <a:pt x="8346" y="4308"/>
                  <a:pt x="8357" y="4305"/>
                </a:cubicBezTo>
                <a:close/>
                <a:moveTo>
                  <a:pt x="8452" y="4279"/>
                </a:moveTo>
                <a:cubicBezTo>
                  <a:pt x="8474" y="4283"/>
                  <a:pt x="8503" y="4283"/>
                  <a:pt x="8522" y="4303"/>
                </a:cubicBezTo>
                <a:cubicBezTo>
                  <a:pt x="8479" y="4302"/>
                  <a:pt x="8481" y="4307"/>
                  <a:pt x="8452" y="4279"/>
                </a:cubicBezTo>
                <a:cubicBezTo>
                  <a:pt x="8453" y="4279"/>
                  <a:pt x="8454" y="4280"/>
                  <a:pt x="8452" y="4279"/>
                </a:cubicBezTo>
                <a:close/>
                <a:moveTo>
                  <a:pt x="8535" y="4283"/>
                </a:moveTo>
                <a:cubicBezTo>
                  <a:pt x="8555" y="4266"/>
                  <a:pt x="8569" y="4269"/>
                  <a:pt x="8588" y="4280"/>
                </a:cubicBezTo>
                <a:cubicBezTo>
                  <a:pt x="8570" y="4298"/>
                  <a:pt x="8556" y="4298"/>
                  <a:pt x="8535" y="4283"/>
                </a:cubicBezTo>
                <a:close/>
                <a:moveTo>
                  <a:pt x="8524" y="4770"/>
                </a:moveTo>
                <a:cubicBezTo>
                  <a:pt x="8558" y="4769"/>
                  <a:pt x="8563" y="4758"/>
                  <a:pt x="8589" y="4754"/>
                </a:cubicBezTo>
                <a:cubicBezTo>
                  <a:pt x="8587" y="4746"/>
                  <a:pt x="8590" y="4741"/>
                  <a:pt x="8597" y="4739"/>
                </a:cubicBezTo>
                <a:cubicBezTo>
                  <a:pt x="8604" y="4732"/>
                  <a:pt x="8611" y="4736"/>
                  <a:pt x="8617" y="4750"/>
                </a:cubicBezTo>
                <a:cubicBezTo>
                  <a:pt x="8643" y="4747"/>
                  <a:pt x="8701" y="4749"/>
                  <a:pt x="8713" y="4771"/>
                </a:cubicBezTo>
                <a:cubicBezTo>
                  <a:pt x="8741" y="4821"/>
                  <a:pt x="8598" y="4806"/>
                  <a:pt x="8578" y="4800"/>
                </a:cubicBezTo>
                <a:cubicBezTo>
                  <a:pt x="8572" y="4797"/>
                  <a:pt x="8566" y="4794"/>
                  <a:pt x="8559" y="4790"/>
                </a:cubicBezTo>
                <a:cubicBezTo>
                  <a:pt x="8561" y="4766"/>
                  <a:pt x="8550" y="4759"/>
                  <a:pt x="8524" y="4770"/>
                </a:cubicBezTo>
                <a:cubicBezTo>
                  <a:pt x="8510" y="4765"/>
                  <a:pt x="8515" y="4807"/>
                  <a:pt x="8489" y="4769"/>
                </a:cubicBezTo>
                <a:cubicBezTo>
                  <a:pt x="8501" y="4769"/>
                  <a:pt x="8512" y="4770"/>
                  <a:pt x="8524" y="4770"/>
                </a:cubicBezTo>
                <a:cubicBezTo>
                  <a:pt x="8534" y="4770"/>
                  <a:pt x="8512" y="4770"/>
                  <a:pt x="8524" y="4770"/>
                </a:cubicBezTo>
                <a:close/>
                <a:moveTo>
                  <a:pt x="8722" y="4505"/>
                </a:moveTo>
                <a:cubicBezTo>
                  <a:pt x="8709" y="4500"/>
                  <a:pt x="8698" y="4466"/>
                  <a:pt x="8691" y="4479"/>
                </a:cubicBezTo>
                <a:cubicBezTo>
                  <a:pt x="8690" y="4480"/>
                  <a:pt x="8702" y="4467"/>
                  <a:pt x="8703" y="4467"/>
                </a:cubicBezTo>
                <a:cubicBezTo>
                  <a:pt x="8690" y="4478"/>
                  <a:pt x="8710" y="4501"/>
                  <a:pt x="8722" y="4505"/>
                </a:cubicBezTo>
                <a:cubicBezTo>
                  <a:pt x="8710" y="4501"/>
                  <a:pt x="8710" y="4501"/>
                  <a:pt x="8722" y="4505"/>
                </a:cubicBezTo>
                <a:close/>
                <a:moveTo>
                  <a:pt x="8566" y="4851"/>
                </a:moveTo>
                <a:cubicBezTo>
                  <a:pt x="8586" y="4815"/>
                  <a:pt x="8739" y="4829"/>
                  <a:pt x="8766" y="4849"/>
                </a:cubicBezTo>
                <a:cubicBezTo>
                  <a:pt x="8687" y="4856"/>
                  <a:pt x="8607" y="4846"/>
                  <a:pt x="8530" y="4856"/>
                </a:cubicBezTo>
                <a:cubicBezTo>
                  <a:pt x="8542" y="4854"/>
                  <a:pt x="8554" y="4853"/>
                  <a:pt x="8566" y="4851"/>
                </a:cubicBezTo>
                <a:cubicBezTo>
                  <a:pt x="8583" y="4821"/>
                  <a:pt x="8554" y="4853"/>
                  <a:pt x="8566" y="4851"/>
                </a:cubicBezTo>
                <a:close/>
                <a:moveTo>
                  <a:pt x="8752" y="4322"/>
                </a:moveTo>
                <a:cubicBezTo>
                  <a:pt x="8723" y="4335"/>
                  <a:pt x="8673" y="4314"/>
                  <a:pt x="8690" y="4278"/>
                </a:cubicBezTo>
                <a:cubicBezTo>
                  <a:pt x="8698" y="4259"/>
                  <a:pt x="8759" y="4273"/>
                  <a:pt x="8780" y="4269"/>
                </a:cubicBezTo>
                <a:cubicBezTo>
                  <a:pt x="8802" y="4265"/>
                  <a:pt x="8821" y="4235"/>
                  <a:pt x="8831" y="4269"/>
                </a:cubicBezTo>
                <a:cubicBezTo>
                  <a:pt x="8836" y="4289"/>
                  <a:pt x="8768" y="4315"/>
                  <a:pt x="8752" y="4322"/>
                </a:cubicBezTo>
                <a:cubicBezTo>
                  <a:pt x="8727" y="4333"/>
                  <a:pt x="8771" y="4314"/>
                  <a:pt x="8752" y="4322"/>
                </a:cubicBezTo>
                <a:close/>
                <a:moveTo>
                  <a:pt x="8833" y="4848"/>
                </a:moveTo>
                <a:cubicBezTo>
                  <a:pt x="8817" y="4856"/>
                  <a:pt x="8802" y="4857"/>
                  <a:pt x="8787" y="4848"/>
                </a:cubicBezTo>
                <a:cubicBezTo>
                  <a:pt x="8802" y="4829"/>
                  <a:pt x="8818" y="4828"/>
                  <a:pt x="8833" y="4848"/>
                </a:cubicBezTo>
                <a:close/>
                <a:moveTo>
                  <a:pt x="8810" y="4305"/>
                </a:moveTo>
                <a:cubicBezTo>
                  <a:pt x="8840" y="4304"/>
                  <a:pt x="8867" y="4239"/>
                  <a:pt x="8877" y="4290"/>
                </a:cubicBezTo>
                <a:cubicBezTo>
                  <a:pt x="8884" y="4333"/>
                  <a:pt x="8830" y="4344"/>
                  <a:pt x="8810" y="4305"/>
                </a:cubicBezTo>
                <a:cubicBezTo>
                  <a:pt x="8833" y="4304"/>
                  <a:pt x="8824" y="4333"/>
                  <a:pt x="8810" y="4305"/>
                </a:cubicBezTo>
                <a:close/>
                <a:moveTo>
                  <a:pt x="8148" y="4412"/>
                </a:moveTo>
                <a:cubicBezTo>
                  <a:pt x="8138" y="4432"/>
                  <a:pt x="8110" y="4414"/>
                  <a:pt x="8093" y="4428"/>
                </a:cubicBezTo>
                <a:cubicBezTo>
                  <a:pt x="8102" y="4420"/>
                  <a:pt x="8140" y="4405"/>
                  <a:pt x="8148" y="4412"/>
                </a:cubicBezTo>
                <a:cubicBezTo>
                  <a:pt x="8142" y="4424"/>
                  <a:pt x="8135" y="4400"/>
                  <a:pt x="8148" y="4412"/>
                </a:cubicBezTo>
                <a:close/>
                <a:moveTo>
                  <a:pt x="7487" y="4759"/>
                </a:moveTo>
                <a:cubicBezTo>
                  <a:pt x="7521" y="4758"/>
                  <a:pt x="7517" y="4705"/>
                  <a:pt x="7554" y="4708"/>
                </a:cubicBezTo>
                <a:cubicBezTo>
                  <a:pt x="7530" y="4698"/>
                  <a:pt x="7503" y="4707"/>
                  <a:pt x="7481" y="4690"/>
                </a:cubicBezTo>
                <a:cubicBezTo>
                  <a:pt x="7536" y="4682"/>
                  <a:pt x="7581" y="4640"/>
                  <a:pt x="7638" y="4644"/>
                </a:cubicBezTo>
                <a:cubicBezTo>
                  <a:pt x="7621" y="4653"/>
                  <a:pt x="7630" y="4664"/>
                  <a:pt x="7609" y="4675"/>
                </a:cubicBezTo>
                <a:cubicBezTo>
                  <a:pt x="7613" y="4673"/>
                  <a:pt x="7800" y="4767"/>
                  <a:pt x="7814" y="4778"/>
                </a:cubicBezTo>
                <a:cubicBezTo>
                  <a:pt x="7741" y="4821"/>
                  <a:pt x="7620" y="4804"/>
                  <a:pt x="7539" y="4802"/>
                </a:cubicBezTo>
                <a:cubicBezTo>
                  <a:pt x="7523" y="4802"/>
                  <a:pt x="7490" y="4814"/>
                  <a:pt x="7480" y="4800"/>
                </a:cubicBezTo>
                <a:cubicBezTo>
                  <a:pt x="7466" y="4784"/>
                  <a:pt x="7516" y="4779"/>
                  <a:pt x="7487" y="4759"/>
                </a:cubicBezTo>
                <a:cubicBezTo>
                  <a:pt x="7523" y="4758"/>
                  <a:pt x="7514" y="4778"/>
                  <a:pt x="7487" y="4759"/>
                </a:cubicBezTo>
                <a:close/>
                <a:moveTo>
                  <a:pt x="7356" y="4597"/>
                </a:moveTo>
                <a:cubicBezTo>
                  <a:pt x="7379" y="4572"/>
                  <a:pt x="7402" y="4582"/>
                  <a:pt x="7439" y="4588"/>
                </a:cubicBezTo>
                <a:cubicBezTo>
                  <a:pt x="7405" y="4609"/>
                  <a:pt x="7383" y="4604"/>
                  <a:pt x="7356" y="4597"/>
                </a:cubicBezTo>
                <a:close/>
                <a:moveTo>
                  <a:pt x="7422" y="4674"/>
                </a:moveTo>
                <a:cubicBezTo>
                  <a:pt x="7410" y="4684"/>
                  <a:pt x="7332" y="4721"/>
                  <a:pt x="7337" y="4682"/>
                </a:cubicBezTo>
                <a:cubicBezTo>
                  <a:pt x="7339" y="4666"/>
                  <a:pt x="7397" y="4653"/>
                  <a:pt x="7407" y="4614"/>
                </a:cubicBezTo>
                <a:cubicBezTo>
                  <a:pt x="7409" y="4624"/>
                  <a:pt x="7437" y="4661"/>
                  <a:pt x="7422" y="4674"/>
                </a:cubicBezTo>
                <a:cubicBezTo>
                  <a:pt x="7402" y="4690"/>
                  <a:pt x="7438" y="4660"/>
                  <a:pt x="7422" y="4674"/>
                </a:cubicBezTo>
                <a:close/>
                <a:moveTo>
                  <a:pt x="7269" y="4770"/>
                </a:moveTo>
                <a:cubicBezTo>
                  <a:pt x="7280" y="4723"/>
                  <a:pt x="7322" y="4764"/>
                  <a:pt x="7348" y="4766"/>
                </a:cubicBezTo>
                <a:cubicBezTo>
                  <a:pt x="7383" y="4769"/>
                  <a:pt x="7412" y="4761"/>
                  <a:pt x="7445" y="4746"/>
                </a:cubicBezTo>
                <a:cubicBezTo>
                  <a:pt x="7451" y="4777"/>
                  <a:pt x="7418" y="4776"/>
                  <a:pt x="7410" y="4794"/>
                </a:cubicBezTo>
                <a:cubicBezTo>
                  <a:pt x="7407" y="4800"/>
                  <a:pt x="7439" y="4807"/>
                  <a:pt x="7438" y="4815"/>
                </a:cubicBezTo>
                <a:cubicBezTo>
                  <a:pt x="7435" y="4884"/>
                  <a:pt x="7340" y="4786"/>
                  <a:pt x="7345" y="4788"/>
                </a:cubicBezTo>
                <a:cubicBezTo>
                  <a:pt x="7330" y="4783"/>
                  <a:pt x="7254" y="4828"/>
                  <a:pt x="7269" y="4770"/>
                </a:cubicBezTo>
                <a:cubicBezTo>
                  <a:pt x="7274" y="4750"/>
                  <a:pt x="7262" y="4796"/>
                  <a:pt x="7269" y="4770"/>
                </a:cubicBezTo>
                <a:close/>
                <a:moveTo>
                  <a:pt x="7393" y="4921"/>
                </a:moveTo>
                <a:cubicBezTo>
                  <a:pt x="7377" y="4938"/>
                  <a:pt x="7366" y="4929"/>
                  <a:pt x="7349" y="4934"/>
                </a:cubicBezTo>
                <a:cubicBezTo>
                  <a:pt x="7365" y="4917"/>
                  <a:pt x="7376" y="4926"/>
                  <a:pt x="7393" y="4921"/>
                </a:cubicBezTo>
                <a:close/>
                <a:moveTo>
                  <a:pt x="7726" y="5852"/>
                </a:moveTo>
                <a:cubicBezTo>
                  <a:pt x="7711" y="5863"/>
                  <a:pt x="7697" y="5870"/>
                  <a:pt x="7682" y="5849"/>
                </a:cubicBezTo>
                <a:cubicBezTo>
                  <a:pt x="7701" y="5842"/>
                  <a:pt x="7713" y="5845"/>
                  <a:pt x="7726" y="5852"/>
                </a:cubicBezTo>
                <a:close/>
                <a:moveTo>
                  <a:pt x="9790" y="4202"/>
                </a:moveTo>
                <a:cubicBezTo>
                  <a:pt x="9781" y="4194"/>
                  <a:pt x="9774" y="4184"/>
                  <a:pt x="9769" y="4174"/>
                </a:cubicBezTo>
                <a:cubicBezTo>
                  <a:pt x="9796" y="4155"/>
                  <a:pt x="9829" y="4194"/>
                  <a:pt x="9840" y="4144"/>
                </a:cubicBezTo>
                <a:cubicBezTo>
                  <a:pt x="9840" y="4140"/>
                  <a:pt x="9882" y="4178"/>
                  <a:pt x="9882" y="4180"/>
                </a:cubicBezTo>
                <a:cubicBezTo>
                  <a:pt x="9885" y="4223"/>
                  <a:pt x="9811" y="4203"/>
                  <a:pt x="9790" y="4202"/>
                </a:cubicBezTo>
                <a:cubicBezTo>
                  <a:pt x="9786" y="4190"/>
                  <a:pt x="9816" y="4203"/>
                  <a:pt x="9790" y="4202"/>
                </a:cubicBezTo>
                <a:close/>
                <a:moveTo>
                  <a:pt x="10128" y="4577"/>
                </a:moveTo>
                <a:cubicBezTo>
                  <a:pt x="10078" y="4597"/>
                  <a:pt x="10043" y="4593"/>
                  <a:pt x="10008" y="4580"/>
                </a:cubicBezTo>
                <a:cubicBezTo>
                  <a:pt x="10042" y="4565"/>
                  <a:pt x="10078" y="4568"/>
                  <a:pt x="10128" y="4577"/>
                </a:cubicBezTo>
                <a:close/>
                <a:moveTo>
                  <a:pt x="10123" y="4428"/>
                </a:moveTo>
                <a:cubicBezTo>
                  <a:pt x="10124" y="4429"/>
                  <a:pt x="10125" y="4431"/>
                  <a:pt x="10126" y="4432"/>
                </a:cubicBezTo>
                <a:cubicBezTo>
                  <a:pt x="10125" y="4431"/>
                  <a:pt x="10124" y="4429"/>
                  <a:pt x="10123" y="4428"/>
                </a:cubicBezTo>
                <a:close/>
                <a:moveTo>
                  <a:pt x="10201" y="4392"/>
                </a:moveTo>
                <a:cubicBezTo>
                  <a:pt x="10202" y="4408"/>
                  <a:pt x="10174" y="4426"/>
                  <a:pt x="10164" y="4412"/>
                </a:cubicBezTo>
                <a:cubicBezTo>
                  <a:pt x="10149" y="4393"/>
                  <a:pt x="10201" y="4349"/>
                  <a:pt x="10201" y="4392"/>
                </a:cubicBezTo>
                <a:cubicBezTo>
                  <a:pt x="10202" y="4406"/>
                  <a:pt x="10201" y="4380"/>
                  <a:pt x="10201" y="4392"/>
                </a:cubicBezTo>
                <a:close/>
                <a:moveTo>
                  <a:pt x="10365" y="4316"/>
                </a:moveTo>
                <a:cubicBezTo>
                  <a:pt x="10395" y="4318"/>
                  <a:pt x="10418" y="4314"/>
                  <a:pt x="10446" y="4330"/>
                </a:cubicBezTo>
                <a:cubicBezTo>
                  <a:pt x="10429" y="4334"/>
                  <a:pt x="10379" y="4355"/>
                  <a:pt x="10362" y="4347"/>
                </a:cubicBezTo>
                <a:cubicBezTo>
                  <a:pt x="10345" y="4340"/>
                  <a:pt x="10335" y="4315"/>
                  <a:pt x="10365" y="4316"/>
                </a:cubicBezTo>
                <a:cubicBezTo>
                  <a:pt x="10388" y="4317"/>
                  <a:pt x="10354" y="4316"/>
                  <a:pt x="10365" y="4316"/>
                </a:cubicBezTo>
                <a:close/>
                <a:moveTo>
                  <a:pt x="10497" y="4247"/>
                </a:moveTo>
                <a:cubicBezTo>
                  <a:pt x="10475" y="4267"/>
                  <a:pt x="10505" y="4274"/>
                  <a:pt x="10472" y="4295"/>
                </a:cubicBezTo>
                <a:cubicBezTo>
                  <a:pt x="10440" y="4315"/>
                  <a:pt x="10417" y="4297"/>
                  <a:pt x="10386" y="4299"/>
                </a:cubicBezTo>
                <a:cubicBezTo>
                  <a:pt x="10325" y="4302"/>
                  <a:pt x="10314" y="4353"/>
                  <a:pt x="10254" y="4357"/>
                </a:cubicBezTo>
                <a:cubicBezTo>
                  <a:pt x="10216" y="4360"/>
                  <a:pt x="10186" y="4337"/>
                  <a:pt x="10152" y="4346"/>
                </a:cubicBezTo>
                <a:cubicBezTo>
                  <a:pt x="10128" y="4353"/>
                  <a:pt x="10144" y="4375"/>
                  <a:pt x="10118" y="4374"/>
                </a:cubicBezTo>
                <a:cubicBezTo>
                  <a:pt x="10113" y="4373"/>
                  <a:pt x="10092" y="4338"/>
                  <a:pt x="10076" y="4334"/>
                </a:cubicBezTo>
                <a:cubicBezTo>
                  <a:pt x="10107" y="4313"/>
                  <a:pt x="10147" y="4322"/>
                  <a:pt x="10181" y="4326"/>
                </a:cubicBezTo>
                <a:cubicBezTo>
                  <a:pt x="10166" y="4311"/>
                  <a:pt x="10150" y="4266"/>
                  <a:pt x="10137" y="4273"/>
                </a:cubicBezTo>
                <a:cubicBezTo>
                  <a:pt x="10198" y="4240"/>
                  <a:pt x="10130" y="4245"/>
                  <a:pt x="10098" y="4272"/>
                </a:cubicBezTo>
                <a:cubicBezTo>
                  <a:pt x="10081" y="4286"/>
                  <a:pt x="10098" y="4320"/>
                  <a:pt x="10061" y="4303"/>
                </a:cubicBezTo>
                <a:cubicBezTo>
                  <a:pt x="10025" y="4286"/>
                  <a:pt x="10061" y="4257"/>
                  <a:pt x="10076" y="4237"/>
                </a:cubicBezTo>
                <a:cubicBezTo>
                  <a:pt x="10058" y="4242"/>
                  <a:pt x="9946" y="4248"/>
                  <a:pt x="9930" y="4239"/>
                </a:cubicBezTo>
                <a:cubicBezTo>
                  <a:pt x="9902" y="4226"/>
                  <a:pt x="9927" y="4218"/>
                  <a:pt x="9907" y="4192"/>
                </a:cubicBezTo>
                <a:cubicBezTo>
                  <a:pt x="9933" y="4226"/>
                  <a:pt x="10081" y="4201"/>
                  <a:pt x="10116" y="4185"/>
                </a:cubicBezTo>
                <a:cubicBezTo>
                  <a:pt x="10190" y="4152"/>
                  <a:pt x="10197" y="4136"/>
                  <a:pt x="10277" y="4161"/>
                </a:cubicBezTo>
                <a:cubicBezTo>
                  <a:pt x="10312" y="4171"/>
                  <a:pt x="10330" y="4170"/>
                  <a:pt x="10366" y="4177"/>
                </a:cubicBezTo>
                <a:cubicBezTo>
                  <a:pt x="10397" y="4183"/>
                  <a:pt x="10409" y="4208"/>
                  <a:pt x="10430" y="4217"/>
                </a:cubicBezTo>
                <a:cubicBezTo>
                  <a:pt x="10491" y="4244"/>
                  <a:pt x="10532" y="4242"/>
                  <a:pt x="10601" y="4240"/>
                </a:cubicBezTo>
                <a:cubicBezTo>
                  <a:pt x="10566" y="4241"/>
                  <a:pt x="10532" y="4249"/>
                  <a:pt x="10497" y="4247"/>
                </a:cubicBezTo>
                <a:cubicBezTo>
                  <a:pt x="10486" y="4257"/>
                  <a:pt x="10531" y="4249"/>
                  <a:pt x="10497" y="4247"/>
                </a:cubicBezTo>
                <a:close/>
                <a:moveTo>
                  <a:pt x="10464" y="3953"/>
                </a:moveTo>
                <a:cubicBezTo>
                  <a:pt x="10471" y="3982"/>
                  <a:pt x="10491" y="4036"/>
                  <a:pt x="10463" y="4061"/>
                </a:cubicBezTo>
                <a:cubicBezTo>
                  <a:pt x="10440" y="4049"/>
                  <a:pt x="10384" y="4026"/>
                  <a:pt x="10397" y="3989"/>
                </a:cubicBezTo>
                <a:cubicBezTo>
                  <a:pt x="10440" y="3983"/>
                  <a:pt x="10468" y="4039"/>
                  <a:pt x="10464" y="3953"/>
                </a:cubicBezTo>
                <a:cubicBezTo>
                  <a:pt x="10471" y="3979"/>
                  <a:pt x="10469" y="4050"/>
                  <a:pt x="10464" y="3953"/>
                </a:cubicBezTo>
                <a:close/>
                <a:moveTo>
                  <a:pt x="10760" y="4007"/>
                </a:moveTo>
                <a:cubicBezTo>
                  <a:pt x="10766" y="3988"/>
                  <a:pt x="10744" y="3989"/>
                  <a:pt x="10739" y="3975"/>
                </a:cubicBezTo>
                <a:cubicBezTo>
                  <a:pt x="10776" y="3975"/>
                  <a:pt x="10785" y="3989"/>
                  <a:pt x="10821" y="3989"/>
                </a:cubicBezTo>
                <a:cubicBezTo>
                  <a:pt x="10851" y="3990"/>
                  <a:pt x="10876" y="3975"/>
                  <a:pt x="10909" y="3978"/>
                </a:cubicBezTo>
                <a:cubicBezTo>
                  <a:pt x="10929" y="3983"/>
                  <a:pt x="10950" y="3986"/>
                  <a:pt x="10971" y="3989"/>
                </a:cubicBezTo>
                <a:cubicBezTo>
                  <a:pt x="10998" y="3976"/>
                  <a:pt x="11010" y="3983"/>
                  <a:pt x="11006" y="4008"/>
                </a:cubicBezTo>
                <a:cubicBezTo>
                  <a:pt x="11032" y="4017"/>
                  <a:pt x="11044" y="4017"/>
                  <a:pt x="11076" y="4018"/>
                </a:cubicBezTo>
                <a:cubicBezTo>
                  <a:pt x="11153" y="4019"/>
                  <a:pt x="11220" y="4021"/>
                  <a:pt x="11295" y="4020"/>
                </a:cubicBezTo>
                <a:cubicBezTo>
                  <a:pt x="11313" y="4020"/>
                  <a:pt x="11501" y="4002"/>
                  <a:pt x="11463" y="4061"/>
                </a:cubicBezTo>
                <a:cubicBezTo>
                  <a:pt x="11439" y="4098"/>
                  <a:pt x="11294" y="4073"/>
                  <a:pt x="11258" y="4070"/>
                </a:cubicBezTo>
                <a:cubicBezTo>
                  <a:pt x="11178" y="4065"/>
                  <a:pt x="11097" y="4076"/>
                  <a:pt x="11014" y="4067"/>
                </a:cubicBezTo>
                <a:cubicBezTo>
                  <a:pt x="10933" y="4059"/>
                  <a:pt x="10869" y="4069"/>
                  <a:pt x="10787" y="4066"/>
                </a:cubicBezTo>
                <a:cubicBezTo>
                  <a:pt x="10746" y="4064"/>
                  <a:pt x="10705" y="4064"/>
                  <a:pt x="10664" y="4063"/>
                </a:cubicBezTo>
                <a:cubicBezTo>
                  <a:pt x="10621" y="4063"/>
                  <a:pt x="10542" y="4040"/>
                  <a:pt x="10540" y="4091"/>
                </a:cubicBezTo>
                <a:cubicBezTo>
                  <a:pt x="10524" y="4085"/>
                  <a:pt x="10503" y="4061"/>
                  <a:pt x="10489" y="4039"/>
                </a:cubicBezTo>
                <a:cubicBezTo>
                  <a:pt x="10581" y="4039"/>
                  <a:pt x="10668" y="4000"/>
                  <a:pt x="10760" y="4007"/>
                </a:cubicBezTo>
                <a:cubicBezTo>
                  <a:pt x="10766" y="3988"/>
                  <a:pt x="10669" y="4000"/>
                  <a:pt x="10760" y="4007"/>
                </a:cubicBezTo>
                <a:close/>
                <a:moveTo>
                  <a:pt x="10657" y="3976"/>
                </a:moveTo>
                <a:cubicBezTo>
                  <a:pt x="10697" y="3967"/>
                  <a:pt x="10702" y="3938"/>
                  <a:pt x="10733" y="3910"/>
                </a:cubicBezTo>
                <a:cubicBezTo>
                  <a:pt x="10702" y="3938"/>
                  <a:pt x="10697" y="3967"/>
                  <a:pt x="10657" y="3976"/>
                </a:cubicBezTo>
                <a:close/>
                <a:moveTo>
                  <a:pt x="10890" y="3891"/>
                </a:moveTo>
                <a:cubicBezTo>
                  <a:pt x="10900" y="3889"/>
                  <a:pt x="10905" y="3891"/>
                  <a:pt x="10905" y="3896"/>
                </a:cubicBezTo>
                <a:cubicBezTo>
                  <a:pt x="10900" y="3894"/>
                  <a:pt x="10895" y="3893"/>
                  <a:pt x="10890" y="3891"/>
                </a:cubicBezTo>
                <a:cubicBezTo>
                  <a:pt x="10895" y="3892"/>
                  <a:pt x="10895" y="3892"/>
                  <a:pt x="10890" y="3891"/>
                </a:cubicBezTo>
                <a:close/>
                <a:moveTo>
                  <a:pt x="10974" y="3943"/>
                </a:moveTo>
                <a:cubicBezTo>
                  <a:pt x="11043" y="3931"/>
                  <a:pt x="11102" y="3890"/>
                  <a:pt x="11169" y="3871"/>
                </a:cubicBezTo>
                <a:cubicBezTo>
                  <a:pt x="11144" y="3934"/>
                  <a:pt x="11114" y="3928"/>
                  <a:pt x="11059" y="3944"/>
                </a:cubicBezTo>
                <a:cubicBezTo>
                  <a:pt x="11041" y="3949"/>
                  <a:pt x="10962" y="3998"/>
                  <a:pt x="10974" y="3943"/>
                </a:cubicBezTo>
                <a:cubicBezTo>
                  <a:pt x="11043" y="3931"/>
                  <a:pt x="10969" y="3968"/>
                  <a:pt x="10974" y="3943"/>
                </a:cubicBezTo>
                <a:close/>
                <a:moveTo>
                  <a:pt x="11547" y="3655"/>
                </a:moveTo>
                <a:cubicBezTo>
                  <a:pt x="11571" y="3635"/>
                  <a:pt x="11611" y="3655"/>
                  <a:pt x="11640" y="3638"/>
                </a:cubicBezTo>
                <a:cubicBezTo>
                  <a:pt x="11651" y="3631"/>
                  <a:pt x="11676" y="3591"/>
                  <a:pt x="11684" y="3593"/>
                </a:cubicBezTo>
                <a:cubicBezTo>
                  <a:pt x="11743" y="3613"/>
                  <a:pt x="11633" y="3678"/>
                  <a:pt x="11700" y="3717"/>
                </a:cubicBezTo>
                <a:cubicBezTo>
                  <a:pt x="11639" y="3724"/>
                  <a:pt x="11307" y="3817"/>
                  <a:pt x="11300" y="3749"/>
                </a:cubicBezTo>
                <a:cubicBezTo>
                  <a:pt x="11291" y="3667"/>
                  <a:pt x="11563" y="3706"/>
                  <a:pt x="11621" y="3695"/>
                </a:cubicBezTo>
                <a:cubicBezTo>
                  <a:pt x="11601" y="3676"/>
                  <a:pt x="11554" y="3686"/>
                  <a:pt x="11547" y="3655"/>
                </a:cubicBezTo>
                <a:cubicBezTo>
                  <a:pt x="11572" y="3634"/>
                  <a:pt x="11555" y="3689"/>
                  <a:pt x="11547" y="3655"/>
                </a:cubicBezTo>
                <a:close/>
                <a:moveTo>
                  <a:pt x="11563" y="3791"/>
                </a:moveTo>
                <a:cubicBezTo>
                  <a:pt x="11563" y="3798"/>
                  <a:pt x="11560" y="3802"/>
                  <a:pt x="11557" y="3805"/>
                </a:cubicBezTo>
                <a:cubicBezTo>
                  <a:pt x="11560" y="3802"/>
                  <a:pt x="11563" y="3798"/>
                  <a:pt x="11563" y="3791"/>
                </a:cubicBezTo>
                <a:close/>
                <a:moveTo>
                  <a:pt x="11502" y="4035"/>
                </a:moveTo>
                <a:cubicBezTo>
                  <a:pt x="11505" y="4056"/>
                  <a:pt x="11516" y="4065"/>
                  <a:pt x="11542" y="4070"/>
                </a:cubicBezTo>
                <a:cubicBezTo>
                  <a:pt x="11516" y="4065"/>
                  <a:pt x="11505" y="4056"/>
                  <a:pt x="11502" y="4035"/>
                </a:cubicBezTo>
                <a:close/>
                <a:moveTo>
                  <a:pt x="11731" y="3875"/>
                </a:moveTo>
                <a:cubicBezTo>
                  <a:pt x="11731" y="3864"/>
                  <a:pt x="11742" y="3865"/>
                  <a:pt x="11764" y="3878"/>
                </a:cubicBezTo>
                <a:cubicBezTo>
                  <a:pt x="11753" y="3877"/>
                  <a:pt x="11742" y="3876"/>
                  <a:pt x="11731" y="3875"/>
                </a:cubicBezTo>
                <a:close/>
                <a:moveTo>
                  <a:pt x="11802" y="3756"/>
                </a:moveTo>
                <a:cubicBezTo>
                  <a:pt x="11826" y="3752"/>
                  <a:pt x="11835" y="3730"/>
                  <a:pt x="11835" y="3708"/>
                </a:cubicBezTo>
                <a:cubicBezTo>
                  <a:pt x="11835" y="3731"/>
                  <a:pt x="11827" y="3752"/>
                  <a:pt x="11802" y="3756"/>
                </a:cubicBezTo>
                <a:cubicBezTo>
                  <a:pt x="11821" y="3753"/>
                  <a:pt x="11821" y="3753"/>
                  <a:pt x="11802" y="3756"/>
                </a:cubicBezTo>
                <a:close/>
                <a:moveTo>
                  <a:pt x="11999" y="3647"/>
                </a:moveTo>
                <a:cubicBezTo>
                  <a:pt x="11996" y="3609"/>
                  <a:pt x="12010" y="3605"/>
                  <a:pt x="12038" y="3621"/>
                </a:cubicBezTo>
                <a:cubicBezTo>
                  <a:pt x="12019" y="3619"/>
                  <a:pt x="12016" y="3641"/>
                  <a:pt x="11999" y="3647"/>
                </a:cubicBezTo>
                <a:close/>
                <a:moveTo>
                  <a:pt x="12051" y="4016"/>
                </a:moveTo>
                <a:cubicBezTo>
                  <a:pt x="12047" y="4016"/>
                  <a:pt x="12042" y="4015"/>
                  <a:pt x="12038" y="4014"/>
                </a:cubicBezTo>
                <a:cubicBezTo>
                  <a:pt x="12042" y="4015"/>
                  <a:pt x="12047" y="4016"/>
                  <a:pt x="12051" y="4016"/>
                </a:cubicBezTo>
                <a:close/>
                <a:moveTo>
                  <a:pt x="12039" y="3622"/>
                </a:moveTo>
                <a:cubicBezTo>
                  <a:pt x="12083" y="3614"/>
                  <a:pt x="12124" y="3614"/>
                  <a:pt x="12158" y="3653"/>
                </a:cubicBezTo>
                <a:cubicBezTo>
                  <a:pt x="12055" y="3690"/>
                  <a:pt x="12034" y="3684"/>
                  <a:pt x="12039" y="3622"/>
                </a:cubicBezTo>
                <a:close/>
                <a:moveTo>
                  <a:pt x="12187" y="3993"/>
                </a:moveTo>
                <a:cubicBezTo>
                  <a:pt x="12223" y="3989"/>
                  <a:pt x="12275" y="4043"/>
                  <a:pt x="12312" y="4057"/>
                </a:cubicBezTo>
                <a:cubicBezTo>
                  <a:pt x="12280" y="4045"/>
                  <a:pt x="12250" y="4012"/>
                  <a:pt x="12219" y="4003"/>
                </a:cubicBezTo>
                <a:cubicBezTo>
                  <a:pt x="12184" y="3992"/>
                  <a:pt x="12186" y="4011"/>
                  <a:pt x="12151" y="4009"/>
                </a:cubicBezTo>
                <a:cubicBezTo>
                  <a:pt x="12166" y="4010"/>
                  <a:pt x="12178" y="4005"/>
                  <a:pt x="12187" y="3993"/>
                </a:cubicBezTo>
                <a:cubicBezTo>
                  <a:pt x="12193" y="3993"/>
                  <a:pt x="12177" y="4008"/>
                  <a:pt x="12187" y="3993"/>
                </a:cubicBezTo>
                <a:close/>
                <a:moveTo>
                  <a:pt x="7860" y="2187"/>
                </a:moveTo>
                <a:cubicBezTo>
                  <a:pt x="7877" y="2115"/>
                  <a:pt x="7949" y="2140"/>
                  <a:pt x="7999" y="2142"/>
                </a:cubicBezTo>
                <a:cubicBezTo>
                  <a:pt x="8094" y="2147"/>
                  <a:pt x="8101" y="2185"/>
                  <a:pt x="8102" y="2291"/>
                </a:cubicBezTo>
                <a:cubicBezTo>
                  <a:pt x="8102" y="2336"/>
                  <a:pt x="8118" y="2425"/>
                  <a:pt x="8101" y="2465"/>
                </a:cubicBezTo>
                <a:cubicBezTo>
                  <a:pt x="8082" y="2509"/>
                  <a:pt x="8038" y="2499"/>
                  <a:pt x="7994" y="2498"/>
                </a:cubicBezTo>
                <a:cubicBezTo>
                  <a:pt x="7956" y="2498"/>
                  <a:pt x="7942" y="2506"/>
                  <a:pt x="7927" y="2476"/>
                </a:cubicBezTo>
                <a:cubicBezTo>
                  <a:pt x="7918" y="2457"/>
                  <a:pt x="7927" y="2391"/>
                  <a:pt x="7927" y="2373"/>
                </a:cubicBezTo>
                <a:cubicBezTo>
                  <a:pt x="7927" y="2304"/>
                  <a:pt x="7927" y="2235"/>
                  <a:pt x="7927" y="2165"/>
                </a:cubicBezTo>
                <a:cubicBezTo>
                  <a:pt x="7877" y="2166"/>
                  <a:pt x="7964" y="2498"/>
                  <a:pt x="7885" y="2498"/>
                </a:cubicBezTo>
                <a:cubicBezTo>
                  <a:pt x="7822" y="2497"/>
                  <a:pt x="7848" y="2237"/>
                  <a:pt x="7860" y="2187"/>
                </a:cubicBezTo>
                <a:cubicBezTo>
                  <a:pt x="7868" y="2153"/>
                  <a:pt x="7837" y="2287"/>
                  <a:pt x="7860" y="2187"/>
                </a:cubicBezTo>
                <a:close/>
                <a:moveTo>
                  <a:pt x="8099" y="3599"/>
                </a:moveTo>
                <a:cubicBezTo>
                  <a:pt x="8102" y="3599"/>
                  <a:pt x="8075" y="3562"/>
                  <a:pt x="8077" y="3563"/>
                </a:cubicBezTo>
                <a:cubicBezTo>
                  <a:pt x="8087" y="3573"/>
                  <a:pt x="8095" y="3585"/>
                  <a:pt x="8099" y="3599"/>
                </a:cubicBezTo>
                <a:cubicBezTo>
                  <a:pt x="8099" y="3599"/>
                  <a:pt x="8094" y="3584"/>
                  <a:pt x="8099" y="3599"/>
                </a:cubicBezTo>
                <a:close/>
                <a:moveTo>
                  <a:pt x="8031" y="3322"/>
                </a:moveTo>
                <a:cubicBezTo>
                  <a:pt x="8009" y="3340"/>
                  <a:pt x="8048" y="3198"/>
                  <a:pt x="8094" y="3260"/>
                </a:cubicBezTo>
                <a:cubicBezTo>
                  <a:pt x="8147" y="3331"/>
                  <a:pt x="8047" y="3308"/>
                  <a:pt x="8031" y="3322"/>
                </a:cubicBezTo>
                <a:cubicBezTo>
                  <a:pt x="8022" y="3329"/>
                  <a:pt x="8050" y="3304"/>
                  <a:pt x="8031" y="3322"/>
                </a:cubicBezTo>
                <a:close/>
                <a:moveTo>
                  <a:pt x="7849" y="2966"/>
                </a:moveTo>
                <a:cubicBezTo>
                  <a:pt x="7843" y="2905"/>
                  <a:pt x="7836" y="2696"/>
                  <a:pt x="7909" y="2675"/>
                </a:cubicBezTo>
                <a:cubicBezTo>
                  <a:pt x="7929" y="2669"/>
                  <a:pt x="8013" y="2675"/>
                  <a:pt x="8036" y="2682"/>
                </a:cubicBezTo>
                <a:cubicBezTo>
                  <a:pt x="8077" y="2697"/>
                  <a:pt x="8080" y="2723"/>
                  <a:pt x="8088" y="2763"/>
                </a:cubicBezTo>
                <a:cubicBezTo>
                  <a:pt x="8100" y="2826"/>
                  <a:pt x="8101" y="2900"/>
                  <a:pt x="8098" y="2964"/>
                </a:cubicBezTo>
                <a:cubicBezTo>
                  <a:pt x="8095" y="3034"/>
                  <a:pt x="8091" y="3033"/>
                  <a:pt x="8027" y="3042"/>
                </a:cubicBezTo>
                <a:cubicBezTo>
                  <a:pt x="7990" y="3048"/>
                  <a:pt x="7904" y="3095"/>
                  <a:pt x="7870" y="3080"/>
                </a:cubicBezTo>
                <a:cubicBezTo>
                  <a:pt x="7832" y="3063"/>
                  <a:pt x="7849" y="3005"/>
                  <a:pt x="7849" y="2966"/>
                </a:cubicBezTo>
                <a:cubicBezTo>
                  <a:pt x="7842" y="2889"/>
                  <a:pt x="7849" y="2990"/>
                  <a:pt x="7849" y="2966"/>
                </a:cubicBezTo>
                <a:close/>
                <a:moveTo>
                  <a:pt x="7849" y="3763"/>
                </a:moveTo>
                <a:cubicBezTo>
                  <a:pt x="7849" y="3764"/>
                  <a:pt x="7902" y="3779"/>
                  <a:pt x="7905" y="3803"/>
                </a:cubicBezTo>
                <a:cubicBezTo>
                  <a:pt x="7907" y="3783"/>
                  <a:pt x="7931" y="3756"/>
                  <a:pt x="7940" y="3741"/>
                </a:cubicBezTo>
                <a:cubicBezTo>
                  <a:pt x="7990" y="3782"/>
                  <a:pt x="7951" y="3789"/>
                  <a:pt x="8021" y="3783"/>
                </a:cubicBezTo>
                <a:cubicBezTo>
                  <a:pt x="8061" y="3779"/>
                  <a:pt x="8093" y="3794"/>
                  <a:pt x="8115" y="3753"/>
                </a:cubicBezTo>
                <a:cubicBezTo>
                  <a:pt x="8110" y="3763"/>
                  <a:pt x="8137" y="3827"/>
                  <a:pt x="8173" y="3806"/>
                </a:cubicBezTo>
                <a:cubicBezTo>
                  <a:pt x="8235" y="3770"/>
                  <a:pt x="8140" y="3758"/>
                  <a:pt x="8140" y="3732"/>
                </a:cubicBezTo>
                <a:cubicBezTo>
                  <a:pt x="8163" y="3720"/>
                  <a:pt x="8180" y="3740"/>
                  <a:pt x="8192" y="3704"/>
                </a:cubicBezTo>
                <a:cubicBezTo>
                  <a:pt x="8148" y="3723"/>
                  <a:pt x="8129" y="3720"/>
                  <a:pt x="8111" y="3680"/>
                </a:cubicBezTo>
                <a:cubicBezTo>
                  <a:pt x="8109" y="3676"/>
                  <a:pt x="8096" y="3605"/>
                  <a:pt x="8098" y="3602"/>
                </a:cubicBezTo>
                <a:cubicBezTo>
                  <a:pt x="8111" y="3586"/>
                  <a:pt x="8146" y="3604"/>
                  <a:pt x="8159" y="3588"/>
                </a:cubicBezTo>
                <a:cubicBezTo>
                  <a:pt x="8175" y="3569"/>
                  <a:pt x="8154" y="3485"/>
                  <a:pt x="8149" y="3468"/>
                </a:cubicBezTo>
                <a:cubicBezTo>
                  <a:pt x="8229" y="3467"/>
                  <a:pt x="8164" y="3572"/>
                  <a:pt x="8198" y="3598"/>
                </a:cubicBezTo>
                <a:cubicBezTo>
                  <a:pt x="8220" y="3615"/>
                  <a:pt x="8300" y="3582"/>
                  <a:pt x="8319" y="3601"/>
                </a:cubicBezTo>
                <a:cubicBezTo>
                  <a:pt x="8361" y="3643"/>
                  <a:pt x="8256" y="3616"/>
                  <a:pt x="8245" y="3651"/>
                </a:cubicBezTo>
                <a:cubicBezTo>
                  <a:pt x="8237" y="3676"/>
                  <a:pt x="8350" y="3656"/>
                  <a:pt x="8357" y="3650"/>
                </a:cubicBezTo>
                <a:cubicBezTo>
                  <a:pt x="8362" y="3693"/>
                  <a:pt x="8385" y="3684"/>
                  <a:pt x="8401" y="3717"/>
                </a:cubicBezTo>
                <a:cubicBezTo>
                  <a:pt x="8409" y="3732"/>
                  <a:pt x="8403" y="3812"/>
                  <a:pt x="8427" y="3798"/>
                </a:cubicBezTo>
                <a:cubicBezTo>
                  <a:pt x="8418" y="3803"/>
                  <a:pt x="8395" y="3831"/>
                  <a:pt x="8390" y="3831"/>
                </a:cubicBezTo>
                <a:cubicBezTo>
                  <a:pt x="8362" y="3833"/>
                  <a:pt x="8363" y="3815"/>
                  <a:pt x="8347" y="3812"/>
                </a:cubicBezTo>
                <a:cubicBezTo>
                  <a:pt x="8327" y="3808"/>
                  <a:pt x="8275" y="3807"/>
                  <a:pt x="8260" y="3821"/>
                </a:cubicBezTo>
                <a:cubicBezTo>
                  <a:pt x="8240" y="3840"/>
                  <a:pt x="8260" y="3833"/>
                  <a:pt x="8258" y="3866"/>
                </a:cubicBezTo>
                <a:cubicBezTo>
                  <a:pt x="8258" y="3860"/>
                  <a:pt x="8245" y="3916"/>
                  <a:pt x="8252" y="3910"/>
                </a:cubicBezTo>
                <a:cubicBezTo>
                  <a:pt x="8199" y="3901"/>
                  <a:pt x="8137" y="3880"/>
                  <a:pt x="8082" y="3888"/>
                </a:cubicBezTo>
                <a:cubicBezTo>
                  <a:pt x="8031" y="3895"/>
                  <a:pt x="8026" y="3900"/>
                  <a:pt x="7976" y="3895"/>
                </a:cubicBezTo>
                <a:cubicBezTo>
                  <a:pt x="7925" y="3889"/>
                  <a:pt x="7911" y="3908"/>
                  <a:pt x="7881" y="3869"/>
                </a:cubicBezTo>
                <a:cubicBezTo>
                  <a:pt x="7863" y="3846"/>
                  <a:pt x="7866" y="3809"/>
                  <a:pt x="7827" y="3809"/>
                </a:cubicBezTo>
                <a:cubicBezTo>
                  <a:pt x="7829" y="3791"/>
                  <a:pt x="7836" y="3775"/>
                  <a:pt x="7849" y="3763"/>
                </a:cubicBezTo>
                <a:cubicBezTo>
                  <a:pt x="7849" y="3761"/>
                  <a:pt x="7836" y="3776"/>
                  <a:pt x="7849" y="3763"/>
                </a:cubicBezTo>
                <a:close/>
                <a:moveTo>
                  <a:pt x="7896" y="3898"/>
                </a:moveTo>
                <a:cubicBezTo>
                  <a:pt x="7890" y="3909"/>
                  <a:pt x="7885" y="3909"/>
                  <a:pt x="7880" y="3898"/>
                </a:cubicBezTo>
                <a:cubicBezTo>
                  <a:pt x="7889" y="3893"/>
                  <a:pt x="7894" y="3893"/>
                  <a:pt x="7896" y="3898"/>
                </a:cubicBezTo>
                <a:close/>
                <a:moveTo>
                  <a:pt x="7889" y="4139"/>
                </a:moveTo>
                <a:cubicBezTo>
                  <a:pt x="7936" y="4184"/>
                  <a:pt x="7983" y="4161"/>
                  <a:pt x="8038" y="4171"/>
                </a:cubicBezTo>
                <a:cubicBezTo>
                  <a:pt x="8059" y="4174"/>
                  <a:pt x="8091" y="4157"/>
                  <a:pt x="8080" y="4193"/>
                </a:cubicBezTo>
                <a:cubicBezTo>
                  <a:pt x="8073" y="4217"/>
                  <a:pt x="8016" y="4227"/>
                  <a:pt x="7997" y="4226"/>
                </a:cubicBezTo>
                <a:cubicBezTo>
                  <a:pt x="8021" y="4227"/>
                  <a:pt x="8043" y="4220"/>
                  <a:pt x="8063" y="4207"/>
                </a:cubicBezTo>
                <a:cubicBezTo>
                  <a:pt x="8014" y="4171"/>
                  <a:pt x="7949" y="4223"/>
                  <a:pt x="7894" y="4206"/>
                </a:cubicBezTo>
                <a:cubicBezTo>
                  <a:pt x="7862" y="4195"/>
                  <a:pt x="7842" y="4147"/>
                  <a:pt x="7795" y="4153"/>
                </a:cubicBezTo>
                <a:cubicBezTo>
                  <a:pt x="7821" y="4100"/>
                  <a:pt x="7856" y="4159"/>
                  <a:pt x="7889" y="4139"/>
                </a:cubicBezTo>
                <a:cubicBezTo>
                  <a:pt x="7945" y="4193"/>
                  <a:pt x="7861" y="4156"/>
                  <a:pt x="7889" y="4139"/>
                </a:cubicBezTo>
                <a:close/>
                <a:moveTo>
                  <a:pt x="7502" y="4150"/>
                </a:moveTo>
                <a:cubicBezTo>
                  <a:pt x="7519" y="4127"/>
                  <a:pt x="7542" y="4151"/>
                  <a:pt x="7562" y="4148"/>
                </a:cubicBezTo>
                <a:cubicBezTo>
                  <a:pt x="7601" y="4141"/>
                  <a:pt x="7629" y="4133"/>
                  <a:pt x="7671" y="4132"/>
                </a:cubicBezTo>
                <a:cubicBezTo>
                  <a:pt x="7694" y="4131"/>
                  <a:pt x="7726" y="4124"/>
                  <a:pt x="7747" y="4132"/>
                </a:cubicBezTo>
                <a:cubicBezTo>
                  <a:pt x="7773" y="4142"/>
                  <a:pt x="7783" y="4171"/>
                  <a:pt x="7813" y="4180"/>
                </a:cubicBezTo>
                <a:cubicBezTo>
                  <a:pt x="7803" y="4203"/>
                  <a:pt x="7735" y="4198"/>
                  <a:pt x="7712" y="4203"/>
                </a:cubicBezTo>
                <a:cubicBezTo>
                  <a:pt x="7690" y="4209"/>
                  <a:pt x="7683" y="4230"/>
                  <a:pt x="7658" y="4222"/>
                </a:cubicBezTo>
                <a:cubicBezTo>
                  <a:pt x="7631" y="4212"/>
                  <a:pt x="7647" y="4188"/>
                  <a:pt x="7628" y="4173"/>
                </a:cubicBezTo>
                <a:cubicBezTo>
                  <a:pt x="7610" y="4159"/>
                  <a:pt x="7591" y="4150"/>
                  <a:pt x="7566" y="4153"/>
                </a:cubicBezTo>
                <a:cubicBezTo>
                  <a:pt x="7579" y="4152"/>
                  <a:pt x="7470" y="4192"/>
                  <a:pt x="7502" y="4150"/>
                </a:cubicBezTo>
                <a:cubicBezTo>
                  <a:pt x="7513" y="4135"/>
                  <a:pt x="7500" y="4153"/>
                  <a:pt x="7502" y="4150"/>
                </a:cubicBezTo>
                <a:close/>
                <a:moveTo>
                  <a:pt x="7525" y="4217"/>
                </a:moveTo>
                <a:cubicBezTo>
                  <a:pt x="7536" y="4247"/>
                  <a:pt x="7479" y="4240"/>
                  <a:pt x="7470" y="4226"/>
                </a:cubicBezTo>
                <a:cubicBezTo>
                  <a:pt x="7451" y="4195"/>
                  <a:pt x="7508" y="4167"/>
                  <a:pt x="7525" y="4217"/>
                </a:cubicBezTo>
                <a:cubicBezTo>
                  <a:pt x="7532" y="4236"/>
                  <a:pt x="7520" y="4201"/>
                  <a:pt x="7525" y="4217"/>
                </a:cubicBezTo>
                <a:close/>
                <a:moveTo>
                  <a:pt x="7485" y="4164"/>
                </a:moveTo>
                <a:cubicBezTo>
                  <a:pt x="7459" y="4177"/>
                  <a:pt x="7440" y="4172"/>
                  <a:pt x="7410" y="4172"/>
                </a:cubicBezTo>
                <a:cubicBezTo>
                  <a:pt x="7438" y="4149"/>
                  <a:pt x="7457" y="4146"/>
                  <a:pt x="7485" y="4164"/>
                </a:cubicBezTo>
                <a:close/>
                <a:moveTo>
                  <a:pt x="7429" y="4215"/>
                </a:moveTo>
                <a:cubicBezTo>
                  <a:pt x="7414" y="4218"/>
                  <a:pt x="7400" y="4220"/>
                  <a:pt x="7385" y="4223"/>
                </a:cubicBezTo>
                <a:cubicBezTo>
                  <a:pt x="7396" y="4203"/>
                  <a:pt x="7413" y="4206"/>
                  <a:pt x="7429" y="4215"/>
                </a:cubicBezTo>
                <a:close/>
                <a:moveTo>
                  <a:pt x="7309" y="3213"/>
                </a:moveTo>
                <a:cubicBezTo>
                  <a:pt x="7310" y="3229"/>
                  <a:pt x="7306" y="3237"/>
                  <a:pt x="7298" y="3237"/>
                </a:cubicBezTo>
                <a:cubicBezTo>
                  <a:pt x="7301" y="3229"/>
                  <a:pt x="7305" y="3221"/>
                  <a:pt x="7309" y="3213"/>
                </a:cubicBezTo>
                <a:cubicBezTo>
                  <a:pt x="7304" y="3218"/>
                  <a:pt x="7304" y="3218"/>
                  <a:pt x="7309" y="3213"/>
                </a:cubicBezTo>
                <a:close/>
                <a:moveTo>
                  <a:pt x="7142" y="3676"/>
                </a:moveTo>
                <a:cubicBezTo>
                  <a:pt x="7131" y="3675"/>
                  <a:pt x="7148" y="3672"/>
                  <a:pt x="7164" y="3666"/>
                </a:cubicBezTo>
                <a:cubicBezTo>
                  <a:pt x="7206" y="3651"/>
                  <a:pt x="7234" y="3653"/>
                  <a:pt x="7239" y="3597"/>
                </a:cubicBezTo>
                <a:cubicBezTo>
                  <a:pt x="7233" y="3670"/>
                  <a:pt x="7122" y="3665"/>
                  <a:pt x="7129" y="3723"/>
                </a:cubicBezTo>
                <a:cubicBezTo>
                  <a:pt x="7132" y="3707"/>
                  <a:pt x="7136" y="3691"/>
                  <a:pt x="7142" y="3676"/>
                </a:cubicBezTo>
                <a:cubicBezTo>
                  <a:pt x="7138" y="3676"/>
                  <a:pt x="7142" y="3695"/>
                  <a:pt x="7142" y="3676"/>
                </a:cubicBezTo>
                <a:close/>
                <a:moveTo>
                  <a:pt x="6970" y="3077"/>
                </a:moveTo>
                <a:cubicBezTo>
                  <a:pt x="6977" y="3076"/>
                  <a:pt x="6984" y="3075"/>
                  <a:pt x="6990" y="3074"/>
                </a:cubicBezTo>
                <a:cubicBezTo>
                  <a:pt x="6977" y="3083"/>
                  <a:pt x="6970" y="3083"/>
                  <a:pt x="6970" y="3077"/>
                </a:cubicBezTo>
                <a:cubicBezTo>
                  <a:pt x="6978" y="3078"/>
                  <a:pt x="6970" y="3077"/>
                  <a:pt x="6970" y="3077"/>
                </a:cubicBezTo>
                <a:close/>
                <a:moveTo>
                  <a:pt x="7008" y="4140"/>
                </a:moveTo>
                <a:cubicBezTo>
                  <a:pt x="7043" y="4146"/>
                  <a:pt x="7057" y="4123"/>
                  <a:pt x="7085" y="4123"/>
                </a:cubicBezTo>
                <a:cubicBezTo>
                  <a:pt x="7109" y="4123"/>
                  <a:pt x="7129" y="4140"/>
                  <a:pt x="7153" y="4144"/>
                </a:cubicBezTo>
                <a:cubicBezTo>
                  <a:pt x="7221" y="4155"/>
                  <a:pt x="7282" y="4111"/>
                  <a:pt x="7354" y="4125"/>
                </a:cubicBezTo>
                <a:cubicBezTo>
                  <a:pt x="7384" y="4131"/>
                  <a:pt x="7386" y="4109"/>
                  <a:pt x="7398" y="4137"/>
                </a:cubicBezTo>
                <a:cubicBezTo>
                  <a:pt x="7409" y="4166"/>
                  <a:pt x="7382" y="4166"/>
                  <a:pt x="7367" y="4172"/>
                </a:cubicBezTo>
                <a:cubicBezTo>
                  <a:pt x="7350" y="4177"/>
                  <a:pt x="7297" y="4163"/>
                  <a:pt x="7272" y="4166"/>
                </a:cubicBezTo>
                <a:cubicBezTo>
                  <a:pt x="7229" y="4171"/>
                  <a:pt x="7190" y="4188"/>
                  <a:pt x="7147" y="4172"/>
                </a:cubicBezTo>
                <a:cubicBezTo>
                  <a:pt x="7156" y="4186"/>
                  <a:pt x="7224" y="4179"/>
                  <a:pt x="7198" y="4208"/>
                </a:cubicBezTo>
                <a:cubicBezTo>
                  <a:pt x="7187" y="4222"/>
                  <a:pt x="7127" y="4207"/>
                  <a:pt x="7110" y="4207"/>
                </a:cubicBezTo>
                <a:cubicBezTo>
                  <a:pt x="7083" y="4206"/>
                  <a:pt x="7004" y="4221"/>
                  <a:pt x="6982" y="4203"/>
                </a:cubicBezTo>
                <a:cubicBezTo>
                  <a:pt x="6953" y="4180"/>
                  <a:pt x="6969" y="4134"/>
                  <a:pt x="7008" y="4140"/>
                </a:cubicBezTo>
                <a:cubicBezTo>
                  <a:pt x="7034" y="4145"/>
                  <a:pt x="6986" y="4137"/>
                  <a:pt x="7008" y="4140"/>
                </a:cubicBezTo>
                <a:close/>
                <a:moveTo>
                  <a:pt x="6933" y="4432"/>
                </a:moveTo>
                <a:cubicBezTo>
                  <a:pt x="6927" y="4384"/>
                  <a:pt x="6987" y="4427"/>
                  <a:pt x="6997" y="4445"/>
                </a:cubicBezTo>
                <a:cubicBezTo>
                  <a:pt x="6959" y="4483"/>
                  <a:pt x="6929" y="4528"/>
                  <a:pt x="6872" y="4509"/>
                </a:cubicBezTo>
                <a:cubicBezTo>
                  <a:pt x="6905" y="4492"/>
                  <a:pt x="6938" y="4474"/>
                  <a:pt x="6933" y="4432"/>
                </a:cubicBezTo>
                <a:cubicBezTo>
                  <a:pt x="6931" y="4415"/>
                  <a:pt x="6939" y="4477"/>
                  <a:pt x="6933" y="4432"/>
                </a:cubicBezTo>
                <a:close/>
                <a:moveTo>
                  <a:pt x="6889" y="4153"/>
                </a:moveTo>
                <a:cubicBezTo>
                  <a:pt x="6897" y="4158"/>
                  <a:pt x="6904" y="4164"/>
                  <a:pt x="6911" y="4171"/>
                </a:cubicBezTo>
                <a:cubicBezTo>
                  <a:pt x="6886" y="4181"/>
                  <a:pt x="6799" y="4196"/>
                  <a:pt x="6781" y="4168"/>
                </a:cubicBezTo>
                <a:cubicBezTo>
                  <a:pt x="6743" y="4108"/>
                  <a:pt x="6876" y="4163"/>
                  <a:pt x="6889" y="4153"/>
                </a:cubicBezTo>
                <a:cubicBezTo>
                  <a:pt x="6890" y="4152"/>
                  <a:pt x="6855" y="4178"/>
                  <a:pt x="6889" y="4153"/>
                </a:cubicBezTo>
                <a:close/>
                <a:moveTo>
                  <a:pt x="6836" y="3245"/>
                </a:moveTo>
                <a:cubicBezTo>
                  <a:pt x="6847" y="3245"/>
                  <a:pt x="6845" y="3256"/>
                  <a:pt x="6831" y="3279"/>
                </a:cubicBezTo>
                <a:cubicBezTo>
                  <a:pt x="6832" y="3268"/>
                  <a:pt x="6834" y="3256"/>
                  <a:pt x="6836" y="3245"/>
                </a:cubicBezTo>
                <a:cubicBezTo>
                  <a:pt x="6836" y="3245"/>
                  <a:pt x="6833" y="3256"/>
                  <a:pt x="6836" y="3245"/>
                </a:cubicBezTo>
                <a:close/>
                <a:moveTo>
                  <a:pt x="6839" y="3963"/>
                </a:moveTo>
                <a:cubicBezTo>
                  <a:pt x="6837" y="4037"/>
                  <a:pt x="6816" y="3989"/>
                  <a:pt x="6778" y="4002"/>
                </a:cubicBezTo>
                <a:cubicBezTo>
                  <a:pt x="6803" y="3991"/>
                  <a:pt x="6802" y="3947"/>
                  <a:pt x="6839" y="3963"/>
                </a:cubicBezTo>
                <a:cubicBezTo>
                  <a:pt x="6839" y="3974"/>
                  <a:pt x="6800" y="3946"/>
                  <a:pt x="6839" y="3963"/>
                </a:cubicBezTo>
                <a:close/>
                <a:moveTo>
                  <a:pt x="6812" y="3250"/>
                </a:moveTo>
                <a:cubicBezTo>
                  <a:pt x="6809" y="3240"/>
                  <a:pt x="6808" y="3231"/>
                  <a:pt x="6808" y="3221"/>
                </a:cubicBezTo>
                <a:cubicBezTo>
                  <a:pt x="6808" y="3231"/>
                  <a:pt x="6809" y="3240"/>
                  <a:pt x="6812" y="3250"/>
                </a:cubicBezTo>
                <a:close/>
                <a:moveTo>
                  <a:pt x="6814" y="3257"/>
                </a:moveTo>
                <a:cubicBezTo>
                  <a:pt x="6814" y="3279"/>
                  <a:pt x="6776" y="3313"/>
                  <a:pt x="6763" y="3328"/>
                </a:cubicBezTo>
                <a:cubicBezTo>
                  <a:pt x="6782" y="3307"/>
                  <a:pt x="6803" y="3284"/>
                  <a:pt x="6814" y="3257"/>
                </a:cubicBezTo>
                <a:cubicBezTo>
                  <a:pt x="6814" y="3257"/>
                  <a:pt x="6803" y="3285"/>
                  <a:pt x="6814" y="3257"/>
                </a:cubicBezTo>
                <a:close/>
                <a:moveTo>
                  <a:pt x="6735" y="4205"/>
                </a:moveTo>
                <a:cubicBezTo>
                  <a:pt x="6745" y="4189"/>
                  <a:pt x="6886" y="4217"/>
                  <a:pt x="6858" y="4231"/>
                </a:cubicBezTo>
                <a:cubicBezTo>
                  <a:pt x="6844" y="4238"/>
                  <a:pt x="6718" y="4230"/>
                  <a:pt x="6735" y="4205"/>
                </a:cubicBezTo>
                <a:cubicBezTo>
                  <a:pt x="6744" y="4191"/>
                  <a:pt x="6732" y="4209"/>
                  <a:pt x="6735" y="4205"/>
                </a:cubicBezTo>
                <a:close/>
                <a:moveTo>
                  <a:pt x="6731" y="4138"/>
                </a:moveTo>
                <a:cubicBezTo>
                  <a:pt x="6735" y="4162"/>
                  <a:pt x="6705" y="4136"/>
                  <a:pt x="6702" y="4133"/>
                </a:cubicBezTo>
                <a:cubicBezTo>
                  <a:pt x="6714" y="4125"/>
                  <a:pt x="6723" y="4127"/>
                  <a:pt x="6731" y="4138"/>
                </a:cubicBezTo>
                <a:cubicBezTo>
                  <a:pt x="6734" y="4154"/>
                  <a:pt x="6729" y="4126"/>
                  <a:pt x="6731" y="4138"/>
                </a:cubicBezTo>
                <a:close/>
                <a:moveTo>
                  <a:pt x="6572" y="2783"/>
                </a:moveTo>
                <a:cubicBezTo>
                  <a:pt x="6600" y="2783"/>
                  <a:pt x="6670" y="2763"/>
                  <a:pt x="6663" y="2807"/>
                </a:cubicBezTo>
                <a:cubicBezTo>
                  <a:pt x="6670" y="2766"/>
                  <a:pt x="6625" y="2789"/>
                  <a:pt x="6602" y="2783"/>
                </a:cubicBezTo>
                <a:cubicBezTo>
                  <a:pt x="6570" y="2775"/>
                  <a:pt x="6583" y="2773"/>
                  <a:pt x="6558" y="2758"/>
                </a:cubicBezTo>
                <a:cubicBezTo>
                  <a:pt x="6567" y="2764"/>
                  <a:pt x="6572" y="2772"/>
                  <a:pt x="6572" y="2783"/>
                </a:cubicBezTo>
                <a:cubicBezTo>
                  <a:pt x="6602" y="2783"/>
                  <a:pt x="6571" y="2770"/>
                  <a:pt x="6572" y="2783"/>
                </a:cubicBezTo>
                <a:close/>
                <a:moveTo>
                  <a:pt x="6532" y="4405"/>
                </a:moveTo>
                <a:cubicBezTo>
                  <a:pt x="6554" y="4405"/>
                  <a:pt x="6574" y="4401"/>
                  <a:pt x="6571" y="4374"/>
                </a:cubicBezTo>
                <a:cubicBezTo>
                  <a:pt x="6556" y="4372"/>
                  <a:pt x="6542" y="4371"/>
                  <a:pt x="6528" y="4369"/>
                </a:cubicBezTo>
                <a:cubicBezTo>
                  <a:pt x="6542" y="4371"/>
                  <a:pt x="6556" y="4372"/>
                  <a:pt x="6571" y="4374"/>
                </a:cubicBezTo>
                <a:cubicBezTo>
                  <a:pt x="6583" y="4366"/>
                  <a:pt x="6591" y="4371"/>
                  <a:pt x="6595" y="4389"/>
                </a:cubicBezTo>
                <a:cubicBezTo>
                  <a:pt x="6642" y="4399"/>
                  <a:pt x="6619" y="4397"/>
                  <a:pt x="6645" y="4376"/>
                </a:cubicBezTo>
                <a:cubicBezTo>
                  <a:pt x="6665" y="4361"/>
                  <a:pt x="6611" y="4316"/>
                  <a:pt x="6683" y="4354"/>
                </a:cubicBezTo>
                <a:cubicBezTo>
                  <a:pt x="6745" y="4387"/>
                  <a:pt x="6689" y="4383"/>
                  <a:pt x="6667" y="4404"/>
                </a:cubicBezTo>
                <a:cubicBezTo>
                  <a:pt x="6744" y="4410"/>
                  <a:pt x="6821" y="4394"/>
                  <a:pt x="6898" y="4409"/>
                </a:cubicBezTo>
                <a:cubicBezTo>
                  <a:pt x="6876" y="4451"/>
                  <a:pt x="6868" y="4446"/>
                  <a:pt x="6831" y="4449"/>
                </a:cubicBezTo>
                <a:cubicBezTo>
                  <a:pt x="6803" y="4452"/>
                  <a:pt x="6756" y="4448"/>
                  <a:pt x="6726" y="4447"/>
                </a:cubicBezTo>
                <a:cubicBezTo>
                  <a:pt x="6675" y="4446"/>
                  <a:pt x="6623" y="4442"/>
                  <a:pt x="6573" y="4439"/>
                </a:cubicBezTo>
                <a:cubicBezTo>
                  <a:pt x="6561" y="4438"/>
                  <a:pt x="6517" y="4444"/>
                  <a:pt x="6514" y="4428"/>
                </a:cubicBezTo>
                <a:cubicBezTo>
                  <a:pt x="6510" y="4414"/>
                  <a:pt x="6512" y="4405"/>
                  <a:pt x="6532" y="4405"/>
                </a:cubicBezTo>
                <a:cubicBezTo>
                  <a:pt x="6554" y="4405"/>
                  <a:pt x="6521" y="4405"/>
                  <a:pt x="6532" y="4405"/>
                </a:cubicBezTo>
                <a:close/>
                <a:moveTo>
                  <a:pt x="6819" y="4513"/>
                </a:moveTo>
                <a:cubicBezTo>
                  <a:pt x="6814" y="4490"/>
                  <a:pt x="6857" y="4523"/>
                  <a:pt x="6854" y="4520"/>
                </a:cubicBezTo>
                <a:cubicBezTo>
                  <a:pt x="6876" y="4543"/>
                  <a:pt x="6858" y="4539"/>
                  <a:pt x="6854" y="4558"/>
                </a:cubicBezTo>
                <a:cubicBezTo>
                  <a:pt x="6846" y="4599"/>
                  <a:pt x="6830" y="4603"/>
                  <a:pt x="6787" y="4605"/>
                </a:cubicBezTo>
                <a:cubicBezTo>
                  <a:pt x="6786" y="4571"/>
                  <a:pt x="6828" y="4550"/>
                  <a:pt x="6819" y="4513"/>
                </a:cubicBezTo>
                <a:cubicBezTo>
                  <a:pt x="6817" y="4504"/>
                  <a:pt x="6828" y="4552"/>
                  <a:pt x="6819" y="4513"/>
                </a:cubicBezTo>
                <a:close/>
                <a:moveTo>
                  <a:pt x="6723" y="4487"/>
                </a:moveTo>
                <a:cubicBezTo>
                  <a:pt x="6785" y="4462"/>
                  <a:pt x="6789" y="4562"/>
                  <a:pt x="6742" y="4570"/>
                </a:cubicBezTo>
                <a:cubicBezTo>
                  <a:pt x="6700" y="4577"/>
                  <a:pt x="6731" y="4539"/>
                  <a:pt x="6730" y="4536"/>
                </a:cubicBezTo>
                <a:cubicBezTo>
                  <a:pt x="6745" y="4529"/>
                  <a:pt x="6747" y="4520"/>
                  <a:pt x="6737" y="4511"/>
                </a:cubicBezTo>
                <a:cubicBezTo>
                  <a:pt x="6727" y="4506"/>
                  <a:pt x="6723" y="4498"/>
                  <a:pt x="6723" y="4487"/>
                </a:cubicBezTo>
                <a:cubicBezTo>
                  <a:pt x="6740" y="4480"/>
                  <a:pt x="6716" y="4510"/>
                  <a:pt x="6723" y="4487"/>
                </a:cubicBezTo>
                <a:close/>
                <a:moveTo>
                  <a:pt x="6547" y="4570"/>
                </a:moveTo>
                <a:cubicBezTo>
                  <a:pt x="6551" y="4560"/>
                  <a:pt x="6557" y="4553"/>
                  <a:pt x="6565" y="4546"/>
                </a:cubicBezTo>
                <a:cubicBezTo>
                  <a:pt x="6557" y="4553"/>
                  <a:pt x="6551" y="4560"/>
                  <a:pt x="6547" y="4570"/>
                </a:cubicBezTo>
                <a:cubicBezTo>
                  <a:pt x="6571" y="4566"/>
                  <a:pt x="6603" y="4579"/>
                  <a:pt x="6630" y="4576"/>
                </a:cubicBezTo>
                <a:cubicBezTo>
                  <a:pt x="6644" y="4575"/>
                  <a:pt x="6680" y="4558"/>
                  <a:pt x="6696" y="4572"/>
                </a:cubicBezTo>
                <a:cubicBezTo>
                  <a:pt x="6752" y="4624"/>
                  <a:pt x="6561" y="4590"/>
                  <a:pt x="6569" y="4589"/>
                </a:cubicBezTo>
                <a:cubicBezTo>
                  <a:pt x="6553" y="4590"/>
                  <a:pt x="6514" y="4614"/>
                  <a:pt x="6488" y="4614"/>
                </a:cubicBezTo>
                <a:cubicBezTo>
                  <a:pt x="6474" y="4615"/>
                  <a:pt x="6392" y="4595"/>
                  <a:pt x="6399" y="4624"/>
                </a:cubicBezTo>
                <a:cubicBezTo>
                  <a:pt x="6413" y="4676"/>
                  <a:pt x="6504" y="4607"/>
                  <a:pt x="6473" y="4713"/>
                </a:cubicBezTo>
                <a:cubicBezTo>
                  <a:pt x="6409" y="4703"/>
                  <a:pt x="6399" y="4650"/>
                  <a:pt x="6343" y="4630"/>
                </a:cubicBezTo>
                <a:cubicBezTo>
                  <a:pt x="6285" y="4609"/>
                  <a:pt x="6238" y="4651"/>
                  <a:pt x="6179" y="4623"/>
                </a:cubicBezTo>
                <a:cubicBezTo>
                  <a:pt x="6301" y="4607"/>
                  <a:pt x="6422" y="4573"/>
                  <a:pt x="6547" y="4570"/>
                </a:cubicBezTo>
                <a:cubicBezTo>
                  <a:pt x="6553" y="4561"/>
                  <a:pt x="6426" y="4573"/>
                  <a:pt x="6547" y="4570"/>
                </a:cubicBezTo>
                <a:close/>
                <a:moveTo>
                  <a:pt x="6548" y="4748"/>
                </a:moveTo>
                <a:cubicBezTo>
                  <a:pt x="6499" y="4763"/>
                  <a:pt x="6457" y="4779"/>
                  <a:pt x="6402" y="4769"/>
                </a:cubicBezTo>
                <a:cubicBezTo>
                  <a:pt x="6413" y="4785"/>
                  <a:pt x="6429" y="4794"/>
                  <a:pt x="6448" y="4795"/>
                </a:cubicBezTo>
                <a:cubicBezTo>
                  <a:pt x="6418" y="4791"/>
                  <a:pt x="6396" y="4760"/>
                  <a:pt x="6366" y="4750"/>
                </a:cubicBezTo>
                <a:cubicBezTo>
                  <a:pt x="6376" y="4752"/>
                  <a:pt x="6385" y="4757"/>
                  <a:pt x="6393" y="4763"/>
                </a:cubicBezTo>
                <a:cubicBezTo>
                  <a:pt x="6403" y="4773"/>
                  <a:pt x="6411" y="4769"/>
                  <a:pt x="6417" y="4749"/>
                </a:cubicBezTo>
                <a:cubicBezTo>
                  <a:pt x="6420" y="4749"/>
                  <a:pt x="6482" y="4738"/>
                  <a:pt x="6483" y="4737"/>
                </a:cubicBezTo>
                <a:cubicBezTo>
                  <a:pt x="6498" y="4730"/>
                  <a:pt x="6540" y="4698"/>
                  <a:pt x="6550" y="4683"/>
                </a:cubicBezTo>
                <a:cubicBezTo>
                  <a:pt x="6553" y="4679"/>
                  <a:pt x="6536" y="4598"/>
                  <a:pt x="6591" y="4638"/>
                </a:cubicBezTo>
                <a:cubicBezTo>
                  <a:pt x="6614" y="4655"/>
                  <a:pt x="6593" y="4671"/>
                  <a:pt x="6593" y="4688"/>
                </a:cubicBezTo>
                <a:cubicBezTo>
                  <a:pt x="6593" y="4701"/>
                  <a:pt x="6613" y="4704"/>
                  <a:pt x="6613" y="4717"/>
                </a:cubicBezTo>
                <a:cubicBezTo>
                  <a:pt x="6592" y="4727"/>
                  <a:pt x="6570" y="4738"/>
                  <a:pt x="6548" y="4748"/>
                </a:cubicBezTo>
                <a:close/>
                <a:moveTo>
                  <a:pt x="6560" y="4789"/>
                </a:moveTo>
                <a:cubicBezTo>
                  <a:pt x="6558" y="4852"/>
                  <a:pt x="6517" y="4783"/>
                  <a:pt x="6560" y="4789"/>
                </a:cubicBezTo>
                <a:cubicBezTo>
                  <a:pt x="6560" y="4798"/>
                  <a:pt x="6549" y="4787"/>
                  <a:pt x="6560" y="4789"/>
                </a:cubicBezTo>
                <a:close/>
                <a:moveTo>
                  <a:pt x="6505" y="4810"/>
                </a:moveTo>
                <a:cubicBezTo>
                  <a:pt x="6487" y="4825"/>
                  <a:pt x="6476" y="4821"/>
                  <a:pt x="6473" y="4798"/>
                </a:cubicBezTo>
                <a:cubicBezTo>
                  <a:pt x="6489" y="4790"/>
                  <a:pt x="6499" y="4794"/>
                  <a:pt x="6505" y="4810"/>
                </a:cubicBezTo>
                <a:close/>
                <a:moveTo>
                  <a:pt x="6427" y="4840"/>
                </a:moveTo>
                <a:cubicBezTo>
                  <a:pt x="6417" y="4844"/>
                  <a:pt x="6236" y="4862"/>
                  <a:pt x="6273" y="4819"/>
                </a:cubicBezTo>
                <a:cubicBezTo>
                  <a:pt x="6303" y="4785"/>
                  <a:pt x="6390" y="4845"/>
                  <a:pt x="6427" y="4840"/>
                </a:cubicBezTo>
                <a:cubicBezTo>
                  <a:pt x="6380" y="4857"/>
                  <a:pt x="6379" y="4847"/>
                  <a:pt x="6427" y="4840"/>
                </a:cubicBezTo>
                <a:close/>
                <a:moveTo>
                  <a:pt x="6164" y="4683"/>
                </a:moveTo>
                <a:cubicBezTo>
                  <a:pt x="6134" y="4713"/>
                  <a:pt x="6085" y="4687"/>
                  <a:pt x="6039" y="4701"/>
                </a:cubicBezTo>
                <a:cubicBezTo>
                  <a:pt x="5995" y="4714"/>
                  <a:pt x="5980" y="4725"/>
                  <a:pt x="5932" y="4720"/>
                </a:cubicBezTo>
                <a:cubicBezTo>
                  <a:pt x="5925" y="4714"/>
                  <a:pt x="5918" y="4708"/>
                  <a:pt x="5910" y="4702"/>
                </a:cubicBezTo>
                <a:cubicBezTo>
                  <a:pt x="5899" y="4704"/>
                  <a:pt x="5888" y="4707"/>
                  <a:pt x="5876" y="4709"/>
                </a:cubicBezTo>
                <a:cubicBezTo>
                  <a:pt x="5849" y="4707"/>
                  <a:pt x="5819" y="4712"/>
                  <a:pt x="5791" y="4710"/>
                </a:cubicBezTo>
                <a:cubicBezTo>
                  <a:pt x="5745" y="4707"/>
                  <a:pt x="5707" y="4702"/>
                  <a:pt x="5664" y="4687"/>
                </a:cubicBezTo>
                <a:cubicBezTo>
                  <a:pt x="5653" y="4684"/>
                  <a:pt x="5635" y="4674"/>
                  <a:pt x="5625" y="4667"/>
                </a:cubicBezTo>
                <a:cubicBezTo>
                  <a:pt x="5617" y="4668"/>
                  <a:pt x="5609" y="4668"/>
                  <a:pt x="5602" y="4669"/>
                </a:cubicBezTo>
                <a:cubicBezTo>
                  <a:pt x="5600" y="4661"/>
                  <a:pt x="5598" y="4654"/>
                  <a:pt x="5597" y="4646"/>
                </a:cubicBezTo>
                <a:cubicBezTo>
                  <a:pt x="5587" y="4641"/>
                  <a:pt x="5564" y="4638"/>
                  <a:pt x="5555" y="4633"/>
                </a:cubicBezTo>
                <a:cubicBezTo>
                  <a:pt x="5545" y="4626"/>
                  <a:pt x="5548" y="4614"/>
                  <a:pt x="5537" y="4608"/>
                </a:cubicBezTo>
                <a:cubicBezTo>
                  <a:pt x="5457" y="4569"/>
                  <a:pt x="5346" y="4600"/>
                  <a:pt x="5253" y="4609"/>
                </a:cubicBezTo>
                <a:cubicBezTo>
                  <a:pt x="5292" y="4605"/>
                  <a:pt x="5467" y="4612"/>
                  <a:pt x="5490" y="4582"/>
                </a:cubicBezTo>
                <a:cubicBezTo>
                  <a:pt x="5530" y="4530"/>
                  <a:pt x="5420" y="4564"/>
                  <a:pt x="5389" y="4569"/>
                </a:cubicBezTo>
                <a:cubicBezTo>
                  <a:pt x="5376" y="4571"/>
                  <a:pt x="5214" y="4584"/>
                  <a:pt x="5255" y="4545"/>
                </a:cubicBezTo>
                <a:cubicBezTo>
                  <a:pt x="5286" y="4516"/>
                  <a:pt x="5389" y="4533"/>
                  <a:pt x="5435" y="4503"/>
                </a:cubicBezTo>
                <a:cubicBezTo>
                  <a:pt x="5418" y="4503"/>
                  <a:pt x="5401" y="4503"/>
                  <a:pt x="5384" y="4503"/>
                </a:cubicBezTo>
                <a:cubicBezTo>
                  <a:pt x="5358" y="4508"/>
                  <a:pt x="5349" y="4498"/>
                  <a:pt x="5358" y="4474"/>
                </a:cubicBezTo>
                <a:cubicBezTo>
                  <a:pt x="5349" y="4469"/>
                  <a:pt x="5317" y="4466"/>
                  <a:pt x="5313" y="4463"/>
                </a:cubicBezTo>
                <a:cubicBezTo>
                  <a:pt x="5266" y="4428"/>
                  <a:pt x="5388" y="4438"/>
                  <a:pt x="5414" y="4438"/>
                </a:cubicBezTo>
                <a:cubicBezTo>
                  <a:pt x="5408" y="4415"/>
                  <a:pt x="5372" y="4437"/>
                  <a:pt x="5378" y="4408"/>
                </a:cubicBezTo>
                <a:cubicBezTo>
                  <a:pt x="5384" y="4380"/>
                  <a:pt x="5417" y="4400"/>
                  <a:pt x="5430" y="4403"/>
                </a:cubicBezTo>
                <a:cubicBezTo>
                  <a:pt x="5466" y="4415"/>
                  <a:pt x="5462" y="4448"/>
                  <a:pt x="5485" y="4464"/>
                </a:cubicBezTo>
                <a:cubicBezTo>
                  <a:pt x="5514" y="4483"/>
                  <a:pt x="5519" y="4468"/>
                  <a:pt x="5554" y="4471"/>
                </a:cubicBezTo>
                <a:cubicBezTo>
                  <a:pt x="5574" y="4473"/>
                  <a:pt x="5608" y="4465"/>
                  <a:pt x="5616" y="4491"/>
                </a:cubicBezTo>
                <a:cubicBezTo>
                  <a:pt x="5621" y="4511"/>
                  <a:pt x="5583" y="4499"/>
                  <a:pt x="5579" y="4504"/>
                </a:cubicBezTo>
                <a:cubicBezTo>
                  <a:pt x="5568" y="4520"/>
                  <a:pt x="5562" y="4535"/>
                  <a:pt x="5560" y="4555"/>
                </a:cubicBezTo>
                <a:cubicBezTo>
                  <a:pt x="5563" y="4571"/>
                  <a:pt x="5570" y="4586"/>
                  <a:pt x="5580" y="4600"/>
                </a:cubicBezTo>
                <a:cubicBezTo>
                  <a:pt x="5571" y="4600"/>
                  <a:pt x="5567" y="4605"/>
                  <a:pt x="5566" y="4614"/>
                </a:cubicBezTo>
                <a:cubicBezTo>
                  <a:pt x="5564" y="4610"/>
                  <a:pt x="5641" y="4636"/>
                  <a:pt x="5645" y="4637"/>
                </a:cubicBezTo>
                <a:cubicBezTo>
                  <a:pt x="5686" y="4648"/>
                  <a:pt x="5734" y="4663"/>
                  <a:pt x="5775" y="4643"/>
                </a:cubicBezTo>
                <a:cubicBezTo>
                  <a:pt x="5761" y="4625"/>
                  <a:pt x="5735" y="4645"/>
                  <a:pt x="5723" y="4623"/>
                </a:cubicBezTo>
                <a:cubicBezTo>
                  <a:pt x="5745" y="4601"/>
                  <a:pt x="5723" y="4576"/>
                  <a:pt x="5740" y="4553"/>
                </a:cubicBezTo>
                <a:cubicBezTo>
                  <a:pt x="5739" y="4555"/>
                  <a:pt x="5800" y="4538"/>
                  <a:pt x="5794" y="4538"/>
                </a:cubicBezTo>
                <a:cubicBezTo>
                  <a:pt x="5816" y="4536"/>
                  <a:pt x="5835" y="4540"/>
                  <a:pt x="5858" y="4539"/>
                </a:cubicBezTo>
                <a:cubicBezTo>
                  <a:pt x="5854" y="4553"/>
                  <a:pt x="5810" y="4570"/>
                  <a:pt x="5806" y="4572"/>
                </a:cubicBezTo>
                <a:cubicBezTo>
                  <a:pt x="5811" y="4569"/>
                  <a:pt x="5802" y="4602"/>
                  <a:pt x="5803" y="4600"/>
                </a:cubicBezTo>
                <a:cubicBezTo>
                  <a:pt x="5800" y="4605"/>
                  <a:pt x="5773" y="4603"/>
                  <a:pt x="5767" y="4608"/>
                </a:cubicBezTo>
                <a:cubicBezTo>
                  <a:pt x="5812" y="4647"/>
                  <a:pt x="5914" y="4690"/>
                  <a:pt x="5926" y="4613"/>
                </a:cubicBezTo>
                <a:cubicBezTo>
                  <a:pt x="5965" y="4643"/>
                  <a:pt x="6058" y="4605"/>
                  <a:pt x="6104" y="4596"/>
                </a:cubicBezTo>
                <a:cubicBezTo>
                  <a:pt x="6085" y="4593"/>
                  <a:pt x="6067" y="4590"/>
                  <a:pt x="6048" y="4587"/>
                </a:cubicBezTo>
                <a:cubicBezTo>
                  <a:pt x="6065" y="4568"/>
                  <a:pt x="6188" y="4536"/>
                  <a:pt x="6189" y="4579"/>
                </a:cubicBezTo>
                <a:cubicBezTo>
                  <a:pt x="6189" y="4581"/>
                  <a:pt x="6100" y="4638"/>
                  <a:pt x="6081" y="4640"/>
                </a:cubicBezTo>
                <a:cubicBezTo>
                  <a:pt x="6112" y="4648"/>
                  <a:pt x="6146" y="4654"/>
                  <a:pt x="6164" y="4683"/>
                </a:cubicBezTo>
                <a:cubicBezTo>
                  <a:pt x="6157" y="4690"/>
                  <a:pt x="6145" y="4653"/>
                  <a:pt x="6164" y="4683"/>
                </a:cubicBezTo>
                <a:close/>
                <a:moveTo>
                  <a:pt x="5916" y="5122"/>
                </a:moveTo>
                <a:cubicBezTo>
                  <a:pt x="5923" y="5110"/>
                  <a:pt x="5932" y="5109"/>
                  <a:pt x="5942" y="5120"/>
                </a:cubicBezTo>
                <a:cubicBezTo>
                  <a:pt x="5933" y="5132"/>
                  <a:pt x="5925" y="5132"/>
                  <a:pt x="5916" y="5122"/>
                </a:cubicBezTo>
                <a:cubicBezTo>
                  <a:pt x="5919" y="5118"/>
                  <a:pt x="5920" y="5125"/>
                  <a:pt x="5916" y="5122"/>
                </a:cubicBezTo>
                <a:close/>
                <a:moveTo>
                  <a:pt x="5913" y="5160"/>
                </a:moveTo>
                <a:cubicBezTo>
                  <a:pt x="5904" y="5159"/>
                  <a:pt x="5902" y="5155"/>
                  <a:pt x="5908" y="5148"/>
                </a:cubicBezTo>
                <a:cubicBezTo>
                  <a:pt x="5917" y="5149"/>
                  <a:pt x="5919" y="5153"/>
                  <a:pt x="5913" y="5160"/>
                </a:cubicBezTo>
                <a:cubicBezTo>
                  <a:pt x="5910" y="5159"/>
                  <a:pt x="5914" y="5157"/>
                  <a:pt x="5913" y="5160"/>
                </a:cubicBezTo>
                <a:close/>
                <a:moveTo>
                  <a:pt x="5843" y="5091"/>
                </a:moveTo>
                <a:cubicBezTo>
                  <a:pt x="5857" y="5099"/>
                  <a:pt x="5871" y="5108"/>
                  <a:pt x="5885" y="5117"/>
                </a:cubicBezTo>
                <a:cubicBezTo>
                  <a:pt x="5849" y="5155"/>
                  <a:pt x="5664" y="5143"/>
                  <a:pt x="5606" y="5151"/>
                </a:cubicBezTo>
                <a:cubicBezTo>
                  <a:pt x="5551" y="5159"/>
                  <a:pt x="5498" y="5180"/>
                  <a:pt x="5455" y="5141"/>
                </a:cubicBezTo>
                <a:cubicBezTo>
                  <a:pt x="5431" y="5119"/>
                  <a:pt x="5456" y="5102"/>
                  <a:pt x="5411" y="5100"/>
                </a:cubicBezTo>
                <a:cubicBezTo>
                  <a:pt x="5397" y="5100"/>
                  <a:pt x="5373" y="5127"/>
                  <a:pt x="5358" y="5132"/>
                </a:cubicBezTo>
                <a:cubicBezTo>
                  <a:pt x="5354" y="5134"/>
                  <a:pt x="5284" y="5141"/>
                  <a:pt x="5283" y="5141"/>
                </a:cubicBezTo>
                <a:cubicBezTo>
                  <a:pt x="5259" y="5122"/>
                  <a:pt x="5290" y="5112"/>
                  <a:pt x="5296" y="5094"/>
                </a:cubicBezTo>
                <a:cubicBezTo>
                  <a:pt x="5234" y="5113"/>
                  <a:pt x="5138" y="5135"/>
                  <a:pt x="5074" y="5136"/>
                </a:cubicBezTo>
                <a:cubicBezTo>
                  <a:pt x="5022" y="5136"/>
                  <a:pt x="5023" y="5150"/>
                  <a:pt x="5013" y="5085"/>
                </a:cubicBezTo>
                <a:cubicBezTo>
                  <a:pt x="5086" y="5105"/>
                  <a:pt x="5137" y="5091"/>
                  <a:pt x="5209" y="5076"/>
                </a:cubicBezTo>
                <a:cubicBezTo>
                  <a:pt x="5269" y="5063"/>
                  <a:pt x="5327" y="5082"/>
                  <a:pt x="5388" y="5078"/>
                </a:cubicBezTo>
                <a:cubicBezTo>
                  <a:pt x="5451" y="5073"/>
                  <a:pt x="5519" y="5057"/>
                  <a:pt x="5582" y="5067"/>
                </a:cubicBezTo>
                <a:cubicBezTo>
                  <a:pt x="5641" y="5076"/>
                  <a:pt x="5687" y="5083"/>
                  <a:pt x="5753" y="5084"/>
                </a:cubicBezTo>
                <a:cubicBezTo>
                  <a:pt x="5717" y="5084"/>
                  <a:pt x="5652" y="5068"/>
                  <a:pt x="5618" y="5087"/>
                </a:cubicBezTo>
                <a:cubicBezTo>
                  <a:pt x="5576" y="5112"/>
                  <a:pt x="5675" y="5111"/>
                  <a:pt x="5682" y="5110"/>
                </a:cubicBezTo>
                <a:cubicBezTo>
                  <a:pt x="5733" y="5103"/>
                  <a:pt x="5768" y="5070"/>
                  <a:pt x="5818" y="5059"/>
                </a:cubicBezTo>
                <a:cubicBezTo>
                  <a:pt x="5870" y="5046"/>
                  <a:pt x="5926" y="5057"/>
                  <a:pt x="5978" y="5067"/>
                </a:cubicBezTo>
                <a:cubicBezTo>
                  <a:pt x="5957" y="5120"/>
                  <a:pt x="5895" y="5079"/>
                  <a:pt x="5843" y="5091"/>
                </a:cubicBezTo>
                <a:cubicBezTo>
                  <a:pt x="5857" y="5100"/>
                  <a:pt x="5887" y="5081"/>
                  <a:pt x="5843" y="5091"/>
                </a:cubicBezTo>
                <a:close/>
                <a:moveTo>
                  <a:pt x="5818" y="5650"/>
                </a:moveTo>
                <a:cubicBezTo>
                  <a:pt x="5793" y="5647"/>
                  <a:pt x="5784" y="5587"/>
                  <a:pt x="5745" y="5586"/>
                </a:cubicBezTo>
                <a:cubicBezTo>
                  <a:pt x="5785" y="5587"/>
                  <a:pt x="5793" y="5647"/>
                  <a:pt x="5818" y="5650"/>
                </a:cubicBezTo>
                <a:cubicBezTo>
                  <a:pt x="5810" y="5649"/>
                  <a:pt x="5810" y="5649"/>
                  <a:pt x="5818" y="5650"/>
                </a:cubicBezTo>
                <a:close/>
                <a:moveTo>
                  <a:pt x="5643" y="5203"/>
                </a:moveTo>
                <a:cubicBezTo>
                  <a:pt x="5642" y="5222"/>
                  <a:pt x="5545" y="5226"/>
                  <a:pt x="5536" y="5219"/>
                </a:cubicBezTo>
                <a:cubicBezTo>
                  <a:pt x="5492" y="5187"/>
                  <a:pt x="5647" y="5143"/>
                  <a:pt x="5643" y="5203"/>
                </a:cubicBezTo>
                <a:cubicBezTo>
                  <a:pt x="5642" y="5224"/>
                  <a:pt x="5644" y="5183"/>
                  <a:pt x="5643" y="5203"/>
                </a:cubicBezTo>
                <a:close/>
                <a:moveTo>
                  <a:pt x="5059" y="5396"/>
                </a:moveTo>
                <a:cubicBezTo>
                  <a:pt x="4988" y="5394"/>
                  <a:pt x="4918" y="5409"/>
                  <a:pt x="4848" y="5392"/>
                </a:cubicBezTo>
                <a:cubicBezTo>
                  <a:pt x="4895" y="5354"/>
                  <a:pt x="4947" y="5368"/>
                  <a:pt x="5003" y="5366"/>
                </a:cubicBezTo>
                <a:cubicBezTo>
                  <a:pt x="5021" y="5366"/>
                  <a:pt x="5063" y="5352"/>
                  <a:pt x="5076" y="5367"/>
                </a:cubicBezTo>
                <a:cubicBezTo>
                  <a:pt x="5091" y="5383"/>
                  <a:pt x="5083" y="5396"/>
                  <a:pt x="5059" y="5396"/>
                </a:cubicBezTo>
                <a:cubicBezTo>
                  <a:pt x="4991" y="5394"/>
                  <a:pt x="5071" y="5396"/>
                  <a:pt x="5059" y="5396"/>
                </a:cubicBezTo>
                <a:close/>
                <a:moveTo>
                  <a:pt x="5078" y="5453"/>
                </a:moveTo>
                <a:cubicBezTo>
                  <a:pt x="5076" y="5456"/>
                  <a:pt x="4993" y="5446"/>
                  <a:pt x="4987" y="5438"/>
                </a:cubicBezTo>
                <a:cubicBezTo>
                  <a:pt x="4999" y="5429"/>
                  <a:pt x="5091" y="5421"/>
                  <a:pt x="5078" y="5453"/>
                </a:cubicBezTo>
                <a:cubicBezTo>
                  <a:pt x="5071" y="5469"/>
                  <a:pt x="5084" y="5439"/>
                  <a:pt x="5078" y="5453"/>
                </a:cubicBezTo>
                <a:close/>
                <a:moveTo>
                  <a:pt x="4659" y="4861"/>
                </a:moveTo>
                <a:cubicBezTo>
                  <a:pt x="4686" y="4915"/>
                  <a:pt x="4524" y="4920"/>
                  <a:pt x="4493" y="4926"/>
                </a:cubicBezTo>
                <a:cubicBezTo>
                  <a:pt x="4455" y="4935"/>
                  <a:pt x="4414" y="4953"/>
                  <a:pt x="4374" y="4952"/>
                </a:cubicBezTo>
                <a:cubicBezTo>
                  <a:pt x="4340" y="4950"/>
                  <a:pt x="4314" y="4921"/>
                  <a:pt x="4278" y="4932"/>
                </a:cubicBezTo>
                <a:cubicBezTo>
                  <a:pt x="4324" y="4907"/>
                  <a:pt x="4285" y="4871"/>
                  <a:pt x="4257" y="4869"/>
                </a:cubicBezTo>
                <a:cubicBezTo>
                  <a:pt x="4223" y="4866"/>
                  <a:pt x="4233" y="4882"/>
                  <a:pt x="4208" y="4889"/>
                </a:cubicBezTo>
                <a:cubicBezTo>
                  <a:pt x="4157" y="4903"/>
                  <a:pt x="4171" y="4909"/>
                  <a:pt x="4159" y="4849"/>
                </a:cubicBezTo>
                <a:cubicBezTo>
                  <a:pt x="4194" y="4856"/>
                  <a:pt x="4201" y="4861"/>
                  <a:pt x="4233" y="4856"/>
                </a:cubicBezTo>
                <a:cubicBezTo>
                  <a:pt x="4253" y="4852"/>
                  <a:pt x="4255" y="4838"/>
                  <a:pt x="4277" y="4841"/>
                </a:cubicBezTo>
                <a:cubicBezTo>
                  <a:pt x="4284" y="4848"/>
                  <a:pt x="4289" y="4856"/>
                  <a:pt x="4291" y="4866"/>
                </a:cubicBezTo>
                <a:cubicBezTo>
                  <a:pt x="4306" y="4865"/>
                  <a:pt x="4320" y="4867"/>
                  <a:pt x="4334" y="4873"/>
                </a:cubicBezTo>
                <a:cubicBezTo>
                  <a:pt x="4345" y="4885"/>
                  <a:pt x="4357" y="4926"/>
                  <a:pt x="4365" y="4929"/>
                </a:cubicBezTo>
                <a:cubicBezTo>
                  <a:pt x="4387" y="4938"/>
                  <a:pt x="4394" y="4913"/>
                  <a:pt x="4413" y="4908"/>
                </a:cubicBezTo>
                <a:cubicBezTo>
                  <a:pt x="4435" y="4901"/>
                  <a:pt x="4460" y="4906"/>
                  <a:pt x="4481" y="4900"/>
                </a:cubicBezTo>
                <a:cubicBezTo>
                  <a:pt x="4504" y="4893"/>
                  <a:pt x="4525" y="4868"/>
                  <a:pt x="4547" y="4866"/>
                </a:cubicBezTo>
                <a:cubicBezTo>
                  <a:pt x="4578" y="4862"/>
                  <a:pt x="4604" y="4885"/>
                  <a:pt x="4636" y="4876"/>
                </a:cubicBezTo>
                <a:cubicBezTo>
                  <a:pt x="4595" y="4848"/>
                  <a:pt x="4550" y="4855"/>
                  <a:pt x="4503" y="4851"/>
                </a:cubicBezTo>
                <a:cubicBezTo>
                  <a:pt x="4509" y="4829"/>
                  <a:pt x="4512" y="4789"/>
                  <a:pt x="4517" y="4781"/>
                </a:cubicBezTo>
                <a:cubicBezTo>
                  <a:pt x="4546" y="4739"/>
                  <a:pt x="4578" y="4764"/>
                  <a:pt x="4609" y="4767"/>
                </a:cubicBezTo>
                <a:cubicBezTo>
                  <a:pt x="4632" y="4770"/>
                  <a:pt x="4715" y="4757"/>
                  <a:pt x="4713" y="4802"/>
                </a:cubicBezTo>
                <a:cubicBezTo>
                  <a:pt x="4711" y="4845"/>
                  <a:pt x="4637" y="4817"/>
                  <a:pt x="4659" y="4861"/>
                </a:cubicBezTo>
                <a:cubicBezTo>
                  <a:pt x="4676" y="4895"/>
                  <a:pt x="4647" y="4836"/>
                  <a:pt x="4659" y="4861"/>
                </a:cubicBezTo>
                <a:close/>
                <a:moveTo>
                  <a:pt x="4377" y="5130"/>
                </a:moveTo>
                <a:cubicBezTo>
                  <a:pt x="4298" y="5132"/>
                  <a:pt x="4211" y="5214"/>
                  <a:pt x="4138" y="5131"/>
                </a:cubicBezTo>
                <a:cubicBezTo>
                  <a:pt x="4198" y="5154"/>
                  <a:pt x="4248" y="5108"/>
                  <a:pt x="4305" y="5099"/>
                </a:cubicBezTo>
                <a:cubicBezTo>
                  <a:pt x="4322" y="5096"/>
                  <a:pt x="4374" y="5090"/>
                  <a:pt x="4381" y="5105"/>
                </a:cubicBezTo>
                <a:cubicBezTo>
                  <a:pt x="4384" y="5112"/>
                  <a:pt x="4395" y="5129"/>
                  <a:pt x="4377" y="5130"/>
                </a:cubicBezTo>
                <a:cubicBezTo>
                  <a:pt x="4325" y="5131"/>
                  <a:pt x="4384" y="5129"/>
                  <a:pt x="4377" y="5130"/>
                </a:cubicBezTo>
                <a:close/>
                <a:moveTo>
                  <a:pt x="4111" y="4868"/>
                </a:moveTo>
                <a:cubicBezTo>
                  <a:pt x="4125" y="4870"/>
                  <a:pt x="4135" y="4878"/>
                  <a:pt x="4141" y="4892"/>
                </a:cubicBezTo>
                <a:cubicBezTo>
                  <a:pt x="4102" y="4920"/>
                  <a:pt x="4082" y="4859"/>
                  <a:pt x="4045" y="4873"/>
                </a:cubicBezTo>
                <a:cubicBezTo>
                  <a:pt x="4087" y="4835"/>
                  <a:pt x="4011" y="4726"/>
                  <a:pt x="3958" y="4732"/>
                </a:cubicBezTo>
                <a:cubicBezTo>
                  <a:pt x="3969" y="4706"/>
                  <a:pt x="4006" y="4713"/>
                  <a:pt x="4027" y="4724"/>
                </a:cubicBezTo>
                <a:cubicBezTo>
                  <a:pt x="4061" y="4743"/>
                  <a:pt x="4050" y="4772"/>
                  <a:pt x="4082" y="4795"/>
                </a:cubicBezTo>
                <a:cubicBezTo>
                  <a:pt x="4068" y="4762"/>
                  <a:pt x="4121" y="4737"/>
                  <a:pt x="4073" y="4712"/>
                </a:cubicBezTo>
                <a:cubicBezTo>
                  <a:pt x="4098" y="4701"/>
                  <a:pt x="4227" y="4635"/>
                  <a:pt x="4223" y="4692"/>
                </a:cubicBezTo>
                <a:cubicBezTo>
                  <a:pt x="4222" y="4704"/>
                  <a:pt x="4150" y="4730"/>
                  <a:pt x="4135" y="4726"/>
                </a:cubicBezTo>
                <a:cubicBezTo>
                  <a:pt x="4180" y="4743"/>
                  <a:pt x="4229" y="4745"/>
                  <a:pt x="4277" y="4746"/>
                </a:cubicBezTo>
                <a:cubicBezTo>
                  <a:pt x="4290" y="4746"/>
                  <a:pt x="4337" y="4739"/>
                  <a:pt x="4346" y="4747"/>
                </a:cubicBezTo>
                <a:cubicBezTo>
                  <a:pt x="4355" y="4754"/>
                  <a:pt x="4337" y="4775"/>
                  <a:pt x="4333" y="4772"/>
                </a:cubicBezTo>
                <a:cubicBezTo>
                  <a:pt x="4347" y="4781"/>
                  <a:pt x="4336" y="4783"/>
                  <a:pt x="4366" y="4787"/>
                </a:cubicBezTo>
                <a:cubicBezTo>
                  <a:pt x="4400" y="4791"/>
                  <a:pt x="4456" y="4775"/>
                  <a:pt x="4491" y="4771"/>
                </a:cubicBezTo>
                <a:cubicBezTo>
                  <a:pt x="4453" y="4804"/>
                  <a:pt x="4435" y="4824"/>
                  <a:pt x="4386" y="4831"/>
                </a:cubicBezTo>
                <a:cubicBezTo>
                  <a:pt x="4374" y="4833"/>
                  <a:pt x="4358" y="4819"/>
                  <a:pt x="4345" y="4819"/>
                </a:cubicBezTo>
                <a:cubicBezTo>
                  <a:pt x="4336" y="4819"/>
                  <a:pt x="4333" y="4850"/>
                  <a:pt x="4317" y="4851"/>
                </a:cubicBezTo>
                <a:cubicBezTo>
                  <a:pt x="4332" y="4777"/>
                  <a:pt x="4214" y="4831"/>
                  <a:pt x="4179" y="4825"/>
                </a:cubicBezTo>
                <a:cubicBezTo>
                  <a:pt x="4148" y="4820"/>
                  <a:pt x="4141" y="4797"/>
                  <a:pt x="4115" y="4812"/>
                </a:cubicBezTo>
                <a:cubicBezTo>
                  <a:pt x="4097" y="4823"/>
                  <a:pt x="4086" y="4860"/>
                  <a:pt x="4111" y="4868"/>
                </a:cubicBezTo>
                <a:cubicBezTo>
                  <a:pt x="4123" y="4872"/>
                  <a:pt x="4096" y="4863"/>
                  <a:pt x="4111" y="4868"/>
                </a:cubicBezTo>
                <a:close/>
                <a:moveTo>
                  <a:pt x="3891" y="4328"/>
                </a:moveTo>
                <a:cubicBezTo>
                  <a:pt x="3913" y="4311"/>
                  <a:pt x="3927" y="4313"/>
                  <a:pt x="3945" y="4325"/>
                </a:cubicBezTo>
                <a:cubicBezTo>
                  <a:pt x="3930" y="4346"/>
                  <a:pt x="3914" y="4340"/>
                  <a:pt x="3891" y="4328"/>
                </a:cubicBezTo>
                <a:close/>
                <a:moveTo>
                  <a:pt x="3920" y="4391"/>
                </a:moveTo>
                <a:cubicBezTo>
                  <a:pt x="3879" y="4394"/>
                  <a:pt x="3916" y="4362"/>
                  <a:pt x="3915" y="4356"/>
                </a:cubicBezTo>
                <a:cubicBezTo>
                  <a:pt x="3915" y="4353"/>
                  <a:pt x="3966" y="4389"/>
                  <a:pt x="3920" y="4391"/>
                </a:cubicBezTo>
                <a:cubicBezTo>
                  <a:pt x="3911" y="4392"/>
                  <a:pt x="3933" y="4391"/>
                  <a:pt x="3920" y="4391"/>
                </a:cubicBezTo>
                <a:close/>
                <a:moveTo>
                  <a:pt x="3981" y="4140"/>
                </a:moveTo>
                <a:cubicBezTo>
                  <a:pt x="3960" y="4138"/>
                  <a:pt x="3929" y="4109"/>
                  <a:pt x="3966" y="4110"/>
                </a:cubicBezTo>
                <a:cubicBezTo>
                  <a:pt x="3983" y="4110"/>
                  <a:pt x="3973" y="4128"/>
                  <a:pt x="3981" y="4132"/>
                </a:cubicBezTo>
                <a:cubicBezTo>
                  <a:pt x="3993" y="4137"/>
                  <a:pt x="4001" y="4140"/>
                  <a:pt x="4024" y="4140"/>
                </a:cubicBezTo>
                <a:cubicBezTo>
                  <a:pt x="4015" y="4146"/>
                  <a:pt x="4009" y="4167"/>
                  <a:pt x="3997" y="4170"/>
                </a:cubicBezTo>
                <a:cubicBezTo>
                  <a:pt x="3985" y="4165"/>
                  <a:pt x="3980" y="4155"/>
                  <a:pt x="3981" y="4140"/>
                </a:cubicBezTo>
                <a:cubicBezTo>
                  <a:pt x="3965" y="4138"/>
                  <a:pt x="3992" y="4203"/>
                  <a:pt x="3981" y="4140"/>
                </a:cubicBezTo>
                <a:close/>
                <a:moveTo>
                  <a:pt x="4020" y="4227"/>
                </a:moveTo>
                <a:cubicBezTo>
                  <a:pt x="4020" y="4234"/>
                  <a:pt x="3976" y="4242"/>
                  <a:pt x="4013" y="4214"/>
                </a:cubicBezTo>
                <a:cubicBezTo>
                  <a:pt x="4015" y="4218"/>
                  <a:pt x="4018" y="4223"/>
                  <a:pt x="4020" y="4227"/>
                </a:cubicBezTo>
                <a:cubicBezTo>
                  <a:pt x="4020" y="4237"/>
                  <a:pt x="4020" y="4223"/>
                  <a:pt x="4020" y="4227"/>
                </a:cubicBezTo>
                <a:close/>
                <a:moveTo>
                  <a:pt x="3963" y="4205"/>
                </a:moveTo>
                <a:cubicBezTo>
                  <a:pt x="3961" y="4222"/>
                  <a:pt x="3884" y="4214"/>
                  <a:pt x="3876" y="4206"/>
                </a:cubicBezTo>
                <a:cubicBezTo>
                  <a:pt x="3887" y="4184"/>
                  <a:pt x="3968" y="4168"/>
                  <a:pt x="3963" y="4205"/>
                </a:cubicBezTo>
                <a:cubicBezTo>
                  <a:pt x="3960" y="4225"/>
                  <a:pt x="3966" y="4181"/>
                  <a:pt x="3963" y="4205"/>
                </a:cubicBezTo>
                <a:close/>
                <a:moveTo>
                  <a:pt x="3924" y="4134"/>
                </a:moveTo>
                <a:cubicBezTo>
                  <a:pt x="3912" y="4173"/>
                  <a:pt x="3830" y="4110"/>
                  <a:pt x="3807" y="4107"/>
                </a:cubicBezTo>
                <a:cubicBezTo>
                  <a:pt x="3829" y="4107"/>
                  <a:pt x="3936" y="4091"/>
                  <a:pt x="3924" y="4134"/>
                </a:cubicBezTo>
                <a:cubicBezTo>
                  <a:pt x="3916" y="4159"/>
                  <a:pt x="3930" y="4111"/>
                  <a:pt x="3924" y="4134"/>
                </a:cubicBezTo>
                <a:close/>
                <a:moveTo>
                  <a:pt x="3884" y="4287"/>
                </a:moveTo>
                <a:cubicBezTo>
                  <a:pt x="3895" y="4289"/>
                  <a:pt x="3899" y="4294"/>
                  <a:pt x="3896" y="4302"/>
                </a:cubicBezTo>
                <a:cubicBezTo>
                  <a:pt x="3878" y="4314"/>
                  <a:pt x="3868" y="4285"/>
                  <a:pt x="3884" y="4287"/>
                </a:cubicBezTo>
                <a:cubicBezTo>
                  <a:pt x="3889" y="4287"/>
                  <a:pt x="3878" y="4286"/>
                  <a:pt x="3884" y="4287"/>
                </a:cubicBezTo>
                <a:close/>
                <a:moveTo>
                  <a:pt x="3927" y="4273"/>
                </a:moveTo>
                <a:cubicBezTo>
                  <a:pt x="3912" y="4282"/>
                  <a:pt x="3928" y="4248"/>
                  <a:pt x="3932" y="4247"/>
                </a:cubicBezTo>
                <a:cubicBezTo>
                  <a:pt x="3942" y="4249"/>
                  <a:pt x="3947" y="4254"/>
                  <a:pt x="3947" y="4263"/>
                </a:cubicBezTo>
                <a:cubicBezTo>
                  <a:pt x="3949" y="4280"/>
                  <a:pt x="3961" y="4281"/>
                  <a:pt x="3983" y="4268"/>
                </a:cubicBezTo>
                <a:cubicBezTo>
                  <a:pt x="4009" y="4274"/>
                  <a:pt x="4042" y="4276"/>
                  <a:pt x="4068" y="4277"/>
                </a:cubicBezTo>
                <a:cubicBezTo>
                  <a:pt x="4125" y="4280"/>
                  <a:pt x="4162" y="4267"/>
                  <a:pt x="4200" y="4320"/>
                </a:cubicBezTo>
                <a:cubicBezTo>
                  <a:pt x="4132" y="4325"/>
                  <a:pt x="4100" y="4316"/>
                  <a:pt x="4037" y="4303"/>
                </a:cubicBezTo>
                <a:cubicBezTo>
                  <a:pt x="4014" y="4298"/>
                  <a:pt x="3990" y="4307"/>
                  <a:pt x="3968" y="4303"/>
                </a:cubicBezTo>
                <a:cubicBezTo>
                  <a:pt x="3942" y="4297"/>
                  <a:pt x="3962" y="4273"/>
                  <a:pt x="3927" y="4273"/>
                </a:cubicBezTo>
                <a:cubicBezTo>
                  <a:pt x="3925" y="4274"/>
                  <a:pt x="3934" y="4273"/>
                  <a:pt x="3927" y="4273"/>
                </a:cubicBezTo>
                <a:close/>
                <a:moveTo>
                  <a:pt x="4047" y="4236"/>
                </a:moveTo>
                <a:cubicBezTo>
                  <a:pt x="4056" y="4217"/>
                  <a:pt x="4068" y="4215"/>
                  <a:pt x="4088" y="4231"/>
                </a:cubicBezTo>
                <a:cubicBezTo>
                  <a:pt x="4072" y="4243"/>
                  <a:pt x="4060" y="4240"/>
                  <a:pt x="4047" y="4236"/>
                </a:cubicBezTo>
                <a:close/>
                <a:moveTo>
                  <a:pt x="4113" y="4219"/>
                </a:moveTo>
                <a:cubicBezTo>
                  <a:pt x="4135" y="4200"/>
                  <a:pt x="4153" y="4207"/>
                  <a:pt x="4181" y="4208"/>
                </a:cubicBezTo>
                <a:cubicBezTo>
                  <a:pt x="4153" y="4232"/>
                  <a:pt x="4136" y="4230"/>
                  <a:pt x="4113" y="4219"/>
                </a:cubicBezTo>
                <a:close/>
                <a:moveTo>
                  <a:pt x="4255" y="4542"/>
                </a:moveTo>
                <a:cubicBezTo>
                  <a:pt x="4249" y="4563"/>
                  <a:pt x="4177" y="4571"/>
                  <a:pt x="4161" y="4562"/>
                </a:cubicBezTo>
                <a:cubicBezTo>
                  <a:pt x="4170" y="4546"/>
                  <a:pt x="4270" y="4487"/>
                  <a:pt x="4255" y="4542"/>
                </a:cubicBezTo>
                <a:cubicBezTo>
                  <a:pt x="4249" y="4564"/>
                  <a:pt x="4257" y="4533"/>
                  <a:pt x="4255" y="4542"/>
                </a:cubicBezTo>
                <a:close/>
                <a:moveTo>
                  <a:pt x="4224" y="4669"/>
                </a:moveTo>
                <a:cubicBezTo>
                  <a:pt x="4220" y="4644"/>
                  <a:pt x="4231" y="4633"/>
                  <a:pt x="4256" y="4634"/>
                </a:cubicBezTo>
                <a:cubicBezTo>
                  <a:pt x="4257" y="4656"/>
                  <a:pt x="4245" y="4667"/>
                  <a:pt x="4224" y="4669"/>
                </a:cubicBezTo>
                <a:close/>
                <a:moveTo>
                  <a:pt x="4208" y="4204"/>
                </a:moveTo>
                <a:cubicBezTo>
                  <a:pt x="4184" y="4204"/>
                  <a:pt x="4200" y="4184"/>
                  <a:pt x="4199" y="4179"/>
                </a:cubicBezTo>
                <a:cubicBezTo>
                  <a:pt x="4196" y="4170"/>
                  <a:pt x="4244" y="4204"/>
                  <a:pt x="4208" y="4204"/>
                </a:cubicBezTo>
                <a:cubicBezTo>
                  <a:pt x="4201" y="4204"/>
                  <a:pt x="4217" y="4204"/>
                  <a:pt x="4208" y="4204"/>
                </a:cubicBezTo>
                <a:close/>
                <a:moveTo>
                  <a:pt x="4087" y="4367"/>
                </a:moveTo>
                <a:cubicBezTo>
                  <a:pt x="4072" y="4369"/>
                  <a:pt x="3958" y="4398"/>
                  <a:pt x="3974" y="4349"/>
                </a:cubicBezTo>
                <a:cubicBezTo>
                  <a:pt x="3983" y="4323"/>
                  <a:pt x="4069" y="4363"/>
                  <a:pt x="4087" y="4367"/>
                </a:cubicBezTo>
                <a:cubicBezTo>
                  <a:pt x="4047" y="4373"/>
                  <a:pt x="4049" y="4358"/>
                  <a:pt x="4087" y="4367"/>
                </a:cubicBezTo>
                <a:close/>
                <a:moveTo>
                  <a:pt x="4293" y="4355"/>
                </a:moveTo>
                <a:cubicBezTo>
                  <a:pt x="4295" y="4333"/>
                  <a:pt x="4365" y="4329"/>
                  <a:pt x="4364" y="4354"/>
                </a:cubicBezTo>
                <a:cubicBezTo>
                  <a:pt x="4364" y="4382"/>
                  <a:pt x="4291" y="4379"/>
                  <a:pt x="4293" y="4355"/>
                </a:cubicBezTo>
                <a:cubicBezTo>
                  <a:pt x="4296" y="4324"/>
                  <a:pt x="4291" y="4376"/>
                  <a:pt x="4293" y="4355"/>
                </a:cubicBezTo>
                <a:close/>
                <a:moveTo>
                  <a:pt x="4384" y="4640"/>
                </a:moveTo>
                <a:cubicBezTo>
                  <a:pt x="4394" y="4632"/>
                  <a:pt x="4388" y="4639"/>
                  <a:pt x="4384" y="4640"/>
                </a:cubicBezTo>
                <a:cubicBezTo>
                  <a:pt x="4386" y="4638"/>
                  <a:pt x="4385" y="4640"/>
                  <a:pt x="4384" y="4640"/>
                </a:cubicBezTo>
                <a:close/>
                <a:moveTo>
                  <a:pt x="4389" y="4636"/>
                </a:moveTo>
                <a:cubicBezTo>
                  <a:pt x="4406" y="4621"/>
                  <a:pt x="4393" y="4632"/>
                  <a:pt x="4389" y="4636"/>
                </a:cubicBezTo>
                <a:cubicBezTo>
                  <a:pt x="4392" y="4633"/>
                  <a:pt x="4389" y="4636"/>
                  <a:pt x="4389" y="4636"/>
                </a:cubicBezTo>
                <a:close/>
                <a:moveTo>
                  <a:pt x="4447" y="4860"/>
                </a:moveTo>
                <a:cubicBezTo>
                  <a:pt x="4444" y="4869"/>
                  <a:pt x="4437" y="4857"/>
                  <a:pt x="4447" y="4860"/>
                </a:cubicBezTo>
                <a:cubicBezTo>
                  <a:pt x="4447" y="4862"/>
                  <a:pt x="4446" y="4860"/>
                  <a:pt x="4447" y="4860"/>
                </a:cubicBezTo>
                <a:close/>
                <a:moveTo>
                  <a:pt x="4691" y="4884"/>
                </a:moveTo>
                <a:cubicBezTo>
                  <a:pt x="4735" y="4854"/>
                  <a:pt x="4806" y="4852"/>
                  <a:pt x="4857" y="4866"/>
                </a:cubicBezTo>
                <a:cubicBezTo>
                  <a:pt x="4853" y="4865"/>
                  <a:pt x="4919" y="4864"/>
                  <a:pt x="4904" y="4888"/>
                </a:cubicBezTo>
                <a:cubicBezTo>
                  <a:pt x="4891" y="4907"/>
                  <a:pt x="4871" y="4887"/>
                  <a:pt x="4855" y="4890"/>
                </a:cubicBezTo>
                <a:cubicBezTo>
                  <a:pt x="4822" y="4897"/>
                  <a:pt x="4795" y="4921"/>
                  <a:pt x="4761" y="4926"/>
                </a:cubicBezTo>
                <a:cubicBezTo>
                  <a:pt x="4747" y="4928"/>
                  <a:pt x="4646" y="4915"/>
                  <a:pt x="4691" y="4884"/>
                </a:cubicBezTo>
                <a:cubicBezTo>
                  <a:pt x="4754" y="4840"/>
                  <a:pt x="4674" y="4895"/>
                  <a:pt x="4691" y="4884"/>
                </a:cubicBezTo>
                <a:close/>
                <a:moveTo>
                  <a:pt x="5449" y="4668"/>
                </a:moveTo>
                <a:cubicBezTo>
                  <a:pt x="5472" y="4667"/>
                  <a:pt x="5612" y="4645"/>
                  <a:pt x="5618" y="4694"/>
                </a:cubicBezTo>
                <a:cubicBezTo>
                  <a:pt x="5585" y="4694"/>
                  <a:pt x="5615" y="4753"/>
                  <a:pt x="5570" y="4738"/>
                </a:cubicBezTo>
                <a:cubicBezTo>
                  <a:pt x="5596" y="4747"/>
                  <a:pt x="5686" y="4761"/>
                  <a:pt x="5712" y="4756"/>
                </a:cubicBezTo>
                <a:cubicBezTo>
                  <a:pt x="5737" y="4763"/>
                  <a:pt x="5752" y="4755"/>
                  <a:pt x="5756" y="4731"/>
                </a:cubicBezTo>
                <a:cubicBezTo>
                  <a:pt x="5770" y="4729"/>
                  <a:pt x="5781" y="4734"/>
                  <a:pt x="5789" y="4746"/>
                </a:cubicBezTo>
                <a:cubicBezTo>
                  <a:pt x="5788" y="4764"/>
                  <a:pt x="5779" y="4772"/>
                  <a:pt x="5763" y="4768"/>
                </a:cubicBezTo>
                <a:cubicBezTo>
                  <a:pt x="5750" y="4750"/>
                  <a:pt x="5733" y="4746"/>
                  <a:pt x="5712" y="4756"/>
                </a:cubicBezTo>
                <a:cubicBezTo>
                  <a:pt x="5707" y="4758"/>
                  <a:pt x="5675" y="4793"/>
                  <a:pt x="5677" y="4802"/>
                </a:cubicBezTo>
                <a:cubicBezTo>
                  <a:pt x="5648" y="4799"/>
                  <a:pt x="5639" y="4791"/>
                  <a:pt x="5611" y="4796"/>
                </a:cubicBezTo>
                <a:cubicBezTo>
                  <a:pt x="5612" y="4809"/>
                  <a:pt x="5607" y="4818"/>
                  <a:pt x="5597" y="4822"/>
                </a:cubicBezTo>
                <a:cubicBezTo>
                  <a:pt x="5585" y="4823"/>
                  <a:pt x="5574" y="4820"/>
                  <a:pt x="5564" y="4813"/>
                </a:cubicBezTo>
                <a:cubicBezTo>
                  <a:pt x="5528" y="4812"/>
                  <a:pt x="5483" y="4792"/>
                  <a:pt x="5458" y="4768"/>
                </a:cubicBezTo>
                <a:cubicBezTo>
                  <a:pt x="5473" y="4759"/>
                  <a:pt x="5475" y="4749"/>
                  <a:pt x="5465" y="4739"/>
                </a:cubicBezTo>
                <a:cubicBezTo>
                  <a:pt x="5455" y="4736"/>
                  <a:pt x="5445" y="4732"/>
                  <a:pt x="5435" y="4728"/>
                </a:cubicBezTo>
                <a:cubicBezTo>
                  <a:pt x="5451" y="4721"/>
                  <a:pt x="5476" y="4726"/>
                  <a:pt x="5480" y="4702"/>
                </a:cubicBezTo>
                <a:cubicBezTo>
                  <a:pt x="5464" y="4699"/>
                  <a:pt x="5440" y="4692"/>
                  <a:pt x="5426" y="4692"/>
                </a:cubicBezTo>
                <a:cubicBezTo>
                  <a:pt x="5411" y="4692"/>
                  <a:pt x="5389" y="4703"/>
                  <a:pt x="5372" y="4702"/>
                </a:cubicBezTo>
                <a:cubicBezTo>
                  <a:pt x="5340" y="4700"/>
                  <a:pt x="5322" y="4677"/>
                  <a:pt x="5290" y="4709"/>
                </a:cubicBezTo>
                <a:cubicBezTo>
                  <a:pt x="5306" y="4720"/>
                  <a:pt x="5332" y="4710"/>
                  <a:pt x="5338" y="4735"/>
                </a:cubicBezTo>
                <a:cubicBezTo>
                  <a:pt x="5322" y="4732"/>
                  <a:pt x="5306" y="4732"/>
                  <a:pt x="5290" y="4735"/>
                </a:cubicBezTo>
                <a:cubicBezTo>
                  <a:pt x="5284" y="4738"/>
                  <a:pt x="5328" y="4782"/>
                  <a:pt x="5275" y="4779"/>
                </a:cubicBezTo>
                <a:cubicBezTo>
                  <a:pt x="5230" y="4777"/>
                  <a:pt x="5226" y="4725"/>
                  <a:pt x="5242" y="4696"/>
                </a:cubicBezTo>
                <a:cubicBezTo>
                  <a:pt x="5296" y="4595"/>
                  <a:pt x="5413" y="4676"/>
                  <a:pt x="5487" y="4643"/>
                </a:cubicBezTo>
                <a:cubicBezTo>
                  <a:pt x="5468" y="4652"/>
                  <a:pt x="5446" y="4646"/>
                  <a:pt x="5449" y="4668"/>
                </a:cubicBezTo>
                <a:cubicBezTo>
                  <a:pt x="5485" y="4666"/>
                  <a:pt x="5448" y="4663"/>
                  <a:pt x="5449" y="4668"/>
                </a:cubicBezTo>
                <a:close/>
                <a:moveTo>
                  <a:pt x="5572" y="4878"/>
                </a:moveTo>
                <a:cubicBezTo>
                  <a:pt x="5562" y="4918"/>
                  <a:pt x="5538" y="4887"/>
                  <a:pt x="5530" y="4890"/>
                </a:cubicBezTo>
                <a:cubicBezTo>
                  <a:pt x="5529" y="4890"/>
                  <a:pt x="5572" y="4848"/>
                  <a:pt x="5572" y="4878"/>
                </a:cubicBezTo>
                <a:cubicBezTo>
                  <a:pt x="5568" y="4893"/>
                  <a:pt x="5572" y="4869"/>
                  <a:pt x="5572" y="4878"/>
                </a:cubicBezTo>
                <a:close/>
                <a:moveTo>
                  <a:pt x="5491" y="4867"/>
                </a:moveTo>
                <a:cubicBezTo>
                  <a:pt x="5529" y="4871"/>
                  <a:pt x="5493" y="4891"/>
                  <a:pt x="5493" y="4897"/>
                </a:cubicBezTo>
                <a:cubicBezTo>
                  <a:pt x="5493" y="4896"/>
                  <a:pt x="5450" y="4870"/>
                  <a:pt x="5491" y="4867"/>
                </a:cubicBezTo>
                <a:cubicBezTo>
                  <a:pt x="5499" y="4868"/>
                  <a:pt x="5480" y="4868"/>
                  <a:pt x="5491" y="4867"/>
                </a:cubicBezTo>
                <a:close/>
                <a:moveTo>
                  <a:pt x="5422" y="4866"/>
                </a:moveTo>
                <a:cubicBezTo>
                  <a:pt x="5367" y="4874"/>
                  <a:pt x="5430" y="4799"/>
                  <a:pt x="5465" y="4801"/>
                </a:cubicBezTo>
                <a:cubicBezTo>
                  <a:pt x="5539" y="4805"/>
                  <a:pt x="5461" y="4861"/>
                  <a:pt x="5422" y="4866"/>
                </a:cubicBezTo>
                <a:cubicBezTo>
                  <a:pt x="5410" y="4868"/>
                  <a:pt x="5455" y="4862"/>
                  <a:pt x="5422" y="4866"/>
                </a:cubicBezTo>
                <a:close/>
                <a:moveTo>
                  <a:pt x="5365" y="4746"/>
                </a:moveTo>
                <a:cubicBezTo>
                  <a:pt x="5347" y="4749"/>
                  <a:pt x="5338" y="4745"/>
                  <a:pt x="5338" y="4735"/>
                </a:cubicBezTo>
                <a:cubicBezTo>
                  <a:pt x="5347" y="4739"/>
                  <a:pt x="5356" y="4743"/>
                  <a:pt x="5365" y="4746"/>
                </a:cubicBezTo>
                <a:cubicBezTo>
                  <a:pt x="5356" y="4742"/>
                  <a:pt x="5356" y="4742"/>
                  <a:pt x="5365" y="4746"/>
                </a:cubicBezTo>
                <a:close/>
                <a:moveTo>
                  <a:pt x="5193" y="4597"/>
                </a:moveTo>
                <a:cubicBezTo>
                  <a:pt x="5156" y="4612"/>
                  <a:pt x="5101" y="4604"/>
                  <a:pt x="5061" y="4604"/>
                </a:cubicBezTo>
                <a:cubicBezTo>
                  <a:pt x="5091" y="4604"/>
                  <a:pt x="5121" y="4603"/>
                  <a:pt x="5151" y="4603"/>
                </a:cubicBezTo>
                <a:cubicBezTo>
                  <a:pt x="5149" y="4518"/>
                  <a:pt x="5055" y="4558"/>
                  <a:pt x="4997" y="4558"/>
                </a:cubicBezTo>
                <a:cubicBezTo>
                  <a:pt x="5047" y="4511"/>
                  <a:pt x="5102" y="4488"/>
                  <a:pt x="5168" y="4512"/>
                </a:cubicBezTo>
                <a:cubicBezTo>
                  <a:pt x="5223" y="4532"/>
                  <a:pt x="5255" y="4572"/>
                  <a:pt x="5193" y="4597"/>
                </a:cubicBezTo>
                <a:cubicBezTo>
                  <a:pt x="5180" y="4602"/>
                  <a:pt x="5207" y="4591"/>
                  <a:pt x="5193" y="4597"/>
                </a:cubicBezTo>
                <a:close/>
                <a:moveTo>
                  <a:pt x="5015" y="4757"/>
                </a:moveTo>
                <a:cubicBezTo>
                  <a:pt x="5004" y="4726"/>
                  <a:pt x="5122" y="4733"/>
                  <a:pt x="5136" y="4737"/>
                </a:cubicBezTo>
                <a:cubicBezTo>
                  <a:pt x="5155" y="4743"/>
                  <a:pt x="5222" y="4800"/>
                  <a:pt x="5172" y="4821"/>
                </a:cubicBezTo>
                <a:cubicBezTo>
                  <a:pt x="5150" y="4831"/>
                  <a:pt x="5118" y="4789"/>
                  <a:pt x="5102" y="4779"/>
                </a:cubicBezTo>
                <a:cubicBezTo>
                  <a:pt x="5088" y="4770"/>
                  <a:pt x="5016" y="4760"/>
                  <a:pt x="5015" y="4757"/>
                </a:cubicBezTo>
                <a:cubicBezTo>
                  <a:pt x="5010" y="4745"/>
                  <a:pt x="5017" y="4762"/>
                  <a:pt x="5015" y="4757"/>
                </a:cubicBezTo>
                <a:close/>
                <a:moveTo>
                  <a:pt x="5024" y="4967"/>
                </a:moveTo>
                <a:cubicBezTo>
                  <a:pt x="5010" y="4980"/>
                  <a:pt x="4882" y="5029"/>
                  <a:pt x="4873" y="4993"/>
                </a:cubicBezTo>
                <a:cubicBezTo>
                  <a:pt x="4863" y="4950"/>
                  <a:pt x="5000" y="4967"/>
                  <a:pt x="5024" y="4967"/>
                </a:cubicBezTo>
                <a:cubicBezTo>
                  <a:pt x="4979" y="5008"/>
                  <a:pt x="4975" y="4967"/>
                  <a:pt x="5024" y="4967"/>
                </a:cubicBezTo>
                <a:close/>
                <a:moveTo>
                  <a:pt x="5106" y="4404"/>
                </a:moveTo>
                <a:cubicBezTo>
                  <a:pt x="5011" y="4418"/>
                  <a:pt x="4912" y="4385"/>
                  <a:pt x="4822" y="4429"/>
                </a:cubicBezTo>
                <a:cubicBezTo>
                  <a:pt x="4899" y="4338"/>
                  <a:pt x="5003" y="4387"/>
                  <a:pt x="5107" y="4373"/>
                </a:cubicBezTo>
                <a:cubicBezTo>
                  <a:pt x="5107" y="4383"/>
                  <a:pt x="5106" y="4394"/>
                  <a:pt x="5106" y="4404"/>
                </a:cubicBezTo>
                <a:cubicBezTo>
                  <a:pt x="5012" y="4418"/>
                  <a:pt x="5106" y="4394"/>
                  <a:pt x="5106" y="4404"/>
                </a:cubicBezTo>
                <a:close/>
                <a:moveTo>
                  <a:pt x="4924" y="4651"/>
                </a:moveTo>
                <a:cubicBezTo>
                  <a:pt x="4936" y="4598"/>
                  <a:pt x="5094" y="4677"/>
                  <a:pt x="5115" y="4698"/>
                </a:cubicBezTo>
                <a:cubicBezTo>
                  <a:pt x="5034" y="4687"/>
                  <a:pt x="4983" y="4750"/>
                  <a:pt x="4909" y="4752"/>
                </a:cubicBezTo>
                <a:cubicBezTo>
                  <a:pt x="4847" y="4755"/>
                  <a:pt x="4831" y="4693"/>
                  <a:pt x="4794" y="4681"/>
                </a:cubicBezTo>
                <a:cubicBezTo>
                  <a:pt x="4824" y="4691"/>
                  <a:pt x="4829" y="4696"/>
                  <a:pt x="4866" y="4696"/>
                </a:cubicBezTo>
                <a:cubicBezTo>
                  <a:pt x="4903" y="4696"/>
                  <a:pt x="4943" y="4688"/>
                  <a:pt x="4979" y="4684"/>
                </a:cubicBezTo>
                <a:cubicBezTo>
                  <a:pt x="4967" y="4668"/>
                  <a:pt x="4918" y="4677"/>
                  <a:pt x="4924" y="4651"/>
                </a:cubicBezTo>
                <a:cubicBezTo>
                  <a:pt x="4931" y="4620"/>
                  <a:pt x="4917" y="4681"/>
                  <a:pt x="4924" y="4651"/>
                </a:cubicBezTo>
                <a:close/>
                <a:moveTo>
                  <a:pt x="5072" y="5222"/>
                </a:moveTo>
                <a:cubicBezTo>
                  <a:pt x="5033" y="5220"/>
                  <a:pt x="5014" y="5199"/>
                  <a:pt x="5009" y="5161"/>
                </a:cubicBezTo>
                <a:cubicBezTo>
                  <a:pt x="5050" y="5210"/>
                  <a:pt x="5110" y="5191"/>
                  <a:pt x="5165" y="5200"/>
                </a:cubicBezTo>
                <a:cubicBezTo>
                  <a:pt x="5137" y="5183"/>
                  <a:pt x="5105" y="5173"/>
                  <a:pt x="5073" y="5171"/>
                </a:cubicBezTo>
                <a:cubicBezTo>
                  <a:pt x="5107" y="5171"/>
                  <a:pt x="5144" y="5150"/>
                  <a:pt x="5178" y="5158"/>
                </a:cubicBezTo>
                <a:cubicBezTo>
                  <a:pt x="5218" y="5167"/>
                  <a:pt x="5228" y="5210"/>
                  <a:pt x="5272" y="5199"/>
                </a:cubicBezTo>
                <a:cubicBezTo>
                  <a:pt x="5297" y="5192"/>
                  <a:pt x="5308" y="5155"/>
                  <a:pt x="5332" y="5157"/>
                </a:cubicBezTo>
                <a:cubicBezTo>
                  <a:pt x="5371" y="5161"/>
                  <a:pt x="5321" y="5191"/>
                  <a:pt x="5321" y="5199"/>
                </a:cubicBezTo>
                <a:cubicBezTo>
                  <a:pt x="5333" y="5222"/>
                  <a:pt x="5362" y="5198"/>
                  <a:pt x="5373" y="5226"/>
                </a:cubicBezTo>
                <a:cubicBezTo>
                  <a:pt x="5329" y="5241"/>
                  <a:pt x="5279" y="5219"/>
                  <a:pt x="5235" y="5217"/>
                </a:cubicBezTo>
                <a:cubicBezTo>
                  <a:pt x="5181" y="5215"/>
                  <a:pt x="5127" y="5226"/>
                  <a:pt x="5072" y="5222"/>
                </a:cubicBezTo>
                <a:cubicBezTo>
                  <a:pt x="5031" y="5220"/>
                  <a:pt x="5127" y="5226"/>
                  <a:pt x="5072" y="5222"/>
                </a:cubicBezTo>
                <a:close/>
                <a:moveTo>
                  <a:pt x="5743" y="4900"/>
                </a:moveTo>
                <a:cubicBezTo>
                  <a:pt x="5752" y="4906"/>
                  <a:pt x="5762" y="4909"/>
                  <a:pt x="5773" y="4910"/>
                </a:cubicBezTo>
                <a:cubicBezTo>
                  <a:pt x="5762" y="4909"/>
                  <a:pt x="5752" y="4906"/>
                  <a:pt x="5743" y="4900"/>
                </a:cubicBezTo>
                <a:close/>
                <a:moveTo>
                  <a:pt x="5744" y="4795"/>
                </a:moveTo>
                <a:cubicBezTo>
                  <a:pt x="5768" y="4800"/>
                  <a:pt x="5790" y="4812"/>
                  <a:pt x="5811" y="4825"/>
                </a:cubicBezTo>
                <a:cubicBezTo>
                  <a:pt x="5782" y="4829"/>
                  <a:pt x="5751" y="4837"/>
                  <a:pt x="5744" y="4795"/>
                </a:cubicBezTo>
                <a:close/>
                <a:moveTo>
                  <a:pt x="5619" y="4344"/>
                </a:moveTo>
                <a:cubicBezTo>
                  <a:pt x="5641" y="4314"/>
                  <a:pt x="5656" y="4342"/>
                  <a:pt x="5658" y="4357"/>
                </a:cubicBezTo>
                <a:cubicBezTo>
                  <a:pt x="5659" y="4360"/>
                  <a:pt x="5635" y="4390"/>
                  <a:pt x="5635" y="4404"/>
                </a:cubicBezTo>
                <a:cubicBezTo>
                  <a:pt x="5600" y="4395"/>
                  <a:pt x="5523" y="4420"/>
                  <a:pt x="5525" y="4371"/>
                </a:cubicBezTo>
                <a:cubicBezTo>
                  <a:pt x="5559" y="4372"/>
                  <a:pt x="5596" y="4375"/>
                  <a:pt x="5619" y="4344"/>
                </a:cubicBezTo>
                <a:cubicBezTo>
                  <a:pt x="5631" y="4327"/>
                  <a:pt x="5595" y="4377"/>
                  <a:pt x="5619" y="4344"/>
                </a:cubicBezTo>
                <a:close/>
                <a:moveTo>
                  <a:pt x="5616" y="4251"/>
                </a:moveTo>
                <a:cubicBezTo>
                  <a:pt x="5611" y="4251"/>
                  <a:pt x="5668" y="4254"/>
                  <a:pt x="5674" y="4261"/>
                </a:cubicBezTo>
                <a:cubicBezTo>
                  <a:pt x="5667" y="4330"/>
                  <a:pt x="5527" y="4251"/>
                  <a:pt x="5616" y="4251"/>
                </a:cubicBezTo>
                <a:cubicBezTo>
                  <a:pt x="5628" y="4251"/>
                  <a:pt x="5600" y="4251"/>
                  <a:pt x="5616" y="4251"/>
                </a:cubicBezTo>
                <a:close/>
                <a:moveTo>
                  <a:pt x="5639" y="4510"/>
                </a:moveTo>
                <a:cubicBezTo>
                  <a:pt x="5645" y="4505"/>
                  <a:pt x="5650" y="4506"/>
                  <a:pt x="5653" y="4514"/>
                </a:cubicBezTo>
                <a:cubicBezTo>
                  <a:pt x="5648" y="4523"/>
                  <a:pt x="5643" y="4522"/>
                  <a:pt x="5639" y="4510"/>
                </a:cubicBezTo>
                <a:cubicBezTo>
                  <a:pt x="5642" y="4509"/>
                  <a:pt x="5641" y="4513"/>
                  <a:pt x="5639" y="4510"/>
                </a:cubicBezTo>
                <a:close/>
                <a:moveTo>
                  <a:pt x="5701" y="4621"/>
                </a:moveTo>
                <a:cubicBezTo>
                  <a:pt x="5663" y="4638"/>
                  <a:pt x="5691" y="4596"/>
                  <a:pt x="5684" y="4585"/>
                </a:cubicBezTo>
                <a:cubicBezTo>
                  <a:pt x="5727" y="4578"/>
                  <a:pt x="5697" y="4601"/>
                  <a:pt x="5701" y="4621"/>
                </a:cubicBezTo>
                <a:cubicBezTo>
                  <a:pt x="5691" y="4626"/>
                  <a:pt x="5698" y="4608"/>
                  <a:pt x="5701" y="4621"/>
                </a:cubicBezTo>
                <a:close/>
                <a:moveTo>
                  <a:pt x="5670" y="4574"/>
                </a:moveTo>
                <a:cubicBezTo>
                  <a:pt x="5670" y="4575"/>
                  <a:pt x="5678" y="4541"/>
                  <a:pt x="5683" y="4556"/>
                </a:cubicBezTo>
                <a:cubicBezTo>
                  <a:pt x="5685" y="4566"/>
                  <a:pt x="5680" y="4572"/>
                  <a:pt x="5670" y="4574"/>
                </a:cubicBezTo>
                <a:cubicBezTo>
                  <a:pt x="5670" y="4565"/>
                  <a:pt x="5677" y="4570"/>
                  <a:pt x="5670" y="4574"/>
                </a:cubicBezTo>
                <a:close/>
                <a:moveTo>
                  <a:pt x="5670" y="4574"/>
                </a:moveTo>
                <a:cubicBezTo>
                  <a:pt x="5670" y="4574"/>
                  <a:pt x="5670" y="4574"/>
                  <a:pt x="5670" y="4574"/>
                </a:cubicBezTo>
                <a:close/>
                <a:moveTo>
                  <a:pt x="5868" y="4235"/>
                </a:moveTo>
                <a:cubicBezTo>
                  <a:pt x="5914" y="4201"/>
                  <a:pt x="5992" y="4244"/>
                  <a:pt x="5917" y="4272"/>
                </a:cubicBezTo>
                <a:cubicBezTo>
                  <a:pt x="5874" y="4288"/>
                  <a:pt x="5816" y="4274"/>
                  <a:pt x="5868" y="4235"/>
                </a:cubicBezTo>
                <a:cubicBezTo>
                  <a:pt x="5873" y="4231"/>
                  <a:pt x="5857" y="4243"/>
                  <a:pt x="5868" y="4235"/>
                </a:cubicBezTo>
                <a:close/>
                <a:moveTo>
                  <a:pt x="5864" y="4213"/>
                </a:moveTo>
                <a:cubicBezTo>
                  <a:pt x="5871" y="4204"/>
                  <a:pt x="5873" y="4212"/>
                  <a:pt x="5877" y="4216"/>
                </a:cubicBezTo>
                <a:cubicBezTo>
                  <a:pt x="5872" y="4215"/>
                  <a:pt x="5868" y="4214"/>
                  <a:pt x="5864" y="4213"/>
                </a:cubicBezTo>
                <a:close/>
                <a:moveTo>
                  <a:pt x="6319" y="4506"/>
                </a:moveTo>
                <a:cubicBezTo>
                  <a:pt x="6252" y="4550"/>
                  <a:pt x="6166" y="4521"/>
                  <a:pt x="6093" y="4512"/>
                </a:cubicBezTo>
                <a:cubicBezTo>
                  <a:pt x="6078" y="4510"/>
                  <a:pt x="5934" y="4505"/>
                  <a:pt x="5962" y="4480"/>
                </a:cubicBezTo>
                <a:cubicBezTo>
                  <a:pt x="5985" y="4459"/>
                  <a:pt x="6092" y="4479"/>
                  <a:pt x="6120" y="4486"/>
                </a:cubicBezTo>
                <a:cubicBezTo>
                  <a:pt x="6149" y="4493"/>
                  <a:pt x="6176" y="4509"/>
                  <a:pt x="6206" y="4512"/>
                </a:cubicBezTo>
                <a:cubicBezTo>
                  <a:pt x="6243" y="4516"/>
                  <a:pt x="6281" y="4502"/>
                  <a:pt x="6319" y="4506"/>
                </a:cubicBezTo>
                <a:cubicBezTo>
                  <a:pt x="6262" y="4543"/>
                  <a:pt x="6263" y="4500"/>
                  <a:pt x="6319" y="4506"/>
                </a:cubicBezTo>
                <a:close/>
                <a:moveTo>
                  <a:pt x="6241" y="4477"/>
                </a:moveTo>
                <a:cubicBezTo>
                  <a:pt x="6248" y="4470"/>
                  <a:pt x="6256" y="4469"/>
                  <a:pt x="6263" y="4477"/>
                </a:cubicBezTo>
                <a:cubicBezTo>
                  <a:pt x="6256" y="4483"/>
                  <a:pt x="6248" y="4483"/>
                  <a:pt x="6241" y="4477"/>
                </a:cubicBezTo>
                <a:cubicBezTo>
                  <a:pt x="6244" y="4475"/>
                  <a:pt x="6244" y="4478"/>
                  <a:pt x="6241" y="4477"/>
                </a:cubicBezTo>
                <a:close/>
                <a:moveTo>
                  <a:pt x="6003" y="4583"/>
                </a:moveTo>
                <a:cubicBezTo>
                  <a:pt x="6003" y="4608"/>
                  <a:pt x="5949" y="4613"/>
                  <a:pt x="5951" y="4585"/>
                </a:cubicBezTo>
                <a:cubicBezTo>
                  <a:pt x="5952" y="4562"/>
                  <a:pt x="6003" y="4563"/>
                  <a:pt x="6003" y="4583"/>
                </a:cubicBezTo>
                <a:cubicBezTo>
                  <a:pt x="6003" y="4606"/>
                  <a:pt x="6003" y="4559"/>
                  <a:pt x="6003" y="4583"/>
                </a:cubicBezTo>
                <a:close/>
                <a:moveTo>
                  <a:pt x="5970" y="4531"/>
                </a:moveTo>
                <a:cubicBezTo>
                  <a:pt x="5978" y="4506"/>
                  <a:pt x="5995" y="4533"/>
                  <a:pt x="5999" y="4533"/>
                </a:cubicBezTo>
                <a:cubicBezTo>
                  <a:pt x="5997" y="4533"/>
                  <a:pt x="5962" y="4558"/>
                  <a:pt x="5970" y="4531"/>
                </a:cubicBezTo>
                <a:cubicBezTo>
                  <a:pt x="5973" y="4524"/>
                  <a:pt x="5968" y="4540"/>
                  <a:pt x="5970" y="4531"/>
                </a:cubicBezTo>
                <a:close/>
                <a:moveTo>
                  <a:pt x="5962" y="4302"/>
                </a:moveTo>
                <a:cubicBezTo>
                  <a:pt x="5950" y="4302"/>
                  <a:pt x="5946" y="4297"/>
                  <a:pt x="5950" y="4289"/>
                </a:cubicBezTo>
                <a:cubicBezTo>
                  <a:pt x="5957" y="4284"/>
                  <a:pt x="5964" y="4285"/>
                  <a:pt x="5970" y="4290"/>
                </a:cubicBezTo>
                <a:cubicBezTo>
                  <a:pt x="5972" y="4298"/>
                  <a:pt x="5969" y="4302"/>
                  <a:pt x="5962" y="4302"/>
                </a:cubicBezTo>
                <a:cubicBezTo>
                  <a:pt x="5957" y="4302"/>
                  <a:pt x="5967" y="4303"/>
                  <a:pt x="5962" y="4302"/>
                </a:cubicBezTo>
                <a:close/>
                <a:moveTo>
                  <a:pt x="5918" y="4509"/>
                </a:moveTo>
                <a:cubicBezTo>
                  <a:pt x="5937" y="4498"/>
                  <a:pt x="5916" y="4533"/>
                  <a:pt x="5914" y="4535"/>
                </a:cubicBezTo>
                <a:cubicBezTo>
                  <a:pt x="5895" y="4548"/>
                  <a:pt x="5851" y="4520"/>
                  <a:pt x="5837" y="4514"/>
                </a:cubicBezTo>
                <a:cubicBezTo>
                  <a:pt x="5864" y="4501"/>
                  <a:pt x="5894" y="4523"/>
                  <a:pt x="5918" y="4509"/>
                </a:cubicBezTo>
                <a:cubicBezTo>
                  <a:pt x="5925" y="4505"/>
                  <a:pt x="5895" y="4522"/>
                  <a:pt x="5918" y="4509"/>
                </a:cubicBezTo>
                <a:close/>
                <a:moveTo>
                  <a:pt x="6274" y="4230"/>
                </a:moveTo>
                <a:cubicBezTo>
                  <a:pt x="6304" y="4198"/>
                  <a:pt x="6334" y="4208"/>
                  <a:pt x="6371" y="4204"/>
                </a:cubicBezTo>
                <a:cubicBezTo>
                  <a:pt x="6341" y="4238"/>
                  <a:pt x="6314" y="4248"/>
                  <a:pt x="6274" y="4230"/>
                </a:cubicBezTo>
                <a:close/>
                <a:moveTo>
                  <a:pt x="6338" y="3213"/>
                </a:moveTo>
                <a:cubicBezTo>
                  <a:pt x="6348" y="3175"/>
                  <a:pt x="6367" y="3148"/>
                  <a:pt x="6355" y="3108"/>
                </a:cubicBezTo>
                <a:cubicBezTo>
                  <a:pt x="6371" y="3163"/>
                  <a:pt x="6337" y="3229"/>
                  <a:pt x="6343" y="3289"/>
                </a:cubicBezTo>
                <a:cubicBezTo>
                  <a:pt x="6340" y="3264"/>
                  <a:pt x="6339" y="3238"/>
                  <a:pt x="6338" y="3213"/>
                </a:cubicBezTo>
                <a:close/>
                <a:moveTo>
                  <a:pt x="6310" y="3160"/>
                </a:moveTo>
                <a:cubicBezTo>
                  <a:pt x="6309" y="3150"/>
                  <a:pt x="6307" y="3140"/>
                  <a:pt x="6304" y="3131"/>
                </a:cubicBezTo>
                <a:cubicBezTo>
                  <a:pt x="6307" y="3140"/>
                  <a:pt x="6309" y="3150"/>
                  <a:pt x="6310" y="3160"/>
                </a:cubicBezTo>
                <a:close/>
                <a:moveTo>
                  <a:pt x="6170" y="4157"/>
                </a:moveTo>
                <a:cubicBezTo>
                  <a:pt x="6178" y="4121"/>
                  <a:pt x="6204" y="4158"/>
                  <a:pt x="6205" y="4158"/>
                </a:cubicBezTo>
                <a:cubicBezTo>
                  <a:pt x="6208" y="4159"/>
                  <a:pt x="6162" y="4192"/>
                  <a:pt x="6170" y="4157"/>
                </a:cubicBezTo>
                <a:cubicBezTo>
                  <a:pt x="6172" y="4147"/>
                  <a:pt x="6167" y="4169"/>
                  <a:pt x="6170" y="4157"/>
                </a:cubicBezTo>
                <a:close/>
                <a:moveTo>
                  <a:pt x="6304" y="4133"/>
                </a:moveTo>
                <a:cubicBezTo>
                  <a:pt x="6244" y="4145"/>
                  <a:pt x="6270" y="4256"/>
                  <a:pt x="6169" y="4217"/>
                </a:cubicBezTo>
                <a:cubicBezTo>
                  <a:pt x="6230" y="4205"/>
                  <a:pt x="6219" y="4116"/>
                  <a:pt x="6304" y="4133"/>
                </a:cubicBezTo>
                <a:close/>
                <a:moveTo>
                  <a:pt x="6151" y="4270"/>
                </a:moveTo>
                <a:cubicBezTo>
                  <a:pt x="6177" y="4276"/>
                  <a:pt x="6200" y="4233"/>
                  <a:pt x="6223" y="4241"/>
                </a:cubicBezTo>
                <a:cubicBezTo>
                  <a:pt x="6264" y="4253"/>
                  <a:pt x="6242" y="4281"/>
                  <a:pt x="6225" y="4290"/>
                </a:cubicBezTo>
                <a:cubicBezTo>
                  <a:pt x="6202" y="4303"/>
                  <a:pt x="6146" y="4305"/>
                  <a:pt x="6117" y="4316"/>
                </a:cubicBezTo>
                <a:cubicBezTo>
                  <a:pt x="6076" y="4332"/>
                  <a:pt x="6055" y="4345"/>
                  <a:pt x="6010" y="4328"/>
                </a:cubicBezTo>
                <a:cubicBezTo>
                  <a:pt x="6057" y="4311"/>
                  <a:pt x="6097" y="4259"/>
                  <a:pt x="6151" y="4270"/>
                </a:cubicBezTo>
                <a:cubicBezTo>
                  <a:pt x="6173" y="4275"/>
                  <a:pt x="6095" y="4259"/>
                  <a:pt x="6151" y="4270"/>
                </a:cubicBezTo>
                <a:close/>
                <a:moveTo>
                  <a:pt x="6050" y="3031"/>
                </a:moveTo>
                <a:cubicBezTo>
                  <a:pt x="6050" y="3032"/>
                  <a:pt x="6042" y="3050"/>
                  <a:pt x="6050" y="3031"/>
                </a:cubicBezTo>
                <a:cubicBezTo>
                  <a:pt x="6050" y="3031"/>
                  <a:pt x="6049" y="3033"/>
                  <a:pt x="6050" y="3031"/>
                </a:cubicBezTo>
                <a:close/>
                <a:moveTo>
                  <a:pt x="5902" y="4122"/>
                </a:moveTo>
                <a:cubicBezTo>
                  <a:pt x="5959" y="4146"/>
                  <a:pt x="6022" y="4139"/>
                  <a:pt x="6082" y="4134"/>
                </a:cubicBezTo>
                <a:cubicBezTo>
                  <a:pt x="6078" y="4152"/>
                  <a:pt x="6064" y="4189"/>
                  <a:pt x="6044" y="4196"/>
                </a:cubicBezTo>
                <a:cubicBezTo>
                  <a:pt x="6003" y="4212"/>
                  <a:pt x="6030" y="4187"/>
                  <a:pt x="5999" y="4178"/>
                </a:cubicBezTo>
                <a:cubicBezTo>
                  <a:pt x="5952" y="4165"/>
                  <a:pt x="5877" y="4156"/>
                  <a:pt x="5822" y="4172"/>
                </a:cubicBezTo>
                <a:cubicBezTo>
                  <a:pt x="5823" y="4126"/>
                  <a:pt x="5860" y="4106"/>
                  <a:pt x="5902" y="4122"/>
                </a:cubicBezTo>
                <a:cubicBezTo>
                  <a:pt x="5961" y="4146"/>
                  <a:pt x="5864" y="4107"/>
                  <a:pt x="5902" y="4122"/>
                </a:cubicBezTo>
                <a:close/>
                <a:moveTo>
                  <a:pt x="5789" y="4238"/>
                </a:moveTo>
                <a:cubicBezTo>
                  <a:pt x="5782" y="4264"/>
                  <a:pt x="5783" y="4328"/>
                  <a:pt x="5793" y="4341"/>
                </a:cubicBezTo>
                <a:cubicBezTo>
                  <a:pt x="5796" y="4346"/>
                  <a:pt x="5864" y="4353"/>
                  <a:pt x="5869" y="4368"/>
                </a:cubicBezTo>
                <a:cubicBezTo>
                  <a:pt x="5887" y="4418"/>
                  <a:pt x="5802" y="4395"/>
                  <a:pt x="5776" y="4406"/>
                </a:cubicBezTo>
                <a:cubicBezTo>
                  <a:pt x="5731" y="4425"/>
                  <a:pt x="5727" y="4483"/>
                  <a:pt x="5669" y="4468"/>
                </a:cubicBezTo>
                <a:cubicBezTo>
                  <a:pt x="5694" y="4408"/>
                  <a:pt x="5622" y="4466"/>
                  <a:pt x="5635" y="4404"/>
                </a:cubicBezTo>
                <a:cubicBezTo>
                  <a:pt x="5629" y="4432"/>
                  <a:pt x="5705" y="4369"/>
                  <a:pt x="5681" y="4377"/>
                </a:cubicBezTo>
                <a:cubicBezTo>
                  <a:pt x="5704" y="4369"/>
                  <a:pt x="5734" y="4378"/>
                  <a:pt x="5757" y="4367"/>
                </a:cubicBezTo>
                <a:cubicBezTo>
                  <a:pt x="5755" y="4343"/>
                  <a:pt x="5729" y="4357"/>
                  <a:pt x="5719" y="4342"/>
                </a:cubicBezTo>
                <a:cubicBezTo>
                  <a:pt x="5735" y="4332"/>
                  <a:pt x="5750" y="4322"/>
                  <a:pt x="5766" y="4313"/>
                </a:cubicBezTo>
                <a:cubicBezTo>
                  <a:pt x="5724" y="4301"/>
                  <a:pt x="5728" y="4242"/>
                  <a:pt x="5686" y="4232"/>
                </a:cubicBezTo>
                <a:cubicBezTo>
                  <a:pt x="5703" y="4204"/>
                  <a:pt x="5805" y="4172"/>
                  <a:pt x="5789" y="4238"/>
                </a:cubicBezTo>
                <a:cubicBezTo>
                  <a:pt x="5782" y="4264"/>
                  <a:pt x="5802" y="4187"/>
                  <a:pt x="5789" y="4238"/>
                </a:cubicBezTo>
                <a:close/>
                <a:moveTo>
                  <a:pt x="5772" y="4137"/>
                </a:moveTo>
                <a:cubicBezTo>
                  <a:pt x="5791" y="4145"/>
                  <a:pt x="5758" y="4182"/>
                  <a:pt x="5723" y="4162"/>
                </a:cubicBezTo>
                <a:cubicBezTo>
                  <a:pt x="5737" y="4152"/>
                  <a:pt x="5751" y="4129"/>
                  <a:pt x="5772" y="4137"/>
                </a:cubicBezTo>
                <a:cubicBezTo>
                  <a:pt x="5776" y="4139"/>
                  <a:pt x="5750" y="4129"/>
                  <a:pt x="5772" y="4137"/>
                </a:cubicBezTo>
                <a:close/>
                <a:moveTo>
                  <a:pt x="5663" y="4179"/>
                </a:moveTo>
                <a:cubicBezTo>
                  <a:pt x="5664" y="4183"/>
                  <a:pt x="5759" y="4187"/>
                  <a:pt x="5673" y="4206"/>
                </a:cubicBezTo>
                <a:cubicBezTo>
                  <a:pt x="5620" y="4218"/>
                  <a:pt x="5573" y="4158"/>
                  <a:pt x="5534" y="4132"/>
                </a:cubicBezTo>
                <a:cubicBezTo>
                  <a:pt x="5580" y="4120"/>
                  <a:pt x="5614" y="4144"/>
                  <a:pt x="5654" y="4139"/>
                </a:cubicBezTo>
                <a:cubicBezTo>
                  <a:pt x="5666" y="4138"/>
                  <a:pt x="5698" y="4115"/>
                  <a:pt x="5697" y="4115"/>
                </a:cubicBezTo>
                <a:cubicBezTo>
                  <a:pt x="5748" y="4127"/>
                  <a:pt x="5653" y="4161"/>
                  <a:pt x="5663" y="4179"/>
                </a:cubicBezTo>
                <a:cubicBezTo>
                  <a:pt x="5669" y="4191"/>
                  <a:pt x="5657" y="4169"/>
                  <a:pt x="5663" y="4179"/>
                </a:cubicBezTo>
                <a:close/>
                <a:moveTo>
                  <a:pt x="5711" y="2600"/>
                </a:moveTo>
                <a:cubicBezTo>
                  <a:pt x="5704" y="2619"/>
                  <a:pt x="5685" y="2682"/>
                  <a:pt x="5659" y="2687"/>
                </a:cubicBezTo>
                <a:cubicBezTo>
                  <a:pt x="5687" y="2664"/>
                  <a:pt x="5699" y="2632"/>
                  <a:pt x="5711" y="2600"/>
                </a:cubicBezTo>
                <a:cubicBezTo>
                  <a:pt x="5699" y="2632"/>
                  <a:pt x="5699" y="2632"/>
                  <a:pt x="5711" y="2600"/>
                </a:cubicBezTo>
                <a:close/>
                <a:moveTo>
                  <a:pt x="5658" y="2783"/>
                </a:moveTo>
                <a:cubicBezTo>
                  <a:pt x="5656" y="2776"/>
                  <a:pt x="5655" y="2768"/>
                  <a:pt x="5653" y="2761"/>
                </a:cubicBezTo>
                <a:cubicBezTo>
                  <a:pt x="5652" y="2779"/>
                  <a:pt x="5673" y="2805"/>
                  <a:pt x="5689" y="2805"/>
                </a:cubicBezTo>
                <a:cubicBezTo>
                  <a:pt x="5652" y="2805"/>
                  <a:pt x="5579" y="2817"/>
                  <a:pt x="5658" y="2783"/>
                </a:cubicBezTo>
                <a:cubicBezTo>
                  <a:pt x="5655" y="2775"/>
                  <a:pt x="5644" y="2789"/>
                  <a:pt x="5658" y="2783"/>
                </a:cubicBezTo>
                <a:close/>
                <a:moveTo>
                  <a:pt x="5592" y="2619"/>
                </a:moveTo>
                <a:cubicBezTo>
                  <a:pt x="5606" y="2617"/>
                  <a:pt x="5618" y="2611"/>
                  <a:pt x="5628" y="2601"/>
                </a:cubicBezTo>
                <a:cubicBezTo>
                  <a:pt x="5608" y="2620"/>
                  <a:pt x="5577" y="2631"/>
                  <a:pt x="5555" y="2649"/>
                </a:cubicBezTo>
                <a:cubicBezTo>
                  <a:pt x="5567" y="2639"/>
                  <a:pt x="5579" y="2629"/>
                  <a:pt x="5592" y="2619"/>
                </a:cubicBezTo>
                <a:cubicBezTo>
                  <a:pt x="5607" y="2617"/>
                  <a:pt x="5579" y="2629"/>
                  <a:pt x="5592" y="2619"/>
                </a:cubicBezTo>
                <a:close/>
                <a:moveTo>
                  <a:pt x="5538" y="2721"/>
                </a:moveTo>
                <a:cubicBezTo>
                  <a:pt x="5548" y="2715"/>
                  <a:pt x="5559" y="2710"/>
                  <a:pt x="5570" y="2705"/>
                </a:cubicBezTo>
                <a:cubicBezTo>
                  <a:pt x="5544" y="2720"/>
                  <a:pt x="5528" y="2753"/>
                  <a:pt x="5502" y="2760"/>
                </a:cubicBezTo>
                <a:cubicBezTo>
                  <a:pt x="5520" y="2753"/>
                  <a:pt x="5532" y="2740"/>
                  <a:pt x="5538" y="2721"/>
                </a:cubicBezTo>
                <a:cubicBezTo>
                  <a:pt x="5547" y="2714"/>
                  <a:pt x="5529" y="2744"/>
                  <a:pt x="5538" y="2721"/>
                </a:cubicBezTo>
                <a:close/>
                <a:moveTo>
                  <a:pt x="5506" y="4323"/>
                </a:moveTo>
                <a:cubicBezTo>
                  <a:pt x="5508" y="4348"/>
                  <a:pt x="5478" y="4330"/>
                  <a:pt x="5469" y="4343"/>
                </a:cubicBezTo>
                <a:cubicBezTo>
                  <a:pt x="5480" y="4367"/>
                  <a:pt x="5510" y="4352"/>
                  <a:pt x="5524" y="4371"/>
                </a:cubicBezTo>
                <a:cubicBezTo>
                  <a:pt x="5496" y="4377"/>
                  <a:pt x="5473" y="4386"/>
                  <a:pt x="5444" y="4381"/>
                </a:cubicBezTo>
                <a:cubicBezTo>
                  <a:pt x="5417" y="4377"/>
                  <a:pt x="5408" y="4353"/>
                  <a:pt x="5378" y="4360"/>
                </a:cubicBezTo>
                <a:cubicBezTo>
                  <a:pt x="5361" y="4364"/>
                  <a:pt x="5341" y="4399"/>
                  <a:pt x="5332" y="4400"/>
                </a:cubicBezTo>
                <a:cubicBezTo>
                  <a:pt x="5304" y="4403"/>
                  <a:pt x="5307" y="4380"/>
                  <a:pt x="5284" y="4373"/>
                </a:cubicBezTo>
                <a:cubicBezTo>
                  <a:pt x="5251" y="4364"/>
                  <a:pt x="5193" y="4371"/>
                  <a:pt x="5244" y="4338"/>
                </a:cubicBezTo>
                <a:cubicBezTo>
                  <a:pt x="5286" y="4311"/>
                  <a:pt x="5389" y="4350"/>
                  <a:pt x="5438" y="4335"/>
                </a:cubicBezTo>
                <a:cubicBezTo>
                  <a:pt x="5423" y="4318"/>
                  <a:pt x="5401" y="4330"/>
                  <a:pt x="5391" y="4305"/>
                </a:cubicBezTo>
                <a:cubicBezTo>
                  <a:pt x="5410" y="4305"/>
                  <a:pt x="5504" y="4289"/>
                  <a:pt x="5506" y="4323"/>
                </a:cubicBezTo>
                <a:cubicBezTo>
                  <a:pt x="5508" y="4349"/>
                  <a:pt x="5505" y="4302"/>
                  <a:pt x="5506" y="4323"/>
                </a:cubicBezTo>
                <a:close/>
                <a:moveTo>
                  <a:pt x="5331" y="4307"/>
                </a:moveTo>
                <a:cubicBezTo>
                  <a:pt x="5332" y="4298"/>
                  <a:pt x="5336" y="4296"/>
                  <a:pt x="5343" y="4302"/>
                </a:cubicBezTo>
                <a:cubicBezTo>
                  <a:pt x="5342" y="4311"/>
                  <a:pt x="5338" y="4313"/>
                  <a:pt x="5331" y="4307"/>
                </a:cubicBezTo>
                <a:cubicBezTo>
                  <a:pt x="5332" y="4304"/>
                  <a:pt x="5334" y="4308"/>
                  <a:pt x="5331" y="4307"/>
                </a:cubicBezTo>
                <a:close/>
                <a:moveTo>
                  <a:pt x="5447" y="2827"/>
                </a:moveTo>
                <a:cubicBezTo>
                  <a:pt x="5452" y="2817"/>
                  <a:pt x="5459" y="2809"/>
                  <a:pt x="5470" y="2805"/>
                </a:cubicBezTo>
                <a:cubicBezTo>
                  <a:pt x="5451" y="2812"/>
                  <a:pt x="5434" y="2825"/>
                  <a:pt x="5413" y="2834"/>
                </a:cubicBezTo>
                <a:cubicBezTo>
                  <a:pt x="5424" y="2831"/>
                  <a:pt x="5436" y="2829"/>
                  <a:pt x="5447" y="2827"/>
                </a:cubicBezTo>
                <a:cubicBezTo>
                  <a:pt x="5453" y="2815"/>
                  <a:pt x="5435" y="2827"/>
                  <a:pt x="5447" y="2827"/>
                </a:cubicBezTo>
                <a:close/>
                <a:moveTo>
                  <a:pt x="5449" y="4196"/>
                </a:moveTo>
                <a:cubicBezTo>
                  <a:pt x="5423" y="4207"/>
                  <a:pt x="5409" y="4220"/>
                  <a:pt x="5377" y="4207"/>
                </a:cubicBezTo>
                <a:cubicBezTo>
                  <a:pt x="5401" y="4194"/>
                  <a:pt x="5416" y="4183"/>
                  <a:pt x="5449" y="4196"/>
                </a:cubicBezTo>
                <a:close/>
                <a:moveTo>
                  <a:pt x="5348" y="4221"/>
                </a:moveTo>
                <a:cubicBezTo>
                  <a:pt x="5382" y="4231"/>
                  <a:pt x="5330" y="4263"/>
                  <a:pt x="5313" y="4260"/>
                </a:cubicBezTo>
                <a:cubicBezTo>
                  <a:pt x="5284" y="4257"/>
                  <a:pt x="5252" y="4198"/>
                  <a:pt x="5240" y="4175"/>
                </a:cubicBezTo>
                <a:cubicBezTo>
                  <a:pt x="5277" y="4186"/>
                  <a:pt x="5310" y="4210"/>
                  <a:pt x="5348" y="4221"/>
                </a:cubicBezTo>
                <a:cubicBezTo>
                  <a:pt x="5367" y="4226"/>
                  <a:pt x="5310" y="4210"/>
                  <a:pt x="5348" y="4221"/>
                </a:cubicBezTo>
                <a:close/>
                <a:moveTo>
                  <a:pt x="5162" y="3642"/>
                </a:moveTo>
                <a:cubicBezTo>
                  <a:pt x="5177" y="3641"/>
                  <a:pt x="5134" y="3638"/>
                  <a:pt x="5162" y="3642"/>
                </a:cubicBezTo>
                <a:cubicBezTo>
                  <a:pt x="5164" y="3642"/>
                  <a:pt x="5160" y="3642"/>
                  <a:pt x="5162" y="3642"/>
                </a:cubicBezTo>
                <a:close/>
                <a:moveTo>
                  <a:pt x="5208" y="4210"/>
                </a:moveTo>
                <a:cubicBezTo>
                  <a:pt x="5234" y="4288"/>
                  <a:pt x="5165" y="4233"/>
                  <a:pt x="5138" y="4269"/>
                </a:cubicBezTo>
                <a:cubicBezTo>
                  <a:pt x="5194" y="4268"/>
                  <a:pt x="5251" y="4278"/>
                  <a:pt x="5302" y="4303"/>
                </a:cubicBezTo>
                <a:cubicBezTo>
                  <a:pt x="5234" y="4294"/>
                  <a:pt x="5156" y="4305"/>
                  <a:pt x="5091" y="4324"/>
                </a:cubicBezTo>
                <a:cubicBezTo>
                  <a:pt x="5047" y="4337"/>
                  <a:pt x="4995" y="4361"/>
                  <a:pt x="4949" y="4343"/>
                </a:cubicBezTo>
                <a:cubicBezTo>
                  <a:pt x="4955" y="4345"/>
                  <a:pt x="4854" y="4289"/>
                  <a:pt x="4857" y="4297"/>
                </a:cubicBezTo>
                <a:cubicBezTo>
                  <a:pt x="4844" y="4261"/>
                  <a:pt x="4941" y="4277"/>
                  <a:pt x="4965" y="4270"/>
                </a:cubicBezTo>
                <a:cubicBezTo>
                  <a:pt x="4984" y="4265"/>
                  <a:pt x="5090" y="4211"/>
                  <a:pt x="5064" y="4207"/>
                </a:cubicBezTo>
                <a:cubicBezTo>
                  <a:pt x="5053" y="4205"/>
                  <a:pt x="5018" y="4223"/>
                  <a:pt x="5001" y="4225"/>
                </a:cubicBezTo>
                <a:cubicBezTo>
                  <a:pt x="4973" y="4228"/>
                  <a:pt x="4938" y="4222"/>
                  <a:pt x="4910" y="4219"/>
                </a:cubicBezTo>
                <a:cubicBezTo>
                  <a:pt x="4879" y="4216"/>
                  <a:pt x="4771" y="4218"/>
                  <a:pt x="4818" y="4173"/>
                </a:cubicBezTo>
                <a:cubicBezTo>
                  <a:pt x="4851" y="4142"/>
                  <a:pt x="4926" y="4150"/>
                  <a:pt x="4965" y="4155"/>
                </a:cubicBezTo>
                <a:cubicBezTo>
                  <a:pt x="4973" y="4134"/>
                  <a:pt x="4942" y="4131"/>
                  <a:pt x="4954" y="4107"/>
                </a:cubicBezTo>
                <a:cubicBezTo>
                  <a:pt x="5045" y="4120"/>
                  <a:pt x="5172" y="4100"/>
                  <a:pt x="5208" y="4210"/>
                </a:cubicBezTo>
                <a:cubicBezTo>
                  <a:pt x="5222" y="4250"/>
                  <a:pt x="5195" y="4170"/>
                  <a:pt x="5208" y="4210"/>
                </a:cubicBezTo>
                <a:close/>
                <a:moveTo>
                  <a:pt x="4865" y="4109"/>
                </a:moveTo>
                <a:cubicBezTo>
                  <a:pt x="4870" y="4107"/>
                  <a:pt x="4874" y="4109"/>
                  <a:pt x="4877" y="4114"/>
                </a:cubicBezTo>
                <a:cubicBezTo>
                  <a:pt x="4868" y="4119"/>
                  <a:pt x="4864" y="4117"/>
                  <a:pt x="4865" y="4109"/>
                </a:cubicBezTo>
                <a:cubicBezTo>
                  <a:pt x="4866" y="4108"/>
                  <a:pt x="4860" y="4111"/>
                  <a:pt x="4865" y="4109"/>
                </a:cubicBezTo>
                <a:close/>
                <a:moveTo>
                  <a:pt x="5068" y="3499"/>
                </a:moveTo>
                <a:cubicBezTo>
                  <a:pt x="5055" y="3507"/>
                  <a:pt x="5044" y="3515"/>
                  <a:pt x="5030" y="3521"/>
                </a:cubicBezTo>
                <a:cubicBezTo>
                  <a:pt x="5043" y="3515"/>
                  <a:pt x="5056" y="3508"/>
                  <a:pt x="5068" y="3499"/>
                </a:cubicBezTo>
                <a:close/>
                <a:moveTo>
                  <a:pt x="5054" y="3736"/>
                </a:moveTo>
                <a:cubicBezTo>
                  <a:pt x="5049" y="3740"/>
                  <a:pt x="5044" y="3744"/>
                  <a:pt x="5037" y="3746"/>
                </a:cubicBezTo>
                <a:cubicBezTo>
                  <a:pt x="5044" y="3744"/>
                  <a:pt x="5049" y="3740"/>
                  <a:pt x="5054" y="3736"/>
                </a:cubicBezTo>
                <a:close/>
                <a:moveTo>
                  <a:pt x="4955" y="3825"/>
                </a:moveTo>
                <a:cubicBezTo>
                  <a:pt x="4969" y="3818"/>
                  <a:pt x="4983" y="3811"/>
                  <a:pt x="4997" y="3805"/>
                </a:cubicBezTo>
                <a:cubicBezTo>
                  <a:pt x="4977" y="3814"/>
                  <a:pt x="4959" y="3819"/>
                  <a:pt x="4945" y="3836"/>
                </a:cubicBezTo>
                <a:cubicBezTo>
                  <a:pt x="4948" y="3832"/>
                  <a:pt x="4952" y="3828"/>
                  <a:pt x="4955" y="3825"/>
                </a:cubicBezTo>
                <a:cubicBezTo>
                  <a:pt x="4969" y="3818"/>
                  <a:pt x="4952" y="3828"/>
                  <a:pt x="4955" y="3825"/>
                </a:cubicBezTo>
                <a:close/>
                <a:moveTo>
                  <a:pt x="4819" y="4084"/>
                </a:moveTo>
                <a:cubicBezTo>
                  <a:pt x="4891" y="4084"/>
                  <a:pt x="4970" y="4064"/>
                  <a:pt x="5040" y="4085"/>
                </a:cubicBezTo>
                <a:cubicBezTo>
                  <a:pt x="4977" y="4104"/>
                  <a:pt x="4930" y="4087"/>
                  <a:pt x="4869" y="4084"/>
                </a:cubicBezTo>
                <a:cubicBezTo>
                  <a:pt x="4825" y="4082"/>
                  <a:pt x="4781" y="4110"/>
                  <a:pt x="4742" y="4085"/>
                </a:cubicBezTo>
                <a:cubicBezTo>
                  <a:pt x="4768" y="4073"/>
                  <a:pt x="4793" y="4073"/>
                  <a:pt x="4819" y="4084"/>
                </a:cubicBezTo>
                <a:cubicBezTo>
                  <a:pt x="4841" y="4084"/>
                  <a:pt x="4793" y="4073"/>
                  <a:pt x="4819" y="4084"/>
                </a:cubicBezTo>
                <a:close/>
                <a:moveTo>
                  <a:pt x="4729" y="4114"/>
                </a:moveTo>
                <a:cubicBezTo>
                  <a:pt x="4736" y="4100"/>
                  <a:pt x="4833" y="4099"/>
                  <a:pt x="4809" y="4131"/>
                </a:cubicBezTo>
                <a:cubicBezTo>
                  <a:pt x="4792" y="4154"/>
                  <a:pt x="4776" y="4117"/>
                  <a:pt x="4757" y="4127"/>
                </a:cubicBezTo>
                <a:cubicBezTo>
                  <a:pt x="4740" y="4135"/>
                  <a:pt x="4743" y="4162"/>
                  <a:pt x="4723" y="4171"/>
                </a:cubicBezTo>
                <a:cubicBezTo>
                  <a:pt x="4701" y="4182"/>
                  <a:pt x="4684" y="4165"/>
                  <a:pt x="4663" y="4166"/>
                </a:cubicBezTo>
                <a:cubicBezTo>
                  <a:pt x="4633" y="4166"/>
                  <a:pt x="4611" y="4178"/>
                  <a:pt x="4583" y="4180"/>
                </a:cubicBezTo>
                <a:cubicBezTo>
                  <a:pt x="4520" y="4186"/>
                  <a:pt x="4523" y="4150"/>
                  <a:pt x="4493" y="4103"/>
                </a:cubicBezTo>
                <a:cubicBezTo>
                  <a:pt x="4542" y="4114"/>
                  <a:pt x="4584" y="4096"/>
                  <a:pt x="4630" y="4105"/>
                </a:cubicBezTo>
                <a:cubicBezTo>
                  <a:pt x="4668" y="4112"/>
                  <a:pt x="4697" y="4168"/>
                  <a:pt x="4729" y="4114"/>
                </a:cubicBezTo>
                <a:cubicBezTo>
                  <a:pt x="4732" y="4108"/>
                  <a:pt x="4704" y="4156"/>
                  <a:pt x="4729" y="4114"/>
                </a:cubicBezTo>
                <a:close/>
                <a:moveTo>
                  <a:pt x="4680" y="4279"/>
                </a:moveTo>
                <a:cubicBezTo>
                  <a:pt x="4651" y="4290"/>
                  <a:pt x="4630" y="4279"/>
                  <a:pt x="4607" y="4266"/>
                </a:cubicBezTo>
                <a:cubicBezTo>
                  <a:pt x="4638" y="4237"/>
                  <a:pt x="4658" y="4258"/>
                  <a:pt x="4680" y="4279"/>
                </a:cubicBezTo>
                <a:close/>
                <a:moveTo>
                  <a:pt x="4579" y="4242"/>
                </a:moveTo>
                <a:cubicBezTo>
                  <a:pt x="4546" y="4289"/>
                  <a:pt x="4493" y="4271"/>
                  <a:pt x="4446" y="4264"/>
                </a:cubicBezTo>
                <a:cubicBezTo>
                  <a:pt x="4469" y="4254"/>
                  <a:pt x="4499" y="4252"/>
                  <a:pt x="4521" y="4239"/>
                </a:cubicBezTo>
                <a:cubicBezTo>
                  <a:pt x="4535" y="4231"/>
                  <a:pt x="4548" y="4208"/>
                  <a:pt x="4561" y="4206"/>
                </a:cubicBezTo>
                <a:cubicBezTo>
                  <a:pt x="4572" y="4203"/>
                  <a:pt x="4597" y="4196"/>
                  <a:pt x="4603" y="4214"/>
                </a:cubicBezTo>
                <a:cubicBezTo>
                  <a:pt x="4612" y="4238"/>
                  <a:pt x="4589" y="4228"/>
                  <a:pt x="4579" y="4242"/>
                </a:cubicBezTo>
                <a:cubicBezTo>
                  <a:pt x="4546" y="4290"/>
                  <a:pt x="4586" y="4232"/>
                  <a:pt x="4579" y="4242"/>
                </a:cubicBezTo>
                <a:close/>
                <a:moveTo>
                  <a:pt x="4554" y="3578"/>
                </a:moveTo>
                <a:cubicBezTo>
                  <a:pt x="4551" y="3583"/>
                  <a:pt x="4541" y="3599"/>
                  <a:pt x="4554" y="3578"/>
                </a:cubicBezTo>
                <a:cubicBezTo>
                  <a:pt x="4554" y="3578"/>
                  <a:pt x="4552" y="3581"/>
                  <a:pt x="4554" y="3578"/>
                </a:cubicBezTo>
                <a:close/>
                <a:moveTo>
                  <a:pt x="4489" y="4070"/>
                </a:moveTo>
                <a:cubicBezTo>
                  <a:pt x="4472" y="4046"/>
                  <a:pt x="4407" y="3985"/>
                  <a:pt x="4435" y="3957"/>
                </a:cubicBezTo>
                <a:cubicBezTo>
                  <a:pt x="4467" y="3926"/>
                  <a:pt x="4558" y="4019"/>
                  <a:pt x="4582" y="4036"/>
                </a:cubicBezTo>
                <a:cubicBezTo>
                  <a:pt x="4585" y="3991"/>
                  <a:pt x="4536" y="3934"/>
                  <a:pt x="4544" y="3894"/>
                </a:cubicBezTo>
                <a:cubicBezTo>
                  <a:pt x="4557" y="3834"/>
                  <a:pt x="4587" y="3873"/>
                  <a:pt x="4609" y="3901"/>
                </a:cubicBezTo>
                <a:cubicBezTo>
                  <a:pt x="4624" y="3918"/>
                  <a:pt x="4697" y="3989"/>
                  <a:pt x="4691" y="4014"/>
                </a:cubicBezTo>
                <a:cubicBezTo>
                  <a:pt x="4680" y="4057"/>
                  <a:pt x="4600" y="3945"/>
                  <a:pt x="4592" y="3938"/>
                </a:cubicBezTo>
                <a:cubicBezTo>
                  <a:pt x="4601" y="3989"/>
                  <a:pt x="4613" y="4041"/>
                  <a:pt x="4643" y="4085"/>
                </a:cubicBezTo>
                <a:cubicBezTo>
                  <a:pt x="4603" y="4115"/>
                  <a:pt x="4537" y="4043"/>
                  <a:pt x="4501" y="4015"/>
                </a:cubicBezTo>
                <a:cubicBezTo>
                  <a:pt x="4497" y="4063"/>
                  <a:pt x="4553" y="4057"/>
                  <a:pt x="4497" y="4091"/>
                </a:cubicBezTo>
                <a:cubicBezTo>
                  <a:pt x="4464" y="4112"/>
                  <a:pt x="4411" y="4093"/>
                  <a:pt x="4378" y="4084"/>
                </a:cubicBezTo>
                <a:cubicBezTo>
                  <a:pt x="4413" y="4067"/>
                  <a:pt x="4453" y="4085"/>
                  <a:pt x="4489" y="4070"/>
                </a:cubicBezTo>
                <a:cubicBezTo>
                  <a:pt x="4472" y="4045"/>
                  <a:pt x="4450" y="4086"/>
                  <a:pt x="4489" y="4070"/>
                </a:cubicBezTo>
                <a:close/>
                <a:moveTo>
                  <a:pt x="4356" y="4084"/>
                </a:moveTo>
                <a:cubicBezTo>
                  <a:pt x="4345" y="4099"/>
                  <a:pt x="4334" y="4099"/>
                  <a:pt x="4323" y="4084"/>
                </a:cubicBezTo>
                <a:cubicBezTo>
                  <a:pt x="4334" y="4072"/>
                  <a:pt x="4345" y="4075"/>
                  <a:pt x="4356" y="4084"/>
                </a:cubicBezTo>
                <a:close/>
                <a:moveTo>
                  <a:pt x="4305" y="4274"/>
                </a:moveTo>
                <a:cubicBezTo>
                  <a:pt x="4364" y="4255"/>
                  <a:pt x="4431" y="4299"/>
                  <a:pt x="4465" y="4343"/>
                </a:cubicBezTo>
                <a:cubicBezTo>
                  <a:pt x="4475" y="4356"/>
                  <a:pt x="4485" y="4403"/>
                  <a:pt x="4499" y="4406"/>
                </a:cubicBezTo>
                <a:cubicBezTo>
                  <a:pt x="4528" y="4413"/>
                  <a:pt x="4523" y="4377"/>
                  <a:pt x="4543" y="4375"/>
                </a:cubicBezTo>
                <a:cubicBezTo>
                  <a:pt x="4560" y="4374"/>
                  <a:pt x="4569" y="4404"/>
                  <a:pt x="4578" y="4401"/>
                </a:cubicBezTo>
                <a:cubicBezTo>
                  <a:pt x="4599" y="4396"/>
                  <a:pt x="4607" y="4377"/>
                  <a:pt x="4631" y="4371"/>
                </a:cubicBezTo>
                <a:cubicBezTo>
                  <a:pt x="4645" y="4368"/>
                  <a:pt x="4740" y="4380"/>
                  <a:pt x="4751" y="4394"/>
                </a:cubicBezTo>
                <a:cubicBezTo>
                  <a:pt x="4785" y="4436"/>
                  <a:pt x="4693" y="4426"/>
                  <a:pt x="4677" y="4426"/>
                </a:cubicBezTo>
                <a:cubicBezTo>
                  <a:pt x="4609" y="4425"/>
                  <a:pt x="4551" y="4453"/>
                  <a:pt x="4485" y="4419"/>
                </a:cubicBezTo>
                <a:cubicBezTo>
                  <a:pt x="4441" y="4397"/>
                  <a:pt x="4434" y="4350"/>
                  <a:pt x="4387" y="4326"/>
                </a:cubicBezTo>
                <a:cubicBezTo>
                  <a:pt x="4360" y="4313"/>
                  <a:pt x="4327" y="4331"/>
                  <a:pt x="4310" y="4323"/>
                </a:cubicBezTo>
                <a:cubicBezTo>
                  <a:pt x="4294" y="4316"/>
                  <a:pt x="4272" y="4284"/>
                  <a:pt x="4305" y="4274"/>
                </a:cubicBezTo>
                <a:cubicBezTo>
                  <a:pt x="4371" y="4253"/>
                  <a:pt x="4289" y="4279"/>
                  <a:pt x="4305" y="4274"/>
                </a:cubicBezTo>
                <a:close/>
                <a:moveTo>
                  <a:pt x="3519" y="3294"/>
                </a:moveTo>
                <a:cubicBezTo>
                  <a:pt x="3545" y="3292"/>
                  <a:pt x="3550" y="3317"/>
                  <a:pt x="3571" y="3298"/>
                </a:cubicBezTo>
                <a:cubicBezTo>
                  <a:pt x="3546" y="3321"/>
                  <a:pt x="3552" y="3286"/>
                  <a:pt x="3529" y="3293"/>
                </a:cubicBezTo>
                <a:cubicBezTo>
                  <a:pt x="3509" y="3300"/>
                  <a:pt x="3492" y="3323"/>
                  <a:pt x="3470" y="3334"/>
                </a:cubicBezTo>
                <a:cubicBezTo>
                  <a:pt x="3488" y="3325"/>
                  <a:pt x="3509" y="3314"/>
                  <a:pt x="3519" y="3294"/>
                </a:cubicBezTo>
                <a:cubicBezTo>
                  <a:pt x="3526" y="3294"/>
                  <a:pt x="3508" y="3315"/>
                  <a:pt x="3519" y="3294"/>
                </a:cubicBezTo>
                <a:close/>
                <a:moveTo>
                  <a:pt x="3335" y="3846"/>
                </a:moveTo>
                <a:cubicBezTo>
                  <a:pt x="3282" y="3892"/>
                  <a:pt x="3366" y="3874"/>
                  <a:pt x="3369" y="3915"/>
                </a:cubicBezTo>
                <a:cubicBezTo>
                  <a:pt x="3371" y="3935"/>
                  <a:pt x="3293" y="3994"/>
                  <a:pt x="3278" y="3992"/>
                </a:cubicBezTo>
                <a:cubicBezTo>
                  <a:pt x="3264" y="3991"/>
                  <a:pt x="3263" y="3998"/>
                  <a:pt x="3251" y="3985"/>
                </a:cubicBezTo>
                <a:cubicBezTo>
                  <a:pt x="3259" y="3994"/>
                  <a:pt x="3246" y="3878"/>
                  <a:pt x="3242" y="3891"/>
                </a:cubicBezTo>
                <a:cubicBezTo>
                  <a:pt x="3249" y="3870"/>
                  <a:pt x="3314" y="3832"/>
                  <a:pt x="3335" y="3846"/>
                </a:cubicBezTo>
                <a:cubicBezTo>
                  <a:pt x="3333" y="3848"/>
                  <a:pt x="3330" y="3843"/>
                  <a:pt x="3335" y="3846"/>
                </a:cubicBezTo>
                <a:close/>
                <a:moveTo>
                  <a:pt x="3220" y="3819"/>
                </a:moveTo>
                <a:cubicBezTo>
                  <a:pt x="3225" y="3800"/>
                  <a:pt x="3277" y="3793"/>
                  <a:pt x="3283" y="3808"/>
                </a:cubicBezTo>
                <a:cubicBezTo>
                  <a:pt x="3290" y="3826"/>
                  <a:pt x="3236" y="3845"/>
                  <a:pt x="3242" y="3875"/>
                </a:cubicBezTo>
                <a:cubicBezTo>
                  <a:pt x="3207" y="3871"/>
                  <a:pt x="3212" y="3844"/>
                  <a:pt x="3220" y="3819"/>
                </a:cubicBezTo>
                <a:cubicBezTo>
                  <a:pt x="3228" y="3793"/>
                  <a:pt x="3214" y="3838"/>
                  <a:pt x="3220" y="3819"/>
                </a:cubicBezTo>
                <a:close/>
                <a:moveTo>
                  <a:pt x="3820" y="4076"/>
                </a:moveTo>
                <a:cubicBezTo>
                  <a:pt x="3912" y="4076"/>
                  <a:pt x="4003" y="4076"/>
                  <a:pt x="4095" y="4076"/>
                </a:cubicBezTo>
                <a:cubicBezTo>
                  <a:pt x="4152" y="4076"/>
                  <a:pt x="4236" y="4062"/>
                  <a:pt x="4290" y="4084"/>
                </a:cubicBezTo>
                <a:cubicBezTo>
                  <a:pt x="4266" y="4111"/>
                  <a:pt x="4182" y="4095"/>
                  <a:pt x="4150" y="4095"/>
                </a:cubicBezTo>
                <a:cubicBezTo>
                  <a:pt x="4088" y="4095"/>
                  <a:pt x="4026" y="4095"/>
                  <a:pt x="3964" y="4095"/>
                </a:cubicBezTo>
                <a:cubicBezTo>
                  <a:pt x="3847" y="4095"/>
                  <a:pt x="3730" y="4095"/>
                  <a:pt x="3612" y="4095"/>
                </a:cubicBezTo>
                <a:cubicBezTo>
                  <a:pt x="3502" y="4095"/>
                  <a:pt x="3392" y="4095"/>
                  <a:pt x="3281" y="4095"/>
                </a:cubicBezTo>
                <a:cubicBezTo>
                  <a:pt x="3243" y="4095"/>
                  <a:pt x="3012" y="4122"/>
                  <a:pt x="3000" y="4076"/>
                </a:cubicBezTo>
                <a:cubicBezTo>
                  <a:pt x="3273" y="4076"/>
                  <a:pt x="3546" y="4076"/>
                  <a:pt x="3820" y="4076"/>
                </a:cubicBezTo>
                <a:cubicBezTo>
                  <a:pt x="3961" y="4076"/>
                  <a:pt x="3546" y="4076"/>
                  <a:pt x="3820" y="4076"/>
                </a:cubicBezTo>
                <a:close/>
                <a:moveTo>
                  <a:pt x="3563" y="4369"/>
                </a:moveTo>
                <a:cubicBezTo>
                  <a:pt x="3633" y="4369"/>
                  <a:pt x="3657" y="4372"/>
                  <a:pt x="3697" y="4310"/>
                </a:cubicBezTo>
                <a:cubicBezTo>
                  <a:pt x="3698" y="4356"/>
                  <a:pt x="3684" y="4370"/>
                  <a:pt x="3646" y="4385"/>
                </a:cubicBezTo>
                <a:cubicBezTo>
                  <a:pt x="3602" y="4403"/>
                  <a:pt x="3613" y="4397"/>
                  <a:pt x="3563" y="4369"/>
                </a:cubicBezTo>
                <a:cubicBezTo>
                  <a:pt x="3592" y="4369"/>
                  <a:pt x="3594" y="4386"/>
                  <a:pt x="3563" y="4369"/>
                </a:cubicBezTo>
                <a:close/>
                <a:moveTo>
                  <a:pt x="3598" y="4831"/>
                </a:moveTo>
                <a:cubicBezTo>
                  <a:pt x="3598" y="4823"/>
                  <a:pt x="3597" y="4817"/>
                  <a:pt x="3594" y="4812"/>
                </a:cubicBezTo>
                <a:cubicBezTo>
                  <a:pt x="3597" y="4817"/>
                  <a:pt x="3598" y="4823"/>
                  <a:pt x="3598" y="4831"/>
                </a:cubicBezTo>
                <a:close/>
                <a:moveTo>
                  <a:pt x="3627" y="4755"/>
                </a:moveTo>
                <a:cubicBezTo>
                  <a:pt x="3652" y="4762"/>
                  <a:pt x="3678" y="4769"/>
                  <a:pt x="3703" y="4776"/>
                </a:cubicBezTo>
                <a:cubicBezTo>
                  <a:pt x="3673" y="4768"/>
                  <a:pt x="3637" y="4762"/>
                  <a:pt x="3609" y="4748"/>
                </a:cubicBezTo>
                <a:cubicBezTo>
                  <a:pt x="3615" y="4751"/>
                  <a:pt x="3621" y="4753"/>
                  <a:pt x="3627" y="4755"/>
                </a:cubicBezTo>
                <a:cubicBezTo>
                  <a:pt x="3652" y="4762"/>
                  <a:pt x="3621" y="4754"/>
                  <a:pt x="3627" y="4755"/>
                </a:cubicBezTo>
                <a:close/>
                <a:moveTo>
                  <a:pt x="3732" y="4293"/>
                </a:moveTo>
                <a:cubicBezTo>
                  <a:pt x="3741" y="4285"/>
                  <a:pt x="3746" y="4286"/>
                  <a:pt x="3747" y="4298"/>
                </a:cubicBezTo>
                <a:cubicBezTo>
                  <a:pt x="3763" y="4294"/>
                  <a:pt x="3718" y="4301"/>
                  <a:pt x="3732" y="4293"/>
                </a:cubicBezTo>
                <a:cubicBezTo>
                  <a:pt x="3735" y="4290"/>
                  <a:pt x="3731" y="4293"/>
                  <a:pt x="3732" y="4293"/>
                </a:cubicBezTo>
                <a:close/>
                <a:moveTo>
                  <a:pt x="3299" y="5287"/>
                </a:moveTo>
                <a:cubicBezTo>
                  <a:pt x="3301" y="5302"/>
                  <a:pt x="3293" y="5326"/>
                  <a:pt x="3276" y="5308"/>
                </a:cubicBezTo>
                <a:cubicBezTo>
                  <a:pt x="3285" y="5292"/>
                  <a:pt x="3301" y="5307"/>
                  <a:pt x="3299" y="5287"/>
                </a:cubicBezTo>
                <a:close/>
                <a:moveTo>
                  <a:pt x="3239" y="5053"/>
                </a:moveTo>
                <a:cubicBezTo>
                  <a:pt x="3208" y="5058"/>
                  <a:pt x="3160" y="5026"/>
                  <a:pt x="3176" y="4990"/>
                </a:cubicBezTo>
                <a:cubicBezTo>
                  <a:pt x="3174" y="4995"/>
                  <a:pt x="3250" y="4961"/>
                  <a:pt x="3250" y="4961"/>
                </a:cubicBezTo>
                <a:cubicBezTo>
                  <a:pt x="3308" y="4951"/>
                  <a:pt x="3346" y="5014"/>
                  <a:pt x="3409" y="5037"/>
                </a:cubicBezTo>
                <a:cubicBezTo>
                  <a:pt x="3383" y="5074"/>
                  <a:pt x="3362" y="5043"/>
                  <a:pt x="3331" y="5041"/>
                </a:cubicBezTo>
                <a:cubicBezTo>
                  <a:pt x="3299" y="5038"/>
                  <a:pt x="3270" y="5048"/>
                  <a:pt x="3239" y="5053"/>
                </a:cubicBezTo>
                <a:cubicBezTo>
                  <a:pt x="3206" y="5059"/>
                  <a:pt x="3280" y="5046"/>
                  <a:pt x="3239" y="5053"/>
                </a:cubicBezTo>
                <a:close/>
                <a:moveTo>
                  <a:pt x="3102" y="4620"/>
                </a:moveTo>
                <a:cubicBezTo>
                  <a:pt x="3107" y="4631"/>
                  <a:pt x="2966" y="4638"/>
                  <a:pt x="2952" y="4638"/>
                </a:cubicBezTo>
                <a:cubicBezTo>
                  <a:pt x="2968" y="4608"/>
                  <a:pt x="3067" y="4601"/>
                  <a:pt x="3068" y="4595"/>
                </a:cubicBezTo>
                <a:cubicBezTo>
                  <a:pt x="3064" y="4583"/>
                  <a:pt x="3056" y="4578"/>
                  <a:pt x="3043" y="4579"/>
                </a:cubicBezTo>
                <a:cubicBezTo>
                  <a:pt x="3059" y="4513"/>
                  <a:pt x="3214" y="4551"/>
                  <a:pt x="3253" y="4577"/>
                </a:cubicBezTo>
                <a:cubicBezTo>
                  <a:pt x="3272" y="4590"/>
                  <a:pt x="3262" y="4634"/>
                  <a:pt x="3302" y="4614"/>
                </a:cubicBezTo>
                <a:cubicBezTo>
                  <a:pt x="3329" y="4600"/>
                  <a:pt x="3309" y="4577"/>
                  <a:pt x="3302" y="4562"/>
                </a:cubicBezTo>
                <a:cubicBezTo>
                  <a:pt x="3299" y="4555"/>
                  <a:pt x="3326" y="4541"/>
                  <a:pt x="3331" y="4569"/>
                </a:cubicBezTo>
                <a:cubicBezTo>
                  <a:pt x="3303" y="4570"/>
                  <a:pt x="3320" y="4599"/>
                  <a:pt x="3294" y="4615"/>
                </a:cubicBezTo>
                <a:cubicBezTo>
                  <a:pt x="3253" y="4639"/>
                  <a:pt x="3233" y="4587"/>
                  <a:pt x="3212" y="4578"/>
                </a:cubicBezTo>
                <a:cubicBezTo>
                  <a:pt x="3177" y="4564"/>
                  <a:pt x="3076" y="4558"/>
                  <a:pt x="3102" y="4620"/>
                </a:cubicBezTo>
                <a:cubicBezTo>
                  <a:pt x="3108" y="4634"/>
                  <a:pt x="3080" y="4568"/>
                  <a:pt x="3102" y="4620"/>
                </a:cubicBezTo>
                <a:close/>
                <a:moveTo>
                  <a:pt x="3015" y="4827"/>
                </a:moveTo>
                <a:cubicBezTo>
                  <a:pt x="3014" y="4818"/>
                  <a:pt x="3012" y="4810"/>
                  <a:pt x="3011" y="4801"/>
                </a:cubicBezTo>
                <a:cubicBezTo>
                  <a:pt x="3020" y="4801"/>
                  <a:pt x="3021" y="4810"/>
                  <a:pt x="3015" y="4827"/>
                </a:cubicBezTo>
                <a:close/>
                <a:moveTo>
                  <a:pt x="3012" y="4801"/>
                </a:moveTo>
                <a:cubicBezTo>
                  <a:pt x="3015" y="4801"/>
                  <a:pt x="3028" y="4803"/>
                  <a:pt x="3012" y="4801"/>
                </a:cubicBezTo>
                <a:cubicBezTo>
                  <a:pt x="3012" y="4801"/>
                  <a:pt x="3014" y="4801"/>
                  <a:pt x="3012" y="4801"/>
                </a:cubicBezTo>
                <a:close/>
                <a:moveTo>
                  <a:pt x="3050" y="4883"/>
                </a:moveTo>
                <a:cubicBezTo>
                  <a:pt x="3107" y="4907"/>
                  <a:pt x="3034" y="4936"/>
                  <a:pt x="3011" y="4933"/>
                </a:cubicBezTo>
                <a:cubicBezTo>
                  <a:pt x="2927" y="4923"/>
                  <a:pt x="3031" y="4875"/>
                  <a:pt x="3050" y="4883"/>
                </a:cubicBezTo>
                <a:cubicBezTo>
                  <a:pt x="3062" y="4888"/>
                  <a:pt x="3034" y="4876"/>
                  <a:pt x="3050" y="4883"/>
                </a:cubicBezTo>
                <a:close/>
                <a:moveTo>
                  <a:pt x="3229" y="4529"/>
                </a:moveTo>
                <a:cubicBezTo>
                  <a:pt x="3209" y="4537"/>
                  <a:pt x="3064" y="4526"/>
                  <a:pt x="3072" y="4493"/>
                </a:cubicBezTo>
                <a:cubicBezTo>
                  <a:pt x="3079" y="4460"/>
                  <a:pt x="3213" y="4516"/>
                  <a:pt x="3229" y="4529"/>
                </a:cubicBezTo>
                <a:cubicBezTo>
                  <a:pt x="3172" y="4553"/>
                  <a:pt x="3185" y="4493"/>
                  <a:pt x="3229" y="4529"/>
                </a:cubicBezTo>
                <a:close/>
                <a:moveTo>
                  <a:pt x="3207" y="4144"/>
                </a:moveTo>
                <a:cubicBezTo>
                  <a:pt x="3219" y="4137"/>
                  <a:pt x="3313" y="4087"/>
                  <a:pt x="3307" y="4134"/>
                </a:cubicBezTo>
                <a:cubicBezTo>
                  <a:pt x="3301" y="4176"/>
                  <a:pt x="3232" y="4173"/>
                  <a:pt x="3207" y="4144"/>
                </a:cubicBezTo>
                <a:cubicBezTo>
                  <a:pt x="3227" y="4133"/>
                  <a:pt x="3224" y="4165"/>
                  <a:pt x="3207" y="4144"/>
                </a:cubicBezTo>
                <a:close/>
                <a:moveTo>
                  <a:pt x="3084" y="4116"/>
                </a:moveTo>
                <a:cubicBezTo>
                  <a:pt x="3058" y="4107"/>
                  <a:pt x="3099" y="4121"/>
                  <a:pt x="3084" y="4116"/>
                </a:cubicBezTo>
                <a:cubicBezTo>
                  <a:pt x="3081" y="4115"/>
                  <a:pt x="3085" y="4117"/>
                  <a:pt x="3084" y="4116"/>
                </a:cubicBezTo>
                <a:close/>
                <a:moveTo>
                  <a:pt x="3079" y="4155"/>
                </a:moveTo>
                <a:cubicBezTo>
                  <a:pt x="3078" y="4184"/>
                  <a:pt x="3010" y="4187"/>
                  <a:pt x="3004" y="4169"/>
                </a:cubicBezTo>
                <a:cubicBezTo>
                  <a:pt x="2988" y="4129"/>
                  <a:pt x="3080" y="4128"/>
                  <a:pt x="3079" y="4155"/>
                </a:cubicBezTo>
                <a:cubicBezTo>
                  <a:pt x="3078" y="4196"/>
                  <a:pt x="3080" y="4126"/>
                  <a:pt x="3079" y="4155"/>
                </a:cubicBezTo>
                <a:close/>
                <a:moveTo>
                  <a:pt x="3357" y="4641"/>
                </a:moveTo>
                <a:cubicBezTo>
                  <a:pt x="3293" y="4680"/>
                  <a:pt x="3245" y="4678"/>
                  <a:pt x="3180" y="4685"/>
                </a:cubicBezTo>
                <a:cubicBezTo>
                  <a:pt x="3173" y="4686"/>
                  <a:pt x="3124" y="4704"/>
                  <a:pt x="3119" y="4699"/>
                </a:cubicBezTo>
                <a:cubicBezTo>
                  <a:pt x="3063" y="4639"/>
                  <a:pt x="3225" y="4652"/>
                  <a:pt x="3135" y="4631"/>
                </a:cubicBezTo>
                <a:cubicBezTo>
                  <a:pt x="3187" y="4643"/>
                  <a:pt x="3311" y="4659"/>
                  <a:pt x="3354" y="4613"/>
                </a:cubicBezTo>
                <a:cubicBezTo>
                  <a:pt x="3365" y="4622"/>
                  <a:pt x="3366" y="4631"/>
                  <a:pt x="3357" y="4641"/>
                </a:cubicBezTo>
                <a:cubicBezTo>
                  <a:pt x="3324" y="4661"/>
                  <a:pt x="3367" y="4635"/>
                  <a:pt x="3357" y="4641"/>
                </a:cubicBezTo>
                <a:close/>
                <a:moveTo>
                  <a:pt x="3398" y="4735"/>
                </a:moveTo>
                <a:cubicBezTo>
                  <a:pt x="3386" y="4737"/>
                  <a:pt x="3233" y="4735"/>
                  <a:pt x="3275" y="4704"/>
                </a:cubicBezTo>
                <a:cubicBezTo>
                  <a:pt x="3303" y="4683"/>
                  <a:pt x="3382" y="4707"/>
                  <a:pt x="3398" y="4735"/>
                </a:cubicBezTo>
                <a:cubicBezTo>
                  <a:pt x="3360" y="4741"/>
                  <a:pt x="3382" y="4708"/>
                  <a:pt x="3398" y="4735"/>
                </a:cubicBezTo>
                <a:close/>
                <a:moveTo>
                  <a:pt x="3205" y="5096"/>
                </a:moveTo>
                <a:cubicBezTo>
                  <a:pt x="3174" y="5122"/>
                  <a:pt x="3145" y="5131"/>
                  <a:pt x="3113" y="5098"/>
                </a:cubicBezTo>
                <a:cubicBezTo>
                  <a:pt x="3144" y="5067"/>
                  <a:pt x="3173" y="5064"/>
                  <a:pt x="3205" y="5096"/>
                </a:cubicBezTo>
                <a:close/>
                <a:moveTo>
                  <a:pt x="3394" y="4519"/>
                </a:moveTo>
                <a:cubicBezTo>
                  <a:pt x="3383" y="4511"/>
                  <a:pt x="3212" y="4501"/>
                  <a:pt x="3242" y="4468"/>
                </a:cubicBezTo>
                <a:cubicBezTo>
                  <a:pt x="3255" y="4454"/>
                  <a:pt x="3325" y="4470"/>
                  <a:pt x="3345" y="4470"/>
                </a:cubicBezTo>
                <a:cubicBezTo>
                  <a:pt x="3357" y="4471"/>
                  <a:pt x="3402" y="4463"/>
                  <a:pt x="3410" y="4475"/>
                </a:cubicBezTo>
                <a:cubicBezTo>
                  <a:pt x="3418" y="4488"/>
                  <a:pt x="3406" y="4528"/>
                  <a:pt x="3394" y="4519"/>
                </a:cubicBezTo>
                <a:cubicBezTo>
                  <a:pt x="3362" y="4497"/>
                  <a:pt x="3398" y="4522"/>
                  <a:pt x="3394" y="4519"/>
                </a:cubicBezTo>
                <a:close/>
                <a:moveTo>
                  <a:pt x="2956" y="4581"/>
                </a:moveTo>
                <a:cubicBezTo>
                  <a:pt x="2948" y="4586"/>
                  <a:pt x="2943" y="4593"/>
                  <a:pt x="2943" y="4603"/>
                </a:cubicBezTo>
                <a:cubicBezTo>
                  <a:pt x="2949" y="4590"/>
                  <a:pt x="2859" y="4573"/>
                  <a:pt x="2841" y="4572"/>
                </a:cubicBezTo>
                <a:cubicBezTo>
                  <a:pt x="2813" y="4572"/>
                  <a:pt x="2787" y="4559"/>
                  <a:pt x="2781" y="4602"/>
                </a:cubicBezTo>
                <a:cubicBezTo>
                  <a:pt x="2794" y="4612"/>
                  <a:pt x="2819" y="4584"/>
                  <a:pt x="2820" y="4586"/>
                </a:cubicBezTo>
                <a:cubicBezTo>
                  <a:pt x="2832" y="4602"/>
                  <a:pt x="2846" y="4629"/>
                  <a:pt x="2828" y="4651"/>
                </a:cubicBezTo>
                <a:cubicBezTo>
                  <a:pt x="2795" y="4692"/>
                  <a:pt x="2627" y="4650"/>
                  <a:pt x="2583" y="4652"/>
                </a:cubicBezTo>
                <a:cubicBezTo>
                  <a:pt x="2551" y="4655"/>
                  <a:pt x="2425" y="4677"/>
                  <a:pt x="2502" y="4635"/>
                </a:cubicBezTo>
                <a:cubicBezTo>
                  <a:pt x="2560" y="4604"/>
                  <a:pt x="2709" y="4651"/>
                  <a:pt x="2752" y="4592"/>
                </a:cubicBezTo>
                <a:cubicBezTo>
                  <a:pt x="2741" y="4563"/>
                  <a:pt x="2696" y="4570"/>
                  <a:pt x="2675" y="4552"/>
                </a:cubicBezTo>
                <a:cubicBezTo>
                  <a:pt x="2778" y="4523"/>
                  <a:pt x="2887" y="4549"/>
                  <a:pt x="2991" y="4522"/>
                </a:cubicBezTo>
                <a:cubicBezTo>
                  <a:pt x="2981" y="4550"/>
                  <a:pt x="2928" y="4541"/>
                  <a:pt x="2956" y="4581"/>
                </a:cubicBezTo>
                <a:cubicBezTo>
                  <a:pt x="2953" y="4585"/>
                  <a:pt x="2926" y="4539"/>
                  <a:pt x="2956" y="4581"/>
                </a:cubicBezTo>
                <a:close/>
                <a:moveTo>
                  <a:pt x="2941" y="4657"/>
                </a:moveTo>
                <a:cubicBezTo>
                  <a:pt x="2936" y="4652"/>
                  <a:pt x="2936" y="4648"/>
                  <a:pt x="2940" y="4643"/>
                </a:cubicBezTo>
                <a:cubicBezTo>
                  <a:pt x="2945" y="4645"/>
                  <a:pt x="2945" y="4649"/>
                  <a:pt x="2941" y="4657"/>
                </a:cubicBezTo>
                <a:cubicBezTo>
                  <a:pt x="2933" y="4653"/>
                  <a:pt x="2941" y="4652"/>
                  <a:pt x="2941" y="4657"/>
                </a:cubicBezTo>
                <a:close/>
                <a:moveTo>
                  <a:pt x="2908" y="4628"/>
                </a:moveTo>
                <a:cubicBezTo>
                  <a:pt x="2913" y="4633"/>
                  <a:pt x="2920" y="4634"/>
                  <a:pt x="2927" y="4636"/>
                </a:cubicBezTo>
                <a:cubicBezTo>
                  <a:pt x="2920" y="4634"/>
                  <a:pt x="2913" y="4633"/>
                  <a:pt x="2908" y="4628"/>
                </a:cubicBezTo>
                <a:close/>
                <a:moveTo>
                  <a:pt x="2915" y="4824"/>
                </a:moveTo>
                <a:cubicBezTo>
                  <a:pt x="2886" y="4841"/>
                  <a:pt x="2865" y="4834"/>
                  <a:pt x="2846" y="4834"/>
                </a:cubicBezTo>
                <a:cubicBezTo>
                  <a:pt x="2863" y="4814"/>
                  <a:pt x="2883" y="4822"/>
                  <a:pt x="2915" y="4824"/>
                </a:cubicBezTo>
                <a:close/>
                <a:moveTo>
                  <a:pt x="2903" y="4616"/>
                </a:moveTo>
                <a:cubicBezTo>
                  <a:pt x="2907" y="4605"/>
                  <a:pt x="2917" y="4611"/>
                  <a:pt x="2903" y="4616"/>
                </a:cubicBezTo>
                <a:cubicBezTo>
                  <a:pt x="2904" y="4613"/>
                  <a:pt x="2906" y="4615"/>
                  <a:pt x="2903" y="4616"/>
                </a:cubicBezTo>
                <a:close/>
                <a:moveTo>
                  <a:pt x="2835" y="5122"/>
                </a:moveTo>
                <a:cubicBezTo>
                  <a:pt x="2815" y="5137"/>
                  <a:pt x="2798" y="5132"/>
                  <a:pt x="2768" y="5128"/>
                </a:cubicBezTo>
                <a:cubicBezTo>
                  <a:pt x="2796" y="5113"/>
                  <a:pt x="2812" y="5104"/>
                  <a:pt x="2835" y="5122"/>
                </a:cubicBezTo>
                <a:close/>
                <a:moveTo>
                  <a:pt x="2688" y="4692"/>
                </a:moveTo>
                <a:cubicBezTo>
                  <a:pt x="2682" y="4700"/>
                  <a:pt x="2677" y="4699"/>
                  <a:pt x="2674" y="4688"/>
                </a:cubicBezTo>
                <a:cubicBezTo>
                  <a:pt x="2680" y="4682"/>
                  <a:pt x="2685" y="4683"/>
                  <a:pt x="2688" y="4692"/>
                </a:cubicBezTo>
                <a:cubicBezTo>
                  <a:pt x="2685" y="4694"/>
                  <a:pt x="2685" y="4689"/>
                  <a:pt x="2688" y="4692"/>
                </a:cubicBezTo>
                <a:close/>
                <a:moveTo>
                  <a:pt x="2652" y="4675"/>
                </a:moveTo>
                <a:cubicBezTo>
                  <a:pt x="2647" y="4677"/>
                  <a:pt x="2637" y="4673"/>
                  <a:pt x="2652" y="4675"/>
                </a:cubicBezTo>
                <a:cubicBezTo>
                  <a:pt x="2650" y="4675"/>
                  <a:pt x="2649" y="4674"/>
                  <a:pt x="2652" y="4675"/>
                </a:cubicBezTo>
                <a:close/>
                <a:moveTo>
                  <a:pt x="2196" y="4780"/>
                </a:moveTo>
                <a:cubicBezTo>
                  <a:pt x="2174" y="4737"/>
                  <a:pt x="2096" y="4769"/>
                  <a:pt x="2062" y="4770"/>
                </a:cubicBezTo>
                <a:cubicBezTo>
                  <a:pt x="2108" y="4769"/>
                  <a:pt x="2151" y="4753"/>
                  <a:pt x="2196" y="4744"/>
                </a:cubicBezTo>
                <a:cubicBezTo>
                  <a:pt x="2197" y="4734"/>
                  <a:pt x="2173" y="4723"/>
                  <a:pt x="2165" y="4722"/>
                </a:cubicBezTo>
                <a:cubicBezTo>
                  <a:pt x="2206" y="4727"/>
                  <a:pt x="2352" y="4678"/>
                  <a:pt x="2351" y="4765"/>
                </a:cubicBezTo>
                <a:cubicBezTo>
                  <a:pt x="2309" y="4767"/>
                  <a:pt x="2277" y="4786"/>
                  <a:pt x="2239" y="4801"/>
                </a:cubicBezTo>
                <a:cubicBezTo>
                  <a:pt x="2241" y="4765"/>
                  <a:pt x="2221" y="4767"/>
                  <a:pt x="2196" y="4780"/>
                </a:cubicBezTo>
                <a:cubicBezTo>
                  <a:pt x="2187" y="4762"/>
                  <a:pt x="2220" y="4768"/>
                  <a:pt x="2196" y="4780"/>
                </a:cubicBezTo>
                <a:close/>
                <a:moveTo>
                  <a:pt x="2150" y="4999"/>
                </a:moveTo>
                <a:cubicBezTo>
                  <a:pt x="2192" y="5010"/>
                  <a:pt x="2158" y="5026"/>
                  <a:pt x="2139" y="5032"/>
                </a:cubicBezTo>
                <a:cubicBezTo>
                  <a:pt x="2107" y="5041"/>
                  <a:pt x="2066" y="5021"/>
                  <a:pt x="2029" y="5033"/>
                </a:cubicBezTo>
                <a:cubicBezTo>
                  <a:pt x="2057" y="5024"/>
                  <a:pt x="2041" y="5011"/>
                  <a:pt x="2019" y="5006"/>
                </a:cubicBezTo>
                <a:cubicBezTo>
                  <a:pt x="2000" y="5002"/>
                  <a:pt x="1994" y="5013"/>
                  <a:pt x="1982" y="5012"/>
                </a:cubicBezTo>
                <a:cubicBezTo>
                  <a:pt x="1954" y="5011"/>
                  <a:pt x="1908" y="5011"/>
                  <a:pt x="1886" y="4972"/>
                </a:cubicBezTo>
                <a:cubicBezTo>
                  <a:pt x="1842" y="4893"/>
                  <a:pt x="1988" y="4944"/>
                  <a:pt x="2033" y="4942"/>
                </a:cubicBezTo>
                <a:cubicBezTo>
                  <a:pt x="2025" y="4928"/>
                  <a:pt x="2016" y="4913"/>
                  <a:pt x="2008" y="4899"/>
                </a:cubicBezTo>
                <a:cubicBezTo>
                  <a:pt x="2040" y="4900"/>
                  <a:pt x="2077" y="4902"/>
                  <a:pt x="2106" y="4911"/>
                </a:cubicBezTo>
                <a:cubicBezTo>
                  <a:pt x="2117" y="4914"/>
                  <a:pt x="2146" y="4929"/>
                  <a:pt x="2150" y="4929"/>
                </a:cubicBezTo>
                <a:cubicBezTo>
                  <a:pt x="2173" y="4930"/>
                  <a:pt x="2156" y="4905"/>
                  <a:pt x="2191" y="4908"/>
                </a:cubicBezTo>
                <a:cubicBezTo>
                  <a:pt x="2195" y="4909"/>
                  <a:pt x="2224" y="4935"/>
                  <a:pt x="2223" y="4933"/>
                </a:cubicBezTo>
                <a:cubicBezTo>
                  <a:pt x="2250" y="4968"/>
                  <a:pt x="2198" y="4934"/>
                  <a:pt x="2182" y="4932"/>
                </a:cubicBezTo>
                <a:cubicBezTo>
                  <a:pt x="2131" y="4927"/>
                  <a:pt x="2130" y="4964"/>
                  <a:pt x="2074" y="4973"/>
                </a:cubicBezTo>
                <a:cubicBezTo>
                  <a:pt x="2103" y="4972"/>
                  <a:pt x="2124" y="4992"/>
                  <a:pt x="2150" y="4999"/>
                </a:cubicBezTo>
                <a:cubicBezTo>
                  <a:pt x="2161" y="5002"/>
                  <a:pt x="2124" y="4992"/>
                  <a:pt x="2150" y="4999"/>
                </a:cubicBezTo>
                <a:close/>
                <a:moveTo>
                  <a:pt x="1956" y="5283"/>
                </a:moveTo>
                <a:cubicBezTo>
                  <a:pt x="1978" y="5226"/>
                  <a:pt x="2037" y="5296"/>
                  <a:pt x="2068" y="5254"/>
                </a:cubicBezTo>
                <a:cubicBezTo>
                  <a:pt x="2042" y="5287"/>
                  <a:pt x="2074" y="5308"/>
                  <a:pt x="2074" y="5341"/>
                </a:cubicBezTo>
                <a:cubicBezTo>
                  <a:pt x="2051" y="5342"/>
                  <a:pt x="2027" y="5339"/>
                  <a:pt x="2004" y="5341"/>
                </a:cubicBezTo>
                <a:cubicBezTo>
                  <a:pt x="1991" y="5342"/>
                  <a:pt x="1938" y="5365"/>
                  <a:pt x="1925" y="5361"/>
                </a:cubicBezTo>
                <a:cubicBezTo>
                  <a:pt x="1883" y="5351"/>
                  <a:pt x="1888" y="5342"/>
                  <a:pt x="1927" y="5330"/>
                </a:cubicBezTo>
                <a:cubicBezTo>
                  <a:pt x="1944" y="5325"/>
                  <a:pt x="1988" y="5341"/>
                  <a:pt x="2000" y="5321"/>
                </a:cubicBezTo>
                <a:cubicBezTo>
                  <a:pt x="2025" y="5279"/>
                  <a:pt x="1972" y="5292"/>
                  <a:pt x="1956" y="5283"/>
                </a:cubicBezTo>
                <a:cubicBezTo>
                  <a:pt x="1979" y="5223"/>
                  <a:pt x="1972" y="5292"/>
                  <a:pt x="1956" y="5283"/>
                </a:cubicBezTo>
                <a:close/>
                <a:moveTo>
                  <a:pt x="2075" y="5341"/>
                </a:moveTo>
                <a:cubicBezTo>
                  <a:pt x="2101" y="5346"/>
                  <a:pt x="2116" y="5375"/>
                  <a:pt x="2078" y="5389"/>
                </a:cubicBezTo>
                <a:cubicBezTo>
                  <a:pt x="2034" y="5407"/>
                  <a:pt x="2076" y="5348"/>
                  <a:pt x="2075" y="5341"/>
                </a:cubicBezTo>
                <a:cubicBezTo>
                  <a:pt x="2087" y="5344"/>
                  <a:pt x="2080" y="5361"/>
                  <a:pt x="2075" y="5341"/>
                </a:cubicBezTo>
                <a:close/>
                <a:moveTo>
                  <a:pt x="1859" y="4451"/>
                </a:moveTo>
                <a:cubicBezTo>
                  <a:pt x="1856" y="4457"/>
                  <a:pt x="1820" y="4458"/>
                  <a:pt x="1822" y="4458"/>
                </a:cubicBezTo>
                <a:cubicBezTo>
                  <a:pt x="1856" y="4460"/>
                  <a:pt x="1837" y="4423"/>
                  <a:pt x="1862" y="4405"/>
                </a:cubicBezTo>
                <a:cubicBezTo>
                  <a:pt x="1870" y="4400"/>
                  <a:pt x="1973" y="4371"/>
                  <a:pt x="1977" y="4371"/>
                </a:cubicBezTo>
                <a:cubicBezTo>
                  <a:pt x="2009" y="4378"/>
                  <a:pt x="2011" y="4389"/>
                  <a:pt x="1994" y="4409"/>
                </a:cubicBezTo>
                <a:cubicBezTo>
                  <a:pt x="1990" y="4413"/>
                  <a:pt x="1963" y="4405"/>
                  <a:pt x="1954" y="4409"/>
                </a:cubicBezTo>
                <a:cubicBezTo>
                  <a:pt x="1938" y="4416"/>
                  <a:pt x="1931" y="4433"/>
                  <a:pt x="1915" y="4442"/>
                </a:cubicBezTo>
                <a:cubicBezTo>
                  <a:pt x="1974" y="4494"/>
                  <a:pt x="2051" y="4378"/>
                  <a:pt x="2095" y="4428"/>
                </a:cubicBezTo>
                <a:cubicBezTo>
                  <a:pt x="2127" y="4466"/>
                  <a:pt x="2072" y="4478"/>
                  <a:pt x="2137" y="4501"/>
                </a:cubicBezTo>
                <a:cubicBezTo>
                  <a:pt x="2156" y="4507"/>
                  <a:pt x="2227" y="4507"/>
                  <a:pt x="2233" y="4482"/>
                </a:cubicBezTo>
                <a:cubicBezTo>
                  <a:pt x="2241" y="4444"/>
                  <a:pt x="2089" y="4479"/>
                  <a:pt x="2176" y="4435"/>
                </a:cubicBezTo>
                <a:cubicBezTo>
                  <a:pt x="2255" y="4394"/>
                  <a:pt x="2382" y="4460"/>
                  <a:pt x="2470" y="4436"/>
                </a:cubicBezTo>
                <a:cubicBezTo>
                  <a:pt x="2455" y="4480"/>
                  <a:pt x="2404" y="4471"/>
                  <a:pt x="2367" y="4471"/>
                </a:cubicBezTo>
                <a:cubicBezTo>
                  <a:pt x="2300" y="4472"/>
                  <a:pt x="2298" y="4472"/>
                  <a:pt x="2246" y="4507"/>
                </a:cubicBezTo>
                <a:cubicBezTo>
                  <a:pt x="2196" y="4540"/>
                  <a:pt x="2048" y="4573"/>
                  <a:pt x="1992" y="4538"/>
                </a:cubicBezTo>
                <a:cubicBezTo>
                  <a:pt x="2012" y="4513"/>
                  <a:pt x="2049" y="4533"/>
                  <a:pt x="2073" y="4513"/>
                </a:cubicBezTo>
                <a:cubicBezTo>
                  <a:pt x="2028" y="4498"/>
                  <a:pt x="1846" y="4509"/>
                  <a:pt x="1859" y="4451"/>
                </a:cubicBezTo>
                <a:close/>
                <a:moveTo>
                  <a:pt x="1849" y="4241"/>
                </a:moveTo>
                <a:cubicBezTo>
                  <a:pt x="1891" y="4241"/>
                  <a:pt x="1856" y="4272"/>
                  <a:pt x="1856" y="4271"/>
                </a:cubicBezTo>
                <a:cubicBezTo>
                  <a:pt x="1857" y="4275"/>
                  <a:pt x="1808" y="4241"/>
                  <a:pt x="1849" y="4241"/>
                </a:cubicBezTo>
                <a:cubicBezTo>
                  <a:pt x="1861" y="4241"/>
                  <a:pt x="1839" y="4241"/>
                  <a:pt x="1849" y="4241"/>
                </a:cubicBezTo>
                <a:close/>
                <a:moveTo>
                  <a:pt x="2038" y="4365"/>
                </a:moveTo>
                <a:cubicBezTo>
                  <a:pt x="2044" y="4359"/>
                  <a:pt x="2049" y="4359"/>
                  <a:pt x="2055" y="4366"/>
                </a:cubicBezTo>
                <a:cubicBezTo>
                  <a:pt x="2049" y="4371"/>
                  <a:pt x="2044" y="4371"/>
                  <a:pt x="2038" y="4365"/>
                </a:cubicBezTo>
                <a:cubicBezTo>
                  <a:pt x="2041" y="4364"/>
                  <a:pt x="2041" y="4367"/>
                  <a:pt x="2038" y="4365"/>
                </a:cubicBezTo>
                <a:close/>
                <a:moveTo>
                  <a:pt x="2087" y="4373"/>
                </a:moveTo>
                <a:cubicBezTo>
                  <a:pt x="2136" y="4377"/>
                  <a:pt x="2179" y="4334"/>
                  <a:pt x="2220" y="4381"/>
                </a:cubicBezTo>
                <a:cubicBezTo>
                  <a:pt x="2196" y="4405"/>
                  <a:pt x="2136" y="4417"/>
                  <a:pt x="2104" y="4403"/>
                </a:cubicBezTo>
                <a:cubicBezTo>
                  <a:pt x="2104" y="4402"/>
                  <a:pt x="2051" y="4370"/>
                  <a:pt x="2087" y="4373"/>
                </a:cubicBezTo>
                <a:cubicBezTo>
                  <a:pt x="2131" y="4377"/>
                  <a:pt x="2079" y="4372"/>
                  <a:pt x="2087" y="4373"/>
                </a:cubicBezTo>
                <a:close/>
                <a:moveTo>
                  <a:pt x="2703" y="4470"/>
                </a:moveTo>
                <a:cubicBezTo>
                  <a:pt x="2698" y="4470"/>
                  <a:pt x="2683" y="4500"/>
                  <a:pt x="2675" y="4503"/>
                </a:cubicBezTo>
                <a:cubicBezTo>
                  <a:pt x="2664" y="4508"/>
                  <a:pt x="2655" y="4485"/>
                  <a:pt x="2647" y="4485"/>
                </a:cubicBezTo>
                <a:cubicBezTo>
                  <a:pt x="2644" y="4485"/>
                  <a:pt x="2547" y="4492"/>
                  <a:pt x="2548" y="4493"/>
                </a:cubicBezTo>
                <a:cubicBezTo>
                  <a:pt x="2537" y="4487"/>
                  <a:pt x="2514" y="4462"/>
                  <a:pt x="2542" y="4460"/>
                </a:cubicBezTo>
                <a:cubicBezTo>
                  <a:pt x="2563" y="4459"/>
                  <a:pt x="2574" y="4482"/>
                  <a:pt x="2609" y="4484"/>
                </a:cubicBezTo>
                <a:cubicBezTo>
                  <a:pt x="2642" y="4486"/>
                  <a:pt x="2647" y="4475"/>
                  <a:pt x="2670" y="4463"/>
                </a:cubicBezTo>
                <a:cubicBezTo>
                  <a:pt x="2674" y="4462"/>
                  <a:pt x="2675" y="4430"/>
                  <a:pt x="2692" y="4439"/>
                </a:cubicBezTo>
                <a:cubicBezTo>
                  <a:pt x="2715" y="4450"/>
                  <a:pt x="2694" y="4453"/>
                  <a:pt x="2703" y="4470"/>
                </a:cubicBezTo>
                <a:cubicBezTo>
                  <a:pt x="2703" y="4470"/>
                  <a:pt x="2698" y="4460"/>
                  <a:pt x="2703" y="4470"/>
                </a:cubicBezTo>
                <a:close/>
                <a:moveTo>
                  <a:pt x="2669" y="4579"/>
                </a:moveTo>
                <a:cubicBezTo>
                  <a:pt x="2617" y="4605"/>
                  <a:pt x="2605" y="4571"/>
                  <a:pt x="2586" y="4547"/>
                </a:cubicBezTo>
                <a:cubicBezTo>
                  <a:pt x="2631" y="4515"/>
                  <a:pt x="2636" y="4569"/>
                  <a:pt x="2669" y="4579"/>
                </a:cubicBezTo>
                <a:close/>
                <a:moveTo>
                  <a:pt x="2512" y="4532"/>
                </a:moveTo>
                <a:cubicBezTo>
                  <a:pt x="2488" y="4547"/>
                  <a:pt x="2540" y="4587"/>
                  <a:pt x="2534" y="4606"/>
                </a:cubicBezTo>
                <a:cubicBezTo>
                  <a:pt x="2520" y="4644"/>
                  <a:pt x="2457" y="4606"/>
                  <a:pt x="2430" y="4607"/>
                </a:cubicBezTo>
                <a:cubicBezTo>
                  <a:pt x="2398" y="4607"/>
                  <a:pt x="2164" y="4632"/>
                  <a:pt x="2298" y="4572"/>
                </a:cubicBezTo>
                <a:cubicBezTo>
                  <a:pt x="2293" y="4548"/>
                  <a:pt x="2253" y="4554"/>
                  <a:pt x="2268" y="4525"/>
                </a:cubicBezTo>
                <a:cubicBezTo>
                  <a:pt x="2289" y="4485"/>
                  <a:pt x="2348" y="4526"/>
                  <a:pt x="2354" y="4539"/>
                </a:cubicBezTo>
                <a:cubicBezTo>
                  <a:pt x="2362" y="4556"/>
                  <a:pt x="2328" y="4598"/>
                  <a:pt x="2385" y="4587"/>
                </a:cubicBezTo>
                <a:cubicBezTo>
                  <a:pt x="2390" y="4586"/>
                  <a:pt x="2452" y="4543"/>
                  <a:pt x="2460" y="4537"/>
                </a:cubicBezTo>
                <a:cubicBezTo>
                  <a:pt x="2375" y="4534"/>
                  <a:pt x="2412" y="4489"/>
                  <a:pt x="2473" y="4492"/>
                </a:cubicBezTo>
                <a:cubicBezTo>
                  <a:pt x="2495" y="4493"/>
                  <a:pt x="2565" y="4500"/>
                  <a:pt x="2512" y="4532"/>
                </a:cubicBezTo>
                <a:cubicBezTo>
                  <a:pt x="2491" y="4545"/>
                  <a:pt x="2560" y="4503"/>
                  <a:pt x="2512" y="4532"/>
                </a:cubicBezTo>
                <a:close/>
                <a:moveTo>
                  <a:pt x="2373" y="4812"/>
                </a:moveTo>
                <a:cubicBezTo>
                  <a:pt x="2361" y="4813"/>
                  <a:pt x="2350" y="4814"/>
                  <a:pt x="2342" y="4804"/>
                </a:cubicBezTo>
                <a:cubicBezTo>
                  <a:pt x="2352" y="4806"/>
                  <a:pt x="2365" y="4798"/>
                  <a:pt x="2373" y="4812"/>
                </a:cubicBezTo>
                <a:close/>
                <a:moveTo>
                  <a:pt x="2413" y="4371"/>
                </a:moveTo>
                <a:cubicBezTo>
                  <a:pt x="2437" y="4369"/>
                  <a:pt x="2462" y="4371"/>
                  <a:pt x="2486" y="4371"/>
                </a:cubicBezTo>
                <a:cubicBezTo>
                  <a:pt x="2468" y="4385"/>
                  <a:pt x="2421" y="4435"/>
                  <a:pt x="2395" y="4418"/>
                </a:cubicBezTo>
                <a:cubicBezTo>
                  <a:pt x="2362" y="4398"/>
                  <a:pt x="2391" y="4373"/>
                  <a:pt x="2413" y="4371"/>
                </a:cubicBezTo>
                <a:cubicBezTo>
                  <a:pt x="2432" y="4369"/>
                  <a:pt x="2402" y="4372"/>
                  <a:pt x="2413" y="4371"/>
                </a:cubicBezTo>
                <a:close/>
                <a:moveTo>
                  <a:pt x="2236" y="4562"/>
                </a:moveTo>
                <a:cubicBezTo>
                  <a:pt x="2228" y="4568"/>
                  <a:pt x="2224" y="4566"/>
                  <a:pt x="2223" y="4556"/>
                </a:cubicBezTo>
                <a:cubicBezTo>
                  <a:pt x="2231" y="4550"/>
                  <a:pt x="2235" y="4552"/>
                  <a:pt x="2236" y="4562"/>
                </a:cubicBezTo>
                <a:cubicBezTo>
                  <a:pt x="2233" y="4563"/>
                  <a:pt x="2235" y="4559"/>
                  <a:pt x="2236" y="4562"/>
                </a:cubicBezTo>
                <a:close/>
                <a:moveTo>
                  <a:pt x="2195" y="4601"/>
                </a:moveTo>
                <a:cubicBezTo>
                  <a:pt x="2189" y="4598"/>
                  <a:pt x="2183" y="4596"/>
                  <a:pt x="2176" y="4594"/>
                </a:cubicBezTo>
                <a:cubicBezTo>
                  <a:pt x="2192" y="4575"/>
                  <a:pt x="2211" y="4593"/>
                  <a:pt x="2195" y="4601"/>
                </a:cubicBezTo>
                <a:cubicBezTo>
                  <a:pt x="2188" y="4604"/>
                  <a:pt x="2198" y="4599"/>
                  <a:pt x="2195" y="4601"/>
                </a:cubicBezTo>
                <a:close/>
                <a:moveTo>
                  <a:pt x="1954" y="4536"/>
                </a:moveTo>
                <a:cubicBezTo>
                  <a:pt x="1962" y="4540"/>
                  <a:pt x="1962" y="4544"/>
                  <a:pt x="1954" y="4548"/>
                </a:cubicBezTo>
                <a:cubicBezTo>
                  <a:pt x="1954" y="4529"/>
                  <a:pt x="1931" y="4525"/>
                  <a:pt x="1914" y="4523"/>
                </a:cubicBezTo>
                <a:cubicBezTo>
                  <a:pt x="1928" y="4525"/>
                  <a:pt x="1941" y="4529"/>
                  <a:pt x="1954" y="4536"/>
                </a:cubicBezTo>
                <a:cubicBezTo>
                  <a:pt x="1961" y="4540"/>
                  <a:pt x="1940" y="4529"/>
                  <a:pt x="1954" y="4536"/>
                </a:cubicBezTo>
                <a:close/>
                <a:moveTo>
                  <a:pt x="2120" y="4821"/>
                </a:moveTo>
                <a:cubicBezTo>
                  <a:pt x="2132" y="4820"/>
                  <a:pt x="2155" y="4835"/>
                  <a:pt x="2165" y="4837"/>
                </a:cubicBezTo>
                <a:cubicBezTo>
                  <a:pt x="2203" y="4846"/>
                  <a:pt x="2182" y="4829"/>
                  <a:pt x="2230" y="4839"/>
                </a:cubicBezTo>
                <a:cubicBezTo>
                  <a:pt x="2242" y="4826"/>
                  <a:pt x="2142" y="4885"/>
                  <a:pt x="2174" y="4875"/>
                </a:cubicBezTo>
                <a:cubicBezTo>
                  <a:pt x="2174" y="4875"/>
                  <a:pt x="2130" y="4884"/>
                  <a:pt x="2130" y="4884"/>
                </a:cubicBezTo>
                <a:cubicBezTo>
                  <a:pt x="2136" y="4852"/>
                  <a:pt x="2123" y="4786"/>
                  <a:pt x="2118" y="4846"/>
                </a:cubicBezTo>
                <a:cubicBezTo>
                  <a:pt x="2125" y="4831"/>
                  <a:pt x="2123" y="4818"/>
                  <a:pt x="2110" y="4808"/>
                </a:cubicBezTo>
                <a:cubicBezTo>
                  <a:pt x="2113" y="4813"/>
                  <a:pt x="2117" y="4817"/>
                  <a:pt x="2120" y="4821"/>
                </a:cubicBezTo>
                <a:cubicBezTo>
                  <a:pt x="2129" y="4820"/>
                  <a:pt x="2114" y="4817"/>
                  <a:pt x="2120" y="4821"/>
                </a:cubicBezTo>
                <a:close/>
                <a:moveTo>
                  <a:pt x="2248" y="4976"/>
                </a:moveTo>
                <a:cubicBezTo>
                  <a:pt x="2261" y="4952"/>
                  <a:pt x="2281" y="4972"/>
                  <a:pt x="2298" y="4968"/>
                </a:cubicBezTo>
                <a:cubicBezTo>
                  <a:pt x="2292" y="4970"/>
                  <a:pt x="2355" y="4955"/>
                  <a:pt x="2342" y="4956"/>
                </a:cubicBezTo>
                <a:cubicBezTo>
                  <a:pt x="2381" y="4953"/>
                  <a:pt x="2440" y="4977"/>
                  <a:pt x="2475" y="5013"/>
                </a:cubicBezTo>
                <a:cubicBezTo>
                  <a:pt x="2447" y="5021"/>
                  <a:pt x="2427" y="4995"/>
                  <a:pt x="2402" y="4997"/>
                </a:cubicBezTo>
                <a:cubicBezTo>
                  <a:pt x="2394" y="4998"/>
                  <a:pt x="2385" y="4986"/>
                  <a:pt x="2377" y="4989"/>
                </a:cubicBezTo>
                <a:cubicBezTo>
                  <a:pt x="2361" y="4995"/>
                  <a:pt x="2375" y="5020"/>
                  <a:pt x="2363" y="5026"/>
                </a:cubicBezTo>
                <a:cubicBezTo>
                  <a:pt x="2341" y="5038"/>
                  <a:pt x="2225" y="5018"/>
                  <a:pt x="2248" y="4976"/>
                </a:cubicBezTo>
                <a:cubicBezTo>
                  <a:pt x="2258" y="4958"/>
                  <a:pt x="2237" y="4995"/>
                  <a:pt x="2248" y="4976"/>
                </a:cubicBezTo>
                <a:close/>
                <a:moveTo>
                  <a:pt x="2464" y="5420"/>
                </a:moveTo>
                <a:cubicBezTo>
                  <a:pt x="2463" y="5438"/>
                  <a:pt x="2451" y="5439"/>
                  <a:pt x="2438" y="5437"/>
                </a:cubicBezTo>
                <a:cubicBezTo>
                  <a:pt x="2440" y="5422"/>
                  <a:pt x="2449" y="5416"/>
                  <a:pt x="2464" y="5420"/>
                </a:cubicBezTo>
                <a:close/>
                <a:moveTo>
                  <a:pt x="2285" y="5461"/>
                </a:moveTo>
                <a:cubicBezTo>
                  <a:pt x="2357" y="5481"/>
                  <a:pt x="2433" y="5453"/>
                  <a:pt x="2494" y="5471"/>
                </a:cubicBezTo>
                <a:cubicBezTo>
                  <a:pt x="2481" y="5489"/>
                  <a:pt x="2470" y="5459"/>
                  <a:pt x="2444" y="5465"/>
                </a:cubicBezTo>
                <a:cubicBezTo>
                  <a:pt x="2413" y="5472"/>
                  <a:pt x="2399" y="5490"/>
                  <a:pt x="2366" y="5492"/>
                </a:cubicBezTo>
                <a:cubicBezTo>
                  <a:pt x="2334" y="5493"/>
                  <a:pt x="2303" y="5474"/>
                  <a:pt x="2271" y="5472"/>
                </a:cubicBezTo>
                <a:cubicBezTo>
                  <a:pt x="2276" y="5468"/>
                  <a:pt x="2281" y="5464"/>
                  <a:pt x="2285" y="5461"/>
                </a:cubicBezTo>
                <a:cubicBezTo>
                  <a:pt x="2332" y="5474"/>
                  <a:pt x="2281" y="5464"/>
                  <a:pt x="2285" y="5461"/>
                </a:cubicBezTo>
                <a:close/>
                <a:moveTo>
                  <a:pt x="2477" y="4867"/>
                </a:moveTo>
                <a:cubicBezTo>
                  <a:pt x="2482" y="4867"/>
                  <a:pt x="2487" y="4867"/>
                  <a:pt x="2493" y="4867"/>
                </a:cubicBezTo>
                <a:cubicBezTo>
                  <a:pt x="2493" y="4872"/>
                  <a:pt x="2487" y="4872"/>
                  <a:pt x="2477" y="4867"/>
                </a:cubicBezTo>
                <a:close/>
                <a:moveTo>
                  <a:pt x="2973" y="4407"/>
                </a:moveTo>
                <a:cubicBezTo>
                  <a:pt x="2978" y="4433"/>
                  <a:pt x="2955" y="4441"/>
                  <a:pt x="2934" y="4437"/>
                </a:cubicBezTo>
                <a:cubicBezTo>
                  <a:pt x="2954" y="4450"/>
                  <a:pt x="2996" y="4452"/>
                  <a:pt x="2980" y="4485"/>
                </a:cubicBezTo>
                <a:cubicBezTo>
                  <a:pt x="2958" y="4528"/>
                  <a:pt x="2938" y="4474"/>
                  <a:pt x="2924" y="4475"/>
                </a:cubicBezTo>
                <a:cubicBezTo>
                  <a:pt x="2893" y="4476"/>
                  <a:pt x="2885" y="4502"/>
                  <a:pt x="2848" y="4497"/>
                </a:cubicBezTo>
                <a:cubicBezTo>
                  <a:pt x="2846" y="4489"/>
                  <a:pt x="2844" y="4481"/>
                  <a:pt x="2842" y="4474"/>
                </a:cubicBezTo>
                <a:cubicBezTo>
                  <a:pt x="2818" y="4471"/>
                  <a:pt x="2795" y="4470"/>
                  <a:pt x="2771" y="4472"/>
                </a:cubicBezTo>
                <a:cubicBezTo>
                  <a:pt x="2787" y="4518"/>
                  <a:pt x="2700" y="4517"/>
                  <a:pt x="2703" y="4470"/>
                </a:cubicBezTo>
                <a:cubicBezTo>
                  <a:pt x="2725" y="4470"/>
                  <a:pt x="2796" y="4474"/>
                  <a:pt x="2799" y="4437"/>
                </a:cubicBezTo>
                <a:cubicBezTo>
                  <a:pt x="2802" y="4395"/>
                  <a:pt x="2765" y="4404"/>
                  <a:pt x="2735" y="4410"/>
                </a:cubicBezTo>
                <a:cubicBezTo>
                  <a:pt x="2722" y="4412"/>
                  <a:pt x="2590" y="4454"/>
                  <a:pt x="2611" y="4416"/>
                </a:cubicBezTo>
                <a:cubicBezTo>
                  <a:pt x="2631" y="4380"/>
                  <a:pt x="2750" y="4372"/>
                  <a:pt x="2787" y="4371"/>
                </a:cubicBezTo>
                <a:cubicBezTo>
                  <a:pt x="2834" y="4371"/>
                  <a:pt x="2963" y="4354"/>
                  <a:pt x="2973" y="4407"/>
                </a:cubicBezTo>
                <a:cubicBezTo>
                  <a:pt x="2979" y="4439"/>
                  <a:pt x="2971" y="4395"/>
                  <a:pt x="2973" y="4407"/>
                </a:cubicBezTo>
                <a:close/>
                <a:moveTo>
                  <a:pt x="2742" y="4346"/>
                </a:moveTo>
                <a:cubicBezTo>
                  <a:pt x="2661" y="4382"/>
                  <a:pt x="2631" y="4293"/>
                  <a:pt x="2742" y="4346"/>
                </a:cubicBezTo>
                <a:cubicBezTo>
                  <a:pt x="2714" y="4359"/>
                  <a:pt x="2729" y="4340"/>
                  <a:pt x="2742" y="4346"/>
                </a:cubicBezTo>
                <a:close/>
                <a:moveTo>
                  <a:pt x="2739" y="4278"/>
                </a:moveTo>
                <a:cubicBezTo>
                  <a:pt x="2763" y="4267"/>
                  <a:pt x="2779" y="4271"/>
                  <a:pt x="2806" y="4279"/>
                </a:cubicBezTo>
                <a:cubicBezTo>
                  <a:pt x="2776" y="4301"/>
                  <a:pt x="2761" y="4290"/>
                  <a:pt x="2739" y="4278"/>
                </a:cubicBezTo>
                <a:close/>
                <a:moveTo>
                  <a:pt x="2666" y="4306"/>
                </a:moveTo>
                <a:cubicBezTo>
                  <a:pt x="2626" y="4296"/>
                  <a:pt x="2599" y="4278"/>
                  <a:pt x="2657" y="4273"/>
                </a:cubicBezTo>
                <a:cubicBezTo>
                  <a:pt x="2670" y="4271"/>
                  <a:pt x="2711" y="4266"/>
                  <a:pt x="2707" y="4290"/>
                </a:cubicBezTo>
                <a:cubicBezTo>
                  <a:pt x="2703" y="4316"/>
                  <a:pt x="2679" y="4294"/>
                  <a:pt x="2666" y="4306"/>
                </a:cubicBezTo>
                <a:cubicBezTo>
                  <a:pt x="2647" y="4301"/>
                  <a:pt x="2677" y="4296"/>
                  <a:pt x="2666" y="4306"/>
                </a:cubicBezTo>
                <a:close/>
                <a:moveTo>
                  <a:pt x="2841" y="4278"/>
                </a:moveTo>
                <a:cubicBezTo>
                  <a:pt x="2880" y="4273"/>
                  <a:pt x="2913" y="4251"/>
                  <a:pt x="2949" y="4278"/>
                </a:cubicBezTo>
                <a:cubicBezTo>
                  <a:pt x="2925" y="4281"/>
                  <a:pt x="2845" y="4304"/>
                  <a:pt x="2841" y="4278"/>
                </a:cubicBezTo>
                <a:cubicBezTo>
                  <a:pt x="2877" y="4273"/>
                  <a:pt x="2842" y="4282"/>
                  <a:pt x="2841" y="4278"/>
                </a:cubicBezTo>
                <a:close/>
                <a:moveTo>
                  <a:pt x="2789" y="4111"/>
                </a:moveTo>
                <a:cubicBezTo>
                  <a:pt x="2799" y="4112"/>
                  <a:pt x="2801" y="4116"/>
                  <a:pt x="2794" y="4123"/>
                </a:cubicBezTo>
                <a:cubicBezTo>
                  <a:pt x="2784" y="4123"/>
                  <a:pt x="2782" y="4119"/>
                  <a:pt x="2789" y="4111"/>
                </a:cubicBezTo>
                <a:cubicBezTo>
                  <a:pt x="2791" y="4111"/>
                  <a:pt x="2787" y="4112"/>
                  <a:pt x="2789" y="4111"/>
                </a:cubicBezTo>
                <a:close/>
                <a:moveTo>
                  <a:pt x="2739" y="4127"/>
                </a:moveTo>
                <a:cubicBezTo>
                  <a:pt x="2755" y="4115"/>
                  <a:pt x="2779" y="4153"/>
                  <a:pt x="2798" y="4156"/>
                </a:cubicBezTo>
                <a:cubicBezTo>
                  <a:pt x="2812" y="4158"/>
                  <a:pt x="2855" y="4146"/>
                  <a:pt x="2868" y="4140"/>
                </a:cubicBezTo>
                <a:cubicBezTo>
                  <a:pt x="2876" y="4136"/>
                  <a:pt x="2867" y="4112"/>
                  <a:pt x="2882" y="4108"/>
                </a:cubicBezTo>
                <a:cubicBezTo>
                  <a:pt x="2891" y="4105"/>
                  <a:pt x="2901" y="4116"/>
                  <a:pt x="2909" y="4114"/>
                </a:cubicBezTo>
                <a:cubicBezTo>
                  <a:pt x="2915" y="4113"/>
                  <a:pt x="2955" y="4108"/>
                  <a:pt x="2958" y="4113"/>
                </a:cubicBezTo>
                <a:cubicBezTo>
                  <a:pt x="2924" y="4120"/>
                  <a:pt x="2935" y="4145"/>
                  <a:pt x="2912" y="4170"/>
                </a:cubicBezTo>
                <a:cubicBezTo>
                  <a:pt x="2899" y="4170"/>
                  <a:pt x="2886" y="4173"/>
                  <a:pt x="2874" y="4180"/>
                </a:cubicBezTo>
                <a:cubicBezTo>
                  <a:pt x="2864" y="4190"/>
                  <a:pt x="2865" y="4196"/>
                  <a:pt x="2877" y="4198"/>
                </a:cubicBezTo>
                <a:cubicBezTo>
                  <a:pt x="2875" y="4201"/>
                  <a:pt x="2898" y="4221"/>
                  <a:pt x="2868" y="4237"/>
                </a:cubicBezTo>
                <a:cubicBezTo>
                  <a:pt x="2832" y="4258"/>
                  <a:pt x="2866" y="4197"/>
                  <a:pt x="2867" y="4195"/>
                </a:cubicBezTo>
                <a:cubicBezTo>
                  <a:pt x="2850" y="4189"/>
                  <a:pt x="2689" y="4166"/>
                  <a:pt x="2739" y="4127"/>
                </a:cubicBezTo>
                <a:cubicBezTo>
                  <a:pt x="2756" y="4114"/>
                  <a:pt x="2734" y="4131"/>
                  <a:pt x="2739" y="4127"/>
                </a:cubicBezTo>
                <a:close/>
                <a:moveTo>
                  <a:pt x="2701" y="4111"/>
                </a:moveTo>
                <a:cubicBezTo>
                  <a:pt x="2711" y="4112"/>
                  <a:pt x="2712" y="4116"/>
                  <a:pt x="2705" y="4123"/>
                </a:cubicBezTo>
                <a:cubicBezTo>
                  <a:pt x="2695" y="4123"/>
                  <a:pt x="2694" y="4119"/>
                  <a:pt x="2701" y="4111"/>
                </a:cubicBezTo>
                <a:cubicBezTo>
                  <a:pt x="2703" y="4111"/>
                  <a:pt x="2699" y="4112"/>
                  <a:pt x="2701" y="4111"/>
                </a:cubicBezTo>
                <a:close/>
                <a:moveTo>
                  <a:pt x="2610" y="4150"/>
                </a:moveTo>
                <a:cubicBezTo>
                  <a:pt x="2652" y="4144"/>
                  <a:pt x="2630" y="4127"/>
                  <a:pt x="2613" y="4109"/>
                </a:cubicBezTo>
                <a:cubicBezTo>
                  <a:pt x="2656" y="4100"/>
                  <a:pt x="2643" y="4121"/>
                  <a:pt x="2665" y="4139"/>
                </a:cubicBezTo>
                <a:cubicBezTo>
                  <a:pt x="2666" y="4145"/>
                  <a:pt x="2667" y="4150"/>
                  <a:pt x="2668" y="4156"/>
                </a:cubicBezTo>
                <a:cubicBezTo>
                  <a:pt x="2666" y="4175"/>
                  <a:pt x="2675" y="4181"/>
                  <a:pt x="2697" y="4174"/>
                </a:cubicBezTo>
                <a:cubicBezTo>
                  <a:pt x="2752" y="4236"/>
                  <a:pt x="2711" y="4239"/>
                  <a:pt x="2637" y="4239"/>
                </a:cubicBezTo>
                <a:cubicBezTo>
                  <a:pt x="2639" y="4212"/>
                  <a:pt x="2676" y="4202"/>
                  <a:pt x="2669" y="4174"/>
                </a:cubicBezTo>
                <a:cubicBezTo>
                  <a:pt x="2621" y="4241"/>
                  <a:pt x="2525" y="4162"/>
                  <a:pt x="2610" y="4150"/>
                </a:cubicBezTo>
                <a:cubicBezTo>
                  <a:pt x="2658" y="4143"/>
                  <a:pt x="2592" y="4152"/>
                  <a:pt x="2610" y="4150"/>
                </a:cubicBezTo>
                <a:close/>
                <a:moveTo>
                  <a:pt x="2352" y="4257"/>
                </a:moveTo>
                <a:cubicBezTo>
                  <a:pt x="2361" y="4211"/>
                  <a:pt x="2416" y="4270"/>
                  <a:pt x="2434" y="4276"/>
                </a:cubicBezTo>
                <a:cubicBezTo>
                  <a:pt x="2465" y="4286"/>
                  <a:pt x="2491" y="4269"/>
                  <a:pt x="2519" y="4273"/>
                </a:cubicBezTo>
                <a:cubicBezTo>
                  <a:pt x="2522" y="4274"/>
                  <a:pt x="2575" y="4298"/>
                  <a:pt x="2577" y="4302"/>
                </a:cubicBezTo>
                <a:cubicBezTo>
                  <a:pt x="2591" y="4323"/>
                  <a:pt x="2596" y="4338"/>
                  <a:pt x="2576" y="4356"/>
                </a:cubicBezTo>
                <a:cubicBezTo>
                  <a:pt x="2566" y="4365"/>
                  <a:pt x="2510" y="4353"/>
                  <a:pt x="2502" y="4349"/>
                </a:cubicBezTo>
                <a:cubicBezTo>
                  <a:pt x="2460" y="4328"/>
                  <a:pt x="2487" y="4321"/>
                  <a:pt x="2454" y="4305"/>
                </a:cubicBezTo>
                <a:cubicBezTo>
                  <a:pt x="2413" y="4285"/>
                  <a:pt x="2332" y="4349"/>
                  <a:pt x="2352" y="4257"/>
                </a:cubicBezTo>
                <a:cubicBezTo>
                  <a:pt x="2356" y="4237"/>
                  <a:pt x="2348" y="4272"/>
                  <a:pt x="2352" y="4257"/>
                </a:cubicBezTo>
                <a:close/>
                <a:moveTo>
                  <a:pt x="2356" y="4390"/>
                </a:moveTo>
                <a:cubicBezTo>
                  <a:pt x="2353" y="4431"/>
                  <a:pt x="2268" y="4394"/>
                  <a:pt x="2260" y="4371"/>
                </a:cubicBezTo>
                <a:cubicBezTo>
                  <a:pt x="2280" y="4371"/>
                  <a:pt x="2358" y="4359"/>
                  <a:pt x="2356" y="4390"/>
                </a:cubicBezTo>
                <a:cubicBezTo>
                  <a:pt x="2354" y="4417"/>
                  <a:pt x="2358" y="4357"/>
                  <a:pt x="2356" y="4390"/>
                </a:cubicBezTo>
                <a:close/>
                <a:moveTo>
                  <a:pt x="2218" y="4097"/>
                </a:moveTo>
                <a:cubicBezTo>
                  <a:pt x="2226" y="4095"/>
                  <a:pt x="2231" y="4099"/>
                  <a:pt x="2234" y="4107"/>
                </a:cubicBezTo>
                <a:cubicBezTo>
                  <a:pt x="2229" y="4136"/>
                  <a:pt x="2178" y="4097"/>
                  <a:pt x="2218" y="4097"/>
                </a:cubicBezTo>
                <a:close/>
                <a:moveTo>
                  <a:pt x="2138" y="4101"/>
                </a:moveTo>
                <a:cubicBezTo>
                  <a:pt x="2148" y="4102"/>
                  <a:pt x="2149" y="4106"/>
                  <a:pt x="2143" y="4113"/>
                </a:cubicBezTo>
                <a:cubicBezTo>
                  <a:pt x="2132" y="4113"/>
                  <a:pt x="2131" y="4109"/>
                  <a:pt x="2138" y="4101"/>
                </a:cubicBezTo>
                <a:cubicBezTo>
                  <a:pt x="2140" y="4100"/>
                  <a:pt x="2136" y="4102"/>
                  <a:pt x="2138" y="4101"/>
                </a:cubicBezTo>
                <a:close/>
                <a:moveTo>
                  <a:pt x="2046" y="4146"/>
                </a:moveTo>
                <a:cubicBezTo>
                  <a:pt x="2104" y="4155"/>
                  <a:pt x="2162" y="4120"/>
                  <a:pt x="2214" y="4157"/>
                </a:cubicBezTo>
                <a:cubicBezTo>
                  <a:pt x="2237" y="4174"/>
                  <a:pt x="2243" y="4195"/>
                  <a:pt x="2271" y="4205"/>
                </a:cubicBezTo>
                <a:cubicBezTo>
                  <a:pt x="2297" y="4215"/>
                  <a:pt x="2322" y="4180"/>
                  <a:pt x="2337" y="4219"/>
                </a:cubicBezTo>
                <a:cubicBezTo>
                  <a:pt x="2372" y="4310"/>
                  <a:pt x="2177" y="4212"/>
                  <a:pt x="2152" y="4239"/>
                </a:cubicBezTo>
                <a:cubicBezTo>
                  <a:pt x="2160" y="4238"/>
                  <a:pt x="2165" y="4242"/>
                  <a:pt x="2168" y="4249"/>
                </a:cubicBezTo>
                <a:cubicBezTo>
                  <a:pt x="2169" y="4259"/>
                  <a:pt x="2135" y="4237"/>
                  <a:pt x="2134" y="4236"/>
                </a:cubicBezTo>
                <a:cubicBezTo>
                  <a:pt x="2128" y="4228"/>
                  <a:pt x="2113" y="4232"/>
                  <a:pt x="2115" y="4216"/>
                </a:cubicBezTo>
                <a:cubicBezTo>
                  <a:pt x="2118" y="4187"/>
                  <a:pt x="2158" y="4202"/>
                  <a:pt x="2166" y="4191"/>
                </a:cubicBezTo>
                <a:cubicBezTo>
                  <a:pt x="2194" y="4157"/>
                  <a:pt x="2163" y="4178"/>
                  <a:pt x="2137" y="4178"/>
                </a:cubicBezTo>
                <a:cubicBezTo>
                  <a:pt x="2081" y="4178"/>
                  <a:pt x="2048" y="4180"/>
                  <a:pt x="1990" y="4163"/>
                </a:cubicBezTo>
                <a:cubicBezTo>
                  <a:pt x="2002" y="4145"/>
                  <a:pt x="2027" y="4143"/>
                  <a:pt x="2046" y="4146"/>
                </a:cubicBezTo>
                <a:cubicBezTo>
                  <a:pt x="2078" y="4151"/>
                  <a:pt x="2032" y="4144"/>
                  <a:pt x="2046" y="4146"/>
                </a:cubicBezTo>
                <a:close/>
                <a:moveTo>
                  <a:pt x="2016" y="4120"/>
                </a:moveTo>
                <a:cubicBezTo>
                  <a:pt x="1993" y="4133"/>
                  <a:pt x="1981" y="4123"/>
                  <a:pt x="1965" y="4102"/>
                </a:cubicBezTo>
                <a:cubicBezTo>
                  <a:pt x="1991" y="4095"/>
                  <a:pt x="2005" y="4102"/>
                  <a:pt x="2016" y="4120"/>
                </a:cubicBezTo>
                <a:close/>
                <a:moveTo>
                  <a:pt x="1941" y="3707"/>
                </a:moveTo>
                <a:cubicBezTo>
                  <a:pt x="1956" y="3707"/>
                  <a:pt x="1966" y="3712"/>
                  <a:pt x="1973" y="3724"/>
                </a:cubicBezTo>
                <a:cubicBezTo>
                  <a:pt x="1972" y="3721"/>
                  <a:pt x="1945" y="3700"/>
                  <a:pt x="1941" y="3707"/>
                </a:cubicBezTo>
                <a:cubicBezTo>
                  <a:pt x="1961" y="3709"/>
                  <a:pt x="1941" y="3707"/>
                  <a:pt x="1941" y="3707"/>
                </a:cubicBezTo>
                <a:close/>
                <a:moveTo>
                  <a:pt x="1753" y="4100"/>
                </a:moveTo>
                <a:cubicBezTo>
                  <a:pt x="1763" y="4101"/>
                  <a:pt x="1764" y="4105"/>
                  <a:pt x="1757" y="4112"/>
                </a:cubicBezTo>
                <a:cubicBezTo>
                  <a:pt x="1747" y="4112"/>
                  <a:pt x="1746" y="4108"/>
                  <a:pt x="1753" y="4100"/>
                </a:cubicBezTo>
                <a:cubicBezTo>
                  <a:pt x="1755" y="4099"/>
                  <a:pt x="1750" y="4101"/>
                  <a:pt x="1753" y="4100"/>
                </a:cubicBezTo>
                <a:close/>
                <a:moveTo>
                  <a:pt x="1764" y="4457"/>
                </a:moveTo>
                <a:cubicBezTo>
                  <a:pt x="1755" y="4471"/>
                  <a:pt x="1742" y="4481"/>
                  <a:pt x="1727" y="4489"/>
                </a:cubicBezTo>
                <a:cubicBezTo>
                  <a:pt x="1710" y="4455"/>
                  <a:pt x="1728" y="4438"/>
                  <a:pt x="1764" y="4457"/>
                </a:cubicBezTo>
                <a:cubicBezTo>
                  <a:pt x="1752" y="4468"/>
                  <a:pt x="1749" y="4449"/>
                  <a:pt x="1764" y="4457"/>
                </a:cubicBezTo>
                <a:close/>
                <a:moveTo>
                  <a:pt x="1711" y="4249"/>
                </a:moveTo>
                <a:cubicBezTo>
                  <a:pt x="1722" y="4253"/>
                  <a:pt x="1731" y="4252"/>
                  <a:pt x="1737" y="4245"/>
                </a:cubicBezTo>
                <a:cubicBezTo>
                  <a:pt x="1713" y="4276"/>
                  <a:pt x="1716" y="4252"/>
                  <a:pt x="1711" y="4249"/>
                </a:cubicBezTo>
                <a:cubicBezTo>
                  <a:pt x="1718" y="4249"/>
                  <a:pt x="1710" y="4248"/>
                  <a:pt x="1711" y="4249"/>
                </a:cubicBezTo>
                <a:close/>
                <a:moveTo>
                  <a:pt x="1697" y="4497"/>
                </a:moveTo>
                <a:cubicBezTo>
                  <a:pt x="1697" y="4497"/>
                  <a:pt x="1764" y="4499"/>
                  <a:pt x="1765" y="4499"/>
                </a:cubicBezTo>
                <a:cubicBezTo>
                  <a:pt x="1752" y="4544"/>
                  <a:pt x="1720" y="4524"/>
                  <a:pt x="1690" y="4520"/>
                </a:cubicBezTo>
                <a:cubicBezTo>
                  <a:pt x="1645" y="4512"/>
                  <a:pt x="1659" y="4514"/>
                  <a:pt x="1616" y="4520"/>
                </a:cubicBezTo>
                <a:cubicBezTo>
                  <a:pt x="1597" y="4523"/>
                  <a:pt x="1577" y="4540"/>
                  <a:pt x="1558" y="4534"/>
                </a:cubicBezTo>
                <a:cubicBezTo>
                  <a:pt x="1484" y="4513"/>
                  <a:pt x="1682" y="4437"/>
                  <a:pt x="1697" y="4497"/>
                </a:cubicBezTo>
                <a:cubicBezTo>
                  <a:pt x="1697" y="4497"/>
                  <a:pt x="1691" y="4473"/>
                  <a:pt x="1697" y="4497"/>
                </a:cubicBezTo>
                <a:close/>
                <a:moveTo>
                  <a:pt x="1545" y="5045"/>
                </a:moveTo>
                <a:cubicBezTo>
                  <a:pt x="1529" y="5034"/>
                  <a:pt x="1486" y="5057"/>
                  <a:pt x="1474" y="5061"/>
                </a:cubicBezTo>
                <a:cubicBezTo>
                  <a:pt x="1474" y="5062"/>
                  <a:pt x="1509" y="5082"/>
                  <a:pt x="1498" y="5086"/>
                </a:cubicBezTo>
                <a:cubicBezTo>
                  <a:pt x="1471" y="5094"/>
                  <a:pt x="1475" y="5084"/>
                  <a:pt x="1448" y="5078"/>
                </a:cubicBezTo>
                <a:cubicBezTo>
                  <a:pt x="1386" y="5065"/>
                  <a:pt x="1342" y="5018"/>
                  <a:pt x="1428" y="5007"/>
                </a:cubicBezTo>
                <a:cubicBezTo>
                  <a:pt x="1459" y="5003"/>
                  <a:pt x="1500" y="4998"/>
                  <a:pt x="1530" y="4995"/>
                </a:cubicBezTo>
                <a:cubicBezTo>
                  <a:pt x="1572" y="4991"/>
                  <a:pt x="1541" y="4993"/>
                  <a:pt x="1568" y="5002"/>
                </a:cubicBezTo>
                <a:cubicBezTo>
                  <a:pt x="1566" y="5002"/>
                  <a:pt x="1594" y="5022"/>
                  <a:pt x="1597" y="5023"/>
                </a:cubicBezTo>
                <a:cubicBezTo>
                  <a:pt x="1607" y="5028"/>
                  <a:pt x="1625" y="4999"/>
                  <a:pt x="1640" y="5006"/>
                </a:cubicBezTo>
                <a:cubicBezTo>
                  <a:pt x="1626" y="5054"/>
                  <a:pt x="1589" y="5074"/>
                  <a:pt x="1545" y="5045"/>
                </a:cubicBezTo>
                <a:cubicBezTo>
                  <a:pt x="1537" y="5039"/>
                  <a:pt x="1589" y="5075"/>
                  <a:pt x="1545" y="5045"/>
                </a:cubicBezTo>
                <a:close/>
                <a:moveTo>
                  <a:pt x="1572" y="5678"/>
                </a:moveTo>
                <a:cubicBezTo>
                  <a:pt x="1554" y="5666"/>
                  <a:pt x="1532" y="5654"/>
                  <a:pt x="1545" y="5628"/>
                </a:cubicBezTo>
                <a:cubicBezTo>
                  <a:pt x="1560" y="5639"/>
                  <a:pt x="1574" y="5650"/>
                  <a:pt x="1589" y="5662"/>
                </a:cubicBezTo>
                <a:cubicBezTo>
                  <a:pt x="1591" y="5677"/>
                  <a:pt x="1586" y="5682"/>
                  <a:pt x="1572" y="5678"/>
                </a:cubicBezTo>
                <a:cubicBezTo>
                  <a:pt x="1555" y="5667"/>
                  <a:pt x="1583" y="5685"/>
                  <a:pt x="1572" y="5678"/>
                </a:cubicBezTo>
                <a:close/>
                <a:moveTo>
                  <a:pt x="1119" y="5075"/>
                </a:moveTo>
                <a:cubicBezTo>
                  <a:pt x="1117" y="5018"/>
                  <a:pt x="1230" y="5044"/>
                  <a:pt x="1260" y="5042"/>
                </a:cubicBezTo>
                <a:cubicBezTo>
                  <a:pt x="1250" y="5059"/>
                  <a:pt x="1212" y="5072"/>
                  <a:pt x="1219" y="5092"/>
                </a:cubicBezTo>
                <a:cubicBezTo>
                  <a:pt x="1239" y="5143"/>
                  <a:pt x="1280" y="5086"/>
                  <a:pt x="1303" y="5082"/>
                </a:cubicBezTo>
                <a:cubicBezTo>
                  <a:pt x="1329" y="5078"/>
                  <a:pt x="1464" y="5132"/>
                  <a:pt x="1465" y="5150"/>
                </a:cubicBezTo>
                <a:cubicBezTo>
                  <a:pt x="1466" y="5177"/>
                  <a:pt x="1395" y="5140"/>
                  <a:pt x="1386" y="5137"/>
                </a:cubicBezTo>
                <a:cubicBezTo>
                  <a:pt x="1341" y="5121"/>
                  <a:pt x="1325" y="5119"/>
                  <a:pt x="1282" y="5136"/>
                </a:cubicBezTo>
                <a:cubicBezTo>
                  <a:pt x="1200" y="5167"/>
                  <a:pt x="1121" y="5180"/>
                  <a:pt x="1119" y="5075"/>
                </a:cubicBezTo>
                <a:cubicBezTo>
                  <a:pt x="1118" y="5044"/>
                  <a:pt x="1119" y="5104"/>
                  <a:pt x="1119" y="5075"/>
                </a:cubicBezTo>
                <a:close/>
                <a:moveTo>
                  <a:pt x="1261" y="5036"/>
                </a:moveTo>
                <a:cubicBezTo>
                  <a:pt x="1262" y="5015"/>
                  <a:pt x="1271" y="5008"/>
                  <a:pt x="1290" y="5021"/>
                </a:cubicBezTo>
                <a:cubicBezTo>
                  <a:pt x="1280" y="5026"/>
                  <a:pt x="1271" y="5031"/>
                  <a:pt x="1261" y="5036"/>
                </a:cubicBezTo>
                <a:close/>
                <a:moveTo>
                  <a:pt x="1329" y="5050"/>
                </a:moveTo>
                <a:cubicBezTo>
                  <a:pt x="1334" y="5050"/>
                  <a:pt x="1262" y="5045"/>
                  <a:pt x="1262" y="5041"/>
                </a:cubicBezTo>
                <a:cubicBezTo>
                  <a:pt x="1284" y="5046"/>
                  <a:pt x="1307" y="5049"/>
                  <a:pt x="1329" y="5050"/>
                </a:cubicBezTo>
                <a:cubicBezTo>
                  <a:pt x="1307" y="5049"/>
                  <a:pt x="1307" y="5049"/>
                  <a:pt x="1329" y="5050"/>
                </a:cubicBezTo>
                <a:close/>
                <a:moveTo>
                  <a:pt x="1420" y="4705"/>
                </a:moveTo>
                <a:cubicBezTo>
                  <a:pt x="1438" y="4705"/>
                  <a:pt x="1515" y="4702"/>
                  <a:pt x="1506" y="4742"/>
                </a:cubicBezTo>
                <a:cubicBezTo>
                  <a:pt x="1500" y="4768"/>
                  <a:pt x="1444" y="4761"/>
                  <a:pt x="1435" y="4737"/>
                </a:cubicBezTo>
                <a:cubicBezTo>
                  <a:pt x="1449" y="4739"/>
                  <a:pt x="1462" y="4736"/>
                  <a:pt x="1475" y="4729"/>
                </a:cubicBezTo>
                <a:cubicBezTo>
                  <a:pt x="1461" y="4710"/>
                  <a:pt x="1432" y="4728"/>
                  <a:pt x="1420" y="4705"/>
                </a:cubicBezTo>
                <a:cubicBezTo>
                  <a:pt x="1432" y="4705"/>
                  <a:pt x="1432" y="4727"/>
                  <a:pt x="1420" y="4705"/>
                </a:cubicBezTo>
                <a:close/>
                <a:moveTo>
                  <a:pt x="1497" y="4773"/>
                </a:moveTo>
                <a:cubicBezTo>
                  <a:pt x="1503" y="4778"/>
                  <a:pt x="1508" y="4784"/>
                  <a:pt x="1512" y="4791"/>
                </a:cubicBezTo>
                <a:cubicBezTo>
                  <a:pt x="1467" y="4820"/>
                  <a:pt x="1405" y="4857"/>
                  <a:pt x="1385" y="4802"/>
                </a:cubicBezTo>
                <a:cubicBezTo>
                  <a:pt x="1363" y="4740"/>
                  <a:pt x="1448" y="4756"/>
                  <a:pt x="1497" y="4773"/>
                </a:cubicBezTo>
                <a:cubicBezTo>
                  <a:pt x="1502" y="4775"/>
                  <a:pt x="1462" y="4761"/>
                  <a:pt x="1497" y="4773"/>
                </a:cubicBezTo>
                <a:close/>
                <a:moveTo>
                  <a:pt x="1380" y="4713"/>
                </a:moveTo>
                <a:cubicBezTo>
                  <a:pt x="1382" y="4706"/>
                  <a:pt x="1386" y="4703"/>
                  <a:pt x="1394" y="4703"/>
                </a:cubicBezTo>
                <a:cubicBezTo>
                  <a:pt x="1389" y="4706"/>
                  <a:pt x="1384" y="4710"/>
                  <a:pt x="1380" y="4713"/>
                </a:cubicBezTo>
                <a:close/>
                <a:moveTo>
                  <a:pt x="1303" y="4571"/>
                </a:moveTo>
                <a:cubicBezTo>
                  <a:pt x="1330" y="4570"/>
                  <a:pt x="1357" y="4564"/>
                  <a:pt x="1385" y="4574"/>
                </a:cubicBezTo>
                <a:cubicBezTo>
                  <a:pt x="1327" y="4625"/>
                  <a:pt x="1327" y="4625"/>
                  <a:pt x="1303" y="4571"/>
                </a:cubicBezTo>
                <a:close/>
                <a:moveTo>
                  <a:pt x="1342" y="4732"/>
                </a:moveTo>
                <a:cubicBezTo>
                  <a:pt x="1350" y="4723"/>
                  <a:pt x="1357" y="4711"/>
                  <a:pt x="1376" y="4718"/>
                </a:cubicBezTo>
                <a:cubicBezTo>
                  <a:pt x="1369" y="4737"/>
                  <a:pt x="1325" y="4745"/>
                  <a:pt x="1301" y="4749"/>
                </a:cubicBezTo>
                <a:cubicBezTo>
                  <a:pt x="1317" y="4748"/>
                  <a:pt x="1330" y="4743"/>
                  <a:pt x="1342" y="4732"/>
                </a:cubicBezTo>
                <a:close/>
                <a:moveTo>
                  <a:pt x="1610" y="4782"/>
                </a:moveTo>
                <a:cubicBezTo>
                  <a:pt x="1599" y="4755"/>
                  <a:pt x="1561" y="4780"/>
                  <a:pt x="1550" y="4755"/>
                </a:cubicBezTo>
                <a:cubicBezTo>
                  <a:pt x="1540" y="4731"/>
                  <a:pt x="1611" y="4738"/>
                  <a:pt x="1618" y="4739"/>
                </a:cubicBezTo>
                <a:cubicBezTo>
                  <a:pt x="1724" y="4758"/>
                  <a:pt x="1623" y="4813"/>
                  <a:pt x="1610" y="4782"/>
                </a:cubicBezTo>
                <a:cubicBezTo>
                  <a:pt x="1602" y="4761"/>
                  <a:pt x="1619" y="4803"/>
                  <a:pt x="1610" y="4782"/>
                </a:cubicBezTo>
                <a:close/>
                <a:moveTo>
                  <a:pt x="1621" y="4696"/>
                </a:moveTo>
                <a:cubicBezTo>
                  <a:pt x="1588" y="4684"/>
                  <a:pt x="1699" y="4673"/>
                  <a:pt x="1701" y="4673"/>
                </a:cubicBezTo>
                <a:cubicBezTo>
                  <a:pt x="1679" y="4694"/>
                  <a:pt x="1651" y="4708"/>
                  <a:pt x="1621" y="4696"/>
                </a:cubicBezTo>
                <a:cubicBezTo>
                  <a:pt x="1619" y="4695"/>
                  <a:pt x="1648" y="4707"/>
                  <a:pt x="1621" y="4696"/>
                </a:cubicBezTo>
                <a:close/>
                <a:moveTo>
                  <a:pt x="1673" y="4629"/>
                </a:moveTo>
                <a:cubicBezTo>
                  <a:pt x="1627" y="4606"/>
                  <a:pt x="1561" y="4649"/>
                  <a:pt x="1525" y="4608"/>
                </a:cubicBezTo>
                <a:cubicBezTo>
                  <a:pt x="1554" y="4603"/>
                  <a:pt x="1575" y="4604"/>
                  <a:pt x="1603" y="4594"/>
                </a:cubicBezTo>
                <a:cubicBezTo>
                  <a:pt x="1622" y="4588"/>
                  <a:pt x="1626" y="4570"/>
                  <a:pt x="1650" y="4571"/>
                </a:cubicBezTo>
                <a:cubicBezTo>
                  <a:pt x="1706" y="4572"/>
                  <a:pt x="1699" y="4642"/>
                  <a:pt x="1673" y="4629"/>
                </a:cubicBezTo>
                <a:cubicBezTo>
                  <a:pt x="1629" y="4607"/>
                  <a:pt x="1679" y="4632"/>
                  <a:pt x="1673" y="4629"/>
                </a:cubicBezTo>
                <a:close/>
                <a:moveTo>
                  <a:pt x="1672" y="4226"/>
                </a:moveTo>
                <a:cubicBezTo>
                  <a:pt x="1633" y="4249"/>
                  <a:pt x="1590" y="4253"/>
                  <a:pt x="1589" y="4206"/>
                </a:cubicBezTo>
                <a:cubicBezTo>
                  <a:pt x="1617" y="4203"/>
                  <a:pt x="1645" y="4222"/>
                  <a:pt x="1672" y="4226"/>
                </a:cubicBezTo>
                <a:cubicBezTo>
                  <a:pt x="1639" y="4246"/>
                  <a:pt x="1637" y="4221"/>
                  <a:pt x="1672" y="4226"/>
                </a:cubicBezTo>
                <a:close/>
                <a:moveTo>
                  <a:pt x="1530" y="4340"/>
                </a:moveTo>
                <a:cubicBezTo>
                  <a:pt x="1538" y="4350"/>
                  <a:pt x="1532" y="4353"/>
                  <a:pt x="1513" y="4349"/>
                </a:cubicBezTo>
                <a:cubicBezTo>
                  <a:pt x="1519" y="4346"/>
                  <a:pt x="1525" y="4343"/>
                  <a:pt x="1530" y="4340"/>
                </a:cubicBezTo>
                <a:cubicBezTo>
                  <a:pt x="1531" y="4342"/>
                  <a:pt x="1525" y="4343"/>
                  <a:pt x="1530" y="4340"/>
                </a:cubicBezTo>
                <a:close/>
                <a:moveTo>
                  <a:pt x="1456" y="4251"/>
                </a:moveTo>
                <a:cubicBezTo>
                  <a:pt x="1472" y="4256"/>
                  <a:pt x="1506" y="4251"/>
                  <a:pt x="1507" y="4276"/>
                </a:cubicBezTo>
                <a:cubicBezTo>
                  <a:pt x="1508" y="4301"/>
                  <a:pt x="1459" y="4313"/>
                  <a:pt x="1441" y="4313"/>
                </a:cubicBezTo>
                <a:cubicBezTo>
                  <a:pt x="1413" y="4314"/>
                  <a:pt x="1403" y="4332"/>
                  <a:pt x="1402" y="4293"/>
                </a:cubicBezTo>
                <a:cubicBezTo>
                  <a:pt x="1401" y="4258"/>
                  <a:pt x="1424" y="4248"/>
                  <a:pt x="1456" y="4251"/>
                </a:cubicBezTo>
                <a:cubicBezTo>
                  <a:pt x="1471" y="4256"/>
                  <a:pt x="1418" y="4248"/>
                  <a:pt x="1456" y="4251"/>
                </a:cubicBezTo>
                <a:close/>
                <a:moveTo>
                  <a:pt x="1300" y="4245"/>
                </a:moveTo>
                <a:cubicBezTo>
                  <a:pt x="1328" y="4230"/>
                  <a:pt x="1359" y="4250"/>
                  <a:pt x="1384" y="4259"/>
                </a:cubicBezTo>
                <a:cubicBezTo>
                  <a:pt x="1364" y="4268"/>
                  <a:pt x="1280" y="4256"/>
                  <a:pt x="1300" y="4245"/>
                </a:cubicBezTo>
                <a:cubicBezTo>
                  <a:pt x="1328" y="4230"/>
                  <a:pt x="1298" y="4247"/>
                  <a:pt x="1300" y="4245"/>
                </a:cubicBezTo>
                <a:close/>
                <a:moveTo>
                  <a:pt x="1336" y="4322"/>
                </a:moveTo>
                <a:cubicBezTo>
                  <a:pt x="1371" y="4362"/>
                  <a:pt x="1437" y="4337"/>
                  <a:pt x="1482" y="4349"/>
                </a:cubicBezTo>
                <a:cubicBezTo>
                  <a:pt x="1524" y="4359"/>
                  <a:pt x="1570" y="4372"/>
                  <a:pt x="1617" y="4387"/>
                </a:cubicBezTo>
                <a:cubicBezTo>
                  <a:pt x="1589" y="4404"/>
                  <a:pt x="1562" y="4409"/>
                  <a:pt x="1531" y="4403"/>
                </a:cubicBezTo>
                <a:cubicBezTo>
                  <a:pt x="1526" y="4402"/>
                  <a:pt x="1477" y="4366"/>
                  <a:pt x="1473" y="4383"/>
                </a:cubicBezTo>
                <a:cubicBezTo>
                  <a:pt x="1466" y="4413"/>
                  <a:pt x="1562" y="4426"/>
                  <a:pt x="1578" y="4452"/>
                </a:cubicBezTo>
                <a:cubicBezTo>
                  <a:pt x="1550" y="4440"/>
                  <a:pt x="1523" y="4446"/>
                  <a:pt x="1495" y="4436"/>
                </a:cubicBezTo>
                <a:cubicBezTo>
                  <a:pt x="1462" y="4426"/>
                  <a:pt x="1454" y="4406"/>
                  <a:pt x="1425" y="4390"/>
                </a:cubicBezTo>
                <a:cubicBezTo>
                  <a:pt x="1375" y="4361"/>
                  <a:pt x="1314" y="4371"/>
                  <a:pt x="1258" y="4371"/>
                </a:cubicBezTo>
                <a:cubicBezTo>
                  <a:pt x="1300" y="4313"/>
                  <a:pt x="1288" y="4329"/>
                  <a:pt x="1238" y="4302"/>
                </a:cubicBezTo>
                <a:cubicBezTo>
                  <a:pt x="1286" y="4282"/>
                  <a:pt x="1301" y="4282"/>
                  <a:pt x="1336" y="4322"/>
                </a:cubicBezTo>
                <a:cubicBezTo>
                  <a:pt x="1360" y="4349"/>
                  <a:pt x="1296" y="4277"/>
                  <a:pt x="1336" y="4322"/>
                </a:cubicBezTo>
                <a:close/>
                <a:moveTo>
                  <a:pt x="1281" y="4723"/>
                </a:moveTo>
                <a:cubicBezTo>
                  <a:pt x="1276" y="4733"/>
                  <a:pt x="1268" y="4735"/>
                  <a:pt x="1258" y="4734"/>
                </a:cubicBezTo>
                <a:cubicBezTo>
                  <a:pt x="1261" y="4720"/>
                  <a:pt x="1264" y="4708"/>
                  <a:pt x="1281" y="4723"/>
                </a:cubicBezTo>
                <a:close/>
                <a:moveTo>
                  <a:pt x="1180" y="4782"/>
                </a:moveTo>
                <a:cubicBezTo>
                  <a:pt x="1203" y="4759"/>
                  <a:pt x="1207" y="4719"/>
                  <a:pt x="1250" y="4736"/>
                </a:cubicBezTo>
                <a:cubicBezTo>
                  <a:pt x="1248" y="4769"/>
                  <a:pt x="1312" y="4771"/>
                  <a:pt x="1342" y="4775"/>
                </a:cubicBezTo>
                <a:cubicBezTo>
                  <a:pt x="1320" y="4809"/>
                  <a:pt x="1277" y="4837"/>
                  <a:pt x="1236" y="4837"/>
                </a:cubicBezTo>
                <a:cubicBezTo>
                  <a:pt x="1210" y="4837"/>
                  <a:pt x="1143" y="4818"/>
                  <a:pt x="1180" y="4782"/>
                </a:cubicBezTo>
                <a:cubicBezTo>
                  <a:pt x="1201" y="4761"/>
                  <a:pt x="1153" y="4809"/>
                  <a:pt x="1180" y="4782"/>
                </a:cubicBezTo>
                <a:close/>
                <a:moveTo>
                  <a:pt x="1248" y="4935"/>
                </a:moveTo>
                <a:cubicBezTo>
                  <a:pt x="1249" y="5018"/>
                  <a:pt x="1129" y="4932"/>
                  <a:pt x="1085" y="4937"/>
                </a:cubicBezTo>
                <a:cubicBezTo>
                  <a:pt x="1139" y="4931"/>
                  <a:pt x="1192" y="4935"/>
                  <a:pt x="1248" y="4935"/>
                </a:cubicBezTo>
                <a:cubicBezTo>
                  <a:pt x="1248" y="4945"/>
                  <a:pt x="1218" y="4935"/>
                  <a:pt x="1248" y="4935"/>
                </a:cubicBezTo>
                <a:close/>
                <a:moveTo>
                  <a:pt x="993" y="5191"/>
                </a:moveTo>
                <a:cubicBezTo>
                  <a:pt x="1024" y="5198"/>
                  <a:pt x="1053" y="5215"/>
                  <a:pt x="1083" y="5208"/>
                </a:cubicBezTo>
                <a:cubicBezTo>
                  <a:pt x="1053" y="5215"/>
                  <a:pt x="1024" y="5198"/>
                  <a:pt x="993" y="5191"/>
                </a:cubicBezTo>
                <a:close/>
                <a:moveTo>
                  <a:pt x="1003" y="5393"/>
                </a:moveTo>
                <a:cubicBezTo>
                  <a:pt x="994" y="5423"/>
                  <a:pt x="936" y="5439"/>
                  <a:pt x="954" y="5397"/>
                </a:cubicBezTo>
                <a:cubicBezTo>
                  <a:pt x="961" y="5382"/>
                  <a:pt x="1010" y="5366"/>
                  <a:pt x="1003" y="5393"/>
                </a:cubicBezTo>
                <a:cubicBezTo>
                  <a:pt x="998" y="5409"/>
                  <a:pt x="1006" y="5382"/>
                  <a:pt x="1003" y="5393"/>
                </a:cubicBezTo>
                <a:close/>
                <a:moveTo>
                  <a:pt x="1016" y="5430"/>
                </a:moveTo>
                <a:cubicBezTo>
                  <a:pt x="1022" y="5362"/>
                  <a:pt x="1060" y="5422"/>
                  <a:pt x="1067" y="5440"/>
                </a:cubicBezTo>
                <a:cubicBezTo>
                  <a:pt x="1070" y="5446"/>
                  <a:pt x="1120" y="5468"/>
                  <a:pt x="1072" y="5482"/>
                </a:cubicBezTo>
                <a:cubicBezTo>
                  <a:pt x="1039" y="5492"/>
                  <a:pt x="1013" y="5459"/>
                  <a:pt x="1016" y="5430"/>
                </a:cubicBezTo>
                <a:cubicBezTo>
                  <a:pt x="1017" y="5414"/>
                  <a:pt x="1013" y="5455"/>
                  <a:pt x="1016" y="5430"/>
                </a:cubicBezTo>
                <a:close/>
                <a:moveTo>
                  <a:pt x="1082" y="5198"/>
                </a:moveTo>
                <a:cubicBezTo>
                  <a:pt x="1089" y="5187"/>
                  <a:pt x="1094" y="5196"/>
                  <a:pt x="1099" y="5200"/>
                </a:cubicBezTo>
                <a:cubicBezTo>
                  <a:pt x="1094" y="5199"/>
                  <a:pt x="1088" y="5199"/>
                  <a:pt x="1082" y="5198"/>
                </a:cubicBezTo>
                <a:close/>
                <a:moveTo>
                  <a:pt x="1129" y="4350"/>
                </a:moveTo>
                <a:cubicBezTo>
                  <a:pt x="1178" y="4362"/>
                  <a:pt x="1152" y="4394"/>
                  <a:pt x="1129" y="4401"/>
                </a:cubicBezTo>
                <a:cubicBezTo>
                  <a:pt x="1110" y="4407"/>
                  <a:pt x="1033" y="4356"/>
                  <a:pt x="1014" y="4348"/>
                </a:cubicBezTo>
                <a:cubicBezTo>
                  <a:pt x="1054" y="4331"/>
                  <a:pt x="1090" y="4340"/>
                  <a:pt x="1129" y="4350"/>
                </a:cubicBezTo>
                <a:cubicBezTo>
                  <a:pt x="1150" y="4355"/>
                  <a:pt x="1094" y="4341"/>
                  <a:pt x="1129" y="4350"/>
                </a:cubicBezTo>
                <a:close/>
                <a:moveTo>
                  <a:pt x="976" y="4523"/>
                </a:moveTo>
                <a:cubicBezTo>
                  <a:pt x="982" y="4530"/>
                  <a:pt x="978" y="4534"/>
                  <a:pt x="963" y="4535"/>
                </a:cubicBezTo>
                <a:cubicBezTo>
                  <a:pt x="967" y="4531"/>
                  <a:pt x="971" y="4527"/>
                  <a:pt x="976" y="4523"/>
                </a:cubicBezTo>
                <a:cubicBezTo>
                  <a:pt x="977" y="4525"/>
                  <a:pt x="971" y="4527"/>
                  <a:pt x="976" y="4523"/>
                </a:cubicBezTo>
                <a:close/>
                <a:moveTo>
                  <a:pt x="863" y="4353"/>
                </a:moveTo>
                <a:cubicBezTo>
                  <a:pt x="877" y="4347"/>
                  <a:pt x="944" y="4388"/>
                  <a:pt x="945" y="4393"/>
                </a:cubicBezTo>
                <a:cubicBezTo>
                  <a:pt x="951" y="4435"/>
                  <a:pt x="871" y="4420"/>
                  <a:pt x="842" y="4424"/>
                </a:cubicBezTo>
                <a:cubicBezTo>
                  <a:pt x="864" y="4405"/>
                  <a:pt x="842" y="4364"/>
                  <a:pt x="863" y="4353"/>
                </a:cubicBezTo>
                <a:cubicBezTo>
                  <a:pt x="895" y="4338"/>
                  <a:pt x="840" y="4365"/>
                  <a:pt x="863" y="4353"/>
                </a:cubicBezTo>
                <a:close/>
                <a:moveTo>
                  <a:pt x="728" y="4893"/>
                </a:moveTo>
                <a:cubicBezTo>
                  <a:pt x="711" y="4878"/>
                  <a:pt x="872" y="4874"/>
                  <a:pt x="872" y="4874"/>
                </a:cubicBezTo>
                <a:cubicBezTo>
                  <a:pt x="934" y="4871"/>
                  <a:pt x="989" y="4869"/>
                  <a:pt x="1026" y="4929"/>
                </a:cubicBezTo>
                <a:cubicBezTo>
                  <a:pt x="1024" y="4929"/>
                  <a:pt x="1023" y="4928"/>
                  <a:pt x="1023" y="4924"/>
                </a:cubicBezTo>
                <a:cubicBezTo>
                  <a:pt x="1025" y="4931"/>
                  <a:pt x="1028" y="4938"/>
                  <a:pt x="1032" y="4945"/>
                </a:cubicBezTo>
                <a:cubicBezTo>
                  <a:pt x="1013" y="4936"/>
                  <a:pt x="997" y="4911"/>
                  <a:pt x="964" y="4923"/>
                </a:cubicBezTo>
                <a:cubicBezTo>
                  <a:pt x="933" y="4935"/>
                  <a:pt x="932" y="4973"/>
                  <a:pt x="903" y="4974"/>
                </a:cubicBezTo>
                <a:cubicBezTo>
                  <a:pt x="869" y="4975"/>
                  <a:pt x="845" y="4931"/>
                  <a:pt x="805" y="4935"/>
                </a:cubicBezTo>
                <a:cubicBezTo>
                  <a:pt x="781" y="4937"/>
                  <a:pt x="736" y="4989"/>
                  <a:pt x="718" y="4950"/>
                </a:cubicBezTo>
                <a:cubicBezTo>
                  <a:pt x="729" y="4951"/>
                  <a:pt x="739" y="4949"/>
                  <a:pt x="747" y="4942"/>
                </a:cubicBezTo>
                <a:cubicBezTo>
                  <a:pt x="725" y="4939"/>
                  <a:pt x="716" y="4931"/>
                  <a:pt x="719" y="4917"/>
                </a:cubicBezTo>
                <a:cubicBezTo>
                  <a:pt x="733" y="4910"/>
                  <a:pt x="751" y="4913"/>
                  <a:pt x="728" y="4893"/>
                </a:cubicBezTo>
                <a:cubicBezTo>
                  <a:pt x="719" y="4885"/>
                  <a:pt x="762" y="4922"/>
                  <a:pt x="728" y="4893"/>
                </a:cubicBezTo>
                <a:close/>
                <a:moveTo>
                  <a:pt x="918" y="5034"/>
                </a:moveTo>
                <a:cubicBezTo>
                  <a:pt x="910" y="5035"/>
                  <a:pt x="902" y="5034"/>
                  <a:pt x="895" y="5032"/>
                </a:cubicBezTo>
                <a:cubicBezTo>
                  <a:pt x="902" y="5034"/>
                  <a:pt x="910" y="5035"/>
                  <a:pt x="918" y="5034"/>
                </a:cubicBezTo>
                <a:close/>
                <a:moveTo>
                  <a:pt x="880" y="5098"/>
                </a:moveTo>
                <a:cubicBezTo>
                  <a:pt x="881" y="5110"/>
                  <a:pt x="863" y="5105"/>
                  <a:pt x="866" y="5097"/>
                </a:cubicBezTo>
                <a:cubicBezTo>
                  <a:pt x="871" y="5090"/>
                  <a:pt x="876" y="5090"/>
                  <a:pt x="880" y="5098"/>
                </a:cubicBezTo>
                <a:cubicBezTo>
                  <a:pt x="881" y="5105"/>
                  <a:pt x="880" y="5096"/>
                  <a:pt x="880" y="5098"/>
                </a:cubicBezTo>
                <a:close/>
                <a:moveTo>
                  <a:pt x="783" y="5126"/>
                </a:moveTo>
                <a:cubicBezTo>
                  <a:pt x="777" y="5118"/>
                  <a:pt x="719" y="5102"/>
                  <a:pt x="715" y="5101"/>
                </a:cubicBezTo>
                <a:cubicBezTo>
                  <a:pt x="738" y="5109"/>
                  <a:pt x="760" y="5118"/>
                  <a:pt x="783" y="5126"/>
                </a:cubicBezTo>
                <a:cubicBezTo>
                  <a:pt x="783" y="5126"/>
                  <a:pt x="760" y="5118"/>
                  <a:pt x="783" y="5126"/>
                </a:cubicBezTo>
                <a:close/>
                <a:moveTo>
                  <a:pt x="737" y="5991"/>
                </a:moveTo>
                <a:cubicBezTo>
                  <a:pt x="753" y="5990"/>
                  <a:pt x="677" y="5990"/>
                  <a:pt x="711" y="5994"/>
                </a:cubicBezTo>
                <a:cubicBezTo>
                  <a:pt x="720" y="5993"/>
                  <a:pt x="728" y="5992"/>
                  <a:pt x="737" y="5991"/>
                </a:cubicBezTo>
                <a:close/>
                <a:moveTo>
                  <a:pt x="654" y="4862"/>
                </a:moveTo>
                <a:cubicBezTo>
                  <a:pt x="661" y="4827"/>
                  <a:pt x="712" y="4855"/>
                  <a:pt x="704" y="4868"/>
                </a:cubicBezTo>
                <a:cubicBezTo>
                  <a:pt x="691" y="4886"/>
                  <a:pt x="646" y="4899"/>
                  <a:pt x="654" y="4862"/>
                </a:cubicBezTo>
                <a:cubicBezTo>
                  <a:pt x="657" y="4846"/>
                  <a:pt x="651" y="4873"/>
                  <a:pt x="654" y="4862"/>
                </a:cubicBezTo>
                <a:close/>
                <a:moveTo>
                  <a:pt x="610" y="5481"/>
                </a:moveTo>
                <a:cubicBezTo>
                  <a:pt x="618" y="5482"/>
                  <a:pt x="627" y="5483"/>
                  <a:pt x="635" y="5484"/>
                </a:cubicBezTo>
                <a:cubicBezTo>
                  <a:pt x="619" y="5480"/>
                  <a:pt x="602" y="5480"/>
                  <a:pt x="586" y="5483"/>
                </a:cubicBezTo>
                <a:cubicBezTo>
                  <a:pt x="580" y="5438"/>
                  <a:pt x="605" y="5420"/>
                  <a:pt x="648" y="5435"/>
                </a:cubicBezTo>
                <a:cubicBezTo>
                  <a:pt x="644" y="5459"/>
                  <a:pt x="604" y="5452"/>
                  <a:pt x="610" y="5481"/>
                </a:cubicBezTo>
                <a:cubicBezTo>
                  <a:pt x="618" y="5482"/>
                  <a:pt x="604" y="5452"/>
                  <a:pt x="610" y="5481"/>
                </a:cubicBezTo>
                <a:close/>
                <a:moveTo>
                  <a:pt x="679" y="5601"/>
                </a:moveTo>
                <a:cubicBezTo>
                  <a:pt x="703" y="5586"/>
                  <a:pt x="678" y="5643"/>
                  <a:pt x="662" y="5653"/>
                </a:cubicBezTo>
                <a:cubicBezTo>
                  <a:pt x="633" y="5671"/>
                  <a:pt x="558" y="5675"/>
                  <a:pt x="526" y="5669"/>
                </a:cubicBezTo>
                <a:cubicBezTo>
                  <a:pt x="568" y="5626"/>
                  <a:pt x="631" y="5633"/>
                  <a:pt x="679" y="5601"/>
                </a:cubicBezTo>
                <a:cubicBezTo>
                  <a:pt x="695" y="5591"/>
                  <a:pt x="633" y="5631"/>
                  <a:pt x="679" y="5601"/>
                </a:cubicBezTo>
                <a:close/>
                <a:moveTo>
                  <a:pt x="663" y="4946"/>
                </a:moveTo>
                <a:cubicBezTo>
                  <a:pt x="641" y="4960"/>
                  <a:pt x="619" y="4960"/>
                  <a:pt x="598" y="4946"/>
                </a:cubicBezTo>
                <a:cubicBezTo>
                  <a:pt x="620" y="4934"/>
                  <a:pt x="641" y="4927"/>
                  <a:pt x="663" y="4946"/>
                </a:cubicBezTo>
                <a:close/>
                <a:moveTo>
                  <a:pt x="547" y="4439"/>
                </a:moveTo>
                <a:cubicBezTo>
                  <a:pt x="582" y="4437"/>
                  <a:pt x="540" y="4472"/>
                  <a:pt x="541" y="4464"/>
                </a:cubicBezTo>
                <a:cubicBezTo>
                  <a:pt x="542" y="4461"/>
                  <a:pt x="523" y="4440"/>
                  <a:pt x="547" y="4439"/>
                </a:cubicBezTo>
                <a:cubicBezTo>
                  <a:pt x="555" y="4438"/>
                  <a:pt x="539" y="4439"/>
                  <a:pt x="547" y="4439"/>
                </a:cubicBezTo>
                <a:close/>
                <a:moveTo>
                  <a:pt x="552" y="4745"/>
                </a:moveTo>
                <a:cubicBezTo>
                  <a:pt x="549" y="4754"/>
                  <a:pt x="545" y="4748"/>
                  <a:pt x="538" y="4751"/>
                </a:cubicBezTo>
                <a:cubicBezTo>
                  <a:pt x="543" y="4749"/>
                  <a:pt x="547" y="4747"/>
                  <a:pt x="552" y="4745"/>
                </a:cubicBezTo>
                <a:cubicBezTo>
                  <a:pt x="550" y="4750"/>
                  <a:pt x="549" y="4746"/>
                  <a:pt x="552" y="4745"/>
                </a:cubicBezTo>
                <a:close/>
                <a:moveTo>
                  <a:pt x="520" y="4781"/>
                </a:moveTo>
                <a:cubicBezTo>
                  <a:pt x="545" y="4787"/>
                  <a:pt x="570" y="4793"/>
                  <a:pt x="596" y="4799"/>
                </a:cubicBezTo>
                <a:cubicBezTo>
                  <a:pt x="597" y="4773"/>
                  <a:pt x="607" y="4757"/>
                  <a:pt x="577" y="4747"/>
                </a:cubicBezTo>
                <a:cubicBezTo>
                  <a:pt x="606" y="4756"/>
                  <a:pt x="644" y="4770"/>
                  <a:pt x="604" y="4798"/>
                </a:cubicBezTo>
                <a:cubicBezTo>
                  <a:pt x="590" y="4807"/>
                  <a:pt x="531" y="4783"/>
                  <a:pt x="520" y="4781"/>
                </a:cubicBezTo>
                <a:cubicBezTo>
                  <a:pt x="485" y="4777"/>
                  <a:pt x="446" y="4784"/>
                  <a:pt x="411" y="4785"/>
                </a:cubicBezTo>
                <a:cubicBezTo>
                  <a:pt x="447" y="4784"/>
                  <a:pt x="484" y="4782"/>
                  <a:pt x="520" y="4781"/>
                </a:cubicBezTo>
                <a:close/>
                <a:moveTo>
                  <a:pt x="509" y="4944"/>
                </a:moveTo>
                <a:cubicBezTo>
                  <a:pt x="495" y="4944"/>
                  <a:pt x="483" y="4939"/>
                  <a:pt x="474" y="4927"/>
                </a:cubicBezTo>
                <a:cubicBezTo>
                  <a:pt x="498" y="4907"/>
                  <a:pt x="508" y="4915"/>
                  <a:pt x="509" y="4944"/>
                </a:cubicBezTo>
                <a:cubicBezTo>
                  <a:pt x="495" y="4944"/>
                  <a:pt x="509" y="4936"/>
                  <a:pt x="509" y="4944"/>
                </a:cubicBezTo>
                <a:close/>
                <a:moveTo>
                  <a:pt x="349" y="4595"/>
                </a:moveTo>
                <a:cubicBezTo>
                  <a:pt x="330" y="4606"/>
                  <a:pt x="314" y="4605"/>
                  <a:pt x="291" y="4595"/>
                </a:cubicBezTo>
                <a:cubicBezTo>
                  <a:pt x="316" y="4578"/>
                  <a:pt x="331" y="4577"/>
                  <a:pt x="349" y="4595"/>
                </a:cubicBezTo>
                <a:close/>
                <a:moveTo>
                  <a:pt x="309" y="4744"/>
                </a:moveTo>
                <a:cubicBezTo>
                  <a:pt x="305" y="4688"/>
                  <a:pt x="456" y="4713"/>
                  <a:pt x="483" y="4742"/>
                </a:cubicBezTo>
                <a:cubicBezTo>
                  <a:pt x="456" y="4713"/>
                  <a:pt x="437" y="4737"/>
                  <a:pt x="452" y="4766"/>
                </a:cubicBezTo>
                <a:cubicBezTo>
                  <a:pt x="437" y="4767"/>
                  <a:pt x="272" y="4789"/>
                  <a:pt x="309" y="4744"/>
                </a:cubicBezTo>
                <a:cubicBezTo>
                  <a:pt x="309" y="4738"/>
                  <a:pt x="294" y="4762"/>
                  <a:pt x="309" y="4744"/>
                </a:cubicBezTo>
                <a:close/>
                <a:moveTo>
                  <a:pt x="349" y="5065"/>
                </a:moveTo>
                <a:cubicBezTo>
                  <a:pt x="337" y="5065"/>
                  <a:pt x="326" y="5067"/>
                  <a:pt x="322" y="5083"/>
                </a:cubicBezTo>
                <a:cubicBezTo>
                  <a:pt x="326" y="5067"/>
                  <a:pt x="337" y="5065"/>
                  <a:pt x="349" y="5065"/>
                </a:cubicBezTo>
                <a:close/>
                <a:moveTo>
                  <a:pt x="316" y="5202"/>
                </a:moveTo>
                <a:cubicBezTo>
                  <a:pt x="321" y="5182"/>
                  <a:pt x="397" y="5141"/>
                  <a:pt x="332" y="5210"/>
                </a:cubicBezTo>
                <a:cubicBezTo>
                  <a:pt x="371" y="5210"/>
                  <a:pt x="428" y="5232"/>
                  <a:pt x="412" y="5183"/>
                </a:cubicBezTo>
                <a:cubicBezTo>
                  <a:pt x="480" y="5185"/>
                  <a:pt x="597" y="5247"/>
                  <a:pt x="659" y="5221"/>
                </a:cubicBezTo>
                <a:cubicBezTo>
                  <a:pt x="636" y="5231"/>
                  <a:pt x="610" y="5215"/>
                  <a:pt x="586" y="5215"/>
                </a:cubicBezTo>
                <a:cubicBezTo>
                  <a:pt x="587" y="5302"/>
                  <a:pt x="537" y="5249"/>
                  <a:pt x="476" y="5264"/>
                </a:cubicBezTo>
                <a:cubicBezTo>
                  <a:pt x="478" y="5171"/>
                  <a:pt x="362" y="5238"/>
                  <a:pt x="318" y="5216"/>
                </a:cubicBezTo>
                <a:cubicBezTo>
                  <a:pt x="317" y="5211"/>
                  <a:pt x="316" y="5206"/>
                  <a:pt x="316" y="5202"/>
                </a:cubicBezTo>
                <a:cubicBezTo>
                  <a:pt x="322" y="5179"/>
                  <a:pt x="312" y="5217"/>
                  <a:pt x="316" y="5202"/>
                </a:cubicBezTo>
                <a:close/>
                <a:moveTo>
                  <a:pt x="420" y="6075"/>
                </a:moveTo>
                <a:cubicBezTo>
                  <a:pt x="432" y="6072"/>
                  <a:pt x="444" y="6069"/>
                  <a:pt x="454" y="6079"/>
                </a:cubicBezTo>
                <a:cubicBezTo>
                  <a:pt x="441" y="6094"/>
                  <a:pt x="430" y="6093"/>
                  <a:pt x="420" y="6075"/>
                </a:cubicBezTo>
                <a:close/>
                <a:moveTo>
                  <a:pt x="438" y="5761"/>
                </a:moveTo>
                <a:cubicBezTo>
                  <a:pt x="451" y="5759"/>
                  <a:pt x="459" y="5751"/>
                  <a:pt x="463" y="5738"/>
                </a:cubicBezTo>
                <a:cubicBezTo>
                  <a:pt x="424" y="5712"/>
                  <a:pt x="381" y="5731"/>
                  <a:pt x="341" y="5738"/>
                </a:cubicBezTo>
                <a:cubicBezTo>
                  <a:pt x="398" y="5728"/>
                  <a:pt x="387" y="5718"/>
                  <a:pt x="346" y="5701"/>
                </a:cubicBezTo>
                <a:cubicBezTo>
                  <a:pt x="401" y="5724"/>
                  <a:pt x="459" y="5653"/>
                  <a:pt x="489" y="5735"/>
                </a:cubicBezTo>
                <a:cubicBezTo>
                  <a:pt x="455" y="5739"/>
                  <a:pt x="466" y="5756"/>
                  <a:pt x="438" y="5761"/>
                </a:cubicBezTo>
                <a:cubicBezTo>
                  <a:pt x="449" y="5759"/>
                  <a:pt x="449" y="5759"/>
                  <a:pt x="438" y="5761"/>
                </a:cubicBezTo>
                <a:close/>
                <a:moveTo>
                  <a:pt x="465" y="6048"/>
                </a:moveTo>
                <a:cubicBezTo>
                  <a:pt x="501" y="6020"/>
                  <a:pt x="681" y="6065"/>
                  <a:pt x="628" y="6119"/>
                </a:cubicBezTo>
                <a:cubicBezTo>
                  <a:pt x="592" y="6155"/>
                  <a:pt x="469" y="6066"/>
                  <a:pt x="465" y="6048"/>
                </a:cubicBezTo>
                <a:cubicBezTo>
                  <a:pt x="490" y="6029"/>
                  <a:pt x="468" y="6062"/>
                  <a:pt x="465" y="6048"/>
                </a:cubicBezTo>
                <a:close/>
                <a:moveTo>
                  <a:pt x="772" y="6229"/>
                </a:moveTo>
                <a:cubicBezTo>
                  <a:pt x="743" y="6232"/>
                  <a:pt x="525" y="6161"/>
                  <a:pt x="527" y="6153"/>
                </a:cubicBezTo>
                <a:cubicBezTo>
                  <a:pt x="530" y="6145"/>
                  <a:pt x="638" y="6159"/>
                  <a:pt x="651" y="6158"/>
                </a:cubicBezTo>
                <a:cubicBezTo>
                  <a:pt x="664" y="6157"/>
                  <a:pt x="702" y="6180"/>
                  <a:pt x="707" y="6151"/>
                </a:cubicBezTo>
                <a:cubicBezTo>
                  <a:pt x="710" y="6127"/>
                  <a:pt x="686" y="6124"/>
                  <a:pt x="669" y="6119"/>
                </a:cubicBezTo>
                <a:cubicBezTo>
                  <a:pt x="770" y="6082"/>
                  <a:pt x="789" y="6227"/>
                  <a:pt x="772" y="6229"/>
                </a:cubicBezTo>
                <a:cubicBezTo>
                  <a:pt x="748" y="6232"/>
                  <a:pt x="799" y="6225"/>
                  <a:pt x="772" y="6229"/>
                </a:cubicBezTo>
                <a:close/>
                <a:moveTo>
                  <a:pt x="814" y="5151"/>
                </a:moveTo>
                <a:cubicBezTo>
                  <a:pt x="802" y="5151"/>
                  <a:pt x="792" y="5149"/>
                  <a:pt x="786" y="5136"/>
                </a:cubicBezTo>
                <a:cubicBezTo>
                  <a:pt x="792" y="5149"/>
                  <a:pt x="802" y="5151"/>
                  <a:pt x="814" y="5151"/>
                </a:cubicBezTo>
                <a:close/>
                <a:moveTo>
                  <a:pt x="1182" y="5727"/>
                </a:moveTo>
                <a:cubicBezTo>
                  <a:pt x="1173" y="5738"/>
                  <a:pt x="1162" y="5741"/>
                  <a:pt x="1149" y="5738"/>
                </a:cubicBezTo>
                <a:cubicBezTo>
                  <a:pt x="1144" y="5775"/>
                  <a:pt x="1207" y="5782"/>
                  <a:pt x="1170" y="5821"/>
                </a:cubicBezTo>
                <a:cubicBezTo>
                  <a:pt x="1147" y="5844"/>
                  <a:pt x="1066" y="5811"/>
                  <a:pt x="1049" y="5793"/>
                </a:cubicBezTo>
                <a:cubicBezTo>
                  <a:pt x="1112" y="5755"/>
                  <a:pt x="926" y="5733"/>
                  <a:pt x="887" y="5757"/>
                </a:cubicBezTo>
                <a:cubicBezTo>
                  <a:pt x="920" y="5760"/>
                  <a:pt x="1018" y="5746"/>
                  <a:pt x="1022" y="5790"/>
                </a:cubicBezTo>
                <a:cubicBezTo>
                  <a:pt x="986" y="5791"/>
                  <a:pt x="945" y="5798"/>
                  <a:pt x="910" y="5787"/>
                </a:cubicBezTo>
                <a:cubicBezTo>
                  <a:pt x="900" y="5783"/>
                  <a:pt x="892" y="5767"/>
                  <a:pt x="889" y="5766"/>
                </a:cubicBezTo>
                <a:cubicBezTo>
                  <a:pt x="881" y="5763"/>
                  <a:pt x="861" y="5762"/>
                  <a:pt x="845" y="5759"/>
                </a:cubicBezTo>
                <a:cubicBezTo>
                  <a:pt x="818" y="5754"/>
                  <a:pt x="794" y="5774"/>
                  <a:pt x="792" y="5735"/>
                </a:cubicBezTo>
                <a:cubicBezTo>
                  <a:pt x="791" y="5708"/>
                  <a:pt x="842" y="5681"/>
                  <a:pt x="863" y="5679"/>
                </a:cubicBezTo>
                <a:cubicBezTo>
                  <a:pt x="891" y="5677"/>
                  <a:pt x="934" y="5695"/>
                  <a:pt x="967" y="5692"/>
                </a:cubicBezTo>
                <a:cubicBezTo>
                  <a:pt x="1017" y="5689"/>
                  <a:pt x="1035" y="5685"/>
                  <a:pt x="1077" y="5707"/>
                </a:cubicBezTo>
                <a:cubicBezTo>
                  <a:pt x="1122" y="5732"/>
                  <a:pt x="1116" y="5732"/>
                  <a:pt x="1163" y="5727"/>
                </a:cubicBezTo>
                <a:cubicBezTo>
                  <a:pt x="1182" y="5725"/>
                  <a:pt x="1180" y="5725"/>
                  <a:pt x="1193" y="5738"/>
                </a:cubicBezTo>
                <a:cubicBezTo>
                  <a:pt x="1189" y="5735"/>
                  <a:pt x="1185" y="5731"/>
                  <a:pt x="1182" y="5727"/>
                </a:cubicBezTo>
                <a:cubicBezTo>
                  <a:pt x="1175" y="5743"/>
                  <a:pt x="1185" y="5731"/>
                  <a:pt x="1182" y="5727"/>
                </a:cubicBezTo>
                <a:close/>
                <a:moveTo>
                  <a:pt x="1130" y="5678"/>
                </a:moveTo>
                <a:cubicBezTo>
                  <a:pt x="1136" y="5690"/>
                  <a:pt x="1144" y="5695"/>
                  <a:pt x="1155" y="5694"/>
                </a:cubicBezTo>
                <a:cubicBezTo>
                  <a:pt x="1144" y="5695"/>
                  <a:pt x="1136" y="5690"/>
                  <a:pt x="1130" y="5678"/>
                </a:cubicBezTo>
                <a:close/>
                <a:moveTo>
                  <a:pt x="1101" y="5200"/>
                </a:moveTo>
                <a:cubicBezTo>
                  <a:pt x="1117" y="5202"/>
                  <a:pt x="1120" y="5195"/>
                  <a:pt x="1110" y="5180"/>
                </a:cubicBezTo>
                <a:cubicBezTo>
                  <a:pt x="1123" y="5212"/>
                  <a:pt x="1176" y="5182"/>
                  <a:pt x="1210" y="5180"/>
                </a:cubicBezTo>
                <a:cubicBezTo>
                  <a:pt x="1232" y="5178"/>
                  <a:pt x="1252" y="5182"/>
                  <a:pt x="1274" y="5182"/>
                </a:cubicBezTo>
                <a:cubicBezTo>
                  <a:pt x="1285" y="5186"/>
                  <a:pt x="1295" y="5189"/>
                  <a:pt x="1306" y="5193"/>
                </a:cubicBezTo>
                <a:cubicBezTo>
                  <a:pt x="1315" y="5188"/>
                  <a:pt x="1324" y="5184"/>
                  <a:pt x="1333" y="5179"/>
                </a:cubicBezTo>
                <a:cubicBezTo>
                  <a:pt x="1373" y="5177"/>
                  <a:pt x="1400" y="5181"/>
                  <a:pt x="1440" y="5191"/>
                </a:cubicBezTo>
                <a:cubicBezTo>
                  <a:pt x="1464" y="5198"/>
                  <a:pt x="1544" y="5191"/>
                  <a:pt x="1556" y="5198"/>
                </a:cubicBezTo>
                <a:cubicBezTo>
                  <a:pt x="1626" y="5239"/>
                  <a:pt x="1416" y="5228"/>
                  <a:pt x="1394" y="5227"/>
                </a:cubicBezTo>
                <a:cubicBezTo>
                  <a:pt x="1330" y="5225"/>
                  <a:pt x="1146" y="5253"/>
                  <a:pt x="1101" y="5200"/>
                </a:cubicBezTo>
                <a:cubicBezTo>
                  <a:pt x="1105" y="5200"/>
                  <a:pt x="1131" y="5236"/>
                  <a:pt x="1101" y="5200"/>
                </a:cubicBezTo>
                <a:close/>
                <a:moveTo>
                  <a:pt x="1291" y="6087"/>
                </a:moveTo>
                <a:cubicBezTo>
                  <a:pt x="1337" y="6055"/>
                  <a:pt x="1378" y="6097"/>
                  <a:pt x="1422" y="6096"/>
                </a:cubicBezTo>
                <a:cubicBezTo>
                  <a:pt x="1379" y="6100"/>
                  <a:pt x="1333" y="6111"/>
                  <a:pt x="1291" y="6087"/>
                </a:cubicBezTo>
                <a:close/>
                <a:moveTo>
                  <a:pt x="1476" y="5602"/>
                </a:moveTo>
                <a:cubicBezTo>
                  <a:pt x="1478" y="5605"/>
                  <a:pt x="1481" y="5607"/>
                  <a:pt x="1485" y="5608"/>
                </a:cubicBezTo>
                <a:cubicBezTo>
                  <a:pt x="1481" y="5607"/>
                  <a:pt x="1478" y="5605"/>
                  <a:pt x="1476" y="5602"/>
                </a:cubicBezTo>
                <a:close/>
                <a:moveTo>
                  <a:pt x="1344" y="5268"/>
                </a:moveTo>
                <a:cubicBezTo>
                  <a:pt x="1420" y="5268"/>
                  <a:pt x="1496" y="5268"/>
                  <a:pt x="1572" y="5268"/>
                </a:cubicBezTo>
                <a:cubicBezTo>
                  <a:pt x="1495" y="5295"/>
                  <a:pt x="1420" y="5270"/>
                  <a:pt x="1344" y="5268"/>
                </a:cubicBezTo>
                <a:close/>
                <a:moveTo>
                  <a:pt x="1514" y="5778"/>
                </a:moveTo>
                <a:cubicBezTo>
                  <a:pt x="1511" y="5757"/>
                  <a:pt x="1576" y="5799"/>
                  <a:pt x="1577" y="5815"/>
                </a:cubicBezTo>
                <a:cubicBezTo>
                  <a:pt x="1579" y="5844"/>
                  <a:pt x="1515" y="5784"/>
                  <a:pt x="1514" y="5778"/>
                </a:cubicBezTo>
                <a:cubicBezTo>
                  <a:pt x="1513" y="5773"/>
                  <a:pt x="1517" y="5795"/>
                  <a:pt x="1514" y="5778"/>
                </a:cubicBezTo>
                <a:close/>
                <a:moveTo>
                  <a:pt x="1526" y="6025"/>
                </a:moveTo>
                <a:cubicBezTo>
                  <a:pt x="1558" y="5986"/>
                  <a:pt x="1601" y="5980"/>
                  <a:pt x="1687" y="6003"/>
                </a:cubicBezTo>
                <a:cubicBezTo>
                  <a:pt x="1635" y="6010"/>
                  <a:pt x="1584" y="6017"/>
                  <a:pt x="1526" y="6025"/>
                </a:cubicBezTo>
                <a:close/>
                <a:moveTo>
                  <a:pt x="1699" y="4834"/>
                </a:moveTo>
                <a:cubicBezTo>
                  <a:pt x="1702" y="4834"/>
                  <a:pt x="1704" y="4835"/>
                  <a:pt x="1706" y="4836"/>
                </a:cubicBezTo>
                <a:cubicBezTo>
                  <a:pt x="1704" y="4835"/>
                  <a:pt x="1702" y="4834"/>
                  <a:pt x="1699" y="4834"/>
                </a:cubicBezTo>
                <a:close/>
                <a:moveTo>
                  <a:pt x="1701" y="4746"/>
                </a:moveTo>
                <a:cubicBezTo>
                  <a:pt x="1695" y="4755"/>
                  <a:pt x="1686" y="4758"/>
                  <a:pt x="1676" y="4755"/>
                </a:cubicBezTo>
                <a:cubicBezTo>
                  <a:pt x="1684" y="4727"/>
                  <a:pt x="1709" y="4761"/>
                  <a:pt x="1711" y="4733"/>
                </a:cubicBezTo>
                <a:cubicBezTo>
                  <a:pt x="1707" y="4737"/>
                  <a:pt x="1704" y="4742"/>
                  <a:pt x="1701" y="4746"/>
                </a:cubicBezTo>
                <a:cubicBezTo>
                  <a:pt x="1695" y="4756"/>
                  <a:pt x="1707" y="4741"/>
                  <a:pt x="1701" y="4746"/>
                </a:cubicBezTo>
                <a:close/>
                <a:moveTo>
                  <a:pt x="1724" y="4686"/>
                </a:moveTo>
                <a:cubicBezTo>
                  <a:pt x="1721" y="4651"/>
                  <a:pt x="1780" y="4672"/>
                  <a:pt x="1775" y="4683"/>
                </a:cubicBezTo>
                <a:cubicBezTo>
                  <a:pt x="1767" y="4697"/>
                  <a:pt x="1727" y="4719"/>
                  <a:pt x="1724" y="4686"/>
                </a:cubicBezTo>
                <a:cubicBezTo>
                  <a:pt x="1723" y="4668"/>
                  <a:pt x="1726" y="4700"/>
                  <a:pt x="1724" y="4686"/>
                </a:cubicBezTo>
                <a:close/>
                <a:moveTo>
                  <a:pt x="1763" y="4765"/>
                </a:moveTo>
                <a:cubicBezTo>
                  <a:pt x="1727" y="4769"/>
                  <a:pt x="1758" y="4736"/>
                  <a:pt x="1758" y="4736"/>
                </a:cubicBezTo>
                <a:cubicBezTo>
                  <a:pt x="1757" y="4734"/>
                  <a:pt x="1797" y="4762"/>
                  <a:pt x="1763" y="4765"/>
                </a:cubicBezTo>
                <a:cubicBezTo>
                  <a:pt x="1752" y="4767"/>
                  <a:pt x="1772" y="4764"/>
                  <a:pt x="1763" y="4765"/>
                </a:cubicBezTo>
                <a:close/>
                <a:moveTo>
                  <a:pt x="1771" y="4246"/>
                </a:moveTo>
                <a:cubicBezTo>
                  <a:pt x="1777" y="4240"/>
                  <a:pt x="1782" y="4242"/>
                  <a:pt x="1784" y="4250"/>
                </a:cubicBezTo>
                <a:cubicBezTo>
                  <a:pt x="1778" y="4259"/>
                  <a:pt x="1773" y="4258"/>
                  <a:pt x="1771" y="4246"/>
                </a:cubicBezTo>
                <a:cubicBezTo>
                  <a:pt x="1773" y="4245"/>
                  <a:pt x="1773" y="4249"/>
                  <a:pt x="1771" y="4246"/>
                </a:cubicBezTo>
                <a:close/>
                <a:moveTo>
                  <a:pt x="1794" y="4436"/>
                </a:moveTo>
                <a:cubicBezTo>
                  <a:pt x="1761" y="4436"/>
                  <a:pt x="1794" y="4406"/>
                  <a:pt x="1794" y="4406"/>
                </a:cubicBezTo>
                <a:cubicBezTo>
                  <a:pt x="1794" y="4406"/>
                  <a:pt x="1829" y="4435"/>
                  <a:pt x="1794" y="4436"/>
                </a:cubicBezTo>
                <a:cubicBezTo>
                  <a:pt x="1787" y="4436"/>
                  <a:pt x="1804" y="4435"/>
                  <a:pt x="1794" y="4436"/>
                </a:cubicBezTo>
                <a:close/>
                <a:moveTo>
                  <a:pt x="1804" y="4164"/>
                </a:moveTo>
                <a:cubicBezTo>
                  <a:pt x="1796" y="4125"/>
                  <a:pt x="1957" y="4129"/>
                  <a:pt x="1958" y="4158"/>
                </a:cubicBezTo>
                <a:cubicBezTo>
                  <a:pt x="1959" y="4192"/>
                  <a:pt x="1812" y="4206"/>
                  <a:pt x="1804" y="4164"/>
                </a:cubicBezTo>
                <a:cubicBezTo>
                  <a:pt x="1800" y="4143"/>
                  <a:pt x="1808" y="4185"/>
                  <a:pt x="1804" y="4164"/>
                </a:cubicBezTo>
                <a:close/>
                <a:moveTo>
                  <a:pt x="1836" y="4889"/>
                </a:moveTo>
                <a:cubicBezTo>
                  <a:pt x="1827" y="4908"/>
                  <a:pt x="1864" y="4867"/>
                  <a:pt x="1823" y="4866"/>
                </a:cubicBezTo>
                <a:cubicBezTo>
                  <a:pt x="1860" y="4867"/>
                  <a:pt x="1887" y="4865"/>
                  <a:pt x="1925" y="4857"/>
                </a:cubicBezTo>
                <a:cubicBezTo>
                  <a:pt x="1892" y="4864"/>
                  <a:pt x="1850" y="4858"/>
                  <a:pt x="1836" y="4889"/>
                </a:cubicBezTo>
                <a:cubicBezTo>
                  <a:pt x="1834" y="4893"/>
                  <a:pt x="1839" y="4883"/>
                  <a:pt x="1836" y="4889"/>
                </a:cubicBezTo>
                <a:close/>
                <a:moveTo>
                  <a:pt x="1866" y="5146"/>
                </a:moveTo>
                <a:cubicBezTo>
                  <a:pt x="1894" y="5135"/>
                  <a:pt x="1894" y="5168"/>
                  <a:pt x="1913" y="5175"/>
                </a:cubicBezTo>
                <a:cubicBezTo>
                  <a:pt x="1938" y="5184"/>
                  <a:pt x="1946" y="5181"/>
                  <a:pt x="1976" y="5184"/>
                </a:cubicBezTo>
                <a:cubicBezTo>
                  <a:pt x="2008" y="5188"/>
                  <a:pt x="2091" y="5201"/>
                  <a:pt x="2089" y="5231"/>
                </a:cubicBezTo>
                <a:cubicBezTo>
                  <a:pt x="2029" y="5223"/>
                  <a:pt x="1970" y="5215"/>
                  <a:pt x="1911" y="5201"/>
                </a:cubicBezTo>
                <a:cubicBezTo>
                  <a:pt x="1901" y="5199"/>
                  <a:pt x="1801" y="5171"/>
                  <a:pt x="1866" y="5146"/>
                </a:cubicBezTo>
                <a:cubicBezTo>
                  <a:pt x="1886" y="5139"/>
                  <a:pt x="1850" y="5152"/>
                  <a:pt x="1866" y="5146"/>
                </a:cubicBezTo>
                <a:close/>
                <a:moveTo>
                  <a:pt x="1878" y="5614"/>
                </a:moveTo>
                <a:cubicBezTo>
                  <a:pt x="1871" y="5610"/>
                  <a:pt x="1864" y="5605"/>
                  <a:pt x="1857" y="5601"/>
                </a:cubicBezTo>
                <a:cubicBezTo>
                  <a:pt x="1872" y="5615"/>
                  <a:pt x="1888" y="5618"/>
                  <a:pt x="1907" y="5611"/>
                </a:cubicBezTo>
                <a:cubicBezTo>
                  <a:pt x="1897" y="5612"/>
                  <a:pt x="1888" y="5613"/>
                  <a:pt x="1878" y="5614"/>
                </a:cubicBezTo>
                <a:cubicBezTo>
                  <a:pt x="1871" y="5609"/>
                  <a:pt x="1888" y="5613"/>
                  <a:pt x="1878" y="5614"/>
                </a:cubicBezTo>
                <a:close/>
                <a:moveTo>
                  <a:pt x="2058" y="6090"/>
                </a:moveTo>
                <a:cubicBezTo>
                  <a:pt x="1951" y="6072"/>
                  <a:pt x="2047" y="6041"/>
                  <a:pt x="2100" y="6090"/>
                </a:cubicBezTo>
                <a:cubicBezTo>
                  <a:pt x="2086" y="6091"/>
                  <a:pt x="2072" y="6091"/>
                  <a:pt x="2058" y="6090"/>
                </a:cubicBezTo>
                <a:cubicBezTo>
                  <a:pt x="2040" y="6087"/>
                  <a:pt x="2067" y="6092"/>
                  <a:pt x="2058" y="6090"/>
                </a:cubicBezTo>
                <a:close/>
                <a:moveTo>
                  <a:pt x="2395" y="5778"/>
                </a:moveTo>
                <a:cubicBezTo>
                  <a:pt x="2333" y="5819"/>
                  <a:pt x="2156" y="5742"/>
                  <a:pt x="2086" y="5728"/>
                </a:cubicBezTo>
                <a:cubicBezTo>
                  <a:pt x="2053" y="5721"/>
                  <a:pt x="2027" y="5733"/>
                  <a:pt x="1996" y="5728"/>
                </a:cubicBezTo>
                <a:cubicBezTo>
                  <a:pt x="1977" y="5726"/>
                  <a:pt x="1908" y="5686"/>
                  <a:pt x="1913" y="5676"/>
                </a:cubicBezTo>
                <a:cubicBezTo>
                  <a:pt x="1907" y="5688"/>
                  <a:pt x="2073" y="5688"/>
                  <a:pt x="2089" y="5693"/>
                </a:cubicBezTo>
                <a:cubicBezTo>
                  <a:pt x="2148" y="5712"/>
                  <a:pt x="2276" y="5769"/>
                  <a:pt x="2335" y="5719"/>
                </a:cubicBezTo>
                <a:cubicBezTo>
                  <a:pt x="2314" y="5708"/>
                  <a:pt x="2292" y="5685"/>
                  <a:pt x="2268" y="5679"/>
                </a:cubicBezTo>
                <a:cubicBezTo>
                  <a:pt x="2247" y="5673"/>
                  <a:pt x="2224" y="5689"/>
                  <a:pt x="2206" y="5683"/>
                </a:cubicBezTo>
                <a:cubicBezTo>
                  <a:pt x="2172" y="5672"/>
                  <a:pt x="2141" y="5633"/>
                  <a:pt x="2139" y="5596"/>
                </a:cubicBezTo>
                <a:cubicBezTo>
                  <a:pt x="2203" y="5600"/>
                  <a:pt x="2277" y="5612"/>
                  <a:pt x="2331" y="5651"/>
                </a:cubicBezTo>
                <a:cubicBezTo>
                  <a:pt x="2341" y="5662"/>
                  <a:pt x="2344" y="5675"/>
                  <a:pt x="2340" y="5689"/>
                </a:cubicBezTo>
                <a:cubicBezTo>
                  <a:pt x="2353" y="5689"/>
                  <a:pt x="2366" y="5692"/>
                  <a:pt x="2378" y="5698"/>
                </a:cubicBezTo>
                <a:cubicBezTo>
                  <a:pt x="2393" y="5703"/>
                  <a:pt x="2436" y="5692"/>
                  <a:pt x="2433" y="5717"/>
                </a:cubicBezTo>
                <a:cubicBezTo>
                  <a:pt x="2429" y="5745"/>
                  <a:pt x="2354" y="5683"/>
                  <a:pt x="2364" y="5755"/>
                </a:cubicBezTo>
                <a:cubicBezTo>
                  <a:pt x="2369" y="5785"/>
                  <a:pt x="2487" y="5792"/>
                  <a:pt x="2510" y="5796"/>
                </a:cubicBezTo>
                <a:cubicBezTo>
                  <a:pt x="2472" y="5790"/>
                  <a:pt x="2434" y="5784"/>
                  <a:pt x="2395" y="5778"/>
                </a:cubicBezTo>
                <a:cubicBezTo>
                  <a:pt x="2388" y="5782"/>
                  <a:pt x="2434" y="5784"/>
                  <a:pt x="2395" y="5778"/>
                </a:cubicBezTo>
                <a:close/>
                <a:moveTo>
                  <a:pt x="2588" y="5474"/>
                </a:moveTo>
                <a:cubicBezTo>
                  <a:pt x="2546" y="5494"/>
                  <a:pt x="2496" y="5476"/>
                  <a:pt x="2488" y="5433"/>
                </a:cubicBezTo>
                <a:cubicBezTo>
                  <a:pt x="2521" y="5418"/>
                  <a:pt x="2628" y="5424"/>
                  <a:pt x="2588" y="5474"/>
                </a:cubicBezTo>
                <a:cubicBezTo>
                  <a:pt x="2559" y="5488"/>
                  <a:pt x="2593" y="5468"/>
                  <a:pt x="2588" y="5474"/>
                </a:cubicBezTo>
                <a:close/>
                <a:moveTo>
                  <a:pt x="2617" y="4676"/>
                </a:moveTo>
                <a:cubicBezTo>
                  <a:pt x="2608" y="4683"/>
                  <a:pt x="2624" y="4670"/>
                  <a:pt x="2617" y="4676"/>
                </a:cubicBezTo>
                <a:cubicBezTo>
                  <a:pt x="2616" y="4677"/>
                  <a:pt x="2618" y="4675"/>
                  <a:pt x="2617" y="4676"/>
                </a:cubicBezTo>
                <a:close/>
                <a:moveTo>
                  <a:pt x="2633" y="4768"/>
                </a:moveTo>
                <a:cubicBezTo>
                  <a:pt x="2645" y="4774"/>
                  <a:pt x="2640" y="4779"/>
                  <a:pt x="2618" y="4782"/>
                </a:cubicBezTo>
                <a:cubicBezTo>
                  <a:pt x="2640" y="4779"/>
                  <a:pt x="2645" y="4774"/>
                  <a:pt x="2633" y="4768"/>
                </a:cubicBezTo>
                <a:close/>
                <a:moveTo>
                  <a:pt x="2647" y="4940"/>
                </a:moveTo>
                <a:cubicBezTo>
                  <a:pt x="2651" y="4871"/>
                  <a:pt x="2707" y="5008"/>
                  <a:pt x="2675" y="4981"/>
                </a:cubicBezTo>
                <a:cubicBezTo>
                  <a:pt x="2705" y="5006"/>
                  <a:pt x="2721" y="4960"/>
                  <a:pt x="2750" y="5010"/>
                </a:cubicBezTo>
                <a:cubicBezTo>
                  <a:pt x="2731" y="5010"/>
                  <a:pt x="2660" y="5016"/>
                  <a:pt x="2647" y="5000"/>
                </a:cubicBezTo>
                <a:cubicBezTo>
                  <a:pt x="2629" y="4978"/>
                  <a:pt x="2645" y="4965"/>
                  <a:pt x="2647" y="4940"/>
                </a:cubicBezTo>
                <a:cubicBezTo>
                  <a:pt x="2647" y="4928"/>
                  <a:pt x="2646" y="4964"/>
                  <a:pt x="2647" y="4940"/>
                </a:cubicBezTo>
                <a:close/>
                <a:moveTo>
                  <a:pt x="2728" y="5095"/>
                </a:moveTo>
                <a:cubicBezTo>
                  <a:pt x="2714" y="5089"/>
                  <a:pt x="2730" y="5088"/>
                  <a:pt x="2728" y="5095"/>
                </a:cubicBezTo>
                <a:cubicBezTo>
                  <a:pt x="2726" y="5094"/>
                  <a:pt x="2728" y="5094"/>
                  <a:pt x="2728" y="5095"/>
                </a:cubicBezTo>
                <a:close/>
                <a:moveTo>
                  <a:pt x="2670" y="5573"/>
                </a:moveTo>
                <a:cubicBezTo>
                  <a:pt x="2676" y="5562"/>
                  <a:pt x="2684" y="5562"/>
                  <a:pt x="2692" y="5572"/>
                </a:cubicBezTo>
                <a:cubicBezTo>
                  <a:pt x="2685" y="5583"/>
                  <a:pt x="2678" y="5584"/>
                  <a:pt x="2670" y="5573"/>
                </a:cubicBezTo>
                <a:close/>
                <a:moveTo>
                  <a:pt x="2893" y="6355"/>
                </a:moveTo>
                <a:cubicBezTo>
                  <a:pt x="2839" y="6365"/>
                  <a:pt x="2816" y="6279"/>
                  <a:pt x="2884" y="6280"/>
                </a:cubicBezTo>
                <a:cubicBezTo>
                  <a:pt x="2933" y="6281"/>
                  <a:pt x="2946" y="6357"/>
                  <a:pt x="2893" y="6355"/>
                </a:cubicBezTo>
                <a:cubicBezTo>
                  <a:pt x="2858" y="6362"/>
                  <a:pt x="2913" y="6356"/>
                  <a:pt x="2893" y="6355"/>
                </a:cubicBezTo>
                <a:close/>
                <a:moveTo>
                  <a:pt x="2790" y="5695"/>
                </a:moveTo>
                <a:cubicBezTo>
                  <a:pt x="2736" y="5685"/>
                  <a:pt x="2758" y="5667"/>
                  <a:pt x="2729" y="5636"/>
                </a:cubicBezTo>
                <a:cubicBezTo>
                  <a:pt x="2709" y="5614"/>
                  <a:pt x="2652" y="5618"/>
                  <a:pt x="2718" y="5586"/>
                </a:cubicBezTo>
                <a:cubicBezTo>
                  <a:pt x="2687" y="5601"/>
                  <a:pt x="2719" y="5520"/>
                  <a:pt x="2720" y="5534"/>
                </a:cubicBezTo>
                <a:cubicBezTo>
                  <a:pt x="2730" y="5525"/>
                  <a:pt x="2735" y="5515"/>
                  <a:pt x="2737" y="5503"/>
                </a:cubicBezTo>
                <a:cubicBezTo>
                  <a:pt x="2728" y="5492"/>
                  <a:pt x="2717" y="5489"/>
                  <a:pt x="2702" y="5494"/>
                </a:cubicBezTo>
                <a:cubicBezTo>
                  <a:pt x="2683" y="5479"/>
                  <a:pt x="2673" y="5453"/>
                  <a:pt x="2641" y="5450"/>
                </a:cubicBezTo>
                <a:cubicBezTo>
                  <a:pt x="2673" y="5453"/>
                  <a:pt x="2689" y="5464"/>
                  <a:pt x="2724" y="5461"/>
                </a:cubicBezTo>
                <a:cubicBezTo>
                  <a:pt x="2714" y="5424"/>
                  <a:pt x="2677" y="5429"/>
                  <a:pt x="2648" y="5424"/>
                </a:cubicBezTo>
                <a:cubicBezTo>
                  <a:pt x="2664" y="5407"/>
                  <a:pt x="2683" y="5398"/>
                  <a:pt x="2706" y="5397"/>
                </a:cubicBezTo>
                <a:cubicBezTo>
                  <a:pt x="2740" y="5406"/>
                  <a:pt x="2750" y="5392"/>
                  <a:pt x="2736" y="5354"/>
                </a:cubicBezTo>
                <a:cubicBezTo>
                  <a:pt x="2741" y="5332"/>
                  <a:pt x="2723" y="5267"/>
                  <a:pt x="2741" y="5247"/>
                </a:cubicBezTo>
                <a:cubicBezTo>
                  <a:pt x="2759" y="5225"/>
                  <a:pt x="2896" y="5243"/>
                  <a:pt x="2936" y="5229"/>
                </a:cubicBezTo>
                <a:cubicBezTo>
                  <a:pt x="3021" y="5200"/>
                  <a:pt x="3036" y="5197"/>
                  <a:pt x="3118" y="5239"/>
                </a:cubicBezTo>
                <a:cubicBezTo>
                  <a:pt x="3133" y="5247"/>
                  <a:pt x="3155" y="5224"/>
                  <a:pt x="3165" y="5245"/>
                </a:cubicBezTo>
                <a:cubicBezTo>
                  <a:pt x="3184" y="5286"/>
                  <a:pt x="3129" y="5277"/>
                  <a:pt x="3107" y="5295"/>
                </a:cubicBezTo>
                <a:cubicBezTo>
                  <a:pt x="3156" y="5308"/>
                  <a:pt x="3159" y="5298"/>
                  <a:pt x="3175" y="5346"/>
                </a:cubicBezTo>
                <a:cubicBezTo>
                  <a:pt x="3184" y="5376"/>
                  <a:pt x="3178" y="5422"/>
                  <a:pt x="3177" y="5453"/>
                </a:cubicBezTo>
                <a:cubicBezTo>
                  <a:pt x="3176" y="5485"/>
                  <a:pt x="3155" y="5580"/>
                  <a:pt x="3215" y="5564"/>
                </a:cubicBezTo>
                <a:cubicBezTo>
                  <a:pt x="3217" y="5594"/>
                  <a:pt x="3116" y="5615"/>
                  <a:pt x="3188" y="5658"/>
                </a:cubicBezTo>
                <a:cubicBezTo>
                  <a:pt x="3204" y="5668"/>
                  <a:pt x="3362" y="5651"/>
                  <a:pt x="3320" y="5688"/>
                </a:cubicBezTo>
                <a:cubicBezTo>
                  <a:pt x="3283" y="5720"/>
                  <a:pt x="3205" y="5662"/>
                  <a:pt x="3170" y="5682"/>
                </a:cubicBezTo>
                <a:cubicBezTo>
                  <a:pt x="3093" y="5726"/>
                  <a:pt x="3232" y="5725"/>
                  <a:pt x="3245" y="5751"/>
                </a:cubicBezTo>
                <a:cubicBezTo>
                  <a:pt x="3224" y="5778"/>
                  <a:pt x="3062" y="5733"/>
                  <a:pt x="3027" y="5726"/>
                </a:cubicBezTo>
                <a:cubicBezTo>
                  <a:pt x="2990" y="5718"/>
                  <a:pt x="2953" y="5700"/>
                  <a:pt x="2915" y="5695"/>
                </a:cubicBezTo>
                <a:cubicBezTo>
                  <a:pt x="2873" y="5689"/>
                  <a:pt x="2832" y="5704"/>
                  <a:pt x="2790" y="5695"/>
                </a:cubicBezTo>
                <a:cubicBezTo>
                  <a:pt x="2760" y="5689"/>
                  <a:pt x="2842" y="5706"/>
                  <a:pt x="2790" y="5695"/>
                </a:cubicBezTo>
                <a:close/>
                <a:moveTo>
                  <a:pt x="3356" y="6348"/>
                </a:moveTo>
                <a:cubicBezTo>
                  <a:pt x="3364" y="6337"/>
                  <a:pt x="3374" y="6333"/>
                  <a:pt x="3387" y="6340"/>
                </a:cubicBezTo>
                <a:cubicBezTo>
                  <a:pt x="3380" y="6355"/>
                  <a:pt x="3369" y="6355"/>
                  <a:pt x="3356" y="6348"/>
                </a:cubicBezTo>
                <a:close/>
                <a:moveTo>
                  <a:pt x="3646" y="6323"/>
                </a:moveTo>
                <a:cubicBezTo>
                  <a:pt x="3628" y="6327"/>
                  <a:pt x="3641" y="6336"/>
                  <a:pt x="3651" y="6343"/>
                </a:cubicBezTo>
                <a:cubicBezTo>
                  <a:pt x="3616" y="6366"/>
                  <a:pt x="3535" y="6326"/>
                  <a:pt x="3494" y="6323"/>
                </a:cubicBezTo>
                <a:cubicBezTo>
                  <a:pt x="3432" y="6317"/>
                  <a:pt x="3370" y="6321"/>
                  <a:pt x="3308" y="6326"/>
                </a:cubicBezTo>
                <a:cubicBezTo>
                  <a:pt x="3326" y="6328"/>
                  <a:pt x="3340" y="6335"/>
                  <a:pt x="3352" y="6347"/>
                </a:cubicBezTo>
                <a:cubicBezTo>
                  <a:pt x="3316" y="6362"/>
                  <a:pt x="3312" y="6341"/>
                  <a:pt x="3279" y="6342"/>
                </a:cubicBezTo>
                <a:cubicBezTo>
                  <a:pt x="3267" y="6322"/>
                  <a:pt x="3257" y="6321"/>
                  <a:pt x="3250" y="6338"/>
                </a:cubicBezTo>
                <a:cubicBezTo>
                  <a:pt x="3243" y="6350"/>
                  <a:pt x="3233" y="6356"/>
                  <a:pt x="3218" y="6356"/>
                </a:cubicBezTo>
                <a:cubicBezTo>
                  <a:pt x="3180" y="6363"/>
                  <a:pt x="3173" y="6333"/>
                  <a:pt x="3134" y="6323"/>
                </a:cubicBezTo>
                <a:cubicBezTo>
                  <a:pt x="3182" y="6335"/>
                  <a:pt x="3175" y="6323"/>
                  <a:pt x="3215" y="6303"/>
                </a:cubicBezTo>
                <a:cubicBezTo>
                  <a:pt x="3257" y="6281"/>
                  <a:pt x="3307" y="6296"/>
                  <a:pt x="3354" y="6297"/>
                </a:cubicBezTo>
                <a:cubicBezTo>
                  <a:pt x="3485" y="6301"/>
                  <a:pt x="3609" y="6284"/>
                  <a:pt x="3739" y="6312"/>
                </a:cubicBezTo>
                <a:cubicBezTo>
                  <a:pt x="3711" y="6331"/>
                  <a:pt x="3677" y="6318"/>
                  <a:pt x="3646" y="6323"/>
                </a:cubicBezTo>
                <a:cubicBezTo>
                  <a:pt x="3641" y="6324"/>
                  <a:pt x="3677" y="6318"/>
                  <a:pt x="3646" y="6323"/>
                </a:cubicBezTo>
                <a:close/>
                <a:moveTo>
                  <a:pt x="3684" y="5200"/>
                </a:moveTo>
                <a:cubicBezTo>
                  <a:pt x="3684" y="5221"/>
                  <a:pt x="3658" y="5215"/>
                  <a:pt x="3649" y="5229"/>
                </a:cubicBezTo>
                <a:cubicBezTo>
                  <a:pt x="3665" y="5231"/>
                  <a:pt x="3682" y="5232"/>
                  <a:pt x="3698" y="5234"/>
                </a:cubicBezTo>
                <a:cubicBezTo>
                  <a:pt x="3660" y="5259"/>
                  <a:pt x="3625" y="5220"/>
                  <a:pt x="3587" y="5218"/>
                </a:cubicBezTo>
                <a:cubicBezTo>
                  <a:pt x="3559" y="5217"/>
                  <a:pt x="3504" y="5257"/>
                  <a:pt x="3487" y="5249"/>
                </a:cubicBezTo>
                <a:cubicBezTo>
                  <a:pt x="3435" y="5224"/>
                  <a:pt x="3506" y="5211"/>
                  <a:pt x="3530" y="5197"/>
                </a:cubicBezTo>
                <a:cubicBezTo>
                  <a:pt x="3534" y="5190"/>
                  <a:pt x="3669" y="5200"/>
                  <a:pt x="3684" y="5200"/>
                </a:cubicBezTo>
                <a:cubicBezTo>
                  <a:pt x="3684" y="5222"/>
                  <a:pt x="3632" y="5199"/>
                  <a:pt x="3684" y="5200"/>
                </a:cubicBezTo>
                <a:close/>
                <a:moveTo>
                  <a:pt x="3719" y="5337"/>
                </a:moveTo>
                <a:cubicBezTo>
                  <a:pt x="3745" y="5386"/>
                  <a:pt x="3652" y="5340"/>
                  <a:pt x="3658" y="5342"/>
                </a:cubicBezTo>
                <a:cubicBezTo>
                  <a:pt x="3616" y="5331"/>
                  <a:pt x="3579" y="5330"/>
                  <a:pt x="3532" y="5330"/>
                </a:cubicBezTo>
                <a:cubicBezTo>
                  <a:pt x="3588" y="5322"/>
                  <a:pt x="3677" y="5259"/>
                  <a:pt x="3719" y="5337"/>
                </a:cubicBezTo>
                <a:cubicBezTo>
                  <a:pt x="3723" y="5345"/>
                  <a:pt x="3711" y="5321"/>
                  <a:pt x="3719" y="5337"/>
                </a:cubicBezTo>
                <a:close/>
                <a:moveTo>
                  <a:pt x="3761" y="5099"/>
                </a:moveTo>
                <a:cubicBezTo>
                  <a:pt x="3752" y="5097"/>
                  <a:pt x="3748" y="5101"/>
                  <a:pt x="3750" y="5110"/>
                </a:cubicBezTo>
                <a:cubicBezTo>
                  <a:pt x="3763" y="5109"/>
                  <a:pt x="3771" y="5115"/>
                  <a:pt x="3775" y="5128"/>
                </a:cubicBezTo>
                <a:cubicBezTo>
                  <a:pt x="3761" y="5131"/>
                  <a:pt x="3741" y="5111"/>
                  <a:pt x="3725" y="5108"/>
                </a:cubicBezTo>
                <a:cubicBezTo>
                  <a:pt x="3703" y="5105"/>
                  <a:pt x="3683" y="5104"/>
                  <a:pt x="3663" y="5113"/>
                </a:cubicBezTo>
                <a:cubicBezTo>
                  <a:pt x="3622" y="5130"/>
                  <a:pt x="3606" y="5187"/>
                  <a:pt x="3555" y="5137"/>
                </a:cubicBezTo>
                <a:cubicBezTo>
                  <a:pt x="3563" y="5118"/>
                  <a:pt x="3658" y="5139"/>
                  <a:pt x="3624" y="5090"/>
                </a:cubicBezTo>
                <a:cubicBezTo>
                  <a:pt x="3611" y="5071"/>
                  <a:pt x="3486" y="5060"/>
                  <a:pt x="3469" y="5072"/>
                </a:cubicBezTo>
                <a:cubicBezTo>
                  <a:pt x="3475" y="5098"/>
                  <a:pt x="3512" y="5085"/>
                  <a:pt x="3520" y="5104"/>
                </a:cubicBezTo>
                <a:cubicBezTo>
                  <a:pt x="3537" y="5142"/>
                  <a:pt x="3502" y="5149"/>
                  <a:pt x="3473" y="5157"/>
                </a:cubicBezTo>
                <a:cubicBezTo>
                  <a:pt x="3530" y="5210"/>
                  <a:pt x="3428" y="5176"/>
                  <a:pt x="3403" y="5169"/>
                </a:cubicBezTo>
                <a:cubicBezTo>
                  <a:pt x="3395" y="5236"/>
                  <a:pt x="3320" y="5147"/>
                  <a:pt x="3427" y="5176"/>
                </a:cubicBezTo>
                <a:cubicBezTo>
                  <a:pt x="3429" y="5156"/>
                  <a:pt x="3404" y="5102"/>
                  <a:pt x="3394" y="5099"/>
                </a:cubicBezTo>
                <a:cubicBezTo>
                  <a:pt x="3377" y="5095"/>
                  <a:pt x="3261" y="5168"/>
                  <a:pt x="3306" y="5087"/>
                </a:cubicBezTo>
                <a:cubicBezTo>
                  <a:pt x="3319" y="5064"/>
                  <a:pt x="3420" y="5053"/>
                  <a:pt x="3444" y="5046"/>
                </a:cubicBezTo>
                <a:cubicBezTo>
                  <a:pt x="3457" y="5043"/>
                  <a:pt x="3557" y="4998"/>
                  <a:pt x="3563" y="4999"/>
                </a:cubicBezTo>
                <a:cubicBezTo>
                  <a:pt x="3532" y="4941"/>
                  <a:pt x="3660" y="4982"/>
                  <a:pt x="3688" y="4973"/>
                </a:cubicBezTo>
                <a:cubicBezTo>
                  <a:pt x="3687" y="4946"/>
                  <a:pt x="3610" y="4951"/>
                  <a:pt x="3641" y="4915"/>
                </a:cubicBezTo>
                <a:cubicBezTo>
                  <a:pt x="3659" y="4894"/>
                  <a:pt x="3754" y="4933"/>
                  <a:pt x="3758" y="4951"/>
                </a:cubicBezTo>
                <a:cubicBezTo>
                  <a:pt x="3760" y="4960"/>
                  <a:pt x="3735" y="4969"/>
                  <a:pt x="3733" y="4978"/>
                </a:cubicBezTo>
                <a:cubicBezTo>
                  <a:pt x="3750" y="5005"/>
                  <a:pt x="3775" y="5000"/>
                  <a:pt x="3789" y="5027"/>
                </a:cubicBezTo>
                <a:cubicBezTo>
                  <a:pt x="3776" y="5038"/>
                  <a:pt x="3774" y="5049"/>
                  <a:pt x="3782" y="5062"/>
                </a:cubicBezTo>
                <a:cubicBezTo>
                  <a:pt x="3791" y="5070"/>
                  <a:pt x="3798" y="5079"/>
                  <a:pt x="3805" y="5088"/>
                </a:cubicBezTo>
                <a:cubicBezTo>
                  <a:pt x="3792" y="5099"/>
                  <a:pt x="3777" y="5103"/>
                  <a:pt x="3761" y="5099"/>
                </a:cubicBezTo>
                <a:cubicBezTo>
                  <a:pt x="3758" y="5099"/>
                  <a:pt x="3776" y="5098"/>
                  <a:pt x="3761" y="5099"/>
                </a:cubicBezTo>
                <a:close/>
                <a:moveTo>
                  <a:pt x="3804" y="4816"/>
                </a:moveTo>
                <a:cubicBezTo>
                  <a:pt x="3811" y="4794"/>
                  <a:pt x="3833" y="4783"/>
                  <a:pt x="3855" y="4784"/>
                </a:cubicBezTo>
                <a:cubicBezTo>
                  <a:pt x="3846" y="4791"/>
                  <a:pt x="3851" y="4823"/>
                  <a:pt x="3843" y="4826"/>
                </a:cubicBezTo>
                <a:cubicBezTo>
                  <a:pt x="3834" y="4830"/>
                  <a:pt x="3795" y="4839"/>
                  <a:pt x="3804" y="4816"/>
                </a:cubicBezTo>
                <a:cubicBezTo>
                  <a:pt x="3811" y="4796"/>
                  <a:pt x="3801" y="4824"/>
                  <a:pt x="3804" y="4816"/>
                </a:cubicBezTo>
                <a:close/>
                <a:moveTo>
                  <a:pt x="3824" y="5129"/>
                </a:moveTo>
                <a:cubicBezTo>
                  <a:pt x="3828" y="5117"/>
                  <a:pt x="3820" y="5091"/>
                  <a:pt x="3849" y="5106"/>
                </a:cubicBezTo>
                <a:cubicBezTo>
                  <a:pt x="3848" y="5123"/>
                  <a:pt x="3842" y="5132"/>
                  <a:pt x="3824" y="5129"/>
                </a:cubicBezTo>
                <a:close/>
                <a:moveTo>
                  <a:pt x="3930" y="5147"/>
                </a:moveTo>
                <a:cubicBezTo>
                  <a:pt x="3882" y="5146"/>
                  <a:pt x="3882" y="5088"/>
                  <a:pt x="3840" y="5086"/>
                </a:cubicBezTo>
                <a:cubicBezTo>
                  <a:pt x="3857" y="5087"/>
                  <a:pt x="3895" y="5098"/>
                  <a:pt x="3907" y="5109"/>
                </a:cubicBezTo>
                <a:cubicBezTo>
                  <a:pt x="3911" y="5112"/>
                  <a:pt x="3948" y="5147"/>
                  <a:pt x="3930" y="5147"/>
                </a:cubicBezTo>
                <a:cubicBezTo>
                  <a:pt x="3903" y="5146"/>
                  <a:pt x="3932" y="5147"/>
                  <a:pt x="3930" y="5147"/>
                </a:cubicBezTo>
                <a:close/>
                <a:moveTo>
                  <a:pt x="3917" y="5074"/>
                </a:moveTo>
                <a:cubicBezTo>
                  <a:pt x="3888" y="5072"/>
                  <a:pt x="3860" y="5065"/>
                  <a:pt x="3830" y="5062"/>
                </a:cubicBezTo>
                <a:cubicBezTo>
                  <a:pt x="3853" y="5049"/>
                  <a:pt x="3887" y="5031"/>
                  <a:pt x="3914" y="5041"/>
                </a:cubicBezTo>
                <a:cubicBezTo>
                  <a:pt x="3941" y="5051"/>
                  <a:pt x="3960" y="5079"/>
                  <a:pt x="3917" y="5074"/>
                </a:cubicBezTo>
                <a:cubicBezTo>
                  <a:pt x="3901" y="5073"/>
                  <a:pt x="3934" y="5076"/>
                  <a:pt x="3917" y="5074"/>
                </a:cubicBezTo>
                <a:close/>
                <a:moveTo>
                  <a:pt x="3981" y="4864"/>
                </a:moveTo>
                <a:cubicBezTo>
                  <a:pt x="3946" y="4812"/>
                  <a:pt x="3920" y="4861"/>
                  <a:pt x="3879" y="4866"/>
                </a:cubicBezTo>
                <a:cubicBezTo>
                  <a:pt x="3853" y="4870"/>
                  <a:pt x="3830" y="4878"/>
                  <a:pt x="3854" y="4846"/>
                </a:cubicBezTo>
                <a:cubicBezTo>
                  <a:pt x="3867" y="4828"/>
                  <a:pt x="3938" y="4810"/>
                  <a:pt x="3959" y="4813"/>
                </a:cubicBezTo>
                <a:cubicBezTo>
                  <a:pt x="3978" y="4815"/>
                  <a:pt x="3989" y="4807"/>
                  <a:pt x="4001" y="4825"/>
                </a:cubicBezTo>
                <a:cubicBezTo>
                  <a:pt x="4009" y="4836"/>
                  <a:pt x="3999" y="4891"/>
                  <a:pt x="3981" y="4864"/>
                </a:cubicBezTo>
                <a:cubicBezTo>
                  <a:pt x="3944" y="4808"/>
                  <a:pt x="3990" y="4878"/>
                  <a:pt x="3981" y="4864"/>
                </a:cubicBezTo>
                <a:close/>
                <a:moveTo>
                  <a:pt x="4044" y="5003"/>
                </a:moveTo>
                <a:cubicBezTo>
                  <a:pt x="4086" y="5010"/>
                  <a:pt x="4112" y="5025"/>
                  <a:pt x="4148" y="5042"/>
                </a:cubicBezTo>
                <a:cubicBezTo>
                  <a:pt x="4176" y="5056"/>
                  <a:pt x="4220" y="5071"/>
                  <a:pt x="4245" y="5089"/>
                </a:cubicBezTo>
                <a:cubicBezTo>
                  <a:pt x="4209" y="5098"/>
                  <a:pt x="4163" y="5119"/>
                  <a:pt x="4125" y="5119"/>
                </a:cubicBezTo>
                <a:cubicBezTo>
                  <a:pt x="4092" y="5120"/>
                  <a:pt x="4064" y="5099"/>
                  <a:pt x="4021" y="5099"/>
                </a:cubicBezTo>
                <a:cubicBezTo>
                  <a:pt x="4037" y="5099"/>
                  <a:pt x="4105" y="5114"/>
                  <a:pt x="4114" y="5091"/>
                </a:cubicBezTo>
                <a:cubicBezTo>
                  <a:pt x="4078" y="5072"/>
                  <a:pt x="4030" y="5098"/>
                  <a:pt x="4005" y="5057"/>
                </a:cubicBezTo>
                <a:cubicBezTo>
                  <a:pt x="3988" y="5030"/>
                  <a:pt x="3994" y="4995"/>
                  <a:pt x="4044" y="5003"/>
                </a:cubicBezTo>
                <a:cubicBezTo>
                  <a:pt x="4085" y="5010"/>
                  <a:pt x="3998" y="4995"/>
                  <a:pt x="4044" y="5003"/>
                </a:cubicBezTo>
                <a:close/>
                <a:moveTo>
                  <a:pt x="4204" y="5221"/>
                </a:moveTo>
                <a:cubicBezTo>
                  <a:pt x="4127" y="5247"/>
                  <a:pt x="4062" y="5214"/>
                  <a:pt x="3994" y="5204"/>
                </a:cubicBezTo>
                <a:cubicBezTo>
                  <a:pt x="4104" y="5191"/>
                  <a:pt x="4148" y="5194"/>
                  <a:pt x="4204" y="5221"/>
                </a:cubicBezTo>
                <a:close/>
                <a:moveTo>
                  <a:pt x="4119" y="6288"/>
                </a:moveTo>
                <a:cubicBezTo>
                  <a:pt x="4081" y="6296"/>
                  <a:pt x="3976" y="6269"/>
                  <a:pt x="4070" y="6256"/>
                </a:cubicBezTo>
                <a:cubicBezTo>
                  <a:pt x="4080" y="6255"/>
                  <a:pt x="4151" y="6260"/>
                  <a:pt x="4154" y="6262"/>
                </a:cubicBezTo>
                <a:cubicBezTo>
                  <a:pt x="4189" y="6288"/>
                  <a:pt x="4148" y="6282"/>
                  <a:pt x="4119" y="6288"/>
                </a:cubicBezTo>
                <a:cubicBezTo>
                  <a:pt x="4113" y="6289"/>
                  <a:pt x="4137" y="6284"/>
                  <a:pt x="4119" y="6288"/>
                </a:cubicBezTo>
                <a:close/>
                <a:moveTo>
                  <a:pt x="4013" y="5572"/>
                </a:moveTo>
                <a:cubicBezTo>
                  <a:pt x="4091" y="5555"/>
                  <a:pt x="4120" y="5559"/>
                  <a:pt x="4217" y="5591"/>
                </a:cubicBezTo>
                <a:cubicBezTo>
                  <a:pt x="4143" y="5603"/>
                  <a:pt x="4079" y="5582"/>
                  <a:pt x="4013" y="5572"/>
                </a:cubicBezTo>
                <a:close/>
                <a:moveTo>
                  <a:pt x="4373" y="6309"/>
                </a:moveTo>
                <a:cubicBezTo>
                  <a:pt x="4355" y="6305"/>
                  <a:pt x="4336" y="6296"/>
                  <a:pt x="4317" y="6293"/>
                </a:cubicBezTo>
                <a:cubicBezTo>
                  <a:pt x="4303" y="6291"/>
                  <a:pt x="4256" y="6303"/>
                  <a:pt x="4247" y="6301"/>
                </a:cubicBezTo>
                <a:cubicBezTo>
                  <a:pt x="4230" y="6296"/>
                  <a:pt x="4194" y="6305"/>
                  <a:pt x="4238" y="6268"/>
                </a:cubicBezTo>
                <a:cubicBezTo>
                  <a:pt x="4257" y="6253"/>
                  <a:pt x="4365" y="6244"/>
                  <a:pt x="4385" y="6258"/>
                </a:cubicBezTo>
                <a:cubicBezTo>
                  <a:pt x="4402" y="6271"/>
                  <a:pt x="4411" y="6318"/>
                  <a:pt x="4373" y="6309"/>
                </a:cubicBezTo>
                <a:cubicBezTo>
                  <a:pt x="4326" y="6298"/>
                  <a:pt x="4386" y="6312"/>
                  <a:pt x="4373" y="6309"/>
                </a:cubicBezTo>
                <a:close/>
                <a:moveTo>
                  <a:pt x="4439" y="5385"/>
                </a:moveTo>
                <a:cubicBezTo>
                  <a:pt x="4434" y="5385"/>
                  <a:pt x="4429" y="5385"/>
                  <a:pt x="4424" y="5385"/>
                </a:cubicBezTo>
                <a:cubicBezTo>
                  <a:pt x="4438" y="5381"/>
                  <a:pt x="4446" y="5386"/>
                  <a:pt x="4448" y="5402"/>
                </a:cubicBezTo>
                <a:cubicBezTo>
                  <a:pt x="4445" y="5396"/>
                  <a:pt x="4442" y="5391"/>
                  <a:pt x="4439" y="5385"/>
                </a:cubicBezTo>
                <a:cubicBezTo>
                  <a:pt x="4434" y="5385"/>
                  <a:pt x="4441" y="5393"/>
                  <a:pt x="4439" y="5385"/>
                </a:cubicBezTo>
                <a:close/>
                <a:moveTo>
                  <a:pt x="4517" y="5406"/>
                </a:moveTo>
                <a:cubicBezTo>
                  <a:pt x="4519" y="5409"/>
                  <a:pt x="4520" y="5413"/>
                  <a:pt x="4522" y="5418"/>
                </a:cubicBezTo>
                <a:cubicBezTo>
                  <a:pt x="4520" y="5413"/>
                  <a:pt x="4519" y="5409"/>
                  <a:pt x="4517" y="5406"/>
                </a:cubicBezTo>
                <a:close/>
                <a:moveTo>
                  <a:pt x="4609" y="5351"/>
                </a:moveTo>
                <a:cubicBezTo>
                  <a:pt x="4605" y="5346"/>
                  <a:pt x="4600" y="5341"/>
                  <a:pt x="4596" y="5336"/>
                </a:cubicBezTo>
                <a:cubicBezTo>
                  <a:pt x="4611" y="5346"/>
                  <a:pt x="4615" y="5351"/>
                  <a:pt x="4609" y="5351"/>
                </a:cubicBezTo>
                <a:close/>
                <a:moveTo>
                  <a:pt x="4651" y="5369"/>
                </a:moveTo>
                <a:cubicBezTo>
                  <a:pt x="4641" y="5367"/>
                  <a:pt x="4632" y="5364"/>
                  <a:pt x="4623" y="5361"/>
                </a:cubicBezTo>
                <a:cubicBezTo>
                  <a:pt x="4665" y="5373"/>
                  <a:pt x="4665" y="5341"/>
                  <a:pt x="4702" y="5321"/>
                </a:cubicBezTo>
                <a:cubicBezTo>
                  <a:pt x="4682" y="5332"/>
                  <a:pt x="4661" y="5347"/>
                  <a:pt x="4651" y="5369"/>
                </a:cubicBezTo>
                <a:cubicBezTo>
                  <a:pt x="4714" y="5357"/>
                  <a:pt x="4777" y="5355"/>
                  <a:pt x="4840" y="5371"/>
                </a:cubicBezTo>
                <a:cubicBezTo>
                  <a:pt x="4777" y="5355"/>
                  <a:pt x="4714" y="5357"/>
                  <a:pt x="4651" y="5369"/>
                </a:cubicBezTo>
                <a:cubicBezTo>
                  <a:pt x="4641" y="5367"/>
                  <a:pt x="4709" y="5358"/>
                  <a:pt x="4651" y="5369"/>
                </a:cubicBezTo>
                <a:close/>
                <a:moveTo>
                  <a:pt x="4907" y="5954"/>
                </a:moveTo>
                <a:cubicBezTo>
                  <a:pt x="4857" y="5962"/>
                  <a:pt x="4885" y="5933"/>
                  <a:pt x="4852" y="5925"/>
                </a:cubicBezTo>
                <a:cubicBezTo>
                  <a:pt x="4839" y="5922"/>
                  <a:pt x="4813" y="5931"/>
                  <a:pt x="4802" y="5925"/>
                </a:cubicBezTo>
                <a:cubicBezTo>
                  <a:pt x="4769" y="5908"/>
                  <a:pt x="4741" y="5898"/>
                  <a:pt x="4798" y="5893"/>
                </a:cubicBezTo>
                <a:cubicBezTo>
                  <a:pt x="4844" y="5889"/>
                  <a:pt x="4830" y="5911"/>
                  <a:pt x="4858" y="5925"/>
                </a:cubicBezTo>
                <a:cubicBezTo>
                  <a:pt x="4847" y="5920"/>
                  <a:pt x="4954" y="5946"/>
                  <a:pt x="4907" y="5954"/>
                </a:cubicBezTo>
                <a:cubicBezTo>
                  <a:pt x="4882" y="5958"/>
                  <a:pt x="4910" y="5953"/>
                  <a:pt x="4907" y="5954"/>
                </a:cubicBezTo>
                <a:close/>
                <a:moveTo>
                  <a:pt x="4955" y="5491"/>
                </a:moveTo>
                <a:cubicBezTo>
                  <a:pt x="4934" y="5486"/>
                  <a:pt x="4731" y="5506"/>
                  <a:pt x="4813" y="5448"/>
                </a:cubicBezTo>
                <a:cubicBezTo>
                  <a:pt x="4878" y="5402"/>
                  <a:pt x="5008" y="5473"/>
                  <a:pt x="5070" y="5490"/>
                </a:cubicBezTo>
                <a:cubicBezTo>
                  <a:pt x="5032" y="5495"/>
                  <a:pt x="4992" y="5499"/>
                  <a:pt x="4955" y="5491"/>
                </a:cubicBezTo>
                <a:cubicBezTo>
                  <a:pt x="4917" y="5482"/>
                  <a:pt x="4993" y="5500"/>
                  <a:pt x="4955" y="5491"/>
                </a:cubicBezTo>
                <a:close/>
                <a:moveTo>
                  <a:pt x="5055" y="5785"/>
                </a:moveTo>
                <a:cubicBezTo>
                  <a:pt x="5031" y="5801"/>
                  <a:pt x="5011" y="5781"/>
                  <a:pt x="4992" y="5770"/>
                </a:cubicBezTo>
                <a:cubicBezTo>
                  <a:pt x="5006" y="5764"/>
                  <a:pt x="5079" y="5768"/>
                  <a:pt x="5055" y="5785"/>
                </a:cubicBezTo>
                <a:cubicBezTo>
                  <a:pt x="5030" y="5802"/>
                  <a:pt x="5057" y="5783"/>
                  <a:pt x="5055" y="5785"/>
                </a:cubicBezTo>
                <a:close/>
                <a:moveTo>
                  <a:pt x="5031" y="5558"/>
                </a:moveTo>
                <a:cubicBezTo>
                  <a:pt x="4999" y="5558"/>
                  <a:pt x="5043" y="5530"/>
                  <a:pt x="5044" y="5529"/>
                </a:cubicBezTo>
                <a:cubicBezTo>
                  <a:pt x="5059" y="5520"/>
                  <a:pt x="5127" y="5526"/>
                  <a:pt x="5142" y="5529"/>
                </a:cubicBezTo>
                <a:cubicBezTo>
                  <a:pt x="5245" y="5555"/>
                  <a:pt x="5062" y="5559"/>
                  <a:pt x="5031" y="5558"/>
                </a:cubicBezTo>
                <a:cubicBezTo>
                  <a:pt x="5024" y="5558"/>
                  <a:pt x="5080" y="5559"/>
                  <a:pt x="5031" y="5558"/>
                </a:cubicBezTo>
                <a:close/>
                <a:moveTo>
                  <a:pt x="5136" y="6255"/>
                </a:moveTo>
                <a:cubicBezTo>
                  <a:pt x="5176" y="6212"/>
                  <a:pt x="5206" y="6212"/>
                  <a:pt x="5263" y="6255"/>
                </a:cubicBezTo>
                <a:cubicBezTo>
                  <a:pt x="5219" y="6255"/>
                  <a:pt x="5179" y="6255"/>
                  <a:pt x="5136" y="6255"/>
                </a:cubicBezTo>
                <a:close/>
                <a:moveTo>
                  <a:pt x="5202" y="5567"/>
                </a:moveTo>
                <a:cubicBezTo>
                  <a:pt x="5155" y="5520"/>
                  <a:pt x="5340" y="5567"/>
                  <a:pt x="5346" y="5568"/>
                </a:cubicBezTo>
                <a:cubicBezTo>
                  <a:pt x="5314" y="5588"/>
                  <a:pt x="5232" y="5597"/>
                  <a:pt x="5202" y="5567"/>
                </a:cubicBezTo>
                <a:cubicBezTo>
                  <a:pt x="5196" y="5561"/>
                  <a:pt x="5224" y="5589"/>
                  <a:pt x="5202" y="5567"/>
                </a:cubicBezTo>
                <a:close/>
                <a:moveTo>
                  <a:pt x="5221" y="5474"/>
                </a:moveTo>
                <a:cubicBezTo>
                  <a:pt x="5320" y="5480"/>
                  <a:pt x="5419" y="5470"/>
                  <a:pt x="5517" y="5486"/>
                </a:cubicBezTo>
                <a:cubicBezTo>
                  <a:pt x="5418" y="5489"/>
                  <a:pt x="5318" y="5511"/>
                  <a:pt x="5221" y="5474"/>
                </a:cubicBezTo>
                <a:close/>
                <a:moveTo>
                  <a:pt x="5526" y="5437"/>
                </a:moveTo>
                <a:cubicBezTo>
                  <a:pt x="5574" y="5428"/>
                  <a:pt x="5623" y="5425"/>
                  <a:pt x="5671" y="5440"/>
                </a:cubicBezTo>
                <a:cubicBezTo>
                  <a:pt x="5623" y="5453"/>
                  <a:pt x="5575" y="5455"/>
                  <a:pt x="5526" y="5437"/>
                </a:cubicBezTo>
                <a:close/>
                <a:moveTo>
                  <a:pt x="5932" y="6356"/>
                </a:moveTo>
                <a:cubicBezTo>
                  <a:pt x="5905" y="6354"/>
                  <a:pt x="5881" y="6339"/>
                  <a:pt x="5859" y="6332"/>
                </a:cubicBezTo>
                <a:cubicBezTo>
                  <a:pt x="5823" y="6320"/>
                  <a:pt x="5772" y="6315"/>
                  <a:pt x="5736" y="6291"/>
                </a:cubicBezTo>
                <a:cubicBezTo>
                  <a:pt x="5770" y="6305"/>
                  <a:pt x="5807" y="6285"/>
                  <a:pt x="5843" y="6298"/>
                </a:cubicBezTo>
                <a:cubicBezTo>
                  <a:pt x="5848" y="6306"/>
                  <a:pt x="5852" y="6313"/>
                  <a:pt x="5857" y="6320"/>
                </a:cubicBezTo>
                <a:cubicBezTo>
                  <a:pt x="5875" y="6322"/>
                  <a:pt x="5893" y="6323"/>
                  <a:pt x="5911" y="6322"/>
                </a:cubicBezTo>
                <a:cubicBezTo>
                  <a:pt x="5933" y="6333"/>
                  <a:pt x="5934" y="6324"/>
                  <a:pt x="5932" y="6356"/>
                </a:cubicBezTo>
                <a:cubicBezTo>
                  <a:pt x="5925" y="6355"/>
                  <a:pt x="5933" y="6339"/>
                  <a:pt x="5932" y="6356"/>
                </a:cubicBezTo>
                <a:close/>
                <a:moveTo>
                  <a:pt x="5943" y="6288"/>
                </a:moveTo>
                <a:cubicBezTo>
                  <a:pt x="5918" y="6263"/>
                  <a:pt x="5816" y="6257"/>
                  <a:pt x="5834" y="6215"/>
                </a:cubicBezTo>
                <a:cubicBezTo>
                  <a:pt x="5837" y="6206"/>
                  <a:pt x="5880" y="6188"/>
                  <a:pt x="5888" y="6190"/>
                </a:cubicBezTo>
                <a:cubicBezTo>
                  <a:pt x="5930" y="6200"/>
                  <a:pt x="5897" y="6213"/>
                  <a:pt x="5889" y="6229"/>
                </a:cubicBezTo>
                <a:cubicBezTo>
                  <a:pt x="5947" y="6264"/>
                  <a:pt x="6026" y="6244"/>
                  <a:pt x="6075" y="6296"/>
                </a:cubicBezTo>
                <a:cubicBezTo>
                  <a:pt x="6018" y="6332"/>
                  <a:pt x="5992" y="6337"/>
                  <a:pt x="5943" y="6288"/>
                </a:cubicBezTo>
                <a:cubicBezTo>
                  <a:pt x="5920" y="6264"/>
                  <a:pt x="5995" y="6340"/>
                  <a:pt x="5943" y="6288"/>
                </a:cubicBezTo>
                <a:close/>
                <a:moveTo>
                  <a:pt x="6109" y="5639"/>
                </a:moveTo>
                <a:cubicBezTo>
                  <a:pt x="6113" y="5637"/>
                  <a:pt x="6117" y="5636"/>
                  <a:pt x="6121" y="5636"/>
                </a:cubicBezTo>
                <a:cubicBezTo>
                  <a:pt x="6117" y="5636"/>
                  <a:pt x="6113" y="5637"/>
                  <a:pt x="6109" y="5639"/>
                </a:cubicBezTo>
                <a:close/>
                <a:moveTo>
                  <a:pt x="5939" y="4889"/>
                </a:moveTo>
                <a:cubicBezTo>
                  <a:pt x="5883" y="4875"/>
                  <a:pt x="5903" y="4925"/>
                  <a:pt x="5855" y="4873"/>
                </a:cubicBezTo>
                <a:cubicBezTo>
                  <a:pt x="5912" y="4846"/>
                  <a:pt x="5859" y="4769"/>
                  <a:pt x="5827" y="4750"/>
                </a:cubicBezTo>
                <a:cubicBezTo>
                  <a:pt x="5852" y="4741"/>
                  <a:pt x="5851" y="4766"/>
                  <a:pt x="5853" y="4766"/>
                </a:cubicBezTo>
                <a:cubicBezTo>
                  <a:pt x="5866" y="4766"/>
                  <a:pt x="5898" y="4767"/>
                  <a:pt x="5917" y="4765"/>
                </a:cubicBezTo>
                <a:cubicBezTo>
                  <a:pt x="5905" y="4749"/>
                  <a:pt x="5882" y="4751"/>
                  <a:pt x="5866" y="4753"/>
                </a:cubicBezTo>
                <a:cubicBezTo>
                  <a:pt x="5881" y="4751"/>
                  <a:pt x="5883" y="4740"/>
                  <a:pt x="5897" y="4737"/>
                </a:cubicBezTo>
                <a:cubicBezTo>
                  <a:pt x="5915" y="4735"/>
                  <a:pt x="5944" y="4741"/>
                  <a:pt x="5962" y="4741"/>
                </a:cubicBezTo>
                <a:cubicBezTo>
                  <a:pt x="6012" y="4742"/>
                  <a:pt x="6046" y="4744"/>
                  <a:pt x="6083" y="4787"/>
                </a:cubicBezTo>
                <a:cubicBezTo>
                  <a:pt x="6099" y="4806"/>
                  <a:pt x="6123" y="4810"/>
                  <a:pt x="6090" y="4829"/>
                </a:cubicBezTo>
                <a:cubicBezTo>
                  <a:pt x="6074" y="4838"/>
                  <a:pt x="5951" y="4817"/>
                  <a:pt x="5933" y="4805"/>
                </a:cubicBezTo>
                <a:cubicBezTo>
                  <a:pt x="5937" y="4836"/>
                  <a:pt x="5955" y="4829"/>
                  <a:pt x="5978" y="4835"/>
                </a:cubicBezTo>
                <a:cubicBezTo>
                  <a:pt x="5973" y="4881"/>
                  <a:pt x="6055" y="4883"/>
                  <a:pt x="6092" y="4883"/>
                </a:cubicBezTo>
                <a:cubicBezTo>
                  <a:pt x="6163" y="4881"/>
                  <a:pt x="6199" y="4865"/>
                  <a:pt x="6269" y="4891"/>
                </a:cubicBezTo>
                <a:cubicBezTo>
                  <a:pt x="6356" y="4922"/>
                  <a:pt x="6507" y="4937"/>
                  <a:pt x="6587" y="4872"/>
                </a:cubicBezTo>
                <a:cubicBezTo>
                  <a:pt x="6562" y="4861"/>
                  <a:pt x="6519" y="4874"/>
                  <a:pt x="6529" y="4830"/>
                </a:cubicBezTo>
                <a:cubicBezTo>
                  <a:pt x="6571" y="4834"/>
                  <a:pt x="6613" y="4838"/>
                  <a:pt x="6655" y="4841"/>
                </a:cubicBezTo>
                <a:cubicBezTo>
                  <a:pt x="6634" y="4807"/>
                  <a:pt x="6598" y="4832"/>
                  <a:pt x="6609" y="4784"/>
                </a:cubicBezTo>
                <a:cubicBezTo>
                  <a:pt x="6639" y="4798"/>
                  <a:pt x="6703" y="4821"/>
                  <a:pt x="6730" y="4822"/>
                </a:cubicBezTo>
                <a:cubicBezTo>
                  <a:pt x="6741" y="4822"/>
                  <a:pt x="6741" y="4834"/>
                  <a:pt x="6757" y="4826"/>
                </a:cubicBezTo>
                <a:cubicBezTo>
                  <a:pt x="6771" y="4818"/>
                  <a:pt x="6741" y="4803"/>
                  <a:pt x="6735" y="4804"/>
                </a:cubicBezTo>
                <a:cubicBezTo>
                  <a:pt x="6746" y="4788"/>
                  <a:pt x="6811" y="4787"/>
                  <a:pt x="6824" y="4791"/>
                </a:cubicBezTo>
                <a:cubicBezTo>
                  <a:pt x="6828" y="4803"/>
                  <a:pt x="6822" y="4807"/>
                  <a:pt x="6805" y="4803"/>
                </a:cubicBezTo>
                <a:cubicBezTo>
                  <a:pt x="6813" y="4805"/>
                  <a:pt x="6974" y="4855"/>
                  <a:pt x="6941" y="4795"/>
                </a:cubicBezTo>
                <a:cubicBezTo>
                  <a:pt x="6966" y="4807"/>
                  <a:pt x="6999" y="4751"/>
                  <a:pt x="6962" y="4760"/>
                </a:cubicBezTo>
                <a:cubicBezTo>
                  <a:pt x="6985" y="4755"/>
                  <a:pt x="7031" y="4773"/>
                  <a:pt x="7035" y="4799"/>
                </a:cubicBezTo>
                <a:cubicBezTo>
                  <a:pt x="6974" y="4809"/>
                  <a:pt x="7017" y="4817"/>
                  <a:pt x="7042" y="4825"/>
                </a:cubicBezTo>
                <a:cubicBezTo>
                  <a:pt x="7080" y="4836"/>
                  <a:pt x="7128" y="4835"/>
                  <a:pt x="7167" y="4833"/>
                </a:cubicBezTo>
                <a:cubicBezTo>
                  <a:pt x="7159" y="4874"/>
                  <a:pt x="7121" y="4845"/>
                  <a:pt x="7098" y="4861"/>
                </a:cubicBezTo>
                <a:cubicBezTo>
                  <a:pt x="7110" y="4871"/>
                  <a:pt x="7114" y="4884"/>
                  <a:pt x="7111" y="4899"/>
                </a:cubicBezTo>
                <a:cubicBezTo>
                  <a:pt x="7064" y="4899"/>
                  <a:pt x="7016" y="4899"/>
                  <a:pt x="6969" y="4899"/>
                </a:cubicBezTo>
                <a:cubicBezTo>
                  <a:pt x="7002" y="4923"/>
                  <a:pt x="7075" y="4917"/>
                  <a:pt x="7114" y="4913"/>
                </a:cubicBezTo>
                <a:cubicBezTo>
                  <a:pt x="7136" y="4911"/>
                  <a:pt x="7159" y="4905"/>
                  <a:pt x="7180" y="4900"/>
                </a:cubicBezTo>
                <a:cubicBezTo>
                  <a:pt x="7220" y="4890"/>
                  <a:pt x="7253" y="4884"/>
                  <a:pt x="7300" y="4884"/>
                </a:cubicBezTo>
                <a:cubicBezTo>
                  <a:pt x="7301" y="4916"/>
                  <a:pt x="7293" y="4940"/>
                  <a:pt x="7254" y="4932"/>
                </a:cubicBezTo>
                <a:cubicBezTo>
                  <a:pt x="7261" y="4952"/>
                  <a:pt x="7288" y="4939"/>
                  <a:pt x="7291" y="4962"/>
                </a:cubicBezTo>
                <a:cubicBezTo>
                  <a:pt x="7276" y="4976"/>
                  <a:pt x="7240" y="4963"/>
                  <a:pt x="7267" y="4997"/>
                </a:cubicBezTo>
                <a:cubicBezTo>
                  <a:pt x="7222" y="4991"/>
                  <a:pt x="7173" y="5016"/>
                  <a:pt x="7141" y="4971"/>
                </a:cubicBezTo>
                <a:cubicBezTo>
                  <a:pt x="7097" y="5007"/>
                  <a:pt x="7170" y="4988"/>
                  <a:pt x="7099" y="5025"/>
                </a:cubicBezTo>
                <a:cubicBezTo>
                  <a:pt x="7075" y="5038"/>
                  <a:pt x="7036" y="5033"/>
                  <a:pt x="7010" y="5033"/>
                </a:cubicBezTo>
                <a:cubicBezTo>
                  <a:pt x="6961" y="5033"/>
                  <a:pt x="6939" y="5039"/>
                  <a:pt x="6909" y="5006"/>
                </a:cubicBezTo>
                <a:cubicBezTo>
                  <a:pt x="6918" y="5014"/>
                  <a:pt x="6981" y="5011"/>
                  <a:pt x="6996" y="5011"/>
                </a:cubicBezTo>
                <a:cubicBezTo>
                  <a:pt x="7035" y="5010"/>
                  <a:pt x="7036" y="5017"/>
                  <a:pt x="7074" y="4993"/>
                </a:cubicBezTo>
                <a:cubicBezTo>
                  <a:pt x="6992" y="4980"/>
                  <a:pt x="6906" y="5003"/>
                  <a:pt x="6825" y="4979"/>
                </a:cubicBezTo>
                <a:cubicBezTo>
                  <a:pt x="6873" y="4945"/>
                  <a:pt x="6915" y="4983"/>
                  <a:pt x="6962" y="4939"/>
                </a:cubicBezTo>
                <a:cubicBezTo>
                  <a:pt x="6949" y="4933"/>
                  <a:pt x="6922" y="4911"/>
                  <a:pt x="6906" y="4911"/>
                </a:cubicBezTo>
                <a:cubicBezTo>
                  <a:pt x="6887" y="4910"/>
                  <a:pt x="6879" y="4929"/>
                  <a:pt x="6860" y="4927"/>
                </a:cubicBezTo>
                <a:cubicBezTo>
                  <a:pt x="6849" y="4926"/>
                  <a:pt x="6812" y="4912"/>
                  <a:pt x="6812" y="4897"/>
                </a:cubicBezTo>
                <a:cubicBezTo>
                  <a:pt x="6812" y="4878"/>
                  <a:pt x="6851" y="4875"/>
                  <a:pt x="6861" y="4867"/>
                </a:cubicBezTo>
                <a:cubicBezTo>
                  <a:pt x="6812" y="4867"/>
                  <a:pt x="6733" y="4850"/>
                  <a:pt x="6688" y="4865"/>
                </a:cubicBezTo>
                <a:cubicBezTo>
                  <a:pt x="6678" y="4863"/>
                  <a:pt x="6669" y="4865"/>
                  <a:pt x="6661" y="4870"/>
                </a:cubicBezTo>
                <a:cubicBezTo>
                  <a:pt x="6649" y="4874"/>
                  <a:pt x="6646" y="4883"/>
                  <a:pt x="6652" y="4897"/>
                </a:cubicBezTo>
                <a:cubicBezTo>
                  <a:pt x="6641" y="4901"/>
                  <a:pt x="6614" y="4895"/>
                  <a:pt x="6608" y="4900"/>
                </a:cubicBezTo>
                <a:cubicBezTo>
                  <a:pt x="6600" y="4907"/>
                  <a:pt x="6575" y="4894"/>
                  <a:pt x="6578" y="4919"/>
                </a:cubicBezTo>
                <a:cubicBezTo>
                  <a:pt x="6581" y="4942"/>
                  <a:pt x="6598" y="4929"/>
                  <a:pt x="6611" y="4934"/>
                </a:cubicBezTo>
                <a:cubicBezTo>
                  <a:pt x="6618" y="4937"/>
                  <a:pt x="6721" y="4928"/>
                  <a:pt x="6682" y="4963"/>
                </a:cubicBezTo>
                <a:cubicBezTo>
                  <a:pt x="6660" y="4982"/>
                  <a:pt x="6545" y="4964"/>
                  <a:pt x="6515" y="4964"/>
                </a:cubicBezTo>
                <a:cubicBezTo>
                  <a:pt x="6454" y="4963"/>
                  <a:pt x="6390" y="4967"/>
                  <a:pt x="6331" y="4949"/>
                </a:cubicBezTo>
                <a:cubicBezTo>
                  <a:pt x="6264" y="4929"/>
                  <a:pt x="6221" y="4900"/>
                  <a:pt x="6149" y="4900"/>
                </a:cubicBezTo>
                <a:cubicBezTo>
                  <a:pt x="6080" y="4899"/>
                  <a:pt x="6007" y="4908"/>
                  <a:pt x="5939" y="4889"/>
                </a:cubicBezTo>
                <a:cubicBezTo>
                  <a:pt x="5918" y="4884"/>
                  <a:pt x="6015" y="4910"/>
                  <a:pt x="5939" y="4889"/>
                </a:cubicBezTo>
                <a:close/>
                <a:moveTo>
                  <a:pt x="6803" y="4953"/>
                </a:moveTo>
                <a:cubicBezTo>
                  <a:pt x="6798" y="4962"/>
                  <a:pt x="6790" y="4965"/>
                  <a:pt x="6780" y="4963"/>
                </a:cubicBezTo>
                <a:cubicBezTo>
                  <a:pt x="6783" y="4949"/>
                  <a:pt x="6788" y="4940"/>
                  <a:pt x="6803" y="4953"/>
                </a:cubicBezTo>
                <a:close/>
                <a:moveTo>
                  <a:pt x="6771" y="4967"/>
                </a:moveTo>
                <a:cubicBezTo>
                  <a:pt x="6768" y="5002"/>
                  <a:pt x="6716" y="4970"/>
                  <a:pt x="6771" y="4967"/>
                </a:cubicBezTo>
                <a:cubicBezTo>
                  <a:pt x="6770" y="4971"/>
                  <a:pt x="6760" y="4967"/>
                  <a:pt x="6771" y="4967"/>
                </a:cubicBezTo>
                <a:close/>
                <a:moveTo>
                  <a:pt x="6241" y="5263"/>
                </a:moveTo>
                <a:cubicBezTo>
                  <a:pt x="6241" y="5291"/>
                  <a:pt x="6193" y="5294"/>
                  <a:pt x="6195" y="5268"/>
                </a:cubicBezTo>
                <a:cubicBezTo>
                  <a:pt x="6196" y="5233"/>
                  <a:pt x="6240" y="5221"/>
                  <a:pt x="6241" y="5263"/>
                </a:cubicBezTo>
                <a:cubicBezTo>
                  <a:pt x="6241" y="5279"/>
                  <a:pt x="6240" y="5251"/>
                  <a:pt x="6241" y="5263"/>
                </a:cubicBezTo>
                <a:close/>
                <a:moveTo>
                  <a:pt x="6326" y="6289"/>
                </a:moveTo>
                <a:cubicBezTo>
                  <a:pt x="6291" y="6289"/>
                  <a:pt x="6255" y="6288"/>
                  <a:pt x="6221" y="6289"/>
                </a:cubicBezTo>
                <a:cubicBezTo>
                  <a:pt x="6218" y="6289"/>
                  <a:pt x="6112" y="6302"/>
                  <a:pt x="6154" y="6271"/>
                </a:cubicBezTo>
                <a:cubicBezTo>
                  <a:pt x="6179" y="6252"/>
                  <a:pt x="6268" y="6252"/>
                  <a:pt x="6297" y="6257"/>
                </a:cubicBezTo>
                <a:cubicBezTo>
                  <a:pt x="6309" y="6259"/>
                  <a:pt x="6378" y="6289"/>
                  <a:pt x="6326" y="6289"/>
                </a:cubicBezTo>
                <a:cubicBezTo>
                  <a:pt x="6297" y="6289"/>
                  <a:pt x="6336" y="6289"/>
                  <a:pt x="6326" y="6289"/>
                </a:cubicBezTo>
                <a:close/>
                <a:moveTo>
                  <a:pt x="6341" y="5228"/>
                </a:moveTo>
                <a:cubicBezTo>
                  <a:pt x="6359" y="5213"/>
                  <a:pt x="6371" y="5167"/>
                  <a:pt x="6400" y="5187"/>
                </a:cubicBezTo>
                <a:cubicBezTo>
                  <a:pt x="6447" y="5218"/>
                  <a:pt x="6349" y="5228"/>
                  <a:pt x="6341" y="5228"/>
                </a:cubicBezTo>
                <a:cubicBezTo>
                  <a:pt x="6364" y="5209"/>
                  <a:pt x="6370" y="5229"/>
                  <a:pt x="6341" y="5228"/>
                </a:cubicBezTo>
                <a:close/>
                <a:moveTo>
                  <a:pt x="6381" y="5302"/>
                </a:moveTo>
                <a:cubicBezTo>
                  <a:pt x="6396" y="5292"/>
                  <a:pt x="6412" y="5299"/>
                  <a:pt x="6427" y="5299"/>
                </a:cubicBezTo>
                <a:cubicBezTo>
                  <a:pt x="6410" y="5296"/>
                  <a:pt x="6414" y="5302"/>
                  <a:pt x="6440" y="5317"/>
                </a:cubicBezTo>
                <a:cubicBezTo>
                  <a:pt x="6419" y="5320"/>
                  <a:pt x="6396" y="5321"/>
                  <a:pt x="6381" y="5302"/>
                </a:cubicBezTo>
                <a:cubicBezTo>
                  <a:pt x="6394" y="5293"/>
                  <a:pt x="6397" y="5323"/>
                  <a:pt x="6381" y="5302"/>
                </a:cubicBezTo>
                <a:close/>
                <a:moveTo>
                  <a:pt x="6431" y="5162"/>
                </a:moveTo>
                <a:cubicBezTo>
                  <a:pt x="6523" y="5179"/>
                  <a:pt x="6623" y="5132"/>
                  <a:pt x="6705" y="5195"/>
                </a:cubicBezTo>
                <a:cubicBezTo>
                  <a:pt x="6697" y="5195"/>
                  <a:pt x="6626" y="5193"/>
                  <a:pt x="6620" y="5203"/>
                </a:cubicBezTo>
                <a:cubicBezTo>
                  <a:pt x="6620" y="5213"/>
                  <a:pt x="6623" y="5222"/>
                  <a:pt x="6629" y="5230"/>
                </a:cubicBezTo>
                <a:cubicBezTo>
                  <a:pt x="6558" y="5213"/>
                  <a:pt x="6472" y="5237"/>
                  <a:pt x="6431" y="5162"/>
                </a:cubicBezTo>
                <a:cubicBezTo>
                  <a:pt x="6525" y="5179"/>
                  <a:pt x="6472" y="5236"/>
                  <a:pt x="6431" y="5162"/>
                </a:cubicBezTo>
                <a:close/>
                <a:moveTo>
                  <a:pt x="6634" y="5315"/>
                </a:moveTo>
                <a:cubicBezTo>
                  <a:pt x="6642" y="5326"/>
                  <a:pt x="6640" y="5327"/>
                  <a:pt x="6636" y="5334"/>
                </a:cubicBezTo>
                <a:cubicBezTo>
                  <a:pt x="6641" y="5328"/>
                  <a:pt x="6640" y="5322"/>
                  <a:pt x="6634" y="5315"/>
                </a:cubicBezTo>
                <a:close/>
                <a:moveTo>
                  <a:pt x="6495" y="5307"/>
                </a:moveTo>
                <a:cubicBezTo>
                  <a:pt x="6492" y="5308"/>
                  <a:pt x="6488" y="5309"/>
                  <a:pt x="6485" y="5310"/>
                </a:cubicBezTo>
                <a:cubicBezTo>
                  <a:pt x="6486" y="5300"/>
                  <a:pt x="6489" y="5299"/>
                  <a:pt x="6495" y="5307"/>
                </a:cubicBezTo>
                <a:close/>
                <a:moveTo>
                  <a:pt x="6492" y="5327"/>
                </a:moveTo>
                <a:cubicBezTo>
                  <a:pt x="6497" y="5320"/>
                  <a:pt x="6502" y="5320"/>
                  <a:pt x="6508" y="5326"/>
                </a:cubicBezTo>
                <a:cubicBezTo>
                  <a:pt x="6503" y="5327"/>
                  <a:pt x="6497" y="5327"/>
                  <a:pt x="6492" y="5327"/>
                </a:cubicBezTo>
                <a:close/>
                <a:moveTo>
                  <a:pt x="6542" y="5379"/>
                </a:moveTo>
                <a:cubicBezTo>
                  <a:pt x="6510" y="5374"/>
                  <a:pt x="6530" y="5330"/>
                  <a:pt x="6568" y="5337"/>
                </a:cubicBezTo>
                <a:cubicBezTo>
                  <a:pt x="6560" y="5335"/>
                  <a:pt x="6612" y="5367"/>
                  <a:pt x="6607" y="5363"/>
                </a:cubicBezTo>
                <a:cubicBezTo>
                  <a:pt x="6619" y="5373"/>
                  <a:pt x="6646" y="5353"/>
                  <a:pt x="6646" y="5381"/>
                </a:cubicBezTo>
                <a:cubicBezTo>
                  <a:pt x="6645" y="5410"/>
                  <a:pt x="6554" y="5380"/>
                  <a:pt x="6542" y="5379"/>
                </a:cubicBezTo>
                <a:cubicBezTo>
                  <a:pt x="6512" y="5375"/>
                  <a:pt x="6569" y="5382"/>
                  <a:pt x="6542" y="5379"/>
                </a:cubicBezTo>
                <a:close/>
                <a:moveTo>
                  <a:pt x="6581" y="5447"/>
                </a:moveTo>
                <a:cubicBezTo>
                  <a:pt x="6557" y="5433"/>
                  <a:pt x="6626" y="5408"/>
                  <a:pt x="6652" y="5424"/>
                </a:cubicBezTo>
                <a:cubicBezTo>
                  <a:pt x="6629" y="5435"/>
                  <a:pt x="6608" y="5463"/>
                  <a:pt x="6581" y="5447"/>
                </a:cubicBezTo>
                <a:cubicBezTo>
                  <a:pt x="6573" y="5442"/>
                  <a:pt x="6610" y="5464"/>
                  <a:pt x="6581" y="5447"/>
                </a:cubicBezTo>
                <a:close/>
                <a:moveTo>
                  <a:pt x="6702" y="5368"/>
                </a:moveTo>
                <a:cubicBezTo>
                  <a:pt x="6686" y="5362"/>
                  <a:pt x="6676" y="5358"/>
                  <a:pt x="6678" y="5341"/>
                </a:cubicBezTo>
                <a:cubicBezTo>
                  <a:pt x="6682" y="5313"/>
                  <a:pt x="6716" y="5341"/>
                  <a:pt x="6726" y="5341"/>
                </a:cubicBezTo>
                <a:cubicBezTo>
                  <a:pt x="6768" y="5342"/>
                  <a:pt x="6791" y="5345"/>
                  <a:pt x="6829" y="5366"/>
                </a:cubicBezTo>
                <a:cubicBezTo>
                  <a:pt x="6786" y="5357"/>
                  <a:pt x="6744" y="5385"/>
                  <a:pt x="6702" y="5368"/>
                </a:cubicBezTo>
                <a:cubicBezTo>
                  <a:pt x="6682" y="5360"/>
                  <a:pt x="6746" y="5386"/>
                  <a:pt x="6702" y="5368"/>
                </a:cubicBezTo>
                <a:close/>
                <a:moveTo>
                  <a:pt x="6853" y="5313"/>
                </a:moveTo>
                <a:cubicBezTo>
                  <a:pt x="6834" y="5314"/>
                  <a:pt x="6804" y="5307"/>
                  <a:pt x="6815" y="5282"/>
                </a:cubicBezTo>
                <a:cubicBezTo>
                  <a:pt x="6824" y="5260"/>
                  <a:pt x="6877" y="5262"/>
                  <a:pt x="6894" y="5260"/>
                </a:cubicBezTo>
                <a:cubicBezTo>
                  <a:pt x="6871" y="5258"/>
                  <a:pt x="6853" y="5245"/>
                  <a:pt x="6836" y="5230"/>
                </a:cubicBezTo>
                <a:cubicBezTo>
                  <a:pt x="6928" y="5149"/>
                  <a:pt x="7038" y="5325"/>
                  <a:pt x="7122" y="5323"/>
                </a:cubicBezTo>
                <a:cubicBezTo>
                  <a:pt x="7032" y="5345"/>
                  <a:pt x="6943" y="5312"/>
                  <a:pt x="6853" y="5313"/>
                </a:cubicBezTo>
                <a:cubicBezTo>
                  <a:pt x="6839" y="5314"/>
                  <a:pt x="6942" y="5312"/>
                  <a:pt x="6853" y="5313"/>
                </a:cubicBezTo>
                <a:close/>
                <a:moveTo>
                  <a:pt x="6941" y="5088"/>
                </a:moveTo>
                <a:cubicBezTo>
                  <a:pt x="6907" y="5091"/>
                  <a:pt x="6812" y="5106"/>
                  <a:pt x="6783" y="5095"/>
                </a:cubicBezTo>
                <a:cubicBezTo>
                  <a:pt x="6750" y="5084"/>
                  <a:pt x="6751" y="5080"/>
                  <a:pt x="6779" y="5065"/>
                </a:cubicBezTo>
                <a:cubicBezTo>
                  <a:pt x="6860" y="5022"/>
                  <a:pt x="7004" y="5061"/>
                  <a:pt x="7089" y="5066"/>
                </a:cubicBezTo>
                <a:cubicBezTo>
                  <a:pt x="7114" y="5068"/>
                  <a:pt x="7300" y="5053"/>
                  <a:pt x="7247" y="5097"/>
                </a:cubicBezTo>
                <a:cubicBezTo>
                  <a:pt x="7228" y="5113"/>
                  <a:pt x="7147" y="5098"/>
                  <a:pt x="7123" y="5096"/>
                </a:cubicBezTo>
                <a:cubicBezTo>
                  <a:pt x="7063" y="5091"/>
                  <a:pt x="7002" y="5081"/>
                  <a:pt x="6941" y="5088"/>
                </a:cubicBezTo>
                <a:cubicBezTo>
                  <a:pt x="6888" y="5093"/>
                  <a:pt x="7036" y="5078"/>
                  <a:pt x="6941" y="5088"/>
                </a:cubicBezTo>
                <a:close/>
                <a:moveTo>
                  <a:pt x="7413" y="6238"/>
                </a:moveTo>
                <a:cubicBezTo>
                  <a:pt x="7384" y="6224"/>
                  <a:pt x="7407" y="6201"/>
                  <a:pt x="7422" y="6191"/>
                </a:cubicBezTo>
                <a:cubicBezTo>
                  <a:pt x="7438" y="6181"/>
                  <a:pt x="7473" y="6199"/>
                  <a:pt x="7491" y="6197"/>
                </a:cubicBezTo>
                <a:cubicBezTo>
                  <a:pt x="7472" y="6224"/>
                  <a:pt x="7452" y="6257"/>
                  <a:pt x="7413" y="6238"/>
                </a:cubicBezTo>
                <a:cubicBezTo>
                  <a:pt x="7401" y="6232"/>
                  <a:pt x="7453" y="6258"/>
                  <a:pt x="7413" y="6238"/>
                </a:cubicBezTo>
                <a:close/>
                <a:moveTo>
                  <a:pt x="7553" y="6101"/>
                </a:moveTo>
                <a:cubicBezTo>
                  <a:pt x="7493" y="6104"/>
                  <a:pt x="7466" y="6122"/>
                  <a:pt x="7404" y="6122"/>
                </a:cubicBezTo>
                <a:cubicBezTo>
                  <a:pt x="7334" y="6123"/>
                  <a:pt x="7263" y="6118"/>
                  <a:pt x="7194" y="6128"/>
                </a:cubicBezTo>
                <a:cubicBezTo>
                  <a:pt x="7282" y="6115"/>
                  <a:pt x="7372" y="6126"/>
                  <a:pt x="7461" y="6121"/>
                </a:cubicBezTo>
                <a:cubicBezTo>
                  <a:pt x="7444" y="6076"/>
                  <a:pt x="7494" y="6051"/>
                  <a:pt x="7531" y="6081"/>
                </a:cubicBezTo>
                <a:cubicBezTo>
                  <a:pt x="7520" y="6100"/>
                  <a:pt x="7493" y="6080"/>
                  <a:pt x="7486" y="6105"/>
                </a:cubicBezTo>
                <a:cubicBezTo>
                  <a:pt x="7504" y="6103"/>
                  <a:pt x="7565" y="6088"/>
                  <a:pt x="7575" y="6100"/>
                </a:cubicBezTo>
                <a:cubicBezTo>
                  <a:pt x="7568" y="6112"/>
                  <a:pt x="7561" y="6112"/>
                  <a:pt x="7553" y="6101"/>
                </a:cubicBezTo>
                <a:cubicBezTo>
                  <a:pt x="7530" y="6102"/>
                  <a:pt x="7561" y="6112"/>
                  <a:pt x="7553" y="6101"/>
                </a:cubicBezTo>
                <a:close/>
                <a:moveTo>
                  <a:pt x="7663" y="6111"/>
                </a:moveTo>
                <a:cubicBezTo>
                  <a:pt x="7666" y="6085"/>
                  <a:pt x="7639" y="6096"/>
                  <a:pt x="7630" y="6080"/>
                </a:cubicBezTo>
                <a:cubicBezTo>
                  <a:pt x="7642" y="6060"/>
                  <a:pt x="7663" y="6080"/>
                  <a:pt x="7680" y="6073"/>
                </a:cubicBezTo>
                <a:cubicBezTo>
                  <a:pt x="7656" y="6006"/>
                  <a:pt x="7522" y="6025"/>
                  <a:pt x="7461" y="6019"/>
                </a:cubicBezTo>
                <a:cubicBezTo>
                  <a:pt x="7569" y="5978"/>
                  <a:pt x="7720" y="5989"/>
                  <a:pt x="7833" y="5988"/>
                </a:cubicBezTo>
                <a:cubicBezTo>
                  <a:pt x="7893" y="5987"/>
                  <a:pt x="7953" y="5987"/>
                  <a:pt x="8013" y="5976"/>
                </a:cubicBezTo>
                <a:cubicBezTo>
                  <a:pt x="8077" y="5965"/>
                  <a:pt x="8135" y="5945"/>
                  <a:pt x="8195" y="5983"/>
                </a:cubicBezTo>
                <a:cubicBezTo>
                  <a:pt x="8108" y="5999"/>
                  <a:pt x="8022" y="6013"/>
                  <a:pt x="7933" y="6020"/>
                </a:cubicBezTo>
                <a:cubicBezTo>
                  <a:pt x="7870" y="6025"/>
                  <a:pt x="7762" y="5983"/>
                  <a:pt x="7739" y="6067"/>
                </a:cubicBezTo>
                <a:cubicBezTo>
                  <a:pt x="7776" y="6071"/>
                  <a:pt x="7841" y="6044"/>
                  <a:pt x="7869" y="6055"/>
                </a:cubicBezTo>
                <a:cubicBezTo>
                  <a:pt x="7899" y="6065"/>
                  <a:pt x="7892" y="6076"/>
                  <a:pt x="7869" y="6087"/>
                </a:cubicBezTo>
                <a:cubicBezTo>
                  <a:pt x="7841" y="6101"/>
                  <a:pt x="7793" y="6082"/>
                  <a:pt x="7762" y="6092"/>
                </a:cubicBezTo>
                <a:cubicBezTo>
                  <a:pt x="7731" y="6101"/>
                  <a:pt x="7694" y="6149"/>
                  <a:pt x="7663" y="6111"/>
                </a:cubicBezTo>
                <a:cubicBezTo>
                  <a:pt x="7666" y="6085"/>
                  <a:pt x="7677" y="6128"/>
                  <a:pt x="7663" y="6111"/>
                </a:cubicBezTo>
                <a:close/>
                <a:moveTo>
                  <a:pt x="7920" y="6096"/>
                </a:moveTo>
                <a:cubicBezTo>
                  <a:pt x="7916" y="6099"/>
                  <a:pt x="7906" y="6095"/>
                  <a:pt x="7920" y="6096"/>
                </a:cubicBezTo>
                <a:cubicBezTo>
                  <a:pt x="7919" y="6097"/>
                  <a:pt x="7918" y="6096"/>
                  <a:pt x="7920" y="6096"/>
                </a:cubicBezTo>
                <a:close/>
                <a:moveTo>
                  <a:pt x="7815" y="6263"/>
                </a:moveTo>
                <a:cubicBezTo>
                  <a:pt x="7807" y="6311"/>
                  <a:pt x="7664" y="6281"/>
                  <a:pt x="7694" y="6239"/>
                </a:cubicBezTo>
                <a:cubicBezTo>
                  <a:pt x="7709" y="6218"/>
                  <a:pt x="7821" y="6226"/>
                  <a:pt x="7815" y="6263"/>
                </a:cubicBezTo>
                <a:cubicBezTo>
                  <a:pt x="7813" y="6277"/>
                  <a:pt x="7818" y="6249"/>
                  <a:pt x="7815" y="6263"/>
                </a:cubicBezTo>
                <a:close/>
                <a:moveTo>
                  <a:pt x="7957" y="6248"/>
                </a:moveTo>
                <a:cubicBezTo>
                  <a:pt x="7934" y="6242"/>
                  <a:pt x="7802" y="6281"/>
                  <a:pt x="7851" y="6224"/>
                </a:cubicBezTo>
                <a:cubicBezTo>
                  <a:pt x="7884" y="6185"/>
                  <a:pt x="8086" y="6214"/>
                  <a:pt x="8135" y="6215"/>
                </a:cubicBezTo>
                <a:cubicBezTo>
                  <a:pt x="8075" y="6226"/>
                  <a:pt x="8021" y="6262"/>
                  <a:pt x="7957" y="6248"/>
                </a:cubicBezTo>
                <a:cubicBezTo>
                  <a:pt x="7926" y="6241"/>
                  <a:pt x="8024" y="6263"/>
                  <a:pt x="7957" y="6248"/>
                </a:cubicBezTo>
                <a:close/>
                <a:moveTo>
                  <a:pt x="8123" y="6168"/>
                </a:moveTo>
                <a:cubicBezTo>
                  <a:pt x="8173" y="6140"/>
                  <a:pt x="8215" y="6129"/>
                  <a:pt x="8262" y="6146"/>
                </a:cubicBezTo>
                <a:cubicBezTo>
                  <a:pt x="8218" y="6150"/>
                  <a:pt x="8182" y="6193"/>
                  <a:pt x="8123" y="6168"/>
                </a:cubicBezTo>
                <a:close/>
                <a:moveTo>
                  <a:pt x="8662" y="6055"/>
                </a:moveTo>
                <a:cubicBezTo>
                  <a:pt x="8611" y="6073"/>
                  <a:pt x="8531" y="6062"/>
                  <a:pt x="8476" y="6069"/>
                </a:cubicBezTo>
                <a:cubicBezTo>
                  <a:pt x="8406" y="6079"/>
                  <a:pt x="8341" y="6077"/>
                  <a:pt x="8271" y="6080"/>
                </a:cubicBezTo>
                <a:cubicBezTo>
                  <a:pt x="8233" y="6082"/>
                  <a:pt x="8185" y="6101"/>
                  <a:pt x="8147" y="6091"/>
                </a:cubicBezTo>
                <a:cubicBezTo>
                  <a:pt x="8111" y="6082"/>
                  <a:pt x="8094" y="6069"/>
                  <a:pt x="8141" y="6059"/>
                </a:cubicBezTo>
                <a:cubicBezTo>
                  <a:pt x="8157" y="6055"/>
                  <a:pt x="8176" y="6072"/>
                  <a:pt x="8193" y="6069"/>
                </a:cubicBezTo>
                <a:cubicBezTo>
                  <a:pt x="8212" y="6065"/>
                  <a:pt x="8220" y="6044"/>
                  <a:pt x="8234" y="6041"/>
                </a:cubicBezTo>
                <a:cubicBezTo>
                  <a:pt x="8278" y="6033"/>
                  <a:pt x="8333" y="6060"/>
                  <a:pt x="8385" y="6051"/>
                </a:cubicBezTo>
                <a:cubicBezTo>
                  <a:pt x="8445" y="6040"/>
                  <a:pt x="8493" y="6027"/>
                  <a:pt x="8554" y="6031"/>
                </a:cubicBezTo>
                <a:cubicBezTo>
                  <a:pt x="8554" y="6031"/>
                  <a:pt x="8667" y="6032"/>
                  <a:pt x="8659" y="6026"/>
                </a:cubicBezTo>
                <a:cubicBezTo>
                  <a:pt x="8665" y="6031"/>
                  <a:pt x="8692" y="6045"/>
                  <a:pt x="8662" y="6055"/>
                </a:cubicBezTo>
                <a:cubicBezTo>
                  <a:pt x="8657" y="6057"/>
                  <a:pt x="8670" y="6053"/>
                  <a:pt x="8662" y="6055"/>
                </a:cubicBezTo>
                <a:close/>
                <a:moveTo>
                  <a:pt x="8775" y="6050"/>
                </a:moveTo>
                <a:cubicBezTo>
                  <a:pt x="8760" y="6056"/>
                  <a:pt x="8684" y="6069"/>
                  <a:pt x="8693" y="6036"/>
                </a:cubicBezTo>
                <a:cubicBezTo>
                  <a:pt x="8702" y="6008"/>
                  <a:pt x="8786" y="6025"/>
                  <a:pt x="8795" y="6041"/>
                </a:cubicBezTo>
                <a:cubicBezTo>
                  <a:pt x="8789" y="6044"/>
                  <a:pt x="8782" y="6047"/>
                  <a:pt x="8775" y="6050"/>
                </a:cubicBezTo>
                <a:cubicBezTo>
                  <a:pt x="8749" y="6060"/>
                  <a:pt x="8782" y="6047"/>
                  <a:pt x="8775" y="6050"/>
                </a:cubicBezTo>
                <a:close/>
                <a:moveTo>
                  <a:pt x="9247" y="5912"/>
                </a:moveTo>
                <a:cubicBezTo>
                  <a:pt x="9203" y="5922"/>
                  <a:pt x="9197" y="5885"/>
                  <a:pt x="9162" y="5877"/>
                </a:cubicBezTo>
                <a:cubicBezTo>
                  <a:pt x="9131" y="5870"/>
                  <a:pt x="9094" y="5883"/>
                  <a:pt x="9063" y="5891"/>
                </a:cubicBezTo>
                <a:cubicBezTo>
                  <a:pt x="9088" y="5892"/>
                  <a:pt x="9113" y="5893"/>
                  <a:pt x="9138" y="5894"/>
                </a:cubicBezTo>
                <a:cubicBezTo>
                  <a:pt x="9071" y="5907"/>
                  <a:pt x="9005" y="5938"/>
                  <a:pt x="8936" y="5917"/>
                </a:cubicBezTo>
                <a:cubicBezTo>
                  <a:pt x="8903" y="5908"/>
                  <a:pt x="8878" y="5891"/>
                  <a:pt x="8844" y="5887"/>
                </a:cubicBezTo>
                <a:cubicBezTo>
                  <a:pt x="8803" y="5881"/>
                  <a:pt x="8765" y="5919"/>
                  <a:pt x="8763" y="5862"/>
                </a:cubicBezTo>
                <a:cubicBezTo>
                  <a:pt x="8747" y="5868"/>
                  <a:pt x="8731" y="5873"/>
                  <a:pt x="8716" y="5879"/>
                </a:cubicBezTo>
                <a:cubicBezTo>
                  <a:pt x="8761" y="5866"/>
                  <a:pt x="8847" y="5825"/>
                  <a:pt x="8894" y="5838"/>
                </a:cubicBezTo>
                <a:cubicBezTo>
                  <a:pt x="8917" y="5844"/>
                  <a:pt x="8912" y="5871"/>
                  <a:pt x="8933" y="5871"/>
                </a:cubicBezTo>
                <a:cubicBezTo>
                  <a:pt x="8937" y="5857"/>
                  <a:pt x="8944" y="5846"/>
                  <a:pt x="8954" y="5836"/>
                </a:cubicBezTo>
                <a:cubicBezTo>
                  <a:pt x="8965" y="5830"/>
                  <a:pt x="8977" y="5828"/>
                  <a:pt x="8990" y="5828"/>
                </a:cubicBezTo>
                <a:cubicBezTo>
                  <a:pt x="9066" y="5811"/>
                  <a:pt x="9160" y="5828"/>
                  <a:pt x="9237" y="5830"/>
                </a:cubicBezTo>
                <a:cubicBezTo>
                  <a:pt x="9245" y="5822"/>
                  <a:pt x="9253" y="5814"/>
                  <a:pt x="9262" y="5807"/>
                </a:cubicBezTo>
                <a:cubicBezTo>
                  <a:pt x="9274" y="5806"/>
                  <a:pt x="9282" y="5813"/>
                  <a:pt x="9285" y="5828"/>
                </a:cubicBezTo>
                <a:cubicBezTo>
                  <a:pt x="9308" y="5828"/>
                  <a:pt x="9354" y="5824"/>
                  <a:pt x="9374" y="5837"/>
                </a:cubicBezTo>
                <a:cubicBezTo>
                  <a:pt x="9325" y="5873"/>
                  <a:pt x="9263" y="5848"/>
                  <a:pt x="9209" y="5866"/>
                </a:cubicBezTo>
                <a:cubicBezTo>
                  <a:pt x="9299" y="5880"/>
                  <a:pt x="9393" y="5857"/>
                  <a:pt x="9481" y="5885"/>
                </a:cubicBezTo>
                <a:cubicBezTo>
                  <a:pt x="9404" y="5900"/>
                  <a:pt x="9324" y="5895"/>
                  <a:pt x="9247" y="5912"/>
                </a:cubicBezTo>
                <a:cubicBezTo>
                  <a:pt x="9222" y="5918"/>
                  <a:pt x="9324" y="5895"/>
                  <a:pt x="9247" y="5912"/>
                </a:cubicBezTo>
                <a:close/>
                <a:moveTo>
                  <a:pt x="9399" y="5766"/>
                </a:moveTo>
                <a:cubicBezTo>
                  <a:pt x="9419" y="5758"/>
                  <a:pt x="9432" y="5758"/>
                  <a:pt x="9447" y="5771"/>
                </a:cubicBezTo>
                <a:cubicBezTo>
                  <a:pt x="9426" y="5787"/>
                  <a:pt x="9415" y="5775"/>
                  <a:pt x="9399" y="5766"/>
                </a:cubicBezTo>
                <a:close/>
                <a:moveTo>
                  <a:pt x="9471" y="5747"/>
                </a:moveTo>
                <a:cubicBezTo>
                  <a:pt x="9486" y="5744"/>
                  <a:pt x="9497" y="5751"/>
                  <a:pt x="9505" y="5767"/>
                </a:cubicBezTo>
                <a:cubicBezTo>
                  <a:pt x="9487" y="5772"/>
                  <a:pt x="9473" y="5768"/>
                  <a:pt x="9471" y="5747"/>
                </a:cubicBezTo>
                <a:cubicBezTo>
                  <a:pt x="9474" y="5745"/>
                  <a:pt x="9473" y="5769"/>
                  <a:pt x="9471" y="5747"/>
                </a:cubicBezTo>
                <a:close/>
                <a:moveTo>
                  <a:pt x="9519" y="5853"/>
                </a:moveTo>
                <a:cubicBezTo>
                  <a:pt x="9530" y="5833"/>
                  <a:pt x="9596" y="5811"/>
                  <a:pt x="9617" y="5812"/>
                </a:cubicBezTo>
                <a:cubicBezTo>
                  <a:pt x="9637" y="5812"/>
                  <a:pt x="9629" y="5807"/>
                  <a:pt x="9652" y="5814"/>
                </a:cubicBezTo>
                <a:cubicBezTo>
                  <a:pt x="9664" y="5817"/>
                  <a:pt x="9665" y="5842"/>
                  <a:pt x="9684" y="5835"/>
                </a:cubicBezTo>
                <a:cubicBezTo>
                  <a:pt x="9631" y="5851"/>
                  <a:pt x="9575" y="5867"/>
                  <a:pt x="9519" y="5853"/>
                </a:cubicBezTo>
                <a:cubicBezTo>
                  <a:pt x="9542" y="5811"/>
                  <a:pt x="9577" y="5868"/>
                  <a:pt x="9519" y="5853"/>
                </a:cubicBezTo>
                <a:close/>
                <a:moveTo>
                  <a:pt x="9672" y="5758"/>
                </a:moveTo>
                <a:cubicBezTo>
                  <a:pt x="9625" y="5763"/>
                  <a:pt x="9645" y="5735"/>
                  <a:pt x="9613" y="5729"/>
                </a:cubicBezTo>
                <a:cubicBezTo>
                  <a:pt x="9587" y="5724"/>
                  <a:pt x="9572" y="5754"/>
                  <a:pt x="9558" y="5736"/>
                </a:cubicBezTo>
                <a:cubicBezTo>
                  <a:pt x="9570" y="5717"/>
                  <a:pt x="9643" y="5729"/>
                  <a:pt x="9664" y="5727"/>
                </a:cubicBezTo>
                <a:cubicBezTo>
                  <a:pt x="9637" y="5725"/>
                  <a:pt x="9640" y="5735"/>
                  <a:pt x="9672" y="5758"/>
                </a:cubicBezTo>
                <a:cubicBezTo>
                  <a:pt x="9644" y="5761"/>
                  <a:pt x="9663" y="5747"/>
                  <a:pt x="9672" y="5758"/>
                </a:cubicBezTo>
                <a:close/>
                <a:moveTo>
                  <a:pt x="10026" y="5812"/>
                </a:moveTo>
                <a:cubicBezTo>
                  <a:pt x="9968" y="5817"/>
                  <a:pt x="9911" y="5819"/>
                  <a:pt x="9853" y="5821"/>
                </a:cubicBezTo>
                <a:cubicBezTo>
                  <a:pt x="9832" y="5821"/>
                  <a:pt x="9728" y="5841"/>
                  <a:pt x="9758" y="5797"/>
                </a:cubicBezTo>
                <a:cubicBezTo>
                  <a:pt x="9775" y="5772"/>
                  <a:pt x="9867" y="5773"/>
                  <a:pt x="9895" y="5775"/>
                </a:cubicBezTo>
                <a:cubicBezTo>
                  <a:pt x="9936" y="5777"/>
                  <a:pt x="10025" y="5763"/>
                  <a:pt x="10061" y="5777"/>
                </a:cubicBezTo>
                <a:cubicBezTo>
                  <a:pt x="10056" y="5796"/>
                  <a:pt x="10045" y="5808"/>
                  <a:pt x="10026" y="5812"/>
                </a:cubicBezTo>
                <a:cubicBezTo>
                  <a:pt x="9968" y="5817"/>
                  <a:pt x="10042" y="5811"/>
                  <a:pt x="10026" y="5812"/>
                </a:cubicBezTo>
                <a:close/>
                <a:moveTo>
                  <a:pt x="9879" y="5716"/>
                </a:moveTo>
                <a:cubicBezTo>
                  <a:pt x="9851" y="5719"/>
                  <a:pt x="9866" y="5748"/>
                  <a:pt x="9882" y="5753"/>
                </a:cubicBezTo>
                <a:cubicBezTo>
                  <a:pt x="9899" y="5728"/>
                  <a:pt x="9677" y="5699"/>
                  <a:pt x="9666" y="5699"/>
                </a:cubicBezTo>
                <a:cubicBezTo>
                  <a:pt x="9602" y="5699"/>
                  <a:pt x="9539" y="5706"/>
                  <a:pt x="9476" y="5716"/>
                </a:cubicBezTo>
                <a:cubicBezTo>
                  <a:pt x="9422" y="5724"/>
                  <a:pt x="9331" y="5767"/>
                  <a:pt x="9281" y="5735"/>
                </a:cubicBezTo>
                <a:cubicBezTo>
                  <a:pt x="9294" y="5693"/>
                  <a:pt x="9392" y="5635"/>
                  <a:pt x="9434" y="5617"/>
                </a:cubicBezTo>
                <a:cubicBezTo>
                  <a:pt x="9490" y="5593"/>
                  <a:pt x="9551" y="5597"/>
                  <a:pt x="9610" y="5596"/>
                </a:cubicBezTo>
                <a:cubicBezTo>
                  <a:pt x="9713" y="5595"/>
                  <a:pt x="9796" y="5624"/>
                  <a:pt x="9902" y="5626"/>
                </a:cubicBezTo>
                <a:cubicBezTo>
                  <a:pt x="9980" y="5627"/>
                  <a:pt x="10134" y="5617"/>
                  <a:pt x="10196" y="5579"/>
                </a:cubicBezTo>
                <a:cubicBezTo>
                  <a:pt x="10230" y="5558"/>
                  <a:pt x="10252" y="5524"/>
                  <a:pt x="10300" y="5528"/>
                </a:cubicBezTo>
                <a:cubicBezTo>
                  <a:pt x="10354" y="5533"/>
                  <a:pt x="10397" y="5594"/>
                  <a:pt x="10430" y="5634"/>
                </a:cubicBezTo>
                <a:cubicBezTo>
                  <a:pt x="10357" y="5643"/>
                  <a:pt x="10286" y="5661"/>
                  <a:pt x="10213" y="5664"/>
                </a:cubicBezTo>
                <a:cubicBezTo>
                  <a:pt x="10188" y="5665"/>
                  <a:pt x="10106" y="5644"/>
                  <a:pt x="10115" y="5690"/>
                </a:cubicBezTo>
                <a:cubicBezTo>
                  <a:pt x="10253" y="5666"/>
                  <a:pt x="10414" y="5647"/>
                  <a:pt x="10555" y="5649"/>
                </a:cubicBezTo>
                <a:cubicBezTo>
                  <a:pt x="10665" y="5651"/>
                  <a:pt x="10567" y="5695"/>
                  <a:pt x="10509" y="5700"/>
                </a:cubicBezTo>
                <a:cubicBezTo>
                  <a:pt x="10466" y="5703"/>
                  <a:pt x="10329" y="5744"/>
                  <a:pt x="10354" y="5669"/>
                </a:cubicBezTo>
                <a:cubicBezTo>
                  <a:pt x="10304" y="5656"/>
                  <a:pt x="10293" y="5692"/>
                  <a:pt x="10260" y="5694"/>
                </a:cubicBezTo>
                <a:cubicBezTo>
                  <a:pt x="10254" y="5689"/>
                  <a:pt x="10248" y="5683"/>
                  <a:pt x="10241" y="5678"/>
                </a:cubicBezTo>
                <a:cubicBezTo>
                  <a:pt x="10222" y="5671"/>
                  <a:pt x="10207" y="5675"/>
                  <a:pt x="10198" y="5691"/>
                </a:cubicBezTo>
                <a:cubicBezTo>
                  <a:pt x="10188" y="5690"/>
                  <a:pt x="10169" y="5684"/>
                  <a:pt x="10151" y="5684"/>
                </a:cubicBezTo>
                <a:cubicBezTo>
                  <a:pt x="10120" y="5683"/>
                  <a:pt x="10086" y="5693"/>
                  <a:pt x="10056" y="5697"/>
                </a:cubicBezTo>
                <a:cubicBezTo>
                  <a:pt x="9997" y="5703"/>
                  <a:pt x="9938" y="5710"/>
                  <a:pt x="9879" y="5716"/>
                </a:cubicBezTo>
                <a:cubicBezTo>
                  <a:pt x="9851" y="5719"/>
                  <a:pt x="9958" y="5708"/>
                  <a:pt x="9879" y="5716"/>
                </a:cubicBezTo>
                <a:close/>
                <a:moveTo>
                  <a:pt x="10118" y="5948"/>
                </a:moveTo>
                <a:cubicBezTo>
                  <a:pt x="10209" y="5929"/>
                  <a:pt x="10301" y="5911"/>
                  <a:pt x="10395" y="5920"/>
                </a:cubicBezTo>
                <a:cubicBezTo>
                  <a:pt x="10301" y="5918"/>
                  <a:pt x="10213" y="5968"/>
                  <a:pt x="10118" y="5948"/>
                </a:cubicBezTo>
                <a:close/>
                <a:moveTo>
                  <a:pt x="10426" y="5882"/>
                </a:moveTo>
                <a:cubicBezTo>
                  <a:pt x="10386" y="5871"/>
                  <a:pt x="10332" y="5910"/>
                  <a:pt x="10296" y="5890"/>
                </a:cubicBezTo>
                <a:cubicBezTo>
                  <a:pt x="10257" y="5868"/>
                  <a:pt x="10279" y="5868"/>
                  <a:pt x="10306" y="5860"/>
                </a:cubicBezTo>
                <a:cubicBezTo>
                  <a:pt x="10350" y="5846"/>
                  <a:pt x="10418" y="5858"/>
                  <a:pt x="10464" y="5859"/>
                </a:cubicBezTo>
                <a:cubicBezTo>
                  <a:pt x="10501" y="5859"/>
                  <a:pt x="10576" y="5834"/>
                  <a:pt x="10610" y="5850"/>
                </a:cubicBezTo>
                <a:cubicBezTo>
                  <a:pt x="10548" y="5862"/>
                  <a:pt x="10491" y="5900"/>
                  <a:pt x="10426" y="5882"/>
                </a:cubicBezTo>
                <a:cubicBezTo>
                  <a:pt x="10388" y="5871"/>
                  <a:pt x="10494" y="5900"/>
                  <a:pt x="10426" y="5882"/>
                </a:cubicBezTo>
                <a:close/>
                <a:moveTo>
                  <a:pt x="10797" y="5792"/>
                </a:moveTo>
                <a:cubicBezTo>
                  <a:pt x="10715" y="5799"/>
                  <a:pt x="10633" y="5796"/>
                  <a:pt x="10550" y="5805"/>
                </a:cubicBezTo>
                <a:cubicBezTo>
                  <a:pt x="10503" y="5811"/>
                  <a:pt x="10406" y="5836"/>
                  <a:pt x="10369" y="5792"/>
                </a:cubicBezTo>
                <a:cubicBezTo>
                  <a:pt x="10466" y="5803"/>
                  <a:pt x="10560" y="5764"/>
                  <a:pt x="10657" y="5772"/>
                </a:cubicBezTo>
                <a:cubicBezTo>
                  <a:pt x="10701" y="5775"/>
                  <a:pt x="10735" y="5773"/>
                  <a:pt x="10776" y="5772"/>
                </a:cubicBezTo>
                <a:cubicBezTo>
                  <a:pt x="10789" y="5771"/>
                  <a:pt x="10804" y="5751"/>
                  <a:pt x="10814" y="5770"/>
                </a:cubicBezTo>
                <a:cubicBezTo>
                  <a:pt x="10822" y="5786"/>
                  <a:pt x="10816" y="5790"/>
                  <a:pt x="10797" y="5792"/>
                </a:cubicBezTo>
                <a:cubicBezTo>
                  <a:pt x="10787" y="5793"/>
                  <a:pt x="10807" y="5791"/>
                  <a:pt x="10797" y="5792"/>
                </a:cubicBezTo>
                <a:close/>
                <a:moveTo>
                  <a:pt x="10880" y="5660"/>
                </a:moveTo>
                <a:cubicBezTo>
                  <a:pt x="10916" y="5739"/>
                  <a:pt x="10833" y="5687"/>
                  <a:pt x="10789" y="5684"/>
                </a:cubicBezTo>
                <a:cubicBezTo>
                  <a:pt x="10738" y="5681"/>
                  <a:pt x="10728" y="5706"/>
                  <a:pt x="10673" y="5690"/>
                </a:cubicBezTo>
                <a:cubicBezTo>
                  <a:pt x="10771" y="5626"/>
                  <a:pt x="10889" y="5640"/>
                  <a:pt x="10999" y="5640"/>
                </a:cubicBezTo>
                <a:cubicBezTo>
                  <a:pt x="10969" y="5721"/>
                  <a:pt x="10932" y="5649"/>
                  <a:pt x="10880" y="5660"/>
                </a:cubicBezTo>
                <a:cubicBezTo>
                  <a:pt x="10887" y="5675"/>
                  <a:pt x="10920" y="5652"/>
                  <a:pt x="10880" y="5660"/>
                </a:cubicBezTo>
                <a:close/>
                <a:moveTo>
                  <a:pt x="11427" y="5607"/>
                </a:moveTo>
                <a:cubicBezTo>
                  <a:pt x="11403" y="5632"/>
                  <a:pt x="11311" y="5615"/>
                  <a:pt x="11279" y="5615"/>
                </a:cubicBezTo>
                <a:cubicBezTo>
                  <a:pt x="11224" y="5616"/>
                  <a:pt x="11170" y="5615"/>
                  <a:pt x="11115" y="5615"/>
                </a:cubicBezTo>
                <a:cubicBezTo>
                  <a:pt x="11164" y="5611"/>
                  <a:pt x="11211" y="5593"/>
                  <a:pt x="11259" y="5584"/>
                </a:cubicBezTo>
                <a:cubicBezTo>
                  <a:pt x="11311" y="5574"/>
                  <a:pt x="11357" y="5587"/>
                  <a:pt x="11406" y="5582"/>
                </a:cubicBezTo>
                <a:cubicBezTo>
                  <a:pt x="11422" y="5580"/>
                  <a:pt x="11458" y="5557"/>
                  <a:pt x="11471" y="5563"/>
                </a:cubicBezTo>
                <a:cubicBezTo>
                  <a:pt x="11518" y="5584"/>
                  <a:pt x="11431" y="5604"/>
                  <a:pt x="11427" y="5607"/>
                </a:cubicBezTo>
                <a:cubicBezTo>
                  <a:pt x="11422" y="5613"/>
                  <a:pt x="11444" y="5591"/>
                  <a:pt x="11427" y="5607"/>
                </a:cubicBezTo>
                <a:close/>
                <a:moveTo>
                  <a:pt x="11797" y="5483"/>
                </a:moveTo>
                <a:cubicBezTo>
                  <a:pt x="11547" y="5506"/>
                  <a:pt x="11298" y="5522"/>
                  <a:pt x="11051" y="5565"/>
                </a:cubicBezTo>
                <a:cubicBezTo>
                  <a:pt x="10987" y="5576"/>
                  <a:pt x="10924" y="5591"/>
                  <a:pt x="10859" y="5595"/>
                </a:cubicBezTo>
                <a:cubicBezTo>
                  <a:pt x="10817" y="5598"/>
                  <a:pt x="10785" y="5615"/>
                  <a:pt x="10746" y="5620"/>
                </a:cubicBezTo>
                <a:cubicBezTo>
                  <a:pt x="10705" y="5625"/>
                  <a:pt x="10687" y="5612"/>
                  <a:pt x="10642" y="5621"/>
                </a:cubicBezTo>
                <a:cubicBezTo>
                  <a:pt x="10641" y="5621"/>
                  <a:pt x="10481" y="5634"/>
                  <a:pt x="10512" y="5600"/>
                </a:cubicBezTo>
                <a:cubicBezTo>
                  <a:pt x="10541" y="5569"/>
                  <a:pt x="10684" y="5592"/>
                  <a:pt x="10731" y="5566"/>
                </a:cubicBezTo>
                <a:cubicBezTo>
                  <a:pt x="10644" y="5547"/>
                  <a:pt x="10757" y="5526"/>
                  <a:pt x="10788" y="5526"/>
                </a:cubicBezTo>
                <a:cubicBezTo>
                  <a:pt x="10847" y="5528"/>
                  <a:pt x="10896" y="5543"/>
                  <a:pt x="10955" y="5531"/>
                </a:cubicBezTo>
                <a:cubicBezTo>
                  <a:pt x="10975" y="5527"/>
                  <a:pt x="10994" y="5516"/>
                  <a:pt x="11015" y="5515"/>
                </a:cubicBezTo>
                <a:cubicBezTo>
                  <a:pt x="11042" y="5514"/>
                  <a:pt x="11065" y="5530"/>
                  <a:pt x="11090" y="5528"/>
                </a:cubicBezTo>
                <a:cubicBezTo>
                  <a:pt x="11135" y="5525"/>
                  <a:pt x="11176" y="5507"/>
                  <a:pt x="11225" y="5505"/>
                </a:cubicBezTo>
                <a:cubicBezTo>
                  <a:pt x="11343" y="5500"/>
                  <a:pt x="11461" y="5493"/>
                  <a:pt x="11578" y="5484"/>
                </a:cubicBezTo>
                <a:cubicBezTo>
                  <a:pt x="11637" y="5479"/>
                  <a:pt x="11695" y="5470"/>
                  <a:pt x="11753" y="5457"/>
                </a:cubicBezTo>
                <a:cubicBezTo>
                  <a:pt x="11762" y="5455"/>
                  <a:pt x="11796" y="5438"/>
                  <a:pt x="11805" y="5444"/>
                </a:cubicBezTo>
                <a:cubicBezTo>
                  <a:pt x="11824" y="5454"/>
                  <a:pt x="11819" y="5481"/>
                  <a:pt x="11797" y="5483"/>
                </a:cubicBezTo>
                <a:cubicBezTo>
                  <a:pt x="11725" y="5490"/>
                  <a:pt x="11812" y="5482"/>
                  <a:pt x="11797" y="5483"/>
                </a:cubicBezTo>
                <a:close/>
                <a:moveTo>
                  <a:pt x="12436" y="5106"/>
                </a:moveTo>
                <a:cubicBezTo>
                  <a:pt x="12499" y="5081"/>
                  <a:pt x="12565" y="5089"/>
                  <a:pt x="12630" y="5092"/>
                </a:cubicBezTo>
                <a:cubicBezTo>
                  <a:pt x="12565" y="5094"/>
                  <a:pt x="12501" y="5118"/>
                  <a:pt x="12436" y="5106"/>
                </a:cubicBezTo>
                <a:close/>
                <a:moveTo>
                  <a:pt x="12568" y="5025"/>
                </a:moveTo>
                <a:cubicBezTo>
                  <a:pt x="12684" y="4991"/>
                  <a:pt x="12794" y="5009"/>
                  <a:pt x="12905" y="4987"/>
                </a:cubicBezTo>
                <a:cubicBezTo>
                  <a:pt x="12874" y="5036"/>
                  <a:pt x="12654" y="5061"/>
                  <a:pt x="12568" y="5025"/>
                </a:cubicBezTo>
                <a:close/>
                <a:moveTo>
                  <a:pt x="12955" y="4303"/>
                </a:moveTo>
                <a:cubicBezTo>
                  <a:pt x="12943" y="4333"/>
                  <a:pt x="12806" y="4296"/>
                  <a:pt x="12767" y="4296"/>
                </a:cubicBezTo>
                <a:cubicBezTo>
                  <a:pt x="12713" y="4296"/>
                  <a:pt x="12666" y="4327"/>
                  <a:pt x="12609" y="4329"/>
                </a:cubicBezTo>
                <a:cubicBezTo>
                  <a:pt x="12557" y="4331"/>
                  <a:pt x="12500" y="4326"/>
                  <a:pt x="12449" y="4319"/>
                </a:cubicBezTo>
                <a:cubicBezTo>
                  <a:pt x="12381" y="4309"/>
                  <a:pt x="12318" y="4310"/>
                  <a:pt x="12249" y="4305"/>
                </a:cubicBezTo>
                <a:cubicBezTo>
                  <a:pt x="12260" y="4312"/>
                  <a:pt x="12271" y="4320"/>
                  <a:pt x="12282" y="4327"/>
                </a:cubicBezTo>
                <a:cubicBezTo>
                  <a:pt x="12179" y="4413"/>
                  <a:pt x="12009" y="4382"/>
                  <a:pt x="11890" y="4364"/>
                </a:cubicBezTo>
                <a:cubicBezTo>
                  <a:pt x="11835" y="4356"/>
                  <a:pt x="11813" y="4328"/>
                  <a:pt x="11880" y="4322"/>
                </a:cubicBezTo>
                <a:cubicBezTo>
                  <a:pt x="11928" y="4317"/>
                  <a:pt x="11955" y="4347"/>
                  <a:pt x="11960" y="4273"/>
                </a:cubicBezTo>
                <a:cubicBezTo>
                  <a:pt x="11928" y="4305"/>
                  <a:pt x="11901" y="4309"/>
                  <a:pt x="11860" y="4297"/>
                </a:cubicBezTo>
                <a:cubicBezTo>
                  <a:pt x="11849" y="4293"/>
                  <a:pt x="11783" y="4269"/>
                  <a:pt x="11776" y="4263"/>
                </a:cubicBezTo>
                <a:cubicBezTo>
                  <a:pt x="11764" y="4269"/>
                  <a:pt x="11757" y="4266"/>
                  <a:pt x="11755" y="4253"/>
                </a:cubicBezTo>
                <a:cubicBezTo>
                  <a:pt x="11759" y="4233"/>
                  <a:pt x="11771" y="4225"/>
                  <a:pt x="11791" y="4231"/>
                </a:cubicBezTo>
                <a:cubicBezTo>
                  <a:pt x="11809" y="4204"/>
                  <a:pt x="11810" y="4246"/>
                  <a:pt x="11806" y="4200"/>
                </a:cubicBezTo>
                <a:cubicBezTo>
                  <a:pt x="11837" y="4195"/>
                  <a:pt x="11898" y="4177"/>
                  <a:pt x="11926" y="4178"/>
                </a:cubicBezTo>
                <a:cubicBezTo>
                  <a:pt x="11926" y="4178"/>
                  <a:pt x="11967" y="4199"/>
                  <a:pt x="11984" y="4201"/>
                </a:cubicBezTo>
                <a:cubicBezTo>
                  <a:pt x="12015" y="4204"/>
                  <a:pt x="12045" y="4204"/>
                  <a:pt x="12076" y="4204"/>
                </a:cubicBezTo>
                <a:cubicBezTo>
                  <a:pt x="12131" y="4206"/>
                  <a:pt x="12187" y="4213"/>
                  <a:pt x="12242" y="4210"/>
                </a:cubicBezTo>
                <a:cubicBezTo>
                  <a:pt x="12312" y="4205"/>
                  <a:pt x="12380" y="4188"/>
                  <a:pt x="12450" y="4204"/>
                </a:cubicBezTo>
                <a:cubicBezTo>
                  <a:pt x="12441" y="4148"/>
                  <a:pt x="12335" y="4145"/>
                  <a:pt x="12430" y="4114"/>
                </a:cubicBezTo>
                <a:cubicBezTo>
                  <a:pt x="12505" y="4089"/>
                  <a:pt x="12626" y="4117"/>
                  <a:pt x="12704" y="4117"/>
                </a:cubicBezTo>
                <a:cubicBezTo>
                  <a:pt x="12779" y="4116"/>
                  <a:pt x="12894" y="4093"/>
                  <a:pt x="12953" y="4150"/>
                </a:cubicBezTo>
                <a:cubicBezTo>
                  <a:pt x="12956" y="4153"/>
                  <a:pt x="12984" y="4202"/>
                  <a:pt x="12986" y="4206"/>
                </a:cubicBezTo>
                <a:cubicBezTo>
                  <a:pt x="12997" y="4225"/>
                  <a:pt x="13014" y="4258"/>
                  <a:pt x="13024" y="4280"/>
                </a:cubicBezTo>
                <a:cubicBezTo>
                  <a:pt x="12990" y="4261"/>
                  <a:pt x="12975" y="4278"/>
                  <a:pt x="12955" y="4303"/>
                </a:cubicBezTo>
                <a:cubicBezTo>
                  <a:pt x="12953" y="4308"/>
                  <a:pt x="12971" y="4284"/>
                  <a:pt x="12955" y="4303"/>
                </a:cubicBezTo>
                <a:close/>
                <a:moveTo>
                  <a:pt x="13026" y="5318"/>
                </a:moveTo>
                <a:cubicBezTo>
                  <a:pt x="13035" y="5304"/>
                  <a:pt x="13042" y="5305"/>
                  <a:pt x="13047" y="5320"/>
                </a:cubicBezTo>
                <a:cubicBezTo>
                  <a:pt x="13039" y="5330"/>
                  <a:pt x="13032" y="5330"/>
                  <a:pt x="13026" y="5318"/>
                </a:cubicBezTo>
                <a:cubicBezTo>
                  <a:pt x="13029" y="5315"/>
                  <a:pt x="13029" y="5321"/>
                  <a:pt x="13026" y="5318"/>
                </a:cubicBezTo>
                <a:close/>
                <a:moveTo>
                  <a:pt x="13042" y="5632"/>
                </a:moveTo>
                <a:cubicBezTo>
                  <a:pt x="13091" y="5621"/>
                  <a:pt x="13141" y="5610"/>
                  <a:pt x="13190" y="5598"/>
                </a:cubicBezTo>
                <a:cubicBezTo>
                  <a:pt x="13163" y="5596"/>
                  <a:pt x="13137" y="5594"/>
                  <a:pt x="13110" y="5592"/>
                </a:cubicBezTo>
                <a:cubicBezTo>
                  <a:pt x="13249" y="5533"/>
                  <a:pt x="13409" y="5584"/>
                  <a:pt x="13547" y="5518"/>
                </a:cubicBezTo>
                <a:cubicBezTo>
                  <a:pt x="13489" y="5509"/>
                  <a:pt x="13449" y="5462"/>
                  <a:pt x="13394" y="5449"/>
                </a:cubicBezTo>
                <a:cubicBezTo>
                  <a:pt x="13333" y="5436"/>
                  <a:pt x="13232" y="5473"/>
                  <a:pt x="13167" y="5475"/>
                </a:cubicBezTo>
                <a:cubicBezTo>
                  <a:pt x="13225" y="5473"/>
                  <a:pt x="13361" y="5473"/>
                  <a:pt x="13392" y="5430"/>
                </a:cubicBezTo>
                <a:cubicBezTo>
                  <a:pt x="13396" y="5425"/>
                  <a:pt x="13384" y="5393"/>
                  <a:pt x="13402" y="5376"/>
                </a:cubicBezTo>
                <a:cubicBezTo>
                  <a:pt x="13419" y="5358"/>
                  <a:pt x="13461" y="5362"/>
                  <a:pt x="13484" y="5356"/>
                </a:cubicBezTo>
                <a:cubicBezTo>
                  <a:pt x="13435" y="5312"/>
                  <a:pt x="13377" y="5324"/>
                  <a:pt x="13318" y="5328"/>
                </a:cubicBezTo>
                <a:cubicBezTo>
                  <a:pt x="13249" y="5332"/>
                  <a:pt x="13179" y="5330"/>
                  <a:pt x="13110" y="5325"/>
                </a:cubicBezTo>
                <a:cubicBezTo>
                  <a:pt x="13191" y="5279"/>
                  <a:pt x="13295" y="5302"/>
                  <a:pt x="13383" y="5298"/>
                </a:cubicBezTo>
                <a:cubicBezTo>
                  <a:pt x="13430" y="5296"/>
                  <a:pt x="13471" y="5282"/>
                  <a:pt x="13517" y="5273"/>
                </a:cubicBezTo>
                <a:cubicBezTo>
                  <a:pt x="13549" y="5266"/>
                  <a:pt x="13616" y="5275"/>
                  <a:pt x="13634" y="5243"/>
                </a:cubicBezTo>
                <a:cubicBezTo>
                  <a:pt x="13653" y="5252"/>
                  <a:pt x="13665" y="5295"/>
                  <a:pt x="13661" y="5313"/>
                </a:cubicBezTo>
                <a:cubicBezTo>
                  <a:pt x="13659" y="5323"/>
                  <a:pt x="13623" y="5312"/>
                  <a:pt x="13616" y="5322"/>
                </a:cubicBezTo>
                <a:cubicBezTo>
                  <a:pt x="13646" y="5331"/>
                  <a:pt x="13718" y="5337"/>
                  <a:pt x="13711" y="5381"/>
                </a:cubicBezTo>
                <a:cubicBezTo>
                  <a:pt x="13678" y="5364"/>
                  <a:pt x="13612" y="5390"/>
                  <a:pt x="13577" y="5397"/>
                </a:cubicBezTo>
                <a:cubicBezTo>
                  <a:pt x="13577" y="5397"/>
                  <a:pt x="13501" y="5407"/>
                  <a:pt x="13534" y="5421"/>
                </a:cubicBezTo>
                <a:cubicBezTo>
                  <a:pt x="13550" y="5429"/>
                  <a:pt x="13600" y="5409"/>
                  <a:pt x="13628" y="5410"/>
                </a:cubicBezTo>
                <a:cubicBezTo>
                  <a:pt x="13658" y="5410"/>
                  <a:pt x="13712" y="5403"/>
                  <a:pt x="13725" y="5410"/>
                </a:cubicBezTo>
                <a:cubicBezTo>
                  <a:pt x="13752" y="5424"/>
                  <a:pt x="13847" y="5579"/>
                  <a:pt x="13774" y="5577"/>
                </a:cubicBezTo>
                <a:cubicBezTo>
                  <a:pt x="13768" y="5577"/>
                  <a:pt x="13745" y="5539"/>
                  <a:pt x="13733" y="5535"/>
                </a:cubicBezTo>
                <a:cubicBezTo>
                  <a:pt x="13684" y="5514"/>
                  <a:pt x="13657" y="5558"/>
                  <a:pt x="13630" y="5589"/>
                </a:cubicBezTo>
                <a:cubicBezTo>
                  <a:pt x="13658" y="5606"/>
                  <a:pt x="13677" y="5640"/>
                  <a:pt x="13715" y="5633"/>
                </a:cubicBezTo>
                <a:cubicBezTo>
                  <a:pt x="13708" y="5668"/>
                  <a:pt x="13662" y="5657"/>
                  <a:pt x="13662" y="5677"/>
                </a:cubicBezTo>
                <a:cubicBezTo>
                  <a:pt x="13688" y="5671"/>
                  <a:pt x="13705" y="5668"/>
                  <a:pt x="13730" y="5678"/>
                </a:cubicBezTo>
                <a:cubicBezTo>
                  <a:pt x="13747" y="5686"/>
                  <a:pt x="13745" y="5714"/>
                  <a:pt x="13769" y="5712"/>
                </a:cubicBezTo>
                <a:cubicBezTo>
                  <a:pt x="13805" y="5709"/>
                  <a:pt x="13796" y="5612"/>
                  <a:pt x="13798" y="5587"/>
                </a:cubicBezTo>
                <a:cubicBezTo>
                  <a:pt x="13832" y="5621"/>
                  <a:pt x="13846" y="5667"/>
                  <a:pt x="13875" y="5704"/>
                </a:cubicBezTo>
                <a:cubicBezTo>
                  <a:pt x="13857" y="5721"/>
                  <a:pt x="13772" y="5684"/>
                  <a:pt x="13847" y="5719"/>
                </a:cubicBezTo>
                <a:cubicBezTo>
                  <a:pt x="13817" y="5705"/>
                  <a:pt x="13743" y="5727"/>
                  <a:pt x="13705" y="5726"/>
                </a:cubicBezTo>
                <a:cubicBezTo>
                  <a:pt x="13651" y="5725"/>
                  <a:pt x="13606" y="5729"/>
                  <a:pt x="13555" y="5736"/>
                </a:cubicBezTo>
                <a:cubicBezTo>
                  <a:pt x="13460" y="5749"/>
                  <a:pt x="13375" y="5759"/>
                  <a:pt x="13273" y="5759"/>
                </a:cubicBezTo>
                <a:cubicBezTo>
                  <a:pt x="13284" y="5685"/>
                  <a:pt x="13514" y="5789"/>
                  <a:pt x="13553" y="5698"/>
                </a:cubicBezTo>
                <a:cubicBezTo>
                  <a:pt x="13495" y="5683"/>
                  <a:pt x="13429" y="5684"/>
                  <a:pt x="13370" y="5686"/>
                </a:cubicBezTo>
                <a:cubicBezTo>
                  <a:pt x="13326" y="5687"/>
                  <a:pt x="13213" y="5722"/>
                  <a:pt x="13177" y="5703"/>
                </a:cubicBezTo>
                <a:cubicBezTo>
                  <a:pt x="13156" y="5692"/>
                  <a:pt x="13161" y="5664"/>
                  <a:pt x="13132" y="5650"/>
                </a:cubicBezTo>
                <a:cubicBezTo>
                  <a:pt x="13104" y="5636"/>
                  <a:pt x="13067" y="5658"/>
                  <a:pt x="13042" y="5632"/>
                </a:cubicBezTo>
                <a:cubicBezTo>
                  <a:pt x="13086" y="5622"/>
                  <a:pt x="13077" y="5668"/>
                  <a:pt x="13042" y="5632"/>
                </a:cubicBezTo>
                <a:close/>
                <a:moveTo>
                  <a:pt x="13146" y="4276"/>
                </a:moveTo>
                <a:cubicBezTo>
                  <a:pt x="13162" y="4275"/>
                  <a:pt x="13208" y="4264"/>
                  <a:pt x="13219" y="4281"/>
                </a:cubicBezTo>
                <a:cubicBezTo>
                  <a:pt x="13219" y="4284"/>
                  <a:pt x="13217" y="4287"/>
                  <a:pt x="13215" y="4289"/>
                </a:cubicBezTo>
                <a:cubicBezTo>
                  <a:pt x="13199" y="4287"/>
                  <a:pt x="13161" y="4286"/>
                  <a:pt x="13146" y="4276"/>
                </a:cubicBezTo>
                <a:cubicBezTo>
                  <a:pt x="13162" y="4275"/>
                  <a:pt x="13161" y="4286"/>
                  <a:pt x="13146" y="4276"/>
                </a:cubicBezTo>
                <a:close/>
                <a:moveTo>
                  <a:pt x="13368" y="4458"/>
                </a:moveTo>
                <a:cubicBezTo>
                  <a:pt x="13377" y="4429"/>
                  <a:pt x="13423" y="4435"/>
                  <a:pt x="13444" y="4443"/>
                </a:cubicBezTo>
                <a:cubicBezTo>
                  <a:pt x="13434" y="4470"/>
                  <a:pt x="13363" y="4477"/>
                  <a:pt x="13368" y="4458"/>
                </a:cubicBezTo>
                <a:cubicBezTo>
                  <a:pt x="13370" y="4452"/>
                  <a:pt x="13367" y="4461"/>
                  <a:pt x="13368" y="4458"/>
                </a:cubicBezTo>
                <a:close/>
                <a:moveTo>
                  <a:pt x="13901" y="5290"/>
                </a:moveTo>
                <a:cubicBezTo>
                  <a:pt x="13915" y="5299"/>
                  <a:pt x="13893" y="5307"/>
                  <a:pt x="13893" y="5314"/>
                </a:cubicBezTo>
                <a:cubicBezTo>
                  <a:pt x="13894" y="5325"/>
                  <a:pt x="13911" y="5332"/>
                  <a:pt x="13911" y="5332"/>
                </a:cubicBezTo>
                <a:cubicBezTo>
                  <a:pt x="13912" y="5351"/>
                  <a:pt x="13910" y="5389"/>
                  <a:pt x="13904" y="5418"/>
                </a:cubicBezTo>
                <a:cubicBezTo>
                  <a:pt x="13897" y="5457"/>
                  <a:pt x="13899" y="5480"/>
                  <a:pt x="13856" y="5478"/>
                </a:cubicBezTo>
                <a:cubicBezTo>
                  <a:pt x="13813" y="5477"/>
                  <a:pt x="13775" y="5422"/>
                  <a:pt x="13769" y="5385"/>
                </a:cubicBezTo>
                <a:cubicBezTo>
                  <a:pt x="13784" y="5386"/>
                  <a:pt x="13871" y="5399"/>
                  <a:pt x="13862" y="5361"/>
                </a:cubicBezTo>
                <a:cubicBezTo>
                  <a:pt x="13854" y="5323"/>
                  <a:pt x="13812" y="5353"/>
                  <a:pt x="13789" y="5356"/>
                </a:cubicBezTo>
                <a:cubicBezTo>
                  <a:pt x="13742" y="5363"/>
                  <a:pt x="13753" y="5371"/>
                  <a:pt x="13726" y="5334"/>
                </a:cubicBezTo>
                <a:cubicBezTo>
                  <a:pt x="13647" y="5223"/>
                  <a:pt x="13851" y="5236"/>
                  <a:pt x="13910" y="5261"/>
                </a:cubicBezTo>
                <a:cubicBezTo>
                  <a:pt x="13865" y="5260"/>
                  <a:pt x="13826" y="5277"/>
                  <a:pt x="13787" y="5298"/>
                </a:cubicBezTo>
                <a:cubicBezTo>
                  <a:pt x="13824" y="5290"/>
                  <a:pt x="13865" y="5305"/>
                  <a:pt x="13901" y="5290"/>
                </a:cubicBezTo>
                <a:cubicBezTo>
                  <a:pt x="13922" y="5303"/>
                  <a:pt x="13866" y="5305"/>
                  <a:pt x="13901" y="5290"/>
                </a:cubicBezTo>
                <a:close/>
                <a:moveTo>
                  <a:pt x="13652" y="5132"/>
                </a:moveTo>
                <a:cubicBezTo>
                  <a:pt x="13740" y="5138"/>
                  <a:pt x="13818" y="5097"/>
                  <a:pt x="13902" y="5120"/>
                </a:cubicBezTo>
                <a:cubicBezTo>
                  <a:pt x="13686" y="5167"/>
                  <a:pt x="13686" y="5167"/>
                  <a:pt x="13652" y="5132"/>
                </a:cubicBezTo>
                <a:close/>
                <a:moveTo>
                  <a:pt x="13082" y="6234"/>
                </a:moveTo>
                <a:cubicBezTo>
                  <a:pt x="13074" y="6254"/>
                  <a:pt x="13046" y="6208"/>
                  <a:pt x="13047" y="6200"/>
                </a:cubicBezTo>
                <a:cubicBezTo>
                  <a:pt x="13051" y="6164"/>
                  <a:pt x="13128" y="6178"/>
                  <a:pt x="13151" y="6178"/>
                </a:cubicBezTo>
                <a:cubicBezTo>
                  <a:pt x="13144" y="6200"/>
                  <a:pt x="13143" y="6191"/>
                  <a:pt x="13154" y="6210"/>
                </a:cubicBezTo>
                <a:cubicBezTo>
                  <a:pt x="13127" y="6218"/>
                  <a:pt x="13097" y="6198"/>
                  <a:pt x="13082" y="6234"/>
                </a:cubicBezTo>
                <a:cubicBezTo>
                  <a:pt x="13079" y="6243"/>
                  <a:pt x="13097" y="6197"/>
                  <a:pt x="13082" y="6234"/>
                </a:cubicBezTo>
                <a:close/>
                <a:moveTo>
                  <a:pt x="13158" y="6147"/>
                </a:moveTo>
                <a:cubicBezTo>
                  <a:pt x="13151" y="6139"/>
                  <a:pt x="13151" y="6131"/>
                  <a:pt x="13158" y="6123"/>
                </a:cubicBezTo>
                <a:cubicBezTo>
                  <a:pt x="13165" y="6131"/>
                  <a:pt x="13164" y="6139"/>
                  <a:pt x="13158" y="6147"/>
                </a:cubicBezTo>
                <a:close/>
                <a:moveTo>
                  <a:pt x="13363" y="6014"/>
                </a:moveTo>
                <a:cubicBezTo>
                  <a:pt x="13339" y="6025"/>
                  <a:pt x="13169" y="6033"/>
                  <a:pt x="13193" y="5998"/>
                </a:cubicBezTo>
                <a:cubicBezTo>
                  <a:pt x="13212" y="5971"/>
                  <a:pt x="13294" y="5985"/>
                  <a:pt x="13324" y="5989"/>
                </a:cubicBezTo>
                <a:cubicBezTo>
                  <a:pt x="13332" y="5990"/>
                  <a:pt x="13415" y="5989"/>
                  <a:pt x="13363" y="6014"/>
                </a:cubicBezTo>
                <a:cubicBezTo>
                  <a:pt x="13337" y="6026"/>
                  <a:pt x="13369" y="6011"/>
                  <a:pt x="13363" y="6014"/>
                </a:cubicBezTo>
                <a:close/>
                <a:moveTo>
                  <a:pt x="13785" y="5983"/>
                </a:moveTo>
                <a:cubicBezTo>
                  <a:pt x="13703" y="5994"/>
                  <a:pt x="13621" y="5988"/>
                  <a:pt x="13539" y="5997"/>
                </a:cubicBezTo>
                <a:cubicBezTo>
                  <a:pt x="13517" y="5999"/>
                  <a:pt x="13449" y="6022"/>
                  <a:pt x="13427" y="6008"/>
                </a:cubicBezTo>
                <a:cubicBezTo>
                  <a:pt x="13407" y="5994"/>
                  <a:pt x="13418" y="5969"/>
                  <a:pt x="13397" y="5958"/>
                </a:cubicBezTo>
                <a:cubicBezTo>
                  <a:pt x="13362" y="5940"/>
                  <a:pt x="13195" y="5985"/>
                  <a:pt x="13188" y="5947"/>
                </a:cubicBezTo>
                <a:cubicBezTo>
                  <a:pt x="13178" y="5895"/>
                  <a:pt x="13254" y="5890"/>
                  <a:pt x="13280" y="5862"/>
                </a:cubicBezTo>
                <a:cubicBezTo>
                  <a:pt x="13255" y="5862"/>
                  <a:pt x="13157" y="5875"/>
                  <a:pt x="13139" y="5864"/>
                </a:cubicBezTo>
                <a:cubicBezTo>
                  <a:pt x="13085" y="5831"/>
                  <a:pt x="13144" y="5832"/>
                  <a:pt x="13161" y="5826"/>
                </a:cubicBezTo>
                <a:cubicBezTo>
                  <a:pt x="13209" y="5808"/>
                  <a:pt x="13200" y="5817"/>
                  <a:pt x="13243" y="5835"/>
                </a:cubicBezTo>
                <a:cubicBezTo>
                  <a:pt x="13290" y="5854"/>
                  <a:pt x="13344" y="5853"/>
                  <a:pt x="13393" y="5845"/>
                </a:cubicBezTo>
                <a:cubicBezTo>
                  <a:pt x="13430" y="5839"/>
                  <a:pt x="13480" y="5836"/>
                  <a:pt x="13515" y="5823"/>
                </a:cubicBezTo>
                <a:cubicBezTo>
                  <a:pt x="13559" y="5808"/>
                  <a:pt x="13567" y="5781"/>
                  <a:pt x="13622" y="5783"/>
                </a:cubicBezTo>
                <a:cubicBezTo>
                  <a:pt x="13642" y="5784"/>
                  <a:pt x="13663" y="5791"/>
                  <a:pt x="13681" y="5798"/>
                </a:cubicBezTo>
                <a:cubicBezTo>
                  <a:pt x="13723" y="5813"/>
                  <a:pt x="13656" y="5809"/>
                  <a:pt x="13733" y="5825"/>
                </a:cubicBezTo>
                <a:cubicBezTo>
                  <a:pt x="13792" y="5837"/>
                  <a:pt x="13869" y="5827"/>
                  <a:pt x="13928" y="5821"/>
                </a:cubicBezTo>
                <a:cubicBezTo>
                  <a:pt x="13923" y="5793"/>
                  <a:pt x="13907" y="5768"/>
                  <a:pt x="13893" y="5743"/>
                </a:cubicBezTo>
                <a:cubicBezTo>
                  <a:pt x="13943" y="5832"/>
                  <a:pt x="13985" y="5924"/>
                  <a:pt x="14032" y="6018"/>
                </a:cubicBezTo>
                <a:cubicBezTo>
                  <a:pt x="13931" y="6024"/>
                  <a:pt x="13829" y="6030"/>
                  <a:pt x="13728" y="6037"/>
                </a:cubicBezTo>
                <a:cubicBezTo>
                  <a:pt x="13804" y="6004"/>
                  <a:pt x="13887" y="5989"/>
                  <a:pt x="13969" y="5981"/>
                </a:cubicBezTo>
                <a:cubicBezTo>
                  <a:pt x="13908" y="5981"/>
                  <a:pt x="13846" y="5976"/>
                  <a:pt x="13785" y="5983"/>
                </a:cubicBezTo>
                <a:cubicBezTo>
                  <a:pt x="13741" y="5989"/>
                  <a:pt x="13846" y="5976"/>
                  <a:pt x="13785" y="5983"/>
                </a:cubicBezTo>
                <a:close/>
                <a:moveTo>
                  <a:pt x="14078" y="6124"/>
                </a:moveTo>
                <a:cubicBezTo>
                  <a:pt x="14074" y="6162"/>
                  <a:pt x="14031" y="6145"/>
                  <a:pt x="14012" y="6168"/>
                </a:cubicBezTo>
                <a:cubicBezTo>
                  <a:pt x="14000" y="6122"/>
                  <a:pt x="14026" y="6125"/>
                  <a:pt x="14068" y="6124"/>
                </a:cubicBezTo>
                <a:cubicBezTo>
                  <a:pt x="14019" y="6088"/>
                  <a:pt x="13969" y="6103"/>
                  <a:pt x="13915" y="6112"/>
                </a:cubicBezTo>
                <a:cubicBezTo>
                  <a:pt x="13856" y="6123"/>
                  <a:pt x="13796" y="6122"/>
                  <a:pt x="13737" y="6126"/>
                </a:cubicBezTo>
                <a:cubicBezTo>
                  <a:pt x="13817" y="6120"/>
                  <a:pt x="13904" y="6102"/>
                  <a:pt x="13984" y="6100"/>
                </a:cubicBezTo>
                <a:cubicBezTo>
                  <a:pt x="14020" y="6100"/>
                  <a:pt x="14041" y="6113"/>
                  <a:pt x="14073" y="6124"/>
                </a:cubicBezTo>
                <a:cubicBezTo>
                  <a:pt x="14078" y="6125"/>
                  <a:pt x="14100" y="6131"/>
                  <a:pt x="14078" y="6124"/>
                </a:cubicBezTo>
                <a:cubicBezTo>
                  <a:pt x="14074" y="6165"/>
                  <a:pt x="14082" y="6125"/>
                  <a:pt x="14078" y="6124"/>
                </a:cubicBezTo>
                <a:close/>
                <a:moveTo>
                  <a:pt x="14093" y="5712"/>
                </a:moveTo>
                <a:cubicBezTo>
                  <a:pt x="14068" y="5752"/>
                  <a:pt x="14090" y="5782"/>
                  <a:pt x="14083" y="5822"/>
                </a:cubicBezTo>
                <a:cubicBezTo>
                  <a:pt x="14078" y="5849"/>
                  <a:pt x="14072" y="5852"/>
                  <a:pt x="14061" y="5877"/>
                </a:cubicBezTo>
                <a:cubicBezTo>
                  <a:pt x="14035" y="5838"/>
                  <a:pt x="13963" y="5761"/>
                  <a:pt x="13988" y="5716"/>
                </a:cubicBezTo>
                <a:cubicBezTo>
                  <a:pt x="14004" y="5688"/>
                  <a:pt x="14106" y="5691"/>
                  <a:pt x="14093" y="5712"/>
                </a:cubicBezTo>
                <a:cubicBezTo>
                  <a:pt x="14068" y="5753"/>
                  <a:pt x="14095" y="5709"/>
                  <a:pt x="14093" y="5712"/>
                </a:cubicBezTo>
                <a:close/>
                <a:moveTo>
                  <a:pt x="14383" y="5279"/>
                </a:moveTo>
                <a:cubicBezTo>
                  <a:pt x="14391" y="5277"/>
                  <a:pt x="14400" y="5272"/>
                  <a:pt x="14409" y="5266"/>
                </a:cubicBezTo>
                <a:cubicBezTo>
                  <a:pt x="14400" y="5272"/>
                  <a:pt x="14391" y="5277"/>
                  <a:pt x="14383" y="5279"/>
                </a:cubicBezTo>
                <a:close/>
                <a:moveTo>
                  <a:pt x="14641" y="4171"/>
                </a:moveTo>
                <a:cubicBezTo>
                  <a:pt x="14643" y="4091"/>
                  <a:pt x="14839" y="4195"/>
                  <a:pt x="14740" y="4074"/>
                </a:cubicBezTo>
                <a:cubicBezTo>
                  <a:pt x="14751" y="4164"/>
                  <a:pt x="14530" y="4120"/>
                  <a:pt x="14475" y="4120"/>
                </a:cubicBezTo>
                <a:cubicBezTo>
                  <a:pt x="14520" y="4161"/>
                  <a:pt x="14601" y="4121"/>
                  <a:pt x="14629" y="4171"/>
                </a:cubicBezTo>
                <a:cubicBezTo>
                  <a:pt x="14576" y="4175"/>
                  <a:pt x="14523" y="4186"/>
                  <a:pt x="14470" y="4190"/>
                </a:cubicBezTo>
                <a:cubicBezTo>
                  <a:pt x="14424" y="4193"/>
                  <a:pt x="14374" y="4181"/>
                  <a:pt x="14329" y="4192"/>
                </a:cubicBezTo>
                <a:cubicBezTo>
                  <a:pt x="14304" y="4199"/>
                  <a:pt x="14132" y="4295"/>
                  <a:pt x="14122" y="4281"/>
                </a:cubicBezTo>
                <a:cubicBezTo>
                  <a:pt x="14128" y="4283"/>
                  <a:pt x="14131" y="4286"/>
                  <a:pt x="14134" y="4291"/>
                </a:cubicBezTo>
                <a:cubicBezTo>
                  <a:pt x="14038" y="4338"/>
                  <a:pt x="13918" y="4286"/>
                  <a:pt x="13822" y="4271"/>
                </a:cubicBezTo>
                <a:cubicBezTo>
                  <a:pt x="13717" y="4254"/>
                  <a:pt x="13656" y="4186"/>
                  <a:pt x="13549" y="4236"/>
                </a:cubicBezTo>
                <a:cubicBezTo>
                  <a:pt x="13492" y="4262"/>
                  <a:pt x="13490" y="4262"/>
                  <a:pt x="13421" y="4258"/>
                </a:cubicBezTo>
                <a:cubicBezTo>
                  <a:pt x="13354" y="4255"/>
                  <a:pt x="13288" y="4257"/>
                  <a:pt x="13221" y="4255"/>
                </a:cubicBezTo>
                <a:cubicBezTo>
                  <a:pt x="13189" y="4254"/>
                  <a:pt x="13158" y="4253"/>
                  <a:pt x="13127" y="4256"/>
                </a:cubicBezTo>
                <a:cubicBezTo>
                  <a:pt x="13111" y="4257"/>
                  <a:pt x="13062" y="4271"/>
                  <a:pt x="13049" y="4266"/>
                </a:cubicBezTo>
                <a:cubicBezTo>
                  <a:pt x="13039" y="4262"/>
                  <a:pt x="13018" y="4234"/>
                  <a:pt x="13010" y="4221"/>
                </a:cubicBezTo>
                <a:cubicBezTo>
                  <a:pt x="12982" y="4176"/>
                  <a:pt x="12909" y="4115"/>
                  <a:pt x="13017" y="4117"/>
                </a:cubicBezTo>
                <a:cubicBezTo>
                  <a:pt x="13108" y="4119"/>
                  <a:pt x="13197" y="4125"/>
                  <a:pt x="13288" y="4124"/>
                </a:cubicBezTo>
                <a:cubicBezTo>
                  <a:pt x="13320" y="4123"/>
                  <a:pt x="13362" y="4116"/>
                  <a:pt x="13393" y="4116"/>
                </a:cubicBezTo>
                <a:cubicBezTo>
                  <a:pt x="13439" y="4115"/>
                  <a:pt x="13505" y="4123"/>
                  <a:pt x="13560" y="4123"/>
                </a:cubicBezTo>
                <a:cubicBezTo>
                  <a:pt x="13623" y="4123"/>
                  <a:pt x="13710" y="4107"/>
                  <a:pt x="13771" y="4121"/>
                </a:cubicBezTo>
                <a:cubicBezTo>
                  <a:pt x="13792" y="4126"/>
                  <a:pt x="13854" y="4172"/>
                  <a:pt x="13825" y="4127"/>
                </a:cubicBezTo>
                <a:cubicBezTo>
                  <a:pt x="13930" y="4128"/>
                  <a:pt x="14026" y="4152"/>
                  <a:pt x="14128" y="4153"/>
                </a:cubicBezTo>
                <a:cubicBezTo>
                  <a:pt x="14246" y="4155"/>
                  <a:pt x="14379" y="4152"/>
                  <a:pt x="14497" y="4140"/>
                </a:cubicBezTo>
                <a:cubicBezTo>
                  <a:pt x="14449" y="4097"/>
                  <a:pt x="14387" y="4122"/>
                  <a:pt x="14340" y="4121"/>
                </a:cubicBezTo>
                <a:cubicBezTo>
                  <a:pt x="14287" y="4120"/>
                  <a:pt x="14235" y="4121"/>
                  <a:pt x="14182" y="4121"/>
                </a:cubicBezTo>
                <a:cubicBezTo>
                  <a:pt x="14155" y="4121"/>
                  <a:pt x="14129" y="4121"/>
                  <a:pt x="14103" y="4121"/>
                </a:cubicBezTo>
                <a:cubicBezTo>
                  <a:pt x="14087" y="4101"/>
                  <a:pt x="14080" y="4098"/>
                  <a:pt x="14080" y="4112"/>
                </a:cubicBezTo>
                <a:cubicBezTo>
                  <a:pt x="14081" y="4120"/>
                  <a:pt x="14077" y="4123"/>
                  <a:pt x="14067" y="4121"/>
                </a:cubicBezTo>
                <a:cubicBezTo>
                  <a:pt x="14102" y="4118"/>
                  <a:pt x="14059" y="4098"/>
                  <a:pt x="14082" y="4085"/>
                </a:cubicBezTo>
                <a:cubicBezTo>
                  <a:pt x="14098" y="4076"/>
                  <a:pt x="14174" y="4085"/>
                  <a:pt x="14193" y="4085"/>
                </a:cubicBezTo>
                <a:cubicBezTo>
                  <a:pt x="14245" y="4084"/>
                  <a:pt x="14302" y="4096"/>
                  <a:pt x="14332" y="4063"/>
                </a:cubicBezTo>
                <a:cubicBezTo>
                  <a:pt x="14346" y="4048"/>
                  <a:pt x="14347" y="3980"/>
                  <a:pt x="14373" y="4030"/>
                </a:cubicBezTo>
                <a:cubicBezTo>
                  <a:pt x="14379" y="4041"/>
                  <a:pt x="14347" y="4051"/>
                  <a:pt x="14366" y="4077"/>
                </a:cubicBezTo>
                <a:cubicBezTo>
                  <a:pt x="14382" y="4097"/>
                  <a:pt x="14419" y="4073"/>
                  <a:pt x="14435" y="4070"/>
                </a:cubicBezTo>
                <a:cubicBezTo>
                  <a:pt x="14384" y="4031"/>
                  <a:pt x="14423" y="3964"/>
                  <a:pt x="14480" y="3978"/>
                </a:cubicBezTo>
                <a:cubicBezTo>
                  <a:pt x="14521" y="3989"/>
                  <a:pt x="14504" y="4015"/>
                  <a:pt x="14552" y="4000"/>
                </a:cubicBezTo>
                <a:cubicBezTo>
                  <a:pt x="14576" y="3993"/>
                  <a:pt x="14563" y="3965"/>
                  <a:pt x="14593" y="3968"/>
                </a:cubicBezTo>
                <a:cubicBezTo>
                  <a:pt x="14664" y="3976"/>
                  <a:pt x="14607" y="4071"/>
                  <a:pt x="14643" y="4082"/>
                </a:cubicBezTo>
                <a:cubicBezTo>
                  <a:pt x="14673" y="4091"/>
                  <a:pt x="14669" y="4049"/>
                  <a:pt x="14687" y="4045"/>
                </a:cubicBezTo>
                <a:cubicBezTo>
                  <a:pt x="14710" y="4040"/>
                  <a:pt x="14709" y="4079"/>
                  <a:pt x="14739" y="4073"/>
                </a:cubicBezTo>
                <a:cubicBezTo>
                  <a:pt x="14727" y="3962"/>
                  <a:pt x="14872" y="3999"/>
                  <a:pt x="14844" y="3898"/>
                </a:cubicBezTo>
                <a:cubicBezTo>
                  <a:pt x="14849" y="3914"/>
                  <a:pt x="14877" y="4036"/>
                  <a:pt x="14896" y="4027"/>
                </a:cubicBezTo>
                <a:cubicBezTo>
                  <a:pt x="14920" y="4015"/>
                  <a:pt x="14888" y="3951"/>
                  <a:pt x="14914" y="3921"/>
                </a:cubicBezTo>
                <a:cubicBezTo>
                  <a:pt x="14917" y="3953"/>
                  <a:pt x="14961" y="3958"/>
                  <a:pt x="14943" y="4006"/>
                </a:cubicBezTo>
                <a:cubicBezTo>
                  <a:pt x="14935" y="4027"/>
                  <a:pt x="14913" y="4031"/>
                  <a:pt x="14900" y="4051"/>
                </a:cubicBezTo>
                <a:cubicBezTo>
                  <a:pt x="14889" y="4068"/>
                  <a:pt x="14888" y="4090"/>
                  <a:pt x="14877" y="4107"/>
                </a:cubicBezTo>
                <a:cubicBezTo>
                  <a:pt x="14828" y="4184"/>
                  <a:pt x="14722" y="4172"/>
                  <a:pt x="14641" y="4171"/>
                </a:cubicBezTo>
                <a:cubicBezTo>
                  <a:pt x="14642" y="4119"/>
                  <a:pt x="14677" y="4171"/>
                  <a:pt x="14641" y="4171"/>
                </a:cubicBezTo>
                <a:close/>
                <a:moveTo>
                  <a:pt x="14826" y="4351"/>
                </a:moveTo>
                <a:cubicBezTo>
                  <a:pt x="14829" y="4343"/>
                  <a:pt x="14830" y="4356"/>
                  <a:pt x="14816" y="4338"/>
                </a:cubicBezTo>
                <a:cubicBezTo>
                  <a:pt x="14820" y="4342"/>
                  <a:pt x="14823" y="4347"/>
                  <a:pt x="14826" y="4351"/>
                </a:cubicBezTo>
                <a:cubicBezTo>
                  <a:pt x="14828" y="4347"/>
                  <a:pt x="14823" y="4347"/>
                  <a:pt x="14826" y="4351"/>
                </a:cubicBezTo>
                <a:close/>
                <a:moveTo>
                  <a:pt x="14824" y="4382"/>
                </a:moveTo>
                <a:cubicBezTo>
                  <a:pt x="14832" y="4381"/>
                  <a:pt x="14840" y="4380"/>
                  <a:pt x="14848" y="4379"/>
                </a:cubicBezTo>
                <a:cubicBezTo>
                  <a:pt x="14832" y="4389"/>
                  <a:pt x="14824" y="4390"/>
                  <a:pt x="14824" y="4382"/>
                </a:cubicBezTo>
                <a:close/>
                <a:moveTo>
                  <a:pt x="14839" y="4470"/>
                </a:moveTo>
                <a:cubicBezTo>
                  <a:pt x="14852" y="4448"/>
                  <a:pt x="14842" y="4466"/>
                  <a:pt x="14839" y="4470"/>
                </a:cubicBezTo>
                <a:cubicBezTo>
                  <a:pt x="14841" y="4466"/>
                  <a:pt x="14839" y="4470"/>
                  <a:pt x="14839" y="4470"/>
                </a:cubicBezTo>
                <a:close/>
                <a:moveTo>
                  <a:pt x="14841" y="4567"/>
                </a:moveTo>
                <a:cubicBezTo>
                  <a:pt x="14849" y="4571"/>
                  <a:pt x="14856" y="4570"/>
                  <a:pt x="14841" y="4567"/>
                </a:cubicBezTo>
                <a:cubicBezTo>
                  <a:pt x="14841" y="4567"/>
                  <a:pt x="14845" y="4567"/>
                  <a:pt x="14841" y="4567"/>
                </a:cubicBezTo>
                <a:close/>
                <a:moveTo>
                  <a:pt x="14910" y="4645"/>
                </a:moveTo>
                <a:cubicBezTo>
                  <a:pt x="14879" y="4643"/>
                  <a:pt x="14903" y="4624"/>
                  <a:pt x="14892" y="4610"/>
                </a:cubicBezTo>
                <a:cubicBezTo>
                  <a:pt x="14882" y="4597"/>
                  <a:pt x="14874" y="4606"/>
                  <a:pt x="14864" y="4593"/>
                </a:cubicBezTo>
                <a:cubicBezTo>
                  <a:pt x="14884" y="4618"/>
                  <a:pt x="14889" y="4584"/>
                  <a:pt x="14895" y="4572"/>
                </a:cubicBezTo>
                <a:cubicBezTo>
                  <a:pt x="14910" y="4592"/>
                  <a:pt x="14996" y="4653"/>
                  <a:pt x="14910" y="4645"/>
                </a:cubicBezTo>
                <a:cubicBezTo>
                  <a:pt x="14878" y="4643"/>
                  <a:pt x="14927" y="4647"/>
                  <a:pt x="14910" y="4645"/>
                </a:cubicBezTo>
                <a:close/>
                <a:moveTo>
                  <a:pt x="14939" y="4371"/>
                </a:moveTo>
                <a:cubicBezTo>
                  <a:pt x="14939" y="4356"/>
                  <a:pt x="14939" y="4342"/>
                  <a:pt x="14939" y="4327"/>
                </a:cubicBezTo>
                <a:cubicBezTo>
                  <a:pt x="14997" y="4323"/>
                  <a:pt x="14993" y="4364"/>
                  <a:pt x="14990" y="4408"/>
                </a:cubicBezTo>
                <a:cubicBezTo>
                  <a:pt x="14968" y="4399"/>
                  <a:pt x="14969" y="4361"/>
                  <a:pt x="14939" y="4371"/>
                </a:cubicBezTo>
                <a:cubicBezTo>
                  <a:pt x="14939" y="4356"/>
                  <a:pt x="14970" y="4360"/>
                  <a:pt x="14939" y="4371"/>
                </a:cubicBezTo>
                <a:close/>
                <a:moveTo>
                  <a:pt x="14982" y="4462"/>
                </a:moveTo>
                <a:cubicBezTo>
                  <a:pt x="14951" y="4425"/>
                  <a:pt x="15003" y="4438"/>
                  <a:pt x="15014" y="4438"/>
                </a:cubicBezTo>
                <a:cubicBezTo>
                  <a:pt x="15037" y="4439"/>
                  <a:pt x="15093" y="4447"/>
                  <a:pt x="15120" y="4452"/>
                </a:cubicBezTo>
                <a:cubicBezTo>
                  <a:pt x="15105" y="4503"/>
                  <a:pt x="15011" y="4499"/>
                  <a:pt x="14982" y="4462"/>
                </a:cubicBezTo>
                <a:cubicBezTo>
                  <a:pt x="14975" y="4454"/>
                  <a:pt x="15024" y="4514"/>
                  <a:pt x="14982" y="4462"/>
                </a:cubicBezTo>
                <a:close/>
                <a:moveTo>
                  <a:pt x="15104" y="4571"/>
                </a:moveTo>
                <a:cubicBezTo>
                  <a:pt x="15083" y="4615"/>
                  <a:pt x="15059" y="4559"/>
                  <a:pt x="15033" y="4575"/>
                </a:cubicBezTo>
                <a:cubicBezTo>
                  <a:pt x="15053" y="4543"/>
                  <a:pt x="15072" y="4559"/>
                  <a:pt x="15104" y="4571"/>
                </a:cubicBezTo>
                <a:cubicBezTo>
                  <a:pt x="15081" y="4618"/>
                  <a:pt x="15093" y="4567"/>
                  <a:pt x="15104" y="4571"/>
                </a:cubicBezTo>
                <a:close/>
                <a:moveTo>
                  <a:pt x="15090" y="4530"/>
                </a:moveTo>
                <a:cubicBezTo>
                  <a:pt x="15102" y="4533"/>
                  <a:pt x="15091" y="4534"/>
                  <a:pt x="15090" y="4530"/>
                </a:cubicBezTo>
                <a:cubicBezTo>
                  <a:pt x="15091" y="4530"/>
                  <a:pt x="15090" y="4531"/>
                  <a:pt x="15090" y="4530"/>
                </a:cubicBezTo>
                <a:close/>
                <a:moveTo>
                  <a:pt x="15023" y="5270"/>
                </a:moveTo>
                <a:cubicBezTo>
                  <a:pt x="15016" y="5272"/>
                  <a:pt x="15008" y="5274"/>
                  <a:pt x="15000" y="5277"/>
                </a:cubicBezTo>
                <a:cubicBezTo>
                  <a:pt x="15021" y="5268"/>
                  <a:pt x="15043" y="5265"/>
                  <a:pt x="15066" y="5266"/>
                </a:cubicBezTo>
                <a:cubicBezTo>
                  <a:pt x="15052" y="5267"/>
                  <a:pt x="15037" y="5269"/>
                  <a:pt x="15023" y="5270"/>
                </a:cubicBezTo>
                <a:cubicBezTo>
                  <a:pt x="15016" y="5276"/>
                  <a:pt x="15037" y="5269"/>
                  <a:pt x="15023" y="5270"/>
                </a:cubicBezTo>
                <a:close/>
                <a:moveTo>
                  <a:pt x="15180" y="6059"/>
                </a:moveTo>
                <a:cubicBezTo>
                  <a:pt x="15154" y="6058"/>
                  <a:pt x="15128" y="6058"/>
                  <a:pt x="15103" y="6057"/>
                </a:cubicBezTo>
                <a:cubicBezTo>
                  <a:pt x="15128" y="6058"/>
                  <a:pt x="15154" y="6058"/>
                  <a:pt x="15180" y="6059"/>
                </a:cubicBezTo>
                <a:cubicBezTo>
                  <a:pt x="15186" y="6074"/>
                  <a:pt x="15186" y="6074"/>
                  <a:pt x="15180" y="6059"/>
                </a:cubicBezTo>
                <a:cubicBezTo>
                  <a:pt x="15154" y="6058"/>
                  <a:pt x="15181" y="6064"/>
                  <a:pt x="15180" y="6059"/>
                </a:cubicBezTo>
                <a:close/>
                <a:moveTo>
                  <a:pt x="15268" y="6102"/>
                </a:moveTo>
                <a:cubicBezTo>
                  <a:pt x="15263" y="6097"/>
                  <a:pt x="15258" y="6092"/>
                  <a:pt x="15252" y="6088"/>
                </a:cubicBezTo>
                <a:cubicBezTo>
                  <a:pt x="15263" y="6090"/>
                  <a:pt x="15268" y="6095"/>
                  <a:pt x="15268" y="6102"/>
                </a:cubicBezTo>
                <a:cubicBezTo>
                  <a:pt x="15263" y="6097"/>
                  <a:pt x="15268" y="6102"/>
                  <a:pt x="15268" y="6102"/>
                </a:cubicBezTo>
                <a:close/>
                <a:moveTo>
                  <a:pt x="15269" y="6014"/>
                </a:moveTo>
                <a:cubicBezTo>
                  <a:pt x="15270" y="6019"/>
                  <a:pt x="15272" y="6025"/>
                  <a:pt x="15273" y="6031"/>
                </a:cubicBezTo>
                <a:cubicBezTo>
                  <a:pt x="15267" y="6029"/>
                  <a:pt x="15266" y="6023"/>
                  <a:pt x="15269" y="6014"/>
                </a:cubicBezTo>
                <a:close/>
                <a:moveTo>
                  <a:pt x="15346" y="6040"/>
                </a:moveTo>
                <a:cubicBezTo>
                  <a:pt x="15323" y="6022"/>
                  <a:pt x="15297" y="6043"/>
                  <a:pt x="15273" y="6031"/>
                </a:cubicBezTo>
                <a:cubicBezTo>
                  <a:pt x="15336" y="6031"/>
                  <a:pt x="15397" y="6016"/>
                  <a:pt x="15460" y="6028"/>
                </a:cubicBezTo>
                <a:cubicBezTo>
                  <a:pt x="15423" y="6051"/>
                  <a:pt x="15386" y="6041"/>
                  <a:pt x="15346" y="6040"/>
                </a:cubicBezTo>
                <a:cubicBezTo>
                  <a:pt x="15323" y="6023"/>
                  <a:pt x="15382" y="6041"/>
                  <a:pt x="15346" y="6040"/>
                </a:cubicBezTo>
                <a:close/>
                <a:moveTo>
                  <a:pt x="15290" y="5427"/>
                </a:moveTo>
                <a:cubicBezTo>
                  <a:pt x="15304" y="5366"/>
                  <a:pt x="15351" y="5407"/>
                  <a:pt x="15381" y="5397"/>
                </a:cubicBezTo>
                <a:cubicBezTo>
                  <a:pt x="15352" y="5411"/>
                  <a:pt x="15324" y="5427"/>
                  <a:pt x="15290" y="5427"/>
                </a:cubicBezTo>
                <a:close/>
                <a:moveTo>
                  <a:pt x="15111" y="5269"/>
                </a:moveTo>
                <a:cubicBezTo>
                  <a:pt x="15101" y="5278"/>
                  <a:pt x="15090" y="5280"/>
                  <a:pt x="15078" y="5277"/>
                </a:cubicBezTo>
                <a:cubicBezTo>
                  <a:pt x="15085" y="5280"/>
                  <a:pt x="15151" y="5268"/>
                  <a:pt x="15151" y="5268"/>
                </a:cubicBezTo>
                <a:cubicBezTo>
                  <a:pt x="15190" y="5265"/>
                  <a:pt x="15232" y="5267"/>
                  <a:pt x="15271" y="5266"/>
                </a:cubicBezTo>
                <a:cubicBezTo>
                  <a:pt x="15351" y="5265"/>
                  <a:pt x="15431" y="5263"/>
                  <a:pt x="15511" y="5262"/>
                </a:cubicBezTo>
                <a:cubicBezTo>
                  <a:pt x="15378" y="5264"/>
                  <a:pt x="15244" y="5267"/>
                  <a:pt x="15111" y="5269"/>
                </a:cubicBezTo>
                <a:cubicBezTo>
                  <a:pt x="15100" y="5277"/>
                  <a:pt x="15244" y="5267"/>
                  <a:pt x="15111" y="5269"/>
                </a:cubicBezTo>
                <a:close/>
                <a:moveTo>
                  <a:pt x="15494" y="4817"/>
                </a:moveTo>
                <a:cubicBezTo>
                  <a:pt x="15490" y="4819"/>
                  <a:pt x="15486" y="4821"/>
                  <a:pt x="15482" y="4823"/>
                </a:cubicBezTo>
                <a:cubicBezTo>
                  <a:pt x="15504" y="4807"/>
                  <a:pt x="15531" y="4800"/>
                  <a:pt x="15557" y="4809"/>
                </a:cubicBezTo>
                <a:cubicBezTo>
                  <a:pt x="15535" y="4801"/>
                  <a:pt x="15514" y="4804"/>
                  <a:pt x="15494" y="4817"/>
                </a:cubicBezTo>
                <a:cubicBezTo>
                  <a:pt x="15490" y="4817"/>
                  <a:pt x="15513" y="4801"/>
                  <a:pt x="15494" y="4817"/>
                </a:cubicBezTo>
                <a:close/>
                <a:moveTo>
                  <a:pt x="15619" y="5080"/>
                </a:moveTo>
                <a:cubicBezTo>
                  <a:pt x="15619" y="5072"/>
                  <a:pt x="15620" y="5064"/>
                  <a:pt x="15620" y="5056"/>
                </a:cubicBezTo>
                <a:cubicBezTo>
                  <a:pt x="15617" y="5095"/>
                  <a:pt x="15578" y="5085"/>
                  <a:pt x="15542" y="5089"/>
                </a:cubicBezTo>
                <a:cubicBezTo>
                  <a:pt x="15568" y="5086"/>
                  <a:pt x="15593" y="5083"/>
                  <a:pt x="15619" y="5080"/>
                </a:cubicBezTo>
                <a:cubicBezTo>
                  <a:pt x="15619" y="5072"/>
                  <a:pt x="15593" y="5083"/>
                  <a:pt x="15619" y="5080"/>
                </a:cubicBezTo>
                <a:close/>
                <a:moveTo>
                  <a:pt x="15565" y="5011"/>
                </a:moveTo>
                <a:cubicBezTo>
                  <a:pt x="15578" y="4995"/>
                  <a:pt x="15592" y="4999"/>
                  <a:pt x="15608" y="5007"/>
                </a:cubicBezTo>
                <a:cubicBezTo>
                  <a:pt x="15594" y="5018"/>
                  <a:pt x="15582" y="5025"/>
                  <a:pt x="15565" y="5011"/>
                </a:cubicBezTo>
                <a:close/>
                <a:moveTo>
                  <a:pt x="15611" y="5482"/>
                </a:moveTo>
                <a:cubicBezTo>
                  <a:pt x="15610" y="5482"/>
                  <a:pt x="15643" y="5478"/>
                  <a:pt x="15611" y="5482"/>
                </a:cubicBezTo>
                <a:cubicBezTo>
                  <a:pt x="15614" y="5482"/>
                  <a:pt x="15614" y="5482"/>
                  <a:pt x="15611" y="5482"/>
                </a:cubicBezTo>
                <a:close/>
                <a:moveTo>
                  <a:pt x="15902" y="5577"/>
                </a:moveTo>
                <a:cubicBezTo>
                  <a:pt x="15826" y="5581"/>
                  <a:pt x="15751" y="5586"/>
                  <a:pt x="15675" y="5589"/>
                </a:cubicBezTo>
                <a:cubicBezTo>
                  <a:pt x="15725" y="5587"/>
                  <a:pt x="15776" y="5584"/>
                  <a:pt x="15826" y="5581"/>
                </a:cubicBezTo>
                <a:cubicBezTo>
                  <a:pt x="15875" y="5578"/>
                  <a:pt x="15920" y="5559"/>
                  <a:pt x="15967" y="5560"/>
                </a:cubicBezTo>
                <a:cubicBezTo>
                  <a:pt x="15943" y="5557"/>
                  <a:pt x="15921" y="5563"/>
                  <a:pt x="15902" y="5577"/>
                </a:cubicBezTo>
                <a:cubicBezTo>
                  <a:pt x="15826" y="5581"/>
                  <a:pt x="15922" y="5560"/>
                  <a:pt x="15902" y="5577"/>
                </a:cubicBezTo>
                <a:close/>
                <a:moveTo>
                  <a:pt x="15677" y="5054"/>
                </a:moveTo>
                <a:cubicBezTo>
                  <a:pt x="15678" y="5061"/>
                  <a:pt x="15677" y="5066"/>
                  <a:pt x="15676" y="5070"/>
                </a:cubicBezTo>
                <a:cubicBezTo>
                  <a:pt x="15677" y="5066"/>
                  <a:pt x="15678" y="5061"/>
                  <a:pt x="15677" y="5054"/>
                </a:cubicBezTo>
                <a:close/>
                <a:moveTo>
                  <a:pt x="16231" y="5498"/>
                </a:moveTo>
                <a:cubicBezTo>
                  <a:pt x="16240" y="5511"/>
                  <a:pt x="16240" y="5516"/>
                  <a:pt x="16231" y="5515"/>
                </a:cubicBezTo>
                <a:cubicBezTo>
                  <a:pt x="16240" y="5516"/>
                  <a:pt x="16240" y="5511"/>
                  <a:pt x="16231" y="5498"/>
                </a:cubicBezTo>
                <a:cubicBezTo>
                  <a:pt x="16235" y="5501"/>
                  <a:pt x="16235" y="5501"/>
                  <a:pt x="16231" y="5498"/>
                </a:cubicBezTo>
                <a:close/>
                <a:moveTo>
                  <a:pt x="16008" y="5492"/>
                </a:moveTo>
                <a:cubicBezTo>
                  <a:pt x="16077" y="5492"/>
                  <a:pt x="16146" y="5491"/>
                  <a:pt x="16215" y="5490"/>
                </a:cubicBezTo>
                <a:cubicBezTo>
                  <a:pt x="16095" y="5491"/>
                  <a:pt x="15976" y="5493"/>
                  <a:pt x="15856" y="5493"/>
                </a:cubicBezTo>
                <a:cubicBezTo>
                  <a:pt x="15907" y="5493"/>
                  <a:pt x="15958" y="5493"/>
                  <a:pt x="16008" y="5492"/>
                </a:cubicBezTo>
                <a:cubicBezTo>
                  <a:pt x="16077" y="5492"/>
                  <a:pt x="15958" y="5493"/>
                  <a:pt x="16008" y="5492"/>
                </a:cubicBezTo>
                <a:close/>
                <a:moveTo>
                  <a:pt x="16063" y="4966"/>
                </a:moveTo>
                <a:cubicBezTo>
                  <a:pt x="16025" y="4960"/>
                  <a:pt x="15954" y="4952"/>
                  <a:pt x="15917" y="4958"/>
                </a:cubicBezTo>
                <a:cubicBezTo>
                  <a:pt x="15967" y="4949"/>
                  <a:pt x="16024" y="4981"/>
                  <a:pt x="16075" y="4961"/>
                </a:cubicBezTo>
                <a:cubicBezTo>
                  <a:pt x="16071" y="4963"/>
                  <a:pt x="16067" y="4964"/>
                  <a:pt x="16063" y="4966"/>
                </a:cubicBezTo>
                <a:cubicBezTo>
                  <a:pt x="16022" y="4959"/>
                  <a:pt x="16067" y="4964"/>
                  <a:pt x="16063" y="4966"/>
                </a:cubicBezTo>
                <a:close/>
                <a:moveTo>
                  <a:pt x="16193" y="4892"/>
                </a:moveTo>
                <a:cubicBezTo>
                  <a:pt x="16208" y="4891"/>
                  <a:pt x="16222" y="4890"/>
                  <a:pt x="16237" y="4888"/>
                </a:cubicBezTo>
                <a:cubicBezTo>
                  <a:pt x="16194" y="4892"/>
                  <a:pt x="16177" y="4907"/>
                  <a:pt x="16135" y="4913"/>
                </a:cubicBezTo>
                <a:cubicBezTo>
                  <a:pt x="16104" y="4918"/>
                  <a:pt x="16073" y="4908"/>
                  <a:pt x="16043" y="4912"/>
                </a:cubicBezTo>
                <a:cubicBezTo>
                  <a:pt x="16036" y="4913"/>
                  <a:pt x="15968" y="4929"/>
                  <a:pt x="15988" y="4931"/>
                </a:cubicBezTo>
                <a:cubicBezTo>
                  <a:pt x="15886" y="4917"/>
                  <a:pt x="15563" y="5023"/>
                  <a:pt x="15532" y="4896"/>
                </a:cubicBezTo>
                <a:cubicBezTo>
                  <a:pt x="15541" y="4932"/>
                  <a:pt x="15887" y="4877"/>
                  <a:pt x="15926" y="4877"/>
                </a:cubicBezTo>
                <a:cubicBezTo>
                  <a:pt x="15901" y="4877"/>
                  <a:pt x="15877" y="4881"/>
                  <a:pt x="15853" y="4889"/>
                </a:cubicBezTo>
                <a:cubicBezTo>
                  <a:pt x="15954" y="4919"/>
                  <a:pt x="16087" y="4892"/>
                  <a:pt x="16193" y="4892"/>
                </a:cubicBezTo>
                <a:cubicBezTo>
                  <a:pt x="16208" y="4891"/>
                  <a:pt x="16128" y="4892"/>
                  <a:pt x="16193" y="4892"/>
                </a:cubicBezTo>
                <a:close/>
                <a:moveTo>
                  <a:pt x="16051" y="4536"/>
                </a:moveTo>
                <a:cubicBezTo>
                  <a:pt x="16017" y="4507"/>
                  <a:pt x="16142" y="4506"/>
                  <a:pt x="16151" y="4508"/>
                </a:cubicBezTo>
                <a:cubicBezTo>
                  <a:pt x="16158" y="4512"/>
                  <a:pt x="16160" y="4518"/>
                  <a:pt x="16160" y="4526"/>
                </a:cubicBezTo>
                <a:cubicBezTo>
                  <a:pt x="16159" y="4542"/>
                  <a:pt x="16170" y="4545"/>
                  <a:pt x="16194" y="4535"/>
                </a:cubicBezTo>
                <a:cubicBezTo>
                  <a:pt x="16235" y="4548"/>
                  <a:pt x="16263" y="4524"/>
                  <a:pt x="16299" y="4526"/>
                </a:cubicBezTo>
                <a:cubicBezTo>
                  <a:pt x="16273" y="4525"/>
                  <a:pt x="16240" y="4536"/>
                  <a:pt x="16211" y="4536"/>
                </a:cubicBezTo>
                <a:cubicBezTo>
                  <a:pt x="16159" y="4537"/>
                  <a:pt x="16104" y="4540"/>
                  <a:pt x="16051" y="4536"/>
                </a:cubicBezTo>
                <a:cubicBezTo>
                  <a:pt x="16044" y="4530"/>
                  <a:pt x="16063" y="4537"/>
                  <a:pt x="16051" y="4536"/>
                </a:cubicBezTo>
                <a:close/>
                <a:moveTo>
                  <a:pt x="16095" y="4667"/>
                </a:moveTo>
                <a:cubicBezTo>
                  <a:pt x="16094" y="4662"/>
                  <a:pt x="16094" y="4658"/>
                  <a:pt x="16093" y="4653"/>
                </a:cubicBezTo>
                <a:cubicBezTo>
                  <a:pt x="16099" y="4662"/>
                  <a:pt x="16099" y="4667"/>
                  <a:pt x="16095" y="4667"/>
                </a:cubicBezTo>
                <a:close/>
                <a:moveTo>
                  <a:pt x="16134" y="4703"/>
                </a:moveTo>
                <a:cubicBezTo>
                  <a:pt x="16134" y="4682"/>
                  <a:pt x="16226" y="4684"/>
                  <a:pt x="16237" y="4684"/>
                </a:cubicBezTo>
                <a:cubicBezTo>
                  <a:pt x="16202" y="4685"/>
                  <a:pt x="16164" y="4683"/>
                  <a:pt x="16134" y="4703"/>
                </a:cubicBezTo>
                <a:cubicBezTo>
                  <a:pt x="16134" y="4703"/>
                  <a:pt x="16165" y="4682"/>
                  <a:pt x="16134" y="4703"/>
                </a:cubicBezTo>
                <a:close/>
                <a:moveTo>
                  <a:pt x="16094" y="4613"/>
                </a:moveTo>
                <a:cubicBezTo>
                  <a:pt x="16038" y="4578"/>
                  <a:pt x="16119" y="4570"/>
                  <a:pt x="16145" y="4570"/>
                </a:cubicBezTo>
                <a:cubicBezTo>
                  <a:pt x="16205" y="4570"/>
                  <a:pt x="16265" y="4570"/>
                  <a:pt x="16325" y="4570"/>
                </a:cubicBezTo>
                <a:cubicBezTo>
                  <a:pt x="16318" y="4622"/>
                  <a:pt x="16135" y="4601"/>
                  <a:pt x="16094" y="4613"/>
                </a:cubicBezTo>
                <a:close/>
                <a:moveTo>
                  <a:pt x="16273" y="4651"/>
                </a:moveTo>
                <a:cubicBezTo>
                  <a:pt x="16269" y="4653"/>
                  <a:pt x="16264" y="4655"/>
                  <a:pt x="16260" y="4657"/>
                </a:cubicBezTo>
                <a:cubicBezTo>
                  <a:pt x="16282" y="4648"/>
                  <a:pt x="16307" y="4648"/>
                  <a:pt x="16330" y="4646"/>
                </a:cubicBezTo>
                <a:cubicBezTo>
                  <a:pt x="16311" y="4648"/>
                  <a:pt x="16292" y="4650"/>
                  <a:pt x="16273" y="4651"/>
                </a:cubicBezTo>
                <a:cubicBezTo>
                  <a:pt x="16269" y="4653"/>
                  <a:pt x="16292" y="4650"/>
                  <a:pt x="16273" y="4651"/>
                </a:cubicBezTo>
                <a:close/>
                <a:moveTo>
                  <a:pt x="16341" y="4670"/>
                </a:moveTo>
                <a:cubicBezTo>
                  <a:pt x="16363" y="4671"/>
                  <a:pt x="16392" y="4677"/>
                  <a:pt x="16390" y="4651"/>
                </a:cubicBezTo>
                <a:cubicBezTo>
                  <a:pt x="16392" y="4677"/>
                  <a:pt x="16363" y="4671"/>
                  <a:pt x="16341" y="4670"/>
                </a:cubicBezTo>
                <a:close/>
                <a:moveTo>
                  <a:pt x="16355" y="3997"/>
                </a:moveTo>
                <a:cubicBezTo>
                  <a:pt x="16348" y="4003"/>
                  <a:pt x="16342" y="4006"/>
                  <a:pt x="16335" y="4008"/>
                </a:cubicBezTo>
                <a:cubicBezTo>
                  <a:pt x="16342" y="4006"/>
                  <a:pt x="16348" y="4003"/>
                  <a:pt x="16355" y="3997"/>
                </a:cubicBezTo>
                <a:close/>
                <a:moveTo>
                  <a:pt x="16361" y="4303"/>
                </a:moveTo>
                <a:cubicBezTo>
                  <a:pt x="16375" y="4304"/>
                  <a:pt x="16389" y="4305"/>
                  <a:pt x="16403" y="4306"/>
                </a:cubicBezTo>
                <a:cubicBezTo>
                  <a:pt x="16371" y="4366"/>
                  <a:pt x="16347" y="4323"/>
                  <a:pt x="16297" y="4344"/>
                </a:cubicBezTo>
                <a:cubicBezTo>
                  <a:pt x="16333" y="4363"/>
                  <a:pt x="16360" y="4350"/>
                  <a:pt x="16398" y="4352"/>
                </a:cubicBezTo>
                <a:cubicBezTo>
                  <a:pt x="16407" y="4352"/>
                  <a:pt x="16465" y="4340"/>
                  <a:pt x="16434" y="4386"/>
                </a:cubicBezTo>
                <a:cubicBezTo>
                  <a:pt x="16430" y="4393"/>
                  <a:pt x="16294" y="4391"/>
                  <a:pt x="16279" y="4390"/>
                </a:cubicBezTo>
                <a:cubicBezTo>
                  <a:pt x="16273" y="4390"/>
                  <a:pt x="16219" y="4414"/>
                  <a:pt x="16223" y="4377"/>
                </a:cubicBezTo>
                <a:cubicBezTo>
                  <a:pt x="16224" y="4367"/>
                  <a:pt x="16260" y="4362"/>
                  <a:pt x="16264" y="4345"/>
                </a:cubicBezTo>
                <a:cubicBezTo>
                  <a:pt x="16243" y="4354"/>
                  <a:pt x="16218" y="4335"/>
                  <a:pt x="16198" y="4351"/>
                </a:cubicBezTo>
                <a:cubicBezTo>
                  <a:pt x="16168" y="4376"/>
                  <a:pt x="16206" y="4413"/>
                  <a:pt x="16145" y="4403"/>
                </a:cubicBezTo>
                <a:cubicBezTo>
                  <a:pt x="16127" y="4400"/>
                  <a:pt x="16126" y="4397"/>
                  <a:pt x="16110" y="4390"/>
                </a:cubicBezTo>
                <a:cubicBezTo>
                  <a:pt x="16109" y="4383"/>
                  <a:pt x="16107" y="4376"/>
                  <a:pt x="16106" y="4369"/>
                </a:cubicBezTo>
                <a:cubicBezTo>
                  <a:pt x="16089" y="4368"/>
                  <a:pt x="16073" y="4367"/>
                  <a:pt x="16056" y="4366"/>
                </a:cubicBezTo>
                <a:cubicBezTo>
                  <a:pt x="16007" y="4354"/>
                  <a:pt x="15970" y="4333"/>
                  <a:pt x="15926" y="4354"/>
                </a:cubicBezTo>
                <a:cubicBezTo>
                  <a:pt x="15950" y="4384"/>
                  <a:pt x="15967" y="4418"/>
                  <a:pt x="15988" y="4450"/>
                </a:cubicBezTo>
                <a:cubicBezTo>
                  <a:pt x="15964" y="4414"/>
                  <a:pt x="15921" y="4368"/>
                  <a:pt x="15918" y="4327"/>
                </a:cubicBezTo>
                <a:cubicBezTo>
                  <a:pt x="15917" y="4303"/>
                  <a:pt x="15933" y="4239"/>
                  <a:pt x="15951" y="4226"/>
                </a:cubicBezTo>
                <a:cubicBezTo>
                  <a:pt x="15929" y="4242"/>
                  <a:pt x="15956" y="4300"/>
                  <a:pt x="15980" y="4303"/>
                </a:cubicBezTo>
                <a:cubicBezTo>
                  <a:pt x="16023" y="4308"/>
                  <a:pt x="15993" y="4289"/>
                  <a:pt x="16016" y="4262"/>
                </a:cubicBezTo>
                <a:cubicBezTo>
                  <a:pt x="16034" y="4242"/>
                  <a:pt x="16062" y="4228"/>
                  <a:pt x="16076" y="4203"/>
                </a:cubicBezTo>
                <a:cubicBezTo>
                  <a:pt x="16072" y="4211"/>
                  <a:pt x="16071" y="4240"/>
                  <a:pt x="16062" y="4257"/>
                </a:cubicBezTo>
                <a:cubicBezTo>
                  <a:pt x="16049" y="4281"/>
                  <a:pt x="16040" y="4305"/>
                  <a:pt x="16008" y="4305"/>
                </a:cubicBezTo>
                <a:cubicBezTo>
                  <a:pt x="16032" y="4357"/>
                  <a:pt x="16118" y="4317"/>
                  <a:pt x="16156" y="4311"/>
                </a:cubicBezTo>
                <a:cubicBezTo>
                  <a:pt x="16222" y="4302"/>
                  <a:pt x="16294" y="4306"/>
                  <a:pt x="16361" y="4303"/>
                </a:cubicBezTo>
                <a:cubicBezTo>
                  <a:pt x="16375" y="4304"/>
                  <a:pt x="16339" y="4304"/>
                  <a:pt x="16361" y="4303"/>
                </a:cubicBezTo>
                <a:close/>
                <a:moveTo>
                  <a:pt x="16337" y="3506"/>
                </a:moveTo>
                <a:cubicBezTo>
                  <a:pt x="16341" y="3513"/>
                  <a:pt x="16346" y="3521"/>
                  <a:pt x="16350" y="3529"/>
                </a:cubicBezTo>
                <a:cubicBezTo>
                  <a:pt x="16334" y="3518"/>
                  <a:pt x="16330" y="3510"/>
                  <a:pt x="16337" y="3506"/>
                </a:cubicBezTo>
                <a:cubicBezTo>
                  <a:pt x="16345" y="3513"/>
                  <a:pt x="16337" y="3506"/>
                  <a:pt x="16337" y="3506"/>
                </a:cubicBezTo>
                <a:close/>
                <a:moveTo>
                  <a:pt x="16370" y="2700"/>
                </a:moveTo>
                <a:cubicBezTo>
                  <a:pt x="16369" y="2707"/>
                  <a:pt x="16367" y="2714"/>
                  <a:pt x="16360" y="2717"/>
                </a:cubicBezTo>
                <a:cubicBezTo>
                  <a:pt x="16367" y="2714"/>
                  <a:pt x="16369" y="2707"/>
                  <a:pt x="16370" y="270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6F3D563-84C0-D941-BA6D-98C0E946FBB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864251C8-9D64-7148-9675-CCC4AAAE4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24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Рисунок 1">
            <a:extLst>
              <a:ext uri="{FF2B5EF4-FFF2-40B4-BE49-F238E27FC236}">
                <a16:creationId xmlns:a16="http://schemas.microsoft.com/office/drawing/2014/main" id="{8DD43DDA-D18F-6B4F-B769-3D7A23C6E9D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 flipH="1">
            <a:off x="0" y="0"/>
            <a:ext cx="24385588" cy="13717587"/>
          </a:xfrm>
          <a:custGeom>
            <a:avLst/>
            <a:gdLst>
              <a:gd name="T0" fmla="*/ 1010 w 4093"/>
              <a:gd name="T1" fmla="*/ 2221 h 2503"/>
              <a:gd name="T2" fmla="*/ 109 w 4093"/>
              <a:gd name="T3" fmla="*/ 2277 h 2503"/>
              <a:gd name="T4" fmla="*/ 3741 w 4093"/>
              <a:gd name="T5" fmla="*/ 2201 h 2503"/>
              <a:gd name="T6" fmla="*/ 3575 w 4093"/>
              <a:gd name="T7" fmla="*/ 2194 h 2503"/>
              <a:gd name="T8" fmla="*/ 3476 w 4093"/>
              <a:gd name="T9" fmla="*/ 2133 h 2503"/>
              <a:gd name="T10" fmla="*/ 3073 w 4093"/>
              <a:gd name="T11" fmla="*/ 2172 h 2503"/>
              <a:gd name="T12" fmla="*/ 2596 w 4093"/>
              <a:gd name="T13" fmla="*/ 1790 h 2503"/>
              <a:gd name="T14" fmla="*/ 2147 w 4093"/>
              <a:gd name="T15" fmla="*/ 1353 h 2503"/>
              <a:gd name="T16" fmla="*/ 2213 w 4093"/>
              <a:gd name="T17" fmla="*/ 1189 h 2503"/>
              <a:gd name="T18" fmla="*/ 1936 w 4093"/>
              <a:gd name="T19" fmla="*/ 379 h 2503"/>
              <a:gd name="T20" fmla="*/ 1293 w 4093"/>
              <a:gd name="T21" fmla="*/ 52 h 2503"/>
              <a:gd name="T22" fmla="*/ 1616 w 4093"/>
              <a:gd name="T23" fmla="*/ 457 h 2503"/>
              <a:gd name="T24" fmla="*/ 737 w 4093"/>
              <a:gd name="T25" fmla="*/ 157 h 2503"/>
              <a:gd name="T26" fmla="*/ 1 w 4093"/>
              <a:gd name="T27" fmla="*/ 69 h 2503"/>
              <a:gd name="T28" fmla="*/ 513 w 4093"/>
              <a:gd name="T29" fmla="*/ 2377 h 2503"/>
              <a:gd name="T30" fmla="*/ 952 w 4093"/>
              <a:gd name="T31" fmla="*/ 2365 h 2503"/>
              <a:gd name="T32" fmla="*/ 1102 w 4093"/>
              <a:gd name="T33" fmla="*/ 2381 h 2503"/>
              <a:gd name="T34" fmla="*/ 3975 w 4093"/>
              <a:gd name="T35" fmla="*/ 2268 h 2503"/>
              <a:gd name="T36" fmla="*/ 3641 w 4093"/>
              <a:gd name="T37" fmla="*/ 2397 h 2503"/>
              <a:gd name="T38" fmla="*/ 3239 w 4093"/>
              <a:gd name="T39" fmla="*/ 2137 h 2503"/>
              <a:gd name="T40" fmla="*/ 3115 w 4093"/>
              <a:gd name="T41" fmla="*/ 2251 h 2503"/>
              <a:gd name="T42" fmla="*/ 156 w 4093"/>
              <a:gd name="T43" fmla="*/ 343 h 2503"/>
              <a:gd name="T44" fmla="*/ 357 w 4093"/>
              <a:gd name="T45" fmla="*/ 610 h 2503"/>
              <a:gd name="T46" fmla="*/ 428 w 4093"/>
              <a:gd name="T47" fmla="*/ 585 h 2503"/>
              <a:gd name="T48" fmla="*/ 553 w 4093"/>
              <a:gd name="T49" fmla="*/ 958 h 2503"/>
              <a:gd name="T50" fmla="*/ 793 w 4093"/>
              <a:gd name="T51" fmla="*/ 777 h 2503"/>
              <a:gd name="T52" fmla="*/ 819 w 4093"/>
              <a:gd name="T53" fmla="*/ 484 h 2503"/>
              <a:gd name="T54" fmla="*/ 873 w 4093"/>
              <a:gd name="T55" fmla="*/ 553 h 2503"/>
              <a:gd name="T56" fmla="*/ 1205 w 4093"/>
              <a:gd name="T57" fmla="*/ 1233 h 2503"/>
              <a:gd name="T58" fmla="*/ 1445 w 4093"/>
              <a:gd name="T59" fmla="*/ 1508 h 2503"/>
              <a:gd name="T60" fmla="*/ 1433 w 4093"/>
              <a:gd name="T61" fmla="*/ 1981 h 2503"/>
              <a:gd name="T62" fmla="*/ 1470 w 4093"/>
              <a:gd name="T63" fmla="*/ 2048 h 2503"/>
              <a:gd name="T64" fmla="*/ 1570 w 4093"/>
              <a:gd name="T65" fmla="*/ 1927 h 2503"/>
              <a:gd name="T66" fmla="*/ 1633 w 4093"/>
              <a:gd name="T67" fmla="*/ 1669 h 2503"/>
              <a:gd name="T68" fmla="*/ 1665 w 4093"/>
              <a:gd name="T69" fmla="*/ 1532 h 2503"/>
              <a:gd name="T70" fmla="*/ 1761 w 4093"/>
              <a:gd name="T71" fmla="*/ 1117 h 2503"/>
              <a:gd name="T72" fmla="*/ 2016 w 4093"/>
              <a:gd name="T73" fmla="*/ 1829 h 2503"/>
              <a:gd name="T74" fmla="*/ 1889 w 4093"/>
              <a:gd name="T75" fmla="*/ 1333 h 2503"/>
              <a:gd name="T76" fmla="*/ 1879 w 4093"/>
              <a:gd name="T77" fmla="*/ 969 h 2503"/>
              <a:gd name="T78" fmla="*/ 1985 w 4093"/>
              <a:gd name="T79" fmla="*/ 1427 h 2503"/>
              <a:gd name="T80" fmla="*/ 1935 w 4093"/>
              <a:gd name="T81" fmla="*/ 773 h 2503"/>
              <a:gd name="T82" fmla="*/ 1861 w 4093"/>
              <a:gd name="T83" fmla="*/ 509 h 2503"/>
              <a:gd name="T84" fmla="*/ 2021 w 4093"/>
              <a:gd name="T85" fmla="*/ 1036 h 2503"/>
              <a:gd name="T86" fmla="*/ 2222 w 4093"/>
              <a:gd name="T87" fmla="*/ 2450 h 2503"/>
              <a:gd name="T88" fmla="*/ 2318 w 4093"/>
              <a:gd name="T89" fmla="*/ 2366 h 2503"/>
              <a:gd name="T90" fmla="*/ 2785 w 4093"/>
              <a:gd name="T91" fmla="*/ 2392 h 2503"/>
              <a:gd name="T92" fmla="*/ 2877 w 4093"/>
              <a:gd name="T93" fmla="*/ 2026 h 2503"/>
              <a:gd name="T94" fmla="*/ 2554 w 4093"/>
              <a:gd name="T95" fmla="*/ 1783 h 2503"/>
              <a:gd name="T96" fmla="*/ 2277 w 4093"/>
              <a:gd name="T97" fmla="*/ 1597 h 2503"/>
              <a:gd name="T98" fmla="*/ 2221 w 4093"/>
              <a:gd name="T99" fmla="*/ 2248 h 2503"/>
              <a:gd name="T100" fmla="*/ 2080 w 4093"/>
              <a:gd name="T101" fmla="*/ 1556 h 2503"/>
              <a:gd name="T102" fmla="*/ 2106 w 4093"/>
              <a:gd name="T103" fmla="*/ 1360 h 2503"/>
              <a:gd name="T104" fmla="*/ 1984 w 4093"/>
              <a:gd name="T105" fmla="*/ 364 h 2503"/>
              <a:gd name="T106" fmla="*/ 1877 w 4093"/>
              <a:gd name="T107" fmla="*/ 593 h 2503"/>
              <a:gd name="T108" fmla="*/ 1736 w 4093"/>
              <a:gd name="T109" fmla="*/ 600 h 2503"/>
              <a:gd name="T110" fmla="*/ 1800 w 4093"/>
              <a:gd name="T111" fmla="*/ 973 h 2503"/>
              <a:gd name="T112" fmla="*/ 1713 w 4093"/>
              <a:gd name="T113" fmla="*/ 1128 h 2503"/>
              <a:gd name="T114" fmla="*/ 1583 w 4093"/>
              <a:gd name="T115" fmla="*/ 605 h 2503"/>
              <a:gd name="T116" fmla="*/ 1515 w 4093"/>
              <a:gd name="T117" fmla="*/ 1103 h 2503"/>
              <a:gd name="T118" fmla="*/ 1061 w 4093"/>
              <a:gd name="T119" fmla="*/ 373 h 2503"/>
              <a:gd name="T120" fmla="*/ 731 w 4093"/>
              <a:gd name="T121" fmla="*/ 354 h 2503"/>
              <a:gd name="T122" fmla="*/ 551 w 4093"/>
              <a:gd name="T123" fmla="*/ 39 h 2503"/>
              <a:gd name="T124" fmla="*/ 397 w 4093"/>
              <a:gd name="T125" fmla="*/ 68 h 2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093" h="2503">
                <a:moveTo>
                  <a:pt x="1" y="69"/>
                </a:moveTo>
                <a:cubicBezTo>
                  <a:pt x="1" y="77"/>
                  <a:pt x="1" y="85"/>
                  <a:pt x="1" y="93"/>
                </a:cubicBezTo>
                <a:cubicBezTo>
                  <a:pt x="1" y="121"/>
                  <a:pt x="1" y="149"/>
                  <a:pt x="1" y="177"/>
                </a:cubicBezTo>
                <a:cubicBezTo>
                  <a:pt x="1" y="182"/>
                  <a:pt x="1" y="187"/>
                  <a:pt x="1" y="193"/>
                </a:cubicBezTo>
                <a:cubicBezTo>
                  <a:pt x="1" y="205"/>
                  <a:pt x="1" y="217"/>
                  <a:pt x="1" y="229"/>
                </a:cubicBezTo>
                <a:cubicBezTo>
                  <a:pt x="1" y="245"/>
                  <a:pt x="1" y="261"/>
                  <a:pt x="1" y="277"/>
                </a:cubicBezTo>
                <a:cubicBezTo>
                  <a:pt x="1" y="282"/>
                  <a:pt x="1" y="287"/>
                  <a:pt x="1" y="293"/>
                </a:cubicBezTo>
                <a:cubicBezTo>
                  <a:pt x="1" y="314"/>
                  <a:pt x="1" y="335"/>
                  <a:pt x="1" y="357"/>
                </a:cubicBezTo>
                <a:cubicBezTo>
                  <a:pt x="1" y="366"/>
                  <a:pt x="1" y="375"/>
                  <a:pt x="1" y="385"/>
                </a:cubicBezTo>
                <a:cubicBezTo>
                  <a:pt x="1" y="394"/>
                  <a:pt x="1" y="403"/>
                  <a:pt x="1" y="413"/>
                </a:cubicBezTo>
                <a:cubicBezTo>
                  <a:pt x="1" y="430"/>
                  <a:pt x="1" y="447"/>
                  <a:pt x="1" y="465"/>
                </a:cubicBezTo>
                <a:cubicBezTo>
                  <a:pt x="1" y="489"/>
                  <a:pt x="1" y="513"/>
                  <a:pt x="1" y="537"/>
                </a:cubicBezTo>
                <a:cubicBezTo>
                  <a:pt x="1" y="547"/>
                  <a:pt x="1" y="558"/>
                  <a:pt x="1" y="569"/>
                </a:cubicBezTo>
                <a:cubicBezTo>
                  <a:pt x="1" y="570"/>
                  <a:pt x="1" y="571"/>
                  <a:pt x="1" y="573"/>
                </a:cubicBezTo>
                <a:cubicBezTo>
                  <a:pt x="1" y="577"/>
                  <a:pt x="1" y="581"/>
                  <a:pt x="1" y="585"/>
                </a:cubicBezTo>
                <a:cubicBezTo>
                  <a:pt x="1" y="601"/>
                  <a:pt x="1" y="617"/>
                  <a:pt x="1" y="633"/>
                </a:cubicBezTo>
                <a:cubicBezTo>
                  <a:pt x="1" y="645"/>
                  <a:pt x="1" y="657"/>
                  <a:pt x="1" y="669"/>
                </a:cubicBezTo>
                <a:cubicBezTo>
                  <a:pt x="1" y="683"/>
                  <a:pt x="1" y="698"/>
                  <a:pt x="1" y="713"/>
                </a:cubicBezTo>
                <a:cubicBezTo>
                  <a:pt x="1" y="717"/>
                  <a:pt x="1" y="721"/>
                  <a:pt x="1" y="725"/>
                </a:cubicBezTo>
                <a:cubicBezTo>
                  <a:pt x="1" y="734"/>
                  <a:pt x="1" y="743"/>
                  <a:pt x="1" y="753"/>
                </a:cubicBezTo>
                <a:cubicBezTo>
                  <a:pt x="1" y="766"/>
                  <a:pt x="1" y="779"/>
                  <a:pt x="1" y="793"/>
                </a:cubicBezTo>
                <a:cubicBezTo>
                  <a:pt x="1" y="809"/>
                  <a:pt x="1" y="825"/>
                  <a:pt x="1" y="841"/>
                </a:cubicBezTo>
                <a:cubicBezTo>
                  <a:pt x="1" y="858"/>
                  <a:pt x="1" y="875"/>
                  <a:pt x="1" y="893"/>
                </a:cubicBezTo>
                <a:cubicBezTo>
                  <a:pt x="1" y="898"/>
                  <a:pt x="1" y="903"/>
                  <a:pt x="1" y="909"/>
                </a:cubicBezTo>
                <a:cubicBezTo>
                  <a:pt x="1" y="925"/>
                  <a:pt x="1" y="941"/>
                  <a:pt x="1" y="957"/>
                </a:cubicBezTo>
                <a:cubicBezTo>
                  <a:pt x="1" y="966"/>
                  <a:pt x="1" y="975"/>
                  <a:pt x="1" y="985"/>
                </a:cubicBezTo>
                <a:cubicBezTo>
                  <a:pt x="1" y="990"/>
                  <a:pt x="1" y="995"/>
                  <a:pt x="1" y="1001"/>
                </a:cubicBezTo>
                <a:cubicBezTo>
                  <a:pt x="11" y="1001"/>
                  <a:pt x="18" y="1008"/>
                  <a:pt x="27" y="1012"/>
                </a:cubicBezTo>
                <a:cubicBezTo>
                  <a:pt x="120" y="1048"/>
                  <a:pt x="213" y="1083"/>
                  <a:pt x="305" y="1120"/>
                </a:cubicBezTo>
                <a:cubicBezTo>
                  <a:pt x="403" y="1158"/>
                  <a:pt x="501" y="1197"/>
                  <a:pt x="599" y="1236"/>
                </a:cubicBezTo>
                <a:cubicBezTo>
                  <a:pt x="691" y="1272"/>
                  <a:pt x="783" y="1311"/>
                  <a:pt x="877" y="1345"/>
                </a:cubicBezTo>
                <a:cubicBezTo>
                  <a:pt x="910" y="1358"/>
                  <a:pt x="942" y="1376"/>
                  <a:pt x="976" y="1385"/>
                </a:cubicBezTo>
                <a:cubicBezTo>
                  <a:pt x="981" y="1389"/>
                  <a:pt x="986" y="1391"/>
                  <a:pt x="992" y="1393"/>
                </a:cubicBezTo>
                <a:cubicBezTo>
                  <a:pt x="1055" y="1418"/>
                  <a:pt x="1118" y="1444"/>
                  <a:pt x="1181" y="1469"/>
                </a:cubicBezTo>
                <a:cubicBezTo>
                  <a:pt x="1190" y="1473"/>
                  <a:pt x="1199" y="1477"/>
                  <a:pt x="1209" y="1481"/>
                </a:cubicBezTo>
                <a:cubicBezTo>
                  <a:pt x="1216" y="1482"/>
                  <a:pt x="1223" y="1484"/>
                  <a:pt x="1228" y="1489"/>
                </a:cubicBezTo>
                <a:cubicBezTo>
                  <a:pt x="1231" y="1490"/>
                  <a:pt x="1234" y="1491"/>
                  <a:pt x="1237" y="1492"/>
                </a:cubicBezTo>
                <a:cubicBezTo>
                  <a:pt x="1241" y="1497"/>
                  <a:pt x="1247" y="1498"/>
                  <a:pt x="1249" y="1505"/>
                </a:cubicBezTo>
                <a:cubicBezTo>
                  <a:pt x="1234" y="1514"/>
                  <a:pt x="1220" y="1523"/>
                  <a:pt x="1205" y="1532"/>
                </a:cubicBezTo>
                <a:cubicBezTo>
                  <a:pt x="1207" y="1517"/>
                  <a:pt x="1205" y="1505"/>
                  <a:pt x="1185" y="1505"/>
                </a:cubicBezTo>
                <a:cubicBezTo>
                  <a:pt x="1185" y="1513"/>
                  <a:pt x="1185" y="1521"/>
                  <a:pt x="1185" y="1529"/>
                </a:cubicBezTo>
                <a:cubicBezTo>
                  <a:pt x="1186" y="1534"/>
                  <a:pt x="1178" y="1542"/>
                  <a:pt x="1187" y="1544"/>
                </a:cubicBezTo>
                <a:cubicBezTo>
                  <a:pt x="1198" y="1546"/>
                  <a:pt x="1212" y="1549"/>
                  <a:pt x="1221" y="1541"/>
                </a:cubicBezTo>
                <a:cubicBezTo>
                  <a:pt x="1232" y="1531"/>
                  <a:pt x="1236" y="1538"/>
                  <a:pt x="1242" y="1545"/>
                </a:cubicBezTo>
                <a:cubicBezTo>
                  <a:pt x="1250" y="1567"/>
                  <a:pt x="1270" y="1576"/>
                  <a:pt x="1289" y="1585"/>
                </a:cubicBezTo>
                <a:cubicBezTo>
                  <a:pt x="1292" y="1603"/>
                  <a:pt x="1306" y="1613"/>
                  <a:pt x="1327" y="1612"/>
                </a:cubicBezTo>
                <a:cubicBezTo>
                  <a:pt x="1345" y="1611"/>
                  <a:pt x="1352" y="1621"/>
                  <a:pt x="1353" y="1637"/>
                </a:cubicBezTo>
                <a:cubicBezTo>
                  <a:pt x="1353" y="1642"/>
                  <a:pt x="1353" y="1647"/>
                  <a:pt x="1353" y="1652"/>
                </a:cubicBezTo>
                <a:cubicBezTo>
                  <a:pt x="1353" y="1654"/>
                  <a:pt x="1353" y="1655"/>
                  <a:pt x="1353" y="1657"/>
                </a:cubicBezTo>
                <a:cubicBezTo>
                  <a:pt x="1355" y="1677"/>
                  <a:pt x="1335" y="1697"/>
                  <a:pt x="1354" y="1717"/>
                </a:cubicBezTo>
                <a:cubicBezTo>
                  <a:pt x="1354" y="1718"/>
                  <a:pt x="1355" y="1719"/>
                  <a:pt x="1355" y="1721"/>
                </a:cubicBezTo>
                <a:cubicBezTo>
                  <a:pt x="1355" y="1724"/>
                  <a:pt x="1354" y="1728"/>
                  <a:pt x="1354" y="1732"/>
                </a:cubicBezTo>
                <a:cubicBezTo>
                  <a:pt x="1351" y="1741"/>
                  <a:pt x="1350" y="1750"/>
                  <a:pt x="1349" y="1759"/>
                </a:cubicBezTo>
                <a:cubicBezTo>
                  <a:pt x="1346" y="1781"/>
                  <a:pt x="1348" y="1803"/>
                  <a:pt x="1341" y="1825"/>
                </a:cubicBezTo>
                <a:cubicBezTo>
                  <a:pt x="1342" y="1834"/>
                  <a:pt x="1342" y="1844"/>
                  <a:pt x="1343" y="1853"/>
                </a:cubicBezTo>
                <a:cubicBezTo>
                  <a:pt x="1342" y="1854"/>
                  <a:pt x="1342" y="1855"/>
                  <a:pt x="1342" y="1857"/>
                </a:cubicBezTo>
                <a:cubicBezTo>
                  <a:pt x="1342" y="1862"/>
                  <a:pt x="1341" y="1868"/>
                  <a:pt x="1340" y="1874"/>
                </a:cubicBezTo>
                <a:cubicBezTo>
                  <a:pt x="1336" y="1916"/>
                  <a:pt x="1333" y="1959"/>
                  <a:pt x="1325" y="2000"/>
                </a:cubicBezTo>
                <a:cubicBezTo>
                  <a:pt x="1319" y="2031"/>
                  <a:pt x="1312" y="2061"/>
                  <a:pt x="1309" y="2093"/>
                </a:cubicBezTo>
                <a:cubicBezTo>
                  <a:pt x="1302" y="2111"/>
                  <a:pt x="1299" y="2130"/>
                  <a:pt x="1296" y="2149"/>
                </a:cubicBezTo>
                <a:cubicBezTo>
                  <a:pt x="1294" y="2152"/>
                  <a:pt x="1293" y="2156"/>
                  <a:pt x="1292" y="2159"/>
                </a:cubicBezTo>
                <a:cubicBezTo>
                  <a:pt x="1280" y="2173"/>
                  <a:pt x="1284" y="2193"/>
                  <a:pt x="1272" y="2208"/>
                </a:cubicBezTo>
                <a:cubicBezTo>
                  <a:pt x="1260" y="2214"/>
                  <a:pt x="1244" y="2214"/>
                  <a:pt x="1236" y="2228"/>
                </a:cubicBezTo>
                <a:cubicBezTo>
                  <a:pt x="1217" y="2236"/>
                  <a:pt x="1199" y="2245"/>
                  <a:pt x="1185" y="2261"/>
                </a:cubicBezTo>
                <a:cubicBezTo>
                  <a:pt x="1186" y="2269"/>
                  <a:pt x="1195" y="2270"/>
                  <a:pt x="1198" y="2276"/>
                </a:cubicBezTo>
                <a:cubicBezTo>
                  <a:pt x="1171" y="2284"/>
                  <a:pt x="1143" y="2281"/>
                  <a:pt x="1116" y="2286"/>
                </a:cubicBezTo>
                <a:cubicBezTo>
                  <a:pt x="1111" y="2286"/>
                  <a:pt x="1106" y="2285"/>
                  <a:pt x="1100" y="2285"/>
                </a:cubicBezTo>
                <a:cubicBezTo>
                  <a:pt x="1099" y="2281"/>
                  <a:pt x="1103" y="2274"/>
                  <a:pt x="1094" y="2276"/>
                </a:cubicBezTo>
                <a:cubicBezTo>
                  <a:pt x="1093" y="2260"/>
                  <a:pt x="1076" y="2249"/>
                  <a:pt x="1083" y="2230"/>
                </a:cubicBezTo>
                <a:cubicBezTo>
                  <a:pt x="1078" y="2236"/>
                  <a:pt x="1079" y="2247"/>
                  <a:pt x="1067" y="2242"/>
                </a:cubicBezTo>
                <a:cubicBezTo>
                  <a:pt x="1040" y="2231"/>
                  <a:pt x="1040" y="2232"/>
                  <a:pt x="1044" y="2203"/>
                </a:cubicBezTo>
                <a:cubicBezTo>
                  <a:pt x="1045" y="2195"/>
                  <a:pt x="1045" y="2186"/>
                  <a:pt x="1045" y="2177"/>
                </a:cubicBezTo>
                <a:cubicBezTo>
                  <a:pt x="1047" y="2156"/>
                  <a:pt x="1050" y="2134"/>
                  <a:pt x="1052" y="2112"/>
                </a:cubicBezTo>
                <a:cubicBezTo>
                  <a:pt x="1053" y="2103"/>
                  <a:pt x="1055" y="2093"/>
                  <a:pt x="1056" y="2083"/>
                </a:cubicBezTo>
                <a:cubicBezTo>
                  <a:pt x="1058" y="2076"/>
                  <a:pt x="1060" y="2069"/>
                  <a:pt x="1048" y="2069"/>
                </a:cubicBezTo>
                <a:cubicBezTo>
                  <a:pt x="1038" y="2069"/>
                  <a:pt x="1033" y="2070"/>
                  <a:pt x="1034" y="2081"/>
                </a:cubicBezTo>
                <a:cubicBezTo>
                  <a:pt x="1035" y="2089"/>
                  <a:pt x="1033" y="2097"/>
                  <a:pt x="1033" y="2105"/>
                </a:cubicBezTo>
                <a:cubicBezTo>
                  <a:pt x="1032" y="2112"/>
                  <a:pt x="1032" y="2120"/>
                  <a:pt x="1032" y="2128"/>
                </a:cubicBezTo>
                <a:cubicBezTo>
                  <a:pt x="1041" y="2146"/>
                  <a:pt x="1040" y="2162"/>
                  <a:pt x="1025" y="2176"/>
                </a:cubicBezTo>
                <a:cubicBezTo>
                  <a:pt x="1026" y="2181"/>
                  <a:pt x="1026" y="2186"/>
                  <a:pt x="1028" y="2190"/>
                </a:cubicBezTo>
                <a:cubicBezTo>
                  <a:pt x="1036" y="2213"/>
                  <a:pt x="1035" y="2215"/>
                  <a:pt x="1010" y="2221"/>
                </a:cubicBezTo>
                <a:cubicBezTo>
                  <a:pt x="993" y="2226"/>
                  <a:pt x="976" y="2228"/>
                  <a:pt x="961" y="2239"/>
                </a:cubicBezTo>
                <a:cubicBezTo>
                  <a:pt x="953" y="2241"/>
                  <a:pt x="940" y="2236"/>
                  <a:pt x="938" y="2245"/>
                </a:cubicBezTo>
                <a:cubicBezTo>
                  <a:pt x="936" y="2264"/>
                  <a:pt x="923" y="2266"/>
                  <a:pt x="909" y="2269"/>
                </a:cubicBezTo>
                <a:cubicBezTo>
                  <a:pt x="901" y="2270"/>
                  <a:pt x="892" y="2267"/>
                  <a:pt x="885" y="2272"/>
                </a:cubicBezTo>
                <a:cubicBezTo>
                  <a:pt x="867" y="2269"/>
                  <a:pt x="851" y="2279"/>
                  <a:pt x="834" y="2283"/>
                </a:cubicBezTo>
                <a:cubicBezTo>
                  <a:pt x="823" y="2285"/>
                  <a:pt x="819" y="2294"/>
                  <a:pt x="824" y="2305"/>
                </a:cubicBezTo>
                <a:cubicBezTo>
                  <a:pt x="859" y="2304"/>
                  <a:pt x="894" y="2302"/>
                  <a:pt x="929" y="2300"/>
                </a:cubicBezTo>
                <a:cubicBezTo>
                  <a:pt x="929" y="2300"/>
                  <a:pt x="929" y="2300"/>
                  <a:pt x="929" y="2300"/>
                </a:cubicBezTo>
                <a:cubicBezTo>
                  <a:pt x="894" y="2302"/>
                  <a:pt x="859" y="2304"/>
                  <a:pt x="824" y="2305"/>
                </a:cubicBezTo>
                <a:cubicBezTo>
                  <a:pt x="824" y="2306"/>
                  <a:pt x="824" y="2307"/>
                  <a:pt x="824" y="2308"/>
                </a:cubicBezTo>
                <a:cubicBezTo>
                  <a:pt x="821" y="2317"/>
                  <a:pt x="819" y="2327"/>
                  <a:pt x="821" y="2337"/>
                </a:cubicBezTo>
                <a:cubicBezTo>
                  <a:pt x="821" y="2337"/>
                  <a:pt x="821" y="2337"/>
                  <a:pt x="821" y="2337"/>
                </a:cubicBezTo>
                <a:cubicBezTo>
                  <a:pt x="818" y="2339"/>
                  <a:pt x="816" y="2342"/>
                  <a:pt x="814" y="2345"/>
                </a:cubicBezTo>
                <a:cubicBezTo>
                  <a:pt x="813" y="2346"/>
                  <a:pt x="813" y="2347"/>
                  <a:pt x="813" y="2349"/>
                </a:cubicBezTo>
                <a:cubicBezTo>
                  <a:pt x="811" y="2351"/>
                  <a:pt x="810" y="2354"/>
                  <a:pt x="808" y="2356"/>
                </a:cubicBezTo>
                <a:cubicBezTo>
                  <a:pt x="804" y="2357"/>
                  <a:pt x="800" y="2357"/>
                  <a:pt x="796" y="2358"/>
                </a:cubicBezTo>
                <a:cubicBezTo>
                  <a:pt x="794" y="2356"/>
                  <a:pt x="791" y="2354"/>
                  <a:pt x="788" y="2353"/>
                </a:cubicBezTo>
                <a:cubicBezTo>
                  <a:pt x="778" y="2350"/>
                  <a:pt x="767" y="2341"/>
                  <a:pt x="757" y="2353"/>
                </a:cubicBezTo>
                <a:cubicBezTo>
                  <a:pt x="758" y="2365"/>
                  <a:pt x="767" y="2365"/>
                  <a:pt x="777" y="2365"/>
                </a:cubicBezTo>
                <a:cubicBezTo>
                  <a:pt x="773" y="2371"/>
                  <a:pt x="765" y="2367"/>
                  <a:pt x="761" y="2372"/>
                </a:cubicBezTo>
                <a:cubicBezTo>
                  <a:pt x="752" y="2371"/>
                  <a:pt x="744" y="2375"/>
                  <a:pt x="736" y="2368"/>
                </a:cubicBezTo>
                <a:cubicBezTo>
                  <a:pt x="740" y="2359"/>
                  <a:pt x="753" y="2362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57" y="2353"/>
                  <a:pt x="757" y="2353"/>
                  <a:pt x="757" y="2353"/>
                </a:cubicBezTo>
                <a:cubicBezTo>
                  <a:pt x="741" y="2336"/>
                  <a:pt x="719" y="2343"/>
                  <a:pt x="702" y="2344"/>
                </a:cubicBezTo>
                <a:cubicBezTo>
                  <a:pt x="688" y="2345"/>
                  <a:pt x="681" y="2346"/>
                  <a:pt x="677" y="2331"/>
                </a:cubicBezTo>
                <a:cubicBezTo>
                  <a:pt x="673" y="2316"/>
                  <a:pt x="657" y="2313"/>
                  <a:pt x="654" y="2326"/>
                </a:cubicBezTo>
                <a:cubicBezTo>
                  <a:pt x="649" y="2347"/>
                  <a:pt x="634" y="2342"/>
                  <a:pt x="622" y="2345"/>
                </a:cubicBezTo>
                <a:cubicBezTo>
                  <a:pt x="620" y="2346"/>
                  <a:pt x="618" y="2347"/>
                  <a:pt x="617" y="2349"/>
                </a:cubicBezTo>
                <a:cubicBezTo>
                  <a:pt x="616" y="2349"/>
                  <a:pt x="614" y="2349"/>
                  <a:pt x="613" y="2349"/>
                </a:cubicBezTo>
                <a:cubicBezTo>
                  <a:pt x="613" y="2352"/>
                  <a:pt x="613" y="2355"/>
                  <a:pt x="613" y="2358"/>
                </a:cubicBezTo>
                <a:cubicBezTo>
                  <a:pt x="611" y="2358"/>
                  <a:pt x="610" y="2359"/>
                  <a:pt x="608" y="2360"/>
                </a:cubicBezTo>
                <a:cubicBezTo>
                  <a:pt x="608" y="2356"/>
                  <a:pt x="608" y="2352"/>
                  <a:pt x="609" y="2349"/>
                </a:cubicBezTo>
                <a:cubicBezTo>
                  <a:pt x="607" y="2348"/>
                  <a:pt x="606" y="2347"/>
                  <a:pt x="604" y="2346"/>
                </a:cubicBezTo>
                <a:cubicBezTo>
                  <a:pt x="602" y="2347"/>
                  <a:pt x="599" y="2347"/>
                  <a:pt x="596" y="2348"/>
                </a:cubicBezTo>
                <a:cubicBezTo>
                  <a:pt x="595" y="2348"/>
                  <a:pt x="595" y="2348"/>
                  <a:pt x="595" y="2348"/>
                </a:cubicBezTo>
                <a:cubicBezTo>
                  <a:pt x="593" y="2348"/>
                  <a:pt x="593" y="2348"/>
                  <a:pt x="593" y="2348"/>
                </a:cubicBezTo>
                <a:cubicBezTo>
                  <a:pt x="568" y="2356"/>
                  <a:pt x="545" y="2336"/>
                  <a:pt x="520" y="2343"/>
                </a:cubicBezTo>
                <a:cubicBezTo>
                  <a:pt x="516" y="2342"/>
                  <a:pt x="512" y="2342"/>
                  <a:pt x="508" y="2342"/>
                </a:cubicBezTo>
                <a:cubicBezTo>
                  <a:pt x="510" y="2334"/>
                  <a:pt x="516" y="2326"/>
                  <a:pt x="501" y="2325"/>
                </a:cubicBezTo>
                <a:cubicBezTo>
                  <a:pt x="495" y="2325"/>
                  <a:pt x="487" y="2322"/>
                  <a:pt x="491" y="2334"/>
                </a:cubicBezTo>
                <a:cubicBezTo>
                  <a:pt x="490" y="2345"/>
                  <a:pt x="490" y="2357"/>
                  <a:pt x="481" y="2366"/>
                </a:cubicBezTo>
                <a:cubicBezTo>
                  <a:pt x="479" y="2367"/>
                  <a:pt x="477" y="2368"/>
                  <a:pt x="476" y="2369"/>
                </a:cubicBezTo>
                <a:cubicBezTo>
                  <a:pt x="477" y="2368"/>
                  <a:pt x="479" y="2367"/>
                  <a:pt x="481" y="2366"/>
                </a:cubicBezTo>
                <a:cubicBezTo>
                  <a:pt x="471" y="2359"/>
                  <a:pt x="472" y="2349"/>
                  <a:pt x="476" y="2339"/>
                </a:cubicBezTo>
                <a:cubicBezTo>
                  <a:pt x="482" y="2327"/>
                  <a:pt x="481" y="2318"/>
                  <a:pt x="466" y="2317"/>
                </a:cubicBezTo>
                <a:cubicBezTo>
                  <a:pt x="452" y="2316"/>
                  <a:pt x="443" y="2321"/>
                  <a:pt x="445" y="2336"/>
                </a:cubicBezTo>
                <a:cubicBezTo>
                  <a:pt x="435" y="2338"/>
                  <a:pt x="428" y="2339"/>
                  <a:pt x="428" y="2326"/>
                </a:cubicBezTo>
                <a:cubicBezTo>
                  <a:pt x="428" y="2312"/>
                  <a:pt x="420" y="2318"/>
                  <a:pt x="414" y="2322"/>
                </a:cubicBezTo>
                <a:cubicBezTo>
                  <a:pt x="412" y="2321"/>
                  <a:pt x="410" y="2321"/>
                  <a:pt x="408" y="2321"/>
                </a:cubicBezTo>
                <a:cubicBezTo>
                  <a:pt x="394" y="2324"/>
                  <a:pt x="382" y="2328"/>
                  <a:pt x="379" y="2306"/>
                </a:cubicBezTo>
                <a:cubicBezTo>
                  <a:pt x="377" y="2297"/>
                  <a:pt x="364" y="2299"/>
                  <a:pt x="358" y="2307"/>
                </a:cubicBezTo>
                <a:cubicBezTo>
                  <a:pt x="356" y="2312"/>
                  <a:pt x="357" y="2318"/>
                  <a:pt x="352" y="2321"/>
                </a:cubicBezTo>
                <a:cubicBezTo>
                  <a:pt x="348" y="2322"/>
                  <a:pt x="345" y="2322"/>
                  <a:pt x="341" y="2323"/>
                </a:cubicBezTo>
                <a:cubicBezTo>
                  <a:pt x="340" y="2319"/>
                  <a:pt x="337" y="2317"/>
                  <a:pt x="333" y="2317"/>
                </a:cubicBezTo>
                <a:cubicBezTo>
                  <a:pt x="333" y="2313"/>
                  <a:pt x="333" y="2309"/>
                  <a:pt x="334" y="2305"/>
                </a:cubicBezTo>
                <a:cubicBezTo>
                  <a:pt x="336" y="2286"/>
                  <a:pt x="329" y="2278"/>
                  <a:pt x="309" y="2277"/>
                </a:cubicBezTo>
                <a:cubicBezTo>
                  <a:pt x="296" y="2286"/>
                  <a:pt x="280" y="2292"/>
                  <a:pt x="283" y="2312"/>
                </a:cubicBezTo>
                <a:cubicBezTo>
                  <a:pt x="273" y="2318"/>
                  <a:pt x="265" y="2338"/>
                  <a:pt x="252" y="2316"/>
                </a:cubicBezTo>
                <a:cubicBezTo>
                  <a:pt x="267" y="2291"/>
                  <a:pt x="265" y="2280"/>
                  <a:pt x="245" y="2276"/>
                </a:cubicBezTo>
                <a:cubicBezTo>
                  <a:pt x="241" y="2271"/>
                  <a:pt x="235" y="2273"/>
                  <a:pt x="230" y="2272"/>
                </a:cubicBezTo>
                <a:cubicBezTo>
                  <a:pt x="227" y="2277"/>
                  <a:pt x="223" y="2283"/>
                  <a:pt x="222" y="2289"/>
                </a:cubicBezTo>
                <a:cubicBezTo>
                  <a:pt x="223" y="2283"/>
                  <a:pt x="227" y="2277"/>
                  <a:pt x="230" y="2272"/>
                </a:cubicBezTo>
                <a:cubicBezTo>
                  <a:pt x="225" y="2268"/>
                  <a:pt x="220" y="2270"/>
                  <a:pt x="215" y="2272"/>
                </a:cubicBezTo>
                <a:cubicBezTo>
                  <a:pt x="194" y="2280"/>
                  <a:pt x="190" y="2297"/>
                  <a:pt x="188" y="2317"/>
                </a:cubicBezTo>
                <a:cubicBezTo>
                  <a:pt x="180" y="2312"/>
                  <a:pt x="172" y="2307"/>
                  <a:pt x="162" y="2308"/>
                </a:cubicBezTo>
                <a:cubicBezTo>
                  <a:pt x="166" y="2296"/>
                  <a:pt x="175" y="2283"/>
                  <a:pt x="155" y="2275"/>
                </a:cubicBezTo>
                <a:cubicBezTo>
                  <a:pt x="154" y="2275"/>
                  <a:pt x="154" y="2272"/>
                  <a:pt x="153" y="2270"/>
                </a:cubicBezTo>
                <a:cubicBezTo>
                  <a:pt x="152" y="2267"/>
                  <a:pt x="154" y="2262"/>
                  <a:pt x="149" y="2263"/>
                </a:cubicBezTo>
                <a:cubicBezTo>
                  <a:pt x="144" y="2264"/>
                  <a:pt x="144" y="2269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5" y="2273"/>
                  <a:pt x="145" y="2273"/>
                  <a:pt x="145" y="2273"/>
                </a:cubicBezTo>
                <a:cubicBezTo>
                  <a:pt x="144" y="2273"/>
                  <a:pt x="144" y="2273"/>
                  <a:pt x="144" y="2274"/>
                </a:cubicBezTo>
                <a:cubicBezTo>
                  <a:pt x="139" y="2275"/>
                  <a:pt x="134" y="2257"/>
                  <a:pt x="129" y="2273"/>
                </a:cubicBezTo>
                <a:cubicBezTo>
                  <a:pt x="128" y="2273"/>
                  <a:pt x="127" y="2274"/>
                  <a:pt x="126" y="2275"/>
                </a:cubicBezTo>
                <a:cubicBezTo>
                  <a:pt x="120" y="2274"/>
                  <a:pt x="114" y="2273"/>
                  <a:pt x="109" y="2277"/>
                </a:cubicBezTo>
                <a:cubicBezTo>
                  <a:pt x="107" y="2275"/>
                  <a:pt x="106" y="2274"/>
                  <a:pt x="104" y="2272"/>
                </a:cubicBezTo>
                <a:cubicBezTo>
                  <a:pt x="105" y="2271"/>
                  <a:pt x="105" y="2270"/>
                  <a:pt x="104" y="2268"/>
                </a:cubicBezTo>
                <a:cubicBezTo>
                  <a:pt x="104" y="2267"/>
                  <a:pt x="104" y="2267"/>
                  <a:pt x="104" y="2267"/>
                </a:cubicBezTo>
                <a:cubicBezTo>
                  <a:pt x="106" y="2267"/>
                  <a:pt x="107" y="2267"/>
                  <a:pt x="109" y="2267"/>
                </a:cubicBezTo>
                <a:cubicBezTo>
                  <a:pt x="107" y="2267"/>
                  <a:pt x="106" y="2267"/>
                  <a:pt x="104" y="2267"/>
                </a:cubicBezTo>
                <a:cubicBezTo>
                  <a:pt x="104" y="2265"/>
                  <a:pt x="104" y="2263"/>
                  <a:pt x="103" y="2261"/>
                </a:cubicBezTo>
                <a:cubicBezTo>
                  <a:pt x="105" y="2257"/>
                  <a:pt x="104" y="2255"/>
                  <a:pt x="100" y="2254"/>
                </a:cubicBezTo>
                <a:cubicBezTo>
                  <a:pt x="95" y="2253"/>
                  <a:pt x="90" y="2252"/>
                  <a:pt x="85" y="2252"/>
                </a:cubicBezTo>
                <a:cubicBezTo>
                  <a:pt x="85" y="2255"/>
                  <a:pt x="86" y="2262"/>
                  <a:pt x="82" y="2262"/>
                </a:cubicBezTo>
                <a:cubicBezTo>
                  <a:pt x="64" y="2261"/>
                  <a:pt x="66" y="2276"/>
                  <a:pt x="64" y="2285"/>
                </a:cubicBezTo>
                <a:cubicBezTo>
                  <a:pt x="59" y="2301"/>
                  <a:pt x="57" y="2318"/>
                  <a:pt x="49" y="2333"/>
                </a:cubicBezTo>
                <a:cubicBezTo>
                  <a:pt x="47" y="2329"/>
                  <a:pt x="45" y="2323"/>
                  <a:pt x="42" y="2324"/>
                </a:cubicBezTo>
                <a:cubicBezTo>
                  <a:pt x="24" y="2325"/>
                  <a:pt x="34" y="2312"/>
                  <a:pt x="33" y="2305"/>
                </a:cubicBezTo>
                <a:cubicBezTo>
                  <a:pt x="25" y="2312"/>
                  <a:pt x="15" y="2312"/>
                  <a:pt x="6" y="2313"/>
                </a:cubicBezTo>
                <a:cubicBezTo>
                  <a:pt x="9" y="2298"/>
                  <a:pt x="11" y="2283"/>
                  <a:pt x="16" y="2269"/>
                </a:cubicBezTo>
                <a:cubicBezTo>
                  <a:pt x="21" y="2253"/>
                  <a:pt x="18" y="2247"/>
                  <a:pt x="1" y="2249"/>
                </a:cubicBezTo>
                <a:cubicBezTo>
                  <a:pt x="1" y="2270"/>
                  <a:pt x="1" y="2291"/>
                  <a:pt x="1" y="2313"/>
                </a:cubicBezTo>
                <a:cubicBezTo>
                  <a:pt x="1" y="2325"/>
                  <a:pt x="1" y="2337"/>
                  <a:pt x="1" y="2349"/>
                </a:cubicBezTo>
                <a:cubicBezTo>
                  <a:pt x="1" y="2361"/>
                  <a:pt x="1" y="2373"/>
                  <a:pt x="1" y="2385"/>
                </a:cubicBezTo>
                <a:cubicBezTo>
                  <a:pt x="1" y="2402"/>
                  <a:pt x="1" y="2419"/>
                  <a:pt x="1" y="2437"/>
                </a:cubicBezTo>
                <a:cubicBezTo>
                  <a:pt x="1" y="2457"/>
                  <a:pt x="1" y="2477"/>
                  <a:pt x="1" y="2497"/>
                </a:cubicBezTo>
                <a:cubicBezTo>
                  <a:pt x="1" y="2499"/>
                  <a:pt x="1" y="2501"/>
                  <a:pt x="1" y="2503"/>
                </a:cubicBezTo>
                <a:cubicBezTo>
                  <a:pt x="4093" y="2503"/>
                  <a:pt x="4093" y="2503"/>
                  <a:pt x="4093" y="2503"/>
                </a:cubicBezTo>
                <a:cubicBezTo>
                  <a:pt x="4093" y="2486"/>
                  <a:pt x="4093" y="2469"/>
                  <a:pt x="4093" y="2453"/>
                </a:cubicBezTo>
                <a:cubicBezTo>
                  <a:pt x="4093" y="2443"/>
                  <a:pt x="4093" y="2434"/>
                  <a:pt x="4093" y="2425"/>
                </a:cubicBezTo>
                <a:cubicBezTo>
                  <a:pt x="4093" y="2415"/>
                  <a:pt x="4093" y="2406"/>
                  <a:pt x="4093" y="2397"/>
                </a:cubicBezTo>
                <a:cubicBezTo>
                  <a:pt x="4093" y="2393"/>
                  <a:pt x="4093" y="2389"/>
                  <a:pt x="4093" y="2385"/>
                </a:cubicBezTo>
                <a:cubicBezTo>
                  <a:pt x="4093" y="2379"/>
                  <a:pt x="4093" y="2374"/>
                  <a:pt x="4093" y="2369"/>
                </a:cubicBezTo>
                <a:cubicBezTo>
                  <a:pt x="4093" y="2365"/>
                  <a:pt x="4093" y="2361"/>
                  <a:pt x="4093" y="2357"/>
                </a:cubicBezTo>
                <a:cubicBezTo>
                  <a:pt x="4093" y="2329"/>
                  <a:pt x="4093" y="2301"/>
                  <a:pt x="4093" y="2273"/>
                </a:cubicBezTo>
                <a:cubicBezTo>
                  <a:pt x="4093" y="2263"/>
                  <a:pt x="4093" y="2254"/>
                  <a:pt x="4093" y="2245"/>
                </a:cubicBezTo>
                <a:cubicBezTo>
                  <a:pt x="4093" y="2237"/>
                  <a:pt x="4093" y="2229"/>
                  <a:pt x="4093" y="2221"/>
                </a:cubicBezTo>
                <a:cubicBezTo>
                  <a:pt x="4093" y="2217"/>
                  <a:pt x="4093" y="2213"/>
                  <a:pt x="4093" y="2209"/>
                </a:cubicBezTo>
                <a:cubicBezTo>
                  <a:pt x="4093" y="2202"/>
                  <a:pt x="4093" y="2195"/>
                  <a:pt x="4093" y="2189"/>
                </a:cubicBezTo>
                <a:cubicBezTo>
                  <a:pt x="4093" y="2186"/>
                  <a:pt x="4093" y="2183"/>
                  <a:pt x="4093" y="2181"/>
                </a:cubicBezTo>
                <a:cubicBezTo>
                  <a:pt x="4093" y="2170"/>
                  <a:pt x="4093" y="2159"/>
                  <a:pt x="4093" y="2149"/>
                </a:cubicBezTo>
                <a:cubicBezTo>
                  <a:pt x="4093" y="2141"/>
                  <a:pt x="4093" y="2133"/>
                  <a:pt x="4093" y="2125"/>
                </a:cubicBezTo>
                <a:cubicBezTo>
                  <a:pt x="4070" y="2127"/>
                  <a:pt x="4048" y="2129"/>
                  <a:pt x="4025" y="2129"/>
                </a:cubicBezTo>
                <a:cubicBezTo>
                  <a:pt x="4024" y="2125"/>
                  <a:pt x="4022" y="2121"/>
                  <a:pt x="4021" y="2117"/>
                </a:cubicBezTo>
                <a:cubicBezTo>
                  <a:pt x="4021" y="2113"/>
                  <a:pt x="4021" y="2110"/>
                  <a:pt x="4017" y="2108"/>
                </a:cubicBezTo>
                <a:cubicBezTo>
                  <a:pt x="4015" y="2111"/>
                  <a:pt x="4014" y="2114"/>
                  <a:pt x="4013" y="2117"/>
                </a:cubicBezTo>
                <a:cubicBezTo>
                  <a:pt x="4013" y="2117"/>
                  <a:pt x="4013" y="2117"/>
                  <a:pt x="4013" y="2117"/>
                </a:cubicBezTo>
                <a:cubicBezTo>
                  <a:pt x="4000" y="2119"/>
                  <a:pt x="3992" y="2112"/>
                  <a:pt x="3982" y="2106"/>
                </a:cubicBezTo>
                <a:cubicBezTo>
                  <a:pt x="3981" y="2108"/>
                  <a:pt x="3979" y="2111"/>
                  <a:pt x="3978" y="2114"/>
                </a:cubicBezTo>
                <a:cubicBezTo>
                  <a:pt x="3972" y="2113"/>
                  <a:pt x="3966" y="2113"/>
                  <a:pt x="3960" y="2113"/>
                </a:cubicBezTo>
                <a:cubicBezTo>
                  <a:pt x="3956" y="2102"/>
                  <a:pt x="3948" y="2107"/>
                  <a:pt x="3941" y="2107"/>
                </a:cubicBezTo>
                <a:cubicBezTo>
                  <a:pt x="3920" y="2105"/>
                  <a:pt x="3920" y="2117"/>
                  <a:pt x="3926" y="2132"/>
                </a:cubicBezTo>
                <a:cubicBezTo>
                  <a:pt x="3925" y="2134"/>
                  <a:pt x="3925" y="2135"/>
                  <a:pt x="3925" y="2137"/>
                </a:cubicBezTo>
                <a:cubicBezTo>
                  <a:pt x="3914" y="2137"/>
                  <a:pt x="3903" y="2134"/>
                  <a:pt x="3893" y="2141"/>
                </a:cubicBezTo>
                <a:cubicBezTo>
                  <a:pt x="3889" y="2147"/>
                  <a:pt x="3886" y="2154"/>
                  <a:pt x="3877" y="2154"/>
                </a:cubicBezTo>
                <a:cubicBezTo>
                  <a:pt x="3866" y="2154"/>
                  <a:pt x="3862" y="2148"/>
                  <a:pt x="3863" y="2138"/>
                </a:cubicBezTo>
                <a:cubicBezTo>
                  <a:pt x="3860" y="2126"/>
                  <a:pt x="3863" y="2115"/>
                  <a:pt x="3866" y="2104"/>
                </a:cubicBezTo>
                <a:cubicBezTo>
                  <a:pt x="3850" y="2098"/>
                  <a:pt x="3844" y="2087"/>
                  <a:pt x="3845" y="2071"/>
                </a:cubicBezTo>
                <a:cubicBezTo>
                  <a:pt x="3821" y="2066"/>
                  <a:pt x="3801" y="2069"/>
                  <a:pt x="3789" y="2093"/>
                </a:cubicBezTo>
                <a:cubicBezTo>
                  <a:pt x="3778" y="2105"/>
                  <a:pt x="3758" y="2103"/>
                  <a:pt x="3749" y="2117"/>
                </a:cubicBezTo>
                <a:cubicBezTo>
                  <a:pt x="3749" y="2117"/>
                  <a:pt x="3749" y="2117"/>
                  <a:pt x="3749" y="2117"/>
                </a:cubicBezTo>
                <a:cubicBezTo>
                  <a:pt x="3737" y="2115"/>
                  <a:pt x="3723" y="2119"/>
                  <a:pt x="3716" y="2105"/>
                </a:cubicBezTo>
                <a:cubicBezTo>
                  <a:pt x="3711" y="2105"/>
                  <a:pt x="3706" y="2105"/>
                  <a:pt x="3701" y="2105"/>
                </a:cubicBezTo>
                <a:cubicBezTo>
                  <a:pt x="3698" y="2104"/>
                  <a:pt x="3695" y="2102"/>
                  <a:pt x="3693" y="2101"/>
                </a:cubicBezTo>
                <a:cubicBezTo>
                  <a:pt x="3691" y="2103"/>
                  <a:pt x="3690" y="2105"/>
                  <a:pt x="3689" y="2107"/>
                </a:cubicBezTo>
                <a:cubicBezTo>
                  <a:pt x="3689" y="2109"/>
                  <a:pt x="3690" y="2111"/>
                  <a:pt x="3691" y="2113"/>
                </a:cubicBezTo>
                <a:cubicBezTo>
                  <a:pt x="3694" y="2113"/>
                  <a:pt x="3697" y="2113"/>
                  <a:pt x="3700" y="2113"/>
                </a:cubicBezTo>
                <a:cubicBezTo>
                  <a:pt x="3700" y="2113"/>
                  <a:pt x="3700" y="2113"/>
                  <a:pt x="3700" y="2113"/>
                </a:cubicBezTo>
                <a:cubicBezTo>
                  <a:pt x="3714" y="2121"/>
                  <a:pt x="3733" y="2118"/>
                  <a:pt x="3748" y="2127"/>
                </a:cubicBezTo>
                <a:cubicBezTo>
                  <a:pt x="3741" y="2133"/>
                  <a:pt x="3733" y="2125"/>
                  <a:pt x="3728" y="2130"/>
                </a:cubicBezTo>
                <a:cubicBezTo>
                  <a:pt x="3734" y="2142"/>
                  <a:pt x="3749" y="2137"/>
                  <a:pt x="3757" y="2145"/>
                </a:cubicBezTo>
                <a:cubicBezTo>
                  <a:pt x="3757" y="2146"/>
                  <a:pt x="3757" y="2147"/>
                  <a:pt x="3757" y="2149"/>
                </a:cubicBezTo>
                <a:cubicBezTo>
                  <a:pt x="3756" y="2151"/>
                  <a:pt x="3756" y="2154"/>
                  <a:pt x="3756" y="2156"/>
                </a:cubicBezTo>
                <a:cubicBezTo>
                  <a:pt x="3756" y="2156"/>
                  <a:pt x="3754" y="2156"/>
                  <a:pt x="3754" y="2156"/>
                </a:cubicBezTo>
                <a:cubicBezTo>
                  <a:pt x="3752" y="2156"/>
                  <a:pt x="3750" y="2155"/>
                  <a:pt x="3749" y="2155"/>
                </a:cubicBezTo>
                <a:cubicBezTo>
                  <a:pt x="3743" y="2145"/>
                  <a:pt x="3730" y="2146"/>
                  <a:pt x="3726" y="2150"/>
                </a:cubicBezTo>
                <a:cubicBezTo>
                  <a:pt x="3715" y="2162"/>
                  <a:pt x="3718" y="2179"/>
                  <a:pt x="3718" y="2195"/>
                </a:cubicBezTo>
                <a:cubicBezTo>
                  <a:pt x="3726" y="2193"/>
                  <a:pt x="3730" y="2188"/>
                  <a:pt x="3734" y="2184"/>
                </a:cubicBezTo>
                <a:cubicBezTo>
                  <a:pt x="3734" y="2174"/>
                  <a:pt x="3727" y="2159"/>
                  <a:pt x="3748" y="2161"/>
                </a:cubicBezTo>
                <a:cubicBezTo>
                  <a:pt x="3748" y="2164"/>
                  <a:pt x="3748" y="2166"/>
                  <a:pt x="3749" y="2168"/>
                </a:cubicBezTo>
                <a:cubicBezTo>
                  <a:pt x="3741" y="2180"/>
                  <a:pt x="3755" y="2181"/>
                  <a:pt x="3757" y="2188"/>
                </a:cubicBezTo>
                <a:cubicBezTo>
                  <a:pt x="3757" y="2193"/>
                  <a:pt x="3757" y="2198"/>
                  <a:pt x="3757" y="2202"/>
                </a:cubicBezTo>
                <a:cubicBezTo>
                  <a:pt x="3757" y="2202"/>
                  <a:pt x="3757" y="2202"/>
                  <a:pt x="3757" y="2202"/>
                </a:cubicBezTo>
                <a:cubicBezTo>
                  <a:pt x="3755" y="2202"/>
                  <a:pt x="3752" y="2201"/>
                  <a:pt x="3749" y="2200"/>
                </a:cubicBezTo>
                <a:cubicBezTo>
                  <a:pt x="3749" y="2194"/>
                  <a:pt x="3749" y="2189"/>
                  <a:pt x="3741" y="2189"/>
                </a:cubicBezTo>
                <a:cubicBezTo>
                  <a:pt x="3741" y="2193"/>
                  <a:pt x="3741" y="2197"/>
                  <a:pt x="3741" y="2201"/>
                </a:cubicBezTo>
                <a:cubicBezTo>
                  <a:pt x="3741" y="2204"/>
                  <a:pt x="3741" y="2206"/>
                  <a:pt x="3741" y="2209"/>
                </a:cubicBezTo>
                <a:cubicBezTo>
                  <a:pt x="3735" y="2210"/>
                  <a:pt x="3725" y="2207"/>
                  <a:pt x="3725" y="2215"/>
                </a:cubicBezTo>
                <a:cubicBezTo>
                  <a:pt x="3725" y="2225"/>
                  <a:pt x="3735" y="2219"/>
                  <a:pt x="3741" y="2221"/>
                </a:cubicBezTo>
                <a:cubicBezTo>
                  <a:pt x="3743" y="2221"/>
                  <a:pt x="3746" y="2221"/>
                  <a:pt x="3749" y="2221"/>
                </a:cubicBezTo>
                <a:cubicBezTo>
                  <a:pt x="3751" y="2221"/>
                  <a:pt x="3754" y="2221"/>
                  <a:pt x="3757" y="2221"/>
                </a:cubicBezTo>
                <a:cubicBezTo>
                  <a:pt x="3759" y="2222"/>
                  <a:pt x="3762" y="2224"/>
                  <a:pt x="3765" y="2225"/>
                </a:cubicBezTo>
                <a:cubicBezTo>
                  <a:pt x="3762" y="2230"/>
                  <a:pt x="3757" y="2229"/>
                  <a:pt x="3753" y="2229"/>
                </a:cubicBezTo>
                <a:cubicBezTo>
                  <a:pt x="3753" y="2233"/>
                  <a:pt x="3753" y="2237"/>
                  <a:pt x="3753" y="2241"/>
                </a:cubicBezTo>
                <a:cubicBezTo>
                  <a:pt x="3760" y="2242"/>
                  <a:pt x="3759" y="2251"/>
                  <a:pt x="3764" y="2254"/>
                </a:cubicBezTo>
                <a:cubicBezTo>
                  <a:pt x="3765" y="2256"/>
                  <a:pt x="3766" y="2259"/>
                  <a:pt x="3766" y="2261"/>
                </a:cubicBezTo>
                <a:cubicBezTo>
                  <a:pt x="3768" y="2260"/>
                  <a:pt x="3770" y="2259"/>
                  <a:pt x="3772" y="2257"/>
                </a:cubicBezTo>
                <a:cubicBezTo>
                  <a:pt x="3773" y="2262"/>
                  <a:pt x="3773" y="2266"/>
                  <a:pt x="3769" y="2269"/>
                </a:cubicBezTo>
                <a:cubicBezTo>
                  <a:pt x="3769" y="2273"/>
                  <a:pt x="3769" y="2277"/>
                  <a:pt x="3769" y="2281"/>
                </a:cubicBezTo>
                <a:cubicBezTo>
                  <a:pt x="3771" y="2281"/>
                  <a:pt x="3774" y="2281"/>
                  <a:pt x="3776" y="2281"/>
                </a:cubicBezTo>
                <a:cubicBezTo>
                  <a:pt x="3783" y="2280"/>
                  <a:pt x="3787" y="2278"/>
                  <a:pt x="3790" y="2276"/>
                </a:cubicBezTo>
                <a:cubicBezTo>
                  <a:pt x="3787" y="2278"/>
                  <a:pt x="3783" y="2280"/>
                  <a:pt x="3776" y="2281"/>
                </a:cubicBezTo>
                <a:cubicBezTo>
                  <a:pt x="3776" y="2281"/>
                  <a:pt x="3776" y="2281"/>
                  <a:pt x="3776" y="2281"/>
                </a:cubicBezTo>
                <a:cubicBezTo>
                  <a:pt x="3774" y="2281"/>
                  <a:pt x="3771" y="2281"/>
                  <a:pt x="3769" y="2281"/>
                </a:cubicBezTo>
                <a:cubicBezTo>
                  <a:pt x="3767" y="2281"/>
                  <a:pt x="3766" y="2281"/>
                  <a:pt x="3765" y="2281"/>
                </a:cubicBezTo>
                <a:cubicBezTo>
                  <a:pt x="3766" y="2281"/>
                  <a:pt x="3767" y="2281"/>
                  <a:pt x="3769" y="2281"/>
                </a:cubicBezTo>
                <a:cubicBezTo>
                  <a:pt x="3769" y="2277"/>
                  <a:pt x="3769" y="2273"/>
                  <a:pt x="3769" y="2269"/>
                </a:cubicBezTo>
                <a:cubicBezTo>
                  <a:pt x="3767" y="2269"/>
                  <a:pt x="3766" y="2269"/>
                  <a:pt x="3765" y="2269"/>
                </a:cubicBezTo>
                <a:cubicBezTo>
                  <a:pt x="3763" y="2269"/>
                  <a:pt x="3762" y="2269"/>
                  <a:pt x="3761" y="2269"/>
                </a:cubicBezTo>
                <a:cubicBezTo>
                  <a:pt x="3748" y="2262"/>
                  <a:pt x="3736" y="2265"/>
                  <a:pt x="3723" y="2266"/>
                </a:cubicBezTo>
                <a:cubicBezTo>
                  <a:pt x="3714" y="2266"/>
                  <a:pt x="3705" y="2263"/>
                  <a:pt x="3697" y="2268"/>
                </a:cubicBezTo>
                <a:cubicBezTo>
                  <a:pt x="3696" y="2269"/>
                  <a:pt x="3697" y="2273"/>
                  <a:pt x="3698" y="2273"/>
                </a:cubicBezTo>
                <a:cubicBezTo>
                  <a:pt x="3706" y="2279"/>
                  <a:pt x="3715" y="2281"/>
                  <a:pt x="3725" y="2277"/>
                </a:cubicBezTo>
                <a:cubicBezTo>
                  <a:pt x="3737" y="2281"/>
                  <a:pt x="3750" y="2270"/>
                  <a:pt x="3760" y="2281"/>
                </a:cubicBezTo>
                <a:cubicBezTo>
                  <a:pt x="3760" y="2281"/>
                  <a:pt x="3760" y="2281"/>
                  <a:pt x="3760" y="2281"/>
                </a:cubicBezTo>
                <a:cubicBezTo>
                  <a:pt x="3760" y="2284"/>
                  <a:pt x="3761" y="2286"/>
                  <a:pt x="3761" y="2288"/>
                </a:cubicBezTo>
                <a:cubicBezTo>
                  <a:pt x="3753" y="2289"/>
                  <a:pt x="3745" y="2289"/>
                  <a:pt x="3737" y="2289"/>
                </a:cubicBezTo>
                <a:cubicBezTo>
                  <a:pt x="3730" y="2288"/>
                  <a:pt x="3723" y="2287"/>
                  <a:pt x="3716" y="2286"/>
                </a:cubicBezTo>
                <a:cubicBezTo>
                  <a:pt x="3711" y="2286"/>
                  <a:pt x="3703" y="2283"/>
                  <a:pt x="3701" y="2291"/>
                </a:cubicBezTo>
                <a:cubicBezTo>
                  <a:pt x="3700" y="2299"/>
                  <a:pt x="3708" y="2298"/>
                  <a:pt x="3714" y="2299"/>
                </a:cubicBezTo>
                <a:cubicBezTo>
                  <a:pt x="3721" y="2300"/>
                  <a:pt x="3729" y="2300"/>
                  <a:pt x="3737" y="2300"/>
                </a:cubicBezTo>
                <a:cubicBezTo>
                  <a:pt x="3748" y="2301"/>
                  <a:pt x="3758" y="2301"/>
                  <a:pt x="3769" y="2301"/>
                </a:cubicBezTo>
                <a:cubicBezTo>
                  <a:pt x="3770" y="2304"/>
                  <a:pt x="3771" y="2306"/>
                  <a:pt x="3773" y="2308"/>
                </a:cubicBezTo>
                <a:cubicBezTo>
                  <a:pt x="3761" y="2320"/>
                  <a:pt x="3750" y="2304"/>
                  <a:pt x="3739" y="2308"/>
                </a:cubicBezTo>
                <a:cubicBezTo>
                  <a:pt x="3739" y="2308"/>
                  <a:pt x="3739" y="2308"/>
                  <a:pt x="3739" y="2308"/>
                </a:cubicBezTo>
                <a:cubicBezTo>
                  <a:pt x="3737" y="2308"/>
                  <a:pt x="3735" y="2308"/>
                  <a:pt x="3733" y="2309"/>
                </a:cubicBezTo>
                <a:cubicBezTo>
                  <a:pt x="3724" y="2306"/>
                  <a:pt x="3715" y="2304"/>
                  <a:pt x="3705" y="2306"/>
                </a:cubicBezTo>
                <a:cubicBezTo>
                  <a:pt x="3692" y="2299"/>
                  <a:pt x="3689" y="2316"/>
                  <a:pt x="3680" y="2317"/>
                </a:cubicBezTo>
                <a:cubicBezTo>
                  <a:pt x="3679" y="2313"/>
                  <a:pt x="3678" y="2309"/>
                  <a:pt x="3676" y="2305"/>
                </a:cubicBezTo>
                <a:cubicBezTo>
                  <a:pt x="3676" y="2302"/>
                  <a:pt x="3677" y="2299"/>
                  <a:pt x="3677" y="2296"/>
                </a:cubicBezTo>
                <a:cubicBezTo>
                  <a:pt x="3676" y="2295"/>
                  <a:pt x="3676" y="2294"/>
                  <a:pt x="3677" y="2293"/>
                </a:cubicBezTo>
                <a:cubicBezTo>
                  <a:pt x="3677" y="2287"/>
                  <a:pt x="3678" y="2281"/>
                  <a:pt x="3672" y="2277"/>
                </a:cubicBezTo>
                <a:cubicBezTo>
                  <a:pt x="3671" y="2271"/>
                  <a:pt x="3668" y="2265"/>
                  <a:pt x="3668" y="2260"/>
                </a:cubicBezTo>
                <a:cubicBezTo>
                  <a:pt x="3668" y="2244"/>
                  <a:pt x="3661" y="2237"/>
                  <a:pt x="3646" y="2241"/>
                </a:cubicBezTo>
                <a:cubicBezTo>
                  <a:pt x="3642" y="2240"/>
                  <a:pt x="3636" y="2240"/>
                  <a:pt x="3640" y="2233"/>
                </a:cubicBezTo>
                <a:cubicBezTo>
                  <a:pt x="3650" y="2233"/>
                  <a:pt x="3664" y="2242"/>
                  <a:pt x="3661" y="2221"/>
                </a:cubicBezTo>
                <a:cubicBezTo>
                  <a:pt x="3665" y="2217"/>
                  <a:pt x="3669" y="2214"/>
                  <a:pt x="3673" y="2210"/>
                </a:cubicBezTo>
                <a:cubicBezTo>
                  <a:pt x="3673" y="2210"/>
                  <a:pt x="3673" y="2210"/>
                  <a:pt x="3673" y="2210"/>
                </a:cubicBezTo>
                <a:cubicBezTo>
                  <a:pt x="3682" y="2212"/>
                  <a:pt x="3691" y="2214"/>
                  <a:pt x="3701" y="2216"/>
                </a:cubicBezTo>
                <a:cubicBezTo>
                  <a:pt x="3708" y="2217"/>
                  <a:pt x="3715" y="2215"/>
                  <a:pt x="3712" y="2206"/>
                </a:cubicBezTo>
                <a:cubicBezTo>
                  <a:pt x="3709" y="2199"/>
                  <a:pt x="3713" y="2186"/>
                  <a:pt x="3701" y="2184"/>
                </a:cubicBezTo>
                <a:cubicBezTo>
                  <a:pt x="3694" y="2182"/>
                  <a:pt x="3692" y="2190"/>
                  <a:pt x="3693" y="2196"/>
                </a:cubicBezTo>
                <a:cubicBezTo>
                  <a:pt x="3694" y="2197"/>
                  <a:pt x="3694" y="2197"/>
                  <a:pt x="3694" y="2197"/>
                </a:cubicBezTo>
                <a:cubicBezTo>
                  <a:pt x="3697" y="2198"/>
                  <a:pt x="3702" y="2195"/>
                  <a:pt x="3702" y="2201"/>
                </a:cubicBezTo>
                <a:cubicBezTo>
                  <a:pt x="3699" y="2201"/>
                  <a:pt x="3696" y="2201"/>
                  <a:pt x="3693" y="2201"/>
                </a:cubicBezTo>
                <a:cubicBezTo>
                  <a:pt x="3693" y="2199"/>
                  <a:pt x="3693" y="2198"/>
                  <a:pt x="3694" y="2197"/>
                </a:cubicBezTo>
                <a:cubicBezTo>
                  <a:pt x="3694" y="2197"/>
                  <a:pt x="3693" y="2196"/>
                  <a:pt x="3693" y="2196"/>
                </a:cubicBezTo>
                <a:cubicBezTo>
                  <a:pt x="3686" y="2199"/>
                  <a:pt x="3680" y="2202"/>
                  <a:pt x="3673" y="2205"/>
                </a:cubicBezTo>
                <a:cubicBezTo>
                  <a:pt x="3669" y="2205"/>
                  <a:pt x="3665" y="2205"/>
                  <a:pt x="3660" y="2205"/>
                </a:cubicBezTo>
                <a:cubicBezTo>
                  <a:pt x="3657" y="2211"/>
                  <a:pt x="3653" y="2212"/>
                  <a:pt x="3648" y="2211"/>
                </a:cubicBezTo>
                <a:cubicBezTo>
                  <a:pt x="3653" y="2212"/>
                  <a:pt x="3657" y="2211"/>
                  <a:pt x="3660" y="2205"/>
                </a:cubicBezTo>
                <a:cubicBezTo>
                  <a:pt x="3653" y="2203"/>
                  <a:pt x="3644" y="2198"/>
                  <a:pt x="3639" y="2200"/>
                </a:cubicBezTo>
                <a:cubicBezTo>
                  <a:pt x="3626" y="2208"/>
                  <a:pt x="3620" y="2199"/>
                  <a:pt x="3613" y="2193"/>
                </a:cubicBezTo>
                <a:cubicBezTo>
                  <a:pt x="3609" y="2182"/>
                  <a:pt x="3618" y="2174"/>
                  <a:pt x="3620" y="2164"/>
                </a:cubicBezTo>
                <a:cubicBezTo>
                  <a:pt x="3612" y="2162"/>
                  <a:pt x="3611" y="2173"/>
                  <a:pt x="3603" y="2170"/>
                </a:cubicBezTo>
                <a:cubicBezTo>
                  <a:pt x="3601" y="2165"/>
                  <a:pt x="3599" y="2159"/>
                  <a:pt x="3597" y="2154"/>
                </a:cubicBezTo>
                <a:cubicBezTo>
                  <a:pt x="3593" y="2146"/>
                  <a:pt x="3588" y="2151"/>
                  <a:pt x="3586" y="2155"/>
                </a:cubicBezTo>
                <a:cubicBezTo>
                  <a:pt x="3583" y="2162"/>
                  <a:pt x="3579" y="2170"/>
                  <a:pt x="3585" y="2177"/>
                </a:cubicBezTo>
                <a:cubicBezTo>
                  <a:pt x="3585" y="2178"/>
                  <a:pt x="3585" y="2180"/>
                  <a:pt x="3585" y="2181"/>
                </a:cubicBezTo>
                <a:cubicBezTo>
                  <a:pt x="3581" y="2185"/>
                  <a:pt x="3574" y="2186"/>
                  <a:pt x="3575" y="2194"/>
                </a:cubicBezTo>
                <a:cubicBezTo>
                  <a:pt x="3575" y="2194"/>
                  <a:pt x="3575" y="2194"/>
                  <a:pt x="3575" y="2194"/>
                </a:cubicBezTo>
                <a:cubicBezTo>
                  <a:pt x="3578" y="2195"/>
                  <a:pt x="3581" y="2196"/>
                  <a:pt x="3584" y="2197"/>
                </a:cubicBezTo>
                <a:cubicBezTo>
                  <a:pt x="3588" y="2197"/>
                  <a:pt x="3591" y="2197"/>
                  <a:pt x="3594" y="2195"/>
                </a:cubicBezTo>
                <a:cubicBezTo>
                  <a:pt x="3591" y="2197"/>
                  <a:pt x="3588" y="2197"/>
                  <a:pt x="3584" y="2197"/>
                </a:cubicBezTo>
                <a:cubicBezTo>
                  <a:pt x="3582" y="2202"/>
                  <a:pt x="3578" y="2205"/>
                  <a:pt x="3572" y="2205"/>
                </a:cubicBezTo>
                <a:cubicBezTo>
                  <a:pt x="3571" y="2205"/>
                  <a:pt x="3570" y="2205"/>
                  <a:pt x="3569" y="2204"/>
                </a:cubicBezTo>
                <a:cubicBezTo>
                  <a:pt x="3569" y="2200"/>
                  <a:pt x="3571" y="2197"/>
                  <a:pt x="3575" y="2194"/>
                </a:cubicBezTo>
                <a:cubicBezTo>
                  <a:pt x="3575" y="2194"/>
                  <a:pt x="3575" y="2194"/>
                  <a:pt x="3575" y="2194"/>
                </a:cubicBezTo>
                <a:cubicBezTo>
                  <a:pt x="3557" y="2184"/>
                  <a:pt x="3547" y="2197"/>
                  <a:pt x="3537" y="2209"/>
                </a:cubicBezTo>
                <a:cubicBezTo>
                  <a:pt x="3531" y="2201"/>
                  <a:pt x="3520" y="2209"/>
                  <a:pt x="3513" y="2198"/>
                </a:cubicBezTo>
                <a:cubicBezTo>
                  <a:pt x="3514" y="2209"/>
                  <a:pt x="3505" y="2216"/>
                  <a:pt x="3513" y="2223"/>
                </a:cubicBezTo>
                <a:cubicBezTo>
                  <a:pt x="3513" y="2225"/>
                  <a:pt x="3513" y="2226"/>
                  <a:pt x="3513" y="2228"/>
                </a:cubicBezTo>
                <a:cubicBezTo>
                  <a:pt x="3512" y="2229"/>
                  <a:pt x="3512" y="2229"/>
                  <a:pt x="3512" y="2229"/>
                </a:cubicBezTo>
                <a:cubicBezTo>
                  <a:pt x="3508" y="2229"/>
                  <a:pt x="3504" y="2228"/>
                  <a:pt x="3501" y="2233"/>
                </a:cubicBezTo>
                <a:cubicBezTo>
                  <a:pt x="3498" y="2218"/>
                  <a:pt x="3495" y="2203"/>
                  <a:pt x="3493" y="2189"/>
                </a:cubicBezTo>
                <a:cubicBezTo>
                  <a:pt x="3493" y="2179"/>
                  <a:pt x="3493" y="2170"/>
                  <a:pt x="3493" y="2161"/>
                </a:cubicBezTo>
                <a:cubicBezTo>
                  <a:pt x="3493" y="2160"/>
                  <a:pt x="3493" y="2158"/>
                  <a:pt x="3493" y="2157"/>
                </a:cubicBezTo>
                <a:cubicBezTo>
                  <a:pt x="3497" y="2154"/>
                  <a:pt x="3508" y="2159"/>
                  <a:pt x="3504" y="2151"/>
                </a:cubicBezTo>
                <a:cubicBezTo>
                  <a:pt x="3500" y="2143"/>
                  <a:pt x="3503" y="2142"/>
                  <a:pt x="3509" y="2142"/>
                </a:cubicBezTo>
                <a:cubicBezTo>
                  <a:pt x="3525" y="2143"/>
                  <a:pt x="3538" y="2135"/>
                  <a:pt x="3552" y="2129"/>
                </a:cubicBezTo>
                <a:cubicBezTo>
                  <a:pt x="3565" y="2145"/>
                  <a:pt x="3542" y="2143"/>
                  <a:pt x="3541" y="2152"/>
                </a:cubicBezTo>
                <a:cubicBezTo>
                  <a:pt x="3539" y="2152"/>
                  <a:pt x="3538" y="2152"/>
                  <a:pt x="3537" y="2152"/>
                </a:cubicBezTo>
                <a:cubicBezTo>
                  <a:pt x="3530" y="2150"/>
                  <a:pt x="3523" y="2146"/>
                  <a:pt x="3515" y="2152"/>
                </a:cubicBezTo>
                <a:cubicBezTo>
                  <a:pt x="3514" y="2153"/>
                  <a:pt x="3513" y="2156"/>
                  <a:pt x="3514" y="2157"/>
                </a:cubicBezTo>
                <a:cubicBezTo>
                  <a:pt x="3520" y="2165"/>
                  <a:pt x="3526" y="2155"/>
                  <a:pt x="3532" y="2159"/>
                </a:cubicBezTo>
                <a:cubicBezTo>
                  <a:pt x="3541" y="2166"/>
                  <a:pt x="3541" y="2174"/>
                  <a:pt x="3536" y="2184"/>
                </a:cubicBezTo>
                <a:cubicBezTo>
                  <a:pt x="3533" y="2184"/>
                  <a:pt x="3529" y="2184"/>
                  <a:pt x="3525" y="2185"/>
                </a:cubicBezTo>
                <a:cubicBezTo>
                  <a:pt x="3526" y="2173"/>
                  <a:pt x="3519" y="2169"/>
                  <a:pt x="3509" y="2169"/>
                </a:cubicBezTo>
                <a:cubicBezTo>
                  <a:pt x="3507" y="2168"/>
                  <a:pt x="3503" y="2171"/>
                  <a:pt x="3503" y="2172"/>
                </a:cubicBezTo>
                <a:cubicBezTo>
                  <a:pt x="3503" y="2183"/>
                  <a:pt x="3514" y="2179"/>
                  <a:pt x="3519" y="2184"/>
                </a:cubicBezTo>
                <a:cubicBezTo>
                  <a:pt x="3520" y="2185"/>
                  <a:pt x="3521" y="2185"/>
                  <a:pt x="3523" y="2185"/>
                </a:cubicBezTo>
                <a:cubicBezTo>
                  <a:pt x="3522" y="2190"/>
                  <a:pt x="3516" y="2197"/>
                  <a:pt x="3527" y="2197"/>
                </a:cubicBezTo>
                <a:cubicBezTo>
                  <a:pt x="3536" y="2198"/>
                  <a:pt x="3544" y="2197"/>
                  <a:pt x="3540" y="2185"/>
                </a:cubicBezTo>
                <a:cubicBezTo>
                  <a:pt x="3553" y="2179"/>
                  <a:pt x="3547" y="2167"/>
                  <a:pt x="3549" y="2157"/>
                </a:cubicBezTo>
                <a:cubicBezTo>
                  <a:pt x="3567" y="2160"/>
                  <a:pt x="3563" y="2145"/>
                  <a:pt x="3568" y="2136"/>
                </a:cubicBezTo>
                <a:cubicBezTo>
                  <a:pt x="3570" y="2133"/>
                  <a:pt x="3570" y="2130"/>
                  <a:pt x="3569" y="2127"/>
                </a:cubicBezTo>
                <a:cubicBezTo>
                  <a:pt x="3570" y="2130"/>
                  <a:pt x="3570" y="2133"/>
                  <a:pt x="3568" y="2136"/>
                </a:cubicBezTo>
                <a:cubicBezTo>
                  <a:pt x="3574" y="2136"/>
                  <a:pt x="3580" y="2138"/>
                  <a:pt x="3585" y="2133"/>
                </a:cubicBezTo>
                <a:cubicBezTo>
                  <a:pt x="3600" y="2127"/>
                  <a:pt x="3610" y="2131"/>
                  <a:pt x="3618" y="2147"/>
                </a:cubicBezTo>
                <a:cubicBezTo>
                  <a:pt x="3623" y="2156"/>
                  <a:pt x="3626" y="2170"/>
                  <a:pt x="3641" y="2172"/>
                </a:cubicBezTo>
                <a:cubicBezTo>
                  <a:pt x="3646" y="2176"/>
                  <a:pt x="3644" y="2182"/>
                  <a:pt x="3645" y="2186"/>
                </a:cubicBezTo>
                <a:cubicBezTo>
                  <a:pt x="3646" y="2192"/>
                  <a:pt x="3650" y="2192"/>
                  <a:pt x="3654" y="2189"/>
                </a:cubicBezTo>
                <a:cubicBezTo>
                  <a:pt x="3661" y="2181"/>
                  <a:pt x="3653" y="2172"/>
                  <a:pt x="3653" y="2164"/>
                </a:cubicBezTo>
                <a:cubicBezTo>
                  <a:pt x="3652" y="2155"/>
                  <a:pt x="3645" y="2162"/>
                  <a:pt x="3641" y="2161"/>
                </a:cubicBezTo>
                <a:cubicBezTo>
                  <a:pt x="3634" y="2159"/>
                  <a:pt x="3630" y="2155"/>
                  <a:pt x="3627" y="2148"/>
                </a:cubicBezTo>
                <a:cubicBezTo>
                  <a:pt x="3644" y="2142"/>
                  <a:pt x="3657" y="2128"/>
                  <a:pt x="3677" y="2133"/>
                </a:cubicBezTo>
                <a:cubicBezTo>
                  <a:pt x="3687" y="2137"/>
                  <a:pt x="3695" y="2144"/>
                  <a:pt x="3700" y="2153"/>
                </a:cubicBezTo>
                <a:cubicBezTo>
                  <a:pt x="3700" y="2153"/>
                  <a:pt x="3701" y="2153"/>
                  <a:pt x="3701" y="2152"/>
                </a:cubicBezTo>
                <a:cubicBezTo>
                  <a:pt x="3701" y="2146"/>
                  <a:pt x="3701" y="2139"/>
                  <a:pt x="3701" y="2133"/>
                </a:cubicBezTo>
                <a:cubicBezTo>
                  <a:pt x="3702" y="2132"/>
                  <a:pt x="3703" y="2131"/>
                  <a:pt x="3703" y="2130"/>
                </a:cubicBezTo>
                <a:cubicBezTo>
                  <a:pt x="3703" y="2130"/>
                  <a:pt x="3702" y="2129"/>
                  <a:pt x="3701" y="2129"/>
                </a:cubicBezTo>
                <a:cubicBezTo>
                  <a:pt x="3701" y="2130"/>
                  <a:pt x="3701" y="2131"/>
                  <a:pt x="3701" y="2133"/>
                </a:cubicBezTo>
                <a:cubicBezTo>
                  <a:pt x="3693" y="2133"/>
                  <a:pt x="3685" y="2133"/>
                  <a:pt x="3677" y="2133"/>
                </a:cubicBezTo>
                <a:cubicBezTo>
                  <a:pt x="3668" y="2118"/>
                  <a:pt x="3657" y="2117"/>
                  <a:pt x="3645" y="2129"/>
                </a:cubicBezTo>
                <a:cubicBezTo>
                  <a:pt x="3645" y="2125"/>
                  <a:pt x="3644" y="2121"/>
                  <a:pt x="3643" y="2118"/>
                </a:cubicBezTo>
                <a:cubicBezTo>
                  <a:pt x="3644" y="2115"/>
                  <a:pt x="3644" y="2112"/>
                  <a:pt x="3645" y="2109"/>
                </a:cubicBezTo>
                <a:cubicBezTo>
                  <a:pt x="3660" y="2110"/>
                  <a:pt x="3675" y="2112"/>
                  <a:pt x="3690" y="2113"/>
                </a:cubicBezTo>
                <a:cubicBezTo>
                  <a:pt x="3690" y="2111"/>
                  <a:pt x="3689" y="2109"/>
                  <a:pt x="3689" y="2107"/>
                </a:cubicBezTo>
                <a:cubicBezTo>
                  <a:pt x="3668" y="2106"/>
                  <a:pt x="3647" y="2098"/>
                  <a:pt x="3625" y="2101"/>
                </a:cubicBezTo>
                <a:cubicBezTo>
                  <a:pt x="3617" y="2089"/>
                  <a:pt x="3617" y="2074"/>
                  <a:pt x="3611" y="2057"/>
                </a:cubicBezTo>
                <a:cubicBezTo>
                  <a:pt x="3624" y="2061"/>
                  <a:pt x="3619" y="2074"/>
                  <a:pt x="3628" y="2076"/>
                </a:cubicBezTo>
                <a:cubicBezTo>
                  <a:pt x="3632" y="2077"/>
                  <a:pt x="3636" y="2081"/>
                  <a:pt x="3639" y="2077"/>
                </a:cubicBezTo>
                <a:cubicBezTo>
                  <a:pt x="3641" y="2074"/>
                  <a:pt x="3639" y="2071"/>
                  <a:pt x="3635" y="2069"/>
                </a:cubicBezTo>
                <a:cubicBezTo>
                  <a:pt x="3631" y="2067"/>
                  <a:pt x="3629" y="2064"/>
                  <a:pt x="3633" y="2060"/>
                </a:cubicBezTo>
                <a:cubicBezTo>
                  <a:pt x="3636" y="2057"/>
                  <a:pt x="3640" y="2057"/>
                  <a:pt x="3643" y="2059"/>
                </a:cubicBezTo>
                <a:cubicBezTo>
                  <a:pt x="3651" y="2065"/>
                  <a:pt x="3659" y="2071"/>
                  <a:pt x="3667" y="2076"/>
                </a:cubicBezTo>
                <a:cubicBezTo>
                  <a:pt x="3661" y="2082"/>
                  <a:pt x="3651" y="2072"/>
                  <a:pt x="3649" y="2084"/>
                </a:cubicBezTo>
                <a:cubicBezTo>
                  <a:pt x="3649" y="2088"/>
                  <a:pt x="3648" y="2093"/>
                  <a:pt x="3653" y="2095"/>
                </a:cubicBezTo>
                <a:cubicBezTo>
                  <a:pt x="3661" y="2097"/>
                  <a:pt x="3669" y="2101"/>
                  <a:pt x="3677" y="2098"/>
                </a:cubicBezTo>
                <a:cubicBezTo>
                  <a:pt x="3682" y="2096"/>
                  <a:pt x="3680" y="2090"/>
                  <a:pt x="3679" y="2086"/>
                </a:cubicBezTo>
                <a:cubicBezTo>
                  <a:pt x="3675" y="2072"/>
                  <a:pt x="3671" y="2059"/>
                  <a:pt x="3673" y="2045"/>
                </a:cubicBezTo>
                <a:cubicBezTo>
                  <a:pt x="3667" y="2039"/>
                  <a:pt x="3670" y="2032"/>
                  <a:pt x="3669" y="2025"/>
                </a:cubicBezTo>
                <a:cubicBezTo>
                  <a:pt x="3666" y="2042"/>
                  <a:pt x="3657" y="2053"/>
                  <a:pt x="3638" y="2049"/>
                </a:cubicBezTo>
                <a:cubicBezTo>
                  <a:pt x="3634" y="2049"/>
                  <a:pt x="3630" y="2050"/>
                  <a:pt x="3627" y="2046"/>
                </a:cubicBezTo>
                <a:cubicBezTo>
                  <a:pt x="3625" y="2041"/>
                  <a:pt x="3623" y="2032"/>
                  <a:pt x="3616" y="2036"/>
                </a:cubicBezTo>
                <a:cubicBezTo>
                  <a:pt x="3608" y="2039"/>
                  <a:pt x="3619" y="2046"/>
                  <a:pt x="3616" y="2053"/>
                </a:cubicBezTo>
                <a:cubicBezTo>
                  <a:pt x="3612" y="2053"/>
                  <a:pt x="3607" y="2054"/>
                  <a:pt x="3603" y="2052"/>
                </a:cubicBezTo>
                <a:cubicBezTo>
                  <a:pt x="3599" y="2051"/>
                  <a:pt x="3582" y="2061"/>
                  <a:pt x="3592" y="2043"/>
                </a:cubicBezTo>
                <a:cubicBezTo>
                  <a:pt x="3593" y="2041"/>
                  <a:pt x="3583" y="2038"/>
                  <a:pt x="3577" y="2037"/>
                </a:cubicBezTo>
                <a:cubicBezTo>
                  <a:pt x="3578" y="2043"/>
                  <a:pt x="3579" y="2050"/>
                  <a:pt x="3580" y="2056"/>
                </a:cubicBezTo>
                <a:cubicBezTo>
                  <a:pt x="3582" y="2073"/>
                  <a:pt x="3594" y="2094"/>
                  <a:pt x="3564" y="2097"/>
                </a:cubicBezTo>
                <a:cubicBezTo>
                  <a:pt x="3562" y="2097"/>
                  <a:pt x="3561" y="2102"/>
                  <a:pt x="3560" y="2104"/>
                </a:cubicBezTo>
                <a:cubicBezTo>
                  <a:pt x="3535" y="2103"/>
                  <a:pt x="3511" y="2115"/>
                  <a:pt x="3485" y="2113"/>
                </a:cubicBezTo>
                <a:cubicBezTo>
                  <a:pt x="3479" y="2118"/>
                  <a:pt x="3471" y="2115"/>
                  <a:pt x="3465" y="2117"/>
                </a:cubicBezTo>
                <a:cubicBezTo>
                  <a:pt x="3466" y="2118"/>
                  <a:pt x="3467" y="2120"/>
                  <a:pt x="3468" y="2121"/>
                </a:cubicBezTo>
                <a:cubicBezTo>
                  <a:pt x="3469" y="2126"/>
                  <a:pt x="3469" y="2132"/>
                  <a:pt x="3476" y="2133"/>
                </a:cubicBezTo>
                <a:cubicBezTo>
                  <a:pt x="3479" y="2130"/>
                  <a:pt x="3482" y="2128"/>
                  <a:pt x="3484" y="2128"/>
                </a:cubicBezTo>
                <a:cubicBezTo>
                  <a:pt x="3482" y="2128"/>
                  <a:pt x="3479" y="2130"/>
                  <a:pt x="3476" y="2133"/>
                </a:cubicBezTo>
                <a:cubicBezTo>
                  <a:pt x="3477" y="2134"/>
                  <a:pt x="3478" y="2135"/>
                  <a:pt x="3479" y="2136"/>
                </a:cubicBezTo>
                <a:cubicBezTo>
                  <a:pt x="3466" y="2150"/>
                  <a:pt x="3469" y="2168"/>
                  <a:pt x="3469" y="2184"/>
                </a:cubicBezTo>
                <a:cubicBezTo>
                  <a:pt x="3465" y="2189"/>
                  <a:pt x="3465" y="2195"/>
                  <a:pt x="3465" y="2201"/>
                </a:cubicBezTo>
                <a:cubicBezTo>
                  <a:pt x="3465" y="2202"/>
                  <a:pt x="3465" y="2204"/>
                  <a:pt x="3465" y="2205"/>
                </a:cubicBezTo>
                <a:cubicBezTo>
                  <a:pt x="3464" y="2206"/>
                  <a:pt x="3464" y="2207"/>
                  <a:pt x="3465" y="2209"/>
                </a:cubicBezTo>
                <a:cubicBezTo>
                  <a:pt x="3455" y="2213"/>
                  <a:pt x="3444" y="2221"/>
                  <a:pt x="3437" y="2205"/>
                </a:cubicBezTo>
                <a:cubicBezTo>
                  <a:pt x="3415" y="2202"/>
                  <a:pt x="3393" y="2206"/>
                  <a:pt x="3373" y="2193"/>
                </a:cubicBezTo>
                <a:cubicBezTo>
                  <a:pt x="3373" y="2195"/>
                  <a:pt x="3373" y="2196"/>
                  <a:pt x="3373" y="2197"/>
                </a:cubicBezTo>
                <a:cubicBezTo>
                  <a:pt x="3366" y="2197"/>
                  <a:pt x="3359" y="2198"/>
                  <a:pt x="3352" y="2198"/>
                </a:cubicBezTo>
                <a:cubicBezTo>
                  <a:pt x="3351" y="2192"/>
                  <a:pt x="3346" y="2186"/>
                  <a:pt x="3353" y="2181"/>
                </a:cubicBezTo>
                <a:cubicBezTo>
                  <a:pt x="3362" y="2164"/>
                  <a:pt x="3338" y="2167"/>
                  <a:pt x="3338" y="2156"/>
                </a:cubicBezTo>
                <a:cubicBezTo>
                  <a:pt x="3336" y="2156"/>
                  <a:pt x="3335" y="2156"/>
                  <a:pt x="3333" y="2156"/>
                </a:cubicBezTo>
                <a:cubicBezTo>
                  <a:pt x="3327" y="2162"/>
                  <a:pt x="3328" y="2169"/>
                  <a:pt x="3329" y="2176"/>
                </a:cubicBezTo>
                <a:cubicBezTo>
                  <a:pt x="3333" y="2179"/>
                  <a:pt x="3334" y="2185"/>
                  <a:pt x="3340" y="2184"/>
                </a:cubicBezTo>
                <a:cubicBezTo>
                  <a:pt x="3341" y="2183"/>
                  <a:pt x="3342" y="2181"/>
                  <a:pt x="3343" y="2180"/>
                </a:cubicBezTo>
                <a:cubicBezTo>
                  <a:pt x="3343" y="2181"/>
                  <a:pt x="3344" y="2183"/>
                  <a:pt x="3344" y="2185"/>
                </a:cubicBezTo>
                <a:cubicBezTo>
                  <a:pt x="3344" y="2188"/>
                  <a:pt x="3344" y="2190"/>
                  <a:pt x="3344" y="2193"/>
                </a:cubicBezTo>
                <a:cubicBezTo>
                  <a:pt x="3345" y="2194"/>
                  <a:pt x="3346" y="2196"/>
                  <a:pt x="3346" y="2197"/>
                </a:cubicBezTo>
                <a:cubicBezTo>
                  <a:pt x="3342" y="2200"/>
                  <a:pt x="3337" y="2202"/>
                  <a:pt x="3333" y="2205"/>
                </a:cubicBezTo>
                <a:cubicBezTo>
                  <a:pt x="3326" y="2215"/>
                  <a:pt x="3305" y="2200"/>
                  <a:pt x="3303" y="2221"/>
                </a:cubicBezTo>
                <a:cubicBezTo>
                  <a:pt x="3301" y="2221"/>
                  <a:pt x="3299" y="2221"/>
                  <a:pt x="3297" y="2221"/>
                </a:cubicBezTo>
                <a:cubicBezTo>
                  <a:pt x="3281" y="2215"/>
                  <a:pt x="3275" y="2201"/>
                  <a:pt x="3267" y="2188"/>
                </a:cubicBezTo>
                <a:cubicBezTo>
                  <a:pt x="3271" y="2188"/>
                  <a:pt x="3273" y="2185"/>
                  <a:pt x="3274" y="2181"/>
                </a:cubicBezTo>
                <a:cubicBezTo>
                  <a:pt x="3283" y="2177"/>
                  <a:pt x="3292" y="2179"/>
                  <a:pt x="3301" y="2177"/>
                </a:cubicBezTo>
                <a:cubicBezTo>
                  <a:pt x="3301" y="2172"/>
                  <a:pt x="3304" y="2167"/>
                  <a:pt x="3302" y="2164"/>
                </a:cubicBezTo>
                <a:cubicBezTo>
                  <a:pt x="3292" y="2148"/>
                  <a:pt x="3304" y="2151"/>
                  <a:pt x="3313" y="2151"/>
                </a:cubicBezTo>
                <a:cubicBezTo>
                  <a:pt x="3319" y="2146"/>
                  <a:pt x="3326" y="2141"/>
                  <a:pt x="3332" y="2136"/>
                </a:cubicBezTo>
                <a:cubicBezTo>
                  <a:pt x="3333" y="2135"/>
                  <a:pt x="3333" y="2134"/>
                  <a:pt x="3334" y="2133"/>
                </a:cubicBezTo>
                <a:cubicBezTo>
                  <a:pt x="3332" y="2133"/>
                  <a:pt x="3330" y="2133"/>
                  <a:pt x="3328" y="2133"/>
                </a:cubicBezTo>
                <a:cubicBezTo>
                  <a:pt x="3331" y="2121"/>
                  <a:pt x="3326" y="2109"/>
                  <a:pt x="3324" y="2097"/>
                </a:cubicBezTo>
                <a:cubicBezTo>
                  <a:pt x="3325" y="2095"/>
                  <a:pt x="3325" y="2094"/>
                  <a:pt x="3324" y="2093"/>
                </a:cubicBezTo>
                <a:cubicBezTo>
                  <a:pt x="3325" y="2088"/>
                  <a:pt x="3325" y="2084"/>
                  <a:pt x="3321" y="2081"/>
                </a:cubicBezTo>
                <a:cubicBezTo>
                  <a:pt x="3323" y="2067"/>
                  <a:pt x="3306" y="2072"/>
                  <a:pt x="3303" y="2060"/>
                </a:cubicBezTo>
                <a:cubicBezTo>
                  <a:pt x="3297" y="2033"/>
                  <a:pt x="3281" y="2024"/>
                  <a:pt x="3254" y="2029"/>
                </a:cubicBezTo>
                <a:cubicBezTo>
                  <a:pt x="3264" y="2035"/>
                  <a:pt x="3262" y="2051"/>
                  <a:pt x="3273" y="2056"/>
                </a:cubicBezTo>
                <a:cubicBezTo>
                  <a:pt x="3276" y="2059"/>
                  <a:pt x="3277" y="2061"/>
                  <a:pt x="3276" y="2064"/>
                </a:cubicBezTo>
                <a:cubicBezTo>
                  <a:pt x="3277" y="2061"/>
                  <a:pt x="3276" y="2059"/>
                  <a:pt x="3273" y="2056"/>
                </a:cubicBezTo>
                <a:cubicBezTo>
                  <a:pt x="3273" y="2058"/>
                  <a:pt x="3273" y="2060"/>
                  <a:pt x="3273" y="2061"/>
                </a:cubicBezTo>
                <a:cubicBezTo>
                  <a:pt x="3271" y="2061"/>
                  <a:pt x="3270" y="2061"/>
                  <a:pt x="3268" y="2061"/>
                </a:cubicBezTo>
                <a:cubicBezTo>
                  <a:pt x="3260" y="2054"/>
                  <a:pt x="3250" y="2060"/>
                  <a:pt x="3241" y="2060"/>
                </a:cubicBezTo>
                <a:cubicBezTo>
                  <a:pt x="3237" y="2051"/>
                  <a:pt x="3231" y="2050"/>
                  <a:pt x="3222" y="2051"/>
                </a:cubicBezTo>
                <a:cubicBezTo>
                  <a:pt x="3215" y="2053"/>
                  <a:pt x="3208" y="2052"/>
                  <a:pt x="3201" y="2053"/>
                </a:cubicBezTo>
                <a:cubicBezTo>
                  <a:pt x="3191" y="2064"/>
                  <a:pt x="3203" y="2075"/>
                  <a:pt x="3201" y="2085"/>
                </a:cubicBezTo>
                <a:cubicBezTo>
                  <a:pt x="3196" y="2085"/>
                  <a:pt x="3193" y="2088"/>
                  <a:pt x="3192" y="2092"/>
                </a:cubicBezTo>
                <a:cubicBezTo>
                  <a:pt x="3189" y="2093"/>
                  <a:pt x="3185" y="2093"/>
                  <a:pt x="3181" y="2093"/>
                </a:cubicBezTo>
                <a:cubicBezTo>
                  <a:pt x="3181" y="2094"/>
                  <a:pt x="3181" y="2096"/>
                  <a:pt x="3181" y="2097"/>
                </a:cubicBezTo>
                <a:cubicBezTo>
                  <a:pt x="3189" y="2112"/>
                  <a:pt x="3181" y="2130"/>
                  <a:pt x="3188" y="2145"/>
                </a:cubicBezTo>
                <a:cubicBezTo>
                  <a:pt x="3191" y="2145"/>
                  <a:pt x="3193" y="2144"/>
                  <a:pt x="3195" y="2144"/>
                </a:cubicBezTo>
                <a:cubicBezTo>
                  <a:pt x="3198" y="2138"/>
                  <a:pt x="3198" y="2133"/>
                  <a:pt x="3198" y="2127"/>
                </a:cubicBezTo>
                <a:cubicBezTo>
                  <a:pt x="3198" y="2133"/>
                  <a:pt x="3198" y="2138"/>
                  <a:pt x="3195" y="2144"/>
                </a:cubicBezTo>
                <a:cubicBezTo>
                  <a:pt x="3193" y="2144"/>
                  <a:pt x="3191" y="2145"/>
                  <a:pt x="3188" y="2145"/>
                </a:cubicBezTo>
                <a:cubicBezTo>
                  <a:pt x="3195" y="2163"/>
                  <a:pt x="3182" y="2186"/>
                  <a:pt x="3202" y="2201"/>
                </a:cubicBezTo>
                <a:cubicBezTo>
                  <a:pt x="3203" y="2202"/>
                  <a:pt x="3201" y="2206"/>
                  <a:pt x="3201" y="2209"/>
                </a:cubicBezTo>
                <a:cubicBezTo>
                  <a:pt x="3189" y="2207"/>
                  <a:pt x="3178" y="2208"/>
                  <a:pt x="3181" y="2225"/>
                </a:cubicBezTo>
                <a:cubicBezTo>
                  <a:pt x="3176" y="2224"/>
                  <a:pt x="3170" y="2224"/>
                  <a:pt x="3175" y="2231"/>
                </a:cubicBezTo>
                <a:cubicBezTo>
                  <a:pt x="3179" y="2235"/>
                  <a:pt x="3185" y="2238"/>
                  <a:pt x="3181" y="2245"/>
                </a:cubicBezTo>
                <a:cubicBezTo>
                  <a:pt x="3183" y="2245"/>
                  <a:pt x="3184" y="2245"/>
                  <a:pt x="3186" y="2246"/>
                </a:cubicBezTo>
                <a:cubicBezTo>
                  <a:pt x="3211" y="2247"/>
                  <a:pt x="3235" y="2230"/>
                  <a:pt x="3260" y="2240"/>
                </a:cubicBezTo>
                <a:cubicBezTo>
                  <a:pt x="3262" y="2239"/>
                  <a:pt x="3263" y="2238"/>
                  <a:pt x="3265" y="2237"/>
                </a:cubicBezTo>
                <a:cubicBezTo>
                  <a:pt x="3263" y="2238"/>
                  <a:pt x="3262" y="2239"/>
                  <a:pt x="3260" y="2240"/>
                </a:cubicBezTo>
                <a:cubicBezTo>
                  <a:pt x="3235" y="2230"/>
                  <a:pt x="3211" y="2247"/>
                  <a:pt x="3186" y="2246"/>
                </a:cubicBezTo>
                <a:cubicBezTo>
                  <a:pt x="3186" y="2246"/>
                  <a:pt x="3186" y="2246"/>
                  <a:pt x="3186" y="2246"/>
                </a:cubicBezTo>
                <a:cubicBezTo>
                  <a:pt x="3184" y="2245"/>
                  <a:pt x="3183" y="2245"/>
                  <a:pt x="3181" y="2245"/>
                </a:cubicBezTo>
                <a:cubicBezTo>
                  <a:pt x="3175" y="2245"/>
                  <a:pt x="3168" y="2244"/>
                  <a:pt x="3161" y="2244"/>
                </a:cubicBezTo>
                <a:cubicBezTo>
                  <a:pt x="3161" y="2243"/>
                  <a:pt x="3160" y="2242"/>
                  <a:pt x="3160" y="2241"/>
                </a:cubicBezTo>
                <a:cubicBezTo>
                  <a:pt x="3160" y="2238"/>
                  <a:pt x="3159" y="2237"/>
                  <a:pt x="3156" y="2238"/>
                </a:cubicBezTo>
                <a:cubicBezTo>
                  <a:pt x="3154" y="2237"/>
                  <a:pt x="3151" y="2237"/>
                  <a:pt x="3149" y="2236"/>
                </a:cubicBezTo>
                <a:cubicBezTo>
                  <a:pt x="3149" y="2231"/>
                  <a:pt x="3149" y="2226"/>
                  <a:pt x="3149" y="2221"/>
                </a:cubicBezTo>
                <a:cubicBezTo>
                  <a:pt x="3151" y="2216"/>
                  <a:pt x="3153" y="2211"/>
                  <a:pt x="3155" y="2206"/>
                </a:cubicBezTo>
                <a:cubicBezTo>
                  <a:pt x="3153" y="2206"/>
                  <a:pt x="3150" y="2205"/>
                  <a:pt x="3148" y="2205"/>
                </a:cubicBezTo>
                <a:cubicBezTo>
                  <a:pt x="3147" y="2205"/>
                  <a:pt x="3146" y="2205"/>
                  <a:pt x="3145" y="2205"/>
                </a:cubicBezTo>
                <a:cubicBezTo>
                  <a:pt x="3145" y="2199"/>
                  <a:pt x="3145" y="2194"/>
                  <a:pt x="3145" y="2189"/>
                </a:cubicBezTo>
                <a:cubicBezTo>
                  <a:pt x="3149" y="2188"/>
                  <a:pt x="3152" y="2188"/>
                  <a:pt x="3156" y="2188"/>
                </a:cubicBezTo>
                <a:cubicBezTo>
                  <a:pt x="3157" y="2187"/>
                  <a:pt x="3157" y="2186"/>
                  <a:pt x="3158" y="2185"/>
                </a:cubicBezTo>
                <a:cubicBezTo>
                  <a:pt x="3145" y="2183"/>
                  <a:pt x="3148" y="2162"/>
                  <a:pt x="3132" y="2163"/>
                </a:cubicBezTo>
                <a:cubicBezTo>
                  <a:pt x="3126" y="2168"/>
                  <a:pt x="3129" y="2174"/>
                  <a:pt x="3131" y="2180"/>
                </a:cubicBezTo>
                <a:cubicBezTo>
                  <a:pt x="3128" y="2185"/>
                  <a:pt x="3132" y="2193"/>
                  <a:pt x="3126" y="2198"/>
                </a:cubicBezTo>
                <a:cubicBezTo>
                  <a:pt x="3117" y="2193"/>
                  <a:pt x="3115" y="2185"/>
                  <a:pt x="3113" y="2176"/>
                </a:cubicBezTo>
                <a:cubicBezTo>
                  <a:pt x="3097" y="2176"/>
                  <a:pt x="3079" y="2174"/>
                  <a:pt x="3085" y="2200"/>
                </a:cubicBezTo>
                <a:cubicBezTo>
                  <a:pt x="3086" y="2201"/>
                  <a:pt x="3083" y="2203"/>
                  <a:pt x="3081" y="2204"/>
                </a:cubicBezTo>
                <a:cubicBezTo>
                  <a:pt x="3079" y="2193"/>
                  <a:pt x="3082" y="2181"/>
                  <a:pt x="3073" y="2172"/>
                </a:cubicBezTo>
                <a:cubicBezTo>
                  <a:pt x="3063" y="2174"/>
                  <a:pt x="3048" y="2172"/>
                  <a:pt x="3060" y="2191"/>
                </a:cubicBezTo>
                <a:cubicBezTo>
                  <a:pt x="3062" y="2193"/>
                  <a:pt x="3057" y="2201"/>
                  <a:pt x="3055" y="2207"/>
                </a:cubicBezTo>
                <a:cubicBezTo>
                  <a:pt x="3046" y="2197"/>
                  <a:pt x="3038" y="2189"/>
                  <a:pt x="3031" y="2181"/>
                </a:cubicBezTo>
                <a:cubicBezTo>
                  <a:pt x="3030" y="2178"/>
                  <a:pt x="3029" y="2176"/>
                  <a:pt x="3029" y="2173"/>
                </a:cubicBezTo>
                <a:cubicBezTo>
                  <a:pt x="3029" y="2167"/>
                  <a:pt x="3029" y="2161"/>
                  <a:pt x="3021" y="2161"/>
                </a:cubicBezTo>
                <a:cubicBezTo>
                  <a:pt x="3016" y="2158"/>
                  <a:pt x="3012" y="2156"/>
                  <a:pt x="3008" y="2153"/>
                </a:cubicBezTo>
                <a:cubicBezTo>
                  <a:pt x="3009" y="2143"/>
                  <a:pt x="3010" y="2134"/>
                  <a:pt x="2997" y="2131"/>
                </a:cubicBezTo>
                <a:cubicBezTo>
                  <a:pt x="2991" y="2112"/>
                  <a:pt x="2995" y="2092"/>
                  <a:pt x="2990" y="2071"/>
                </a:cubicBezTo>
                <a:cubicBezTo>
                  <a:pt x="2983" y="2043"/>
                  <a:pt x="2983" y="2014"/>
                  <a:pt x="2980" y="1985"/>
                </a:cubicBezTo>
                <a:cubicBezTo>
                  <a:pt x="2977" y="1982"/>
                  <a:pt x="2977" y="1979"/>
                  <a:pt x="2977" y="1975"/>
                </a:cubicBezTo>
                <a:cubicBezTo>
                  <a:pt x="2977" y="1979"/>
                  <a:pt x="2977" y="1982"/>
                  <a:pt x="2980" y="1985"/>
                </a:cubicBezTo>
                <a:cubicBezTo>
                  <a:pt x="2980" y="1981"/>
                  <a:pt x="2980" y="1977"/>
                  <a:pt x="2980" y="1974"/>
                </a:cubicBezTo>
                <a:cubicBezTo>
                  <a:pt x="2979" y="1973"/>
                  <a:pt x="2978" y="1973"/>
                  <a:pt x="2977" y="1972"/>
                </a:cubicBezTo>
                <a:cubicBezTo>
                  <a:pt x="2978" y="1961"/>
                  <a:pt x="2975" y="1951"/>
                  <a:pt x="2978" y="1940"/>
                </a:cubicBezTo>
                <a:cubicBezTo>
                  <a:pt x="2977" y="1939"/>
                  <a:pt x="2976" y="1939"/>
                  <a:pt x="2974" y="1939"/>
                </a:cubicBezTo>
                <a:cubicBezTo>
                  <a:pt x="2974" y="1925"/>
                  <a:pt x="2970" y="1908"/>
                  <a:pt x="2975" y="1897"/>
                </a:cubicBezTo>
                <a:cubicBezTo>
                  <a:pt x="2983" y="1882"/>
                  <a:pt x="2977" y="1877"/>
                  <a:pt x="2966" y="1872"/>
                </a:cubicBezTo>
                <a:cubicBezTo>
                  <a:pt x="2962" y="1879"/>
                  <a:pt x="2959" y="1887"/>
                  <a:pt x="2958" y="1895"/>
                </a:cubicBezTo>
                <a:cubicBezTo>
                  <a:pt x="2954" y="1904"/>
                  <a:pt x="2951" y="1911"/>
                  <a:pt x="2959" y="1921"/>
                </a:cubicBezTo>
                <a:cubicBezTo>
                  <a:pt x="2964" y="1927"/>
                  <a:pt x="2964" y="1939"/>
                  <a:pt x="2953" y="1945"/>
                </a:cubicBezTo>
                <a:cubicBezTo>
                  <a:pt x="2956" y="1950"/>
                  <a:pt x="2957" y="1956"/>
                  <a:pt x="2965" y="1956"/>
                </a:cubicBezTo>
                <a:cubicBezTo>
                  <a:pt x="2965" y="1963"/>
                  <a:pt x="2965" y="1970"/>
                  <a:pt x="2966" y="1977"/>
                </a:cubicBezTo>
                <a:cubicBezTo>
                  <a:pt x="2966" y="1977"/>
                  <a:pt x="2966" y="1977"/>
                  <a:pt x="2966" y="1977"/>
                </a:cubicBezTo>
                <a:cubicBezTo>
                  <a:pt x="2959" y="1984"/>
                  <a:pt x="2951" y="1990"/>
                  <a:pt x="2951" y="1973"/>
                </a:cubicBezTo>
                <a:cubicBezTo>
                  <a:pt x="2952" y="1962"/>
                  <a:pt x="2941" y="1955"/>
                  <a:pt x="2942" y="1944"/>
                </a:cubicBezTo>
                <a:cubicBezTo>
                  <a:pt x="2928" y="1953"/>
                  <a:pt x="2921" y="1966"/>
                  <a:pt x="2916" y="1981"/>
                </a:cubicBezTo>
                <a:cubicBezTo>
                  <a:pt x="2923" y="2000"/>
                  <a:pt x="2921" y="2021"/>
                  <a:pt x="2925" y="2040"/>
                </a:cubicBezTo>
                <a:cubicBezTo>
                  <a:pt x="2923" y="2047"/>
                  <a:pt x="2929" y="2055"/>
                  <a:pt x="2924" y="2061"/>
                </a:cubicBezTo>
                <a:cubicBezTo>
                  <a:pt x="2922" y="2061"/>
                  <a:pt x="2920" y="2057"/>
                  <a:pt x="2917" y="2060"/>
                </a:cubicBezTo>
                <a:cubicBezTo>
                  <a:pt x="2919" y="2056"/>
                  <a:pt x="2917" y="2055"/>
                  <a:pt x="2914" y="2056"/>
                </a:cubicBezTo>
                <a:cubicBezTo>
                  <a:pt x="2916" y="2053"/>
                  <a:pt x="2913" y="2051"/>
                  <a:pt x="2913" y="2049"/>
                </a:cubicBezTo>
                <a:cubicBezTo>
                  <a:pt x="2911" y="2048"/>
                  <a:pt x="2910" y="2046"/>
                  <a:pt x="2908" y="2045"/>
                </a:cubicBezTo>
                <a:cubicBezTo>
                  <a:pt x="2906" y="2044"/>
                  <a:pt x="2904" y="2042"/>
                  <a:pt x="2901" y="2044"/>
                </a:cubicBezTo>
                <a:cubicBezTo>
                  <a:pt x="2903" y="2040"/>
                  <a:pt x="2900" y="2037"/>
                  <a:pt x="2900" y="2033"/>
                </a:cubicBezTo>
                <a:cubicBezTo>
                  <a:pt x="2897" y="2033"/>
                  <a:pt x="2893" y="2033"/>
                  <a:pt x="2889" y="2032"/>
                </a:cubicBezTo>
                <a:cubicBezTo>
                  <a:pt x="2890" y="2029"/>
                  <a:pt x="2888" y="2028"/>
                  <a:pt x="2885" y="2028"/>
                </a:cubicBezTo>
                <a:cubicBezTo>
                  <a:pt x="2883" y="2017"/>
                  <a:pt x="2873" y="2012"/>
                  <a:pt x="2865" y="2007"/>
                </a:cubicBezTo>
                <a:cubicBezTo>
                  <a:pt x="2861" y="1996"/>
                  <a:pt x="2853" y="1990"/>
                  <a:pt x="2844" y="1985"/>
                </a:cubicBezTo>
                <a:cubicBezTo>
                  <a:pt x="2842" y="1985"/>
                  <a:pt x="2841" y="1985"/>
                  <a:pt x="2839" y="1985"/>
                </a:cubicBezTo>
                <a:cubicBezTo>
                  <a:pt x="2839" y="1985"/>
                  <a:pt x="2839" y="1985"/>
                  <a:pt x="2839" y="1985"/>
                </a:cubicBezTo>
                <a:cubicBezTo>
                  <a:pt x="2841" y="1985"/>
                  <a:pt x="2842" y="1985"/>
                  <a:pt x="2844" y="1985"/>
                </a:cubicBezTo>
                <a:cubicBezTo>
                  <a:pt x="2844" y="1983"/>
                  <a:pt x="2845" y="1982"/>
                  <a:pt x="2845" y="1981"/>
                </a:cubicBezTo>
                <a:cubicBezTo>
                  <a:pt x="2845" y="1979"/>
                  <a:pt x="2845" y="1978"/>
                  <a:pt x="2845" y="1977"/>
                </a:cubicBezTo>
                <a:cubicBezTo>
                  <a:pt x="2815" y="1961"/>
                  <a:pt x="2794" y="1936"/>
                  <a:pt x="2772" y="1913"/>
                </a:cubicBezTo>
                <a:cubicBezTo>
                  <a:pt x="2768" y="1909"/>
                  <a:pt x="2766" y="1899"/>
                  <a:pt x="2757" y="1904"/>
                </a:cubicBezTo>
                <a:cubicBezTo>
                  <a:pt x="2754" y="1901"/>
                  <a:pt x="2751" y="1898"/>
                  <a:pt x="2749" y="1895"/>
                </a:cubicBezTo>
                <a:cubicBezTo>
                  <a:pt x="2752" y="1894"/>
                  <a:pt x="2756" y="1897"/>
                  <a:pt x="2758" y="1893"/>
                </a:cubicBezTo>
                <a:cubicBezTo>
                  <a:pt x="2755" y="1890"/>
                  <a:pt x="2752" y="1888"/>
                  <a:pt x="2749" y="1885"/>
                </a:cubicBezTo>
                <a:cubicBezTo>
                  <a:pt x="2749" y="1888"/>
                  <a:pt x="2751" y="1892"/>
                  <a:pt x="2749" y="1895"/>
                </a:cubicBezTo>
                <a:cubicBezTo>
                  <a:pt x="2746" y="1892"/>
                  <a:pt x="2743" y="1888"/>
                  <a:pt x="2740" y="1885"/>
                </a:cubicBezTo>
                <a:cubicBezTo>
                  <a:pt x="2743" y="1885"/>
                  <a:pt x="2746" y="1885"/>
                  <a:pt x="2749" y="1885"/>
                </a:cubicBezTo>
                <a:cubicBezTo>
                  <a:pt x="2746" y="1875"/>
                  <a:pt x="2740" y="1867"/>
                  <a:pt x="2733" y="1861"/>
                </a:cubicBezTo>
                <a:cubicBezTo>
                  <a:pt x="2733" y="1861"/>
                  <a:pt x="2733" y="1861"/>
                  <a:pt x="2733" y="1861"/>
                </a:cubicBezTo>
                <a:cubicBezTo>
                  <a:pt x="2731" y="1859"/>
                  <a:pt x="2730" y="1858"/>
                  <a:pt x="2729" y="1857"/>
                </a:cubicBezTo>
                <a:cubicBezTo>
                  <a:pt x="2729" y="1854"/>
                  <a:pt x="2727" y="1852"/>
                  <a:pt x="2725" y="1851"/>
                </a:cubicBezTo>
                <a:cubicBezTo>
                  <a:pt x="2725" y="1854"/>
                  <a:pt x="2725" y="1856"/>
                  <a:pt x="2729" y="1857"/>
                </a:cubicBezTo>
                <a:cubicBezTo>
                  <a:pt x="2729" y="1859"/>
                  <a:pt x="2730" y="1861"/>
                  <a:pt x="2733" y="1861"/>
                </a:cubicBezTo>
                <a:cubicBezTo>
                  <a:pt x="2728" y="1868"/>
                  <a:pt x="2743" y="1875"/>
                  <a:pt x="2732" y="1881"/>
                </a:cubicBezTo>
                <a:cubicBezTo>
                  <a:pt x="2723" y="1872"/>
                  <a:pt x="2713" y="1862"/>
                  <a:pt x="2703" y="1852"/>
                </a:cubicBezTo>
                <a:cubicBezTo>
                  <a:pt x="2702" y="1853"/>
                  <a:pt x="2701" y="1852"/>
                  <a:pt x="2701" y="1851"/>
                </a:cubicBezTo>
                <a:cubicBezTo>
                  <a:pt x="2684" y="1840"/>
                  <a:pt x="2671" y="1822"/>
                  <a:pt x="2653" y="1812"/>
                </a:cubicBezTo>
                <a:cubicBezTo>
                  <a:pt x="2642" y="1796"/>
                  <a:pt x="2625" y="1787"/>
                  <a:pt x="2612" y="1773"/>
                </a:cubicBezTo>
                <a:cubicBezTo>
                  <a:pt x="2610" y="1770"/>
                  <a:pt x="2607" y="1768"/>
                  <a:pt x="2605" y="1765"/>
                </a:cubicBezTo>
                <a:cubicBezTo>
                  <a:pt x="2602" y="1764"/>
                  <a:pt x="2600" y="1763"/>
                  <a:pt x="2597" y="1762"/>
                </a:cubicBezTo>
                <a:cubicBezTo>
                  <a:pt x="2597" y="1769"/>
                  <a:pt x="2597" y="1775"/>
                  <a:pt x="2596" y="1782"/>
                </a:cubicBezTo>
                <a:cubicBezTo>
                  <a:pt x="2597" y="1783"/>
                  <a:pt x="2598" y="1784"/>
                  <a:pt x="2599" y="1785"/>
                </a:cubicBezTo>
                <a:cubicBezTo>
                  <a:pt x="2601" y="1787"/>
                  <a:pt x="2603" y="1790"/>
                  <a:pt x="2606" y="1792"/>
                </a:cubicBezTo>
                <a:cubicBezTo>
                  <a:pt x="2612" y="1792"/>
                  <a:pt x="2616" y="1797"/>
                  <a:pt x="2619" y="1802"/>
                </a:cubicBezTo>
                <a:cubicBezTo>
                  <a:pt x="2628" y="1812"/>
                  <a:pt x="2640" y="1815"/>
                  <a:pt x="2653" y="1813"/>
                </a:cubicBezTo>
                <a:cubicBezTo>
                  <a:pt x="2649" y="1820"/>
                  <a:pt x="2655" y="1828"/>
                  <a:pt x="2653" y="1836"/>
                </a:cubicBezTo>
                <a:cubicBezTo>
                  <a:pt x="2658" y="1834"/>
                  <a:pt x="2659" y="1837"/>
                  <a:pt x="2661" y="1840"/>
                </a:cubicBezTo>
                <a:cubicBezTo>
                  <a:pt x="2668" y="1839"/>
                  <a:pt x="2670" y="1842"/>
                  <a:pt x="2669" y="1848"/>
                </a:cubicBezTo>
                <a:cubicBezTo>
                  <a:pt x="2663" y="1849"/>
                  <a:pt x="2661" y="1846"/>
                  <a:pt x="2661" y="1840"/>
                </a:cubicBezTo>
                <a:cubicBezTo>
                  <a:pt x="2657" y="1841"/>
                  <a:pt x="2655" y="1840"/>
                  <a:pt x="2653" y="1837"/>
                </a:cubicBezTo>
                <a:cubicBezTo>
                  <a:pt x="2648" y="1834"/>
                  <a:pt x="2644" y="1832"/>
                  <a:pt x="2639" y="1836"/>
                </a:cubicBezTo>
                <a:cubicBezTo>
                  <a:pt x="2639" y="1837"/>
                  <a:pt x="2639" y="1837"/>
                  <a:pt x="2639" y="1837"/>
                </a:cubicBezTo>
                <a:cubicBezTo>
                  <a:pt x="2636" y="1830"/>
                  <a:pt x="2632" y="1828"/>
                  <a:pt x="2625" y="1829"/>
                </a:cubicBezTo>
                <a:cubicBezTo>
                  <a:pt x="2625" y="1823"/>
                  <a:pt x="2622" y="1821"/>
                  <a:pt x="2617" y="1821"/>
                </a:cubicBezTo>
                <a:cubicBezTo>
                  <a:pt x="2616" y="1816"/>
                  <a:pt x="2616" y="1811"/>
                  <a:pt x="2615" y="1806"/>
                </a:cubicBezTo>
                <a:cubicBezTo>
                  <a:pt x="2611" y="1803"/>
                  <a:pt x="2607" y="1799"/>
                  <a:pt x="2602" y="1795"/>
                </a:cubicBezTo>
                <a:cubicBezTo>
                  <a:pt x="2600" y="1793"/>
                  <a:pt x="2598" y="1791"/>
                  <a:pt x="2596" y="1790"/>
                </a:cubicBezTo>
                <a:cubicBezTo>
                  <a:pt x="2595" y="1788"/>
                  <a:pt x="2593" y="1787"/>
                  <a:pt x="2592" y="1786"/>
                </a:cubicBezTo>
                <a:cubicBezTo>
                  <a:pt x="2588" y="1784"/>
                  <a:pt x="2585" y="1787"/>
                  <a:pt x="2581" y="1789"/>
                </a:cubicBezTo>
                <a:cubicBezTo>
                  <a:pt x="2580" y="1789"/>
                  <a:pt x="2579" y="1789"/>
                  <a:pt x="2578" y="1789"/>
                </a:cubicBezTo>
                <a:cubicBezTo>
                  <a:pt x="2578" y="1789"/>
                  <a:pt x="2578" y="1789"/>
                  <a:pt x="2578" y="1789"/>
                </a:cubicBezTo>
                <a:cubicBezTo>
                  <a:pt x="2577" y="1785"/>
                  <a:pt x="2575" y="1781"/>
                  <a:pt x="2570" y="1783"/>
                </a:cubicBezTo>
                <a:cubicBezTo>
                  <a:pt x="2569" y="1782"/>
                  <a:pt x="2568" y="1781"/>
                  <a:pt x="2568" y="1780"/>
                </a:cubicBezTo>
                <a:cubicBezTo>
                  <a:pt x="2568" y="1780"/>
                  <a:pt x="2568" y="1780"/>
                  <a:pt x="2568" y="1780"/>
                </a:cubicBezTo>
                <a:cubicBezTo>
                  <a:pt x="2567" y="1778"/>
                  <a:pt x="2566" y="1775"/>
                  <a:pt x="2565" y="1773"/>
                </a:cubicBezTo>
                <a:cubicBezTo>
                  <a:pt x="2564" y="1765"/>
                  <a:pt x="2560" y="1760"/>
                  <a:pt x="2553" y="1757"/>
                </a:cubicBezTo>
                <a:cubicBezTo>
                  <a:pt x="2547" y="1747"/>
                  <a:pt x="2533" y="1746"/>
                  <a:pt x="2533" y="1732"/>
                </a:cubicBezTo>
                <a:cubicBezTo>
                  <a:pt x="2543" y="1735"/>
                  <a:pt x="2550" y="1743"/>
                  <a:pt x="2558" y="1750"/>
                </a:cubicBezTo>
                <a:cubicBezTo>
                  <a:pt x="2568" y="1762"/>
                  <a:pt x="2578" y="1760"/>
                  <a:pt x="2582" y="1748"/>
                </a:cubicBezTo>
                <a:cubicBezTo>
                  <a:pt x="2578" y="1741"/>
                  <a:pt x="2575" y="1734"/>
                  <a:pt x="2566" y="1728"/>
                </a:cubicBezTo>
                <a:cubicBezTo>
                  <a:pt x="2559" y="1723"/>
                  <a:pt x="2552" y="1707"/>
                  <a:pt x="2545" y="1702"/>
                </a:cubicBezTo>
                <a:cubicBezTo>
                  <a:pt x="2511" y="1677"/>
                  <a:pt x="2505" y="1636"/>
                  <a:pt x="2483" y="1604"/>
                </a:cubicBezTo>
                <a:cubicBezTo>
                  <a:pt x="2474" y="1590"/>
                  <a:pt x="2466" y="1573"/>
                  <a:pt x="2457" y="1557"/>
                </a:cubicBezTo>
                <a:cubicBezTo>
                  <a:pt x="2454" y="1550"/>
                  <a:pt x="2451" y="1544"/>
                  <a:pt x="2448" y="1538"/>
                </a:cubicBezTo>
                <a:cubicBezTo>
                  <a:pt x="2432" y="1527"/>
                  <a:pt x="2429" y="1506"/>
                  <a:pt x="2414" y="1495"/>
                </a:cubicBezTo>
                <a:cubicBezTo>
                  <a:pt x="2413" y="1484"/>
                  <a:pt x="2404" y="1476"/>
                  <a:pt x="2400" y="1465"/>
                </a:cubicBezTo>
                <a:cubicBezTo>
                  <a:pt x="2395" y="1457"/>
                  <a:pt x="2391" y="1448"/>
                  <a:pt x="2386" y="1440"/>
                </a:cubicBezTo>
                <a:cubicBezTo>
                  <a:pt x="2382" y="1431"/>
                  <a:pt x="2378" y="1423"/>
                  <a:pt x="2374" y="1415"/>
                </a:cubicBezTo>
                <a:cubicBezTo>
                  <a:pt x="2373" y="1409"/>
                  <a:pt x="2371" y="1403"/>
                  <a:pt x="2365" y="1400"/>
                </a:cubicBezTo>
                <a:cubicBezTo>
                  <a:pt x="2366" y="1391"/>
                  <a:pt x="2362" y="1385"/>
                  <a:pt x="2353" y="1382"/>
                </a:cubicBezTo>
                <a:cubicBezTo>
                  <a:pt x="2350" y="1374"/>
                  <a:pt x="2352" y="1362"/>
                  <a:pt x="2339" y="1360"/>
                </a:cubicBezTo>
                <a:cubicBezTo>
                  <a:pt x="2339" y="1359"/>
                  <a:pt x="2338" y="1358"/>
                  <a:pt x="2338" y="1356"/>
                </a:cubicBezTo>
                <a:cubicBezTo>
                  <a:pt x="2335" y="1347"/>
                  <a:pt x="2332" y="1338"/>
                  <a:pt x="2329" y="1328"/>
                </a:cubicBezTo>
                <a:cubicBezTo>
                  <a:pt x="2318" y="1308"/>
                  <a:pt x="2307" y="1287"/>
                  <a:pt x="2295" y="1266"/>
                </a:cubicBezTo>
                <a:cubicBezTo>
                  <a:pt x="2279" y="1237"/>
                  <a:pt x="2268" y="1205"/>
                  <a:pt x="2249" y="1177"/>
                </a:cubicBezTo>
                <a:cubicBezTo>
                  <a:pt x="2249" y="1177"/>
                  <a:pt x="2249" y="1177"/>
                  <a:pt x="2249" y="1177"/>
                </a:cubicBezTo>
                <a:cubicBezTo>
                  <a:pt x="2249" y="1177"/>
                  <a:pt x="2249" y="1177"/>
                  <a:pt x="2249" y="1177"/>
                </a:cubicBezTo>
                <a:cubicBezTo>
                  <a:pt x="2248" y="1174"/>
                  <a:pt x="2246" y="1171"/>
                  <a:pt x="2245" y="1168"/>
                </a:cubicBezTo>
                <a:cubicBezTo>
                  <a:pt x="2244" y="1162"/>
                  <a:pt x="2242" y="1157"/>
                  <a:pt x="2238" y="1152"/>
                </a:cubicBezTo>
                <a:cubicBezTo>
                  <a:pt x="2229" y="1136"/>
                  <a:pt x="2224" y="1118"/>
                  <a:pt x="2212" y="1103"/>
                </a:cubicBezTo>
                <a:cubicBezTo>
                  <a:pt x="2212" y="1132"/>
                  <a:pt x="2212" y="1160"/>
                  <a:pt x="2213" y="1189"/>
                </a:cubicBezTo>
                <a:cubicBezTo>
                  <a:pt x="2219" y="1205"/>
                  <a:pt x="2225" y="1223"/>
                  <a:pt x="2240" y="1235"/>
                </a:cubicBezTo>
                <a:cubicBezTo>
                  <a:pt x="2240" y="1238"/>
                  <a:pt x="2241" y="1241"/>
                  <a:pt x="2241" y="1245"/>
                </a:cubicBezTo>
                <a:cubicBezTo>
                  <a:pt x="2241" y="1247"/>
                  <a:pt x="2242" y="1249"/>
                  <a:pt x="2244" y="1249"/>
                </a:cubicBezTo>
                <a:cubicBezTo>
                  <a:pt x="2248" y="1258"/>
                  <a:pt x="2252" y="1266"/>
                  <a:pt x="2255" y="1274"/>
                </a:cubicBezTo>
                <a:cubicBezTo>
                  <a:pt x="2265" y="1291"/>
                  <a:pt x="2276" y="1306"/>
                  <a:pt x="2282" y="1324"/>
                </a:cubicBezTo>
                <a:cubicBezTo>
                  <a:pt x="2290" y="1331"/>
                  <a:pt x="2293" y="1340"/>
                  <a:pt x="2297" y="1349"/>
                </a:cubicBezTo>
                <a:cubicBezTo>
                  <a:pt x="2297" y="1348"/>
                  <a:pt x="2297" y="1348"/>
                  <a:pt x="2297" y="1348"/>
                </a:cubicBezTo>
                <a:cubicBezTo>
                  <a:pt x="2297" y="1353"/>
                  <a:pt x="2299" y="1355"/>
                  <a:pt x="2304" y="1357"/>
                </a:cubicBezTo>
                <a:cubicBezTo>
                  <a:pt x="2309" y="1357"/>
                  <a:pt x="2312" y="1354"/>
                  <a:pt x="2314" y="1350"/>
                </a:cubicBezTo>
                <a:cubicBezTo>
                  <a:pt x="2314" y="1345"/>
                  <a:pt x="2314" y="1340"/>
                  <a:pt x="2314" y="1335"/>
                </a:cubicBezTo>
                <a:cubicBezTo>
                  <a:pt x="2314" y="1335"/>
                  <a:pt x="2314" y="1335"/>
                  <a:pt x="2314" y="1335"/>
                </a:cubicBezTo>
                <a:cubicBezTo>
                  <a:pt x="2314" y="1340"/>
                  <a:pt x="2314" y="1345"/>
                  <a:pt x="2314" y="1350"/>
                </a:cubicBezTo>
                <a:cubicBezTo>
                  <a:pt x="2317" y="1348"/>
                  <a:pt x="2320" y="1348"/>
                  <a:pt x="2323" y="1349"/>
                </a:cubicBezTo>
                <a:cubicBezTo>
                  <a:pt x="2320" y="1348"/>
                  <a:pt x="2317" y="1348"/>
                  <a:pt x="2314" y="1350"/>
                </a:cubicBezTo>
                <a:cubicBezTo>
                  <a:pt x="2312" y="1354"/>
                  <a:pt x="2309" y="1357"/>
                  <a:pt x="2304" y="1357"/>
                </a:cubicBezTo>
                <a:cubicBezTo>
                  <a:pt x="2305" y="1370"/>
                  <a:pt x="2313" y="1379"/>
                  <a:pt x="2320" y="1389"/>
                </a:cubicBezTo>
                <a:cubicBezTo>
                  <a:pt x="2321" y="1397"/>
                  <a:pt x="2328" y="1403"/>
                  <a:pt x="2327" y="1412"/>
                </a:cubicBezTo>
                <a:cubicBezTo>
                  <a:pt x="2327" y="1412"/>
                  <a:pt x="2327" y="1412"/>
                  <a:pt x="2327" y="1412"/>
                </a:cubicBezTo>
                <a:cubicBezTo>
                  <a:pt x="2337" y="1418"/>
                  <a:pt x="2339" y="1428"/>
                  <a:pt x="2345" y="1437"/>
                </a:cubicBezTo>
                <a:cubicBezTo>
                  <a:pt x="2349" y="1445"/>
                  <a:pt x="2353" y="1453"/>
                  <a:pt x="2357" y="1461"/>
                </a:cubicBezTo>
                <a:cubicBezTo>
                  <a:pt x="2362" y="1469"/>
                  <a:pt x="2367" y="1477"/>
                  <a:pt x="2372" y="1486"/>
                </a:cubicBezTo>
                <a:cubicBezTo>
                  <a:pt x="2375" y="1495"/>
                  <a:pt x="2381" y="1504"/>
                  <a:pt x="2388" y="1512"/>
                </a:cubicBezTo>
                <a:cubicBezTo>
                  <a:pt x="2389" y="1520"/>
                  <a:pt x="2394" y="1525"/>
                  <a:pt x="2399" y="1531"/>
                </a:cubicBezTo>
                <a:cubicBezTo>
                  <a:pt x="2403" y="1540"/>
                  <a:pt x="2408" y="1548"/>
                  <a:pt x="2413" y="1557"/>
                </a:cubicBezTo>
                <a:cubicBezTo>
                  <a:pt x="2422" y="1574"/>
                  <a:pt x="2432" y="1591"/>
                  <a:pt x="2442" y="1608"/>
                </a:cubicBezTo>
                <a:cubicBezTo>
                  <a:pt x="2442" y="1617"/>
                  <a:pt x="2438" y="1620"/>
                  <a:pt x="2429" y="1616"/>
                </a:cubicBezTo>
                <a:cubicBezTo>
                  <a:pt x="2426" y="1614"/>
                  <a:pt x="2424" y="1611"/>
                  <a:pt x="2421" y="1608"/>
                </a:cubicBezTo>
                <a:cubicBezTo>
                  <a:pt x="2399" y="1589"/>
                  <a:pt x="2377" y="1570"/>
                  <a:pt x="2355" y="1551"/>
                </a:cubicBezTo>
                <a:cubicBezTo>
                  <a:pt x="2341" y="1537"/>
                  <a:pt x="2321" y="1528"/>
                  <a:pt x="2312" y="1509"/>
                </a:cubicBezTo>
                <a:cubicBezTo>
                  <a:pt x="2316" y="1490"/>
                  <a:pt x="2312" y="1472"/>
                  <a:pt x="2307" y="1449"/>
                </a:cubicBezTo>
                <a:cubicBezTo>
                  <a:pt x="2301" y="1470"/>
                  <a:pt x="2310" y="1489"/>
                  <a:pt x="2301" y="1505"/>
                </a:cubicBezTo>
                <a:cubicBezTo>
                  <a:pt x="2299" y="1502"/>
                  <a:pt x="2298" y="1500"/>
                  <a:pt x="2296" y="1498"/>
                </a:cubicBezTo>
                <a:cubicBezTo>
                  <a:pt x="2287" y="1496"/>
                  <a:pt x="2283" y="1488"/>
                  <a:pt x="2276" y="1482"/>
                </a:cubicBezTo>
                <a:cubicBezTo>
                  <a:pt x="2269" y="1481"/>
                  <a:pt x="2266" y="1475"/>
                  <a:pt x="2263" y="1470"/>
                </a:cubicBezTo>
                <a:cubicBezTo>
                  <a:pt x="2259" y="1468"/>
                  <a:pt x="2255" y="1468"/>
                  <a:pt x="2255" y="1463"/>
                </a:cubicBezTo>
                <a:cubicBezTo>
                  <a:pt x="2255" y="1462"/>
                  <a:pt x="2255" y="1462"/>
                  <a:pt x="2255" y="1462"/>
                </a:cubicBezTo>
                <a:cubicBezTo>
                  <a:pt x="2251" y="1460"/>
                  <a:pt x="2248" y="1458"/>
                  <a:pt x="2244" y="1455"/>
                </a:cubicBezTo>
                <a:cubicBezTo>
                  <a:pt x="2242" y="1453"/>
                  <a:pt x="2239" y="1451"/>
                  <a:pt x="2237" y="1448"/>
                </a:cubicBezTo>
                <a:cubicBezTo>
                  <a:pt x="2225" y="1439"/>
                  <a:pt x="2213" y="1430"/>
                  <a:pt x="2201" y="1421"/>
                </a:cubicBezTo>
                <a:cubicBezTo>
                  <a:pt x="2198" y="1418"/>
                  <a:pt x="2195" y="1415"/>
                  <a:pt x="2193" y="1413"/>
                </a:cubicBezTo>
                <a:cubicBezTo>
                  <a:pt x="2193" y="1411"/>
                  <a:pt x="2193" y="1410"/>
                  <a:pt x="2193" y="1409"/>
                </a:cubicBezTo>
                <a:cubicBezTo>
                  <a:pt x="2192" y="1408"/>
                  <a:pt x="2190" y="1408"/>
                  <a:pt x="2189" y="1408"/>
                </a:cubicBezTo>
                <a:cubicBezTo>
                  <a:pt x="2188" y="1407"/>
                  <a:pt x="2186" y="1406"/>
                  <a:pt x="2185" y="1405"/>
                </a:cubicBezTo>
                <a:cubicBezTo>
                  <a:pt x="2183" y="1397"/>
                  <a:pt x="2173" y="1393"/>
                  <a:pt x="2178" y="1384"/>
                </a:cubicBezTo>
                <a:cubicBezTo>
                  <a:pt x="2177" y="1375"/>
                  <a:pt x="2176" y="1366"/>
                  <a:pt x="2175" y="1356"/>
                </a:cubicBezTo>
                <a:cubicBezTo>
                  <a:pt x="2165" y="1367"/>
                  <a:pt x="2165" y="1367"/>
                  <a:pt x="2145" y="1354"/>
                </a:cubicBezTo>
                <a:cubicBezTo>
                  <a:pt x="2146" y="1354"/>
                  <a:pt x="2146" y="1354"/>
                  <a:pt x="2147" y="1353"/>
                </a:cubicBezTo>
                <a:cubicBezTo>
                  <a:pt x="2148" y="1353"/>
                  <a:pt x="2148" y="1353"/>
                  <a:pt x="2149" y="1353"/>
                </a:cubicBezTo>
                <a:cubicBezTo>
                  <a:pt x="2145" y="1350"/>
                  <a:pt x="2141" y="1347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37" y="1345"/>
                  <a:pt x="2137" y="1345"/>
                  <a:pt x="2137" y="1345"/>
                </a:cubicBezTo>
                <a:cubicBezTo>
                  <a:pt x="2129" y="1346"/>
                  <a:pt x="2121" y="1351"/>
                  <a:pt x="2113" y="1344"/>
                </a:cubicBezTo>
                <a:cubicBezTo>
                  <a:pt x="2109" y="1341"/>
                  <a:pt x="2106" y="1343"/>
                  <a:pt x="2105" y="1348"/>
                </a:cubicBezTo>
                <a:cubicBezTo>
                  <a:pt x="2093" y="1344"/>
                  <a:pt x="2107" y="1330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6" y="1326"/>
                  <a:pt x="2095" y="1327"/>
                  <a:pt x="2095" y="1327"/>
                </a:cubicBezTo>
                <a:cubicBezTo>
                  <a:pt x="2094" y="1327"/>
                  <a:pt x="2094" y="1326"/>
                  <a:pt x="2094" y="1325"/>
                </a:cubicBezTo>
                <a:cubicBezTo>
                  <a:pt x="2095" y="1325"/>
                  <a:pt x="2096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7" y="1325"/>
                  <a:pt x="2097" y="1325"/>
                  <a:pt x="2097" y="1325"/>
                </a:cubicBezTo>
                <a:cubicBezTo>
                  <a:pt x="2098" y="1311"/>
                  <a:pt x="2094" y="1299"/>
                  <a:pt x="2089" y="1286"/>
                </a:cubicBezTo>
                <a:cubicBezTo>
                  <a:pt x="2085" y="1276"/>
                  <a:pt x="2079" y="1273"/>
                  <a:pt x="2072" y="1275"/>
                </a:cubicBezTo>
                <a:cubicBezTo>
                  <a:pt x="2063" y="1278"/>
                  <a:pt x="2063" y="1286"/>
                  <a:pt x="2069" y="1293"/>
                </a:cubicBezTo>
                <a:cubicBezTo>
                  <a:pt x="2065" y="1305"/>
                  <a:pt x="2064" y="1305"/>
                  <a:pt x="2056" y="1301"/>
                </a:cubicBezTo>
                <a:cubicBezTo>
                  <a:pt x="2058" y="1292"/>
                  <a:pt x="2055" y="1282"/>
                  <a:pt x="2061" y="1273"/>
                </a:cubicBezTo>
                <a:cubicBezTo>
                  <a:pt x="2066" y="1265"/>
                  <a:pt x="2058" y="1264"/>
                  <a:pt x="2054" y="1260"/>
                </a:cubicBezTo>
                <a:cubicBezTo>
                  <a:pt x="2053" y="1242"/>
                  <a:pt x="2053" y="1223"/>
                  <a:pt x="2053" y="1205"/>
                </a:cubicBezTo>
                <a:cubicBezTo>
                  <a:pt x="2063" y="1206"/>
                  <a:pt x="2061" y="1218"/>
                  <a:pt x="2068" y="1221"/>
                </a:cubicBezTo>
                <a:cubicBezTo>
                  <a:pt x="2069" y="1223"/>
                  <a:pt x="2070" y="1225"/>
                  <a:pt x="2070" y="1227"/>
                </a:cubicBezTo>
                <a:cubicBezTo>
                  <a:pt x="2070" y="1227"/>
                  <a:pt x="2070" y="1227"/>
                  <a:pt x="2070" y="1227"/>
                </a:cubicBezTo>
                <a:cubicBezTo>
                  <a:pt x="2089" y="1258"/>
                  <a:pt x="2107" y="1289"/>
                  <a:pt x="2125" y="1321"/>
                </a:cubicBezTo>
                <a:cubicBezTo>
                  <a:pt x="2122" y="1332"/>
                  <a:pt x="2140" y="1333"/>
                  <a:pt x="2137" y="1345"/>
                </a:cubicBezTo>
                <a:cubicBezTo>
                  <a:pt x="2141" y="1345"/>
                  <a:pt x="2144" y="1344"/>
                  <a:pt x="2146" y="1340"/>
                </a:cubicBezTo>
                <a:cubicBezTo>
                  <a:pt x="2138" y="1327"/>
                  <a:pt x="2141" y="1312"/>
                  <a:pt x="2140" y="1298"/>
                </a:cubicBezTo>
                <a:cubicBezTo>
                  <a:pt x="2138" y="1298"/>
                  <a:pt x="2135" y="1297"/>
                  <a:pt x="2133" y="1297"/>
                </a:cubicBezTo>
                <a:cubicBezTo>
                  <a:pt x="2133" y="1298"/>
                  <a:pt x="2132" y="1299"/>
                  <a:pt x="2132" y="1300"/>
                </a:cubicBezTo>
                <a:cubicBezTo>
                  <a:pt x="2132" y="1304"/>
                  <a:pt x="2134" y="1309"/>
                  <a:pt x="2129" y="1312"/>
                </a:cubicBezTo>
                <a:cubicBezTo>
                  <a:pt x="2127" y="1308"/>
                  <a:pt x="2124" y="1305"/>
                  <a:pt x="2122" y="1301"/>
                </a:cubicBezTo>
                <a:cubicBezTo>
                  <a:pt x="2112" y="1285"/>
                  <a:pt x="2099" y="1271"/>
                  <a:pt x="2098" y="1252"/>
                </a:cubicBezTo>
                <a:cubicBezTo>
                  <a:pt x="2098" y="1252"/>
                  <a:pt x="2098" y="1251"/>
                  <a:pt x="2098" y="1251"/>
                </a:cubicBezTo>
                <a:cubicBezTo>
                  <a:pt x="2098" y="1251"/>
                  <a:pt x="2098" y="1250"/>
                  <a:pt x="2098" y="1250"/>
                </a:cubicBezTo>
                <a:cubicBezTo>
                  <a:pt x="2097" y="1250"/>
                  <a:pt x="2097" y="1249"/>
                  <a:pt x="2096" y="1248"/>
                </a:cubicBezTo>
                <a:cubicBezTo>
                  <a:pt x="2096" y="1248"/>
                  <a:pt x="2096" y="1247"/>
                  <a:pt x="2097" y="1247"/>
                </a:cubicBezTo>
                <a:cubicBezTo>
                  <a:pt x="2093" y="1247"/>
                  <a:pt x="2092" y="1244"/>
                  <a:pt x="2092" y="1241"/>
                </a:cubicBezTo>
                <a:cubicBezTo>
                  <a:pt x="2092" y="1241"/>
                  <a:pt x="2092" y="1242"/>
                  <a:pt x="2092" y="1242"/>
                </a:cubicBezTo>
                <a:cubicBezTo>
                  <a:pt x="2080" y="1241"/>
                  <a:pt x="2081" y="1229"/>
                  <a:pt x="2074" y="1224"/>
                </a:cubicBezTo>
                <a:cubicBezTo>
                  <a:pt x="2073" y="1222"/>
                  <a:pt x="2072" y="1220"/>
                  <a:pt x="2071" y="1219"/>
                </a:cubicBezTo>
                <a:cubicBezTo>
                  <a:pt x="2067" y="1211"/>
                  <a:pt x="2064" y="1202"/>
                  <a:pt x="2057" y="1196"/>
                </a:cubicBezTo>
                <a:cubicBezTo>
                  <a:pt x="2055" y="1190"/>
                  <a:pt x="2061" y="1186"/>
                  <a:pt x="2062" y="1181"/>
                </a:cubicBezTo>
                <a:cubicBezTo>
                  <a:pt x="2068" y="1180"/>
                  <a:pt x="2074" y="1178"/>
                  <a:pt x="2081" y="1176"/>
                </a:cubicBezTo>
                <a:cubicBezTo>
                  <a:pt x="2094" y="1179"/>
                  <a:pt x="2091" y="1168"/>
                  <a:pt x="2094" y="1161"/>
                </a:cubicBezTo>
                <a:cubicBezTo>
                  <a:pt x="2087" y="1154"/>
                  <a:pt x="2092" y="1142"/>
                  <a:pt x="2084" y="1135"/>
                </a:cubicBezTo>
                <a:cubicBezTo>
                  <a:pt x="2071" y="1123"/>
                  <a:pt x="2059" y="1110"/>
                  <a:pt x="2049" y="1097"/>
                </a:cubicBezTo>
                <a:cubicBezTo>
                  <a:pt x="2049" y="1089"/>
                  <a:pt x="2050" y="1080"/>
                  <a:pt x="2048" y="1072"/>
                </a:cubicBezTo>
                <a:cubicBezTo>
                  <a:pt x="2047" y="1059"/>
                  <a:pt x="2047" y="1046"/>
                  <a:pt x="2047" y="1033"/>
                </a:cubicBezTo>
                <a:cubicBezTo>
                  <a:pt x="2049" y="1027"/>
                  <a:pt x="2049" y="1022"/>
                  <a:pt x="2046" y="1016"/>
                </a:cubicBezTo>
                <a:cubicBezTo>
                  <a:pt x="2047" y="1004"/>
                  <a:pt x="2049" y="993"/>
                  <a:pt x="2046" y="981"/>
                </a:cubicBezTo>
                <a:cubicBezTo>
                  <a:pt x="2050" y="961"/>
                  <a:pt x="2048" y="941"/>
                  <a:pt x="2046" y="921"/>
                </a:cubicBezTo>
                <a:cubicBezTo>
                  <a:pt x="2049" y="916"/>
                  <a:pt x="2049" y="910"/>
                  <a:pt x="2045" y="905"/>
                </a:cubicBezTo>
                <a:cubicBezTo>
                  <a:pt x="2045" y="893"/>
                  <a:pt x="2045" y="881"/>
                  <a:pt x="2045" y="869"/>
                </a:cubicBezTo>
                <a:cubicBezTo>
                  <a:pt x="2046" y="869"/>
                  <a:pt x="2048" y="869"/>
                  <a:pt x="2049" y="869"/>
                </a:cubicBezTo>
                <a:cubicBezTo>
                  <a:pt x="2049" y="869"/>
                  <a:pt x="2049" y="869"/>
                  <a:pt x="2049" y="869"/>
                </a:cubicBezTo>
                <a:cubicBezTo>
                  <a:pt x="2059" y="887"/>
                  <a:pt x="2068" y="906"/>
                  <a:pt x="2077" y="925"/>
                </a:cubicBezTo>
                <a:cubicBezTo>
                  <a:pt x="2079" y="925"/>
                  <a:pt x="2080" y="925"/>
                  <a:pt x="2081" y="925"/>
                </a:cubicBezTo>
                <a:cubicBezTo>
                  <a:pt x="2081" y="925"/>
                  <a:pt x="2081" y="925"/>
                  <a:pt x="2081" y="925"/>
                </a:cubicBezTo>
                <a:cubicBezTo>
                  <a:pt x="2080" y="925"/>
                  <a:pt x="2079" y="925"/>
                  <a:pt x="2077" y="925"/>
                </a:cubicBezTo>
                <a:cubicBezTo>
                  <a:pt x="2078" y="926"/>
                  <a:pt x="2079" y="928"/>
                  <a:pt x="2080" y="929"/>
                </a:cubicBezTo>
                <a:cubicBezTo>
                  <a:pt x="2084" y="937"/>
                  <a:pt x="2086" y="946"/>
                  <a:pt x="2092" y="953"/>
                </a:cubicBezTo>
                <a:cubicBezTo>
                  <a:pt x="2093" y="954"/>
                  <a:pt x="2092" y="955"/>
                  <a:pt x="2092" y="957"/>
                </a:cubicBezTo>
                <a:cubicBezTo>
                  <a:pt x="2096" y="965"/>
                  <a:pt x="2101" y="973"/>
                  <a:pt x="2105" y="981"/>
                </a:cubicBezTo>
                <a:cubicBezTo>
                  <a:pt x="2112" y="994"/>
                  <a:pt x="2119" y="1007"/>
                  <a:pt x="2127" y="1020"/>
                </a:cubicBezTo>
                <a:cubicBezTo>
                  <a:pt x="2126" y="1021"/>
                  <a:pt x="2126" y="1022"/>
                  <a:pt x="2126" y="1023"/>
                </a:cubicBezTo>
                <a:cubicBezTo>
                  <a:pt x="2127" y="1024"/>
                  <a:pt x="2128" y="1024"/>
                  <a:pt x="2129" y="1025"/>
                </a:cubicBezTo>
                <a:cubicBezTo>
                  <a:pt x="2129" y="1026"/>
                  <a:pt x="2129" y="1027"/>
                  <a:pt x="2130" y="1028"/>
                </a:cubicBezTo>
                <a:cubicBezTo>
                  <a:pt x="2129" y="1029"/>
                  <a:pt x="2129" y="1030"/>
                  <a:pt x="2129" y="1031"/>
                </a:cubicBezTo>
                <a:cubicBezTo>
                  <a:pt x="2131" y="1034"/>
                  <a:pt x="2133" y="1037"/>
                  <a:pt x="2134" y="1040"/>
                </a:cubicBezTo>
                <a:cubicBezTo>
                  <a:pt x="2135" y="1041"/>
                  <a:pt x="2136" y="1041"/>
                  <a:pt x="2137" y="1041"/>
                </a:cubicBezTo>
                <a:cubicBezTo>
                  <a:pt x="2137" y="1042"/>
                  <a:pt x="2137" y="1044"/>
                  <a:pt x="2137" y="1045"/>
                </a:cubicBezTo>
                <a:cubicBezTo>
                  <a:pt x="2150" y="1058"/>
                  <a:pt x="2151" y="1078"/>
                  <a:pt x="2162" y="1092"/>
                </a:cubicBezTo>
                <a:cubicBezTo>
                  <a:pt x="2164" y="1098"/>
                  <a:pt x="2169" y="1103"/>
                  <a:pt x="2168" y="1109"/>
                </a:cubicBezTo>
                <a:cubicBezTo>
                  <a:pt x="2171" y="1112"/>
                  <a:pt x="2174" y="1114"/>
                  <a:pt x="2177" y="1117"/>
                </a:cubicBezTo>
                <a:cubicBezTo>
                  <a:pt x="2177" y="1118"/>
                  <a:pt x="2177" y="1119"/>
                  <a:pt x="2176" y="1121"/>
                </a:cubicBezTo>
                <a:cubicBezTo>
                  <a:pt x="2184" y="1135"/>
                  <a:pt x="2189" y="1152"/>
                  <a:pt x="2201" y="1164"/>
                </a:cubicBezTo>
                <a:cubicBezTo>
                  <a:pt x="2201" y="1164"/>
                  <a:pt x="2201" y="1164"/>
                  <a:pt x="2201" y="1164"/>
                </a:cubicBezTo>
                <a:cubicBezTo>
                  <a:pt x="2202" y="1167"/>
                  <a:pt x="2203" y="1170"/>
                  <a:pt x="2205" y="1173"/>
                </a:cubicBezTo>
                <a:cubicBezTo>
                  <a:pt x="2207" y="1178"/>
                  <a:pt x="2210" y="1183"/>
                  <a:pt x="2213" y="1189"/>
                </a:cubicBezTo>
                <a:cubicBezTo>
                  <a:pt x="2212" y="1160"/>
                  <a:pt x="2212" y="1132"/>
                  <a:pt x="2212" y="1103"/>
                </a:cubicBezTo>
                <a:cubicBezTo>
                  <a:pt x="2212" y="1103"/>
                  <a:pt x="2212" y="1103"/>
                  <a:pt x="2212" y="1103"/>
                </a:cubicBezTo>
                <a:cubicBezTo>
                  <a:pt x="2208" y="1098"/>
                  <a:pt x="2211" y="1090"/>
                  <a:pt x="2204" y="1087"/>
                </a:cubicBezTo>
                <a:cubicBezTo>
                  <a:pt x="2203" y="1087"/>
                  <a:pt x="2203" y="1087"/>
                  <a:pt x="2203" y="1087"/>
                </a:cubicBezTo>
                <a:cubicBezTo>
                  <a:pt x="2196" y="1068"/>
                  <a:pt x="2190" y="1048"/>
                  <a:pt x="2177" y="1031"/>
                </a:cubicBezTo>
                <a:cubicBezTo>
                  <a:pt x="2172" y="1019"/>
                  <a:pt x="2166" y="1008"/>
                  <a:pt x="2161" y="997"/>
                </a:cubicBezTo>
                <a:cubicBezTo>
                  <a:pt x="2155" y="980"/>
                  <a:pt x="2150" y="963"/>
                  <a:pt x="2137" y="951"/>
                </a:cubicBezTo>
                <a:cubicBezTo>
                  <a:pt x="2135" y="946"/>
                  <a:pt x="2134" y="942"/>
                  <a:pt x="2132" y="937"/>
                </a:cubicBezTo>
                <a:cubicBezTo>
                  <a:pt x="2132" y="931"/>
                  <a:pt x="2128" y="928"/>
                  <a:pt x="2125" y="925"/>
                </a:cubicBezTo>
                <a:cubicBezTo>
                  <a:pt x="2121" y="904"/>
                  <a:pt x="2108" y="888"/>
                  <a:pt x="2100" y="869"/>
                </a:cubicBezTo>
                <a:cubicBezTo>
                  <a:pt x="2099" y="864"/>
                  <a:pt x="2097" y="860"/>
                  <a:pt x="2092" y="857"/>
                </a:cubicBezTo>
                <a:cubicBezTo>
                  <a:pt x="2091" y="849"/>
                  <a:pt x="2088" y="843"/>
                  <a:pt x="2082" y="838"/>
                </a:cubicBezTo>
                <a:cubicBezTo>
                  <a:pt x="2078" y="813"/>
                  <a:pt x="2062" y="792"/>
                  <a:pt x="2052" y="769"/>
                </a:cubicBezTo>
                <a:cubicBezTo>
                  <a:pt x="2052" y="768"/>
                  <a:pt x="2051" y="766"/>
                  <a:pt x="2050" y="765"/>
                </a:cubicBezTo>
                <a:cubicBezTo>
                  <a:pt x="2046" y="765"/>
                  <a:pt x="2041" y="764"/>
                  <a:pt x="2037" y="764"/>
                </a:cubicBezTo>
                <a:cubicBezTo>
                  <a:pt x="2032" y="748"/>
                  <a:pt x="2033" y="730"/>
                  <a:pt x="2034" y="713"/>
                </a:cubicBezTo>
                <a:cubicBezTo>
                  <a:pt x="2033" y="730"/>
                  <a:pt x="2032" y="748"/>
                  <a:pt x="2037" y="764"/>
                </a:cubicBezTo>
                <a:cubicBezTo>
                  <a:pt x="2041" y="764"/>
                  <a:pt x="2046" y="765"/>
                  <a:pt x="2050" y="765"/>
                </a:cubicBezTo>
                <a:cubicBezTo>
                  <a:pt x="2041" y="752"/>
                  <a:pt x="2045" y="738"/>
                  <a:pt x="2047" y="724"/>
                </a:cubicBezTo>
                <a:cubicBezTo>
                  <a:pt x="2046" y="709"/>
                  <a:pt x="2045" y="693"/>
                  <a:pt x="2044" y="677"/>
                </a:cubicBezTo>
                <a:cubicBezTo>
                  <a:pt x="2044" y="674"/>
                  <a:pt x="2044" y="671"/>
                  <a:pt x="2044" y="669"/>
                </a:cubicBezTo>
                <a:cubicBezTo>
                  <a:pt x="2040" y="665"/>
                  <a:pt x="2037" y="660"/>
                  <a:pt x="2038" y="654"/>
                </a:cubicBezTo>
                <a:cubicBezTo>
                  <a:pt x="2040" y="653"/>
                  <a:pt x="2042" y="653"/>
                  <a:pt x="2044" y="652"/>
                </a:cubicBezTo>
                <a:cubicBezTo>
                  <a:pt x="2045" y="639"/>
                  <a:pt x="2045" y="626"/>
                  <a:pt x="2046" y="613"/>
                </a:cubicBezTo>
                <a:cubicBezTo>
                  <a:pt x="2044" y="611"/>
                  <a:pt x="2043" y="609"/>
                  <a:pt x="2041" y="607"/>
                </a:cubicBezTo>
                <a:cubicBezTo>
                  <a:pt x="2043" y="601"/>
                  <a:pt x="2046" y="595"/>
                  <a:pt x="2048" y="589"/>
                </a:cubicBezTo>
                <a:cubicBezTo>
                  <a:pt x="2048" y="589"/>
                  <a:pt x="2048" y="589"/>
                  <a:pt x="2048" y="589"/>
                </a:cubicBezTo>
                <a:cubicBezTo>
                  <a:pt x="2036" y="585"/>
                  <a:pt x="2042" y="576"/>
                  <a:pt x="2041" y="568"/>
                </a:cubicBezTo>
                <a:cubicBezTo>
                  <a:pt x="2041" y="567"/>
                  <a:pt x="2041" y="566"/>
                  <a:pt x="2042" y="565"/>
                </a:cubicBezTo>
                <a:cubicBezTo>
                  <a:pt x="2038" y="563"/>
                  <a:pt x="2033" y="561"/>
                  <a:pt x="2039" y="557"/>
                </a:cubicBezTo>
                <a:cubicBezTo>
                  <a:pt x="2043" y="554"/>
                  <a:pt x="2044" y="551"/>
                  <a:pt x="2043" y="547"/>
                </a:cubicBezTo>
                <a:cubicBezTo>
                  <a:pt x="2041" y="546"/>
                  <a:pt x="2040" y="545"/>
                  <a:pt x="2039" y="544"/>
                </a:cubicBezTo>
                <a:cubicBezTo>
                  <a:pt x="2040" y="545"/>
                  <a:pt x="2041" y="546"/>
                  <a:pt x="2043" y="547"/>
                </a:cubicBezTo>
                <a:cubicBezTo>
                  <a:pt x="2044" y="542"/>
                  <a:pt x="2045" y="537"/>
                  <a:pt x="2046" y="532"/>
                </a:cubicBezTo>
                <a:cubicBezTo>
                  <a:pt x="2043" y="524"/>
                  <a:pt x="2045" y="516"/>
                  <a:pt x="2050" y="511"/>
                </a:cubicBezTo>
                <a:cubicBezTo>
                  <a:pt x="2059" y="499"/>
                  <a:pt x="2058" y="489"/>
                  <a:pt x="2051" y="477"/>
                </a:cubicBezTo>
                <a:cubicBezTo>
                  <a:pt x="2056" y="473"/>
                  <a:pt x="2056" y="467"/>
                  <a:pt x="2057" y="461"/>
                </a:cubicBezTo>
                <a:cubicBezTo>
                  <a:pt x="2058" y="464"/>
                  <a:pt x="2060" y="466"/>
                  <a:pt x="2062" y="468"/>
                </a:cubicBezTo>
                <a:cubicBezTo>
                  <a:pt x="2077" y="505"/>
                  <a:pt x="2093" y="541"/>
                  <a:pt x="2108" y="578"/>
                </a:cubicBezTo>
                <a:cubicBezTo>
                  <a:pt x="2110" y="582"/>
                  <a:pt x="2110" y="588"/>
                  <a:pt x="2117" y="588"/>
                </a:cubicBezTo>
                <a:cubicBezTo>
                  <a:pt x="2116" y="583"/>
                  <a:pt x="2117" y="577"/>
                  <a:pt x="2115" y="573"/>
                </a:cubicBezTo>
                <a:cubicBezTo>
                  <a:pt x="2099" y="536"/>
                  <a:pt x="2082" y="500"/>
                  <a:pt x="2066" y="463"/>
                </a:cubicBezTo>
                <a:cubicBezTo>
                  <a:pt x="2061" y="453"/>
                  <a:pt x="2089" y="456"/>
                  <a:pt x="2074" y="441"/>
                </a:cubicBezTo>
                <a:cubicBezTo>
                  <a:pt x="2065" y="431"/>
                  <a:pt x="2068" y="422"/>
                  <a:pt x="2082" y="420"/>
                </a:cubicBezTo>
                <a:cubicBezTo>
                  <a:pt x="2094" y="417"/>
                  <a:pt x="2095" y="412"/>
                  <a:pt x="2088" y="403"/>
                </a:cubicBezTo>
                <a:cubicBezTo>
                  <a:pt x="2084" y="398"/>
                  <a:pt x="2081" y="393"/>
                  <a:pt x="2078" y="388"/>
                </a:cubicBezTo>
                <a:cubicBezTo>
                  <a:pt x="2076" y="383"/>
                  <a:pt x="2074" y="378"/>
                  <a:pt x="2069" y="375"/>
                </a:cubicBezTo>
                <a:cubicBezTo>
                  <a:pt x="2069" y="372"/>
                  <a:pt x="2069" y="369"/>
                  <a:pt x="2066" y="369"/>
                </a:cubicBezTo>
                <a:cubicBezTo>
                  <a:pt x="2041" y="370"/>
                  <a:pt x="2043" y="354"/>
                  <a:pt x="2045" y="337"/>
                </a:cubicBezTo>
                <a:cubicBezTo>
                  <a:pt x="2057" y="321"/>
                  <a:pt x="2052" y="314"/>
                  <a:pt x="2032" y="315"/>
                </a:cubicBezTo>
                <a:cubicBezTo>
                  <a:pt x="2037" y="304"/>
                  <a:pt x="2043" y="293"/>
                  <a:pt x="2033" y="284"/>
                </a:cubicBezTo>
                <a:cubicBezTo>
                  <a:pt x="2026" y="278"/>
                  <a:pt x="2018" y="279"/>
                  <a:pt x="2010" y="283"/>
                </a:cubicBezTo>
                <a:cubicBezTo>
                  <a:pt x="1995" y="292"/>
                  <a:pt x="2009" y="306"/>
                  <a:pt x="2006" y="317"/>
                </a:cubicBezTo>
                <a:cubicBezTo>
                  <a:pt x="2003" y="327"/>
                  <a:pt x="2010" y="328"/>
                  <a:pt x="2017" y="329"/>
                </a:cubicBezTo>
                <a:cubicBezTo>
                  <a:pt x="2017" y="332"/>
                  <a:pt x="2017" y="336"/>
                  <a:pt x="2012" y="338"/>
                </a:cubicBezTo>
                <a:cubicBezTo>
                  <a:pt x="1950" y="314"/>
                  <a:pt x="1901" y="270"/>
                  <a:pt x="1849" y="231"/>
                </a:cubicBezTo>
                <a:cubicBezTo>
                  <a:pt x="1837" y="226"/>
                  <a:pt x="1828" y="218"/>
                  <a:pt x="1818" y="209"/>
                </a:cubicBezTo>
                <a:cubicBezTo>
                  <a:pt x="1818" y="209"/>
                  <a:pt x="1818" y="209"/>
                  <a:pt x="1818" y="209"/>
                </a:cubicBezTo>
                <a:cubicBezTo>
                  <a:pt x="1818" y="209"/>
                  <a:pt x="1818" y="208"/>
                  <a:pt x="1818" y="208"/>
                </a:cubicBezTo>
                <a:cubicBezTo>
                  <a:pt x="1815" y="209"/>
                  <a:pt x="1812" y="207"/>
                  <a:pt x="1811" y="204"/>
                </a:cubicBezTo>
                <a:cubicBezTo>
                  <a:pt x="1811" y="204"/>
                  <a:pt x="1811" y="203"/>
                  <a:pt x="1811" y="203"/>
                </a:cubicBezTo>
                <a:cubicBezTo>
                  <a:pt x="1808" y="203"/>
                  <a:pt x="1807" y="202"/>
                  <a:pt x="1807" y="199"/>
                </a:cubicBezTo>
                <a:cubicBezTo>
                  <a:pt x="1807" y="199"/>
                  <a:pt x="1806" y="200"/>
                  <a:pt x="1806" y="200"/>
                </a:cubicBezTo>
                <a:cubicBezTo>
                  <a:pt x="1796" y="196"/>
                  <a:pt x="1787" y="190"/>
                  <a:pt x="1780" y="182"/>
                </a:cubicBezTo>
                <a:cubicBezTo>
                  <a:pt x="1777" y="180"/>
                  <a:pt x="1775" y="178"/>
                  <a:pt x="1772" y="176"/>
                </a:cubicBezTo>
                <a:cubicBezTo>
                  <a:pt x="1763" y="171"/>
                  <a:pt x="1752" y="168"/>
                  <a:pt x="1748" y="156"/>
                </a:cubicBezTo>
                <a:cubicBezTo>
                  <a:pt x="1721" y="145"/>
                  <a:pt x="1700" y="124"/>
                  <a:pt x="1678" y="107"/>
                </a:cubicBezTo>
                <a:cubicBezTo>
                  <a:pt x="1661" y="94"/>
                  <a:pt x="1641" y="85"/>
                  <a:pt x="1629" y="67"/>
                </a:cubicBezTo>
                <a:cubicBezTo>
                  <a:pt x="1620" y="65"/>
                  <a:pt x="1613" y="60"/>
                  <a:pt x="1609" y="52"/>
                </a:cubicBezTo>
                <a:cubicBezTo>
                  <a:pt x="1588" y="43"/>
                  <a:pt x="1573" y="25"/>
                  <a:pt x="1554" y="14"/>
                </a:cubicBezTo>
                <a:cubicBezTo>
                  <a:pt x="1550" y="11"/>
                  <a:pt x="1547" y="6"/>
                  <a:pt x="1553" y="1"/>
                </a:cubicBezTo>
                <a:cubicBezTo>
                  <a:pt x="1542" y="1"/>
                  <a:pt x="1531" y="1"/>
                  <a:pt x="1521" y="1"/>
                </a:cubicBezTo>
                <a:cubicBezTo>
                  <a:pt x="1529" y="16"/>
                  <a:pt x="1546" y="20"/>
                  <a:pt x="1559" y="30"/>
                </a:cubicBezTo>
                <a:cubicBezTo>
                  <a:pt x="1581" y="47"/>
                  <a:pt x="1601" y="66"/>
                  <a:pt x="1623" y="81"/>
                </a:cubicBezTo>
                <a:cubicBezTo>
                  <a:pt x="1666" y="109"/>
                  <a:pt x="1704" y="143"/>
                  <a:pt x="1747" y="171"/>
                </a:cubicBezTo>
                <a:cubicBezTo>
                  <a:pt x="1780" y="195"/>
                  <a:pt x="1814" y="219"/>
                  <a:pt x="1847" y="243"/>
                </a:cubicBezTo>
                <a:cubicBezTo>
                  <a:pt x="1888" y="272"/>
                  <a:pt x="1929" y="301"/>
                  <a:pt x="1972" y="328"/>
                </a:cubicBezTo>
                <a:cubicBezTo>
                  <a:pt x="1984" y="336"/>
                  <a:pt x="1987" y="345"/>
                  <a:pt x="1977" y="357"/>
                </a:cubicBezTo>
                <a:cubicBezTo>
                  <a:pt x="1968" y="359"/>
                  <a:pt x="1960" y="364"/>
                  <a:pt x="1956" y="372"/>
                </a:cubicBezTo>
                <a:cubicBezTo>
                  <a:pt x="1955" y="372"/>
                  <a:pt x="1954" y="372"/>
                  <a:pt x="1953" y="373"/>
                </a:cubicBezTo>
                <a:cubicBezTo>
                  <a:pt x="1947" y="374"/>
                  <a:pt x="1941" y="374"/>
                  <a:pt x="1936" y="379"/>
                </a:cubicBezTo>
                <a:cubicBezTo>
                  <a:pt x="1934" y="379"/>
                  <a:pt x="1933" y="380"/>
                  <a:pt x="1933" y="381"/>
                </a:cubicBezTo>
                <a:cubicBezTo>
                  <a:pt x="1920" y="380"/>
                  <a:pt x="1909" y="386"/>
                  <a:pt x="1897" y="389"/>
                </a:cubicBezTo>
                <a:cubicBezTo>
                  <a:pt x="1888" y="389"/>
                  <a:pt x="1887" y="382"/>
                  <a:pt x="1890" y="377"/>
                </a:cubicBezTo>
                <a:cubicBezTo>
                  <a:pt x="1898" y="363"/>
                  <a:pt x="1888" y="364"/>
                  <a:pt x="1879" y="363"/>
                </a:cubicBezTo>
                <a:cubicBezTo>
                  <a:pt x="1875" y="359"/>
                  <a:pt x="1879" y="355"/>
                  <a:pt x="1879" y="350"/>
                </a:cubicBezTo>
                <a:cubicBezTo>
                  <a:pt x="1884" y="337"/>
                  <a:pt x="1886" y="325"/>
                  <a:pt x="1865" y="326"/>
                </a:cubicBezTo>
                <a:cubicBezTo>
                  <a:pt x="1849" y="328"/>
                  <a:pt x="1845" y="339"/>
                  <a:pt x="1845" y="353"/>
                </a:cubicBezTo>
                <a:cubicBezTo>
                  <a:pt x="1840" y="355"/>
                  <a:pt x="1841" y="347"/>
                  <a:pt x="1836" y="348"/>
                </a:cubicBezTo>
                <a:cubicBezTo>
                  <a:pt x="1842" y="355"/>
                  <a:pt x="1820" y="363"/>
                  <a:pt x="1837" y="369"/>
                </a:cubicBezTo>
                <a:cubicBezTo>
                  <a:pt x="1837" y="371"/>
                  <a:pt x="1837" y="374"/>
                  <a:pt x="1836" y="377"/>
                </a:cubicBezTo>
                <a:cubicBezTo>
                  <a:pt x="1834" y="377"/>
                  <a:pt x="1831" y="377"/>
                  <a:pt x="1828" y="377"/>
                </a:cubicBezTo>
                <a:cubicBezTo>
                  <a:pt x="1827" y="377"/>
                  <a:pt x="1826" y="377"/>
                  <a:pt x="1825" y="377"/>
                </a:cubicBezTo>
                <a:cubicBezTo>
                  <a:pt x="1823" y="377"/>
                  <a:pt x="1820" y="376"/>
                  <a:pt x="1818" y="376"/>
                </a:cubicBezTo>
                <a:cubicBezTo>
                  <a:pt x="1817" y="378"/>
                  <a:pt x="1816" y="379"/>
                  <a:pt x="1816" y="381"/>
                </a:cubicBezTo>
                <a:cubicBezTo>
                  <a:pt x="1816" y="381"/>
                  <a:pt x="1816" y="381"/>
                  <a:pt x="1816" y="381"/>
                </a:cubicBezTo>
                <a:cubicBezTo>
                  <a:pt x="1816" y="379"/>
                  <a:pt x="1817" y="378"/>
                  <a:pt x="1818" y="376"/>
                </a:cubicBezTo>
                <a:cubicBezTo>
                  <a:pt x="1813" y="364"/>
                  <a:pt x="1793" y="370"/>
                  <a:pt x="1792" y="354"/>
                </a:cubicBezTo>
                <a:cubicBezTo>
                  <a:pt x="1800" y="349"/>
                  <a:pt x="1792" y="338"/>
                  <a:pt x="1800" y="334"/>
                </a:cubicBezTo>
                <a:cubicBezTo>
                  <a:pt x="1793" y="317"/>
                  <a:pt x="1780" y="326"/>
                  <a:pt x="1769" y="327"/>
                </a:cubicBezTo>
                <a:cubicBezTo>
                  <a:pt x="1772" y="338"/>
                  <a:pt x="1791" y="337"/>
                  <a:pt x="1789" y="353"/>
                </a:cubicBezTo>
                <a:cubicBezTo>
                  <a:pt x="1772" y="351"/>
                  <a:pt x="1760" y="339"/>
                  <a:pt x="1745" y="332"/>
                </a:cubicBezTo>
                <a:cubicBezTo>
                  <a:pt x="1742" y="329"/>
                  <a:pt x="1739" y="325"/>
                  <a:pt x="1736" y="321"/>
                </a:cubicBezTo>
                <a:cubicBezTo>
                  <a:pt x="1737" y="314"/>
                  <a:pt x="1741" y="311"/>
                  <a:pt x="1746" y="317"/>
                </a:cubicBezTo>
                <a:cubicBezTo>
                  <a:pt x="1752" y="321"/>
                  <a:pt x="1758" y="325"/>
                  <a:pt x="1766" y="325"/>
                </a:cubicBezTo>
                <a:cubicBezTo>
                  <a:pt x="1756" y="311"/>
                  <a:pt x="1777" y="322"/>
                  <a:pt x="1774" y="312"/>
                </a:cubicBezTo>
                <a:cubicBezTo>
                  <a:pt x="1759" y="306"/>
                  <a:pt x="1749" y="289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9" y="288"/>
                  <a:pt x="1729" y="288"/>
                  <a:pt x="1729" y="288"/>
                </a:cubicBezTo>
                <a:cubicBezTo>
                  <a:pt x="1728" y="287"/>
                  <a:pt x="1726" y="286"/>
                  <a:pt x="1725" y="285"/>
                </a:cubicBezTo>
                <a:cubicBezTo>
                  <a:pt x="1725" y="285"/>
                  <a:pt x="1725" y="285"/>
                  <a:pt x="1725" y="285"/>
                </a:cubicBezTo>
                <a:cubicBezTo>
                  <a:pt x="1722" y="283"/>
                  <a:pt x="1720" y="281"/>
                  <a:pt x="1717" y="279"/>
                </a:cubicBezTo>
                <a:cubicBezTo>
                  <a:pt x="1710" y="273"/>
                  <a:pt x="1703" y="267"/>
                  <a:pt x="1696" y="261"/>
                </a:cubicBezTo>
                <a:cubicBezTo>
                  <a:pt x="1692" y="259"/>
                  <a:pt x="1688" y="258"/>
                  <a:pt x="1685" y="256"/>
                </a:cubicBezTo>
                <a:cubicBezTo>
                  <a:pt x="1666" y="241"/>
                  <a:pt x="1641" y="235"/>
                  <a:pt x="1624" y="218"/>
                </a:cubicBezTo>
                <a:cubicBezTo>
                  <a:pt x="1621" y="216"/>
                  <a:pt x="1619" y="215"/>
                  <a:pt x="1616" y="214"/>
                </a:cubicBezTo>
                <a:cubicBezTo>
                  <a:pt x="1609" y="211"/>
                  <a:pt x="1605" y="204"/>
                  <a:pt x="1597" y="204"/>
                </a:cubicBezTo>
                <a:cubicBezTo>
                  <a:pt x="1597" y="204"/>
                  <a:pt x="1597" y="204"/>
                  <a:pt x="1597" y="205"/>
                </a:cubicBezTo>
                <a:cubicBezTo>
                  <a:pt x="1595" y="202"/>
                  <a:pt x="1592" y="200"/>
                  <a:pt x="1589" y="201"/>
                </a:cubicBezTo>
                <a:cubicBezTo>
                  <a:pt x="1590" y="204"/>
                  <a:pt x="1593" y="205"/>
                  <a:pt x="1597" y="205"/>
                </a:cubicBezTo>
                <a:cubicBezTo>
                  <a:pt x="1599" y="212"/>
                  <a:pt x="1592" y="220"/>
                  <a:pt x="1597" y="228"/>
                </a:cubicBezTo>
                <a:cubicBezTo>
                  <a:pt x="1602" y="230"/>
                  <a:pt x="1608" y="231"/>
                  <a:pt x="1613" y="233"/>
                </a:cubicBezTo>
                <a:cubicBezTo>
                  <a:pt x="1608" y="231"/>
                  <a:pt x="1602" y="230"/>
                  <a:pt x="1597" y="228"/>
                </a:cubicBezTo>
                <a:cubicBezTo>
                  <a:pt x="1597" y="231"/>
                  <a:pt x="1597" y="234"/>
                  <a:pt x="1597" y="237"/>
                </a:cubicBezTo>
                <a:cubicBezTo>
                  <a:pt x="1581" y="230"/>
                  <a:pt x="1562" y="226"/>
                  <a:pt x="1552" y="209"/>
                </a:cubicBezTo>
                <a:cubicBezTo>
                  <a:pt x="1552" y="207"/>
                  <a:pt x="1551" y="206"/>
                  <a:pt x="1551" y="204"/>
                </a:cubicBezTo>
                <a:cubicBezTo>
                  <a:pt x="1550" y="205"/>
                  <a:pt x="1549" y="207"/>
                  <a:pt x="1548" y="208"/>
                </a:cubicBezTo>
                <a:cubicBezTo>
                  <a:pt x="1548" y="208"/>
                  <a:pt x="1548" y="208"/>
                  <a:pt x="1548" y="208"/>
                </a:cubicBezTo>
                <a:cubicBezTo>
                  <a:pt x="1547" y="208"/>
                  <a:pt x="1546" y="208"/>
                  <a:pt x="1545" y="208"/>
                </a:cubicBezTo>
                <a:cubicBezTo>
                  <a:pt x="1544" y="208"/>
                  <a:pt x="1543" y="208"/>
                  <a:pt x="1541" y="208"/>
                </a:cubicBezTo>
                <a:cubicBezTo>
                  <a:pt x="1539" y="205"/>
                  <a:pt x="1536" y="204"/>
                  <a:pt x="1533" y="205"/>
                </a:cubicBezTo>
                <a:cubicBezTo>
                  <a:pt x="1530" y="202"/>
                  <a:pt x="1526" y="200"/>
                  <a:pt x="1525" y="196"/>
                </a:cubicBezTo>
                <a:cubicBezTo>
                  <a:pt x="1522" y="186"/>
                  <a:pt x="1512" y="188"/>
                  <a:pt x="1505" y="185"/>
                </a:cubicBezTo>
                <a:cubicBezTo>
                  <a:pt x="1497" y="179"/>
                  <a:pt x="1489" y="174"/>
                  <a:pt x="1481" y="169"/>
                </a:cubicBezTo>
                <a:cubicBezTo>
                  <a:pt x="1478" y="166"/>
                  <a:pt x="1475" y="163"/>
                  <a:pt x="1473" y="161"/>
                </a:cubicBezTo>
                <a:cubicBezTo>
                  <a:pt x="1471" y="149"/>
                  <a:pt x="1462" y="136"/>
                  <a:pt x="1479" y="129"/>
                </a:cubicBezTo>
                <a:cubicBezTo>
                  <a:pt x="1472" y="125"/>
                  <a:pt x="1470" y="116"/>
                  <a:pt x="1461" y="116"/>
                </a:cubicBezTo>
                <a:cubicBezTo>
                  <a:pt x="1456" y="109"/>
                  <a:pt x="1449" y="105"/>
                  <a:pt x="1441" y="105"/>
                </a:cubicBezTo>
                <a:cubicBezTo>
                  <a:pt x="1441" y="108"/>
                  <a:pt x="1441" y="111"/>
                  <a:pt x="1440" y="113"/>
                </a:cubicBezTo>
                <a:cubicBezTo>
                  <a:pt x="1428" y="124"/>
                  <a:pt x="1427" y="131"/>
                  <a:pt x="1446" y="130"/>
                </a:cubicBezTo>
                <a:cubicBezTo>
                  <a:pt x="1450" y="130"/>
                  <a:pt x="1454" y="132"/>
                  <a:pt x="1458" y="133"/>
                </a:cubicBezTo>
                <a:cubicBezTo>
                  <a:pt x="1459" y="134"/>
                  <a:pt x="1460" y="135"/>
                  <a:pt x="1461" y="136"/>
                </a:cubicBezTo>
                <a:cubicBezTo>
                  <a:pt x="1462" y="138"/>
                  <a:pt x="1463" y="139"/>
                  <a:pt x="1464" y="141"/>
                </a:cubicBezTo>
                <a:cubicBezTo>
                  <a:pt x="1464" y="146"/>
                  <a:pt x="1464" y="151"/>
                  <a:pt x="1464" y="157"/>
                </a:cubicBezTo>
                <a:cubicBezTo>
                  <a:pt x="1462" y="155"/>
                  <a:pt x="1459" y="153"/>
                  <a:pt x="1457" y="151"/>
                </a:cubicBezTo>
                <a:cubicBezTo>
                  <a:pt x="1455" y="145"/>
                  <a:pt x="1450" y="145"/>
                  <a:pt x="1445" y="145"/>
                </a:cubicBezTo>
                <a:cubicBezTo>
                  <a:pt x="1423" y="138"/>
                  <a:pt x="1408" y="119"/>
                  <a:pt x="1386" y="112"/>
                </a:cubicBezTo>
                <a:cubicBezTo>
                  <a:pt x="1386" y="112"/>
                  <a:pt x="1386" y="112"/>
                  <a:pt x="1386" y="112"/>
                </a:cubicBezTo>
                <a:cubicBezTo>
                  <a:pt x="1386" y="108"/>
                  <a:pt x="1385" y="105"/>
                  <a:pt x="1381" y="104"/>
                </a:cubicBezTo>
                <a:cubicBezTo>
                  <a:pt x="1381" y="103"/>
                  <a:pt x="1381" y="102"/>
                  <a:pt x="1380" y="101"/>
                </a:cubicBezTo>
                <a:cubicBezTo>
                  <a:pt x="1381" y="94"/>
                  <a:pt x="1381" y="88"/>
                  <a:pt x="1382" y="81"/>
                </a:cubicBezTo>
                <a:cubicBezTo>
                  <a:pt x="1388" y="80"/>
                  <a:pt x="1395" y="85"/>
                  <a:pt x="1401" y="80"/>
                </a:cubicBezTo>
                <a:cubicBezTo>
                  <a:pt x="1399" y="71"/>
                  <a:pt x="1390" y="68"/>
                  <a:pt x="1383" y="64"/>
                </a:cubicBezTo>
                <a:cubicBezTo>
                  <a:pt x="1381" y="62"/>
                  <a:pt x="1379" y="60"/>
                  <a:pt x="1377" y="58"/>
                </a:cubicBezTo>
                <a:cubicBezTo>
                  <a:pt x="1369" y="54"/>
                  <a:pt x="1361" y="49"/>
                  <a:pt x="1353" y="45"/>
                </a:cubicBezTo>
                <a:cubicBezTo>
                  <a:pt x="1350" y="43"/>
                  <a:pt x="1348" y="41"/>
                  <a:pt x="1345" y="38"/>
                </a:cubicBezTo>
                <a:cubicBezTo>
                  <a:pt x="1345" y="48"/>
                  <a:pt x="1345" y="58"/>
                  <a:pt x="1344" y="68"/>
                </a:cubicBezTo>
                <a:cubicBezTo>
                  <a:pt x="1339" y="68"/>
                  <a:pt x="1336" y="72"/>
                  <a:pt x="1332" y="74"/>
                </a:cubicBezTo>
                <a:cubicBezTo>
                  <a:pt x="1329" y="73"/>
                  <a:pt x="1325" y="73"/>
                  <a:pt x="1321" y="73"/>
                </a:cubicBezTo>
                <a:cubicBezTo>
                  <a:pt x="1313" y="64"/>
                  <a:pt x="1305" y="56"/>
                  <a:pt x="1293" y="52"/>
                </a:cubicBezTo>
                <a:cubicBezTo>
                  <a:pt x="1292" y="51"/>
                  <a:pt x="1290" y="50"/>
                  <a:pt x="1289" y="49"/>
                </a:cubicBezTo>
                <a:cubicBezTo>
                  <a:pt x="1287" y="49"/>
                  <a:pt x="1285" y="48"/>
                  <a:pt x="1284" y="47"/>
                </a:cubicBezTo>
                <a:cubicBezTo>
                  <a:pt x="1285" y="48"/>
                  <a:pt x="1287" y="49"/>
                  <a:pt x="1289" y="49"/>
                </a:cubicBezTo>
                <a:cubicBezTo>
                  <a:pt x="1288" y="45"/>
                  <a:pt x="1287" y="42"/>
                  <a:pt x="1283" y="39"/>
                </a:cubicBezTo>
                <a:cubicBezTo>
                  <a:pt x="1282" y="38"/>
                  <a:pt x="1282" y="38"/>
                  <a:pt x="1282" y="38"/>
                </a:cubicBezTo>
                <a:cubicBezTo>
                  <a:pt x="1282" y="38"/>
                  <a:pt x="1282" y="38"/>
                  <a:pt x="1282" y="38"/>
                </a:cubicBezTo>
                <a:cubicBezTo>
                  <a:pt x="1280" y="34"/>
                  <a:pt x="1277" y="31"/>
                  <a:pt x="1273" y="37"/>
                </a:cubicBezTo>
                <a:cubicBezTo>
                  <a:pt x="1267" y="33"/>
                  <a:pt x="1260" y="31"/>
                  <a:pt x="1257" y="24"/>
                </a:cubicBezTo>
                <a:cubicBezTo>
                  <a:pt x="1257" y="19"/>
                  <a:pt x="1254" y="17"/>
                  <a:pt x="1249" y="17"/>
                </a:cubicBezTo>
                <a:cubicBezTo>
                  <a:pt x="1249" y="16"/>
                  <a:pt x="1249" y="16"/>
                  <a:pt x="1249" y="16"/>
                </a:cubicBezTo>
                <a:cubicBezTo>
                  <a:pt x="1249" y="11"/>
                  <a:pt x="1249" y="6"/>
                  <a:pt x="1249" y="1"/>
                </a:cubicBezTo>
                <a:cubicBezTo>
                  <a:pt x="1238" y="1"/>
                  <a:pt x="1227" y="1"/>
                  <a:pt x="1217" y="1"/>
                </a:cubicBezTo>
                <a:cubicBezTo>
                  <a:pt x="1206" y="1"/>
                  <a:pt x="1195" y="1"/>
                  <a:pt x="1185" y="1"/>
                </a:cubicBezTo>
                <a:cubicBezTo>
                  <a:pt x="1181" y="1"/>
                  <a:pt x="1177" y="1"/>
                  <a:pt x="1173" y="1"/>
                </a:cubicBezTo>
                <a:cubicBezTo>
                  <a:pt x="1147" y="1"/>
                  <a:pt x="1122" y="1"/>
                  <a:pt x="1097" y="1"/>
                </a:cubicBezTo>
                <a:cubicBezTo>
                  <a:pt x="1098" y="1"/>
                  <a:pt x="1098" y="2"/>
                  <a:pt x="1097" y="3"/>
                </a:cubicBezTo>
                <a:cubicBezTo>
                  <a:pt x="1107" y="8"/>
                  <a:pt x="1117" y="13"/>
                  <a:pt x="1125" y="20"/>
                </a:cubicBezTo>
                <a:cubicBezTo>
                  <a:pt x="1141" y="25"/>
                  <a:pt x="1152" y="40"/>
                  <a:pt x="1169" y="44"/>
                </a:cubicBezTo>
                <a:cubicBezTo>
                  <a:pt x="1170" y="47"/>
                  <a:pt x="1173" y="49"/>
                  <a:pt x="1176" y="49"/>
                </a:cubicBezTo>
                <a:cubicBezTo>
                  <a:pt x="1177" y="42"/>
                  <a:pt x="1178" y="34"/>
                  <a:pt x="1179" y="26"/>
                </a:cubicBezTo>
                <a:cubicBezTo>
                  <a:pt x="1178" y="34"/>
                  <a:pt x="1177" y="42"/>
                  <a:pt x="1176" y="49"/>
                </a:cubicBezTo>
                <a:cubicBezTo>
                  <a:pt x="1180" y="52"/>
                  <a:pt x="1184" y="57"/>
                  <a:pt x="1188" y="57"/>
                </a:cubicBezTo>
                <a:cubicBezTo>
                  <a:pt x="1203" y="54"/>
                  <a:pt x="1207" y="65"/>
                  <a:pt x="1213" y="74"/>
                </a:cubicBezTo>
                <a:cubicBezTo>
                  <a:pt x="1222" y="80"/>
                  <a:pt x="1232" y="86"/>
                  <a:pt x="1242" y="92"/>
                </a:cubicBezTo>
                <a:cubicBezTo>
                  <a:pt x="1258" y="102"/>
                  <a:pt x="1273" y="111"/>
                  <a:pt x="1289" y="120"/>
                </a:cubicBezTo>
                <a:cubicBezTo>
                  <a:pt x="1289" y="122"/>
                  <a:pt x="1289" y="122"/>
                  <a:pt x="1289" y="122"/>
                </a:cubicBezTo>
                <a:cubicBezTo>
                  <a:pt x="1297" y="119"/>
                  <a:pt x="1304" y="124"/>
                  <a:pt x="1312" y="126"/>
                </a:cubicBezTo>
                <a:cubicBezTo>
                  <a:pt x="1310" y="137"/>
                  <a:pt x="1319" y="139"/>
                  <a:pt x="1326" y="144"/>
                </a:cubicBezTo>
                <a:cubicBezTo>
                  <a:pt x="1332" y="148"/>
                  <a:pt x="1339" y="152"/>
                  <a:pt x="1345" y="157"/>
                </a:cubicBezTo>
                <a:cubicBezTo>
                  <a:pt x="1364" y="164"/>
                  <a:pt x="1377" y="183"/>
                  <a:pt x="1400" y="181"/>
                </a:cubicBezTo>
                <a:cubicBezTo>
                  <a:pt x="1403" y="186"/>
                  <a:pt x="1406" y="191"/>
                  <a:pt x="1409" y="196"/>
                </a:cubicBezTo>
                <a:cubicBezTo>
                  <a:pt x="1416" y="199"/>
                  <a:pt x="1422" y="202"/>
                  <a:pt x="1429" y="204"/>
                </a:cubicBezTo>
                <a:cubicBezTo>
                  <a:pt x="1432" y="207"/>
                  <a:pt x="1435" y="210"/>
                  <a:pt x="1438" y="212"/>
                </a:cubicBezTo>
                <a:cubicBezTo>
                  <a:pt x="1454" y="215"/>
                  <a:pt x="1464" y="233"/>
                  <a:pt x="1483" y="230"/>
                </a:cubicBezTo>
                <a:cubicBezTo>
                  <a:pt x="1487" y="230"/>
                  <a:pt x="1492" y="240"/>
                  <a:pt x="1497" y="245"/>
                </a:cubicBezTo>
                <a:cubicBezTo>
                  <a:pt x="1498" y="245"/>
                  <a:pt x="1499" y="245"/>
                  <a:pt x="1500" y="245"/>
                </a:cubicBezTo>
                <a:cubicBezTo>
                  <a:pt x="1508" y="249"/>
                  <a:pt x="1516" y="254"/>
                  <a:pt x="1524" y="258"/>
                </a:cubicBezTo>
                <a:cubicBezTo>
                  <a:pt x="1524" y="259"/>
                  <a:pt x="1525" y="260"/>
                  <a:pt x="1525" y="261"/>
                </a:cubicBezTo>
                <a:cubicBezTo>
                  <a:pt x="1542" y="272"/>
                  <a:pt x="1564" y="275"/>
                  <a:pt x="1578" y="292"/>
                </a:cubicBezTo>
                <a:cubicBezTo>
                  <a:pt x="1583" y="294"/>
                  <a:pt x="1588" y="296"/>
                  <a:pt x="1593" y="298"/>
                </a:cubicBezTo>
                <a:cubicBezTo>
                  <a:pt x="1600" y="302"/>
                  <a:pt x="1606" y="305"/>
                  <a:pt x="1613" y="309"/>
                </a:cubicBezTo>
                <a:cubicBezTo>
                  <a:pt x="1613" y="310"/>
                  <a:pt x="1613" y="311"/>
                  <a:pt x="1613" y="312"/>
                </a:cubicBezTo>
                <a:cubicBezTo>
                  <a:pt x="1620" y="314"/>
                  <a:pt x="1630" y="313"/>
                  <a:pt x="1633" y="317"/>
                </a:cubicBezTo>
                <a:cubicBezTo>
                  <a:pt x="1644" y="330"/>
                  <a:pt x="1659" y="334"/>
                  <a:pt x="1672" y="341"/>
                </a:cubicBezTo>
                <a:cubicBezTo>
                  <a:pt x="1677" y="345"/>
                  <a:pt x="1682" y="349"/>
                  <a:pt x="1689" y="348"/>
                </a:cubicBezTo>
                <a:cubicBezTo>
                  <a:pt x="1701" y="350"/>
                  <a:pt x="1706" y="363"/>
                  <a:pt x="1717" y="368"/>
                </a:cubicBezTo>
                <a:cubicBezTo>
                  <a:pt x="1734" y="377"/>
                  <a:pt x="1751" y="385"/>
                  <a:pt x="1769" y="393"/>
                </a:cubicBezTo>
                <a:cubicBezTo>
                  <a:pt x="1778" y="398"/>
                  <a:pt x="1787" y="403"/>
                  <a:pt x="1796" y="408"/>
                </a:cubicBezTo>
                <a:cubicBezTo>
                  <a:pt x="1802" y="411"/>
                  <a:pt x="1803" y="413"/>
                  <a:pt x="1797" y="417"/>
                </a:cubicBezTo>
                <a:cubicBezTo>
                  <a:pt x="1789" y="420"/>
                  <a:pt x="1781" y="423"/>
                  <a:pt x="1773" y="425"/>
                </a:cubicBezTo>
                <a:cubicBezTo>
                  <a:pt x="1744" y="434"/>
                  <a:pt x="1714" y="443"/>
                  <a:pt x="1685" y="452"/>
                </a:cubicBezTo>
                <a:cubicBezTo>
                  <a:pt x="1687" y="454"/>
                  <a:pt x="1689" y="456"/>
                  <a:pt x="1691" y="458"/>
                </a:cubicBezTo>
                <a:cubicBezTo>
                  <a:pt x="1691" y="458"/>
                  <a:pt x="1691" y="458"/>
                  <a:pt x="1691" y="458"/>
                </a:cubicBezTo>
                <a:cubicBezTo>
                  <a:pt x="1689" y="456"/>
                  <a:pt x="1687" y="454"/>
                  <a:pt x="1685" y="452"/>
                </a:cubicBezTo>
                <a:cubicBezTo>
                  <a:pt x="1682" y="450"/>
                  <a:pt x="1680" y="448"/>
                  <a:pt x="1679" y="444"/>
                </a:cubicBezTo>
                <a:cubicBezTo>
                  <a:pt x="1684" y="438"/>
                  <a:pt x="1692" y="429"/>
                  <a:pt x="1679" y="426"/>
                </a:cubicBezTo>
                <a:cubicBezTo>
                  <a:pt x="1667" y="423"/>
                  <a:pt x="1671" y="419"/>
                  <a:pt x="1673" y="412"/>
                </a:cubicBezTo>
                <a:cubicBezTo>
                  <a:pt x="1676" y="402"/>
                  <a:pt x="1676" y="391"/>
                  <a:pt x="1662" y="389"/>
                </a:cubicBezTo>
                <a:cubicBezTo>
                  <a:pt x="1650" y="388"/>
                  <a:pt x="1641" y="394"/>
                  <a:pt x="1640" y="407"/>
                </a:cubicBezTo>
                <a:cubicBezTo>
                  <a:pt x="1639" y="420"/>
                  <a:pt x="1644" y="434"/>
                  <a:pt x="1623" y="436"/>
                </a:cubicBezTo>
                <a:cubicBezTo>
                  <a:pt x="1620" y="436"/>
                  <a:pt x="1624" y="441"/>
                  <a:pt x="1624" y="444"/>
                </a:cubicBezTo>
                <a:cubicBezTo>
                  <a:pt x="1612" y="443"/>
                  <a:pt x="1602" y="437"/>
                  <a:pt x="1591" y="432"/>
                </a:cubicBezTo>
                <a:cubicBezTo>
                  <a:pt x="1590" y="432"/>
                  <a:pt x="1589" y="431"/>
                  <a:pt x="1589" y="430"/>
                </a:cubicBezTo>
                <a:cubicBezTo>
                  <a:pt x="1586" y="429"/>
                  <a:pt x="1583" y="428"/>
                  <a:pt x="1580" y="426"/>
                </a:cubicBezTo>
                <a:cubicBezTo>
                  <a:pt x="1576" y="424"/>
                  <a:pt x="1570" y="425"/>
                  <a:pt x="1568" y="419"/>
                </a:cubicBezTo>
                <a:cubicBezTo>
                  <a:pt x="1566" y="420"/>
                  <a:pt x="1563" y="420"/>
                  <a:pt x="1561" y="421"/>
                </a:cubicBezTo>
                <a:cubicBezTo>
                  <a:pt x="1546" y="410"/>
                  <a:pt x="1529" y="405"/>
                  <a:pt x="1513" y="397"/>
                </a:cubicBezTo>
                <a:cubicBezTo>
                  <a:pt x="1510" y="397"/>
                  <a:pt x="1506" y="397"/>
                  <a:pt x="1504" y="394"/>
                </a:cubicBezTo>
                <a:cubicBezTo>
                  <a:pt x="1494" y="395"/>
                  <a:pt x="1488" y="386"/>
                  <a:pt x="1481" y="382"/>
                </a:cubicBezTo>
                <a:cubicBezTo>
                  <a:pt x="1466" y="378"/>
                  <a:pt x="1454" y="366"/>
                  <a:pt x="1437" y="366"/>
                </a:cubicBezTo>
                <a:cubicBezTo>
                  <a:pt x="1430" y="356"/>
                  <a:pt x="1418" y="356"/>
                  <a:pt x="1409" y="349"/>
                </a:cubicBezTo>
                <a:cubicBezTo>
                  <a:pt x="1403" y="346"/>
                  <a:pt x="1398" y="343"/>
                  <a:pt x="1393" y="341"/>
                </a:cubicBezTo>
                <a:cubicBezTo>
                  <a:pt x="1390" y="340"/>
                  <a:pt x="1388" y="340"/>
                  <a:pt x="1385" y="340"/>
                </a:cubicBezTo>
                <a:cubicBezTo>
                  <a:pt x="1385" y="342"/>
                  <a:pt x="1385" y="345"/>
                  <a:pt x="1385" y="347"/>
                </a:cubicBezTo>
                <a:cubicBezTo>
                  <a:pt x="1403" y="353"/>
                  <a:pt x="1417" y="370"/>
                  <a:pt x="1437" y="372"/>
                </a:cubicBezTo>
                <a:cubicBezTo>
                  <a:pt x="1453" y="381"/>
                  <a:pt x="1473" y="384"/>
                  <a:pt x="1487" y="399"/>
                </a:cubicBezTo>
                <a:cubicBezTo>
                  <a:pt x="1492" y="400"/>
                  <a:pt x="1496" y="401"/>
                  <a:pt x="1501" y="402"/>
                </a:cubicBezTo>
                <a:cubicBezTo>
                  <a:pt x="1506" y="400"/>
                  <a:pt x="1509" y="404"/>
                  <a:pt x="1513" y="405"/>
                </a:cubicBezTo>
                <a:cubicBezTo>
                  <a:pt x="1526" y="413"/>
                  <a:pt x="1542" y="415"/>
                  <a:pt x="1554" y="427"/>
                </a:cubicBezTo>
                <a:cubicBezTo>
                  <a:pt x="1557" y="427"/>
                  <a:pt x="1561" y="428"/>
                  <a:pt x="1565" y="429"/>
                </a:cubicBezTo>
                <a:cubicBezTo>
                  <a:pt x="1582" y="438"/>
                  <a:pt x="1605" y="437"/>
                  <a:pt x="1616" y="457"/>
                </a:cubicBezTo>
                <a:cubicBezTo>
                  <a:pt x="1616" y="459"/>
                  <a:pt x="1616" y="461"/>
                  <a:pt x="1616" y="463"/>
                </a:cubicBezTo>
                <a:cubicBezTo>
                  <a:pt x="1610" y="465"/>
                  <a:pt x="1602" y="464"/>
                  <a:pt x="1600" y="472"/>
                </a:cubicBezTo>
                <a:cubicBezTo>
                  <a:pt x="1595" y="472"/>
                  <a:pt x="1592" y="476"/>
                  <a:pt x="1588" y="477"/>
                </a:cubicBezTo>
                <a:cubicBezTo>
                  <a:pt x="1574" y="482"/>
                  <a:pt x="1561" y="496"/>
                  <a:pt x="1544" y="485"/>
                </a:cubicBezTo>
                <a:cubicBezTo>
                  <a:pt x="1544" y="478"/>
                  <a:pt x="1548" y="472"/>
                  <a:pt x="1542" y="466"/>
                </a:cubicBezTo>
                <a:cubicBezTo>
                  <a:pt x="1537" y="465"/>
                  <a:pt x="1524" y="470"/>
                  <a:pt x="1534" y="456"/>
                </a:cubicBezTo>
                <a:cubicBezTo>
                  <a:pt x="1536" y="454"/>
                  <a:pt x="1535" y="451"/>
                  <a:pt x="1536" y="449"/>
                </a:cubicBezTo>
                <a:cubicBezTo>
                  <a:pt x="1538" y="439"/>
                  <a:pt x="1534" y="432"/>
                  <a:pt x="1523" y="432"/>
                </a:cubicBezTo>
                <a:cubicBezTo>
                  <a:pt x="1512" y="431"/>
                  <a:pt x="1504" y="436"/>
                  <a:pt x="1504" y="448"/>
                </a:cubicBezTo>
                <a:cubicBezTo>
                  <a:pt x="1496" y="453"/>
                  <a:pt x="1507" y="459"/>
                  <a:pt x="1503" y="464"/>
                </a:cubicBezTo>
                <a:cubicBezTo>
                  <a:pt x="1501" y="464"/>
                  <a:pt x="1499" y="464"/>
                  <a:pt x="1497" y="464"/>
                </a:cubicBezTo>
                <a:cubicBezTo>
                  <a:pt x="1490" y="464"/>
                  <a:pt x="1490" y="472"/>
                  <a:pt x="1484" y="476"/>
                </a:cubicBezTo>
                <a:cubicBezTo>
                  <a:pt x="1483" y="469"/>
                  <a:pt x="1482" y="463"/>
                  <a:pt x="1481" y="457"/>
                </a:cubicBezTo>
                <a:cubicBezTo>
                  <a:pt x="1477" y="456"/>
                  <a:pt x="1472" y="456"/>
                  <a:pt x="1468" y="456"/>
                </a:cubicBezTo>
                <a:cubicBezTo>
                  <a:pt x="1467" y="464"/>
                  <a:pt x="1466" y="471"/>
                  <a:pt x="1465" y="479"/>
                </a:cubicBezTo>
                <a:cubicBezTo>
                  <a:pt x="1476" y="481"/>
                  <a:pt x="1481" y="487"/>
                  <a:pt x="1481" y="497"/>
                </a:cubicBezTo>
                <a:cubicBezTo>
                  <a:pt x="1481" y="487"/>
                  <a:pt x="1476" y="481"/>
                  <a:pt x="1465" y="479"/>
                </a:cubicBezTo>
                <a:cubicBezTo>
                  <a:pt x="1459" y="478"/>
                  <a:pt x="1453" y="478"/>
                  <a:pt x="1449" y="473"/>
                </a:cubicBezTo>
                <a:cubicBezTo>
                  <a:pt x="1458" y="464"/>
                  <a:pt x="1444" y="456"/>
                  <a:pt x="1446" y="448"/>
                </a:cubicBezTo>
                <a:cubicBezTo>
                  <a:pt x="1440" y="444"/>
                  <a:pt x="1433" y="450"/>
                  <a:pt x="1428" y="444"/>
                </a:cubicBezTo>
                <a:cubicBezTo>
                  <a:pt x="1414" y="428"/>
                  <a:pt x="1394" y="428"/>
                  <a:pt x="1377" y="420"/>
                </a:cubicBezTo>
                <a:cubicBezTo>
                  <a:pt x="1377" y="422"/>
                  <a:pt x="1376" y="423"/>
                  <a:pt x="1376" y="424"/>
                </a:cubicBezTo>
                <a:cubicBezTo>
                  <a:pt x="1376" y="423"/>
                  <a:pt x="1377" y="422"/>
                  <a:pt x="1377" y="420"/>
                </a:cubicBezTo>
                <a:cubicBezTo>
                  <a:pt x="1368" y="417"/>
                  <a:pt x="1358" y="413"/>
                  <a:pt x="1349" y="409"/>
                </a:cubicBezTo>
                <a:cubicBezTo>
                  <a:pt x="1345" y="407"/>
                  <a:pt x="1342" y="404"/>
                  <a:pt x="1337" y="405"/>
                </a:cubicBezTo>
                <a:cubicBezTo>
                  <a:pt x="1328" y="396"/>
                  <a:pt x="1316" y="398"/>
                  <a:pt x="1305" y="396"/>
                </a:cubicBezTo>
                <a:cubicBezTo>
                  <a:pt x="1305" y="393"/>
                  <a:pt x="1305" y="391"/>
                  <a:pt x="1305" y="388"/>
                </a:cubicBezTo>
                <a:cubicBezTo>
                  <a:pt x="1303" y="388"/>
                  <a:pt x="1302" y="388"/>
                  <a:pt x="1301" y="388"/>
                </a:cubicBezTo>
                <a:cubicBezTo>
                  <a:pt x="1296" y="384"/>
                  <a:pt x="1291" y="384"/>
                  <a:pt x="1286" y="384"/>
                </a:cubicBezTo>
                <a:cubicBezTo>
                  <a:pt x="1283" y="381"/>
                  <a:pt x="1280" y="380"/>
                  <a:pt x="1275" y="380"/>
                </a:cubicBezTo>
                <a:cubicBezTo>
                  <a:pt x="1262" y="374"/>
                  <a:pt x="1250" y="367"/>
                  <a:pt x="1237" y="361"/>
                </a:cubicBezTo>
                <a:cubicBezTo>
                  <a:pt x="1233" y="360"/>
                  <a:pt x="1230" y="360"/>
                  <a:pt x="1227" y="359"/>
                </a:cubicBezTo>
                <a:cubicBezTo>
                  <a:pt x="1225" y="356"/>
                  <a:pt x="1222" y="353"/>
                  <a:pt x="1217" y="353"/>
                </a:cubicBezTo>
                <a:cubicBezTo>
                  <a:pt x="1211" y="350"/>
                  <a:pt x="1206" y="348"/>
                  <a:pt x="1200" y="345"/>
                </a:cubicBezTo>
                <a:cubicBezTo>
                  <a:pt x="1172" y="341"/>
                  <a:pt x="1150" y="324"/>
                  <a:pt x="1125" y="313"/>
                </a:cubicBezTo>
                <a:cubicBezTo>
                  <a:pt x="1114" y="309"/>
                  <a:pt x="1105" y="302"/>
                  <a:pt x="1093" y="304"/>
                </a:cubicBezTo>
                <a:cubicBezTo>
                  <a:pt x="1096" y="308"/>
                  <a:pt x="1099" y="311"/>
                  <a:pt x="1103" y="315"/>
                </a:cubicBezTo>
                <a:cubicBezTo>
                  <a:pt x="1091" y="317"/>
                  <a:pt x="1084" y="308"/>
                  <a:pt x="1075" y="303"/>
                </a:cubicBezTo>
                <a:cubicBezTo>
                  <a:pt x="1081" y="304"/>
                  <a:pt x="1087" y="304"/>
                  <a:pt x="1093" y="304"/>
                </a:cubicBezTo>
                <a:cubicBezTo>
                  <a:pt x="1089" y="295"/>
                  <a:pt x="1078" y="296"/>
                  <a:pt x="1072" y="289"/>
                </a:cubicBezTo>
                <a:cubicBezTo>
                  <a:pt x="1063" y="286"/>
                  <a:pt x="1052" y="284"/>
                  <a:pt x="1045" y="276"/>
                </a:cubicBezTo>
                <a:cubicBezTo>
                  <a:pt x="1042" y="276"/>
                  <a:pt x="1040" y="277"/>
                  <a:pt x="1037" y="277"/>
                </a:cubicBezTo>
                <a:cubicBezTo>
                  <a:pt x="1031" y="287"/>
                  <a:pt x="1039" y="297"/>
                  <a:pt x="1037" y="307"/>
                </a:cubicBezTo>
                <a:cubicBezTo>
                  <a:pt x="1037" y="308"/>
                  <a:pt x="1038" y="310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60" y="323"/>
                  <a:pt x="1085" y="329"/>
                  <a:pt x="1108" y="340"/>
                </a:cubicBezTo>
                <a:cubicBezTo>
                  <a:pt x="1085" y="329"/>
                  <a:pt x="1060" y="323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0"/>
                  <a:pt x="1037" y="308"/>
                  <a:pt x="1037" y="307"/>
                </a:cubicBezTo>
                <a:cubicBezTo>
                  <a:pt x="1034" y="307"/>
                  <a:pt x="1032" y="307"/>
                  <a:pt x="1029" y="308"/>
                </a:cubicBezTo>
                <a:cubicBezTo>
                  <a:pt x="1026" y="305"/>
                  <a:pt x="1023" y="303"/>
                  <a:pt x="1020" y="301"/>
                </a:cubicBezTo>
                <a:cubicBezTo>
                  <a:pt x="1020" y="295"/>
                  <a:pt x="1016" y="293"/>
                  <a:pt x="1011" y="296"/>
                </a:cubicBezTo>
                <a:cubicBezTo>
                  <a:pt x="1009" y="296"/>
                  <a:pt x="1009" y="295"/>
                  <a:pt x="1008" y="293"/>
                </a:cubicBezTo>
                <a:cubicBezTo>
                  <a:pt x="1009" y="284"/>
                  <a:pt x="1009" y="274"/>
                  <a:pt x="1010" y="264"/>
                </a:cubicBezTo>
                <a:cubicBezTo>
                  <a:pt x="1007" y="263"/>
                  <a:pt x="1004" y="261"/>
                  <a:pt x="1001" y="260"/>
                </a:cubicBezTo>
                <a:cubicBezTo>
                  <a:pt x="1009" y="272"/>
                  <a:pt x="994" y="281"/>
                  <a:pt x="997" y="293"/>
                </a:cubicBezTo>
                <a:cubicBezTo>
                  <a:pt x="981" y="287"/>
                  <a:pt x="965" y="282"/>
                  <a:pt x="949" y="276"/>
                </a:cubicBezTo>
                <a:cubicBezTo>
                  <a:pt x="945" y="267"/>
                  <a:pt x="938" y="263"/>
                  <a:pt x="929" y="260"/>
                </a:cubicBezTo>
                <a:cubicBezTo>
                  <a:pt x="928" y="256"/>
                  <a:pt x="926" y="251"/>
                  <a:pt x="921" y="257"/>
                </a:cubicBezTo>
                <a:cubicBezTo>
                  <a:pt x="916" y="257"/>
                  <a:pt x="914" y="253"/>
                  <a:pt x="912" y="249"/>
                </a:cubicBezTo>
                <a:cubicBezTo>
                  <a:pt x="926" y="236"/>
                  <a:pt x="914" y="235"/>
                  <a:pt x="905" y="233"/>
                </a:cubicBezTo>
                <a:cubicBezTo>
                  <a:pt x="901" y="228"/>
                  <a:pt x="900" y="222"/>
                  <a:pt x="903" y="216"/>
                </a:cubicBezTo>
                <a:cubicBezTo>
                  <a:pt x="901" y="214"/>
                  <a:pt x="899" y="212"/>
                  <a:pt x="896" y="212"/>
                </a:cubicBezTo>
                <a:cubicBezTo>
                  <a:pt x="896" y="218"/>
                  <a:pt x="898" y="223"/>
                  <a:pt x="895" y="228"/>
                </a:cubicBezTo>
                <a:cubicBezTo>
                  <a:pt x="894" y="229"/>
                  <a:pt x="894" y="229"/>
                  <a:pt x="894" y="229"/>
                </a:cubicBezTo>
                <a:cubicBezTo>
                  <a:pt x="891" y="227"/>
                  <a:pt x="888" y="226"/>
                  <a:pt x="885" y="225"/>
                </a:cubicBezTo>
                <a:cubicBezTo>
                  <a:pt x="885" y="225"/>
                  <a:pt x="885" y="225"/>
                  <a:pt x="885" y="225"/>
                </a:cubicBezTo>
                <a:cubicBezTo>
                  <a:pt x="881" y="218"/>
                  <a:pt x="869" y="219"/>
                  <a:pt x="869" y="208"/>
                </a:cubicBezTo>
                <a:cubicBezTo>
                  <a:pt x="879" y="207"/>
                  <a:pt x="886" y="215"/>
                  <a:pt x="895" y="212"/>
                </a:cubicBezTo>
                <a:cubicBezTo>
                  <a:pt x="875" y="198"/>
                  <a:pt x="852" y="189"/>
                  <a:pt x="829" y="180"/>
                </a:cubicBezTo>
                <a:cubicBezTo>
                  <a:pt x="826" y="178"/>
                  <a:pt x="824" y="175"/>
                  <a:pt x="821" y="173"/>
                </a:cubicBezTo>
                <a:cubicBezTo>
                  <a:pt x="813" y="164"/>
                  <a:pt x="824" y="155"/>
                  <a:pt x="819" y="146"/>
                </a:cubicBezTo>
                <a:cubicBezTo>
                  <a:pt x="812" y="151"/>
                  <a:pt x="816" y="164"/>
                  <a:pt x="804" y="165"/>
                </a:cubicBezTo>
                <a:cubicBezTo>
                  <a:pt x="792" y="166"/>
                  <a:pt x="787" y="158"/>
                  <a:pt x="780" y="153"/>
                </a:cubicBezTo>
                <a:cubicBezTo>
                  <a:pt x="776" y="153"/>
                  <a:pt x="771" y="153"/>
                  <a:pt x="769" y="148"/>
                </a:cubicBezTo>
                <a:cubicBezTo>
                  <a:pt x="763" y="148"/>
                  <a:pt x="759" y="146"/>
                  <a:pt x="757" y="141"/>
                </a:cubicBezTo>
                <a:cubicBezTo>
                  <a:pt x="755" y="141"/>
                  <a:pt x="755" y="141"/>
                  <a:pt x="755" y="141"/>
                </a:cubicBezTo>
                <a:cubicBezTo>
                  <a:pt x="753" y="141"/>
                  <a:pt x="753" y="141"/>
                  <a:pt x="753" y="141"/>
                </a:cubicBezTo>
                <a:cubicBezTo>
                  <a:pt x="751" y="141"/>
                  <a:pt x="750" y="141"/>
                  <a:pt x="749" y="141"/>
                </a:cubicBezTo>
                <a:cubicBezTo>
                  <a:pt x="749" y="150"/>
                  <a:pt x="749" y="157"/>
                  <a:pt x="737" y="157"/>
                </a:cubicBezTo>
                <a:cubicBezTo>
                  <a:pt x="745" y="166"/>
                  <a:pt x="760" y="167"/>
                  <a:pt x="765" y="181"/>
                </a:cubicBezTo>
                <a:cubicBezTo>
                  <a:pt x="768" y="189"/>
                  <a:pt x="763" y="187"/>
                  <a:pt x="759" y="189"/>
                </a:cubicBezTo>
                <a:cubicBezTo>
                  <a:pt x="740" y="179"/>
                  <a:pt x="720" y="170"/>
                  <a:pt x="701" y="160"/>
                </a:cubicBezTo>
                <a:cubicBezTo>
                  <a:pt x="701" y="159"/>
                  <a:pt x="701" y="158"/>
                  <a:pt x="701" y="157"/>
                </a:cubicBezTo>
                <a:cubicBezTo>
                  <a:pt x="700" y="148"/>
                  <a:pt x="704" y="144"/>
                  <a:pt x="713" y="145"/>
                </a:cubicBezTo>
                <a:cubicBezTo>
                  <a:pt x="710" y="140"/>
                  <a:pt x="705" y="140"/>
                  <a:pt x="701" y="141"/>
                </a:cubicBezTo>
                <a:cubicBezTo>
                  <a:pt x="700" y="138"/>
                  <a:pt x="698" y="135"/>
                  <a:pt x="697" y="133"/>
                </a:cubicBezTo>
                <a:cubicBezTo>
                  <a:pt x="697" y="131"/>
                  <a:pt x="697" y="130"/>
                  <a:pt x="697" y="129"/>
                </a:cubicBezTo>
                <a:cubicBezTo>
                  <a:pt x="697" y="125"/>
                  <a:pt x="697" y="122"/>
                  <a:pt x="702" y="121"/>
                </a:cubicBezTo>
                <a:cubicBezTo>
                  <a:pt x="700" y="116"/>
                  <a:pt x="696" y="111"/>
                  <a:pt x="700" y="104"/>
                </a:cubicBezTo>
                <a:cubicBezTo>
                  <a:pt x="692" y="116"/>
                  <a:pt x="682" y="107"/>
                  <a:pt x="673" y="110"/>
                </a:cubicBezTo>
                <a:cubicBezTo>
                  <a:pt x="674" y="104"/>
                  <a:pt x="675" y="98"/>
                  <a:pt x="676" y="92"/>
                </a:cubicBezTo>
                <a:cubicBezTo>
                  <a:pt x="682" y="62"/>
                  <a:pt x="694" y="32"/>
                  <a:pt x="697" y="1"/>
                </a:cubicBezTo>
                <a:cubicBezTo>
                  <a:pt x="695" y="1"/>
                  <a:pt x="694" y="1"/>
                  <a:pt x="693" y="1"/>
                </a:cubicBezTo>
                <a:cubicBezTo>
                  <a:pt x="685" y="31"/>
                  <a:pt x="677" y="61"/>
                  <a:pt x="670" y="91"/>
                </a:cubicBezTo>
                <a:cubicBezTo>
                  <a:pt x="667" y="106"/>
                  <a:pt x="663" y="102"/>
                  <a:pt x="657" y="93"/>
                </a:cubicBezTo>
                <a:cubicBezTo>
                  <a:pt x="653" y="93"/>
                  <a:pt x="649" y="92"/>
                  <a:pt x="645" y="92"/>
                </a:cubicBezTo>
                <a:cubicBezTo>
                  <a:pt x="645" y="97"/>
                  <a:pt x="646" y="101"/>
                  <a:pt x="647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5" y="111"/>
                  <a:pt x="649" y="115"/>
                  <a:pt x="653" y="118"/>
                </a:cubicBezTo>
                <a:cubicBezTo>
                  <a:pt x="652" y="120"/>
                  <a:pt x="652" y="120"/>
                  <a:pt x="652" y="120"/>
                </a:cubicBezTo>
                <a:cubicBezTo>
                  <a:pt x="657" y="119"/>
                  <a:pt x="662" y="120"/>
                  <a:pt x="664" y="121"/>
                </a:cubicBezTo>
                <a:cubicBezTo>
                  <a:pt x="665" y="122"/>
                  <a:pt x="666" y="122"/>
                  <a:pt x="667" y="123"/>
                </a:cubicBezTo>
                <a:cubicBezTo>
                  <a:pt x="666" y="122"/>
                  <a:pt x="665" y="122"/>
                  <a:pt x="664" y="121"/>
                </a:cubicBezTo>
                <a:cubicBezTo>
                  <a:pt x="662" y="120"/>
                  <a:pt x="657" y="119"/>
                  <a:pt x="652" y="120"/>
                </a:cubicBezTo>
                <a:cubicBezTo>
                  <a:pt x="651" y="122"/>
                  <a:pt x="650" y="123"/>
                  <a:pt x="649" y="125"/>
                </a:cubicBezTo>
                <a:cubicBezTo>
                  <a:pt x="648" y="138"/>
                  <a:pt x="639" y="132"/>
                  <a:pt x="633" y="132"/>
                </a:cubicBezTo>
                <a:cubicBezTo>
                  <a:pt x="616" y="118"/>
                  <a:pt x="595" y="112"/>
                  <a:pt x="576" y="102"/>
                </a:cubicBezTo>
                <a:cubicBezTo>
                  <a:pt x="568" y="97"/>
                  <a:pt x="557" y="94"/>
                  <a:pt x="560" y="81"/>
                </a:cubicBezTo>
                <a:cubicBezTo>
                  <a:pt x="560" y="81"/>
                  <a:pt x="561" y="81"/>
                  <a:pt x="561" y="81"/>
                </a:cubicBezTo>
                <a:cubicBezTo>
                  <a:pt x="561" y="81"/>
                  <a:pt x="561" y="81"/>
                  <a:pt x="561" y="81"/>
                </a:cubicBezTo>
                <a:cubicBezTo>
                  <a:pt x="562" y="81"/>
                  <a:pt x="563" y="81"/>
                  <a:pt x="564" y="80"/>
                </a:cubicBezTo>
                <a:cubicBezTo>
                  <a:pt x="571" y="81"/>
                  <a:pt x="576" y="84"/>
                  <a:pt x="581" y="88"/>
                </a:cubicBezTo>
                <a:cubicBezTo>
                  <a:pt x="584" y="88"/>
                  <a:pt x="588" y="87"/>
                  <a:pt x="587" y="85"/>
                </a:cubicBezTo>
                <a:cubicBezTo>
                  <a:pt x="580" y="68"/>
                  <a:pt x="590" y="74"/>
                  <a:pt x="597" y="77"/>
                </a:cubicBezTo>
                <a:cubicBezTo>
                  <a:pt x="608" y="81"/>
                  <a:pt x="617" y="89"/>
                  <a:pt x="629" y="89"/>
                </a:cubicBezTo>
                <a:cubicBezTo>
                  <a:pt x="631" y="89"/>
                  <a:pt x="634" y="89"/>
                  <a:pt x="637" y="89"/>
                </a:cubicBezTo>
                <a:cubicBezTo>
                  <a:pt x="630" y="84"/>
                  <a:pt x="622" y="80"/>
                  <a:pt x="615" y="76"/>
                </a:cubicBezTo>
                <a:cubicBezTo>
                  <a:pt x="605" y="70"/>
                  <a:pt x="590" y="69"/>
                  <a:pt x="587" y="59"/>
                </a:cubicBezTo>
                <a:cubicBezTo>
                  <a:pt x="583" y="42"/>
                  <a:pt x="578" y="55"/>
                  <a:pt x="573" y="57"/>
                </a:cubicBezTo>
                <a:cubicBezTo>
                  <a:pt x="573" y="55"/>
                  <a:pt x="572" y="54"/>
                  <a:pt x="572" y="53"/>
                </a:cubicBezTo>
                <a:cubicBezTo>
                  <a:pt x="572" y="52"/>
                  <a:pt x="572" y="50"/>
                  <a:pt x="572" y="48"/>
                </a:cubicBezTo>
                <a:cubicBezTo>
                  <a:pt x="573" y="45"/>
                  <a:pt x="573" y="41"/>
                  <a:pt x="573" y="37"/>
                </a:cubicBezTo>
                <a:cubicBezTo>
                  <a:pt x="573" y="37"/>
                  <a:pt x="573" y="37"/>
                  <a:pt x="573" y="37"/>
                </a:cubicBezTo>
                <a:cubicBezTo>
                  <a:pt x="581" y="26"/>
                  <a:pt x="582" y="13"/>
                  <a:pt x="585" y="1"/>
                </a:cubicBezTo>
                <a:cubicBezTo>
                  <a:pt x="575" y="1"/>
                  <a:pt x="566" y="1"/>
                  <a:pt x="557" y="1"/>
                </a:cubicBezTo>
                <a:cubicBezTo>
                  <a:pt x="556" y="10"/>
                  <a:pt x="555" y="20"/>
                  <a:pt x="554" y="29"/>
                </a:cubicBezTo>
                <a:cubicBezTo>
                  <a:pt x="555" y="32"/>
                  <a:pt x="556" y="34"/>
                  <a:pt x="557" y="37"/>
                </a:cubicBezTo>
                <a:cubicBezTo>
                  <a:pt x="556" y="34"/>
                  <a:pt x="555" y="32"/>
                  <a:pt x="554" y="29"/>
                </a:cubicBezTo>
                <a:cubicBezTo>
                  <a:pt x="545" y="34"/>
                  <a:pt x="536" y="37"/>
                  <a:pt x="527" y="33"/>
                </a:cubicBezTo>
                <a:cubicBezTo>
                  <a:pt x="523" y="31"/>
                  <a:pt x="520" y="29"/>
                  <a:pt x="517" y="27"/>
                </a:cubicBezTo>
                <a:cubicBezTo>
                  <a:pt x="516" y="26"/>
                  <a:pt x="514" y="25"/>
                  <a:pt x="513" y="24"/>
                </a:cubicBezTo>
                <a:cubicBezTo>
                  <a:pt x="512" y="24"/>
                  <a:pt x="511" y="24"/>
                  <a:pt x="510" y="24"/>
                </a:cubicBezTo>
                <a:cubicBezTo>
                  <a:pt x="506" y="19"/>
                  <a:pt x="499" y="22"/>
                  <a:pt x="493" y="20"/>
                </a:cubicBezTo>
                <a:cubicBezTo>
                  <a:pt x="492" y="21"/>
                  <a:pt x="492" y="21"/>
                  <a:pt x="492" y="21"/>
                </a:cubicBezTo>
                <a:cubicBezTo>
                  <a:pt x="497" y="27"/>
                  <a:pt x="507" y="31"/>
                  <a:pt x="497" y="41"/>
                </a:cubicBezTo>
                <a:cubicBezTo>
                  <a:pt x="496" y="40"/>
                  <a:pt x="495" y="40"/>
                  <a:pt x="494" y="40"/>
                </a:cubicBezTo>
                <a:cubicBezTo>
                  <a:pt x="481" y="25"/>
                  <a:pt x="459" y="19"/>
                  <a:pt x="449" y="1"/>
                </a:cubicBezTo>
                <a:cubicBezTo>
                  <a:pt x="435" y="1"/>
                  <a:pt x="422" y="1"/>
                  <a:pt x="409" y="1"/>
                </a:cubicBezTo>
                <a:cubicBezTo>
                  <a:pt x="395" y="1"/>
                  <a:pt x="382" y="1"/>
                  <a:pt x="369" y="1"/>
                </a:cubicBezTo>
                <a:cubicBezTo>
                  <a:pt x="350" y="1"/>
                  <a:pt x="331" y="1"/>
                  <a:pt x="313" y="1"/>
                </a:cubicBezTo>
                <a:cubicBezTo>
                  <a:pt x="297" y="1"/>
                  <a:pt x="281" y="1"/>
                  <a:pt x="265" y="1"/>
                </a:cubicBezTo>
                <a:cubicBezTo>
                  <a:pt x="263" y="6"/>
                  <a:pt x="262" y="11"/>
                  <a:pt x="261" y="16"/>
                </a:cubicBezTo>
                <a:cubicBezTo>
                  <a:pt x="263" y="19"/>
                  <a:pt x="265" y="21"/>
                  <a:pt x="269" y="21"/>
                </a:cubicBezTo>
                <a:cubicBezTo>
                  <a:pt x="269" y="23"/>
                  <a:pt x="270" y="26"/>
                  <a:pt x="270" y="28"/>
                </a:cubicBezTo>
                <a:cubicBezTo>
                  <a:pt x="261" y="33"/>
                  <a:pt x="265" y="42"/>
                  <a:pt x="265" y="49"/>
                </a:cubicBezTo>
                <a:cubicBezTo>
                  <a:pt x="260" y="50"/>
                  <a:pt x="254" y="51"/>
                  <a:pt x="249" y="53"/>
                </a:cubicBezTo>
                <a:cubicBezTo>
                  <a:pt x="245" y="53"/>
                  <a:pt x="240" y="53"/>
                  <a:pt x="236" y="53"/>
                </a:cubicBezTo>
                <a:cubicBezTo>
                  <a:pt x="240" y="53"/>
                  <a:pt x="245" y="53"/>
                  <a:pt x="249" y="52"/>
                </a:cubicBezTo>
                <a:cubicBezTo>
                  <a:pt x="249" y="47"/>
                  <a:pt x="244" y="44"/>
                  <a:pt x="241" y="41"/>
                </a:cubicBezTo>
                <a:cubicBezTo>
                  <a:pt x="241" y="34"/>
                  <a:pt x="241" y="27"/>
                  <a:pt x="241" y="21"/>
                </a:cubicBezTo>
                <a:cubicBezTo>
                  <a:pt x="247" y="15"/>
                  <a:pt x="252" y="8"/>
                  <a:pt x="261" y="16"/>
                </a:cubicBezTo>
                <a:cubicBezTo>
                  <a:pt x="262" y="11"/>
                  <a:pt x="263" y="6"/>
                  <a:pt x="265" y="1"/>
                </a:cubicBezTo>
                <a:cubicBezTo>
                  <a:pt x="258" y="1"/>
                  <a:pt x="251" y="1"/>
                  <a:pt x="245" y="1"/>
                </a:cubicBezTo>
                <a:cubicBezTo>
                  <a:pt x="242" y="1"/>
                  <a:pt x="239" y="1"/>
                  <a:pt x="237" y="1"/>
                </a:cubicBezTo>
                <a:cubicBezTo>
                  <a:pt x="221" y="1"/>
                  <a:pt x="205" y="1"/>
                  <a:pt x="189" y="1"/>
                </a:cubicBezTo>
                <a:cubicBezTo>
                  <a:pt x="181" y="1"/>
                  <a:pt x="173" y="1"/>
                  <a:pt x="165" y="1"/>
                </a:cubicBezTo>
                <a:cubicBezTo>
                  <a:pt x="149" y="1"/>
                  <a:pt x="133" y="1"/>
                  <a:pt x="117" y="1"/>
                </a:cubicBezTo>
                <a:cubicBezTo>
                  <a:pt x="81" y="1"/>
                  <a:pt x="46" y="1"/>
                  <a:pt x="11" y="0"/>
                </a:cubicBezTo>
                <a:cubicBezTo>
                  <a:pt x="2" y="0"/>
                  <a:pt x="0" y="2"/>
                  <a:pt x="1" y="11"/>
                </a:cubicBezTo>
                <a:cubicBezTo>
                  <a:pt x="1" y="30"/>
                  <a:pt x="1" y="49"/>
                  <a:pt x="1" y="69"/>
                </a:cubicBezTo>
                <a:close/>
                <a:moveTo>
                  <a:pt x="77" y="2341"/>
                </a:moveTo>
                <a:cubicBezTo>
                  <a:pt x="77" y="2341"/>
                  <a:pt x="77" y="2341"/>
                  <a:pt x="77" y="2341"/>
                </a:cubicBezTo>
                <a:cubicBezTo>
                  <a:pt x="77" y="2341"/>
                  <a:pt x="77" y="2341"/>
                  <a:pt x="77" y="2341"/>
                </a:cubicBezTo>
                <a:cubicBezTo>
                  <a:pt x="77" y="2341"/>
                  <a:pt x="77" y="2341"/>
                  <a:pt x="77" y="2341"/>
                </a:cubicBezTo>
                <a:close/>
                <a:moveTo>
                  <a:pt x="99" y="2343"/>
                </a:moveTo>
                <a:cubicBezTo>
                  <a:pt x="99" y="2343"/>
                  <a:pt x="99" y="2343"/>
                  <a:pt x="99" y="2343"/>
                </a:cubicBezTo>
                <a:cubicBezTo>
                  <a:pt x="100" y="2337"/>
                  <a:pt x="100" y="2332"/>
                  <a:pt x="101" y="2326"/>
                </a:cubicBezTo>
                <a:cubicBezTo>
                  <a:pt x="100" y="2332"/>
                  <a:pt x="100" y="2337"/>
                  <a:pt x="99" y="2343"/>
                </a:cubicBezTo>
                <a:close/>
                <a:moveTo>
                  <a:pt x="121" y="2349"/>
                </a:moveTo>
                <a:cubicBezTo>
                  <a:pt x="124" y="2343"/>
                  <a:pt x="126" y="2336"/>
                  <a:pt x="133" y="2332"/>
                </a:cubicBezTo>
                <a:cubicBezTo>
                  <a:pt x="127" y="2336"/>
                  <a:pt x="124" y="2343"/>
                  <a:pt x="121" y="2349"/>
                </a:cubicBezTo>
                <a:close/>
                <a:moveTo>
                  <a:pt x="133" y="2277"/>
                </a:moveTo>
                <a:cubicBezTo>
                  <a:pt x="136" y="2276"/>
                  <a:pt x="140" y="2277"/>
                  <a:pt x="143" y="2275"/>
                </a:cubicBezTo>
                <a:cubicBezTo>
                  <a:pt x="140" y="2277"/>
                  <a:pt x="136" y="2276"/>
                  <a:pt x="133" y="2277"/>
                </a:cubicBezTo>
                <a:close/>
                <a:moveTo>
                  <a:pt x="318" y="2368"/>
                </a:moveTo>
                <a:cubicBezTo>
                  <a:pt x="303" y="2363"/>
                  <a:pt x="292" y="2367"/>
                  <a:pt x="285" y="2381"/>
                </a:cubicBezTo>
                <a:cubicBezTo>
                  <a:pt x="282" y="2380"/>
                  <a:pt x="279" y="2379"/>
                  <a:pt x="277" y="2380"/>
                </a:cubicBezTo>
                <a:cubicBezTo>
                  <a:pt x="262" y="2383"/>
                  <a:pt x="252" y="2377"/>
                  <a:pt x="245" y="2364"/>
                </a:cubicBezTo>
                <a:cubicBezTo>
                  <a:pt x="233" y="2361"/>
                  <a:pt x="216" y="2375"/>
                  <a:pt x="210" y="2354"/>
                </a:cubicBezTo>
                <a:cubicBezTo>
                  <a:pt x="211" y="2352"/>
                  <a:pt x="213" y="2350"/>
                  <a:pt x="212" y="2350"/>
                </a:cubicBezTo>
                <a:cubicBezTo>
                  <a:pt x="210" y="2347"/>
                  <a:pt x="209" y="2349"/>
                  <a:pt x="207" y="2351"/>
                </a:cubicBezTo>
                <a:cubicBezTo>
                  <a:pt x="199" y="2353"/>
                  <a:pt x="199" y="2372"/>
                  <a:pt x="183" y="2362"/>
                </a:cubicBezTo>
                <a:cubicBezTo>
                  <a:pt x="177" y="2358"/>
                  <a:pt x="172" y="2358"/>
                  <a:pt x="175" y="2349"/>
                </a:cubicBezTo>
                <a:cubicBezTo>
                  <a:pt x="177" y="2344"/>
                  <a:pt x="172" y="2345"/>
                  <a:pt x="169" y="2345"/>
                </a:cubicBezTo>
                <a:cubicBezTo>
                  <a:pt x="174" y="2332"/>
                  <a:pt x="186" y="2330"/>
                  <a:pt x="196" y="2334"/>
                </a:cubicBezTo>
                <a:cubicBezTo>
                  <a:pt x="208" y="2340"/>
                  <a:pt x="212" y="2334"/>
                  <a:pt x="216" y="2325"/>
                </a:cubicBezTo>
                <a:cubicBezTo>
                  <a:pt x="220" y="2336"/>
                  <a:pt x="230" y="2337"/>
                  <a:pt x="239" y="2338"/>
                </a:cubicBezTo>
                <a:cubicBezTo>
                  <a:pt x="240" y="2337"/>
                  <a:pt x="240" y="2334"/>
                  <a:pt x="241" y="2333"/>
                </a:cubicBezTo>
                <a:cubicBezTo>
                  <a:pt x="240" y="2334"/>
                  <a:pt x="240" y="2337"/>
                  <a:pt x="239" y="2338"/>
                </a:cubicBezTo>
                <a:cubicBezTo>
                  <a:pt x="246" y="2344"/>
                  <a:pt x="247" y="2352"/>
                  <a:pt x="245" y="2360"/>
                </a:cubicBezTo>
                <a:cubicBezTo>
                  <a:pt x="257" y="2360"/>
                  <a:pt x="268" y="2360"/>
                  <a:pt x="280" y="2360"/>
                </a:cubicBezTo>
                <a:cubicBezTo>
                  <a:pt x="280" y="2360"/>
                  <a:pt x="280" y="2360"/>
                  <a:pt x="280" y="2360"/>
                </a:cubicBezTo>
                <a:cubicBezTo>
                  <a:pt x="285" y="2360"/>
                  <a:pt x="289" y="2360"/>
                  <a:pt x="294" y="2360"/>
                </a:cubicBezTo>
                <a:cubicBezTo>
                  <a:pt x="301" y="2360"/>
                  <a:pt x="309" y="2360"/>
                  <a:pt x="316" y="2360"/>
                </a:cubicBezTo>
                <a:cubicBezTo>
                  <a:pt x="318" y="2360"/>
                  <a:pt x="319" y="2360"/>
                  <a:pt x="321" y="2360"/>
                </a:cubicBezTo>
                <a:cubicBezTo>
                  <a:pt x="322" y="2361"/>
                  <a:pt x="323" y="2361"/>
                  <a:pt x="324" y="2361"/>
                </a:cubicBezTo>
                <a:cubicBezTo>
                  <a:pt x="325" y="2366"/>
                  <a:pt x="323" y="2370"/>
                  <a:pt x="318" y="2368"/>
                </a:cubicBezTo>
                <a:close/>
                <a:moveTo>
                  <a:pt x="324" y="2342"/>
                </a:moveTo>
                <a:cubicBezTo>
                  <a:pt x="325" y="2340"/>
                  <a:pt x="325" y="2339"/>
                  <a:pt x="325" y="2337"/>
                </a:cubicBezTo>
                <a:cubicBezTo>
                  <a:pt x="325" y="2337"/>
                  <a:pt x="325" y="2337"/>
                  <a:pt x="325" y="2337"/>
                </a:cubicBezTo>
                <a:cubicBezTo>
                  <a:pt x="325" y="2339"/>
                  <a:pt x="325" y="2340"/>
                  <a:pt x="324" y="2342"/>
                </a:cubicBezTo>
                <a:close/>
                <a:moveTo>
                  <a:pt x="520" y="2352"/>
                </a:moveTo>
                <a:cubicBezTo>
                  <a:pt x="530" y="2348"/>
                  <a:pt x="529" y="2354"/>
                  <a:pt x="528" y="2360"/>
                </a:cubicBezTo>
                <a:cubicBezTo>
                  <a:pt x="525" y="2360"/>
                  <a:pt x="522" y="2361"/>
                  <a:pt x="520" y="2361"/>
                </a:cubicBezTo>
                <a:cubicBezTo>
                  <a:pt x="520" y="2358"/>
                  <a:pt x="520" y="2355"/>
                  <a:pt x="520" y="2352"/>
                </a:cubicBezTo>
                <a:close/>
                <a:moveTo>
                  <a:pt x="396" y="2385"/>
                </a:moveTo>
                <a:cubicBezTo>
                  <a:pt x="396" y="2385"/>
                  <a:pt x="395" y="2385"/>
                  <a:pt x="394" y="2385"/>
                </a:cubicBezTo>
                <a:cubicBezTo>
                  <a:pt x="395" y="2385"/>
                  <a:pt x="396" y="2385"/>
                  <a:pt x="396" y="2385"/>
                </a:cubicBezTo>
                <a:cubicBezTo>
                  <a:pt x="398" y="2383"/>
                  <a:pt x="399" y="2382"/>
                  <a:pt x="401" y="2382"/>
                </a:cubicBezTo>
                <a:cubicBezTo>
                  <a:pt x="399" y="2382"/>
                  <a:pt x="398" y="2383"/>
                  <a:pt x="396" y="2385"/>
                </a:cubicBezTo>
                <a:close/>
                <a:moveTo>
                  <a:pt x="409" y="2381"/>
                </a:moveTo>
                <a:cubicBezTo>
                  <a:pt x="409" y="2381"/>
                  <a:pt x="409" y="2381"/>
                  <a:pt x="409" y="2381"/>
                </a:cubicBezTo>
                <a:close/>
                <a:moveTo>
                  <a:pt x="449" y="2365"/>
                </a:moveTo>
                <a:cubicBezTo>
                  <a:pt x="449" y="2365"/>
                  <a:pt x="449" y="2365"/>
                  <a:pt x="449" y="2365"/>
                </a:cubicBezTo>
                <a:cubicBezTo>
                  <a:pt x="431" y="2344"/>
                  <a:pt x="417" y="2343"/>
                  <a:pt x="401" y="2361"/>
                </a:cubicBezTo>
                <a:cubicBezTo>
                  <a:pt x="396" y="2363"/>
                  <a:pt x="393" y="2358"/>
                  <a:pt x="389" y="2356"/>
                </a:cubicBezTo>
                <a:cubicBezTo>
                  <a:pt x="388" y="2354"/>
                  <a:pt x="388" y="2351"/>
                  <a:pt x="388" y="2349"/>
                </a:cubicBezTo>
                <a:cubicBezTo>
                  <a:pt x="379" y="2350"/>
                  <a:pt x="369" y="2351"/>
                  <a:pt x="360" y="2352"/>
                </a:cubicBezTo>
                <a:cubicBezTo>
                  <a:pt x="355" y="2357"/>
                  <a:pt x="350" y="2363"/>
                  <a:pt x="341" y="2360"/>
                </a:cubicBezTo>
                <a:cubicBezTo>
                  <a:pt x="342" y="2353"/>
                  <a:pt x="344" y="2346"/>
                  <a:pt x="345" y="2339"/>
                </a:cubicBezTo>
                <a:cubicBezTo>
                  <a:pt x="342" y="2335"/>
                  <a:pt x="341" y="2331"/>
                  <a:pt x="341" y="2327"/>
                </a:cubicBezTo>
                <a:cubicBezTo>
                  <a:pt x="341" y="2331"/>
                  <a:pt x="342" y="2335"/>
                  <a:pt x="345" y="2339"/>
                </a:cubicBezTo>
                <a:cubicBezTo>
                  <a:pt x="347" y="2339"/>
                  <a:pt x="350" y="2339"/>
                  <a:pt x="352" y="2339"/>
                </a:cubicBezTo>
                <a:cubicBezTo>
                  <a:pt x="354" y="2338"/>
                  <a:pt x="356" y="2337"/>
                  <a:pt x="357" y="2337"/>
                </a:cubicBezTo>
                <a:cubicBezTo>
                  <a:pt x="356" y="2337"/>
                  <a:pt x="354" y="2338"/>
                  <a:pt x="352" y="2339"/>
                </a:cubicBezTo>
                <a:cubicBezTo>
                  <a:pt x="355" y="2340"/>
                  <a:pt x="357" y="2341"/>
                  <a:pt x="360" y="2341"/>
                </a:cubicBezTo>
                <a:cubicBezTo>
                  <a:pt x="360" y="2344"/>
                  <a:pt x="361" y="2346"/>
                  <a:pt x="361" y="2348"/>
                </a:cubicBezTo>
                <a:cubicBezTo>
                  <a:pt x="361" y="2350"/>
                  <a:pt x="361" y="2351"/>
                  <a:pt x="360" y="2352"/>
                </a:cubicBezTo>
                <a:cubicBezTo>
                  <a:pt x="369" y="2351"/>
                  <a:pt x="379" y="2350"/>
                  <a:pt x="388" y="2349"/>
                </a:cubicBezTo>
                <a:cubicBezTo>
                  <a:pt x="396" y="2346"/>
                  <a:pt x="398" y="2340"/>
                  <a:pt x="398" y="2332"/>
                </a:cubicBezTo>
                <a:cubicBezTo>
                  <a:pt x="408" y="2331"/>
                  <a:pt x="407" y="2346"/>
                  <a:pt x="417" y="2345"/>
                </a:cubicBezTo>
                <a:cubicBezTo>
                  <a:pt x="427" y="2346"/>
                  <a:pt x="438" y="2344"/>
                  <a:pt x="448" y="2347"/>
                </a:cubicBezTo>
                <a:cubicBezTo>
                  <a:pt x="453" y="2349"/>
                  <a:pt x="460" y="2346"/>
                  <a:pt x="460" y="2354"/>
                </a:cubicBezTo>
                <a:cubicBezTo>
                  <a:pt x="460" y="2360"/>
                  <a:pt x="457" y="2366"/>
                  <a:pt x="449" y="2365"/>
                </a:cubicBezTo>
                <a:close/>
                <a:moveTo>
                  <a:pt x="458" y="2388"/>
                </a:moveTo>
                <a:cubicBezTo>
                  <a:pt x="474" y="2388"/>
                  <a:pt x="489" y="2388"/>
                  <a:pt x="504" y="2388"/>
                </a:cubicBezTo>
                <a:cubicBezTo>
                  <a:pt x="504" y="2388"/>
                  <a:pt x="504" y="2388"/>
                  <a:pt x="504" y="2388"/>
                </a:cubicBezTo>
                <a:cubicBezTo>
                  <a:pt x="489" y="2388"/>
                  <a:pt x="474" y="2388"/>
                  <a:pt x="458" y="2388"/>
                </a:cubicBezTo>
                <a:close/>
                <a:moveTo>
                  <a:pt x="513" y="2377"/>
                </a:moveTo>
                <a:cubicBezTo>
                  <a:pt x="509" y="2378"/>
                  <a:pt x="504" y="2376"/>
                  <a:pt x="500" y="2377"/>
                </a:cubicBezTo>
                <a:cubicBezTo>
                  <a:pt x="504" y="2376"/>
                  <a:pt x="509" y="2378"/>
                  <a:pt x="513" y="2377"/>
                </a:cubicBezTo>
                <a:cubicBezTo>
                  <a:pt x="513" y="2376"/>
                  <a:pt x="513" y="2376"/>
                  <a:pt x="513" y="2375"/>
                </a:cubicBezTo>
                <a:cubicBezTo>
                  <a:pt x="513" y="2376"/>
                  <a:pt x="513" y="2376"/>
                  <a:pt x="513" y="2377"/>
                </a:cubicBezTo>
                <a:close/>
                <a:moveTo>
                  <a:pt x="519" y="2371"/>
                </a:moveTo>
                <a:cubicBezTo>
                  <a:pt x="522" y="2368"/>
                  <a:pt x="529" y="2367"/>
                  <a:pt x="530" y="2362"/>
                </a:cubicBezTo>
                <a:cubicBezTo>
                  <a:pt x="534" y="2361"/>
                  <a:pt x="539" y="2357"/>
                  <a:pt x="544" y="2356"/>
                </a:cubicBezTo>
                <a:cubicBezTo>
                  <a:pt x="539" y="2357"/>
                  <a:pt x="534" y="2361"/>
                  <a:pt x="530" y="2362"/>
                </a:cubicBezTo>
                <a:cubicBezTo>
                  <a:pt x="529" y="2367"/>
                  <a:pt x="522" y="2368"/>
                  <a:pt x="519" y="2371"/>
                </a:cubicBezTo>
                <a:close/>
                <a:moveTo>
                  <a:pt x="571" y="2373"/>
                </a:moveTo>
                <a:cubicBezTo>
                  <a:pt x="569" y="2374"/>
                  <a:pt x="567" y="2375"/>
                  <a:pt x="565" y="2376"/>
                </a:cubicBezTo>
                <a:cubicBezTo>
                  <a:pt x="568" y="2378"/>
                  <a:pt x="570" y="2381"/>
                  <a:pt x="573" y="2384"/>
                </a:cubicBezTo>
                <a:cubicBezTo>
                  <a:pt x="570" y="2385"/>
                  <a:pt x="568" y="2387"/>
                  <a:pt x="568" y="2390"/>
                </a:cubicBezTo>
                <a:cubicBezTo>
                  <a:pt x="568" y="2391"/>
                  <a:pt x="568" y="2391"/>
                  <a:pt x="568" y="2391"/>
                </a:cubicBezTo>
                <a:cubicBezTo>
                  <a:pt x="568" y="2391"/>
                  <a:pt x="568" y="2392"/>
                  <a:pt x="569" y="2392"/>
                </a:cubicBezTo>
                <a:cubicBezTo>
                  <a:pt x="568" y="2392"/>
                  <a:pt x="568" y="2391"/>
                  <a:pt x="568" y="2391"/>
                </a:cubicBezTo>
                <a:cubicBezTo>
                  <a:pt x="564" y="2390"/>
                  <a:pt x="562" y="2388"/>
                  <a:pt x="561" y="2384"/>
                </a:cubicBezTo>
                <a:cubicBezTo>
                  <a:pt x="550" y="2384"/>
                  <a:pt x="539" y="2390"/>
                  <a:pt x="529" y="2381"/>
                </a:cubicBezTo>
                <a:cubicBezTo>
                  <a:pt x="536" y="2374"/>
                  <a:pt x="544" y="2371"/>
                  <a:pt x="553" y="2369"/>
                </a:cubicBezTo>
                <a:cubicBezTo>
                  <a:pt x="557" y="2368"/>
                  <a:pt x="561" y="2368"/>
                  <a:pt x="565" y="2368"/>
                </a:cubicBezTo>
                <a:cubicBezTo>
                  <a:pt x="568" y="2368"/>
                  <a:pt x="570" y="2368"/>
                  <a:pt x="573" y="2369"/>
                </a:cubicBezTo>
                <a:cubicBezTo>
                  <a:pt x="577" y="2369"/>
                  <a:pt x="581" y="2369"/>
                  <a:pt x="585" y="2369"/>
                </a:cubicBezTo>
                <a:cubicBezTo>
                  <a:pt x="583" y="2381"/>
                  <a:pt x="579" y="2383"/>
                  <a:pt x="571" y="2373"/>
                </a:cubicBezTo>
                <a:close/>
                <a:moveTo>
                  <a:pt x="596" y="2393"/>
                </a:moveTo>
                <a:cubicBezTo>
                  <a:pt x="596" y="2393"/>
                  <a:pt x="596" y="2393"/>
                  <a:pt x="596" y="2393"/>
                </a:cubicBezTo>
                <a:cubicBezTo>
                  <a:pt x="596" y="2392"/>
                  <a:pt x="596" y="2391"/>
                  <a:pt x="597" y="2390"/>
                </a:cubicBezTo>
                <a:cubicBezTo>
                  <a:pt x="596" y="2391"/>
                  <a:pt x="596" y="2392"/>
                  <a:pt x="596" y="2393"/>
                </a:cubicBezTo>
                <a:close/>
                <a:moveTo>
                  <a:pt x="586" y="2370"/>
                </a:moveTo>
                <a:cubicBezTo>
                  <a:pt x="594" y="2372"/>
                  <a:pt x="608" y="2361"/>
                  <a:pt x="609" y="2377"/>
                </a:cubicBezTo>
                <a:cubicBezTo>
                  <a:pt x="608" y="2361"/>
                  <a:pt x="594" y="2372"/>
                  <a:pt x="586" y="2370"/>
                </a:cubicBezTo>
                <a:close/>
                <a:moveTo>
                  <a:pt x="654" y="2387"/>
                </a:moveTo>
                <a:cubicBezTo>
                  <a:pt x="652" y="2387"/>
                  <a:pt x="650" y="2387"/>
                  <a:pt x="648" y="2386"/>
                </a:cubicBezTo>
                <a:cubicBezTo>
                  <a:pt x="635" y="2386"/>
                  <a:pt x="622" y="2386"/>
                  <a:pt x="609" y="2386"/>
                </a:cubicBezTo>
                <a:cubicBezTo>
                  <a:pt x="609" y="2384"/>
                  <a:pt x="609" y="2382"/>
                  <a:pt x="609" y="2381"/>
                </a:cubicBezTo>
                <a:cubicBezTo>
                  <a:pt x="617" y="2376"/>
                  <a:pt x="621" y="2365"/>
                  <a:pt x="633" y="2369"/>
                </a:cubicBezTo>
                <a:cubicBezTo>
                  <a:pt x="640" y="2375"/>
                  <a:pt x="649" y="2371"/>
                  <a:pt x="657" y="2372"/>
                </a:cubicBezTo>
                <a:cubicBezTo>
                  <a:pt x="665" y="2373"/>
                  <a:pt x="670" y="2376"/>
                  <a:pt x="674" y="2382"/>
                </a:cubicBezTo>
                <a:cubicBezTo>
                  <a:pt x="669" y="2384"/>
                  <a:pt x="665" y="2386"/>
                  <a:pt x="660" y="2387"/>
                </a:cubicBezTo>
                <a:cubicBezTo>
                  <a:pt x="658" y="2387"/>
                  <a:pt x="656" y="2387"/>
                  <a:pt x="654" y="2387"/>
                </a:cubicBezTo>
                <a:close/>
                <a:moveTo>
                  <a:pt x="672" y="2395"/>
                </a:moveTo>
                <a:cubicBezTo>
                  <a:pt x="671" y="2396"/>
                  <a:pt x="670" y="2399"/>
                  <a:pt x="669" y="2399"/>
                </a:cubicBezTo>
                <a:cubicBezTo>
                  <a:pt x="670" y="2399"/>
                  <a:pt x="671" y="2396"/>
                  <a:pt x="672" y="2395"/>
                </a:cubicBezTo>
                <a:cubicBezTo>
                  <a:pt x="675" y="2395"/>
                  <a:pt x="678" y="2396"/>
                  <a:pt x="682" y="2396"/>
                </a:cubicBezTo>
                <a:cubicBezTo>
                  <a:pt x="678" y="2396"/>
                  <a:pt x="675" y="2395"/>
                  <a:pt x="672" y="2395"/>
                </a:cubicBezTo>
                <a:close/>
                <a:moveTo>
                  <a:pt x="686" y="2401"/>
                </a:moveTo>
                <a:cubicBezTo>
                  <a:pt x="689" y="2402"/>
                  <a:pt x="691" y="2401"/>
                  <a:pt x="694" y="2396"/>
                </a:cubicBezTo>
                <a:cubicBezTo>
                  <a:pt x="693" y="2393"/>
                  <a:pt x="692" y="2390"/>
                  <a:pt x="691" y="2387"/>
                </a:cubicBezTo>
                <a:cubicBezTo>
                  <a:pt x="692" y="2390"/>
                  <a:pt x="693" y="2393"/>
                  <a:pt x="694" y="2396"/>
                </a:cubicBezTo>
                <a:cubicBezTo>
                  <a:pt x="691" y="2401"/>
                  <a:pt x="689" y="2402"/>
                  <a:pt x="686" y="2401"/>
                </a:cubicBezTo>
                <a:close/>
                <a:moveTo>
                  <a:pt x="710" y="2378"/>
                </a:moveTo>
                <a:cubicBezTo>
                  <a:pt x="708" y="2364"/>
                  <a:pt x="699" y="2369"/>
                  <a:pt x="689" y="2373"/>
                </a:cubicBezTo>
                <a:cubicBezTo>
                  <a:pt x="698" y="2342"/>
                  <a:pt x="715" y="2366"/>
                  <a:pt x="732" y="2358"/>
                </a:cubicBezTo>
                <a:cubicBezTo>
                  <a:pt x="724" y="2370"/>
                  <a:pt x="719" y="2376"/>
                  <a:pt x="710" y="2378"/>
                </a:cubicBezTo>
                <a:close/>
                <a:moveTo>
                  <a:pt x="734" y="2360"/>
                </a:moveTo>
                <a:cubicBezTo>
                  <a:pt x="734" y="2358"/>
                  <a:pt x="734" y="2358"/>
                  <a:pt x="734" y="2358"/>
                </a:cubicBezTo>
                <a:cubicBezTo>
                  <a:pt x="735" y="2359"/>
                  <a:pt x="735" y="2359"/>
                  <a:pt x="735" y="2359"/>
                </a:cubicBezTo>
                <a:lnTo>
                  <a:pt x="734" y="2360"/>
                </a:lnTo>
                <a:close/>
                <a:moveTo>
                  <a:pt x="779" y="2381"/>
                </a:moveTo>
                <a:cubicBezTo>
                  <a:pt x="777" y="2380"/>
                  <a:pt x="777" y="2380"/>
                  <a:pt x="777" y="2380"/>
                </a:cubicBezTo>
                <a:cubicBezTo>
                  <a:pt x="778" y="2378"/>
                  <a:pt x="780" y="2378"/>
                  <a:pt x="781" y="2380"/>
                </a:cubicBezTo>
                <a:lnTo>
                  <a:pt x="779" y="2381"/>
                </a:lnTo>
                <a:close/>
                <a:moveTo>
                  <a:pt x="863" y="2349"/>
                </a:moveTo>
                <a:cubicBezTo>
                  <a:pt x="863" y="2349"/>
                  <a:pt x="863" y="2349"/>
                  <a:pt x="863" y="2349"/>
                </a:cubicBezTo>
                <a:cubicBezTo>
                  <a:pt x="874" y="2348"/>
                  <a:pt x="876" y="2353"/>
                  <a:pt x="876" y="2358"/>
                </a:cubicBezTo>
                <a:cubicBezTo>
                  <a:pt x="876" y="2353"/>
                  <a:pt x="874" y="2348"/>
                  <a:pt x="863" y="2349"/>
                </a:cubicBezTo>
                <a:close/>
                <a:moveTo>
                  <a:pt x="1061" y="2353"/>
                </a:moveTo>
                <a:cubicBezTo>
                  <a:pt x="1061" y="2353"/>
                  <a:pt x="1061" y="2353"/>
                  <a:pt x="1061" y="2353"/>
                </a:cubicBezTo>
                <a:cubicBezTo>
                  <a:pt x="1061" y="2353"/>
                  <a:pt x="1061" y="2353"/>
                  <a:pt x="1061" y="2353"/>
                </a:cubicBezTo>
                <a:cubicBezTo>
                  <a:pt x="1059" y="2354"/>
                  <a:pt x="1058" y="2355"/>
                  <a:pt x="1057" y="2357"/>
                </a:cubicBezTo>
                <a:cubicBezTo>
                  <a:pt x="1057" y="2357"/>
                  <a:pt x="1057" y="2357"/>
                  <a:pt x="1057" y="2357"/>
                </a:cubicBezTo>
                <a:cubicBezTo>
                  <a:pt x="1058" y="2355"/>
                  <a:pt x="1060" y="2354"/>
                  <a:pt x="1061" y="2353"/>
                </a:cubicBezTo>
                <a:cubicBezTo>
                  <a:pt x="1061" y="2353"/>
                  <a:pt x="1061" y="2353"/>
                  <a:pt x="1061" y="2353"/>
                </a:cubicBezTo>
                <a:close/>
                <a:moveTo>
                  <a:pt x="1005" y="2261"/>
                </a:moveTo>
                <a:cubicBezTo>
                  <a:pt x="1007" y="2258"/>
                  <a:pt x="1011" y="2254"/>
                  <a:pt x="1013" y="2250"/>
                </a:cubicBezTo>
                <a:cubicBezTo>
                  <a:pt x="1011" y="2254"/>
                  <a:pt x="1007" y="2258"/>
                  <a:pt x="1005" y="2261"/>
                </a:cubicBezTo>
                <a:close/>
                <a:moveTo>
                  <a:pt x="964" y="2273"/>
                </a:moveTo>
                <a:cubicBezTo>
                  <a:pt x="967" y="2268"/>
                  <a:pt x="970" y="2266"/>
                  <a:pt x="974" y="2265"/>
                </a:cubicBezTo>
                <a:cubicBezTo>
                  <a:pt x="970" y="2266"/>
                  <a:pt x="967" y="2268"/>
                  <a:pt x="964" y="2273"/>
                </a:cubicBezTo>
                <a:close/>
                <a:moveTo>
                  <a:pt x="960" y="2358"/>
                </a:moveTo>
                <a:cubicBezTo>
                  <a:pt x="958" y="2357"/>
                  <a:pt x="955" y="2357"/>
                  <a:pt x="953" y="2356"/>
                </a:cubicBezTo>
                <a:cubicBezTo>
                  <a:pt x="953" y="2359"/>
                  <a:pt x="953" y="2362"/>
                  <a:pt x="952" y="2365"/>
                </a:cubicBezTo>
                <a:cubicBezTo>
                  <a:pt x="952" y="2368"/>
                  <a:pt x="951" y="2370"/>
                  <a:pt x="949" y="2372"/>
                </a:cubicBezTo>
                <a:cubicBezTo>
                  <a:pt x="951" y="2370"/>
                  <a:pt x="952" y="2368"/>
                  <a:pt x="952" y="2365"/>
                </a:cubicBezTo>
                <a:cubicBezTo>
                  <a:pt x="953" y="2362"/>
                  <a:pt x="953" y="2359"/>
                  <a:pt x="953" y="2356"/>
                </a:cubicBezTo>
                <a:cubicBezTo>
                  <a:pt x="949" y="2352"/>
                  <a:pt x="947" y="2353"/>
                  <a:pt x="946" y="2356"/>
                </a:cubicBezTo>
                <a:cubicBezTo>
                  <a:pt x="947" y="2353"/>
                  <a:pt x="949" y="2352"/>
                  <a:pt x="953" y="2356"/>
                </a:cubicBezTo>
                <a:cubicBezTo>
                  <a:pt x="955" y="2357"/>
                  <a:pt x="958" y="2357"/>
                  <a:pt x="960" y="2358"/>
                </a:cubicBezTo>
                <a:close/>
                <a:moveTo>
                  <a:pt x="949" y="2308"/>
                </a:moveTo>
                <a:cubicBezTo>
                  <a:pt x="950" y="2308"/>
                  <a:pt x="951" y="2308"/>
                  <a:pt x="952" y="2308"/>
                </a:cubicBezTo>
                <a:cubicBezTo>
                  <a:pt x="951" y="2308"/>
                  <a:pt x="950" y="2308"/>
                  <a:pt x="949" y="2308"/>
                </a:cubicBezTo>
                <a:cubicBezTo>
                  <a:pt x="946" y="2306"/>
                  <a:pt x="943" y="2306"/>
                  <a:pt x="940" y="2306"/>
                </a:cubicBezTo>
                <a:cubicBezTo>
                  <a:pt x="943" y="2306"/>
                  <a:pt x="946" y="2306"/>
                  <a:pt x="949" y="2308"/>
                </a:cubicBezTo>
                <a:close/>
                <a:moveTo>
                  <a:pt x="941" y="2281"/>
                </a:moveTo>
                <a:cubicBezTo>
                  <a:pt x="941" y="2281"/>
                  <a:pt x="941" y="2281"/>
                  <a:pt x="941" y="2281"/>
                </a:cubicBezTo>
                <a:cubicBezTo>
                  <a:pt x="938" y="2282"/>
                  <a:pt x="934" y="2282"/>
                  <a:pt x="931" y="2283"/>
                </a:cubicBezTo>
                <a:cubicBezTo>
                  <a:pt x="934" y="2282"/>
                  <a:pt x="938" y="2282"/>
                  <a:pt x="941" y="2281"/>
                </a:cubicBezTo>
                <a:close/>
                <a:moveTo>
                  <a:pt x="960" y="2453"/>
                </a:moveTo>
                <a:cubicBezTo>
                  <a:pt x="950" y="2456"/>
                  <a:pt x="940" y="2457"/>
                  <a:pt x="930" y="2457"/>
                </a:cubicBezTo>
                <a:cubicBezTo>
                  <a:pt x="940" y="2457"/>
                  <a:pt x="950" y="2456"/>
                  <a:pt x="960" y="2453"/>
                </a:cubicBezTo>
                <a:cubicBezTo>
                  <a:pt x="963" y="2445"/>
                  <a:pt x="968" y="2439"/>
                  <a:pt x="973" y="2433"/>
                </a:cubicBezTo>
                <a:cubicBezTo>
                  <a:pt x="968" y="2439"/>
                  <a:pt x="963" y="2445"/>
                  <a:pt x="960" y="2453"/>
                </a:cubicBezTo>
                <a:close/>
                <a:moveTo>
                  <a:pt x="977" y="2363"/>
                </a:moveTo>
                <a:cubicBezTo>
                  <a:pt x="974" y="2355"/>
                  <a:pt x="969" y="2356"/>
                  <a:pt x="963" y="2358"/>
                </a:cubicBezTo>
                <a:cubicBezTo>
                  <a:pt x="969" y="2356"/>
                  <a:pt x="974" y="2355"/>
                  <a:pt x="977" y="2363"/>
                </a:cubicBezTo>
                <a:cubicBezTo>
                  <a:pt x="979" y="2364"/>
                  <a:pt x="981" y="2364"/>
                  <a:pt x="983" y="2364"/>
                </a:cubicBezTo>
                <a:cubicBezTo>
                  <a:pt x="981" y="2364"/>
                  <a:pt x="979" y="2364"/>
                  <a:pt x="977" y="2363"/>
                </a:cubicBezTo>
                <a:close/>
                <a:moveTo>
                  <a:pt x="985" y="2365"/>
                </a:moveTo>
                <a:cubicBezTo>
                  <a:pt x="985" y="2364"/>
                  <a:pt x="985" y="2364"/>
                  <a:pt x="985" y="2364"/>
                </a:cubicBezTo>
                <a:cubicBezTo>
                  <a:pt x="985" y="2364"/>
                  <a:pt x="985" y="2364"/>
                  <a:pt x="985" y="2365"/>
                </a:cubicBezTo>
                <a:close/>
                <a:moveTo>
                  <a:pt x="985" y="2365"/>
                </a:moveTo>
                <a:cubicBezTo>
                  <a:pt x="985" y="2367"/>
                  <a:pt x="985" y="2370"/>
                  <a:pt x="985" y="2372"/>
                </a:cubicBezTo>
                <a:cubicBezTo>
                  <a:pt x="985" y="2370"/>
                  <a:pt x="985" y="2367"/>
                  <a:pt x="985" y="2365"/>
                </a:cubicBezTo>
                <a:close/>
                <a:moveTo>
                  <a:pt x="977" y="2315"/>
                </a:moveTo>
                <a:cubicBezTo>
                  <a:pt x="982" y="2314"/>
                  <a:pt x="988" y="2311"/>
                  <a:pt x="992" y="2312"/>
                </a:cubicBezTo>
                <a:cubicBezTo>
                  <a:pt x="988" y="2311"/>
                  <a:pt x="982" y="2314"/>
                  <a:pt x="977" y="2315"/>
                </a:cubicBezTo>
                <a:close/>
                <a:moveTo>
                  <a:pt x="993" y="2393"/>
                </a:moveTo>
                <a:cubicBezTo>
                  <a:pt x="993" y="2393"/>
                  <a:pt x="993" y="2393"/>
                  <a:pt x="993" y="2393"/>
                </a:cubicBezTo>
                <a:cubicBezTo>
                  <a:pt x="994" y="2389"/>
                  <a:pt x="995" y="2385"/>
                  <a:pt x="997" y="2381"/>
                </a:cubicBezTo>
                <a:cubicBezTo>
                  <a:pt x="995" y="2385"/>
                  <a:pt x="994" y="2389"/>
                  <a:pt x="993" y="2393"/>
                </a:cubicBezTo>
                <a:close/>
                <a:moveTo>
                  <a:pt x="996" y="2313"/>
                </a:moveTo>
                <a:cubicBezTo>
                  <a:pt x="996" y="2313"/>
                  <a:pt x="996" y="2313"/>
                  <a:pt x="996" y="2313"/>
                </a:cubicBezTo>
                <a:cubicBezTo>
                  <a:pt x="997" y="2310"/>
                  <a:pt x="998" y="2308"/>
                  <a:pt x="999" y="2306"/>
                </a:cubicBezTo>
                <a:cubicBezTo>
                  <a:pt x="998" y="2308"/>
                  <a:pt x="997" y="2310"/>
                  <a:pt x="996" y="2313"/>
                </a:cubicBezTo>
                <a:close/>
                <a:moveTo>
                  <a:pt x="1003" y="2377"/>
                </a:moveTo>
                <a:cubicBezTo>
                  <a:pt x="1007" y="2373"/>
                  <a:pt x="1004" y="2365"/>
                  <a:pt x="1006" y="2360"/>
                </a:cubicBezTo>
                <a:cubicBezTo>
                  <a:pt x="1006" y="2360"/>
                  <a:pt x="1006" y="2360"/>
                  <a:pt x="1006" y="2360"/>
                </a:cubicBezTo>
                <a:cubicBezTo>
                  <a:pt x="1004" y="2365"/>
                  <a:pt x="1007" y="2373"/>
                  <a:pt x="1003" y="2377"/>
                </a:cubicBezTo>
                <a:close/>
                <a:moveTo>
                  <a:pt x="1017" y="2363"/>
                </a:moveTo>
                <a:cubicBezTo>
                  <a:pt x="1015" y="2363"/>
                  <a:pt x="1012" y="2362"/>
                  <a:pt x="1010" y="2361"/>
                </a:cubicBezTo>
                <a:cubicBezTo>
                  <a:pt x="1012" y="2362"/>
                  <a:pt x="1015" y="2363"/>
                  <a:pt x="1017" y="2363"/>
                </a:cubicBezTo>
                <a:cubicBezTo>
                  <a:pt x="1027" y="2366"/>
                  <a:pt x="1035" y="2365"/>
                  <a:pt x="1044" y="2362"/>
                </a:cubicBezTo>
                <a:cubicBezTo>
                  <a:pt x="1035" y="2365"/>
                  <a:pt x="1027" y="2366"/>
                  <a:pt x="1017" y="2363"/>
                </a:cubicBezTo>
                <a:close/>
                <a:moveTo>
                  <a:pt x="1036" y="2283"/>
                </a:moveTo>
                <a:cubicBezTo>
                  <a:pt x="1030" y="2282"/>
                  <a:pt x="1023" y="2281"/>
                  <a:pt x="1017" y="2280"/>
                </a:cubicBezTo>
                <a:cubicBezTo>
                  <a:pt x="1023" y="2281"/>
                  <a:pt x="1030" y="2282"/>
                  <a:pt x="1036" y="2283"/>
                </a:cubicBezTo>
                <a:cubicBezTo>
                  <a:pt x="1043" y="2274"/>
                  <a:pt x="1050" y="2274"/>
                  <a:pt x="1057" y="2276"/>
                </a:cubicBezTo>
                <a:cubicBezTo>
                  <a:pt x="1050" y="2274"/>
                  <a:pt x="1043" y="2274"/>
                  <a:pt x="1036" y="2283"/>
                </a:cubicBezTo>
                <a:close/>
                <a:moveTo>
                  <a:pt x="1054" y="2388"/>
                </a:moveTo>
                <a:cubicBezTo>
                  <a:pt x="1054" y="2389"/>
                  <a:pt x="1053" y="2390"/>
                  <a:pt x="1053" y="2392"/>
                </a:cubicBezTo>
                <a:cubicBezTo>
                  <a:pt x="1053" y="2390"/>
                  <a:pt x="1054" y="2389"/>
                  <a:pt x="1054" y="2388"/>
                </a:cubicBezTo>
                <a:cubicBezTo>
                  <a:pt x="1055" y="2387"/>
                  <a:pt x="1056" y="2386"/>
                  <a:pt x="1057" y="2385"/>
                </a:cubicBezTo>
                <a:cubicBezTo>
                  <a:pt x="1063" y="2380"/>
                  <a:pt x="1060" y="2374"/>
                  <a:pt x="1059" y="2368"/>
                </a:cubicBezTo>
                <a:cubicBezTo>
                  <a:pt x="1064" y="2368"/>
                  <a:pt x="1068" y="2368"/>
                  <a:pt x="1073" y="2368"/>
                </a:cubicBezTo>
                <a:cubicBezTo>
                  <a:pt x="1077" y="2389"/>
                  <a:pt x="1077" y="2389"/>
                  <a:pt x="1054" y="2388"/>
                </a:cubicBezTo>
                <a:close/>
                <a:moveTo>
                  <a:pt x="1154" y="2295"/>
                </a:moveTo>
                <a:cubicBezTo>
                  <a:pt x="1153" y="2296"/>
                  <a:pt x="1152" y="2296"/>
                  <a:pt x="1151" y="2297"/>
                </a:cubicBezTo>
                <a:cubicBezTo>
                  <a:pt x="1151" y="2297"/>
                  <a:pt x="1151" y="2297"/>
                  <a:pt x="1151" y="2297"/>
                </a:cubicBezTo>
                <a:cubicBezTo>
                  <a:pt x="1152" y="2296"/>
                  <a:pt x="1153" y="2296"/>
                  <a:pt x="1154" y="2295"/>
                </a:cubicBezTo>
                <a:close/>
                <a:moveTo>
                  <a:pt x="1164" y="2300"/>
                </a:moveTo>
                <a:cubicBezTo>
                  <a:pt x="1164" y="2295"/>
                  <a:pt x="1167" y="2294"/>
                  <a:pt x="1171" y="2293"/>
                </a:cubicBezTo>
                <a:cubicBezTo>
                  <a:pt x="1167" y="2294"/>
                  <a:pt x="1164" y="2295"/>
                  <a:pt x="1164" y="2300"/>
                </a:cubicBezTo>
                <a:cubicBezTo>
                  <a:pt x="1156" y="2303"/>
                  <a:pt x="1149" y="2306"/>
                  <a:pt x="1142" y="2308"/>
                </a:cubicBezTo>
                <a:cubicBezTo>
                  <a:pt x="1149" y="2306"/>
                  <a:pt x="1156" y="2303"/>
                  <a:pt x="1164" y="2300"/>
                </a:cubicBezTo>
                <a:close/>
                <a:moveTo>
                  <a:pt x="1124" y="2310"/>
                </a:moveTo>
                <a:cubicBezTo>
                  <a:pt x="1122" y="2310"/>
                  <a:pt x="1119" y="2310"/>
                  <a:pt x="1117" y="2310"/>
                </a:cubicBezTo>
                <a:cubicBezTo>
                  <a:pt x="1119" y="2310"/>
                  <a:pt x="1122" y="2310"/>
                  <a:pt x="1124" y="2310"/>
                </a:cubicBezTo>
                <a:close/>
                <a:moveTo>
                  <a:pt x="1086" y="2329"/>
                </a:moveTo>
                <a:cubicBezTo>
                  <a:pt x="1088" y="2327"/>
                  <a:pt x="1091" y="2325"/>
                  <a:pt x="1093" y="2323"/>
                </a:cubicBezTo>
                <a:cubicBezTo>
                  <a:pt x="1091" y="2325"/>
                  <a:pt x="1088" y="2327"/>
                  <a:pt x="1086" y="2329"/>
                </a:cubicBezTo>
                <a:cubicBezTo>
                  <a:pt x="1086" y="2330"/>
                  <a:pt x="1085" y="2331"/>
                  <a:pt x="1084" y="2332"/>
                </a:cubicBezTo>
                <a:cubicBezTo>
                  <a:pt x="1085" y="2331"/>
                  <a:pt x="1086" y="2330"/>
                  <a:pt x="1086" y="2329"/>
                </a:cubicBezTo>
                <a:close/>
                <a:moveTo>
                  <a:pt x="1116" y="2370"/>
                </a:moveTo>
                <a:cubicBezTo>
                  <a:pt x="1110" y="2368"/>
                  <a:pt x="1109" y="2375"/>
                  <a:pt x="1105" y="2377"/>
                </a:cubicBezTo>
                <a:cubicBezTo>
                  <a:pt x="1104" y="2378"/>
                  <a:pt x="1103" y="2380"/>
                  <a:pt x="1102" y="2381"/>
                </a:cubicBezTo>
                <a:cubicBezTo>
                  <a:pt x="1098" y="2386"/>
                  <a:pt x="1095" y="2395"/>
                  <a:pt x="1085" y="2390"/>
                </a:cubicBezTo>
                <a:cubicBezTo>
                  <a:pt x="1087" y="2383"/>
                  <a:pt x="1088" y="2375"/>
                  <a:pt x="1089" y="2368"/>
                </a:cubicBezTo>
                <a:cubicBezTo>
                  <a:pt x="1093" y="2368"/>
                  <a:pt x="1097" y="2368"/>
                  <a:pt x="1101" y="2368"/>
                </a:cubicBezTo>
                <a:cubicBezTo>
                  <a:pt x="1101" y="2371"/>
                  <a:pt x="1102" y="2374"/>
                  <a:pt x="1102" y="2377"/>
                </a:cubicBezTo>
                <a:cubicBezTo>
                  <a:pt x="1101" y="2378"/>
                  <a:pt x="1101" y="2379"/>
                  <a:pt x="1102" y="2381"/>
                </a:cubicBezTo>
                <a:cubicBezTo>
                  <a:pt x="1103" y="2380"/>
                  <a:pt x="1104" y="2378"/>
                  <a:pt x="1105" y="2377"/>
                </a:cubicBezTo>
                <a:cubicBezTo>
                  <a:pt x="1109" y="2375"/>
                  <a:pt x="1110" y="2368"/>
                  <a:pt x="1116" y="2370"/>
                </a:cubicBezTo>
                <a:cubicBezTo>
                  <a:pt x="1122" y="2374"/>
                  <a:pt x="1124" y="2377"/>
                  <a:pt x="1124" y="2380"/>
                </a:cubicBezTo>
                <a:cubicBezTo>
                  <a:pt x="1124" y="2377"/>
                  <a:pt x="1122" y="2374"/>
                  <a:pt x="1116" y="2370"/>
                </a:cubicBezTo>
                <a:close/>
                <a:moveTo>
                  <a:pt x="1125" y="2343"/>
                </a:moveTo>
                <a:cubicBezTo>
                  <a:pt x="1127" y="2342"/>
                  <a:pt x="1130" y="2342"/>
                  <a:pt x="1133" y="2344"/>
                </a:cubicBezTo>
                <a:cubicBezTo>
                  <a:pt x="1139" y="2345"/>
                  <a:pt x="1145" y="2345"/>
                  <a:pt x="1150" y="2345"/>
                </a:cubicBezTo>
                <a:cubicBezTo>
                  <a:pt x="1145" y="2345"/>
                  <a:pt x="1139" y="2345"/>
                  <a:pt x="1133" y="2344"/>
                </a:cubicBezTo>
                <a:cubicBezTo>
                  <a:pt x="1130" y="2342"/>
                  <a:pt x="1127" y="2342"/>
                  <a:pt x="1125" y="2343"/>
                </a:cubicBezTo>
                <a:close/>
                <a:moveTo>
                  <a:pt x="1137" y="2401"/>
                </a:moveTo>
                <a:cubicBezTo>
                  <a:pt x="1134" y="2401"/>
                  <a:pt x="1131" y="2400"/>
                  <a:pt x="1129" y="2400"/>
                </a:cubicBezTo>
                <a:cubicBezTo>
                  <a:pt x="1131" y="2400"/>
                  <a:pt x="1134" y="2401"/>
                  <a:pt x="1137" y="2401"/>
                </a:cubicBezTo>
                <a:cubicBezTo>
                  <a:pt x="1137" y="2405"/>
                  <a:pt x="1137" y="2409"/>
                  <a:pt x="1137" y="2413"/>
                </a:cubicBezTo>
                <a:cubicBezTo>
                  <a:pt x="1137" y="2409"/>
                  <a:pt x="1137" y="2405"/>
                  <a:pt x="1137" y="2401"/>
                </a:cubicBezTo>
                <a:close/>
                <a:moveTo>
                  <a:pt x="1144" y="2402"/>
                </a:moveTo>
                <a:cubicBezTo>
                  <a:pt x="1144" y="2399"/>
                  <a:pt x="1146" y="2396"/>
                  <a:pt x="1153" y="2395"/>
                </a:cubicBezTo>
                <a:cubicBezTo>
                  <a:pt x="1153" y="2395"/>
                  <a:pt x="1153" y="2395"/>
                  <a:pt x="1153" y="2395"/>
                </a:cubicBezTo>
                <a:cubicBezTo>
                  <a:pt x="1146" y="2396"/>
                  <a:pt x="1144" y="2399"/>
                  <a:pt x="1144" y="2402"/>
                </a:cubicBezTo>
                <a:close/>
                <a:moveTo>
                  <a:pt x="1164" y="2456"/>
                </a:moveTo>
                <a:cubicBezTo>
                  <a:pt x="1157" y="2451"/>
                  <a:pt x="1154" y="2447"/>
                  <a:pt x="1157" y="2443"/>
                </a:cubicBezTo>
                <a:cubicBezTo>
                  <a:pt x="1154" y="2447"/>
                  <a:pt x="1157" y="2451"/>
                  <a:pt x="1164" y="2456"/>
                </a:cubicBezTo>
                <a:cubicBezTo>
                  <a:pt x="1168" y="2457"/>
                  <a:pt x="1171" y="2457"/>
                  <a:pt x="1173" y="2458"/>
                </a:cubicBezTo>
                <a:cubicBezTo>
                  <a:pt x="1171" y="2457"/>
                  <a:pt x="1168" y="2457"/>
                  <a:pt x="1164" y="2456"/>
                </a:cubicBezTo>
                <a:close/>
                <a:moveTo>
                  <a:pt x="1176" y="2291"/>
                </a:moveTo>
                <a:cubicBezTo>
                  <a:pt x="1175" y="2292"/>
                  <a:pt x="1174" y="2292"/>
                  <a:pt x="1173" y="2293"/>
                </a:cubicBezTo>
                <a:cubicBezTo>
                  <a:pt x="1174" y="2292"/>
                  <a:pt x="1175" y="2292"/>
                  <a:pt x="1176" y="2291"/>
                </a:cubicBezTo>
                <a:cubicBezTo>
                  <a:pt x="1179" y="2291"/>
                  <a:pt x="1182" y="2290"/>
                  <a:pt x="1185" y="2290"/>
                </a:cubicBezTo>
                <a:cubicBezTo>
                  <a:pt x="1182" y="2290"/>
                  <a:pt x="1179" y="2291"/>
                  <a:pt x="1176" y="2291"/>
                </a:cubicBezTo>
                <a:close/>
                <a:moveTo>
                  <a:pt x="1201" y="2432"/>
                </a:moveTo>
                <a:cubicBezTo>
                  <a:pt x="1201" y="2434"/>
                  <a:pt x="1201" y="2436"/>
                  <a:pt x="1201" y="2438"/>
                </a:cubicBezTo>
                <a:cubicBezTo>
                  <a:pt x="1201" y="2436"/>
                  <a:pt x="1201" y="2434"/>
                  <a:pt x="1201" y="2432"/>
                </a:cubicBezTo>
                <a:close/>
                <a:moveTo>
                  <a:pt x="1233" y="2424"/>
                </a:moveTo>
                <a:cubicBezTo>
                  <a:pt x="1223" y="2424"/>
                  <a:pt x="1214" y="2426"/>
                  <a:pt x="1205" y="2430"/>
                </a:cubicBezTo>
                <a:cubicBezTo>
                  <a:pt x="1214" y="2426"/>
                  <a:pt x="1223" y="2424"/>
                  <a:pt x="1233" y="2424"/>
                </a:cubicBezTo>
                <a:close/>
                <a:moveTo>
                  <a:pt x="1256" y="2419"/>
                </a:moveTo>
                <a:cubicBezTo>
                  <a:pt x="1257" y="2420"/>
                  <a:pt x="1257" y="2423"/>
                  <a:pt x="1258" y="2425"/>
                </a:cubicBezTo>
                <a:cubicBezTo>
                  <a:pt x="1257" y="2423"/>
                  <a:pt x="1257" y="2420"/>
                  <a:pt x="1256" y="2419"/>
                </a:cubicBezTo>
                <a:close/>
                <a:moveTo>
                  <a:pt x="1310" y="2421"/>
                </a:moveTo>
                <a:cubicBezTo>
                  <a:pt x="1307" y="2424"/>
                  <a:pt x="1306" y="2430"/>
                  <a:pt x="1303" y="2434"/>
                </a:cubicBezTo>
                <a:cubicBezTo>
                  <a:pt x="1306" y="2430"/>
                  <a:pt x="1307" y="2424"/>
                  <a:pt x="1310" y="2421"/>
                </a:cubicBezTo>
                <a:cubicBezTo>
                  <a:pt x="1319" y="2421"/>
                  <a:pt x="1322" y="2416"/>
                  <a:pt x="1324" y="2410"/>
                </a:cubicBezTo>
                <a:cubicBezTo>
                  <a:pt x="1322" y="2416"/>
                  <a:pt x="1319" y="2421"/>
                  <a:pt x="1310" y="2421"/>
                </a:cubicBezTo>
                <a:close/>
                <a:moveTo>
                  <a:pt x="1328" y="2228"/>
                </a:moveTo>
                <a:cubicBezTo>
                  <a:pt x="1338" y="2221"/>
                  <a:pt x="1338" y="2216"/>
                  <a:pt x="1334" y="2212"/>
                </a:cubicBezTo>
                <a:cubicBezTo>
                  <a:pt x="1334" y="2212"/>
                  <a:pt x="1333" y="2211"/>
                  <a:pt x="1333" y="2210"/>
                </a:cubicBezTo>
                <a:cubicBezTo>
                  <a:pt x="1333" y="2211"/>
                  <a:pt x="1334" y="2212"/>
                  <a:pt x="1334" y="2212"/>
                </a:cubicBezTo>
                <a:cubicBezTo>
                  <a:pt x="1338" y="2216"/>
                  <a:pt x="1338" y="2221"/>
                  <a:pt x="1328" y="2228"/>
                </a:cubicBezTo>
                <a:close/>
                <a:moveTo>
                  <a:pt x="4043" y="2349"/>
                </a:moveTo>
                <a:cubicBezTo>
                  <a:pt x="4042" y="2349"/>
                  <a:pt x="4041" y="2349"/>
                  <a:pt x="4041" y="2349"/>
                </a:cubicBezTo>
                <a:cubicBezTo>
                  <a:pt x="4041" y="2349"/>
                  <a:pt x="4041" y="2349"/>
                  <a:pt x="4041" y="2349"/>
                </a:cubicBezTo>
                <a:cubicBezTo>
                  <a:pt x="4041" y="2349"/>
                  <a:pt x="4041" y="2349"/>
                  <a:pt x="4041" y="2349"/>
                </a:cubicBezTo>
                <a:cubicBezTo>
                  <a:pt x="4041" y="2349"/>
                  <a:pt x="4042" y="2349"/>
                  <a:pt x="4043" y="2349"/>
                </a:cubicBezTo>
                <a:close/>
                <a:moveTo>
                  <a:pt x="4025" y="2396"/>
                </a:moveTo>
                <a:cubicBezTo>
                  <a:pt x="4042" y="2396"/>
                  <a:pt x="4059" y="2397"/>
                  <a:pt x="4076" y="2398"/>
                </a:cubicBezTo>
                <a:cubicBezTo>
                  <a:pt x="4057" y="2402"/>
                  <a:pt x="4039" y="2407"/>
                  <a:pt x="4020" y="2401"/>
                </a:cubicBezTo>
                <a:cubicBezTo>
                  <a:pt x="4010" y="2401"/>
                  <a:pt x="4000" y="2401"/>
                  <a:pt x="3989" y="2400"/>
                </a:cubicBezTo>
                <a:cubicBezTo>
                  <a:pt x="3989" y="2399"/>
                  <a:pt x="3989" y="2398"/>
                  <a:pt x="3989" y="2397"/>
                </a:cubicBezTo>
                <a:cubicBezTo>
                  <a:pt x="4001" y="2397"/>
                  <a:pt x="4013" y="2396"/>
                  <a:pt x="4025" y="2396"/>
                </a:cubicBezTo>
                <a:close/>
                <a:moveTo>
                  <a:pt x="4016" y="2205"/>
                </a:moveTo>
                <a:cubicBezTo>
                  <a:pt x="4012" y="2205"/>
                  <a:pt x="4009" y="2208"/>
                  <a:pt x="4009" y="2213"/>
                </a:cubicBezTo>
                <a:cubicBezTo>
                  <a:pt x="4009" y="2208"/>
                  <a:pt x="4012" y="2205"/>
                  <a:pt x="4016" y="2205"/>
                </a:cubicBezTo>
                <a:close/>
                <a:moveTo>
                  <a:pt x="4001" y="2184"/>
                </a:moveTo>
                <a:cubicBezTo>
                  <a:pt x="4002" y="2184"/>
                  <a:pt x="4002" y="2183"/>
                  <a:pt x="4003" y="2183"/>
                </a:cubicBezTo>
                <a:cubicBezTo>
                  <a:pt x="4002" y="2183"/>
                  <a:pt x="4002" y="2184"/>
                  <a:pt x="4001" y="2184"/>
                </a:cubicBezTo>
                <a:cubicBezTo>
                  <a:pt x="4001" y="2187"/>
                  <a:pt x="4001" y="2189"/>
                  <a:pt x="4000" y="2192"/>
                </a:cubicBezTo>
                <a:cubicBezTo>
                  <a:pt x="4001" y="2189"/>
                  <a:pt x="4001" y="2187"/>
                  <a:pt x="4001" y="2184"/>
                </a:cubicBezTo>
                <a:close/>
                <a:moveTo>
                  <a:pt x="4013" y="2256"/>
                </a:moveTo>
                <a:cubicBezTo>
                  <a:pt x="4016" y="2257"/>
                  <a:pt x="4018" y="2259"/>
                  <a:pt x="4020" y="2260"/>
                </a:cubicBezTo>
                <a:cubicBezTo>
                  <a:pt x="4018" y="2259"/>
                  <a:pt x="4016" y="2257"/>
                  <a:pt x="4013" y="2256"/>
                </a:cubicBezTo>
                <a:cubicBezTo>
                  <a:pt x="4009" y="2251"/>
                  <a:pt x="4003" y="2249"/>
                  <a:pt x="3998" y="2248"/>
                </a:cubicBezTo>
                <a:cubicBezTo>
                  <a:pt x="4003" y="2249"/>
                  <a:pt x="4009" y="2251"/>
                  <a:pt x="4013" y="2256"/>
                </a:cubicBezTo>
                <a:close/>
                <a:moveTo>
                  <a:pt x="3983" y="2199"/>
                </a:moveTo>
                <a:cubicBezTo>
                  <a:pt x="3983" y="2200"/>
                  <a:pt x="3984" y="2201"/>
                  <a:pt x="3984" y="2201"/>
                </a:cubicBezTo>
                <a:cubicBezTo>
                  <a:pt x="3984" y="2201"/>
                  <a:pt x="3983" y="2200"/>
                  <a:pt x="3983" y="2199"/>
                </a:cubicBezTo>
                <a:close/>
                <a:moveTo>
                  <a:pt x="3995" y="2263"/>
                </a:moveTo>
                <a:cubicBezTo>
                  <a:pt x="3988" y="2265"/>
                  <a:pt x="3982" y="2268"/>
                  <a:pt x="3975" y="2268"/>
                </a:cubicBezTo>
                <a:cubicBezTo>
                  <a:pt x="3982" y="2268"/>
                  <a:pt x="3988" y="2265"/>
                  <a:pt x="3995" y="2263"/>
                </a:cubicBezTo>
                <a:close/>
                <a:moveTo>
                  <a:pt x="3970" y="2139"/>
                </a:moveTo>
                <a:cubicBezTo>
                  <a:pt x="3970" y="2139"/>
                  <a:pt x="3970" y="2139"/>
                  <a:pt x="3970" y="2139"/>
                </a:cubicBezTo>
                <a:cubicBezTo>
                  <a:pt x="3969" y="2139"/>
                  <a:pt x="3969" y="2139"/>
                  <a:pt x="3968" y="2139"/>
                </a:cubicBezTo>
                <a:cubicBezTo>
                  <a:pt x="3969" y="2139"/>
                  <a:pt x="3969" y="2139"/>
                  <a:pt x="3970" y="2139"/>
                </a:cubicBezTo>
                <a:close/>
                <a:moveTo>
                  <a:pt x="3972" y="2192"/>
                </a:moveTo>
                <a:cubicBezTo>
                  <a:pt x="3972" y="2189"/>
                  <a:pt x="3973" y="2187"/>
                  <a:pt x="3973" y="2185"/>
                </a:cubicBezTo>
                <a:cubicBezTo>
                  <a:pt x="3973" y="2187"/>
                  <a:pt x="3972" y="2189"/>
                  <a:pt x="3972" y="2192"/>
                </a:cubicBezTo>
                <a:cubicBezTo>
                  <a:pt x="3971" y="2193"/>
                  <a:pt x="3969" y="2194"/>
                  <a:pt x="3968" y="2194"/>
                </a:cubicBezTo>
                <a:cubicBezTo>
                  <a:pt x="3969" y="2194"/>
                  <a:pt x="3971" y="2193"/>
                  <a:pt x="3972" y="2192"/>
                </a:cubicBezTo>
                <a:close/>
                <a:moveTo>
                  <a:pt x="3941" y="2156"/>
                </a:moveTo>
                <a:cubicBezTo>
                  <a:pt x="3947" y="2152"/>
                  <a:pt x="3955" y="2153"/>
                  <a:pt x="3962" y="2153"/>
                </a:cubicBezTo>
                <a:cubicBezTo>
                  <a:pt x="3955" y="2153"/>
                  <a:pt x="3947" y="2152"/>
                  <a:pt x="3941" y="2156"/>
                </a:cubicBezTo>
                <a:cubicBezTo>
                  <a:pt x="3940" y="2157"/>
                  <a:pt x="3940" y="2158"/>
                  <a:pt x="3940" y="2160"/>
                </a:cubicBezTo>
                <a:cubicBezTo>
                  <a:pt x="3940" y="2158"/>
                  <a:pt x="3940" y="2157"/>
                  <a:pt x="3941" y="2156"/>
                </a:cubicBezTo>
                <a:close/>
                <a:moveTo>
                  <a:pt x="3940" y="2162"/>
                </a:moveTo>
                <a:cubicBezTo>
                  <a:pt x="3940" y="2165"/>
                  <a:pt x="3940" y="2167"/>
                  <a:pt x="3937" y="2169"/>
                </a:cubicBezTo>
                <a:cubicBezTo>
                  <a:pt x="3937" y="2169"/>
                  <a:pt x="3937" y="2169"/>
                  <a:pt x="3937" y="2169"/>
                </a:cubicBezTo>
                <a:cubicBezTo>
                  <a:pt x="3940" y="2167"/>
                  <a:pt x="3940" y="2165"/>
                  <a:pt x="3940" y="2162"/>
                </a:cubicBezTo>
                <a:close/>
                <a:moveTo>
                  <a:pt x="3917" y="2145"/>
                </a:moveTo>
                <a:cubicBezTo>
                  <a:pt x="3921" y="2144"/>
                  <a:pt x="3926" y="2145"/>
                  <a:pt x="3930" y="2145"/>
                </a:cubicBezTo>
                <a:cubicBezTo>
                  <a:pt x="3926" y="2145"/>
                  <a:pt x="3921" y="2144"/>
                  <a:pt x="3917" y="2145"/>
                </a:cubicBezTo>
                <a:cubicBezTo>
                  <a:pt x="3917" y="2149"/>
                  <a:pt x="3917" y="2153"/>
                  <a:pt x="3917" y="2157"/>
                </a:cubicBezTo>
                <a:cubicBezTo>
                  <a:pt x="3917" y="2153"/>
                  <a:pt x="3917" y="2149"/>
                  <a:pt x="3917" y="2145"/>
                </a:cubicBezTo>
                <a:close/>
                <a:moveTo>
                  <a:pt x="3817" y="2477"/>
                </a:moveTo>
                <a:cubicBezTo>
                  <a:pt x="3814" y="2474"/>
                  <a:pt x="3811" y="2473"/>
                  <a:pt x="3808" y="2473"/>
                </a:cubicBezTo>
                <a:cubicBezTo>
                  <a:pt x="3811" y="2473"/>
                  <a:pt x="3814" y="2474"/>
                  <a:pt x="3817" y="2477"/>
                </a:cubicBezTo>
                <a:close/>
                <a:moveTo>
                  <a:pt x="3851" y="2367"/>
                </a:moveTo>
                <a:cubicBezTo>
                  <a:pt x="3853" y="2364"/>
                  <a:pt x="3859" y="2364"/>
                  <a:pt x="3861" y="2361"/>
                </a:cubicBezTo>
                <a:cubicBezTo>
                  <a:pt x="3859" y="2364"/>
                  <a:pt x="3853" y="2364"/>
                  <a:pt x="3851" y="2367"/>
                </a:cubicBezTo>
                <a:close/>
                <a:moveTo>
                  <a:pt x="3848" y="2288"/>
                </a:moveTo>
                <a:cubicBezTo>
                  <a:pt x="3848" y="2288"/>
                  <a:pt x="3848" y="2288"/>
                  <a:pt x="3848" y="2288"/>
                </a:cubicBezTo>
                <a:cubicBezTo>
                  <a:pt x="3850" y="2288"/>
                  <a:pt x="3851" y="2289"/>
                  <a:pt x="3853" y="2289"/>
                </a:cubicBezTo>
                <a:cubicBezTo>
                  <a:pt x="3851" y="2289"/>
                  <a:pt x="3850" y="2288"/>
                  <a:pt x="3848" y="2288"/>
                </a:cubicBezTo>
                <a:close/>
                <a:moveTo>
                  <a:pt x="3868" y="2172"/>
                </a:moveTo>
                <a:cubicBezTo>
                  <a:pt x="3860" y="2169"/>
                  <a:pt x="3852" y="2165"/>
                  <a:pt x="3843" y="2164"/>
                </a:cubicBezTo>
                <a:cubicBezTo>
                  <a:pt x="3852" y="2165"/>
                  <a:pt x="3860" y="2169"/>
                  <a:pt x="3868" y="2172"/>
                </a:cubicBezTo>
                <a:close/>
                <a:moveTo>
                  <a:pt x="3839" y="2154"/>
                </a:moveTo>
                <a:cubicBezTo>
                  <a:pt x="3835" y="2156"/>
                  <a:pt x="3832" y="2158"/>
                  <a:pt x="3837" y="2165"/>
                </a:cubicBezTo>
                <a:cubicBezTo>
                  <a:pt x="3837" y="2165"/>
                  <a:pt x="3837" y="2165"/>
                  <a:pt x="3837" y="2165"/>
                </a:cubicBezTo>
                <a:cubicBezTo>
                  <a:pt x="3832" y="2158"/>
                  <a:pt x="3835" y="2156"/>
                  <a:pt x="3839" y="2154"/>
                </a:cubicBezTo>
                <a:close/>
                <a:moveTo>
                  <a:pt x="3800" y="2099"/>
                </a:moveTo>
                <a:cubicBezTo>
                  <a:pt x="3802" y="2094"/>
                  <a:pt x="3806" y="2093"/>
                  <a:pt x="3811" y="2093"/>
                </a:cubicBezTo>
                <a:cubicBezTo>
                  <a:pt x="3822" y="2093"/>
                  <a:pt x="3820" y="2102"/>
                  <a:pt x="3821" y="2109"/>
                </a:cubicBezTo>
                <a:cubicBezTo>
                  <a:pt x="3817" y="2109"/>
                  <a:pt x="3813" y="2109"/>
                  <a:pt x="3809" y="2109"/>
                </a:cubicBezTo>
                <a:cubicBezTo>
                  <a:pt x="3804" y="2108"/>
                  <a:pt x="3798" y="2107"/>
                  <a:pt x="3800" y="2099"/>
                </a:cubicBezTo>
                <a:close/>
                <a:moveTo>
                  <a:pt x="3765" y="2205"/>
                </a:moveTo>
                <a:cubicBezTo>
                  <a:pt x="3765" y="2207"/>
                  <a:pt x="3765" y="2209"/>
                  <a:pt x="3765" y="2211"/>
                </a:cubicBezTo>
                <a:cubicBezTo>
                  <a:pt x="3765" y="2209"/>
                  <a:pt x="3765" y="2207"/>
                  <a:pt x="3765" y="2205"/>
                </a:cubicBezTo>
                <a:cubicBezTo>
                  <a:pt x="3768" y="2201"/>
                  <a:pt x="3770" y="2200"/>
                  <a:pt x="3772" y="2200"/>
                </a:cubicBezTo>
                <a:cubicBezTo>
                  <a:pt x="3770" y="2200"/>
                  <a:pt x="3768" y="2201"/>
                  <a:pt x="3765" y="2205"/>
                </a:cubicBezTo>
                <a:close/>
                <a:moveTo>
                  <a:pt x="3771" y="2188"/>
                </a:moveTo>
                <a:cubicBezTo>
                  <a:pt x="3773" y="2188"/>
                  <a:pt x="3775" y="2187"/>
                  <a:pt x="3778" y="2185"/>
                </a:cubicBezTo>
                <a:cubicBezTo>
                  <a:pt x="3778" y="2185"/>
                  <a:pt x="3778" y="2185"/>
                  <a:pt x="3778" y="2185"/>
                </a:cubicBezTo>
                <a:cubicBezTo>
                  <a:pt x="3775" y="2187"/>
                  <a:pt x="3773" y="2188"/>
                  <a:pt x="3771" y="2188"/>
                </a:cubicBezTo>
                <a:close/>
                <a:moveTo>
                  <a:pt x="3781" y="2137"/>
                </a:moveTo>
                <a:cubicBezTo>
                  <a:pt x="3780" y="2137"/>
                  <a:pt x="3779" y="2136"/>
                  <a:pt x="3777" y="2136"/>
                </a:cubicBezTo>
                <a:cubicBezTo>
                  <a:pt x="3773" y="2133"/>
                  <a:pt x="3770" y="2133"/>
                  <a:pt x="3768" y="2134"/>
                </a:cubicBezTo>
                <a:cubicBezTo>
                  <a:pt x="3770" y="2133"/>
                  <a:pt x="3773" y="2133"/>
                  <a:pt x="3777" y="2136"/>
                </a:cubicBezTo>
                <a:cubicBezTo>
                  <a:pt x="3779" y="2136"/>
                  <a:pt x="3780" y="2137"/>
                  <a:pt x="3781" y="2137"/>
                </a:cubicBezTo>
                <a:cubicBezTo>
                  <a:pt x="3782" y="2137"/>
                  <a:pt x="3783" y="2136"/>
                  <a:pt x="3784" y="2136"/>
                </a:cubicBezTo>
                <a:cubicBezTo>
                  <a:pt x="3785" y="2132"/>
                  <a:pt x="3787" y="2130"/>
                  <a:pt x="3789" y="2128"/>
                </a:cubicBezTo>
                <a:cubicBezTo>
                  <a:pt x="3787" y="2130"/>
                  <a:pt x="3785" y="2132"/>
                  <a:pt x="3784" y="2136"/>
                </a:cubicBezTo>
                <a:cubicBezTo>
                  <a:pt x="3783" y="2136"/>
                  <a:pt x="3782" y="2137"/>
                  <a:pt x="3781" y="2137"/>
                </a:cubicBezTo>
                <a:close/>
                <a:moveTo>
                  <a:pt x="3785" y="2205"/>
                </a:moveTo>
                <a:cubicBezTo>
                  <a:pt x="3790" y="2203"/>
                  <a:pt x="3796" y="2202"/>
                  <a:pt x="3801" y="2200"/>
                </a:cubicBezTo>
                <a:cubicBezTo>
                  <a:pt x="3801" y="2196"/>
                  <a:pt x="3801" y="2192"/>
                  <a:pt x="3801" y="2188"/>
                </a:cubicBezTo>
                <a:cubicBezTo>
                  <a:pt x="3809" y="2180"/>
                  <a:pt x="3817" y="2187"/>
                  <a:pt x="3825" y="2188"/>
                </a:cubicBezTo>
                <a:cubicBezTo>
                  <a:pt x="3827" y="2196"/>
                  <a:pt x="3839" y="2191"/>
                  <a:pt x="3841" y="2200"/>
                </a:cubicBezTo>
                <a:cubicBezTo>
                  <a:pt x="3837" y="2202"/>
                  <a:pt x="3833" y="2204"/>
                  <a:pt x="3829" y="2205"/>
                </a:cubicBezTo>
                <a:cubicBezTo>
                  <a:pt x="3820" y="2205"/>
                  <a:pt x="3810" y="2204"/>
                  <a:pt x="3801" y="2200"/>
                </a:cubicBezTo>
                <a:cubicBezTo>
                  <a:pt x="3796" y="2202"/>
                  <a:pt x="3790" y="2203"/>
                  <a:pt x="3785" y="2205"/>
                </a:cubicBezTo>
                <a:close/>
                <a:moveTo>
                  <a:pt x="3765" y="2477"/>
                </a:moveTo>
                <a:cubicBezTo>
                  <a:pt x="3768" y="2477"/>
                  <a:pt x="3771" y="2477"/>
                  <a:pt x="3775" y="2477"/>
                </a:cubicBezTo>
                <a:cubicBezTo>
                  <a:pt x="3771" y="2477"/>
                  <a:pt x="3768" y="2477"/>
                  <a:pt x="3765" y="2477"/>
                </a:cubicBezTo>
                <a:close/>
                <a:moveTo>
                  <a:pt x="3659" y="2390"/>
                </a:moveTo>
                <a:cubicBezTo>
                  <a:pt x="3670" y="2388"/>
                  <a:pt x="3681" y="2386"/>
                  <a:pt x="3692" y="2385"/>
                </a:cubicBezTo>
                <a:cubicBezTo>
                  <a:pt x="3681" y="2386"/>
                  <a:pt x="3670" y="2388"/>
                  <a:pt x="3659" y="2390"/>
                </a:cubicBezTo>
                <a:close/>
                <a:moveTo>
                  <a:pt x="3641" y="2397"/>
                </a:moveTo>
                <a:cubicBezTo>
                  <a:pt x="3643" y="2397"/>
                  <a:pt x="3646" y="2397"/>
                  <a:pt x="3649" y="2397"/>
                </a:cubicBezTo>
                <a:cubicBezTo>
                  <a:pt x="3646" y="2397"/>
                  <a:pt x="3643" y="2397"/>
                  <a:pt x="3641" y="2397"/>
                </a:cubicBezTo>
                <a:cubicBezTo>
                  <a:pt x="3639" y="2398"/>
                  <a:pt x="3637" y="2399"/>
                  <a:pt x="3635" y="2400"/>
                </a:cubicBezTo>
                <a:cubicBezTo>
                  <a:pt x="3637" y="2399"/>
                  <a:pt x="3639" y="2398"/>
                  <a:pt x="3641" y="2397"/>
                </a:cubicBezTo>
                <a:close/>
                <a:moveTo>
                  <a:pt x="3633" y="2212"/>
                </a:moveTo>
                <a:cubicBezTo>
                  <a:pt x="3632" y="2213"/>
                  <a:pt x="3632" y="2213"/>
                  <a:pt x="3632" y="2213"/>
                </a:cubicBezTo>
                <a:lnTo>
                  <a:pt x="3633" y="2212"/>
                </a:lnTo>
                <a:close/>
                <a:moveTo>
                  <a:pt x="3636" y="2251"/>
                </a:moveTo>
                <a:cubicBezTo>
                  <a:pt x="3635" y="2245"/>
                  <a:pt x="3632" y="2244"/>
                  <a:pt x="3628" y="2244"/>
                </a:cubicBezTo>
                <a:cubicBezTo>
                  <a:pt x="3632" y="2244"/>
                  <a:pt x="3635" y="2245"/>
                  <a:pt x="3636" y="2251"/>
                </a:cubicBezTo>
                <a:close/>
                <a:moveTo>
                  <a:pt x="3605" y="2254"/>
                </a:moveTo>
                <a:cubicBezTo>
                  <a:pt x="3605" y="2255"/>
                  <a:pt x="3604" y="2256"/>
                  <a:pt x="3603" y="2257"/>
                </a:cubicBezTo>
                <a:cubicBezTo>
                  <a:pt x="3604" y="2256"/>
                  <a:pt x="3605" y="2255"/>
                  <a:pt x="3605" y="2254"/>
                </a:cubicBezTo>
                <a:close/>
                <a:moveTo>
                  <a:pt x="3525" y="2467"/>
                </a:moveTo>
                <a:cubicBezTo>
                  <a:pt x="3526" y="2466"/>
                  <a:pt x="3527" y="2465"/>
                  <a:pt x="3528" y="2465"/>
                </a:cubicBezTo>
                <a:cubicBezTo>
                  <a:pt x="3528" y="2465"/>
                  <a:pt x="3528" y="2465"/>
                  <a:pt x="3528" y="2465"/>
                </a:cubicBezTo>
                <a:cubicBezTo>
                  <a:pt x="3527" y="2465"/>
                  <a:pt x="3526" y="2466"/>
                  <a:pt x="3525" y="2467"/>
                </a:cubicBezTo>
                <a:close/>
                <a:moveTo>
                  <a:pt x="3576" y="2433"/>
                </a:moveTo>
                <a:cubicBezTo>
                  <a:pt x="3580" y="2433"/>
                  <a:pt x="3583" y="2432"/>
                  <a:pt x="3581" y="2425"/>
                </a:cubicBezTo>
                <a:cubicBezTo>
                  <a:pt x="3580" y="2422"/>
                  <a:pt x="3579" y="2420"/>
                  <a:pt x="3578" y="2419"/>
                </a:cubicBezTo>
                <a:cubicBezTo>
                  <a:pt x="3579" y="2420"/>
                  <a:pt x="3580" y="2422"/>
                  <a:pt x="3581" y="2425"/>
                </a:cubicBezTo>
                <a:cubicBezTo>
                  <a:pt x="3583" y="2432"/>
                  <a:pt x="3580" y="2433"/>
                  <a:pt x="3576" y="2433"/>
                </a:cubicBezTo>
                <a:close/>
                <a:moveTo>
                  <a:pt x="3581" y="2389"/>
                </a:moveTo>
                <a:cubicBezTo>
                  <a:pt x="3581" y="2389"/>
                  <a:pt x="3581" y="2389"/>
                  <a:pt x="3581" y="2389"/>
                </a:cubicBezTo>
                <a:cubicBezTo>
                  <a:pt x="3581" y="2389"/>
                  <a:pt x="3581" y="2389"/>
                  <a:pt x="3581" y="2389"/>
                </a:cubicBezTo>
                <a:cubicBezTo>
                  <a:pt x="3576" y="2392"/>
                  <a:pt x="3571" y="2392"/>
                  <a:pt x="3566" y="2392"/>
                </a:cubicBezTo>
                <a:cubicBezTo>
                  <a:pt x="3571" y="2392"/>
                  <a:pt x="3576" y="2392"/>
                  <a:pt x="3581" y="2389"/>
                </a:cubicBezTo>
                <a:close/>
                <a:moveTo>
                  <a:pt x="3539" y="2240"/>
                </a:moveTo>
                <a:cubicBezTo>
                  <a:pt x="3542" y="2240"/>
                  <a:pt x="3546" y="2241"/>
                  <a:pt x="3548" y="2238"/>
                </a:cubicBezTo>
                <a:cubicBezTo>
                  <a:pt x="3546" y="2241"/>
                  <a:pt x="3542" y="2240"/>
                  <a:pt x="3539" y="2240"/>
                </a:cubicBezTo>
                <a:cubicBezTo>
                  <a:pt x="3534" y="2240"/>
                  <a:pt x="3529" y="2241"/>
                  <a:pt x="3528" y="2234"/>
                </a:cubicBezTo>
                <a:cubicBezTo>
                  <a:pt x="3529" y="2241"/>
                  <a:pt x="3534" y="2240"/>
                  <a:pt x="3539" y="2240"/>
                </a:cubicBezTo>
                <a:close/>
                <a:moveTo>
                  <a:pt x="3526" y="2321"/>
                </a:moveTo>
                <a:cubicBezTo>
                  <a:pt x="3526" y="2319"/>
                  <a:pt x="3526" y="2317"/>
                  <a:pt x="3527" y="2316"/>
                </a:cubicBezTo>
                <a:cubicBezTo>
                  <a:pt x="3526" y="2317"/>
                  <a:pt x="3526" y="2319"/>
                  <a:pt x="3526" y="2321"/>
                </a:cubicBezTo>
                <a:cubicBezTo>
                  <a:pt x="3524" y="2321"/>
                  <a:pt x="3522" y="2321"/>
                  <a:pt x="3521" y="2321"/>
                </a:cubicBezTo>
                <a:cubicBezTo>
                  <a:pt x="3522" y="2321"/>
                  <a:pt x="3524" y="2321"/>
                  <a:pt x="3526" y="2321"/>
                </a:cubicBezTo>
                <a:close/>
                <a:moveTo>
                  <a:pt x="3529" y="2433"/>
                </a:moveTo>
                <a:cubicBezTo>
                  <a:pt x="3543" y="2433"/>
                  <a:pt x="3558" y="2433"/>
                  <a:pt x="3572" y="2433"/>
                </a:cubicBezTo>
                <a:cubicBezTo>
                  <a:pt x="3558" y="2433"/>
                  <a:pt x="3543" y="2433"/>
                  <a:pt x="3529" y="2433"/>
                </a:cubicBezTo>
                <a:cubicBezTo>
                  <a:pt x="3526" y="2444"/>
                  <a:pt x="3521" y="2446"/>
                  <a:pt x="3515" y="2445"/>
                </a:cubicBezTo>
                <a:cubicBezTo>
                  <a:pt x="3521" y="2446"/>
                  <a:pt x="3526" y="2444"/>
                  <a:pt x="3529" y="2433"/>
                </a:cubicBezTo>
                <a:close/>
                <a:moveTo>
                  <a:pt x="3569" y="2124"/>
                </a:moveTo>
                <a:cubicBezTo>
                  <a:pt x="3569" y="2124"/>
                  <a:pt x="3569" y="2124"/>
                  <a:pt x="3569" y="2124"/>
                </a:cubicBezTo>
                <a:cubicBezTo>
                  <a:pt x="3569" y="2124"/>
                  <a:pt x="3569" y="2124"/>
                  <a:pt x="3569" y="2124"/>
                </a:cubicBezTo>
                <a:close/>
                <a:moveTo>
                  <a:pt x="3582" y="2105"/>
                </a:moveTo>
                <a:cubicBezTo>
                  <a:pt x="3586" y="2105"/>
                  <a:pt x="3589" y="2105"/>
                  <a:pt x="3593" y="2105"/>
                </a:cubicBezTo>
                <a:cubicBezTo>
                  <a:pt x="3589" y="2105"/>
                  <a:pt x="3586" y="2105"/>
                  <a:pt x="3582" y="2105"/>
                </a:cubicBezTo>
                <a:cubicBezTo>
                  <a:pt x="3582" y="2106"/>
                  <a:pt x="3582" y="2106"/>
                  <a:pt x="3582" y="2106"/>
                </a:cubicBezTo>
                <a:cubicBezTo>
                  <a:pt x="3582" y="2109"/>
                  <a:pt x="3582" y="2110"/>
                  <a:pt x="3583" y="2111"/>
                </a:cubicBezTo>
                <a:cubicBezTo>
                  <a:pt x="3582" y="2110"/>
                  <a:pt x="3582" y="2109"/>
                  <a:pt x="3582" y="2106"/>
                </a:cubicBezTo>
                <a:cubicBezTo>
                  <a:pt x="3576" y="2106"/>
                  <a:pt x="3570" y="2105"/>
                  <a:pt x="3565" y="2105"/>
                </a:cubicBezTo>
                <a:cubicBezTo>
                  <a:pt x="3565" y="2105"/>
                  <a:pt x="3565" y="2105"/>
                  <a:pt x="3565" y="2105"/>
                </a:cubicBezTo>
                <a:cubicBezTo>
                  <a:pt x="3571" y="2095"/>
                  <a:pt x="3577" y="2093"/>
                  <a:pt x="3582" y="2105"/>
                </a:cubicBezTo>
                <a:close/>
                <a:moveTo>
                  <a:pt x="3465" y="2317"/>
                </a:moveTo>
                <a:cubicBezTo>
                  <a:pt x="3472" y="2321"/>
                  <a:pt x="3477" y="2321"/>
                  <a:pt x="3479" y="2318"/>
                </a:cubicBezTo>
                <a:cubicBezTo>
                  <a:pt x="3477" y="2321"/>
                  <a:pt x="3472" y="2321"/>
                  <a:pt x="3465" y="2317"/>
                </a:cubicBezTo>
                <a:cubicBezTo>
                  <a:pt x="3461" y="2317"/>
                  <a:pt x="3459" y="2318"/>
                  <a:pt x="3457" y="2321"/>
                </a:cubicBezTo>
                <a:cubicBezTo>
                  <a:pt x="3459" y="2318"/>
                  <a:pt x="3461" y="2317"/>
                  <a:pt x="3465" y="2317"/>
                </a:cubicBezTo>
                <a:close/>
                <a:moveTo>
                  <a:pt x="3239" y="2073"/>
                </a:moveTo>
                <a:cubicBezTo>
                  <a:pt x="3241" y="2071"/>
                  <a:pt x="3243" y="2071"/>
                  <a:pt x="3244" y="2071"/>
                </a:cubicBezTo>
                <a:cubicBezTo>
                  <a:pt x="3243" y="2071"/>
                  <a:pt x="3241" y="2071"/>
                  <a:pt x="3239" y="2073"/>
                </a:cubicBezTo>
                <a:cubicBezTo>
                  <a:pt x="3237" y="2073"/>
                  <a:pt x="3235" y="2073"/>
                  <a:pt x="3233" y="2073"/>
                </a:cubicBezTo>
                <a:cubicBezTo>
                  <a:pt x="3235" y="2073"/>
                  <a:pt x="3237" y="2073"/>
                  <a:pt x="3239" y="2073"/>
                </a:cubicBezTo>
                <a:close/>
                <a:moveTo>
                  <a:pt x="3207" y="2134"/>
                </a:moveTo>
                <a:cubicBezTo>
                  <a:pt x="3207" y="2134"/>
                  <a:pt x="3207" y="2134"/>
                  <a:pt x="3207" y="2134"/>
                </a:cubicBezTo>
                <a:cubicBezTo>
                  <a:pt x="3209" y="2133"/>
                  <a:pt x="3211" y="2133"/>
                  <a:pt x="3212" y="2133"/>
                </a:cubicBezTo>
                <a:cubicBezTo>
                  <a:pt x="3211" y="2133"/>
                  <a:pt x="3209" y="2133"/>
                  <a:pt x="3207" y="2134"/>
                </a:cubicBezTo>
                <a:close/>
                <a:moveTo>
                  <a:pt x="3207" y="2097"/>
                </a:moveTo>
                <a:cubicBezTo>
                  <a:pt x="3205" y="2095"/>
                  <a:pt x="3204" y="2093"/>
                  <a:pt x="3202" y="2091"/>
                </a:cubicBezTo>
                <a:cubicBezTo>
                  <a:pt x="3204" y="2093"/>
                  <a:pt x="3205" y="2095"/>
                  <a:pt x="3207" y="2097"/>
                </a:cubicBezTo>
                <a:cubicBezTo>
                  <a:pt x="3209" y="2106"/>
                  <a:pt x="3212" y="2115"/>
                  <a:pt x="3212" y="2124"/>
                </a:cubicBezTo>
                <a:cubicBezTo>
                  <a:pt x="3212" y="2115"/>
                  <a:pt x="3209" y="2106"/>
                  <a:pt x="3207" y="2097"/>
                </a:cubicBezTo>
                <a:close/>
                <a:moveTo>
                  <a:pt x="3245" y="2213"/>
                </a:moveTo>
                <a:cubicBezTo>
                  <a:pt x="3243" y="2216"/>
                  <a:pt x="3242" y="2219"/>
                  <a:pt x="3242" y="2222"/>
                </a:cubicBezTo>
                <a:cubicBezTo>
                  <a:pt x="3242" y="2219"/>
                  <a:pt x="3243" y="2216"/>
                  <a:pt x="3245" y="2213"/>
                </a:cubicBezTo>
                <a:cubicBezTo>
                  <a:pt x="3244" y="2204"/>
                  <a:pt x="3246" y="2195"/>
                  <a:pt x="3237" y="2189"/>
                </a:cubicBezTo>
                <a:cubicBezTo>
                  <a:pt x="3237" y="2189"/>
                  <a:pt x="3237" y="2189"/>
                  <a:pt x="3237" y="2189"/>
                </a:cubicBezTo>
                <a:cubicBezTo>
                  <a:pt x="3231" y="2186"/>
                  <a:pt x="3220" y="2188"/>
                  <a:pt x="3224" y="2176"/>
                </a:cubicBezTo>
                <a:cubicBezTo>
                  <a:pt x="3222" y="2175"/>
                  <a:pt x="3219" y="2174"/>
                  <a:pt x="3216" y="2173"/>
                </a:cubicBezTo>
                <a:cubicBezTo>
                  <a:pt x="3216" y="2170"/>
                  <a:pt x="3216" y="2167"/>
                  <a:pt x="3216" y="2164"/>
                </a:cubicBezTo>
                <a:cubicBezTo>
                  <a:pt x="3225" y="2153"/>
                  <a:pt x="3208" y="2144"/>
                  <a:pt x="3214" y="2133"/>
                </a:cubicBezTo>
                <a:cubicBezTo>
                  <a:pt x="3223" y="2134"/>
                  <a:pt x="3231" y="2136"/>
                  <a:pt x="3239" y="2137"/>
                </a:cubicBezTo>
                <a:cubicBezTo>
                  <a:pt x="3242" y="2142"/>
                  <a:pt x="3245" y="2147"/>
                  <a:pt x="3243" y="2153"/>
                </a:cubicBezTo>
                <a:cubicBezTo>
                  <a:pt x="3243" y="2153"/>
                  <a:pt x="3243" y="2153"/>
                  <a:pt x="3243" y="2153"/>
                </a:cubicBezTo>
                <a:cubicBezTo>
                  <a:pt x="3238" y="2157"/>
                  <a:pt x="3233" y="2161"/>
                  <a:pt x="3233" y="2169"/>
                </a:cubicBezTo>
                <a:cubicBezTo>
                  <a:pt x="3233" y="2169"/>
                  <a:pt x="3233" y="2169"/>
                  <a:pt x="3233" y="2169"/>
                </a:cubicBezTo>
                <a:cubicBezTo>
                  <a:pt x="3230" y="2170"/>
                  <a:pt x="3229" y="2172"/>
                  <a:pt x="3229" y="2175"/>
                </a:cubicBezTo>
                <a:cubicBezTo>
                  <a:pt x="3230" y="2173"/>
                  <a:pt x="3231" y="2171"/>
                  <a:pt x="3233" y="2169"/>
                </a:cubicBezTo>
                <a:cubicBezTo>
                  <a:pt x="3235" y="2176"/>
                  <a:pt x="3238" y="2180"/>
                  <a:pt x="3246" y="2178"/>
                </a:cubicBezTo>
                <a:cubicBezTo>
                  <a:pt x="3247" y="2189"/>
                  <a:pt x="3255" y="2201"/>
                  <a:pt x="3245" y="2213"/>
                </a:cubicBezTo>
                <a:close/>
                <a:moveTo>
                  <a:pt x="3173" y="2488"/>
                </a:moveTo>
                <a:cubicBezTo>
                  <a:pt x="3173" y="2488"/>
                  <a:pt x="3173" y="2488"/>
                  <a:pt x="3173" y="2488"/>
                </a:cubicBezTo>
                <a:cubicBezTo>
                  <a:pt x="3174" y="2489"/>
                  <a:pt x="3174" y="2489"/>
                  <a:pt x="3175" y="2489"/>
                </a:cubicBezTo>
                <a:cubicBezTo>
                  <a:pt x="3174" y="2489"/>
                  <a:pt x="3174" y="2489"/>
                  <a:pt x="3173" y="2488"/>
                </a:cubicBezTo>
                <a:close/>
                <a:moveTo>
                  <a:pt x="3348" y="2384"/>
                </a:moveTo>
                <a:cubicBezTo>
                  <a:pt x="3347" y="2392"/>
                  <a:pt x="3343" y="2391"/>
                  <a:pt x="3338" y="2390"/>
                </a:cubicBezTo>
                <a:cubicBezTo>
                  <a:pt x="3343" y="2391"/>
                  <a:pt x="3347" y="2392"/>
                  <a:pt x="3348" y="2384"/>
                </a:cubicBezTo>
                <a:cubicBezTo>
                  <a:pt x="3348" y="2384"/>
                  <a:pt x="3348" y="2384"/>
                  <a:pt x="3348" y="2384"/>
                </a:cubicBezTo>
                <a:cubicBezTo>
                  <a:pt x="3349" y="2382"/>
                  <a:pt x="3349" y="2379"/>
                  <a:pt x="3349" y="2376"/>
                </a:cubicBezTo>
                <a:cubicBezTo>
                  <a:pt x="3349" y="2376"/>
                  <a:pt x="3349" y="2376"/>
                  <a:pt x="3349" y="2376"/>
                </a:cubicBezTo>
                <a:cubicBezTo>
                  <a:pt x="3349" y="2379"/>
                  <a:pt x="3349" y="2382"/>
                  <a:pt x="3348" y="2384"/>
                </a:cubicBezTo>
                <a:close/>
                <a:moveTo>
                  <a:pt x="3393" y="2429"/>
                </a:moveTo>
                <a:cubicBezTo>
                  <a:pt x="3398" y="2433"/>
                  <a:pt x="3404" y="2436"/>
                  <a:pt x="3410" y="2438"/>
                </a:cubicBezTo>
                <a:cubicBezTo>
                  <a:pt x="3404" y="2436"/>
                  <a:pt x="3398" y="2433"/>
                  <a:pt x="3393" y="2429"/>
                </a:cubicBezTo>
                <a:cubicBezTo>
                  <a:pt x="3391" y="2427"/>
                  <a:pt x="3389" y="2427"/>
                  <a:pt x="3387" y="2426"/>
                </a:cubicBezTo>
                <a:cubicBezTo>
                  <a:pt x="3389" y="2427"/>
                  <a:pt x="3391" y="2427"/>
                  <a:pt x="3393" y="2429"/>
                </a:cubicBezTo>
                <a:close/>
                <a:moveTo>
                  <a:pt x="3373" y="2212"/>
                </a:moveTo>
                <a:cubicBezTo>
                  <a:pt x="3373" y="2212"/>
                  <a:pt x="3373" y="2212"/>
                  <a:pt x="3373" y="2212"/>
                </a:cubicBezTo>
                <a:cubicBezTo>
                  <a:pt x="3373" y="2212"/>
                  <a:pt x="3373" y="2212"/>
                  <a:pt x="3373" y="2212"/>
                </a:cubicBezTo>
                <a:close/>
                <a:moveTo>
                  <a:pt x="3341" y="2237"/>
                </a:moveTo>
                <a:cubicBezTo>
                  <a:pt x="3341" y="2237"/>
                  <a:pt x="3341" y="2237"/>
                  <a:pt x="3341" y="2237"/>
                </a:cubicBezTo>
                <a:cubicBezTo>
                  <a:pt x="3344" y="2237"/>
                  <a:pt x="3346" y="2237"/>
                  <a:pt x="3349" y="2237"/>
                </a:cubicBezTo>
                <a:cubicBezTo>
                  <a:pt x="3354" y="2237"/>
                  <a:pt x="3360" y="2236"/>
                  <a:pt x="3365" y="2236"/>
                </a:cubicBezTo>
                <a:cubicBezTo>
                  <a:pt x="3365" y="2235"/>
                  <a:pt x="3365" y="2234"/>
                  <a:pt x="3365" y="2233"/>
                </a:cubicBezTo>
                <a:cubicBezTo>
                  <a:pt x="3374" y="2233"/>
                  <a:pt x="3378" y="2231"/>
                  <a:pt x="3380" y="2229"/>
                </a:cubicBezTo>
                <a:cubicBezTo>
                  <a:pt x="3378" y="2231"/>
                  <a:pt x="3374" y="2233"/>
                  <a:pt x="3365" y="2233"/>
                </a:cubicBezTo>
                <a:cubicBezTo>
                  <a:pt x="3365" y="2234"/>
                  <a:pt x="3365" y="2235"/>
                  <a:pt x="3365" y="2236"/>
                </a:cubicBezTo>
                <a:cubicBezTo>
                  <a:pt x="3366" y="2238"/>
                  <a:pt x="3368" y="2239"/>
                  <a:pt x="3369" y="2241"/>
                </a:cubicBezTo>
                <a:cubicBezTo>
                  <a:pt x="3367" y="2248"/>
                  <a:pt x="3362" y="2248"/>
                  <a:pt x="3356" y="2248"/>
                </a:cubicBezTo>
                <a:cubicBezTo>
                  <a:pt x="3344" y="2248"/>
                  <a:pt x="3332" y="2249"/>
                  <a:pt x="3321" y="2249"/>
                </a:cubicBezTo>
                <a:cubicBezTo>
                  <a:pt x="3318" y="2247"/>
                  <a:pt x="3316" y="2246"/>
                  <a:pt x="3313" y="2244"/>
                </a:cubicBezTo>
                <a:cubicBezTo>
                  <a:pt x="3321" y="2237"/>
                  <a:pt x="3331" y="2237"/>
                  <a:pt x="3341" y="2237"/>
                </a:cubicBezTo>
                <a:close/>
                <a:moveTo>
                  <a:pt x="3318" y="2409"/>
                </a:moveTo>
                <a:cubicBezTo>
                  <a:pt x="3318" y="2409"/>
                  <a:pt x="3318" y="2409"/>
                  <a:pt x="3318" y="2409"/>
                </a:cubicBezTo>
                <a:cubicBezTo>
                  <a:pt x="3273" y="2409"/>
                  <a:pt x="3228" y="2409"/>
                  <a:pt x="3184" y="2409"/>
                </a:cubicBezTo>
                <a:cubicBezTo>
                  <a:pt x="3228" y="2409"/>
                  <a:pt x="3273" y="2409"/>
                  <a:pt x="3318" y="2409"/>
                </a:cubicBezTo>
                <a:close/>
                <a:moveTo>
                  <a:pt x="3265" y="2310"/>
                </a:moveTo>
                <a:cubicBezTo>
                  <a:pt x="3269" y="2325"/>
                  <a:pt x="3260" y="2335"/>
                  <a:pt x="3254" y="2346"/>
                </a:cubicBezTo>
                <a:cubicBezTo>
                  <a:pt x="3260" y="2335"/>
                  <a:pt x="3269" y="2325"/>
                  <a:pt x="3265" y="2310"/>
                </a:cubicBezTo>
                <a:close/>
                <a:moveTo>
                  <a:pt x="3244" y="2389"/>
                </a:moveTo>
                <a:cubicBezTo>
                  <a:pt x="3240" y="2390"/>
                  <a:pt x="3235" y="2390"/>
                  <a:pt x="3234" y="2394"/>
                </a:cubicBezTo>
                <a:cubicBezTo>
                  <a:pt x="3235" y="2390"/>
                  <a:pt x="3240" y="2390"/>
                  <a:pt x="3244" y="2389"/>
                </a:cubicBezTo>
                <a:close/>
                <a:moveTo>
                  <a:pt x="3189" y="2249"/>
                </a:moveTo>
                <a:cubicBezTo>
                  <a:pt x="3193" y="2253"/>
                  <a:pt x="3200" y="2249"/>
                  <a:pt x="3205" y="2249"/>
                </a:cubicBezTo>
                <a:cubicBezTo>
                  <a:pt x="3200" y="2249"/>
                  <a:pt x="3193" y="2253"/>
                  <a:pt x="3189" y="2249"/>
                </a:cubicBezTo>
                <a:close/>
                <a:moveTo>
                  <a:pt x="3204" y="2307"/>
                </a:moveTo>
                <a:cubicBezTo>
                  <a:pt x="3204" y="2307"/>
                  <a:pt x="3203" y="2308"/>
                  <a:pt x="3203" y="2309"/>
                </a:cubicBezTo>
                <a:cubicBezTo>
                  <a:pt x="3203" y="2308"/>
                  <a:pt x="3204" y="2307"/>
                  <a:pt x="3204" y="2307"/>
                </a:cubicBezTo>
                <a:close/>
                <a:moveTo>
                  <a:pt x="3237" y="2404"/>
                </a:moveTo>
                <a:cubicBezTo>
                  <a:pt x="3237" y="2404"/>
                  <a:pt x="3237" y="2404"/>
                  <a:pt x="3237" y="2404"/>
                </a:cubicBezTo>
                <a:cubicBezTo>
                  <a:pt x="3212" y="2404"/>
                  <a:pt x="3187" y="2404"/>
                  <a:pt x="3163" y="2405"/>
                </a:cubicBezTo>
                <a:cubicBezTo>
                  <a:pt x="3187" y="2404"/>
                  <a:pt x="3212" y="2404"/>
                  <a:pt x="3237" y="2404"/>
                </a:cubicBezTo>
                <a:close/>
                <a:moveTo>
                  <a:pt x="3137" y="2456"/>
                </a:moveTo>
                <a:cubicBezTo>
                  <a:pt x="3139" y="2456"/>
                  <a:pt x="3140" y="2456"/>
                  <a:pt x="3141" y="2456"/>
                </a:cubicBezTo>
                <a:cubicBezTo>
                  <a:pt x="3144" y="2459"/>
                  <a:pt x="3146" y="2462"/>
                  <a:pt x="3149" y="2464"/>
                </a:cubicBezTo>
                <a:cubicBezTo>
                  <a:pt x="3149" y="2466"/>
                  <a:pt x="3149" y="2467"/>
                  <a:pt x="3149" y="2469"/>
                </a:cubicBezTo>
                <a:cubicBezTo>
                  <a:pt x="3149" y="2467"/>
                  <a:pt x="3149" y="2466"/>
                  <a:pt x="3149" y="2464"/>
                </a:cubicBezTo>
                <a:cubicBezTo>
                  <a:pt x="3146" y="2462"/>
                  <a:pt x="3144" y="2459"/>
                  <a:pt x="3141" y="2456"/>
                </a:cubicBezTo>
                <a:cubicBezTo>
                  <a:pt x="3140" y="2456"/>
                  <a:pt x="3139" y="2456"/>
                  <a:pt x="3137" y="2456"/>
                </a:cubicBezTo>
                <a:cubicBezTo>
                  <a:pt x="3137" y="2455"/>
                  <a:pt x="3137" y="2454"/>
                  <a:pt x="3137" y="2452"/>
                </a:cubicBezTo>
                <a:cubicBezTo>
                  <a:pt x="3137" y="2454"/>
                  <a:pt x="3137" y="2455"/>
                  <a:pt x="3137" y="2456"/>
                </a:cubicBezTo>
                <a:close/>
                <a:moveTo>
                  <a:pt x="3139" y="2465"/>
                </a:moveTo>
                <a:cubicBezTo>
                  <a:pt x="3138" y="2468"/>
                  <a:pt x="3135" y="2469"/>
                  <a:pt x="3132" y="2468"/>
                </a:cubicBezTo>
                <a:cubicBezTo>
                  <a:pt x="3135" y="2469"/>
                  <a:pt x="3138" y="2468"/>
                  <a:pt x="3139" y="2465"/>
                </a:cubicBezTo>
                <a:close/>
                <a:moveTo>
                  <a:pt x="3125" y="2445"/>
                </a:moveTo>
                <a:cubicBezTo>
                  <a:pt x="3125" y="2445"/>
                  <a:pt x="3125" y="2445"/>
                  <a:pt x="3125" y="2445"/>
                </a:cubicBezTo>
                <a:cubicBezTo>
                  <a:pt x="3123" y="2443"/>
                  <a:pt x="3122" y="2442"/>
                  <a:pt x="3121" y="2441"/>
                </a:cubicBezTo>
                <a:cubicBezTo>
                  <a:pt x="3121" y="2441"/>
                  <a:pt x="3121" y="2441"/>
                  <a:pt x="3121" y="2441"/>
                </a:cubicBezTo>
                <a:cubicBezTo>
                  <a:pt x="3122" y="2442"/>
                  <a:pt x="3123" y="2443"/>
                  <a:pt x="3125" y="2445"/>
                </a:cubicBezTo>
                <a:close/>
                <a:moveTo>
                  <a:pt x="3116" y="2290"/>
                </a:moveTo>
                <a:cubicBezTo>
                  <a:pt x="3116" y="2291"/>
                  <a:pt x="3115" y="2292"/>
                  <a:pt x="3115" y="2293"/>
                </a:cubicBezTo>
                <a:cubicBezTo>
                  <a:pt x="3115" y="2292"/>
                  <a:pt x="3116" y="2291"/>
                  <a:pt x="3116" y="2290"/>
                </a:cubicBezTo>
                <a:close/>
                <a:moveTo>
                  <a:pt x="3115" y="2251"/>
                </a:moveTo>
                <a:cubicBezTo>
                  <a:pt x="3115" y="2251"/>
                  <a:pt x="3115" y="2251"/>
                  <a:pt x="3115" y="2251"/>
                </a:cubicBezTo>
                <a:cubicBezTo>
                  <a:pt x="3114" y="2248"/>
                  <a:pt x="3110" y="2244"/>
                  <a:pt x="3110" y="2240"/>
                </a:cubicBezTo>
                <a:cubicBezTo>
                  <a:pt x="3110" y="2244"/>
                  <a:pt x="3114" y="2248"/>
                  <a:pt x="3115" y="2251"/>
                </a:cubicBezTo>
                <a:close/>
                <a:moveTo>
                  <a:pt x="3109" y="2353"/>
                </a:moveTo>
                <a:cubicBezTo>
                  <a:pt x="3110" y="2352"/>
                  <a:pt x="3112" y="2353"/>
                  <a:pt x="3113" y="2352"/>
                </a:cubicBezTo>
                <a:cubicBezTo>
                  <a:pt x="3112" y="2353"/>
                  <a:pt x="3110" y="2352"/>
                  <a:pt x="3109" y="2353"/>
                </a:cubicBezTo>
                <a:cubicBezTo>
                  <a:pt x="3109" y="2354"/>
                  <a:pt x="3109" y="2355"/>
                  <a:pt x="3109" y="2356"/>
                </a:cubicBezTo>
                <a:cubicBezTo>
                  <a:pt x="3109" y="2355"/>
                  <a:pt x="3109" y="2354"/>
                  <a:pt x="3109" y="2353"/>
                </a:cubicBezTo>
                <a:close/>
                <a:moveTo>
                  <a:pt x="3065" y="2352"/>
                </a:moveTo>
                <a:cubicBezTo>
                  <a:pt x="3066" y="2352"/>
                  <a:pt x="3067" y="2352"/>
                  <a:pt x="3069" y="2352"/>
                </a:cubicBezTo>
                <a:cubicBezTo>
                  <a:pt x="3070" y="2353"/>
                  <a:pt x="3071" y="2353"/>
                  <a:pt x="3072" y="2353"/>
                </a:cubicBezTo>
                <a:cubicBezTo>
                  <a:pt x="3081" y="2364"/>
                  <a:pt x="3076" y="2369"/>
                  <a:pt x="3065" y="2371"/>
                </a:cubicBezTo>
                <a:cubicBezTo>
                  <a:pt x="3062" y="2372"/>
                  <a:pt x="3060" y="2373"/>
                  <a:pt x="3057" y="2374"/>
                </a:cubicBezTo>
                <a:cubicBezTo>
                  <a:pt x="3051" y="2364"/>
                  <a:pt x="3062" y="2359"/>
                  <a:pt x="3065" y="2352"/>
                </a:cubicBezTo>
                <a:close/>
                <a:moveTo>
                  <a:pt x="3061" y="2421"/>
                </a:moveTo>
                <a:cubicBezTo>
                  <a:pt x="3061" y="2420"/>
                  <a:pt x="3062" y="2419"/>
                  <a:pt x="3062" y="2418"/>
                </a:cubicBezTo>
                <a:cubicBezTo>
                  <a:pt x="3071" y="2418"/>
                  <a:pt x="3080" y="2418"/>
                  <a:pt x="3089" y="2417"/>
                </a:cubicBezTo>
                <a:cubicBezTo>
                  <a:pt x="3080" y="2418"/>
                  <a:pt x="3071" y="2418"/>
                  <a:pt x="3062" y="2418"/>
                </a:cubicBezTo>
                <a:cubicBezTo>
                  <a:pt x="3062" y="2419"/>
                  <a:pt x="3061" y="2420"/>
                  <a:pt x="3061" y="2421"/>
                </a:cubicBezTo>
                <a:cubicBezTo>
                  <a:pt x="3061" y="2421"/>
                  <a:pt x="3061" y="2421"/>
                  <a:pt x="3061" y="2421"/>
                </a:cubicBezTo>
                <a:cubicBezTo>
                  <a:pt x="3056" y="2421"/>
                  <a:pt x="3051" y="2423"/>
                  <a:pt x="3047" y="2425"/>
                </a:cubicBezTo>
                <a:cubicBezTo>
                  <a:pt x="3051" y="2423"/>
                  <a:pt x="3056" y="2421"/>
                  <a:pt x="3061" y="2421"/>
                </a:cubicBezTo>
                <a:close/>
                <a:moveTo>
                  <a:pt x="3009" y="2426"/>
                </a:moveTo>
                <a:cubicBezTo>
                  <a:pt x="3016" y="2425"/>
                  <a:pt x="3022" y="2425"/>
                  <a:pt x="3029" y="2424"/>
                </a:cubicBezTo>
                <a:cubicBezTo>
                  <a:pt x="3022" y="2425"/>
                  <a:pt x="3016" y="2425"/>
                  <a:pt x="3009" y="2426"/>
                </a:cubicBezTo>
                <a:cubicBezTo>
                  <a:pt x="3007" y="2431"/>
                  <a:pt x="3004" y="2433"/>
                  <a:pt x="3000" y="2431"/>
                </a:cubicBezTo>
                <a:cubicBezTo>
                  <a:pt x="3004" y="2433"/>
                  <a:pt x="3007" y="2431"/>
                  <a:pt x="3009" y="2426"/>
                </a:cubicBezTo>
                <a:close/>
                <a:moveTo>
                  <a:pt x="2241" y="1171"/>
                </a:moveTo>
                <a:cubicBezTo>
                  <a:pt x="2238" y="1169"/>
                  <a:pt x="2237" y="1167"/>
                  <a:pt x="2237" y="1164"/>
                </a:cubicBezTo>
                <a:cubicBezTo>
                  <a:pt x="2237" y="1167"/>
                  <a:pt x="2238" y="1169"/>
                  <a:pt x="2241" y="1171"/>
                </a:cubicBezTo>
                <a:cubicBezTo>
                  <a:pt x="2241" y="1172"/>
                  <a:pt x="2241" y="1174"/>
                  <a:pt x="2241" y="1176"/>
                </a:cubicBezTo>
                <a:cubicBezTo>
                  <a:pt x="2241" y="1174"/>
                  <a:pt x="2241" y="1172"/>
                  <a:pt x="2241" y="1171"/>
                </a:cubicBezTo>
                <a:close/>
                <a:moveTo>
                  <a:pt x="2053" y="404"/>
                </a:moveTo>
                <a:cubicBezTo>
                  <a:pt x="2053" y="402"/>
                  <a:pt x="2053" y="399"/>
                  <a:pt x="2053" y="397"/>
                </a:cubicBezTo>
                <a:cubicBezTo>
                  <a:pt x="2053" y="399"/>
                  <a:pt x="2053" y="402"/>
                  <a:pt x="2053" y="404"/>
                </a:cubicBezTo>
                <a:cubicBezTo>
                  <a:pt x="2046" y="408"/>
                  <a:pt x="2046" y="416"/>
                  <a:pt x="2043" y="424"/>
                </a:cubicBezTo>
                <a:cubicBezTo>
                  <a:pt x="2046" y="416"/>
                  <a:pt x="2046" y="408"/>
                  <a:pt x="2053" y="404"/>
                </a:cubicBezTo>
                <a:close/>
                <a:moveTo>
                  <a:pt x="1366" y="96"/>
                </a:moveTo>
                <a:cubicBezTo>
                  <a:pt x="1366" y="96"/>
                  <a:pt x="1366" y="96"/>
                  <a:pt x="1366" y="96"/>
                </a:cubicBezTo>
                <a:cubicBezTo>
                  <a:pt x="1362" y="93"/>
                  <a:pt x="1358" y="91"/>
                  <a:pt x="1354" y="88"/>
                </a:cubicBezTo>
                <a:cubicBezTo>
                  <a:pt x="1347" y="85"/>
                  <a:pt x="1339" y="86"/>
                  <a:pt x="1334" y="79"/>
                </a:cubicBezTo>
                <a:cubicBezTo>
                  <a:pt x="1339" y="86"/>
                  <a:pt x="1347" y="85"/>
                  <a:pt x="1354" y="88"/>
                </a:cubicBezTo>
                <a:cubicBezTo>
                  <a:pt x="1352" y="82"/>
                  <a:pt x="1349" y="75"/>
                  <a:pt x="1360" y="76"/>
                </a:cubicBezTo>
                <a:cubicBezTo>
                  <a:pt x="1365" y="78"/>
                  <a:pt x="1370" y="79"/>
                  <a:pt x="1374" y="81"/>
                </a:cubicBezTo>
                <a:cubicBezTo>
                  <a:pt x="1378" y="89"/>
                  <a:pt x="1379" y="96"/>
                  <a:pt x="1366" y="96"/>
                </a:cubicBezTo>
                <a:close/>
                <a:moveTo>
                  <a:pt x="1625" y="256"/>
                </a:moveTo>
                <a:cubicBezTo>
                  <a:pt x="1624" y="249"/>
                  <a:pt x="1618" y="249"/>
                  <a:pt x="1613" y="249"/>
                </a:cubicBezTo>
                <a:cubicBezTo>
                  <a:pt x="1612" y="248"/>
                  <a:pt x="1612" y="247"/>
                  <a:pt x="1612" y="246"/>
                </a:cubicBezTo>
                <a:cubicBezTo>
                  <a:pt x="1612" y="242"/>
                  <a:pt x="1613" y="237"/>
                  <a:pt x="1613" y="233"/>
                </a:cubicBezTo>
                <a:cubicBezTo>
                  <a:pt x="1613" y="233"/>
                  <a:pt x="1613" y="233"/>
                  <a:pt x="1613" y="233"/>
                </a:cubicBezTo>
                <a:cubicBezTo>
                  <a:pt x="1613" y="233"/>
                  <a:pt x="1613" y="233"/>
                  <a:pt x="1613" y="233"/>
                </a:cubicBezTo>
                <a:cubicBezTo>
                  <a:pt x="1629" y="246"/>
                  <a:pt x="1650" y="253"/>
                  <a:pt x="1657" y="275"/>
                </a:cubicBezTo>
                <a:cubicBezTo>
                  <a:pt x="1645" y="270"/>
                  <a:pt x="1633" y="266"/>
                  <a:pt x="1625" y="256"/>
                </a:cubicBezTo>
                <a:close/>
                <a:moveTo>
                  <a:pt x="1725" y="317"/>
                </a:moveTo>
                <a:cubicBezTo>
                  <a:pt x="1708" y="311"/>
                  <a:pt x="1695" y="300"/>
                  <a:pt x="1680" y="292"/>
                </a:cubicBezTo>
                <a:cubicBezTo>
                  <a:pt x="1675" y="289"/>
                  <a:pt x="1671" y="284"/>
                  <a:pt x="1673" y="277"/>
                </a:cubicBezTo>
                <a:cubicBezTo>
                  <a:pt x="1682" y="276"/>
                  <a:pt x="1689" y="279"/>
                  <a:pt x="1696" y="286"/>
                </a:cubicBezTo>
                <a:cubicBezTo>
                  <a:pt x="1704" y="293"/>
                  <a:pt x="1713" y="301"/>
                  <a:pt x="1725" y="301"/>
                </a:cubicBezTo>
                <a:cubicBezTo>
                  <a:pt x="1726" y="301"/>
                  <a:pt x="1726" y="301"/>
                  <a:pt x="1726" y="300"/>
                </a:cubicBezTo>
                <a:cubicBezTo>
                  <a:pt x="1726" y="301"/>
                  <a:pt x="1726" y="301"/>
                  <a:pt x="1725" y="301"/>
                </a:cubicBezTo>
                <a:cubicBezTo>
                  <a:pt x="1725" y="306"/>
                  <a:pt x="1741" y="312"/>
                  <a:pt x="1725" y="317"/>
                </a:cubicBezTo>
                <a:close/>
                <a:moveTo>
                  <a:pt x="651" y="107"/>
                </a:moveTo>
                <a:cubicBezTo>
                  <a:pt x="652" y="109"/>
                  <a:pt x="653" y="110"/>
                  <a:pt x="653" y="112"/>
                </a:cubicBezTo>
                <a:cubicBezTo>
                  <a:pt x="653" y="110"/>
                  <a:pt x="652" y="109"/>
                  <a:pt x="651" y="107"/>
                </a:cubicBezTo>
                <a:close/>
                <a:moveTo>
                  <a:pt x="73" y="557"/>
                </a:moveTo>
                <a:cubicBezTo>
                  <a:pt x="72" y="561"/>
                  <a:pt x="73" y="566"/>
                  <a:pt x="72" y="570"/>
                </a:cubicBezTo>
                <a:cubicBezTo>
                  <a:pt x="73" y="566"/>
                  <a:pt x="72" y="561"/>
                  <a:pt x="73" y="557"/>
                </a:cubicBezTo>
                <a:cubicBezTo>
                  <a:pt x="73" y="553"/>
                  <a:pt x="75" y="549"/>
                  <a:pt x="76" y="546"/>
                </a:cubicBezTo>
                <a:cubicBezTo>
                  <a:pt x="75" y="549"/>
                  <a:pt x="73" y="553"/>
                  <a:pt x="73" y="557"/>
                </a:cubicBezTo>
                <a:close/>
                <a:moveTo>
                  <a:pt x="89" y="852"/>
                </a:moveTo>
                <a:cubicBezTo>
                  <a:pt x="92" y="852"/>
                  <a:pt x="94" y="850"/>
                  <a:pt x="97" y="845"/>
                </a:cubicBezTo>
                <a:cubicBezTo>
                  <a:pt x="101" y="841"/>
                  <a:pt x="105" y="841"/>
                  <a:pt x="109" y="841"/>
                </a:cubicBezTo>
                <a:cubicBezTo>
                  <a:pt x="105" y="841"/>
                  <a:pt x="101" y="841"/>
                  <a:pt x="97" y="845"/>
                </a:cubicBezTo>
                <a:cubicBezTo>
                  <a:pt x="94" y="850"/>
                  <a:pt x="92" y="852"/>
                  <a:pt x="89" y="852"/>
                </a:cubicBezTo>
                <a:close/>
                <a:moveTo>
                  <a:pt x="105" y="877"/>
                </a:moveTo>
                <a:cubicBezTo>
                  <a:pt x="105" y="877"/>
                  <a:pt x="105" y="876"/>
                  <a:pt x="105" y="876"/>
                </a:cubicBezTo>
                <a:cubicBezTo>
                  <a:pt x="117" y="882"/>
                  <a:pt x="129" y="888"/>
                  <a:pt x="140" y="893"/>
                </a:cubicBezTo>
                <a:cubicBezTo>
                  <a:pt x="129" y="888"/>
                  <a:pt x="117" y="882"/>
                  <a:pt x="105" y="877"/>
                </a:cubicBezTo>
                <a:close/>
                <a:moveTo>
                  <a:pt x="121" y="329"/>
                </a:moveTo>
                <a:cubicBezTo>
                  <a:pt x="122" y="327"/>
                  <a:pt x="124" y="326"/>
                  <a:pt x="126" y="324"/>
                </a:cubicBezTo>
                <a:cubicBezTo>
                  <a:pt x="136" y="330"/>
                  <a:pt x="146" y="336"/>
                  <a:pt x="156" y="343"/>
                </a:cubicBezTo>
                <a:cubicBezTo>
                  <a:pt x="141" y="346"/>
                  <a:pt x="132" y="335"/>
                  <a:pt x="121" y="329"/>
                </a:cubicBezTo>
                <a:close/>
                <a:moveTo>
                  <a:pt x="156" y="700"/>
                </a:moveTo>
                <a:cubicBezTo>
                  <a:pt x="157" y="699"/>
                  <a:pt x="157" y="698"/>
                  <a:pt x="157" y="697"/>
                </a:cubicBezTo>
                <a:cubicBezTo>
                  <a:pt x="157" y="698"/>
                  <a:pt x="157" y="699"/>
                  <a:pt x="156" y="700"/>
                </a:cubicBezTo>
                <a:cubicBezTo>
                  <a:pt x="152" y="698"/>
                  <a:pt x="147" y="696"/>
                  <a:pt x="142" y="697"/>
                </a:cubicBezTo>
                <a:cubicBezTo>
                  <a:pt x="147" y="696"/>
                  <a:pt x="152" y="698"/>
                  <a:pt x="156" y="700"/>
                </a:cubicBezTo>
                <a:close/>
                <a:moveTo>
                  <a:pt x="209" y="1041"/>
                </a:moveTo>
                <a:cubicBezTo>
                  <a:pt x="198" y="1035"/>
                  <a:pt x="189" y="1027"/>
                  <a:pt x="178" y="1021"/>
                </a:cubicBezTo>
                <a:cubicBezTo>
                  <a:pt x="189" y="1027"/>
                  <a:pt x="198" y="1035"/>
                  <a:pt x="209" y="1041"/>
                </a:cubicBezTo>
                <a:cubicBezTo>
                  <a:pt x="209" y="1041"/>
                  <a:pt x="209" y="1041"/>
                  <a:pt x="209" y="1041"/>
                </a:cubicBezTo>
                <a:close/>
                <a:moveTo>
                  <a:pt x="213" y="989"/>
                </a:moveTo>
                <a:cubicBezTo>
                  <a:pt x="213" y="987"/>
                  <a:pt x="213" y="985"/>
                  <a:pt x="214" y="984"/>
                </a:cubicBezTo>
                <a:cubicBezTo>
                  <a:pt x="213" y="985"/>
                  <a:pt x="213" y="987"/>
                  <a:pt x="213" y="989"/>
                </a:cubicBezTo>
                <a:close/>
                <a:moveTo>
                  <a:pt x="233" y="933"/>
                </a:moveTo>
                <a:cubicBezTo>
                  <a:pt x="200" y="912"/>
                  <a:pt x="165" y="896"/>
                  <a:pt x="129" y="881"/>
                </a:cubicBezTo>
                <a:cubicBezTo>
                  <a:pt x="165" y="896"/>
                  <a:pt x="200" y="912"/>
                  <a:pt x="233" y="933"/>
                </a:cubicBezTo>
                <a:close/>
                <a:moveTo>
                  <a:pt x="209" y="676"/>
                </a:moveTo>
                <a:cubicBezTo>
                  <a:pt x="205" y="670"/>
                  <a:pt x="202" y="669"/>
                  <a:pt x="199" y="670"/>
                </a:cubicBezTo>
                <a:cubicBezTo>
                  <a:pt x="202" y="669"/>
                  <a:pt x="205" y="670"/>
                  <a:pt x="209" y="676"/>
                </a:cubicBezTo>
                <a:cubicBezTo>
                  <a:pt x="216" y="678"/>
                  <a:pt x="221" y="681"/>
                  <a:pt x="226" y="685"/>
                </a:cubicBezTo>
                <a:cubicBezTo>
                  <a:pt x="221" y="681"/>
                  <a:pt x="216" y="678"/>
                  <a:pt x="209" y="676"/>
                </a:cubicBezTo>
                <a:close/>
                <a:moveTo>
                  <a:pt x="233" y="775"/>
                </a:moveTo>
                <a:cubicBezTo>
                  <a:pt x="227" y="775"/>
                  <a:pt x="221" y="777"/>
                  <a:pt x="217" y="785"/>
                </a:cubicBezTo>
                <a:cubicBezTo>
                  <a:pt x="217" y="785"/>
                  <a:pt x="217" y="785"/>
                  <a:pt x="217" y="785"/>
                </a:cubicBezTo>
                <a:cubicBezTo>
                  <a:pt x="221" y="777"/>
                  <a:pt x="227" y="775"/>
                  <a:pt x="233" y="775"/>
                </a:cubicBezTo>
                <a:close/>
                <a:moveTo>
                  <a:pt x="286" y="430"/>
                </a:moveTo>
                <a:cubicBezTo>
                  <a:pt x="266" y="424"/>
                  <a:pt x="251" y="409"/>
                  <a:pt x="233" y="399"/>
                </a:cubicBezTo>
                <a:cubicBezTo>
                  <a:pt x="234" y="397"/>
                  <a:pt x="235" y="395"/>
                  <a:pt x="236" y="393"/>
                </a:cubicBezTo>
                <a:cubicBezTo>
                  <a:pt x="254" y="404"/>
                  <a:pt x="271" y="414"/>
                  <a:pt x="289" y="425"/>
                </a:cubicBezTo>
                <a:cubicBezTo>
                  <a:pt x="288" y="426"/>
                  <a:pt x="287" y="428"/>
                  <a:pt x="286" y="430"/>
                </a:cubicBezTo>
                <a:close/>
                <a:moveTo>
                  <a:pt x="305" y="598"/>
                </a:moveTo>
                <a:cubicBezTo>
                  <a:pt x="308" y="596"/>
                  <a:pt x="311" y="593"/>
                  <a:pt x="314" y="593"/>
                </a:cubicBezTo>
                <a:cubicBezTo>
                  <a:pt x="311" y="593"/>
                  <a:pt x="308" y="596"/>
                  <a:pt x="305" y="598"/>
                </a:cubicBezTo>
                <a:cubicBezTo>
                  <a:pt x="301" y="604"/>
                  <a:pt x="295" y="606"/>
                  <a:pt x="289" y="608"/>
                </a:cubicBezTo>
                <a:cubicBezTo>
                  <a:pt x="295" y="606"/>
                  <a:pt x="301" y="604"/>
                  <a:pt x="305" y="598"/>
                </a:cubicBezTo>
                <a:close/>
                <a:moveTo>
                  <a:pt x="248" y="597"/>
                </a:moveTo>
                <a:cubicBezTo>
                  <a:pt x="248" y="597"/>
                  <a:pt x="248" y="597"/>
                  <a:pt x="248" y="597"/>
                </a:cubicBezTo>
                <a:cubicBezTo>
                  <a:pt x="247" y="587"/>
                  <a:pt x="244" y="578"/>
                  <a:pt x="244" y="569"/>
                </a:cubicBezTo>
                <a:cubicBezTo>
                  <a:pt x="244" y="578"/>
                  <a:pt x="247" y="587"/>
                  <a:pt x="248" y="597"/>
                </a:cubicBezTo>
                <a:close/>
                <a:moveTo>
                  <a:pt x="235" y="933"/>
                </a:moveTo>
                <a:cubicBezTo>
                  <a:pt x="236" y="933"/>
                  <a:pt x="236" y="933"/>
                  <a:pt x="236" y="933"/>
                </a:cubicBezTo>
                <a:cubicBezTo>
                  <a:pt x="237" y="933"/>
                  <a:pt x="237" y="933"/>
                  <a:pt x="237" y="933"/>
                </a:cubicBezTo>
                <a:cubicBezTo>
                  <a:pt x="236" y="933"/>
                  <a:pt x="236" y="933"/>
                  <a:pt x="235" y="933"/>
                </a:cubicBezTo>
                <a:close/>
                <a:moveTo>
                  <a:pt x="243" y="702"/>
                </a:moveTo>
                <a:cubicBezTo>
                  <a:pt x="246" y="704"/>
                  <a:pt x="249" y="706"/>
                  <a:pt x="252" y="706"/>
                </a:cubicBezTo>
                <a:cubicBezTo>
                  <a:pt x="249" y="706"/>
                  <a:pt x="246" y="704"/>
                  <a:pt x="243" y="702"/>
                </a:cubicBezTo>
                <a:close/>
                <a:moveTo>
                  <a:pt x="267" y="1049"/>
                </a:moveTo>
                <a:cubicBezTo>
                  <a:pt x="271" y="1049"/>
                  <a:pt x="274" y="1049"/>
                  <a:pt x="277" y="1049"/>
                </a:cubicBezTo>
                <a:cubicBezTo>
                  <a:pt x="274" y="1049"/>
                  <a:pt x="271" y="1049"/>
                  <a:pt x="267" y="1049"/>
                </a:cubicBezTo>
                <a:close/>
                <a:moveTo>
                  <a:pt x="268" y="692"/>
                </a:moveTo>
                <a:cubicBezTo>
                  <a:pt x="270" y="691"/>
                  <a:pt x="271" y="690"/>
                  <a:pt x="273" y="689"/>
                </a:cubicBezTo>
                <a:cubicBezTo>
                  <a:pt x="273" y="689"/>
                  <a:pt x="274" y="689"/>
                  <a:pt x="274" y="689"/>
                </a:cubicBezTo>
                <a:cubicBezTo>
                  <a:pt x="274" y="689"/>
                  <a:pt x="273" y="689"/>
                  <a:pt x="273" y="689"/>
                </a:cubicBezTo>
                <a:cubicBezTo>
                  <a:pt x="271" y="690"/>
                  <a:pt x="270" y="691"/>
                  <a:pt x="268" y="692"/>
                </a:cubicBezTo>
                <a:close/>
                <a:moveTo>
                  <a:pt x="281" y="1049"/>
                </a:moveTo>
                <a:cubicBezTo>
                  <a:pt x="281" y="1049"/>
                  <a:pt x="281" y="1049"/>
                  <a:pt x="281" y="1049"/>
                </a:cubicBezTo>
                <a:cubicBezTo>
                  <a:pt x="283" y="1050"/>
                  <a:pt x="286" y="1051"/>
                  <a:pt x="289" y="1053"/>
                </a:cubicBezTo>
                <a:cubicBezTo>
                  <a:pt x="286" y="1051"/>
                  <a:pt x="283" y="1050"/>
                  <a:pt x="281" y="1049"/>
                </a:cubicBezTo>
                <a:close/>
                <a:moveTo>
                  <a:pt x="280" y="612"/>
                </a:moveTo>
                <a:cubicBezTo>
                  <a:pt x="275" y="612"/>
                  <a:pt x="270" y="610"/>
                  <a:pt x="266" y="608"/>
                </a:cubicBezTo>
                <a:cubicBezTo>
                  <a:pt x="270" y="610"/>
                  <a:pt x="275" y="612"/>
                  <a:pt x="280" y="612"/>
                </a:cubicBezTo>
                <a:cubicBezTo>
                  <a:pt x="285" y="616"/>
                  <a:pt x="290" y="619"/>
                  <a:pt x="294" y="623"/>
                </a:cubicBezTo>
                <a:cubicBezTo>
                  <a:pt x="290" y="619"/>
                  <a:pt x="285" y="616"/>
                  <a:pt x="280" y="612"/>
                </a:cubicBezTo>
                <a:close/>
                <a:moveTo>
                  <a:pt x="297" y="927"/>
                </a:moveTo>
                <a:cubicBezTo>
                  <a:pt x="297" y="927"/>
                  <a:pt x="297" y="926"/>
                  <a:pt x="297" y="925"/>
                </a:cubicBezTo>
                <a:cubicBezTo>
                  <a:pt x="302" y="927"/>
                  <a:pt x="307" y="929"/>
                  <a:pt x="312" y="932"/>
                </a:cubicBezTo>
                <a:cubicBezTo>
                  <a:pt x="307" y="929"/>
                  <a:pt x="302" y="927"/>
                  <a:pt x="297" y="925"/>
                </a:cubicBezTo>
                <a:cubicBezTo>
                  <a:pt x="297" y="926"/>
                  <a:pt x="297" y="927"/>
                  <a:pt x="297" y="927"/>
                </a:cubicBezTo>
                <a:close/>
                <a:moveTo>
                  <a:pt x="313" y="1065"/>
                </a:moveTo>
                <a:cubicBezTo>
                  <a:pt x="309" y="1061"/>
                  <a:pt x="304" y="1061"/>
                  <a:pt x="300" y="1061"/>
                </a:cubicBezTo>
                <a:cubicBezTo>
                  <a:pt x="304" y="1061"/>
                  <a:pt x="309" y="1061"/>
                  <a:pt x="313" y="1065"/>
                </a:cubicBezTo>
                <a:cubicBezTo>
                  <a:pt x="313" y="1069"/>
                  <a:pt x="313" y="1073"/>
                  <a:pt x="313" y="1076"/>
                </a:cubicBezTo>
                <a:cubicBezTo>
                  <a:pt x="313" y="1073"/>
                  <a:pt x="313" y="1069"/>
                  <a:pt x="313" y="1065"/>
                </a:cubicBezTo>
                <a:close/>
                <a:moveTo>
                  <a:pt x="315" y="664"/>
                </a:moveTo>
                <a:cubicBezTo>
                  <a:pt x="319" y="667"/>
                  <a:pt x="323" y="670"/>
                  <a:pt x="329" y="669"/>
                </a:cubicBezTo>
                <a:cubicBezTo>
                  <a:pt x="329" y="669"/>
                  <a:pt x="329" y="669"/>
                  <a:pt x="329" y="669"/>
                </a:cubicBezTo>
                <a:cubicBezTo>
                  <a:pt x="323" y="670"/>
                  <a:pt x="319" y="667"/>
                  <a:pt x="315" y="664"/>
                </a:cubicBezTo>
                <a:close/>
                <a:moveTo>
                  <a:pt x="357" y="610"/>
                </a:moveTo>
                <a:cubicBezTo>
                  <a:pt x="357" y="610"/>
                  <a:pt x="357" y="610"/>
                  <a:pt x="357" y="610"/>
                </a:cubicBezTo>
                <a:cubicBezTo>
                  <a:pt x="347" y="609"/>
                  <a:pt x="336" y="609"/>
                  <a:pt x="327" y="604"/>
                </a:cubicBezTo>
                <a:cubicBezTo>
                  <a:pt x="336" y="609"/>
                  <a:pt x="347" y="609"/>
                  <a:pt x="357" y="610"/>
                </a:cubicBezTo>
                <a:close/>
                <a:moveTo>
                  <a:pt x="338" y="582"/>
                </a:moveTo>
                <a:cubicBezTo>
                  <a:pt x="340" y="584"/>
                  <a:pt x="342" y="585"/>
                  <a:pt x="344" y="585"/>
                </a:cubicBezTo>
                <a:cubicBezTo>
                  <a:pt x="345" y="596"/>
                  <a:pt x="355" y="591"/>
                  <a:pt x="361" y="594"/>
                </a:cubicBezTo>
                <a:cubicBezTo>
                  <a:pt x="362" y="598"/>
                  <a:pt x="364" y="602"/>
                  <a:pt x="365" y="605"/>
                </a:cubicBezTo>
                <a:cubicBezTo>
                  <a:pt x="364" y="602"/>
                  <a:pt x="362" y="598"/>
                  <a:pt x="361" y="594"/>
                </a:cubicBezTo>
                <a:cubicBezTo>
                  <a:pt x="355" y="591"/>
                  <a:pt x="345" y="596"/>
                  <a:pt x="344" y="585"/>
                </a:cubicBezTo>
                <a:cubicBezTo>
                  <a:pt x="342" y="585"/>
                  <a:pt x="340" y="584"/>
                  <a:pt x="338" y="582"/>
                </a:cubicBezTo>
                <a:close/>
                <a:moveTo>
                  <a:pt x="355" y="960"/>
                </a:moveTo>
                <a:cubicBezTo>
                  <a:pt x="349" y="958"/>
                  <a:pt x="344" y="958"/>
                  <a:pt x="337" y="961"/>
                </a:cubicBezTo>
                <a:cubicBezTo>
                  <a:pt x="337" y="961"/>
                  <a:pt x="337" y="961"/>
                  <a:pt x="337" y="961"/>
                </a:cubicBezTo>
                <a:cubicBezTo>
                  <a:pt x="344" y="958"/>
                  <a:pt x="349" y="958"/>
                  <a:pt x="355" y="960"/>
                </a:cubicBezTo>
                <a:close/>
                <a:moveTo>
                  <a:pt x="330" y="1102"/>
                </a:moveTo>
                <a:cubicBezTo>
                  <a:pt x="335" y="1103"/>
                  <a:pt x="337" y="1100"/>
                  <a:pt x="337" y="1095"/>
                </a:cubicBezTo>
                <a:cubicBezTo>
                  <a:pt x="337" y="1100"/>
                  <a:pt x="335" y="1103"/>
                  <a:pt x="330" y="1102"/>
                </a:cubicBezTo>
                <a:close/>
                <a:moveTo>
                  <a:pt x="337" y="1093"/>
                </a:moveTo>
                <a:cubicBezTo>
                  <a:pt x="337" y="1093"/>
                  <a:pt x="337" y="1093"/>
                  <a:pt x="337" y="1093"/>
                </a:cubicBezTo>
                <a:cubicBezTo>
                  <a:pt x="345" y="1096"/>
                  <a:pt x="355" y="1098"/>
                  <a:pt x="363" y="1102"/>
                </a:cubicBezTo>
                <a:cubicBezTo>
                  <a:pt x="355" y="1098"/>
                  <a:pt x="345" y="1096"/>
                  <a:pt x="337" y="1093"/>
                </a:cubicBezTo>
                <a:close/>
                <a:moveTo>
                  <a:pt x="338" y="1057"/>
                </a:moveTo>
                <a:cubicBezTo>
                  <a:pt x="339" y="1059"/>
                  <a:pt x="342" y="1060"/>
                  <a:pt x="345" y="1061"/>
                </a:cubicBezTo>
                <a:cubicBezTo>
                  <a:pt x="345" y="1061"/>
                  <a:pt x="345" y="1061"/>
                  <a:pt x="345" y="1061"/>
                </a:cubicBezTo>
                <a:cubicBezTo>
                  <a:pt x="342" y="1060"/>
                  <a:pt x="339" y="1059"/>
                  <a:pt x="338" y="1057"/>
                </a:cubicBezTo>
                <a:close/>
                <a:moveTo>
                  <a:pt x="369" y="1059"/>
                </a:moveTo>
                <a:cubicBezTo>
                  <a:pt x="364" y="1065"/>
                  <a:pt x="358" y="1062"/>
                  <a:pt x="353" y="1060"/>
                </a:cubicBezTo>
                <a:cubicBezTo>
                  <a:pt x="349" y="1056"/>
                  <a:pt x="343" y="1055"/>
                  <a:pt x="338" y="1055"/>
                </a:cubicBezTo>
                <a:cubicBezTo>
                  <a:pt x="337" y="1055"/>
                  <a:pt x="336" y="1054"/>
                  <a:pt x="335" y="1054"/>
                </a:cubicBezTo>
                <a:cubicBezTo>
                  <a:pt x="334" y="1054"/>
                  <a:pt x="333" y="1054"/>
                  <a:pt x="333" y="1054"/>
                </a:cubicBezTo>
                <a:cubicBezTo>
                  <a:pt x="333" y="1054"/>
                  <a:pt x="334" y="1054"/>
                  <a:pt x="335" y="1054"/>
                </a:cubicBezTo>
                <a:cubicBezTo>
                  <a:pt x="334" y="1053"/>
                  <a:pt x="333" y="1052"/>
                  <a:pt x="331" y="1051"/>
                </a:cubicBezTo>
                <a:cubicBezTo>
                  <a:pt x="330" y="1050"/>
                  <a:pt x="330" y="1050"/>
                  <a:pt x="330" y="1050"/>
                </a:cubicBezTo>
                <a:cubicBezTo>
                  <a:pt x="330" y="1048"/>
                  <a:pt x="329" y="1046"/>
                  <a:pt x="328" y="1044"/>
                </a:cubicBezTo>
                <a:cubicBezTo>
                  <a:pt x="345" y="1032"/>
                  <a:pt x="355" y="1051"/>
                  <a:pt x="368" y="1054"/>
                </a:cubicBezTo>
                <a:cubicBezTo>
                  <a:pt x="369" y="1054"/>
                  <a:pt x="370" y="1058"/>
                  <a:pt x="369" y="1059"/>
                </a:cubicBezTo>
                <a:close/>
                <a:moveTo>
                  <a:pt x="357" y="992"/>
                </a:moveTo>
                <a:cubicBezTo>
                  <a:pt x="349" y="987"/>
                  <a:pt x="341" y="982"/>
                  <a:pt x="333" y="977"/>
                </a:cubicBezTo>
                <a:cubicBezTo>
                  <a:pt x="341" y="982"/>
                  <a:pt x="349" y="987"/>
                  <a:pt x="357" y="992"/>
                </a:cubicBezTo>
                <a:cubicBezTo>
                  <a:pt x="362" y="994"/>
                  <a:pt x="367" y="994"/>
                  <a:pt x="371" y="996"/>
                </a:cubicBezTo>
                <a:cubicBezTo>
                  <a:pt x="367" y="994"/>
                  <a:pt x="362" y="994"/>
                  <a:pt x="357" y="992"/>
                </a:cubicBezTo>
                <a:close/>
                <a:moveTo>
                  <a:pt x="369" y="564"/>
                </a:moveTo>
                <a:cubicBezTo>
                  <a:pt x="365" y="567"/>
                  <a:pt x="361" y="570"/>
                  <a:pt x="357" y="573"/>
                </a:cubicBezTo>
                <a:cubicBezTo>
                  <a:pt x="361" y="570"/>
                  <a:pt x="365" y="567"/>
                  <a:pt x="369" y="564"/>
                </a:cubicBezTo>
                <a:cubicBezTo>
                  <a:pt x="370" y="563"/>
                  <a:pt x="372" y="561"/>
                  <a:pt x="373" y="561"/>
                </a:cubicBezTo>
                <a:cubicBezTo>
                  <a:pt x="372" y="561"/>
                  <a:pt x="370" y="563"/>
                  <a:pt x="369" y="564"/>
                </a:cubicBezTo>
                <a:close/>
                <a:moveTo>
                  <a:pt x="375" y="1032"/>
                </a:moveTo>
                <a:cubicBezTo>
                  <a:pt x="381" y="1030"/>
                  <a:pt x="386" y="1028"/>
                  <a:pt x="392" y="1028"/>
                </a:cubicBezTo>
                <a:cubicBezTo>
                  <a:pt x="386" y="1028"/>
                  <a:pt x="381" y="1030"/>
                  <a:pt x="375" y="1032"/>
                </a:cubicBezTo>
                <a:close/>
                <a:moveTo>
                  <a:pt x="380" y="422"/>
                </a:moveTo>
                <a:cubicBezTo>
                  <a:pt x="382" y="423"/>
                  <a:pt x="384" y="424"/>
                  <a:pt x="385" y="426"/>
                </a:cubicBezTo>
                <a:cubicBezTo>
                  <a:pt x="384" y="424"/>
                  <a:pt x="382" y="423"/>
                  <a:pt x="380" y="422"/>
                </a:cubicBezTo>
                <a:close/>
                <a:moveTo>
                  <a:pt x="402" y="592"/>
                </a:moveTo>
                <a:cubicBezTo>
                  <a:pt x="402" y="592"/>
                  <a:pt x="402" y="592"/>
                  <a:pt x="402" y="592"/>
                </a:cubicBezTo>
                <a:cubicBezTo>
                  <a:pt x="398" y="592"/>
                  <a:pt x="393" y="593"/>
                  <a:pt x="389" y="593"/>
                </a:cubicBezTo>
                <a:cubicBezTo>
                  <a:pt x="393" y="593"/>
                  <a:pt x="398" y="592"/>
                  <a:pt x="402" y="592"/>
                </a:cubicBezTo>
                <a:close/>
                <a:moveTo>
                  <a:pt x="392" y="553"/>
                </a:moveTo>
                <a:cubicBezTo>
                  <a:pt x="393" y="555"/>
                  <a:pt x="395" y="556"/>
                  <a:pt x="397" y="557"/>
                </a:cubicBezTo>
                <a:cubicBezTo>
                  <a:pt x="397" y="557"/>
                  <a:pt x="397" y="557"/>
                  <a:pt x="397" y="557"/>
                </a:cubicBezTo>
                <a:cubicBezTo>
                  <a:pt x="395" y="556"/>
                  <a:pt x="393" y="555"/>
                  <a:pt x="392" y="553"/>
                </a:cubicBezTo>
                <a:close/>
                <a:moveTo>
                  <a:pt x="404" y="1033"/>
                </a:moveTo>
                <a:cubicBezTo>
                  <a:pt x="404" y="1033"/>
                  <a:pt x="404" y="1033"/>
                  <a:pt x="404" y="1033"/>
                </a:cubicBezTo>
                <a:cubicBezTo>
                  <a:pt x="401" y="1024"/>
                  <a:pt x="404" y="1021"/>
                  <a:pt x="408" y="1020"/>
                </a:cubicBezTo>
                <a:cubicBezTo>
                  <a:pt x="404" y="1021"/>
                  <a:pt x="401" y="1024"/>
                  <a:pt x="404" y="1033"/>
                </a:cubicBezTo>
                <a:close/>
                <a:moveTo>
                  <a:pt x="401" y="837"/>
                </a:moveTo>
                <a:cubicBezTo>
                  <a:pt x="401" y="837"/>
                  <a:pt x="401" y="837"/>
                  <a:pt x="401" y="837"/>
                </a:cubicBezTo>
                <a:cubicBezTo>
                  <a:pt x="402" y="840"/>
                  <a:pt x="403" y="842"/>
                  <a:pt x="405" y="845"/>
                </a:cubicBezTo>
                <a:cubicBezTo>
                  <a:pt x="403" y="842"/>
                  <a:pt x="402" y="840"/>
                  <a:pt x="401" y="837"/>
                </a:cubicBezTo>
                <a:close/>
                <a:moveTo>
                  <a:pt x="407" y="841"/>
                </a:moveTo>
                <a:cubicBezTo>
                  <a:pt x="410" y="837"/>
                  <a:pt x="412" y="834"/>
                  <a:pt x="416" y="833"/>
                </a:cubicBezTo>
                <a:cubicBezTo>
                  <a:pt x="412" y="834"/>
                  <a:pt x="410" y="837"/>
                  <a:pt x="407" y="841"/>
                </a:cubicBezTo>
                <a:close/>
                <a:moveTo>
                  <a:pt x="421" y="1017"/>
                </a:moveTo>
                <a:cubicBezTo>
                  <a:pt x="420" y="1014"/>
                  <a:pt x="419" y="1012"/>
                  <a:pt x="417" y="1011"/>
                </a:cubicBezTo>
                <a:cubicBezTo>
                  <a:pt x="419" y="1012"/>
                  <a:pt x="420" y="1014"/>
                  <a:pt x="421" y="1017"/>
                </a:cubicBezTo>
                <a:cubicBezTo>
                  <a:pt x="422" y="1019"/>
                  <a:pt x="424" y="1020"/>
                  <a:pt x="426" y="1022"/>
                </a:cubicBezTo>
                <a:cubicBezTo>
                  <a:pt x="424" y="1020"/>
                  <a:pt x="422" y="1019"/>
                  <a:pt x="421" y="1017"/>
                </a:cubicBezTo>
                <a:close/>
                <a:moveTo>
                  <a:pt x="393" y="613"/>
                </a:moveTo>
                <a:cubicBezTo>
                  <a:pt x="393" y="617"/>
                  <a:pt x="393" y="621"/>
                  <a:pt x="392" y="625"/>
                </a:cubicBezTo>
                <a:cubicBezTo>
                  <a:pt x="393" y="621"/>
                  <a:pt x="393" y="617"/>
                  <a:pt x="393" y="613"/>
                </a:cubicBezTo>
                <a:cubicBezTo>
                  <a:pt x="393" y="613"/>
                  <a:pt x="393" y="613"/>
                  <a:pt x="393" y="613"/>
                </a:cubicBezTo>
                <a:cubicBezTo>
                  <a:pt x="393" y="613"/>
                  <a:pt x="393" y="613"/>
                  <a:pt x="393" y="613"/>
                </a:cubicBezTo>
                <a:cubicBezTo>
                  <a:pt x="406" y="607"/>
                  <a:pt x="421" y="609"/>
                  <a:pt x="434" y="602"/>
                </a:cubicBezTo>
                <a:cubicBezTo>
                  <a:pt x="421" y="609"/>
                  <a:pt x="406" y="607"/>
                  <a:pt x="393" y="613"/>
                </a:cubicBezTo>
                <a:close/>
                <a:moveTo>
                  <a:pt x="428" y="585"/>
                </a:moveTo>
                <a:cubicBezTo>
                  <a:pt x="428" y="585"/>
                  <a:pt x="428" y="585"/>
                  <a:pt x="428" y="585"/>
                </a:cubicBezTo>
                <a:cubicBezTo>
                  <a:pt x="430" y="585"/>
                  <a:pt x="433" y="585"/>
                  <a:pt x="435" y="585"/>
                </a:cubicBezTo>
                <a:cubicBezTo>
                  <a:pt x="433" y="585"/>
                  <a:pt x="430" y="585"/>
                  <a:pt x="428" y="585"/>
                </a:cubicBezTo>
                <a:close/>
                <a:moveTo>
                  <a:pt x="454" y="389"/>
                </a:moveTo>
                <a:cubicBezTo>
                  <a:pt x="453" y="390"/>
                  <a:pt x="452" y="391"/>
                  <a:pt x="450" y="391"/>
                </a:cubicBezTo>
                <a:cubicBezTo>
                  <a:pt x="452" y="391"/>
                  <a:pt x="453" y="390"/>
                  <a:pt x="454" y="389"/>
                </a:cubicBezTo>
                <a:cubicBezTo>
                  <a:pt x="454" y="389"/>
                  <a:pt x="455" y="389"/>
                  <a:pt x="455" y="390"/>
                </a:cubicBezTo>
                <a:cubicBezTo>
                  <a:pt x="455" y="389"/>
                  <a:pt x="454" y="389"/>
                  <a:pt x="454" y="389"/>
                </a:cubicBezTo>
                <a:close/>
                <a:moveTo>
                  <a:pt x="460" y="572"/>
                </a:moveTo>
                <a:cubicBezTo>
                  <a:pt x="464" y="565"/>
                  <a:pt x="467" y="560"/>
                  <a:pt x="470" y="557"/>
                </a:cubicBezTo>
                <a:cubicBezTo>
                  <a:pt x="467" y="560"/>
                  <a:pt x="464" y="565"/>
                  <a:pt x="460" y="572"/>
                </a:cubicBezTo>
                <a:close/>
                <a:moveTo>
                  <a:pt x="472" y="372"/>
                </a:moveTo>
                <a:cubicBezTo>
                  <a:pt x="472" y="372"/>
                  <a:pt x="472" y="372"/>
                  <a:pt x="472" y="372"/>
                </a:cubicBezTo>
                <a:cubicBezTo>
                  <a:pt x="472" y="374"/>
                  <a:pt x="472" y="375"/>
                  <a:pt x="473" y="377"/>
                </a:cubicBezTo>
                <a:cubicBezTo>
                  <a:pt x="472" y="375"/>
                  <a:pt x="472" y="374"/>
                  <a:pt x="472" y="372"/>
                </a:cubicBezTo>
                <a:close/>
                <a:moveTo>
                  <a:pt x="465" y="1025"/>
                </a:moveTo>
                <a:cubicBezTo>
                  <a:pt x="464" y="1025"/>
                  <a:pt x="462" y="1025"/>
                  <a:pt x="461" y="1025"/>
                </a:cubicBezTo>
                <a:cubicBezTo>
                  <a:pt x="462" y="1025"/>
                  <a:pt x="464" y="1025"/>
                  <a:pt x="465" y="1025"/>
                </a:cubicBezTo>
                <a:cubicBezTo>
                  <a:pt x="468" y="1026"/>
                  <a:pt x="470" y="1027"/>
                  <a:pt x="473" y="1029"/>
                </a:cubicBezTo>
                <a:cubicBezTo>
                  <a:pt x="470" y="1027"/>
                  <a:pt x="468" y="1026"/>
                  <a:pt x="465" y="1025"/>
                </a:cubicBezTo>
                <a:close/>
                <a:moveTo>
                  <a:pt x="474" y="384"/>
                </a:moveTo>
                <a:cubicBezTo>
                  <a:pt x="475" y="383"/>
                  <a:pt x="476" y="382"/>
                  <a:pt x="477" y="380"/>
                </a:cubicBezTo>
                <a:cubicBezTo>
                  <a:pt x="477" y="380"/>
                  <a:pt x="477" y="380"/>
                  <a:pt x="477" y="380"/>
                </a:cubicBezTo>
                <a:cubicBezTo>
                  <a:pt x="476" y="382"/>
                  <a:pt x="475" y="383"/>
                  <a:pt x="474" y="384"/>
                </a:cubicBezTo>
                <a:close/>
                <a:moveTo>
                  <a:pt x="480" y="537"/>
                </a:moveTo>
                <a:cubicBezTo>
                  <a:pt x="480" y="537"/>
                  <a:pt x="480" y="537"/>
                  <a:pt x="480" y="537"/>
                </a:cubicBezTo>
                <a:cubicBezTo>
                  <a:pt x="485" y="536"/>
                  <a:pt x="490" y="537"/>
                  <a:pt x="494" y="540"/>
                </a:cubicBezTo>
                <a:cubicBezTo>
                  <a:pt x="490" y="537"/>
                  <a:pt x="485" y="536"/>
                  <a:pt x="480" y="537"/>
                </a:cubicBezTo>
                <a:close/>
                <a:moveTo>
                  <a:pt x="503" y="572"/>
                </a:moveTo>
                <a:cubicBezTo>
                  <a:pt x="502" y="571"/>
                  <a:pt x="500" y="569"/>
                  <a:pt x="498" y="568"/>
                </a:cubicBezTo>
                <a:cubicBezTo>
                  <a:pt x="498" y="566"/>
                  <a:pt x="498" y="563"/>
                  <a:pt x="498" y="561"/>
                </a:cubicBezTo>
                <a:cubicBezTo>
                  <a:pt x="501" y="560"/>
                  <a:pt x="503" y="560"/>
                  <a:pt x="505" y="560"/>
                </a:cubicBezTo>
                <a:cubicBezTo>
                  <a:pt x="512" y="563"/>
                  <a:pt x="518" y="567"/>
                  <a:pt x="528" y="573"/>
                </a:cubicBezTo>
                <a:cubicBezTo>
                  <a:pt x="517" y="575"/>
                  <a:pt x="510" y="583"/>
                  <a:pt x="503" y="572"/>
                </a:cubicBezTo>
                <a:close/>
                <a:moveTo>
                  <a:pt x="519" y="1132"/>
                </a:moveTo>
                <a:cubicBezTo>
                  <a:pt x="517" y="1132"/>
                  <a:pt x="517" y="1132"/>
                  <a:pt x="516" y="1132"/>
                </a:cubicBezTo>
                <a:cubicBezTo>
                  <a:pt x="517" y="1132"/>
                  <a:pt x="517" y="1132"/>
                  <a:pt x="519" y="1132"/>
                </a:cubicBezTo>
                <a:cubicBezTo>
                  <a:pt x="519" y="1131"/>
                  <a:pt x="519" y="1131"/>
                  <a:pt x="519" y="1131"/>
                </a:cubicBezTo>
                <a:lnTo>
                  <a:pt x="519" y="1132"/>
                </a:lnTo>
                <a:close/>
                <a:moveTo>
                  <a:pt x="521" y="1121"/>
                </a:moveTo>
                <a:cubicBezTo>
                  <a:pt x="518" y="1120"/>
                  <a:pt x="515" y="1118"/>
                  <a:pt x="513" y="1116"/>
                </a:cubicBezTo>
                <a:cubicBezTo>
                  <a:pt x="514" y="1110"/>
                  <a:pt x="518" y="1108"/>
                  <a:pt x="523" y="1107"/>
                </a:cubicBezTo>
                <a:cubicBezTo>
                  <a:pt x="518" y="1108"/>
                  <a:pt x="514" y="1110"/>
                  <a:pt x="513" y="1116"/>
                </a:cubicBezTo>
                <a:cubicBezTo>
                  <a:pt x="515" y="1118"/>
                  <a:pt x="518" y="1120"/>
                  <a:pt x="521" y="1121"/>
                </a:cubicBezTo>
                <a:close/>
                <a:moveTo>
                  <a:pt x="517" y="1095"/>
                </a:moveTo>
                <a:cubicBezTo>
                  <a:pt x="518" y="1096"/>
                  <a:pt x="518" y="1097"/>
                  <a:pt x="519" y="1098"/>
                </a:cubicBezTo>
                <a:cubicBezTo>
                  <a:pt x="519" y="1098"/>
                  <a:pt x="519" y="1098"/>
                  <a:pt x="519" y="1098"/>
                </a:cubicBezTo>
                <a:cubicBezTo>
                  <a:pt x="518" y="1097"/>
                  <a:pt x="518" y="1096"/>
                  <a:pt x="517" y="1095"/>
                </a:cubicBezTo>
                <a:close/>
                <a:moveTo>
                  <a:pt x="517" y="1077"/>
                </a:moveTo>
                <a:cubicBezTo>
                  <a:pt x="517" y="1077"/>
                  <a:pt x="517" y="1077"/>
                  <a:pt x="517" y="1077"/>
                </a:cubicBezTo>
                <a:cubicBezTo>
                  <a:pt x="523" y="1081"/>
                  <a:pt x="529" y="1084"/>
                  <a:pt x="535" y="1084"/>
                </a:cubicBezTo>
                <a:cubicBezTo>
                  <a:pt x="529" y="1084"/>
                  <a:pt x="523" y="1081"/>
                  <a:pt x="517" y="1077"/>
                </a:cubicBezTo>
                <a:close/>
                <a:moveTo>
                  <a:pt x="542" y="536"/>
                </a:moveTo>
                <a:cubicBezTo>
                  <a:pt x="535" y="537"/>
                  <a:pt x="528" y="539"/>
                  <a:pt x="521" y="540"/>
                </a:cubicBezTo>
                <a:cubicBezTo>
                  <a:pt x="517" y="546"/>
                  <a:pt x="513" y="550"/>
                  <a:pt x="509" y="551"/>
                </a:cubicBezTo>
                <a:cubicBezTo>
                  <a:pt x="513" y="550"/>
                  <a:pt x="517" y="546"/>
                  <a:pt x="521" y="540"/>
                </a:cubicBezTo>
                <a:cubicBezTo>
                  <a:pt x="521" y="540"/>
                  <a:pt x="521" y="540"/>
                  <a:pt x="521" y="540"/>
                </a:cubicBezTo>
                <a:cubicBezTo>
                  <a:pt x="528" y="539"/>
                  <a:pt x="535" y="537"/>
                  <a:pt x="542" y="536"/>
                </a:cubicBezTo>
                <a:cubicBezTo>
                  <a:pt x="542" y="536"/>
                  <a:pt x="542" y="536"/>
                  <a:pt x="542" y="536"/>
                </a:cubicBezTo>
                <a:close/>
                <a:moveTo>
                  <a:pt x="533" y="406"/>
                </a:moveTo>
                <a:cubicBezTo>
                  <a:pt x="533" y="405"/>
                  <a:pt x="533" y="404"/>
                  <a:pt x="532" y="403"/>
                </a:cubicBezTo>
                <a:cubicBezTo>
                  <a:pt x="532" y="403"/>
                  <a:pt x="532" y="403"/>
                  <a:pt x="532" y="403"/>
                </a:cubicBezTo>
                <a:cubicBezTo>
                  <a:pt x="533" y="404"/>
                  <a:pt x="533" y="405"/>
                  <a:pt x="533" y="406"/>
                </a:cubicBezTo>
                <a:close/>
                <a:moveTo>
                  <a:pt x="533" y="236"/>
                </a:moveTo>
                <a:cubicBezTo>
                  <a:pt x="533" y="236"/>
                  <a:pt x="533" y="237"/>
                  <a:pt x="533" y="237"/>
                </a:cubicBezTo>
                <a:lnTo>
                  <a:pt x="533" y="236"/>
                </a:lnTo>
                <a:close/>
                <a:moveTo>
                  <a:pt x="545" y="395"/>
                </a:moveTo>
                <a:cubicBezTo>
                  <a:pt x="549" y="393"/>
                  <a:pt x="553" y="390"/>
                  <a:pt x="558" y="389"/>
                </a:cubicBezTo>
                <a:cubicBezTo>
                  <a:pt x="558" y="389"/>
                  <a:pt x="558" y="389"/>
                  <a:pt x="558" y="389"/>
                </a:cubicBezTo>
                <a:cubicBezTo>
                  <a:pt x="553" y="390"/>
                  <a:pt x="549" y="393"/>
                  <a:pt x="545" y="395"/>
                </a:cubicBezTo>
                <a:close/>
                <a:moveTo>
                  <a:pt x="553" y="528"/>
                </a:moveTo>
                <a:cubicBezTo>
                  <a:pt x="553" y="528"/>
                  <a:pt x="553" y="528"/>
                  <a:pt x="553" y="528"/>
                </a:cubicBezTo>
                <a:cubicBezTo>
                  <a:pt x="551" y="530"/>
                  <a:pt x="549" y="531"/>
                  <a:pt x="547" y="532"/>
                </a:cubicBezTo>
                <a:cubicBezTo>
                  <a:pt x="549" y="531"/>
                  <a:pt x="551" y="530"/>
                  <a:pt x="553" y="528"/>
                </a:cubicBezTo>
                <a:close/>
                <a:moveTo>
                  <a:pt x="549" y="973"/>
                </a:moveTo>
                <a:cubicBezTo>
                  <a:pt x="549" y="971"/>
                  <a:pt x="549" y="968"/>
                  <a:pt x="550" y="966"/>
                </a:cubicBezTo>
                <a:cubicBezTo>
                  <a:pt x="549" y="968"/>
                  <a:pt x="549" y="971"/>
                  <a:pt x="549" y="973"/>
                </a:cubicBezTo>
                <a:cubicBezTo>
                  <a:pt x="553" y="973"/>
                  <a:pt x="555" y="970"/>
                  <a:pt x="557" y="968"/>
                </a:cubicBezTo>
                <a:cubicBezTo>
                  <a:pt x="555" y="970"/>
                  <a:pt x="553" y="973"/>
                  <a:pt x="549" y="973"/>
                </a:cubicBezTo>
                <a:close/>
                <a:moveTo>
                  <a:pt x="552" y="961"/>
                </a:moveTo>
                <a:cubicBezTo>
                  <a:pt x="552" y="960"/>
                  <a:pt x="553" y="959"/>
                  <a:pt x="553" y="958"/>
                </a:cubicBezTo>
                <a:cubicBezTo>
                  <a:pt x="553" y="959"/>
                  <a:pt x="552" y="960"/>
                  <a:pt x="552" y="961"/>
                </a:cubicBezTo>
                <a:close/>
                <a:moveTo>
                  <a:pt x="552" y="540"/>
                </a:moveTo>
                <a:cubicBezTo>
                  <a:pt x="557" y="542"/>
                  <a:pt x="561" y="544"/>
                  <a:pt x="565" y="544"/>
                </a:cubicBezTo>
                <a:cubicBezTo>
                  <a:pt x="561" y="544"/>
                  <a:pt x="557" y="542"/>
                  <a:pt x="552" y="540"/>
                </a:cubicBezTo>
                <a:close/>
                <a:moveTo>
                  <a:pt x="570" y="385"/>
                </a:moveTo>
                <a:cubicBezTo>
                  <a:pt x="571" y="385"/>
                  <a:pt x="572" y="384"/>
                  <a:pt x="573" y="383"/>
                </a:cubicBezTo>
                <a:cubicBezTo>
                  <a:pt x="575" y="383"/>
                  <a:pt x="576" y="382"/>
                  <a:pt x="578" y="381"/>
                </a:cubicBezTo>
                <a:cubicBezTo>
                  <a:pt x="578" y="381"/>
                  <a:pt x="578" y="381"/>
                  <a:pt x="578" y="381"/>
                </a:cubicBezTo>
                <a:cubicBezTo>
                  <a:pt x="576" y="382"/>
                  <a:pt x="575" y="383"/>
                  <a:pt x="573" y="383"/>
                </a:cubicBezTo>
                <a:cubicBezTo>
                  <a:pt x="572" y="384"/>
                  <a:pt x="571" y="385"/>
                  <a:pt x="570" y="385"/>
                </a:cubicBezTo>
                <a:cubicBezTo>
                  <a:pt x="568" y="386"/>
                  <a:pt x="566" y="388"/>
                  <a:pt x="565" y="389"/>
                </a:cubicBezTo>
                <a:cubicBezTo>
                  <a:pt x="566" y="388"/>
                  <a:pt x="568" y="386"/>
                  <a:pt x="570" y="385"/>
                </a:cubicBezTo>
                <a:close/>
                <a:moveTo>
                  <a:pt x="565" y="345"/>
                </a:moveTo>
                <a:cubicBezTo>
                  <a:pt x="565" y="345"/>
                  <a:pt x="565" y="345"/>
                  <a:pt x="565" y="345"/>
                </a:cubicBezTo>
                <a:cubicBezTo>
                  <a:pt x="565" y="345"/>
                  <a:pt x="565" y="345"/>
                  <a:pt x="565" y="345"/>
                </a:cubicBezTo>
                <a:close/>
                <a:moveTo>
                  <a:pt x="569" y="253"/>
                </a:moveTo>
                <a:cubicBezTo>
                  <a:pt x="570" y="253"/>
                  <a:pt x="571" y="253"/>
                  <a:pt x="573" y="253"/>
                </a:cubicBezTo>
                <a:cubicBezTo>
                  <a:pt x="571" y="253"/>
                  <a:pt x="570" y="253"/>
                  <a:pt x="569" y="253"/>
                </a:cubicBezTo>
                <a:close/>
                <a:moveTo>
                  <a:pt x="565" y="248"/>
                </a:moveTo>
                <a:cubicBezTo>
                  <a:pt x="564" y="245"/>
                  <a:pt x="563" y="243"/>
                  <a:pt x="561" y="242"/>
                </a:cubicBezTo>
                <a:cubicBezTo>
                  <a:pt x="563" y="243"/>
                  <a:pt x="564" y="245"/>
                  <a:pt x="565" y="248"/>
                </a:cubicBezTo>
                <a:cubicBezTo>
                  <a:pt x="568" y="249"/>
                  <a:pt x="570" y="251"/>
                  <a:pt x="573" y="253"/>
                </a:cubicBezTo>
                <a:cubicBezTo>
                  <a:pt x="570" y="251"/>
                  <a:pt x="568" y="249"/>
                  <a:pt x="565" y="248"/>
                </a:cubicBezTo>
                <a:close/>
                <a:moveTo>
                  <a:pt x="597" y="965"/>
                </a:moveTo>
                <a:cubicBezTo>
                  <a:pt x="593" y="970"/>
                  <a:pt x="588" y="973"/>
                  <a:pt x="582" y="974"/>
                </a:cubicBezTo>
                <a:cubicBezTo>
                  <a:pt x="588" y="973"/>
                  <a:pt x="593" y="970"/>
                  <a:pt x="597" y="965"/>
                </a:cubicBezTo>
                <a:cubicBezTo>
                  <a:pt x="600" y="965"/>
                  <a:pt x="602" y="965"/>
                  <a:pt x="605" y="965"/>
                </a:cubicBezTo>
                <a:cubicBezTo>
                  <a:pt x="602" y="965"/>
                  <a:pt x="600" y="965"/>
                  <a:pt x="597" y="965"/>
                </a:cubicBezTo>
                <a:close/>
                <a:moveTo>
                  <a:pt x="581" y="541"/>
                </a:moveTo>
                <a:cubicBezTo>
                  <a:pt x="585" y="541"/>
                  <a:pt x="588" y="543"/>
                  <a:pt x="588" y="549"/>
                </a:cubicBezTo>
                <a:cubicBezTo>
                  <a:pt x="588" y="549"/>
                  <a:pt x="588" y="549"/>
                  <a:pt x="588" y="549"/>
                </a:cubicBezTo>
                <a:cubicBezTo>
                  <a:pt x="588" y="543"/>
                  <a:pt x="585" y="541"/>
                  <a:pt x="581" y="541"/>
                </a:cubicBezTo>
                <a:close/>
                <a:moveTo>
                  <a:pt x="594" y="557"/>
                </a:moveTo>
                <a:cubicBezTo>
                  <a:pt x="596" y="558"/>
                  <a:pt x="598" y="560"/>
                  <a:pt x="600" y="561"/>
                </a:cubicBezTo>
                <a:cubicBezTo>
                  <a:pt x="600" y="562"/>
                  <a:pt x="601" y="563"/>
                  <a:pt x="601" y="564"/>
                </a:cubicBezTo>
                <a:cubicBezTo>
                  <a:pt x="601" y="563"/>
                  <a:pt x="600" y="562"/>
                  <a:pt x="600" y="561"/>
                </a:cubicBezTo>
                <a:cubicBezTo>
                  <a:pt x="598" y="560"/>
                  <a:pt x="596" y="558"/>
                  <a:pt x="594" y="557"/>
                </a:cubicBezTo>
                <a:close/>
                <a:moveTo>
                  <a:pt x="603" y="1185"/>
                </a:moveTo>
                <a:cubicBezTo>
                  <a:pt x="604" y="1185"/>
                  <a:pt x="604" y="1185"/>
                  <a:pt x="604" y="1185"/>
                </a:cubicBezTo>
                <a:cubicBezTo>
                  <a:pt x="603" y="1185"/>
                  <a:pt x="603" y="1185"/>
                  <a:pt x="603" y="1185"/>
                </a:cubicBezTo>
                <a:close/>
                <a:moveTo>
                  <a:pt x="605" y="1185"/>
                </a:moveTo>
                <a:cubicBezTo>
                  <a:pt x="605" y="1185"/>
                  <a:pt x="605" y="1185"/>
                  <a:pt x="605" y="1185"/>
                </a:cubicBezTo>
                <a:cubicBezTo>
                  <a:pt x="606" y="1185"/>
                  <a:pt x="607" y="1185"/>
                  <a:pt x="609" y="1185"/>
                </a:cubicBezTo>
                <a:cubicBezTo>
                  <a:pt x="607" y="1185"/>
                  <a:pt x="606" y="1185"/>
                  <a:pt x="605" y="1185"/>
                </a:cubicBezTo>
                <a:close/>
                <a:moveTo>
                  <a:pt x="641" y="1217"/>
                </a:moveTo>
                <a:cubicBezTo>
                  <a:pt x="632" y="1214"/>
                  <a:pt x="624" y="1210"/>
                  <a:pt x="615" y="1207"/>
                </a:cubicBezTo>
                <a:cubicBezTo>
                  <a:pt x="624" y="1210"/>
                  <a:pt x="632" y="1214"/>
                  <a:pt x="641" y="1217"/>
                </a:cubicBezTo>
                <a:close/>
                <a:moveTo>
                  <a:pt x="644" y="586"/>
                </a:moveTo>
                <a:cubicBezTo>
                  <a:pt x="642" y="580"/>
                  <a:pt x="641" y="575"/>
                  <a:pt x="642" y="571"/>
                </a:cubicBezTo>
                <a:cubicBezTo>
                  <a:pt x="641" y="575"/>
                  <a:pt x="642" y="580"/>
                  <a:pt x="644" y="586"/>
                </a:cubicBezTo>
                <a:close/>
                <a:moveTo>
                  <a:pt x="657" y="536"/>
                </a:moveTo>
                <a:cubicBezTo>
                  <a:pt x="654" y="538"/>
                  <a:pt x="651" y="539"/>
                  <a:pt x="649" y="540"/>
                </a:cubicBezTo>
                <a:cubicBezTo>
                  <a:pt x="651" y="539"/>
                  <a:pt x="654" y="538"/>
                  <a:pt x="657" y="536"/>
                </a:cubicBezTo>
                <a:cubicBezTo>
                  <a:pt x="657" y="536"/>
                  <a:pt x="657" y="536"/>
                  <a:pt x="657" y="536"/>
                </a:cubicBezTo>
                <a:close/>
                <a:moveTo>
                  <a:pt x="677" y="965"/>
                </a:moveTo>
                <a:cubicBezTo>
                  <a:pt x="677" y="965"/>
                  <a:pt x="677" y="965"/>
                  <a:pt x="677" y="965"/>
                </a:cubicBezTo>
                <a:cubicBezTo>
                  <a:pt x="677" y="965"/>
                  <a:pt x="677" y="965"/>
                  <a:pt x="677" y="964"/>
                </a:cubicBezTo>
                <a:cubicBezTo>
                  <a:pt x="677" y="964"/>
                  <a:pt x="677" y="964"/>
                  <a:pt x="677" y="964"/>
                </a:cubicBezTo>
                <a:cubicBezTo>
                  <a:pt x="677" y="965"/>
                  <a:pt x="677" y="965"/>
                  <a:pt x="677" y="965"/>
                </a:cubicBezTo>
                <a:cubicBezTo>
                  <a:pt x="677" y="965"/>
                  <a:pt x="677" y="965"/>
                  <a:pt x="677" y="965"/>
                </a:cubicBezTo>
                <a:close/>
                <a:moveTo>
                  <a:pt x="692" y="969"/>
                </a:moveTo>
                <a:cubicBezTo>
                  <a:pt x="688" y="966"/>
                  <a:pt x="684" y="965"/>
                  <a:pt x="679" y="965"/>
                </a:cubicBezTo>
                <a:cubicBezTo>
                  <a:pt x="684" y="965"/>
                  <a:pt x="688" y="966"/>
                  <a:pt x="692" y="969"/>
                </a:cubicBezTo>
                <a:close/>
                <a:moveTo>
                  <a:pt x="680" y="451"/>
                </a:moveTo>
                <a:cubicBezTo>
                  <a:pt x="680" y="451"/>
                  <a:pt x="681" y="451"/>
                  <a:pt x="682" y="451"/>
                </a:cubicBezTo>
                <a:cubicBezTo>
                  <a:pt x="682" y="451"/>
                  <a:pt x="682" y="451"/>
                  <a:pt x="682" y="451"/>
                </a:cubicBezTo>
                <a:cubicBezTo>
                  <a:pt x="681" y="451"/>
                  <a:pt x="680" y="451"/>
                  <a:pt x="680" y="451"/>
                </a:cubicBezTo>
                <a:close/>
                <a:moveTo>
                  <a:pt x="701" y="1065"/>
                </a:moveTo>
                <a:cubicBezTo>
                  <a:pt x="701" y="1065"/>
                  <a:pt x="701" y="1065"/>
                  <a:pt x="701" y="1065"/>
                </a:cubicBezTo>
                <a:cubicBezTo>
                  <a:pt x="702" y="1065"/>
                  <a:pt x="703" y="1065"/>
                  <a:pt x="705" y="1065"/>
                </a:cubicBezTo>
                <a:cubicBezTo>
                  <a:pt x="703" y="1065"/>
                  <a:pt x="702" y="1065"/>
                  <a:pt x="701" y="1065"/>
                </a:cubicBezTo>
                <a:close/>
                <a:moveTo>
                  <a:pt x="709" y="981"/>
                </a:moveTo>
                <a:cubicBezTo>
                  <a:pt x="708" y="980"/>
                  <a:pt x="707" y="979"/>
                  <a:pt x="706" y="978"/>
                </a:cubicBezTo>
                <a:cubicBezTo>
                  <a:pt x="707" y="979"/>
                  <a:pt x="708" y="980"/>
                  <a:pt x="709" y="981"/>
                </a:cubicBezTo>
                <a:close/>
                <a:moveTo>
                  <a:pt x="709" y="981"/>
                </a:moveTo>
                <a:cubicBezTo>
                  <a:pt x="709" y="981"/>
                  <a:pt x="709" y="981"/>
                  <a:pt x="709" y="981"/>
                </a:cubicBezTo>
                <a:cubicBezTo>
                  <a:pt x="711" y="981"/>
                  <a:pt x="713" y="981"/>
                  <a:pt x="714" y="981"/>
                </a:cubicBezTo>
                <a:cubicBezTo>
                  <a:pt x="713" y="981"/>
                  <a:pt x="711" y="981"/>
                  <a:pt x="709" y="981"/>
                </a:cubicBezTo>
                <a:close/>
                <a:moveTo>
                  <a:pt x="793" y="777"/>
                </a:moveTo>
                <a:cubicBezTo>
                  <a:pt x="792" y="777"/>
                  <a:pt x="791" y="777"/>
                  <a:pt x="790" y="777"/>
                </a:cubicBezTo>
                <a:cubicBezTo>
                  <a:pt x="791" y="777"/>
                  <a:pt x="792" y="777"/>
                  <a:pt x="793" y="777"/>
                </a:cubicBezTo>
                <a:cubicBezTo>
                  <a:pt x="793" y="777"/>
                  <a:pt x="793" y="777"/>
                  <a:pt x="793" y="777"/>
                </a:cubicBezTo>
                <a:close/>
                <a:moveTo>
                  <a:pt x="833" y="1045"/>
                </a:move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3" y="1045"/>
                  <a:pt x="833" y="1045"/>
                  <a:pt x="833" y="1045"/>
                </a:cubicBezTo>
                <a:cubicBezTo>
                  <a:pt x="836" y="1045"/>
                  <a:pt x="839" y="1045"/>
                  <a:pt x="842" y="1046"/>
                </a:cubicBezTo>
                <a:cubicBezTo>
                  <a:pt x="839" y="1045"/>
                  <a:pt x="836" y="1045"/>
                  <a:pt x="833" y="1045"/>
                </a:cubicBezTo>
                <a:close/>
                <a:moveTo>
                  <a:pt x="829" y="730"/>
                </a:moveTo>
                <a:cubicBezTo>
                  <a:pt x="830" y="728"/>
                  <a:pt x="832" y="726"/>
                  <a:pt x="833" y="724"/>
                </a:cubicBezTo>
                <a:cubicBezTo>
                  <a:pt x="832" y="726"/>
                  <a:pt x="830" y="728"/>
                  <a:pt x="829" y="730"/>
                </a:cubicBezTo>
                <a:close/>
                <a:moveTo>
                  <a:pt x="917" y="1209"/>
                </a:moveTo>
                <a:cubicBezTo>
                  <a:pt x="915" y="1210"/>
                  <a:pt x="912" y="1211"/>
                  <a:pt x="910" y="1212"/>
                </a:cubicBezTo>
                <a:cubicBezTo>
                  <a:pt x="912" y="1211"/>
                  <a:pt x="915" y="1210"/>
                  <a:pt x="917" y="1209"/>
                </a:cubicBezTo>
                <a:cubicBezTo>
                  <a:pt x="929" y="1205"/>
                  <a:pt x="941" y="1202"/>
                  <a:pt x="953" y="1200"/>
                </a:cubicBezTo>
                <a:cubicBezTo>
                  <a:pt x="941" y="1202"/>
                  <a:pt x="929" y="1205"/>
                  <a:pt x="917" y="1209"/>
                </a:cubicBezTo>
                <a:close/>
                <a:moveTo>
                  <a:pt x="869" y="889"/>
                </a:moveTo>
                <a:cubicBezTo>
                  <a:pt x="870" y="889"/>
                  <a:pt x="872" y="889"/>
                  <a:pt x="873" y="889"/>
                </a:cubicBezTo>
                <a:cubicBezTo>
                  <a:pt x="872" y="889"/>
                  <a:pt x="870" y="889"/>
                  <a:pt x="869" y="889"/>
                </a:cubicBezTo>
                <a:cubicBezTo>
                  <a:pt x="898" y="906"/>
                  <a:pt x="928" y="923"/>
                  <a:pt x="957" y="941"/>
                </a:cubicBezTo>
                <a:cubicBezTo>
                  <a:pt x="928" y="923"/>
                  <a:pt x="898" y="906"/>
                  <a:pt x="869" y="889"/>
                </a:cubicBezTo>
                <a:close/>
                <a:moveTo>
                  <a:pt x="961" y="1253"/>
                </a:moveTo>
                <a:cubicBezTo>
                  <a:pt x="960" y="1252"/>
                  <a:pt x="960" y="1252"/>
                  <a:pt x="960" y="1252"/>
                </a:cubicBezTo>
                <a:cubicBezTo>
                  <a:pt x="960" y="1252"/>
                  <a:pt x="960" y="1252"/>
                  <a:pt x="961" y="1253"/>
                </a:cubicBezTo>
                <a:close/>
                <a:moveTo>
                  <a:pt x="971" y="1317"/>
                </a:moveTo>
                <a:cubicBezTo>
                  <a:pt x="973" y="1317"/>
                  <a:pt x="975" y="1318"/>
                  <a:pt x="976" y="1318"/>
                </a:cubicBezTo>
                <a:cubicBezTo>
                  <a:pt x="975" y="1318"/>
                  <a:pt x="973" y="1317"/>
                  <a:pt x="971" y="1317"/>
                </a:cubicBezTo>
                <a:close/>
                <a:moveTo>
                  <a:pt x="969" y="1253"/>
                </a:moveTo>
                <a:cubicBezTo>
                  <a:pt x="969" y="1253"/>
                  <a:pt x="969" y="1253"/>
                  <a:pt x="969" y="1253"/>
                </a:cubicBezTo>
                <a:cubicBezTo>
                  <a:pt x="975" y="1256"/>
                  <a:pt x="980" y="1259"/>
                  <a:pt x="987" y="1260"/>
                </a:cubicBezTo>
                <a:cubicBezTo>
                  <a:pt x="980" y="1259"/>
                  <a:pt x="975" y="1256"/>
                  <a:pt x="969" y="1253"/>
                </a:cubicBezTo>
                <a:close/>
                <a:moveTo>
                  <a:pt x="993" y="1261"/>
                </a:moveTo>
                <a:cubicBezTo>
                  <a:pt x="994" y="1261"/>
                  <a:pt x="996" y="1261"/>
                  <a:pt x="997" y="1261"/>
                </a:cubicBezTo>
                <a:cubicBezTo>
                  <a:pt x="997" y="1261"/>
                  <a:pt x="997" y="1261"/>
                  <a:pt x="997" y="1261"/>
                </a:cubicBezTo>
                <a:cubicBezTo>
                  <a:pt x="996" y="1261"/>
                  <a:pt x="994" y="1261"/>
                  <a:pt x="993" y="1261"/>
                </a:cubicBezTo>
                <a:close/>
                <a:moveTo>
                  <a:pt x="997" y="1261"/>
                </a:moveTo>
                <a:cubicBezTo>
                  <a:pt x="999" y="1261"/>
                  <a:pt x="999" y="1261"/>
                  <a:pt x="999" y="1261"/>
                </a:cubicBezTo>
                <a:cubicBezTo>
                  <a:pt x="998" y="1261"/>
                  <a:pt x="997" y="1261"/>
                  <a:pt x="997" y="1261"/>
                </a:cubicBezTo>
                <a:close/>
                <a:moveTo>
                  <a:pt x="1045" y="1329"/>
                </a:moveTo>
                <a:cubicBezTo>
                  <a:pt x="1041" y="1330"/>
                  <a:pt x="1037" y="1331"/>
                  <a:pt x="1033" y="1333"/>
                </a:cubicBezTo>
                <a:cubicBezTo>
                  <a:pt x="1037" y="1331"/>
                  <a:pt x="1041" y="1330"/>
                  <a:pt x="1045" y="1329"/>
                </a:cubicBezTo>
                <a:cubicBezTo>
                  <a:pt x="1049" y="1327"/>
                  <a:pt x="1053" y="1322"/>
                  <a:pt x="1057" y="1322"/>
                </a:cubicBezTo>
                <a:cubicBezTo>
                  <a:pt x="1053" y="1322"/>
                  <a:pt x="1049" y="1327"/>
                  <a:pt x="1045" y="1329"/>
                </a:cubicBezTo>
                <a:close/>
                <a:moveTo>
                  <a:pt x="1064" y="861"/>
                </a:moveTo>
                <a:cubicBezTo>
                  <a:pt x="1059" y="860"/>
                  <a:pt x="1055" y="857"/>
                  <a:pt x="1052" y="854"/>
                </a:cubicBezTo>
                <a:cubicBezTo>
                  <a:pt x="1046" y="849"/>
                  <a:pt x="1039" y="845"/>
                  <a:pt x="1033" y="841"/>
                </a:cubicBezTo>
                <a:cubicBezTo>
                  <a:pt x="1027" y="837"/>
                  <a:pt x="1021" y="833"/>
                  <a:pt x="1015" y="830"/>
                </a:cubicBezTo>
                <a:cubicBezTo>
                  <a:pt x="991" y="815"/>
                  <a:pt x="966" y="800"/>
                  <a:pt x="941" y="785"/>
                </a:cubicBezTo>
                <a:cubicBezTo>
                  <a:pt x="930" y="777"/>
                  <a:pt x="919" y="769"/>
                  <a:pt x="908" y="761"/>
                </a:cubicBezTo>
                <a:cubicBezTo>
                  <a:pt x="838" y="716"/>
                  <a:pt x="768" y="671"/>
                  <a:pt x="698" y="625"/>
                </a:cubicBezTo>
                <a:cubicBezTo>
                  <a:pt x="768" y="671"/>
                  <a:pt x="838" y="716"/>
                  <a:pt x="908" y="761"/>
                </a:cubicBezTo>
                <a:cubicBezTo>
                  <a:pt x="919" y="769"/>
                  <a:pt x="930" y="777"/>
                  <a:pt x="941" y="785"/>
                </a:cubicBezTo>
                <a:cubicBezTo>
                  <a:pt x="966" y="800"/>
                  <a:pt x="991" y="815"/>
                  <a:pt x="1015" y="830"/>
                </a:cubicBezTo>
                <a:cubicBezTo>
                  <a:pt x="1021" y="833"/>
                  <a:pt x="1027" y="837"/>
                  <a:pt x="1033" y="841"/>
                </a:cubicBezTo>
                <a:cubicBezTo>
                  <a:pt x="1039" y="845"/>
                  <a:pt x="1046" y="849"/>
                  <a:pt x="1052" y="854"/>
                </a:cubicBezTo>
                <a:cubicBezTo>
                  <a:pt x="1055" y="857"/>
                  <a:pt x="1059" y="860"/>
                  <a:pt x="1064" y="861"/>
                </a:cubicBezTo>
                <a:cubicBezTo>
                  <a:pt x="1069" y="865"/>
                  <a:pt x="1073" y="869"/>
                  <a:pt x="1078" y="872"/>
                </a:cubicBezTo>
                <a:cubicBezTo>
                  <a:pt x="1073" y="869"/>
                  <a:pt x="1069" y="865"/>
                  <a:pt x="1064" y="861"/>
                </a:cubicBezTo>
                <a:close/>
                <a:moveTo>
                  <a:pt x="698" y="427"/>
                </a:moveTo>
                <a:cubicBezTo>
                  <a:pt x="698" y="427"/>
                  <a:pt x="698" y="427"/>
                  <a:pt x="698" y="427"/>
                </a:cubicBezTo>
                <a:cubicBezTo>
                  <a:pt x="698" y="427"/>
                  <a:pt x="698" y="427"/>
                  <a:pt x="698" y="427"/>
                </a:cubicBezTo>
                <a:cubicBezTo>
                  <a:pt x="698" y="427"/>
                  <a:pt x="698" y="427"/>
                  <a:pt x="698" y="427"/>
                </a:cubicBezTo>
                <a:close/>
                <a:moveTo>
                  <a:pt x="721" y="377"/>
                </a:moveTo>
                <a:cubicBezTo>
                  <a:pt x="722" y="381"/>
                  <a:pt x="723" y="384"/>
                  <a:pt x="725" y="388"/>
                </a:cubicBezTo>
                <a:cubicBezTo>
                  <a:pt x="723" y="384"/>
                  <a:pt x="722" y="381"/>
                  <a:pt x="721" y="377"/>
                </a:cubicBezTo>
                <a:cubicBezTo>
                  <a:pt x="719" y="375"/>
                  <a:pt x="718" y="373"/>
                  <a:pt x="719" y="371"/>
                </a:cubicBezTo>
                <a:cubicBezTo>
                  <a:pt x="718" y="373"/>
                  <a:pt x="719" y="375"/>
                  <a:pt x="721" y="377"/>
                </a:cubicBezTo>
                <a:close/>
                <a:moveTo>
                  <a:pt x="733" y="420"/>
                </a:moveTo>
                <a:cubicBezTo>
                  <a:pt x="733" y="417"/>
                  <a:pt x="733" y="413"/>
                  <a:pt x="735" y="412"/>
                </a:cubicBezTo>
                <a:cubicBezTo>
                  <a:pt x="733" y="413"/>
                  <a:pt x="733" y="417"/>
                  <a:pt x="733" y="420"/>
                </a:cubicBezTo>
                <a:cubicBezTo>
                  <a:pt x="728" y="422"/>
                  <a:pt x="722" y="425"/>
                  <a:pt x="717" y="425"/>
                </a:cubicBezTo>
                <a:cubicBezTo>
                  <a:pt x="722" y="425"/>
                  <a:pt x="728" y="422"/>
                  <a:pt x="733" y="420"/>
                </a:cubicBezTo>
                <a:close/>
                <a:moveTo>
                  <a:pt x="754" y="606"/>
                </a:moveTo>
                <a:cubicBezTo>
                  <a:pt x="759" y="612"/>
                  <a:pt x="764" y="612"/>
                  <a:pt x="769" y="599"/>
                </a:cubicBezTo>
                <a:cubicBezTo>
                  <a:pt x="769" y="599"/>
                  <a:pt x="769" y="599"/>
                  <a:pt x="769" y="599"/>
                </a:cubicBezTo>
                <a:cubicBezTo>
                  <a:pt x="764" y="612"/>
                  <a:pt x="759" y="612"/>
                  <a:pt x="754" y="606"/>
                </a:cubicBezTo>
                <a:close/>
                <a:moveTo>
                  <a:pt x="802" y="469"/>
                </a:moveTo>
                <a:cubicBezTo>
                  <a:pt x="808" y="473"/>
                  <a:pt x="814" y="478"/>
                  <a:pt x="819" y="484"/>
                </a:cubicBezTo>
                <a:cubicBezTo>
                  <a:pt x="821" y="484"/>
                  <a:pt x="821" y="484"/>
                  <a:pt x="821" y="484"/>
                </a:cubicBezTo>
                <a:cubicBezTo>
                  <a:pt x="822" y="483"/>
                  <a:pt x="823" y="482"/>
                  <a:pt x="824" y="481"/>
                </a:cubicBezTo>
                <a:cubicBezTo>
                  <a:pt x="823" y="482"/>
                  <a:pt x="822" y="483"/>
                  <a:pt x="821" y="484"/>
                </a:cubicBezTo>
                <a:cubicBezTo>
                  <a:pt x="821" y="484"/>
                  <a:pt x="819" y="484"/>
                  <a:pt x="819" y="484"/>
                </a:cubicBezTo>
                <a:cubicBezTo>
                  <a:pt x="814" y="478"/>
                  <a:pt x="808" y="473"/>
                  <a:pt x="802" y="469"/>
                </a:cubicBezTo>
                <a:close/>
                <a:moveTo>
                  <a:pt x="848" y="377"/>
                </a:moveTo>
                <a:cubicBezTo>
                  <a:pt x="848" y="388"/>
                  <a:pt x="857" y="390"/>
                  <a:pt x="864" y="394"/>
                </a:cubicBezTo>
                <a:cubicBezTo>
                  <a:pt x="857" y="390"/>
                  <a:pt x="848" y="388"/>
                  <a:pt x="848" y="377"/>
                </a:cubicBezTo>
                <a:cubicBezTo>
                  <a:pt x="829" y="370"/>
                  <a:pt x="813" y="358"/>
                  <a:pt x="798" y="345"/>
                </a:cubicBezTo>
                <a:cubicBezTo>
                  <a:pt x="813" y="358"/>
                  <a:pt x="829" y="370"/>
                  <a:pt x="848" y="377"/>
                </a:cubicBezTo>
                <a:close/>
                <a:moveTo>
                  <a:pt x="828" y="333"/>
                </a:moveTo>
                <a:cubicBezTo>
                  <a:pt x="828" y="333"/>
                  <a:pt x="828" y="333"/>
                  <a:pt x="828" y="333"/>
                </a:cubicBezTo>
                <a:cubicBezTo>
                  <a:pt x="828" y="333"/>
                  <a:pt x="829" y="332"/>
                  <a:pt x="829" y="332"/>
                </a:cubicBezTo>
                <a:cubicBezTo>
                  <a:pt x="829" y="332"/>
                  <a:pt x="829" y="332"/>
                  <a:pt x="829" y="332"/>
                </a:cubicBezTo>
                <a:lnTo>
                  <a:pt x="828" y="333"/>
                </a:lnTo>
                <a:close/>
                <a:moveTo>
                  <a:pt x="905" y="436"/>
                </a:moveTo>
                <a:cubicBezTo>
                  <a:pt x="903" y="429"/>
                  <a:pt x="898" y="424"/>
                  <a:pt x="896" y="417"/>
                </a:cubicBezTo>
                <a:cubicBezTo>
                  <a:pt x="896" y="417"/>
                  <a:pt x="896" y="417"/>
                  <a:pt x="896" y="417"/>
                </a:cubicBezTo>
                <a:cubicBezTo>
                  <a:pt x="896" y="417"/>
                  <a:pt x="896" y="417"/>
                  <a:pt x="896" y="417"/>
                </a:cubicBezTo>
                <a:cubicBezTo>
                  <a:pt x="898" y="424"/>
                  <a:pt x="903" y="429"/>
                  <a:pt x="905" y="436"/>
                </a:cubicBezTo>
                <a:close/>
                <a:moveTo>
                  <a:pt x="900" y="401"/>
                </a:moveTo>
                <a:cubicBezTo>
                  <a:pt x="900" y="401"/>
                  <a:pt x="901" y="401"/>
                  <a:pt x="902" y="400"/>
                </a:cubicBezTo>
                <a:cubicBezTo>
                  <a:pt x="902" y="400"/>
                  <a:pt x="902" y="400"/>
                  <a:pt x="902" y="400"/>
                </a:cubicBezTo>
                <a:cubicBezTo>
                  <a:pt x="901" y="401"/>
                  <a:pt x="900" y="401"/>
                  <a:pt x="900" y="401"/>
                </a:cubicBezTo>
                <a:close/>
                <a:moveTo>
                  <a:pt x="905" y="443"/>
                </a:moveTo>
                <a:cubicBezTo>
                  <a:pt x="927" y="454"/>
                  <a:pt x="947" y="468"/>
                  <a:pt x="961" y="489"/>
                </a:cubicBezTo>
                <a:cubicBezTo>
                  <a:pt x="960" y="496"/>
                  <a:pt x="962" y="502"/>
                  <a:pt x="966" y="508"/>
                </a:cubicBezTo>
                <a:cubicBezTo>
                  <a:pt x="967" y="519"/>
                  <a:pt x="974" y="529"/>
                  <a:pt x="972" y="540"/>
                </a:cubicBezTo>
                <a:cubicBezTo>
                  <a:pt x="971" y="540"/>
                  <a:pt x="971" y="540"/>
                  <a:pt x="970" y="540"/>
                </a:cubicBezTo>
                <a:cubicBezTo>
                  <a:pt x="970" y="540"/>
                  <a:pt x="970" y="540"/>
                  <a:pt x="970" y="540"/>
                </a:cubicBezTo>
                <a:cubicBezTo>
                  <a:pt x="968" y="538"/>
                  <a:pt x="967" y="537"/>
                  <a:pt x="966" y="536"/>
                </a:cubicBezTo>
                <a:cubicBezTo>
                  <a:pt x="965" y="537"/>
                  <a:pt x="964" y="538"/>
                  <a:pt x="963" y="539"/>
                </a:cubicBezTo>
                <a:cubicBezTo>
                  <a:pt x="964" y="538"/>
                  <a:pt x="965" y="537"/>
                  <a:pt x="966" y="536"/>
                </a:cubicBezTo>
                <a:cubicBezTo>
                  <a:pt x="964" y="535"/>
                  <a:pt x="962" y="534"/>
                  <a:pt x="961" y="533"/>
                </a:cubicBezTo>
                <a:cubicBezTo>
                  <a:pt x="961" y="534"/>
                  <a:pt x="962" y="536"/>
                  <a:pt x="963" y="538"/>
                </a:cubicBezTo>
                <a:cubicBezTo>
                  <a:pt x="963" y="538"/>
                  <a:pt x="963" y="538"/>
                  <a:pt x="963" y="538"/>
                </a:cubicBezTo>
                <a:cubicBezTo>
                  <a:pt x="962" y="536"/>
                  <a:pt x="961" y="534"/>
                  <a:pt x="961" y="533"/>
                </a:cubicBezTo>
                <a:cubicBezTo>
                  <a:pt x="958" y="530"/>
                  <a:pt x="955" y="528"/>
                  <a:pt x="952" y="525"/>
                </a:cubicBezTo>
                <a:cubicBezTo>
                  <a:pt x="950" y="518"/>
                  <a:pt x="947" y="510"/>
                  <a:pt x="945" y="502"/>
                </a:cubicBezTo>
                <a:cubicBezTo>
                  <a:pt x="944" y="496"/>
                  <a:pt x="943" y="487"/>
                  <a:pt x="935" y="488"/>
                </a:cubicBezTo>
                <a:cubicBezTo>
                  <a:pt x="928" y="489"/>
                  <a:pt x="930" y="498"/>
                  <a:pt x="929" y="504"/>
                </a:cubicBezTo>
                <a:cubicBezTo>
                  <a:pt x="917" y="504"/>
                  <a:pt x="916" y="498"/>
                  <a:pt x="918" y="487"/>
                </a:cubicBezTo>
                <a:cubicBezTo>
                  <a:pt x="918" y="483"/>
                  <a:pt x="924" y="463"/>
                  <a:pt x="906" y="473"/>
                </a:cubicBezTo>
                <a:cubicBezTo>
                  <a:pt x="893" y="480"/>
                  <a:pt x="883" y="475"/>
                  <a:pt x="873" y="468"/>
                </a:cubicBezTo>
                <a:cubicBezTo>
                  <a:pt x="872" y="467"/>
                  <a:pt x="870" y="466"/>
                  <a:pt x="869" y="465"/>
                </a:cubicBezTo>
                <a:cubicBezTo>
                  <a:pt x="869" y="463"/>
                  <a:pt x="868" y="462"/>
                  <a:pt x="868" y="460"/>
                </a:cubicBezTo>
                <a:cubicBezTo>
                  <a:pt x="871" y="458"/>
                  <a:pt x="875" y="456"/>
                  <a:pt x="878" y="453"/>
                </a:cubicBezTo>
                <a:cubicBezTo>
                  <a:pt x="873" y="451"/>
                  <a:pt x="868" y="448"/>
                  <a:pt x="863" y="445"/>
                </a:cubicBezTo>
                <a:cubicBezTo>
                  <a:pt x="856" y="440"/>
                  <a:pt x="850" y="435"/>
                  <a:pt x="844" y="429"/>
                </a:cubicBezTo>
                <a:cubicBezTo>
                  <a:pt x="850" y="435"/>
                  <a:pt x="856" y="440"/>
                  <a:pt x="863" y="445"/>
                </a:cubicBezTo>
                <a:cubicBezTo>
                  <a:pt x="868" y="448"/>
                  <a:pt x="873" y="451"/>
                  <a:pt x="878" y="453"/>
                </a:cubicBezTo>
                <a:cubicBezTo>
                  <a:pt x="883" y="454"/>
                  <a:pt x="886" y="452"/>
                  <a:pt x="889" y="449"/>
                </a:cubicBezTo>
                <a:cubicBezTo>
                  <a:pt x="894" y="447"/>
                  <a:pt x="899" y="445"/>
                  <a:pt x="905" y="443"/>
                </a:cubicBezTo>
                <a:close/>
                <a:moveTo>
                  <a:pt x="1005" y="645"/>
                </a:moveTo>
                <a:cubicBezTo>
                  <a:pt x="1002" y="648"/>
                  <a:pt x="999" y="650"/>
                  <a:pt x="997" y="653"/>
                </a:cubicBezTo>
                <a:cubicBezTo>
                  <a:pt x="999" y="650"/>
                  <a:pt x="1002" y="648"/>
                  <a:pt x="1005" y="645"/>
                </a:cubicBezTo>
                <a:cubicBezTo>
                  <a:pt x="988" y="633"/>
                  <a:pt x="972" y="621"/>
                  <a:pt x="956" y="609"/>
                </a:cubicBezTo>
                <a:cubicBezTo>
                  <a:pt x="948" y="607"/>
                  <a:pt x="942" y="602"/>
                  <a:pt x="937" y="597"/>
                </a:cubicBezTo>
                <a:cubicBezTo>
                  <a:pt x="937" y="594"/>
                  <a:pt x="937" y="591"/>
                  <a:pt x="937" y="587"/>
                </a:cubicBezTo>
                <a:cubicBezTo>
                  <a:pt x="937" y="583"/>
                  <a:pt x="938" y="579"/>
                  <a:pt x="938" y="576"/>
                </a:cubicBezTo>
                <a:cubicBezTo>
                  <a:pt x="938" y="579"/>
                  <a:pt x="937" y="583"/>
                  <a:pt x="937" y="587"/>
                </a:cubicBezTo>
                <a:cubicBezTo>
                  <a:pt x="948" y="594"/>
                  <a:pt x="964" y="583"/>
                  <a:pt x="973" y="596"/>
                </a:cubicBezTo>
                <a:cubicBezTo>
                  <a:pt x="970" y="604"/>
                  <a:pt x="964" y="608"/>
                  <a:pt x="956" y="609"/>
                </a:cubicBezTo>
                <a:cubicBezTo>
                  <a:pt x="972" y="621"/>
                  <a:pt x="988" y="633"/>
                  <a:pt x="1005" y="645"/>
                </a:cubicBezTo>
                <a:close/>
                <a:moveTo>
                  <a:pt x="993" y="664"/>
                </a:moveTo>
                <a:cubicBezTo>
                  <a:pt x="993" y="664"/>
                  <a:pt x="993" y="664"/>
                  <a:pt x="993" y="664"/>
                </a:cubicBezTo>
                <a:cubicBezTo>
                  <a:pt x="986" y="667"/>
                  <a:pt x="980" y="670"/>
                  <a:pt x="973" y="673"/>
                </a:cubicBezTo>
                <a:cubicBezTo>
                  <a:pt x="980" y="670"/>
                  <a:pt x="986" y="667"/>
                  <a:pt x="993" y="664"/>
                </a:cubicBezTo>
                <a:close/>
                <a:moveTo>
                  <a:pt x="926" y="541"/>
                </a:moveTo>
                <a:cubicBezTo>
                  <a:pt x="926" y="541"/>
                  <a:pt x="926" y="541"/>
                  <a:pt x="926" y="541"/>
                </a:cubicBezTo>
                <a:cubicBezTo>
                  <a:pt x="924" y="533"/>
                  <a:pt x="925" y="524"/>
                  <a:pt x="926" y="516"/>
                </a:cubicBezTo>
                <a:cubicBezTo>
                  <a:pt x="925" y="524"/>
                  <a:pt x="924" y="533"/>
                  <a:pt x="926" y="541"/>
                </a:cubicBezTo>
                <a:close/>
                <a:moveTo>
                  <a:pt x="915" y="555"/>
                </a:moveTo>
                <a:cubicBezTo>
                  <a:pt x="915" y="556"/>
                  <a:pt x="915" y="557"/>
                  <a:pt x="914" y="558"/>
                </a:cubicBezTo>
                <a:cubicBezTo>
                  <a:pt x="913" y="557"/>
                  <a:pt x="912" y="556"/>
                  <a:pt x="911" y="556"/>
                </a:cubicBezTo>
                <a:cubicBezTo>
                  <a:pt x="912" y="555"/>
                  <a:pt x="913" y="554"/>
                  <a:pt x="913" y="554"/>
                </a:cubicBezTo>
                <a:cubicBezTo>
                  <a:pt x="914" y="554"/>
                  <a:pt x="915" y="554"/>
                  <a:pt x="915" y="555"/>
                </a:cubicBezTo>
                <a:close/>
                <a:moveTo>
                  <a:pt x="893" y="564"/>
                </a:moveTo>
                <a:cubicBezTo>
                  <a:pt x="890" y="561"/>
                  <a:pt x="886" y="560"/>
                  <a:pt x="881" y="561"/>
                </a:cubicBezTo>
                <a:cubicBezTo>
                  <a:pt x="880" y="560"/>
                  <a:pt x="878" y="558"/>
                  <a:pt x="877" y="556"/>
                </a:cubicBezTo>
                <a:cubicBezTo>
                  <a:pt x="876" y="555"/>
                  <a:pt x="874" y="554"/>
                  <a:pt x="873" y="553"/>
                </a:cubicBezTo>
                <a:cubicBezTo>
                  <a:pt x="872" y="542"/>
                  <a:pt x="884" y="542"/>
                  <a:pt x="889" y="536"/>
                </a:cubicBezTo>
                <a:cubicBezTo>
                  <a:pt x="891" y="536"/>
                  <a:pt x="894" y="537"/>
                  <a:pt x="897" y="537"/>
                </a:cubicBezTo>
                <a:cubicBezTo>
                  <a:pt x="913" y="548"/>
                  <a:pt x="896" y="555"/>
                  <a:pt x="893" y="564"/>
                </a:cubicBezTo>
                <a:close/>
                <a:moveTo>
                  <a:pt x="865" y="460"/>
                </a:moveTo>
                <a:cubicBezTo>
                  <a:pt x="865" y="460"/>
                  <a:pt x="865" y="461"/>
                  <a:pt x="865" y="461"/>
                </a:cubicBezTo>
                <a:lnTo>
                  <a:pt x="865" y="460"/>
                </a:lnTo>
                <a:close/>
                <a:moveTo>
                  <a:pt x="839" y="476"/>
                </a:moveTo>
                <a:cubicBezTo>
                  <a:pt x="839" y="476"/>
                  <a:pt x="840" y="476"/>
                  <a:pt x="841" y="476"/>
                </a:cubicBezTo>
                <a:cubicBezTo>
                  <a:pt x="844" y="475"/>
                  <a:pt x="847" y="473"/>
                  <a:pt x="850" y="472"/>
                </a:cubicBezTo>
                <a:cubicBezTo>
                  <a:pt x="847" y="473"/>
                  <a:pt x="844" y="475"/>
                  <a:pt x="841" y="476"/>
                </a:cubicBezTo>
                <a:cubicBezTo>
                  <a:pt x="840" y="476"/>
                  <a:pt x="839" y="476"/>
                  <a:pt x="839" y="476"/>
                </a:cubicBezTo>
                <a:close/>
                <a:moveTo>
                  <a:pt x="1079" y="624"/>
                </a:moveTo>
                <a:cubicBezTo>
                  <a:pt x="1063" y="593"/>
                  <a:pt x="1035" y="575"/>
                  <a:pt x="1009" y="554"/>
                </a:cubicBezTo>
                <a:cubicBezTo>
                  <a:pt x="1035" y="575"/>
                  <a:pt x="1063" y="593"/>
                  <a:pt x="1079" y="624"/>
                </a:cubicBezTo>
                <a:close/>
                <a:moveTo>
                  <a:pt x="1032" y="509"/>
                </a:moveTo>
                <a:cubicBezTo>
                  <a:pt x="1032" y="509"/>
                  <a:pt x="1033" y="508"/>
                  <a:pt x="1033" y="508"/>
                </a:cubicBezTo>
                <a:lnTo>
                  <a:pt x="1032" y="509"/>
                </a:lnTo>
                <a:close/>
                <a:moveTo>
                  <a:pt x="1035" y="514"/>
                </a:moveTo>
                <a:cubicBezTo>
                  <a:pt x="1035" y="514"/>
                  <a:pt x="1035" y="514"/>
                  <a:pt x="1036" y="514"/>
                </a:cubicBezTo>
                <a:cubicBezTo>
                  <a:pt x="1035" y="514"/>
                  <a:pt x="1035" y="514"/>
                  <a:pt x="1035" y="514"/>
                </a:cubicBezTo>
                <a:close/>
                <a:moveTo>
                  <a:pt x="1036" y="513"/>
                </a:moveTo>
                <a:cubicBezTo>
                  <a:pt x="1036" y="513"/>
                  <a:pt x="1036" y="513"/>
                  <a:pt x="1036" y="513"/>
                </a:cubicBezTo>
                <a:cubicBezTo>
                  <a:pt x="1036" y="513"/>
                  <a:pt x="1037" y="513"/>
                  <a:pt x="1037" y="513"/>
                </a:cubicBezTo>
                <a:lnTo>
                  <a:pt x="1036" y="513"/>
                </a:lnTo>
                <a:close/>
                <a:moveTo>
                  <a:pt x="1095" y="1171"/>
                </a:moveTo>
                <a:cubicBezTo>
                  <a:pt x="1096" y="1171"/>
                  <a:pt x="1096" y="1170"/>
                  <a:pt x="1097" y="1170"/>
                </a:cubicBezTo>
                <a:cubicBezTo>
                  <a:pt x="1096" y="1170"/>
                  <a:pt x="1096" y="1171"/>
                  <a:pt x="1095" y="1171"/>
                </a:cubicBezTo>
                <a:close/>
                <a:moveTo>
                  <a:pt x="1092" y="641"/>
                </a:moveTo>
                <a:cubicBezTo>
                  <a:pt x="1092" y="641"/>
                  <a:pt x="1092" y="641"/>
                  <a:pt x="1092" y="641"/>
                </a:cubicBezTo>
                <a:cubicBezTo>
                  <a:pt x="1095" y="641"/>
                  <a:pt x="1096" y="640"/>
                  <a:pt x="1098" y="639"/>
                </a:cubicBezTo>
                <a:cubicBezTo>
                  <a:pt x="1096" y="640"/>
                  <a:pt x="1095" y="641"/>
                  <a:pt x="1092" y="641"/>
                </a:cubicBezTo>
                <a:close/>
                <a:moveTo>
                  <a:pt x="1096" y="632"/>
                </a:moveTo>
                <a:cubicBezTo>
                  <a:pt x="1090" y="628"/>
                  <a:pt x="1095" y="613"/>
                  <a:pt x="1081" y="616"/>
                </a:cubicBezTo>
                <a:cubicBezTo>
                  <a:pt x="1074" y="608"/>
                  <a:pt x="1078" y="600"/>
                  <a:pt x="1080" y="592"/>
                </a:cubicBezTo>
                <a:cubicBezTo>
                  <a:pt x="1081" y="587"/>
                  <a:pt x="1079" y="580"/>
                  <a:pt x="1085" y="576"/>
                </a:cubicBezTo>
                <a:cubicBezTo>
                  <a:pt x="1089" y="581"/>
                  <a:pt x="1093" y="585"/>
                  <a:pt x="1097" y="589"/>
                </a:cubicBezTo>
                <a:cubicBezTo>
                  <a:pt x="1096" y="596"/>
                  <a:pt x="1090" y="605"/>
                  <a:pt x="1098" y="612"/>
                </a:cubicBezTo>
                <a:cubicBezTo>
                  <a:pt x="1104" y="612"/>
                  <a:pt x="1108" y="615"/>
                  <a:pt x="1112" y="618"/>
                </a:cubicBezTo>
                <a:cubicBezTo>
                  <a:pt x="1108" y="615"/>
                  <a:pt x="1104" y="612"/>
                  <a:pt x="1098" y="612"/>
                </a:cubicBezTo>
                <a:cubicBezTo>
                  <a:pt x="1098" y="619"/>
                  <a:pt x="1097" y="626"/>
                  <a:pt x="1096" y="632"/>
                </a:cubicBezTo>
                <a:close/>
                <a:moveTo>
                  <a:pt x="1116" y="567"/>
                </a:moveTo>
                <a:cubicBezTo>
                  <a:pt x="1120" y="570"/>
                  <a:pt x="1127" y="571"/>
                  <a:pt x="1129" y="577"/>
                </a:cubicBezTo>
                <a:cubicBezTo>
                  <a:pt x="1123" y="579"/>
                  <a:pt x="1118" y="582"/>
                  <a:pt x="1113" y="585"/>
                </a:cubicBezTo>
                <a:cubicBezTo>
                  <a:pt x="1118" y="582"/>
                  <a:pt x="1123" y="579"/>
                  <a:pt x="1129" y="577"/>
                </a:cubicBezTo>
                <a:cubicBezTo>
                  <a:pt x="1127" y="571"/>
                  <a:pt x="1120" y="570"/>
                  <a:pt x="1116" y="567"/>
                </a:cubicBezTo>
                <a:close/>
                <a:moveTo>
                  <a:pt x="1121" y="593"/>
                </a:moveTo>
                <a:cubicBezTo>
                  <a:pt x="1121" y="593"/>
                  <a:pt x="1121" y="593"/>
                  <a:pt x="1121" y="593"/>
                </a:cubicBezTo>
                <a:cubicBezTo>
                  <a:pt x="1118" y="591"/>
                  <a:pt x="1115" y="590"/>
                  <a:pt x="1113" y="589"/>
                </a:cubicBezTo>
                <a:cubicBezTo>
                  <a:pt x="1115" y="590"/>
                  <a:pt x="1118" y="591"/>
                  <a:pt x="1121" y="593"/>
                </a:cubicBezTo>
                <a:close/>
                <a:moveTo>
                  <a:pt x="1148" y="721"/>
                </a:moveTo>
                <a:cubicBezTo>
                  <a:pt x="1152" y="726"/>
                  <a:pt x="1158" y="729"/>
                  <a:pt x="1162" y="734"/>
                </a:cubicBezTo>
                <a:cubicBezTo>
                  <a:pt x="1158" y="729"/>
                  <a:pt x="1152" y="726"/>
                  <a:pt x="1148" y="721"/>
                </a:cubicBezTo>
                <a:cubicBezTo>
                  <a:pt x="1135" y="712"/>
                  <a:pt x="1122" y="702"/>
                  <a:pt x="1109" y="693"/>
                </a:cubicBezTo>
                <a:cubicBezTo>
                  <a:pt x="1122" y="702"/>
                  <a:pt x="1135" y="712"/>
                  <a:pt x="1148" y="721"/>
                </a:cubicBezTo>
                <a:close/>
                <a:moveTo>
                  <a:pt x="1165" y="1060"/>
                </a:moveTo>
                <a:cubicBezTo>
                  <a:pt x="1168" y="1061"/>
                  <a:pt x="1171" y="1063"/>
                  <a:pt x="1172" y="1066"/>
                </a:cubicBezTo>
                <a:cubicBezTo>
                  <a:pt x="1171" y="1063"/>
                  <a:pt x="1168" y="1061"/>
                  <a:pt x="1165" y="1060"/>
                </a:cubicBezTo>
                <a:cubicBezTo>
                  <a:pt x="1165" y="1060"/>
                  <a:pt x="1165" y="1060"/>
                  <a:pt x="1165" y="1060"/>
                </a:cubicBezTo>
                <a:close/>
                <a:moveTo>
                  <a:pt x="1168" y="762"/>
                </a:moveTo>
                <a:cubicBezTo>
                  <a:pt x="1168" y="762"/>
                  <a:pt x="1169" y="763"/>
                  <a:pt x="1170" y="764"/>
                </a:cubicBezTo>
                <a:cubicBezTo>
                  <a:pt x="1169" y="763"/>
                  <a:pt x="1168" y="762"/>
                  <a:pt x="1168" y="762"/>
                </a:cubicBezTo>
                <a:close/>
                <a:moveTo>
                  <a:pt x="1135" y="631"/>
                </a:moveTo>
                <a:cubicBezTo>
                  <a:pt x="1135" y="632"/>
                  <a:pt x="1136" y="632"/>
                  <a:pt x="1137" y="633"/>
                </a:cubicBezTo>
                <a:cubicBezTo>
                  <a:pt x="1145" y="642"/>
                  <a:pt x="1154" y="651"/>
                  <a:pt x="1163" y="659"/>
                </a:cubicBezTo>
                <a:cubicBezTo>
                  <a:pt x="1154" y="651"/>
                  <a:pt x="1145" y="642"/>
                  <a:pt x="1137" y="633"/>
                </a:cubicBezTo>
                <a:cubicBezTo>
                  <a:pt x="1136" y="632"/>
                  <a:pt x="1135" y="632"/>
                  <a:pt x="1135" y="631"/>
                </a:cubicBezTo>
                <a:close/>
                <a:moveTo>
                  <a:pt x="1130" y="1057"/>
                </a:moveTo>
                <a:cubicBezTo>
                  <a:pt x="1131" y="1064"/>
                  <a:pt x="1142" y="1069"/>
                  <a:pt x="1150" y="1072"/>
                </a:cubicBezTo>
                <a:cubicBezTo>
                  <a:pt x="1150" y="1072"/>
                  <a:pt x="1150" y="1072"/>
                  <a:pt x="1150" y="1072"/>
                </a:cubicBezTo>
                <a:cubicBezTo>
                  <a:pt x="1142" y="1069"/>
                  <a:pt x="1131" y="1064"/>
                  <a:pt x="1130" y="1057"/>
                </a:cubicBezTo>
                <a:close/>
                <a:moveTo>
                  <a:pt x="1201" y="1105"/>
                </a:moveTo>
                <a:cubicBezTo>
                  <a:pt x="1190" y="1097"/>
                  <a:pt x="1179" y="1089"/>
                  <a:pt x="1169" y="1081"/>
                </a:cubicBezTo>
                <a:cubicBezTo>
                  <a:pt x="1166" y="1081"/>
                  <a:pt x="1163" y="1080"/>
                  <a:pt x="1160" y="1079"/>
                </a:cubicBezTo>
                <a:cubicBezTo>
                  <a:pt x="1163" y="1080"/>
                  <a:pt x="1166" y="1081"/>
                  <a:pt x="1169" y="1081"/>
                </a:cubicBezTo>
                <a:cubicBezTo>
                  <a:pt x="1179" y="1089"/>
                  <a:pt x="1190" y="1097"/>
                  <a:pt x="1201" y="1105"/>
                </a:cubicBezTo>
                <a:cubicBezTo>
                  <a:pt x="1201" y="1105"/>
                  <a:pt x="1201" y="1105"/>
                  <a:pt x="1201" y="1105"/>
                </a:cubicBezTo>
                <a:close/>
                <a:moveTo>
                  <a:pt x="1183" y="872"/>
                </a:moveTo>
                <a:cubicBezTo>
                  <a:pt x="1186" y="874"/>
                  <a:pt x="1188" y="875"/>
                  <a:pt x="1191" y="875"/>
                </a:cubicBezTo>
                <a:cubicBezTo>
                  <a:pt x="1188" y="875"/>
                  <a:pt x="1186" y="874"/>
                  <a:pt x="1183" y="872"/>
                </a:cubicBezTo>
                <a:close/>
                <a:moveTo>
                  <a:pt x="1205" y="1233"/>
                </a:moveTo>
                <a:cubicBezTo>
                  <a:pt x="1205" y="1233"/>
                  <a:pt x="1205" y="1233"/>
                  <a:pt x="1205" y="1233"/>
                </a:cubicBezTo>
                <a:close/>
                <a:moveTo>
                  <a:pt x="1209" y="1093"/>
                </a:moveTo>
                <a:cubicBezTo>
                  <a:pt x="1212" y="1091"/>
                  <a:pt x="1216" y="1091"/>
                  <a:pt x="1219" y="1090"/>
                </a:cubicBezTo>
                <a:cubicBezTo>
                  <a:pt x="1216" y="1091"/>
                  <a:pt x="1212" y="1091"/>
                  <a:pt x="1209" y="1093"/>
                </a:cubicBezTo>
                <a:close/>
                <a:moveTo>
                  <a:pt x="1221" y="1113"/>
                </a:moveTo>
                <a:cubicBezTo>
                  <a:pt x="1221" y="1113"/>
                  <a:pt x="1221" y="1113"/>
                  <a:pt x="1221" y="1113"/>
                </a:cubicBezTo>
                <a:cubicBezTo>
                  <a:pt x="1221" y="1113"/>
                  <a:pt x="1221" y="1113"/>
                  <a:pt x="1221" y="1113"/>
                </a:cubicBezTo>
                <a:cubicBezTo>
                  <a:pt x="1221" y="1113"/>
                  <a:pt x="1221" y="1113"/>
                  <a:pt x="1221" y="1113"/>
                </a:cubicBezTo>
                <a:close/>
                <a:moveTo>
                  <a:pt x="1230" y="712"/>
                </a:moveTo>
                <a:cubicBezTo>
                  <a:pt x="1229" y="721"/>
                  <a:pt x="1229" y="726"/>
                  <a:pt x="1229" y="732"/>
                </a:cubicBezTo>
                <a:cubicBezTo>
                  <a:pt x="1226" y="732"/>
                  <a:pt x="1224" y="732"/>
                  <a:pt x="1221" y="732"/>
                </a:cubicBezTo>
                <a:cubicBezTo>
                  <a:pt x="1221" y="733"/>
                  <a:pt x="1220" y="734"/>
                  <a:pt x="1219" y="735"/>
                </a:cubicBezTo>
                <a:cubicBezTo>
                  <a:pt x="1219" y="735"/>
                  <a:pt x="1219" y="735"/>
                  <a:pt x="1219" y="735"/>
                </a:cubicBezTo>
                <a:cubicBezTo>
                  <a:pt x="1220" y="734"/>
                  <a:pt x="1221" y="733"/>
                  <a:pt x="1221" y="732"/>
                </a:cubicBezTo>
                <a:cubicBezTo>
                  <a:pt x="1216" y="726"/>
                  <a:pt x="1218" y="719"/>
                  <a:pt x="1219" y="712"/>
                </a:cubicBezTo>
                <a:cubicBezTo>
                  <a:pt x="1221" y="704"/>
                  <a:pt x="1217" y="698"/>
                  <a:pt x="1209" y="704"/>
                </a:cubicBezTo>
                <a:cubicBezTo>
                  <a:pt x="1198" y="712"/>
                  <a:pt x="1189" y="710"/>
                  <a:pt x="1185" y="700"/>
                </a:cubicBezTo>
                <a:cubicBezTo>
                  <a:pt x="1179" y="690"/>
                  <a:pt x="1192" y="688"/>
                  <a:pt x="1198" y="683"/>
                </a:cubicBezTo>
                <a:cubicBezTo>
                  <a:pt x="1199" y="683"/>
                  <a:pt x="1200" y="682"/>
                  <a:pt x="1201" y="681"/>
                </a:cubicBezTo>
                <a:cubicBezTo>
                  <a:pt x="1202" y="680"/>
                  <a:pt x="1204" y="678"/>
                  <a:pt x="1205" y="677"/>
                </a:cubicBezTo>
                <a:cubicBezTo>
                  <a:pt x="1225" y="682"/>
                  <a:pt x="1236" y="699"/>
                  <a:pt x="1252" y="710"/>
                </a:cubicBezTo>
                <a:cubicBezTo>
                  <a:pt x="1250" y="718"/>
                  <a:pt x="1252" y="726"/>
                  <a:pt x="1257" y="732"/>
                </a:cubicBezTo>
                <a:cubicBezTo>
                  <a:pt x="1257" y="740"/>
                  <a:pt x="1264" y="747"/>
                  <a:pt x="1259" y="754"/>
                </a:cubicBezTo>
                <a:cubicBezTo>
                  <a:pt x="1237" y="750"/>
                  <a:pt x="1241" y="727"/>
                  <a:pt x="1230" y="712"/>
                </a:cubicBezTo>
                <a:close/>
                <a:moveTo>
                  <a:pt x="1193" y="649"/>
                </a:moveTo>
                <a:cubicBezTo>
                  <a:pt x="1194" y="650"/>
                  <a:pt x="1195" y="651"/>
                  <a:pt x="1197" y="653"/>
                </a:cubicBezTo>
                <a:cubicBezTo>
                  <a:pt x="1198" y="654"/>
                  <a:pt x="1199" y="655"/>
                  <a:pt x="1201" y="657"/>
                </a:cubicBezTo>
                <a:cubicBezTo>
                  <a:pt x="1199" y="655"/>
                  <a:pt x="1198" y="654"/>
                  <a:pt x="1197" y="653"/>
                </a:cubicBezTo>
                <a:cubicBezTo>
                  <a:pt x="1195" y="651"/>
                  <a:pt x="1194" y="650"/>
                  <a:pt x="1193" y="649"/>
                </a:cubicBezTo>
                <a:close/>
                <a:moveTo>
                  <a:pt x="1254" y="1487"/>
                </a:moveTo>
                <a:cubicBezTo>
                  <a:pt x="1253" y="1487"/>
                  <a:pt x="1252" y="1487"/>
                  <a:pt x="1252" y="1487"/>
                </a:cubicBezTo>
                <a:cubicBezTo>
                  <a:pt x="1252" y="1487"/>
                  <a:pt x="1253" y="1487"/>
                  <a:pt x="1254" y="1487"/>
                </a:cubicBezTo>
                <a:close/>
                <a:moveTo>
                  <a:pt x="1261" y="889"/>
                </a:moveTo>
                <a:cubicBezTo>
                  <a:pt x="1260" y="888"/>
                  <a:pt x="1260" y="888"/>
                  <a:pt x="1260" y="888"/>
                </a:cubicBezTo>
                <a:cubicBezTo>
                  <a:pt x="1260" y="888"/>
                  <a:pt x="1260" y="888"/>
                  <a:pt x="1261" y="889"/>
                </a:cubicBezTo>
                <a:cubicBezTo>
                  <a:pt x="1261" y="889"/>
                  <a:pt x="1261" y="889"/>
                  <a:pt x="1261" y="889"/>
                </a:cubicBezTo>
                <a:close/>
                <a:moveTo>
                  <a:pt x="1265" y="798"/>
                </a:moveTo>
                <a:cubicBezTo>
                  <a:pt x="1255" y="792"/>
                  <a:pt x="1253" y="782"/>
                  <a:pt x="1249" y="773"/>
                </a:cubicBezTo>
                <a:cubicBezTo>
                  <a:pt x="1249" y="769"/>
                  <a:pt x="1250" y="765"/>
                  <a:pt x="1250" y="761"/>
                </a:cubicBezTo>
                <a:cubicBezTo>
                  <a:pt x="1265" y="767"/>
                  <a:pt x="1270" y="779"/>
                  <a:pt x="1273" y="793"/>
                </a:cubicBezTo>
                <a:cubicBezTo>
                  <a:pt x="1274" y="801"/>
                  <a:pt x="1269" y="799"/>
                  <a:pt x="1265" y="798"/>
                </a:cubicBezTo>
                <a:close/>
                <a:moveTo>
                  <a:pt x="1289" y="721"/>
                </a:moveTo>
                <a:cubicBezTo>
                  <a:pt x="1289" y="721"/>
                  <a:pt x="1289" y="721"/>
                  <a:pt x="1289" y="721"/>
                </a:cubicBezTo>
                <a:cubicBezTo>
                  <a:pt x="1289" y="721"/>
                  <a:pt x="1290" y="721"/>
                  <a:pt x="1290" y="721"/>
                </a:cubicBezTo>
                <a:cubicBezTo>
                  <a:pt x="1290" y="721"/>
                  <a:pt x="1289" y="721"/>
                  <a:pt x="1289" y="721"/>
                </a:cubicBezTo>
                <a:close/>
                <a:moveTo>
                  <a:pt x="1297" y="705"/>
                </a:moveTo>
                <a:cubicBezTo>
                  <a:pt x="1297" y="704"/>
                  <a:pt x="1297" y="704"/>
                  <a:pt x="1297" y="704"/>
                </a:cubicBezTo>
                <a:cubicBezTo>
                  <a:pt x="1297" y="704"/>
                  <a:pt x="1297" y="704"/>
                  <a:pt x="1297" y="704"/>
                </a:cubicBezTo>
                <a:lnTo>
                  <a:pt x="1297" y="705"/>
                </a:lnTo>
                <a:close/>
                <a:moveTo>
                  <a:pt x="1313" y="832"/>
                </a:moveTo>
                <a:cubicBezTo>
                  <a:pt x="1313" y="832"/>
                  <a:pt x="1313" y="832"/>
                  <a:pt x="1313" y="832"/>
                </a:cubicBezTo>
                <a:cubicBezTo>
                  <a:pt x="1308" y="828"/>
                  <a:pt x="1303" y="825"/>
                  <a:pt x="1298" y="821"/>
                </a:cubicBezTo>
                <a:cubicBezTo>
                  <a:pt x="1303" y="825"/>
                  <a:pt x="1308" y="828"/>
                  <a:pt x="1313" y="832"/>
                </a:cubicBezTo>
                <a:close/>
                <a:moveTo>
                  <a:pt x="1300" y="709"/>
                </a:moveTo>
                <a:cubicBezTo>
                  <a:pt x="1301" y="710"/>
                  <a:pt x="1301" y="711"/>
                  <a:pt x="1301" y="713"/>
                </a:cubicBezTo>
                <a:cubicBezTo>
                  <a:pt x="1301" y="713"/>
                  <a:pt x="1301" y="713"/>
                  <a:pt x="1301" y="713"/>
                </a:cubicBezTo>
                <a:cubicBezTo>
                  <a:pt x="1301" y="711"/>
                  <a:pt x="1301" y="710"/>
                  <a:pt x="1300" y="709"/>
                </a:cubicBezTo>
                <a:close/>
                <a:moveTo>
                  <a:pt x="1316" y="810"/>
                </a:moveTo>
                <a:cubicBezTo>
                  <a:pt x="1313" y="815"/>
                  <a:pt x="1311" y="819"/>
                  <a:pt x="1311" y="824"/>
                </a:cubicBezTo>
                <a:cubicBezTo>
                  <a:pt x="1311" y="819"/>
                  <a:pt x="1313" y="815"/>
                  <a:pt x="1316" y="810"/>
                </a:cubicBezTo>
                <a:cubicBezTo>
                  <a:pt x="1317" y="808"/>
                  <a:pt x="1318" y="806"/>
                  <a:pt x="1319" y="803"/>
                </a:cubicBezTo>
                <a:cubicBezTo>
                  <a:pt x="1318" y="806"/>
                  <a:pt x="1317" y="808"/>
                  <a:pt x="1316" y="810"/>
                </a:cubicBezTo>
                <a:close/>
                <a:moveTo>
                  <a:pt x="1322" y="841"/>
                </a:moveTo>
                <a:cubicBezTo>
                  <a:pt x="1323" y="841"/>
                  <a:pt x="1325" y="841"/>
                  <a:pt x="1327" y="841"/>
                </a:cubicBezTo>
                <a:cubicBezTo>
                  <a:pt x="1328" y="839"/>
                  <a:pt x="1330" y="837"/>
                  <a:pt x="1330" y="835"/>
                </a:cubicBezTo>
                <a:cubicBezTo>
                  <a:pt x="1330" y="837"/>
                  <a:pt x="1328" y="839"/>
                  <a:pt x="1327" y="841"/>
                </a:cubicBezTo>
                <a:cubicBezTo>
                  <a:pt x="1325" y="841"/>
                  <a:pt x="1323" y="841"/>
                  <a:pt x="1322" y="841"/>
                </a:cubicBezTo>
                <a:cubicBezTo>
                  <a:pt x="1320" y="841"/>
                  <a:pt x="1319" y="840"/>
                  <a:pt x="1317" y="840"/>
                </a:cubicBezTo>
                <a:cubicBezTo>
                  <a:pt x="1319" y="840"/>
                  <a:pt x="1320" y="841"/>
                  <a:pt x="1322" y="841"/>
                </a:cubicBezTo>
                <a:close/>
                <a:moveTo>
                  <a:pt x="1316" y="1568"/>
                </a:moveTo>
                <a:cubicBezTo>
                  <a:pt x="1311" y="1570"/>
                  <a:pt x="1309" y="1566"/>
                  <a:pt x="1305" y="1565"/>
                </a:cubicBezTo>
                <a:cubicBezTo>
                  <a:pt x="1302" y="1565"/>
                  <a:pt x="1299" y="1565"/>
                  <a:pt x="1297" y="1565"/>
                </a:cubicBezTo>
                <a:cubicBezTo>
                  <a:pt x="1297" y="1560"/>
                  <a:pt x="1289" y="1556"/>
                  <a:pt x="1296" y="1551"/>
                </a:cubicBezTo>
                <a:cubicBezTo>
                  <a:pt x="1300" y="1548"/>
                  <a:pt x="1305" y="1549"/>
                  <a:pt x="1309" y="1550"/>
                </a:cubicBezTo>
                <a:cubicBezTo>
                  <a:pt x="1319" y="1553"/>
                  <a:pt x="1316" y="1561"/>
                  <a:pt x="1316" y="1568"/>
                </a:cubicBezTo>
                <a:close/>
                <a:moveTo>
                  <a:pt x="1312" y="1019"/>
                </a:moveTo>
                <a:cubicBezTo>
                  <a:pt x="1312" y="1018"/>
                  <a:pt x="1312" y="1018"/>
                  <a:pt x="1312" y="1018"/>
                </a:cubicBezTo>
                <a:cubicBezTo>
                  <a:pt x="1312" y="1018"/>
                  <a:pt x="1312" y="1019"/>
                  <a:pt x="1312" y="1019"/>
                </a:cubicBezTo>
                <a:cubicBezTo>
                  <a:pt x="1319" y="1029"/>
                  <a:pt x="1329" y="1034"/>
                  <a:pt x="1339" y="1040"/>
                </a:cubicBezTo>
                <a:cubicBezTo>
                  <a:pt x="1329" y="1034"/>
                  <a:pt x="1319" y="1029"/>
                  <a:pt x="1312" y="1019"/>
                </a:cubicBezTo>
                <a:close/>
                <a:moveTo>
                  <a:pt x="1342" y="1525"/>
                </a:moveTo>
                <a:cubicBezTo>
                  <a:pt x="1376" y="1519"/>
                  <a:pt x="1410" y="1514"/>
                  <a:pt x="1445" y="1508"/>
                </a:cubicBezTo>
                <a:cubicBezTo>
                  <a:pt x="1445" y="1507"/>
                  <a:pt x="1445" y="1506"/>
                  <a:pt x="1445" y="1505"/>
                </a:cubicBezTo>
                <a:cubicBezTo>
                  <a:pt x="1445" y="1506"/>
                  <a:pt x="1445" y="1507"/>
                  <a:pt x="1445" y="1508"/>
                </a:cubicBezTo>
                <a:cubicBezTo>
                  <a:pt x="1410" y="1514"/>
                  <a:pt x="1376" y="1519"/>
                  <a:pt x="1342" y="1525"/>
                </a:cubicBezTo>
                <a:close/>
                <a:moveTo>
                  <a:pt x="1350" y="841"/>
                </a:moveTo>
                <a:cubicBezTo>
                  <a:pt x="1352" y="840"/>
                  <a:pt x="1354" y="837"/>
                  <a:pt x="1356" y="836"/>
                </a:cubicBezTo>
                <a:cubicBezTo>
                  <a:pt x="1354" y="837"/>
                  <a:pt x="1352" y="840"/>
                  <a:pt x="1350" y="841"/>
                </a:cubicBezTo>
                <a:cubicBezTo>
                  <a:pt x="1347" y="844"/>
                  <a:pt x="1349" y="849"/>
                  <a:pt x="1348" y="853"/>
                </a:cubicBezTo>
                <a:cubicBezTo>
                  <a:pt x="1349" y="849"/>
                  <a:pt x="1347" y="844"/>
                  <a:pt x="1350" y="841"/>
                </a:cubicBezTo>
                <a:close/>
                <a:moveTo>
                  <a:pt x="1356" y="800"/>
                </a:moveTo>
                <a:cubicBezTo>
                  <a:pt x="1356" y="800"/>
                  <a:pt x="1356" y="800"/>
                  <a:pt x="1356" y="800"/>
                </a:cubicBezTo>
                <a:cubicBezTo>
                  <a:pt x="1357" y="798"/>
                  <a:pt x="1359" y="797"/>
                  <a:pt x="1360" y="795"/>
                </a:cubicBezTo>
                <a:cubicBezTo>
                  <a:pt x="1359" y="797"/>
                  <a:pt x="1357" y="798"/>
                  <a:pt x="1356" y="800"/>
                </a:cubicBezTo>
                <a:close/>
                <a:moveTo>
                  <a:pt x="1426" y="892"/>
                </a:moveTo>
                <a:cubicBezTo>
                  <a:pt x="1426" y="892"/>
                  <a:pt x="1426" y="892"/>
                  <a:pt x="1426" y="892"/>
                </a:cubicBezTo>
                <a:cubicBezTo>
                  <a:pt x="1436" y="898"/>
                  <a:pt x="1429" y="903"/>
                  <a:pt x="1424" y="906"/>
                </a:cubicBezTo>
                <a:cubicBezTo>
                  <a:pt x="1414" y="912"/>
                  <a:pt x="1411" y="904"/>
                  <a:pt x="1407" y="896"/>
                </a:cubicBezTo>
                <a:cubicBezTo>
                  <a:pt x="1408" y="896"/>
                  <a:pt x="1409" y="895"/>
                  <a:pt x="1410" y="894"/>
                </a:cubicBezTo>
                <a:cubicBezTo>
                  <a:pt x="1410" y="893"/>
                  <a:pt x="1410" y="893"/>
                  <a:pt x="1410" y="892"/>
                </a:cubicBezTo>
                <a:cubicBezTo>
                  <a:pt x="1410" y="893"/>
                  <a:pt x="1410" y="893"/>
                  <a:pt x="1410" y="894"/>
                </a:cubicBezTo>
                <a:cubicBezTo>
                  <a:pt x="1415" y="893"/>
                  <a:pt x="1420" y="886"/>
                  <a:pt x="1426" y="892"/>
                </a:cubicBezTo>
                <a:close/>
                <a:moveTo>
                  <a:pt x="1421" y="805"/>
                </a:moveTo>
                <a:cubicBezTo>
                  <a:pt x="1421" y="805"/>
                  <a:pt x="1421" y="805"/>
                  <a:pt x="1421" y="805"/>
                </a:cubicBezTo>
                <a:cubicBezTo>
                  <a:pt x="1422" y="805"/>
                  <a:pt x="1423" y="805"/>
                  <a:pt x="1425" y="806"/>
                </a:cubicBezTo>
                <a:cubicBezTo>
                  <a:pt x="1423" y="805"/>
                  <a:pt x="1422" y="805"/>
                  <a:pt x="1421" y="805"/>
                </a:cubicBezTo>
                <a:close/>
                <a:moveTo>
                  <a:pt x="1423" y="922"/>
                </a:moveTo>
                <a:cubicBezTo>
                  <a:pt x="1418" y="917"/>
                  <a:pt x="1408" y="917"/>
                  <a:pt x="1405" y="910"/>
                </a:cubicBezTo>
                <a:cubicBezTo>
                  <a:pt x="1399" y="906"/>
                  <a:pt x="1393" y="901"/>
                  <a:pt x="1386" y="900"/>
                </a:cubicBezTo>
                <a:cubicBezTo>
                  <a:pt x="1393" y="901"/>
                  <a:pt x="1399" y="906"/>
                  <a:pt x="1405" y="910"/>
                </a:cubicBezTo>
                <a:cubicBezTo>
                  <a:pt x="1408" y="917"/>
                  <a:pt x="1418" y="917"/>
                  <a:pt x="1423" y="922"/>
                </a:cubicBezTo>
                <a:close/>
                <a:moveTo>
                  <a:pt x="1391" y="1074"/>
                </a:moveTo>
                <a:cubicBezTo>
                  <a:pt x="1390" y="1075"/>
                  <a:pt x="1389" y="1076"/>
                  <a:pt x="1388" y="1077"/>
                </a:cubicBezTo>
                <a:cubicBezTo>
                  <a:pt x="1388" y="1077"/>
                  <a:pt x="1388" y="1077"/>
                  <a:pt x="1388" y="1077"/>
                </a:cubicBezTo>
                <a:cubicBezTo>
                  <a:pt x="1389" y="1076"/>
                  <a:pt x="1390" y="1075"/>
                  <a:pt x="1391" y="1074"/>
                </a:cubicBezTo>
                <a:close/>
                <a:moveTo>
                  <a:pt x="1444" y="1037"/>
                </a:moveTo>
                <a:cubicBezTo>
                  <a:pt x="1444" y="1037"/>
                  <a:pt x="1445" y="1037"/>
                  <a:pt x="1445" y="1037"/>
                </a:cubicBezTo>
                <a:lnTo>
                  <a:pt x="1444" y="1037"/>
                </a:lnTo>
                <a:close/>
                <a:moveTo>
                  <a:pt x="1437" y="1769"/>
                </a:moveTo>
                <a:cubicBezTo>
                  <a:pt x="1437" y="1769"/>
                  <a:pt x="1437" y="1769"/>
                  <a:pt x="1437" y="1769"/>
                </a:cubicBezTo>
                <a:cubicBezTo>
                  <a:pt x="1436" y="1768"/>
                  <a:pt x="1435" y="1767"/>
                  <a:pt x="1434" y="1766"/>
                </a:cubicBezTo>
                <a:cubicBezTo>
                  <a:pt x="1435" y="1767"/>
                  <a:pt x="1436" y="1768"/>
                  <a:pt x="1437" y="1769"/>
                </a:cubicBezTo>
                <a:close/>
                <a:moveTo>
                  <a:pt x="1433" y="1789"/>
                </a:moveTo>
                <a:cubicBezTo>
                  <a:pt x="1432" y="1790"/>
                  <a:pt x="1430" y="1791"/>
                  <a:pt x="1430" y="1793"/>
                </a:cubicBezTo>
                <a:cubicBezTo>
                  <a:pt x="1430" y="1791"/>
                  <a:pt x="1432" y="1790"/>
                  <a:pt x="1433" y="1789"/>
                </a:cubicBezTo>
                <a:close/>
                <a:moveTo>
                  <a:pt x="1397" y="2077"/>
                </a:moveTo>
                <a:cubicBezTo>
                  <a:pt x="1386" y="2079"/>
                  <a:pt x="1377" y="2085"/>
                  <a:pt x="1371" y="2093"/>
                </a:cubicBezTo>
                <a:cubicBezTo>
                  <a:pt x="1377" y="2085"/>
                  <a:pt x="1386" y="2079"/>
                  <a:pt x="1397" y="2077"/>
                </a:cubicBezTo>
                <a:cubicBezTo>
                  <a:pt x="1398" y="2070"/>
                  <a:pt x="1397" y="2063"/>
                  <a:pt x="1398" y="2055"/>
                </a:cubicBezTo>
                <a:cubicBezTo>
                  <a:pt x="1397" y="2063"/>
                  <a:pt x="1398" y="2070"/>
                  <a:pt x="1397" y="2077"/>
                </a:cubicBezTo>
                <a:close/>
                <a:moveTo>
                  <a:pt x="1364" y="1936"/>
                </a:moveTo>
                <a:cubicBezTo>
                  <a:pt x="1365" y="1909"/>
                  <a:pt x="1367" y="1881"/>
                  <a:pt x="1370" y="1854"/>
                </a:cubicBezTo>
                <a:cubicBezTo>
                  <a:pt x="1367" y="1881"/>
                  <a:pt x="1365" y="1909"/>
                  <a:pt x="1364" y="1936"/>
                </a:cubicBezTo>
                <a:close/>
                <a:moveTo>
                  <a:pt x="1397" y="2272"/>
                </a:moveTo>
                <a:cubicBezTo>
                  <a:pt x="1391" y="2273"/>
                  <a:pt x="1386" y="2273"/>
                  <a:pt x="1385" y="2281"/>
                </a:cubicBezTo>
                <a:cubicBezTo>
                  <a:pt x="1375" y="2281"/>
                  <a:pt x="1364" y="2278"/>
                  <a:pt x="1354" y="2277"/>
                </a:cubicBezTo>
                <a:cubicBezTo>
                  <a:pt x="1364" y="2278"/>
                  <a:pt x="1375" y="2281"/>
                  <a:pt x="1385" y="2281"/>
                </a:cubicBezTo>
                <a:cubicBezTo>
                  <a:pt x="1386" y="2273"/>
                  <a:pt x="1391" y="2273"/>
                  <a:pt x="1397" y="2272"/>
                </a:cubicBezTo>
                <a:cubicBezTo>
                  <a:pt x="1399" y="2270"/>
                  <a:pt x="1401" y="2269"/>
                  <a:pt x="1403" y="2271"/>
                </a:cubicBezTo>
                <a:cubicBezTo>
                  <a:pt x="1401" y="2269"/>
                  <a:pt x="1399" y="2270"/>
                  <a:pt x="1397" y="2272"/>
                </a:cubicBezTo>
                <a:close/>
                <a:moveTo>
                  <a:pt x="1413" y="1927"/>
                </a:moveTo>
                <a:cubicBezTo>
                  <a:pt x="1410" y="1929"/>
                  <a:pt x="1411" y="1931"/>
                  <a:pt x="1413" y="1934"/>
                </a:cubicBezTo>
                <a:cubicBezTo>
                  <a:pt x="1411" y="1931"/>
                  <a:pt x="1410" y="1929"/>
                  <a:pt x="1413" y="1927"/>
                </a:cubicBezTo>
                <a:close/>
                <a:moveTo>
                  <a:pt x="1429" y="1773"/>
                </a:moveTo>
                <a:cubicBezTo>
                  <a:pt x="1429" y="1772"/>
                  <a:pt x="1429" y="1772"/>
                  <a:pt x="1429" y="1772"/>
                </a:cubicBezTo>
                <a:cubicBezTo>
                  <a:pt x="1429" y="1773"/>
                  <a:pt x="1429" y="1773"/>
                  <a:pt x="1429" y="1773"/>
                </a:cubicBezTo>
                <a:cubicBezTo>
                  <a:pt x="1424" y="1772"/>
                  <a:pt x="1421" y="1774"/>
                  <a:pt x="1419" y="1776"/>
                </a:cubicBezTo>
                <a:cubicBezTo>
                  <a:pt x="1421" y="1774"/>
                  <a:pt x="1424" y="1772"/>
                  <a:pt x="1429" y="1773"/>
                </a:cubicBezTo>
                <a:close/>
                <a:moveTo>
                  <a:pt x="1429" y="1917"/>
                </a:moveTo>
                <a:cubicBezTo>
                  <a:pt x="1426" y="1920"/>
                  <a:pt x="1423" y="1923"/>
                  <a:pt x="1420" y="1925"/>
                </a:cubicBezTo>
                <a:cubicBezTo>
                  <a:pt x="1420" y="1925"/>
                  <a:pt x="1420" y="1925"/>
                  <a:pt x="1420" y="1925"/>
                </a:cubicBezTo>
                <a:cubicBezTo>
                  <a:pt x="1423" y="1923"/>
                  <a:pt x="1426" y="1920"/>
                  <a:pt x="1429" y="1917"/>
                </a:cubicBezTo>
                <a:close/>
                <a:moveTo>
                  <a:pt x="1437" y="1977"/>
                </a:moveTo>
                <a:cubicBezTo>
                  <a:pt x="1436" y="1978"/>
                  <a:pt x="1434" y="1980"/>
                  <a:pt x="1433" y="1981"/>
                </a:cubicBezTo>
                <a:cubicBezTo>
                  <a:pt x="1432" y="1982"/>
                  <a:pt x="1430" y="1984"/>
                  <a:pt x="1429" y="1985"/>
                </a:cubicBezTo>
                <a:cubicBezTo>
                  <a:pt x="1429" y="1985"/>
                  <a:pt x="1429" y="1985"/>
                  <a:pt x="1429" y="1985"/>
                </a:cubicBezTo>
                <a:cubicBezTo>
                  <a:pt x="1429" y="1984"/>
                  <a:pt x="1429" y="1984"/>
                  <a:pt x="1429" y="1984"/>
                </a:cubicBezTo>
                <a:cubicBezTo>
                  <a:pt x="1427" y="1986"/>
                  <a:pt x="1426" y="1987"/>
                  <a:pt x="1424" y="1988"/>
                </a:cubicBezTo>
                <a:cubicBezTo>
                  <a:pt x="1423" y="1988"/>
                  <a:pt x="1421" y="1989"/>
                  <a:pt x="1419" y="1989"/>
                </a:cubicBezTo>
                <a:cubicBezTo>
                  <a:pt x="1421" y="1989"/>
                  <a:pt x="1423" y="1988"/>
                  <a:pt x="1424" y="1988"/>
                </a:cubicBezTo>
                <a:cubicBezTo>
                  <a:pt x="1426" y="1987"/>
                  <a:pt x="1427" y="1986"/>
                  <a:pt x="1429" y="1984"/>
                </a:cubicBezTo>
                <a:cubicBezTo>
                  <a:pt x="1429" y="1985"/>
                  <a:pt x="1429" y="1985"/>
                  <a:pt x="1429" y="1985"/>
                </a:cubicBezTo>
                <a:cubicBezTo>
                  <a:pt x="1430" y="1984"/>
                  <a:pt x="1432" y="1982"/>
                  <a:pt x="1433" y="1981"/>
                </a:cubicBezTo>
                <a:cubicBezTo>
                  <a:pt x="1433" y="1981"/>
                  <a:pt x="1433" y="1980"/>
                  <a:pt x="1433" y="1980"/>
                </a:cubicBezTo>
                <a:cubicBezTo>
                  <a:pt x="1432" y="1980"/>
                  <a:pt x="1433" y="1981"/>
                  <a:pt x="1433" y="1981"/>
                </a:cubicBezTo>
                <a:cubicBezTo>
                  <a:pt x="1434" y="1980"/>
                  <a:pt x="1436" y="1978"/>
                  <a:pt x="1437" y="1977"/>
                </a:cubicBezTo>
                <a:cubicBezTo>
                  <a:pt x="1437" y="1977"/>
                  <a:pt x="1437" y="1976"/>
                  <a:pt x="1437" y="1976"/>
                </a:cubicBezTo>
                <a:cubicBezTo>
                  <a:pt x="1437" y="1977"/>
                  <a:pt x="1437" y="1977"/>
                  <a:pt x="1437" y="1977"/>
                </a:cubicBezTo>
                <a:cubicBezTo>
                  <a:pt x="1438" y="1976"/>
                  <a:pt x="1439" y="1974"/>
                  <a:pt x="1440" y="1973"/>
                </a:cubicBezTo>
                <a:cubicBezTo>
                  <a:pt x="1439" y="1974"/>
                  <a:pt x="1438" y="1976"/>
                  <a:pt x="1437" y="1977"/>
                </a:cubicBezTo>
                <a:close/>
                <a:moveTo>
                  <a:pt x="1441" y="1785"/>
                </a:moveTo>
                <a:cubicBezTo>
                  <a:pt x="1438" y="1786"/>
                  <a:pt x="1435" y="1785"/>
                  <a:pt x="1433" y="1784"/>
                </a:cubicBezTo>
                <a:cubicBezTo>
                  <a:pt x="1435" y="1785"/>
                  <a:pt x="1438" y="1786"/>
                  <a:pt x="1441" y="1785"/>
                </a:cubicBezTo>
                <a:close/>
                <a:moveTo>
                  <a:pt x="1471" y="1998"/>
                </a:moveTo>
                <a:cubicBezTo>
                  <a:pt x="1480" y="1991"/>
                  <a:pt x="1484" y="2008"/>
                  <a:pt x="1492" y="2010"/>
                </a:cubicBezTo>
                <a:cubicBezTo>
                  <a:pt x="1495" y="2027"/>
                  <a:pt x="1489" y="2034"/>
                  <a:pt x="1471" y="2033"/>
                </a:cubicBezTo>
                <a:cubicBezTo>
                  <a:pt x="1465" y="2032"/>
                  <a:pt x="1459" y="2033"/>
                  <a:pt x="1453" y="2033"/>
                </a:cubicBezTo>
                <a:cubicBezTo>
                  <a:pt x="1450" y="2033"/>
                  <a:pt x="1448" y="2033"/>
                  <a:pt x="1445" y="2032"/>
                </a:cubicBezTo>
                <a:cubicBezTo>
                  <a:pt x="1442" y="2012"/>
                  <a:pt x="1459" y="2006"/>
                  <a:pt x="1471" y="1998"/>
                </a:cubicBezTo>
                <a:close/>
                <a:moveTo>
                  <a:pt x="1514" y="1749"/>
                </a:moveTo>
                <a:cubicBezTo>
                  <a:pt x="1519" y="1755"/>
                  <a:pt x="1517" y="1760"/>
                  <a:pt x="1509" y="1762"/>
                </a:cubicBezTo>
                <a:cubicBezTo>
                  <a:pt x="1499" y="1763"/>
                  <a:pt x="1490" y="1764"/>
                  <a:pt x="1481" y="1765"/>
                </a:cubicBezTo>
                <a:cubicBezTo>
                  <a:pt x="1473" y="1764"/>
                  <a:pt x="1466" y="1767"/>
                  <a:pt x="1458" y="1768"/>
                </a:cubicBezTo>
                <a:cubicBezTo>
                  <a:pt x="1457" y="1753"/>
                  <a:pt x="1478" y="1753"/>
                  <a:pt x="1477" y="1739"/>
                </a:cubicBezTo>
                <a:cubicBezTo>
                  <a:pt x="1477" y="1739"/>
                  <a:pt x="1477" y="1739"/>
                  <a:pt x="1477" y="1739"/>
                </a:cubicBezTo>
                <a:cubicBezTo>
                  <a:pt x="1484" y="1742"/>
                  <a:pt x="1485" y="1736"/>
                  <a:pt x="1489" y="1733"/>
                </a:cubicBezTo>
                <a:cubicBezTo>
                  <a:pt x="1502" y="1731"/>
                  <a:pt x="1507" y="1742"/>
                  <a:pt x="1514" y="1749"/>
                </a:cubicBezTo>
                <a:close/>
                <a:moveTo>
                  <a:pt x="1501" y="1704"/>
                </a:moveTo>
                <a:cubicBezTo>
                  <a:pt x="1504" y="1704"/>
                  <a:pt x="1508" y="1704"/>
                  <a:pt x="1512" y="1704"/>
                </a:cubicBezTo>
                <a:cubicBezTo>
                  <a:pt x="1513" y="1702"/>
                  <a:pt x="1514" y="1699"/>
                  <a:pt x="1514" y="1697"/>
                </a:cubicBezTo>
                <a:cubicBezTo>
                  <a:pt x="1514" y="1699"/>
                  <a:pt x="1513" y="1702"/>
                  <a:pt x="1512" y="1704"/>
                </a:cubicBezTo>
                <a:cubicBezTo>
                  <a:pt x="1508" y="1704"/>
                  <a:pt x="1504" y="1704"/>
                  <a:pt x="1501" y="1704"/>
                </a:cubicBezTo>
                <a:close/>
                <a:moveTo>
                  <a:pt x="1466" y="1792"/>
                </a:moveTo>
                <a:cubicBezTo>
                  <a:pt x="1481" y="1792"/>
                  <a:pt x="1497" y="1790"/>
                  <a:pt x="1512" y="1789"/>
                </a:cubicBezTo>
                <a:cubicBezTo>
                  <a:pt x="1507" y="1801"/>
                  <a:pt x="1495" y="1807"/>
                  <a:pt x="1487" y="1817"/>
                </a:cubicBezTo>
                <a:cubicBezTo>
                  <a:pt x="1480" y="1827"/>
                  <a:pt x="1472" y="1824"/>
                  <a:pt x="1464" y="1818"/>
                </a:cubicBezTo>
                <a:cubicBezTo>
                  <a:pt x="1464" y="1816"/>
                  <a:pt x="1463" y="1816"/>
                  <a:pt x="1461" y="1815"/>
                </a:cubicBezTo>
                <a:cubicBezTo>
                  <a:pt x="1459" y="1813"/>
                  <a:pt x="1456" y="1810"/>
                  <a:pt x="1453" y="1808"/>
                </a:cubicBezTo>
                <a:cubicBezTo>
                  <a:pt x="1454" y="1807"/>
                  <a:pt x="1454" y="1807"/>
                  <a:pt x="1454" y="1807"/>
                </a:cubicBezTo>
                <a:cubicBezTo>
                  <a:pt x="1452" y="1798"/>
                  <a:pt x="1455" y="1793"/>
                  <a:pt x="1466" y="1792"/>
                </a:cubicBezTo>
                <a:close/>
                <a:moveTo>
                  <a:pt x="1480" y="1864"/>
                </a:moveTo>
                <a:cubicBezTo>
                  <a:pt x="1492" y="1856"/>
                  <a:pt x="1495" y="1876"/>
                  <a:pt x="1504" y="1877"/>
                </a:cubicBezTo>
                <a:cubicBezTo>
                  <a:pt x="1508" y="1886"/>
                  <a:pt x="1507" y="1894"/>
                  <a:pt x="1496" y="1896"/>
                </a:cubicBezTo>
                <a:cubicBezTo>
                  <a:pt x="1488" y="1897"/>
                  <a:pt x="1481" y="1897"/>
                  <a:pt x="1473" y="1897"/>
                </a:cubicBezTo>
                <a:cubicBezTo>
                  <a:pt x="1465" y="1897"/>
                  <a:pt x="1457" y="1897"/>
                  <a:pt x="1449" y="1896"/>
                </a:cubicBezTo>
                <a:cubicBezTo>
                  <a:pt x="1454" y="1881"/>
                  <a:pt x="1468" y="1873"/>
                  <a:pt x="1480" y="1864"/>
                </a:cubicBezTo>
                <a:close/>
                <a:moveTo>
                  <a:pt x="1483" y="1906"/>
                </a:moveTo>
                <a:cubicBezTo>
                  <a:pt x="1483" y="1908"/>
                  <a:pt x="1482" y="1911"/>
                  <a:pt x="1480" y="1915"/>
                </a:cubicBezTo>
                <a:cubicBezTo>
                  <a:pt x="1477" y="1915"/>
                  <a:pt x="1475" y="1915"/>
                  <a:pt x="1473" y="1915"/>
                </a:cubicBezTo>
                <a:cubicBezTo>
                  <a:pt x="1475" y="1915"/>
                  <a:pt x="1477" y="1915"/>
                  <a:pt x="1480" y="1915"/>
                </a:cubicBezTo>
                <a:cubicBezTo>
                  <a:pt x="1482" y="1911"/>
                  <a:pt x="1483" y="1908"/>
                  <a:pt x="1483" y="1906"/>
                </a:cubicBezTo>
                <a:close/>
                <a:moveTo>
                  <a:pt x="1461" y="1912"/>
                </a:moveTo>
                <a:cubicBezTo>
                  <a:pt x="1457" y="1912"/>
                  <a:pt x="1452" y="1914"/>
                  <a:pt x="1448" y="1916"/>
                </a:cubicBezTo>
                <a:cubicBezTo>
                  <a:pt x="1448" y="1916"/>
                  <a:pt x="1448" y="1916"/>
                  <a:pt x="1448" y="1916"/>
                </a:cubicBezTo>
                <a:cubicBezTo>
                  <a:pt x="1448" y="1916"/>
                  <a:pt x="1448" y="1916"/>
                  <a:pt x="1448" y="1916"/>
                </a:cubicBezTo>
                <a:cubicBezTo>
                  <a:pt x="1452" y="1914"/>
                  <a:pt x="1457" y="1912"/>
                  <a:pt x="1461" y="1912"/>
                </a:cubicBezTo>
                <a:close/>
                <a:moveTo>
                  <a:pt x="1452" y="1958"/>
                </a:moveTo>
                <a:cubicBezTo>
                  <a:pt x="1454" y="1961"/>
                  <a:pt x="1453" y="1965"/>
                  <a:pt x="1453" y="1969"/>
                </a:cubicBezTo>
                <a:cubicBezTo>
                  <a:pt x="1453" y="1969"/>
                  <a:pt x="1453" y="1969"/>
                  <a:pt x="1453" y="1969"/>
                </a:cubicBezTo>
                <a:cubicBezTo>
                  <a:pt x="1453" y="1965"/>
                  <a:pt x="1454" y="1961"/>
                  <a:pt x="1452" y="1958"/>
                </a:cubicBezTo>
                <a:close/>
                <a:moveTo>
                  <a:pt x="1472" y="1988"/>
                </a:moveTo>
                <a:cubicBezTo>
                  <a:pt x="1472" y="1987"/>
                  <a:pt x="1472" y="1987"/>
                  <a:pt x="1473" y="1986"/>
                </a:cubicBezTo>
                <a:cubicBezTo>
                  <a:pt x="1474" y="1982"/>
                  <a:pt x="1474" y="1976"/>
                  <a:pt x="1480" y="1976"/>
                </a:cubicBezTo>
                <a:cubicBezTo>
                  <a:pt x="1480" y="1972"/>
                  <a:pt x="1480" y="1969"/>
                  <a:pt x="1480" y="1965"/>
                </a:cubicBezTo>
                <a:cubicBezTo>
                  <a:pt x="1480" y="1969"/>
                  <a:pt x="1480" y="1972"/>
                  <a:pt x="1480" y="1976"/>
                </a:cubicBezTo>
                <a:cubicBezTo>
                  <a:pt x="1474" y="1976"/>
                  <a:pt x="1474" y="1982"/>
                  <a:pt x="1473" y="1986"/>
                </a:cubicBezTo>
                <a:cubicBezTo>
                  <a:pt x="1472" y="1987"/>
                  <a:pt x="1472" y="1987"/>
                  <a:pt x="1472" y="1988"/>
                </a:cubicBezTo>
                <a:close/>
                <a:moveTo>
                  <a:pt x="1482" y="1982"/>
                </a:moveTo>
                <a:cubicBezTo>
                  <a:pt x="1484" y="1987"/>
                  <a:pt x="1488" y="1990"/>
                  <a:pt x="1493" y="1993"/>
                </a:cubicBezTo>
                <a:cubicBezTo>
                  <a:pt x="1493" y="1993"/>
                  <a:pt x="1493" y="1993"/>
                  <a:pt x="1493" y="1993"/>
                </a:cubicBezTo>
                <a:cubicBezTo>
                  <a:pt x="1488" y="1990"/>
                  <a:pt x="1484" y="1987"/>
                  <a:pt x="1482" y="1982"/>
                </a:cubicBezTo>
                <a:close/>
                <a:moveTo>
                  <a:pt x="1488" y="2157"/>
                </a:moveTo>
                <a:cubicBezTo>
                  <a:pt x="1483" y="2157"/>
                  <a:pt x="1478" y="2157"/>
                  <a:pt x="1473" y="2157"/>
                </a:cubicBezTo>
                <a:cubicBezTo>
                  <a:pt x="1472" y="2158"/>
                  <a:pt x="1471" y="2158"/>
                  <a:pt x="1470" y="2158"/>
                </a:cubicBezTo>
                <a:cubicBezTo>
                  <a:pt x="1471" y="2158"/>
                  <a:pt x="1472" y="2158"/>
                  <a:pt x="1473" y="2157"/>
                </a:cubicBezTo>
                <a:cubicBezTo>
                  <a:pt x="1478" y="2157"/>
                  <a:pt x="1483" y="2157"/>
                  <a:pt x="1488" y="2157"/>
                </a:cubicBezTo>
                <a:cubicBezTo>
                  <a:pt x="1488" y="2163"/>
                  <a:pt x="1490" y="2171"/>
                  <a:pt x="1488" y="2177"/>
                </a:cubicBezTo>
                <a:cubicBezTo>
                  <a:pt x="1490" y="2171"/>
                  <a:pt x="1488" y="2163"/>
                  <a:pt x="1488" y="2157"/>
                </a:cubicBezTo>
                <a:close/>
                <a:moveTo>
                  <a:pt x="1470" y="2048"/>
                </a:moveTo>
                <a:cubicBezTo>
                  <a:pt x="1468" y="2048"/>
                  <a:pt x="1466" y="2048"/>
                  <a:pt x="1464" y="2048"/>
                </a:cubicBezTo>
                <a:cubicBezTo>
                  <a:pt x="1460" y="2049"/>
                  <a:pt x="1456" y="2049"/>
                  <a:pt x="1452" y="2048"/>
                </a:cubicBezTo>
                <a:cubicBezTo>
                  <a:pt x="1452" y="2048"/>
                  <a:pt x="1452" y="2048"/>
                  <a:pt x="1452" y="2048"/>
                </a:cubicBezTo>
                <a:cubicBezTo>
                  <a:pt x="1456" y="2049"/>
                  <a:pt x="1460" y="2049"/>
                  <a:pt x="1464" y="2048"/>
                </a:cubicBezTo>
                <a:cubicBezTo>
                  <a:pt x="1466" y="2048"/>
                  <a:pt x="1468" y="2048"/>
                  <a:pt x="1470" y="2048"/>
                </a:cubicBezTo>
                <a:close/>
                <a:moveTo>
                  <a:pt x="1447" y="2113"/>
                </a:moveTo>
                <a:cubicBezTo>
                  <a:pt x="1446" y="2098"/>
                  <a:pt x="1446" y="2084"/>
                  <a:pt x="1465" y="2081"/>
                </a:cubicBezTo>
                <a:cubicBezTo>
                  <a:pt x="1478" y="2078"/>
                  <a:pt x="1483" y="2082"/>
                  <a:pt x="1480" y="2096"/>
                </a:cubicBezTo>
                <a:cubicBezTo>
                  <a:pt x="1477" y="2108"/>
                  <a:pt x="1476" y="2120"/>
                  <a:pt x="1474" y="2133"/>
                </a:cubicBezTo>
                <a:cubicBezTo>
                  <a:pt x="1470" y="2141"/>
                  <a:pt x="1467" y="2148"/>
                  <a:pt x="1464" y="2156"/>
                </a:cubicBezTo>
                <a:cubicBezTo>
                  <a:pt x="1456" y="2160"/>
                  <a:pt x="1460" y="2169"/>
                  <a:pt x="1455" y="2177"/>
                </a:cubicBezTo>
                <a:cubicBezTo>
                  <a:pt x="1447" y="2154"/>
                  <a:pt x="1450" y="2133"/>
                  <a:pt x="1447" y="2113"/>
                </a:cubicBezTo>
                <a:close/>
                <a:moveTo>
                  <a:pt x="1468" y="2361"/>
                </a:moveTo>
                <a:cubicBezTo>
                  <a:pt x="1466" y="2361"/>
                  <a:pt x="1464" y="2361"/>
                  <a:pt x="1463" y="2361"/>
                </a:cubicBezTo>
                <a:cubicBezTo>
                  <a:pt x="1464" y="2361"/>
                  <a:pt x="1466" y="2361"/>
                  <a:pt x="1468" y="2361"/>
                </a:cubicBezTo>
                <a:cubicBezTo>
                  <a:pt x="1469" y="2360"/>
                  <a:pt x="1471" y="2360"/>
                  <a:pt x="1473" y="2360"/>
                </a:cubicBezTo>
                <a:cubicBezTo>
                  <a:pt x="1471" y="2360"/>
                  <a:pt x="1469" y="2360"/>
                  <a:pt x="1468" y="2361"/>
                </a:cubicBezTo>
                <a:close/>
                <a:moveTo>
                  <a:pt x="1458" y="2350"/>
                </a:moveTo>
                <a:cubicBezTo>
                  <a:pt x="1470" y="2349"/>
                  <a:pt x="1481" y="2348"/>
                  <a:pt x="1492" y="2348"/>
                </a:cubicBezTo>
                <a:cubicBezTo>
                  <a:pt x="1481" y="2348"/>
                  <a:pt x="1470" y="2349"/>
                  <a:pt x="1458" y="2350"/>
                </a:cubicBezTo>
                <a:close/>
                <a:moveTo>
                  <a:pt x="1497" y="2272"/>
                </a:moveTo>
                <a:cubicBezTo>
                  <a:pt x="1488" y="2270"/>
                  <a:pt x="1480" y="2269"/>
                  <a:pt x="1471" y="2268"/>
                </a:cubicBezTo>
                <a:cubicBezTo>
                  <a:pt x="1480" y="2269"/>
                  <a:pt x="1488" y="2270"/>
                  <a:pt x="1497" y="2272"/>
                </a:cubicBezTo>
                <a:cubicBezTo>
                  <a:pt x="1498" y="2275"/>
                  <a:pt x="1500" y="2278"/>
                  <a:pt x="1501" y="2281"/>
                </a:cubicBezTo>
                <a:cubicBezTo>
                  <a:pt x="1500" y="2278"/>
                  <a:pt x="1498" y="2275"/>
                  <a:pt x="1497" y="2272"/>
                </a:cubicBezTo>
                <a:close/>
                <a:moveTo>
                  <a:pt x="1498" y="1957"/>
                </a:moveTo>
                <a:cubicBezTo>
                  <a:pt x="1498" y="1959"/>
                  <a:pt x="1497" y="1962"/>
                  <a:pt x="1497" y="1964"/>
                </a:cubicBezTo>
                <a:cubicBezTo>
                  <a:pt x="1498" y="1966"/>
                  <a:pt x="1498" y="1967"/>
                  <a:pt x="1498" y="1968"/>
                </a:cubicBezTo>
                <a:cubicBezTo>
                  <a:pt x="1498" y="1967"/>
                  <a:pt x="1498" y="1966"/>
                  <a:pt x="1497" y="1964"/>
                </a:cubicBezTo>
                <a:cubicBezTo>
                  <a:pt x="1497" y="1962"/>
                  <a:pt x="1498" y="1959"/>
                  <a:pt x="1498" y="1957"/>
                </a:cubicBezTo>
                <a:cubicBezTo>
                  <a:pt x="1504" y="1953"/>
                  <a:pt x="1504" y="1950"/>
                  <a:pt x="1503" y="1945"/>
                </a:cubicBezTo>
                <a:cubicBezTo>
                  <a:pt x="1503" y="1944"/>
                  <a:pt x="1503" y="1943"/>
                  <a:pt x="1502" y="1942"/>
                </a:cubicBezTo>
                <a:cubicBezTo>
                  <a:pt x="1503" y="1943"/>
                  <a:pt x="1503" y="1944"/>
                  <a:pt x="1503" y="1945"/>
                </a:cubicBezTo>
                <a:cubicBezTo>
                  <a:pt x="1504" y="1950"/>
                  <a:pt x="1504" y="1953"/>
                  <a:pt x="1498" y="1957"/>
                </a:cubicBezTo>
                <a:close/>
                <a:moveTo>
                  <a:pt x="1500" y="1931"/>
                </a:moveTo>
                <a:cubicBezTo>
                  <a:pt x="1491" y="1940"/>
                  <a:pt x="1482" y="1948"/>
                  <a:pt x="1473" y="1957"/>
                </a:cubicBezTo>
                <a:cubicBezTo>
                  <a:pt x="1457" y="1952"/>
                  <a:pt x="1445" y="1944"/>
                  <a:pt x="1449" y="1925"/>
                </a:cubicBezTo>
                <a:cubicBezTo>
                  <a:pt x="1449" y="1925"/>
                  <a:pt x="1449" y="1925"/>
                  <a:pt x="1449" y="1925"/>
                </a:cubicBezTo>
                <a:cubicBezTo>
                  <a:pt x="1449" y="1925"/>
                  <a:pt x="1449" y="1925"/>
                  <a:pt x="1449" y="1925"/>
                </a:cubicBezTo>
                <a:cubicBezTo>
                  <a:pt x="1457" y="1923"/>
                  <a:pt x="1465" y="1925"/>
                  <a:pt x="1473" y="1921"/>
                </a:cubicBezTo>
                <a:cubicBezTo>
                  <a:pt x="1478" y="1921"/>
                  <a:pt x="1484" y="1921"/>
                  <a:pt x="1489" y="1920"/>
                </a:cubicBezTo>
                <a:cubicBezTo>
                  <a:pt x="1494" y="1921"/>
                  <a:pt x="1499" y="1921"/>
                  <a:pt x="1504" y="1922"/>
                </a:cubicBezTo>
                <a:cubicBezTo>
                  <a:pt x="1503" y="1925"/>
                  <a:pt x="1502" y="1928"/>
                  <a:pt x="1500" y="1931"/>
                </a:cubicBezTo>
                <a:close/>
                <a:moveTo>
                  <a:pt x="1505" y="1913"/>
                </a:moveTo>
                <a:cubicBezTo>
                  <a:pt x="1507" y="1909"/>
                  <a:pt x="1510" y="1905"/>
                  <a:pt x="1513" y="1901"/>
                </a:cubicBezTo>
                <a:cubicBezTo>
                  <a:pt x="1513" y="1901"/>
                  <a:pt x="1513" y="1901"/>
                  <a:pt x="1513" y="1901"/>
                </a:cubicBezTo>
                <a:cubicBezTo>
                  <a:pt x="1510" y="1905"/>
                  <a:pt x="1507" y="1909"/>
                  <a:pt x="1505" y="1913"/>
                </a:cubicBezTo>
                <a:close/>
                <a:moveTo>
                  <a:pt x="1517" y="2405"/>
                </a:moveTo>
                <a:cubicBezTo>
                  <a:pt x="1517" y="2407"/>
                  <a:pt x="1516" y="2410"/>
                  <a:pt x="1515" y="2412"/>
                </a:cubicBezTo>
                <a:cubicBezTo>
                  <a:pt x="1516" y="2410"/>
                  <a:pt x="1517" y="2407"/>
                  <a:pt x="1517" y="2405"/>
                </a:cubicBezTo>
                <a:cubicBezTo>
                  <a:pt x="1518" y="2405"/>
                  <a:pt x="1520" y="2405"/>
                  <a:pt x="1521" y="2405"/>
                </a:cubicBezTo>
                <a:cubicBezTo>
                  <a:pt x="1520" y="2405"/>
                  <a:pt x="1518" y="2405"/>
                  <a:pt x="1517" y="2405"/>
                </a:cubicBezTo>
                <a:close/>
                <a:moveTo>
                  <a:pt x="1520" y="852"/>
                </a:moveTo>
                <a:cubicBezTo>
                  <a:pt x="1523" y="852"/>
                  <a:pt x="1526" y="853"/>
                  <a:pt x="1529" y="856"/>
                </a:cubicBezTo>
                <a:cubicBezTo>
                  <a:pt x="1538" y="849"/>
                  <a:pt x="1546" y="847"/>
                  <a:pt x="1552" y="850"/>
                </a:cubicBezTo>
                <a:cubicBezTo>
                  <a:pt x="1546" y="847"/>
                  <a:pt x="1538" y="849"/>
                  <a:pt x="1529" y="856"/>
                </a:cubicBezTo>
                <a:cubicBezTo>
                  <a:pt x="1526" y="853"/>
                  <a:pt x="1523" y="852"/>
                  <a:pt x="1520" y="852"/>
                </a:cubicBezTo>
                <a:close/>
                <a:moveTo>
                  <a:pt x="1528" y="941"/>
                </a:moveTo>
                <a:cubicBezTo>
                  <a:pt x="1527" y="942"/>
                  <a:pt x="1526" y="942"/>
                  <a:pt x="1526" y="943"/>
                </a:cubicBezTo>
                <a:cubicBezTo>
                  <a:pt x="1526" y="942"/>
                  <a:pt x="1527" y="942"/>
                  <a:pt x="1528" y="941"/>
                </a:cubicBezTo>
                <a:cubicBezTo>
                  <a:pt x="1528" y="941"/>
                  <a:pt x="1528" y="941"/>
                  <a:pt x="1528" y="941"/>
                </a:cubicBezTo>
                <a:close/>
                <a:moveTo>
                  <a:pt x="1528" y="869"/>
                </a:moveTo>
                <a:cubicBezTo>
                  <a:pt x="1521" y="865"/>
                  <a:pt x="1525" y="863"/>
                  <a:pt x="1527" y="860"/>
                </a:cubicBezTo>
                <a:cubicBezTo>
                  <a:pt x="1525" y="863"/>
                  <a:pt x="1521" y="865"/>
                  <a:pt x="1528" y="869"/>
                </a:cubicBezTo>
                <a:cubicBezTo>
                  <a:pt x="1539" y="868"/>
                  <a:pt x="1550" y="865"/>
                  <a:pt x="1561" y="861"/>
                </a:cubicBezTo>
                <a:cubicBezTo>
                  <a:pt x="1562" y="861"/>
                  <a:pt x="1564" y="861"/>
                  <a:pt x="1565" y="860"/>
                </a:cubicBezTo>
                <a:cubicBezTo>
                  <a:pt x="1569" y="862"/>
                  <a:pt x="1568" y="866"/>
                  <a:pt x="1567" y="869"/>
                </a:cubicBezTo>
                <a:cubicBezTo>
                  <a:pt x="1563" y="879"/>
                  <a:pt x="1576" y="879"/>
                  <a:pt x="1578" y="885"/>
                </a:cubicBezTo>
                <a:cubicBezTo>
                  <a:pt x="1570" y="896"/>
                  <a:pt x="1565" y="906"/>
                  <a:pt x="1552" y="889"/>
                </a:cubicBezTo>
                <a:cubicBezTo>
                  <a:pt x="1546" y="881"/>
                  <a:pt x="1532" y="881"/>
                  <a:pt x="1528" y="869"/>
                </a:cubicBezTo>
                <a:close/>
                <a:moveTo>
                  <a:pt x="1537" y="1880"/>
                </a:moveTo>
                <a:cubicBezTo>
                  <a:pt x="1537" y="1880"/>
                  <a:pt x="1537" y="1880"/>
                  <a:pt x="1537" y="1880"/>
                </a:cubicBezTo>
                <a:cubicBezTo>
                  <a:pt x="1537" y="1879"/>
                  <a:pt x="1537" y="1878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ubicBezTo>
                  <a:pt x="1537" y="1878"/>
                  <a:pt x="1537" y="1879"/>
                  <a:pt x="1537" y="1880"/>
                </a:cubicBezTo>
                <a:cubicBezTo>
                  <a:pt x="1538" y="1884"/>
                  <a:pt x="1539" y="1886"/>
                  <a:pt x="1541" y="1889"/>
                </a:cubicBezTo>
                <a:cubicBezTo>
                  <a:pt x="1539" y="1886"/>
                  <a:pt x="1538" y="1884"/>
                  <a:pt x="1537" y="1880"/>
                </a:cubicBezTo>
                <a:close/>
                <a:moveTo>
                  <a:pt x="1537" y="1877"/>
                </a:moveTo>
                <a:cubicBezTo>
                  <a:pt x="1537" y="1877"/>
                  <a:pt x="1537" y="1877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ubicBezTo>
                  <a:pt x="1537" y="1877"/>
                  <a:pt x="1537" y="1877"/>
                  <a:pt x="1537" y="1877"/>
                </a:cubicBezTo>
                <a:close/>
                <a:moveTo>
                  <a:pt x="1564" y="2361"/>
                </a:moveTo>
                <a:cubicBezTo>
                  <a:pt x="1564" y="2359"/>
                  <a:pt x="1564" y="2357"/>
                  <a:pt x="1565" y="2355"/>
                </a:cubicBezTo>
                <a:cubicBezTo>
                  <a:pt x="1564" y="2357"/>
                  <a:pt x="1564" y="2359"/>
                  <a:pt x="1564" y="2361"/>
                </a:cubicBezTo>
                <a:close/>
                <a:moveTo>
                  <a:pt x="1577" y="1933"/>
                </a:moveTo>
                <a:cubicBezTo>
                  <a:pt x="1572" y="1932"/>
                  <a:pt x="1570" y="1929"/>
                  <a:pt x="1570" y="1927"/>
                </a:cubicBezTo>
                <a:cubicBezTo>
                  <a:pt x="1570" y="1929"/>
                  <a:pt x="1572" y="1932"/>
                  <a:pt x="1577" y="1933"/>
                </a:cubicBezTo>
                <a:close/>
                <a:moveTo>
                  <a:pt x="1626" y="1333"/>
                </a:moveTo>
                <a:cubicBezTo>
                  <a:pt x="1617" y="1334"/>
                  <a:pt x="1609" y="1336"/>
                  <a:pt x="1601" y="1337"/>
                </a:cubicBezTo>
                <a:cubicBezTo>
                  <a:pt x="1600" y="1337"/>
                  <a:pt x="1599" y="1337"/>
                  <a:pt x="1598" y="1337"/>
                </a:cubicBezTo>
                <a:cubicBezTo>
                  <a:pt x="1599" y="1337"/>
                  <a:pt x="1600" y="1337"/>
                  <a:pt x="1601" y="1337"/>
                </a:cubicBezTo>
                <a:cubicBezTo>
                  <a:pt x="1609" y="1336"/>
                  <a:pt x="1617" y="1334"/>
                  <a:pt x="1626" y="1333"/>
                </a:cubicBezTo>
                <a:close/>
                <a:moveTo>
                  <a:pt x="1612" y="1222"/>
                </a:moveTo>
                <a:cubicBezTo>
                  <a:pt x="1613" y="1221"/>
                  <a:pt x="1614" y="1220"/>
                  <a:pt x="1615" y="1219"/>
                </a:cubicBezTo>
                <a:cubicBezTo>
                  <a:pt x="1614" y="1220"/>
                  <a:pt x="1613" y="1221"/>
                  <a:pt x="1612" y="1222"/>
                </a:cubicBezTo>
                <a:close/>
                <a:moveTo>
                  <a:pt x="1607" y="1597"/>
                </a:moveTo>
                <a:cubicBezTo>
                  <a:pt x="1611" y="1582"/>
                  <a:pt x="1613" y="1579"/>
                  <a:pt x="1628" y="1573"/>
                </a:cubicBezTo>
                <a:cubicBezTo>
                  <a:pt x="1613" y="1579"/>
                  <a:pt x="1611" y="1582"/>
                  <a:pt x="1607" y="1597"/>
                </a:cubicBezTo>
                <a:close/>
                <a:moveTo>
                  <a:pt x="1627" y="1642"/>
                </a:moveTo>
                <a:cubicBezTo>
                  <a:pt x="1622" y="1643"/>
                  <a:pt x="1618" y="1644"/>
                  <a:pt x="1613" y="1644"/>
                </a:cubicBezTo>
                <a:cubicBezTo>
                  <a:pt x="1613" y="1644"/>
                  <a:pt x="1613" y="1644"/>
                  <a:pt x="1613" y="1644"/>
                </a:cubicBezTo>
                <a:cubicBezTo>
                  <a:pt x="1618" y="1644"/>
                  <a:pt x="1622" y="1643"/>
                  <a:pt x="1627" y="1642"/>
                </a:cubicBezTo>
                <a:close/>
                <a:moveTo>
                  <a:pt x="1613" y="1409"/>
                </a:moveTo>
                <a:cubicBezTo>
                  <a:pt x="1612" y="1407"/>
                  <a:pt x="1611" y="1404"/>
                  <a:pt x="1610" y="1402"/>
                </a:cubicBezTo>
                <a:cubicBezTo>
                  <a:pt x="1611" y="1404"/>
                  <a:pt x="1612" y="1407"/>
                  <a:pt x="1613" y="1409"/>
                </a:cubicBezTo>
                <a:cubicBezTo>
                  <a:pt x="1614" y="1410"/>
                  <a:pt x="1616" y="1411"/>
                  <a:pt x="1617" y="1412"/>
                </a:cubicBezTo>
                <a:cubicBezTo>
                  <a:pt x="1616" y="1411"/>
                  <a:pt x="1614" y="1410"/>
                  <a:pt x="1613" y="1409"/>
                </a:cubicBezTo>
                <a:cubicBezTo>
                  <a:pt x="1613" y="1409"/>
                  <a:pt x="1613" y="1409"/>
                  <a:pt x="1613" y="1409"/>
                </a:cubicBezTo>
                <a:close/>
                <a:moveTo>
                  <a:pt x="1617" y="1417"/>
                </a:moveTo>
                <a:cubicBezTo>
                  <a:pt x="1618" y="1419"/>
                  <a:pt x="1619" y="1420"/>
                  <a:pt x="1621" y="1421"/>
                </a:cubicBezTo>
                <a:cubicBezTo>
                  <a:pt x="1619" y="1420"/>
                  <a:pt x="1618" y="1419"/>
                  <a:pt x="1617" y="1417"/>
                </a:cubicBezTo>
                <a:cubicBezTo>
                  <a:pt x="1616" y="1416"/>
                  <a:pt x="1615" y="1416"/>
                  <a:pt x="1615" y="1415"/>
                </a:cubicBezTo>
                <a:cubicBezTo>
                  <a:pt x="1615" y="1416"/>
                  <a:pt x="1616" y="1416"/>
                  <a:pt x="1617" y="1417"/>
                </a:cubicBezTo>
                <a:close/>
                <a:moveTo>
                  <a:pt x="1604" y="1458"/>
                </a:moveTo>
                <a:cubicBezTo>
                  <a:pt x="1610" y="1461"/>
                  <a:pt x="1617" y="1461"/>
                  <a:pt x="1619" y="1467"/>
                </a:cubicBezTo>
                <a:cubicBezTo>
                  <a:pt x="1617" y="1461"/>
                  <a:pt x="1610" y="1461"/>
                  <a:pt x="1604" y="1458"/>
                </a:cubicBezTo>
                <a:cubicBezTo>
                  <a:pt x="1603" y="1458"/>
                  <a:pt x="1603" y="1458"/>
                  <a:pt x="1603" y="1458"/>
                </a:cubicBezTo>
                <a:lnTo>
                  <a:pt x="1604" y="1458"/>
                </a:lnTo>
                <a:close/>
                <a:moveTo>
                  <a:pt x="1604" y="1618"/>
                </a:moveTo>
                <a:cubicBezTo>
                  <a:pt x="1603" y="1614"/>
                  <a:pt x="1605" y="1609"/>
                  <a:pt x="1605" y="1605"/>
                </a:cubicBezTo>
                <a:cubicBezTo>
                  <a:pt x="1605" y="1609"/>
                  <a:pt x="1603" y="1614"/>
                  <a:pt x="1604" y="1618"/>
                </a:cubicBezTo>
                <a:close/>
                <a:moveTo>
                  <a:pt x="1620" y="1602"/>
                </a:moveTo>
                <a:cubicBezTo>
                  <a:pt x="1615" y="1602"/>
                  <a:pt x="1610" y="1604"/>
                  <a:pt x="1605" y="1605"/>
                </a:cubicBezTo>
                <a:cubicBezTo>
                  <a:pt x="1610" y="1604"/>
                  <a:pt x="1615" y="1602"/>
                  <a:pt x="1620" y="1602"/>
                </a:cubicBezTo>
                <a:close/>
                <a:moveTo>
                  <a:pt x="1613" y="1621"/>
                </a:moveTo>
                <a:cubicBezTo>
                  <a:pt x="1613" y="1621"/>
                  <a:pt x="1613" y="1621"/>
                  <a:pt x="1613" y="1621"/>
                </a:cubicBezTo>
                <a:cubicBezTo>
                  <a:pt x="1609" y="1621"/>
                  <a:pt x="1607" y="1621"/>
                  <a:pt x="1606" y="1620"/>
                </a:cubicBezTo>
                <a:cubicBezTo>
                  <a:pt x="1607" y="1621"/>
                  <a:pt x="1609" y="1621"/>
                  <a:pt x="1613" y="1621"/>
                </a:cubicBezTo>
                <a:close/>
                <a:moveTo>
                  <a:pt x="1657" y="2353"/>
                </a:moveTo>
                <a:cubicBezTo>
                  <a:pt x="1657" y="2353"/>
                  <a:pt x="1657" y="2353"/>
                  <a:pt x="1657" y="2353"/>
                </a:cubicBezTo>
                <a:cubicBezTo>
                  <a:pt x="1668" y="2350"/>
                  <a:pt x="1679" y="2348"/>
                  <a:pt x="1690" y="2347"/>
                </a:cubicBezTo>
                <a:cubicBezTo>
                  <a:pt x="1679" y="2348"/>
                  <a:pt x="1668" y="2350"/>
                  <a:pt x="1657" y="2353"/>
                </a:cubicBezTo>
                <a:close/>
                <a:moveTo>
                  <a:pt x="1753" y="2113"/>
                </a:moveTo>
                <a:cubicBezTo>
                  <a:pt x="1752" y="2108"/>
                  <a:pt x="1754" y="2102"/>
                  <a:pt x="1750" y="2099"/>
                </a:cubicBezTo>
                <a:cubicBezTo>
                  <a:pt x="1754" y="2102"/>
                  <a:pt x="1752" y="2108"/>
                  <a:pt x="1753" y="2113"/>
                </a:cubicBezTo>
                <a:close/>
                <a:moveTo>
                  <a:pt x="1744" y="2093"/>
                </a:moveTo>
                <a:cubicBezTo>
                  <a:pt x="1744" y="2094"/>
                  <a:pt x="1745" y="2095"/>
                  <a:pt x="1745" y="2097"/>
                </a:cubicBezTo>
                <a:cubicBezTo>
                  <a:pt x="1738" y="2116"/>
                  <a:pt x="1744" y="2140"/>
                  <a:pt x="1726" y="2156"/>
                </a:cubicBezTo>
                <a:cubicBezTo>
                  <a:pt x="1735" y="2172"/>
                  <a:pt x="1726" y="2181"/>
                  <a:pt x="1713" y="2188"/>
                </a:cubicBezTo>
                <a:cubicBezTo>
                  <a:pt x="1721" y="2195"/>
                  <a:pt x="1713" y="2198"/>
                  <a:pt x="1709" y="2201"/>
                </a:cubicBezTo>
                <a:cubicBezTo>
                  <a:pt x="1708" y="2202"/>
                  <a:pt x="1708" y="2203"/>
                  <a:pt x="1708" y="2204"/>
                </a:cubicBezTo>
                <a:cubicBezTo>
                  <a:pt x="1703" y="2203"/>
                  <a:pt x="1698" y="2209"/>
                  <a:pt x="1694" y="2203"/>
                </a:cubicBezTo>
                <a:cubicBezTo>
                  <a:pt x="1694" y="2203"/>
                  <a:pt x="1693" y="2203"/>
                  <a:pt x="1693" y="2203"/>
                </a:cubicBezTo>
                <a:cubicBezTo>
                  <a:pt x="1693" y="2203"/>
                  <a:pt x="1693" y="2204"/>
                  <a:pt x="1693" y="2204"/>
                </a:cubicBezTo>
                <a:cubicBezTo>
                  <a:pt x="1692" y="2214"/>
                  <a:pt x="1679" y="2215"/>
                  <a:pt x="1678" y="2225"/>
                </a:cubicBezTo>
                <a:cubicBezTo>
                  <a:pt x="1669" y="2231"/>
                  <a:pt x="1659" y="2228"/>
                  <a:pt x="1649" y="2229"/>
                </a:cubicBezTo>
                <a:cubicBezTo>
                  <a:pt x="1645" y="2222"/>
                  <a:pt x="1633" y="2223"/>
                  <a:pt x="1633" y="2212"/>
                </a:cubicBezTo>
                <a:cubicBezTo>
                  <a:pt x="1617" y="2168"/>
                  <a:pt x="1615" y="2122"/>
                  <a:pt x="1614" y="2076"/>
                </a:cubicBezTo>
                <a:cubicBezTo>
                  <a:pt x="1612" y="2024"/>
                  <a:pt x="1613" y="1972"/>
                  <a:pt x="1612" y="1921"/>
                </a:cubicBezTo>
                <a:cubicBezTo>
                  <a:pt x="1612" y="1902"/>
                  <a:pt x="1613" y="1884"/>
                  <a:pt x="1613" y="1866"/>
                </a:cubicBezTo>
                <a:cubicBezTo>
                  <a:pt x="1617" y="1847"/>
                  <a:pt x="1617" y="1828"/>
                  <a:pt x="1616" y="1809"/>
                </a:cubicBezTo>
                <a:cubicBezTo>
                  <a:pt x="1614" y="1773"/>
                  <a:pt x="1624" y="1742"/>
                  <a:pt x="1644" y="1713"/>
                </a:cubicBezTo>
                <a:cubicBezTo>
                  <a:pt x="1658" y="1695"/>
                  <a:pt x="1672" y="1680"/>
                  <a:pt x="1698" y="1683"/>
                </a:cubicBezTo>
                <a:cubicBezTo>
                  <a:pt x="1707" y="1684"/>
                  <a:pt x="1715" y="1690"/>
                  <a:pt x="1724" y="1689"/>
                </a:cubicBezTo>
                <a:cubicBezTo>
                  <a:pt x="1741" y="1698"/>
                  <a:pt x="1758" y="1707"/>
                  <a:pt x="1763" y="1728"/>
                </a:cubicBezTo>
                <a:cubicBezTo>
                  <a:pt x="1764" y="1734"/>
                  <a:pt x="1767" y="1739"/>
                  <a:pt x="1769" y="1745"/>
                </a:cubicBezTo>
                <a:cubicBezTo>
                  <a:pt x="1766" y="1861"/>
                  <a:pt x="1761" y="1977"/>
                  <a:pt x="1744" y="2093"/>
                </a:cubicBezTo>
                <a:close/>
                <a:moveTo>
                  <a:pt x="1629" y="1426"/>
                </a:moveTo>
                <a:cubicBezTo>
                  <a:pt x="1629" y="1426"/>
                  <a:pt x="1629" y="1426"/>
                  <a:pt x="1629" y="1426"/>
                </a:cubicBezTo>
                <a:cubicBezTo>
                  <a:pt x="1629" y="1424"/>
                  <a:pt x="1629" y="1422"/>
                  <a:pt x="1629" y="1420"/>
                </a:cubicBezTo>
                <a:cubicBezTo>
                  <a:pt x="1629" y="1422"/>
                  <a:pt x="1629" y="1424"/>
                  <a:pt x="1629" y="1426"/>
                </a:cubicBezTo>
                <a:close/>
                <a:moveTo>
                  <a:pt x="1629" y="1689"/>
                </a:moveTo>
                <a:cubicBezTo>
                  <a:pt x="1629" y="1691"/>
                  <a:pt x="1629" y="1694"/>
                  <a:pt x="1629" y="1697"/>
                </a:cubicBezTo>
                <a:cubicBezTo>
                  <a:pt x="1629" y="1697"/>
                  <a:pt x="1629" y="1697"/>
                  <a:pt x="1629" y="1697"/>
                </a:cubicBezTo>
                <a:cubicBezTo>
                  <a:pt x="1629" y="1697"/>
                  <a:pt x="1629" y="1697"/>
                  <a:pt x="1629" y="1697"/>
                </a:cubicBezTo>
                <a:cubicBezTo>
                  <a:pt x="1629" y="1694"/>
                  <a:pt x="1629" y="1691"/>
                  <a:pt x="1629" y="1689"/>
                </a:cubicBezTo>
                <a:close/>
                <a:moveTo>
                  <a:pt x="1633" y="1669"/>
                </a:moveTo>
                <a:cubicBezTo>
                  <a:pt x="1638" y="1668"/>
                  <a:pt x="1640" y="1666"/>
                  <a:pt x="1641" y="1661"/>
                </a:cubicBezTo>
                <a:cubicBezTo>
                  <a:pt x="1641" y="1661"/>
                  <a:pt x="1641" y="1661"/>
                  <a:pt x="1641" y="1661"/>
                </a:cubicBezTo>
                <a:cubicBezTo>
                  <a:pt x="1641" y="1661"/>
                  <a:pt x="1641" y="1661"/>
                  <a:pt x="1641" y="1661"/>
                </a:cubicBezTo>
                <a:cubicBezTo>
                  <a:pt x="1640" y="1666"/>
                  <a:pt x="1638" y="1668"/>
                  <a:pt x="1633" y="1669"/>
                </a:cubicBezTo>
                <a:close/>
                <a:moveTo>
                  <a:pt x="1669" y="1077"/>
                </a:moveTo>
                <a:cubicBezTo>
                  <a:pt x="1670" y="1076"/>
                  <a:pt x="1672" y="1076"/>
                  <a:pt x="1673" y="1076"/>
                </a:cubicBezTo>
                <a:cubicBezTo>
                  <a:pt x="1675" y="1080"/>
                  <a:pt x="1678" y="1084"/>
                  <a:pt x="1679" y="1088"/>
                </a:cubicBezTo>
                <a:cubicBezTo>
                  <a:pt x="1681" y="1092"/>
                  <a:pt x="1684" y="1098"/>
                  <a:pt x="1679" y="1100"/>
                </a:cubicBezTo>
                <a:cubicBezTo>
                  <a:pt x="1674" y="1102"/>
                  <a:pt x="1671" y="1096"/>
                  <a:pt x="1668" y="1093"/>
                </a:cubicBezTo>
                <a:cubicBezTo>
                  <a:pt x="1668" y="1088"/>
                  <a:pt x="1669" y="1082"/>
                  <a:pt x="1669" y="1077"/>
                </a:cubicBezTo>
                <a:cubicBezTo>
                  <a:pt x="1669" y="1077"/>
                  <a:pt x="1669" y="1077"/>
                  <a:pt x="1669" y="1077"/>
                </a:cubicBezTo>
                <a:close/>
                <a:moveTo>
                  <a:pt x="1685" y="1133"/>
                </a:moveTo>
                <a:cubicBezTo>
                  <a:pt x="1685" y="1133"/>
                  <a:pt x="1684" y="1133"/>
                  <a:pt x="1684" y="1133"/>
                </a:cubicBezTo>
                <a:cubicBezTo>
                  <a:pt x="1685" y="1133"/>
                  <a:pt x="1685" y="1133"/>
                  <a:pt x="1685" y="1133"/>
                </a:cubicBezTo>
                <a:cubicBezTo>
                  <a:pt x="1690" y="1110"/>
                  <a:pt x="1667" y="1108"/>
                  <a:pt x="1658" y="1095"/>
                </a:cubicBezTo>
                <a:cubicBezTo>
                  <a:pt x="1653" y="1095"/>
                  <a:pt x="1646" y="1098"/>
                  <a:pt x="1643" y="1095"/>
                </a:cubicBezTo>
                <a:cubicBezTo>
                  <a:pt x="1646" y="1098"/>
                  <a:pt x="1653" y="1095"/>
                  <a:pt x="1658" y="1095"/>
                </a:cubicBezTo>
                <a:cubicBezTo>
                  <a:pt x="1667" y="1108"/>
                  <a:pt x="1690" y="1110"/>
                  <a:pt x="1685" y="1133"/>
                </a:cubicBezTo>
                <a:close/>
                <a:moveTo>
                  <a:pt x="1725" y="1381"/>
                </a:moveTo>
                <a:cubicBezTo>
                  <a:pt x="1733" y="1381"/>
                  <a:pt x="1740" y="1380"/>
                  <a:pt x="1748" y="1380"/>
                </a:cubicBezTo>
                <a:cubicBezTo>
                  <a:pt x="1740" y="1380"/>
                  <a:pt x="1733" y="1381"/>
                  <a:pt x="1725" y="1381"/>
                </a:cubicBezTo>
                <a:cubicBezTo>
                  <a:pt x="1720" y="1390"/>
                  <a:pt x="1714" y="1396"/>
                  <a:pt x="1707" y="1400"/>
                </a:cubicBezTo>
                <a:cubicBezTo>
                  <a:pt x="1714" y="1396"/>
                  <a:pt x="1720" y="1390"/>
                  <a:pt x="1725" y="1381"/>
                </a:cubicBezTo>
                <a:close/>
                <a:moveTo>
                  <a:pt x="1708" y="1182"/>
                </a:moveTo>
                <a:cubicBezTo>
                  <a:pt x="1708" y="1182"/>
                  <a:pt x="1709" y="1181"/>
                  <a:pt x="1709" y="1181"/>
                </a:cubicBezTo>
                <a:cubicBezTo>
                  <a:pt x="1709" y="1181"/>
                  <a:pt x="1708" y="1181"/>
                  <a:pt x="1708" y="1182"/>
                </a:cubicBezTo>
                <a:cubicBezTo>
                  <a:pt x="1708" y="1182"/>
                  <a:pt x="1708" y="1182"/>
                  <a:pt x="1708" y="1182"/>
                </a:cubicBezTo>
                <a:close/>
                <a:moveTo>
                  <a:pt x="1709" y="1128"/>
                </a:moveTo>
                <a:cubicBezTo>
                  <a:pt x="1709" y="1128"/>
                  <a:pt x="1709" y="1128"/>
                  <a:pt x="1710" y="1128"/>
                </a:cubicBezTo>
                <a:cubicBezTo>
                  <a:pt x="1710" y="1128"/>
                  <a:pt x="1710" y="1128"/>
                  <a:pt x="1710" y="1128"/>
                </a:cubicBezTo>
                <a:cubicBezTo>
                  <a:pt x="1709" y="1128"/>
                  <a:pt x="1709" y="1128"/>
                  <a:pt x="1709" y="1128"/>
                </a:cubicBezTo>
                <a:close/>
                <a:moveTo>
                  <a:pt x="1726" y="1292"/>
                </a:moveTo>
                <a:cubicBezTo>
                  <a:pt x="1726" y="1291"/>
                  <a:pt x="1726" y="1291"/>
                  <a:pt x="1727" y="1290"/>
                </a:cubicBezTo>
                <a:cubicBezTo>
                  <a:pt x="1727" y="1290"/>
                  <a:pt x="1727" y="1290"/>
                  <a:pt x="1727" y="1290"/>
                </a:cubicBezTo>
                <a:cubicBezTo>
                  <a:pt x="1726" y="1291"/>
                  <a:pt x="1726" y="1291"/>
                  <a:pt x="1726" y="1292"/>
                </a:cubicBezTo>
                <a:close/>
                <a:moveTo>
                  <a:pt x="1678" y="848"/>
                </a:moveTo>
                <a:cubicBezTo>
                  <a:pt x="1678" y="848"/>
                  <a:pt x="1678" y="848"/>
                  <a:pt x="1678" y="848"/>
                </a:cubicBezTo>
                <a:cubicBezTo>
                  <a:pt x="1682" y="855"/>
                  <a:pt x="1685" y="864"/>
                  <a:pt x="1692" y="869"/>
                </a:cubicBezTo>
                <a:cubicBezTo>
                  <a:pt x="1697" y="889"/>
                  <a:pt x="1714" y="902"/>
                  <a:pt x="1721" y="920"/>
                </a:cubicBezTo>
                <a:cubicBezTo>
                  <a:pt x="1724" y="925"/>
                  <a:pt x="1725" y="931"/>
                  <a:pt x="1731" y="933"/>
                </a:cubicBezTo>
                <a:cubicBezTo>
                  <a:pt x="1733" y="937"/>
                  <a:pt x="1735" y="941"/>
                  <a:pt x="1738" y="944"/>
                </a:cubicBezTo>
                <a:cubicBezTo>
                  <a:pt x="1739" y="955"/>
                  <a:pt x="1746" y="961"/>
                  <a:pt x="1752" y="969"/>
                </a:cubicBezTo>
                <a:cubicBezTo>
                  <a:pt x="1764" y="993"/>
                  <a:pt x="1778" y="1015"/>
                  <a:pt x="1793" y="1036"/>
                </a:cubicBezTo>
                <a:cubicBezTo>
                  <a:pt x="1800" y="1046"/>
                  <a:pt x="1805" y="1056"/>
                  <a:pt x="1797" y="1068"/>
                </a:cubicBezTo>
                <a:cubicBezTo>
                  <a:pt x="1792" y="1075"/>
                  <a:pt x="1802" y="1080"/>
                  <a:pt x="1801" y="1087"/>
                </a:cubicBezTo>
                <a:cubicBezTo>
                  <a:pt x="1776" y="1077"/>
                  <a:pt x="1759" y="1057"/>
                  <a:pt x="1738" y="1041"/>
                </a:cubicBezTo>
                <a:cubicBezTo>
                  <a:pt x="1709" y="1018"/>
                  <a:pt x="1677" y="998"/>
                  <a:pt x="1652" y="969"/>
                </a:cubicBezTo>
                <a:cubicBezTo>
                  <a:pt x="1652" y="964"/>
                  <a:pt x="1652" y="958"/>
                  <a:pt x="1652" y="953"/>
                </a:cubicBezTo>
                <a:cubicBezTo>
                  <a:pt x="1659" y="919"/>
                  <a:pt x="1655" y="884"/>
                  <a:pt x="1660" y="850"/>
                </a:cubicBezTo>
                <a:cubicBezTo>
                  <a:pt x="1661" y="843"/>
                  <a:pt x="1660" y="835"/>
                  <a:pt x="1665" y="829"/>
                </a:cubicBezTo>
                <a:cubicBezTo>
                  <a:pt x="1676" y="831"/>
                  <a:pt x="1673" y="842"/>
                  <a:pt x="1678" y="848"/>
                </a:cubicBezTo>
                <a:close/>
                <a:moveTo>
                  <a:pt x="1671" y="664"/>
                </a:moveTo>
                <a:cubicBezTo>
                  <a:pt x="1672" y="663"/>
                  <a:pt x="1672" y="663"/>
                  <a:pt x="1672" y="663"/>
                </a:cubicBezTo>
                <a:cubicBezTo>
                  <a:pt x="1672" y="661"/>
                  <a:pt x="1672" y="661"/>
                  <a:pt x="1672" y="661"/>
                </a:cubicBezTo>
                <a:cubicBezTo>
                  <a:pt x="1672" y="661"/>
                  <a:pt x="1672" y="663"/>
                  <a:pt x="1672" y="663"/>
                </a:cubicBezTo>
                <a:cubicBezTo>
                  <a:pt x="1672" y="663"/>
                  <a:pt x="1671" y="664"/>
                  <a:pt x="1671" y="664"/>
                </a:cubicBezTo>
                <a:close/>
                <a:moveTo>
                  <a:pt x="1753" y="1133"/>
                </a:moveTo>
                <a:cubicBezTo>
                  <a:pt x="1752" y="1131"/>
                  <a:pt x="1750" y="1130"/>
                  <a:pt x="1749" y="1129"/>
                </a:cubicBezTo>
                <a:cubicBezTo>
                  <a:pt x="1748" y="1129"/>
                  <a:pt x="1748" y="1129"/>
                  <a:pt x="1747" y="1129"/>
                </a:cubicBezTo>
                <a:cubicBezTo>
                  <a:pt x="1748" y="1129"/>
                  <a:pt x="1748" y="1129"/>
                  <a:pt x="1749" y="1129"/>
                </a:cubicBezTo>
                <a:cubicBezTo>
                  <a:pt x="1749" y="1129"/>
                  <a:pt x="1749" y="1129"/>
                  <a:pt x="1749" y="1129"/>
                </a:cubicBezTo>
                <a:cubicBezTo>
                  <a:pt x="1749" y="1129"/>
                  <a:pt x="1749" y="1129"/>
                  <a:pt x="1749" y="1129"/>
                </a:cubicBezTo>
                <a:cubicBezTo>
                  <a:pt x="1750" y="1130"/>
                  <a:pt x="1752" y="1131"/>
                  <a:pt x="1753" y="1133"/>
                </a:cubicBezTo>
                <a:close/>
                <a:moveTo>
                  <a:pt x="1743" y="1104"/>
                </a:moveTo>
                <a:cubicBezTo>
                  <a:pt x="1743" y="1104"/>
                  <a:pt x="1743" y="1103"/>
                  <a:pt x="1743" y="1103"/>
                </a:cubicBezTo>
                <a:cubicBezTo>
                  <a:pt x="1743" y="1103"/>
                  <a:pt x="1743" y="1103"/>
                  <a:pt x="1743" y="1103"/>
                </a:cubicBezTo>
                <a:lnTo>
                  <a:pt x="1743" y="1104"/>
                </a:lnTo>
                <a:close/>
                <a:moveTo>
                  <a:pt x="1729" y="1533"/>
                </a:moveTo>
                <a:cubicBezTo>
                  <a:pt x="1733" y="1533"/>
                  <a:pt x="1737" y="1533"/>
                  <a:pt x="1741" y="1533"/>
                </a:cubicBezTo>
                <a:cubicBezTo>
                  <a:pt x="1740" y="1542"/>
                  <a:pt x="1745" y="1544"/>
                  <a:pt x="1751" y="1544"/>
                </a:cubicBezTo>
                <a:cubicBezTo>
                  <a:pt x="1745" y="1544"/>
                  <a:pt x="1740" y="1542"/>
                  <a:pt x="1741" y="1533"/>
                </a:cubicBezTo>
                <a:cubicBezTo>
                  <a:pt x="1737" y="1533"/>
                  <a:pt x="1733" y="1533"/>
                  <a:pt x="1729" y="1533"/>
                </a:cubicBezTo>
                <a:cubicBezTo>
                  <a:pt x="1729" y="1533"/>
                  <a:pt x="1729" y="1533"/>
                  <a:pt x="1729" y="1533"/>
                </a:cubicBezTo>
                <a:cubicBezTo>
                  <a:pt x="1709" y="1540"/>
                  <a:pt x="1687" y="1542"/>
                  <a:pt x="1666" y="1545"/>
                </a:cubicBezTo>
                <a:cubicBezTo>
                  <a:pt x="1687" y="1542"/>
                  <a:pt x="1709" y="1540"/>
                  <a:pt x="1729" y="1533"/>
                </a:cubicBezTo>
                <a:close/>
                <a:moveTo>
                  <a:pt x="1749" y="1608"/>
                </a:moveTo>
                <a:cubicBezTo>
                  <a:pt x="1749" y="1607"/>
                  <a:pt x="1749" y="1606"/>
                  <a:pt x="1749" y="1605"/>
                </a:cubicBezTo>
                <a:cubicBezTo>
                  <a:pt x="1747" y="1605"/>
                  <a:pt x="1746" y="1605"/>
                  <a:pt x="1744" y="1605"/>
                </a:cubicBezTo>
                <a:cubicBezTo>
                  <a:pt x="1746" y="1605"/>
                  <a:pt x="1747" y="1605"/>
                  <a:pt x="1749" y="1605"/>
                </a:cubicBezTo>
                <a:cubicBezTo>
                  <a:pt x="1749" y="1606"/>
                  <a:pt x="1749" y="1607"/>
                  <a:pt x="1749" y="1608"/>
                </a:cubicBezTo>
                <a:close/>
                <a:moveTo>
                  <a:pt x="1665" y="1532"/>
                </a:moveTo>
                <a:cubicBezTo>
                  <a:pt x="1665" y="1532"/>
                  <a:pt x="1665" y="1532"/>
                  <a:pt x="1665" y="1532"/>
                </a:cubicBezTo>
                <a:cubicBezTo>
                  <a:pt x="1664" y="1533"/>
                  <a:pt x="1664" y="1533"/>
                  <a:pt x="1663" y="1533"/>
                </a:cubicBezTo>
                <a:cubicBezTo>
                  <a:pt x="1661" y="1534"/>
                  <a:pt x="1659" y="1536"/>
                  <a:pt x="1657" y="1535"/>
                </a:cubicBezTo>
                <a:cubicBezTo>
                  <a:pt x="1659" y="1536"/>
                  <a:pt x="1661" y="1534"/>
                  <a:pt x="1663" y="1533"/>
                </a:cubicBezTo>
                <a:cubicBezTo>
                  <a:pt x="1664" y="1533"/>
                  <a:pt x="1664" y="1533"/>
                  <a:pt x="1665" y="1532"/>
                </a:cubicBezTo>
                <a:close/>
                <a:moveTo>
                  <a:pt x="1664" y="1392"/>
                </a:moveTo>
                <a:cubicBezTo>
                  <a:pt x="1665" y="1391"/>
                  <a:pt x="1665" y="1391"/>
                  <a:pt x="1665" y="1391"/>
                </a:cubicBezTo>
                <a:cubicBezTo>
                  <a:pt x="1665" y="1391"/>
                  <a:pt x="1664" y="1392"/>
                  <a:pt x="1664" y="1392"/>
                </a:cubicBezTo>
                <a:close/>
                <a:moveTo>
                  <a:pt x="1660" y="1366"/>
                </a:moveTo>
                <a:cubicBezTo>
                  <a:pt x="1661" y="1362"/>
                  <a:pt x="1663" y="1357"/>
                  <a:pt x="1668" y="1353"/>
                </a:cubicBezTo>
                <a:cubicBezTo>
                  <a:pt x="1673" y="1347"/>
                  <a:pt x="1679" y="1343"/>
                  <a:pt x="1684" y="1341"/>
                </a:cubicBezTo>
                <a:cubicBezTo>
                  <a:pt x="1679" y="1343"/>
                  <a:pt x="1673" y="1347"/>
                  <a:pt x="1668" y="1353"/>
                </a:cubicBezTo>
                <a:cubicBezTo>
                  <a:pt x="1663" y="1357"/>
                  <a:pt x="1661" y="1362"/>
                  <a:pt x="1660" y="1366"/>
                </a:cubicBezTo>
                <a:close/>
                <a:moveTo>
                  <a:pt x="1684" y="1383"/>
                </a:moveTo>
                <a:cubicBezTo>
                  <a:pt x="1688" y="1385"/>
                  <a:pt x="1692" y="1387"/>
                  <a:pt x="1697" y="1389"/>
                </a:cubicBezTo>
                <a:cubicBezTo>
                  <a:pt x="1697" y="1389"/>
                  <a:pt x="1697" y="1389"/>
                  <a:pt x="1697" y="1389"/>
                </a:cubicBezTo>
                <a:cubicBezTo>
                  <a:pt x="1692" y="1387"/>
                  <a:pt x="1688" y="1385"/>
                  <a:pt x="1684" y="1383"/>
                </a:cubicBezTo>
                <a:close/>
                <a:moveTo>
                  <a:pt x="1692" y="1348"/>
                </a:moveTo>
                <a:cubicBezTo>
                  <a:pt x="1696" y="1348"/>
                  <a:pt x="1699" y="1349"/>
                  <a:pt x="1703" y="1349"/>
                </a:cubicBezTo>
                <a:cubicBezTo>
                  <a:pt x="1699" y="1349"/>
                  <a:pt x="1696" y="1348"/>
                  <a:pt x="1692" y="1348"/>
                </a:cubicBezTo>
                <a:close/>
                <a:moveTo>
                  <a:pt x="1683" y="1267"/>
                </a:moveTo>
                <a:cubicBezTo>
                  <a:pt x="1681" y="1266"/>
                  <a:pt x="1679" y="1265"/>
                  <a:pt x="1677" y="1264"/>
                </a:cubicBezTo>
                <a:cubicBezTo>
                  <a:pt x="1679" y="1265"/>
                  <a:pt x="1681" y="1266"/>
                  <a:pt x="1683" y="1267"/>
                </a:cubicBezTo>
                <a:cubicBezTo>
                  <a:pt x="1687" y="1270"/>
                  <a:pt x="1691" y="1272"/>
                  <a:pt x="1695" y="1275"/>
                </a:cubicBezTo>
                <a:cubicBezTo>
                  <a:pt x="1691" y="1272"/>
                  <a:pt x="1687" y="1270"/>
                  <a:pt x="1683" y="1267"/>
                </a:cubicBezTo>
                <a:close/>
                <a:moveTo>
                  <a:pt x="1689" y="1097"/>
                </a:moveTo>
                <a:cubicBezTo>
                  <a:pt x="1688" y="1100"/>
                  <a:pt x="1688" y="1106"/>
                  <a:pt x="1686" y="1104"/>
                </a:cubicBezTo>
                <a:cubicBezTo>
                  <a:pt x="1681" y="1102"/>
                  <a:pt x="1685" y="1096"/>
                  <a:pt x="1686" y="1092"/>
                </a:cubicBezTo>
                <a:cubicBezTo>
                  <a:pt x="1686" y="1092"/>
                  <a:pt x="1687" y="1091"/>
                  <a:pt x="1688" y="1091"/>
                </a:cubicBezTo>
                <a:cubicBezTo>
                  <a:pt x="1688" y="1092"/>
                  <a:pt x="1689" y="1092"/>
                  <a:pt x="1689" y="1093"/>
                </a:cubicBezTo>
                <a:cubicBezTo>
                  <a:pt x="1689" y="1094"/>
                  <a:pt x="1689" y="1095"/>
                  <a:pt x="1689" y="1097"/>
                </a:cubicBezTo>
                <a:close/>
                <a:moveTo>
                  <a:pt x="1768" y="1599"/>
                </a:moveTo>
                <a:cubicBezTo>
                  <a:pt x="1769" y="1594"/>
                  <a:pt x="1769" y="1589"/>
                  <a:pt x="1765" y="1584"/>
                </a:cubicBezTo>
                <a:cubicBezTo>
                  <a:pt x="1765" y="1580"/>
                  <a:pt x="1765" y="1576"/>
                  <a:pt x="1765" y="1572"/>
                </a:cubicBezTo>
                <a:cubicBezTo>
                  <a:pt x="1765" y="1576"/>
                  <a:pt x="1765" y="1580"/>
                  <a:pt x="1765" y="1584"/>
                </a:cubicBezTo>
                <a:cubicBezTo>
                  <a:pt x="1769" y="1589"/>
                  <a:pt x="1769" y="1594"/>
                  <a:pt x="1768" y="1599"/>
                </a:cubicBezTo>
                <a:close/>
                <a:moveTo>
                  <a:pt x="1769" y="1629"/>
                </a:moveTo>
                <a:cubicBezTo>
                  <a:pt x="1769" y="1621"/>
                  <a:pt x="1768" y="1612"/>
                  <a:pt x="1768" y="1604"/>
                </a:cubicBezTo>
                <a:cubicBezTo>
                  <a:pt x="1768" y="1604"/>
                  <a:pt x="1768" y="1604"/>
                  <a:pt x="1768" y="1604"/>
                </a:cubicBezTo>
                <a:cubicBezTo>
                  <a:pt x="1768" y="1612"/>
                  <a:pt x="1769" y="1621"/>
                  <a:pt x="1769" y="1629"/>
                </a:cubicBezTo>
                <a:close/>
                <a:moveTo>
                  <a:pt x="1772" y="1357"/>
                </a:moveTo>
                <a:cubicBezTo>
                  <a:pt x="1772" y="1357"/>
                  <a:pt x="1772" y="1357"/>
                  <a:pt x="1772" y="1357"/>
                </a:cubicBezTo>
                <a:cubicBezTo>
                  <a:pt x="1772" y="1357"/>
                  <a:pt x="1772" y="1357"/>
                  <a:pt x="1772" y="1357"/>
                </a:cubicBezTo>
                <a:close/>
                <a:moveTo>
                  <a:pt x="1785" y="1340"/>
                </a:moveTo>
                <a:cubicBezTo>
                  <a:pt x="1784" y="1340"/>
                  <a:pt x="1782" y="1341"/>
                  <a:pt x="1781" y="1341"/>
                </a:cubicBezTo>
                <a:cubicBezTo>
                  <a:pt x="1782" y="1341"/>
                  <a:pt x="1784" y="1340"/>
                  <a:pt x="1785" y="1340"/>
                </a:cubicBezTo>
                <a:cubicBezTo>
                  <a:pt x="1786" y="1339"/>
                  <a:pt x="1787" y="1338"/>
                  <a:pt x="1788" y="1337"/>
                </a:cubicBezTo>
                <a:cubicBezTo>
                  <a:pt x="1788" y="1335"/>
                  <a:pt x="1788" y="1334"/>
                  <a:pt x="1788" y="1333"/>
                </a:cubicBezTo>
                <a:cubicBezTo>
                  <a:pt x="1778" y="1330"/>
                  <a:pt x="1768" y="1326"/>
                  <a:pt x="1761" y="1318"/>
                </a:cubicBezTo>
                <a:cubicBezTo>
                  <a:pt x="1759" y="1316"/>
                  <a:pt x="1758" y="1315"/>
                  <a:pt x="1756" y="1313"/>
                </a:cubicBezTo>
                <a:cubicBezTo>
                  <a:pt x="1757" y="1312"/>
                  <a:pt x="1757" y="1312"/>
                  <a:pt x="1758" y="1311"/>
                </a:cubicBezTo>
                <a:cubicBezTo>
                  <a:pt x="1760" y="1312"/>
                  <a:pt x="1762" y="1312"/>
                  <a:pt x="1765" y="1313"/>
                </a:cubicBezTo>
                <a:cubicBezTo>
                  <a:pt x="1763" y="1314"/>
                  <a:pt x="1762" y="1316"/>
                  <a:pt x="1761" y="1318"/>
                </a:cubicBezTo>
                <a:cubicBezTo>
                  <a:pt x="1768" y="1326"/>
                  <a:pt x="1778" y="1330"/>
                  <a:pt x="1788" y="1333"/>
                </a:cubicBezTo>
                <a:cubicBezTo>
                  <a:pt x="1788" y="1334"/>
                  <a:pt x="1788" y="1335"/>
                  <a:pt x="1788" y="1337"/>
                </a:cubicBezTo>
                <a:cubicBezTo>
                  <a:pt x="1787" y="1338"/>
                  <a:pt x="1786" y="1339"/>
                  <a:pt x="1785" y="1340"/>
                </a:cubicBezTo>
                <a:close/>
                <a:moveTo>
                  <a:pt x="1765" y="1144"/>
                </a:moveTo>
                <a:cubicBezTo>
                  <a:pt x="1766" y="1144"/>
                  <a:pt x="1767" y="1144"/>
                  <a:pt x="1769" y="1145"/>
                </a:cubicBezTo>
                <a:cubicBezTo>
                  <a:pt x="1769" y="1145"/>
                  <a:pt x="1769" y="1145"/>
                  <a:pt x="1769" y="1145"/>
                </a:cubicBezTo>
                <a:cubicBezTo>
                  <a:pt x="1768" y="1144"/>
                  <a:pt x="1766" y="1144"/>
                  <a:pt x="1765" y="1144"/>
                </a:cubicBezTo>
                <a:close/>
                <a:moveTo>
                  <a:pt x="1793" y="1898"/>
                </a:moveTo>
                <a:cubicBezTo>
                  <a:pt x="1794" y="1898"/>
                  <a:pt x="1795" y="1897"/>
                  <a:pt x="1797" y="1897"/>
                </a:cubicBezTo>
                <a:cubicBezTo>
                  <a:pt x="1795" y="1897"/>
                  <a:pt x="1794" y="1898"/>
                  <a:pt x="1793" y="1898"/>
                </a:cubicBezTo>
                <a:close/>
                <a:moveTo>
                  <a:pt x="1790" y="1296"/>
                </a:moveTo>
                <a:cubicBezTo>
                  <a:pt x="1791" y="1302"/>
                  <a:pt x="1794" y="1307"/>
                  <a:pt x="1797" y="1313"/>
                </a:cubicBezTo>
                <a:cubicBezTo>
                  <a:pt x="1797" y="1313"/>
                  <a:pt x="1797" y="1313"/>
                  <a:pt x="1797" y="1313"/>
                </a:cubicBezTo>
                <a:cubicBezTo>
                  <a:pt x="1794" y="1307"/>
                  <a:pt x="1791" y="1302"/>
                  <a:pt x="1790" y="1296"/>
                </a:cubicBezTo>
                <a:close/>
                <a:moveTo>
                  <a:pt x="1808" y="1195"/>
                </a:moveTo>
                <a:cubicBezTo>
                  <a:pt x="1807" y="1195"/>
                  <a:pt x="1806" y="1194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805" y="1193"/>
                  <a:pt x="1805" y="1193"/>
                  <a:pt x="1805" y="1193"/>
                </a:cubicBezTo>
                <a:cubicBezTo>
                  <a:pt x="1797" y="1192"/>
                  <a:pt x="1794" y="1185"/>
                  <a:pt x="1788" y="1181"/>
                </a:cubicBezTo>
                <a:cubicBezTo>
                  <a:pt x="1797" y="1172"/>
                  <a:pt x="1789" y="1159"/>
                  <a:pt x="1797" y="1149"/>
                </a:cubicBezTo>
                <a:cubicBezTo>
                  <a:pt x="1789" y="1158"/>
                  <a:pt x="1783" y="1154"/>
                  <a:pt x="1777" y="1149"/>
                </a:cubicBezTo>
                <a:cubicBezTo>
                  <a:pt x="1776" y="1148"/>
                  <a:pt x="1774" y="1148"/>
                  <a:pt x="1773" y="1148"/>
                </a:cubicBezTo>
                <a:cubicBezTo>
                  <a:pt x="1774" y="1145"/>
                  <a:pt x="1772" y="1144"/>
                  <a:pt x="1769" y="1144"/>
                </a:cubicBezTo>
                <a:cubicBezTo>
                  <a:pt x="1766" y="1140"/>
                  <a:pt x="1764" y="1136"/>
                  <a:pt x="1761" y="1131"/>
                </a:cubicBezTo>
                <a:cubicBezTo>
                  <a:pt x="1761" y="1127"/>
                  <a:pt x="1761" y="1122"/>
                  <a:pt x="1761" y="1117"/>
                </a:cubicBezTo>
                <a:cubicBezTo>
                  <a:pt x="1767" y="1122"/>
                  <a:pt x="1773" y="1127"/>
                  <a:pt x="1779" y="1131"/>
                </a:cubicBezTo>
                <a:cubicBezTo>
                  <a:pt x="1783" y="1135"/>
                  <a:pt x="1787" y="1135"/>
                  <a:pt x="1789" y="1128"/>
                </a:cubicBezTo>
                <a:cubicBezTo>
                  <a:pt x="1801" y="1129"/>
                  <a:pt x="1806" y="1144"/>
                  <a:pt x="1818" y="1144"/>
                </a:cubicBezTo>
                <a:cubicBezTo>
                  <a:pt x="1818" y="1145"/>
                  <a:pt x="1818" y="1145"/>
                  <a:pt x="1818" y="1145"/>
                </a:cubicBezTo>
                <a:cubicBezTo>
                  <a:pt x="1814" y="1155"/>
                  <a:pt x="1817" y="1164"/>
                  <a:pt x="1823" y="1172"/>
                </a:cubicBezTo>
                <a:cubicBezTo>
                  <a:pt x="1821" y="1175"/>
                  <a:pt x="1823" y="1180"/>
                  <a:pt x="1817" y="1181"/>
                </a:cubicBezTo>
                <a:cubicBezTo>
                  <a:pt x="1806" y="1176"/>
                  <a:pt x="1805" y="1177"/>
                  <a:pt x="1805" y="1193"/>
                </a:cubicBezTo>
                <a:cubicBezTo>
                  <a:pt x="1806" y="1194"/>
                  <a:pt x="1807" y="1195"/>
                  <a:pt x="1808" y="1195"/>
                </a:cubicBezTo>
                <a:close/>
                <a:moveTo>
                  <a:pt x="1802" y="1111"/>
                </a:moveTo>
                <a:cubicBezTo>
                  <a:pt x="1803" y="1113"/>
                  <a:pt x="1804" y="1114"/>
                  <a:pt x="1806" y="1116"/>
                </a:cubicBezTo>
                <a:cubicBezTo>
                  <a:pt x="1806" y="1116"/>
                  <a:pt x="1807" y="1117"/>
                  <a:pt x="1807" y="1117"/>
                </a:cubicBezTo>
                <a:cubicBezTo>
                  <a:pt x="1807" y="1117"/>
                  <a:pt x="1806" y="1116"/>
                  <a:pt x="1806" y="1116"/>
                </a:cubicBezTo>
                <a:cubicBezTo>
                  <a:pt x="1804" y="1114"/>
                  <a:pt x="1803" y="1113"/>
                  <a:pt x="1802" y="1111"/>
                </a:cubicBezTo>
                <a:close/>
                <a:moveTo>
                  <a:pt x="1822" y="1321"/>
                </a:moveTo>
                <a:cubicBezTo>
                  <a:pt x="1821" y="1321"/>
                  <a:pt x="1821" y="1321"/>
                  <a:pt x="1820" y="1320"/>
                </a:cubicBezTo>
                <a:cubicBezTo>
                  <a:pt x="1821" y="1321"/>
                  <a:pt x="1821" y="1321"/>
                  <a:pt x="1822" y="1321"/>
                </a:cubicBezTo>
                <a:close/>
                <a:moveTo>
                  <a:pt x="1816" y="1351"/>
                </a:moveTo>
                <a:cubicBezTo>
                  <a:pt x="1816" y="1351"/>
                  <a:pt x="1816" y="1351"/>
                  <a:pt x="1816" y="1351"/>
                </a:cubicBezTo>
                <a:cubicBezTo>
                  <a:pt x="1821" y="1344"/>
                  <a:pt x="1828" y="1345"/>
                  <a:pt x="1834" y="1345"/>
                </a:cubicBezTo>
                <a:cubicBezTo>
                  <a:pt x="1828" y="1345"/>
                  <a:pt x="1821" y="1344"/>
                  <a:pt x="1816" y="1351"/>
                </a:cubicBezTo>
                <a:close/>
                <a:moveTo>
                  <a:pt x="1835" y="1345"/>
                </a:moveTo>
                <a:cubicBezTo>
                  <a:pt x="1835" y="1345"/>
                  <a:pt x="1835" y="1345"/>
                  <a:pt x="1836" y="1345"/>
                </a:cubicBezTo>
                <a:cubicBezTo>
                  <a:pt x="1835" y="1345"/>
                  <a:pt x="1835" y="1345"/>
                  <a:pt x="1835" y="1345"/>
                </a:cubicBezTo>
                <a:close/>
                <a:moveTo>
                  <a:pt x="1841" y="1302"/>
                </a:moveTo>
                <a:cubicBezTo>
                  <a:pt x="1835" y="1301"/>
                  <a:pt x="1830" y="1301"/>
                  <a:pt x="1825" y="1301"/>
                </a:cubicBezTo>
                <a:cubicBezTo>
                  <a:pt x="1830" y="1301"/>
                  <a:pt x="1835" y="1301"/>
                  <a:pt x="1841" y="1302"/>
                </a:cubicBezTo>
                <a:cubicBezTo>
                  <a:pt x="1841" y="1302"/>
                  <a:pt x="1841" y="1303"/>
                  <a:pt x="1841" y="1304"/>
                </a:cubicBezTo>
                <a:cubicBezTo>
                  <a:pt x="1841" y="1303"/>
                  <a:pt x="1841" y="1302"/>
                  <a:pt x="1841" y="1302"/>
                </a:cubicBezTo>
                <a:close/>
                <a:moveTo>
                  <a:pt x="1841" y="1245"/>
                </a:moveTo>
                <a:cubicBezTo>
                  <a:pt x="1841" y="1246"/>
                  <a:pt x="1841" y="1247"/>
                  <a:pt x="1841" y="1248"/>
                </a:cubicBezTo>
                <a:cubicBezTo>
                  <a:pt x="1841" y="1247"/>
                  <a:pt x="1841" y="1246"/>
                  <a:pt x="1841" y="1245"/>
                </a:cubicBezTo>
                <a:cubicBezTo>
                  <a:pt x="1841" y="1243"/>
                  <a:pt x="1841" y="1242"/>
                  <a:pt x="1841" y="1241"/>
                </a:cubicBezTo>
                <a:cubicBezTo>
                  <a:pt x="1841" y="1242"/>
                  <a:pt x="1841" y="1243"/>
                  <a:pt x="1841" y="1245"/>
                </a:cubicBezTo>
                <a:close/>
                <a:moveTo>
                  <a:pt x="1882" y="916"/>
                </a:moveTo>
                <a:cubicBezTo>
                  <a:pt x="1884" y="916"/>
                  <a:pt x="1887" y="915"/>
                  <a:pt x="1889" y="916"/>
                </a:cubicBezTo>
                <a:cubicBezTo>
                  <a:pt x="1887" y="915"/>
                  <a:pt x="1884" y="916"/>
                  <a:pt x="1882" y="916"/>
                </a:cubicBezTo>
                <a:cubicBezTo>
                  <a:pt x="1878" y="907"/>
                  <a:pt x="1876" y="903"/>
                  <a:pt x="1878" y="901"/>
                </a:cubicBezTo>
                <a:cubicBezTo>
                  <a:pt x="1876" y="903"/>
                  <a:pt x="1878" y="907"/>
                  <a:pt x="1882" y="916"/>
                </a:cubicBezTo>
                <a:close/>
                <a:moveTo>
                  <a:pt x="1930" y="713"/>
                </a:moveTo>
                <a:cubicBezTo>
                  <a:pt x="1934" y="713"/>
                  <a:pt x="1938" y="712"/>
                  <a:pt x="1941" y="712"/>
                </a:cubicBezTo>
                <a:cubicBezTo>
                  <a:pt x="1952" y="710"/>
                  <a:pt x="1957" y="722"/>
                  <a:pt x="1967" y="722"/>
                </a:cubicBezTo>
                <a:cubicBezTo>
                  <a:pt x="1965" y="724"/>
                  <a:pt x="1968" y="726"/>
                  <a:pt x="1967" y="728"/>
                </a:cubicBezTo>
                <a:cubicBezTo>
                  <a:pt x="1966" y="728"/>
                  <a:pt x="1966" y="728"/>
                  <a:pt x="1966" y="728"/>
                </a:cubicBezTo>
                <a:cubicBezTo>
                  <a:pt x="1965" y="729"/>
                  <a:pt x="1965" y="729"/>
                  <a:pt x="1965" y="729"/>
                </a:cubicBezTo>
                <a:cubicBezTo>
                  <a:pt x="1962" y="730"/>
                  <a:pt x="1960" y="732"/>
                  <a:pt x="1958" y="733"/>
                </a:cubicBezTo>
                <a:cubicBezTo>
                  <a:pt x="1952" y="731"/>
                  <a:pt x="1946" y="732"/>
                  <a:pt x="1940" y="736"/>
                </a:cubicBezTo>
                <a:cubicBezTo>
                  <a:pt x="1935" y="737"/>
                  <a:pt x="1930" y="738"/>
                  <a:pt x="1925" y="738"/>
                </a:cubicBezTo>
                <a:cubicBezTo>
                  <a:pt x="1921" y="739"/>
                  <a:pt x="1916" y="741"/>
                  <a:pt x="1914" y="739"/>
                </a:cubicBezTo>
                <a:cubicBezTo>
                  <a:pt x="1911" y="736"/>
                  <a:pt x="1916" y="733"/>
                  <a:pt x="1918" y="730"/>
                </a:cubicBezTo>
                <a:cubicBezTo>
                  <a:pt x="1923" y="725"/>
                  <a:pt x="1928" y="720"/>
                  <a:pt x="1930" y="713"/>
                </a:cubicBezTo>
                <a:close/>
                <a:moveTo>
                  <a:pt x="1925" y="672"/>
                </a:moveTo>
                <a:cubicBezTo>
                  <a:pt x="1915" y="669"/>
                  <a:pt x="1905" y="665"/>
                  <a:pt x="1902" y="654"/>
                </a:cubicBezTo>
                <a:cubicBezTo>
                  <a:pt x="1911" y="652"/>
                  <a:pt x="1919" y="650"/>
                  <a:pt x="1928" y="648"/>
                </a:cubicBezTo>
                <a:cubicBezTo>
                  <a:pt x="1932" y="647"/>
                  <a:pt x="1937" y="646"/>
                  <a:pt x="1941" y="646"/>
                </a:cubicBezTo>
                <a:cubicBezTo>
                  <a:pt x="1942" y="648"/>
                  <a:pt x="1944" y="650"/>
                  <a:pt x="1945" y="652"/>
                </a:cubicBezTo>
                <a:cubicBezTo>
                  <a:pt x="1944" y="655"/>
                  <a:pt x="1943" y="658"/>
                  <a:pt x="1941" y="661"/>
                </a:cubicBezTo>
                <a:cubicBezTo>
                  <a:pt x="1938" y="661"/>
                  <a:pt x="1937" y="663"/>
                  <a:pt x="1937" y="666"/>
                </a:cubicBezTo>
                <a:cubicBezTo>
                  <a:pt x="1933" y="668"/>
                  <a:pt x="1929" y="670"/>
                  <a:pt x="1925" y="672"/>
                </a:cubicBezTo>
                <a:close/>
                <a:moveTo>
                  <a:pt x="1953" y="598"/>
                </a:moveTo>
                <a:cubicBezTo>
                  <a:pt x="1952" y="602"/>
                  <a:pt x="1953" y="607"/>
                  <a:pt x="1952" y="611"/>
                </a:cubicBezTo>
                <a:cubicBezTo>
                  <a:pt x="1953" y="612"/>
                  <a:pt x="1954" y="614"/>
                  <a:pt x="1956" y="615"/>
                </a:cubicBezTo>
                <a:cubicBezTo>
                  <a:pt x="1954" y="614"/>
                  <a:pt x="1953" y="612"/>
                  <a:pt x="1952" y="611"/>
                </a:cubicBezTo>
                <a:cubicBezTo>
                  <a:pt x="1953" y="607"/>
                  <a:pt x="1952" y="602"/>
                  <a:pt x="1953" y="598"/>
                </a:cubicBezTo>
                <a:close/>
                <a:moveTo>
                  <a:pt x="1985" y="652"/>
                </a:moveTo>
                <a:cubicBezTo>
                  <a:pt x="1985" y="661"/>
                  <a:pt x="1984" y="671"/>
                  <a:pt x="1982" y="681"/>
                </a:cubicBezTo>
                <a:cubicBezTo>
                  <a:pt x="1987" y="698"/>
                  <a:pt x="1986" y="715"/>
                  <a:pt x="1985" y="732"/>
                </a:cubicBezTo>
                <a:cubicBezTo>
                  <a:pt x="1986" y="715"/>
                  <a:pt x="1987" y="698"/>
                  <a:pt x="1982" y="681"/>
                </a:cubicBezTo>
                <a:cubicBezTo>
                  <a:pt x="1984" y="671"/>
                  <a:pt x="1985" y="661"/>
                  <a:pt x="1985" y="652"/>
                </a:cubicBezTo>
                <a:close/>
                <a:moveTo>
                  <a:pt x="2019" y="1594"/>
                </a:moveTo>
                <a:cubicBezTo>
                  <a:pt x="2019" y="1607"/>
                  <a:pt x="2020" y="1621"/>
                  <a:pt x="2019" y="1634"/>
                </a:cubicBezTo>
                <a:cubicBezTo>
                  <a:pt x="2020" y="1621"/>
                  <a:pt x="2019" y="1607"/>
                  <a:pt x="2019" y="1594"/>
                </a:cubicBezTo>
                <a:cubicBezTo>
                  <a:pt x="2011" y="1590"/>
                  <a:pt x="2013" y="1583"/>
                  <a:pt x="2014" y="1576"/>
                </a:cubicBezTo>
                <a:cubicBezTo>
                  <a:pt x="2013" y="1583"/>
                  <a:pt x="2011" y="1590"/>
                  <a:pt x="2019" y="1594"/>
                </a:cubicBezTo>
                <a:close/>
                <a:moveTo>
                  <a:pt x="2014" y="1427"/>
                </a:moveTo>
                <a:cubicBezTo>
                  <a:pt x="2015" y="1427"/>
                  <a:pt x="2017" y="1427"/>
                  <a:pt x="2018" y="1426"/>
                </a:cubicBezTo>
                <a:cubicBezTo>
                  <a:pt x="2018" y="1426"/>
                  <a:pt x="2018" y="1426"/>
                  <a:pt x="2018" y="1426"/>
                </a:cubicBezTo>
                <a:cubicBezTo>
                  <a:pt x="2017" y="1427"/>
                  <a:pt x="2015" y="1427"/>
                  <a:pt x="2014" y="1427"/>
                </a:cubicBezTo>
                <a:close/>
                <a:moveTo>
                  <a:pt x="2016" y="1829"/>
                </a:moveTo>
                <a:cubicBezTo>
                  <a:pt x="2015" y="1830"/>
                  <a:pt x="2014" y="1831"/>
                  <a:pt x="2012" y="1832"/>
                </a:cubicBezTo>
                <a:cubicBezTo>
                  <a:pt x="2012" y="1832"/>
                  <a:pt x="2012" y="1832"/>
                  <a:pt x="2012" y="1832"/>
                </a:cubicBezTo>
                <a:cubicBezTo>
                  <a:pt x="2014" y="1831"/>
                  <a:pt x="2015" y="1830"/>
                  <a:pt x="2016" y="1829"/>
                </a:cubicBezTo>
                <a:close/>
                <a:moveTo>
                  <a:pt x="1985" y="1427"/>
                </a:moveTo>
                <a:cubicBezTo>
                  <a:pt x="1994" y="1430"/>
                  <a:pt x="2004" y="1429"/>
                  <a:pt x="2014" y="1427"/>
                </a:cubicBezTo>
                <a:cubicBezTo>
                  <a:pt x="2004" y="1429"/>
                  <a:pt x="1994" y="1430"/>
                  <a:pt x="1985" y="1427"/>
                </a:cubicBezTo>
                <a:close/>
                <a:moveTo>
                  <a:pt x="1952" y="1973"/>
                </a:moveTo>
                <a:cubicBezTo>
                  <a:pt x="1951" y="1973"/>
                  <a:pt x="1950" y="1972"/>
                  <a:pt x="1949" y="1972"/>
                </a:cubicBezTo>
                <a:cubicBezTo>
                  <a:pt x="1949" y="1972"/>
                  <a:pt x="1949" y="1972"/>
                  <a:pt x="1949" y="1972"/>
                </a:cubicBezTo>
                <a:cubicBezTo>
                  <a:pt x="1947" y="1970"/>
                  <a:pt x="1945" y="1968"/>
                  <a:pt x="1943" y="1966"/>
                </a:cubicBezTo>
                <a:cubicBezTo>
                  <a:pt x="1943" y="1966"/>
                  <a:pt x="1943" y="1966"/>
                  <a:pt x="1943" y="1966"/>
                </a:cubicBezTo>
                <a:cubicBezTo>
                  <a:pt x="1928" y="1948"/>
                  <a:pt x="1942" y="1939"/>
                  <a:pt x="1953" y="1928"/>
                </a:cubicBezTo>
                <a:cubicBezTo>
                  <a:pt x="1961" y="1931"/>
                  <a:pt x="1954" y="1939"/>
                  <a:pt x="1957" y="1945"/>
                </a:cubicBezTo>
                <a:cubicBezTo>
                  <a:pt x="1954" y="1954"/>
                  <a:pt x="1959" y="1965"/>
                  <a:pt x="1952" y="1973"/>
                </a:cubicBezTo>
                <a:close/>
                <a:moveTo>
                  <a:pt x="1949" y="2189"/>
                </a:moveTo>
                <a:cubicBezTo>
                  <a:pt x="1949" y="2189"/>
                  <a:pt x="1949" y="2189"/>
                  <a:pt x="1949" y="2189"/>
                </a:cubicBezTo>
                <a:cubicBezTo>
                  <a:pt x="1949" y="2189"/>
                  <a:pt x="1949" y="2189"/>
                  <a:pt x="1949" y="2189"/>
                </a:cubicBezTo>
                <a:cubicBezTo>
                  <a:pt x="1949" y="2184"/>
                  <a:pt x="1949" y="2181"/>
                  <a:pt x="1951" y="2178"/>
                </a:cubicBezTo>
                <a:cubicBezTo>
                  <a:pt x="1949" y="2181"/>
                  <a:pt x="1949" y="2184"/>
                  <a:pt x="1949" y="2189"/>
                </a:cubicBezTo>
                <a:cubicBezTo>
                  <a:pt x="1949" y="2189"/>
                  <a:pt x="1949" y="2189"/>
                  <a:pt x="1949" y="2189"/>
                </a:cubicBezTo>
                <a:close/>
                <a:moveTo>
                  <a:pt x="1925" y="2009"/>
                </a:moveTo>
                <a:cubicBezTo>
                  <a:pt x="1918" y="2010"/>
                  <a:pt x="1911" y="2010"/>
                  <a:pt x="1904" y="2010"/>
                </a:cubicBezTo>
                <a:cubicBezTo>
                  <a:pt x="1892" y="2008"/>
                  <a:pt x="1880" y="2017"/>
                  <a:pt x="1868" y="2009"/>
                </a:cubicBezTo>
                <a:cubicBezTo>
                  <a:pt x="1881" y="1993"/>
                  <a:pt x="1896" y="1980"/>
                  <a:pt x="1913" y="1968"/>
                </a:cubicBezTo>
                <a:cubicBezTo>
                  <a:pt x="1928" y="1972"/>
                  <a:pt x="1935" y="1986"/>
                  <a:pt x="1948" y="1993"/>
                </a:cubicBezTo>
                <a:cubicBezTo>
                  <a:pt x="1951" y="1997"/>
                  <a:pt x="1954" y="2002"/>
                  <a:pt x="1952" y="2007"/>
                </a:cubicBezTo>
                <a:cubicBezTo>
                  <a:pt x="1943" y="2008"/>
                  <a:pt x="1934" y="2009"/>
                  <a:pt x="1925" y="2009"/>
                </a:cubicBezTo>
                <a:close/>
                <a:moveTo>
                  <a:pt x="1865" y="1929"/>
                </a:moveTo>
                <a:cubicBezTo>
                  <a:pt x="1890" y="1938"/>
                  <a:pt x="1890" y="1950"/>
                  <a:pt x="1868" y="1970"/>
                </a:cubicBezTo>
                <a:cubicBezTo>
                  <a:pt x="1862" y="1957"/>
                  <a:pt x="1867" y="1943"/>
                  <a:pt x="1865" y="1929"/>
                </a:cubicBezTo>
                <a:close/>
                <a:moveTo>
                  <a:pt x="1956" y="1319"/>
                </a:moveTo>
                <a:cubicBezTo>
                  <a:pt x="1954" y="1319"/>
                  <a:pt x="1951" y="1319"/>
                  <a:pt x="1949" y="1321"/>
                </a:cubicBezTo>
                <a:cubicBezTo>
                  <a:pt x="1946" y="1325"/>
                  <a:pt x="1950" y="1327"/>
                  <a:pt x="1952" y="1329"/>
                </a:cubicBezTo>
                <a:cubicBezTo>
                  <a:pt x="1950" y="1327"/>
                  <a:pt x="1946" y="1325"/>
                  <a:pt x="1949" y="1321"/>
                </a:cubicBezTo>
                <a:cubicBezTo>
                  <a:pt x="1949" y="1321"/>
                  <a:pt x="1949" y="1321"/>
                  <a:pt x="1949" y="1321"/>
                </a:cubicBezTo>
                <a:cubicBezTo>
                  <a:pt x="1949" y="1321"/>
                  <a:pt x="1949" y="1321"/>
                  <a:pt x="1949" y="1321"/>
                </a:cubicBezTo>
                <a:cubicBezTo>
                  <a:pt x="1951" y="1319"/>
                  <a:pt x="1954" y="1319"/>
                  <a:pt x="1956" y="1319"/>
                </a:cubicBezTo>
                <a:close/>
                <a:moveTo>
                  <a:pt x="1951" y="1292"/>
                </a:moveTo>
                <a:cubicBezTo>
                  <a:pt x="1952" y="1290"/>
                  <a:pt x="1953" y="1290"/>
                  <a:pt x="1955" y="1290"/>
                </a:cubicBezTo>
                <a:cubicBezTo>
                  <a:pt x="1953" y="1290"/>
                  <a:pt x="1952" y="1290"/>
                  <a:pt x="1951" y="1292"/>
                </a:cubicBezTo>
                <a:close/>
                <a:moveTo>
                  <a:pt x="1937" y="1333"/>
                </a:moveTo>
                <a:cubicBezTo>
                  <a:pt x="1942" y="1333"/>
                  <a:pt x="1948" y="1332"/>
                  <a:pt x="1953" y="1332"/>
                </a:cubicBezTo>
                <a:cubicBezTo>
                  <a:pt x="1953" y="1332"/>
                  <a:pt x="1953" y="1332"/>
                  <a:pt x="1953" y="1332"/>
                </a:cubicBezTo>
                <a:cubicBezTo>
                  <a:pt x="1948" y="1332"/>
                  <a:pt x="1942" y="1333"/>
                  <a:pt x="1937" y="1333"/>
                </a:cubicBezTo>
                <a:close/>
                <a:moveTo>
                  <a:pt x="1953" y="1366"/>
                </a:moveTo>
                <a:cubicBezTo>
                  <a:pt x="1951" y="1360"/>
                  <a:pt x="1947" y="1355"/>
                  <a:pt x="1944" y="1349"/>
                </a:cubicBezTo>
                <a:cubicBezTo>
                  <a:pt x="1944" y="1349"/>
                  <a:pt x="1944" y="1349"/>
                  <a:pt x="1944" y="1349"/>
                </a:cubicBezTo>
                <a:cubicBezTo>
                  <a:pt x="1947" y="1355"/>
                  <a:pt x="1951" y="1360"/>
                  <a:pt x="1953" y="1366"/>
                </a:cubicBezTo>
                <a:close/>
                <a:moveTo>
                  <a:pt x="1929" y="1649"/>
                </a:moveTo>
                <a:cubicBezTo>
                  <a:pt x="1929" y="1649"/>
                  <a:pt x="1929" y="1649"/>
                  <a:pt x="1929" y="1649"/>
                </a:cubicBezTo>
                <a:cubicBezTo>
                  <a:pt x="1926" y="1647"/>
                  <a:pt x="1923" y="1646"/>
                  <a:pt x="1920" y="1644"/>
                </a:cubicBezTo>
                <a:cubicBezTo>
                  <a:pt x="1920" y="1644"/>
                  <a:pt x="1920" y="1644"/>
                  <a:pt x="1920" y="1644"/>
                </a:cubicBezTo>
                <a:cubicBezTo>
                  <a:pt x="1923" y="1646"/>
                  <a:pt x="1926" y="1647"/>
                  <a:pt x="1929" y="1649"/>
                </a:cubicBezTo>
                <a:close/>
                <a:moveTo>
                  <a:pt x="1929" y="1485"/>
                </a:moveTo>
                <a:cubicBezTo>
                  <a:pt x="1929" y="1485"/>
                  <a:pt x="1929" y="1485"/>
                  <a:pt x="1929" y="1485"/>
                </a:cubicBezTo>
                <a:cubicBezTo>
                  <a:pt x="1929" y="1485"/>
                  <a:pt x="1929" y="1485"/>
                  <a:pt x="1929" y="1485"/>
                </a:cubicBezTo>
                <a:close/>
                <a:moveTo>
                  <a:pt x="1941" y="1721"/>
                </a:moveTo>
                <a:cubicBezTo>
                  <a:pt x="1936" y="1721"/>
                  <a:pt x="1931" y="1721"/>
                  <a:pt x="1928" y="1724"/>
                </a:cubicBezTo>
                <a:cubicBezTo>
                  <a:pt x="1928" y="1724"/>
                  <a:pt x="1928" y="1724"/>
                  <a:pt x="1928" y="1724"/>
                </a:cubicBezTo>
                <a:cubicBezTo>
                  <a:pt x="1931" y="1721"/>
                  <a:pt x="1936" y="1721"/>
                  <a:pt x="1941" y="1721"/>
                </a:cubicBezTo>
                <a:close/>
                <a:moveTo>
                  <a:pt x="1953" y="1332"/>
                </a:moveTo>
                <a:cubicBezTo>
                  <a:pt x="1953" y="1332"/>
                  <a:pt x="1953" y="1332"/>
                  <a:pt x="1953" y="1332"/>
                </a:cubicBezTo>
                <a:cubicBezTo>
                  <a:pt x="1953" y="1332"/>
                  <a:pt x="1953" y="1332"/>
                  <a:pt x="1953" y="1332"/>
                </a:cubicBezTo>
                <a:close/>
                <a:moveTo>
                  <a:pt x="1953" y="1337"/>
                </a:moveTo>
                <a:cubicBezTo>
                  <a:pt x="1953" y="1336"/>
                  <a:pt x="1953" y="1336"/>
                  <a:pt x="1953" y="1335"/>
                </a:cubicBezTo>
                <a:cubicBezTo>
                  <a:pt x="1953" y="1336"/>
                  <a:pt x="1953" y="1336"/>
                  <a:pt x="1953" y="1337"/>
                </a:cubicBezTo>
                <a:close/>
                <a:moveTo>
                  <a:pt x="1938" y="1302"/>
                </a:moveTo>
                <a:cubicBezTo>
                  <a:pt x="1941" y="1308"/>
                  <a:pt x="1951" y="1312"/>
                  <a:pt x="1949" y="1320"/>
                </a:cubicBezTo>
                <a:cubicBezTo>
                  <a:pt x="1951" y="1312"/>
                  <a:pt x="1941" y="1308"/>
                  <a:pt x="1938" y="1302"/>
                </a:cubicBezTo>
                <a:close/>
                <a:moveTo>
                  <a:pt x="1937" y="1297"/>
                </a:moveTo>
                <a:cubicBezTo>
                  <a:pt x="1941" y="1297"/>
                  <a:pt x="1946" y="1300"/>
                  <a:pt x="1949" y="1296"/>
                </a:cubicBezTo>
                <a:cubicBezTo>
                  <a:pt x="1946" y="1300"/>
                  <a:pt x="1941" y="1297"/>
                  <a:pt x="1937" y="1297"/>
                </a:cubicBezTo>
                <a:close/>
                <a:moveTo>
                  <a:pt x="1949" y="1320"/>
                </a:moveTo>
                <a:cubicBezTo>
                  <a:pt x="1933" y="1319"/>
                  <a:pt x="1924" y="1306"/>
                  <a:pt x="1912" y="1299"/>
                </a:cubicBezTo>
                <a:cubicBezTo>
                  <a:pt x="1924" y="1306"/>
                  <a:pt x="1933" y="1319"/>
                  <a:pt x="1949" y="1320"/>
                </a:cubicBezTo>
                <a:close/>
                <a:moveTo>
                  <a:pt x="1889" y="1270"/>
                </a:moveTo>
                <a:cubicBezTo>
                  <a:pt x="1887" y="1271"/>
                  <a:pt x="1885" y="1272"/>
                  <a:pt x="1884" y="1272"/>
                </a:cubicBezTo>
                <a:cubicBezTo>
                  <a:pt x="1885" y="1272"/>
                  <a:pt x="1887" y="1271"/>
                  <a:pt x="1889" y="1270"/>
                </a:cubicBezTo>
                <a:cubicBezTo>
                  <a:pt x="1895" y="1275"/>
                  <a:pt x="1906" y="1275"/>
                  <a:pt x="1913" y="1280"/>
                </a:cubicBezTo>
                <a:cubicBezTo>
                  <a:pt x="1906" y="1275"/>
                  <a:pt x="1895" y="1275"/>
                  <a:pt x="1889" y="1270"/>
                </a:cubicBezTo>
                <a:close/>
                <a:moveTo>
                  <a:pt x="1889" y="1333"/>
                </a:moveTo>
                <a:cubicBezTo>
                  <a:pt x="1889" y="1333"/>
                  <a:pt x="1889" y="1333"/>
                  <a:pt x="1889" y="1333"/>
                </a:cubicBezTo>
                <a:cubicBezTo>
                  <a:pt x="1895" y="1332"/>
                  <a:pt x="1900" y="1336"/>
                  <a:pt x="1906" y="1337"/>
                </a:cubicBezTo>
                <a:cubicBezTo>
                  <a:pt x="1900" y="1336"/>
                  <a:pt x="1895" y="1332"/>
                  <a:pt x="1889" y="1333"/>
                </a:cubicBezTo>
                <a:close/>
                <a:moveTo>
                  <a:pt x="1896" y="1681"/>
                </a:moveTo>
                <a:cubicBezTo>
                  <a:pt x="1894" y="1680"/>
                  <a:pt x="1893" y="1679"/>
                  <a:pt x="1891" y="1678"/>
                </a:cubicBezTo>
                <a:cubicBezTo>
                  <a:pt x="1893" y="1679"/>
                  <a:pt x="1894" y="1680"/>
                  <a:pt x="1896" y="1681"/>
                </a:cubicBezTo>
                <a:close/>
                <a:moveTo>
                  <a:pt x="1897" y="1297"/>
                </a:moveTo>
                <a:cubicBezTo>
                  <a:pt x="1900" y="1297"/>
                  <a:pt x="1903" y="1297"/>
                  <a:pt x="1905" y="1296"/>
                </a:cubicBezTo>
                <a:cubicBezTo>
                  <a:pt x="1905" y="1296"/>
                  <a:pt x="1905" y="1296"/>
                  <a:pt x="1905" y="1296"/>
                </a:cubicBezTo>
                <a:cubicBezTo>
                  <a:pt x="1903" y="1297"/>
                  <a:pt x="1900" y="1297"/>
                  <a:pt x="1897" y="1297"/>
                </a:cubicBezTo>
                <a:close/>
                <a:moveTo>
                  <a:pt x="1909" y="1680"/>
                </a:moveTo>
                <a:cubicBezTo>
                  <a:pt x="1909" y="1680"/>
                  <a:pt x="1909" y="1680"/>
                  <a:pt x="1909" y="1680"/>
                </a:cubicBezTo>
                <a:cubicBezTo>
                  <a:pt x="1906" y="1680"/>
                  <a:pt x="1903" y="1680"/>
                  <a:pt x="1901" y="1681"/>
                </a:cubicBezTo>
                <a:cubicBezTo>
                  <a:pt x="1903" y="1680"/>
                  <a:pt x="1906" y="1680"/>
                  <a:pt x="1909" y="1680"/>
                </a:cubicBezTo>
                <a:close/>
                <a:moveTo>
                  <a:pt x="1890" y="1761"/>
                </a:moveTo>
                <a:cubicBezTo>
                  <a:pt x="1900" y="1764"/>
                  <a:pt x="1910" y="1769"/>
                  <a:pt x="1920" y="1773"/>
                </a:cubicBezTo>
                <a:cubicBezTo>
                  <a:pt x="1929" y="1771"/>
                  <a:pt x="1935" y="1766"/>
                  <a:pt x="1941" y="1760"/>
                </a:cubicBezTo>
                <a:cubicBezTo>
                  <a:pt x="1935" y="1766"/>
                  <a:pt x="1929" y="1771"/>
                  <a:pt x="1920" y="1773"/>
                </a:cubicBezTo>
                <a:cubicBezTo>
                  <a:pt x="1917" y="1788"/>
                  <a:pt x="1908" y="1793"/>
                  <a:pt x="1897" y="1785"/>
                </a:cubicBezTo>
                <a:cubicBezTo>
                  <a:pt x="1887" y="1778"/>
                  <a:pt x="1877" y="1771"/>
                  <a:pt x="1869" y="1760"/>
                </a:cubicBezTo>
                <a:cubicBezTo>
                  <a:pt x="1876" y="1751"/>
                  <a:pt x="1883" y="1759"/>
                  <a:pt x="1890" y="1761"/>
                </a:cubicBezTo>
                <a:close/>
                <a:moveTo>
                  <a:pt x="1886" y="1803"/>
                </a:moveTo>
                <a:cubicBezTo>
                  <a:pt x="1887" y="1816"/>
                  <a:pt x="1879" y="1825"/>
                  <a:pt x="1866" y="1828"/>
                </a:cubicBezTo>
                <a:cubicBezTo>
                  <a:pt x="1866" y="1814"/>
                  <a:pt x="1866" y="1800"/>
                  <a:pt x="1866" y="1786"/>
                </a:cubicBezTo>
                <a:cubicBezTo>
                  <a:pt x="1878" y="1786"/>
                  <a:pt x="1885" y="1793"/>
                  <a:pt x="1886" y="1803"/>
                </a:cubicBezTo>
                <a:close/>
                <a:moveTo>
                  <a:pt x="1883" y="1894"/>
                </a:moveTo>
                <a:cubicBezTo>
                  <a:pt x="1906" y="1892"/>
                  <a:pt x="1929" y="1891"/>
                  <a:pt x="1952" y="1889"/>
                </a:cubicBezTo>
                <a:cubicBezTo>
                  <a:pt x="1949" y="1893"/>
                  <a:pt x="1947" y="1897"/>
                  <a:pt x="1943" y="1900"/>
                </a:cubicBezTo>
                <a:cubicBezTo>
                  <a:pt x="1907" y="1936"/>
                  <a:pt x="1907" y="1936"/>
                  <a:pt x="1869" y="1904"/>
                </a:cubicBezTo>
                <a:cubicBezTo>
                  <a:pt x="1866" y="1891"/>
                  <a:pt x="1877" y="1894"/>
                  <a:pt x="1883" y="1894"/>
                </a:cubicBezTo>
                <a:close/>
                <a:moveTo>
                  <a:pt x="1953" y="1912"/>
                </a:moveTo>
                <a:cubicBezTo>
                  <a:pt x="1953" y="1912"/>
                  <a:pt x="1953" y="1912"/>
                  <a:pt x="1953" y="1912"/>
                </a:cubicBezTo>
                <a:cubicBezTo>
                  <a:pt x="1956" y="1914"/>
                  <a:pt x="1957" y="1916"/>
                  <a:pt x="1957" y="1918"/>
                </a:cubicBezTo>
                <a:cubicBezTo>
                  <a:pt x="1957" y="1916"/>
                  <a:pt x="1956" y="1914"/>
                  <a:pt x="1953" y="1912"/>
                </a:cubicBezTo>
                <a:close/>
                <a:moveTo>
                  <a:pt x="1876" y="1865"/>
                </a:moveTo>
                <a:cubicBezTo>
                  <a:pt x="1875" y="1865"/>
                  <a:pt x="1874" y="1862"/>
                  <a:pt x="1873" y="1861"/>
                </a:cubicBezTo>
                <a:cubicBezTo>
                  <a:pt x="1888" y="1849"/>
                  <a:pt x="1902" y="1837"/>
                  <a:pt x="1917" y="1825"/>
                </a:cubicBezTo>
                <a:cubicBezTo>
                  <a:pt x="1932" y="1832"/>
                  <a:pt x="1945" y="1843"/>
                  <a:pt x="1958" y="1859"/>
                </a:cubicBezTo>
                <a:cubicBezTo>
                  <a:pt x="1929" y="1864"/>
                  <a:pt x="1903" y="1865"/>
                  <a:pt x="1876" y="1865"/>
                </a:cubicBezTo>
                <a:close/>
                <a:moveTo>
                  <a:pt x="1939" y="1816"/>
                </a:moveTo>
                <a:cubicBezTo>
                  <a:pt x="1936" y="1801"/>
                  <a:pt x="1943" y="1793"/>
                  <a:pt x="1957" y="1789"/>
                </a:cubicBezTo>
                <a:cubicBezTo>
                  <a:pt x="1964" y="1796"/>
                  <a:pt x="1959" y="1805"/>
                  <a:pt x="1961" y="1813"/>
                </a:cubicBezTo>
                <a:cubicBezTo>
                  <a:pt x="1961" y="1819"/>
                  <a:pt x="1961" y="1826"/>
                  <a:pt x="1961" y="1832"/>
                </a:cubicBezTo>
                <a:cubicBezTo>
                  <a:pt x="1950" y="1831"/>
                  <a:pt x="1945" y="1822"/>
                  <a:pt x="1939" y="1816"/>
                </a:cubicBezTo>
                <a:close/>
                <a:moveTo>
                  <a:pt x="1960" y="1744"/>
                </a:moveTo>
                <a:cubicBezTo>
                  <a:pt x="1960" y="1744"/>
                  <a:pt x="1960" y="1744"/>
                  <a:pt x="1960" y="1744"/>
                </a:cubicBezTo>
                <a:cubicBezTo>
                  <a:pt x="1960" y="1750"/>
                  <a:pt x="1960" y="1755"/>
                  <a:pt x="1960" y="1761"/>
                </a:cubicBezTo>
                <a:cubicBezTo>
                  <a:pt x="1960" y="1755"/>
                  <a:pt x="1960" y="1750"/>
                  <a:pt x="1960" y="1744"/>
                </a:cubicBezTo>
                <a:close/>
                <a:moveTo>
                  <a:pt x="1961" y="1319"/>
                </a:moveTo>
                <a:cubicBezTo>
                  <a:pt x="1963" y="1320"/>
                  <a:pt x="1965" y="1321"/>
                  <a:pt x="1967" y="1323"/>
                </a:cubicBezTo>
                <a:cubicBezTo>
                  <a:pt x="1971" y="1327"/>
                  <a:pt x="1977" y="1331"/>
                  <a:pt x="1977" y="1338"/>
                </a:cubicBezTo>
                <a:cubicBezTo>
                  <a:pt x="1977" y="1331"/>
                  <a:pt x="1971" y="1327"/>
                  <a:pt x="1967" y="1323"/>
                </a:cubicBezTo>
                <a:cubicBezTo>
                  <a:pt x="1965" y="1321"/>
                  <a:pt x="1963" y="1320"/>
                  <a:pt x="1961" y="1319"/>
                </a:cubicBezTo>
                <a:close/>
                <a:moveTo>
                  <a:pt x="1929" y="1189"/>
                </a:moveTo>
                <a:cubicBezTo>
                  <a:pt x="1930" y="1189"/>
                  <a:pt x="1931" y="1189"/>
                  <a:pt x="1931" y="1188"/>
                </a:cubicBezTo>
                <a:cubicBezTo>
                  <a:pt x="1931" y="1189"/>
                  <a:pt x="1930" y="1189"/>
                  <a:pt x="1929" y="1189"/>
                </a:cubicBezTo>
                <a:cubicBezTo>
                  <a:pt x="1922" y="1189"/>
                  <a:pt x="1915" y="1187"/>
                  <a:pt x="1913" y="1197"/>
                </a:cubicBezTo>
                <a:cubicBezTo>
                  <a:pt x="1915" y="1187"/>
                  <a:pt x="1922" y="1189"/>
                  <a:pt x="1929" y="1189"/>
                </a:cubicBezTo>
                <a:close/>
                <a:moveTo>
                  <a:pt x="1920" y="1138"/>
                </a:moveTo>
                <a:cubicBezTo>
                  <a:pt x="1921" y="1136"/>
                  <a:pt x="1921" y="1136"/>
                  <a:pt x="1921" y="1136"/>
                </a:cubicBezTo>
                <a:lnTo>
                  <a:pt x="1920" y="1138"/>
                </a:lnTo>
                <a:close/>
                <a:moveTo>
                  <a:pt x="1925" y="1176"/>
                </a:moveTo>
                <a:cubicBezTo>
                  <a:pt x="1928" y="1177"/>
                  <a:pt x="1930" y="1177"/>
                  <a:pt x="1933" y="1177"/>
                </a:cubicBezTo>
                <a:cubicBezTo>
                  <a:pt x="1933" y="1177"/>
                  <a:pt x="1933" y="1177"/>
                  <a:pt x="1933" y="1177"/>
                </a:cubicBezTo>
                <a:cubicBezTo>
                  <a:pt x="1930" y="1177"/>
                  <a:pt x="1928" y="1177"/>
                  <a:pt x="1925" y="1176"/>
                </a:cubicBezTo>
                <a:close/>
                <a:moveTo>
                  <a:pt x="1933" y="1061"/>
                </a:moveTo>
                <a:cubicBezTo>
                  <a:pt x="1929" y="1061"/>
                  <a:pt x="1924" y="1061"/>
                  <a:pt x="1920" y="1062"/>
                </a:cubicBezTo>
                <a:cubicBezTo>
                  <a:pt x="1914" y="1063"/>
                  <a:pt x="1907" y="1064"/>
                  <a:pt x="1901" y="1065"/>
                </a:cubicBezTo>
                <a:cubicBezTo>
                  <a:pt x="1894" y="1064"/>
                  <a:pt x="1885" y="1067"/>
                  <a:pt x="1881" y="1057"/>
                </a:cubicBezTo>
                <a:cubicBezTo>
                  <a:pt x="1894" y="1054"/>
                  <a:pt x="1907" y="1051"/>
                  <a:pt x="1920" y="1048"/>
                </a:cubicBezTo>
                <a:cubicBezTo>
                  <a:pt x="1925" y="1047"/>
                  <a:pt x="1929" y="1046"/>
                  <a:pt x="1933" y="1044"/>
                </a:cubicBezTo>
                <a:cubicBezTo>
                  <a:pt x="1940" y="1048"/>
                  <a:pt x="1945" y="1040"/>
                  <a:pt x="1952" y="1041"/>
                </a:cubicBezTo>
                <a:cubicBezTo>
                  <a:pt x="1953" y="1053"/>
                  <a:pt x="1942" y="1055"/>
                  <a:pt x="1936" y="1060"/>
                </a:cubicBezTo>
                <a:cubicBezTo>
                  <a:pt x="1935" y="1060"/>
                  <a:pt x="1934" y="1060"/>
                  <a:pt x="1933" y="1061"/>
                </a:cubicBezTo>
                <a:close/>
                <a:moveTo>
                  <a:pt x="1907" y="1119"/>
                </a:moveTo>
                <a:cubicBezTo>
                  <a:pt x="1906" y="1118"/>
                  <a:pt x="1906" y="1119"/>
                  <a:pt x="1905" y="1121"/>
                </a:cubicBezTo>
                <a:cubicBezTo>
                  <a:pt x="1905" y="1121"/>
                  <a:pt x="1905" y="1121"/>
                  <a:pt x="1905" y="1121"/>
                </a:cubicBezTo>
                <a:cubicBezTo>
                  <a:pt x="1905" y="1121"/>
                  <a:pt x="1905" y="1121"/>
                  <a:pt x="1905" y="1121"/>
                </a:cubicBezTo>
                <a:cubicBezTo>
                  <a:pt x="1906" y="1119"/>
                  <a:pt x="1906" y="1118"/>
                  <a:pt x="1907" y="1119"/>
                </a:cubicBezTo>
                <a:close/>
                <a:moveTo>
                  <a:pt x="1879" y="969"/>
                </a:moveTo>
                <a:cubicBezTo>
                  <a:pt x="1880" y="957"/>
                  <a:pt x="1880" y="945"/>
                  <a:pt x="1881" y="932"/>
                </a:cubicBezTo>
                <a:cubicBezTo>
                  <a:pt x="1883" y="933"/>
                  <a:pt x="1886" y="934"/>
                  <a:pt x="1888" y="935"/>
                </a:cubicBezTo>
                <a:cubicBezTo>
                  <a:pt x="1913" y="958"/>
                  <a:pt x="1913" y="958"/>
                  <a:pt x="1882" y="987"/>
                </a:cubicBezTo>
                <a:cubicBezTo>
                  <a:pt x="1877" y="982"/>
                  <a:pt x="1881" y="975"/>
                  <a:pt x="1879" y="969"/>
                </a:cubicBezTo>
                <a:close/>
                <a:moveTo>
                  <a:pt x="1905" y="833"/>
                </a:moveTo>
                <a:cubicBezTo>
                  <a:pt x="1911" y="838"/>
                  <a:pt x="1912" y="829"/>
                  <a:pt x="1917" y="828"/>
                </a:cubicBezTo>
                <a:cubicBezTo>
                  <a:pt x="1916" y="833"/>
                  <a:pt x="1918" y="837"/>
                  <a:pt x="1921" y="841"/>
                </a:cubicBezTo>
                <a:cubicBezTo>
                  <a:pt x="1909" y="852"/>
                  <a:pt x="1905" y="872"/>
                  <a:pt x="1885" y="874"/>
                </a:cubicBezTo>
                <a:cubicBezTo>
                  <a:pt x="1885" y="871"/>
                  <a:pt x="1885" y="868"/>
                  <a:pt x="1885" y="865"/>
                </a:cubicBezTo>
                <a:cubicBezTo>
                  <a:pt x="1890" y="853"/>
                  <a:pt x="1906" y="848"/>
                  <a:pt x="1905" y="833"/>
                </a:cubicBezTo>
                <a:close/>
                <a:moveTo>
                  <a:pt x="1967" y="861"/>
                </a:moveTo>
                <a:cubicBezTo>
                  <a:pt x="1956" y="864"/>
                  <a:pt x="1947" y="867"/>
                  <a:pt x="1937" y="869"/>
                </a:cubicBezTo>
                <a:cubicBezTo>
                  <a:pt x="1933" y="870"/>
                  <a:pt x="1929" y="871"/>
                  <a:pt x="1925" y="872"/>
                </a:cubicBezTo>
                <a:cubicBezTo>
                  <a:pt x="1925" y="879"/>
                  <a:pt x="1924" y="887"/>
                  <a:pt x="1924" y="894"/>
                </a:cubicBezTo>
                <a:cubicBezTo>
                  <a:pt x="1924" y="894"/>
                  <a:pt x="1924" y="894"/>
                  <a:pt x="1924" y="894"/>
                </a:cubicBezTo>
                <a:cubicBezTo>
                  <a:pt x="1924" y="887"/>
                  <a:pt x="1925" y="879"/>
                  <a:pt x="1925" y="872"/>
                </a:cubicBezTo>
                <a:cubicBezTo>
                  <a:pt x="1922" y="873"/>
                  <a:pt x="1919" y="873"/>
                  <a:pt x="1916" y="874"/>
                </a:cubicBezTo>
                <a:cubicBezTo>
                  <a:pt x="1913" y="875"/>
                  <a:pt x="1910" y="875"/>
                  <a:pt x="1908" y="876"/>
                </a:cubicBezTo>
                <a:cubicBezTo>
                  <a:pt x="1908" y="874"/>
                  <a:pt x="1908" y="871"/>
                  <a:pt x="1909" y="869"/>
                </a:cubicBezTo>
                <a:cubicBezTo>
                  <a:pt x="1915" y="861"/>
                  <a:pt x="1924" y="855"/>
                  <a:pt x="1927" y="845"/>
                </a:cubicBezTo>
                <a:cubicBezTo>
                  <a:pt x="1931" y="846"/>
                  <a:pt x="1934" y="843"/>
                  <a:pt x="1937" y="841"/>
                </a:cubicBezTo>
                <a:cubicBezTo>
                  <a:pt x="1939" y="835"/>
                  <a:pt x="1940" y="830"/>
                  <a:pt x="1942" y="824"/>
                </a:cubicBezTo>
                <a:cubicBezTo>
                  <a:pt x="1942" y="824"/>
                  <a:pt x="1942" y="824"/>
                  <a:pt x="1942" y="824"/>
                </a:cubicBezTo>
                <a:cubicBezTo>
                  <a:pt x="1940" y="830"/>
                  <a:pt x="1939" y="835"/>
                  <a:pt x="1937" y="841"/>
                </a:cubicBezTo>
                <a:cubicBezTo>
                  <a:pt x="1949" y="843"/>
                  <a:pt x="1957" y="852"/>
                  <a:pt x="1967" y="861"/>
                </a:cubicBezTo>
                <a:close/>
                <a:moveTo>
                  <a:pt x="1981" y="848"/>
                </a:moveTo>
                <a:cubicBezTo>
                  <a:pt x="1968" y="843"/>
                  <a:pt x="1957" y="835"/>
                  <a:pt x="1948" y="824"/>
                </a:cubicBezTo>
                <a:cubicBezTo>
                  <a:pt x="1958" y="812"/>
                  <a:pt x="1967" y="801"/>
                  <a:pt x="1977" y="789"/>
                </a:cubicBezTo>
                <a:cubicBezTo>
                  <a:pt x="1987" y="808"/>
                  <a:pt x="1978" y="828"/>
                  <a:pt x="1981" y="848"/>
                </a:cubicBezTo>
                <a:close/>
                <a:moveTo>
                  <a:pt x="1973" y="1169"/>
                </a:moveTo>
                <a:cubicBezTo>
                  <a:pt x="1973" y="1169"/>
                  <a:pt x="1973" y="1169"/>
                  <a:pt x="1973" y="1169"/>
                </a:cubicBezTo>
                <a:cubicBezTo>
                  <a:pt x="1973" y="1165"/>
                  <a:pt x="1973" y="1161"/>
                  <a:pt x="1972" y="1156"/>
                </a:cubicBezTo>
                <a:cubicBezTo>
                  <a:pt x="1972" y="1156"/>
                  <a:pt x="1972" y="1156"/>
                  <a:pt x="1972" y="1156"/>
                </a:cubicBezTo>
                <a:cubicBezTo>
                  <a:pt x="1973" y="1149"/>
                  <a:pt x="1973" y="1141"/>
                  <a:pt x="1974" y="1133"/>
                </a:cubicBezTo>
                <a:cubicBezTo>
                  <a:pt x="1977" y="1133"/>
                  <a:pt x="1981" y="1133"/>
                  <a:pt x="1985" y="1133"/>
                </a:cubicBezTo>
                <a:cubicBezTo>
                  <a:pt x="1981" y="1133"/>
                  <a:pt x="1977" y="1133"/>
                  <a:pt x="1974" y="1133"/>
                </a:cubicBezTo>
                <a:cubicBezTo>
                  <a:pt x="1973" y="1141"/>
                  <a:pt x="1973" y="1149"/>
                  <a:pt x="1972" y="1156"/>
                </a:cubicBezTo>
                <a:cubicBezTo>
                  <a:pt x="1973" y="1161"/>
                  <a:pt x="1973" y="1165"/>
                  <a:pt x="1973" y="1169"/>
                </a:cubicBezTo>
                <a:close/>
                <a:moveTo>
                  <a:pt x="1969" y="1093"/>
                </a:moveTo>
                <a:cubicBezTo>
                  <a:pt x="1969" y="1094"/>
                  <a:pt x="1969" y="1095"/>
                  <a:pt x="1968" y="1096"/>
                </a:cubicBezTo>
                <a:cubicBezTo>
                  <a:pt x="1964" y="1096"/>
                  <a:pt x="1960" y="1097"/>
                  <a:pt x="1957" y="1097"/>
                </a:cubicBezTo>
                <a:cubicBezTo>
                  <a:pt x="1956" y="1081"/>
                  <a:pt x="1966" y="1073"/>
                  <a:pt x="1977" y="1066"/>
                </a:cubicBezTo>
                <a:cubicBezTo>
                  <a:pt x="1976" y="1067"/>
                  <a:pt x="1976" y="1068"/>
                  <a:pt x="1977" y="1069"/>
                </a:cubicBezTo>
                <a:cubicBezTo>
                  <a:pt x="1977" y="1069"/>
                  <a:pt x="1977" y="1070"/>
                  <a:pt x="1977" y="1071"/>
                </a:cubicBezTo>
                <a:cubicBezTo>
                  <a:pt x="1977" y="1071"/>
                  <a:pt x="1977" y="1071"/>
                  <a:pt x="1977" y="1071"/>
                </a:cubicBezTo>
                <a:cubicBezTo>
                  <a:pt x="1979" y="1079"/>
                  <a:pt x="1970" y="1085"/>
                  <a:pt x="1969" y="1093"/>
                </a:cubicBezTo>
                <a:close/>
                <a:moveTo>
                  <a:pt x="1966" y="1000"/>
                </a:moveTo>
                <a:cubicBezTo>
                  <a:pt x="1960" y="1006"/>
                  <a:pt x="1955" y="1005"/>
                  <a:pt x="1949" y="1004"/>
                </a:cubicBezTo>
                <a:cubicBezTo>
                  <a:pt x="1945" y="996"/>
                  <a:pt x="1941" y="988"/>
                  <a:pt x="1937" y="979"/>
                </a:cubicBezTo>
                <a:cubicBezTo>
                  <a:pt x="1949" y="982"/>
                  <a:pt x="1956" y="992"/>
                  <a:pt x="1966" y="1000"/>
                </a:cubicBezTo>
                <a:close/>
                <a:moveTo>
                  <a:pt x="1946" y="961"/>
                </a:moveTo>
                <a:cubicBezTo>
                  <a:pt x="1954" y="948"/>
                  <a:pt x="1965" y="935"/>
                  <a:pt x="1977" y="924"/>
                </a:cubicBezTo>
                <a:cubicBezTo>
                  <a:pt x="1977" y="945"/>
                  <a:pt x="1977" y="967"/>
                  <a:pt x="1977" y="988"/>
                </a:cubicBezTo>
                <a:cubicBezTo>
                  <a:pt x="1965" y="980"/>
                  <a:pt x="1952" y="975"/>
                  <a:pt x="1946" y="961"/>
                </a:cubicBezTo>
                <a:close/>
                <a:moveTo>
                  <a:pt x="1901" y="921"/>
                </a:moveTo>
                <a:cubicBezTo>
                  <a:pt x="1903" y="906"/>
                  <a:pt x="1917" y="913"/>
                  <a:pt x="1924" y="908"/>
                </a:cubicBezTo>
                <a:cubicBezTo>
                  <a:pt x="1929" y="907"/>
                  <a:pt x="1933" y="906"/>
                  <a:pt x="1937" y="904"/>
                </a:cubicBezTo>
                <a:cubicBezTo>
                  <a:pt x="1942" y="903"/>
                  <a:pt x="1947" y="902"/>
                  <a:pt x="1952" y="902"/>
                </a:cubicBezTo>
                <a:cubicBezTo>
                  <a:pt x="1954" y="910"/>
                  <a:pt x="1944" y="913"/>
                  <a:pt x="1943" y="920"/>
                </a:cubicBezTo>
                <a:cubicBezTo>
                  <a:pt x="1943" y="920"/>
                  <a:pt x="1943" y="920"/>
                  <a:pt x="1943" y="920"/>
                </a:cubicBezTo>
                <a:cubicBezTo>
                  <a:pt x="1945" y="920"/>
                  <a:pt x="1945" y="920"/>
                  <a:pt x="1945" y="920"/>
                </a:cubicBezTo>
                <a:cubicBezTo>
                  <a:pt x="1937" y="922"/>
                  <a:pt x="1936" y="926"/>
                  <a:pt x="1937" y="933"/>
                </a:cubicBezTo>
                <a:cubicBezTo>
                  <a:pt x="1919" y="944"/>
                  <a:pt x="1910" y="933"/>
                  <a:pt x="1901" y="921"/>
                </a:cubicBezTo>
                <a:close/>
                <a:moveTo>
                  <a:pt x="1925" y="981"/>
                </a:moveTo>
                <a:cubicBezTo>
                  <a:pt x="1938" y="984"/>
                  <a:pt x="1935" y="998"/>
                  <a:pt x="1942" y="1005"/>
                </a:cubicBezTo>
                <a:cubicBezTo>
                  <a:pt x="1939" y="1007"/>
                  <a:pt x="1937" y="1009"/>
                  <a:pt x="1934" y="1011"/>
                </a:cubicBezTo>
                <a:cubicBezTo>
                  <a:pt x="1935" y="1012"/>
                  <a:pt x="1936" y="1013"/>
                  <a:pt x="1937" y="1014"/>
                </a:cubicBezTo>
                <a:cubicBezTo>
                  <a:pt x="1936" y="1013"/>
                  <a:pt x="1935" y="1012"/>
                  <a:pt x="1934" y="1011"/>
                </a:cubicBezTo>
                <a:cubicBezTo>
                  <a:pt x="1927" y="1012"/>
                  <a:pt x="1920" y="1013"/>
                  <a:pt x="1913" y="1015"/>
                </a:cubicBezTo>
                <a:cubicBezTo>
                  <a:pt x="1908" y="1015"/>
                  <a:pt x="1903" y="1019"/>
                  <a:pt x="1898" y="1015"/>
                </a:cubicBezTo>
                <a:cubicBezTo>
                  <a:pt x="1907" y="1004"/>
                  <a:pt x="1919" y="995"/>
                  <a:pt x="1925" y="981"/>
                </a:cubicBezTo>
                <a:close/>
                <a:moveTo>
                  <a:pt x="1951" y="1115"/>
                </a:moveTo>
                <a:cubicBezTo>
                  <a:pt x="1950" y="1118"/>
                  <a:pt x="1949" y="1121"/>
                  <a:pt x="1949" y="1124"/>
                </a:cubicBezTo>
                <a:cubicBezTo>
                  <a:pt x="1956" y="1125"/>
                  <a:pt x="1962" y="1125"/>
                  <a:pt x="1969" y="1125"/>
                </a:cubicBezTo>
                <a:cubicBezTo>
                  <a:pt x="1962" y="1125"/>
                  <a:pt x="1956" y="1125"/>
                  <a:pt x="1949" y="1124"/>
                </a:cubicBezTo>
                <a:cubicBezTo>
                  <a:pt x="1949" y="1121"/>
                  <a:pt x="1950" y="1118"/>
                  <a:pt x="1951" y="1115"/>
                </a:cubicBezTo>
                <a:close/>
                <a:moveTo>
                  <a:pt x="1961" y="1198"/>
                </a:moveTo>
                <a:cubicBezTo>
                  <a:pt x="1962" y="1197"/>
                  <a:pt x="1963" y="1196"/>
                  <a:pt x="1965" y="1196"/>
                </a:cubicBezTo>
                <a:cubicBezTo>
                  <a:pt x="1981" y="1200"/>
                  <a:pt x="1970" y="1212"/>
                  <a:pt x="1972" y="1220"/>
                </a:cubicBezTo>
                <a:cubicBezTo>
                  <a:pt x="1965" y="1214"/>
                  <a:pt x="1959" y="1208"/>
                  <a:pt x="1961" y="1198"/>
                </a:cubicBezTo>
                <a:close/>
                <a:moveTo>
                  <a:pt x="1965" y="1253"/>
                </a:moveTo>
                <a:cubicBezTo>
                  <a:pt x="1975" y="1256"/>
                  <a:pt x="1979" y="1264"/>
                  <a:pt x="1983" y="1271"/>
                </a:cubicBezTo>
                <a:cubicBezTo>
                  <a:pt x="1979" y="1264"/>
                  <a:pt x="1975" y="1256"/>
                  <a:pt x="1965" y="1253"/>
                </a:cubicBezTo>
                <a:close/>
                <a:moveTo>
                  <a:pt x="1991" y="1424"/>
                </a:moveTo>
                <a:cubicBezTo>
                  <a:pt x="1989" y="1425"/>
                  <a:pt x="1987" y="1426"/>
                  <a:pt x="1985" y="1427"/>
                </a:cubicBezTo>
                <a:cubicBezTo>
                  <a:pt x="1987" y="1426"/>
                  <a:pt x="1989" y="1425"/>
                  <a:pt x="1991" y="1424"/>
                </a:cubicBezTo>
                <a:close/>
                <a:moveTo>
                  <a:pt x="1987" y="1409"/>
                </a:moveTo>
                <a:cubicBezTo>
                  <a:pt x="1988" y="1409"/>
                  <a:pt x="1989" y="1408"/>
                  <a:pt x="1990" y="1408"/>
                </a:cubicBezTo>
                <a:cubicBezTo>
                  <a:pt x="1989" y="1408"/>
                  <a:pt x="1988" y="1409"/>
                  <a:pt x="1987" y="1409"/>
                </a:cubicBezTo>
                <a:close/>
                <a:moveTo>
                  <a:pt x="1984" y="1365"/>
                </a:moveTo>
                <a:cubicBezTo>
                  <a:pt x="1982" y="1372"/>
                  <a:pt x="1969" y="1371"/>
                  <a:pt x="1970" y="1380"/>
                </a:cubicBezTo>
                <a:cubicBezTo>
                  <a:pt x="1969" y="1371"/>
                  <a:pt x="1982" y="1372"/>
                  <a:pt x="1984" y="1365"/>
                </a:cubicBezTo>
                <a:cubicBezTo>
                  <a:pt x="1985" y="1364"/>
                  <a:pt x="1985" y="1362"/>
                  <a:pt x="1985" y="1361"/>
                </a:cubicBezTo>
                <a:cubicBezTo>
                  <a:pt x="1985" y="1362"/>
                  <a:pt x="1985" y="1364"/>
                  <a:pt x="1984" y="1365"/>
                </a:cubicBezTo>
                <a:close/>
                <a:moveTo>
                  <a:pt x="1977" y="1388"/>
                </a:moveTo>
                <a:cubicBezTo>
                  <a:pt x="1974" y="1386"/>
                  <a:pt x="1972" y="1384"/>
                  <a:pt x="1970" y="1382"/>
                </a:cubicBezTo>
                <a:cubicBezTo>
                  <a:pt x="1968" y="1383"/>
                  <a:pt x="1966" y="1384"/>
                  <a:pt x="1965" y="1385"/>
                </a:cubicBezTo>
                <a:cubicBezTo>
                  <a:pt x="1966" y="1384"/>
                  <a:pt x="1968" y="1383"/>
                  <a:pt x="1970" y="1382"/>
                </a:cubicBezTo>
                <a:cubicBezTo>
                  <a:pt x="1970" y="1382"/>
                  <a:pt x="1970" y="1382"/>
                  <a:pt x="1970" y="1382"/>
                </a:cubicBezTo>
                <a:cubicBezTo>
                  <a:pt x="1972" y="1384"/>
                  <a:pt x="1974" y="1386"/>
                  <a:pt x="1977" y="1388"/>
                </a:cubicBezTo>
                <a:cubicBezTo>
                  <a:pt x="1979" y="1393"/>
                  <a:pt x="1981" y="1396"/>
                  <a:pt x="1981" y="1399"/>
                </a:cubicBezTo>
                <a:cubicBezTo>
                  <a:pt x="1981" y="1396"/>
                  <a:pt x="1979" y="1393"/>
                  <a:pt x="1977" y="1388"/>
                </a:cubicBezTo>
                <a:close/>
                <a:moveTo>
                  <a:pt x="1973" y="1433"/>
                </a:moveTo>
                <a:cubicBezTo>
                  <a:pt x="1973" y="1433"/>
                  <a:pt x="1973" y="1433"/>
                  <a:pt x="1973" y="1433"/>
                </a:cubicBezTo>
                <a:cubicBezTo>
                  <a:pt x="1973" y="1433"/>
                  <a:pt x="1973" y="1432"/>
                  <a:pt x="1973" y="1432"/>
                </a:cubicBezTo>
                <a:cubicBezTo>
                  <a:pt x="1973" y="1432"/>
                  <a:pt x="1973" y="1433"/>
                  <a:pt x="1973" y="1433"/>
                </a:cubicBezTo>
                <a:close/>
                <a:moveTo>
                  <a:pt x="1965" y="1713"/>
                </a:moveTo>
                <a:cubicBezTo>
                  <a:pt x="1967" y="1713"/>
                  <a:pt x="1971" y="1713"/>
                  <a:pt x="1974" y="1713"/>
                </a:cubicBezTo>
                <a:cubicBezTo>
                  <a:pt x="1971" y="1713"/>
                  <a:pt x="1967" y="1713"/>
                  <a:pt x="1965" y="1713"/>
                </a:cubicBezTo>
                <a:cubicBezTo>
                  <a:pt x="1965" y="1695"/>
                  <a:pt x="1964" y="1678"/>
                  <a:pt x="1964" y="1660"/>
                </a:cubicBezTo>
                <a:cubicBezTo>
                  <a:pt x="1964" y="1678"/>
                  <a:pt x="1965" y="1695"/>
                  <a:pt x="1965" y="1713"/>
                </a:cubicBezTo>
                <a:close/>
                <a:moveTo>
                  <a:pt x="1975" y="2180"/>
                </a:moveTo>
                <a:cubicBezTo>
                  <a:pt x="1975" y="2180"/>
                  <a:pt x="1976" y="2180"/>
                  <a:pt x="1977" y="2180"/>
                </a:cubicBezTo>
                <a:cubicBezTo>
                  <a:pt x="1976" y="2180"/>
                  <a:pt x="1975" y="2180"/>
                  <a:pt x="1975" y="2180"/>
                </a:cubicBezTo>
                <a:cubicBezTo>
                  <a:pt x="1973" y="2187"/>
                  <a:pt x="1970" y="2188"/>
                  <a:pt x="1966" y="2188"/>
                </a:cubicBezTo>
                <a:cubicBezTo>
                  <a:pt x="1970" y="2188"/>
                  <a:pt x="1973" y="2187"/>
                  <a:pt x="1975" y="2180"/>
                </a:cubicBezTo>
                <a:close/>
                <a:moveTo>
                  <a:pt x="1972" y="2165"/>
                </a:moveTo>
                <a:cubicBezTo>
                  <a:pt x="1973" y="2164"/>
                  <a:pt x="1973" y="2164"/>
                  <a:pt x="1973" y="2164"/>
                </a:cubicBezTo>
                <a:cubicBezTo>
                  <a:pt x="1973" y="2164"/>
                  <a:pt x="1972" y="2165"/>
                  <a:pt x="1972" y="2165"/>
                </a:cubicBezTo>
                <a:close/>
                <a:moveTo>
                  <a:pt x="1976" y="2117"/>
                </a:moveTo>
                <a:cubicBezTo>
                  <a:pt x="1975" y="2116"/>
                  <a:pt x="1974" y="2116"/>
                  <a:pt x="1972" y="2116"/>
                </a:cubicBezTo>
                <a:cubicBezTo>
                  <a:pt x="1974" y="2116"/>
                  <a:pt x="1975" y="2116"/>
                  <a:pt x="1976" y="2117"/>
                </a:cubicBezTo>
                <a:cubicBezTo>
                  <a:pt x="1976" y="2125"/>
                  <a:pt x="1979" y="2128"/>
                  <a:pt x="1983" y="2128"/>
                </a:cubicBezTo>
                <a:cubicBezTo>
                  <a:pt x="1979" y="2128"/>
                  <a:pt x="1976" y="2125"/>
                  <a:pt x="1976" y="2117"/>
                </a:cubicBezTo>
                <a:close/>
                <a:moveTo>
                  <a:pt x="1971" y="1457"/>
                </a:moveTo>
                <a:cubicBezTo>
                  <a:pt x="1981" y="1464"/>
                  <a:pt x="1991" y="1470"/>
                  <a:pt x="2001" y="1477"/>
                </a:cubicBezTo>
                <a:cubicBezTo>
                  <a:pt x="2001" y="1479"/>
                  <a:pt x="2001" y="1482"/>
                  <a:pt x="2001" y="1485"/>
                </a:cubicBezTo>
                <a:cubicBezTo>
                  <a:pt x="2001" y="1482"/>
                  <a:pt x="2001" y="1479"/>
                  <a:pt x="2001" y="1477"/>
                </a:cubicBezTo>
                <a:cubicBezTo>
                  <a:pt x="1991" y="1470"/>
                  <a:pt x="1981" y="1464"/>
                  <a:pt x="1971" y="1457"/>
                </a:cubicBezTo>
                <a:close/>
                <a:moveTo>
                  <a:pt x="2000" y="1520"/>
                </a:moveTo>
                <a:cubicBezTo>
                  <a:pt x="2001" y="1517"/>
                  <a:pt x="2001" y="1513"/>
                  <a:pt x="2002" y="1511"/>
                </a:cubicBezTo>
                <a:cubicBezTo>
                  <a:pt x="2001" y="1513"/>
                  <a:pt x="2001" y="1517"/>
                  <a:pt x="2000" y="1520"/>
                </a:cubicBezTo>
                <a:cubicBezTo>
                  <a:pt x="1996" y="1518"/>
                  <a:pt x="1997" y="1513"/>
                  <a:pt x="1997" y="1509"/>
                </a:cubicBezTo>
                <a:cubicBezTo>
                  <a:pt x="1997" y="1513"/>
                  <a:pt x="1996" y="1518"/>
                  <a:pt x="2000" y="1520"/>
                </a:cubicBezTo>
                <a:close/>
                <a:moveTo>
                  <a:pt x="2000" y="1389"/>
                </a:moveTo>
                <a:cubicBezTo>
                  <a:pt x="2002" y="1388"/>
                  <a:pt x="2002" y="1388"/>
                  <a:pt x="2002" y="1388"/>
                </a:cubicBezTo>
                <a:cubicBezTo>
                  <a:pt x="2002" y="1388"/>
                  <a:pt x="2002" y="1388"/>
                  <a:pt x="2002" y="1388"/>
                </a:cubicBezTo>
                <a:lnTo>
                  <a:pt x="2000" y="1389"/>
                </a:lnTo>
                <a:close/>
                <a:moveTo>
                  <a:pt x="2001" y="1346"/>
                </a:moveTo>
                <a:cubicBezTo>
                  <a:pt x="1994" y="1342"/>
                  <a:pt x="1988" y="1338"/>
                  <a:pt x="1980" y="1340"/>
                </a:cubicBezTo>
                <a:cubicBezTo>
                  <a:pt x="1988" y="1338"/>
                  <a:pt x="1994" y="1342"/>
                  <a:pt x="2001" y="1346"/>
                </a:cubicBezTo>
                <a:cubicBezTo>
                  <a:pt x="2001" y="1350"/>
                  <a:pt x="2004" y="1354"/>
                  <a:pt x="2005" y="1358"/>
                </a:cubicBezTo>
                <a:cubicBezTo>
                  <a:pt x="2004" y="1354"/>
                  <a:pt x="2001" y="1350"/>
                  <a:pt x="2001" y="1346"/>
                </a:cubicBezTo>
                <a:close/>
                <a:moveTo>
                  <a:pt x="1972" y="1192"/>
                </a:moveTo>
                <a:cubicBezTo>
                  <a:pt x="1972" y="1192"/>
                  <a:pt x="1972" y="1192"/>
                  <a:pt x="1972" y="1192"/>
                </a:cubicBezTo>
                <a:cubicBezTo>
                  <a:pt x="1985" y="1190"/>
                  <a:pt x="1993" y="1188"/>
                  <a:pt x="1997" y="1190"/>
                </a:cubicBezTo>
                <a:cubicBezTo>
                  <a:pt x="1993" y="1188"/>
                  <a:pt x="1985" y="1190"/>
                  <a:pt x="1972" y="1192"/>
                </a:cubicBezTo>
                <a:close/>
                <a:moveTo>
                  <a:pt x="1977" y="1121"/>
                </a:moveTo>
                <a:cubicBezTo>
                  <a:pt x="1976" y="1123"/>
                  <a:pt x="1975" y="1124"/>
                  <a:pt x="1973" y="1124"/>
                </a:cubicBezTo>
                <a:cubicBezTo>
                  <a:pt x="1975" y="1124"/>
                  <a:pt x="1976" y="1123"/>
                  <a:pt x="1977" y="1121"/>
                </a:cubicBezTo>
                <a:cubicBezTo>
                  <a:pt x="1981" y="1121"/>
                  <a:pt x="1984" y="1121"/>
                  <a:pt x="1986" y="1119"/>
                </a:cubicBezTo>
                <a:cubicBezTo>
                  <a:pt x="1984" y="1121"/>
                  <a:pt x="1981" y="1121"/>
                  <a:pt x="1977" y="1121"/>
                </a:cubicBezTo>
                <a:close/>
                <a:moveTo>
                  <a:pt x="1984" y="756"/>
                </a:moveTo>
                <a:cubicBezTo>
                  <a:pt x="1982" y="762"/>
                  <a:pt x="1974" y="765"/>
                  <a:pt x="1969" y="769"/>
                </a:cubicBezTo>
                <a:cubicBezTo>
                  <a:pt x="1971" y="774"/>
                  <a:pt x="1975" y="772"/>
                  <a:pt x="1978" y="773"/>
                </a:cubicBezTo>
                <a:cubicBezTo>
                  <a:pt x="1968" y="785"/>
                  <a:pt x="1959" y="797"/>
                  <a:pt x="1949" y="809"/>
                </a:cubicBezTo>
                <a:cubicBezTo>
                  <a:pt x="1945" y="808"/>
                  <a:pt x="1938" y="811"/>
                  <a:pt x="1937" y="806"/>
                </a:cubicBezTo>
                <a:cubicBezTo>
                  <a:pt x="1937" y="802"/>
                  <a:pt x="1942" y="797"/>
                  <a:pt x="1945" y="793"/>
                </a:cubicBezTo>
                <a:cubicBezTo>
                  <a:pt x="1948" y="791"/>
                  <a:pt x="1949" y="788"/>
                  <a:pt x="1949" y="785"/>
                </a:cubicBezTo>
                <a:cubicBezTo>
                  <a:pt x="1959" y="782"/>
                  <a:pt x="1962" y="774"/>
                  <a:pt x="1965" y="765"/>
                </a:cubicBezTo>
                <a:cubicBezTo>
                  <a:pt x="1965" y="765"/>
                  <a:pt x="1966" y="765"/>
                  <a:pt x="1966" y="765"/>
                </a:cubicBezTo>
                <a:cubicBezTo>
                  <a:pt x="1967" y="766"/>
                  <a:pt x="1968" y="768"/>
                  <a:pt x="1970" y="769"/>
                </a:cubicBezTo>
                <a:cubicBezTo>
                  <a:pt x="1974" y="765"/>
                  <a:pt x="1982" y="762"/>
                  <a:pt x="1984" y="756"/>
                </a:cubicBezTo>
                <a:close/>
                <a:moveTo>
                  <a:pt x="1927" y="774"/>
                </a:moveTo>
                <a:cubicBezTo>
                  <a:pt x="1929" y="773"/>
                  <a:pt x="1931" y="773"/>
                  <a:pt x="1933" y="773"/>
                </a:cubicBezTo>
                <a:cubicBezTo>
                  <a:pt x="1935" y="773"/>
                  <a:pt x="1935" y="773"/>
                  <a:pt x="1935" y="773"/>
                </a:cubicBezTo>
                <a:cubicBezTo>
                  <a:pt x="1936" y="772"/>
                  <a:pt x="1936" y="772"/>
                  <a:pt x="1936" y="772"/>
                </a:cubicBezTo>
                <a:cubicBezTo>
                  <a:pt x="1939" y="772"/>
                  <a:pt x="1942" y="772"/>
                  <a:pt x="1945" y="772"/>
                </a:cubicBezTo>
                <a:cubicBezTo>
                  <a:pt x="1946" y="772"/>
                  <a:pt x="1947" y="773"/>
                  <a:pt x="1949" y="773"/>
                </a:cubicBezTo>
                <a:cubicBezTo>
                  <a:pt x="1950" y="777"/>
                  <a:pt x="1944" y="781"/>
                  <a:pt x="1948" y="784"/>
                </a:cubicBezTo>
                <a:cubicBezTo>
                  <a:pt x="1941" y="782"/>
                  <a:pt x="1941" y="789"/>
                  <a:pt x="1939" y="793"/>
                </a:cubicBezTo>
                <a:cubicBezTo>
                  <a:pt x="1931" y="797"/>
                  <a:pt x="1923" y="804"/>
                  <a:pt x="1913" y="800"/>
                </a:cubicBezTo>
                <a:cubicBezTo>
                  <a:pt x="1909" y="793"/>
                  <a:pt x="1895" y="794"/>
                  <a:pt x="1897" y="781"/>
                </a:cubicBezTo>
                <a:cubicBezTo>
                  <a:pt x="1907" y="779"/>
                  <a:pt x="1917" y="776"/>
                  <a:pt x="1927" y="774"/>
                </a:cubicBezTo>
                <a:close/>
                <a:moveTo>
                  <a:pt x="1905" y="833"/>
                </a:moveTo>
                <a:cubicBezTo>
                  <a:pt x="1897" y="840"/>
                  <a:pt x="1889" y="847"/>
                  <a:pt x="1881" y="854"/>
                </a:cubicBezTo>
                <a:cubicBezTo>
                  <a:pt x="1880" y="838"/>
                  <a:pt x="1880" y="821"/>
                  <a:pt x="1880" y="804"/>
                </a:cubicBezTo>
                <a:cubicBezTo>
                  <a:pt x="1881" y="802"/>
                  <a:pt x="1882" y="798"/>
                  <a:pt x="1883" y="798"/>
                </a:cubicBezTo>
                <a:cubicBezTo>
                  <a:pt x="1900" y="799"/>
                  <a:pt x="1911" y="818"/>
                  <a:pt x="1905" y="833"/>
                </a:cubicBezTo>
                <a:close/>
                <a:moveTo>
                  <a:pt x="1878" y="1006"/>
                </a:moveTo>
                <a:cubicBezTo>
                  <a:pt x="1887" y="998"/>
                  <a:pt x="1895" y="988"/>
                  <a:pt x="1903" y="978"/>
                </a:cubicBezTo>
                <a:cubicBezTo>
                  <a:pt x="1907" y="973"/>
                  <a:pt x="1912" y="967"/>
                  <a:pt x="1918" y="977"/>
                </a:cubicBezTo>
                <a:cubicBezTo>
                  <a:pt x="1910" y="991"/>
                  <a:pt x="1899" y="1001"/>
                  <a:pt x="1889" y="1013"/>
                </a:cubicBezTo>
                <a:cubicBezTo>
                  <a:pt x="1887" y="1007"/>
                  <a:pt x="1881" y="1009"/>
                  <a:pt x="1878" y="1006"/>
                </a:cubicBezTo>
                <a:cubicBezTo>
                  <a:pt x="1876" y="1001"/>
                  <a:pt x="1874" y="996"/>
                  <a:pt x="1873" y="991"/>
                </a:cubicBezTo>
                <a:cubicBezTo>
                  <a:pt x="1874" y="996"/>
                  <a:pt x="1876" y="1001"/>
                  <a:pt x="1878" y="1006"/>
                </a:cubicBezTo>
                <a:close/>
                <a:moveTo>
                  <a:pt x="1877" y="1145"/>
                </a:moveTo>
                <a:cubicBezTo>
                  <a:pt x="1880" y="1151"/>
                  <a:pt x="1884" y="1156"/>
                  <a:pt x="1889" y="1160"/>
                </a:cubicBezTo>
                <a:cubicBezTo>
                  <a:pt x="1884" y="1156"/>
                  <a:pt x="1880" y="1151"/>
                  <a:pt x="1877" y="1145"/>
                </a:cubicBezTo>
                <a:cubicBezTo>
                  <a:pt x="1871" y="1146"/>
                  <a:pt x="1866" y="1145"/>
                  <a:pt x="1863" y="1142"/>
                </a:cubicBezTo>
                <a:cubicBezTo>
                  <a:pt x="1866" y="1145"/>
                  <a:pt x="1871" y="1146"/>
                  <a:pt x="1877" y="1145"/>
                </a:cubicBezTo>
                <a:close/>
                <a:moveTo>
                  <a:pt x="1873" y="1206"/>
                </a:moveTo>
                <a:cubicBezTo>
                  <a:pt x="1875" y="1205"/>
                  <a:pt x="1876" y="1205"/>
                  <a:pt x="1878" y="1205"/>
                </a:cubicBezTo>
                <a:cubicBezTo>
                  <a:pt x="1877" y="1201"/>
                  <a:pt x="1877" y="1198"/>
                  <a:pt x="1881" y="1196"/>
                </a:cubicBezTo>
                <a:cubicBezTo>
                  <a:pt x="1882" y="1197"/>
                  <a:pt x="1884" y="1197"/>
                  <a:pt x="1885" y="1197"/>
                </a:cubicBezTo>
                <a:cubicBezTo>
                  <a:pt x="1886" y="1193"/>
                  <a:pt x="1889" y="1192"/>
                  <a:pt x="1893" y="1193"/>
                </a:cubicBezTo>
                <a:cubicBezTo>
                  <a:pt x="1895" y="1193"/>
                  <a:pt x="1898" y="1192"/>
                  <a:pt x="1901" y="1192"/>
                </a:cubicBezTo>
                <a:cubicBezTo>
                  <a:pt x="1901" y="1193"/>
                  <a:pt x="1901" y="1194"/>
                  <a:pt x="1902" y="1195"/>
                </a:cubicBezTo>
                <a:cubicBezTo>
                  <a:pt x="1905" y="1196"/>
                  <a:pt x="1909" y="1196"/>
                  <a:pt x="1913" y="1197"/>
                </a:cubicBezTo>
                <a:cubicBezTo>
                  <a:pt x="1913" y="1199"/>
                  <a:pt x="1913" y="1202"/>
                  <a:pt x="1914" y="1204"/>
                </a:cubicBezTo>
                <a:cubicBezTo>
                  <a:pt x="1916" y="1209"/>
                  <a:pt x="1895" y="1203"/>
                  <a:pt x="1910" y="1212"/>
                </a:cubicBezTo>
                <a:cubicBezTo>
                  <a:pt x="1918" y="1217"/>
                  <a:pt x="1908" y="1218"/>
                  <a:pt x="1909" y="1221"/>
                </a:cubicBezTo>
                <a:cubicBezTo>
                  <a:pt x="1906" y="1221"/>
                  <a:pt x="1901" y="1220"/>
                  <a:pt x="1905" y="1225"/>
                </a:cubicBezTo>
                <a:cubicBezTo>
                  <a:pt x="1907" y="1229"/>
                  <a:pt x="1911" y="1238"/>
                  <a:pt x="1917" y="1233"/>
                </a:cubicBezTo>
                <a:cubicBezTo>
                  <a:pt x="1925" y="1225"/>
                  <a:pt x="1928" y="1233"/>
                  <a:pt x="1929" y="1236"/>
                </a:cubicBezTo>
                <a:cubicBezTo>
                  <a:pt x="1932" y="1244"/>
                  <a:pt x="1938" y="1243"/>
                  <a:pt x="1943" y="1245"/>
                </a:cubicBezTo>
                <a:cubicBezTo>
                  <a:pt x="1944" y="1250"/>
                  <a:pt x="1944" y="1255"/>
                  <a:pt x="1945" y="1260"/>
                </a:cubicBezTo>
                <a:cubicBezTo>
                  <a:pt x="1945" y="1265"/>
                  <a:pt x="1945" y="1270"/>
                  <a:pt x="1944" y="1275"/>
                </a:cubicBezTo>
                <a:cubicBezTo>
                  <a:pt x="1962" y="1268"/>
                  <a:pt x="1958" y="1286"/>
                  <a:pt x="1965" y="1293"/>
                </a:cubicBezTo>
                <a:cubicBezTo>
                  <a:pt x="1965" y="1293"/>
                  <a:pt x="1965" y="1293"/>
                  <a:pt x="1965" y="1293"/>
                </a:cubicBezTo>
                <a:cubicBezTo>
                  <a:pt x="1958" y="1286"/>
                  <a:pt x="1962" y="1268"/>
                  <a:pt x="1945" y="1275"/>
                </a:cubicBezTo>
                <a:cubicBezTo>
                  <a:pt x="1926" y="1261"/>
                  <a:pt x="1909" y="1245"/>
                  <a:pt x="1893" y="1229"/>
                </a:cubicBezTo>
                <a:cubicBezTo>
                  <a:pt x="1891" y="1234"/>
                  <a:pt x="1889" y="1238"/>
                  <a:pt x="1888" y="1243"/>
                </a:cubicBezTo>
                <a:cubicBezTo>
                  <a:pt x="1886" y="1249"/>
                  <a:pt x="1885" y="1255"/>
                  <a:pt x="1883" y="1262"/>
                </a:cubicBezTo>
                <a:cubicBezTo>
                  <a:pt x="1883" y="1263"/>
                  <a:pt x="1883" y="1264"/>
                  <a:pt x="1884" y="1266"/>
                </a:cubicBezTo>
                <a:cubicBezTo>
                  <a:pt x="1883" y="1264"/>
                  <a:pt x="1883" y="1263"/>
                  <a:pt x="1883" y="1262"/>
                </a:cubicBezTo>
                <a:cubicBezTo>
                  <a:pt x="1879" y="1259"/>
                  <a:pt x="1877" y="1254"/>
                  <a:pt x="1874" y="1250"/>
                </a:cubicBezTo>
                <a:cubicBezTo>
                  <a:pt x="1877" y="1254"/>
                  <a:pt x="1879" y="1259"/>
                  <a:pt x="1883" y="1262"/>
                </a:cubicBezTo>
                <a:cubicBezTo>
                  <a:pt x="1885" y="1255"/>
                  <a:pt x="1886" y="1249"/>
                  <a:pt x="1888" y="1243"/>
                </a:cubicBezTo>
                <a:cubicBezTo>
                  <a:pt x="1886" y="1237"/>
                  <a:pt x="1885" y="1231"/>
                  <a:pt x="1883" y="1226"/>
                </a:cubicBezTo>
                <a:cubicBezTo>
                  <a:pt x="1881" y="1224"/>
                  <a:pt x="1879" y="1222"/>
                  <a:pt x="1877" y="1220"/>
                </a:cubicBezTo>
                <a:cubicBezTo>
                  <a:pt x="1870" y="1225"/>
                  <a:pt x="1875" y="1237"/>
                  <a:pt x="1865" y="1239"/>
                </a:cubicBezTo>
                <a:cubicBezTo>
                  <a:pt x="1865" y="1239"/>
                  <a:pt x="1864" y="1238"/>
                  <a:pt x="1863" y="1238"/>
                </a:cubicBezTo>
                <a:cubicBezTo>
                  <a:pt x="1863" y="1238"/>
                  <a:pt x="1862" y="1239"/>
                  <a:pt x="1862" y="1239"/>
                </a:cubicBezTo>
                <a:cubicBezTo>
                  <a:pt x="1862" y="1239"/>
                  <a:pt x="1863" y="1238"/>
                  <a:pt x="1863" y="1238"/>
                </a:cubicBezTo>
                <a:cubicBezTo>
                  <a:pt x="1859" y="1235"/>
                  <a:pt x="1858" y="1230"/>
                  <a:pt x="1857" y="1225"/>
                </a:cubicBezTo>
                <a:cubicBezTo>
                  <a:pt x="1857" y="1225"/>
                  <a:pt x="1857" y="1225"/>
                  <a:pt x="1857" y="1225"/>
                </a:cubicBezTo>
                <a:cubicBezTo>
                  <a:pt x="1858" y="1224"/>
                  <a:pt x="1858" y="1223"/>
                  <a:pt x="1859" y="1223"/>
                </a:cubicBezTo>
                <a:cubicBezTo>
                  <a:pt x="1858" y="1223"/>
                  <a:pt x="1857" y="1224"/>
                  <a:pt x="1857" y="1224"/>
                </a:cubicBezTo>
                <a:cubicBezTo>
                  <a:pt x="1856" y="1222"/>
                  <a:pt x="1855" y="1219"/>
                  <a:pt x="1854" y="1217"/>
                </a:cubicBezTo>
                <a:cubicBezTo>
                  <a:pt x="1854" y="1217"/>
                  <a:pt x="1854" y="1217"/>
                  <a:pt x="1854" y="1217"/>
                </a:cubicBezTo>
                <a:cubicBezTo>
                  <a:pt x="1857" y="1215"/>
                  <a:pt x="1857" y="1212"/>
                  <a:pt x="1856" y="1209"/>
                </a:cubicBezTo>
                <a:cubicBezTo>
                  <a:pt x="1861" y="1203"/>
                  <a:pt x="1867" y="1204"/>
                  <a:pt x="1873" y="1206"/>
                </a:cubicBezTo>
                <a:close/>
                <a:moveTo>
                  <a:pt x="1869" y="1628"/>
                </a:moveTo>
                <a:cubicBezTo>
                  <a:pt x="1870" y="1628"/>
                  <a:pt x="1872" y="1628"/>
                  <a:pt x="1873" y="1629"/>
                </a:cubicBezTo>
                <a:cubicBezTo>
                  <a:pt x="1872" y="1628"/>
                  <a:pt x="1870" y="1628"/>
                  <a:pt x="1869" y="1628"/>
                </a:cubicBezTo>
                <a:cubicBezTo>
                  <a:pt x="1866" y="1624"/>
                  <a:pt x="1862" y="1621"/>
                  <a:pt x="1859" y="1616"/>
                </a:cubicBezTo>
                <a:cubicBezTo>
                  <a:pt x="1862" y="1621"/>
                  <a:pt x="1866" y="1624"/>
                  <a:pt x="1869" y="1628"/>
                </a:cubicBezTo>
                <a:close/>
                <a:moveTo>
                  <a:pt x="1857" y="1612"/>
                </a:moveTo>
                <a:cubicBezTo>
                  <a:pt x="1859" y="1612"/>
                  <a:pt x="1862" y="1612"/>
                  <a:pt x="1864" y="1612"/>
                </a:cubicBezTo>
                <a:cubicBezTo>
                  <a:pt x="1866" y="1611"/>
                  <a:pt x="1868" y="1610"/>
                  <a:pt x="1869" y="1609"/>
                </a:cubicBezTo>
                <a:cubicBezTo>
                  <a:pt x="1868" y="1610"/>
                  <a:pt x="1866" y="1611"/>
                  <a:pt x="1864" y="1612"/>
                </a:cubicBezTo>
                <a:cubicBezTo>
                  <a:pt x="1862" y="1612"/>
                  <a:pt x="1859" y="1612"/>
                  <a:pt x="1857" y="1612"/>
                </a:cubicBezTo>
                <a:close/>
                <a:moveTo>
                  <a:pt x="1852" y="507"/>
                </a:moveTo>
                <a:cubicBezTo>
                  <a:pt x="1855" y="508"/>
                  <a:pt x="1858" y="509"/>
                  <a:pt x="1861" y="509"/>
                </a:cubicBezTo>
                <a:cubicBezTo>
                  <a:pt x="1861" y="509"/>
                  <a:pt x="1863" y="509"/>
                  <a:pt x="1863" y="509"/>
                </a:cubicBezTo>
                <a:cubicBezTo>
                  <a:pt x="1861" y="509"/>
                  <a:pt x="1861" y="509"/>
                  <a:pt x="1861" y="509"/>
                </a:cubicBezTo>
                <a:cubicBezTo>
                  <a:pt x="1858" y="509"/>
                  <a:pt x="1855" y="508"/>
                  <a:pt x="1852" y="507"/>
                </a:cubicBezTo>
                <a:close/>
                <a:moveTo>
                  <a:pt x="1855" y="1079"/>
                </a:moveTo>
                <a:cubicBezTo>
                  <a:pt x="1853" y="1077"/>
                  <a:pt x="1851" y="1077"/>
                  <a:pt x="1848" y="1076"/>
                </a:cubicBezTo>
                <a:cubicBezTo>
                  <a:pt x="1848" y="1076"/>
                  <a:pt x="1848" y="1076"/>
                  <a:pt x="1848" y="1076"/>
                </a:cubicBezTo>
                <a:cubicBezTo>
                  <a:pt x="1851" y="1077"/>
                  <a:pt x="1853" y="1077"/>
                  <a:pt x="1855" y="1079"/>
                </a:cubicBezTo>
                <a:close/>
                <a:moveTo>
                  <a:pt x="1851" y="1724"/>
                </a:moveTo>
                <a:cubicBezTo>
                  <a:pt x="1849" y="1721"/>
                  <a:pt x="1849" y="1717"/>
                  <a:pt x="1847" y="1715"/>
                </a:cubicBezTo>
                <a:cubicBezTo>
                  <a:pt x="1849" y="1717"/>
                  <a:pt x="1849" y="1721"/>
                  <a:pt x="1851" y="1724"/>
                </a:cubicBezTo>
                <a:close/>
                <a:moveTo>
                  <a:pt x="1853" y="1728"/>
                </a:moveTo>
                <a:cubicBezTo>
                  <a:pt x="1853" y="1727"/>
                  <a:pt x="1853" y="1726"/>
                  <a:pt x="1853" y="1725"/>
                </a:cubicBezTo>
                <a:cubicBezTo>
                  <a:pt x="1853" y="1726"/>
                  <a:pt x="1853" y="1727"/>
                  <a:pt x="1853" y="1728"/>
                </a:cubicBezTo>
                <a:cubicBezTo>
                  <a:pt x="1851" y="1731"/>
                  <a:pt x="1849" y="1732"/>
                  <a:pt x="1846" y="1733"/>
                </a:cubicBezTo>
                <a:cubicBezTo>
                  <a:pt x="1849" y="1732"/>
                  <a:pt x="1851" y="1731"/>
                  <a:pt x="1853" y="1728"/>
                </a:cubicBezTo>
                <a:close/>
                <a:moveTo>
                  <a:pt x="1853" y="1748"/>
                </a:moveTo>
                <a:cubicBezTo>
                  <a:pt x="1859" y="1747"/>
                  <a:pt x="1866" y="1746"/>
                  <a:pt x="1873" y="1745"/>
                </a:cubicBezTo>
                <a:cubicBezTo>
                  <a:pt x="1866" y="1746"/>
                  <a:pt x="1859" y="1747"/>
                  <a:pt x="1853" y="1748"/>
                </a:cubicBezTo>
                <a:cubicBezTo>
                  <a:pt x="1851" y="1746"/>
                  <a:pt x="1848" y="1745"/>
                  <a:pt x="1845" y="1744"/>
                </a:cubicBezTo>
                <a:cubicBezTo>
                  <a:pt x="1848" y="1745"/>
                  <a:pt x="1851" y="1746"/>
                  <a:pt x="1853" y="1748"/>
                </a:cubicBezTo>
                <a:close/>
                <a:moveTo>
                  <a:pt x="1853" y="1885"/>
                </a:moveTo>
                <a:cubicBezTo>
                  <a:pt x="1853" y="1886"/>
                  <a:pt x="1852" y="1888"/>
                  <a:pt x="1852" y="1889"/>
                </a:cubicBezTo>
                <a:cubicBezTo>
                  <a:pt x="1852" y="1889"/>
                  <a:pt x="1851" y="1889"/>
                  <a:pt x="1851" y="1890"/>
                </a:cubicBezTo>
                <a:cubicBezTo>
                  <a:pt x="1851" y="1889"/>
                  <a:pt x="1852" y="1889"/>
                  <a:pt x="1852" y="1889"/>
                </a:cubicBezTo>
                <a:cubicBezTo>
                  <a:pt x="1852" y="1888"/>
                  <a:pt x="1853" y="1886"/>
                  <a:pt x="1853" y="1885"/>
                </a:cubicBezTo>
                <a:close/>
                <a:moveTo>
                  <a:pt x="1849" y="2001"/>
                </a:moveTo>
                <a:cubicBezTo>
                  <a:pt x="1849" y="2001"/>
                  <a:pt x="1849" y="2001"/>
                  <a:pt x="1849" y="2001"/>
                </a:cubicBezTo>
                <a:cubicBezTo>
                  <a:pt x="1853" y="1996"/>
                  <a:pt x="1857" y="1990"/>
                  <a:pt x="1861" y="1985"/>
                </a:cubicBezTo>
                <a:cubicBezTo>
                  <a:pt x="1857" y="1990"/>
                  <a:pt x="1853" y="1996"/>
                  <a:pt x="1849" y="2001"/>
                </a:cubicBezTo>
                <a:close/>
                <a:moveTo>
                  <a:pt x="1865" y="2181"/>
                </a:moveTo>
                <a:cubicBezTo>
                  <a:pt x="1865" y="2181"/>
                  <a:pt x="1865" y="2181"/>
                  <a:pt x="1865" y="2181"/>
                </a:cubicBezTo>
                <a:cubicBezTo>
                  <a:pt x="1865" y="2183"/>
                  <a:pt x="1866" y="2185"/>
                  <a:pt x="1868" y="2187"/>
                </a:cubicBezTo>
                <a:cubicBezTo>
                  <a:pt x="1866" y="2185"/>
                  <a:pt x="1865" y="2183"/>
                  <a:pt x="1865" y="2181"/>
                </a:cubicBezTo>
                <a:close/>
                <a:moveTo>
                  <a:pt x="1909" y="2202"/>
                </a:moveTo>
                <a:cubicBezTo>
                  <a:pt x="1901" y="2199"/>
                  <a:pt x="1893" y="2196"/>
                  <a:pt x="1885" y="2193"/>
                </a:cubicBezTo>
                <a:cubicBezTo>
                  <a:pt x="1884" y="2190"/>
                  <a:pt x="1884" y="2188"/>
                  <a:pt x="1883" y="2185"/>
                </a:cubicBezTo>
                <a:cubicBezTo>
                  <a:pt x="1887" y="2169"/>
                  <a:pt x="1873" y="2156"/>
                  <a:pt x="1876" y="2140"/>
                </a:cubicBezTo>
                <a:cubicBezTo>
                  <a:pt x="1877" y="2141"/>
                  <a:pt x="1877" y="2141"/>
                  <a:pt x="1877" y="2141"/>
                </a:cubicBezTo>
                <a:cubicBezTo>
                  <a:pt x="1876" y="2132"/>
                  <a:pt x="1873" y="2124"/>
                  <a:pt x="1874" y="2116"/>
                </a:cubicBezTo>
                <a:cubicBezTo>
                  <a:pt x="1877" y="2100"/>
                  <a:pt x="1859" y="2078"/>
                  <a:pt x="1887" y="2069"/>
                </a:cubicBezTo>
                <a:cubicBezTo>
                  <a:pt x="1904" y="2064"/>
                  <a:pt x="1920" y="2055"/>
                  <a:pt x="1938" y="2065"/>
                </a:cubicBezTo>
                <a:cubicBezTo>
                  <a:pt x="1939" y="2065"/>
                  <a:pt x="1942" y="2065"/>
                  <a:pt x="1944" y="2065"/>
                </a:cubicBezTo>
                <a:cubicBezTo>
                  <a:pt x="1949" y="2079"/>
                  <a:pt x="1942" y="2093"/>
                  <a:pt x="1944" y="2107"/>
                </a:cubicBezTo>
                <a:cubicBezTo>
                  <a:pt x="1939" y="2115"/>
                  <a:pt x="1944" y="2125"/>
                  <a:pt x="1938" y="2133"/>
                </a:cubicBezTo>
                <a:cubicBezTo>
                  <a:pt x="1937" y="2137"/>
                  <a:pt x="1936" y="2141"/>
                  <a:pt x="1935" y="2145"/>
                </a:cubicBezTo>
                <a:cubicBezTo>
                  <a:pt x="1925" y="2153"/>
                  <a:pt x="1938" y="2169"/>
                  <a:pt x="1925" y="2176"/>
                </a:cubicBezTo>
                <a:cubicBezTo>
                  <a:pt x="1923" y="2177"/>
                  <a:pt x="1922" y="2177"/>
                  <a:pt x="1921" y="2177"/>
                </a:cubicBezTo>
                <a:cubicBezTo>
                  <a:pt x="1925" y="2189"/>
                  <a:pt x="1918" y="2196"/>
                  <a:pt x="1909" y="2202"/>
                </a:cubicBezTo>
                <a:close/>
                <a:moveTo>
                  <a:pt x="1928" y="2357"/>
                </a:moveTo>
                <a:cubicBezTo>
                  <a:pt x="1925" y="2356"/>
                  <a:pt x="1920" y="2358"/>
                  <a:pt x="1918" y="2356"/>
                </a:cubicBezTo>
                <a:cubicBezTo>
                  <a:pt x="1920" y="2358"/>
                  <a:pt x="1925" y="2356"/>
                  <a:pt x="1928" y="2357"/>
                </a:cubicBezTo>
                <a:cubicBezTo>
                  <a:pt x="1937" y="2358"/>
                  <a:pt x="1946" y="2361"/>
                  <a:pt x="1955" y="2362"/>
                </a:cubicBezTo>
                <a:cubicBezTo>
                  <a:pt x="1946" y="2361"/>
                  <a:pt x="1937" y="2358"/>
                  <a:pt x="1928" y="2357"/>
                </a:cubicBezTo>
                <a:close/>
                <a:moveTo>
                  <a:pt x="1973" y="2277"/>
                </a:moveTo>
                <a:cubicBezTo>
                  <a:pt x="1973" y="2278"/>
                  <a:pt x="1973" y="2279"/>
                  <a:pt x="1973" y="2281"/>
                </a:cubicBezTo>
                <a:cubicBezTo>
                  <a:pt x="1973" y="2279"/>
                  <a:pt x="1973" y="2278"/>
                  <a:pt x="1973" y="2277"/>
                </a:cubicBezTo>
                <a:cubicBezTo>
                  <a:pt x="1961" y="2277"/>
                  <a:pt x="1949" y="2277"/>
                  <a:pt x="1937" y="2277"/>
                </a:cubicBezTo>
                <a:cubicBezTo>
                  <a:pt x="1934" y="2277"/>
                  <a:pt x="1932" y="2277"/>
                  <a:pt x="1929" y="2277"/>
                </a:cubicBezTo>
                <a:cubicBezTo>
                  <a:pt x="1931" y="2274"/>
                  <a:pt x="1933" y="2273"/>
                  <a:pt x="1935" y="2273"/>
                </a:cubicBezTo>
                <a:cubicBezTo>
                  <a:pt x="1933" y="2273"/>
                  <a:pt x="1931" y="2274"/>
                  <a:pt x="1929" y="2277"/>
                </a:cubicBezTo>
                <a:cubicBezTo>
                  <a:pt x="1932" y="2277"/>
                  <a:pt x="1934" y="2277"/>
                  <a:pt x="1937" y="2277"/>
                </a:cubicBezTo>
                <a:cubicBezTo>
                  <a:pt x="1949" y="2277"/>
                  <a:pt x="1961" y="2277"/>
                  <a:pt x="1973" y="2277"/>
                </a:cubicBezTo>
                <a:cubicBezTo>
                  <a:pt x="1985" y="2277"/>
                  <a:pt x="1997" y="2276"/>
                  <a:pt x="2008" y="2275"/>
                </a:cubicBezTo>
                <a:cubicBezTo>
                  <a:pt x="1997" y="2276"/>
                  <a:pt x="1985" y="2277"/>
                  <a:pt x="1973" y="2277"/>
                </a:cubicBezTo>
                <a:close/>
                <a:moveTo>
                  <a:pt x="2009" y="2132"/>
                </a:moveTo>
                <a:cubicBezTo>
                  <a:pt x="2011" y="2132"/>
                  <a:pt x="2012" y="2133"/>
                  <a:pt x="2013" y="2133"/>
                </a:cubicBezTo>
                <a:cubicBezTo>
                  <a:pt x="2012" y="2133"/>
                  <a:pt x="2011" y="2132"/>
                  <a:pt x="2009" y="2132"/>
                </a:cubicBezTo>
                <a:cubicBezTo>
                  <a:pt x="2009" y="2131"/>
                  <a:pt x="2009" y="2130"/>
                  <a:pt x="2009" y="2129"/>
                </a:cubicBezTo>
                <a:cubicBezTo>
                  <a:pt x="2009" y="2130"/>
                  <a:pt x="2009" y="2131"/>
                  <a:pt x="2009" y="2132"/>
                </a:cubicBezTo>
                <a:close/>
                <a:moveTo>
                  <a:pt x="2021" y="2198"/>
                </a:moveTo>
                <a:cubicBezTo>
                  <a:pt x="2017" y="2196"/>
                  <a:pt x="2013" y="2195"/>
                  <a:pt x="2009" y="2193"/>
                </a:cubicBezTo>
                <a:cubicBezTo>
                  <a:pt x="2013" y="2195"/>
                  <a:pt x="2017" y="2196"/>
                  <a:pt x="2021" y="2198"/>
                </a:cubicBezTo>
                <a:cubicBezTo>
                  <a:pt x="2020" y="2193"/>
                  <a:pt x="2018" y="2188"/>
                  <a:pt x="2017" y="2183"/>
                </a:cubicBezTo>
                <a:cubicBezTo>
                  <a:pt x="2017" y="2183"/>
                  <a:pt x="2017" y="2183"/>
                  <a:pt x="2017" y="2183"/>
                </a:cubicBezTo>
                <a:cubicBezTo>
                  <a:pt x="2018" y="2188"/>
                  <a:pt x="2020" y="2193"/>
                  <a:pt x="2021" y="2198"/>
                </a:cubicBezTo>
                <a:close/>
                <a:moveTo>
                  <a:pt x="2015" y="1387"/>
                </a:moveTo>
                <a:cubicBezTo>
                  <a:pt x="2018" y="1385"/>
                  <a:pt x="2021" y="1381"/>
                  <a:pt x="2022" y="1376"/>
                </a:cubicBezTo>
                <a:cubicBezTo>
                  <a:pt x="2022" y="1376"/>
                  <a:pt x="2022" y="1376"/>
                  <a:pt x="2022" y="1376"/>
                </a:cubicBezTo>
                <a:cubicBezTo>
                  <a:pt x="2021" y="1381"/>
                  <a:pt x="2018" y="1385"/>
                  <a:pt x="2015" y="1387"/>
                </a:cubicBezTo>
                <a:close/>
                <a:moveTo>
                  <a:pt x="2018" y="969"/>
                </a:moveTo>
                <a:cubicBezTo>
                  <a:pt x="2021" y="964"/>
                  <a:pt x="2022" y="959"/>
                  <a:pt x="2019" y="955"/>
                </a:cubicBezTo>
                <a:cubicBezTo>
                  <a:pt x="2022" y="959"/>
                  <a:pt x="2021" y="964"/>
                  <a:pt x="2018" y="969"/>
                </a:cubicBezTo>
                <a:cubicBezTo>
                  <a:pt x="2021" y="991"/>
                  <a:pt x="2021" y="1013"/>
                  <a:pt x="2021" y="1036"/>
                </a:cubicBezTo>
                <a:cubicBezTo>
                  <a:pt x="2021" y="1013"/>
                  <a:pt x="2021" y="991"/>
                  <a:pt x="2018" y="969"/>
                </a:cubicBezTo>
                <a:close/>
                <a:moveTo>
                  <a:pt x="2038" y="1423"/>
                </a:moveTo>
                <a:cubicBezTo>
                  <a:pt x="2039" y="1425"/>
                  <a:pt x="2037" y="1428"/>
                  <a:pt x="2033" y="1429"/>
                </a:cubicBezTo>
                <a:cubicBezTo>
                  <a:pt x="2033" y="1429"/>
                  <a:pt x="2033" y="1429"/>
                  <a:pt x="2033" y="1429"/>
                </a:cubicBezTo>
                <a:cubicBezTo>
                  <a:pt x="2037" y="1428"/>
                  <a:pt x="2039" y="1425"/>
                  <a:pt x="2038" y="1423"/>
                </a:cubicBezTo>
                <a:close/>
                <a:moveTo>
                  <a:pt x="2021" y="605"/>
                </a:moveTo>
                <a:cubicBezTo>
                  <a:pt x="2021" y="605"/>
                  <a:pt x="2021" y="605"/>
                  <a:pt x="2021" y="605"/>
                </a:cubicBezTo>
                <a:cubicBezTo>
                  <a:pt x="2025" y="605"/>
                  <a:pt x="2028" y="607"/>
                  <a:pt x="2032" y="608"/>
                </a:cubicBezTo>
                <a:cubicBezTo>
                  <a:pt x="2028" y="607"/>
                  <a:pt x="2025" y="605"/>
                  <a:pt x="2021" y="605"/>
                </a:cubicBezTo>
                <a:close/>
                <a:moveTo>
                  <a:pt x="2033" y="1033"/>
                </a:moveTo>
                <a:cubicBezTo>
                  <a:pt x="2033" y="1033"/>
                  <a:pt x="2033" y="1033"/>
                  <a:pt x="2033" y="1033"/>
                </a:cubicBezTo>
                <a:cubicBezTo>
                  <a:pt x="2033" y="1053"/>
                  <a:pt x="2032" y="1073"/>
                  <a:pt x="2032" y="1092"/>
                </a:cubicBezTo>
                <a:cubicBezTo>
                  <a:pt x="2032" y="1073"/>
                  <a:pt x="2033" y="1053"/>
                  <a:pt x="2033" y="1033"/>
                </a:cubicBezTo>
                <a:close/>
                <a:moveTo>
                  <a:pt x="2022" y="889"/>
                </a:moveTo>
                <a:cubicBezTo>
                  <a:pt x="2022" y="869"/>
                  <a:pt x="2021" y="849"/>
                  <a:pt x="2017" y="828"/>
                </a:cubicBezTo>
                <a:cubicBezTo>
                  <a:pt x="2017" y="826"/>
                  <a:pt x="2017" y="823"/>
                  <a:pt x="2017" y="821"/>
                </a:cubicBezTo>
                <a:cubicBezTo>
                  <a:pt x="2017" y="823"/>
                  <a:pt x="2017" y="826"/>
                  <a:pt x="2017" y="828"/>
                </a:cubicBezTo>
                <a:cubicBezTo>
                  <a:pt x="2021" y="849"/>
                  <a:pt x="2022" y="869"/>
                  <a:pt x="2022" y="889"/>
                </a:cubicBezTo>
                <a:close/>
                <a:moveTo>
                  <a:pt x="2022" y="612"/>
                </a:moveTo>
                <a:cubicBezTo>
                  <a:pt x="2022" y="612"/>
                  <a:pt x="2022" y="612"/>
                  <a:pt x="2022" y="612"/>
                </a:cubicBezTo>
                <a:cubicBezTo>
                  <a:pt x="2021" y="629"/>
                  <a:pt x="2024" y="645"/>
                  <a:pt x="2024" y="662"/>
                </a:cubicBezTo>
                <a:cubicBezTo>
                  <a:pt x="2024" y="645"/>
                  <a:pt x="2021" y="629"/>
                  <a:pt x="2022" y="612"/>
                </a:cubicBezTo>
                <a:close/>
                <a:moveTo>
                  <a:pt x="2025" y="1097"/>
                </a:moveTo>
                <a:cubicBezTo>
                  <a:pt x="2028" y="1075"/>
                  <a:pt x="2029" y="1054"/>
                  <a:pt x="2029" y="1033"/>
                </a:cubicBezTo>
                <a:cubicBezTo>
                  <a:pt x="2029" y="1054"/>
                  <a:pt x="2028" y="1075"/>
                  <a:pt x="2025" y="1097"/>
                </a:cubicBezTo>
                <a:cubicBezTo>
                  <a:pt x="2025" y="1097"/>
                  <a:pt x="2025" y="1097"/>
                  <a:pt x="2025" y="1097"/>
                </a:cubicBezTo>
                <a:close/>
                <a:moveTo>
                  <a:pt x="2045" y="2154"/>
                </a:moveTo>
                <a:cubicBezTo>
                  <a:pt x="2043" y="2154"/>
                  <a:pt x="2042" y="2153"/>
                  <a:pt x="2041" y="2152"/>
                </a:cubicBezTo>
                <a:cubicBezTo>
                  <a:pt x="2042" y="2153"/>
                  <a:pt x="2043" y="2154"/>
                  <a:pt x="2045" y="2154"/>
                </a:cubicBezTo>
                <a:cubicBezTo>
                  <a:pt x="2045" y="2155"/>
                  <a:pt x="2045" y="2156"/>
                  <a:pt x="2045" y="2158"/>
                </a:cubicBezTo>
                <a:cubicBezTo>
                  <a:pt x="2045" y="2156"/>
                  <a:pt x="2045" y="2155"/>
                  <a:pt x="2045" y="2154"/>
                </a:cubicBezTo>
                <a:close/>
                <a:moveTo>
                  <a:pt x="2057" y="2244"/>
                </a:moveTo>
                <a:cubicBezTo>
                  <a:pt x="2049" y="2250"/>
                  <a:pt x="2054" y="2260"/>
                  <a:pt x="2054" y="2269"/>
                </a:cubicBezTo>
                <a:cubicBezTo>
                  <a:pt x="2054" y="2269"/>
                  <a:pt x="2054" y="2269"/>
                  <a:pt x="2054" y="2269"/>
                </a:cubicBezTo>
                <a:cubicBezTo>
                  <a:pt x="2054" y="2272"/>
                  <a:pt x="2053" y="2274"/>
                  <a:pt x="2052" y="2276"/>
                </a:cubicBezTo>
                <a:cubicBezTo>
                  <a:pt x="2051" y="2276"/>
                  <a:pt x="2050" y="2277"/>
                  <a:pt x="2049" y="2277"/>
                </a:cubicBezTo>
                <a:cubicBezTo>
                  <a:pt x="2050" y="2277"/>
                  <a:pt x="2051" y="2276"/>
                  <a:pt x="2052" y="2276"/>
                </a:cubicBezTo>
                <a:cubicBezTo>
                  <a:pt x="2053" y="2274"/>
                  <a:pt x="2054" y="2272"/>
                  <a:pt x="2054" y="2269"/>
                </a:cubicBezTo>
                <a:cubicBezTo>
                  <a:pt x="2054" y="2260"/>
                  <a:pt x="2049" y="2250"/>
                  <a:pt x="2057" y="2244"/>
                </a:cubicBezTo>
                <a:close/>
                <a:moveTo>
                  <a:pt x="2053" y="2445"/>
                </a:moveTo>
                <a:cubicBezTo>
                  <a:pt x="2053" y="2445"/>
                  <a:pt x="2053" y="2445"/>
                  <a:pt x="2053" y="2445"/>
                </a:cubicBezTo>
                <a:cubicBezTo>
                  <a:pt x="2053" y="2445"/>
                  <a:pt x="2053" y="2445"/>
                  <a:pt x="2053" y="2445"/>
                </a:cubicBezTo>
                <a:close/>
                <a:moveTo>
                  <a:pt x="2053" y="2445"/>
                </a:moveTo>
                <a:cubicBezTo>
                  <a:pt x="2053" y="2445"/>
                  <a:pt x="2053" y="2445"/>
                  <a:pt x="2053" y="2445"/>
                </a:cubicBezTo>
                <a:cubicBezTo>
                  <a:pt x="2046" y="2458"/>
                  <a:pt x="2059" y="2456"/>
                  <a:pt x="2064" y="2457"/>
                </a:cubicBezTo>
                <a:cubicBezTo>
                  <a:pt x="2059" y="2456"/>
                  <a:pt x="2046" y="2458"/>
                  <a:pt x="2053" y="2445"/>
                </a:cubicBezTo>
                <a:close/>
                <a:moveTo>
                  <a:pt x="2091" y="2390"/>
                </a:moveTo>
                <a:cubicBezTo>
                  <a:pt x="2092" y="2390"/>
                  <a:pt x="2093" y="2389"/>
                  <a:pt x="2094" y="2389"/>
                </a:cubicBezTo>
                <a:cubicBezTo>
                  <a:pt x="2094" y="2389"/>
                  <a:pt x="2094" y="2389"/>
                  <a:pt x="2094" y="2389"/>
                </a:cubicBezTo>
                <a:cubicBezTo>
                  <a:pt x="2093" y="2389"/>
                  <a:pt x="2092" y="2390"/>
                  <a:pt x="2091" y="2390"/>
                </a:cubicBezTo>
                <a:close/>
                <a:moveTo>
                  <a:pt x="2110" y="2349"/>
                </a:moveTo>
                <a:cubicBezTo>
                  <a:pt x="2108" y="2347"/>
                  <a:pt x="2107" y="2346"/>
                  <a:pt x="2105" y="2344"/>
                </a:cubicBezTo>
                <a:cubicBezTo>
                  <a:pt x="2107" y="2346"/>
                  <a:pt x="2108" y="2347"/>
                  <a:pt x="2110" y="2349"/>
                </a:cubicBezTo>
                <a:cubicBezTo>
                  <a:pt x="2111" y="2349"/>
                  <a:pt x="2112" y="2350"/>
                  <a:pt x="2113" y="2351"/>
                </a:cubicBezTo>
                <a:cubicBezTo>
                  <a:pt x="2112" y="2350"/>
                  <a:pt x="2111" y="2349"/>
                  <a:pt x="2110" y="2349"/>
                </a:cubicBezTo>
                <a:close/>
                <a:moveTo>
                  <a:pt x="2113" y="2398"/>
                </a:moveTo>
                <a:cubicBezTo>
                  <a:pt x="2114" y="2396"/>
                  <a:pt x="2115" y="2395"/>
                  <a:pt x="2116" y="2394"/>
                </a:cubicBezTo>
                <a:cubicBezTo>
                  <a:pt x="2115" y="2395"/>
                  <a:pt x="2114" y="2396"/>
                  <a:pt x="2113" y="2398"/>
                </a:cubicBezTo>
                <a:close/>
                <a:moveTo>
                  <a:pt x="2120" y="2394"/>
                </a:moveTo>
                <a:cubicBezTo>
                  <a:pt x="2120" y="2394"/>
                  <a:pt x="2120" y="2394"/>
                  <a:pt x="2120" y="2394"/>
                </a:cubicBezTo>
                <a:cubicBezTo>
                  <a:pt x="2122" y="2386"/>
                  <a:pt x="2121" y="2380"/>
                  <a:pt x="2118" y="2374"/>
                </a:cubicBezTo>
                <a:cubicBezTo>
                  <a:pt x="2121" y="2380"/>
                  <a:pt x="2122" y="2386"/>
                  <a:pt x="2120" y="2394"/>
                </a:cubicBezTo>
                <a:close/>
                <a:moveTo>
                  <a:pt x="2165" y="2361"/>
                </a:moveTo>
                <a:cubicBezTo>
                  <a:pt x="2165" y="2361"/>
                  <a:pt x="2165" y="2361"/>
                  <a:pt x="2165" y="2361"/>
                </a:cubicBezTo>
                <a:cubicBezTo>
                  <a:pt x="2166" y="2361"/>
                  <a:pt x="2168" y="2361"/>
                  <a:pt x="2170" y="2362"/>
                </a:cubicBezTo>
                <a:cubicBezTo>
                  <a:pt x="2168" y="2361"/>
                  <a:pt x="2166" y="2361"/>
                  <a:pt x="2165" y="2361"/>
                </a:cubicBezTo>
                <a:close/>
                <a:moveTo>
                  <a:pt x="2217" y="2316"/>
                </a:moveTo>
                <a:cubicBezTo>
                  <a:pt x="2217" y="2319"/>
                  <a:pt x="2217" y="2321"/>
                  <a:pt x="2216" y="2324"/>
                </a:cubicBezTo>
                <a:cubicBezTo>
                  <a:pt x="2216" y="2325"/>
                  <a:pt x="2216" y="2327"/>
                  <a:pt x="2217" y="2328"/>
                </a:cubicBezTo>
                <a:cubicBezTo>
                  <a:pt x="2212" y="2325"/>
                  <a:pt x="2206" y="2323"/>
                  <a:pt x="2201" y="2320"/>
                </a:cubicBezTo>
                <a:cubicBezTo>
                  <a:pt x="2206" y="2314"/>
                  <a:pt x="2201" y="2305"/>
                  <a:pt x="2209" y="2301"/>
                </a:cubicBezTo>
                <a:cubicBezTo>
                  <a:pt x="2212" y="2301"/>
                  <a:pt x="2214" y="2301"/>
                  <a:pt x="2217" y="2301"/>
                </a:cubicBezTo>
                <a:cubicBezTo>
                  <a:pt x="2217" y="2298"/>
                  <a:pt x="2219" y="2296"/>
                  <a:pt x="2220" y="2295"/>
                </a:cubicBezTo>
                <a:cubicBezTo>
                  <a:pt x="2219" y="2296"/>
                  <a:pt x="2217" y="2298"/>
                  <a:pt x="2217" y="2301"/>
                </a:cubicBezTo>
                <a:cubicBezTo>
                  <a:pt x="2217" y="2306"/>
                  <a:pt x="2217" y="2311"/>
                  <a:pt x="2217" y="2316"/>
                </a:cubicBezTo>
                <a:close/>
                <a:moveTo>
                  <a:pt x="2205" y="2269"/>
                </a:moveTo>
                <a:cubicBezTo>
                  <a:pt x="2205" y="2267"/>
                  <a:pt x="2205" y="2266"/>
                  <a:pt x="2205" y="2264"/>
                </a:cubicBezTo>
                <a:cubicBezTo>
                  <a:pt x="2205" y="2264"/>
                  <a:pt x="2205" y="2264"/>
                  <a:pt x="2205" y="2264"/>
                </a:cubicBezTo>
                <a:cubicBezTo>
                  <a:pt x="2205" y="2266"/>
                  <a:pt x="2205" y="2267"/>
                  <a:pt x="2205" y="2269"/>
                </a:cubicBezTo>
                <a:close/>
                <a:moveTo>
                  <a:pt x="2221" y="2452"/>
                </a:moveTo>
                <a:cubicBezTo>
                  <a:pt x="2222" y="2451"/>
                  <a:pt x="2222" y="2450"/>
                  <a:pt x="2222" y="2450"/>
                </a:cubicBezTo>
                <a:cubicBezTo>
                  <a:pt x="2222" y="2450"/>
                  <a:pt x="2222" y="2451"/>
                  <a:pt x="2221" y="2452"/>
                </a:cubicBezTo>
                <a:cubicBezTo>
                  <a:pt x="2224" y="2454"/>
                  <a:pt x="2226" y="2457"/>
                  <a:pt x="2226" y="2461"/>
                </a:cubicBezTo>
                <a:cubicBezTo>
                  <a:pt x="2226" y="2457"/>
                  <a:pt x="2224" y="2454"/>
                  <a:pt x="2221" y="2452"/>
                </a:cubicBezTo>
                <a:close/>
                <a:moveTo>
                  <a:pt x="2227" y="2441"/>
                </a:moveTo>
                <a:cubicBezTo>
                  <a:pt x="2230" y="2431"/>
                  <a:pt x="2224" y="2421"/>
                  <a:pt x="2222" y="2412"/>
                </a:cubicBezTo>
                <a:cubicBezTo>
                  <a:pt x="2222" y="2408"/>
                  <a:pt x="2222" y="2405"/>
                  <a:pt x="2223" y="2402"/>
                </a:cubicBezTo>
                <a:cubicBezTo>
                  <a:pt x="2222" y="2405"/>
                  <a:pt x="2222" y="2408"/>
                  <a:pt x="2222" y="2412"/>
                </a:cubicBezTo>
                <a:cubicBezTo>
                  <a:pt x="2224" y="2421"/>
                  <a:pt x="2230" y="2431"/>
                  <a:pt x="2227" y="2441"/>
                </a:cubicBezTo>
                <a:close/>
                <a:moveTo>
                  <a:pt x="2226" y="2293"/>
                </a:moveTo>
                <a:cubicBezTo>
                  <a:pt x="2231" y="2293"/>
                  <a:pt x="2236" y="2297"/>
                  <a:pt x="2241" y="2296"/>
                </a:cubicBezTo>
                <a:cubicBezTo>
                  <a:pt x="2243" y="2294"/>
                  <a:pt x="2245" y="2293"/>
                  <a:pt x="2246" y="2295"/>
                </a:cubicBezTo>
                <a:cubicBezTo>
                  <a:pt x="2245" y="2293"/>
                  <a:pt x="2243" y="2294"/>
                  <a:pt x="2241" y="2296"/>
                </a:cubicBezTo>
                <a:cubicBezTo>
                  <a:pt x="2236" y="2297"/>
                  <a:pt x="2231" y="2293"/>
                  <a:pt x="2226" y="2293"/>
                </a:cubicBezTo>
                <a:close/>
                <a:moveTo>
                  <a:pt x="2225" y="2269"/>
                </a:moveTo>
                <a:cubicBezTo>
                  <a:pt x="2226" y="2272"/>
                  <a:pt x="2227" y="2274"/>
                  <a:pt x="2228" y="2275"/>
                </a:cubicBezTo>
                <a:cubicBezTo>
                  <a:pt x="2227" y="2274"/>
                  <a:pt x="2226" y="2272"/>
                  <a:pt x="2225" y="2269"/>
                </a:cubicBezTo>
                <a:cubicBezTo>
                  <a:pt x="2231" y="2268"/>
                  <a:pt x="2237" y="2270"/>
                  <a:pt x="2243" y="2268"/>
                </a:cubicBezTo>
                <a:cubicBezTo>
                  <a:pt x="2237" y="2270"/>
                  <a:pt x="2231" y="2268"/>
                  <a:pt x="2225" y="2269"/>
                </a:cubicBezTo>
                <a:close/>
                <a:moveTo>
                  <a:pt x="2236" y="2501"/>
                </a:moveTo>
                <a:cubicBezTo>
                  <a:pt x="2235" y="2501"/>
                  <a:pt x="2235" y="2501"/>
                  <a:pt x="2234" y="2501"/>
                </a:cubicBezTo>
                <a:cubicBezTo>
                  <a:pt x="2235" y="2501"/>
                  <a:pt x="2235" y="2501"/>
                  <a:pt x="2236" y="2501"/>
                </a:cubicBezTo>
                <a:cubicBezTo>
                  <a:pt x="2237" y="2501"/>
                  <a:pt x="2237" y="2501"/>
                  <a:pt x="2237" y="2501"/>
                </a:cubicBezTo>
                <a:cubicBezTo>
                  <a:pt x="2237" y="2501"/>
                  <a:pt x="2236" y="2501"/>
                  <a:pt x="2236" y="2501"/>
                </a:cubicBezTo>
                <a:close/>
                <a:moveTo>
                  <a:pt x="2236" y="2415"/>
                </a:moveTo>
                <a:cubicBezTo>
                  <a:pt x="2236" y="2415"/>
                  <a:pt x="2236" y="2416"/>
                  <a:pt x="2237" y="2417"/>
                </a:cubicBezTo>
                <a:cubicBezTo>
                  <a:pt x="2237" y="2417"/>
                  <a:pt x="2237" y="2417"/>
                  <a:pt x="2237" y="2417"/>
                </a:cubicBezTo>
                <a:cubicBezTo>
                  <a:pt x="2236" y="2416"/>
                  <a:pt x="2236" y="2415"/>
                  <a:pt x="2236" y="2415"/>
                </a:cubicBezTo>
                <a:close/>
                <a:moveTo>
                  <a:pt x="2285" y="2473"/>
                </a:moveTo>
                <a:cubicBezTo>
                  <a:pt x="2295" y="2473"/>
                  <a:pt x="2306" y="2472"/>
                  <a:pt x="2316" y="2472"/>
                </a:cubicBezTo>
                <a:cubicBezTo>
                  <a:pt x="2323" y="2463"/>
                  <a:pt x="2330" y="2458"/>
                  <a:pt x="2338" y="2455"/>
                </a:cubicBezTo>
                <a:cubicBezTo>
                  <a:pt x="2330" y="2458"/>
                  <a:pt x="2323" y="2463"/>
                  <a:pt x="2316" y="2472"/>
                </a:cubicBezTo>
                <a:cubicBezTo>
                  <a:pt x="2306" y="2472"/>
                  <a:pt x="2295" y="2473"/>
                  <a:pt x="2285" y="2473"/>
                </a:cubicBezTo>
                <a:close/>
                <a:moveTo>
                  <a:pt x="2381" y="2482"/>
                </a:moveTo>
                <a:cubicBezTo>
                  <a:pt x="2361" y="2485"/>
                  <a:pt x="2341" y="2485"/>
                  <a:pt x="2321" y="2485"/>
                </a:cubicBezTo>
                <a:cubicBezTo>
                  <a:pt x="2341" y="2485"/>
                  <a:pt x="2361" y="2485"/>
                  <a:pt x="2381" y="2482"/>
                </a:cubicBezTo>
                <a:cubicBezTo>
                  <a:pt x="2381" y="2491"/>
                  <a:pt x="2386" y="2493"/>
                  <a:pt x="2392" y="2493"/>
                </a:cubicBezTo>
                <a:cubicBezTo>
                  <a:pt x="2386" y="2493"/>
                  <a:pt x="2381" y="2491"/>
                  <a:pt x="2381" y="2482"/>
                </a:cubicBezTo>
                <a:close/>
                <a:moveTo>
                  <a:pt x="2397" y="2400"/>
                </a:moveTo>
                <a:cubicBezTo>
                  <a:pt x="2404" y="2400"/>
                  <a:pt x="2411" y="2401"/>
                  <a:pt x="2418" y="2401"/>
                </a:cubicBezTo>
                <a:cubicBezTo>
                  <a:pt x="2418" y="2401"/>
                  <a:pt x="2418" y="2401"/>
                  <a:pt x="2418" y="2401"/>
                </a:cubicBezTo>
                <a:cubicBezTo>
                  <a:pt x="2411" y="2401"/>
                  <a:pt x="2404" y="2400"/>
                  <a:pt x="2397" y="2400"/>
                </a:cubicBezTo>
                <a:close/>
                <a:moveTo>
                  <a:pt x="2417" y="2387"/>
                </a:moveTo>
                <a:cubicBezTo>
                  <a:pt x="2399" y="2388"/>
                  <a:pt x="2382" y="2392"/>
                  <a:pt x="2364" y="2388"/>
                </a:cubicBezTo>
                <a:cubicBezTo>
                  <a:pt x="2364" y="2392"/>
                  <a:pt x="2364" y="2395"/>
                  <a:pt x="2360" y="2397"/>
                </a:cubicBezTo>
                <a:cubicBezTo>
                  <a:pt x="2361" y="2401"/>
                  <a:pt x="2362" y="2402"/>
                  <a:pt x="2364" y="2403"/>
                </a:cubicBezTo>
                <a:cubicBezTo>
                  <a:pt x="2362" y="2402"/>
                  <a:pt x="2361" y="2401"/>
                  <a:pt x="2360" y="2397"/>
                </a:cubicBezTo>
                <a:cubicBezTo>
                  <a:pt x="2358" y="2397"/>
                  <a:pt x="2355" y="2397"/>
                  <a:pt x="2353" y="2397"/>
                </a:cubicBezTo>
                <a:cubicBezTo>
                  <a:pt x="2350" y="2402"/>
                  <a:pt x="2345" y="2400"/>
                  <a:pt x="2341" y="2400"/>
                </a:cubicBezTo>
                <a:cubicBezTo>
                  <a:pt x="2338" y="2400"/>
                  <a:pt x="2336" y="2406"/>
                  <a:pt x="2333" y="2401"/>
                </a:cubicBezTo>
                <a:cubicBezTo>
                  <a:pt x="2319" y="2392"/>
                  <a:pt x="2304" y="2397"/>
                  <a:pt x="2289" y="2397"/>
                </a:cubicBezTo>
                <a:cubicBezTo>
                  <a:pt x="2272" y="2404"/>
                  <a:pt x="2254" y="2404"/>
                  <a:pt x="2237" y="2405"/>
                </a:cubicBezTo>
                <a:cubicBezTo>
                  <a:pt x="2222" y="2388"/>
                  <a:pt x="2243" y="2385"/>
                  <a:pt x="2249" y="2377"/>
                </a:cubicBezTo>
                <a:cubicBezTo>
                  <a:pt x="2256" y="2376"/>
                  <a:pt x="2264" y="2378"/>
                  <a:pt x="2271" y="2372"/>
                </a:cubicBezTo>
                <a:cubicBezTo>
                  <a:pt x="2276" y="2367"/>
                  <a:pt x="2284" y="2368"/>
                  <a:pt x="2286" y="2374"/>
                </a:cubicBezTo>
                <a:cubicBezTo>
                  <a:pt x="2290" y="2386"/>
                  <a:pt x="2298" y="2380"/>
                  <a:pt x="2305" y="2381"/>
                </a:cubicBezTo>
                <a:cubicBezTo>
                  <a:pt x="2340" y="2375"/>
                  <a:pt x="2376" y="2377"/>
                  <a:pt x="2412" y="2377"/>
                </a:cubicBezTo>
                <a:cubicBezTo>
                  <a:pt x="2416" y="2370"/>
                  <a:pt x="2421" y="2364"/>
                  <a:pt x="2425" y="2357"/>
                </a:cubicBezTo>
                <a:cubicBezTo>
                  <a:pt x="2421" y="2364"/>
                  <a:pt x="2416" y="2370"/>
                  <a:pt x="2412" y="2377"/>
                </a:cubicBezTo>
                <a:cubicBezTo>
                  <a:pt x="2414" y="2381"/>
                  <a:pt x="2417" y="2381"/>
                  <a:pt x="2421" y="2381"/>
                </a:cubicBezTo>
                <a:cubicBezTo>
                  <a:pt x="2421" y="2383"/>
                  <a:pt x="2420" y="2386"/>
                  <a:pt x="2420" y="2388"/>
                </a:cubicBezTo>
                <a:cubicBezTo>
                  <a:pt x="2419" y="2387"/>
                  <a:pt x="2418" y="2386"/>
                  <a:pt x="2417" y="2387"/>
                </a:cubicBezTo>
                <a:close/>
                <a:moveTo>
                  <a:pt x="2336" y="2330"/>
                </a:moveTo>
                <a:cubicBezTo>
                  <a:pt x="2346" y="2340"/>
                  <a:pt x="2333" y="2340"/>
                  <a:pt x="2332" y="2340"/>
                </a:cubicBezTo>
                <a:cubicBezTo>
                  <a:pt x="2324" y="2345"/>
                  <a:pt x="2327" y="2336"/>
                  <a:pt x="2324" y="2334"/>
                </a:cubicBezTo>
                <a:cubicBezTo>
                  <a:pt x="2315" y="2325"/>
                  <a:pt x="2315" y="2311"/>
                  <a:pt x="2308" y="2300"/>
                </a:cubicBezTo>
                <a:cubicBezTo>
                  <a:pt x="2307" y="2300"/>
                  <a:pt x="2307" y="2300"/>
                  <a:pt x="2307" y="2300"/>
                </a:cubicBezTo>
                <a:cubicBezTo>
                  <a:pt x="2308" y="2300"/>
                  <a:pt x="2308" y="2300"/>
                  <a:pt x="2308" y="2300"/>
                </a:cubicBezTo>
                <a:cubicBezTo>
                  <a:pt x="2308" y="2297"/>
                  <a:pt x="2308" y="2293"/>
                  <a:pt x="2309" y="2289"/>
                </a:cubicBezTo>
                <a:cubicBezTo>
                  <a:pt x="2309" y="2282"/>
                  <a:pt x="2319" y="2276"/>
                  <a:pt x="2309" y="2269"/>
                </a:cubicBezTo>
                <a:cubicBezTo>
                  <a:pt x="2305" y="2262"/>
                  <a:pt x="2304" y="2256"/>
                  <a:pt x="2309" y="2249"/>
                </a:cubicBezTo>
                <a:cubicBezTo>
                  <a:pt x="2310" y="2247"/>
                  <a:pt x="2311" y="2245"/>
                  <a:pt x="2312" y="2243"/>
                </a:cubicBezTo>
                <a:cubicBezTo>
                  <a:pt x="2311" y="2245"/>
                  <a:pt x="2310" y="2247"/>
                  <a:pt x="2309" y="2249"/>
                </a:cubicBezTo>
                <a:cubicBezTo>
                  <a:pt x="2320" y="2248"/>
                  <a:pt x="2324" y="2253"/>
                  <a:pt x="2331" y="2263"/>
                </a:cubicBezTo>
                <a:cubicBezTo>
                  <a:pt x="2340" y="2276"/>
                  <a:pt x="2333" y="2291"/>
                  <a:pt x="2345" y="2301"/>
                </a:cubicBezTo>
                <a:cubicBezTo>
                  <a:pt x="2331" y="2307"/>
                  <a:pt x="2332" y="2326"/>
                  <a:pt x="2336" y="2330"/>
                </a:cubicBezTo>
                <a:close/>
                <a:moveTo>
                  <a:pt x="2331" y="2357"/>
                </a:moveTo>
                <a:cubicBezTo>
                  <a:pt x="2330" y="2358"/>
                  <a:pt x="2329" y="2358"/>
                  <a:pt x="2328" y="2359"/>
                </a:cubicBezTo>
                <a:cubicBezTo>
                  <a:pt x="2328" y="2359"/>
                  <a:pt x="2327" y="2358"/>
                  <a:pt x="2327" y="2358"/>
                </a:cubicBezTo>
                <a:cubicBezTo>
                  <a:pt x="2327" y="2357"/>
                  <a:pt x="2328" y="2356"/>
                  <a:pt x="2328" y="2355"/>
                </a:cubicBezTo>
                <a:cubicBezTo>
                  <a:pt x="2329" y="2355"/>
                  <a:pt x="2330" y="2356"/>
                  <a:pt x="2331" y="2357"/>
                </a:cubicBezTo>
                <a:close/>
                <a:moveTo>
                  <a:pt x="2318" y="2366"/>
                </a:moveTo>
                <a:cubicBezTo>
                  <a:pt x="2318" y="2365"/>
                  <a:pt x="2317" y="2365"/>
                  <a:pt x="2317" y="2365"/>
                </a:cubicBezTo>
                <a:cubicBezTo>
                  <a:pt x="2316" y="2365"/>
                  <a:pt x="2316" y="2364"/>
                  <a:pt x="2315" y="2364"/>
                </a:cubicBezTo>
                <a:cubicBezTo>
                  <a:pt x="2316" y="2364"/>
                  <a:pt x="2316" y="2364"/>
                  <a:pt x="2317" y="2365"/>
                </a:cubicBezTo>
                <a:cubicBezTo>
                  <a:pt x="2317" y="2365"/>
                  <a:pt x="2318" y="2365"/>
                  <a:pt x="2318" y="2366"/>
                </a:cubicBezTo>
                <a:close/>
                <a:moveTo>
                  <a:pt x="2313" y="2241"/>
                </a:moveTo>
                <a:cubicBezTo>
                  <a:pt x="2313" y="2241"/>
                  <a:pt x="2313" y="2241"/>
                  <a:pt x="2313" y="2241"/>
                </a:cubicBezTo>
                <a:cubicBezTo>
                  <a:pt x="2302" y="2240"/>
                  <a:pt x="2291" y="2242"/>
                  <a:pt x="2279" y="2229"/>
                </a:cubicBezTo>
                <a:cubicBezTo>
                  <a:pt x="2294" y="2229"/>
                  <a:pt x="2305" y="2229"/>
                  <a:pt x="2316" y="2229"/>
                </a:cubicBezTo>
                <a:cubicBezTo>
                  <a:pt x="2317" y="2234"/>
                  <a:pt x="2317" y="2238"/>
                  <a:pt x="2313" y="2241"/>
                </a:cubicBezTo>
                <a:close/>
                <a:moveTo>
                  <a:pt x="2297" y="2312"/>
                </a:moveTo>
                <a:cubicBezTo>
                  <a:pt x="2300" y="2315"/>
                  <a:pt x="2302" y="2319"/>
                  <a:pt x="2298" y="2322"/>
                </a:cubicBezTo>
                <a:cubicBezTo>
                  <a:pt x="2295" y="2324"/>
                  <a:pt x="2292" y="2326"/>
                  <a:pt x="2289" y="2325"/>
                </a:cubicBezTo>
                <a:cubicBezTo>
                  <a:pt x="2283" y="2324"/>
                  <a:pt x="2285" y="2319"/>
                  <a:pt x="2285" y="2315"/>
                </a:cubicBezTo>
                <a:cubicBezTo>
                  <a:pt x="2283" y="2293"/>
                  <a:pt x="2288" y="2286"/>
                  <a:pt x="2305" y="2289"/>
                </a:cubicBezTo>
                <a:cubicBezTo>
                  <a:pt x="2305" y="2293"/>
                  <a:pt x="2305" y="2297"/>
                  <a:pt x="2305" y="2300"/>
                </a:cubicBezTo>
                <a:cubicBezTo>
                  <a:pt x="2301" y="2303"/>
                  <a:pt x="2281" y="2295"/>
                  <a:pt x="2297" y="2312"/>
                </a:cubicBezTo>
                <a:close/>
                <a:moveTo>
                  <a:pt x="2413" y="2317"/>
                </a:moveTo>
                <a:cubicBezTo>
                  <a:pt x="2416" y="2317"/>
                  <a:pt x="2419" y="2317"/>
                  <a:pt x="2423" y="2318"/>
                </a:cubicBezTo>
                <a:cubicBezTo>
                  <a:pt x="2423" y="2320"/>
                  <a:pt x="2423" y="2322"/>
                  <a:pt x="2423" y="2324"/>
                </a:cubicBezTo>
                <a:cubicBezTo>
                  <a:pt x="2423" y="2322"/>
                  <a:pt x="2423" y="2320"/>
                  <a:pt x="2423" y="2318"/>
                </a:cubicBezTo>
                <a:cubicBezTo>
                  <a:pt x="2419" y="2317"/>
                  <a:pt x="2416" y="2317"/>
                  <a:pt x="2413" y="2317"/>
                </a:cubicBezTo>
                <a:close/>
                <a:moveTo>
                  <a:pt x="2420" y="2388"/>
                </a:moveTo>
                <a:cubicBezTo>
                  <a:pt x="2422" y="2389"/>
                  <a:pt x="2423" y="2390"/>
                  <a:pt x="2425" y="2390"/>
                </a:cubicBezTo>
                <a:cubicBezTo>
                  <a:pt x="2423" y="2390"/>
                  <a:pt x="2422" y="2389"/>
                  <a:pt x="2420" y="2388"/>
                </a:cubicBezTo>
                <a:close/>
                <a:moveTo>
                  <a:pt x="2424" y="2412"/>
                </a:moveTo>
                <a:cubicBezTo>
                  <a:pt x="2424" y="2412"/>
                  <a:pt x="2424" y="2412"/>
                  <a:pt x="2424" y="2412"/>
                </a:cubicBezTo>
                <a:cubicBezTo>
                  <a:pt x="2464" y="2412"/>
                  <a:pt x="2503" y="2412"/>
                  <a:pt x="2543" y="2412"/>
                </a:cubicBezTo>
                <a:cubicBezTo>
                  <a:pt x="2503" y="2412"/>
                  <a:pt x="2464" y="2412"/>
                  <a:pt x="2424" y="2412"/>
                </a:cubicBezTo>
                <a:close/>
                <a:moveTo>
                  <a:pt x="2452" y="2390"/>
                </a:moveTo>
                <a:cubicBezTo>
                  <a:pt x="2453" y="2390"/>
                  <a:pt x="2455" y="2390"/>
                  <a:pt x="2457" y="2389"/>
                </a:cubicBezTo>
                <a:cubicBezTo>
                  <a:pt x="2455" y="2390"/>
                  <a:pt x="2453" y="2390"/>
                  <a:pt x="2452" y="2390"/>
                </a:cubicBezTo>
                <a:cubicBezTo>
                  <a:pt x="2435" y="2385"/>
                  <a:pt x="2441" y="2374"/>
                  <a:pt x="2441" y="2363"/>
                </a:cubicBezTo>
                <a:cubicBezTo>
                  <a:pt x="2441" y="2374"/>
                  <a:pt x="2435" y="2385"/>
                  <a:pt x="2452" y="2390"/>
                </a:cubicBezTo>
                <a:close/>
                <a:moveTo>
                  <a:pt x="2445" y="2406"/>
                </a:moveTo>
                <a:cubicBezTo>
                  <a:pt x="2467" y="2413"/>
                  <a:pt x="2489" y="2404"/>
                  <a:pt x="2511" y="2400"/>
                </a:cubicBezTo>
                <a:cubicBezTo>
                  <a:pt x="2489" y="2404"/>
                  <a:pt x="2467" y="2413"/>
                  <a:pt x="2445" y="2406"/>
                </a:cubicBezTo>
                <a:cubicBezTo>
                  <a:pt x="2443" y="2408"/>
                  <a:pt x="2440" y="2408"/>
                  <a:pt x="2437" y="2408"/>
                </a:cubicBezTo>
                <a:cubicBezTo>
                  <a:pt x="2440" y="2408"/>
                  <a:pt x="2443" y="2408"/>
                  <a:pt x="2445" y="2406"/>
                </a:cubicBezTo>
                <a:close/>
                <a:moveTo>
                  <a:pt x="2522" y="2381"/>
                </a:moveTo>
                <a:cubicBezTo>
                  <a:pt x="2526" y="2381"/>
                  <a:pt x="2532" y="2380"/>
                  <a:pt x="2540" y="2380"/>
                </a:cubicBezTo>
                <a:cubicBezTo>
                  <a:pt x="2540" y="2378"/>
                  <a:pt x="2541" y="2375"/>
                  <a:pt x="2541" y="2373"/>
                </a:cubicBezTo>
                <a:cubicBezTo>
                  <a:pt x="2541" y="2375"/>
                  <a:pt x="2540" y="2378"/>
                  <a:pt x="2540" y="2380"/>
                </a:cubicBezTo>
                <a:cubicBezTo>
                  <a:pt x="2532" y="2380"/>
                  <a:pt x="2526" y="2381"/>
                  <a:pt x="2522" y="2381"/>
                </a:cubicBezTo>
                <a:close/>
                <a:moveTo>
                  <a:pt x="2541" y="2373"/>
                </a:moveTo>
                <a:cubicBezTo>
                  <a:pt x="2543" y="2370"/>
                  <a:pt x="2544" y="2368"/>
                  <a:pt x="2547" y="2366"/>
                </a:cubicBezTo>
                <a:cubicBezTo>
                  <a:pt x="2544" y="2368"/>
                  <a:pt x="2543" y="2370"/>
                  <a:pt x="2541" y="2373"/>
                </a:cubicBezTo>
                <a:close/>
                <a:moveTo>
                  <a:pt x="2570" y="2258"/>
                </a:moveTo>
                <a:cubicBezTo>
                  <a:pt x="2561" y="2263"/>
                  <a:pt x="2554" y="2260"/>
                  <a:pt x="2545" y="2253"/>
                </a:cubicBezTo>
                <a:cubicBezTo>
                  <a:pt x="2548" y="2252"/>
                  <a:pt x="2549" y="2250"/>
                  <a:pt x="2550" y="2251"/>
                </a:cubicBezTo>
                <a:cubicBezTo>
                  <a:pt x="2557" y="2255"/>
                  <a:pt x="2565" y="2244"/>
                  <a:pt x="2571" y="2253"/>
                </a:cubicBezTo>
                <a:cubicBezTo>
                  <a:pt x="2572" y="2254"/>
                  <a:pt x="2571" y="2258"/>
                  <a:pt x="2570" y="2258"/>
                </a:cubicBezTo>
                <a:close/>
                <a:moveTo>
                  <a:pt x="2574" y="2396"/>
                </a:moveTo>
                <a:cubicBezTo>
                  <a:pt x="2577" y="2395"/>
                  <a:pt x="2579" y="2394"/>
                  <a:pt x="2581" y="2393"/>
                </a:cubicBezTo>
                <a:cubicBezTo>
                  <a:pt x="2581" y="2390"/>
                  <a:pt x="2581" y="2387"/>
                  <a:pt x="2581" y="2385"/>
                </a:cubicBezTo>
                <a:cubicBezTo>
                  <a:pt x="2581" y="2387"/>
                  <a:pt x="2581" y="2390"/>
                  <a:pt x="2581" y="2393"/>
                </a:cubicBezTo>
                <a:cubicBezTo>
                  <a:pt x="2579" y="2394"/>
                  <a:pt x="2577" y="2395"/>
                  <a:pt x="2574" y="2396"/>
                </a:cubicBezTo>
                <a:close/>
                <a:moveTo>
                  <a:pt x="2617" y="2393"/>
                </a:moveTo>
                <a:cubicBezTo>
                  <a:pt x="2613" y="2393"/>
                  <a:pt x="2609" y="2393"/>
                  <a:pt x="2605" y="2393"/>
                </a:cubicBezTo>
                <a:cubicBezTo>
                  <a:pt x="2609" y="2393"/>
                  <a:pt x="2613" y="2393"/>
                  <a:pt x="2617" y="2393"/>
                </a:cubicBezTo>
                <a:close/>
                <a:moveTo>
                  <a:pt x="2661" y="2285"/>
                </a:moveTo>
                <a:cubicBezTo>
                  <a:pt x="2658" y="2286"/>
                  <a:pt x="2655" y="2287"/>
                  <a:pt x="2653" y="2287"/>
                </a:cubicBezTo>
                <a:cubicBezTo>
                  <a:pt x="2655" y="2287"/>
                  <a:pt x="2658" y="2286"/>
                  <a:pt x="2661" y="2285"/>
                </a:cubicBezTo>
                <a:cubicBezTo>
                  <a:pt x="2664" y="2287"/>
                  <a:pt x="2666" y="2290"/>
                  <a:pt x="2669" y="2292"/>
                </a:cubicBezTo>
                <a:cubicBezTo>
                  <a:pt x="2666" y="2290"/>
                  <a:pt x="2664" y="2287"/>
                  <a:pt x="2661" y="2285"/>
                </a:cubicBezTo>
                <a:close/>
                <a:moveTo>
                  <a:pt x="2714" y="2297"/>
                </a:moveTo>
                <a:cubicBezTo>
                  <a:pt x="2714" y="2298"/>
                  <a:pt x="2714" y="2299"/>
                  <a:pt x="2714" y="2301"/>
                </a:cubicBezTo>
                <a:cubicBezTo>
                  <a:pt x="2714" y="2299"/>
                  <a:pt x="2714" y="2298"/>
                  <a:pt x="2714" y="2297"/>
                </a:cubicBezTo>
                <a:cubicBezTo>
                  <a:pt x="2716" y="2296"/>
                  <a:pt x="2718" y="2297"/>
                  <a:pt x="2720" y="2296"/>
                </a:cubicBezTo>
                <a:cubicBezTo>
                  <a:pt x="2718" y="2297"/>
                  <a:pt x="2716" y="2296"/>
                  <a:pt x="2714" y="2297"/>
                </a:cubicBezTo>
                <a:close/>
                <a:moveTo>
                  <a:pt x="2749" y="2480"/>
                </a:moveTo>
                <a:cubicBezTo>
                  <a:pt x="2743" y="2480"/>
                  <a:pt x="2738" y="2480"/>
                  <a:pt x="2733" y="2480"/>
                </a:cubicBezTo>
                <a:cubicBezTo>
                  <a:pt x="2738" y="2480"/>
                  <a:pt x="2743" y="2480"/>
                  <a:pt x="2749" y="2480"/>
                </a:cubicBezTo>
                <a:cubicBezTo>
                  <a:pt x="2749" y="2477"/>
                  <a:pt x="2750" y="2475"/>
                  <a:pt x="2752" y="2474"/>
                </a:cubicBezTo>
                <a:cubicBezTo>
                  <a:pt x="2750" y="2475"/>
                  <a:pt x="2749" y="2477"/>
                  <a:pt x="2749" y="2480"/>
                </a:cubicBezTo>
                <a:close/>
                <a:moveTo>
                  <a:pt x="2744" y="2443"/>
                </a:moveTo>
                <a:cubicBezTo>
                  <a:pt x="2750" y="2440"/>
                  <a:pt x="2755" y="2435"/>
                  <a:pt x="2761" y="2431"/>
                </a:cubicBezTo>
                <a:cubicBezTo>
                  <a:pt x="2761" y="2431"/>
                  <a:pt x="2761" y="2431"/>
                  <a:pt x="2761" y="2431"/>
                </a:cubicBezTo>
                <a:cubicBezTo>
                  <a:pt x="2755" y="2435"/>
                  <a:pt x="2750" y="2440"/>
                  <a:pt x="2744" y="2443"/>
                </a:cubicBezTo>
                <a:close/>
                <a:moveTo>
                  <a:pt x="2785" y="2392"/>
                </a:moveTo>
                <a:cubicBezTo>
                  <a:pt x="2781" y="2398"/>
                  <a:pt x="2777" y="2401"/>
                  <a:pt x="2772" y="2403"/>
                </a:cubicBezTo>
                <a:cubicBezTo>
                  <a:pt x="2777" y="2401"/>
                  <a:pt x="2781" y="2398"/>
                  <a:pt x="2785" y="2392"/>
                </a:cubicBezTo>
                <a:cubicBezTo>
                  <a:pt x="2785" y="2392"/>
                  <a:pt x="2785" y="2392"/>
                  <a:pt x="2785" y="2392"/>
                </a:cubicBezTo>
                <a:close/>
                <a:moveTo>
                  <a:pt x="2789" y="2429"/>
                </a:moveTo>
                <a:cubicBezTo>
                  <a:pt x="2788" y="2430"/>
                  <a:pt x="2788" y="2430"/>
                  <a:pt x="2787" y="2430"/>
                </a:cubicBezTo>
                <a:cubicBezTo>
                  <a:pt x="2788" y="2430"/>
                  <a:pt x="2788" y="2430"/>
                  <a:pt x="2789" y="2429"/>
                </a:cubicBezTo>
                <a:cubicBezTo>
                  <a:pt x="2793" y="2428"/>
                  <a:pt x="2797" y="2428"/>
                  <a:pt x="2802" y="2427"/>
                </a:cubicBezTo>
                <a:cubicBezTo>
                  <a:pt x="2797" y="2428"/>
                  <a:pt x="2793" y="2428"/>
                  <a:pt x="2789" y="2429"/>
                </a:cubicBezTo>
                <a:close/>
                <a:moveTo>
                  <a:pt x="2825" y="2206"/>
                </a:moveTo>
                <a:cubicBezTo>
                  <a:pt x="2818" y="2209"/>
                  <a:pt x="2815" y="2202"/>
                  <a:pt x="2810" y="2200"/>
                </a:cubicBezTo>
                <a:cubicBezTo>
                  <a:pt x="2815" y="2202"/>
                  <a:pt x="2818" y="2209"/>
                  <a:pt x="2825" y="2206"/>
                </a:cubicBezTo>
                <a:cubicBezTo>
                  <a:pt x="2824" y="2207"/>
                  <a:pt x="2825" y="2208"/>
                  <a:pt x="2825" y="2209"/>
                </a:cubicBezTo>
                <a:cubicBezTo>
                  <a:pt x="2825" y="2208"/>
                  <a:pt x="2824" y="2207"/>
                  <a:pt x="2825" y="2206"/>
                </a:cubicBezTo>
                <a:close/>
                <a:moveTo>
                  <a:pt x="2821" y="2141"/>
                </a:moveTo>
                <a:cubicBezTo>
                  <a:pt x="2818" y="2138"/>
                  <a:pt x="2815" y="2136"/>
                  <a:pt x="2813" y="2133"/>
                </a:cubicBezTo>
                <a:cubicBezTo>
                  <a:pt x="2815" y="2136"/>
                  <a:pt x="2818" y="2138"/>
                  <a:pt x="2821" y="2141"/>
                </a:cubicBezTo>
                <a:cubicBezTo>
                  <a:pt x="2824" y="2146"/>
                  <a:pt x="2828" y="2150"/>
                  <a:pt x="2832" y="2154"/>
                </a:cubicBezTo>
                <a:cubicBezTo>
                  <a:pt x="2828" y="2150"/>
                  <a:pt x="2824" y="2146"/>
                  <a:pt x="2821" y="2141"/>
                </a:cubicBezTo>
                <a:close/>
                <a:moveTo>
                  <a:pt x="2839" y="2476"/>
                </a:moveTo>
                <a:cubicBezTo>
                  <a:pt x="2868" y="2470"/>
                  <a:pt x="2896" y="2457"/>
                  <a:pt x="2921" y="2440"/>
                </a:cubicBezTo>
                <a:cubicBezTo>
                  <a:pt x="2921" y="2440"/>
                  <a:pt x="2921" y="2440"/>
                  <a:pt x="2921" y="2440"/>
                </a:cubicBezTo>
                <a:cubicBezTo>
                  <a:pt x="2896" y="2457"/>
                  <a:pt x="2868" y="2470"/>
                  <a:pt x="2839" y="2476"/>
                </a:cubicBezTo>
                <a:close/>
                <a:moveTo>
                  <a:pt x="2866" y="2453"/>
                </a:moveTo>
                <a:cubicBezTo>
                  <a:pt x="2873" y="2453"/>
                  <a:pt x="2879" y="2451"/>
                  <a:pt x="2881" y="2441"/>
                </a:cubicBezTo>
                <a:cubicBezTo>
                  <a:pt x="2889" y="2441"/>
                  <a:pt x="2897" y="2440"/>
                  <a:pt x="2905" y="2440"/>
                </a:cubicBezTo>
                <a:cubicBezTo>
                  <a:pt x="2897" y="2440"/>
                  <a:pt x="2889" y="2441"/>
                  <a:pt x="2881" y="2441"/>
                </a:cubicBezTo>
                <a:cubicBezTo>
                  <a:pt x="2879" y="2451"/>
                  <a:pt x="2873" y="2453"/>
                  <a:pt x="2866" y="2453"/>
                </a:cubicBezTo>
                <a:close/>
                <a:moveTo>
                  <a:pt x="2994" y="2312"/>
                </a:moveTo>
                <a:cubicBezTo>
                  <a:pt x="2993" y="2313"/>
                  <a:pt x="2993" y="2313"/>
                  <a:pt x="2993" y="2313"/>
                </a:cubicBezTo>
                <a:cubicBezTo>
                  <a:pt x="2993" y="2312"/>
                  <a:pt x="2994" y="2312"/>
                  <a:pt x="2994" y="2312"/>
                </a:cubicBezTo>
                <a:close/>
                <a:moveTo>
                  <a:pt x="2997" y="2429"/>
                </a:moveTo>
                <a:cubicBezTo>
                  <a:pt x="2992" y="2429"/>
                  <a:pt x="2986" y="2429"/>
                  <a:pt x="2981" y="2430"/>
                </a:cubicBezTo>
                <a:cubicBezTo>
                  <a:pt x="2978" y="2436"/>
                  <a:pt x="2974" y="2438"/>
                  <a:pt x="2969" y="2437"/>
                </a:cubicBezTo>
                <a:cubicBezTo>
                  <a:pt x="2974" y="2438"/>
                  <a:pt x="2978" y="2436"/>
                  <a:pt x="2981" y="2430"/>
                </a:cubicBezTo>
                <a:cubicBezTo>
                  <a:pt x="2986" y="2429"/>
                  <a:pt x="2992" y="2429"/>
                  <a:pt x="2997" y="2429"/>
                </a:cubicBezTo>
                <a:close/>
                <a:moveTo>
                  <a:pt x="2967" y="1993"/>
                </a:moveTo>
                <a:cubicBezTo>
                  <a:pt x="2968" y="1997"/>
                  <a:pt x="2968" y="2001"/>
                  <a:pt x="2969" y="2005"/>
                </a:cubicBezTo>
                <a:cubicBezTo>
                  <a:pt x="2968" y="2008"/>
                  <a:pt x="2970" y="2013"/>
                  <a:pt x="2966" y="2015"/>
                </a:cubicBezTo>
                <a:cubicBezTo>
                  <a:pt x="2963" y="2016"/>
                  <a:pt x="2961" y="2014"/>
                  <a:pt x="2961" y="2011"/>
                </a:cubicBezTo>
                <a:cubicBezTo>
                  <a:pt x="2959" y="2004"/>
                  <a:pt x="2958" y="1997"/>
                  <a:pt x="2967" y="1993"/>
                </a:cubicBezTo>
                <a:close/>
                <a:moveTo>
                  <a:pt x="2953" y="2029"/>
                </a:moveTo>
                <a:cubicBezTo>
                  <a:pt x="2953" y="2050"/>
                  <a:pt x="2967" y="2067"/>
                  <a:pt x="2969" y="2087"/>
                </a:cubicBezTo>
                <a:cubicBezTo>
                  <a:pt x="2973" y="2088"/>
                  <a:pt x="2977" y="2088"/>
                  <a:pt x="2981" y="2088"/>
                </a:cubicBezTo>
                <a:cubicBezTo>
                  <a:pt x="2984" y="2101"/>
                  <a:pt x="2981" y="2110"/>
                  <a:pt x="2967" y="2112"/>
                </a:cubicBezTo>
                <a:cubicBezTo>
                  <a:pt x="2971" y="2108"/>
                  <a:pt x="2966" y="2105"/>
                  <a:pt x="2965" y="2101"/>
                </a:cubicBezTo>
                <a:cubicBezTo>
                  <a:pt x="2964" y="2100"/>
                  <a:pt x="2963" y="2100"/>
                  <a:pt x="2961" y="2100"/>
                </a:cubicBezTo>
                <a:cubicBezTo>
                  <a:pt x="2960" y="2099"/>
                  <a:pt x="2959" y="2097"/>
                  <a:pt x="2958" y="2096"/>
                </a:cubicBezTo>
                <a:cubicBezTo>
                  <a:pt x="2953" y="2088"/>
                  <a:pt x="2941" y="2084"/>
                  <a:pt x="2941" y="2073"/>
                </a:cubicBezTo>
                <a:cubicBezTo>
                  <a:pt x="2949" y="2063"/>
                  <a:pt x="2940" y="2054"/>
                  <a:pt x="2938" y="2045"/>
                </a:cubicBezTo>
                <a:cubicBezTo>
                  <a:pt x="2937" y="2033"/>
                  <a:pt x="2940" y="2028"/>
                  <a:pt x="2953" y="2029"/>
                </a:cubicBezTo>
                <a:close/>
                <a:moveTo>
                  <a:pt x="2973" y="2292"/>
                </a:moveTo>
                <a:cubicBezTo>
                  <a:pt x="2973" y="2292"/>
                  <a:pt x="2973" y="2292"/>
                  <a:pt x="2973" y="2293"/>
                </a:cubicBezTo>
                <a:cubicBezTo>
                  <a:pt x="2973" y="2292"/>
                  <a:pt x="2973" y="2292"/>
                  <a:pt x="2973" y="2292"/>
                </a:cubicBezTo>
                <a:close/>
                <a:moveTo>
                  <a:pt x="2973" y="2141"/>
                </a:move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ubicBezTo>
                  <a:pt x="2973" y="2141"/>
                  <a:pt x="2973" y="2141"/>
                  <a:pt x="2973" y="2141"/>
                </a:cubicBezTo>
                <a:close/>
                <a:moveTo>
                  <a:pt x="2977" y="2296"/>
                </a:moveTo>
                <a:cubicBezTo>
                  <a:pt x="2975" y="2295"/>
                  <a:pt x="2974" y="2294"/>
                  <a:pt x="2972" y="2293"/>
                </a:cubicBezTo>
                <a:cubicBezTo>
                  <a:pt x="2971" y="2292"/>
                  <a:pt x="2970" y="2290"/>
                  <a:pt x="2969" y="2289"/>
                </a:cubicBezTo>
                <a:cubicBezTo>
                  <a:pt x="2970" y="2290"/>
                  <a:pt x="2971" y="2292"/>
                  <a:pt x="2972" y="2293"/>
                </a:cubicBezTo>
                <a:cubicBezTo>
                  <a:pt x="2974" y="2294"/>
                  <a:pt x="2975" y="2295"/>
                  <a:pt x="2977" y="2296"/>
                </a:cubicBezTo>
                <a:close/>
                <a:moveTo>
                  <a:pt x="2913" y="2069"/>
                </a:moveTo>
                <a:cubicBezTo>
                  <a:pt x="2929" y="2076"/>
                  <a:pt x="2936" y="2098"/>
                  <a:pt x="2957" y="2096"/>
                </a:cubicBezTo>
                <a:cubicBezTo>
                  <a:pt x="2957" y="2096"/>
                  <a:pt x="2957" y="2096"/>
                  <a:pt x="2957" y="2096"/>
                </a:cubicBezTo>
                <a:cubicBezTo>
                  <a:pt x="2936" y="2098"/>
                  <a:pt x="2929" y="2076"/>
                  <a:pt x="2913" y="2069"/>
                </a:cubicBezTo>
                <a:close/>
                <a:moveTo>
                  <a:pt x="2896" y="2264"/>
                </a:moveTo>
                <a:cubicBezTo>
                  <a:pt x="2896" y="2262"/>
                  <a:pt x="2896" y="2262"/>
                  <a:pt x="2896" y="2262"/>
                </a:cubicBezTo>
                <a:cubicBezTo>
                  <a:pt x="2896" y="2261"/>
                  <a:pt x="2896" y="2261"/>
                  <a:pt x="2896" y="2261"/>
                </a:cubicBezTo>
                <a:cubicBezTo>
                  <a:pt x="2893" y="2260"/>
                  <a:pt x="2894" y="2258"/>
                  <a:pt x="2895" y="2256"/>
                </a:cubicBezTo>
                <a:cubicBezTo>
                  <a:pt x="2894" y="2258"/>
                  <a:pt x="2893" y="2260"/>
                  <a:pt x="2896" y="2261"/>
                </a:cubicBezTo>
                <a:cubicBezTo>
                  <a:pt x="2896" y="2261"/>
                  <a:pt x="2896" y="2262"/>
                  <a:pt x="2896" y="2262"/>
                </a:cubicBezTo>
                <a:cubicBezTo>
                  <a:pt x="2896" y="2264"/>
                  <a:pt x="2896" y="2264"/>
                  <a:pt x="2896" y="2264"/>
                </a:cubicBezTo>
                <a:cubicBezTo>
                  <a:pt x="2896" y="2266"/>
                  <a:pt x="2896" y="2267"/>
                  <a:pt x="2896" y="2269"/>
                </a:cubicBezTo>
                <a:cubicBezTo>
                  <a:pt x="2891" y="2284"/>
                  <a:pt x="2894" y="2295"/>
                  <a:pt x="2902" y="2303"/>
                </a:cubicBezTo>
                <a:cubicBezTo>
                  <a:pt x="2894" y="2295"/>
                  <a:pt x="2891" y="2284"/>
                  <a:pt x="2896" y="2269"/>
                </a:cubicBezTo>
                <a:cubicBezTo>
                  <a:pt x="2896" y="2267"/>
                  <a:pt x="2896" y="2266"/>
                  <a:pt x="2896" y="2264"/>
                </a:cubicBezTo>
                <a:close/>
                <a:moveTo>
                  <a:pt x="2989" y="2405"/>
                </a:moveTo>
                <a:cubicBezTo>
                  <a:pt x="2989" y="2405"/>
                  <a:pt x="2989" y="2405"/>
                  <a:pt x="2989" y="2405"/>
                </a:cubicBezTo>
                <a:cubicBezTo>
                  <a:pt x="2953" y="2403"/>
                  <a:pt x="2917" y="2406"/>
                  <a:pt x="2881" y="2408"/>
                </a:cubicBezTo>
                <a:cubicBezTo>
                  <a:pt x="2917" y="2406"/>
                  <a:pt x="2953" y="2403"/>
                  <a:pt x="2989" y="2405"/>
                </a:cubicBezTo>
                <a:close/>
                <a:moveTo>
                  <a:pt x="2877" y="2026"/>
                </a:moveTo>
                <a:cubicBezTo>
                  <a:pt x="2878" y="2029"/>
                  <a:pt x="2879" y="2033"/>
                  <a:pt x="2881" y="2037"/>
                </a:cubicBezTo>
                <a:cubicBezTo>
                  <a:pt x="2879" y="2033"/>
                  <a:pt x="2878" y="2029"/>
                  <a:pt x="2877" y="2026"/>
                </a:cubicBezTo>
                <a:close/>
                <a:moveTo>
                  <a:pt x="2809" y="1967"/>
                </a:moveTo>
                <a:cubicBezTo>
                  <a:pt x="2813" y="1968"/>
                  <a:pt x="2816" y="1970"/>
                  <a:pt x="2817" y="1973"/>
                </a:cubicBezTo>
                <a:cubicBezTo>
                  <a:pt x="2816" y="1970"/>
                  <a:pt x="2813" y="1968"/>
                  <a:pt x="2809" y="1967"/>
                </a:cubicBezTo>
                <a:cubicBezTo>
                  <a:pt x="2808" y="1963"/>
                  <a:pt x="2806" y="1961"/>
                  <a:pt x="2802" y="1961"/>
                </a:cubicBezTo>
                <a:cubicBezTo>
                  <a:pt x="2806" y="1961"/>
                  <a:pt x="2808" y="1963"/>
                  <a:pt x="2809" y="1967"/>
                </a:cubicBezTo>
                <a:close/>
                <a:moveTo>
                  <a:pt x="2793" y="1951"/>
                </a:moveTo>
                <a:cubicBezTo>
                  <a:pt x="2795" y="1952"/>
                  <a:pt x="2798" y="1954"/>
                  <a:pt x="2800" y="1956"/>
                </a:cubicBezTo>
                <a:cubicBezTo>
                  <a:pt x="2798" y="1954"/>
                  <a:pt x="2795" y="1952"/>
                  <a:pt x="2793" y="1951"/>
                </a:cubicBezTo>
                <a:cubicBezTo>
                  <a:pt x="2792" y="1950"/>
                  <a:pt x="2791" y="1949"/>
                  <a:pt x="2790" y="1949"/>
                </a:cubicBezTo>
                <a:cubicBezTo>
                  <a:pt x="2791" y="1949"/>
                  <a:pt x="2792" y="1950"/>
                  <a:pt x="2793" y="1951"/>
                </a:cubicBezTo>
                <a:close/>
                <a:moveTo>
                  <a:pt x="2773" y="1937"/>
                </a:moveTo>
                <a:cubicBezTo>
                  <a:pt x="2773" y="1937"/>
                  <a:pt x="2773" y="1937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ubicBezTo>
                  <a:pt x="2774" y="1938"/>
                  <a:pt x="2775" y="1939"/>
                  <a:pt x="2777" y="1941"/>
                </a:cubicBezTo>
                <a:cubicBezTo>
                  <a:pt x="2775" y="1939"/>
                  <a:pt x="2774" y="1938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ubicBezTo>
                  <a:pt x="2773" y="1937"/>
                  <a:pt x="2773" y="1937"/>
                  <a:pt x="2773" y="1937"/>
                </a:cubicBezTo>
                <a:close/>
                <a:moveTo>
                  <a:pt x="2816" y="1992"/>
                </a:moveTo>
                <a:cubicBezTo>
                  <a:pt x="2824" y="2000"/>
                  <a:pt x="2833" y="2008"/>
                  <a:pt x="2841" y="2016"/>
                </a:cubicBezTo>
                <a:cubicBezTo>
                  <a:pt x="2849" y="2026"/>
                  <a:pt x="2859" y="2034"/>
                  <a:pt x="2869" y="2041"/>
                </a:cubicBezTo>
                <a:cubicBezTo>
                  <a:pt x="2859" y="2034"/>
                  <a:pt x="2849" y="2026"/>
                  <a:pt x="2841" y="2016"/>
                </a:cubicBezTo>
                <a:cubicBezTo>
                  <a:pt x="2840" y="2023"/>
                  <a:pt x="2837" y="2027"/>
                  <a:pt x="2832" y="2030"/>
                </a:cubicBezTo>
                <a:cubicBezTo>
                  <a:pt x="2837" y="2027"/>
                  <a:pt x="2840" y="2023"/>
                  <a:pt x="2841" y="2016"/>
                </a:cubicBezTo>
                <a:cubicBezTo>
                  <a:pt x="2833" y="2008"/>
                  <a:pt x="2824" y="2000"/>
                  <a:pt x="2816" y="1992"/>
                </a:cubicBezTo>
                <a:cubicBezTo>
                  <a:pt x="2801" y="1980"/>
                  <a:pt x="2786" y="1966"/>
                  <a:pt x="2771" y="1954"/>
                </a:cubicBezTo>
                <a:cubicBezTo>
                  <a:pt x="2786" y="1966"/>
                  <a:pt x="2801" y="1980"/>
                  <a:pt x="2816" y="1992"/>
                </a:cubicBezTo>
                <a:close/>
                <a:moveTo>
                  <a:pt x="2812" y="2131"/>
                </a:moveTo>
                <a:cubicBezTo>
                  <a:pt x="2811" y="2130"/>
                  <a:pt x="2810" y="2129"/>
                  <a:pt x="2809" y="2129"/>
                </a:cubicBezTo>
                <a:cubicBezTo>
                  <a:pt x="2809" y="2125"/>
                  <a:pt x="2807" y="2123"/>
                  <a:pt x="2804" y="2121"/>
                </a:cubicBezTo>
                <a:cubicBezTo>
                  <a:pt x="2807" y="2123"/>
                  <a:pt x="2809" y="2125"/>
                  <a:pt x="2809" y="2129"/>
                </a:cubicBezTo>
                <a:cubicBezTo>
                  <a:pt x="2810" y="2129"/>
                  <a:pt x="2811" y="2130"/>
                  <a:pt x="2812" y="2131"/>
                </a:cubicBezTo>
                <a:close/>
                <a:moveTo>
                  <a:pt x="2797" y="2117"/>
                </a:moveTo>
                <a:cubicBezTo>
                  <a:pt x="2796" y="2115"/>
                  <a:pt x="2794" y="2114"/>
                  <a:pt x="2793" y="2113"/>
                </a:cubicBezTo>
                <a:cubicBezTo>
                  <a:pt x="2792" y="2112"/>
                  <a:pt x="2792" y="2112"/>
                  <a:pt x="2791" y="2112"/>
                </a:cubicBezTo>
                <a:cubicBezTo>
                  <a:pt x="2792" y="2112"/>
                  <a:pt x="2792" y="2112"/>
                  <a:pt x="2793" y="2113"/>
                </a:cubicBezTo>
                <a:cubicBezTo>
                  <a:pt x="2794" y="2114"/>
                  <a:pt x="2796" y="2115"/>
                  <a:pt x="2797" y="2117"/>
                </a:cubicBezTo>
                <a:close/>
                <a:moveTo>
                  <a:pt x="2741" y="1907"/>
                </a:moveTo>
                <a:cubicBezTo>
                  <a:pt x="2746" y="1908"/>
                  <a:pt x="2751" y="1909"/>
                  <a:pt x="2757" y="1909"/>
                </a:cubicBezTo>
                <a:cubicBezTo>
                  <a:pt x="2757" y="1913"/>
                  <a:pt x="2757" y="1917"/>
                  <a:pt x="2757" y="1921"/>
                </a:cubicBezTo>
                <a:cubicBezTo>
                  <a:pt x="2757" y="1920"/>
                  <a:pt x="2757" y="1920"/>
                  <a:pt x="2757" y="1920"/>
                </a:cubicBezTo>
                <a:cubicBezTo>
                  <a:pt x="2757" y="1921"/>
                  <a:pt x="2757" y="1921"/>
                  <a:pt x="2757" y="1921"/>
                </a:cubicBezTo>
                <a:cubicBezTo>
                  <a:pt x="2757" y="1921"/>
                  <a:pt x="2757" y="1921"/>
                  <a:pt x="2757" y="1921"/>
                </a:cubicBezTo>
                <a:cubicBezTo>
                  <a:pt x="2758" y="1922"/>
                  <a:pt x="2760" y="1923"/>
                  <a:pt x="2761" y="1925"/>
                </a:cubicBezTo>
                <a:cubicBezTo>
                  <a:pt x="2762" y="1926"/>
                  <a:pt x="2764" y="1927"/>
                  <a:pt x="2765" y="1929"/>
                </a:cubicBezTo>
                <a:cubicBezTo>
                  <a:pt x="2765" y="1928"/>
                  <a:pt x="2765" y="1928"/>
                  <a:pt x="2765" y="1928"/>
                </a:cubicBezTo>
                <a:cubicBezTo>
                  <a:pt x="2765" y="1929"/>
                  <a:pt x="2765" y="1929"/>
                  <a:pt x="2765" y="1929"/>
                </a:cubicBezTo>
                <a:cubicBezTo>
                  <a:pt x="2765" y="1929"/>
                  <a:pt x="2765" y="1929"/>
                  <a:pt x="2765" y="1929"/>
                </a:cubicBezTo>
                <a:cubicBezTo>
                  <a:pt x="2766" y="1930"/>
                  <a:pt x="2768" y="1931"/>
                  <a:pt x="2769" y="1933"/>
                </a:cubicBezTo>
                <a:cubicBezTo>
                  <a:pt x="2769" y="1933"/>
                  <a:pt x="2769" y="1933"/>
                  <a:pt x="2769" y="1933"/>
                </a:cubicBezTo>
                <a:cubicBezTo>
                  <a:pt x="2767" y="1932"/>
                  <a:pt x="2765" y="1931"/>
                  <a:pt x="2765" y="1929"/>
                </a:cubicBezTo>
                <a:cubicBezTo>
                  <a:pt x="2762" y="1929"/>
                  <a:pt x="2760" y="1928"/>
                  <a:pt x="2761" y="1925"/>
                </a:cubicBezTo>
                <a:cubicBezTo>
                  <a:pt x="2757" y="1925"/>
                  <a:pt x="2756" y="1924"/>
                  <a:pt x="2757" y="1921"/>
                </a:cubicBezTo>
                <a:cubicBezTo>
                  <a:pt x="2749" y="1919"/>
                  <a:pt x="2743" y="1915"/>
                  <a:pt x="2741" y="1907"/>
                </a:cubicBezTo>
                <a:cubicBezTo>
                  <a:pt x="2730" y="1901"/>
                  <a:pt x="2723" y="1892"/>
                  <a:pt x="2714" y="1884"/>
                </a:cubicBezTo>
                <a:cubicBezTo>
                  <a:pt x="2723" y="1892"/>
                  <a:pt x="2730" y="1901"/>
                  <a:pt x="2741" y="1907"/>
                </a:cubicBezTo>
                <a:close/>
                <a:moveTo>
                  <a:pt x="2713" y="2087"/>
                </a:moveTo>
                <a:cubicBezTo>
                  <a:pt x="2713" y="2087"/>
                  <a:pt x="2713" y="2087"/>
                  <a:pt x="2713" y="2087"/>
                </a:cubicBezTo>
                <a:cubicBezTo>
                  <a:pt x="2712" y="2088"/>
                  <a:pt x="2711" y="2088"/>
                  <a:pt x="2711" y="2089"/>
                </a:cubicBezTo>
                <a:cubicBezTo>
                  <a:pt x="2711" y="2088"/>
                  <a:pt x="2712" y="2088"/>
                  <a:pt x="2713" y="2087"/>
                </a:cubicBezTo>
                <a:close/>
                <a:moveTo>
                  <a:pt x="2700" y="1872"/>
                </a:moveTo>
                <a:cubicBezTo>
                  <a:pt x="2688" y="1874"/>
                  <a:pt x="2682" y="1868"/>
                  <a:pt x="2681" y="1856"/>
                </a:cubicBezTo>
                <a:cubicBezTo>
                  <a:pt x="2687" y="1862"/>
                  <a:pt x="2704" y="1855"/>
                  <a:pt x="2700" y="1872"/>
                </a:cubicBezTo>
                <a:close/>
                <a:moveTo>
                  <a:pt x="2673" y="1852"/>
                </a:moveTo>
                <a:cubicBezTo>
                  <a:pt x="2678" y="1848"/>
                  <a:pt x="2680" y="1852"/>
                  <a:pt x="2681" y="1856"/>
                </a:cubicBezTo>
                <a:cubicBezTo>
                  <a:pt x="2676" y="1859"/>
                  <a:pt x="2674" y="1857"/>
                  <a:pt x="2673" y="1852"/>
                </a:cubicBezTo>
                <a:cubicBezTo>
                  <a:pt x="2670" y="1853"/>
                  <a:pt x="2669" y="1851"/>
                  <a:pt x="2669" y="1848"/>
                </a:cubicBezTo>
                <a:cubicBezTo>
                  <a:pt x="2673" y="1847"/>
                  <a:pt x="2675" y="1847"/>
                  <a:pt x="2673" y="1852"/>
                </a:cubicBezTo>
                <a:close/>
                <a:moveTo>
                  <a:pt x="2609" y="1821"/>
                </a:moveTo>
                <a:cubicBezTo>
                  <a:pt x="2608" y="1822"/>
                  <a:pt x="2607" y="1822"/>
                  <a:pt x="2607" y="1823"/>
                </a:cubicBezTo>
                <a:cubicBezTo>
                  <a:pt x="2607" y="1822"/>
                  <a:pt x="2608" y="1822"/>
                  <a:pt x="2609" y="1821"/>
                </a:cubicBezTo>
                <a:cubicBezTo>
                  <a:pt x="2607" y="1818"/>
                  <a:pt x="2606" y="1817"/>
                  <a:pt x="2603" y="1817"/>
                </a:cubicBezTo>
                <a:cubicBezTo>
                  <a:pt x="2606" y="1817"/>
                  <a:pt x="2607" y="1818"/>
                  <a:pt x="2609" y="1821"/>
                </a:cubicBezTo>
                <a:close/>
                <a:moveTo>
                  <a:pt x="2566" y="1780"/>
                </a:moveTo>
                <a:cubicBezTo>
                  <a:pt x="2563" y="1780"/>
                  <a:pt x="2561" y="1780"/>
                  <a:pt x="2559" y="1779"/>
                </a:cubicBezTo>
                <a:cubicBezTo>
                  <a:pt x="2561" y="1780"/>
                  <a:pt x="2563" y="1780"/>
                  <a:pt x="2566" y="1780"/>
                </a:cubicBezTo>
                <a:close/>
                <a:moveTo>
                  <a:pt x="2566" y="1791"/>
                </a:moveTo>
                <a:cubicBezTo>
                  <a:pt x="2573" y="1797"/>
                  <a:pt x="2581" y="1803"/>
                  <a:pt x="2589" y="1809"/>
                </a:cubicBezTo>
                <a:cubicBezTo>
                  <a:pt x="2581" y="1803"/>
                  <a:pt x="2573" y="1797"/>
                  <a:pt x="2566" y="1791"/>
                </a:cubicBezTo>
                <a:cubicBezTo>
                  <a:pt x="2562" y="1789"/>
                  <a:pt x="2558" y="1786"/>
                  <a:pt x="2554" y="1783"/>
                </a:cubicBezTo>
                <a:cubicBezTo>
                  <a:pt x="2558" y="1786"/>
                  <a:pt x="2562" y="1789"/>
                  <a:pt x="2566" y="1791"/>
                </a:cubicBezTo>
                <a:close/>
                <a:moveTo>
                  <a:pt x="2566" y="1939"/>
                </a:moveTo>
                <a:cubicBezTo>
                  <a:pt x="2565" y="1938"/>
                  <a:pt x="2564" y="1938"/>
                  <a:pt x="2563" y="1937"/>
                </a:cubicBezTo>
                <a:cubicBezTo>
                  <a:pt x="2563" y="1937"/>
                  <a:pt x="2563" y="1937"/>
                  <a:pt x="2563" y="1937"/>
                </a:cubicBezTo>
                <a:cubicBezTo>
                  <a:pt x="2564" y="1938"/>
                  <a:pt x="2565" y="1938"/>
                  <a:pt x="2566" y="1939"/>
                </a:cubicBezTo>
                <a:close/>
                <a:moveTo>
                  <a:pt x="2529" y="1727"/>
                </a:moveTo>
                <a:cubicBezTo>
                  <a:pt x="2530" y="1729"/>
                  <a:pt x="2532" y="1731"/>
                  <a:pt x="2533" y="1732"/>
                </a:cubicBezTo>
                <a:cubicBezTo>
                  <a:pt x="2529" y="1733"/>
                  <a:pt x="2528" y="1731"/>
                  <a:pt x="2529" y="1727"/>
                </a:cubicBezTo>
                <a:cubicBezTo>
                  <a:pt x="2528" y="1725"/>
                  <a:pt x="2526" y="1724"/>
                  <a:pt x="2525" y="1723"/>
                </a:cubicBezTo>
                <a:cubicBezTo>
                  <a:pt x="2526" y="1724"/>
                  <a:pt x="2528" y="1725"/>
                  <a:pt x="2529" y="1727"/>
                </a:cubicBezTo>
                <a:close/>
                <a:moveTo>
                  <a:pt x="2525" y="1913"/>
                </a:moveTo>
                <a:cubicBezTo>
                  <a:pt x="2525" y="1913"/>
                  <a:pt x="2525" y="1913"/>
                  <a:pt x="2525" y="1913"/>
                </a:cubicBezTo>
                <a:cubicBezTo>
                  <a:pt x="2525" y="1913"/>
                  <a:pt x="2525" y="1913"/>
                  <a:pt x="2525" y="1913"/>
                </a:cubicBezTo>
                <a:close/>
                <a:moveTo>
                  <a:pt x="2516" y="1702"/>
                </a:moveTo>
                <a:cubicBezTo>
                  <a:pt x="2523" y="1701"/>
                  <a:pt x="2519" y="1706"/>
                  <a:pt x="2520" y="1709"/>
                </a:cubicBezTo>
                <a:cubicBezTo>
                  <a:pt x="2532" y="1713"/>
                  <a:pt x="2512" y="1717"/>
                  <a:pt x="2520" y="1721"/>
                </a:cubicBezTo>
                <a:cubicBezTo>
                  <a:pt x="2514" y="1724"/>
                  <a:pt x="2507" y="1730"/>
                  <a:pt x="2500" y="1722"/>
                </a:cubicBezTo>
                <a:cubicBezTo>
                  <a:pt x="2496" y="1718"/>
                  <a:pt x="2500" y="1711"/>
                  <a:pt x="2495" y="1708"/>
                </a:cubicBezTo>
                <a:cubicBezTo>
                  <a:pt x="2499" y="1697"/>
                  <a:pt x="2506" y="1694"/>
                  <a:pt x="2516" y="1702"/>
                </a:cubicBezTo>
                <a:close/>
                <a:moveTo>
                  <a:pt x="2413" y="1629"/>
                </a:moveTo>
                <a:cubicBezTo>
                  <a:pt x="2415" y="1629"/>
                  <a:pt x="2416" y="1629"/>
                  <a:pt x="2417" y="1628"/>
                </a:cubicBezTo>
                <a:cubicBezTo>
                  <a:pt x="2422" y="1628"/>
                  <a:pt x="2423" y="1621"/>
                  <a:pt x="2429" y="1622"/>
                </a:cubicBezTo>
                <a:cubicBezTo>
                  <a:pt x="2427" y="1629"/>
                  <a:pt x="2430" y="1632"/>
                  <a:pt x="2437" y="1633"/>
                </a:cubicBezTo>
                <a:cubicBezTo>
                  <a:pt x="2438" y="1638"/>
                  <a:pt x="2441" y="1644"/>
                  <a:pt x="2434" y="1648"/>
                </a:cubicBezTo>
                <a:cubicBezTo>
                  <a:pt x="2438" y="1652"/>
                  <a:pt x="2442" y="1656"/>
                  <a:pt x="2446" y="1659"/>
                </a:cubicBezTo>
                <a:cubicBezTo>
                  <a:pt x="2464" y="1666"/>
                  <a:pt x="2478" y="1678"/>
                  <a:pt x="2485" y="1696"/>
                </a:cubicBezTo>
                <a:cubicBezTo>
                  <a:pt x="2494" y="1695"/>
                  <a:pt x="2498" y="1697"/>
                  <a:pt x="2493" y="1707"/>
                </a:cubicBezTo>
                <a:cubicBezTo>
                  <a:pt x="2489" y="1704"/>
                  <a:pt x="2486" y="1701"/>
                  <a:pt x="2485" y="1696"/>
                </a:cubicBezTo>
                <a:cubicBezTo>
                  <a:pt x="2476" y="1696"/>
                  <a:pt x="2472" y="1688"/>
                  <a:pt x="2465" y="1685"/>
                </a:cubicBezTo>
                <a:cubicBezTo>
                  <a:pt x="2463" y="1687"/>
                  <a:pt x="2463" y="1688"/>
                  <a:pt x="2463" y="1690"/>
                </a:cubicBezTo>
                <a:cubicBezTo>
                  <a:pt x="2463" y="1688"/>
                  <a:pt x="2463" y="1687"/>
                  <a:pt x="2465" y="1685"/>
                </a:cubicBezTo>
                <a:cubicBezTo>
                  <a:pt x="2457" y="1678"/>
                  <a:pt x="2449" y="1671"/>
                  <a:pt x="2442" y="1664"/>
                </a:cubicBezTo>
                <a:cubicBezTo>
                  <a:pt x="2439" y="1662"/>
                  <a:pt x="2436" y="1660"/>
                  <a:pt x="2433" y="1659"/>
                </a:cubicBezTo>
                <a:cubicBezTo>
                  <a:pt x="2433" y="1658"/>
                  <a:pt x="2433" y="1657"/>
                  <a:pt x="2433" y="1656"/>
                </a:cubicBezTo>
                <a:cubicBezTo>
                  <a:pt x="2426" y="1653"/>
                  <a:pt x="2419" y="1651"/>
                  <a:pt x="2413" y="1649"/>
                </a:cubicBezTo>
                <a:cubicBezTo>
                  <a:pt x="2413" y="1649"/>
                  <a:pt x="2413" y="1649"/>
                  <a:pt x="2413" y="1649"/>
                </a:cubicBezTo>
                <a:cubicBezTo>
                  <a:pt x="2413" y="1649"/>
                  <a:pt x="2412" y="1650"/>
                  <a:pt x="2412" y="1650"/>
                </a:cubicBezTo>
                <a:cubicBezTo>
                  <a:pt x="2412" y="1650"/>
                  <a:pt x="2413" y="1649"/>
                  <a:pt x="2413" y="1649"/>
                </a:cubicBezTo>
                <a:cubicBezTo>
                  <a:pt x="2413" y="1649"/>
                  <a:pt x="2413" y="1649"/>
                  <a:pt x="2413" y="1649"/>
                </a:cubicBezTo>
                <a:cubicBezTo>
                  <a:pt x="2412" y="1643"/>
                  <a:pt x="2410" y="1638"/>
                  <a:pt x="2409" y="1632"/>
                </a:cubicBezTo>
                <a:cubicBezTo>
                  <a:pt x="2410" y="1631"/>
                  <a:pt x="2412" y="1630"/>
                  <a:pt x="2413" y="1629"/>
                </a:cubicBezTo>
                <a:close/>
                <a:moveTo>
                  <a:pt x="2465" y="1705"/>
                </a:moveTo>
                <a:cubicBezTo>
                  <a:pt x="2466" y="1705"/>
                  <a:pt x="2466" y="1705"/>
                  <a:pt x="2466" y="1705"/>
                </a:cubicBezTo>
                <a:cubicBezTo>
                  <a:pt x="2465" y="1705"/>
                  <a:pt x="2465" y="1705"/>
                  <a:pt x="2465" y="1705"/>
                </a:cubicBezTo>
                <a:cubicBezTo>
                  <a:pt x="2464" y="1705"/>
                  <a:pt x="2462" y="1704"/>
                  <a:pt x="2461" y="1704"/>
                </a:cubicBezTo>
                <a:cubicBezTo>
                  <a:pt x="2460" y="1705"/>
                  <a:pt x="2459" y="1707"/>
                  <a:pt x="2458" y="1708"/>
                </a:cubicBezTo>
                <a:cubicBezTo>
                  <a:pt x="2459" y="1707"/>
                  <a:pt x="2460" y="1705"/>
                  <a:pt x="2461" y="1704"/>
                </a:cubicBezTo>
                <a:cubicBezTo>
                  <a:pt x="2461" y="1704"/>
                  <a:pt x="2461" y="1704"/>
                  <a:pt x="2461" y="1704"/>
                </a:cubicBezTo>
                <a:cubicBezTo>
                  <a:pt x="2462" y="1704"/>
                  <a:pt x="2464" y="1705"/>
                  <a:pt x="2465" y="1705"/>
                </a:cubicBezTo>
                <a:close/>
                <a:moveTo>
                  <a:pt x="2454" y="1739"/>
                </a:moveTo>
                <a:cubicBezTo>
                  <a:pt x="2447" y="1740"/>
                  <a:pt x="2439" y="1743"/>
                  <a:pt x="2432" y="1746"/>
                </a:cubicBezTo>
                <a:cubicBezTo>
                  <a:pt x="2432" y="1746"/>
                  <a:pt x="2432" y="1746"/>
                  <a:pt x="2432" y="1746"/>
                </a:cubicBezTo>
                <a:cubicBezTo>
                  <a:pt x="2439" y="1743"/>
                  <a:pt x="2447" y="1740"/>
                  <a:pt x="2454" y="1739"/>
                </a:cubicBezTo>
                <a:close/>
                <a:moveTo>
                  <a:pt x="2412" y="1725"/>
                </a:moveTo>
                <a:cubicBezTo>
                  <a:pt x="2406" y="1719"/>
                  <a:pt x="2399" y="1714"/>
                  <a:pt x="2393" y="1708"/>
                </a:cubicBezTo>
                <a:cubicBezTo>
                  <a:pt x="2388" y="1703"/>
                  <a:pt x="2385" y="1698"/>
                  <a:pt x="2385" y="1693"/>
                </a:cubicBezTo>
                <a:cubicBezTo>
                  <a:pt x="2385" y="1698"/>
                  <a:pt x="2388" y="1703"/>
                  <a:pt x="2393" y="1708"/>
                </a:cubicBezTo>
                <a:cubicBezTo>
                  <a:pt x="2399" y="1714"/>
                  <a:pt x="2406" y="1719"/>
                  <a:pt x="2412" y="1725"/>
                </a:cubicBezTo>
                <a:close/>
                <a:moveTo>
                  <a:pt x="2305" y="1536"/>
                </a:moveTo>
                <a:cubicBezTo>
                  <a:pt x="2315" y="1532"/>
                  <a:pt x="2323" y="1535"/>
                  <a:pt x="2328" y="1545"/>
                </a:cubicBezTo>
                <a:cubicBezTo>
                  <a:pt x="2327" y="1552"/>
                  <a:pt x="2334" y="1548"/>
                  <a:pt x="2336" y="1550"/>
                </a:cubicBezTo>
                <a:cubicBezTo>
                  <a:pt x="2326" y="1557"/>
                  <a:pt x="2323" y="1563"/>
                  <a:pt x="2337" y="1569"/>
                </a:cubicBezTo>
                <a:cubicBezTo>
                  <a:pt x="2338" y="1572"/>
                  <a:pt x="2341" y="1574"/>
                  <a:pt x="2345" y="1574"/>
                </a:cubicBezTo>
                <a:cubicBezTo>
                  <a:pt x="2346" y="1574"/>
                  <a:pt x="2346" y="1574"/>
                  <a:pt x="2346" y="1574"/>
                </a:cubicBezTo>
                <a:cubicBezTo>
                  <a:pt x="2346" y="1573"/>
                  <a:pt x="2346" y="1573"/>
                  <a:pt x="2346" y="1573"/>
                </a:cubicBezTo>
                <a:cubicBezTo>
                  <a:pt x="2346" y="1573"/>
                  <a:pt x="2346" y="1573"/>
                  <a:pt x="2346" y="1573"/>
                </a:cubicBezTo>
                <a:cubicBezTo>
                  <a:pt x="2348" y="1576"/>
                  <a:pt x="2349" y="1579"/>
                  <a:pt x="2353" y="1579"/>
                </a:cubicBezTo>
                <a:cubicBezTo>
                  <a:pt x="2364" y="1588"/>
                  <a:pt x="2377" y="1596"/>
                  <a:pt x="2385" y="1609"/>
                </a:cubicBezTo>
                <a:cubicBezTo>
                  <a:pt x="2386" y="1612"/>
                  <a:pt x="2388" y="1614"/>
                  <a:pt x="2389" y="1616"/>
                </a:cubicBezTo>
                <a:cubicBezTo>
                  <a:pt x="2390" y="1616"/>
                  <a:pt x="2391" y="1617"/>
                  <a:pt x="2392" y="1618"/>
                </a:cubicBezTo>
                <a:cubicBezTo>
                  <a:pt x="2393" y="1620"/>
                  <a:pt x="2393" y="1622"/>
                  <a:pt x="2393" y="1624"/>
                </a:cubicBezTo>
                <a:cubicBezTo>
                  <a:pt x="2390" y="1623"/>
                  <a:pt x="2386" y="1621"/>
                  <a:pt x="2389" y="1617"/>
                </a:cubicBezTo>
                <a:cubicBezTo>
                  <a:pt x="2373" y="1618"/>
                  <a:pt x="2367" y="1602"/>
                  <a:pt x="2355" y="1595"/>
                </a:cubicBezTo>
                <a:cubicBezTo>
                  <a:pt x="2338" y="1585"/>
                  <a:pt x="2327" y="1563"/>
                  <a:pt x="2302" y="1570"/>
                </a:cubicBezTo>
                <a:cubicBezTo>
                  <a:pt x="2302" y="1570"/>
                  <a:pt x="2302" y="1570"/>
                  <a:pt x="2302" y="1570"/>
                </a:cubicBezTo>
                <a:cubicBezTo>
                  <a:pt x="2300" y="1569"/>
                  <a:pt x="2298" y="1569"/>
                  <a:pt x="2296" y="1569"/>
                </a:cubicBezTo>
                <a:cubicBezTo>
                  <a:pt x="2304" y="1559"/>
                  <a:pt x="2291" y="1544"/>
                  <a:pt x="2305" y="1536"/>
                </a:cubicBezTo>
                <a:close/>
                <a:moveTo>
                  <a:pt x="2371" y="1684"/>
                </a:moveTo>
                <a:cubicBezTo>
                  <a:pt x="2371" y="1684"/>
                  <a:pt x="2371" y="1685"/>
                  <a:pt x="2371" y="1686"/>
                </a:cubicBezTo>
                <a:cubicBezTo>
                  <a:pt x="2371" y="1685"/>
                  <a:pt x="2371" y="1684"/>
                  <a:pt x="2371" y="1684"/>
                </a:cubicBezTo>
                <a:close/>
                <a:moveTo>
                  <a:pt x="2277" y="1597"/>
                </a:move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ubicBezTo>
                  <a:pt x="2277" y="1597"/>
                  <a:pt x="2277" y="1597"/>
                  <a:pt x="2277" y="1597"/>
                </a:cubicBezTo>
                <a:close/>
                <a:moveTo>
                  <a:pt x="2387" y="1975"/>
                </a:moveTo>
                <a:cubicBezTo>
                  <a:pt x="2476" y="2014"/>
                  <a:pt x="2564" y="2056"/>
                  <a:pt x="2653" y="2097"/>
                </a:cubicBezTo>
                <a:cubicBezTo>
                  <a:pt x="2694" y="2119"/>
                  <a:pt x="2736" y="2141"/>
                  <a:pt x="2778" y="2163"/>
                </a:cubicBezTo>
                <a:cubicBezTo>
                  <a:pt x="2784" y="2166"/>
                  <a:pt x="2789" y="2170"/>
                  <a:pt x="2795" y="2173"/>
                </a:cubicBezTo>
                <a:cubicBezTo>
                  <a:pt x="2801" y="2176"/>
                  <a:pt x="2806" y="2178"/>
                  <a:pt x="2811" y="2181"/>
                </a:cubicBezTo>
                <a:cubicBezTo>
                  <a:pt x="2806" y="2178"/>
                  <a:pt x="2801" y="2176"/>
                  <a:pt x="2795" y="2173"/>
                </a:cubicBezTo>
                <a:cubicBezTo>
                  <a:pt x="2798" y="2182"/>
                  <a:pt x="2788" y="2194"/>
                  <a:pt x="2802" y="2200"/>
                </a:cubicBezTo>
                <a:cubicBezTo>
                  <a:pt x="2801" y="2207"/>
                  <a:pt x="2801" y="2214"/>
                  <a:pt x="2801" y="2221"/>
                </a:cubicBezTo>
                <a:cubicBezTo>
                  <a:pt x="2801" y="2221"/>
                  <a:pt x="2802" y="2222"/>
                  <a:pt x="2802" y="2223"/>
                </a:cubicBezTo>
                <a:cubicBezTo>
                  <a:pt x="2802" y="2224"/>
                  <a:pt x="2802" y="2224"/>
                  <a:pt x="2802" y="2225"/>
                </a:cubicBezTo>
                <a:cubicBezTo>
                  <a:pt x="2802" y="2229"/>
                  <a:pt x="2801" y="2233"/>
                  <a:pt x="2801" y="2237"/>
                </a:cubicBezTo>
                <a:cubicBezTo>
                  <a:pt x="2805" y="2248"/>
                  <a:pt x="2792" y="2257"/>
                  <a:pt x="2796" y="2269"/>
                </a:cubicBezTo>
                <a:cubicBezTo>
                  <a:pt x="2797" y="2274"/>
                  <a:pt x="2789" y="2273"/>
                  <a:pt x="2785" y="2273"/>
                </a:cubicBezTo>
                <a:cubicBezTo>
                  <a:pt x="2781" y="2251"/>
                  <a:pt x="2762" y="2258"/>
                  <a:pt x="2749" y="2254"/>
                </a:cubicBezTo>
                <a:cubicBezTo>
                  <a:pt x="2739" y="2251"/>
                  <a:pt x="2727" y="2254"/>
                  <a:pt x="2716" y="2254"/>
                </a:cubicBezTo>
                <a:cubicBezTo>
                  <a:pt x="2710" y="2254"/>
                  <a:pt x="2710" y="2254"/>
                  <a:pt x="2711" y="2246"/>
                </a:cubicBezTo>
                <a:cubicBezTo>
                  <a:pt x="2712" y="2238"/>
                  <a:pt x="2705" y="2240"/>
                  <a:pt x="2703" y="2242"/>
                </a:cubicBezTo>
                <a:cubicBezTo>
                  <a:pt x="2692" y="2254"/>
                  <a:pt x="2671" y="2259"/>
                  <a:pt x="2672" y="2280"/>
                </a:cubicBezTo>
                <a:cubicBezTo>
                  <a:pt x="2668" y="2280"/>
                  <a:pt x="2665" y="2280"/>
                  <a:pt x="2661" y="2280"/>
                </a:cubicBezTo>
                <a:cubicBezTo>
                  <a:pt x="2660" y="2270"/>
                  <a:pt x="2660" y="2260"/>
                  <a:pt x="2659" y="2250"/>
                </a:cubicBezTo>
                <a:cubicBezTo>
                  <a:pt x="2659" y="2246"/>
                  <a:pt x="2660" y="2240"/>
                  <a:pt x="2652" y="2241"/>
                </a:cubicBezTo>
                <a:cubicBezTo>
                  <a:pt x="2645" y="2241"/>
                  <a:pt x="2647" y="2246"/>
                  <a:pt x="2647" y="2251"/>
                </a:cubicBezTo>
                <a:cubicBezTo>
                  <a:pt x="2648" y="2260"/>
                  <a:pt x="2648" y="2270"/>
                  <a:pt x="2649" y="2280"/>
                </a:cubicBezTo>
                <a:cubicBezTo>
                  <a:pt x="2637" y="2282"/>
                  <a:pt x="2623" y="2277"/>
                  <a:pt x="2613" y="2289"/>
                </a:cubicBezTo>
                <a:cubicBezTo>
                  <a:pt x="2602" y="2275"/>
                  <a:pt x="2614" y="2259"/>
                  <a:pt x="2609" y="2245"/>
                </a:cubicBezTo>
                <a:cubicBezTo>
                  <a:pt x="2590" y="2246"/>
                  <a:pt x="2587" y="2244"/>
                  <a:pt x="2571" y="2228"/>
                </a:cubicBezTo>
                <a:cubicBezTo>
                  <a:pt x="2569" y="2225"/>
                  <a:pt x="2566" y="2225"/>
                  <a:pt x="2564" y="2226"/>
                </a:cubicBezTo>
                <a:cubicBezTo>
                  <a:pt x="2558" y="2230"/>
                  <a:pt x="2564" y="2236"/>
                  <a:pt x="2561" y="2241"/>
                </a:cubicBezTo>
                <a:cubicBezTo>
                  <a:pt x="2555" y="2241"/>
                  <a:pt x="2551" y="2225"/>
                  <a:pt x="2544" y="2239"/>
                </a:cubicBezTo>
                <a:cubicBezTo>
                  <a:pt x="2542" y="2244"/>
                  <a:pt x="2538" y="2244"/>
                  <a:pt x="2534" y="2245"/>
                </a:cubicBezTo>
                <a:cubicBezTo>
                  <a:pt x="2524" y="2246"/>
                  <a:pt x="2516" y="2243"/>
                  <a:pt x="2510" y="2233"/>
                </a:cubicBezTo>
                <a:cubicBezTo>
                  <a:pt x="2504" y="2243"/>
                  <a:pt x="2498" y="2243"/>
                  <a:pt x="2488" y="2238"/>
                </a:cubicBezTo>
                <a:cubicBezTo>
                  <a:pt x="2473" y="2232"/>
                  <a:pt x="2456" y="2240"/>
                  <a:pt x="2441" y="2241"/>
                </a:cubicBezTo>
                <a:cubicBezTo>
                  <a:pt x="2440" y="2244"/>
                  <a:pt x="2439" y="2247"/>
                  <a:pt x="2439" y="2249"/>
                </a:cubicBezTo>
                <a:cubicBezTo>
                  <a:pt x="2439" y="2247"/>
                  <a:pt x="2440" y="2244"/>
                  <a:pt x="2441" y="2241"/>
                </a:cubicBezTo>
                <a:cubicBezTo>
                  <a:pt x="2423" y="2241"/>
                  <a:pt x="2406" y="2241"/>
                  <a:pt x="2389" y="2241"/>
                </a:cubicBezTo>
                <a:cubicBezTo>
                  <a:pt x="2374" y="2242"/>
                  <a:pt x="2359" y="2244"/>
                  <a:pt x="2349" y="2229"/>
                </a:cubicBezTo>
                <a:cubicBezTo>
                  <a:pt x="2348" y="2225"/>
                  <a:pt x="2346" y="2223"/>
                  <a:pt x="2344" y="2222"/>
                </a:cubicBezTo>
                <a:cubicBezTo>
                  <a:pt x="2346" y="2223"/>
                  <a:pt x="2348" y="2225"/>
                  <a:pt x="2349" y="2229"/>
                </a:cubicBezTo>
                <a:cubicBezTo>
                  <a:pt x="2363" y="2229"/>
                  <a:pt x="2376" y="2229"/>
                  <a:pt x="2389" y="2229"/>
                </a:cubicBezTo>
                <a:cubicBezTo>
                  <a:pt x="2391" y="2227"/>
                  <a:pt x="2381" y="2221"/>
                  <a:pt x="2393" y="2221"/>
                </a:cubicBezTo>
                <a:cubicBezTo>
                  <a:pt x="2407" y="2222"/>
                  <a:pt x="2422" y="2229"/>
                  <a:pt x="2434" y="2222"/>
                </a:cubicBezTo>
                <a:cubicBezTo>
                  <a:pt x="2450" y="2212"/>
                  <a:pt x="2464" y="2216"/>
                  <a:pt x="2479" y="2221"/>
                </a:cubicBezTo>
                <a:cubicBezTo>
                  <a:pt x="2482" y="2222"/>
                  <a:pt x="2485" y="2220"/>
                  <a:pt x="2489" y="2220"/>
                </a:cubicBezTo>
                <a:cubicBezTo>
                  <a:pt x="2489" y="2218"/>
                  <a:pt x="2489" y="2215"/>
                  <a:pt x="2489" y="2214"/>
                </a:cubicBezTo>
                <a:cubicBezTo>
                  <a:pt x="2489" y="2215"/>
                  <a:pt x="2489" y="2218"/>
                  <a:pt x="2489" y="2220"/>
                </a:cubicBezTo>
                <a:cubicBezTo>
                  <a:pt x="2492" y="2225"/>
                  <a:pt x="2493" y="2234"/>
                  <a:pt x="2501" y="2233"/>
                </a:cubicBezTo>
                <a:cubicBezTo>
                  <a:pt x="2506" y="2232"/>
                  <a:pt x="2504" y="2225"/>
                  <a:pt x="2505" y="2221"/>
                </a:cubicBezTo>
                <a:cubicBezTo>
                  <a:pt x="2509" y="2212"/>
                  <a:pt x="2518" y="2228"/>
                  <a:pt x="2521" y="2217"/>
                </a:cubicBezTo>
                <a:cubicBezTo>
                  <a:pt x="2535" y="2232"/>
                  <a:pt x="2548" y="2213"/>
                  <a:pt x="2562" y="2216"/>
                </a:cubicBezTo>
                <a:cubicBezTo>
                  <a:pt x="2577" y="2219"/>
                  <a:pt x="2593" y="2217"/>
                  <a:pt x="2609" y="2217"/>
                </a:cubicBezTo>
                <a:cubicBezTo>
                  <a:pt x="2614" y="2204"/>
                  <a:pt x="2603" y="2210"/>
                  <a:pt x="2599" y="2209"/>
                </a:cubicBezTo>
                <a:cubicBezTo>
                  <a:pt x="2580" y="2207"/>
                  <a:pt x="2560" y="2213"/>
                  <a:pt x="2544" y="2196"/>
                </a:cubicBezTo>
                <a:cubicBezTo>
                  <a:pt x="2559" y="2199"/>
                  <a:pt x="2573" y="2193"/>
                  <a:pt x="2588" y="2194"/>
                </a:cubicBezTo>
                <a:cubicBezTo>
                  <a:pt x="2591" y="2196"/>
                  <a:pt x="2594" y="2199"/>
                  <a:pt x="2596" y="2199"/>
                </a:cubicBezTo>
                <a:cubicBezTo>
                  <a:pt x="2599" y="2198"/>
                  <a:pt x="2596" y="2195"/>
                  <a:pt x="2596" y="2192"/>
                </a:cubicBezTo>
                <a:cubicBezTo>
                  <a:pt x="2597" y="2178"/>
                  <a:pt x="2602" y="2161"/>
                  <a:pt x="2576" y="2172"/>
                </a:cubicBezTo>
                <a:cubicBezTo>
                  <a:pt x="2572" y="2173"/>
                  <a:pt x="2567" y="2173"/>
                  <a:pt x="2563" y="2173"/>
                </a:cubicBezTo>
                <a:cubicBezTo>
                  <a:pt x="2545" y="2171"/>
                  <a:pt x="2538" y="2178"/>
                  <a:pt x="2544" y="2196"/>
                </a:cubicBezTo>
                <a:cubicBezTo>
                  <a:pt x="2535" y="2208"/>
                  <a:pt x="2525" y="2212"/>
                  <a:pt x="2517" y="2195"/>
                </a:cubicBezTo>
                <a:cubicBezTo>
                  <a:pt x="2497" y="2192"/>
                  <a:pt x="2476" y="2199"/>
                  <a:pt x="2457" y="2190"/>
                </a:cubicBezTo>
                <a:cubicBezTo>
                  <a:pt x="2456" y="2194"/>
                  <a:pt x="2453" y="2196"/>
                  <a:pt x="2449" y="2196"/>
                </a:cubicBezTo>
                <a:cubicBezTo>
                  <a:pt x="2448" y="2187"/>
                  <a:pt x="2448" y="2176"/>
                  <a:pt x="2438" y="2171"/>
                </a:cubicBezTo>
                <a:cubicBezTo>
                  <a:pt x="2438" y="2167"/>
                  <a:pt x="2439" y="2162"/>
                  <a:pt x="2433" y="2160"/>
                </a:cubicBezTo>
                <a:cubicBezTo>
                  <a:pt x="2428" y="2160"/>
                  <a:pt x="2423" y="2159"/>
                  <a:pt x="2421" y="2165"/>
                </a:cubicBezTo>
                <a:cubicBezTo>
                  <a:pt x="2421" y="2169"/>
                  <a:pt x="2421" y="2173"/>
                  <a:pt x="2421" y="2177"/>
                </a:cubicBezTo>
                <a:cubicBezTo>
                  <a:pt x="2426" y="2181"/>
                  <a:pt x="2425" y="2187"/>
                  <a:pt x="2425" y="2193"/>
                </a:cubicBezTo>
                <a:cubicBezTo>
                  <a:pt x="2412" y="2207"/>
                  <a:pt x="2396" y="2203"/>
                  <a:pt x="2380" y="2203"/>
                </a:cubicBezTo>
                <a:cubicBezTo>
                  <a:pt x="2371" y="2203"/>
                  <a:pt x="2367" y="2198"/>
                  <a:pt x="2368" y="2189"/>
                </a:cubicBezTo>
                <a:cubicBezTo>
                  <a:pt x="2362" y="2193"/>
                  <a:pt x="2358" y="2202"/>
                  <a:pt x="2349" y="2201"/>
                </a:cubicBezTo>
                <a:cubicBezTo>
                  <a:pt x="2349" y="2201"/>
                  <a:pt x="2349" y="2201"/>
                  <a:pt x="2349" y="2201"/>
                </a:cubicBezTo>
                <a:cubicBezTo>
                  <a:pt x="2348" y="2202"/>
                  <a:pt x="2347" y="2203"/>
                  <a:pt x="2345" y="2204"/>
                </a:cubicBezTo>
                <a:cubicBezTo>
                  <a:pt x="2342" y="2204"/>
                  <a:pt x="2339" y="2204"/>
                  <a:pt x="2336" y="2204"/>
                </a:cubicBezTo>
                <a:cubicBezTo>
                  <a:pt x="2326" y="2204"/>
                  <a:pt x="2316" y="2205"/>
                  <a:pt x="2305" y="2205"/>
                </a:cubicBezTo>
                <a:cubicBezTo>
                  <a:pt x="2300" y="2217"/>
                  <a:pt x="2289" y="2211"/>
                  <a:pt x="2281" y="2212"/>
                </a:cubicBezTo>
                <a:cubicBezTo>
                  <a:pt x="2265" y="2205"/>
                  <a:pt x="2254" y="2224"/>
                  <a:pt x="2254" y="2227"/>
                </a:cubicBezTo>
                <a:cubicBezTo>
                  <a:pt x="2250" y="2248"/>
                  <a:pt x="2231" y="2241"/>
                  <a:pt x="2221" y="2248"/>
                </a:cubicBezTo>
                <a:cubicBezTo>
                  <a:pt x="2219" y="2243"/>
                  <a:pt x="2217" y="2238"/>
                  <a:pt x="2214" y="2232"/>
                </a:cubicBezTo>
                <a:cubicBezTo>
                  <a:pt x="2212" y="2249"/>
                  <a:pt x="2202" y="2251"/>
                  <a:pt x="2189" y="2249"/>
                </a:cubicBezTo>
                <a:cubicBezTo>
                  <a:pt x="2189" y="2246"/>
                  <a:pt x="2190" y="2243"/>
                  <a:pt x="2190" y="2241"/>
                </a:cubicBezTo>
                <a:cubicBezTo>
                  <a:pt x="2186" y="2232"/>
                  <a:pt x="2197" y="2216"/>
                  <a:pt x="2176" y="2217"/>
                </a:cubicBezTo>
                <a:cubicBezTo>
                  <a:pt x="2161" y="2244"/>
                  <a:pt x="2138" y="2232"/>
                  <a:pt x="2117" y="2228"/>
                </a:cubicBezTo>
                <a:cubicBezTo>
                  <a:pt x="2114" y="2218"/>
                  <a:pt x="2101" y="2219"/>
                  <a:pt x="2096" y="2209"/>
                </a:cubicBezTo>
                <a:cubicBezTo>
                  <a:pt x="2102" y="2208"/>
                  <a:pt x="2107" y="2207"/>
                  <a:pt x="2112" y="2206"/>
                </a:cubicBezTo>
                <a:cubicBezTo>
                  <a:pt x="2103" y="2205"/>
                  <a:pt x="2094" y="2205"/>
                  <a:pt x="2085" y="2205"/>
                </a:cubicBezTo>
                <a:cubicBezTo>
                  <a:pt x="2084" y="2203"/>
                  <a:pt x="2084" y="2202"/>
                  <a:pt x="2084" y="2201"/>
                </a:cubicBezTo>
                <a:cubicBezTo>
                  <a:pt x="2086" y="2192"/>
                  <a:pt x="2070" y="2188"/>
                  <a:pt x="2077" y="2177"/>
                </a:cubicBezTo>
                <a:cubicBezTo>
                  <a:pt x="2077" y="2172"/>
                  <a:pt x="2076" y="2167"/>
                  <a:pt x="2076" y="2162"/>
                </a:cubicBezTo>
                <a:cubicBezTo>
                  <a:pt x="2071" y="2158"/>
                  <a:pt x="2074" y="2149"/>
                  <a:pt x="2066" y="2148"/>
                </a:cubicBezTo>
                <a:cubicBezTo>
                  <a:pt x="2072" y="2139"/>
                  <a:pt x="2069" y="2130"/>
                  <a:pt x="2068" y="2121"/>
                </a:cubicBezTo>
                <a:cubicBezTo>
                  <a:pt x="2067" y="2106"/>
                  <a:pt x="2065" y="2091"/>
                  <a:pt x="2064" y="2077"/>
                </a:cubicBezTo>
                <a:cubicBezTo>
                  <a:pt x="2062" y="2021"/>
                  <a:pt x="2059" y="1965"/>
                  <a:pt x="2056" y="1909"/>
                </a:cubicBezTo>
                <a:cubicBezTo>
                  <a:pt x="2056" y="1888"/>
                  <a:pt x="2056" y="1867"/>
                  <a:pt x="2056" y="1846"/>
                </a:cubicBezTo>
                <a:cubicBezTo>
                  <a:pt x="2046" y="1843"/>
                  <a:pt x="2038" y="1850"/>
                  <a:pt x="2028" y="1849"/>
                </a:cubicBezTo>
                <a:cubicBezTo>
                  <a:pt x="2027" y="1831"/>
                  <a:pt x="2026" y="1814"/>
                  <a:pt x="2025" y="1796"/>
                </a:cubicBezTo>
                <a:cubicBezTo>
                  <a:pt x="2026" y="1781"/>
                  <a:pt x="2026" y="1766"/>
                  <a:pt x="2027" y="1751"/>
                </a:cubicBezTo>
                <a:cubicBezTo>
                  <a:pt x="2029" y="1721"/>
                  <a:pt x="2025" y="1691"/>
                  <a:pt x="2031" y="1662"/>
                </a:cubicBezTo>
                <a:cubicBezTo>
                  <a:pt x="2031" y="1662"/>
                  <a:pt x="2031" y="1662"/>
                  <a:pt x="2031" y="1662"/>
                </a:cubicBezTo>
                <a:cubicBezTo>
                  <a:pt x="2031" y="1662"/>
                  <a:pt x="2031" y="1661"/>
                  <a:pt x="2031" y="1661"/>
                </a:cubicBezTo>
                <a:cubicBezTo>
                  <a:pt x="2032" y="1662"/>
                  <a:pt x="2032" y="1663"/>
                  <a:pt x="2033" y="1664"/>
                </a:cubicBezTo>
                <a:cubicBezTo>
                  <a:pt x="2035" y="1678"/>
                  <a:pt x="2046" y="1670"/>
                  <a:pt x="2053" y="1672"/>
                </a:cubicBezTo>
                <a:cubicBezTo>
                  <a:pt x="2053" y="1668"/>
                  <a:pt x="2053" y="1664"/>
                  <a:pt x="2053" y="1660"/>
                </a:cubicBezTo>
                <a:cubicBezTo>
                  <a:pt x="2058" y="1661"/>
                  <a:pt x="2057" y="1665"/>
                  <a:pt x="2056" y="1669"/>
                </a:cubicBezTo>
                <a:cubicBezTo>
                  <a:pt x="2058" y="1669"/>
                  <a:pt x="2059" y="1670"/>
                  <a:pt x="2060" y="1671"/>
                </a:cubicBezTo>
                <a:cubicBezTo>
                  <a:pt x="2060" y="1666"/>
                  <a:pt x="2061" y="1662"/>
                  <a:pt x="2061" y="1657"/>
                </a:cubicBezTo>
                <a:cubicBezTo>
                  <a:pt x="2062" y="1657"/>
                  <a:pt x="2064" y="1657"/>
                  <a:pt x="2065" y="1657"/>
                </a:cubicBezTo>
                <a:cubicBezTo>
                  <a:pt x="2064" y="1657"/>
                  <a:pt x="2062" y="1657"/>
                  <a:pt x="2061" y="1657"/>
                </a:cubicBezTo>
                <a:cubicBezTo>
                  <a:pt x="2061" y="1662"/>
                  <a:pt x="2060" y="1666"/>
                  <a:pt x="2060" y="1671"/>
                </a:cubicBezTo>
                <a:cubicBezTo>
                  <a:pt x="2060" y="1673"/>
                  <a:pt x="2060" y="1673"/>
                  <a:pt x="2060" y="1673"/>
                </a:cubicBezTo>
                <a:cubicBezTo>
                  <a:pt x="2060" y="1671"/>
                  <a:pt x="2060" y="1671"/>
                  <a:pt x="2060" y="1671"/>
                </a:cubicBezTo>
                <a:cubicBezTo>
                  <a:pt x="2059" y="1670"/>
                  <a:pt x="2058" y="1669"/>
                  <a:pt x="2056" y="1669"/>
                </a:cubicBezTo>
                <a:cubicBezTo>
                  <a:pt x="2055" y="1670"/>
                  <a:pt x="2054" y="1671"/>
                  <a:pt x="2053" y="1673"/>
                </a:cubicBezTo>
                <a:cubicBezTo>
                  <a:pt x="2053" y="1696"/>
                  <a:pt x="2052" y="1719"/>
                  <a:pt x="2053" y="1742"/>
                </a:cubicBezTo>
                <a:cubicBezTo>
                  <a:pt x="2054" y="1767"/>
                  <a:pt x="2049" y="1792"/>
                  <a:pt x="2055" y="1817"/>
                </a:cubicBezTo>
                <a:cubicBezTo>
                  <a:pt x="2055" y="1821"/>
                  <a:pt x="2055" y="1825"/>
                  <a:pt x="2055" y="1828"/>
                </a:cubicBezTo>
                <a:cubicBezTo>
                  <a:pt x="2053" y="1831"/>
                  <a:pt x="2054" y="1832"/>
                  <a:pt x="2057" y="1832"/>
                </a:cubicBezTo>
                <a:cubicBezTo>
                  <a:pt x="2057" y="1833"/>
                  <a:pt x="2057" y="1833"/>
                  <a:pt x="2057" y="1833"/>
                </a:cubicBezTo>
                <a:cubicBezTo>
                  <a:pt x="2168" y="1878"/>
                  <a:pt x="2277" y="1926"/>
                  <a:pt x="2387" y="1975"/>
                </a:cubicBezTo>
                <a:close/>
                <a:moveTo>
                  <a:pt x="2437" y="2177"/>
                </a:moveTo>
                <a:cubicBezTo>
                  <a:pt x="2439" y="2182"/>
                  <a:pt x="2448" y="2185"/>
                  <a:pt x="2441" y="2192"/>
                </a:cubicBezTo>
                <a:cubicBezTo>
                  <a:pt x="2429" y="2190"/>
                  <a:pt x="2429" y="2185"/>
                  <a:pt x="2437" y="2177"/>
                </a:cubicBezTo>
                <a:close/>
                <a:moveTo>
                  <a:pt x="2068" y="1577"/>
                </a:moveTo>
                <a:cubicBezTo>
                  <a:pt x="2068" y="1579"/>
                  <a:pt x="2067" y="1582"/>
                  <a:pt x="2067" y="1584"/>
                </a:cubicBezTo>
                <a:cubicBezTo>
                  <a:pt x="2063" y="1584"/>
                  <a:pt x="2059" y="1584"/>
                  <a:pt x="2058" y="1589"/>
                </a:cubicBezTo>
                <a:cubicBezTo>
                  <a:pt x="2058" y="1592"/>
                  <a:pt x="2061" y="1593"/>
                  <a:pt x="2064" y="1593"/>
                </a:cubicBezTo>
                <a:cubicBezTo>
                  <a:pt x="2064" y="1596"/>
                  <a:pt x="2064" y="1598"/>
                  <a:pt x="2063" y="1601"/>
                </a:cubicBezTo>
                <a:cubicBezTo>
                  <a:pt x="2056" y="1618"/>
                  <a:pt x="2062" y="1636"/>
                  <a:pt x="2060" y="1653"/>
                </a:cubicBezTo>
                <a:cubicBezTo>
                  <a:pt x="2058" y="1653"/>
                  <a:pt x="2056" y="1653"/>
                  <a:pt x="2053" y="1652"/>
                </a:cubicBezTo>
                <a:cubicBezTo>
                  <a:pt x="2053" y="1650"/>
                  <a:pt x="2051" y="1649"/>
                  <a:pt x="2049" y="1648"/>
                </a:cubicBezTo>
                <a:cubicBezTo>
                  <a:pt x="2049" y="1644"/>
                  <a:pt x="2048" y="1641"/>
                  <a:pt x="2047" y="1637"/>
                </a:cubicBezTo>
                <a:cubicBezTo>
                  <a:pt x="2049" y="1636"/>
                  <a:pt x="2051" y="1635"/>
                  <a:pt x="2053" y="1634"/>
                </a:cubicBezTo>
                <a:cubicBezTo>
                  <a:pt x="2044" y="1625"/>
                  <a:pt x="2051" y="1613"/>
                  <a:pt x="2047" y="1604"/>
                </a:cubicBezTo>
                <a:cubicBezTo>
                  <a:pt x="2047" y="1597"/>
                  <a:pt x="2047" y="1591"/>
                  <a:pt x="2047" y="1584"/>
                </a:cubicBezTo>
                <a:cubicBezTo>
                  <a:pt x="2048" y="1582"/>
                  <a:pt x="2049" y="1580"/>
                  <a:pt x="2050" y="1578"/>
                </a:cubicBezTo>
                <a:cubicBezTo>
                  <a:pt x="2050" y="1576"/>
                  <a:pt x="2050" y="1575"/>
                  <a:pt x="2051" y="1573"/>
                </a:cubicBezTo>
                <a:cubicBezTo>
                  <a:pt x="2052" y="1572"/>
                  <a:pt x="2052" y="1571"/>
                  <a:pt x="2053" y="1570"/>
                </a:cubicBezTo>
                <a:cubicBezTo>
                  <a:pt x="2054" y="1569"/>
                  <a:pt x="2056" y="1569"/>
                  <a:pt x="2057" y="1569"/>
                </a:cubicBezTo>
                <a:cubicBezTo>
                  <a:pt x="2056" y="1577"/>
                  <a:pt x="2061" y="1578"/>
                  <a:pt x="2068" y="1577"/>
                </a:cubicBezTo>
                <a:close/>
                <a:moveTo>
                  <a:pt x="2061" y="1545"/>
                </a:moveTo>
                <a:cubicBezTo>
                  <a:pt x="2061" y="1545"/>
                  <a:pt x="2061" y="1545"/>
                  <a:pt x="2062" y="1546"/>
                </a:cubicBezTo>
                <a:cubicBezTo>
                  <a:pt x="2062" y="1546"/>
                  <a:pt x="2062" y="1546"/>
                  <a:pt x="2062" y="1546"/>
                </a:cubicBezTo>
                <a:cubicBezTo>
                  <a:pt x="2061" y="1545"/>
                  <a:pt x="2061" y="1545"/>
                  <a:pt x="2061" y="1545"/>
                </a:cubicBezTo>
                <a:close/>
                <a:moveTo>
                  <a:pt x="2065" y="1517"/>
                </a:moveTo>
                <a:cubicBezTo>
                  <a:pt x="2066" y="1518"/>
                  <a:pt x="2068" y="1517"/>
                  <a:pt x="2069" y="1517"/>
                </a:cubicBezTo>
                <a:cubicBezTo>
                  <a:pt x="2070" y="1516"/>
                  <a:pt x="2071" y="1514"/>
                  <a:pt x="2072" y="1513"/>
                </a:cubicBezTo>
                <a:cubicBezTo>
                  <a:pt x="2071" y="1514"/>
                  <a:pt x="2070" y="1516"/>
                  <a:pt x="2069" y="1517"/>
                </a:cubicBezTo>
                <a:cubicBezTo>
                  <a:pt x="2068" y="1517"/>
                  <a:pt x="2066" y="1518"/>
                  <a:pt x="2065" y="1517"/>
                </a:cubicBezTo>
                <a:close/>
                <a:moveTo>
                  <a:pt x="2048" y="1559"/>
                </a:moveTo>
                <a:cubicBezTo>
                  <a:pt x="2051" y="1559"/>
                  <a:pt x="2052" y="1555"/>
                  <a:pt x="2053" y="1552"/>
                </a:cubicBezTo>
                <a:cubicBezTo>
                  <a:pt x="2052" y="1555"/>
                  <a:pt x="2051" y="1559"/>
                  <a:pt x="2048" y="1559"/>
                </a:cubicBezTo>
                <a:close/>
                <a:moveTo>
                  <a:pt x="2045" y="1537"/>
                </a:moveTo>
                <a:cubicBezTo>
                  <a:pt x="2042" y="1536"/>
                  <a:pt x="2039" y="1535"/>
                  <a:pt x="2039" y="1533"/>
                </a:cubicBezTo>
                <a:cubicBezTo>
                  <a:pt x="2039" y="1535"/>
                  <a:pt x="2042" y="1536"/>
                  <a:pt x="2045" y="1537"/>
                </a:cubicBezTo>
                <a:cubicBezTo>
                  <a:pt x="2049" y="1537"/>
                  <a:pt x="2053" y="1537"/>
                  <a:pt x="2057" y="1537"/>
                </a:cubicBezTo>
                <a:cubicBezTo>
                  <a:pt x="2053" y="1537"/>
                  <a:pt x="2049" y="1537"/>
                  <a:pt x="2045" y="1537"/>
                </a:cubicBezTo>
                <a:close/>
                <a:moveTo>
                  <a:pt x="2093" y="1540"/>
                </a:moveTo>
                <a:cubicBezTo>
                  <a:pt x="2090" y="1544"/>
                  <a:pt x="2086" y="1548"/>
                  <a:pt x="2083" y="1553"/>
                </a:cubicBezTo>
                <a:cubicBezTo>
                  <a:pt x="2082" y="1554"/>
                  <a:pt x="2081" y="1555"/>
                  <a:pt x="2080" y="1556"/>
                </a:cubicBezTo>
                <a:cubicBezTo>
                  <a:pt x="2081" y="1555"/>
                  <a:pt x="2082" y="1554"/>
                  <a:pt x="2083" y="1553"/>
                </a:cubicBezTo>
                <a:cubicBezTo>
                  <a:pt x="2086" y="1548"/>
                  <a:pt x="2090" y="1544"/>
                  <a:pt x="2093" y="1540"/>
                </a:cubicBezTo>
                <a:close/>
                <a:moveTo>
                  <a:pt x="2088" y="1528"/>
                </a:moveTo>
                <a:cubicBezTo>
                  <a:pt x="2089" y="1529"/>
                  <a:pt x="2089" y="1529"/>
                  <a:pt x="2089" y="1529"/>
                </a:cubicBezTo>
                <a:cubicBezTo>
                  <a:pt x="2089" y="1529"/>
                  <a:pt x="2089" y="1529"/>
                  <a:pt x="2089" y="1529"/>
                </a:cubicBezTo>
                <a:lnTo>
                  <a:pt x="2088" y="1528"/>
                </a:lnTo>
                <a:close/>
                <a:moveTo>
                  <a:pt x="2077" y="1512"/>
                </a:moveTo>
                <a:cubicBezTo>
                  <a:pt x="2077" y="1510"/>
                  <a:pt x="2077" y="1508"/>
                  <a:pt x="2076" y="1505"/>
                </a:cubicBezTo>
                <a:cubicBezTo>
                  <a:pt x="2077" y="1508"/>
                  <a:pt x="2077" y="1510"/>
                  <a:pt x="2077" y="1512"/>
                </a:cubicBezTo>
                <a:cubicBezTo>
                  <a:pt x="2080" y="1513"/>
                  <a:pt x="2082" y="1513"/>
                  <a:pt x="2084" y="1513"/>
                </a:cubicBezTo>
                <a:cubicBezTo>
                  <a:pt x="2082" y="1513"/>
                  <a:pt x="2080" y="1513"/>
                  <a:pt x="2077" y="1512"/>
                </a:cubicBezTo>
                <a:close/>
                <a:moveTo>
                  <a:pt x="2077" y="1557"/>
                </a:moveTo>
                <a:cubicBezTo>
                  <a:pt x="2077" y="1557"/>
                  <a:pt x="2077" y="1557"/>
                  <a:pt x="2077" y="1557"/>
                </a:cubicBezTo>
                <a:cubicBezTo>
                  <a:pt x="2076" y="1553"/>
                  <a:pt x="2076" y="1547"/>
                  <a:pt x="2075" y="1544"/>
                </a:cubicBezTo>
                <a:cubicBezTo>
                  <a:pt x="2076" y="1547"/>
                  <a:pt x="2076" y="1553"/>
                  <a:pt x="2077" y="1557"/>
                </a:cubicBezTo>
                <a:close/>
                <a:moveTo>
                  <a:pt x="2096" y="1424"/>
                </a:moveTo>
                <a:cubicBezTo>
                  <a:pt x="2097" y="1425"/>
                  <a:pt x="2097" y="1425"/>
                  <a:pt x="2097" y="1425"/>
                </a:cubicBezTo>
                <a:lnTo>
                  <a:pt x="2096" y="1424"/>
                </a:lnTo>
                <a:close/>
                <a:moveTo>
                  <a:pt x="2125" y="1457"/>
                </a:moveTo>
                <a:cubicBezTo>
                  <a:pt x="2133" y="1461"/>
                  <a:pt x="2141" y="1465"/>
                  <a:pt x="2149" y="1469"/>
                </a:cubicBezTo>
                <a:cubicBezTo>
                  <a:pt x="2150" y="1471"/>
                  <a:pt x="2151" y="1474"/>
                  <a:pt x="2153" y="1477"/>
                </a:cubicBezTo>
                <a:cubicBezTo>
                  <a:pt x="2151" y="1474"/>
                  <a:pt x="2150" y="1471"/>
                  <a:pt x="2149" y="1469"/>
                </a:cubicBezTo>
                <a:cubicBezTo>
                  <a:pt x="2141" y="1465"/>
                  <a:pt x="2133" y="1461"/>
                  <a:pt x="2125" y="1457"/>
                </a:cubicBezTo>
                <a:close/>
                <a:moveTo>
                  <a:pt x="2192" y="1537"/>
                </a:moveTo>
                <a:cubicBezTo>
                  <a:pt x="2193" y="1541"/>
                  <a:pt x="2196" y="1544"/>
                  <a:pt x="2205" y="1545"/>
                </a:cubicBezTo>
                <a:cubicBezTo>
                  <a:pt x="2199" y="1546"/>
                  <a:pt x="2194" y="1547"/>
                  <a:pt x="2190" y="1549"/>
                </a:cubicBezTo>
                <a:cubicBezTo>
                  <a:pt x="2194" y="1547"/>
                  <a:pt x="2199" y="1546"/>
                  <a:pt x="2205" y="1545"/>
                </a:cubicBezTo>
                <a:cubicBezTo>
                  <a:pt x="2196" y="1544"/>
                  <a:pt x="2193" y="1541"/>
                  <a:pt x="2192" y="1537"/>
                </a:cubicBezTo>
                <a:close/>
                <a:moveTo>
                  <a:pt x="2213" y="1553"/>
                </a:moveTo>
                <a:cubicBezTo>
                  <a:pt x="2213" y="1555"/>
                  <a:pt x="2213" y="1558"/>
                  <a:pt x="2213" y="1561"/>
                </a:cubicBezTo>
                <a:cubicBezTo>
                  <a:pt x="2213" y="1558"/>
                  <a:pt x="2213" y="1555"/>
                  <a:pt x="2213" y="1553"/>
                </a:cubicBezTo>
                <a:cubicBezTo>
                  <a:pt x="2212" y="1550"/>
                  <a:pt x="2212" y="1549"/>
                  <a:pt x="2210" y="1547"/>
                </a:cubicBezTo>
                <a:cubicBezTo>
                  <a:pt x="2212" y="1549"/>
                  <a:pt x="2212" y="1550"/>
                  <a:pt x="2213" y="1553"/>
                </a:cubicBezTo>
                <a:close/>
                <a:moveTo>
                  <a:pt x="2213" y="1533"/>
                </a:moveTo>
                <a:cubicBezTo>
                  <a:pt x="2213" y="1533"/>
                  <a:pt x="2213" y="1533"/>
                  <a:pt x="2213" y="1533"/>
                </a:cubicBezTo>
                <a:cubicBezTo>
                  <a:pt x="2213" y="1533"/>
                  <a:pt x="2213" y="1533"/>
                  <a:pt x="2213" y="1533"/>
                </a:cubicBezTo>
                <a:cubicBezTo>
                  <a:pt x="2213" y="1533"/>
                  <a:pt x="2213" y="1533"/>
                  <a:pt x="2213" y="1533"/>
                </a:cubicBezTo>
                <a:close/>
                <a:moveTo>
                  <a:pt x="2230" y="1580"/>
                </a:moveTo>
                <a:cubicBezTo>
                  <a:pt x="2228" y="1572"/>
                  <a:pt x="2221" y="1568"/>
                  <a:pt x="2213" y="1564"/>
                </a:cubicBezTo>
                <a:cubicBezTo>
                  <a:pt x="2213" y="1564"/>
                  <a:pt x="2213" y="1563"/>
                  <a:pt x="2213" y="1563"/>
                </a:cubicBezTo>
                <a:cubicBezTo>
                  <a:pt x="2213" y="1563"/>
                  <a:pt x="2213" y="1564"/>
                  <a:pt x="2213" y="1564"/>
                </a:cubicBezTo>
                <a:cubicBezTo>
                  <a:pt x="2221" y="1568"/>
                  <a:pt x="2228" y="1572"/>
                  <a:pt x="2230" y="1580"/>
                </a:cubicBezTo>
                <a:close/>
                <a:moveTo>
                  <a:pt x="2226" y="1545"/>
                </a:moveTo>
                <a:cubicBezTo>
                  <a:pt x="2232" y="1548"/>
                  <a:pt x="2238" y="1551"/>
                  <a:pt x="2245" y="1554"/>
                </a:cubicBezTo>
                <a:cubicBezTo>
                  <a:pt x="2246" y="1563"/>
                  <a:pt x="2253" y="1568"/>
                  <a:pt x="2259" y="1574"/>
                </a:cubicBezTo>
                <a:cubicBezTo>
                  <a:pt x="2253" y="1568"/>
                  <a:pt x="2246" y="1563"/>
                  <a:pt x="2245" y="1554"/>
                </a:cubicBezTo>
                <a:cubicBezTo>
                  <a:pt x="2238" y="1551"/>
                  <a:pt x="2232" y="1548"/>
                  <a:pt x="2226" y="1545"/>
                </a:cubicBezTo>
                <a:close/>
                <a:moveTo>
                  <a:pt x="2202" y="1499"/>
                </a:moveTo>
                <a:cubicBezTo>
                  <a:pt x="2206" y="1503"/>
                  <a:pt x="2207" y="1509"/>
                  <a:pt x="2211" y="1513"/>
                </a:cubicBezTo>
                <a:cubicBezTo>
                  <a:pt x="2207" y="1509"/>
                  <a:pt x="2206" y="1503"/>
                  <a:pt x="2202" y="1499"/>
                </a:cubicBezTo>
                <a:close/>
                <a:moveTo>
                  <a:pt x="2181" y="1445"/>
                </a:moveTo>
                <a:cubicBezTo>
                  <a:pt x="2190" y="1447"/>
                  <a:pt x="2194" y="1455"/>
                  <a:pt x="2201" y="1460"/>
                </a:cubicBezTo>
                <a:cubicBezTo>
                  <a:pt x="2201" y="1461"/>
                  <a:pt x="2201" y="1461"/>
                  <a:pt x="2201" y="1461"/>
                </a:cubicBezTo>
                <a:cubicBezTo>
                  <a:pt x="2201" y="1461"/>
                  <a:pt x="2201" y="1461"/>
                  <a:pt x="2201" y="1461"/>
                </a:cubicBezTo>
                <a:cubicBezTo>
                  <a:pt x="2201" y="1460"/>
                  <a:pt x="2201" y="1460"/>
                  <a:pt x="2201" y="1460"/>
                </a:cubicBezTo>
                <a:cubicBezTo>
                  <a:pt x="2211" y="1467"/>
                  <a:pt x="2222" y="1472"/>
                  <a:pt x="2230" y="1483"/>
                </a:cubicBezTo>
                <a:cubicBezTo>
                  <a:pt x="2236" y="1493"/>
                  <a:pt x="2250" y="1492"/>
                  <a:pt x="2260" y="1497"/>
                </a:cubicBezTo>
                <a:cubicBezTo>
                  <a:pt x="2262" y="1503"/>
                  <a:pt x="2264" y="1510"/>
                  <a:pt x="2266" y="1516"/>
                </a:cubicBezTo>
                <a:cubicBezTo>
                  <a:pt x="2264" y="1517"/>
                  <a:pt x="2262" y="1520"/>
                  <a:pt x="2262" y="1520"/>
                </a:cubicBezTo>
                <a:cubicBezTo>
                  <a:pt x="2241" y="1504"/>
                  <a:pt x="2219" y="1490"/>
                  <a:pt x="2202" y="1470"/>
                </a:cubicBezTo>
                <a:cubicBezTo>
                  <a:pt x="2200" y="1468"/>
                  <a:pt x="2201" y="1464"/>
                  <a:pt x="2201" y="1461"/>
                </a:cubicBezTo>
                <a:cubicBezTo>
                  <a:pt x="2195" y="1461"/>
                  <a:pt x="2189" y="1461"/>
                  <a:pt x="2183" y="1460"/>
                </a:cubicBezTo>
                <a:cubicBezTo>
                  <a:pt x="2180" y="1456"/>
                  <a:pt x="2181" y="1450"/>
                  <a:pt x="2181" y="1445"/>
                </a:cubicBezTo>
                <a:close/>
                <a:moveTo>
                  <a:pt x="2184" y="1635"/>
                </a:moveTo>
                <a:cubicBezTo>
                  <a:pt x="2181" y="1634"/>
                  <a:pt x="2179" y="1636"/>
                  <a:pt x="2177" y="1641"/>
                </a:cubicBezTo>
                <a:cubicBezTo>
                  <a:pt x="2176" y="1642"/>
                  <a:pt x="2174" y="1643"/>
                  <a:pt x="2172" y="1642"/>
                </a:cubicBezTo>
                <a:cubicBezTo>
                  <a:pt x="2172" y="1642"/>
                  <a:pt x="2171" y="1642"/>
                  <a:pt x="2170" y="1642"/>
                </a:cubicBezTo>
                <a:cubicBezTo>
                  <a:pt x="2171" y="1642"/>
                  <a:pt x="2172" y="1642"/>
                  <a:pt x="2172" y="1642"/>
                </a:cubicBezTo>
                <a:cubicBezTo>
                  <a:pt x="2174" y="1643"/>
                  <a:pt x="2176" y="1642"/>
                  <a:pt x="2177" y="1641"/>
                </a:cubicBezTo>
                <a:cubicBezTo>
                  <a:pt x="2179" y="1636"/>
                  <a:pt x="2181" y="1634"/>
                  <a:pt x="2184" y="1635"/>
                </a:cubicBezTo>
                <a:close/>
                <a:moveTo>
                  <a:pt x="2177" y="1460"/>
                </a:moveTo>
                <a:cubicBezTo>
                  <a:pt x="2177" y="1460"/>
                  <a:pt x="2177" y="1460"/>
                  <a:pt x="2177" y="1460"/>
                </a:cubicBezTo>
                <a:cubicBezTo>
                  <a:pt x="2177" y="1467"/>
                  <a:pt x="2177" y="1473"/>
                  <a:pt x="2177" y="1480"/>
                </a:cubicBezTo>
                <a:cubicBezTo>
                  <a:pt x="2176" y="1481"/>
                  <a:pt x="2176" y="1481"/>
                  <a:pt x="2176" y="1481"/>
                </a:cubicBezTo>
                <a:cubicBezTo>
                  <a:pt x="2176" y="1481"/>
                  <a:pt x="2176" y="1481"/>
                  <a:pt x="2176" y="1481"/>
                </a:cubicBezTo>
                <a:cubicBezTo>
                  <a:pt x="2177" y="1480"/>
                  <a:pt x="2177" y="1480"/>
                  <a:pt x="2177" y="1480"/>
                </a:cubicBezTo>
                <a:cubicBezTo>
                  <a:pt x="2177" y="1473"/>
                  <a:pt x="2177" y="1467"/>
                  <a:pt x="2177" y="1460"/>
                </a:cubicBezTo>
                <a:close/>
                <a:moveTo>
                  <a:pt x="2110" y="1376"/>
                </a:moveTo>
                <a:cubicBezTo>
                  <a:pt x="2111" y="1376"/>
                  <a:pt x="2111" y="1376"/>
                  <a:pt x="2111" y="1376"/>
                </a:cubicBezTo>
                <a:cubicBezTo>
                  <a:pt x="2111" y="1376"/>
                  <a:pt x="2111" y="1376"/>
                  <a:pt x="2110" y="1376"/>
                </a:cubicBezTo>
                <a:cubicBezTo>
                  <a:pt x="2107" y="1371"/>
                  <a:pt x="2106" y="1366"/>
                  <a:pt x="2106" y="1360"/>
                </a:cubicBezTo>
                <a:cubicBezTo>
                  <a:pt x="2106" y="1366"/>
                  <a:pt x="2107" y="1371"/>
                  <a:pt x="2110" y="1376"/>
                </a:cubicBezTo>
                <a:close/>
                <a:moveTo>
                  <a:pt x="2073" y="1337"/>
                </a:moveTo>
                <a:cubicBezTo>
                  <a:pt x="2096" y="1328"/>
                  <a:pt x="2097" y="1328"/>
                  <a:pt x="2096" y="1344"/>
                </a:cubicBezTo>
                <a:cubicBezTo>
                  <a:pt x="2088" y="1343"/>
                  <a:pt x="2078" y="1348"/>
                  <a:pt x="2073" y="1337"/>
                </a:cubicBezTo>
                <a:cubicBezTo>
                  <a:pt x="2068" y="1335"/>
                  <a:pt x="2064" y="1333"/>
                  <a:pt x="2060" y="1332"/>
                </a:cubicBezTo>
                <a:cubicBezTo>
                  <a:pt x="2064" y="1333"/>
                  <a:pt x="2068" y="1335"/>
                  <a:pt x="2073" y="1337"/>
                </a:cubicBezTo>
                <a:close/>
                <a:moveTo>
                  <a:pt x="2061" y="1352"/>
                </a:moveTo>
                <a:cubicBezTo>
                  <a:pt x="2061" y="1352"/>
                  <a:pt x="2061" y="1352"/>
                  <a:pt x="2061" y="1352"/>
                </a:cubicBezTo>
                <a:cubicBezTo>
                  <a:pt x="2061" y="1352"/>
                  <a:pt x="2061" y="1352"/>
                  <a:pt x="2061" y="1352"/>
                </a:cubicBezTo>
                <a:cubicBezTo>
                  <a:pt x="2061" y="1352"/>
                  <a:pt x="2061" y="1352"/>
                  <a:pt x="2061" y="1352"/>
                </a:cubicBezTo>
                <a:close/>
                <a:moveTo>
                  <a:pt x="2066" y="1367"/>
                </a:moveTo>
                <a:cubicBezTo>
                  <a:pt x="2069" y="1368"/>
                  <a:pt x="2073" y="1368"/>
                  <a:pt x="2077" y="1369"/>
                </a:cubicBezTo>
                <a:cubicBezTo>
                  <a:pt x="2078" y="1365"/>
                  <a:pt x="2075" y="1359"/>
                  <a:pt x="2080" y="1356"/>
                </a:cubicBezTo>
                <a:cubicBezTo>
                  <a:pt x="2085" y="1358"/>
                  <a:pt x="2090" y="1359"/>
                  <a:pt x="2096" y="1361"/>
                </a:cubicBezTo>
                <a:cubicBezTo>
                  <a:pt x="2096" y="1367"/>
                  <a:pt x="2097" y="1373"/>
                  <a:pt x="2098" y="1380"/>
                </a:cubicBezTo>
                <a:cubicBezTo>
                  <a:pt x="2101" y="1381"/>
                  <a:pt x="2103" y="1382"/>
                  <a:pt x="2104" y="1384"/>
                </a:cubicBezTo>
                <a:cubicBezTo>
                  <a:pt x="2103" y="1382"/>
                  <a:pt x="2101" y="1381"/>
                  <a:pt x="2098" y="1380"/>
                </a:cubicBezTo>
                <a:cubicBezTo>
                  <a:pt x="2097" y="1385"/>
                  <a:pt x="2099" y="1388"/>
                  <a:pt x="2105" y="1389"/>
                </a:cubicBezTo>
                <a:cubicBezTo>
                  <a:pt x="2106" y="1387"/>
                  <a:pt x="2107" y="1386"/>
                  <a:pt x="2109" y="1385"/>
                </a:cubicBezTo>
                <a:cubicBezTo>
                  <a:pt x="2112" y="1385"/>
                  <a:pt x="2114" y="1384"/>
                  <a:pt x="2117" y="1384"/>
                </a:cubicBezTo>
                <a:cubicBezTo>
                  <a:pt x="2133" y="1382"/>
                  <a:pt x="2136" y="1401"/>
                  <a:pt x="2149" y="1405"/>
                </a:cubicBezTo>
                <a:cubicBezTo>
                  <a:pt x="2153" y="1406"/>
                  <a:pt x="2158" y="1407"/>
                  <a:pt x="2162" y="1409"/>
                </a:cubicBezTo>
                <a:cubicBezTo>
                  <a:pt x="2168" y="1414"/>
                  <a:pt x="2170" y="1421"/>
                  <a:pt x="2168" y="1428"/>
                </a:cubicBezTo>
                <a:cubicBezTo>
                  <a:pt x="2173" y="1430"/>
                  <a:pt x="2176" y="1434"/>
                  <a:pt x="2178" y="1438"/>
                </a:cubicBezTo>
                <a:cubicBezTo>
                  <a:pt x="2176" y="1434"/>
                  <a:pt x="2173" y="1430"/>
                  <a:pt x="2168" y="1428"/>
                </a:cubicBezTo>
                <a:cubicBezTo>
                  <a:pt x="2161" y="1429"/>
                  <a:pt x="2158" y="1424"/>
                  <a:pt x="2154" y="1420"/>
                </a:cubicBezTo>
                <a:cubicBezTo>
                  <a:pt x="2151" y="1417"/>
                  <a:pt x="2148" y="1415"/>
                  <a:pt x="2145" y="1412"/>
                </a:cubicBezTo>
                <a:cubicBezTo>
                  <a:pt x="2135" y="1405"/>
                  <a:pt x="2124" y="1403"/>
                  <a:pt x="2113" y="1401"/>
                </a:cubicBezTo>
                <a:cubicBezTo>
                  <a:pt x="2108" y="1395"/>
                  <a:pt x="2103" y="1393"/>
                  <a:pt x="2096" y="1392"/>
                </a:cubicBezTo>
                <a:cubicBezTo>
                  <a:pt x="2082" y="1390"/>
                  <a:pt x="2069" y="1387"/>
                  <a:pt x="2057" y="1380"/>
                </a:cubicBezTo>
                <a:cubicBezTo>
                  <a:pt x="2056" y="1373"/>
                  <a:pt x="2059" y="1369"/>
                  <a:pt x="2066" y="1367"/>
                </a:cubicBezTo>
                <a:close/>
                <a:moveTo>
                  <a:pt x="2048" y="1344"/>
                </a:moveTo>
                <a:cubicBezTo>
                  <a:pt x="2050" y="1335"/>
                  <a:pt x="2054" y="1332"/>
                  <a:pt x="2058" y="1332"/>
                </a:cubicBezTo>
                <a:cubicBezTo>
                  <a:pt x="2054" y="1332"/>
                  <a:pt x="2050" y="1335"/>
                  <a:pt x="2048" y="1344"/>
                </a:cubicBezTo>
                <a:cubicBezTo>
                  <a:pt x="2046" y="1345"/>
                  <a:pt x="2044" y="1345"/>
                  <a:pt x="2042" y="1345"/>
                </a:cubicBezTo>
                <a:cubicBezTo>
                  <a:pt x="2044" y="1345"/>
                  <a:pt x="2046" y="1345"/>
                  <a:pt x="2048" y="1344"/>
                </a:cubicBezTo>
                <a:close/>
                <a:moveTo>
                  <a:pt x="2048" y="817"/>
                </a:moveTo>
                <a:cubicBezTo>
                  <a:pt x="2045" y="816"/>
                  <a:pt x="2043" y="816"/>
                  <a:pt x="2040" y="815"/>
                </a:cubicBezTo>
                <a:cubicBezTo>
                  <a:pt x="2043" y="816"/>
                  <a:pt x="2045" y="816"/>
                  <a:pt x="2048" y="817"/>
                </a:cubicBezTo>
                <a:cubicBezTo>
                  <a:pt x="2048" y="819"/>
                  <a:pt x="2048" y="822"/>
                  <a:pt x="2048" y="825"/>
                </a:cubicBezTo>
                <a:cubicBezTo>
                  <a:pt x="2048" y="822"/>
                  <a:pt x="2048" y="819"/>
                  <a:pt x="2048" y="817"/>
                </a:cubicBezTo>
                <a:close/>
                <a:moveTo>
                  <a:pt x="2048" y="793"/>
                </a:moveTo>
                <a:cubicBezTo>
                  <a:pt x="2048" y="795"/>
                  <a:pt x="2048" y="798"/>
                  <a:pt x="2048" y="800"/>
                </a:cubicBezTo>
                <a:cubicBezTo>
                  <a:pt x="2048" y="798"/>
                  <a:pt x="2048" y="795"/>
                  <a:pt x="2048" y="793"/>
                </a:cubicBezTo>
                <a:cubicBezTo>
                  <a:pt x="2045" y="790"/>
                  <a:pt x="2042" y="787"/>
                  <a:pt x="2039" y="784"/>
                </a:cubicBezTo>
                <a:cubicBezTo>
                  <a:pt x="2042" y="787"/>
                  <a:pt x="2045" y="790"/>
                  <a:pt x="2048" y="793"/>
                </a:cubicBezTo>
                <a:close/>
                <a:moveTo>
                  <a:pt x="2039" y="1360"/>
                </a:moveTo>
                <a:cubicBezTo>
                  <a:pt x="2044" y="1361"/>
                  <a:pt x="2058" y="1364"/>
                  <a:pt x="2049" y="1377"/>
                </a:cubicBezTo>
                <a:cubicBezTo>
                  <a:pt x="2043" y="1375"/>
                  <a:pt x="2038" y="1373"/>
                  <a:pt x="2033" y="1371"/>
                </a:cubicBezTo>
                <a:cubicBezTo>
                  <a:pt x="2035" y="1367"/>
                  <a:pt x="2029" y="1357"/>
                  <a:pt x="2039" y="1360"/>
                </a:cubicBezTo>
                <a:close/>
                <a:moveTo>
                  <a:pt x="2033" y="624"/>
                </a:moveTo>
                <a:cubicBezTo>
                  <a:pt x="2033" y="624"/>
                  <a:pt x="2033" y="624"/>
                  <a:pt x="2033" y="624"/>
                </a:cubicBezTo>
                <a:cubicBezTo>
                  <a:pt x="2034" y="624"/>
                  <a:pt x="2035" y="624"/>
                  <a:pt x="2036" y="625"/>
                </a:cubicBezTo>
                <a:cubicBezTo>
                  <a:pt x="2035" y="624"/>
                  <a:pt x="2034" y="624"/>
                  <a:pt x="2033" y="624"/>
                </a:cubicBezTo>
                <a:close/>
                <a:moveTo>
                  <a:pt x="2021" y="466"/>
                </a:moveTo>
                <a:cubicBezTo>
                  <a:pt x="2024" y="471"/>
                  <a:pt x="2030" y="472"/>
                  <a:pt x="2036" y="473"/>
                </a:cubicBezTo>
                <a:cubicBezTo>
                  <a:pt x="2030" y="472"/>
                  <a:pt x="2024" y="471"/>
                  <a:pt x="2021" y="466"/>
                </a:cubicBezTo>
                <a:cubicBezTo>
                  <a:pt x="2018" y="464"/>
                  <a:pt x="2015" y="462"/>
                  <a:pt x="2013" y="461"/>
                </a:cubicBezTo>
                <a:cubicBezTo>
                  <a:pt x="2015" y="462"/>
                  <a:pt x="2018" y="464"/>
                  <a:pt x="2021" y="466"/>
                </a:cubicBezTo>
                <a:close/>
                <a:moveTo>
                  <a:pt x="2013" y="509"/>
                </a:moveTo>
                <a:cubicBezTo>
                  <a:pt x="2015" y="511"/>
                  <a:pt x="2017" y="514"/>
                  <a:pt x="2020" y="518"/>
                </a:cubicBezTo>
                <a:cubicBezTo>
                  <a:pt x="2017" y="514"/>
                  <a:pt x="2015" y="511"/>
                  <a:pt x="2013" y="509"/>
                </a:cubicBezTo>
                <a:close/>
                <a:moveTo>
                  <a:pt x="2003" y="1284"/>
                </a:moveTo>
                <a:cubicBezTo>
                  <a:pt x="2004" y="1284"/>
                  <a:pt x="2004" y="1284"/>
                  <a:pt x="2004" y="1284"/>
                </a:cubicBezTo>
                <a:cubicBezTo>
                  <a:pt x="2009" y="1290"/>
                  <a:pt x="2022" y="1288"/>
                  <a:pt x="2020" y="1300"/>
                </a:cubicBezTo>
                <a:cubicBezTo>
                  <a:pt x="2015" y="1301"/>
                  <a:pt x="2010" y="1303"/>
                  <a:pt x="2004" y="1304"/>
                </a:cubicBezTo>
                <a:cubicBezTo>
                  <a:pt x="2003" y="1305"/>
                  <a:pt x="2002" y="1305"/>
                  <a:pt x="2000" y="1305"/>
                </a:cubicBezTo>
                <a:cubicBezTo>
                  <a:pt x="1997" y="1303"/>
                  <a:pt x="1994" y="1300"/>
                  <a:pt x="1991" y="1297"/>
                </a:cubicBezTo>
                <a:cubicBezTo>
                  <a:pt x="1992" y="1293"/>
                  <a:pt x="1992" y="1289"/>
                  <a:pt x="1993" y="1285"/>
                </a:cubicBezTo>
                <a:cubicBezTo>
                  <a:pt x="1996" y="1285"/>
                  <a:pt x="1998" y="1284"/>
                  <a:pt x="2001" y="1283"/>
                </a:cubicBezTo>
                <a:lnTo>
                  <a:pt x="2003" y="1284"/>
                </a:lnTo>
                <a:close/>
                <a:moveTo>
                  <a:pt x="1993" y="360"/>
                </a:moveTo>
                <a:cubicBezTo>
                  <a:pt x="1993" y="355"/>
                  <a:pt x="1995" y="352"/>
                  <a:pt x="1997" y="350"/>
                </a:cubicBezTo>
                <a:cubicBezTo>
                  <a:pt x="1995" y="352"/>
                  <a:pt x="1993" y="355"/>
                  <a:pt x="1993" y="360"/>
                </a:cubicBezTo>
                <a:cubicBezTo>
                  <a:pt x="1992" y="362"/>
                  <a:pt x="1990" y="363"/>
                  <a:pt x="1989" y="365"/>
                </a:cubicBezTo>
                <a:cubicBezTo>
                  <a:pt x="1990" y="363"/>
                  <a:pt x="1992" y="362"/>
                  <a:pt x="1993" y="360"/>
                </a:cubicBezTo>
                <a:close/>
                <a:moveTo>
                  <a:pt x="1984" y="364"/>
                </a:moveTo>
                <a:cubicBezTo>
                  <a:pt x="1983" y="365"/>
                  <a:pt x="1982" y="365"/>
                  <a:pt x="1981" y="365"/>
                </a:cubicBezTo>
                <a:cubicBezTo>
                  <a:pt x="1982" y="367"/>
                  <a:pt x="1983" y="369"/>
                  <a:pt x="1984" y="371"/>
                </a:cubicBezTo>
                <a:cubicBezTo>
                  <a:pt x="1983" y="369"/>
                  <a:pt x="1982" y="367"/>
                  <a:pt x="1981" y="365"/>
                </a:cubicBezTo>
                <a:cubicBezTo>
                  <a:pt x="1982" y="365"/>
                  <a:pt x="1983" y="365"/>
                  <a:pt x="1984" y="364"/>
                </a:cubicBezTo>
                <a:close/>
                <a:moveTo>
                  <a:pt x="1955" y="573"/>
                </a:moveTo>
                <a:cubicBezTo>
                  <a:pt x="1955" y="573"/>
                  <a:pt x="1955" y="573"/>
                  <a:pt x="1955" y="573"/>
                </a:cubicBezTo>
                <a:cubicBezTo>
                  <a:pt x="1957" y="573"/>
                  <a:pt x="1959" y="573"/>
                  <a:pt x="1961" y="573"/>
                </a:cubicBezTo>
                <a:cubicBezTo>
                  <a:pt x="1958" y="566"/>
                  <a:pt x="1958" y="561"/>
                  <a:pt x="1964" y="556"/>
                </a:cubicBezTo>
                <a:cubicBezTo>
                  <a:pt x="1964" y="554"/>
                  <a:pt x="1965" y="549"/>
                  <a:pt x="1964" y="549"/>
                </a:cubicBezTo>
                <a:cubicBezTo>
                  <a:pt x="1958" y="545"/>
                  <a:pt x="1956" y="543"/>
                  <a:pt x="1958" y="536"/>
                </a:cubicBezTo>
                <a:cubicBezTo>
                  <a:pt x="1959" y="531"/>
                  <a:pt x="1960" y="526"/>
                  <a:pt x="1961" y="521"/>
                </a:cubicBezTo>
                <a:cubicBezTo>
                  <a:pt x="1970" y="518"/>
                  <a:pt x="1975" y="508"/>
                  <a:pt x="1985" y="508"/>
                </a:cubicBezTo>
                <a:cubicBezTo>
                  <a:pt x="1985" y="509"/>
                  <a:pt x="1985" y="509"/>
                  <a:pt x="1985" y="509"/>
                </a:cubicBezTo>
                <a:cubicBezTo>
                  <a:pt x="1988" y="509"/>
                  <a:pt x="1990" y="509"/>
                  <a:pt x="1993" y="509"/>
                </a:cubicBezTo>
                <a:cubicBezTo>
                  <a:pt x="1990" y="509"/>
                  <a:pt x="1988" y="509"/>
                  <a:pt x="1985" y="509"/>
                </a:cubicBezTo>
                <a:cubicBezTo>
                  <a:pt x="1986" y="511"/>
                  <a:pt x="1987" y="513"/>
                  <a:pt x="1988" y="516"/>
                </a:cubicBezTo>
                <a:cubicBezTo>
                  <a:pt x="1984" y="517"/>
                  <a:pt x="1981" y="519"/>
                  <a:pt x="1984" y="524"/>
                </a:cubicBezTo>
                <a:cubicBezTo>
                  <a:pt x="1984" y="527"/>
                  <a:pt x="1984" y="530"/>
                  <a:pt x="1984" y="533"/>
                </a:cubicBezTo>
                <a:cubicBezTo>
                  <a:pt x="1985" y="536"/>
                  <a:pt x="1987" y="539"/>
                  <a:pt x="1988" y="542"/>
                </a:cubicBezTo>
                <a:cubicBezTo>
                  <a:pt x="1988" y="548"/>
                  <a:pt x="1988" y="554"/>
                  <a:pt x="1988" y="560"/>
                </a:cubicBezTo>
                <a:cubicBezTo>
                  <a:pt x="1987" y="570"/>
                  <a:pt x="1995" y="584"/>
                  <a:pt x="1976" y="585"/>
                </a:cubicBezTo>
                <a:cubicBezTo>
                  <a:pt x="1975" y="585"/>
                  <a:pt x="1974" y="584"/>
                  <a:pt x="1973" y="585"/>
                </a:cubicBezTo>
                <a:cubicBezTo>
                  <a:pt x="1973" y="583"/>
                  <a:pt x="1972" y="582"/>
                  <a:pt x="1973" y="581"/>
                </a:cubicBezTo>
                <a:cubicBezTo>
                  <a:pt x="1965" y="581"/>
                  <a:pt x="1960" y="577"/>
                  <a:pt x="1955" y="573"/>
                </a:cubicBezTo>
                <a:cubicBezTo>
                  <a:pt x="1955" y="573"/>
                  <a:pt x="1954" y="573"/>
                  <a:pt x="1954" y="573"/>
                </a:cubicBezTo>
                <a:lnTo>
                  <a:pt x="1955" y="573"/>
                </a:lnTo>
                <a:close/>
                <a:moveTo>
                  <a:pt x="1949" y="441"/>
                </a:moveTo>
                <a:cubicBezTo>
                  <a:pt x="1949" y="452"/>
                  <a:pt x="1950" y="464"/>
                  <a:pt x="1951" y="476"/>
                </a:cubicBezTo>
                <a:cubicBezTo>
                  <a:pt x="1950" y="464"/>
                  <a:pt x="1949" y="452"/>
                  <a:pt x="1949" y="441"/>
                </a:cubicBezTo>
                <a:close/>
                <a:moveTo>
                  <a:pt x="1945" y="548"/>
                </a:moveTo>
                <a:cubicBezTo>
                  <a:pt x="1944" y="558"/>
                  <a:pt x="1950" y="565"/>
                  <a:pt x="1954" y="573"/>
                </a:cubicBezTo>
                <a:cubicBezTo>
                  <a:pt x="1954" y="573"/>
                  <a:pt x="1954" y="573"/>
                  <a:pt x="1954" y="573"/>
                </a:cubicBezTo>
                <a:cubicBezTo>
                  <a:pt x="1953" y="574"/>
                  <a:pt x="1952" y="575"/>
                  <a:pt x="1952" y="576"/>
                </a:cubicBezTo>
                <a:cubicBezTo>
                  <a:pt x="1942" y="576"/>
                  <a:pt x="1945" y="583"/>
                  <a:pt x="1945" y="589"/>
                </a:cubicBezTo>
                <a:cubicBezTo>
                  <a:pt x="1945" y="591"/>
                  <a:pt x="1945" y="594"/>
                  <a:pt x="1944" y="596"/>
                </a:cubicBezTo>
                <a:cubicBezTo>
                  <a:pt x="1936" y="588"/>
                  <a:pt x="1943" y="578"/>
                  <a:pt x="1939" y="569"/>
                </a:cubicBezTo>
                <a:cubicBezTo>
                  <a:pt x="1939" y="569"/>
                  <a:pt x="1939" y="569"/>
                  <a:pt x="1939" y="569"/>
                </a:cubicBezTo>
                <a:cubicBezTo>
                  <a:pt x="1942" y="563"/>
                  <a:pt x="1938" y="554"/>
                  <a:pt x="1945" y="548"/>
                </a:cubicBezTo>
                <a:close/>
                <a:moveTo>
                  <a:pt x="1936" y="542"/>
                </a:moveTo>
                <a:cubicBezTo>
                  <a:pt x="1936" y="549"/>
                  <a:pt x="1938" y="557"/>
                  <a:pt x="1932" y="563"/>
                </a:cubicBezTo>
                <a:cubicBezTo>
                  <a:pt x="1929" y="559"/>
                  <a:pt x="1925" y="555"/>
                  <a:pt x="1922" y="552"/>
                </a:cubicBezTo>
                <a:cubicBezTo>
                  <a:pt x="1920" y="552"/>
                  <a:pt x="1918" y="553"/>
                  <a:pt x="1916" y="554"/>
                </a:cubicBezTo>
                <a:cubicBezTo>
                  <a:pt x="1916" y="554"/>
                  <a:pt x="1916" y="554"/>
                  <a:pt x="1916" y="554"/>
                </a:cubicBezTo>
                <a:cubicBezTo>
                  <a:pt x="1918" y="553"/>
                  <a:pt x="1920" y="552"/>
                  <a:pt x="1922" y="552"/>
                </a:cubicBezTo>
                <a:cubicBezTo>
                  <a:pt x="1921" y="550"/>
                  <a:pt x="1921" y="548"/>
                  <a:pt x="1921" y="546"/>
                </a:cubicBezTo>
                <a:cubicBezTo>
                  <a:pt x="1927" y="549"/>
                  <a:pt x="1929" y="537"/>
                  <a:pt x="1936" y="542"/>
                </a:cubicBezTo>
                <a:close/>
                <a:moveTo>
                  <a:pt x="1921" y="421"/>
                </a:moveTo>
                <a:cubicBezTo>
                  <a:pt x="1921" y="421"/>
                  <a:pt x="1921" y="421"/>
                  <a:pt x="1921" y="421"/>
                </a:cubicBezTo>
                <a:cubicBezTo>
                  <a:pt x="1921" y="421"/>
                  <a:pt x="1921" y="421"/>
                  <a:pt x="1921" y="421"/>
                </a:cubicBezTo>
                <a:close/>
                <a:moveTo>
                  <a:pt x="1922" y="396"/>
                </a:moveTo>
                <a:cubicBezTo>
                  <a:pt x="1918" y="399"/>
                  <a:pt x="1915" y="403"/>
                  <a:pt x="1911" y="403"/>
                </a:cubicBezTo>
                <a:cubicBezTo>
                  <a:pt x="1915" y="403"/>
                  <a:pt x="1918" y="399"/>
                  <a:pt x="1922" y="396"/>
                </a:cubicBezTo>
                <a:close/>
                <a:moveTo>
                  <a:pt x="1921" y="421"/>
                </a:moveTo>
                <a:cubicBezTo>
                  <a:pt x="1927" y="416"/>
                  <a:pt x="1929" y="411"/>
                  <a:pt x="1929" y="405"/>
                </a:cubicBezTo>
                <a:cubicBezTo>
                  <a:pt x="1929" y="411"/>
                  <a:pt x="1927" y="416"/>
                  <a:pt x="1921" y="421"/>
                </a:cubicBezTo>
                <a:cubicBezTo>
                  <a:pt x="1921" y="421"/>
                  <a:pt x="1921" y="421"/>
                  <a:pt x="1921" y="421"/>
                </a:cubicBezTo>
                <a:cubicBezTo>
                  <a:pt x="1910" y="421"/>
                  <a:pt x="1896" y="424"/>
                  <a:pt x="1896" y="412"/>
                </a:cubicBezTo>
                <a:cubicBezTo>
                  <a:pt x="1896" y="424"/>
                  <a:pt x="1910" y="421"/>
                  <a:pt x="1921" y="421"/>
                </a:cubicBezTo>
                <a:close/>
                <a:moveTo>
                  <a:pt x="1891" y="555"/>
                </a:moveTo>
                <a:cubicBezTo>
                  <a:pt x="1898" y="546"/>
                  <a:pt x="1897" y="558"/>
                  <a:pt x="1900" y="557"/>
                </a:cubicBezTo>
                <a:cubicBezTo>
                  <a:pt x="1902" y="562"/>
                  <a:pt x="1904" y="567"/>
                  <a:pt x="1906" y="572"/>
                </a:cubicBezTo>
                <a:cubicBezTo>
                  <a:pt x="1908" y="579"/>
                  <a:pt x="1900" y="582"/>
                  <a:pt x="1900" y="589"/>
                </a:cubicBezTo>
                <a:cubicBezTo>
                  <a:pt x="1903" y="589"/>
                  <a:pt x="1906" y="589"/>
                  <a:pt x="1909" y="589"/>
                </a:cubicBezTo>
                <a:cubicBezTo>
                  <a:pt x="1906" y="589"/>
                  <a:pt x="1903" y="589"/>
                  <a:pt x="1900" y="589"/>
                </a:cubicBezTo>
                <a:cubicBezTo>
                  <a:pt x="1895" y="590"/>
                  <a:pt x="1892" y="598"/>
                  <a:pt x="1885" y="596"/>
                </a:cubicBezTo>
                <a:cubicBezTo>
                  <a:pt x="1885" y="595"/>
                  <a:pt x="1885" y="594"/>
                  <a:pt x="1885" y="593"/>
                </a:cubicBezTo>
                <a:cubicBezTo>
                  <a:pt x="1886" y="580"/>
                  <a:pt x="1882" y="567"/>
                  <a:pt x="1891" y="555"/>
                </a:cubicBezTo>
                <a:close/>
                <a:moveTo>
                  <a:pt x="1884" y="669"/>
                </a:moveTo>
                <a:cubicBezTo>
                  <a:pt x="1886" y="668"/>
                  <a:pt x="1888" y="667"/>
                  <a:pt x="1889" y="666"/>
                </a:cubicBezTo>
                <a:cubicBezTo>
                  <a:pt x="1889" y="664"/>
                  <a:pt x="1888" y="663"/>
                  <a:pt x="1887" y="661"/>
                </a:cubicBezTo>
                <a:cubicBezTo>
                  <a:pt x="1888" y="663"/>
                  <a:pt x="1889" y="664"/>
                  <a:pt x="1889" y="666"/>
                </a:cubicBezTo>
                <a:cubicBezTo>
                  <a:pt x="1899" y="676"/>
                  <a:pt x="1917" y="681"/>
                  <a:pt x="1909" y="700"/>
                </a:cubicBezTo>
                <a:cubicBezTo>
                  <a:pt x="1898" y="705"/>
                  <a:pt x="1895" y="717"/>
                  <a:pt x="1883" y="724"/>
                </a:cubicBezTo>
                <a:cubicBezTo>
                  <a:pt x="1880" y="705"/>
                  <a:pt x="1883" y="687"/>
                  <a:pt x="1884" y="669"/>
                </a:cubicBezTo>
                <a:close/>
                <a:moveTo>
                  <a:pt x="1878" y="733"/>
                </a:moveTo>
                <a:cubicBezTo>
                  <a:pt x="1897" y="731"/>
                  <a:pt x="1905" y="717"/>
                  <a:pt x="1909" y="701"/>
                </a:cubicBezTo>
                <a:cubicBezTo>
                  <a:pt x="1915" y="706"/>
                  <a:pt x="1916" y="696"/>
                  <a:pt x="1921" y="696"/>
                </a:cubicBezTo>
                <a:cubicBezTo>
                  <a:pt x="1921" y="701"/>
                  <a:pt x="1921" y="705"/>
                  <a:pt x="1922" y="709"/>
                </a:cubicBezTo>
                <a:cubicBezTo>
                  <a:pt x="1912" y="727"/>
                  <a:pt x="1903" y="745"/>
                  <a:pt x="1881" y="749"/>
                </a:cubicBezTo>
                <a:cubicBezTo>
                  <a:pt x="1877" y="746"/>
                  <a:pt x="1878" y="741"/>
                  <a:pt x="1877" y="737"/>
                </a:cubicBezTo>
                <a:cubicBezTo>
                  <a:pt x="1877" y="735"/>
                  <a:pt x="1877" y="734"/>
                  <a:pt x="1878" y="733"/>
                </a:cubicBezTo>
                <a:close/>
                <a:moveTo>
                  <a:pt x="1873" y="598"/>
                </a:moveTo>
                <a:cubicBezTo>
                  <a:pt x="1867" y="601"/>
                  <a:pt x="1862" y="604"/>
                  <a:pt x="1856" y="607"/>
                </a:cubicBezTo>
                <a:cubicBezTo>
                  <a:pt x="1862" y="604"/>
                  <a:pt x="1867" y="601"/>
                  <a:pt x="1873" y="598"/>
                </a:cubicBezTo>
                <a:cubicBezTo>
                  <a:pt x="1874" y="596"/>
                  <a:pt x="1876" y="595"/>
                  <a:pt x="1877" y="593"/>
                </a:cubicBezTo>
                <a:cubicBezTo>
                  <a:pt x="1876" y="595"/>
                  <a:pt x="1874" y="596"/>
                  <a:pt x="1873" y="598"/>
                </a:cubicBezTo>
                <a:close/>
                <a:moveTo>
                  <a:pt x="1865" y="512"/>
                </a:moveTo>
                <a:cubicBezTo>
                  <a:pt x="1866" y="514"/>
                  <a:pt x="1869" y="515"/>
                  <a:pt x="1872" y="513"/>
                </a:cubicBezTo>
                <a:cubicBezTo>
                  <a:pt x="1872" y="524"/>
                  <a:pt x="1873" y="534"/>
                  <a:pt x="1873" y="545"/>
                </a:cubicBezTo>
                <a:cubicBezTo>
                  <a:pt x="1873" y="534"/>
                  <a:pt x="1872" y="524"/>
                  <a:pt x="1872" y="514"/>
                </a:cubicBezTo>
                <a:cubicBezTo>
                  <a:pt x="1869" y="515"/>
                  <a:pt x="1866" y="514"/>
                  <a:pt x="1865" y="512"/>
                </a:cubicBezTo>
                <a:close/>
                <a:moveTo>
                  <a:pt x="1873" y="489"/>
                </a:moveTo>
                <a:cubicBezTo>
                  <a:pt x="1876" y="476"/>
                  <a:pt x="1877" y="464"/>
                  <a:pt x="1877" y="451"/>
                </a:cubicBezTo>
                <a:cubicBezTo>
                  <a:pt x="1877" y="464"/>
                  <a:pt x="1876" y="476"/>
                  <a:pt x="1873" y="489"/>
                </a:cubicBezTo>
                <a:close/>
                <a:moveTo>
                  <a:pt x="1876" y="409"/>
                </a:moveTo>
                <a:cubicBezTo>
                  <a:pt x="1871" y="410"/>
                  <a:pt x="1865" y="408"/>
                  <a:pt x="1860" y="406"/>
                </a:cubicBezTo>
                <a:cubicBezTo>
                  <a:pt x="1865" y="408"/>
                  <a:pt x="1871" y="410"/>
                  <a:pt x="1876" y="409"/>
                </a:cubicBezTo>
                <a:close/>
                <a:moveTo>
                  <a:pt x="1874" y="396"/>
                </a:moveTo>
                <a:cubicBezTo>
                  <a:pt x="1872" y="393"/>
                  <a:pt x="1868" y="392"/>
                  <a:pt x="1862" y="392"/>
                </a:cubicBezTo>
                <a:cubicBezTo>
                  <a:pt x="1863" y="385"/>
                  <a:pt x="1859" y="383"/>
                  <a:pt x="1854" y="381"/>
                </a:cubicBezTo>
                <a:cubicBezTo>
                  <a:pt x="1859" y="383"/>
                  <a:pt x="1863" y="385"/>
                  <a:pt x="1862" y="392"/>
                </a:cubicBezTo>
                <a:cubicBezTo>
                  <a:pt x="1868" y="392"/>
                  <a:pt x="1872" y="393"/>
                  <a:pt x="1874" y="396"/>
                </a:cubicBezTo>
                <a:close/>
                <a:moveTo>
                  <a:pt x="1847" y="373"/>
                </a:moveTo>
                <a:cubicBezTo>
                  <a:pt x="1854" y="373"/>
                  <a:pt x="1860" y="376"/>
                  <a:pt x="1867" y="379"/>
                </a:cubicBezTo>
                <a:cubicBezTo>
                  <a:pt x="1860" y="376"/>
                  <a:pt x="1854" y="373"/>
                  <a:pt x="1847" y="373"/>
                </a:cubicBezTo>
                <a:cubicBezTo>
                  <a:pt x="1845" y="373"/>
                  <a:pt x="1845" y="373"/>
                  <a:pt x="1845" y="373"/>
                </a:cubicBezTo>
                <a:lnTo>
                  <a:pt x="1847" y="373"/>
                </a:lnTo>
                <a:close/>
                <a:moveTo>
                  <a:pt x="1849" y="506"/>
                </a:moveTo>
                <a:cubicBezTo>
                  <a:pt x="1848" y="506"/>
                  <a:pt x="1846" y="506"/>
                  <a:pt x="1845" y="507"/>
                </a:cubicBezTo>
                <a:cubicBezTo>
                  <a:pt x="1846" y="506"/>
                  <a:pt x="1848" y="506"/>
                  <a:pt x="1849" y="506"/>
                </a:cubicBezTo>
                <a:close/>
                <a:moveTo>
                  <a:pt x="1844" y="497"/>
                </a:moveTo>
                <a:cubicBezTo>
                  <a:pt x="1844" y="499"/>
                  <a:pt x="1844" y="501"/>
                  <a:pt x="1844" y="502"/>
                </a:cubicBezTo>
                <a:cubicBezTo>
                  <a:pt x="1844" y="501"/>
                  <a:pt x="1844" y="499"/>
                  <a:pt x="1844" y="497"/>
                </a:cubicBezTo>
                <a:cubicBezTo>
                  <a:pt x="1844" y="495"/>
                  <a:pt x="1842" y="492"/>
                  <a:pt x="1842" y="489"/>
                </a:cubicBezTo>
                <a:cubicBezTo>
                  <a:pt x="1842" y="492"/>
                  <a:pt x="1844" y="495"/>
                  <a:pt x="1844" y="497"/>
                </a:cubicBezTo>
                <a:close/>
                <a:moveTo>
                  <a:pt x="1834" y="393"/>
                </a:moveTo>
                <a:cubicBezTo>
                  <a:pt x="1835" y="393"/>
                  <a:pt x="1836" y="393"/>
                  <a:pt x="1837" y="393"/>
                </a:cubicBezTo>
                <a:cubicBezTo>
                  <a:pt x="1836" y="393"/>
                  <a:pt x="1835" y="393"/>
                  <a:pt x="1834" y="393"/>
                </a:cubicBezTo>
                <a:close/>
                <a:moveTo>
                  <a:pt x="1842" y="509"/>
                </a:moveTo>
                <a:cubicBezTo>
                  <a:pt x="1842" y="509"/>
                  <a:pt x="1842" y="508"/>
                  <a:pt x="1843" y="508"/>
                </a:cubicBezTo>
                <a:cubicBezTo>
                  <a:pt x="1842" y="508"/>
                  <a:pt x="1842" y="509"/>
                  <a:pt x="1842" y="509"/>
                </a:cubicBezTo>
                <a:cubicBezTo>
                  <a:pt x="1825" y="509"/>
                  <a:pt x="1831" y="525"/>
                  <a:pt x="1825" y="533"/>
                </a:cubicBezTo>
                <a:cubicBezTo>
                  <a:pt x="1826" y="533"/>
                  <a:pt x="1826" y="534"/>
                  <a:pt x="1825" y="535"/>
                </a:cubicBezTo>
                <a:cubicBezTo>
                  <a:pt x="1826" y="534"/>
                  <a:pt x="1826" y="533"/>
                  <a:pt x="1825" y="533"/>
                </a:cubicBezTo>
                <a:cubicBezTo>
                  <a:pt x="1831" y="525"/>
                  <a:pt x="1825" y="509"/>
                  <a:pt x="1842" y="509"/>
                </a:cubicBezTo>
                <a:close/>
                <a:moveTo>
                  <a:pt x="1833" y="1077"/>
                </a:moveTo>
                <a:cubicBezTo>
                  <a:pt x="1833" y="1067"/>
                  <a:pt x="1833" y="1058"/>
                  <a:pt x="1833" y="1048"/>
                </a:cubicBezTo>
                <a:cubicBezTo>
                  <a:pt x="1833" y="1045"/>
                  <a:pt x="1833" y="1041"/>
                  <a:pt x="1833" y="1037"/>
                </a:cubicBezTo>
                <a:cubicBezTo>
                  <a:pt x="1836" y="1036"/>
                  <a:pt x="1839" y="1034"/>
                  <a:pt x="1840" y="1032"/>
                </a:cubicBezTo>
                <a:cubicBezTo>
                  <a:pt x="1839" y="1034"/>
                  <a:pt x="1836" y="1036"/>
                  <a:pt x="1833" y="1037"/>
                </a:cubicBezTo>
                <a:cubicBezTo>
                  <a:pt x="1833" y="1041"/>
                  <a:pt x="1833" y="1045"/>
                  <a:pt x="1833" y="1048"/>
                </a:cubicBezTo>
                <a:cubicBezTo>
                  <a:pt x="1839" y="1051"/>
                  <a:pt x="1841" y="1055"/>
                  <a:pt x="1841" y="1060"/>
                </a:cubicBezTo>
                <a:cubicBezTo>
                  <a:pt x="1841" y="1055"/>
                  <a:pt x="1839" y="1051"/>
                  <a:pt x="1833" y="1048"/>
                </a:cubicBezTo>
                <a:cubicBezTo>
                  <a:pt x="1833" y="1058"/>
                  <a:pt x="1833" y="1067"/>
                  <a:pt x="1833" y="1077"/>
                </a:cubicBezTo>
                <a:cubicBezTo>
                  <a:pt x="1829" y="1079"/>
                  <a:pt x="1824" y="1080"/>
                  <a:pt x="1822" y="1084"/>
                </a:cubicBezTo>
                <a:cubicBezTo>
                  <a:pt x="1824" y="1080"/>
                  <a:pt x="1829" y="1079"/>
                  <a:pt x="1833" y="1077"/>
                </a:cubicBezTo>
                <a:close/>
                <a:moveTo>
                  <a:pt x="1813" y="493"/>
                </a:moveTo>
                <a:cubicBezTo>
                  <a:pt x="1815" y="493"/>
                  <a:pt x="1816" y="493"/>
                  <a:pt x="1818" y="493"/>
                </a:cubicBezTo>
                <a:cubicBezTo>
                  <a:pt x="1820" y="488"/>
                  <a:pt x="1821" y="482"/>
                  <a:pt x="1820" y="477"/>
                </a:cubicBezTo>
                <a:cubicBezTo>
                  <a:pt x="1821" y="482"/>
                  <a:pt x="1820" y="488"/>
                  <a:pt x="1818" y="493"/>
                </a:cubicBezTo>
                <a:cubicBezTo>
                  <a:pt x="1818" y="496"/>
                  <a:pt x="1818" y="500"/>
                  <a:pt x="1818" y="503"/>
                </a:cubicBezTo>
                <a:cubicBezTo>
                  <a:pt x="1818" y="500"/>
                  <a:pt x="1818" y="496"/>
                  <a:pt x="1818" y="493"/>
                </a:cubicBezTo>
                <a:cubicBezTo>
                  <a:pt x="1816" y="493"/>
                  <a:pt x="1815" y="493"/>
                  <a:pt x="1813" y="493"/>
                </a:cubicBezTo>
                <a:cubicBezTo>
                  <a:pt x="1813" y="498"/>
                  <a:pt x="1812" y="502"/>
                  <a:pt x="1812" y="507"/>
                </a:cubicBezTo>
                <a:cubicBezTo>
                  <a:pt x="1812" y="502"/>
                  <a:pt x="1813" y="498"/>
                  <a:pt x="1813" y="493"/>
                </a:cubicBezTo>
                <a:close/>
                <a:moveTo>
                  <a:pt x="1811" y="561"/>
                </a:moveTo>
                <a:cubicBezTo>
                  <a:pt x="1811" y="558"/>
                  <a:pt x="1810" y="557"/>
                  <a:pt x="1809" y="557"/>
                </a:cubicBezTo>
                <a:cubicBezTo>
                  <a:pt x="1810" y="557"/>
                  <a:pt x="1811" y="558"/>
                  <a:pt x="1811" y="561"/>
                </a:cubicBezTo>
                <a:cubicBezTo>
                  <a:pt x="1809" y="562"/>
                  <a:pt x="1807" y="563"/>
                  <a:pt x="1805" y="565"/>
                </a:cubicBezTo>
                <a:cubicBezTo>
                  <a:pt x="1807" y="563"/>
                  <a:pt x="1809" y="562"/>
                  <a:pt x="1811" y="561"/>
                </a:cubicBezTo>
                <a:close/>
                <a:moveTo>
                  <a:pt x="1804" y="557"/>
                </a:moveTo>
                <a:cubicBezTo>
                  <a:pt x="1805" y="557"/>
                  <a:pt x="1807" y="556"/>
                  <a:pt x="1808" y="557"/>
                </a:cubicBezTo>
                <a:cubicBezTo>
                  <a:pt x="1807" y="556"/>
                  <a:pt x="1805" y="557"/>
                  <a:pt x="1804" y="557"/>
                </a:cubicBezTo>
                <a:close/>
                <a:moveTo>
                  <a:pt x="1809" y="526"/>
                </a:moveTo>
                <a:cubicBezTo>
                  <a:pt x="1806" y="528"/>
                  <a:pt x="1802" y="529"/>
                  <a:pt x="1798" y="529"/>
                </a:cubicBezTo>
                <a:cubicBezTo>
                  <a:pt x="1801" y="531"/>
                  <a:pt x="1806" y="532"/>
                  <a:pt x="1810" y="535"/>
                </a:cubicBezTo>
                <a:cubicBezTo>
                  <a:pt x="1806" y="532"/>
                  <a:pt x="1801" y="531"/>
                  <a:pt x="1798" y="529"/>
                </a:cubicBezTo>
                <a:cubicBezTo>
                  <a:pt x="1802" y="529"/>
                  <a:pt x="1806" y="528"/>
                  <a:pt x="1809" y="526"/>
                </a:cubicBezTo>
                <a:close/>
                <a:moveTo>
                  <a:pt x="1801" y="603"/>
                </a:moveTo>
                <a:cubicBezTo>
                  <a:pt x="1805" y="613"/>
                  <a:pt x="1809" y="623"/>
                  <a:pt x="1812" y="632"/>
                </a:cubicBezTo>
                <a:cubicBezTo>
                  <a:pt x="1822" y="668"/>
                  <a:pt x="1815" y="705"/>
                  <a:pt x="1815" y="741"/>
                </a:cubicBezTo>
                <a:cubicBezTo>
                  <a:pt x="1815" y="749"/>
                  <a:pt x="1809" y="747"/>
                  <a:pt x="1805" y="749"/>
                </a:cubicBezTo>
                <a:cubicBezTo>
                  <a:pt x="1802" y="722"/>
                  <a:pt x="1784" y="703"/>
                  <a:pt x="1773" y="681"/>
                </a:cubicBezTo>
                <a:cubicBezTo>
                  <a:pt x="1763" y="659"/>
                  <a:pt x="1753" y="638"/>
                  <a:pt x="1739" y="619"/>
                </a:cubicBezTo>
                <a:cubicBezTo>
                  <a:pt x="1737" y="614"/>
                  <a:pt x="1736" y="609"/>
                  <a:pt x="1734" y="605"/>
                </a:cubicBezTo>
                <a:cubicBezTo>
                  <a:pt x="1735" y="603"/>
                  <a:pt x="1736" y="602"/>
                  <a:pt x="1736" y="600"/>
                </a:cubicBezTo>
                <a:cubicBezTo>
                  <a:pt x="1738" y="599"/>
                  <a:pt x="1739" y="598"/>
                  <a:pt x="1740" y="596"/>
                </a:cubicBezTo>
                <a:cubicBezTo>
                  <a:pt x="1750" y="597"/>
                  <a:pt x="1755" y="586"/>
                  <a:pt x="1765" y="588"/>
                </a:cubicBezTo>
                <a:cubicBezTo>
                  <a:pt x="1769" y="588"/>
                  <a:pt x="1772" y="589"/>
                  <a:pt x="1776" y="590"/>
                </a:cubicBezTo>
                <a:cubicBezTo>
                  <a:pt x="1784" y="594"/>
                  <a:pt x="1792" y="598"/>
                  <a:pt x="1801" y="603"/>
                </a:cubicBezTo>
                <a:close/>
                <a:moveTo>
                  <a:pt x="1737" y="542"/>
                </a:moveTo>
                <a:cubicBezTo>
                  <a:pt x="1736" y="541"/>
                  <a:pt x="1734" y="541"/>
                  <a:pt x="1733" y="541"/>
                </a:cubicBezTo>
                <a:cubicBezTo>
                  <a:pt x="1734" y="539"/>
                  <a:pt x="1735" y="537"/>
                  <a:pt x="1736" y="535"/>
                </a:cubicBezTo>
                <a:cubicBezTo>
                  <a:pt x="1735" y="537"/>
                  <a:pt x="1734" y="539"/>
                  <a:pt x="1733" y="541"/>
                </a:cubicBezTo>
                <a:cubicBezTo>
                  <a:pt x="1734" y="541"/>
                  <a:pt x="1736" y="541"/>
                  <a:pt x="1737" y="542"/>
                </a:cubicBezTo>
                <a:close/>
                <a:moveTo>
                  <a:pt x="1760" y="484"/>
                </a:moveTo>
                <a:cubicBezTo>
                  <a:pt x="1760" y="486"/>
                  <a:pt x="1761" y="487"/>
                  <a:pt x="1761" y="489"/>
                </a:cubicBezTo>
                <a:cubicBezTo>
                  <a:pt x="1761" y="487"/>
                  <a:pt x="1760" y="486"/>
                  <a:pt x="1760" y="484"/>
                </a:cubicBezTo>
                <a:close/>
                <a:moveTo>
                  <a:pt x="1773" y="536"/>
                </a:moveTo>
                <a:cubicBezTo>
                  <a:pt x="1773" y="534"/>
                  <a:pt x="1773" y="533"/>
                  <a:pt x="1773" y="531"/>
                </a:cubicBezTo>
                <a:cubicBezTo>
                  <a:pt x="1773" y="533"/>
                  <a:pt x="1773" y="534"/>
                  <a:pt x="1773" y="536"/>
                </a:cubicBezTo>
                <a:cubicBezTo>
                  <a:pt x="1778" y="536"/>
                  <a:pt x="1783" y="536"/>
                  <a:pt x="1789" y="537"/>
                </a:cubicBezTo>
                <a:cubicBezTo>
                  <a:pt x="1783" y="536"/>
                  <a:pt x="1778" y="536"/>
                  <a:pt x="1773" y="536"/>
                </a:cubicBezTo>
                <a:close/>
                <a:moveTo>
                  <a:pt x="1784" y="445"/>
                </a:moveTo>
                <a:cubicBezTo>
                  <a:pt x="1784" y="444"/>
                  <a:pt x="1784" y="444"/>
                  <a:pt x="1784" y="444"/>
                </a:cubicBezTo>
                <a:cubicBezTo>
                  <a:pt x="1782" y="450"/>
                  <a:pt x="1787" y="453"/>
                  <a:pt x="1788" y="459"/>
                </a:cubicBezTo>
                <a:cubicBezTo>
                  <a:pt x="1787" y="453"/>
                  <a:pt x="1782" y="450"/>
                  <a:pt x="1784" y="445"/>
                </a:cubicBezTo>
                <a:close/>
                <a:moveTo>
                  <a:pt x="1772" y="440"/>
                </a:moveTo>
                <a:cubicBezTo>
                  <a:pt x="1772" y="439"/>
                  <a:pt x="1773" y="438"/>
                  <a:pt x="1773" y="437"/>
                </a:cubicBezTo>
                <a:cubicBezTo>
                  <a:pt x="1773" y="438"/>
                  <a:pt x="1772" y="439"/>
                  <a:pt x="1772" y="440"/>
                </a:cubicBezTo>
                <a:cubicBezTo>
                  <a:pt x="1767" y="440"/>
                  <a:pt x="1763" y="441"/>
                  <a:pt x="1761" y="443"/>
                </a:cubicBezTo>
                <a:cubicBezTo>
                  <a:pt x="1763" y="441"/>
                  <a:pt x="1767" y="440"/>
                  <a:pt x="1772" y="440"/>
                </a:cubicBezTo>
                <a:close/>
                <a:moveTo>
                  <a:pt x="1724" y="508"/>
                </a:moveTo>
                <a:cubicBezTo>
                  <a:pt x="1728" y="509"/>
                  <a:pt x="1733" y="509"/>
                  <a:pt x="1738" y="510"/>
                </a:cubicBezTo>
                <a:cubicBezTo>
                  <a:pt x="1740" y="507"/>
                  <a:pt x="1742" y="504"/>
                  <a:pt x="1745" y="501"/>
                </a:cubicBezTo>
                <a:cubicBezTo>
                  <a:pt x="1742" y="504"/>
                  <a:pt x="1740" y="507"/>
                  <a:pt x="1738" y="510"/>
                </a:cubicBezTo>
                <a:cubicBezTo>
                  <a:pt x="1736" y="513"/>
                  <a:pt x="1735" y="515"/>
                  <a:pt x="1734" y="518"/>
                </a:cubicBezTo>
                <a:cubicBezTo>
                  <a:pt x="1735" y="515"/>
                  <a:pt x="1736" y="513"/>
                  <a:pt x="1738" y="510"/>
                </a:cubicBezTo>
                <a:cubicBezTo>
                  <a:pt x="1733" y="509"/>
                  <a:pt x="1728" y="509"/>
                  <a:pt x="1724" y="508"/>
                </a:cubicBezTo>
                <a:cubicBezTo>
                  <a:pt x="1724" y="508"/>
                  <a:pt x="1723" y="508"/>
                  <a:pt x="1723" y="509"/>
                </a:cubicBezTo>
                <a:lnTo>
                  <a:pt x="1724" y="508"/>
                </a:lnTo>
                <a:close/>
                <a:moveTo>
                  <a:pt x="1722" y="509"/>
                </a:moveTo>
                <a:cubicBezTo>
                  <a:pt x="1722" y="509"/>
                  <a:pt x="1722" y="509"/>
                  <a:pt x="1722" y="509"/>
                </a:cubicBezTo>
                <a:cubicBezTo>
                  <a:pt x="1722" y="499"/>
                  <a:pt x="1721" y="490"/>
                  <a:pt x="1720" y="480"/>
                </a:cubicBezTo>
                <a:cubicBezTo>
                  <a:pt x="1721" y="490"/>
                  <a:pt x="1722" y="499"/>
                  <a:pt x="1722" y="509"/>
                </a:cubicBezTo>
                <a:close/>
                <a:moveTo>
                  <a:pt x="1717" y="509"/>
                </a:moveTo>
                <a:cubicBezTo>
                  <a:pt x="1716" y="510"/>
                  <a:pt x="1715" y="511"/>
                  <a:pt x="1715" y="512"/>
                </a:cubicBezTo>
                <a:cubicBezTo>
                  <a:pt x="1715" y="511"/>
                  <a:pt x="1716" y="510"/>
                  <a:pt x="1717" y="509"/>
                </a:cubicBezTo>
                <a:cubicBezTo>
                  <a:pt x="1717" y="507"/>
                  <a:pt x="1717" y="506"/>
                  <a:pt x="1716" y="505"/>
                </a:cubicBezTo>
                <a:cubicBezTo>
                  <a:pt x="1717" y="506"/>
                  <a:pt x="1717" y="507"/>
                  <a:pt x="1717" y="509"/>
                </a:cubicBezTo>
                <a:close/>
                <a:moveTo>
                  <a:pt x="1708" y="586"/>
                </a:moveTo>
                <a:cubicBezTo>
                  <a:pt x="1707" y="591"/>
                  <a:pt x="1714" y="598"/>
                  <a:pt x="1712" y="603"/>
                </a:cubicBezTo>
                <a:cubicBezTo>
                  <a:pt x="1714" y="598"/>
                  <a:pt x="1707" y="591"/>
                  <a:pt x="1708" y="586"/>
                </a:cubicBezTo>
                <a:close/>
                <a:moveTo>
                  <a:pt x="1715" y="512"/>
                </a:moveTo>
                <a:cubicBezTo>
                  <a:pt x="1715" y="513"/>
                  <a:pt x="1714" y="513"/>
                  <a:pt x="1714" y="514"/>
                </a:cubicBezTo>
                <a:cubicBezTo>
                  <a:pt x="1714" y="513"/>
                  <a:pt x="1715" y="513"/>
                  <a:pt x="1715" y="512"/>
                </a:cubicBezTo>
                <a:close/>
                <a:moveTo>
                  <a:pt x="1705" y="465"/>
                </a:moveTo>
                <a:cubicBezTo>
                  <a:pt x="1704" y="461"/>
                  <a:pt x="1703" y="459"/>
                  <a:pt x="1700" y="458"/>
                </a:cubicBezTo>
                <a:cubicBezTo>
                  <a:pt x="1703" y="459"/>
                  <a:pt x="1704" y="461"/>
                  <a:pt x="1705" y="465"/>
                </a:cubicBezTo>
                <a:close/>
                <a:moveTo>
                  <a:pt x="1693" y="552"/>
                </a:moveTo>
                <a:cubicBezTo>
                  <a:pt x="1694" y="553"/>
                  <a:pt x="1695" y="554"/>
                  <a:pt x="1695" y="555"/>
                </a:cubicBezTo>
                <a:cubicBezTo>
                  <a:pt x="1695" y="554"/>
                  <a:pt x="1694" y="553"/>
                  <a:pt x="1693" y="552"/>
                </a:cubicBezTo>
                <a:cubicBezTo>
                  <a:pt x="1693" y="552"/>
                  <a:pt x="1693" y="552"/>
                  <a:pt x="1693" y="552"/>
                </a:cubicBezTo>
                <a:cubicBezTo>
                  <a:pt x="1693" y="552"/>
                  <a:pt x="1693" y="552"/>
                  <a:pt x="1693" y="552"/>
                </a:cubicBezTo>
                <a:close/>
                <a:moveTo>
                  <a:pt x="1690" y="548"/>
                </a:moveTo>
                <a:cubicBezTo>
                  <a:pt x="1690" y="549"/>
                  <a:pt x="1690" y="551"/>
                  <a:pt x="1690" y="552"/>
                </a:cubicBezTo>
                <a:cubicBezTo>
                  <a:pt x="1690" y="552"/>
                  <a:pt x="1690" y="552"/>
                  <a:pt x="1690" y="552"/>
                </a:cubicBezTo>
                <a:cubicBezTo>
                  <a:pt x="1690" y="552"/>
                  <a:pt x="1690" y="552"/>
                  <a:pt x="1690" y="552"/>
                </a:cubicBezTo>
                <a:cubicBezTo>
                  <a:pt x="1690" y="551"/>
                  <a:pt x="1690" y="549"/>
                  <a:pt x="1690" y="548"/>
                </a:cubicBezTo>
                <a:close/>
                <a:moveTo>
                  <a:pt x="1685" y="544"/>
                </a:moveTo>
                <a:cubicBezTo>
                  <a:pt x="1685" y="546"/>
                  <a:pt x="1685" y="548"/>
                  <a:pt x="1686" y="549"/>
                </a:cubicBezTo>
                <a:cubicBezTo>
                  <a:pt x="1685" y="548"/>
                  <a:pt x="1685" y="546"/>
                  <a:pt x="1685" y="544"/>
                </a:cubicBezTo>
                <a:cubicBezTo>
                  <a:pt x="1684" y="543"/>
                  <a:pt x="1683" y="541"/>
                  <a:pt x="1683" y="540"/>
                </a:cubicBezTo>
                <a:cubicBezTo>
                  <a:pt x="1683" y="541"/>
                  <a:pt x="1684" y="543"/>
                  <a:pt x="1685" y="544"/>
                </a:cubicBezTo>
                <a:close/>
                <a:moveTo>
                  <a:pt x="1697" y="641"/>
                </a:moveTo>
                <a:cubicBezTo>
                  <a:pt x="1701" y="635"/>
                  <a:pt x="1706" y="630"/>
                  <a:pt x="1711" y="624"/>
                </a:cubicBezTo>
                <a:cubicBezTo>
                  <a:pt x="1720" y="612"/>
                  <a:pt x="1729" y="611"/>
                  <a:pt x="1737" y="626"/>
                </a:cubicBezTo>
                <a:cubicBezTo>
                  <a:pt x="1746" y="645"/>
                  <a:pt x="1754" y="664"/>
                  <a:pt x="1767" y="681"/>
                </a:cubicBezTo>
                <a:cubicBezTo>
                  <a:pt x="1775" y="706"/>
                  <a:pt x="1789" y="728"/>
                  <a:pt x="1805" y="749"/>
                </a:cubicBezTo>
                <a:cubicBezTo>
                  <a:pt x="1805" y="749"/>
                  <a:pt x="1805" y="749"/>
                  <a:pt x="1805" y="749"/>
                </a:cubicBezTo>
                <a:cubicBezTo>
                  <a:pt x="1824" y="792"/>
                  <a:pt x="1811" y="837"/>
                  <a:pt x="1811" y="882"/>
                </a:cubicBezTo>
                <a:cubicBezTo>
                  <a:pt x="1811" y="902"/>
                  <a:pt x="1809" y="922"/>
                  <a:pt x="1807" y="941"/>
                </a:cubicBezTo>
                <a:cubicBezTo>
                  <a:pt x="1811" y="952"/>
                  <a:pt x="1807" y="962"/>
                  <a:pt x="1808" y="973"/>
                </a:cubicBezTo>
                <a:cubicBezTo>
                  <a:pt x="1808" y="973"/>
                  <a:pt x="1808" y="973"/>
                  <a:pt x="1808" y="973"/>
                </a:cubicBezTo>
                <a:cubicBezTo>
                  <a:pt x="1806" y="973"/>
                  <a:pt x="1803" y="973"/>
                  <a:pt x="1800" y="973"/>
                </a:cubicBezTo>
                <a:cubicBezTo>
                  <a:pt x="1800" y="984"/>
                  <a:pt x="1799" y="994"/>
                  <a:pt x="1798" y="1004"/>
                </a:cubicBezTo>
                <a:cubicBezTo>
                  <a:pt x="1799" y="994"/>
                  <a:pt x="1800" y="984"/>
                  <a:pt x="1800" y="973"/>
                </a:cubicBezTo>
                <a:cubicBezTo>
                  <a:pt x="1790" y="956"/>
                  <a:pt x="1781" y="938"/>
                  <a:pt x="1771" y="921"/>
                </a:cubicBezTo>
                <a:cubicBezTo>
                  <a:pt x="1773" y="921"/>
                  <a:pt x="1775" y="921"/>
                  <a:pt x="1777" y="921"/>
                </a:cubicBezTo>
                <a:cubicBezTo>
                  <a:pt x="1777" y="921"/>
                  <a:pt x="1778" y="921"/>
                  <a:pt x="1778" y="921"/>
                </a:cubicBezTo>
                <a:cubicBezTo>
                  <a:pt x="1778" y="921"/>
                  <a:pt x="1777" y="921"/>
                  <a:pt x="1777" y="921"/>
                </a:cubicBezTo>
                <a:cubicBezTo>
                  <a:pt x="1782" y="914"/>
                  <a:pt x="1765" y="908"/>
                  <a:pt x="1776" y="901"/>
                </a:cubicBezTo>
                <a:cubicBezTo>
                  <a:pt x="1774" y="896"/>
                  <a:pt x="1772" y="891"/>
                  <a:pt x="1769" y="887"/>
                </a:cubicBezTo>
                <a:cubicBezTo>
                  <a:pt x="1751" y="855"/>
                  <a:pt x="1732" y="824"/>
                  <a:pt x="1713" y="792"/>
                </a:cubicBezTo>
                <a:cubicBezTo>
                  <a:pt x="1712" y="798"/>
                  <a:pt x="1709" y="801"/>
                  <a:pt x="1704" y="801"/>
                </a:cubicBezTo>
                <a:cubicBezTo>
                  <a:pt x="1693" y="800"/>
                  <a:pt x="1694" y="788"/>
                  <a:pt x="1687" y="783"/>
                </a:cubicBezTo>
                <a:cubicBezTo>
                  <a:pt x="1686" y="770"/>
                  <a:pt x="1672" y="762"/>
                  <a:pt x="1672" y="749"/>
                </a:cubicBezTo>
                <a:cubicBezTo>
                  <a:pt x="1675" y="746"/>
                  <a:pt x="1678" y="743"/>
                  <a:pt x="1681" y="741"/>
                </a:cubicBezTo>
                <a:cubicBezTo>
                  <a:pt x="1667" y="724"/>
                  <a:pt x="1672" y="706"/>
                  <a:pt x="1676" y="688"/>
                </a:cubicBezTo>
                <a:cubicBezTo>
                  <a:pt x="1680" y="671"/>
                  <a:pt x="1690" y="657"/>
                  <a:pt x="1697" y="641"/>
                </a:cubicBezTo>
                <a:close/>
                <a:moveTo>
                  <a:pt x="1675" y="525"/>
                </a:moveTo>
                <a:cubicBezTo>
                  <a:pt x="1675" y="525"/>
                  <a:pt x="1675" y="525"/>
                  <a:pt x="1675" y="525"/>
                </a:cubicBezTo>
                <a:cubicBezTo>
                  <a:pt x="1673" y="525"/>
                  <a:pt x="1671" y="525"/>
                  <a:pt x="1669" y="525"/>
                </a:cubicBezTo>
                <a:cubicBezTo>
                  <a:pt x="1671" y="525"/>
                  <a:pt x="1673" y="525"/>
                  <a:pt x="1675" y="525"/>
                </a:cubicBezTo>
                <a:close/>
                <a:moveTo>
                  <a:pt x="1669" y="468"/>
                </a:moveTo>
                <a:cubicBezTo>
                  <a:pt x="1670" y="468"/>
                  <a:pt x="1670" y="469"/>
                  <a:pt x="1671" y="469"/>
                </a:cubicBezTo>
                <a:cubicBezTo>
                  <a:pt x="1670" y="469"/>
                  <a:pt x="1670" y="468"/>
                  <a:pt x="1669" y="468"/>
                </a:cubicBezTo>
                <a:cubicBezTo>
                  <a:pt x="1669" y="463"/>
                  <a:pt x="1668" y="458"/>
                  <a:pt x="1668" y="453"/>
                </a:cubicBezTo>
                <a:cubicBezTo>
                  <a:pt x="1668" y="458"/>
                  <a:pt x="1669" y="463"/>
                  <a:pt x="1669" y="468"/>
                </a:cubicBezTo>
                <a:close/>
                <a:moveTo>
                  <a:pt x="1670" y="664"/>
                </a:moveTo>
                <a:cubicBezTo>
                  <a:pt x="1667" y="665"/>
                  <a:pt x="1662" y="669"/>
                  <a:pt x="1659" y="669"/>
                </a:cubicBezTo>
                <a:cubicBezTo>
                  <a:pt x="1662" y="669"/>
                  <a:pt x="1667" y="665"/>
                  <a:pt x="1670" y="664"/>
                </a:cubicBezTo>
                <a:close/>
                <a:moveTo>
                  <a:pt x="1661" y="592"/>
                </a:moveTo>
                <a:cubicBezTo>
                  <a:pt x="1661" y="592"/>
                  <a:pt x="1661" y="592"/>
                  <a:pt x="1661" y="592"/>
                </a:cubicBezTo>
                <a:cubicBezTo>
                  <a:pt x="1657" y="594"/>
                  <a:pt x="1654" y="593"/>
                  <a:pt x="1651" y="591"/>
                </a:cubicBezTo>
                <a:cubicBezTo>
                  <a:pt x="1654" y="593"/>
                  <a:pt x="1657" y="594"/>
                  <a:pt x="1661" y="592"/>
                </a:cubicBezTo>
                <a:close/>
                <a:moveTo>
                  <a:pt x="1649" y="590"/>
                </a:moveTo>
                <a:cubicBezTo>
                  <a:pt x="1648" y="589"/>
                  <a:pt x="1647" y="589"/>
                  <a:pt x="1646" y="589"/>
                </a:cubicBezTo>
                <a:cubicBezTo>
                  <a:pt x="1647" y="589"/>
                  <a:pt x="1648" y="589"/>
                  <a:pt x="1649" y="590"/>
                </a:cubicBezTo>
                <a:close/>
                <a:moveTo>
                  <a:pt x="1653" y="649"/>
                </a:moveTo>
                <a:cubicBezTo>
                  <a:pt x="1653" y="649"/>
                  <a:pt x="1653" y="649"/>
                  <a:pt x="1653" y="649"/>
                </a:cubicBezTo>
                <a:cubicBezTo>
                  <a:pt x="1645" y="649"/>
                  <a:pt x="1644" y="656"/>
                  <a:pt x="1640" y="661"/>
                </a:cubicBezTo>
                <a:cubicBezTo>
                  <a:pt x="1644" y="656"/>
                  <a:pt x="1645" y="649"/>
                  <a:pt x="1653" y="649"/>
                </a:cubicBezTo>
                <a:close/>
                <a:moveTo>
                  <a:pt x="1633" y="673"/>
                </a:moveTo>
                <a:cubicBezTo>
                  <a:pt x="1637" y="674"/>
                  <a:pt x="1639" y="676"/>
                  <a:pt x="1640" y="678"/>
                </a:cubicBezTo>
                <a:cubicBezTo>
                  <a:pt x="1639" y="676"/>
                  <a:pt x="1637" y="674"/>
                  <a:pt x="1633" y="673"/>
                </a:cubicBezTo>
                <a:close/>
                <a:moveTo>
                  <a:pt x="1632" y="582"/>
                </a:moveTo>
                <a:cubicBezTo>
                  <a:pt x="1631" y="583"/>
                  <a:pt x="1631" y="586"/>
                  <a:pt x="1632" y="588"/>
                </a:cubicBezTo>
                <a:cubicBezTo>
                  <a:pt x="1632" y="588"/>
                  <a:pt x="1632" y="588"/>
                  <a:pt x="1632" y="588"/>
                </a:cubicBezTo>
                <a:cubicBezTo>
                  <a:pt x="1631" y="586"/>
                  <a:pt x="1631" y="583"/>
                  <a:pt x="1632" y="582"/>
                </a:cubicBezTo>
                <a:close/>
                <a:moveTo>
                  <a:pt x="1625" y="785"/>
                </a:moveTo>
                <a:cubicBezTo>
                  <a:pt x="1626" y="781"/>
                  <a:pt x="1627" y="778"/>
                  <a:pt x="1631" y="776"/>
                </a:cubicBezTo>
                <a:cubicBezTo>
                  <a:pt x="1631" y="772"/>
                  <a:pt x="1631" y="768"/>
                  <a:pt x="1631" y="765"/>
                </a:cubicBezTo>
                <a:cubicBezTo>
                  <a:pt x="1629" y="755"/>
                  <a:pt x="1628" y="745"/>
                  <a:pt x="1628" y="736"/>
                </a:cubicBezTo>
                <a:cubicBezTo>
                  <a:pt x="1628" y="745"/>
                  <a:pt x="1629" y="755"/>
                  <a:pt x="1631" y="765"/>
                </a:cubicBezTo>
                <a:cubicBezTo>
                  <a:pt x="1631" y="768"/>
                  <a:pt x="1631" y="772"/>
                  <a:pt x="1631" y="776"/>
                </a:cubicBezTo>
                <a:cubicBezTo>
                  <a:pt x="1627" y="778"/>
                  <a:pt x="1626" y="781"/>
                  <a:pt x="1625" y="785"/>
                </a:cubicBezTo>
                <a:cubicBezTo>
                  <a:pt x="1625" y="786"/>
                  <a:pt x="1625" y="787"/>
                  <a:pt x="1625" y="788"/>
                </a:cubicBezTo>
                <a:cubicBezTo>
                  <a:pt x="1625" y="787"/>
                  <a:pt x="1625" y="786"/>
                  <a:pt x="1625" y="785"/>
                </a:cubicBezTo>
                <a:close/>
                <a:moveTo>
                  <a:pt x="1625" y="588"/>
                </a:moveTo>
                <a:cubicBezTo>
                  <a:pt x="1621" y="590"/>
                  <a:pt x="1617" y="592"/>
                  <a:pt x="1613" y="594"/>
                </a:cubicBezTo>
                <a:cubicBezTo>
                  <a:pt x="1613" y="595"/>
                  <a:pt x="1613" y="595"/>
                  <a:pt x="1613" y="596"/>
                </a:cubicBezTo>
                <a:cubicBezTo>
                  <a:pt x="1613" y="595"/>
                  <a:pt x="1613" y="595"/>
                  <a:pt x="1613" y="594"/>
                </a:cubicBezTo>
                <a:cubicBezTo>
                  <a:pt x="1617" y="592"/>
                  <a:pt x="1621" y="590"/>
                  <a:pt x="1625" y="588"/>
                </a:cubicBezTo>
                <a:close/>
                <a:moveTo>
                  <a:pt x="1617" y="897"/>
                </a:moveTo>
                <a:cubicBezTo>
                  <a:pt x="1617" y="885"/>
                  <a:pt x="1617" y="874"/>
                  <a:pt x="1617" y="862"/>
                </a:cubicBezTo>
                <a:cubicBezTo>
                  <a:pt x="1617" y="874"/>
                  <a:pt x="1617" y="885"/>
                  <a:pt x="1617" y="897"/>
                </a:cubicBezTo>
                <a:close/>
                <a:moveTo>
                  <a:pt x="1600" y="484"/>
                </a:moveTo>
                <a:cubicBezTo>
                  <a:pt x="1605" y="488"/>
                  <a:pt x="1610" y="485"/>
                  <a:pt x="1617" y="486"/>
                </a:cubicBezTo>
                <a:cubicBezTo>
                  <a:pt x="1610" y="485"/>
                  <a:pt x="1605" y="488"/>
                  <a:pt x="1600" y="484"/>
                </a:cubicBezTo>
                <a:close/>
                <a:moveTo>
                  <a:pt x="1608" y="950"/>
                </a:moveTo>
                <a:cubicBezTo>
                  <a:pt x="1608" y="955"/>
                  <a:pt x="1609" y="961"/>
                  <a:pt x="1609" y="967"/>
                </a:cubicBezTo>
                <a:cubicBezTo>
                  <a:pt x="1618" y="969"/>
                  <a:pt x="1622" y="960"/>
                  <a:pt x="1629" y="959"/>
                </a:cubicBezTo>
                <a:cubicBezTo>
                  <a:pt x="1629" y="959"/>
                  <a:pt x="1629" y="959"/>
                  <a:pt x="1629" y="959"/>
                </a:cubicBezTo>
                <a:cubicBezTo>
                  <a:pt x="1629" y="959"/>
                  <a:pt x="1629" y="959"/>
                  <a:pt x="1629" y="959"/>
                </a:cubicBezTo>
                <a:cubicBezTo>
                  <a:pt x="1629" y="964"/>
                  <a:pt x="1629" y="968"/>
                  <a:pt x="1629" y="973"/>
                </a:cubicBezTo>
                <a:cubicBezTo>
                  <a:pt x="1613" y="997"/>
                  <a:pt x="1649" y="976"/>
                  <a:pt x="1643" y="992"/>
                </a:cubicBezTo>
                <a:cubicBezTo>
                  <a:pt x="1642" y="1005"/>
                  <a:pt x="1629" y="997"/>
                  <a:pt x="1616" y="1004"/>
                </a:cubicBezTo>
                <a:cubicBezTo>
                  <a:pt x="1638" y="1009"/>
                  <a:pt x="1652" y="1020"/>
                  <a:pt x="1665" y="1033"/>
                </a:cubicBezTo>
                <a:cubicBezTo>
                  <a:pt x="1665" y="1035"/>
                  <a:pt x="1665" y="1038"/>
                  <a:pt x="1665" y="1041"/>
                </a:cubicBezTo>
                <a:cubicBezTo>
                  <a:pt x="1666" y="1043"/>
                  <a:pt x="1668" y="1046"/>
                  <a:pt x="1669" y="1049"/>
                </a:cubicBezTo>
                <a:cubicBezTo>
                  <a:pt x="1669" y="1048"/>
                  <a:pt x="1669" y="1048"/>
                  <a:pt x="1669" y="1048"/>
                </a:cubicBezTo>
                <a:cubicBezTo>
                  <a:pt x="1677" y="1048"/>
                  <a:pt x="1681" y="1055"/>
                  <a:pt x="1687" y="1059"/>
                </a:cubicBezTo>
                <a:cubicBezTo>
                  <a:pt x="1697" y="1067"/>
                  <a:pt x="1709" y="1083"/>
                  <a:pt x="1718" y="1081"/>
                </a:cubicBezTo>
                <a:cubicBezTo>
                  <a:pt x="1739" y="1078"/>
                  <a:pt x="1731" y="1092"/>
                  <a:pt x="1733" y="1100"/>
                </a:cubicBezTo>
                <a:cubicBezTo>
                  <a:pt x="1733" y="1104"/>
                  <a:pt x="1733" y="1108"/>
                  <a:pt x="1732" y="1112"/>
                </a:cubicBezTo>
                <a:cubicBezTo>
                  <a:pt x="1725" y="1121"/>
                  <a:pt x="1731" y="1130"/>
                  <a:pt x="1732" y="1139"/>
                </a:cubicBezTo>
                <a:cubicBezTo>
                  <a:pt x="1724" y="1139"/>
                  <a:pt x="1720" y="1132"/>
                  <a:pt x="1713" y="1128"/>
                </a:cubicBezTo>
                <a:cubicBezTo>
                  <a:pt x="1713" y="1122"/>
                  <a:pt x="1713" y="1115"/>
                  <a:pt x="1713" y="1109"/>
                </a:cubicBezTo>
                <a:cubicBezTo>
                  <a:pt x="1715" y="1110"/>
                  <a:pt x="1718" y="1111"/>
                  <a:pt x="1720" y="1112"/>
                </a:cubicBezTo>
                <a:cubicBezTo>
                  <a:pt x="1720" y="1112"/>
                  <a:pt x="1720" y="1112"/>
                  <a:pt x="1720" y="1112"/>
                </a:cubicBezTo>
                <a:cubicBezTo>
                  <a:pt x="1722" y="1112"/>
                  <a:pt x="1723" y="1112"/>
                  <a:pt x="1724" y="1113"/>
                </a:cubicBezTo>
                <a:cubicBezTo>
                  <a:pt x="1723" y="1111"/>
                  <a:pt x="1723" y="1110"/>
                  <a:pt x="1723" y="1108"/>
                </a:cubicBezTo>
                <a:cubicBezTo>
                  <a:pt x="1709" y="1096"/>
                  <a:pt x="1694" y="1085"/>
                  <a:pt x="1680" y="1073"/>
                </a:cubicBezTo>
                <a:cubicBezTo>
                  <a:pt x="1680" y="1067"/>
                  <a:pt x="1679" y="1061"/>
                  <a:pt x="1671" y="1063"/>
                </a:cubicBezTo>
                <a:cubicBezTo>
                  <a:pt x="1661" y="1063"/>
                  <a:pt x="1656" y="1056"/>
                  <a:pt x="1652" y="1049"/>
                </a:cubicBezTo>
                <a:cubicBezTo>
                  <a:pt x="1644" y="1048"/>
                  <a:pt x="1637" y="1044"/>
                  <a:pt x="1633" y="1037"/>
                </a:cubicBezTo>
                <a:cubicBezTo>
                  <a:pt x="1630" y="1037"/>
                  <a:pt x="1627" y="1037"/>
                  <a:pt x="1625" y="1037"/>
                </a:cubicBezTo>
                <a:cubicBezTo>
                  <a:pt x="1626" y="1045"/>
                  <a:pt x="1624" y="1052"/>
                  <a:pt x="1616" y="1054"/>
                </a:cubicBezTo>
                <a:cubicBezTo>
                  <a:pt x="1611" y="1056"/>
                  <a:pt x="1609" y="1050"/>
                  <a:pt x="1608" y="1046"/>
                </a:cubicBezTo>
                <a:cubicBezTo>
                  <a:pt x="1611" y="1040"/>
                  <a:pt x="1614" y="1037"/>
                  <a:pt x="1621" y="1037"/>
                </a:cubicBezTo>
                <a:cubicBezTo>
                  <a:pt x="1616" y="1028"/>
                  <a:pt x="1611" y="1020"/>
                  <a:pt x="1606" y="1011"/>
                </a:cubicBezTo>
                <a:cubicBezTo>
                  <a:pt x="1600" y="1017"/>
                  <a:pt x="1601" y="1029"/>
                  <a:pt x="1589" y="1029"/>
                </a:cubicBezTo>
                <a:cubicBezTo>
                  <a:pt x="1585" y="1024"/>
                  <a:pt x="1598" y="1005"/>
                  <a:pt x="1577" y="1013"/>
                </a:cubicBezTo>
                <a:cubicBezTo>
                  <a:pt x="1574" y="1017"/>
                  <a:pt x="1571" y="1022"/>
                  <a:pt x="1565" y="1020"/>
                </a:cubicBezTo>
                <a:cubicBezTo>
                  <a:pt x="1564" y="1020"/>
                  <a:pt x="1562" y="1021"/>
                  <a:pt x="1561" y="1022"/>
                </a:cubicBezTo>
                <a:cubicBezTo>
                  <a:pt x="1562" y="1021"/>
                  <a:pt x="1564" y="1020"/>
                  <a:pt x="1565" y="1020"/>
                </a:cubicBezTo>
                <a:cubicBezTo>
                  <a:pt x="1562" y="1015"/>
                  <a:pt x="1558" y="1013"/>
                  <a:pt x="1553" y="1013"/>
                </a:cubicBezTo>
                <a:cubicBezTo>
                  <a:pt x="1551" y="1006"/>
                  <a:pt x="1549" y="1000"/>
                  <a:pt x="1548" y="994"/>
                </a:cubicBezTo>
                <a:cubicBezTo>
                  <a:pt x="1549" y="989"/>
                  <a:pt x="1550" y="985"/>
                  <a:pt x="1551" y="981"/>
                </a:cubicBezTo>
                <a:cubicBezTo>
                  <a:pt x="1550" y="978"/>
                  <a:pt x="1550" y="975"/>
                  <a:pt x="1549" y="973"/>
                </a:cubicBezTo>
                <a:cubicBezTo>
                  <a:pt x="1547" y="973"/>
                  <a:pt x="1544" y="973"/>
                  <a:pt x="1542" y="972"/>
                </a:cubicBezTo>
                <a:cubicBezTo>
                  <a:pt x="1541" y="971"/>
                  <a:pt x="1541" y="970"/>
                  <a:pt x="1540" y="969"/>
                </a:cubicBezTo>
                <a:cubicBezTo>
                  <a:pt x="1547" y="960"/>
                  <a:pt x="1529" y="955"/>
                  <a:pt x="1537" y="947"/>
                </a:cubicBezTo>
                <a:cubicBezTo>
                  <a:pt x="1542" y="942"/>
                  <a:pt x="1549" y="970"/>
                  <a:pt x="1553" y="946"/>
                </a:cubicBezTo>
                <a:cubicBezTo>
                  <a:pt x="1556" y="945"/>
                  <a:pt x="1560" y="944"/>
                  <a:pt x="1562" y="948"/>
                </a:cubicBezTo>
                <a:cubicBezTo>
                  <a:pt x="1562" y="948"/>
                  <a:pt x="1562" y="948"/>
                  <a:pt x="1562" y="948"/>
                </a:cubicBezTo>
                <a:cubicBezTo>
                  <a:pt x="1569" y="951"/>
                  <a:pt x="1578" y="951"/>
                  <a:pt x="1583" y="959"/>
                </a:cubicBezTo>
                <a:cubicBezTo>
                  <a:pt x="1599" y="972"/>
                  <a:pt x="1593" y="954"/>
                  <a:pt x="1597" y="949"/>
                </a:cubicBezTo>
                <a:cubicBezTo>
                  <a:pt x="1597" y="949"/>
                  <a:pt x="1597" y="949"/>
                  <a:pt x="1597" y="949"/>
                </a:cubicBezTo>
                <a:cubicBezTo>
                  <a:pt x="1601" y="949"/>
                  <a:pt x="1604" y="949"/>
                  <a:pt x="1608" y="950"/>
                </a:cubicBezTo>
                <a:close/>
                <a:moveTo>
                  <a:pt x="1596" y="937"/>
                </a:moveTo>
                <a:cubicBezTo>
                  <a:pt x="1596" y="939"/>
                  <a:pt x="1596" y="942"/>
                  <a:pt x="1596" y="944"/>
                </a:cubicBezTo>
                <a:cubicBezTo>
                  <a:pt x="1596" y="944"/>
                  <a:pt x="1596" y="944"/>
                  <a:pt x="1596" y="944"/>
                </a:cubicBezTo>
                <a:cubicBezTo>
                  <a:pt x="1596" y="942"/>
                  <a:pt x="1596" y="939"/>
                  <a:pt x="1596" y="937"/>
                </a:cubicBezTo>
                <a:close/>
                <a:moveTo>
                  <a:pt x="1596" y="775"/>
                </a:moveTo>
                <a:cubicBezTo>
                  <a:pt x="1595" y="786"/>
                  <a:pt x="1594" y="797"/>
                  <a:pt x="1593" y="807"/>
                </a:cubicBezTo>
                <a:cubicBezTo>
                  <a:pt x="1593" y="811"/>
                  <a:pt x="1593" y="814"/>
                  <a:pt x="1590" y="816"/>
                </a:cubicBezTo>
                <a:cubicBezTo>
                  <a:pt x="1593" y="814"/>
                  <a:pt x="1593" y="811"/>
                  <a:pt x="1593" y="807"/>
                </a:cubicBezTo>
                <a:cubicBezTo>
                  <a:pt x="1588" y="803"/>
                  <a:pt x="1582" y="799"/>
                  <a:pt x="1577" y="795"/>
                </a:cubicBezTo>
                <a:cubicBezTo>
                  <a:pt x="1575" y="788"/>
                  <a:pt x="1581" y="783"/>
                  <a:pt x="1583" y="777"/>
                </a:cubicBezTo>
                <a:cubicBezTo>
                  <a:pt x="1562" y="778"/>
                  <a:pt x="1569" y="792"/>
                  <a:pt x="1570" y="803"/>
                </a:cubicBezTo>
                <a:cubicBezTo>
                  <a:pt x="1572" y="804"/>
                  <a:pt x="1573" y="805"/>
                  <a:pt x="1575" y="806"/>
                </a:cubicBezTo>
                <a:cubicBezTo>
                  <a:pt x="1579" y="810"/>
                  <a:pt x="1583" y="814"/>
                  <a:pt x="1588" y="818"/>
                </a:cubicBezTo>
                <a:cubicBezTo>
                  <a:pt x="1588" y="818"/>
                  <a:pt x="1589" y="818"/>
                  <a:pt x="1589" y="818"/>
                </a:cubicBezTo>
                <a:cubicBezTo>
                  <a:pt x="1583" y="823"/>
                  <a:pt x="1573" y="821"/>
                  <a:pt x="1568" y="829"/>
                </a:cubicBezTo>
                <a:cubicBezTo>
                  <a:pt x="1565" y="829"/>
                  <a:pt x="1563" y="829"/>
                  <a:pt x="1560" y="829"/>
                </a:cubicBezTo>
                <a:cubicBezTo>
                  <a:pt x="1553" y="827"/>
                  <a:pt x="1547" y="834"/>
                  <a:pt x="1540" y="831"/>
                </a:cubicBezTo>
                <a:cubicBezTo>
                  <a:pt x="1540" y="823"/>
                  <a:pt x="1551" y="822"/>
                  <a:pt x="1549" y="813"/>
                </a:cubicBezTo>
                <a:cubicBezTo>
                  <a:pt x="1559" y="815"/>
                  <a:pt x="1557" y="802"/>
                  <a:pt x="1565" y="801"/>
                </a:cubicBezTo>
                <a:cubicBezTo>
                  <a:pt x="1563" y="797"/>
                  <a:pt x="1562" y="793"/>
                  <a:pt x="1560" y="789"/>
                </a:cubicBezTo>
                <a:cubicBezTo>
                  <a:pt x="1558" y="781"/>
                  <a:pt x="1560" y="773"/>
                  <a:pt x="1562" y="766"/>
                </a:cubicBezTo>
                <a:cubicBezTo>
                  <a:pt x="1562" y="766"/>
                  <a:pt x="1562" y="766"/>
                  <a:pt x="1562" y="766"/>
                </a:cubicBezTo>
                <a:cubicBezTo>
                  <a:pt x="1564" y="763"/>
                  <a:pt x="1565" y="759"/>
                  <a:pt x="1567" y="756"/>
                </a:cubicBezTo>
                <a:cubicBezTo>
                  <a:pt x="1568" y="755"/>
                  <a:pt x="1569" y="754"/>
                  <a:pt x="1569" y="753"/>
                </a:cubicBezTo>
                <a:cubicBezTo>
                  <a:pt x="1568" y="752"/>
                  <a:pt x="1568" y="752"/>
                  <a:pt x="1568" y="752"/>
                </a:cubicBezTo>
                <a:cubicBezTo>
                  <a:pt x="1567" y="752"/>
                  <a:pt x="1565" y="753"/>
                  <a:pt x="1564" y="753"/>
                </a:cubicBezTo>
                <a:cubicBezTo>
                  <a:pt x="1562" y="756"/>
                  <a:pt x="1561" y="759"/>
                  <a:pt x="1559" y="762"/>
                </a:cubicBezTo>
                <a:cubicBezTo>
                  <a:pt x="1543" y="772"/>
                  <a:pt x="1536" y="763"/>
                  <a:pt x="1530" y="750"/>
                </a:cubicBezTo>
                <a:cubicBezTo>
                  <a:pt x="1531" y="750"/>
                  <a:pt x="1532" y="749"/>
                  <a:pt x="1533" y="749"/>
                </a:cubicBezTo>
                <a:cubicBezTo>
                  <a:pt x="1545" y="746"/>
                  <a:pt x="1556" y="743"/>
                  <a:pt x="1568" y="740"/>
                </a:cubicBezTo>
                <a:cubicBezTo>
                  <a:pt x="1574" y="744"/>
                  <a:pt x="1567" y="748"/>
                  <a:pt x="1568" y="752"/>
                </a:cubicBezTo>
                <a:cubicBezTo>
                  <a:pt x="1568" y="752"/>
                  <a:pt x="1569" y="753"/>
                  <a:pt x="1569" y="753"/>
                </a:cubicBezTo>
                <a:cubicBezTo>
                  <a:pt x="1575" y="753"/>
                  <a:pt x="1577" y="748"/>
                  <a:pt x="1580" y="744"/>
                </a:cubicBezTo>
                <a:cubicBezTo>
                  <a:pt x="1584" y="740"/>
                  <a:pt x="1588" y="737"/>
                  <a:pt x="1592" y="734"/>
                </a:cubicBezTo>
                <a:cubicBezTo>
                  <a:pt x="1599" y="747"/>
                  <a:pt x="1591" y="757"/>
                  <a:pt x="1585" y="768"/>
                </a:cubicBezTo>
                <a:cubicBezTo>
                  <a:pt x="1592" y="765"/>
                  <a:pt x="1598" y="764"/>
                  <a:pt x="1596" y="775"/>
                </a:cubicBezTo>
                <a:close/>
                <a:moveTo>
                  <a:pt x="1569" y="730"/>
                </a:moveTo>
                <a:cubicBezTo>
                  <a:pt x="1570" y="731"/>
                  <a:pt x="1569" y="733"/>
                  <a:pt x="1569" y="735"/>
                </a:cubicBezTo>
                <a:cubicBezTo>
                  <a:pt x="1569" y="733"/>
                  <a:pt x="1570" y="731"/>
                  <a:pt x="1569" y="730"/>
                </a:cubicBezTo>
                <a:close/>
                <a:moveTo>
                  <a:pt x="1588" y="601"/>
                </a:moveTo>
                <a:cubicBezTo>
                  <a:pt x="1589" y="605"/>
                  <a:pt x="1590" y="612"/>
                  <a:pt x="1593" y="611"/>
                </a:cubicBezTo>
                <a:cubicBezTo>
                  <a:pt x="1590" y="612"/>
                  <a:pt x="1589" y="606"/>
                  <a:pt x="1588" y="601"/>
                </a:cubicBezTo>
                <a:cubicBezTo>
                  <a:pt x="1588" y="601"/>
                  <a:pt x="1588" y="601"/>
                  <a:pt x="1588" y="601"/>
                </a:cubicBezTo>
                <a:close/>
                <a:moveTo>
                  <a:pt x="1590" y="625"/>
                </a:moveTo>
                <a:cubicBezTo>
                  <a:pt x="1590" y="625"/>
                  <a:pt x="1590" y="625"/>
                  <a:pt x="1590" y="625"/>
                </a:cubicBezTo>
                <a:cubicBezTo>
                  <a:pt x="1588" y="633"/>
                  <a:pt x="1586" y="640"/>
                  <a:pt x="1585" y="648"/>
                </a:cubicBezTo>
                <a:cubicBezTo>
                  <a:pt x="1586" y="640"/>
                  <a:pt x="1588" y="633"/>
                  <a:pt x="1590" y="625"/>
                </a:cubicBezTo>
                <a:close/>
                <a:moveTo>
                  <a:pt x="1583" y="605"/>
                </a:moveTo>
                <a:cubicBezTo>
                  <a:pt x="1580" y="605"/>
                  <a:pt x="1578" y="602"/>
                  <a:pt x="1575" y="601"/>
                </a:cubicBezTo>
                <a:cubicBezTo>
                  <a:pt x="1578" y="602"/>
                  <a:pt x="1580" y="605"/>
                  <a:pt x="1583" y="605"/>
                </a:cubicBezTo>
                <a:close/>
                <a:moveTo>
                  <a:pt x="1572" y="683"/>
                </a:moveTo>
                <a:cubicBezTo>
                  <a:pt x="1580" y="682"/>
                  <a:pt x="1581" y="689"/>
                  <a:pt x="1585" y="693"/>
                </a:cubicBezTo>
                <a:cubicBezTo>
                  <a:pt x="1585" y="686"/>
                  <a:pt x="1586" y="679"/>
                  <a:pt x="1586" y="672"/>
                </a:cubicBezTo>
                <a:cubicBezTo>
                  <a:pt x="1586" y="672"/>
                  <a:pt x="1586" y="672"/>
                  <a:pt x="1586" y="672"/>
                </a:cubicBezTo>
                <a:cubicBezTo>
                  <a:pt x="1586" y="679"/>
                  <a:pt x="1585" y="686"/>
                  <a:pt x="1585" y="693"/>
                </a:cubicBezTo>
                <a:cubicBezTo>
                  <a:pt x="1586" y="696"/>
                  <a:pt x="1586" y="700"/>
                  <a:pt x="1581" y="701"/>
                </a:cubicBezTo>
                <a:cubicBezTo>
                  <a:pt x="1576" y="703"/>
                  <a:pt x="1570" y="704"/>
                  <a:pt x="1564" y="706"/>
                </a:cubicBezTo>
                <a:cubicBezTo>
                  <a:pt x="1562" y="706"/>
                  <a:pt x="1560" y="706"/>
                  <a:pt x="1558" y="706"/>
                </a:cubicBezTo>
                <a:cubicBezTo>
                  <a:pt x="1557" y="707"/>
                  <a:pt x="1555" y="707"/>
                  <a:pt x="1554" y="707"/>
                </a:cubicBezTo>
                <a:cubicBezTo>
                  <a:pt x="1554" y="706"/>
                  <a:pt x="1554" y="704"/>
                  <a:pt x="1555" y="703"/>
                </a:cubicBezTo>
                <a:cubicBezTo>
                  <a:pt x="1555" y="699"/>
                  <a:pt x="1562" y="698"/>
                  <a:pt x="1557" y="693"/>
                </a:cubicBezTo>
                <a:cubicBezTo>
                  <a:pt x="1566" y="696"/>
                  <a:pt x="1566" y="685"/>
                  <a:pt x="1572" y="683"/>
                </a:cubicBezTo>
                <a:close/>
                <a:moveTo>
                  <a:pt x="1562" y="503"/>
                </a:moveTo>
                <a:cubicBezTo>
                  <a:pt x="1560" y="507"/>
                  <a:pt x="1561" y="512"/>
                  <a:pt x="1560" y="517"/>
                </a:cubicBezTo>
                <a:cubicBezTo>
                  <a:pt x="1560" y="517"/>
                  <a:pt x="1560" y="517"/>
                  <a:pt x="1560" y="517"/>
                </a:cubicBezTo>
                <a:cubicBezTo>
                  <a:pt x="1561" y="512"/>
                  <a:pt x="1560" y="507"/>
                  <a:pt x="1562" y="503"/>
                </a:cubicBezTo>
                <a:close/>
                <a:moveTo>
                  <a:pt x="1564" y="669"/>
                </a:moveTo>
                <a:cubicBezTo>
                  <a:pt x="1567" y="678"/>
                  <a:pt x="1558" y="684"/>
                  <a:pt x="1557" y="693"/>
                </a:cubicBezTo>
                <a:cubicBezTo>
                  <a:pt x="1553" y="695"/>
                  <a:pt x="1550" y="698"/>
                  <a:pt x="1546" y="701"/>
                </a:cubicBezTo>
                <a:cubicBezTo>
                  <a:pt x="1542" y="705"/>
                  <a:pt x="1540" y="716"/>
                  <a:pt x="1533" y="710"/>
                </a:cubicBezTo>
                <a:cubicBezTo>
                  <a:pt x="1523" y="703"/>
                  <a:pt x="1530" y="695"/>
                  <a:pt x="1536" y="689"/>
                </a:cubicBezTo>
                <a:cubicBezTo>
                  <a:pt x="1536" y="688"/>
                  <a:pt x="1537" y="688"/>
                  <a:pt x="1537" y="688"/>
                </a:cubicBezTo>
                <a:cubicBezTo>
                  <a:pt x="1537" y="687"/>
                  <a:pt x="1537" y="686"/>
                  <a:pt x="1537" y="685"/>
                </a:cubicBezTo>
                <a:cubicBezTo>
                  <a:pt x="1534" y="685"/>
                  <a:pt x="1531" y="685"/>
                  <a:pt x="1529" y="685"/>
                </a:cubicBezTo>
                <a:cubicBezTo>
                  <a:pt x="1528" y="682"/>
                  <a:pt x="1528" y="679"/>
                  <a:pt x="1528" y="677"/>
                </a:cubicBezTo>
                <a:cubicBezTo>
                  <a:pt x="1528" y="665"/>
                  <a:pt x="1532" y="656"/>
                  <a:pt x="1541" y="649"/>
                </a:cubicBezTo>
                <a:cubicBezTo>
                  <a:pt x="1558" y="663"/>
                  <a:pt x="1536" y="672"/>
                  <a:pt x="1537" y="684"/>
                </a:cubicBezTo>
                <a:cubicBezTo>
                  <a:pt x="1548" y="683"/>
                  <a:pt x="1550" y="664"/>
                  <a:pt x="1564" y="669"/>
                </a:cubicBezTo>
                <a:close/>
                <a:moveTo>
                  <a:pt x="1529" y="637"/>
                </a:moveTo>
                <a:cubicBezTo>
                  <a:pt x="1532" y="635"/>
                  <a:pt x="1534" y="633"/>
                  <a:pt x="1537" y="631"/>
                </a:cubicBezTo>
                <a:cubicBezTo>
                  <a:pt x="1537" y="631"/>
                  <a:pt x="1537" y="631"/>
                  <a:pt x="1537" y="631"/>
                </a:cubicBezTo>
                <a:cubicBezTo>
                  <a:pt x="1534" y="633"/>
                  <a:pt x="1532" y="635"/>
                  <a:pt x="1529" y="637"/>
                </a:cubicBezTo>
                <a:close/>
                <a:moveTo>
                  <a:pt x="1551" y="505"/>
                </a:moveTo>
                <a:cubicBezTo>
                  <a:pt x="1549" y="506"/>
                  <a:pt x="1546" y="510"/>
                  <a:pt x="1543" y="510"/>
                </a:cubicBezTo>
                <a:cubicBezTo>
                  <a:pt x="1546" y="510"/>
                  <a:pt x="1549" y="506"/>
                  <a:pt x="1551" y="505"/>
                </a:cubicBezTo>
                <a:close/>
                <a:moveTo>
                  <a:pt x="1552" y="614"/>
                </a:moveTo>
                <a:cubicBezTo>
                  <a:pt x="1549" y="620"/>
                  <a:pt x="1537" y="621"/>
                  <a:pt x="1537" y="629"/>
                </a:cubicBezTo>
                <a:cubicBezTo>
                  <a:pt x="1537" y="621"/>
                  <a:pt x="1549" y="620"/>
                  <a:pt x="1552" y="614"/>
                </a:cubicBezTo>
                <a:close/>
                <a:moveTo>
                  <a:pt x="1537" y="508"/>
                </a:moveTo>
                <a:cubicBezTo>
                  <a:pt x="1537" y="508"/>
                  <a:pt x="1537" y="508"/>
                  <a:pt x="1537" y="508"/>
                </a:cubicBezTo>
                <a:cubicBezTo>
                  <a:pt x="1538" y="509"/>
                  <a:pt x="1539" y="509"/>
                  <a:pt x="1541" y="509"/>
                </a:cubicBezTo>
                <a:cubicBezTo>
                  <a:pt x="1539" y="509"/>
                  <a:pt x="1538" y="509"/>
                  <a:pt x="1537" y="508"/>
                </a:cubicBezTo>
                <a:close/>
                <a:moveTo>
                  <a:pt x="1533" y="493"/>
                </a:moveTo>
                <a:cubicBezTo>
                  <a:pt x="1536" y="491"/>
                  <a:pt x="1537" y="487"/>
                  <a:pt x="1540" y="486"/>
                </a:cubicBezTo>
                <a:cubicBezTo>
                  <a:pt x="1537" y="487"/>
                  <a:pt x="1536" y="491"/>
                  <a:pt x="1533" y="493"/>
                </a:cubicBezTo>
                <a:cubicBezTo>
                  <a:pt x="1533" y="493"/>
                  <a:pt x="1533" y="493"/>
                  <a:pt x="1533" y="493"/>
                </a:cubicBezTo>
                <a:close/>
                <a:moveTo>
                  <a:pt x="1517" y="613"/>
                </a:moveTo>
                <a:cubicBezTo>
                  <a:pt x="1525" y="620"/>
                  <a:pt x="1532" y="616"/>
                  <a:pt x="1539" y="612"/>
                </a:cubicBezTo>
                <a:cubicBezTo>
                  <a:pt x="1532" y="616"/>
                  <a:pt x="1525" y="620"/>
                  <a:pt x="1517" y="613"/>
                </a:cubicBezTo>
                <a:close/>
                <a:moveTo>
                  <a:pt x="1519" y="746"/>
                </a:moveTo>
                <a:cubicBezTo>
                  <a:pt x="1519" y="744"/>
                  <a:pt x="1518" y="743"/>
                  <a:pt x="1517" y="742"/>
                </a:cubicBezTo>
                <a:cubicBezTo>
                  <a:pt x="1518" y="743"/>
                  <a:pt x="1519" y="744"/>
                  <a:pt x="1519" y="746"/>
                </a:cubicBezTo>
                <a:cubicBezTo>
                  <a:pt x="1520" y="746"/>
                  <a:pt x="1520" y="747"/>
                  <a:pt x="1521" y="748"/>
                </a:cubicBezTo>
                <a:cubicBezTo>
                  <a:pt x="1521" y="749"/>
                  <a:pt x="1521" y="750"/>
                  <a:pt x="1521" y="751"/>
                </a:cubicBezTo>
                <a:cubicBezTo>
                  <a:pt x="1521" y="750"/>
                  <a:pt x="1521" y="749"/>
                  <a:pt x="1521" y="748"/>
                </a:cubicBezTo>
                <a:cubicBezTo>
                  <a:pt x="1520" y="747"/>
                  <a:pt x="1520" y="746"/>
                  <a:pt x="1519" y="746"/>
                </a:cubicBezTo>
                <a:close/>
                <a:moveTo>
                  <a:pt x="1530" y="797"/>
                </a:moveTo>
                <a:cubicBezTo>
                  <a:pt x="1527" y="798"/>
                  <a:pt x="1523" y="808"/>
                  <a:pt x="1520" y="796"/>
                </a:cubicBezTo>
                <a:cubicBezTo>
                  <a:pt x="1520" y="786"/>
                  <a:pt x="1521" y="776"/>
                  <a:pt x="1522" y="766"/>
                </a:cubicBezTo>
                <a:cubicBezTo>
                  <a:pt x="1535" y="767"/>
                  <a:pt x="1539" y="777"/>
                  <a:pt x="1541" y="789"/>
                </a:cubicBezTo>
                <a:cubicBezTo>
                  <a:pt x="1534" y="787"/>
                  <a:pt x="1533" y="793"/>
                  <a:pt x="1531" y="797"/>
                </a:cubicBezTo>
                <a:cubicBezTo>
                  <a:pt x="1537" y="798"/>
                  <a:pt x="1540" y="795"/>
                  <a:pt x="1541" y="789"/>
                </a:cubicBezTo>
                <a:cubicBezTo>
                  <a:pt x="1545" y="789"/>
                  <a:pt x="1549" y="789"/>
                  <a:pt x="1553" y="789"/>
                </a:cubicBezTo>
                <a:cubicBezTo>
                  <a:pt x="1555" y="797"/>
                  <a:pt x="1548" y="804"/>
                  <a:pt x="1549" y="813"/>
                </a:cubicBezTo>
                <a:cubicBezTo>
                  <a:pt x="1537" y="816"/>
                  <a:pt x="1532" y="826"/>
                  <a:pt x="1528" y="837"/>
                </a:cubicBezTo>
                <a:cubicBezTo>
                  <a:pt x="1527" y="836"/>
                  <a:pt x="1525" y="837"/>
                  <a:pt x="1524" y="838"/>
                </a:cubicBezTo>
                <a:cubicBezTo>
                  <a:pt x="1516" y="837"/>
                  <a:pt x="1519" y="829"/>
                  <a:pt x="1516" y="825"/>
                </a:cubicBezTo>
                <a:cubicBezTo>
                  <a:pt x="1518" y="814"/>
                  <a:pt x="1533" y="810"/>
                  <a:pt x="1530" y="797"/>
                </a:cubicBezTo>
                <a:close/>
                <a:moveTo>
                  <a:pt x="1517" y="1705"/>
                </a:moveTo>
                <a:cubicBezTo>
                  <a:pt x="1517" y="1705"/>
                  <a:pt x="1517" y="1705"/>
                  <a:pt x="1517" y="1705"/>
                </a:cubicBezTo>
                <a:cubicBezTo>
                  <a:pt x="1516" y="1706"/>
                  <a:pt x="1516" y="1708"/>
                  <a:pt x="1515" y="1709"/>
                </a:cubicBezTo>
                <a:cubicBezTo>
                  <a:pt x="1516" y="1708"/>
                  <a:pt x="1516" y="1706"/>
                  <a:pt x="1517" y="1705"/>
                </a:cubicBezTo>
                <a:close/>
                <a:moveTo>
                  <a:pt x="1515" y="825"/>
                </a:moveTo>
                <a:cubicBezTo>
                  <a:pt x="1515" y="825"/>
                  <a:pt x="1515" y="825"/>
                  <a:pt x="1515" y="825"/>
                </a:cubicBezTo>
                <a:close/>
                <a:moveTo>
                  <a:pt x="1515" y="1103"/>
                </a:moveTo>
                <a:cubicBezTo>
                  <a:pt x="1515" y="1104"/>
                  <a:pt x="1515" y="1105"/>
                  <a:pt x="1514" y="1106"/>
                </a:cubicBezTo>
                <a:cubicBezTo>
                  <a:pt x="1515" y="1105"/>
                  <a:pt x="1515" y="1104"/>
                  <a:pt x="1515" y="1103"/>
                </a:cubicBezTo>
                <a:cubicBezTo>
                  <a:pt x="1514" y="1099"/>
                  <a:pt x="1513" y="1096"/>
                  <a:pt x="1510" y="1094"/>
                </a:cubicBezTo>
                <a:cubicBezTo>
                  <a:pt x="1513" y="1096"/>
                  <a:pt x="1514" y="1099"/>
                  <a:pt x="1515" y="1103"/>
                </a:cubicBezTo>
                <a:close/>
                <a:moveTo>
                  <a:pt x="1485" y="1696"/>
                </a:moveTo>
                <a:cubicBezTo>
                  <a:pt x="1483" y="1696"/>
                  <a:pt x="1482" y="1697"/>
                  <a:pt x="1481" y="1697"/>
                </a:cubicBezTo>
                <a:cubicBezTo>
                  <a:pt x="1479" y="1694"/>
                  <a:pt x="1477" y="1692"/>
                  <a:pt x="1475" y="1690"/>
                </a:cubicBezTo>
                <a:cubicBezTo>
                  <a:pt x="1475" y="1690"/>
                  <a:pt x="1475" y="1690"/>
                  <a:pt x="1475" y="1690"/>
                </a:cubicBezTo>
                <a:cubicBezTo>
                  <a:pt x="1465" y="1682"/>
                  <a:pt x="1469" y="1671"/>
                  <a:pt x="1476" y="1668"/>
                </a:cubicBezTo>
                <a:cubicBezTo>
                  <a:pt x="1486" y="1663"/>
                  <a:pt x="1501" y="1659"/>
                  <a:pt x="1506" y="1676"/>
                </a:cubicBezTo>
                <a:cubicBezTo>
                  <a:pt x="1499" y="1683"/>
                  <a:pt x="1492" y="1690"/>
                  <a:pt x="1485" y="1696"/>
                </a:cubicBezTo>
                <a:close/>
                <a:moveTo>
                  <a:pt x="1505" y="816"/>
                </a:moveTo>
                <a:cubicBezTo>
                  <a:pt x="1499" y="814"/>
                  <a:pt x="1494" y="812"/>
                  <a:pt x="1491" y="807"/>
                </a:cubicBezTo>
                <a:cubicBezTo>
                  <a:pt x="1494" y="812"/>
                  <a:pt x="1499" y="814"/>
                  <a:pt x="1505" y="816"/>
                </a:cubicBezTo>
                <a:close/>
                <a:moveTo>
                  <a:pt x="1494" y="916"/>
                </a:moveTo>
                <a:cubicBezTo>
                  <a:pt x="1493" y="921"/>
                  <a:pt x="1493" y="927"/>
                  <a:pt x="1492" y="932"/>
                </a:cubicBezTo>
                <a:cubicBezTo>
                  <a:pt x="1491" y="932"/>
                  <a:pt x="1490" y="932"/>
                  <a:pt x="1489" y="932"/>
                </a:cubicBezTo>
                <a:cubicBezTo>
                  <a:pt x="1476" y="927"/>
                  <a:pt x="1473" y="917"/>
                  <a:pt x="1470" y="905"/>
                </a:cubicBezTo>
                <a:cubicBezTo>
                  <a:pt x="1467" y="889"/>
                  <a:pt x="1454" y="883"/>
                  <a:pt x="1439" y="889"/>
                </a:cubicBezTo>
                <a:cubicBezTo>
                  <a:pt x="1437" y="890"/>
                  <a:pt x="1433" y="888"/>
                  <a:pt x="1430" y="887"/>
                </a:cubicBezTo>
                <a:cubicBezTo>
                  <a:pt x="1420" y="878"/>
                  <a:pt x="1426" y="871"/>
                  <a:pt x="1433" y="865"/>
                </a:cubicBezTo>
                <a:cubicBezTo>
                  <a:pt x="1440" y="867"/>
                  <a:pt x="1442" y="863"/>
                  <a:pt x="1445" y="858"/>
                </a:cubicBezTo>
                <a:cubicBezTo>
                  <a:pt x="1472" y="868"/>
                  <a:pt x="1479" y="895"/>
                  <a:pt x="1494" y="916"/>
                </a:cubicBezTo>
                <a:close/>
                <a:moveTo>
                  <a:pt x="1473" y="845"/>
                </a:moveTo>
                <a:cubicBezTo>
                  <a:pt x="1473" y="845"/>
                  <a:pt x="1473" y="845"/>
                  <a:pt x="1473" y="845"/>
                </a:cubicBezTo>
                <a:cubicBezTo>
                  <a:pt x="1473" y="845"/>
                  <a:pt x="1473" y="845"/>
                  <a:pt x="1473" y="845"/>
                </a:cubicBezTo>
                <a:cubicBezTo>
                  <a:pt x="1475" y="846"/>
                  <a:pt x="1478" y="847"/>
                  <a:pt x="1480" y="848"/>
                </a:cubicBezTo>
                <a:cubicBezTo>
                  <a:pt x="1480" y="848"/>
                  <a:pt x="1480" y="848"/>
                  <a:pt x="1480" y="848"/>
                </a:cubicBezTo>
                <a:cubicBezTo>
                  <a:pt x="1480" y="848"/>
                  <a:pt x="1480" y="848"/>
                  <a:pt x="1480" y="848"/>
                </a:cubicBezTo>
                <a:cubicBezTo>
                  <a:pt x="1480" y="848"/>
                  <a:pt x="1481" y="849"/>
                  <a:pt x="1481" y="849"/>
                </a:cubicBezTo>
                <a:cubicBezTo>
                  <a:pt x="1481" y="849"/>
                  <a:pt x="1480" y="848"/>
                  <a:pt x="1480" y="848"/>
                </a:cubicBezTo>
                <a:cubicBezTo>
                  <a:pt x="1478" y="847"/>
                  <a:pt x="1475" y="846"/>
                  <a:pt x="1473" y="845"/>
                </a:cubicBezTo>
                <a:cubicBezTo>
                  <a:pt x="1471" y="844"/>
                  <a:pt x="1470" y="842"/>
                  <a:pt x="1468" y="841"/>
                </a:cubicBezTo>
                <a:cubicBezTo>
                  <a:pt x="1467" y="840"/>
                  <a:pt x="1466" y="838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5" y="837"/>
                  <a:pt x="1465" y="837"/>
                  <a:pt x="1465" y="837"/>
                </a:cubicBezTo>
                <a:cubicBezTo>
                  <a:pt x="1466" y="838"/>
                  <a:pt x="1467" y="840"/>
                  <a:pt x="1469" y="841"/>
                </a:cubicBezTo>
                <a:cubicBezTo>
                  <a:pt x="1470" y="842"/>
                  <a:pt x="1471" y="844"/>
                  <a:pt x="1473" y="845"/>
                </a:cubicBezTo>
                <a:close/>
                <a:moveTo>
                  <a:pt x="1344" y="434"/>
                </a:moveTo>
                <a:cubicBezTo>
                  <a:pt x="1347" y="434"/>
                  <a:pt x="1350" y="435"/>
                  <a:pt x="1353" y="435"/>
                </a:cubicBezTo>
                <a:cubicBezTo>
                  <a:pt x="1350" y="435"/>
                  <a:pt x="1347" y="434"/>
                  <a:pt x="1344" y="434"/>
                </a:cubicBezTo>
                <a:cubicBezTo>
                  <a:pt x="1341" y="435"/>
                  <a:pt x="1338" y="434"/>
                  <a:pt x="1335" y="433"/>
                </a:cubicBezTo>
                <a:cubicBezTo>
                  <a:pt x="1338" y="434"/>
                  <a:pt x="1341" y="435"/>
                  <a:pt x="1344" y="434"/>
                </a:cubicBezTo>
                <a:close/>
                <a:moveTo>
                  <a:pt x="1038" y="312"/>
                </a:move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ubicBezTo>
                  <a:pt x="1038" y="312"/>
                  <a:pt x="1038" y="312"/>
                  <a:pt x="1038" y="312"/>
                </a:cubicBezTo>
                <a:close/>
                <a:moveTo>
                  <a:pt x="1037" y="312"/>
                </a:moveTo>
                <a:cubicBezTo>
                  <a:pt x="1037" y="312"/>
                  <a:pt x="1037" y="312"/>
                  <a:pt x="1037" y="312"/>
                </a:cubicBezTo>
                <a:cubicBezTo>
                  <a:pt x="1037" y="312"/>
                  <a:pt x="1037" y="312"/>
                  <a:pt x="1037" y="312"/>
                </a:cubicBezTo>
                <a:close/>
                <a:moveTo>
                  <a:pt x="960" y="292"/>
                </a:moveTo>
                <a:cubicBezTo>
                  <a:pt x="960" y="292"/>
                  <a:pt x="960" y="292"/>
                  <a:pt x="960" y="292"/>
                </a:cubicBezTo>
                <a:cubicBezTo>
                  <a:pt x="960" y="290"/>
                  <a:pt x="959" y="288"/>
                  <a:pt x="958" y="287"/>
                </a:cubicBezTo>
                <a:cubicBezTo>
                  <a:pt x="959" y="288"/>
                  <a:pt x="960" y="290"/>
                  <a:pt x="960" y="292"/>
                </a:cubicBezTo>
                <a:close/>
                <a:moveTo>
                  <a:pt x="849" y="209"/>
                </a:moveTo>
                <a:cubicBezTo>
                  <a:pt x="849" y="209"/>
                  <a:pt x="849" y="209"/>
                  <a:pt x="849" y="209"/>
                </a:cubicBezTo>
                <a:cubicBezTo>
                  <a:pt x="849" y="209"/>
                  <a:pt x="849" y="209"/>
                  <a:pt x="849" y="209"/>
                </a:cubicBezTo>
                <a:close/>
                <a:moveTo>
                  <a:pt x="849" y="209"/>
                </a:moveTo>
                <a:cubicBezTo>
                  <a:pt x="849" y="209"/>
                  <a:pt x="849" y="209"/>
                  <a:pt x="849" y="209"/>
                </a:cubicBezTo>
                <a:cubicBezTo>
                  <a:pt x="847" y="209"/>
                  <a:pt x="845" y="209"/>
                  <a:pt x="843" y="209"/>
                </a:cubicBezTo>
                <a:cubicBezTo>
                  <a:pt x="845" y="209"/>
                  <a:pt x="847" y="209"/>
                  <a:pt x="849" y="209"/>
                </a:cubicBezTo>
                <a:close/>
                <a:moveTo>
                  <a:pt x="881" y="260"/>
                </a:moveTo>
                <a:cubicBezTo>
                  <a:pt x="884" y="262"/>
                  <a:pt x="888" y="262"/>
                  <a:pt x="892" y="263"/>
                </a:cubicBezTo>
                <a:cubicBezTo>
                  <a:pt x="888" y="262"/>
                  <a:pt x="884" y="262"/>
                  <a:pt x="881" y="260"/>
                </a:cubicBezTo>
                <a:cubicBezTo>
                  <a:pt x="866" y="249"/>
                  <a:pt x="848" y="243"/>
                  <a:pt x="831" y="236"/>
                </a:cubicBezTo>
                <a:cubicBezTo>
                  <a:pt x="848" y="243"/>
                  <a:pt x="866" y="249"/>
                  <a:pt x="881" y="260"/>
                </a:cubicBezTo>
                <a:close/>
                <a:moveTo>
                  <a:pt x="805" y="268"/>
                </a:moveTo>
                <a:cubicBezTo>
                  <a:pt x="818" y="273"/>
                  <a:pt x="832" y="279"/>
                  <a:pt x="845" y="284"/>
                </a:cubicBezTo>
                <a:cubicBezTo>
                  <a:pt x="850" y="288"/>
                  <a:pt x="856" y="291"/>
                  <a:pt x="863" y="289"/>
                </a:cubicBezTo>
                <a:cubicBezTo>
                  <a:pt x="872" y="287"/>
                  <a:pt x="877" y="291"/>
                  <a:pt x="877" y="300"/>
                </a:cubicBezTo>
                <a:cubicBezTo>
                  <a:pt x="886" y="303"/>
                  <a:pt x="895" y="306"/>
                  <a:pt x="904" y="309"/>
                </a:cubicBezTo>
                <a:cubicBezTo>
                  <a:pt x="911" y="315"/>
                  <a:pt x="920" y="318"/>
                  <a:pt x="929" y="320"/>
                </a:cubicBezTo>
                <a:cubicBezTo>
                  <a:pt x="930" y="322"/>
                  <a:pt x="932" y="323"/>
                  <a:pt x="933" y="324"/>
                </a:cubicBezTo>
                <a:cubicBezTo>
                  <a:pt x="935" y="324"/>
                  <a:pt x="936" y="324"/>
                  <a:pt x="938" y="324"/>
                </a:cubicBezTo>
                <a:cubicBezTo>
                  <a:pt x="938" y="325"/>
                  <a:pt x="939" y="326"/>
                  <a:pt x="940" y="326"/>
                </a:cubicBezTo>
                <a:cubicBezTo>
                  <a:pt x="941" y="327"/>
                  <a:pt x="941" y="328"/>
                  <a:pt x="942" y="329"/>
                </a:cubicBezTo>
                <a:cubicBezTo>
                  <a:pt x="942" y="329"/>
                  <a:pt x="943" y="329"/>
                  <a:pt x="943" y="329"/>
                </a:cubicBezTo>
                <a:cubicBezTo>
                  <a:pt x="945" y="329"/>
                  <a:pt x="947" y="329"/>
                  <a:pt x="949" y="329"/>
                </a:cubicBezTo>
                <a:cubicBezTo>
                  <a:pt x="951" y="335"/>
                  <a:pt x="959" y="330"/>
                  <a:pt x="961" y="336"/>
                </a:cubicBezTo>
                <a:cubicBezTo>
                  <a:pt x="971" y="334"/>
                  <a:pt x="978" y="336"/>
                  <a:pt x="987" y="344"/>
                </a:cubicBezTo>
                <a:cubicBezTo>
                  <a:pt x="998" y="353"/>
                  <a:pt x="1015" y="355"/>
                  <a:pt x="1029" y="361"/>
                </a:cubicBezTo>
                <a:cubicBezTo>
                  <a:pt x="1029" y="362"/>
                  <a:pt x="1029" y="362"/>
                  <a:pt x="1030" y="363"/>
                </a:cubicBezTo>
                <a:cubicBezTo>
                  <a:pt x="1039" y="366"/>
                  <a:pt x="1048" y="370"/>
                  <a:pt x="1057" y="373"/>
                </a:cubicBezTo>
                <a:cubicBezTo>
                  <a:pt x="1058" y="373"/>
                  <a:pt x="1060" y="373"/>
                  <a:pt x="1061" y="373"/>
                </a:cubicBezTo>
                <a:cubicBezTo>
                  <a:pt x="1069" y="377"/>
                  <a:pt x="1082" y="372"/>
                  <a:pt x="1085" y="385"/>
                </a:cubicBezTo>
                <a:cubicBezTo>
                  <a:pt x="1091" y="387"/>
                  <a:pt x="1098" y="389"/>
                  <a:pt x="1104" y="391"/>
                </a:cubicBezTo>
                <a:cubicBezTo>
                  <a:pt x="1104" y="391"/>
                  <a:pt x="1104" y="392"/>
                  <a:pt x="1105" y="393"/>
                </a:cubicBezTo>
                <a:cubicBezTo>
                  <a:pt x="1107" y="393"/>
                  <a:pt x="1110" y="394"/>
                  <a:pt x="1112" y="394"/>
                </a:cubicBezTo>
                <a:cubicBezTo>
                  <a:pt x="1114" y="395"/>
                  <a:pt x="1115" y="395"/>
                  <a:pt x="1117" y="396"/>
                </a:cubicBezTo>
                <a:cubicBezTo>
                  <a:pt x="1122" y="399"/>
                  <a:pt x="1127" y="402"/>
                  <a:pt x="1133" y="405"/>
                </a:cubicBezTo>
                <a:cubicBezTo>
                  <a:pt x="1154" y="408"/>
                  <a:pt x="1172" y="419"/>
                  <a:pt x="1193" y="425"/>
                </a:cubicBezTo>
                <a:cubicBezTo>
                  <a:pt x="1193" y="425"/>
                  <a:pt x="1193" y="426"/>
                  <a:pt x="1194" y="427"/>
                </a:cubicBezTo>
                <a:cubicBezTo>
                  <a:pt x="1205" y="430"/>
                  <a:pt x="1216" y="434"/>
                  <a:pt x="1228" y="437"/>
                </a:cubicBezTo>
                <a:cubicBezTo>
                  <a:pt x="1228" y="438"/>
                  <a:pt x="1229" y="439"/>
                  <a:pt x="1229" y="440"/>
                </a:cubicBezTo>
                <a:cubicBezTo>
                  <a:pt x="1255" y="442"/>
                  <a:pt x="1275" y="461"/>
                  <a:pt x="1301" y="464"/>
                </a:cubicBezTo>
                <a:cubicBezTo>
                  <a:pt x="1302" y="466"/>
                  <a:pt x="1304" y="467"/>
                  <a:pt x="1305" y="468"/>
                </a:cubicBezTo>
                <a:cubicBezTo>
                  <a:pt x="1309" y="468"/>
                  <a:pt x="1313" y="469"/>
                  <a:pt x="1317" y="469"/>
                </a:cubicBezTo>
                <a:cubicBezTo>
                  <a:pt x="1316" y="470"/>
                  <a:pt x="1316" y="470"/>
                  <a:pt x="1316" y="470"/>
                </a:cubicBezTo>
                <a:cubicBezTo>
                  <a:pt x="1316" y="471"/>
                  <a:pt x="1316" y="471"/>
                  <a:pt x="1316" y="471"/>
                </a:cubicBezTo>
                <a:cubicBezTo>
                  <a:pt x="1327" y="464"/>
                  <a:pt x="1327" y="478"/>
                  <a:pt x="1334" y="479"/>
                </a:cubicBezTo>
                <a:cubicBezTo>
                  <a:pt x="1335" y="479"/>
                  <a:pt x="1336" y="480"/>
                  <a:pt x="1337" y="481"/>
                </a:cubicBezTo>
                <a:cubicBezTo>
                  <a:pt x="1337" y="480"/>
                  <a:pt x="1337" y="480"/>
                  <a:pt x="1337" y="480"/>
                </a:cubicBezTo>
                <a:cubicBezTo>
                  <a:pt x="1336" y="479"/>
                  <a:pt x="1336" y="479"/>
                  <a:pt x="1336" y="479"/>
                </a:cubicBezTo>
                <a:cubicBezTo>
                  <a:pt x="1339" y="480"/>
                  <a:pt x="1342" y="481"/>
                  <a:pt x="1345" y="482"/>
                </a:cubicBezTo>
                <a:cubicBezTo>
                  <a:pt x="1346" y="483"/>
                  <a:pt x="1348" y="484"/>
                  <a:pt x="1349" y="485"/>
                </a:cubicBezTo>
                <a:cubicBezTo>
                  <a:pt x="1349" y="485"/>
                  <a:pt x="1349" y="485"/>
                  <a:pt x="1349" y="485"/>
                </a:cubicBezTo>
                <a:cubicBezTo>
                  <a:pt x="1356" y="486"/>
                  <a:pt x="1362" y="487"/>
                  <a:pt x="1369" y="489"/>
                </a:cubicBezTo>
                <a:cubicBezTo>
                  <a:pt x="1372" y="493"/>
                  <a:pt x="1376" y="493"/>
                  <a:pt x="1381" y="492"/>
                </a:cubicBezTo>
                <a:cubicBezTo>
                  <a:pt x="1385" y="499"/>
                  <a:pt x="1389" y="493"/>
                  <a:pt x="1393" y="492"/>
                </a:cubicBezTo>
                <a:cubicBezTo>
                  <a:pt x="1393" y="491"/>
                  <a:pt x="1393" y="490"/>
                  <a:pt x="1393" y="489"/>
                </a:cubicBezTo>
                <a:cubicBezTo>
                  <a:pt x="1393" y="489"/>
                  <a:pt x="1393" y="488"/>
                  <a:pt x="1393" y="488"/>
                </a:cubicBezTo>
                <a:cubicBezTo>
                  <a:pt x="1393" y="488"/>
                  <a:pt x="1393" y="489"/>
                  <a:pt x="1393" y="489"/>
                </a:cubicBezTo>
                <a:cubicBezTo>
                  <a:pt x="1393" y="490"/>
                  <a:pt x="1393" y="491"/>
                  <a:pt x="1393" y="492"/>
                </a:cubicBezTo>
                <a:cubicBezTo>
                  <a:pt x="1397" y="496"/>
                  <a:pt x="1399" y="503"/>
                  <a:pt x="1405" y="505"/>
                </a:cubicBezTo>
                <a:cubicBezTo>
                  <a:pt x="1407" y="505"/>
                  <a:pt x="1410" y="505"/>
                  <a:pt x="1413" y="506"/>
                </a:cubicBezTo>
                <a:cubicBezTo>
                  <a:pt x="1414" y="505"/>
                  <a:pt x="1415" y="505"/>
                  <a:pt x="1417" y="505"/>
                </a:cubicBezTo>
                <a:cubicBezTo>
                  <a:pt x="1418" y="506"/>
                  <a:pt x="1420" y="507"/>
                  <a:pt x="1421" y="509"/>
                </a:cubicBezTo>
                <a:cubicBezTo>
                  <a:pt x="1430" y="510"/>
                  <a:pt x="1446" y="515"/>
                  <a:pt x="1445" y="517"/>
                </a:cubicBezTo>
                <a:cubicBezTo>
                  <a:pt x="1435" y="533"/>
                  <a:pt x="1456" y="534"/>
                  <a:pt x="1457" y="544"/>
                </a:cubicBezTo>
                <a:cubicBezTo>
                  <a:pt x="1436" y="556"/>
                  <a:pt x="1435" y="559"/>
                  <a:pt x="1453" y="575"/>
                </a:cubicBezTo>
                <a:cubicBezTo>
                  <a:pt x="1455" y="577"/>
                  <a:pt x="1458" y="579"/>
                  <a:pt x="1461" y="581"/>
                </a:cubicBezTo>
                <a:cubicBezTo>
                  <a:pt x="1462" y="583"/>
                  <a:pt x="1463" y="586"/>
                  <a:pt x="1465" y="589"/>
                </a:cubicBezTo>
                <a:cubicBezTo>
                  <a:pt x="1466" y="590"/>
                  <a:pt x="1467" y="592"/>
                  <a:pt x="1468" y="593"/>
                </a:cubicBezTo>
                <a:cubicBezTo>
                  <a:pt x="1468" y="598"/>
                  <a:pt x="1468" y="602"/>
                  <a:pt x="1468" y="607"/>
                </a:cubicBezTo>
                <a:cubicBezTo>
                  <a:pt x="1456" y="621"/>
                  <a:pt x="1466" y="637"/>
                  <a:pt x="1464" y="653"/>
                </a:cubicBezTo>
                <a:cubicBezTo>
                  <a:pt x="1458" y="696"/>
                  <a:pt x="1451" y="740"/>
                  <a:pt x="1453" y="785"/>
                </a:cubicBezTo>
                <a:cubicBezTo>
                  <a:pt x="1452" y="792"/>
                  <a:pt x="1450" y="800"/>
                  <a:pt x="1449" y="807"/>
                </a:cubicBezTo>
                <a:cubicBezTo>
                  <a:pt x="1427" y="793"/>
                  <a:pt x="1407" y="776"/>
                  <a:pt x="1388" y="758"/>
                </a:cubicBezTo>
                <a:cubicBezTo>
                  <a:pt x="1384" y="756"/>
                  <a:pt x="1379" y="754"/>
                  <a:pt x="1377" y="749"/>
                </a:cubicBezTo>
                <a:cubicBezTo>
                  <a:pt x="1357" y="733"/>
                  <a:pt x="1337" y="717"/>
                  <a:pt x="1317" y="701"/>
                </a:cubicBezTo>
                <a:cubicBezTo>
                  <a:pt x="1311" y="699"/>
                  <a:pt x="1308" y="694"/>
                  <a:pt x="1304" y="690"/>
                </a:cubicBezTo>
                <a:cubicBezTo>
                  <a:pt x="1298" y="689"/>
                  <a:pt x="1295" y="684"/>
                  <a:pt x="1291" y="680"/>
                </a:cubicBezTo>
                <a:cubicBezTo>
                  <a:pt x="1291" y="680"/>
                  <a:pt x="1291" y="680"/>
                  <a:pt x="1291" y="680"/>
                </a:cubicBezTo>
                <a:cubicBezTo>
                  <a:pt x="1282" y="675"/>
                  <a:pt x="1274" y="670"/>
                  <a:pt x="1268" y="662"/>
                </a:cubicBezTo>
                <a:cubicBezTo>
                  <a:pt x="1246" y="645"/>
                  <a:pt x="1224" y="629"/>
                  <a:pt x="1204" y="610"/>
                </a:cubicBezTo>
                <a:cubicBezTo>
                  <a:pt x="1189" y="601"/>
                  <a:pt x="1176" y="591"/>
                  <a:pt x="1164" y="578"/>
                </a:cubicBezTo>
                <a:cubicBezTo>
                  <a:pt x="1153" y="571"/>
                  <a:pt x="1142" y="563"/>
                  <a:pt x="1133" y="553"/>
                </a:cubicBezTo>
                <a:cubicBezTo>
                  <a:pt x="1123" y="548"/>
                  <a:pt x="1115" y="542"/>
                  <a:pt x="1108" y="533"/>
                </a:cubicBezTo>
                <a:cubicBezTo>
                  <a:pt x="1105" y="530"/>
                  <a:pt x="1102" y="528"/>
                  <a:pt x="1099" y="525"/>
                </a:cubicBezTo>
                <a:cubicBezTo>
                  <a:pt x="1097" y="523"/>
                  <a:pt x="1095" y="520"/>
                  <a:pt x="1093" y="517"/>
                </a:cubicBezTo>
                <a:cubicBezTo>
                  <a:pt x="1091" y="517"/>
                  <a:pt x="1090" y="517"/>
                  <a:pt x="1089" y="516"/>
                </a:cubicBezTo>
                <a:cubicBezTo>
                  <a:pt x="1078" y="513"/>
                  <a:pt x="1071" y="505"/>
                  <a:pt x="1064" y="497"/>
                </a:cubicBezTo>
                <a:cubicBezTo>
                  <a:pt x="1053" y="493"/>
                  <a:pt x="1045" y="484"/>
                  <a:pt x="1037" y="476"/>
                </a:cubicBezTo>
                <a:cubicBezTo>
                  <a:pt x="1037" y="475"/>
                  <a:pt x="1037" y="475"/>
                  <a:pt x="1037" y="475"/>
                </a:cubicBezTo>
                <a:cubicBezTo>
                  <a:pt x="1034" y="473"/>
                  <a:pt x="1031" y="471"/>
                  <a:pt x="1029" y="469"/>
                </a:cubicBezTo>
                <a:cubicBezTo>
                  <a:pt x="1020" y="466"/>
                  <a:pt x="1015" y="458"/>
                  <a:pt x="1008" y="453"/>
                </a:cubicBezTo>
                <a:cubicBezTo>
                  <a:pt x="982" y="432"/>
                  <a:pt x="955" y="410"/>
                  <a:pt x="929" y="389"/>
                </a:cubicBezTo>
                <a:cubicBezTo>
                  <a:pt x="908" y="376"/>
                  <a:pt x="890" y="359"/>
                  <a:pt x="872" y="344"/>
                </a:cubicBezTo>
                <a:cubicBezTo>
                  <a:pt x="840" y="318"/>
                  <a:pt x="807" y="293"/>
                  <a:pt x="775" y="267"/>
                </a:cubicBezTo>
                <a:cubicBezTo>
                  <a:pt x="773" y="264"/>
                  <a:pt x="771" y="261"/>
                  <a:pt x="768" y="257"/>
                </a:cubicBezTo>
                <a:cubicBezTo>
                  <a:pt x="783" y="255"/>
                  <a:pt x="793" y="266"/>
                  <a:pt x="805" y="268"/>
                </a:cubicBezTo>
                <a:close/>
                <a:moveTo>
                  <a:pt x="731" y="354"/>
                </a:moveTo>
                <a:cubicBezTo>
                  <a:pt x="737" y="347"/>
                  <a:pt x="737" y="338"/>
                  <a:pt x="737" y="329"/>
                </a:cubicBezTo>
                <a:cubicBezTo>
                  <a:pt x="737" y="328"/>
                  <a:pt x="737" y="326"/>
                  <a:pt x="738" y="325"/>
                </a:cubicBezTo>
                <a:cubicBezTo>
                  <a:pt x="740" y="322"/>
                  <a:pt x="740" y="318"/>
                  <a:pt x="738" y="315"/>
                </a:cubicBezTo>
                <a:cubicBezTo>
                  <a:pt x="748" y="313"/>
                  <a:pt x="752" y="322"/>
                  <a:pt x="759" y="325"/>
                </a:cubicBezTo>
                <a:cubicBezTo>
                  <a:pt x="757" y="332"/>
                  <a:pt x="754" y="338"/>
                  <a:pt x="752" y="345"/>
                </a:cubicBezTo>
                <a:cubicBezTo>
                  <a:pt x="748" y="348"/>
                  <a:pt x="749" y="353"/>
                  <a:pt x="749" y="357"/>
                </a:cubicBezTo>
                <a:cubicBezTo>
                  <a:pt x="777" y="378"/>
                  <a:pt x="805" y="399"/>
                  <a:pt x="833" y="421"/>
                </a:cubicBezTo>
                <a:cubicBezTo>
                  <a:pt x="833" y="421"/>
                  <a:pt x="833" y="421"/>
                  <a:pt x="833" y="421"/>
                </a:cubicBezTo>
                <a:cubicBezTo>
                  <a:pt x="805" y="399"/>
                  <a:pt x="777" y="378"/>
                  <a:pt x="749" y="357"/>
                </a:cubicBezTo>
                <a:cubicBezTo>
                  <a:pt x="749" y="371"/>
                  <a:pt x="740" y="366"/>
                  <a:pt x="733" y="364"/>
                </a:cubicBezTo>
                <a:cubicBezTo>
                  <a:pt x="735" y="360"/>
                  <a:pt x="732" y="358"/>
                  <a:pt x="731" y="354"/>
                </a:cubicBezTo>
                <a:cubicBezTo>
                  <a:pt x="728" y="354"/>
                  <a:pt x="727" y="353"/>
                  <a:pt x="725" y="351"/>
                </a:cubicBezTo>
                <a:cubicBezTo>
                  <a:pt x="727" y="353"/>
                  <a:pt x="728" y="354"/>
                  <a:pt x="731" y="354"/>
                </a:cubicBezTo>
                <a:close/>
                <a:moveTo>
                  <a:pt x="724" y="349"/>
                </a:moveTo>
                <a:cubicBezTo>
                  <a:pt x="724" y="349"/>
                  <a:pt x="724" y="349"/>
                  <a:pt x="724" y="349"/>
                </a:cubicBezTo>
                <a:cubicBezTo>
                  <a:pt x="727" y="340"/>
                  <a:pt x="724" y="334"/>
                  <a:pt x="716" y="329"/>
                </a:cubicBezTo>
                <a:cubicBezTo>
                  <a:pt x="704" y="322"/>
                  <a:pt x="693" y="314"/>
                  <a:pt x="682" y="306"/>
                </a:cubicBezTo>
                <a:cubicBezTo>
                  <a:pt x="693" y="314"/>
                  <a:pt x="704" y="322"/>
                  <a:pt x="716" y="329"/>
                </a:cubicBezTo>
                <a:cubicBezTo>
                  <a:pt x="724" y="334"/>
                  <a:pt x="727" y="340"/>
                  <a:pt x="724" y="349"/>
                </a:cubicBezTo>
                <a:close/>
                <a:moveTo>
                  <a:pt x="682" y="254"/>
                </a:moveTo>
                <a:cubicBezTo>
                  <a:pt x="684" y="256"/>
                  <a:pt x="686" y="257"/>
                  <a:pt x="689" y="256"/>
                </a:cubicBezTo>
                <a:cubicBezTo>
                  <a:pt x="689" y="256"/>
                  <a:pt x="689" y="255"/>
                  <a:pt x="689" y="255"/>
                </a:cubicBezTo>
                <a:cubicBezTo>
                  <a:pt x="689" y="255"/>
                  <a:pt x="689" y="256"/>
                  <a:pt x="689" y="256"/>
                </a:cubicBezTo>
                <a:cubicBezTo>
                  <a:pt x="686" y="257"/>
                  <a:pt x="684" y="256"/>
                  <a:pt x="682" y="254"/>
                </a:cubicBezTo>
                <a:close/>
                <a:moveTo>
                  <a:pt x="713" y="273"/>
                </a:moveTo>
                <a:cubicBezTo>
                  <a:pt x="713" y="274"/>
                  <a:pt x="714" y="274"/>
                  <a:pt x="715" y="275"/>
                </a:cubicBezTo>
                <a:cubicBezTo>
                  <a:pt x="714" y="274"/>
                  <a:pt x="713" y="274"/>
                  <a:pt x="713" y="273"/>
                </a:cubicBezTo>
                <a:cubicBezTo>
                  <a:pt x="709" y="273"/>
                  <a:pt x="706" y="273"/>
                  <a:pt x="704" y="271"/>
                </a:cubicBezTo>
                <a:cubicBezTo>
                  <a:pt x="706" y="273"/>
                  <a:pt x="709" y="273"/>
                  <a:pt x="713" y="273"/>
                </a:cubicBezTo>
                <a:close/>
                <a:moveTo>
                  <a:pt x="701" y="240"/>
                </a:moveTo>
                <a:cubicBezTo>
                  <a:pt x="701" y="240"/>
                  <a:pt x="701" y="240"/>
                  <a:pt x="701" y="240"/>
                </a:cubicBezTo>
                <a:cubicBezTo>
                  <a:pt x="695" y="238"/>
                  <a:pt x="691" y="237"/>
                  <a:pt x="689" y="238"/>
                </a:cubicBezTo>
                <a:cubicBezTo>
                  <a:pt x="691" y="237"/>
                  <a:pt x="695" y="238"/>
                  <a:pt x="701" y="240"/>
                </a:cubicBezTo>
                <a:close/>
                <a:moveTo>
                  <a:pt x="691" y="156"/>
                </a:moveTo>
                <a:cubicBezTo>
                  <a:pt x="691" y="156"/>
                  <a:pt x="691" y="156"/>
                  <a:pt x="691" y="156"/>
                </a:cubicBezTo>
                <a:cubicBezTo>
                  <a:pt x="691" y="156"/>
                  <a:pt x="691" y="156"/>
                  <a:pt x="691" y="156"/>
                </a:cubicBezTo>
                <a:cubicBezTo>
                  <a:pt x="687" y="153"/>
                  <a:pt x="684" y="151"/>
                  <a:pt x="681" y="149"/>
                </a:cubicBezTo>
                <a:cubicBezTo>
                  <a:pt x="684" y="151"/>
                  <a:pt x="687" y="153"/>
                  <a:pt x="691" y="156"/>
                </a:cubicBezTo>
                <a:close/>
                <a:moveTo>
                  <a:pt x="677" y="220"/>
                </a:moveTo>
                <a:cubicBezTo>
                  <a:pt x="677" y="223"/>
                  <a:pt x="677" y="225"/>
                  <a:pt x="677" y="227"/>
                </a:cubicBezTo>
                <a:cubicBezTo>
                  <a:pt x="677" y="225"/>
                  <a:pt x="677" y="223"/>
                  <a:pt x="677" y="220"/>
                </a:cubicBezTo>
                <a:close/>
                <a:moveTo>
                  <a:pt x="673" y="216"/>
                </a:moveTo>
                <a:cubicBezTo>
                  <a:pt x="674" y="218"/>
                  <a:pt x="676" y="219"/>
                  <a:pt x="677" y="220"/>
                </a:cubicBezTo>
                <a:cubicBezTo>
                  <a:pt x="676" y="219"/>
                  <a:pt x="674" y="218"/>
                  <a:pt x="673" y="216"/>
                </a:cubicBezTo>
                <a:cubicBezTo>
                  <a:pt x="670" y="216"/>
                  <a:pt x="668" y="216"/>
                  <a:pt x="666" y="216"/>
                </a:cubicBezTo>
                <a:cubicBezTo>
                  <a:pt x="668" y="216"/>
                  <a:pt x="670" y="216"/>
                  <a:pt x="673" y="216"/>
                </a:cubicBezTo>
                <a:close/>
                <a:moveTo>
                  <a:pt x="665" y="200"/>
                </a:moveTo>
                <a:cubicBezTo>
                  <a:pt x="665" y="200"/>
                  <a:pt x="664" y="201"/>
                  <a:pt x="664" y="201"/>
                </a:cubicBezTo>
                <a:lnTo>
                  <a:pt x="665" y="200"/>
                </a:lnTo>
                <a:close/>
                <a:moveTo>
                  <a:pt x="664" y="216"/>
                </a:moveTo>
                <a:cubicBezTo>
                  <a:pt x="663" y="215"/>
                  <a:pt x="662" y="215"/>
                  <a:pt x="661" y="214"/>
                </a:cubicBezTo>
                <a:cubicBezTo>
                  <a:pt x="662" y="215"/>
                  <a:pt x="663" y="215"/>
                  <a:pt x="664" y="216"/>
                </a:cubicBezTo>
                <a:close/>
                <a:moveTo>
                  <a:pt x="658" y="127"/>
                </a:moveTo>
                <a:cubicBezTo>
                  <a:pt x="656" y="129"/>
                  <a:pt x="655" y="131"/>
                  <a:pt x="653" y="132"/>
                </a:cubicBezTo>
                <a:cubicBezTo>
                  <a:pt x="653" y="130"/>
                  <a:pt x="653" y="127"/>
                  <a:pt x="653" y="125"/>
                </a:cubicBezTo>
                <a:cubicBezTo>
                  <a:pt x="655" y="125"/>
                  <a:pt x="656" y="126"/>
                  <a:pt x="658" y="127"/>
                </a:cubicBezTo>
                <a:close/>
                <a:moveTo>
                  <a:pt x="705" y="397"/>
                </a:moveTo>
                <a:cubicBezTo>
                  <a:pt x="707" y="394"/>
                  <a:pt x="710" y="391"/>
                  <a:pt x="712" y="389"/>
                </a:cubicBezTo>
                <a:cubicBezTo>
                  <a:pt x="710" y="391"/>
                  <a:pt x="707" y="394"/>
                  <a:pt x="705" y="397"/>
                </a:cubicBezTo>
                <a:cubicBezTo>
                  <a:pt x="686" y="384"/>
                  <a:pt x="669" y="370"/>
                  <a:pt x="651" y="357"/>
                </a:cubicBezTo>
                <a:cubicBezTo>
                  <a:pt x="669" y="370"/>
                  <a:pt x="686" y="384"/>
                  <a:pt x="705" y="397"/>
                </a:cubicBezTo>
                <a:close/>
                <a:moveTo>
                  <a:pt x="633" y="381"/>
                </a:moveTo>
                <a:cubicBezTo>
                  <a:pt x="629" y="382"/>
                  <a:pt x="625" y="383"/>
                  <a:pt x="621" y="383"/>
                </a:cubicBezTo>
                <a:cubicBezTo>
                  <a:pt x="621" y="383"/>
                  <a:pt x="621" y="383"/>
                  <a:pt x="621" y="383"/>
                </a:cubicBezTo>
                <a:cubicBezTo>
                  <a:pt x="625" y="383"/>
                  <a:pt x="629" y="382"/>
                  <a:pt x="633" y="381"/>
                </a:cubicBezTo>
                <a:close/>
                <a:moveTo>
                  <a:pt x="604" y="386"/>
                </a:moveTo>
                <a:cubicBezTo>
                  <a:pt x="603" y="386"/>
                  <a:pt x="602" y="385"/>
                  <a:pt x="601" y="385"/>
                </a:cubicBezTo>
                <a:cubicBezTo>
                  <a:pt x="602" y="385"/>
                  <a:pt x="603" y="386"/>
                  <a:pt x="604" y="386"/>
                </a:cubicBezTo>
                <a:close/>
                <a:moveTo>
                  <a:pt x="661" y="470"/>
                </a:moveTo>
                <a:cubicBezTo>
                  <a:pt x="638" y="458"/>
                  <a:pt x="616" y="443"/>
                  <a:pt x="595" y="427"/>
                </a:cubicBezTo>
                <a:cubicBezTo>
                  <a:pt x="584" y="422"/>
                  <a:pt x="575" y="413"/>
                  <a:pt x="564" y="409"/>
                </a:cubicBezTo>
                <a:cubicBezTo>
                  <a:pt x="575" y="413"/>
                  <a:pt x="584" y="422"/>
                  <a:pt x="595" y="427"/>
                </a:cubicBezTo>
                <a:cubicBezTo>
                  <a:pt x="616" y="443"/>
                  <a:pt x="638" y="458"/>
                  <a:pt x="661" y="470"/>
                </a:cubicBezTo>
                <a:close/>
                <a:moveTo>
                  <a:pt x="579" y="381"/>
                </a:moveTo>
                <a:cubicBezTo>
                  <a:pt x="579" y="381"/>
                  <a:pt x="580" y="381"/>
                  <a:pt x="580" y="381"/>
                </a:cubicBezTo>
                <a:lnTo>
                  <a:pt x="579" y="381"/>
                </a:lnTo>
                <a:close/>
                <a:moveTo>
                  <a:pt x="583" y="343"/>
                </a:moveTo>
                <a:cubicBezTo>
                  <a:pt x="582" y="343"/>
                  <a:pt x="582" y="344"/>
                  <a:pt x="581" y="344"/>
                </a:cubicBezTo>
                <a:cubicBezTo>
                  <a:pt x="581" y="344"/>
                  <a:pt x="581" y="344"/>
                  <a:pt x="581" y="344"/>
                </a:cubicBezTo>
                <a:cubicBezTo>
                  <a:pt x="582" y="344"/>
                  <a:pt x="582" y="343"/>
                  <a:pt x="583" y="343"/>
                </a:cubicBezTo>
                <a:close/>
                <a:moveTo>
                  <a:pt x="581" y="344"/>
                </a:moveTo>
                <a:cubicBezTo>
                  <a:pt x="582" y="344"/>
                  <a:pt x="582" y="344"/>
                  <a:pt x="582" y="344"/>
                </a:cubicBezTo>
                <a:cubicBezTo>
                  <a:pt x="582" y="344"/>
                  <a:pt x="582" y="344"/>
                  <a:pt x="582" y="344"/>
                </a:cubicBezTo>
                <a:lnTo>
                  <a:pt x="581" y="344"/>
                </a:lnTo>
                <a:close/>
                <a:moveTo>
                  <a:pt x="586" y="260"/>
                </a:moveTo>
                <a:cubicBezTo>
                  <a:pt x="586" y="260"/>
                  <a:pt x="586" y="260"/>
                  <a:pt x="586" y="260"/>
                </a:cubicBezTo>
                <a:cubicBezTo>
                  <a:pt x="586" y="260"/>
                  <a:pt x="586" y="260"/>
                  <a:pt x="586" y="260"/>
                </a:cubicBezTo>
                <a:cubicBezTo>
                  <a:pt x="586" y="260"/>
                  <a:pt x="586" y="260"/>
                  <a:pt x="586" y="260"/>
                </a:cubicBezTo>
                <a:close/>
                <a:moveTo>
                  <a:pt x="577" y="159"/>
                </a:moveTo>
                <a:cubicBezTo>
                  <a:pt x="574" y="156"/>
                  <a:pt x="570" y="153"/>
                  <a:pt x="569" y="149"/>
                </a:cubicBezTo>
                <a:cubicBezTo>
                  <a:pt x="562" y="148"/>
                  <a:pt x="557" y="143"/>
                  <a:pt x="552" y="139"/>
                </a:cubicBezTo>
                <a:cubicBezTo>
                  <a:pt x="557" y="143"/>
                  <a:pt x="562" y="148"/>
                  <a:pt x="569" y="149"/>
                </a:cubicBezTo>
                <a:cubicBezTo>
                  <a:pt x="570" y="153"/>
                  <a:pt x="574" y="156"/>
                  <a:pt x="577" y="159"/>
                </a:cubicBezTo>
                <a:close/>
                <a:moveTo>
                  <a:pt x="551" y="39"/>
                </a:moveTo>
                <a:cubicBezTo>
                  <a:pt x="553" y="39"/>
                  <a:pt x="555" y="39"/>
                  <a:pt x="556" y="38"/>
                </a:cubicBezTo>
                <a:cubicBezTo>
                  <a:pt x="555" y="39"/>
                  <a:pt x="553" y="39"/>
                  <a:pt x="551" y="39"/>
                </a:cubicBezTo>
                <a:cubicBezTo>
                  <a:pt x="548" y="40"/>
                  <a:pt x="545" y="40"/>
                  <a:pt x="544" y="42"/>
                </a:cubicBezTo>
                <a:cubicBezTo>
                  <a:pt x="545" y="40"/>
                  <a:pt x="548" y="40"/>
                  <a:pt x="551" y="39"/>
                </a:cubicBezTo>
                <a:close/>
                <a:moveTo>
                  <a:pt x="541" y="116"/>
                </a:moveTo>
                <a:cubicBezTo>
                  <a:pt x="552" y="120"/>
                  <a:pt x="559" y="128"/>
                  <a:pt x="567" y="136"/>
                </a:cubicBezTo>
                <a:cubicBezTo>
                  <a:pt x="559" y="128"/>
                  <a:pt x="552" y="120"/>
                  <a:pt x="541" y="116"/>
                </a:cubicBezTo>
                <a:cubicBezTo>
                  <a:pt x="540" y="115"/>
                  <a:pt x="538" y="114"/>
                  <a:pt x="537" y="113"/>
                </a:cubicBezTo>
                <a:cubicBezTo>
                  <a:pt x="538" y="114"/>
                  <a:pt x="540" y="115"/>
                  <a:pt x="541" y="116"/>
                </a:cubicBezTo>
                <a:close/>
                <a:moveTo>
                  <a:pt x="537" y="132"/>
                </a:moveTo>
                <a:cubicBezTo>
                  <a:pt x="537" y="132"/>
                  <a:pt x="537" y="132"/>
                  <a:pt x="537" y="132"/>
                </a:cubicBezTo>
                <a:cubicBezTo>
                  <a:pt x="537" y="132"/>
                  <a:pt x="537" y="132"/>
                  <a:pt x="537" y="133"/>
                </a:cubicBezTo>
                <a:lnTo>
                  <a:pt x="537" y="132"/>
                </a:lnTo>
                <a:close/>
                <a:moveTo>
                  <a:pt x="523" y="65"/>
                </a:moveTo>
                <a:cubicBezTo>
                  <a:pt x="523" y="65"/>
                  <a:pt x="523" y="65"/>
                  <a:pt x="523" y="65"/>
                </a:cubicBezTo>
                <a:cubicBezTo>
                  <a:pt x="523" y="66"/>
                  <a:pt x="522" y="67"/>
                  <a:pt x="521" y="69"/>
                </a:cubicBezTo>
                <a:cubicBezTo>
                  <a:pt x="522" y="67"/>
                  <a:pt x="523" y="66"/>
                  <a:pt x="523" y="65"/>
                </a:cubicBezTo>
                <a:close/>
                <a:moveTo>
                  <a:pt x="516" y="58"/>
                </a:moveTo>
                <a:cubicBezTo>
                  <a:pt x="516" y="58"/>
                  <a:pt x="516" y="58"/>
                  <a:pt x="516" y="58"/>
                </a:cubicBezTo>
                <a:cubicBezTo>
                  <a:pt x="515" y="59"/>
                  <a:pt x="514" y="60"/>
                  <a:pt x="512" y="61"/>
                </a:cubicBezTo>
                <a:cubicBezTo>
                  <a:pt x="512" y="61"/>
                  <a:pt x="512" y="61"/>
                  <a:pt x="512" y="61"/>
                </a:cubicBezTo>
                <a:cubicBezTo>
                  <a:pt x="514" y="60"/>
                  <a:pt x="515" y="59"/>
                  <a:pt x="516" y="58"/>
                </a:cubicBezTo>
                <a:close/>
                <a:moveTo>
                  <a:pt x="513" y="112"/>
                </a:moveTo>
                <a:cubicBezTo>
                  <a:pt x="512" y="113"/>
                  <a:pt x="512" y="113"/>
                  <a:pt x="512" y="113"/>
                </a:cubicBezTo>
                <a:cubicBezTo>
                  <a:pt x="512" y="114"/>
                  <a:pt x="513" y="112"/>
                  <a:pt x="513" y="112"/>
                </a:cubicBezTo>
                <a:close/>
                <a:moveTo>
                  <a:pt x="505" y="101"/>
                </a:moveTo>
                <a:cubicBezTo>
                  <a:pt x="505" y="102"/>
                  <a:pt x="506" y="103"/>
                  <a:pt x="507" y="104"/>
                </a:cubicBezTo>
                <a:cubicBezTo>
                  <a:pt x="506" y="103"/>
                  <a:pt x="505" y="102"/>
                  <a:pt x="505" y="101"/>
                </a:cubicBezTo>
                <a:close/>
                <a:moveTo>
                  <a:pt x="479" y="66"/>
                </a:moveTo>
                <a:cubicBezTo>
                  <a:pt x="475" y="61"/>
                  <a:pt x="471" y="56"/>
                  <a:pt x="467" y="52"/>
                </a:cubicBezTo>
                <a:cubicBezTo>
                  <a:pt x="471" y="56"/>
                  <a:pt x="475" y="61"/>
                  <a:pt x="479" y="66"/>
                </a:cubicBezTo>
                <a:close/>
                <a:moveTo>
                  <a:pt x="460" y="140"/>
                </a:moveTo>
                <a:cubicBezTo>
                  <a:pt x="466" y="139"/>
                  <a:pt x="472" y="138"/>
                  <a:pt x="477" y="133"/>
                </a:cubicBezTo>
                <a:cubicBezTo>
                  <a:pt x="480" y="132"/>
                  <a:pt x="484" y="132"/>
                  <a:pt x="488" y="132"/>
                </a:cubicBezTo>
                <a:cubicBezTo>
                  <a:pt x="490" y="130"/>
                  <a:pt x="493" y="129"/>
                  <a:pt x="497" y="130"/>
                </a:cubicBezTo>
                <a:cubicBezTo>
                  <a:pt x="498" y="130"/>
                  <a:pt x="500" y="129"/>
                  <a:pt x="502" y="129"/>
                </a:cubicBezTo>
                <a:cubicBezTo>
                  <a:pt x="502" y="126"/>
                  <a:pt x="503" y="126"/>
                  <a:pt x="504" y="129"/>
                </a:cubicBezTo>
                <a:cubicBezTo>
                  <a:pt x="506" y="130"/>
                  <a:pt x="507" y="131"/>
                  <a:pt x="509" y="132"/>
                </a:cubicBezTo>
                <a:cubicBezTo>
                  <a:pt x="514" y="133"/>
                  <a:pt x="518" y="136"/>
                  <a:pt x="520" y="141"/>
                </a:cubicBezTo>
                <a:cubicBezTo>
                  <a:pt x="522" y="142"/>
                  <a:pt x="523" y="143"/>
                  <a:pt x="525" y="144"/>
                </a:cubicBezTo>
                <a:cubicBezTo>
                  <a:pt x="540" y="152"/>
                  <a:pt x="554" y="163"/>
                  <a:pt x="565" y="176"/>
                </a:cubicBezTo>
                <a:cubicBezTo>
                  <a:pt x="569" y="178"/>
                  <a:pt x="570" y="181"/>
                  <a:pt x="570" y="185"/>
                </a:cubicBezTo>
                <a:cubicBezTo>
                  <a:pt x="566" y="192"/>
                  <a:pt x="575" y="195"/>
                  <a:pt x="575" y="200"/>
                </a:cubicBezTo>
                <a:cubicBezTo>
                  <a:pt x="577" y="207"/>
                  <a:pt x="582" y="213"/>
                  <a:pt x="588" y="217"/>
                </a:cubicBezTo>
                <a:cubicBezTo>
                  <a:pt x="588" y="217"/>
                  <a:pt x="588" y="217"/>
                  <a:pt x="588" y="217"/>
                </a:cubicBezTo>
                <a:cubicBezTo>
                  <a:pt x="583" y="224"/>
                  <a:pt x="585" y="230"/>
                  <a:pt x="588" y="236"/>
                </a:cubicBezTo>
                <a:cubicBezTo>
                  <a:pt x="590" y="242"/>
                  <a:pt x="591" y="247"/>
                  <a:pt x="592" y="252"/>
                </a:cubicBezTo>
                <a:cubicBezTo>
                  <a:pt x="575" y="243"/>
                  <a:pt x="560" y="234"/>
                  <a:pt x="554" y="213"/>
                </a:cubicBezTo>
                <a:cubicBezTo>
                  <a:pt x="552" y="205"/>
                  <a:pt x="546" y="198"/>
                  <a:pt x="538" y="193"/>
                </a:cubicBezTo>
                <a:cubicBezTo>
                  <a:pt x="543" y="193"/>
                  <a:pt x="548" y="194"/>
                  <a:pt x="547" y="186"/>
                </a:cubicBezTo>
                <a:cubicBezTo>
                  <a:pt x="544" y="184"/>
                  <a:pt x="540" y="183"/>
                  <a:pt x="537" y="181"/>
                </a:cubicBezTo>
                <a:cubicBezTo>
                  <a:pt x="537" y="185"/>
                  <a:pt x="537" y="189"/>
                  <a:pt x="537" y="192"/>
                </a:cubicBezTo>
                <a:cubicBezTo>
                  <a:pt x="530" y="193"/>
                  <a:pt x="535" y="207"/>
                  <a:pt x="525" y="202"/>
                </a:cubicBezTo>
                <a:cubicBezTo>
                  <a:pt x="518" y="199"/>
                  <a:pt x="512" y="194"/>
                  <a:pt x="516" y="184"/>
                </a:cubicBezTo>
                <a:cubicBezTo>
                  <a:pt x="518" y="179"/>
                  <a:pt x="515" y="172"/>
                  <a:pt x="521" y="169"/>
                </a:cubicBezTo>
                <a:cubicBezTo>
                  <a:pt x="518" y="166"/>
                  <a:pt x="516" y="163"/>
                  <a:pt x="513" y="160"/>
                </a:cubicBezTo>
                <a:cubicBezTo>
                  <a:pt x="507" y="164"/>
                  <a:pt x="500" y="164"/>
                  <a:pt x="493" y="162"/>
                </a:cubicBezTo>
                <a:cubicBezTo>
                  <a:pt x="490" y="168"/>
                  <a:pt x="487" y="175"/>
                  <a:pt x="478" y="167"/>
                </a:cubicBezTo>
                <a:cubicBezTo>
                  <a:pt x="471" y="160"/>
                  <a:pt x="462" y="156"/>
                  <a:pt x="454" y="149"/>
                </a:cubicBezTo>
                <a:cubicBezTo>
                  <a:pt x="443" y="139"/>
                  <a:pt x="458" y="143"/>
                  <a:pt x="460" y="140"/>
                </a:cubicBezTo>
                <a:close/>
                <a:moveTo>
                  <a:pt x="417" y="449"/>
                </a:moveTo>
                <a:cubicBezTo>
                  <a:pt x="420" y="446"/>
                  <a:pt x="423" y="444"/>
                  <a:pt x="425" y="441"/>
                </a:cubicBezTo>
                <a:cubicBezTo>
                  <a:pt x="423" y="444"/>
                  <a:pt x="420" y="446"/>
                  <a:pt x="417" y="449"/>
                </a:cubicBezTo>
                <a:cubicBezTo>
                  <a:pt x="417" y="452"/>
                  <a:pt x="417" y="454"/>
                  <a:pt x="417" y="457"/>
                </a:cubicBezTo>
                <a:cubicBezTo>
                  <a:pt x="417" y="454"/>
                  <a:pt x="417" y="452"/>
                  <a:pt x="417" y="449"/>
                </a:cubicBezTo>
                <a:close/>
                <a:moveTo>
                  <a:pt x="417" y="457"/>
                </a:moveTo>
                <a:cubicBezTo>
                  <a:pt x="417" y="457"/>
                  <a:pt x="417" y="457"/>
                  <a:pt x="417" y="457"/>
                </a:cubicBezTo>
                <a:cubicBezTo>
                  <a:pt x="416" y="458"/>
                  <a:pt x="414" y="459"/>
                  <a:pt x="413" y="461"/>
                </a:cubicBezTo>
                <a:cubicBezTo>
                  <a:pt x="414" y="459"/>
                  <a:pt x="416" y="458"/>
                  <a:pt x="417" y="457"/>
                </a:cubicBezTo>
                <a:close/>
                <a:moveTo>
                  <a:pt x="449" y="557"/>
                </a:moveTo>
                <a:cubicBezTo>
                  <a:pt x="449" y="552"/>
                  <a:pt x="451" y="550"/>
                  <a:pt x="453" y="547"/>
                </a:cubicBezTo>
                <a:cubicBezTo>
                  <a:pt x="451" y="550"/>
                  <a:pt x="449" y="552"/>
                  <a:pt x="449" y="557"/>
                </a:cubicBezTo>
                <a:cubicBezTo>
                  <a:pt x="436" y="548"/>
                  <a:pt x="426" y="534"/>
                  <a:pt x="408" y="536"/>
                </a:cubicBezTo>
                <a:cubicBezTo>
                  <a:pt x="400" y="533"/>
                  <a:pt x="393" y="527"/>
                  <a:pt x="387" y="520"/>
                </a:cubicBezTo>
                <a:cubicBezTo>
                  <a:pt x="393" y="527"/>
                  <a:pt x="400" y="533"/>
                  <a:pt x="408" y="536"/>
                </a:cubicBezTo>
                <a:cubicBezTo>
                  <a:pt x="426" y="534"/>
                  <a:pt x="436" y="548"/>
                  <a:pt x="449" y="557"/>
                </a:cubicBezTo>
                <a:close/>
                <a:moveTo>
                  <a:pt x="411" y="460"/>
                </a:moveTo>
                <a:cubicBezTo>
                  <a:pt x="410" y="460"/>
                  <a:pt x="408" y="460"/>
                  <a:pt x="407" y="459"/>
                </a:cubicBezTo>
                <a:cubicBezTo>
                  <a:pt x="408" y="460"/>
                  <a:pt x="410" y="460"/>
                  <a:pt x="411" y="460"/>
                </a:cubicBezTo>
                <a:close/>
                <a:moveTo>
                  <a:pt x="386" y="61"/>
                </a:moveTo>
                <a:cubicBezTo>
                  <a:pt x="391" y="61"/>
                  <a:pt x="394" y="64"/>
                  <a:pt x="397" y="68"/>
                </a:cubicBezTo>
                <a:cubicBezTo>
                  <a:pt x="394" y="64"/>
                  <a:pt x="391" y="61"/>
                  <a:pt x="386" y="61"/>
                </a:cubicBezTo>
                <a:cubicBezTo>
                  <a:pt x="365" y="43"/>
                  <a:pt x="341" y="29"/>
                  <a:pt x="321" y="9"/>
                </a:cubicBezTo>
                <a:cubicBezTo>
                  <a:pt x="341" y="29"/>
                  <a:pt x="365" y="43"/>
                  <a:pt x="386" y="61"/>
                </a:cubicBezTo>
                <a:close/>
                <a:moveTo>
                  <a:pt x="381" y="308"/>
                </a:moveTo>
                <a:cubicBezTo>
                  <a:pt x="384" y="310"/>
                  <a:pt x="387" y="312"/>
                  <a:pt x="389" y="314"/>
                </a:cubicBezTo>
                <a:cubicBezTo>
                  <a:pt x="387" y="312"/>
                  <a:pt x="384" y="310"/>
                  <a:pt x="381" y="308"/>
                </a:cubicBezTo>
                <a:cubicBezTo>
                  <a:pt x="361" y="292"/>
                  <a:pt x="340" y="276"/>
                  <a:pt x="319" y="262"/>
                </a:cubicBezTo>
                <a:cubicBezTo>
                  <a:pt x="340" y="276"/>
                  <a:pt x="361" y="292"/>
                  <a:pt x="381" y="308"/>
                </a:cubicBezTo>
                <a:close/>
                <a:moveTo>
                  <a:pt x="316" y="572"/>
                </a:moveTo>
                <a:cubicBezTo>
                  <a:pt x="312" y="569"/>
                  <a:pt x="308" y="566"/>
                  <a:pt x="303" y="565"/>
                </a:cubicBezTo>
                <a:cubicBezTo>
                  <a:pt x="308" y="566"/>
                  <a:pt x="312" y="569"/>
                  <a:pt x="316" y="572"/>
                </a:cubicBezTo>
                <a:close/>
                <a:moveTo>
                  <a:pt x="297" y="189"/>
                </a:moveTo>
                <a:cubicBezTo>
                  <a:pt x="297" y="189"/>
                  <a:pt x="297" y="189"/>
                  <a:pt x="297" y="189"/>
                </a:cubicBezTo>
                <a:cubicBezTo>
                  <a:pt x="294" y="181"/>
                  <a:pt x="290" y="178"/>
                  <a:pt x="287" y="178"/>
                </a:cubicBezTo>
                <a:cubicBezTo>
                  <a:pt x="290" y="178"/>
                  <a:pt x="294" y="181"/>
                  <a:pt x="297" y="189"/>
                </a:cubicBezTo>
                <a:close/>
                <a:moveTo>
                  <a:pt x="280" y="20"/>
                </a:moveTo>
                <a:cubicBezTo>
                  <a:pt x="281" y="13"/>
                  <a:pt x="282" y="8"/>
                  <a:pt x="285" y="7"/>
                </a:cubicBezTo>
                <a:cubicBezTo>
                  <a:pt x="282" y="8"/>
                  <a:pt x="281" y="13"/>
                  <a:pt x="280" y="20"/>
                </a:cubicBezTo>
                <a:cubicBezTo>
                  <a:pt x="280" y="20"/>
                  <a:pt x="280" y="20"/>
                  <a:pt x="280" y="20"/>
                </a:cubicBezTo>
                <a:close/>
                <a:moveTo>
                  <a:pt x="193" y="40"/>
                </a:moveTo>
                <a:cubicBezTo>
                  <a:pt x="195" y="36"/>
                  <a:pt x="197" y="34"/>
                  <a:pt x="200" y="34"/>
                </a:cubicBezTo>
                <a:cubicBezTo>
                  <a:pt x="197" y="34"/>
                  <a:pt x="195" y="36"/>
                  <a:pt x="193" y="40"/>
                </a:cubicBezTo>
                <a:cubicBezTo>
                  <a:pt x="189" y="41"/>
                  <a:pt x="186" y="39"/>
                  <a:pt x="183" y="37"/>
                </a:cubicBezTo>
                <a:cubicBezTo>
                  <a:pt x="186" y="39"/>
                  <a:pt x="189" y="41"/>
                  <a:pt x="193" y="40"/>
                </a:cubicBezTo>
                <a:close/>
                <a:moveTo>
                  <a:pt x="197" y="301"/>
                </a:moveTo>
                <a:cubicBezTo>
                  <a:pt x="222" y="318"/>
                  <a:pt x="246" y="335"/>
                  <a:pt x="272" y="352"/>
                </a:cubicBezTo>
                <a:cubicBezTo>
                  <a:pt x="246" y="335"/>
                  <a:pt x="222" y="318"/>
                  <a:pt x="197" y="301"/>
                </a:cubicBezTo>
                <a:cubicBezTo>
                  <a:pt x="186" y="297"/>
                  <a:pt x="177" y="291"/>
                  <a:pt x="168" y="284"/>
                </a:cubicBezTo>
                <a:cubicBezTo>
                  <a:pt x="177" y="291"/>
                  <a:pt x="186" y="297"/>
                  <a:pt x="197" y="301"/>
                </a:cubicBezTo>
                <a:close/>
                <a:moveTo>
                  <a:pt x="161" y="393"/>
                </a:moveTo>
                <a:cubicBezTo>
                  <a:pt x="163" y="393"/>
                  <a:pt x="166" y="394"/>
                  <a:pt x="169" y="394"/>
                </a:cubicBezTo>
                <a:cubicBezTo>
                  <a:pt x="166" y="394"/>
                  <a:pt x="163" y="393"/>
                  <a:pt x="161" y="393"/>
                </a:cubicBezTo>
                <a:cubicBezTo>
                  <a:pt x="169" y="405"/>
                  <a:pt x="176" y="418"/>
                  <a:pt x="177" y="432"/>
                </a:cubicBezTo>
                <a:cubicBezTo>
                  <a:pt x="176" y="418"/>
                  <a:pt x="169" y="405"/>
                  <a:pt x="161" y="393"/>
                </a:cubicBezTo>
                <a:close/>
                <a:moveTo>
                  <a:pt x="161" y="393"/>
                </a:moveTo>
                <a:cubicBezTo>
                  <a:pt x="161" y="393"/>
                  <a:pt x="161" y="393"/>
                  <a:pt x="161" y="393"/>
                </a:cubicBezTo>
                <a:cubicBezTo>
                  <a:pt x="161" y="393"/>
                  <a:pt x="161" y="393"/>
                  <a:pt x="161" y="393"/>
                </a:cubicBezTo>
                <a:cubicBezTo>
                  <a:pt x="161" y="393"/>
                  <a:pt x="161" y="393"/>
                  <a:pt x="161" y="393"/>
                </a:cubicBezTo>
                <a:close/>
                <a:moveTo>
                  <a:pt x="133" y="173"/>
                </a:moveTo>
                <a:cubicBezTo>
                  <a:pt x="131" y="172"/>
                  <a:pt x="127" y="173"/>
                  <a:pt x="125" y="172"/>
                </a:cubicBezTo>
                <a:cubicBezTo>
                  <a:pt x="127" y="173"/>
                  <a:pt x="131" y="172"/>
                  <a:pt x="133" y="173"/>
                </a:cubicBezTo>
                <a:close/>
                <a:moveTo>
                  <a:pt x="80" y="242"/>
                </a:moveTo>
                <a:cubicBezTo>
                  <a:pt x="107" y="257"/>
                  <a:pt x="134" y="273"/>
                  <a:pt x="159" y="291"/>
                </a:cubicBezTo>
                <a:cubicBezTo>
                  <a:pt x="134" y="273"/>
                  <a:pt x="107" y="257"/>
                  <a:pt x="80" y="242"/>
                </a:cubicBezTo>
                <a:close/>
                <a:moveTo>
                  <a:pt x="77" y="248"/>
                </a:moveTo>
                <a:cubicBezTo>
                  <a:pt x="74" y="250"/>
                  <a:pt x="70" y="250"/>
                  <a:pt x="66" y="249"/>
                </a:cubicBezTo>
                <a:cubicBezTo>
                  <a:pt x="70" y="250"/>
                  <a:pt x="74" y="250"/>
                  <a:pt x="77" y="248"/>
                </a:cubicBezTo>
                <a:close/>
                <a:moveTo>
                  <a:pt x="35" y="266"/>
                </a:moveTo>
                <a:cubicBezTo>
                  <a:pt x="58" y="268"/>
                  <a:pt x="82" y="271"/>
                  <a:pt x="105" y="273"/>
                </a:cubicBezTo>
                <a:cubicBezTo>
                  <a:pt x="82" y="271"/>
                  <a:pt x="58" y="268"/>
                  <a:pt x="35" y="266"/>
                </a:cubicBezTo>
                <a:cubicBezTo>
                  <a:pt x="38" y="270"/>
                  <a:pt x="46" y="270"/>
                  <a:pt x="47" y="278"/>
                </a:cubicBezTo>
                <a:cubicBezTo>
                  <a:pt x="38" y="282"/>
                  <a:pt x="33" y="274"/>
                  <a:pt x="26" y="272"/>
                </a:cubicBezTo>
                <a:cubicBezTo>
                  <a:pt x="24" y="271"/>
                  <a:pt x="22" y="270"/>
                  <a:pt x="21" y="269"/>
                </a:cubicBezTo>
                <a:cubicBezTo>
                  <a:pt x="20" y="268"/>
                  <a:pt x="19" y="268"/>
                  <a:pt x="18" y="268"/>
                </a:cubicBezTo>
                <a:cubicBezTo>
                  <a:pt x="21" y="251"/>
                  <a:pt x="29" y="268"/>
                  <a:pt x="35" y="266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21433CB-BBAD-8C4B-9047-F792E3BA28EC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BC8380BE-E36D-2F4A-BA7F-9DD46F272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716793" y="12403409"/>
            <a:ext cx="5690341" cy="1318241"/>
          </a:xfrm>
          <a:prstGeom prst="rect">
            <a:avLst/>
          </a:prstGeom>
        </p:spPr>
        <p:txBody>
          <a:bodyPr/>
          <a:lstStyle>
            <a:lvl1pPr algn="r">
              <a:defRPr lang="uk-UA" sz="8800" b="0" i="0" kern="1200" baseline="0" smtClean="0">
                <a:solidFill>
                  <a:schemeClr val="bg1">
                    <a:lumMod val="9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32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608410" y="4482530"/>
            <a:ext cx="8719338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Рисунок 1">
            <a:extLst>
              <a:ext uri="{FF2B5EF4-FFF2-40B4-BE49-F238E27FC236}">
                <a16:creationId xmlns:a16="http://schemas.microsoft.com/office/drawing/2014/main" id="{62C92CFE-9A28-F040-895A-315C6060D5AD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 flipH="1">
            <a:off x="1608410" y="522089"/>
            <a:ext cx="22777178" cy="13195499"/>
          </a:xfrm>
          <a:custGeom>
            <a:avLst/>
            <a:gdLst>
              <a:gd name="T0" fmla="*/ 513 w 3305"/>
              <a:gd name="T1" fmla="*/ 1715 h 2023"/>
              <a:gd name="T2" fmla="*/ 1124 w 3305"/>
              <a:gd name="T3" fmla="*/ 1736 h 2023"/>
              <a:gd name="T4" fmla="*/ 747 w 3305"/>
              <a:gd name="T5" fmla="*/ 544 h 2023"/>
              <a:gd name="T6" fmla="*/ 646 w 3305"/>
              <a:gd name="T7" fmla="*/ 1598 h 2023"/>
              <a:gd name="T8" fmla="*/ 2176 w 3305"/>
              <a:gd name="T9" fmla="*/ 1542 h 2023"/>
              <a:gd name="T10" fmla="*/ 2571 w 3305"/>
              <a:gd name="T11" fmla="*/ 918 h 2023"/>
              <a:gd name="T12" fmla="*/ 610 w 3305"/>
              <a:gd name="T13" fmla="*/ 329 h 2023"/>
              <a:gd name="T14" fmla="*/ 1715 w 3305"/>
              <a:gd name="T15" fmla="*/ 1006 h 2023"/>
              <a:gd name="T16" fmla="*/ 69 w 3305"/>
              <a:gd name="T17" fmla="*/ 1197 h 2023"/>
              <a:gd name="T18" fmla="*/ 3078 w 3305"/>
              <a:gd name="T19" fmla="*/ 1620 h 2023"/>
              <a:gd name="T20" fmla="*/ 2778 w 3305"/>
              <a:gd name="T21" fmla="*/ 1682 h 2023"/>
              <a:gd name="T22" fmla="*/ 2495 w 3305"/>
              <a:gd name="T23" fmla="*/ 1908 h 2023"/>
              <a:gd name="T24" fmla="*/ 1732 w 3305"/>
              <a:gd name="T25" fmla="*/ 1976 h 2023"/>
              <a:gd name="T26" fmla="*/ 1467 w 3305"/>
              <a:gd name="T27" fmla="*/ 1511 h 2023"/>
              <a:gd name="T28" fmla="*/ 227 w 3305"/>
              <a:gd name="T29" fmla="*/ 1546 h 2023"/>
              <a:gd name="T30" fmla="*/ 372 w 3305"/>
              <a:gd name="T31" fmla="*/ 1126 h 2023"/>
              <a:gd name="T32" fmla="*/ 874 w 3305"/>
              <a:gd name="T33" fmla="*/ 1294 h 2023"/>
              <a:gd name="T34" fmla="*/ 1307 w 3305"/>
              <a:gd name="T35" fmla="*/ 1350 h 2023"/>
              <a:gd name="T36" fmla="*/ 1456 w 3305"/>
              <a:gd name="T37" fmla="*/ 1068 h 2023"/>
              <a:gd name="T38" fmla="*/ 1130 w 3305"/>
              <a:gd name="T39" fmla="*/ 364 h 2023"/>
              <a:gd name="T40" fmla="*/ 58 w 3305"/>
              <a:gd name="T41" fmla="*/ 1100 h 2023"/>
              <a:gd name="T42" fmla="*/ 366 w 3305"/>
              <a:gd name="T43" fmla="*/ 737 h 2023"/>
              <a:gd name="T44" fmla="*/ 976 w 3305"/>
              <a:gd name="T45" fmla="*/ 601 h 2023"/>
              <a:gd name="T46" fmla="*/ 854 w 3305"/>
              <a:gd name="T47" fmla="*/ 1188 h 2023"/>
              <a:gd name="T48" fmla="*/ 448 w 3305"/>
              <a:gd name="T49" fmla="*/ 196 h 2023"/>
              <a:gd name="T50" fmla="*/ 613 w 3305"/>
              <a:gd name="T51" fmla="*/ 163 h 2023"/>
              <a:gd name="T52" fmla="*/ 996 w 3305"/>
              <a:gd name="T53" fmla="*/ 91 h 2023"/>
              <a:gd name="T54" fmla="*/ 1831 w 3305"/>
              <a:gd name="T55" fmla="*/ 1008 h 2023"/>
              <a:gd name="T56" fmla="*/ 770 w 3305"/>
              <a:gd name="T57" fmla="*/ 946 h 2023"/>
              <a:gd name="T58" fmla="*/ 846 w 3305"/>
              <a:gd name="T59" fmla="*/ 697 h 2023"/>
              <a:gd name="T60" fmla="*/ 2710 w 3305"/>
              <a:gd name="T61" fmla="*/ 1623 h 2023"/>
              <a:gd name="T62" fmla="*/ 2573 w 3305"/>
              <a:gd name="T63" fmla="*/ 1013 h 2023"/>
              <a:gd name="T64" fmla="*/ 1995 w 3305"/>
              <a:gd name="T65" fmla="*/ 1481 h 2023"/>
              <a:gd name="T66" fmla="*/ 2139 w 3305"/>
              <a:gd name="T67" fmla="*/ 940 h 2023"/>
              <a:gd name="T68" fmla="*/ 246 w 3305"/>
              <a:gd name="T69" fmla="*/ 609 h 2023"/>
              <a:gd name="T70" fmla="*/ 3066 w 3305"/>
              <a:gd name="T71" fmla="*/ 1737 h 2023"/>
              <a:gd name="T72" fmla="*/ 1702 w 3305"/>
              <a:gd name="T73" fmla="*/ 1387 h 2023"/>
              <a:gd name="T74" fmla="*/ 69 w 3305"/>
              <a:gd name="T75" fmla="*/ 1197 h 2023"/>
              <a:gd name="T76" fmla="*/ 2965 w 3305"/>
              <a:gd name="T77" fmla="*/ 1141 h 2023"/>
              <a:gd name="T78" fmla="*/ 2905 w 3305"/>
              <a:gd name="T79" fmla="*/ 1017 h 2023"/>
              <a:gd name="T80" fmla="*/ 2163 w 3305"/>
              <a:gd name="T81" fmla="*/ 1139 h 2023"/>
              <a:gd name="T82" fmla="*/ 834 w 3305"/>
              <a:gd name="T83" fmla="*/ 509 h 2023"/>
              <a:gd name="T84" fmla="*/ 1813 w 3305"/>
              <a:gd name="T85" fmla="*/ 1069 h 2023"/>
              <a:gd name="T86" fmla="*/ 99 w 3305"/>
              <a:gd name="T87" fmla="*/ 732 h 2023"/>
              <a:gd name="T88" fmla="*/ 1716 w 3305"/>
              <a:gd name="T89" fmla="*/ 1073 h 2023"/>
              <a:gd name="T90" fmla="*/ 530 w 3305"/>
              <a:gd name="T91" fmla="*/ 549 h 2023"/>
              <a:gd name="T92" fmla="*/ 2549 w 3305"/>
              <a:gd name="T93" fmla="*/ 1101 h 2023"/>
              <a:gd name="T94" fmla="*/ 1022 w 3305"/>
              <a:gd name="T95" fmla="*/ 151 h 2023"/>
              <a:gd name="T96" fmla="*/ 2316 w 3305"/>
              <a:gd name="T97" fmla="*/ 1544 h 2023"/>
              <a:gd name="T98" fmla="*/ 3252 w 3305"/>
              <a:gd name="T99" fmla="*/ 1282 h 2023"/>
              <a:gd name="T100" fmla="*/ 3137 w 3305"/>
              <a:gd name="T101" fmla="*/ 1463 h 2023"/>
              <a:gd name="T102" fmla="*/ 2823 w 3305"/>
              <a:gd name="T103" fmla="*/ 1864 h 2023"/>
              <a:gd name="T104" fmla="*/ 1693 w 3305"/>
              <a:gd name="T105" fmla="*/ 1860 h 2023"/>
              <a:gd name="T106" fmla="*/ 707 w 3305"/>
              <a:gd name="T107" fmla="*/ 2019 h 2023"/>
              <a:gd name="T108" fmla="*/ 182 w 3305"/>
              <a:gd name="T109" fmla="*/ 1593 h 2023"/>
              <a:gd name="T110" fmla="*/ 1173 w 3305"/>
              <a:gd name="T111" fmla="*/ 1608 h 2023"/>
              <a:gd name="T112" fmla="*/ 980 w 3305"/>
              <a:gd name="T113" fmla="*/ 1776 h 2023"/>
              <a:gd name="T114" fmla="*/ 799 w 3305"/>
              <a:gd name="T115" fmla="*/ 1793 h 2023"/>
              <a:gd name="T116" fmla="*/ 518 w 3305"/>
              <a:gd name="T117" fmla="*/ 1678 h 2023"/>
              <a:gd name="T118" fmla="*/ 287 w 3305"/>
              <a:gd name="T119" fmla="*/ 1870 h 2023"/>
              <a:gd name="T120" fmla="*/ 788 w 3305"/>
              <a:gd name="T121" fmla="*/ 1885 h 2023"/>
              <a:gd name="T122" fmla="*/ 998 w 3305"/>
              <a:gd name="T123" fmla="*/ 1187 h 2023"/>
              <a:gd name="T124" fmla="*/ 1455 w 3305"/>
              <a:gd name="T125" fmla="*/ 1072 h 2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305" h="2023">
                <a:moveTo>
                  <a:pt x="3277" y="1803"/>
                </a:moveTo>
                <a:lnTo>
                  <a:pt x="3276" y="1804"/>
                </a:lnTo>
                <a:lnTo>
                  <a:pt x="3275" y="1805"/>
                </a:lnTo>
                <a:lnTo>
                  <a:pt x="3276" y="1804"/>
                </a:lnTo>
                <a:lnTo>
                  <a:pt x="3277" y="1803"/>
                </a:lnTo>
                <a:close/>
                <a:moveTo>
                  <a:pt x="935" y="1039"/>
                </a:moveTo>
                <a:lnTo>
                  <a:pt x="935" y="1039"/>
                </a:lnTo>
                <a:lnTo>
                  <a:pt x="935" y="1039"/>
                </a:lnTo>
                <a:lnTo>
                  <a:pt x="935" y="1039"/>
                </a:lnTo>
                <a:lnTo>
                  <a:pt x="936" y="1039"/>
                </a:lnTo>
                <a:lnTo>
                  <a:pt x="935" y="1039"/>
                </a:lnTo>
                <a:lnTo>
                  <a:pt x="935" y="1039"/>
                </a:lnTo>
                <a:lnTo>
                  <a:pt x="936" y="1039"/>
                </a:lnTo>
                <a:lnTo>
                  <a:pt x="931" y="1043"/>
                </a:lnTo>
                <a:lnTo>
                  <a:pt x="925" y="1044"/>
                </a:lnTo>
                <a:lnTo>
                  <a:pt x="920" y="1044"/>
                </a:lnTo>
                <a:lnTo>
                  <a:pt x="915" y="1048"/>
                </a:lnTo>
                <a:lnTo>
                  <a:pt x="890" y="1050"/>
                </a:lnTo>
                <a:lnTo>
                  <a:pt x="864" y="1052"/>
                </a:lnTo>
                <a:lnTo>
                  <a:pt x="879" y="1044"/>
                </a:lnTo>
                <a:lnTo>
                  <a:pt x="894" y="1039"/>
                </a:lnTo>
                <a:lnTo>
                  <a:pt x="906" y="1038"/>
                </a:lnTo>
                <a:lnTo>
                  <a:pt x="915" y="1034"/>
                </a:lnTo>
                <a:lnTo>
                  <a:pt x="929" y="1027"/>
                </a:lnTo>
                <a:lnTo>
                  <a:pt x="944" y="1027"/>
                </a:lnTo>
                <a:lnTo>
                  <a:pt x="945" y="1027"/>
                </a:lnTo>
                <a:lnTo>
                  <a:pt x="945" y="1027"/>
                </a:lnTo>
                <a:lnTo>
                  <a:pt x="955" y="1026"/>
                </a:lnTo>
                <a:lnTo>
                  <a:pt x="964" y="1030"/>
                </a:lnTo>
                <a:lnTo>
                  <a:pt x="967" y="1033"/>
                </a:lnTo>
                <a:lnTo>
                  <a:pt x="970" y="1033"/>
                </a:lnTo>
                <a:lnTo>
                  <a:pt x="975" y="1032"/>
                </a:lnTo>
                <a:lnTo>
                  <a:pt x="978" y="1036"/>
                </a:lnTo>
                <a:lnTo>
                  <a:pt x="975" y="1039"/>
                </a:lnTo>
                <a:lnTo>
                  <a:pt x="970" y="1039"/>
                </a:lnTo>
                <a:lnTo>
                  <a:pt x="953" y="1039"/>
                </a:lnTo>
                <a:lnTo>
                  <a:pt x="936" y="1039"/>
                </a:lnTo>
                <a:lnTo>
                  <a:pt x="936" y="1039"/>
                </a:lnTo>
                <a:lnTo>
                  <a:pt x="936" y="1039"/>
                </a:lnTo>
                <a:lnTo>
                  <a:pt x="935" y="1039"/>
                </a:lnTo>
                <a:lnTo>
                  <a:pt x="935" y="1039"/>
                </a:lnTo>
                <a:close/>
                <a:moveTo>
                  <a:pt x="930" y="1035"/>
                </a:moveTo>
                <a:lnTo>
                  <a:pt x="929" y="1036"/>
                </a:lnTo>
                <a:lnTo>
                  <a:pt x="929" y="1037"/>
                </a:lnTo>
                <a:lnTo>
                  <a:pt x="931" y="1039"/>
                </a:lnTo>
                <a:lnTo>
                  <a:pt x="935" y="1039"/>
                </a:lnTo>
                <a:lnTo>
                  <a:pt x="934" y="1036"/>
                </a:lnTo>
                <a:lnTo>
                  <a:pt x="930" y="1035"/>
                </a:lnTo>
                <a:close/>
                <a:moveTo>
                  <a:pt x="1527" y="1021"/>
                </a:moveTo>
                <a:lnTo>
                  <a:pt x="1527" y="1021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2" y="1028"/>
                </a:lnTo>
                <a:lnTo>
                  <a:pt x="1515" y="1024"/>
                </a:lnTo>
                <a:lnTo>
                  <a:pt x="1516" y="1033"/>
                </a:lnTo>
                <a:lnTo>
                  <a:pt x="1524" y="1035"/>
                </a:lnTo>
                <a:lnTo>
                  <a:pt x="1528" y="1038"/>
                </a:lnTo>
                <a:lnTo>
                  <a:pt x="1527" y="1041"/>
                </a:lnTo>
                <a:lnTo>
                  <a:pt x="1517" y="1052"/>
                </a:lnTo>
                <a:lnTo>
                  <a:pt x="1505" y="1057"/>
                </a:lnTo>
                <a:lnTo>
                  <a:pt x="1504" y="1064"/>
                </a:lnTo>
                <a:lnTo>
                  <a:pt x="1504" y="1071"/>
                </a:lnTo>
                <a:lnTo>
                  <a:pt x="1504" y="1064"/>
                </a:lnTo>
                <a:lnTo>
                  <a:pt x="1505" y="1057"/>
                </a:lnTo>
                <a:lnTo>
                  <a:pt x="1500" y="1027"/>
                </a:lnTo>
                <a:lnTo>
                  <a:pt x="1494" y="998"/>
                </a:lnTo>
                <a:lnTo>
                  <a:pt x="1488" y="986"/>
                </a:lnTo>
                <a:lnTo>
                  <a:pt x="1476" y="978"/>
                </a:lnTo>
                <a:lnTo>
                  <a:pt x="1468" y="984"/>
                </a:lnTo>
                <a:lnTo>
                  <a:pt x="1464" y="996"/>
                </a:lnTo>
                <a:lnTo>
                  <a:pt x="1461" y="1002"/>
                </a:lnTo>
                <a:lnTo>
                  <a:pt x="1460" y="1008"/>
                </a:lnTo>
                <a:lnTo>
                  <a:pt x="1461" y="1002"/>
                </a:lnTo>
                <a:lnTo>
                  <a:pt x="1464" y="996"/>
                </a:lnTo>
                <a:lnTo>
                  <a:pt x="1458" y="1001"/>
                </a:lnTo>
                <a:lnTo>
                  <a:pt x="1453" y="1005"/>
                </a:lnTo>
                <a:lnTo>
                  <a:pt x="1437" y="981"/>
                </a:lnTo>
                <a:lnTo>
                  <a:pt x="1423" y="957"/>
                </a:lnTo>
                <a:lnTo>
                  <a:pt x="1436" y="971"/>
                </a:lnTo>
                <a:lnTo>
                  <a:pt x="1448" y="986"/>
                </a:lnTo>
                <a:lnTo>
                  <a:pt x="1451" y="991"/>
                </a:lnTo>
                <a:lnTo>
                  <a:pt x="1455" y="992"/>
                </a:lnTo>
                <a:lnTo>
                  <a:pt x="1456" y="988"/>
                </a:lnTo>
                <a:lnTo>
                  <a:pt x="1453" y="981"/>
                </a:lnTo>
                <a:lnTo>
                  <a:pt x="1448" y="974"/>
                </a:lnTo>
                <a:lnTo>
                  <a:pt x="1443" y="965"/>
                </a:lnTo>
                <a:lnTo>
                  <a:pt x="1451" y="966"/>
                </a:lnTo>
                <a:lnTo>
                  <a:pt x="1458" y="969"/>
                </a:lnTo>
                <a:lnTo>
                  <a:pt x="1457" y="960"/>
                </a:lnTo>
                <a:lnTo>
                  <a:pt x="1458" y="951"/>
                </a:lnTo>
                <a:lnTo>
                  <a:pt x="1458" y="951"/>
                </a:lnTo>
                <a:lnTo>
                  <a:pt x="1459" y="950"/>
                </a:lnTo>
                <a:lnTo>
                  <a:pt x="1458" y="951"/>
                </a:lnTo>
                <a:lnTo>
                  <a:pt x="1459" y="951"/>
                </a:lnTo>
                <a:lnTo>
                  <a:pt x="1459" y="952"/>
                </a:lnTo>
                <a:lnTo>
                  <a:pt x="1470" y="954"/>
                </a:lnTo>
                <a:lnTo>
                  <a:pt x="1475" y="963"/>
                </a:lnTo>
                <a:lnTo>
                  <a:pt x="1475" y="952"/>
                </a:lnTo>
                <a:lnTo>
                  <a:pt x="1476" y="943"/>
                </a:lnTo>
                <a:lnTo>
                  <a:pt x="1476" y="942"/>
                </a:lnTo>
                <a:lnTo>
                  <a:pt x="1476" y="942"/>
                </a:lnTo>
                <a:lnTo>
                  <a:pt x="1476" y="942"/>
                </a:lnTo>
                <a:lnTo>
                  <a:pt x="1476" y="943"/>
                </a:lnTo>
                <a:lnTo>
                  <a:pt x="1484" y="952"/>
                </a:lnTo>
                <a:lnTo>
                  <a:pt x="1495" y="958"/>
                </a:lnTo>
                <a:lnTo>
                  <a:pt x="1495" y="962"/>
                </a:lnTo>
                <a:lnTo>
                  <a:pt x="1497" y="964"/>
                </a:lnTo>
                <a:lnTo>
                  <a:pt x="1499" y="979"/>
                </a:lnTo>
                <a:lnTo>
                  <a:pt x="1503" y="993"/>
                </a:lnTo>
                <a:lnTo>
                  <a:pt x="1504" y="995"/>
                </a:lnTo>
                <a:lnTo>
                  <a:pt x="1506" y="995"/>
                </a:lnTo>
                <a:lnTo>
                  <a:pt x="1509" y="994"/>
                </a:lnTo>
                <a:lnTo>
                  <a:pt x="1510" y="992"/>
                </a:lnTo>
                <a:lnTo>
                  <a:pt x="1512" y="986"/>
                </a:lnTo>
                <a:lnTo>
                  <a:pt x="1519" y="983"/>
                </a:lnTo>
                <a:lnTo>
                  <a:pt x="1522" y="986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4" y="989"/>
                </a:lnTo>
                <a:lnTo>
                  <a:pt x="1525" y="992"/>
                </a:lnTo>
                <a:lnTo>
                  <a:pt x="1525" y="992"/>
                </a:lnTo>
                <a:lnTo>
                  <a:pt x="1526" y="992"/>
                </a:lnTo>
                <a:lnTo>
                  <a:pt x="1527" y="990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6" y="987"/>
                </a:lnTo>
                <a:lnTo>
                  <a:pt x="1528" y="987"/>
                </a:lnTo>
                <a:lnTo>
                  <a:pt x="1530" y="987"/>
                </a:lnTo>
                <a:lnTo>
                  <a:pt x="1530" y="987"/>
                </a:lnTo>
                <a:lnTo>
                  <a:pt x="1530" y="986"/>
                </a:lnTo>
                <a:lnTo>
                  <a:pt x="1530" y="987"/>
                </a:lnTo>
                <a:lnTo>
                  <a:pt x="1530" y="987"/>
                </a:lnTo>
                <a:lnTo>
                  <a:pt x="1530" y="990"/>
                </a:lnTo>
                <a:lnTo>
                  <a:pt x="1530" y="992"/>
                </a:lnTo>
                <a:lnTo>
                  <a:pt x="1537" y="1001"/>
                </a:lnTo>
                <a:lnTo>
                  <a:pt x="1543" y="1009"/>
                </a:lnTo>
                <a:lnTo>
                  <a:pt x="1537" y="1011"/>
                </a:lnTo>
                <a:lnTo>
                  <a:pt x="1531" y="1013"/>
                </a:lnTo>
                <a:lnTo>
                  <a:pt x="1534" y="1020"/>
                </a:lnTo>
                <a:lnTo>
                  <a:pt x="1528" y="1022"/>
                </a:lnTo>
                <a:lnTo>
                  <a:pt x="1528" y="1022"/>
                </a:lnTo>
                <a:lnTo>
                  <a:pt x="1528" y="1022"/>
                </a:lnTo>
                <a:lnTo>
                  <a:pt x="1527" y="1021"/>
                </a:lnTo>
                <a:lnTo>
                  <a:pt x="1527" y="1021"/>
                </a:lnTo>
                <a:close/>
                <a:moveTo>
                  <a:pt x="827" y="1374"/>
                </a:moveTo>
                <a:lnTo>
                  <a:pt x="827" y="1374"/>
                </a:lnTo>
                <a:lnTo>
                  <a:pt x="827" y="1374"/>
                </a:lnTo>
                <a:lnTo>
                  <a:pt x="827" y="1375"/>
                </a:lnTo>
                <a:lnTo>
                  <a:pt x="827" y="1376"/>
                </a:lnTo>
                <a:lnTo>
                  <a:pt x="828" y="1376"/>
                </a:lnTo>
                <a:lnTo>
                  <a:pt x="828" y="1375"/>
                </a:lnTo>
                <a:lnTo>
                  <a:pt x="828" y="1374"/>
                </a:lnTo>
                <a:lnTo>
                  <a:pt x="827" y="1374"/>
                </a:lnTo>
                <a:close/>
                <a:moveTo>
                  <a:pt x="2038" y="866"/>
                </a:moveTo>
                <a:lnTo>
                  <a:pt x="2038" y="866"/>
                </a:lnTo>
                <a:lnTo>
                  <a:pt x="2040" y="866"/>
                </a:lnTo>
                <a:lnTo>
                  <a:pt x="2038" y="866"/>
                </a:lnTo>
                <a:lnTo>
                  <a:pt x="2037" y="866"/>
                </a:lnTo>
                <a:lnTo>
                  <a:pt x="2038" y="866"/>
                </a:lnTo>
                <a:lnTo>
                  <a:pt x="2038" y="866"/>
                </a:lnTo>
                <a:close/>
                <a:moveTo>
                  <a:pt x="2019" y="877"/>
                </a:moveTo>
                <a:lnTo>
                  <a:pt x="2018" y="875"/>
                </a:lnTo>
                <a:lnTo>
                  <a:pt x="2016" y="874"/>
                </a:lnTo>
                <a:lnTo>
                  <a:pt x="2015" y="875"/>
                </a:lnTo>
                <a:lnTo>
                  <a:pt x="2014" y="875"/>
                </a:lnTo>
                <a:lnTo>
                  <a:pt x="2015" y="877"/>
                </a:lnTo>
                <a:lnTo>
                  <a:pt x="2017" y="879"/>
                </a:lnTo>
                <a:lnTo>
                  <a:pt x="2018" y="877"/>
                </a:lnTo>
                <a:lnTo>
                  <a:pt x="2019" y="877"/>
                </a:lnTo>
                <a:close/>
                <a:moveTo>
                  <a:pt x="3152" y="1717"/>
                </a:moveTo>
                <a:lnTo>
                  <a:pt x="3152" y="1717"/>
                </a:lnTo>
                <a:lnTo>
                  <a:pt x="3153" y="1718"/>
                </a:lnTo>
                <a:lnTo>
                  <a:pt x="3153" y="1717"/>
                </a:lnTo>
                <a:lnTo>
                  <a:pt x="3154" y="1717"/>
                </a:lnTo>
                <a:lnTo>
                  <a:pt x="3153" y="1716"/>
                </a:lnTo>
                <a:lnTo>
                  <a:pt x="3152" y="1716"/>
                </a:lnTo>
                <a:lnTo>
                  <a:pt x="3152" y="1717"/>
                </a:lnTo>
                <a:lnTo>
                  <a:pt x="3152" y="1717"/>
                </a:lnTo>
                <a:close/>
                <a:moveTo>
                  <a:pt x="679" y="1715"/>
                </a:move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4"/>
                </a:lnTo>
                <a:lnTo>
                  <a:pt x="680" y="1713"/>
                </a:lnTo>
                <a:lnTo>
                  <a:pt x="679" y="1713"/>
                </a:lnTo>
                <a:lnTo>
                  <a:pt x="679" y="1713"/>
                </a:lnTo>
                <a:lnTo>
                  <a:pt x="679" y="1714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1" y="1711"/>
                </a:lnTo>
                <a:lnTo>
                  <a:pt x="672" y="1705"/>
                </a:lnTo>
                <a:lnTo>
                  <a:pt x="679" y="1697"/>
                </a:lnTo>
                <a:lnTo>
                  <a:pt x="690" y="1693"/>
                </a:lnTo>
                <a:lnTo>
                  <a:pt x="693" y="1695"/>
                </a:lnTo>
                <a:lnTo>
                  <a:pt x="693" y="1699"/>
                </a:lnTo>
                <a:lnTo>
                  <a:pt x="693" y="1706"/>
                </a:lnTo>
                <a:lnTo>
                  <a:pt x="696" y="1711"/>
                </a:lnTo>
                <a:lnTo>
                  <a:pt x="697" y="1698"/>
                </a:lnTo>
                <a:lnTo>
                  <a:pt x="696" y="1686"/>
                </a:lnTo>
                <a:lnTo>
                  <a:pt x="695" y="1686"/>
                </a:lnTo>
                <a:lnTo>
                  <a:pt x="695" y="1686"/>
                </a:lnTo>
                <a:lnTo>
                  <a:pt x="695" y="1686"/>
                </a:lnTo>
                <a:lnTo>
                  <a:pt x="696" y="1686"/>
                </a:lnTo>
                <a:lnTo>
                  <a:pt x="706" y="1687"/>
                </a:lnTo>
                <a:lnTo>
                  <a:pt x="713" y="1693"/>
                </a:lnTo>
                <a:lnTo>
                  <a:pt x="712" y="1712"/>
                </a:lnTo>
                <a:lnTo>
                  <a:pt x="712" y="1731"/>
                </a:lnTo>
                <a:lnTo>
                  <a:pt x="711" y="1745"/>
                </a:lnTo>
                <a:lnTo>
                  <a:pt x="710" y="1759"/>
                </a:lnTo>
                <a:lnTo>
                  <a:pt x="701" y="1758"/>
                </a:lnTo>
                <a:lnTo>
                  <a:pt x="698" y="1751"/>
                </a:lnTo>
                <a:lnTo>
                  <a:pt x="698" y="1741"/>
                </a:lnTo>
                <a:lnTo>
                  <a:pt x="688" y="1737"/>
                </a:lnTo>
                <a:lnTo>
                  <a:pt x="686" y="1735"/>
                </a:lnTo>
                <a:lnTo>
                  <a:pt x="686" y="1731"/>
                </a:lnTo>
                <a:lnTo>
                  <a:pt x="687" y="1729"/>
                </a:lnTo>
                <a:lnTo>
                  <a:pt x="685" y="1727"/>
                </a:lnTo>
                <a:lnTo>
                  <a:pt x="678" y="1724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lnTo>
                  <a:pt x="679" y="1715"/>
                </a:lnTo>
                <a:close/>
                <a:moveTo>
                  <a:pt x="501" y="1700"/>
                </a:moveTo>
                <a:lnTo>
                  <a:pt x="496" y="1700"/>
                </a:lnTo>
                <a:lnTo>
                  <a:pt x="495" y="1703"/>
                </a:lnTo>
                <a:lnTo>
                  <a:pt x="499" y="1713"/>
                </a:lnTo>
                <a:lnTo>
                  <a:pt x="508" y="1720"/>
                </a:lnTo>
                <a:lnTo>
                  <a:pt x="512" y="1720"/>
                </a:lnTo>
                <a:lnTo>
                  <a:pt x="513" y="1715"/>
                </a:lnTo>
                <a:lnTo>
                  <a:pt x="510" y="1705"/>
                </a:lnTo>
                <a:lnTo>
                  <a:pt x="501" y="1700"/>
                </a:lnTo>
                <a:close/>
                <a:moveTo>
                  <a:pt x="299" y="1720"/>
                </a:moveTo>
                <a:lnTo>
                  <a:pt x="298" y="1721"/>
                </a:lnTo>
                <a:lnTo>
                  <a:pt x="298" y="1722"/>
                </a:lnTo>
                <a:lnTo>
                  <a:pt x="299" y="1722"/>
                </a:lnTo>
                <a:lnTo>
                  <a:pt x="300" y="1722"/>
                </a:lnTo>
                <a:lnTo>
                  <a:pt x="300" y="1721"/>
                </a:lnTo>
                <a:lnTo>
                  <a:pt x="301" y="1721"/>
                </a:lnTo>
                <a:lnTo>
                  <a:pt x="300" y="1720"/>
                </a:lnTo>
                <a:lnTo>
                  <a:pt x="299" y="1720"/>
                </a:lnTo>
                <a:close/>
                <a:moveTo>
                  <a:pt x="971" y="1759"/>
                </a:moveTo>
                <a:lnTo>
                  <a:pt x="971" y="1760"/>
                </a:lnTo>
                <a:lnTo>
                  <a:pt x="971" y="1760"/>
                </a:lnTo>
                <a:lnTo>
                  <a:pt x="971" y="1761"/>
                </a:lnTo>
                <a:lnTo>
                  <a:pt x="971" y="1761"/>
                </a:lnTo>
                <a:lnTo>
                  <a:pt x="945" y="1727"/>
                </a:lnTo>
                <a:lnTo>
                  <a:pt x="915" y="1697"/>
                </a:lnTo>
                <a:lnTo>
                  <a:pt x="926" y="1698"/>
                </a:lnTo>
                <a:lnTo>
                  <a:pt x="935" y="1691"/>
                </a:lnTo>
                <a:lnTo>
                  <a:pt x="939" y="1688"/>
                </a:lnTo>
                <a:lnTo>
                  <a:pt x="943" y="1691"/>
                </a:lnTo>
                <a:lnTo>
                  <a:pt x="950" y="1696"/>
                </a:lnTo>
                <a:lnTo>
                  <a:pt x="954" y="1690"/>
                </a:lnTo>
                <a:lnTo>
                  <a:pt x="960" y="1687"/>
                </a:lnTo>
                <a:lnTo>
                  <a:pt x="966" y="1692"/>
                </a:lnTo>
                <a:lnTo>
                  <a:pt x="981" y="1694"/>
                </a:lnTo>
                <a:lnTo>
                  <a:pt x="996" y="1697"/>
                </a:lnTo>
                <a:lnTo>
                  <a:pt x="996" y="1696"/>
                </a:lnTo>
                <a:lnTo>
                  <a:pt x="997" y="1694"/>
                </a:lnTo>
                <a:lnTo>
                  <a:pt x="997" y="1693"/>
                </a:lnTo>
                <a:lnTo>
                  <a:pt x="997" y="1693"/>
                </a:lnTo>
                <a:lnTo>
                  <a:pt x="997" y="1693"/>
                </a:lnTo>
                <a:lnTo>
                  <a:pt x="997" y="1694"/>
                </a:lnTo>
                <a:lnTo>
                  <a:pt x="996" y="1696"/>
                </a:lnTo>
                <a:lnTo>
                  <a:pt x="996" y="1697"/>
                </a:lnTo>
                <a:lnTo>
                  <a:pt x="997" y="1702"/>
                </a:lnTo>
                <a:lnTo>
                  <a:pt x="997" y="1708"/>
                </a:lnTo>
                <a:lnTo>
                  <a:pt x="997" y="1723"/>
                </a:lnTo>
                <a:lnTo>
                  <a:pt x="997" y="1739"/>
                </a:lnTo>
                <a:lnTo>
                  <a:pt x="997" y="1723"/>
                </a:lnTo>
                <a:lnTo>
                  <a:pt x="997" y="1708"/>
                </a:lnTo>
                <a:lnTo>
                  <a:pt x="985" y="1714"/>
                </a:lnTo>
                <a:lnTo>
                  <a:pt x="983" y="1723"/>
                </a:lnTo>
                <a:lnTo>
                  <a:pt x="988" y="1737"/>
                </a:lnTo>
                <a:lnTo>
                  <a:pt x="996" y="1748"/>
                </a:lnTo>
                <a:lnTo>
                  <a:pt x="995" y="1757"/>
                </a:lnTo>
                <a:lnTo>
                  <a:pt x="994" y="1766"/>
                </a:lnTo>
                <a:lnTo>
                  <a:pt x="987" y="1767"/>
                </a:lnTo>
                <a:lnTo>
                  <a:pt x="982" y="1769"/>
                </a:lnTo>
                <a:lnTo>
                  <a:pt x="973" y="1769"/>
                </a:lnTo>
                <a:lnTo>
                  <a:pt x="971" y="1761"/>
                </a:lnTo>
                <a:lnTo>
                  <a:pt x="971" y="1761"/>
                </a:lnTo>
                <a:lnTo>
                  <a:pt x="971" y="1761"/>
                </a:lnTo>
                <a:lnTo>
                  <a:pt x="971" y="1760"/>
                </a:lnTo>
                <a:lnTo>
                  <a:pt x="971" y="1760"/>
                </a:lnTo>
                <a:lnTo>
                  <a:pt x="972" y="1759"/>
                </a:lnTo>
                <a:lnTo>
                  <a:pt x="972" y="1759"/>
                </a:lnTo>
                <a:lnTo>
                  <a:pt x="971" y="1759"/>
                </a:lnTo>
                <a:close/>
                <a:moveTo>
                  <a:pt x="2767" y="1882"/>
                </a:moveTo>
                <a:lnTo>
                  <a:pt x="2757" y="1882"/>
                </a:lnTo>
                <a:lnTo>
                  <a:pt x="2749" y="1885"/>
                </a:lnTo>
                <a:lnTo>
                  <a:pt x="2752" y="1892"/>
                </a:lnTo>
                <a:lnTo>
                  <a:pt x="2756" y="1898"/>
                </a:lnTo>
                <a:lnTo>
                  <a:pt x="2760" y="1906"/>
                </a:lnTo>
                <a:lnTo>
                  <a:pt x="2769" y="1906"/>
                </a:lnTo>
                <a:lnTo>
                  <a:pt x="2775" y="1904"/>
                </a:lnTo>
                <a:lnTo>
                  <a:pt x="2776" y="1895"/>
                </a:lnTo>
                <a:lnTo>
                  <a:pt x="2776" y="1885"/>
                </a:lnTo>
                <a:lnTo>
                  <a:pt x="2767" y="1882"/>
                </a:lnTo>
                <a:close/>
                <a:moveTo>
                  <a:pt x="587" y="1730"/>
                </a:moveTo>
                <a:lnTo>
                  <a:pt x="587" y="1731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lnTo>
                  <a:pt x="589" y="1730"/>
                </a:lnTo>
                <a:lnTo>
                  <a:pt x="590" y="1730"/>
                </a:lnTo>
                <a:lnTo>
                  <a:pt x="591" y="1736"/>
                </a:lnTo>
                <a:lnTo>
                  <a:pt x="588" y="1740"/>
                </a:lnTo>
                <a:lnTo>
                  <a:pt x="585" y="1744"/>
                </a:lnTo>
                <a:lnTo>
                  <a:pt x="580" y="1746"/>
                </a:lnTo>
                <a:lnTo>
                  <a:pt x="585" y="1744"/>
                </a:lnTo>
                <a:lnTo>
                  <a:pt x="588" y="1740"/>
                </a:lnTo>
                <a:lnTo>
                  <a:pt x="581" y="1739"/>
                </a:lnTo>
                <a:lnTo>
                  <a:pt x="575" y="1742"/>
                </a:lnTo>
                <a:lnTo>
                  <a:pt x="576" y="1744"/>
                </a:lnTo>
                <a:lnTo>
                  <a:pt x="578" y="1746"/>
                </a:lnTo>
                <a:lnTo>
                  <a:pt x="575" y="1749"/>
                </a:lnTo>
                <a:lnTo>
                  <a:pt x="570" y="1751"/>
                </a:lnTo>
                <a:lnTo>
                  <a:pt x="562" y="1741"/>
                </a:lnTo>
                <a:lnTo>
                  <a:pt x="552" y="1732"/>
                </a:lnTo>
                <a:lnTo>
                  <a:pt x="549" y="1728"/>
                </a:lnTo>
                <a:lnTo>
                  <a:pt x="555" y="1726"/>
                </a:lnTo>
                <a:lnTo>
                  <a:pt x="557" y="1724"/>
                </a:lnTo>
                <a:lnTo>
                  <a:pt x="556" y="1722"/>
                </a:lnTo>
                <a:lnTo>
                  <a:pt x="557" y="1718"/>
                </a:lnTo>
                <a:lnTo>
                  <a:pt x="557" y="1715"/>
                </a:lnTo>
                <a:lnTo>
                  <a:pt x="571" y="1698"/>
                </a:lnTo>
                <a:lnTo>
                  <a:pt x="572" y="1676"/>
                </a:lnTo>
                <a:lnTo>
                  <a:pt x="572" y="1676"/>
                </a:lnTo>
                <a:lnTo>
                  <a:pt x="575" y="1676"/>
                </a:lnTo>
                <a:lnTo>
                  <a:pt x="579" y="1676"/>
                </a:lnTo>
                <a:lnTo>
                  <a:pt x="585" y="1682"/>
                </a:lnTo>
                <a:lnTo>
                  <a:pt x="594" y="1683"/>
                </a:lnTo>
                <a:lnTo>
                  <a:pt x="611" y="1681"/>
                </a:lnTo>
                <a:lnTo>
                  <a:pt x="630" y="1681"/>
                </a:lnTo>
                <a:lnTo>
                  <a:pt x="634" y="1679"/>
                </a:lnTo>
                <a:lnTo>
                  <a:pt x="635" y="1675"/>
                </a:lnTo>
                <a:lnTo>
                  <a:pt x="637" y="1675"/>
                </a:lnTo>
                <a:lnTo>
                  <a:pt x="638" y="1675"/>
                </a:lnTo>
                <a:lnTo>
                  <a:pt x="645" y="1683"/>
                </a:lnTo>
                <a:lnTo>
                  <a:pt x="655" y="1680"/>
                </a:lnTo>
                <a:lnTo>
                  <a:pt x="660" y="1678"/>
                </a:lnTo>
                <a:lnTo>
                  <a:pt x="663" y="1681"/>
                </a:lnTo>
                <a:lnTo>
                  <a:pt x="661" y="1696"/>
                </a:lnTo>
                <a:lnTo>
                  <a:pt x="653" y="1710"/>
                </a:lnTo>
                <a:lnTo>
                  <a:pt x="651" y="1710"/>
                </a:lnTo>
                <a:lnTo>
                  <a:pt x="650" y="1711"/>
                </a:lnTo>
                <a:lnTo>
                  <a:pt x="639" y="1715"/>
                </a:lnTo>
                <a:lnTo>
                  <a:pt x="628" y="1716"/>
                </a:lnTo>
                <a:lnTo>
                  <a:pt x="624" y="1715"/>
                </a:lnTo>
                <a:lnTo>
                  <a:pt x="623" y="1712"/>
                </a:lnTo>
                <a:lnTo>
                  <a:pt x="623" y="1708"/>
                </a:lnTo>
                <a:lnTo>
                  <a:pt x="626" y="1706"/>
                </a:lnTo>
                <a:lnTo>
                  <a:pt x="630" y="1706"/>
                </a:lnTo>
                <a:lnTo>
                  <a:pt x="633" y="1709"/>
                </a:lnTo>
                <a:lnTo>
                  <a:pt x="638" y="1710"/>
                </a:lnTo>
                <a:lnTo>
                  <a:pt x="643" y="1705"/>
                </a:lnTo>
                <a:lnTo>
                  <a:pt x="633" y="1702"/>
                </a:lnTo>
                <a:lnTo>
                  <a:pt x="623" y="1698"/>
                </a:lnTo>
                <a:lnTo>
                  <a:pt x="619" y="1699"/>
                </a:lnTo>
                <a:lnTo>
                  <a:pt x="618" y="1702"/>
                </a:lnTo>
                <a:lnTo>
                  <a:pt x="618" y="1711"/>
                </a:lnTo>
                <a:lnTo>
                  <a:pt x="618" y="1718"/>
                </a:lnTo>
                <a:lnTo>
                  <a:pt x="630" y="1722"/>
                </a:lnTo>
                <a:lnTo>
                  <a:pt x="641" y="1725"/>
                </a:lnTo>
                <a:lnTo>
                  <a:pt x="630" y="1722"/>
                </a:lnTo>
                <a:lnTo>
                  <a:pt x="618" y="1718"/>
                </a:lnTo>
                <a:lnTo>
                  <a:pt x="617" y="1718"/>
                </a:lnTo>
                <a:lnTo>
                  <a:pt x="616" y="1720"/>
                </a:lnTo>
                <a:lnTo>
                  <a:pt x="610" y="1723"/>
                </a:lnTo>
                <a:lnTo>
                  <a:pt x="604" y="1722"/>
                </a:lnTo>
                <a:lnTo>
                  <a:pt x="610" y="1723"/>
                </a:lnTo>
                <a:lnTo>
                  <a:pt x="616" y="1720"/>
                </a:lnTo>
                <a:lnTo>
                  <a:pt x="608" y="1718"/>
                </a:lnTo>
                <a:lnTo>
                  <a:pt x="602" y="1722"/>
                </a:lnTo>
                <a:lnTo>
                  <a:pt x="601" y="1724"/>
                </a:lnTo>
                <a:lnTo>
                  <a:pt x="599" y="1725"/>
                </a:lnTo>
                <a:lnTo>
                  <a:pt x="599" y="1727"/>
                </a:lnTo>
                <a:lnTo>
                  <a:pt x="597" y="1728"/>
                </a:lnTo>
                <a:lnTo>
                  <a:pt x="594" y="1728"/>
                </a:lnTo>
                <a:lnTo>
                  <a:pt x="592" y="1727"/>
                </a:lnTo>
                <a:lnTo>
                  <a:pt x="593" y="1713"/>
                </a:lnTo>
                <a:lnTo>
                  <a:pt x="589" y="1699"/>
                </a:lnTo>
                <a:lnTo>
                  <a:pt x="585" y="1714"/>
                </a:lnTo>
                <a:lnTo>
                  <a:pt x="587" y="1730"/>
                </a:lnTo>
                <a:lnTo>
                  <a:pt x="587" y="1730"/>
                </a:lnTo>
                <a:lnTo>
                  <a:pt x="587" y="1730"/>
                </a:lnTo>
                <a:close/>
                <a:moveTo>
                  <a:pt x="566" y="1728"/>
                </a:moveTo>
                <a:lnTo>
                  <a:pt x="566" y="1728"/>
                </a:lnTo>
                <a:lnTo>
                  <a:pt x="567" y="1728"/>
                </a:lnTo>
                <a:lnTo>
                  <a:pt x="567" y="1728"/>
                </a:lnTo>
                <a:lnTo>
                  <a:pt x="567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3"/>
                </a:lnTo>
                <a:lnTo>
                  <a:pt x="563" y="1720"/>
                </a:lnTo>
                <a:lnTo>
                  <a:pt x="562" y="1725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lnTo>
                  <a:pt x="566" y="1728"/>
                </a:lnTo>
                <a:close/>
                <a:moveTo>
                  <a:pt x="571" y="1735"/>
                </a:moveTo>
                <a:lnTo>
                  <a:pt x="571" y="1735"/>
                </a:lnTo>
                <a:lnTo>
                  <a:pt x="570" y="1735"/>
                </a:lnTo>
                <a:lnTo>
                  <a:pt x="570" y="1736"/>
                </a:lnTo>
                <a:lnTo>
                  <a:pt x="570" y="1736"/>
                </a:lnTo>
                <a:lnTo>
                  <a:pt x="571" y="1736"/>
                </a:lnTo>
                <a:lnTo>
                  <a:pt x="571" y="1736"/>
                </a:lnTo>
                <a:lnTo>
                  <a:pt x="571" y="1736"/>
                </a:lnTo>
                <a:lnTo>
                  <a:pt x="571" y="1735"/>
                </a:lnTo>
                <a:close/>
                <a:moveTo>
                  <a:pt x="611" y="1705"/>
                </a:moveTo>
                <a:lnTo>
                  <a:pt x="610" y="1705"/>
                </a:lnTo>
                <a:lnTo>
                  <a:pt x="610" y="1703"/>
                </a:lnTo>
                <a:lnTo>
                  <a:pt x="609" y="1705"/>
                </a:lnTo>
                <a:lnTo>
                  <a:pt x="609" y="1706"/>
                </a:lnTo>
                <a:lnTo>
                  <a:pt x="609" y="1706"/>
                </a:lnTo>
                <a:lnTo>
                  <a:pt x="609" y="1706"/>
                </a:lnTo>
                <a:lnTo>
                  <a:pt x="610" y="1706"/>
                </a:lnTo>
                <a:lnTo>
                  <a:pt x="611" y="1705"/>
                </a:lnTo>
                <a:close/>
                <a:moveTo>
                  <a:pt x="1533" y="1687"/>
                </a:moveTo>
                <a:lnTo>
                  <a:pt x="1574" y="1695"/>
                </a:lnTo>
                <a:lnTo>
                  <a:pt x="1611" y="1712"/>
                </a:lnTo>
                <a:lnTo>
                  <a:pt x="1642" y="1742"/>
                </a:lnTo>
                <a:lnTo>
                  <a:pt x="1665" y="1777"/>
                </a:lnTo>
                <a:lnTo>
                  <a:pt x="1619" y="1711"/>
                </a:lnTo>
                <a:lnTo>
                  <a:pt x="1533" y="1687"/>
                </a:lnTo>
                <a:close/>
                <a:moveTo>
                  <a:pt x="1465" y="1686"/>
                </a:move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1" y="1686"/>
                </a:lnTo>
                <a:lnTo>
                  <a:pt x="1458" y="1687"/>
                </a:lnTo>
                <a:lnTo>
                  <a:pt x="1459" y="1688"/>
                </a:lnTo>
                <a:lnTo>
                  <a:pt x="1460" y="1690"/>
                </a:lnTo>
                <a:lnTo>
                  <a:pt x="1463" y="1690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4" y="1687"/>
                </a:lnTo>
                <a:lnTo>
                  <a:pt x="1465" y="1686"/>
                </a:lnTo>
                <a:lnTo>
                  <a:pt x="1465" y="1686"/>
                </a:lnTo>
                <a:close/>
                <a:moveTo>
                  <a:pt x="1254" y="1709"/>
                </a:moveTo>
                <a:lnTo>
                  <a:pt x="1254" y="1709"/>
                </a:lnTo>
                <a:lnTo>
                  <a:pt x="1255" y="1709"/>
                </a:lnTo>
                <a:lnTo>
                  <a:pt x="1254" y="1709"/>
                </a:lnTo>
                <a:close/>
                <a:moveTo>
                  <a:pt x="1306" y="1740"/>
                </a:moveTo>
                <a:lnTo>
                  <a:pt x="1307" y="1740"/>
                </a:lnTo>
                <a:lnTo>
                  <a:pt x="1307" y="1740"/>
                </a:lnTo>
                <a:lnTo>
                  <a:pt x="1306" y="1739"/>
                </a:lnTo>
                <a:lnTo>
                  <a:pt x="1306" y="1739"/>
                </a:lnTo>
                <a:lnTo>
                  <a:pt x="1306" y="1740"/>
                </a:lnTo>
                <a:lnTo>
                  <a:pt x="1306" y="1740"/>
                </a:lnTo>
                <a:close/>
                <a:moveTo>
                  <a:pt x="1285" y="1733"/>
                </a:moveTo>
                <a:lnTo>
                  <a:pt x="1286" y="1740"/>
                </a:lnTo>
                <a:lnTo>
                  <a:pt x="1290" y="1744"/>
                </a:lnTo>
                <a:lnTo>
                  <a:pt x="1290" y="1754"/>
                </a:lnTo>
                <a:lnTo>
                  <a:pt x="1282" y="1758"/>
                </a:lnTo>
                <a:lnTo>
                  <a:pt x="1216" y="1713"/>
                </a:lnTo>
                <a:lnTo>
                  <a:pt x="1140" y="1723"/>
                </a:lnTo>
                <a:lnTo>
                  <a:pt x="1134" y="1726"/>
                </a:lnTo>
                <a:lnTo>
                  <a:pt x="1131" y="1732"/>
                </a:lnTo>
                <a:lnTo>
                  <a:pt x="1127" y="1732"/>
                </a:lnTo>
                <a:lnTo>
                  <a:pt x="1124" y="1736"/>
                </a:lnTo>
                <a:lnTo>
                  <a:pt x="1119" y="1737"/>
                </a:lnTo>
                <a:lnTo>
                  <a:pt x="1117" y="1742"/>
                </a:lnTo>
                <a:lnTo>
                  <a:pt x="1109" y="1755"/>
                </a:lnTo>
                <a:lnTo>
                  <a:pt x="1098" y="1762"/>
                </a:lnTo>
                <a:lnTo>
                  <a:pt x="1088" y="1767"/>
                </a:lnTo>
                <a:lnTo>
                  <a:pt x="1089" y="1777"/>
                </a:lnTo>
                <a:lnTo>
                  <a:pt x="1089" y="1781"/>
                </a:lnTo>
                <a:lnTo>
                  <a:pt x="1088" y="1786"/>
                </a:lnTo>
                <a:lnTo>
                  <a:pt x="1085" y="1813"/>
                </a:lnTo>
                <a:lnTo>
                  <a:pt x="1102" y="1833"/>
                </a:lnTo>
                <a:lnTo>
                  <a:pt x="1107" y="1840"/>
                </a:lnTo>
                <a:lnTo>
                  <a:pt x="1106" y="1850"/>
                </a:lnTo>
                <a:lnTo>
                  <a:pt x="1104" y="1844"/>
                </a:lnTo>
                <a:lnTo>
                  <a:pt x="1097" y="1842"/>
                </a:lnTo>
                <a:lnTo>
                  <a:pt x="1084" y="1843"/>
                </a:lnTo>
                <a:lnTo>
                  <a:pt x="1071" y="1838"/>
                </a:lnTo>
                <a:lnTo>
                  <a:pt x="1058" y="1834"/>
                </a:lnTo>
                <a:lnTo>
                  <a:pt x="1045" y="1837"/>
                </a:lnTo>
                <a:lnTo>
                  <a:pt x="1037" y="1846"/>
                </a:lnTo>
                <a:lnTo>
                  <a:pt x="1037" y="1856"/>
                </a:lnTo>
                <a:lnTo>
                  <a:pt x="1037" y="1915"/>
                </a:lnTo>
                <a:lnTo>
                  <a:pt x="1037" y="1973"/>
                </a:lnTo>
                <a:lnTo>
                  <a:pt x="1037" y="1978"/>
                </a:lnTo>
                <a:lnTo>
                  <a:pt x="1041" y="1982"/>
                </a:lnTo>
                <a:lnTo>
                  <a:pt x="1046" y="1953"/>
                </a:lnTo>
                <a:lnTo>
                  <a:pt x="1051" y="1924"/>
                </a:lnTo>
                <a:lnTo>
                  <a:pt x="1054" y="1912"/>
                </a:lnTo>
                <a:lnTo>
                  <a:pt x="1062" y="1905"/>
                </a:lnTo>
                <a:lnTo>
                  <a:pt x="1069" y="1902"/>
                </a:lnTo>
                <a:lnTo>
                  <a:pt x="1070" y="1896"/>
                </a:lnTo>
                <a:lnTo>
                  <a:pt x="1070" y="1891"/>
                </a:lnTo>
                <a:lnTo>
                  <a:pt x="1074" y="1886"/>
                </a:lnTo>
                <a:lnTo>
                  <a:pt x="1074" y="1919"/>
                </a:lnTo>
                <a:lnTo>
                  <a:pt x="1074" y="1949"/>
                </a:lnTo>
                <a:lnTo>
                  <a:pt x="1072" y="1981"/>
                </a:lnTo>
                <a:lnTo>
                  <a:pt x="1079" y="2013"/>
                </a:lnTo>
                <a:lnTo>
                  <a:pt x="1079" y="2016"/>
                </a:lnTo>
                <a:lnTo>
                  <a:pt x="1077" y="2019"/>
                </a:lnTo>
                <a:lnTo>
                  <a:pt x="1041" y="2019"/>
                </a:lnTo>
                <a:lnTo>
                  <a:pt x="1003" y="2020"/>
                </a:lnTo>
                <a:lnTo>
                  <a:pt x="994" y="2017"/>
                </a:lnTo>
                <a:lnTo>
                  <a:pt x="990" y="2007"/>
                </a:lnTo>
                <a:lnTo>
                  <a:pt x="992" y="1920"/>
                </a:lnTo>
                <a:lnTo>
                  <a:pt x="996" y="1831"/>
                </a:lnTo>
                <a:lnTo>
                  <a:pt x="998" y="1786"/>
                </a:lnTo>
                <a:lnTo>
                  <a:pt x="1000" y="1741"/>
                </a:lnTo>
                <a:lnTo>
                  <a:pt x="1003" y="1722"/>
                </a:lnTo>
                <a:lnTo>
                  <a:pt x="1004" y="1701"/>
                </a:lnTo>
                <a:lnTo>
                  <a:pt x="1005" y="1700"/>
                </a:lnTo>
                <a:lnTo>
                  <a:pt x="1007" y="1698"/>
                </a:lnTo>
                <a:lnTo>
                  <a:pt x="1011" y="1691"/>
                </a:lnTo>
                <a:lnTo>
                  <a:pt x="1018" y="1690"/>
                </a:lnTo>
                <a:lnTo>
                  <a:pt x="1011" y="1691"/>
                </a:lnTo>
                <a:lnTo>
                  <a:pt x="1007" y="1698"/>
                </a:lnTo>
                <a:lnTo>
                  <a:pt x="1022" y="1698"/>
                </a:lnTo>
                <a:lnTo>
                  <a:pt x="1036" y="1699"/>
                </a:lnTo>
                <a:lnTo>
                  <a:pt x="1048" y="1698"/>
                </a:lnTo>
                <a:lnTo>
                  <a:pt x="1056" y="1688"/>
                </a:lnTo>
                <a:lnTo>
                  <a:pt x="1067" y="1687"/>
                </a:lnTo>
                <a:lnTo>
                  <a:pt x="1076" y="1678"/>
                </a:lnTo>
                <a:lnTo>
                  <a:pt x="1079" y="1670"/>
                </a:lnTo>
                <a:lnTo>
                  <a:pt x="1086" y="1668"/>
                </a:lnTo>
                <a:lnTo>
                  <a:pt x="1109" y="1669"/>
                </a:lnTo>
                <a:lnTo>
                  <a:pt x="1132" y="1670"/>
                </a:lnTo>
                <a:lnTo>
                  <a:pt x="1135" y="1671"/>
                </a:lnTo>
                <a:lnTo>
                  <a:pt x="1138" y="1670"/>
                </a:lnTo>
                <a:lnTo>
                  <a:pt x="1169" y="1665"/>
                </a:lnTo>
                <a:lnTo>
                  <a:pt x="1201" y="1665"/>
                </a:lnTo>
                <a:lnTo>
                  <a:pt x="1221" y="1666"/>
                </a:lnTo>
                <a:lnTo>
                  <a:pt x="1241" y="1666"/>
                </a:lnTo>
                <a:lnTo>
                  <a:pt x="1249" y="1666"/>
                </a:lnTo>
                <a:lnTo>
                  <a:pt x="1258" y="1670"/>
                </a:lnTo>
                <a:lnTo>
                  <a:pt x="1267" y="1675"/>
                </a:lnTo>
                <a:lnTo>
                  <a:pt x="1276" y="1671"/>
                </a:lnTo>
                <a:lnTo>
                  <a:pt x="1286" y="1669"/>
                </a:lnTo>
                <a:lnTo>
                  <a:pt x="1294" y="1672"/>
                </a:lnTo>
                <a:lnTo>
                  <a:pt x="1306" y="1684"/>
                </a:lnTo>
                <a:lnTo>
                  <a:pt x="1321" y="1691"/>
                </a:lnTo>
                <a:lnTo>
                  <a:pt x="1323" y="1694"/>
                </a:lnTo>
                <a:lnTo>
                  <a:pt x="1325" y="1699"/>
                </a:lnTo>
                <a:lnTo>
                  <a:pt x="1327" y="1696"/>
                </a:lnTo>
                <a:lnTo>
                  <a:pt x="1329" y="1693"/>
                </a:lnTo>
                <a:lnTo>
                  <a:pt x="1329" y="1709"/>
                </a:lnTo>
                <a:lnTo>
                  <a:pt x="1330" y="1725"/>
                </a:lnTo>
                <a:lnTo>
                  <a:pt x="1320" y="1729"/>
                </a:lnTo>
                <a:lnTo>
                  <a:pt x="1316" y="1733"/>
                </a:lnTo>
                <a:lnTo>
                  <a:pt x="1319" y="1741"/>
                </a:lnTo>
                <a:lnTo>
                  <a:pt x="1314" y="1746"/>
                </a:lnTo>
                <a:lnTo>
                  <a:pt x="1313" y="1755"/>
                </a:lnTo>
                <a:lnTo>
                  <a:pt x="1315" y="1762"/>
                </a:lnTo>
                <a:lnTo>
                  <a:pt x="1321" y="1776"/>
                </a:lnTo>
                <a:lnTo>
                  <a:pt x="1322" y="1792"/>
                </a:lnTo>
                <a:lnTo>
                  <a:pt x="1315" y="1784"/>
                </a:lnTo>
                <a:lnTo>
                  <a:pt x="1310" y="1775"/>
                </a:lnTo>
                <a:lnTo>
                  <a:pt x="1303" y="1757"/>
                </a:lnTo>
                <a:lnTo>
                  <a:pt x="1291" y="1743"/>
                </a:lnTo>
                <a:lnTo>
                  <a:pt x="1291" y="1743"/>
                </a:lnTo>
                <a:lnTo>
                  <a:pt x="1290" y="1737"/>
                </a:lnTo>
                <a:lnTo>
                  <a:pt x="1285" y="1733"/>
                </a:lnTo>
                <a:close/>
                <a:moveTo>
                  <a:pt x="1280" y="1729"/>
                </a:moveTo>
                <a:lnTo>
                  <a:pt x="1282" y="1730"/>
                </a:lnTo>
                <a:lnTo>
                  <a:pt x="1283" y="1729"/>
                </a:lnTo>
                <a:lnTo>
                  <a:pt x="1283" y="1728"/>
                </a:lnTo>
                <a:lnTo>
                  <a:pt x="1282" y="1727"/>
                </a:lnTo>
                <a:lnTo>
                  <a:pt x="1272" y="1717"/>
                </a:lnTo>
                <a:lnTo>
                  <a:pt x="1259" y="1712"/>
                </a:lnTo>
                <a:lnTo>
                  <a:pt x="1269" y="1722"/>
                </a:lnTo>
                <a:lnTo>
                  <a:pt x="1280" y="1729"/>
                </a:lnTo>
                <a:close/>
                <a:moveTo>
                  <a:pt x="1170" y="1694"/>
                </a:moveTo>
                <a:lnTo>
                  <a:pt x="1212" y="1696"/>
                </a:lnTo>
                <a:lnTo>
                  <a:pt x="1249" y="1707"/>
                </a:lnTo>
                <a:lnTo>
                  <a:pt x="1214" y="1692"/>
                </a:lnTo>
                <a:lnTo>
                  <a:pt x="1170" y="1694"/>
                </a:lnTo>
                <a:close/>
                <a:moveTo>
                  <a:pt x="767" y="592"/>
                </a:moveTo>
                <a:lnTo>
                  <a:pt x="767" y="593"/>
                </a:lnTo>
                <a:lnTo>
                  <a:pt x="767" y="593"/>
                </a:lnTo>
                <a:lnTo>
                  <a:pt x="767" y="593"/>
                </a:lnTo>
                <a:lnTo>
                  <a:pt x="768" y="593"/>
                </a:lnTo>
                <a:lnTo>
                  <a:pt x="784" y="591"/>
                </a:lnTo>
                <a:lnTo>
                  <a:pt x="799" y="585"/>
                </a:lnTo>
                <a:lnTo>
                  <a:pt x="808" y="583"/>
                </a:lnTo>
                <a:lnTo>
                  <a:pt x="815" y="596"/>
                </a:lnTo>
                <a:lnTo>
                  <a:pt x="817" y="586"/>
                </a:lnTo>
                <a:lnTo>
                  <a:pt x="819" y="580"/>
                </a:lnTo>
                <a:lnTo>
                  <a:pt x="834" y="577"/>
                </a:lnTo>
                <a:lnTo>
                  <a:pt x="849" y="576"/>
                </a:lnTo>
                <a:lnTo>
                  <a:pt x="845" y="581"/>
                </a:lnTo>
                <a:lnTo>
                  <a:pt x="845" y="589"/>
                </a:lnTo>
                <a:lnTo>
                  <a:pt x="845" y="589"/>
                </a:lnTo>
                <a:lnTo>
                  <a:pt x="846" y="590"/>
                </a:lnTo>
                <a:lnTo>
                  <a:pt x="845" y="589"/>
                </a:lnTo>
                <a:lnTo>
                  <a:pt x="845" y="589"/>
                </a:lnTo>
                <a:lnTo>
                  <a:pt x="830" y="594"/>
                </a:lnTo>
                <a:lnTo>
                  <a:pt x="816" y="599"/>
                </a:lnTo>
                <a:lnTo>
                  <a:pt x="816" y="599"/>
                </a:lnTo>
                <a:lnTo>
                  <a:pt x="801" y="606"/>
                </a:lnTo>
                <a:lnTo>
                  <a:pt x="785" y="609"/>
                </a:lnTo>
                <a:lnTo>
                  <a:pt x="747" y="622"/>
                </a:lnTo>
                <a:lnTo>
                  <a:pt x="709" y="632"/>
                </a:lnTo>
                <a:lnTo>
                  <a:pt x="703" y="632"/>
                </a:lnTo>
                <a:lnTo>
                  <a:pt x="699" y="633"/>
                </a:lnTo>
                <a:lnTo>
                  <a:pt x="694" y="630"/>
                </a:lnTo>
                <a:lnTo>
                  <a:pt x="692" y="624"/>
                </a:lnTo>
                <a:lnTo>
                  <a:pt x="695" y="617"/>
                </a:lnTo>
                <a:lnTo>
                  <a:pt x="701" y="615"/>
                </a:lnTo>
                <a:lnTo>
                  <a:pt x="724" y="610"/>
                </a:lnTo>
                <a:lnTo>
                  <a:pt x="745" y="605"/>
                </a:lnTo>
                <a:lnTo>
                  <a:pt x="749" y="604"/>
                </a:lnTo>
                <a:lnTo>
                  <a:pt x="751" y="600"/>
                </a:lnTo>
                <a:lnTo>
                  <a:pt x="748" y="597"/>
                </a:lnTo>
                <a:lnTo>
                  <a:pt x="744" y="598"/>
                </a:lnTo>
                <a:lnTo>
                  <a:pt x="726" y="604"/>
                </a:lnTo>
                <a:lnTo>
                  <a:pt x="709" y="608"/>
                </a:lnTo>
                <a:lnTo>
                  <a:pt x="702" y="610"/>
                </a:lnTo>
                <a:lnTo>
                  <a:pt x="696" y="610"/>
                </a:lnTo>
                <a:lnTo>
                  <a:pt x="702" y="597"/>
                </a:lnTo>
                <a:lnTo>
                  <a:pt x="703" y="584"/>
                </a:lnTo>
                <a:lnTo>
                  <a:pt x="700" y="585"/>
                </a:lnTo>
                <a:lnTo>
                  <a:pt x="696" y="586"/>
                </a:lnTo>
                <a:lnTo>
                  <a:pt x="694" y="586"/>
                </a:lnTo>
                <a:lnTo>
                  <a:pt x="693" y="587"/>
                </a:lnTo>
                <a:lnTo>
                  <a:pt x="694" y="586"/>
                </a:lnTo>
                <a:lnTo>
                  <a:pt x="696" y="586"/>
                </a:lnTo>
                <a:lnTo>
                  <a:pt x="700" y="585"/>
                </a:lnTo>
                <a:lnTo>
                  <a:pt x="703" y="584"/>
                </a:lnTo>
                <a:lnTo>
                  <a:pt x="716" y="581"/>
                </a:lnTo>
                <a:lnTo>
                  <a:pt x="729" y="577"/>
                </a:lnTo>
                <a:lnTo>
                  <a:pt x="748" y="571"/>
                </a:lnTo>
                <a:lnTo>
                  <a:pt x="766" y="563"/>
                </a:lnTo>
                <a:lnTo>
                  <a:pt x="766" y="563"/>
                </a:lnTo>
                <a:lnTo>
                  <a:pt x="785" y="559"/>
                </a:lnTo>
                <a:lnTo>
                  <a:pt x="802" y="553"/>
                </a:lnTo>
                <a:lnTo>
                  <a:pt x="805" y="553"/>
                </a:lnTo>
                <a:lnTo>
                  <a:pt x="808" y="553"/>
                </a:lnTo>
                <a:lnTo>
                  <a:pt x="808" y="553"/>
                </a:lnTo>
                <a:lnTo>
                  <a:pt x="808" y="552"/>
                </a:lnTo>
                <a:lnTo>
                  <a:pt x="808" y="552"/>
                </a:lnTo>
                <a:lnTo>
                  <a:pt x="807" y="551"/>
                </a:lnTo>
                <a:lnTo>
                  <a:pt x="807" y="551"/>
                </a:lnTo>
                <a:lnTo>
                  <a:pt x="807" y="550"/>
                </a:lnTo>
                <a:lnTo>
                  <a:pt x="807" y="551"/>
                </a:lnTo>
                <a:lnTo>
                  <a:pt x="807" y="551"/>
                </a:lnTo>
                <a:lnTo>
                  <a:pt x="808" y="552"/>
                </a:lnTo>
                <a:lnTo>
                  <a:pt x="808" y="552"/>
                </a:lnTo>
                <a:lnTo>
                  <a:pt x="808" y="553"/>
                </a:lnTo>
                <a:lnTo>
                  <a:pt x="808" y="553"/>
                </a:lnTo>
                <a:lnTo>
                  <a:pt x="810" y="553"/>
                </a:lnTo>
                <a:lnTo>
                  <a:pt x="813" y="554"/>
                </a:lnTo>
                <a:lnTo>
                  <a:pt x="813" y="554"/>
                </a:lnTo>
                <a:lnTo>
                  <a:pt x="816" y="562"/>
                </a:lnTo>
                <a:lnTo>
                  <a:pt x="824" y="565"/>
                </a:lnTo>
                <a:lnTo>
                  <a:pt x="831" y="567"/>
                </a:lnTo>
                <a:lnTo>
                  <a:pt x="838" y="564"/>
                </a:lnTo>
                <a:lnTo>
                  <a:pt x="845" y="563"/>
                </a:lnTo>
                <a:lnTo>
                  <a:pt x="851" y="563"/>
                </a:lnTo>
                <a:lnTo>
                  <a:pt x="851" y="563"/>
                </a:lnTo>
                <a:lnTo>
                  <a:pt x="851" y="565"/>
                </a:lnTo>
                <a:lnTo>
                  <a:pt x="851" y="566"/>
                </a:lnTo>
                <a:lnTo>
                  <a:pt x="851" y="566"/>
                </a:lnTo>
                <a:lnTo>
                  <a:pt x="833" y="573"/>
                </a:lnTo>
                <a:lnTo>
                  <a:pt x="814" y="578"/>
                </a:lnTo>
                <a:lnTo>
                  <a:pt x="790" y="583"/>
                </a:lnTo>
                <a:lnTo>
                  <a:pt x="767" y="592"/>
                </a:lnTo>
                <a:close/>
                <a:moveTo>
                  <a:pt x="747" y="544"/>
                </a:move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2" y="545"/>
                </a:lnTo>
                <a:lnTo>
                  <a:pt x="739" y="541"/>
                </a:lnTo>
                <a:lnTo>
                  <a:pt x="741" y="539"/>
                </a:lnTo>
                <a:lnTo>
                  <a:pt x="745" y="538"/>
                </a:lnTo>
                <a:lnTo>
                  <a:pt x="747" y="533"/>
                </a:lnTo>
                <a:lnTo>
                  <a:pt x="751" y="532"/>
                </a:lnTo>
                <a:lnTo>
                  <a:pt x="747" y="533"/>
                </a:lnTo>
                <a:lnTo>
                  <a:pt x="745" y="538"/>
                </a:lnTo>
                <a:lnTo>
                  <a:pt x="747" y="540"/>
                </a:lnTo>
                <a:lnTo>
                  <a:pt x="747" y="544"/>
                </a:lnTo>
                <a:lnTo>
                  <a:pt x="757" y="547"/>
                </a:lnTo>
                <a:lnTo>
                  <a:pt x="762" y="554"/>
                </a:lnTo>
                <a:lnTo>
                  <a:pt x="747" y="563"/>
                </a:lnTo>
                <a:lnTo>
                  <a:pt x="731" y="564"/>
                </a:lnTo>
                <a:lnTo>
                  <a:pt x="728" y="564"/>
                </a:lnTo>
                <a:lnTo>
                  <a:pt x="725" y="565"/>
                </a:lnTo>
                <a:lnTo>
                  <a:pt x="728" y="564"/>
                </a:lnTo>
                <a:lnTo>
                  <a:pt x="731" y="564"/>
                </a:lnTo>
                <a:lnTo>
                  <a:pt x="731" y="562"/>
                </a:lnTo>
                <a:lnTo>
                  <a:pt x="731" y="559"/>
                </a:lnTo>
                <a:lnTo>
                  <a:pt x="733" y="555"/>
                </a:lnTo>
                <a:lnTo>
                  <a:pt x="737" y="558"/>
                </a:lnTo>
                <a:lnTo>
                  <a:pt x="745" y="560"/>
                </a:lnTo>
                <a:lnTo>
                  <a:pt x="753" y="555"/>
                </a:lnTo>
                <a:lnTo>
                  <a:pt x="754" y="553"/>
                </a:lnTo>
                <a:lnTo>
                  <a:pt x="749" y="551"/>
                </a:lnTo>
                <a:lnTo>
                  <a:pt x="748" y="548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lnTo>
                  <a:pt x="747" y="544"/>
                </a:lnTo>
                <a:close/>
                <a:moveTo>
                  <a:pt x="1525" y="1707"/>
                </a:moveTo>
                <a:lnTo>
                  <a:pt x="1528" y="1706"/>
                </a:lnTo>
                <a:lnTo>
                  <a:pt x="1525" y="1707"/>
                </a:lnTo>
                <a:lnTo>
                  <a:pt x="1524" y="1707"/>
                </a:lnTo>
                <a:lnTo>
                  <a:pt x="1522" y="1707"/>
                </a:lnTo>
                <a:lnTo>
                  <a:pt x="1518" y="1699"/>
                </a:lnTo>
                <a:lnTo>
                  <a:pt x="1517" y="1690"/>
                </a:lnTo>
                <a:lnTo>
                  <a:pt x="1527" y="1669"/>
                </a:lnTo>
                <a:lnTo>
                  <a:pt x="1545" y="1657"/>
                </a:lnTo>
                <a:lnTo>
                  <a:pt x="1547" y="1657"/>
                </a:lnTo>
                <a:lnTo>
                  <a:pt x="1549" y="1657"/>
                </a:lnTo>
                <a:lnTo>
                  <a:pt x="1549" y="1657"/>
                </a:lnTo>
                <a:lnTo>
                  <a:pt x="1558" y="1655"/>
                </a:lnTo>
                <a:lnTo>
                  <a:pt x="1566" y="1652"/>
                </a:lnTo>
                <a:lnTo>
                  <a:pt x="1588" y="1656"/>
                </a:lnTo>
                <a:lnTo>
                  <a:pt x="1608" y="1660"/>
                </a:lnTo>
                <a:lnTo>
                  <a:pt x="1627" y="1671"/>
                </a:lnTo>
                <a:lnTo>
                  <a:pt x="1627" y="1692"/>
                </a:lnTo>
                <a:lnTo>
                  <a:pt x="1625" y="1701"/>
                </a:lnTo>
                <a:lnTo>
                  <a:pt x="1631" y="1707"/>
                </a:lnTo>
                <a:lnTo>
                  <a:pt x="1635" y="1711"/>
                </a:lnTo>
                <a:lnTo>
                  <a:pt x="1639" y="1714"/>
                </a:lnTo>
                <a:lnTo>
                  <a:pt x="1655" y="1723"/>
                </a:lnTo>
                <a:lnTo>
                  <a:pt x="1672" y="1727"/>
                </a:lnTo>
                <a:lnTo>
                  <a:pt x="1683" y="1727"/>
                </a:lnTo>
                <a:lnTo>
                  <a:pt x="1692" y="1733"/>
                </a:lnTo>
                <a:lnTo>
                  <a:pt x="1693" y="1773"/>
                </a:lnTo>
                <a:lnTo>
                  <a:pt x="1693" y="1814"/>
                </a:lnTo>
                <a:lnTo>
                  <a:pt x="1694" y="1821"/>
                </a:lnTo>
                <a:lnTo>
                  <a:pt x="1695" y="1830"/>
                </a:lnTo>
                <a:lnTo>
                  <a:pt x="1670" y="1830"/>
                </a:lnTo>
                <a:lnTo>
                  <a:pt x="1645" y="1830"/>
                </a:lnTo>
                <a:lnTo>
                  <a:pt x="1646" y="1831"/>
                </a:lnTo>
                <a:lnTo>
                  <a:pt x="1646" y="1832"/>
                </a:lnTo>
                <a:lnTo>
                  <a:pt x="1646" y="1831"/>
                </a:lnTo>
                <a:lnTo>
                  <a:pt x="1645" y="1830"/>
                </a:lnTo>
                <a:lnTo>
                  <a:pt x="1645" y="1829"/>
                </a:lnTo>
                <a:lnTo>
                  <a:pt x="1645" y="1829"/>
                </a:lnTo>
                <a:lnTo>
                  <a:pt x="1645" y="1828"/>
                </a:lnTo>
                <a:lnTo>
                  <a:pt x="1645" y="1825"/>
                </a:lnTo>
                <a:lnTo>
                  <a:pt x="1654" y="1823"/>
                </a:lnTo>
                <a:lnTo>
                  <a:pt x="1655" y="1814"/>
                </a:lnTo>
                <a:lnTo>
                  <a:pt x="1618" y="1738"/>
                </a:lnTo>
                <a:lnTo>
                  <a:pt x="1533" y="1705"/>
                </a:lnTo>
                <a:lnTo>
                  <a:pt x="1529" y="1705"/>
                </a:lnTo>
                <a:lnTo>
                  <a:pt x="1525" y="1707"/>
                </a:lnTo>
                <a:close/>
                <a:moveTo>
                  <a:pt x="661" y="1596"/>
                </a:moveTo>
                <a:lnTo>
                  <a:pt x="665" y="1601"/>
                </a:lnTo>
                <a:lnTo>
                  <a:pt x="668" y="1596"/>
                </a:lnTo>
                <a:lnTo>
                  <a:pt x="672" y="1595"/>
                </a:lnTo>
                <a:lnTo>
                  <a:pt x="676" y="1595"/>
                </a:lnTo>
                <a:lnTo>
                  <a:pt x="698" y="1598"/>
                </a:lnTo>
                <a:lnTo>
                  <a:pt x="701" y="1619"/>
                </a:lnTo>
                <a:lnTo>
                  <a:pt x="701" y="1623"/>
                </a:lnTo>
                <a:lnTo>
                  <a:pt x="702" y="1626"/>
                </a:lnTo>
                <a:lnTo>
                  <a:pt x="702" y="1628"/>
                </a:lnTo>
                <a:lnTo>
                  <a:pt x="703" y="1629"/>
                </a:lnTo>
                <a:lnTo>
                  <a:pt x="705" y="1629"/>
                </a:lnTo>
                <a:lnTo>
                  <a:pt x="706" y="1630"/>
                </a:lnTo>
                <a:lnTo>
                  <a:pt x="705" y="1629"/>
                </a:lnTo>
                <a:lnTo>
                  <a:pt x="703" y="1629"/>
                </a:lnTo>
                <a:lnTo>
                  <a:pt x="702" y="1628"/>
                </a:lnTo>
                <a:lnTo>
                  <a:pt x="702" y="1626"/>
                </a:lnTo>
                <a:lnTo>
                  <a:pt x="701" y="1623"/>
                </a:lnTo>
                <a:lnTo>
                  <a:pt x="701" y="1619"/>
                </a:lnTo>
                <a:lnTo>
                  <a:pt x="695" y="1621"/>
                </a:lnTo>
                <a:lnTo>
                  <a:pt x="691" y="1626"/>
                </a:lnTo>
                <a:lnTo>
                  <a:pt x="680" y="1632"/>
                </a:lnTo>
                <a:lnTo>
                  <a:pt x="669" y="1629"/>
                </a:lnTo>
                <a:lnTo>
                  <a:pt x="652" y="1622"/>
                </a:lnTo>
                <a:lnTo>
                  <a:pt x="636" y="1629"/>
                </a:lnTo>
                <a:lnTo>
                  <a:pt x="632" y="1633"/>
                </a:lnTo>
                <a:lnTo>
                  <a:pt x="627" y="1634"/>
                </a:lnTo>
                <a:lnTo>
                  <a:pt x="612" y="1635"/>
                </a:lnTo>
                <a:lnTo>
                  <a:pt x="596" y="1636"/>
                </a:lnTo>
                <a:lnTo>
                  <a:pt x="572" y="1638"/>
                </a:lnTo>
                <a:lnTo>
                  <a:pt x="546" y="1640"/>
                </a:lnTo>
                <a:lnTo>
                  <a:pt x="541" y="1641"/>
                </a:lnTo>
                <a:lnTo>
                  <a:pt x="537" y="1646"/>
                </a:lnTo>
                <a:lnTo>
                  <a:pt x="541" y="1649"/>
                </a:lnTo>
                <a:lnTo>
                  <a:pt x="546" y="1649"/>
                </a:lnTo>
                <a:lnTo>
                  <a:pt x="573" y="1646"/>
                </a:lnTo>
                <a:lnTo>
                  <a:pt x="601" y="1645"/>
                </a:lnTo>
                <a:lnTo>
                  <a:pt x="619" y="1644"/>
                </a:lnTo>
                <a:lnTo>
                  <a:pt x="637" y="1648"/>
                </a:lnTo>
                <a:lnTo>
                  <a:pt x="621" y="1661"/>
                </a:lnTo>
                <a:lnTo>
                  <a:pt x="603" y="1663"/>
                </a:lnTo>
                <a:lnTo>
                  <a:pt x="596" y="1663"/>
                </a:lnTo>
                <a:lnTo>
                  <a:pt x="589" y="1665"/>
                </a:lnTo>
                <a:lnTo>
                  <a:pt x="592" y="1666"/>
                </a:lnTo>
                <a:lnTo>
                  <a:pt x="594" y="1667"/>
                </a:lnTo>
                <a:lnTo>
                  <a:pt x="592" y="1666"/>
                </a:lnTo>
                <a:lnTo>
                  <a:pt x="589" y="1665"/>
                </a:lnTo>
                <a:lnTo>
                  <a:pt x="580" y="1665"/>
                </a:lnTo>
                <a:lnTo>
                  <a:pt x="572" y="1665"/>
                </a:lnTo>
                <a:lnTo>
                  <a:pt x="569" y="1666"/>
                </a:lnTo>
                <a:lnTo>
                  <a:pt x="565" y="1666"/>
                </a:lnTo>
                <a:lnTo>
                  <a:pt x="569" y="1666"/>
                </a:lnTo>
                <a:lnTo>
                  <a:pt x="572" y="1665"/>
                </a:lnTo>
                <a:lnTo>
                  <a:pt x="564" y="1662"/>
                </a:lnTo>
                <a:lnTo>
                  <a:pt x="559" y="1666"/>
                </a:lnTo>
                <a:lnTo>
                  <a:pt x="546" y="1666"/>
                </a:lnTo>
                <a:lnTo>
                  <a:pt x="533" y="1666"/>
                </a:lnTo>
                <a:lnTo>
                  <a:pt x="533" y="1667"/>
                </a:lnTo>
                <a:lnTo>
                  <a:pt x="533" y="1667"/>
                </a:lnTo>
                <a:lnTo>
                  <a:pt x="533" y="1667"/>
                </a:lnTo>
                <a:lnTo>
                  <a:pt x="533" y="1666"/>
                </a:lnTo>
                <a:lnTo>
                  <a:pt x="526" y="1664"/>
                </a:lnTo>
                <a:lnTo>
                  <a:pt x="518" y="1661"/>
                </a:lnTo>
                <a:lnTo>
                  <a:pt x="512" y="1659"/>
                </a:lnTo>
                <a:lnTo>
                  <a:pt x="512" y="1666"/>
                </a:lnTo>
                <a:lnTo>
                  <a:pt x="512" y="1669"/>
                </a:lnTo>
                <a:lnTo>
                  <a:pt x="511" y="1672"/>
                </a:lnTo>
                <a:lnTo>
                  <a:pt x="511" y="1672"/>
                </a:lnTo>
                <a:lnTo>
                  <a:pt x="511" y="1674"/>
                </a:lnTo>
                <a:lnTo>
                  <a:pt x="512" y="1675"/>
                </a:lnTo>
                <a:lnTo>
                  <a:pt x="511" y="1674"/>
                </a:lnTo>
                <a:lnTo>
                  <a:pt x="511" y="1672"/>
                </a:lnTo>
                <a:lnTo>
                  <a:pt x="502" y="1667"/>
                </a:lnTo>
                <a:lnTo>
                  <a:pt x="491" y="1668"/>
                </a:lnTo>
                <a:lnTo>
                  <a:pt x="489" y="1671"/>
                </a:lnTo>
                <a:lnTo>
                  <a:pt x="493" y="1675"/>
                </a:lnTo>
                <a:lnTo>
                  <a:pt x="494" y="1678"/>
                </a:lnTo>
                <a:lnTo>
                  <a:pt x="495" y="1682"/>
                </a:lnTo>
                <a:lnTo>
                  <a:pt x="490" y="1682"/>
                </a:lnTo>
                <a:lnTo>
                  <a:pt x="486" y="1680"/>
                </a:lnTo>
                <a:lnTo>
                  <a:pt x="471" y="1670"/>
                </a:lnTo>
                <a:lnTo>
                  <a:pt x="455" y="1676"/>
                </a:lnTo>
                <a:lnTo>
                  <a:pt x="455" y="1678"/>
                </a:lnTo>
                <a:lnTo>
                  <a:pt x="456" y="1680"/>
                </a:lnTo>
                <a:lnTo>
                  <a:pt x="457" y="1682"/>
                </a:lnTo>
                <a:lnTo>
                  <a:pt x="458" y="1683"/>
                </a:lnTo>
                <a:lnTo>
                  <a:pt x="457" y="1682"/>
                </a:lnTo>
                <a:lnTo>
                  <a:pt x="456" y="1680"/>
                </a:lnTo>
                <a:lnTo>
                  <a:pt x="455" y="1678"/>
                </a:lnTo>
                <a:lnTo>
                  <a:pt x="455" y="1676"/>
                </a:lnTo>
                <a:lnTo>
                  <a:pt x="417" y="1680"/>
                </a:lnTo>
                <a:lnTo>
                  <a:pt x="379" y="1682"/>
                </a:lnTo>
                <a:lnTo>
                  <a:pt x="382" y="1677"/>
                </a:lnTo>
                <a:lnTo>
                  <a:pt x="389" y="1677"/>
                </a:lnTo>
                <a:lnTo>
                  <a:pt x="395" y="1677"/>
                </a:lnTo>
                <a:lnTo>
                  <a:pt x="403" y="1677"/>
                </a:lnTo>
                <a:lnTo>
                  <a:pt x="387" y="1676"/>
                </a:lnTo>
                <a:lnTo>
                  <a:pt x="370" y="1676"/>
                </a:lnTo>
                <a:lnTo>
                  <a:pt x="363" y="1677"/>
                </a:lnTo>
                <a:lnTo>
                  <a:pt x="359" y="1683"/>
                </a:lnTo>
                <a:lnTo>
                  <a:pt x="357" y="1683"/>
                </a:lnTo>
                <a:lnTo>
                  <a:pt x="353" y="1684"/>
                </a:lnTo>
                <a:lnTo>
                  <a:pt x="348" y="1674"/>
                </a:lnTo>
                <a:lnTo>
                  <a:pt x="336" y="1669"/>
                </a:lnTo>
                <a:lnTo>
                  <a:pt x="360" y="1664"/>
                </a:lnTo>
                <a:lnTo>
                  <a:pt x="383" y="1662"/>
                </a:lnTo>
                <a:lnTo>
                  <a:pt x="388" y="1663"/>
                </a:lnTo>
                <a:lnTo>
                  <a:pt x="389" y="1667"/>
                </a:lnTo>
                <a:lnTo>
                  <a:pt x="389" y="1671"/>
                </a:lnTo>
                <a:lnTo>
                  <a:pt x="393" y="1671"/>
                </a:lnTo>
                <a:lnTo>
                  <a:pt x="396" y="1671"/>
                </a:lnTo>
                <a:lnTo>
                  <a:pt x="396" y="1667"/>
                </a:lnTo>
                <a:lnTo>
                  <a:pt x="397" y="1662"/>
                </a:lnTo>
                <a:lnTo>
                  <a:pt x="402" y="1661"/>
                </a:lnTo>
                <a:lnTo>
                  <a:pt x="417" y="1654"/>
                </a:lnTo>
                <a:lnTo>
                  <a:pt x="434" y="1656"/>
                </a:lnTo>
                <a:lnTo>
                  <a:pt x="437" y="1657"/>
                </a:lnTo>
                <a:lnTo>
                  <a:pt x="442" y="1656"/>
                </a:lnTo>
                <a:lnTo>
                  <a:pt x="474" y="1651"/>
                </a:lnTo>
                <a:lnTo>
                  <a:pt x="508" y="1651"/>
                </a:lnTo>
                <a:lnTo>
                  <a:pt x="510" y="1651"/>
                </a:lnTo>
                <a:lnTo>
                  <a:pt x="512" y="1648"/>
                </a:lnTo>
                <a:lnTo>
                  <a:pt x="497" y="1644"/>
                </a:lnTo>
                <a:lnTo>
                  <a:pt x="481" y="1642"/>
                </a:lnTo>
                <a:lnTo>
                  <a:pt x="482" y="1631"/>
                </a:lnTo>
                <a:lnTo>
                  <a:pt x="479" y="1619"/>
                </a:lnTo>
                <a:lnTo>
                  <a:pt x="470" y="1626"/>
                </a:lnTo>
                <a:lnTo>
                  <a:pt x="464" y="1636"/>
                </a:lnTo>
                <a:lnTo>
                  <a:pt x="464" y="1637"/>
                </a:lnTo>
                <a:lnTo>
                  <a:pt x="463" y="1638"/>
                </a:lnTo>
                <a:lnTo>
                  <a:pt x="454" y="1647"/>
                </a:lnTo>
                <a:lnTo>
                  <a:pt x="442" y="1642"/>
                </a:lnTo>
                <a:lnTo>
                  <a:pt x="435" y="1639"/>
                </a:lnTo>
                <a:lnTo>
                  <a:pt x="430" y="1641"/>
                </a:lnTo>
                <a:lnTo>
                  <a:pt x="422" y="1648"/>
                </a:lnTo>
                <a:lnTo>
                  <a:pt x="412" y="1650"/>
                </a:lnTo>
                <a:lnTo>
                  <a:pt x="403" y="1646"/>
                </a:lnTo>
                <a:lnTo>
                  <a:pt x="397" y="1636"/>
                </a:lnTo>
                <a:lnTo>
                  <a:pt x="397" y="1641"/>
                </a:lnTo>
                <a:lnTo>
                  <a:pt x="396" y="1645"/>
                </a:lnTo>
                <a:lnTo>
                  <a:pt x="390" y="1652"/>
                </a:lnTo>
                <a:lnTo>
                  <a:pt x="380" y="1652"/>
                </a:lnTo>
                <a:lnTo>
                  <a:pt x="374" y="1649"/>
                </a:lnTo>
                <a:lnTo>
                  <a:pt x="373" y="1642"/>
                </a:lnTo>
                <a:lnTo>
                  <a:pt x="375" y="1631"/>
                </a:lnTo>
                <a:lnTo>
                  <a:pt x="385" y="1625"/>
                </a:lnTo>
                <a:lnTo>
                  <a:pt x="391" y="1624"/>
                </a:lnTo>
                <a:lnTo>
                  <a:pt x="394" y="1620"/>
                </a:lnTo>
                <a:lnTo>
                  <a:pt x="397" y="1620"/>
                </a:lnTo>
                <a:lnTo>
                  <a:pt x="402" y="1620"/>
                </a:lnTo>
                <a:lnTo>
                  <a:pt x="404" y="1621"/>
                </a:lnTo>
                <a:lnTo>
                  <a:pt x="406" y="1620"/>
                </a:lnTo>
                <a:lnTo>
                  <a:pt x="409" y="1619"/>
                </a:lnTo>
                <a:lnTo>
                  <a:pt x="411" y="1618"/>
                </a:lnTo>
                <a:lnTo>
                  <a:pt x="437" y="1618"/>
                </a:lnTo>
                <a:lnTo>
                  <a:pt x="463" y="1616"/>
                </a:lnTo>
                <a:lnTo>
                  <a:pt x="468" y="1615"/>
                </a:lnTo>
                <a:lnTo>
                  <a:pt x="472" y="1615"/>
                </a:lnTo>
                <a:lnTo>
                  <a:pt x="483" y="1616"/>
                </a:lnTo>
                <a:lnTo>
                  <a:pt x="490" y="1609"/>
                </a:lnTo>
                <a:lnTo>
                  <a:pt x="493" y="1609"/>
                </a:lnTo>
                <a:lnTo>
                  <a:pt x="495" y="1609"/>
                </a:lnTo>
                <a:lnTo>
                  <a:pt x="496" y="1613"/>
                </a:lnTo>
                <a:lnTo>
                  <a:pt x="500" y="1614"/>
                </a:lnTo>
                <a:lnTo>
                  <a:pt x="502" y="1611"/>
                </a:lnTo>
                <a:lnTo>
                  <a:pt x="503" y="1608"/>
                </a:lnTo>
                <a:lnTo>
                  <a:pt x="505" y="1607"/>
                </a:lnTo>
                <a:lnTo>
                  <a:pt x="508" y="1607"/>
                </a:lnTo>
                <a:lnTo>
                  <a:pt x="528" y="1611"/>
                </a:lnTo>
                <a:lnTo>
                  <a:pt x="543" y="1606"/>
                </a:lnTo>
                <a:lnTo>
                  <a:pt x="548" y="1600"/>
                </a:lnTo>
                <a:lnTo>
                  <a:pt x="556" y="1601"/>
                </a:lnTo>
                <a:lnTo>
                  <a:pt x="567" y="1600"/>
                </a:lnTo>
                <a:lnTo>
                  <a:pt x="578" y="1599"/>
                </a:lnTo>
                <a:lnTo>
                  <a:pt x="612" y="1601"/>
                </a:lnTo>
                <a:lnTo>
                  <a:pt x="646" y="1598"/>
                </a:lnTo>
                <a:lnTo>
                  <a:pt x="646" y="1595"/>
                </a:lnTo>
                <a:lnTo>
                  <a:pt x="646" y="1593"/>
                </a:lnTo>
                <a:lnTo>
                  <a:pt x="621" y="1594"/>
                </a:lnTo>
                <a:lnTo>
                  <a:pt x="595" y="1596"/>
                </a:lnTo>
                <a:lnTo>
                  <a:pt x="585" y="1595"/>
                </a:lnTo>
                <a:lnTo>
                  <a:pt x="579" y="1587"/>
                </a:lnTo>
                <a:lnTo>
                  <a:pt x="587" y="1586"/>
                </a:lnTo>
                <a:lnTo>
                  <a:pt x="593" y="1586"/>
                </a:lnTo>
                <a:lnTo>
                  <a:pt x="594" y="1587"/>
                </a:lnTo>
                <a:lnTo>
                  <a:pt x="594" y="1587"/>
                </a:lnTo>
                <a:lnTo>
                  <a:pt x="605" y="1589"/>
                </a:lnTo>
                <a:lnTo>
                  <a:pt x="616" y="1587"/>
                </a:lnTo>
                <a:lnTo>
                  <a:pt x="654" y="1585"/>
                </a:lnTo>
                <a:lnTo>
                  <a:pt x="693" y="1586"/>
                </a:lnTo>
                <a:lnTo>
                  <a:pt x="669" y="1592"/>
                </a:lnTo>
                <a:lnTo>
                  <a:pt x="646" y="1593"/>
                </a:lnTo>
                <a:lnTo>
                  <a:pt x="646" y="1595"/>
                </a:lnTo>
                <a:lnTo>
                  <a:pt x="646" y="1598"/>
                </a:lnTo>
                <a:lnTo>
                  <a:pt x="653" y="1596"/>
                </a:lnTo>
                <a:lnTo>
                  <a:pt x="661" y="1596"/>
                </a:lnTo>
                <a:close/>
                <a:moveTo>
                  <a:pt x="643" y="1705"/>
                </a:moveTo>
                <a:lnTo>
                  <a:pt x="643" y="1706"/>
                </a:lnTo>
                <a:lnTo>
                  <a:pt x="645" y="1706"/>
                </a:lnTo>
                <a:lnTo>
                  <a:pt x="643" y="1706"/>
                </a:lnTo>
                <a:lnTo>
                  <a:pt x="643" y="1705"/>
                </a:lnTo>
                <a:close/>
                <a:moveTo>
                  <a:pt x="2177" y="1571"/>
                </a:moveTo>
                <a:lnTo>
                  <a:pt x="2176" y="1570"/>
                </a:lnTo>
                <a:lnTo>
                  <a:pt x="2176" y="1570"/>
                </a:lnTo>
                <a:lnTo>
                  <a:pt x="2176" y="1571"/>
                </a:lnTo>
                <a:lnTo>
                  <a:pt x="2176" y="1570"/>
                </a:lnTo>
                <a:lnTo>
                  <a:pt x="2176" y="1570"/>
                </a:lnTo>
                <a:lnTo>
                  <a:pt x="2176" y="1570"/>
                </a:lnTo>
                <a:lnTo>
                  <a:pt x="2166" y="1559"/>
                </a:lnTo>
                <a:lnTo>
                  <a:pt x="2157" y="1547"/>
                </a:lnTo>
                <a:lnTo>
                  <a:pt x="2150" y="1547"/>
                </a:lnTo>
                <a:lnTo>
                  <a:pt x="2144" y="1547"/>
                </a:lnTo>
                <a:lnTo>
                  <a:pt x="2142" y="1540"/>
                </a:lnTo>
                <a:lnTo>
                  <a:pt x="2136" y="1541"/>
                </a:lnTo>
                <a:lnTo>
                  <a:pt x="2133" y="1542"/>
                </a:lnTo>
                <a:lnTo>
                  <a:pt x="2130" y="1542"/>
                </a:lnTo>
                <a:lnTo>
                  <a:pt x="2125" y="1542"/>
                </a:lnTo>
                <a:lnTo>
                  <a:pt x="2123" y="1538"/>
                </a:lnTo>
                <a:lnTo>
                  <a:pt x="2125" y="1534"/>
                </a:lnTo>
                <a:lnTo>
                  <a:pt x="2130" y="1535"/>
                </a:lnTo>
                <a:lnTo>
                  <a:pt x="2141" y="1533"/>
                </a:lnTo>
                <a:lnTo>
                  <a:pt x="2154" y="1532"/>
                </a:lnTo>
                <a:lnTo>
                  <a:pt x="2147" y="1523"/>
                </a:lnTo>
                <a:lnTo>
                  <a:pt x="2157" y="1518"/>
                </a:lnTo>
                <a:lnTo>
                  <a:pt x="2157" y="1528"/>
                </a:lnTo>
                <a:lnTo>
                  <a:pt x="2158" y="1538"/>
                </a:lnTo>
                <a:lnTo>
                  <a:pt x="2159" y="1541"/>
                </a:lnTo>
                <a:lnTo>
                  <a:pt x="2164" y="1542"/>
                </a:lnTo>
                <a:lnTo>
                  <a:pt x="2166" y="1539"/>
                </a:lnTo>
                <a:lnTo>
                  <a:pt x="2165" y="1534"/>
                </a:lnTo>
                <a:lnTo>
                  <a:pt x="2163" y="1521"/>
                </a:lnTo>
                <a:lnTo>
                  <a:pt x="2166" y="1506"/>
                </a:lnTo>
                <a:lnTo>
                  <a:pt x="2165" y="1503"/>
                </a:lnTo>
                <a:lnTo>
                  <a:pt x="2164" y="1502"/>
                </a:lnTo>
                <a:lnTo>
                  <a:pt x="2151" y="1498"/>
                </a:lnTo>
                <a:lnTo>
                  <a:pt x="2137" y="1498"/>
                </a:lnTo>
                <a:lnTo>
                  <a:pt x="2130" y="1501"/>
                </a:lnTo>
                <a:lnTo>
                  <a:pt x="2121" y="1501"/>
                </a:lnTo>
                <a:lnTo>
                  <a:pt x="2070" y="1498"/>
                </a:lnTo>
                <a:lnTo>
                  <a:pt x="2018" y="1498"/>
                </a:lnTo>
                <a:lnTo>
                  <a:pt x="2013" y="1499"/>
                </a:lnTo>
                <a:lnTo>
                  <a:pt x="2009" y="1504"/>
                </a:lnTo>
                <a:lnTo>
                  <a:pt x="2021" y="1503"/>
                </a:lnTo>
                <a:lnTo>
                  <a:pt x="2034" y="1504"/>
                </a:lnTo>
                <a:lnTo>
                  <a:pt x="2026" y="1508"/>
                </a:lnTo>
                <a:lnTo>
                  <a:pt x="2018" y="1507"/>
                </a:lnTo>
                <a:lnTo>
                  <a:pt x="2012" y="1507"/>
                </a:lnTo>
                <a:lnTo>
                  <a:pt x="2007" y="1511"/>
                </a:lnTo>
                <a:lnTo>
                  <a:pt x="2005" y="1523"/>
                </a:lnTo>
                <a:lnTo>
                  <a:pt x="2006" y="1532"/>
                </a:lnTo>
                <a:lnTo>
                  <a:pt x="2010" y="1556"/>
                </a:lnTo>
                <a:lnTo>
                  <a:pt x="2015" y="1577"/>
                </a:lnTo>
                <a:lnTo>
                  <a:pt x="2009" y="1578"/>
                </a:lnTo>
                <a:lnTo>
                  <a:pt x="2004" y="1583"/>
                </a:lnTo>
                <a:lnTo>
                  <a:pt x="2000" y="1601"/>
                </a:lnTo>
                <a:lnTo>
                  <a:pt x="2005" y="1620"/>
                </a:lnTo>
                <a:lnTo>
                  <a:pt x="2005" y="1610"/>
                </a:lnTo>
                <a:lnTo>
                  <a:pt x="2006" y="1601"/>
                </a:lnTo>
                <a:lnTo>
                  <a:pt x="2010" y="1604"/>
                </a:lnTo>
                <a:lnTo>
                  <a:pt x="2012" y="1605"/>
                </a:lnTo>
                <a:lnTo>
                  <a:pt x="2026" y="1605"/>
                </a:lnTo>
                <a:lnTo>
                  <a:pt x="2038" y="1599"/>
                </a:lnTo>
                <a:lnTo>
                  <a:pt x="2044" y="1595"/>
                </a:lnTo>
                <a:lnTo>
                  <a:pt x="2051" y="1601"/>
                </a:lnTo>
                <a:lnTo>
                  <a:pt x="2056" y="1598"/>
                </a:lnTo>
                <a:lnTo>
                  <a:pt x="2063" y="1595"/>
                </a:lnTo>
                <a:lnTo>
                  <a:pt x="2087" y="1599"/>
                </a:lnTo>
                <a:lnTo>
                  <a:pt x="2110" y="1592"/>
                </a:lnTo>
                <a:lnTo>
                  <a:pt x="2104" y="1588"/>
                </a:lnTo>
                <a:lnTo>
                  <a:pt x="2098" y="1584"/>
                </a:lnTo>
                <a:lnTo>
                  <a:pt x="2112" y="1583"/>
                </a:lnTo>
                <a:lnTo>
                  <a:pt x="2125" y="1589"/>
                </a:lnTo>
                <a:lnTo>
                  <a:pt x="2125" y="1596"/>
                </a:lnTo>
                <a:lnTo>
                  <a:pt x="2127" y="1605"/>
                </a:lnTo>
                <a:lnTo>
                  <a:pt x="2125" y="1615"/>
                </a:lnTo>
                <a:lnTo>
                  <a:pt x="2128" y="1626"/>
                </a:lnTo>
                <a:lnTo>
                  <a:pt x="2132" y="1617"/>
                </a:lnTo>
                <a:lnTo>
                  <a:pt x="2140" y="1616"/>
                </a:lnTo>
                <a:lnTo>
                  <a:pt x="2143" y="1616"/>
                </a:lnTo>
                <a:lnTo>
                  <a:pt x="2147" y="1615"/>
                </a:lnTo>
                <a:lnTo>
                  <a:pt x="2154" y="1613"/>
                </a:lnTo>
                <a:lnTo>
                  <a:pt x="2158" y="1619"/>
                </a:lnTo>
                <a:lnTo>
                  <a:pt x="2161" y="1625"/>
                </a:lnTo>
                <a:lnTo>
                  <a:pt x="2167" y="1628"/>
                </a:lnTo>
                <a:lnTo>
                  <a:pt x="2174" y="1622"/>
                </a:lnTo>
                <a:lnTo>
                  <a:pt x="2178" y="1613"/>
                </a:lnTo>
                <a:lnTo>
                  <a:pt x="2179" y="1610"/>
                </a:lnTo>
                <a:lnTo>
                  <a:pt x="2180" y="1607"/>
                </a:lnTo>
                <a:lnTo>
                  <a:pt x="2183" y="1607"/>
                </a:lnTo>
                <a:lnTo>
                  <a:pt x="2184" y="1607"/>
                </a:lnTo>
                <a:lnTo>
                  <a:pt x="2198" y="1623"/>
                </a:lnTo>
                <a:lnTo>
                  <a:pt x="2210" y="1640"/>
                </a:lnTo>
                <a:lnTo>
                  <a:pt x="2212" y="1645"/>
                </a:lnTo>
                <a:lnTo>
                  <a:pt x="2217" y="1646"/>
                </a:lnTo>
                <a:lnTo>
                  <a:pt x="2242" y="1647"/>
                </a:lnTo>
                <a:lnTo>
                  <a:pt x="2267" y="1645"/>
                </a:lnTo>
                <a:lnTo>
                  <a:pt x="2278" y="1646"/>
                </a:lnTo>
                <a:lnTo>
                  <a:pt x="2285" y="1635"/>
                </a:lnTo>
                <a:lnTo>
                  <a:pt x="2288" y="1641"/>
                </a:lnTo>
                <a:lnTo>
                  <a:pt x="2292" y="1646"/>
                </a:lnTo>
                <a:lnTo>
                  <a:pt x="2299" y="1641"/>
                </a:lnTo>
                <a:lnTo>
                  <a:pt x="2300" y="1635"/>
                </a:lnTo>
                <a:lnTo>
                  <a:pt x="2302" y="1630"/>
                </a:lnTo>
                <a:lnTo>
                  <a:pt x="2307" y="1629"/>
                </a:lnTo>
                <a:lnTo>
                  <a:pt x="2317" y="1625"/>
                </a:lnTo>
                <a:lnTo>
                  <a:pt x="2320" y="1621"/>
                </a:lnTo>
                <a:lnTo>
                  <a:pt x="2318" y="1607"/>
                </a:lnTo>
                <a:lnTo>
                  <a:pt x="2325" y="1595"/>
                </a:lnTo>
                <a:lnTo>
                  <a:pt x="2330" y="1609"/>
                </a:lnTo>
                <a:lnTo>
                  <a:pt x="2337" y="1611"/>
                </a:lnTo>
                <a:lnTo>
                  <a:pt x="2339" y="1613"/>
                </a:lnTo>
                <a:lnTo>
                  <a:pt x="2340" y="1614"/>
                </a:lnTo>
                <a:lnTo>
                  <a:pt x="2343" y="1604"/>
                </a:lnTo>
                <a:lnTo>
                  <a:pt x="2347" y="1594"/>
                </a:lnTo>
                <a:lnTo>
                  <a:pt x="2348" y="1606"/>
                </a:lnTo>
                <a:lnTo>
                  <a:pt x="2350" y="1616"/>
                </a:lnTo>
                <a:lnTo>
                  <a:pt x="2354" y="1621"/>
                </a:lnTo>
                <a:lnTo>
                  <a:pt x="2361" y="1623"/>
                </a:lnTo>
                <a:lnTo>
                  <a:pt x="2366" y="1622"/>
                </a:lnTo>
                <a:lnTo>
                  <a:pt x="2369" y="1618"/>
                </a:lnTo>
                <a:lnTo>
                  <a:pt x="2370" y="1615"/>
                </a:lnTo>
                <a:lnTo>
                  <a:pt x="2373" y="1613"/>
                </a:lnTo>
                <a:lnTo>
                  <a:pt x="2393" y="1605"/>
                </a:lnTo>
                <a:lnTo>
                  <a:pt x="2414" y="1608"/>
                </a:lnTo>
                <a:lnTo>
                  <a:pt x="2416" y="1608"/>
                </a:lnTo>
                <a:lnTo>
                  <a:pt x="2418" y="1607"/>
                </a:lnTo>
                <a:lnTo>
                  <a:pt x="2421" y="1596"/>
                </a:lnTo>
                <a:lnTo>
                  <a:pt x="2422" y="1586"/>
                </a:lnTo>
                <a:lnTo>
                  <a:pt x="2419" y="1584"/>
                </a:lnTo>
                <a:lnTo>
                  <a:pt x="2412" y="1583"/>
                </a:lnTo>
                <a:lnTo>
                  <a:pt x="2365" y="1580"/>
                </a:lnTo>
                <a:lnTo>
                  <a:pt x="2318" y="1580"/>
                </a:lnTo>
                <a:lnTo>
                  <a:pt x="2302" y="1580"/>
                </a:lnTo>
                <a:lnTo>
                  <a:pt x="2285" y="1579"/>
                </a:lnTo>
                <a:lnTo>
                  <a:pt x="2282" y="1579"/>
                </a:lnTo>
                <a:lnTo>
                  <a:pt x="2279" y="1577"/>
                </a:lnTo>
                <a:lnTo>
                  <a:pt x="2280" y="1573"/>
                </a:lnTo>
                <a:lnTo>
                  <a:pt x="2285" y="1572"/>
                </a:lnTo>
                <a:lnTo>
                  <a:pt x="2287" y="1572"/>
                </a:lnTo>
                <a:lnTo>
                  <a:pt x="2289" y="1572"/>
                </a:lnTo>
                <a:lnTo>
                  <a:pt x="2341" y="1575"/>
                </a:lnTo>
                <a:lnTo>
                  <a:pt x="2394" y="1576"/>
                </a:lnTo>
                <a:lnTo>
                  <a:pt x="2400" y="1573"/>
                </a:lnTo>
                <a:lnTo>
                  <a:pt x="2404" y="1567"/>
                </a:lnTo>
                <a:lnTo>
                  <a:pt x="2404" y="1561"/>
                </a:lnTo>
                <a:lnTo>
                  <a:pt x="2397" y="1561"/>
                </a:lnTo>
                <a:lnTo>
                  <a:pt x="2395" y="1560"/>
                </a:lnTo>
                <a:lnTo>
                  <a:pt x="2395" y="1557"/>
                </a:lnTo>
                <a:lnTo>
                  <a:pt x="2396" y="1555"/>
                </a:lnTo>
                <a:lnTo>
                  <a:pt x="2397" y="1554"/>
                </a:lnTo>
                <a:lnTo>
                  <a:pt x="2409" y="1554"/>
                </a:lnTo>
                <a:lnTo>
                  <a:pt x="2422" y="1557"/>
                </a:lnTo>
                <a:lnTo>
                  <a:pt x="2430" y="1565"/>
                </a:lnTo>
                <a:lnTo>
                  <a:pt x="2439" y="1575"/>
                </a:lnTo>
                <a:lnTo>
                  <a:pt x="2439" y="1565"/>
                </a:lnTo>
                <a:lnTo>
                  <a:pt x="2438" y="1558"/>
                </a:lnTo>
                <a:lnTo>
                  <a:pt x="2436" y="1549"/>
                </a:lnTo>
                <a:lnTo>
                  <a:pt x="2426" y="1546"/>
                </a:lnTo>
                <a:lnTo>
                  <a:pt x="2415" y="1546"/>
                </a:lnTo>
                <a:lnTo>
                  <a:pt x="2407" y="1542"/>
                </a:lnTo>
                <a:lnTo>
                  <a:pt x="2409" y="1539"/>
                </a:lnTo>
                <a:lnTo>
                  <a:pt x="2412" y="1538"/>
                </a:lnTo>
                <a:lnTo>
                  <a:pt x="2421" y="1538"/>
                </a:lnTo>
                <a:lnTo>
                  <a:pt x="2430" y="1538"/>
                </a:lnTo>
                <a:lnTo>
                  <a:pt x="2439" y="1537"/>
                </a:lnTo>
                <a:lnTo>
                  <a:pt x="2437" y="1527"/>
                </a:lnTo>
                <a:lnTo>
                  <a:pt x="2432" y="1496"/>
                </a:lnTo>
                <a:lnTo>
                  <a:pt x="2436" y="1464"/>
                </a:lnTo>
                <a:lnTo>
                  <a:pt x="2436" y="1462"/>
                </a:lnTo>
                <a:lnTo>
                  <a:pt x="2435" y="1460"/>
                </a:lnTo>
                <a:lnTo>
                  <a:pt x="2430" y="1449"/>
                </a:lnTo>
                <a:lnTo>
                  <a:pt x="2429" y="1437"/>
                </a:lnTo>
                <a:lnTo>
                  <a:pt x="2427" y="1403"/>
                </a:lnTo>
                <a:lnTo>
                  <a:pt x="2425" y="1369"/>
                </a:lnTo>
                <a:lnTo>
                  <a:pt x="2422" y="1357"/>
                </a:lnTo>
                <a:lnTo>
                  <a:pt x="2431" y="1347"/>
                </a:lnTo>
                <a:lnTo>
                  <a:pt x="2432" y="1346"/>
                </a:lnTo>
                <a:lnTo>
                  <a:pt x="2432" y="1343"/>
                </a:lnTo>
                <a:lnTo>
                  <a:pt x="2431" y="1331"/>
                </a:lnTo>
                <a:lnTo>
                  <a:pt x="2428" y="1319"/>
                </a:lnTo>
                <a:lnTo>
                  <a:pt x="2427" y="1330"/>
                </a:lnTo>
                <a:lnTo>
                  <a:pt x="2426" y="1340"/>
                </a:lnTo>
                <a:lnTo>
                  <a:pt x="2422" y="1338"/>
                </a:lnTo>
                <a:lnTo>
                  <a:pt x="2421" y="1333"/>
                </a:lnTo>
                <a:lnTo>
                  <a:pt x="2412" y="1300"/>
                </a:lnTo>
                <a:lnTo>
                  <a:pt x="2388" y="1274"/>
                </a:lnTo>
                <a:lnTo>
                  <a:pt x="2383" y="1269"/>
                </a:lnTo>
                <a:lnTo>
                  <a:pt x="2377" y="1268"/>
                </a:lnTo>
                <a:lnTo>
                  <a:pt x="2377" y="1268"/>
                </a:lnTo>
                <a:lnTo>
                  <a:pt x="2377" y="1268"/>
                </a:lnTo>
                <a:lnTo>
                  <a:pt x="2371" y="1268"/>
                </a:lnTo>
                <a:lnTo>
                  <a:pt x="2367" y="1267"/>
                </a:lnTo>
                <a:lnTo>
                  <a:pt x="2333" y="1268"/>
                </a:lnTo>
                <a:lnTo>
                  <a:pt x="2307" y="1289"/>
                </a:lnTo>
                <a:lnTo>
                  <a:pt x="2292" y="1319"/>
                </a:lnTo>
                <a:lnTo>
                  <a:pt x="2286" y="1350"/>
                </a:lnTo>
                <a:lnTo>
                  <a:pt x="2284" y="1359"/>
                </a:lnTo>
                <a:lnTo>
                  <a:pt x="2292" y="1364"/>
                </a:lnTo>
                <a:lnTo>
                  <a:pt x="2293" y="1368"/>
                </a:lnTo>
                <a:lnTo>
                  <a:pt x="2291" y="1371"/>
                </a:lnTo>
                <a:lnTo>
                  <a:pt x="2284" y="1385"/>
                </a:lnTo>
                <a:lnTo>
                  <a:pt x="2285" y="1401"/>
                </a:lnTo>
                <a:lnTo>
                  <a:pt x="2289" y="1437"/>
                </a:lnTo>
                <a:lnTo>
                  <a:pt x="2287" y="1473"/>
                </a:lnTo>
                <a:lnTo>
                  <a:pt x="2276" y="1478"/>
                </a:lnTo>
                <a:lnTo>
                  <a:pt x="2269" y="1485"/>
                </a:lnTo>
                <a:lnTo>
                  <a:pt x="2278" y="1487"/>
                </a:lnTo>
                <a:lnTo>
                  <a:pt x="2287" y="1492"/>
                </a:lnTo>
                <a:lnTo>
                  <a:pt x="2249" y="1493"/>
                </a:lnTo>
                <a:lnTo>
                  <a:pt x="2213" y="1496"/>
                </a:lnTo>
                <a:lnTo>
                  <a:pt x="2211" y="1496"/>
                </a:lnTo>
                <a:lnTo>
                  <a:pt x="2209" y="1497"/>
                </a:lnTo>
                <a:lnTo>
                  <a:pt x="2199" y="1497"/>
                </a:lnTo>
                <a:lnTo>
                  <a:pt x="2189" y="1497"/>
                </a:lnTo>
                <a:lnTo>
                  <a:pt x="2181" y="1497"/>
                </a:lnTo>
                <a:lnTo>
                  <a:pt x="2177" y="1502"/>
                </a:lnTo>
                <a:lnTo>
                  <a:pt x="2181" y="1506"/>
                </a:lnTo>
                <a:lnTo>
                  <a:pt x="2186" y="1507"/>
                </a:lnTo>
                <a:lnTo>
                  <a:pt x="2187" y="1508"/>
                </a:lnTo>
                <a:lnTo>
                  <a:pt x="2187" y="1508"/>
                </a:lnTo>
                <a:lnTo>
                  <a:pt x="2183" y="1510"/>
                </a:lnTo>
                <a:lnTo>
                  <a:pt x="2184" y="1512"/>
                </a:lnTo>
                <a:lnTo>
                  <a:pt x="2187" y="1516"/>
                </a:lnTo>
                <a:lnTo>
                  <a:pt x="2183" y="1517"/>
                </a:lnTo>
                <a:lnTo>
                  <a:pt x="2176" y="1523"/>
                </a:lnTo>
                <a:lnTo>
                  <a:pt x="2168" y="1529"/>
                </a:lnTo>
                <a:lnTo>
                  <a:pt x="2172" y="1532"/>
                </a:lnTo>
                <a:lnTo>
                  <a:pt x="2176" y="1537"/>
                </a:lnTo>
                <a:lnTo>
                  <a:pt x="2176" y="1538"/>
                </a:lnTo>
                <a:lnTo>
                  <a:pt x="2177" y="1538"/>
                </a:lnTo>
                <a:lnTo>
                  <a:pt x="2176" y="1538"/>
                </a:lnTo>
                <a:lnTo>
                  <a:pt x="2176" y="1537"/>
                </a:lnTo>
                <a:lnTo>
                  <a:pt x="2173" y="1540"/>
                </a:lnTo>
                <a:lnTo>
                  <a:pt x="2176" y="1542"/>
                </a:lnTo>
                <a:lnTo>
                  <a:pt x="2177" y="1542"/>
                </a:lnTo>
                <a:lnTo>
                  <a:pt x="2179" y="1542"/>
                </a:lnTo>
                <a:lnTo>
                  <a:pt x="2178" y="1540"/>
                </a:lnTo>
                <a:lnTo>
                  <a:pt x="2177" y="1538"/>
                </a:lnTo>
                <a:lnTo>
                  <a:pt x="2180" y="1535"/>
                </a:lnTo>
                <a:lnTo>
                  <a:pt x="2182" y="1533"/>
                </a:lnTo>
                <a:lnTo>
                  <a:pt x="2191" y="1523"/>
                </a:lnTo>
                <a:lnTo>
                  <a:pt x="2204" y="1525"/>
                </a:lnTo>
                <a:lnTo>
                  <a:pt x="2198" y="1530"/>
                </a:lnTo>
                <a:lnTo>
                  <a:pt x="2195" y="1538"/>
                </a:lnTo>
                <a:lnTo>
                  <a:pt x="2201" y="1540"/>
                </a:lnTo>
                <a:lnTo>
                  <a:pt x="2206" y="1542"/>
                </a:lnTo>
                <a:lnTo>
                  <a:pt x="2209" y="1546"/>
                </a:lnTo>
                <a:lnTo>
                  <a:pt x="2206" y="1549"/>
                </a:lnTo>
                <a:lnTo>
                  <a:pt x="2200" y="1555"/>
                </a:lnTo>
                <a:lnTo>
                  <a:pt x="2203" y="1560"/>
                </a:lnTo>
                <a:lnTo>
                  <a:pt x="2208" y="1565"/>
                </a:lnTo>
                <a:lnTo>
                  <a:pt x="2212" y="1572"/>
                </a:lnTo>
                <a:lnTo>
                  <a:pt x="2213" y="1577"/>
                </a:lnTo>
                <a:lnTo>
                  <a:pt x="2209" y="1580"/>
                </a:lnTo>
                <a:lnTo>
                  <a:pt x="2167" y="1580"/>
                </a:lnTo>
                <a:lnTo>
                  <a:pt x="2125" y="1579"/>
                </a:lnTo>
                <a:lnTo>
                  <a:pt x="2124" y="1579"/>
                </a:lnTo>
                <a:lnTo>
                  <a:pt x="2123" y="1578"/>
                </a:lnTo>
                <a:lnTo>
                  <a:pt x="2108" y="1575"/>
                </a:lnTo>
                <a:lnTo>
                  <a:pt x="2093" y="1577"/>
                </a:lnTo>
                <a:lnTo>
                  <a:pt x="2057" y="1577"/>
                </a:lnTo>
                <a:lnTo>
                  <a:pt x="2021" y="1577"/>
                </a:lnTo>
                <a:lnTo>
                  <a:pt x="2027" y="1573"/>
                </a:lnTo>
                <a:lnTo>
                  <a:pt x="2034" y="1571"/>
                </a:lnTo>
                <a:lnTo>
                  <a:pt x="2027" y="1569"/>
                </a:lnTo>
                <a:lnTo>
                  <a:pt x="2020" y="1567"/>
                </a:lnTo>
                <a:lnTo>
                  <a:pt x="2037" y="1563"/>
                </a:lnTo>
                <a:lnTo>
                  <a:pt x="2056" y="1564"/>
                </a:lnTo>
                <a:lnTo>
                  <a:pt x="2045" y="1560"/>
                </a:lnTo>
                <a:lnTo>
                  <a:pt x="2034" y="1559"/>
                </a:lnTo>
                <a:lnTo>
                  <a:pt x="2030" y="1558"/>
                </a:lnTo>
                <a:lnTo>
                  <a:pt x="2028" y="1556"/>
                </a:lnTo>
                <a:lnTo>
                  <a:pt x="2028" y="1553"/>
                </a:lnTo>
                <a:lnTo>
                  <a:pt x="2031" y="1550"/>
                </a:lnTo>
                <a:lnTo>
                  <a:pt x="2033" y="1547"/>
                </a:lnTo>
                <a:lnTo>
                  <a:pt x="2030" y="1546"/>
                </a:lnTo>
                <a:lnTo>
                  <a:pt x="2024" y="1537"/>
                </a:lnTo>
                <a:lnTo>
                  <a:pt x="2021" y="1525"/>
                </a:lnTo>
                <a:lnTo>
                  <a:pt x="2027" y="1523"/>
                </a:lnTo>
                <a:lnTo>
                  <a:pt x="2032" y="1523"/>
                </a:lnTo>
                <a:lnTo>
                  <a:pt x="2030" y="1517"/>
                </a:lnTo>
                <a:lnTo>
                  <a:pt x="2029" y="1512"/>
                </a:lnTo>
                <a:lnTo>
                  <a:pt x="2043" y="1513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3"/>
                </a:lnTo>
                <a:lnTo>
                  <a:pt x="2053" y="1523"/>
                </a:lnTo>
                <a:lnTo>
                  <a:pt x="2053" y="1523"/>
                </a:lnTo>
                <a:lnTo>
                  <a:pt x="2053" y="1522"/>
                </a:lnTo>
                <a:lnTo>
                  <a:pt x="2053" y="1522"/>
                </a:lnTo>
                <a:lnTo>
                  <a:pt x="2053" y="1523"/>
                </a:lnTo>
                <a:lnTo>
                  <a:pt x="2053" y="1522"/>
                </a:lnTo>
                <a:lnTo>
                  <a:pt x="2053" y="1522"/>
                </a:lnTo>
                <a:lnTo>
                  <a:pt x="2074" y="1524"/>
                </a:lnTo>
                <a:lnTo>
                  <a:pt x="2093" y="1516"/>
                </a:lnTo>
                <a:lnTo>
                  <a:pt x="2100" y="1514"/>
                </a:lnTo>
                <a:lnTo>
                  <a:pt x="2104" y="1517"/>
                </a:lnTo>
                <a:lnTo>
                  <a:pt x="2109" y="1524"/>
                </a:lnTo>
                <a:lnTo>
                  <a:pt x="2118" y="1525"/>
                </a:lnTo>
                <a:lnTo>
                  <a:pt x="2110" y="1527"/>
                </a:lnTo>
                <a:lnTo>
                  <a:pt x="2105" y="1532"/>
                </a:lnTo>
                <a:lnTo>
                  <a:pt x="2110" y="1537"/>
                </a:lnTo>
                <a:lnTo>
                  <a:pt x="2117" y="1538"/>
                </a:lnTo>
                <a:lnTo>
                  <a:pt x="2116" y="1543"/>
                </a:lnTo>
                <a:lnTo>
                  <a:pt x="2110" y="1547"/>
                </a:lnTo>
                <a:lnTo>
                  <a:pt x="2105" y="1546"/>
                </a:lnTo>
                <a:lnTo>
                  <a:pt x="2100" y="1548"/>
                </a:lnTo>
                <a:lnTo>
                  <a:pt x="2104" y="1552"/>
                </a:lnTo>
                <a:lnTo>
                  <a:pt x="2105" y="1556"/>
                </a:lnTo>
                <a:lnTo>
                  <a:pt x="2102" y="1558"/>
                </a:lnTo>
                <a:lnTo>
                  <a:pt x="2096" y="1558"/>
                </a:lnTo>
                <a:lnTo>
                  <a:pt x="2095" y="1558"/>
                </a:lnTo>
                <a:lnTo>
                  <a:pt x="2093" y="1558"/>
                </a:lnTo>
                <a:lnTo>
                  <a:pt x="2089" y="1558"/>
                </a:lnTo>
                <a:lnTo>
                  <a:pt x="2086" y="1561"/>
                </a:lnTo>
                <a:lnTo>
                  <a:pt x="2088" y="1567"/>
                </a:lnTo>
                <a:lnTo>
                  <a:pt x="2093" y="1568"/>
                </a:lnTo>
                <a:lnTo>
                  <a:pt x="2104" y="1568"/>
                </a:lnTo>
                <a:lnTo>
                  <a:pt x="2113" y="1569"/>
                </a:lnTo>
                <a:lnTo>
                  <a:pt x="2144" y="1574"/>
                </a:lnTo>
                <a:lnTo>
                  <a:pt x="2176" y="1570"/>
                </a:lnTo>
                <a:lnTo>
                  <a:pt x="2176" y="1571"/>
                </a:lnTo>
                <a:lnTo>
                  <a:pt x="2176" y="1571"/>
                </a:lnTo>
                <a:lnTo>
                  <a:pt x="2177" y="1571"/>
                </a:lnTo>
                <a:close/>
                <a:moveTo>
                  <a:pt x="1074" y="505"/>
                </a:moveTo>
                <a:lnTo>
                  <a:pt x="1074" y="504"/>
                </a:lnTo>
                <a:lnTo>
                  <a:pt x="1074" y="504"/>
                </a:lnTo>
                <a:lnTo>
                  <a:pt x="1074" y="505"/>
                </a:lnTo>
                <a:close/>
                <a:moveTo>
                  <a:pt x="2154" y="911"/>
                </a:moveTo>
                <a:lnTo>
                  <a:pt x="2155" y="912"/>
                </a:lnTo>
                <a:lnTo>
                  <a:pt x="2155" y="912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3"/>
                </a:lnTo>
                <a:lnTo>
                  <a:pt x="2155" y="912"/>
                </a:lnTo>
                <a:lnTo>
                  <a:pt x="2155" y="911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79" y="916"/>
                </a:lnTo>
                <a:lnTo>
                  <a:pt x="2202" y="917"/>
                </a:lnTo>
                <a:lnTo>
                  <a:pt x="2213" y="916"/>
                </a:lnTo>
                <a:lnTo>
                  <a:pt x="2217" y="906"/>
                </a:lnTo>
                <a:lnTo>
                  <a:pt x="2217" y="902"/>
                </a:lnTo>
                <a:lnTo>
                  <a:pt x="2219" y="900"/>
                </a:lnTo>
                <a:lnTo>
                  <a:pt x="2242" y="900"/>
                </a:lnTo>
                <a:lnTo>
                  <a:pt x="2262" y="903"/>
                </a:lnTo>
                <a:lnTo>
                  <a:pt x="2274" y="907"/>
                </a:lnTo>
                <a:lnTo>
                  <a:pt x="2285" y="907"/>
                </a:lnTo>
                <a:lnTo>
                  <a:pt x="2288" y="918"/>
                </a:lnTo>
                <a:lnTo>
                  <a:pt x="2299" y="921"/>
                </a:lnTo>
                <a:lnTo>
                  <a:pt x="2313" y="922"/>
                </a:lnTo>
                <a:lnTo>
                  <a:pt x="2325" y="922"/>
                </a:lnTo>
                <a:lnTo>
                  <a:pt x="2332" y="925"/>
                </a:lnTo>
                <a:lnTo>
                  <a:pt x="2334" y="930"/>
                </a:lnTo>
                <a:lnTo>
                  <a:pt x="2337" y="965"/>
                </a:lnTo>
                <a:lnTo>
                  <a:pt x="2339" y="999"/>
                </a:lnTo>
                <a:lnTo>
                  <a:pt x="2345" y="1007"/>
                </a:lnTo>
                <a:lnTo>
                  <a:pt x="2353" y="1008"/>
                </a:lnTo>
                <a:lnTo>
                  <a:pt x="2359" y="1004"/>
                </a:lnTo>
                <a:lnTo>
                  <a:pt x="2359" y="997"/>
                </a:lnTo>
                <a:lnTo>
                  <a:pt x="2354" y="952"/>
                </a:lnTo>
                <a:lnTo>
                  <a:pt x="2353" y="907"/>
                </a:lnTo>
                <a:lnTo>
                  <a:pt x="2355" y="902"/>
                </a:lnTo>
                <a:lnTo>
                  <a:pt x="2362" y="900"/>
                </a:lnTo>
                <a:lnTo>
                  <a:pt x="2363" y="907"/>
                </a:lnTo>
                <a:lnTo>
                  <a:pt x="2364" y="915"/>
                </a:lnTo>
                <a:lnTo>
                  <a:pt x="2364" y="918"/>
                </a:lnTo>
                <a:lnTo>
                  <a:pt x="2366" y="922"/>
                </a:lnTo>
                <a:lnTo>
                  <a:pt x="2366" y="922"/>
                </a:lnTo>
                <a:lnTo>
                  <a:pt x="2367" y="922"/>
                </a:lnTo>
                <a:lnTo>
                  <a:pt x="2366" y="922"/>
                </a:lnTo>
                <a:lnTo>
                  <a:pt x="2366" y="922"/>
                </a:lnTo>
                <a:lnTo>
                  <a:pt x="2366" y="925"/>
                </a:lnTo>
                <a:lnTo>
                  <a:pt x="2367" y="928"/>
                </a:lnTo>
                <a:lnTo>
                  <a:pt x="2365" y="935"/>
                </a:lnTo>
                <a:lnTo>
                  <a:pt x="2361" y="944"/>
                </a:lnTo>
                <a:lnTo>
                  <a:pt x="2367" y="954"/>
                </a:lnTo>
                <a:lnTo>
                  <a:pt x="2369" y="966"/>
                </a:lnTo>
                <a:lnTo>
                  <a:pt x="2374" y="1014"/>
                </a:lnTo>
                <a:lnTo>
                  <a:pt x="2379" y="1063"/>
                </a:lnTo>
                <a:lnTo>
                  <a:pt x="2373" y="1068"/>
                </a:lnTo>
                <a:lnTo>
                  <a:pt x="2365" y="1068"/>
                </a:lnTo>
                <a:lnTo>
                  <a:pt x="2362" y="1068"/>
                </a:lnTo>
                <a:lnTo>
                  <a:pt x="2361" y="1071"/>
                </a:lnTo>
                <a:lnTo>
                  <a:pt x="2363" y="1073"/>
                </a:lnTo>
                <a:lnTo>
                  <a:pt x="2365" y="1073"/>
                </a:lnTo>
                <a:lnTo>
                  <a:pt x="2379" y="1074"/>
                </a:lnTo>
                <a:lnTo>
                  <a:pt x="2391" y="1083"/>
                </a:lnTo>
                <a:lnTo>
                  <a:pt x="2394" y="1101"/>
                </a:lnTo>
                <a:lnTo>
                  <a:pt x="2406" y="1116"/>
                </a:lnTo>
                <a:lnTo>
                  <a:pt x="2407" y="1109"/>
                </a:lnTo>
                <a:lnTo>
                  <a:pt x="2406" y="1102"/>
                </a:lnTo>
                <a:lnTo>
                  <a:pt x="2403" y="1094"/>
                </a:lnTo>
                <a:lnTo>
                  <a:pt x="2403" y="1084"/>
                </a:lnTo>
                <a:lnTo>
                  <a:pt x="2401" y="1082"/>
                </a:lnTo>
                <a:lnTo>
                  <a:pt x="2401" y="1080"/>
                </a:lnTo>
                <a:lnTo>
                  <a:pt x="2401" y="1078"/>
                </a:lnTo>
                <a:lnTo>
                  <a:pt x="2401" y="1075"/>
                </a:lnTo>
                <a:lnTo>
                  <a:pt x="2393" y="1068"/>
                </a:lnTo>
                <a:lnTo>
                  <a:pt x="2383" y="1063"/>
                </a:lnTo>
                <a:lnTo>
                  <a:pt x="2382" y="1058"/>
                </a:lnTo>
                <a:lnTo>
                  <a:pt x="2383" y="1055"/>
                </a:lnTo>
                <a:lnTo>
                  <a:pt x="2386" y="1022"/>
                </a:lnTo>
                <a:lnTo>
                  <a:pt x="2384" y="988"/>
                </a:lnTo>
                <a:lnTo>
                  <a:pt x="2381" y="963"/>
                </a:lnTo>
                <a:lnTo>
                  <a:pt x="2380" y="938"/>
                </a:lnTo>
                <a:lnTo>
                  <a:pt x="2384" y="936"/>
                </a:lnTo>
                <a:lnTo>
                  <a:pt x="2388" y="941"/>
                </a:lnTo>
                <a:lnTo>
                  <a:pt x="2388" y="947"/>
                </a:lnTo>
                <a:lnTo>
                  <a:pt x="2388" y="952"/>
                </a:lnTo>
                <a:lnTo>
                  <a:pt x="2390" y="959"/>
                </a:lnTo>
                <a:lnTo>
                  <a:pt x="2395" y="962"/>
                </a:lnTo>
                <a:lnTo>
                  <a:pt x="2399" y="960"/>
                </a:lnTo>
                <a:lnTo>
                  <a:pt x="2398" y="956"/>
                </a:lnTo>
                <a:lnTo>
                  <a:pt x="2400" y="953"/>
                </a:lnTo>
                <a:lnTo>
                  <a:pt x="2404" y="952"/>
                </a:lnTo>
                <a:lnTo>
                  <a:pt x="2413" y="950"/>
                </a:lnTo>
                <a:lnTo>
                  <a:pt x="2419" y="942"/>
                </a:lnTo>
                <a:lnTo>
                  <a:pt x="2420" y="941"/>
                </a:lnTo>
                <a:lnTo>
                  <a:pt x="2421" y="941"/>
                </a:lnTo>
                <a:lnTo>
                  <a:pt x="2436" y="935"/>
                </a:lnTo>
                <a:lnTo>
                  <a:pt x="2440" y="920"/>
                </a:lnTo>
                <a:lnTo>
                  <a:pt x="2459" y="899"/>
                </a:lnTo>
                <a:lnTo>
                  <a:pt x="2486" y="899"/>
                </a:lnTo>
                <a:lnTo>
                  <a:pt x="2488" y="890"/>
                </a:lnTo>
                <a:lnTo>
                  <a:pt x="2491" y="882"/>
                </a:lnTo>
                <a:lnTo>
                  <a:pt x="2495" y="897"/>
                </a:lnTo>
                <a:lnTo>
                  <a:pt x="2484" y="906"/>
                </a:lnTo>
                <a:lnTo>
                  <a:pt x="2474" y="913"/>
                </a:lnTo>
                <a:lnTo>
                  <a:pt x="2466" y="921"/>
                </a:lnTo>
                <a:lnTo>
                  <a:pt x="2460" y="928"/>
                </a:lnTo>
                <a:lnTo>
                  <a:pt x="2461" y="934"/>
                </a:lnTo>
                <a:lnTo>
                  <a:pt x="2465" y="943"/>
                </a:lnTo>
                <a:lnTo>
                  <a:pt x="2462" y="951"/>
                </a:lnTo>
                <a:lnTo>
                  <a:pt x="2462" y="957"/>
                </a:lnTo>
                <a:lnTo>
                  <a:pt x="2466" y="961"/>
                </a:lnTo>
                <a:lnTo>
                  <a:pt x="2468" y="959"/>
                </a:lnTo>
                <a:lnTo>
                  <a:pt x="2472" y="957"/>
                </a:lnTo>
                <a:lnTo>
                  <a:pt x="2472" y="963"/>
                </a:lnTo>
                <a:lnTo>
                  <a:pt x="2475" y="968"/>
                </a:lnTo>
                <a:lnTo>
                  <a:pt x="2480" y="967"/>
                </a:lnTo>
                <a:lnTo>
                  <a:pt x="2483" y="962"/>
                </a:lnTo>
                <a:lnTo>
                  <a:pt x="2485" y="960"/>
                </a:lnTo>
                <a:lnTo>
                  <a:pt x="2486" y="960"/>
                </a:lnTo>
                <a:lnTo>
                  <a:pt x="2497" y="961"/>
                </a:lnTo>
                <a:lnTo>
                  <a:pt x="2504" y="954"/>
                </a:lnTo>
                <a:lnTo>
                  <a:pt x="2513" y="951"/>
                </a:lnTo>
                <a:lnTo>
                  <a:pt x="2517" y="960"/>
                </a:lnTo>
                <a:lnTo>
                  <a:pt x="2518" y="965"/>
                </a:lnTo>
                <a:lnTo>
                  <a:pt x="2523" y="967"/>
                </a:lnTo>
                <a:lnTo>
                  <a:pt x="2534" y="973"/>
                </a:lnTo>
                <a:lnTo>
                  <a:pt x="2541" y="983"/>
                </a:lnTo>
                <a:lnTo>
                  <a:pt x="2544" y="976"/>
                </a:lnTo>
                <a:lnTo>
                  <a:pt x="2540" y="971"/>
                </a:lnTo>
                <a:lnTo>
                  <a:pt x="2536" y="966"/>
                </a:lnTo>
                <a:lnTo>
                  <a:pt x="2536" y="963"/>
                </a:lnTo>
                <a:lnTo>
                  <a:pt x="2540" y="961"/>
                </a:lnTo>
                <a:lnTo>
                  <a:pt x="2543" y="962"/>
                </a:lnTo>
                <a:lnTo>
                  <a:pt x="2561" y="956"/>
                </a:lnTo>
                <a:lnTo>
                  <a:pt x="2560" y="937"/>
                </a:lnTo>
                <a:lnTo>
                  <a:pt x="2559" y="929"/>
                </a:lnTo>
                <a:lnTo>
                  <a:pt x="2562" y="921"/>
                </a:lnTo>
                <a:lnTo>
                  <a:pt x="2565" y="917"/>
                </a:lnTo>
                <a:lnTo>
                  <a:pt x="2571" y="918"/>
                </a:lnTo>
                <a:lnTo>
                  <a:pt x="2575" y="926"/>
                </a:lnTo>
                <a:lnTo>
                  <a:pt x="2581" y="932"/>
                </a:lnTo>
                <a:lnTo>
                  <a:pt x="2593" y="953"/>
                </a:lnTo>
                <a:lnTo>
                  <a:pt x="2606" y="975"/>
                </a:lnTo>
                <a:lnTo>
                  <a:pt x="2610" y="959"/>
                </a:lnTo>
                <a:lnTo>
                  <a:pt x="2607" y="945"/>
                </a:lnTo>
                <a:lnTo>
                  <a:pt x="2607" y="943"/>
                </a:lnTo>
                <a:lnTo>
                  <a:pt x="2609" y="942"/>
                </a:lnTo>
                <a:lnTo>
                  <a:pt x="2616" y="941"/>
                </a:lnTo>
                <a:lnTo>
                  <a:pt x="2618" y="934"/>
                </a:lnTo>
                <a:lnTo>
                  <a:pt x="2620" y="926"/>
                </a:lnTo>
                <a:lnTo>
                  <a:pt x="2628" y="923"/>
                </a:lnTo>
                <a:lnTo>
                  <a:pt x="2632" y="921"/>
                </a:lnTo>
                <a:lnTo>
                  <a:pt x="2635" y="918"/>
                </a:lnTo>
                <a:lnTo>
                  <a:pt x="2642" y="912"/>
                </a:lnTo>
                <a:lnTo>
                  <a:pt x="2651" y="907"/>
                </a:lnTo>
                <a:lnTo>
                  <a:pt x="2669" y="903"/>
                </a:lnTo>
                <a:lnTo>
                  <a:pt x="2688" y="905"/>
                </a:lnTo>
                <a:lnTo>
                  <a:pt x="2678" y="899"/>
                </a:lnTo>
                <a:lnTo>
                  <a:pt x="2668" y="898"/>
                </a:lnTo>
                <a:lnTo>
                  <a:pt x="2649" y="896"/>
                </a:lnTo>
                <a:lnTo>
                  <a:pt x="2631" y="892"/>
                </a:lnTo>
                <a:lnTo>
                  <a:pt x="2550" y="883"/>
                </a:lnTo>
                <a:lnTo>
                  <a:pt x="2470" y="875"/>
                </a:lnTo>
                <a:lnTo>
                  <a:pt x="2386" y="868"/>
                </a:lnTo>
                <a:lnTo>
                  <a:pt x="2302" y="861"/>
                </a:lnTo>
                <a:lnTo>
                  <a:pt x="2298" y="861"/>
                </a:lnTo>
                <a:lnTo>
                  <a:pt x="2293" y="859"/>
                </a:lnTo>
                <a:lnTo>
                  <a:pt x="2282" y="854"/>
                </a:lnTo>
                <a:lnTo>
                  <a:pt x="2268" y="853"/>
                </a:lnTo>
                <a:lnTo>
                  <a:pt x="2224" y="850"/>
                </a:lnTo>
                <a:lnTo>
                  <a:pt x="2180" y="847"/>
                </a:lnTo>
                <a:lnTo>
                  <a:pt x="2125" y="845"/>
                </a:lnTo>
                <a:lnTo>
                  <a:pt x="2070" y="845"/>
                </a:lnTo>
                <a:lnTo>
                  <a:pt x="2029" y="845"/>
                </a:lnTo>
                <a:lnTo>
                  <a:pt x="1987" y="845"/>
                </a:lnTo>
                <a:lnTo>
                  <a:pt x="1980" y="844"/>
                </a:lnTo>
                <a:lnTo>
                  <a:pt x="1972" y="847"/>
                </a:lnTo>
                <a:lnTo>
                  <a:pt x="1975" y="853"/>
                </a:lnTo>
                <a:lnTo>
                  <a:pt x="1975" y="858"/>
                </a:lnTo>
                <a:lnTo>
                  <a:pt x="1975" y="853"/>
                </a:lnTo>
                <a:lnTo>
                  <a:pt x="1972" y="847"/>
                </a:lnTo>
                <a:lnTo>
                  <a:pt x="1971" y="849"/>
                </a:lnTo>
                <a:lnTo>
                  <a:pt x="1970" y="849"/>
                </a:lnTo>
                <a:lnTo>
                  <a:pt x="1939" y="845"/>
                </a:lnTo>
                <a:lnTo>
                  <a:pt x="1907" y="846"/>
                </a:lnTo>
                <a:lnTo>
                  <a:pt x="1901" y="849"/>
                </a:lnTo>
                <a:lnTo>
                  <a:pt x="1901" y="854"/>
                </a:lnTo>
                <a:lnTo>
                  <a:pt x="1899" y="871"/>
                </a:lnTo>
                <a:lnTo>
                  <a:pt x="1899" y="889"/>
                </a:lnTo>
                <a:lnTo>
                  <a:pt x="1898" y="897"/>
                </a:lnTo>
                <a:lnTo>
                  <a:pt x="1897" y="905"/>
                </a:lnTo>
                <a:lnTo>
                  <a:pt x="1897" y="916"/>
                </a:lnTo>
                <a:lnTo>
                  <a:pt x="1904" y="921"/>
                </a:lnTo>
                <a:lnTo>
                  <a:pt x="1910" y="921"/>
                </a:lnTo>
                <a:lnTo>
                  <a:pt x="1913" y="915"/>
                </a:lnTo>
                <a:lnTo>
                  <a:pt x="1913" y="920"/>
                </a:lnTo>
                <a:lnTo>
                  <a:pt x="1914" y="925"/>
                </a:lnTo>
                <a:lnTo>
                  <a:pt x="1913" y="935"/>
                </a:lnTo>
                <a:lnTo>
                  <a:pt x="1913" y="946"/>
                </a:lnTo>
                <a:lnTo>
                  <a:pt x="1913" y="951"/>
                </a:lnTo>
                <a:lnTo>
                  <a:pt x="1918" y="952"/>
                </a:lnTo>
                <a:lnTo>
                  <a:pt x="1923" y="952"/>
                </a:lnTo>
                <a:lnTo>
                  <a:pt x="1925" y="946"/>
                </a:lnTo>
                <a:lnTo>
                  <a:pt x="1931" y="933"/>
                </a:lnTo>
                <a:lnTo>
                  <a:pt x="1946" y="931"/>
                </a:lnTo>
                <a:lnTo>
                  <a:pt x="1956" y="936"/>
                </a:lnTo>
                <a:lnTo>
                  <a:pt x="1966" y="942"/>
                </a:lnTo>
                <a:lnTo>
                  <a:pt x="1962" y="933"/>
                </a:lnTo>
                <a:lnTo>
                  <a:pt x="1956" y="927"/>
                </a:lnTo>
                <a:lnTo>
                  <a:pt x="1962" y="926"/>
                </a:lnTo>
                <a:lnTo>
                  <a:pt x="1967" y="921"/>
                </a:lnTo>
                <a:lnTo>
                  <a:pt x="1960" y="919"/>
                </a:lnTo>
                <a:lnTo>
                  <a:pt x="1958" y="915"/>
                </a:lnTo>
                <a:lnTo>
                  <a:pt x="1964" y="903"/>
                </a:lnTo>
                <a:lnTo>
                  <a:pt x="1974" y="899"/>
                </a:lnTo>
                <a:lnTo>
                  <a:pt x="1982" y="906"/>
                </a:lnTo>
                <a:lnTo>
                  <a:pt x="1989" y="914"/>
                </a:lnTo>
                <a:lnTo>
                  <a:pt x="1988" y="926"/>
                </a:lnTo>
                <a:lnTo>
                  <a:pt x="1985" y="936"/>
                </a:lnTo>
                <a:lnTo>
                  <a:pt x="1982" y="942"/>
                </a:lnTo>
                <a:lnTo>
                  <a:pt x="1980" y="947"/>
                </a:lnTo>
                <a:lnTo>
                  <a:pt x="1986" y="949"/>
                </a:lnTo>
                <a:lnTo>
                  <a:pt x="1992" y="950"/>
                </a:lnTo>
                <a:lnTo>
                  <a:pt x="1996" y="947"/>
                </a:lnTo>
                <a:lnTo>
                  <a:pt x="1996" y="943"/>
                </a:lnTo>
                <a:lnTo>
                  <a:pt x="1998" y="933"/>
                </a:lnTo>
                <a:lnTo>
                  <a:pt x="2007" y="930"/>
                </a:lnTo>
                <a:lnTo>
                  <a:pt x="2027" y="931"/>
                </a:lnTo>
                <a:lnTo>
                  <a:pt x="2045" y="934"/>
                </a:lnTo>
                <a:lnTo>
                  <a:pt x="2045" y="936"/>
                </a:lnTo>
                <a:lnTo>
                  <a:pt x="2045" y="938"/>
                </a:lnTo>
                <a:lnTo>
                  <a:pt x="2031" y="938"/>
                </a:lnTo>
                <a:lnTo>
                  <a:pt x="2016" y="938"/>
                </a:lnTo>
                <a:lnTo>
                  <a:pt x="2016" y="940"/>
                </a:lnTo>
                <a:lnTo>
                  <a:pt x="2016" y="941"/>
                </a:lnTo>
                <a:lnTo>
                  <a:pt x="2040" y="940"/>
                </a:lnTo>
                <a:lnTo>
                  <a:pt x="2063" y="947"/>
                </a:lnTo>
                <a:lnTo>
                  <a:pt x="2060" y="936"/>
                </a:lnTo>
                <a:lnTo>
                  <a:pt x="2062" y="927"/>
                </a:lnTo>
                <a:lnTo>
                  <a:pt x="2068" y="919"/>
                </a:lnTo>
                <a:lnTo>
                  <a:pt x="2073" y="908"/>
                </a:lnTo>
                <a:lnTo>
                  <a:pt x="2079" y="913"/>
                </a:lnTo>
                <a:lnTo>
                  <a:pt x="2082" y="916"/>
                </a:lnTo>
                <a:lnTo>
                  <a:pt x="2090" y="921"/>
                </a:lnTo>
                <a:lnTo>
                  <a:pt x="2098" y="920"/>
                </a:lnTo>
                <a:lnTo>
                  <a:pt x="2106" y="915"/>
                </a:lnTo>
                <a:lnTo>
                  <a:pt x="2112" y="918"/>
                </a:lnTo>
                <a:lnTo>
                  <a:pt x="2116" y="910"/>
                </a:lnTo>
                <a:lnTo>
                  <a:pt x="2120" y="904"/>
                </a:lnTo>
                <a:lnTo>
                  <a:pt x="2138" y="905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0"/>
                </a:lnTo>
                <a:lnTo>
                  <a:pt x="2155" y="911"/>
                </a:lnTo>
                <a:lnTo>
                  <a:pt x="2154" y="911"/>
                </a:lnTo>
                <a:close/>
                <a:moveTo>
                  <a:pt x="1388" y="1233"/>
                </a:move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88" y="1233"/>
                </a:lnTo>
                <a:lnTo>
                  <a:pt x="1397" y="1233"/>
                </a:lnTo>
                <a:lnTo>
                  <a:pt x="1406" y="1232"/>
                </a:lnTo>
                <a:lnTo>
                  <a:pt x="1419" y="1231"/>
                </a:lnTo>
                <a:lnTo>
                  <a:pt x="1425" y="1243"/>
                </a:lnTo>
                <a:lnTo>
                  <a:pt x="1429" y="1231"/>
                </a:lnTo>
                <a:lnTo>
                  <a:pt x="1431" y="1219"/>
                </a:lnTo>
                <a:lnTo>
                  <a:pt x="1436" y="1212"/>
                </a:lnTo>
                <a:lnTo>
                  <a:pt x="1435" y="1206"/>
                </a:lnTo>
                <a:lnTo>
                  <a:pt x="1427" y="1203"/>
                </a:lnTo>
                <a:lnTo>
                  <a:pt x="1418" y="1203"/>
                </a:lnTo>
                <a:lnTo>
                  <a:pt x="1406" y="1205"/>
                </a:lnTo>
                <a:lnTo>
                  <a:pt x="1395" y="1202"/>
                </a:lnTo>
                <a:lnTo>
                  <a:pt x="1395" y="1202"/>
                </a:lnTo>
                <a:lnTo>
                  <a:pt x="1396" y="1202"/>
                </a:lnTo>
                <a:lnTo>
                  <a:pt x="1409" y="1201"/>
                </a:lnTo>
                <a:lnTo>
                  <a:pt x="1423" y="1200"/>
                </a:lnTo>
                <a:lnTo>
                  <a:pt x="1427" y="1197"/>
                </a:lnTo>
                <a:lnTo>
                  <a:pt x="1428" y="1194"/>
                </a:lnTo>
                <a:lnTo>
                  <a:pt x="1425" y="1191"/>
                </a:lnTo>
                <a:lnTo>
                  <a:pt x="1422" y="1191"/>
                </a:lnTo>
                <a:lnTo>
                  <a:pt x="1409" y="1191"/>
                </a:lnTo>
                <a:lnTo>
                  <a:pt x="1399" y="1200"/>
                </a:lnTo>
                <a:lnTo>
                  <a:pt x="1398" y="1201"/>
                </a:lnTo>
                <a:lnTo>
                  <a:pt x="1396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95" y="1202"/>
                </a:lnTo>
                <a:lnTo>
                  <a:pt x="1388" y="1208"/>
                </a:lnTo>
                <a:lnTo>
                  <a:pt x="1389" y="1218"/>
                </a:lnTo>
                <a:lnTo>
                  <a:pt x="1393" y="1222"/>
                </a:lnTo>
                <a:lnTo>
                  <a:pt x="1399" y="1221"/>
                </a:lnTo>
                <a:lnTo>
                  <a:pt x="1407" y="1220"/>
                </a:lnTo>
                <a:lnTo>
                  <a:pt x="1411" y="1223"/>
                </a:lnTo>
                <a:lnTo>
                  <a:pt x="1407" y="1227"/>
                </a:lnTo>
                <a:lnTo>
                  <a:pt x="1399" y="1227"/>
                </a:lnTo>
                <a:lnTo>
                  <a:pt x="1395" y="1227"/>
                </a:lnTo>
                <a:lnTo>
                  <a:pt x="1391" y="1226"/>
                </a:lnTo>
                <a:lnTo>
                  <a:pt x="1388" y="1228"/>
                </a:lnTo>
                <a:lnTo>
                  <a:pt x="1388" y="1233"/>
                </a:lnTo>
                <a:lnTo>
                  <a:pt x="1388" y="1233"/>
                </a:lnTo>
                <a:close/>
                <a:moveTo>
                  <a:pt x="1077" y="630"/>
                </a:moveTo>
                <a:lnTo>
                  <a:pt x="1077" y="630"/>
                </a:lnTo>
                <a:lnTo>
                  <a:pt x="1078" y="630"/>
                </a:lnTo>
                <a:lnTo>
                  <a:pt x="1078" y="630"/>
                </a:lnTo>
                <a:lnTo>
                  <a:pt x="1077" y="630"/>
                </a:lnTo>
                <a:close/>
                <a:moveTo>
                  <a:pt x="590" y="305"/>
                </a:moveTo>
                <a:lnTo>
                  <a:pt x="589" y="304"/>
                </a:lnTo>
                <a:lnTo>
                  <a:pt x="590" y="305"/>
                </a:lnTo>
                <a:lnTo>
                  <a:pt x="590" y="305"/>
                </a:lnTo>
                <a:lnTo>
                  <a:pt x="590" y="305"/>
                </a:lnTo>
                <a:lnTo>
                  <a:pt x="587" y="316"/>
                </a:lnTo>
                <a:lnTo>
                  <a:pt x="577" y="313"/>
                </a:lnTo>
                <a:lnTo>
                  <a:pt x="575" y="308"/>
                </a:lnTo>
                <a:lnTo>
                  <a:pt x="571" y="306"/>
                </a:lnTo>
                <a:lnTo>
                  <a:pt x="563" y="308"/>
                </a:lnTo>
                <a:lnTo>
                  <a:pt x="557" y="313"/>
                </a:lnTo>
                <a:lnTo>
                  <a:pt x="557" y="316"/>
                </a:lnTo>
                <a:lnTo>
                  <a:pt x="561" y="318"/>
                </a:lnTo>
                <a:lnTo>
                  <a:pt x="563" y="322"/>
                </a:lnTo>
                <a:lnTo>
                  <a:pt x="566" y="323"/>
                </a:lnTo>
                <a:lnTo>
                  <a:pt x="569" y="321"/>
                </a:lnTo>
                <a:lnTo>
                  <a:pt x="569" y="317"/>
                </a:lnTo>
                <a:lnTo>
                  <a:pt x="573" y="316"/>
                </a:lnTo>
                <a:lnTo>
                  <a:pt x="576" y="314"/>
                </a:lnTo>
                <a:lnTo>
                  <a:pt x="579" y="321"/>
                </a:lnTo>
                <a:lnTo>
                  <a:pt x="574" y="327"/>
                </a:lnTo>
                <a:lnTo>
                  <a:pt x="571" y="330"/>
                </a:lnTo>
                <a:lnTo>
                  <a:pt x="566" y="331"/>
                </a:lnTo>
                <a:lnTo>
                  <a:pt x="561" y="330"/>
                </a:lnTo>
                <a:lnTo>
                  <a:pt x="556" y="332"/>
                </a:lnTo>
                <a:lnTo>
                  <a:pt x="557" y="338"/>
                </a:lnTo>
                <a:lnTo>
                  <a:pt x="563" y="341"/>
                </a:lnTo>
                <a:lnTo>
                  <a:pt x="561" y="346"/>
                </a:lnTo>
                <a:lnTo>
                  <a:pt x="556" y="349"/>
                </a:lnTo>
                <a:lnTo>
                  <a:pt x="551" y="355"/>
                </a:lnTo>
                <a:lnTo>
                  <a:pt x="554" y="361"/>
                </a:lnTo>
                <a:lnTo>
                  <a:pt x="560" y="364"/>
                </a:lnTo>
                <a:lnTo>
                  <a:pt x="559" y="370"/>
                </a:lnTo>
                <a:lnTo>
                  <a:pt x="560" y="377"/>
                </a:lnTo>
                <a:lnTo>
                  <a:pt x="565" y="381"/>
                </a:lnTo>
                <a:lnTo>
                  <a:pt x="574" y="386"/>
                </a:lnTo>
                <a:lnTo>
                  <a:pt x="585" y="390"/>
                </a:lnTo>
                <a:lnTo>
                  <a:pt x="591" y="394"/>
                </a:lnTo>
                <a:lnTo>
                  <a:pt x="593" y="401"/>
                </a:lnTo>
                <a:lnTo>
                  <a:pt x="587" y="408"/>
                </a:lnTo>
                <a:lnTo>
                  <a:pt x="578" y="410"/>
                </a:lnTo>
                <a:lnTo>
                  <a:pt x="576" y="409"/>
                </a:lnTo>
                <a:lnTo>
                  <a:pt x="573" y="408"/>
                </a:lnTo>
                <a:lnTo>
                  <a:pt x="573" y="408"/>
                </a:lnTo>
                <a:lnTo>
                  <a:pt x="571" y="408"/>
                </a:lnTo>
                <a:lnTo>
                  <a:pt x="570" y="408"/>
                </a:lnTo>
                <a:lnTo>
                  <a:pt x="571" y="409"/>
                </a:lnTo>
                <a:lnTo>
                  <a:pt x="571" y="410"/>
                </a:lnTo>
                <a:lnTo>
                  <a:pt x="565" y="416"/>
                </a:lnTo>
                <a:lnTo>
                  <a:pt x="561" y="424"/>
                </a:lnTo>
                <a:lnTo>
                  <a:pt x="557" y="421"/>
                </a:lnTo>
                <a:lnTo>
                  <a:pt x="554" y="423"/>
                </a:lnTo>
                <a:lnTo>
                  <a:pt x="554" y="434"/>
                </a:lnTo>
                <a:lnTo>
                  <a:pt x="554" y="445"/>
                </a:lnTo>
                <a:lnTo>
                  <a:pt x="557" y="439"/>
                </a:lnTo>
                <a:lnTo>
                  <a:pt x="563" y="441"/>
                </a:lnTo>
                <a:lnTo>
                  <a:pt x="572" y="442"/>
                </a:lnTo>
                <a:lnTo>
                  <a:pt x="579" y="438"/>
                </a:lnTo>
                <a:lnTo>
                  <a:pt x="593" y="430"/>
                </a:lnTo>
                <a:lnTo>
                  <a:pt x="600" y="414"/>
                </a:lnTo>
                <a:lnTo>
                  <a:pt x="602" y="406"/>
                </a:lnTo>
                <a:lnTo>
                  <a:pt x="606" y="397"/>
                </a:lnTo>
                <a:lnTo>
                  <a:pt x="607" y="391"/>
                </a:lnTo>
                <a:lnTo>
                  <a:pt x="603" y="386"/>
                </a:lnTo>
                <a:lnTo>
                  <a:pt x="604" y="381"/>
                </a:lnTo>
                <a:lnTo>
                  <a:pt x="604" y="377"/>
                </a:lnTo>
                <a:lnTo>
                  <a:pt x="605" y="376"/>
                </a:lnTo>
                <a:lnTo>
                  <a:pt x="605" y="373"/>
                </a:lnTo>
                <a:lnTo>
                  <a:pt x="609" y="353"/>
                </a:lnTo>
                <a:lnTo>
                  <a:pt x="609" y="332"/>
                </a:lnTo>
                <a:lnTo>
                  <a:pt x="610" y="329"/>
                </a:lnTo>
                <a:lnTo>
                  <a:pt x="612" y="325"/>
                </a:lnTo>
                <a:lnTo>
                  <a:pt x="618" y="323"/>
                </a:lnTo>
                <a:lnTo>
                  <a:pt x="622" y="321"/>
                </a:lnTo>
                <a:lnTo>
                  <a:pt x="625" y="321"/>
                </a:lnTo>
                <a:lnTo>
                  <a:pt x="627" y="321"/>
                </a:lnTo>
                <a:lnTo>
                  <a:pt x="628" y="326"/>
                </a:lnTo>
                <a:lnTo>
                  <a:pt x="630" y="332"/>
                </a:lnTo>
                <a:lnTo>
                  <a:pt x="632" y="336"/>
                </a:lnTo>
                <a:lnTo>
                  <a:pt x="637" y="335"/>
                </a:lnTo>
                <a:lnTo>
                  <a:pt x="645" y="333"/>
                </a:lnTo>
                <a:lnTo>
                  <a:pt x="649" y="330"/>
                </a:lnTo>
                <a:lnTo>
                  <a:pt x="648" y="320"/>
                </a:lnTo>
                <a:lnTo>
                  <a:pt x="648" y="310"/>
                </a:lnTo>
                <a:lnTo>
                  <a:pt x="643" y="303"/>
                </a:lnTo>
                <a:lnTo>
                  <a:pt x="635" y="303"/>
                </a:lnTo>
                <a:lnTo>
                  <a:pt x="626" y="306"/>
                </a:lnTo>
                <a:lnTo>
                  <a:pt x="617" y="309"/>
                </a:lnTo>
                <a:lnTo>
                  <a:pt x="616" y="305"/>
                </a:lnTo>
                <a:lnTo>
                  <a:pt x="610" y="301"/>
                </a:lnTo>
                <a:lnTo>
                  <a:pt x="609" y="313"/>
                </a:lnTo>
                <a:lnTo>
                  <a:pt x="609" y="324"/>
                </a:lnTo>
                <a:lnTo>
                  <a:pt x="602" y="325"/>
                </a:lnTo>
                <a:lnTo>
                  <a:pt x="594" y="329"/>
                </a:lnTo>
                <a:lnTo>
                  <a:pt x="594" y="322"/>
                </a:lnTo>
                <a:lnTo>
                  <a:pt x="595" y="317"/>
                </a:lnTo>
                <a:lnTo>
                  <a:pt x="599" y="308"/>
                </a:lnTo>
                <a:lnTo>
                  <a:pt x="590" y="305"/>
                </a:lnTo>
                <a:lnTo>
                  <a:pt x="590" y="305"/>
                </a:lnTo>
                <a:lnTo>
                  <a:pt x="590" y="305"/>
                </a:lnTo>
                <a:close/>
                <a:moveTo>
                  <a:pt x="850" y="1219"/>
                </a:moveTo>
                <a:lnTo>
                  <a:pt x="851" y="1219"/>
                </a:lnTo>
                <a:lnTo>
                  <a:pt x="850" y="1218"/>
                </a:lnTo>
                <a:lnTo>
                  <a:pt x="850" y="1219"/>
                </a:lnTo>
                <a:close/>
                <a:moveTo>
                  <a:pt x="355" y="378"/>
                </a:moveTo>
                <a:lnTo>
                  <a:pt x="354" y="380"/>
                </a:lnTo>
                <a:lnTo>
                  <a:pt x="352" y="381"/>
                </a:lnTo>
                <a:lnTo>
                  <a:pt x="352" y="382"/>
                </a:lnTo>
                <a:lnTo>
                  <a:pt x="352" y="382"/>
                </a:lnTo>
                <a:lnTo>
                  <a:pt x="352" y="382"/>
                </a:lnTo>
                <a:lnTo>
                  <a:pt x="353" y="381"/>
                </a:lnTo>
                <a:lnTo>
                  <a:pt x="353" y="381"/>
                </a:lnTo>
                <a:lnTo>
                  <a:pt x="354" y="380"/>
                </a:lnTo>
                <a:lnTo>
                  <a:pt x="355" y="379"/>
                </a:lnTo>
                <a:lnTo>
                  <a:pt x="355" y="379"/>
                </a:lnTo>
                <a:lnTo>
                  <a:pt x="357" y="378"/>
                </a:lnTo>
                <a:lnTo>
                  <a:pt x="357" y="378"/>
                </a:lnTo>
                <a:lnTo>
                  <a:pt x="355" y="378"/>
                </a:lnTo>
                <a:lnTo>
                  <a:pt x="355" y="378"/>
                </a:lnTo>
                <a:close/>
                <a:moveTo>
                  <a:pt x="1134" y="1467"/>
                </a:move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9" y="1463"/>
                </a:lnTo>
                <a:lnTo>
                  <a:pt x="1145" y="1465"/>
                </a:lnTo>
                <a:lnTo>
                  <a:pt x="1148" y="1466"/>
                </a:lnTo>
                <a:lnTo>
                  <a:pt x="1151" y="1463"/>
                </a:lnTo>
                <a:lnTo>
                  <a:pt x="1150" y="1461"/>
                </a:lnTo>
                <a:lnTo>
                  <a:pt x="1147" y="1458"/>
                </a:lnTo>
                <a:lnTo>
                  <a:pt x="1133" y="1456"/>
                </a:lnTo>
                <a:lnTo>
                  <a:pt x="1119" y="1462"/>
                </a:lnTo>
                <a:lnTo>
                  <a:pt x="1126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6"/>
                </a:lnTo>
                <a:lnTo>
                  <a:pt x="1134" y="1467"/>
                </a:lnTo>
                <a:close/>
                <a:moveTo>
                  <a:pt x="1378" y="1057"/>
                </a:moveTo>
                <a:lnTo>
                  <a:pt x="1377" y="1057"/>
                </a:lnTo>
                <a:lnTo>
                  <a:pt x="1377" y="1057"/>
                </a:lnTo>
                <a:lnTo>
                  <a:pt x="1378" y="1057"/>
                </a:lnTo>
                <a:lnTo>
                  <a:pt x="1378" y="1057"/>
                </a:lnTo>
                <a:lnTo>
                  <a:pt x="1378" y="1057"/>
                </a:lnTo>
                <a:lnTo>
                  <a:pt x="1390" y="1069"/>
                </a:lnTo>
                <a:lnTo>
                  <a:pt x="1393" y="1085"/>
                </a:lnTo>
                <a:lnTo>
                  <a:pt x="1393" y="1086"/>
                </a:lnTo>
                <a:lnTo>
                  <a:pt x="1394" y="1087"/>
                </a:lnTo>
                <a:lnTo>
                  <a:pt x="1399" y="1090"/>
                </a:lnTo>
                <a:lnTo>
                  <a:pt x="1405" y="1091"/>
                </a:lnTo>
                <a:lnTo>
                  <a:pt x="1408" y="1088"/>
                </a:lnTo>
                <a:lnTo>
                  <a:pt x="1407" y="1083"/>
                </a:lnTo>
                <a:lnTo>
                  <a:pt x="1407" y="1081"/>
                </a:lnTo>
                <a:lnTo>
                  <a:pt x="1407" y="1079"/>
                </a:lnTo>
                <a:lnTo>
                  <a:pt x="1415" y="1070"/>
                </a:lnTo>
                <a:lnTo>
                  <a:pt x="1416" y="1058"/>
                </a:lnTo>
                <a:lnTo>
                  <a:pt x="1418" y="1051"/>
                </a:lnTo>
                <a:lnTo>
                  <a:pt x="1421" y="1044"/>
                </a:lnTo>
                <a:lnTo>
                  <a:pt x="1423" y="1049"/>
                </a:lnTo>
                <a:lnTo>
                  <a:pt x="1424" y="1052"/>
                </a:lnTo>
                <a:lnTo>
                  <a:pt x="1437" y="1061"/>
                </a:lnTo>
                <a:lnTo>
                  <a:pt x="1449" y="1073"/>
                </a:lnTo>
                <a:lnTo>
                  <a:pt x="1452" y="1076"/>
                </a:lnTo>
                <a:lnTo>
                  <a:pt x="1456" y="1075"/>
                </a:lnTo>
                <a:lnTo>
                  <a:pt x="1457" y="1080"/>
                </a:lnTo>
                <a:lnTo>
                  <a:pt x="1455" y="1082"/>
                </a:lnTo>
                <a:lnTo>
                  <a:pt x="1450" y="1084"/>
                </a:lnTo>
                <a:lnTo>
                  <a:pt x="1453" y="1089"/>
                </a:lnTo>
                <a:lnTo>
                  <a:pt x="1456" y="1094"/>
                </a:lnTo>
                <a:lnTo>
                  <a:pt x="1451" y="1097"/>
                </a:lnTo>
                <a:lnTo>
                  <a:pt x="1450" y="1100"/>
                </a:lnTo>
                <a:lnTo>
                  <a:pt x="1451" y="1102"/>
                </a:lnTo>
                <a:lnTo>
                  <a:pt x="1456" y="1109"/>
                </a:lnTo>
                <a:lnTo>
                  <a:pt x="1455" y="1116"/>
                </a:lnTo>
                <a:lnTo>
                  <a:pt x="1456" y="1127"/>
                </a:lnTo>
                <a:lnTo>
                  <a:pt x="1453" y="1136"/>
                </a:lnTo>
                <a:lnTo>
                  <a:pt x="1453" y="1140"/>
                </a:lnTo>
                <a:lnTo>
                  <a:pt x="1455" y="1142"/>
                </a:lnTo>
                <a:lnTo>
                  <a:pt x="1467" y="1154"/>
                </a:lnTo>
                <a:lnTo>
                  <a:pt x="1477" y="1166"/>
                </a:lnTo>
                <a:lnTo>
                  <a:pt x="1481" y="1170"/>
                </a:lnTo>
                <a:lnTo>
                  <a:pt x="1485" y="1167"/>
                </a:lnTo>
                <a:lnTo>
                  <a:pt x="1487" y="1163"/>
                </a:lnTo>
                <a:lnTo>
                  <a:pt x="1485" y="1159"/>
                </a:lnTo>
                <a:lnTo>
                  <a:pt x="1476" y="1149"/>
                </a:lnTo>
                <a:lnTo>
                  <a:pt x="1469" y="1140"/>
                </a:lnTo>
                <a:lnTo>
                  <a:pt x="1467" y="1134"/>
                </a:lnTo>
                <a:lnTo>
                  <a:pt x="1469" y="1128"/>
                </a:lnTo>
                <a:lnTo>
                  <a:pt x="1471" y="1126"/>
                </a:lnTo>
                <a:lnTo>
                  <a:pt x="1474" y="1126"/>
                </a:lnTo>
                <a:lnTo>
                  <a:pt x="1479" y="1129"/>
                </a:lnTo>
                <a:lnTo>
                  <a:pt x="1479" y="1134"/>
                </a:lnTo>
                <a:lnTo>
                  <a:pt x="1480" y="1136"/>
                </a:lnTo>
                <a:lnTo>
                  <a:pt x="1483" y="1137"/>
                </a:lnTo>
                <a:lnTo>
                  <a:pt x="1486" y="1131"/>
                </a:lnTo>
                <a:lnTo>
                  <a:pt x="1488" y="1124"/>
                </a:lnTo>
                <a:lnTo>
                  <a:pt x="1488" y="1120"/>
                </a:lnTo>
                <a:lnTo>
                  <a:pt x="1489" y="1118"/>
                </a:lnTo>
                <a:lnTo>
                  <a:pt x="1491" y="1117"/>
                </a:lnTo>
                <a:lnTo>
                  <a:pt x="1494" y="1117"/>
                </a:lnTo>
                <a:lnTo>
                  <a:pt x="1504" y="1118"/>
                </a:lnTo>
                <a:lnTo>
                  <a:pt x="1514" y="1118"/>
                </a:lnTo>
                <a:lnTo>
                  <a:pt x="1526" y="1113"/>
                </a:lnTo>
                <a:lnTo>
                  <a:pt x="1522" y="1100"/>
                </a:lnTo>
                <a:lnTo>
                  <a:pt x="1517" y="1089"/>
                </a:lnTo>
                <a:lnTo>
                  <a:pt x="1522" y="1082"/>
                </a:lnTo>
                <a:lnTo>
                  <a:pt x="1528" y="1076"/>
                </a:lnTo>
                <a:lnTo>
                  <a:pt x="1533" y="1070"/>
                </a:lnTo>
                <a:lnTo>
                  <a:pt x="1539" y="1078"/>
                </a:lnTo>
                <a:lnTo>
                  <a:pt x="1536" y="1085"/>
                </a:lnTo>
                <a:lnTo>
                  <a:pt x="1539" y="1087"/>
                </a:lnTo>
                <a:lnTo>
                  <a:pt x="1541" y="1086"/>
                </a:lnTo>
                <a:lnTo>
                  <a:pt x="1545" y="1089"/>
                </a:lnTo>
                <a:lnTo>
                  <a:pt x="1548" y="1091"/>
                </a:lnTo>
                <a:lnTo>
                  <a:pt x="1550" y="1087"/>
                </a:lnTo>
                <a:lnTo>
                  <a:pt x="1549" y="1081"/>
                </a:lnTo>
                <a:lnTo>
                  <a:pt x="1550" y="1079"/>
                </a:lnTo>
                <a:lnTo>
                  <a:pt x="1552" y="1079"/>
                </a:lnTo>
                <a:lnTo>
                  <a:pt x="1556" y="1080"/>
                </a:lnTo>
                <a:lnTo>
                  <a:pt x="1556" y="1083"/>
                </a:lnTo>
                <a:lnTo>
                  <a:pt x="1554" y="1091"/>
                </a:lnTo>
                <a:lnTo>
                  <a:pt x="1557" y="1099"/>
                </a:lnTo>
                <a:lnTo>
                  <a:pt x="1554" y="1100"/>
                </a:lnTo>
                <a:lnTo>
                  <a:pt x="1551" y="1100"/>
                </a:lnTo>
                <a:lnTo>
                  <a:pt x="1533" y="1106"/>
                </a:lnTo>
                <a:lnTo>
                  <a:pt x="1534" y="1126"/>
                </a:lnTo>
                <a:lnTo>
                  <a:pt x="1539" y="1129"/>
                </a:lnTo>
                <a:lnTo>
                  <a:pt x="1543" y="1126"/>
                </a:lnTo>
                <a:lnTo>
                  <a:pt x="1557" y="1118"/>
                </a:lnTo>
                <a:lnTo>
                  <a:pt x="1572" y="1121"/>
                </a:lnTo>
                <a:lnTo>
                  <a:pt x="1565" y="1124"/>
                </a:lnTo>
                <a:lnTo>
                  <a:pt x="1557" y="1127"/>
                </a:lnTo>
                <a:lnTo>
                  <a:pt x="1567" y="1127"/>
                </a:lnTo>
                <a:lnTo>
                  <a:pt x="1577" y="1128"/>
                </a:lnTo>
                <a:lnTo>
                  <a:pt x="1587" y="1133"/>
                </a:lnTo>
                <a:lnTo>
                  <a:pt x="1586" y="1143"/>
                </a:lnTo>
                <a:lnTo>
                  <a:pt x="1585" y="1147"/>
                </a:lnTo>
                <a:lnTo>
                  <a:pt x="1587" y="1151"/>
                </a:lnTo>
                <a:lnTo>
                  <a:pt x="1589" y="1154"/>
                </a:lnTo>
                <a:lnTo>
                  <a:pt x="1591" y="1152"/>
                </a:lnTo>
                <a:lnTo>
                  <a:pt x="1595" y="1149"/>
                </a:lnTo>
                <a:lnTo>
                  <a:pt x="1595" y="1144"/>
                </a:lnTo>
                <a:lnTo>
                  <a:pt x="1594" y="1135"/>
                </a:lnTo>
                <a:lnTo>
                  <a:pt x="1594" y="1127"/>
                </a:lnTo>
                <a:lnTo>
                  <a:pt x="1587" y="1121"/>
                </a:lnTo>
                <a:lnTo>
                  <a:pt x="1577" y="1116"/>
                </a:lnTo>
                <a:lnTo>
                  <a:pt x="1593" y="1114"/>
                </a:lnTo>
                <a:lnTo>
                  <a:pt x="1606" y="1106"/>
                </a:lnTo>
                <a:lnTo>
                  <a:pt x="1612" y="1102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33" y="1096"/>
                </a:lnTo>
                <a:lnTo>
                  <a:pt x="1647" y="1096"/>
                </a:lnTo>
                <a:lnTo>
                  <a:pt x="1638" y="1102"/>
                </a:lnTo>
                <a:lnTo>
                  <a:pt x="1627" y="1105"/>
                </a:lnTo>
                <a:lnTo>
                  <a:pt x="1622" y="1105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19" y="1100"/>
                </a:lnTo>
                <a:lnTo>
                  <a:pt x="1621" y="1098"/>
                </a:lnTo>
                <a:lnTo>
                  <a:pt x="1620" y="1096"/>
                </a:lnTo>
                <a:lnTo>
                  <a:pt x="1611" y="1095"/>
                </a:lnTo>
                <a:lnTo>
                  <a:pt x="1603" y="1096"/>
                </a:lnTo>
                <a:lnTo>
                  <a:pt x="1593" y="1097"/>
                </a:lnTo>
                <a:lnTo>
                  <a:pt x="1588" y="1088"/>
                </a:lnTo>
                <a:lnTo>
                  <a:pt x="1589" y="1084"/>
                </a:lnTo>
                <a:lnTo>
                  <a:pt x="1586" y="1081"/>
                </a:lnTo>
                <a:lnTo>
                  <a:pt x="1580" y="1082"/>
                </a:lnTo>
                <a:lnTo>
                  <a:pt x="1577" y="1085"/>
                </a:lnTo>
                <a:lnTo>
                  <a:pt x="1575" y="1089"/>
                </a:lnTo>
                <a:lnTo>
                  <a:pt x="1573" y="1093"/>
                </a:lnTo>
                <a:lnTo>
                  <a:pt x="1570" y="1095"/>
                </a:lnTo>
                <a:lnTo>
                  <a:pt x="1566" y="1093"/>
                </a:lnTo>
                <a:lnTo>
                  <a:pt x="1565" y="1090"/>
                </a:lnTo>
                <a:lnTo>
                  <a:pt x="1564" y="1089"/>
                </a:lnTo>
                <a:lnTo>
                  <a:pt x="1571" y="1082"/>
                </a:lnTo>
                <a:lnTo>
                  <a:pt x="1571" y="1072"/>
                </a:lnTo>
                <a:lnTo>
                  <a:pt x="1573" y="1069"/>
                </a:lnTo>
                <a:lnTo>
                  <a:pt x="1576" y="1067"/>
                </a:lnTo>
                <a:lnTo>
                  <a:pt x="1580" y="1063"/>
                </a:lnTo>
                <a:lnTo>
                  <a:pt x="1579" y="1056"/>
                </a:lnTo>
                <a:lnTo>
                  <a:pt x="1576" y="1052"/>
                </a:lnTo>
                <a:lnTo>
                  <a:pt x="1571" y="1052"/>
                </a:lnTo>
                <a:lnTo>
                  <a:pt x="1567" y="1051"/>
                </a:lnTo>
                <a:lnTo>
                  <a:pt x="1565" y="1050"/>
                </a:lnTo>
                <a:lnTo>
                  <a:pt x="1566" y="1048"/>
                </a:lnTo>
                <a:lnTo>
                  <a:pt x="1570" y="1047"/>
                </a:lnTo>
                <a:lnTo>
                  <a:pt x="1592" y="1045"/>
                </a:lnTo>
                <a:lnTo>
                  <a:pt x="1615" y="1043"/>
                </a:lnTo>
                <a:lnTo>
                  <a:pt x="1648" y="1039"/>
                </a:lnTo>
                <a:lnTo>
                  <a:pt x="1682" y="1040"/>
                </a:lnTo>
                <a:lnTo>
                  <a:pt x="1698" y="1037"/>
                </a:lnTo>
                <a:lnTo>
                  <a:pt x="1711" y="1027"/>
                </a:lnTo>
                <a:lnTo>
                  <a:pt x="1712" y="1025"/>
                </a:lnTo>
                <a:lnTo>
                  <a:pt x="1714" y="1024"/>
                </a:lnTo>
                <a:lnTo>
                  <a:pt x="1717" y="1022"/>
                </a:lnTo>
                <a:lnTo>
                  <a:pt x="1716" y="1017"/>
                </a:lnTo>
                <a:lnTo>
                  <a:pt x="1714" y="1015"/>
                </a:lnTo>
                <a:lnTo>
                  <a:pt x="1715" y="1014"/>
                </a:lnTo>
                <a:lnTo>
                  <a:pt x="1721" y="1010"/>
                </a:lnTo>
                <a:lnTo>
                  <a:pt x="1715" y="1006"/>
                </a:lnTo>
                <a:lnTo>
                  <a:pt x="1725" y="1005"/>
                </a:lnTo>
                <a:lnTo>
                  <a:pt x="1734" y="1008"/>
                </a:lnTo>
                <a:lnTo>
                  <a:pt x="1746" y="1009"/>
                </a:lnTo>
                <a:lnTo>
                  <a:pt x="1757" y="1013"/>
                </a:lnTo>
                <a:lnTo>
                  <a:pt x="1759" y="1012"/>
                </a:lnTo>
                <a:lnTo>
                  <a:pt x="1761" y="1008"/>
                </a:lnTo>
                <a:lnTo>
                  <a:pt x="1768" y="1003"/>
                </a:lnTo>
                <a:lnTo>
                  <a:pt x="1774" y="1009"/>
                </a:lnTo>
                <a:lnTo>
                  <a:pt x="1776" y="1011"/>
                </a:lnTo>
                <a:lnTo>
                  <a:pt x="1779" y="1011"/>
                </a:lnTo>
                <a:lnTo>
                  <a:pt x="1778" y="1006"/>
                </a:lnTo>
                <a:lnTo>
                  <a:pt x="1777" y="1002"/>
                </a:lnTo>
                <a:lnTo>
                  <a:pt x="1776" y="996"/>
                </a:lnTo>
                <a:lnTo>
                  <a:pt x="1775" y="991"/>
                </a:lnTo>
                <a:lnTo>
                  <a:pt x="1773" y="986"/>
                </a:lnTo>
                <a:lnTo>
                  <a:pt x="1775" y="979"/>
                </a:lnTo>
                <a:lnTo>
                  <a:pt x="1780" y="980"/>
                </a:lnTo>
                <a:lnTo>
                  <a:pt x="1785" y="984"/>
                </a:lnTo>
                <a:lnTo>
                  <a:pt x="1787" y="971"/>
                </a:lnTo>
                <a:lnTo>
                  <a:pt x="1774" y="966"/>
                </a:lnTo>
                <a:lnTo>
                  <a:pt x="1742" y="966"/>
                </a:lnTo>
                <a:lnTo>
                  <a:pt x="1709" y="967"/>
                </a:lnTo>
                <a:lnTo>
                  <a:pt x="1678" y="968"/>
                </a:lnTo>
                <a:lnTo>
                  <a:pt x="1647" y="968"/>
                </a:lnTo>
                <a:lnTo>
                  <a:pt x="1605" y="972"/>
                </a:lnTo>
                <a:lnTo>
                  <a:pt x="1564" y="974"/>
                </a:lnTo>
                <a:lnTo>
                  <a:pt x="1547" y="973"/>
                </a:lnTo>
                <a:lnTo>
                  <a:pt x="1530" y="975"/>
                </a:lnTo>
                <a:lnTo>
                  <a:pt x="1522" y="976"/>
                </a:lnTo>
                <a:lnTo>
                  <a:pt x="1515" y="976"/>
                </a:lnTo>
                <a:lnTo>
                  <a:pt x="1513" y="972"/>
                </a:lnTo>
                <a:lnTo>
                  <a:pt x="1512" y="965"/>
                </a:lnTo>
                <a:lnTo>
                  <a:pt x="1503" y="957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501" y="945"/>
                </a:lnTo>
                <a:lnTo>
                  <a:pt x="1504" y="945"/>
                </a:lnTo>
                <a:lnTo>
                  <a:pt x="1514" y="944"/>
                </a:lnTo>
                <a:lnTo>
                  <a:pt x="1512" y="953"/>
                </a:lnTo>
                <a:lnTo>
                  <a:pt x="1512" y="960"/>
                </a:lnTo>
                <a:lnTo>
                  <a:pt x="1513" y="965"/>
                </a:lnTo>
                <a:lnTo>
                  <a:pt x="1513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2" y="965"/>
                </a:lnTo>
                <a:lnTo>
                  <a:pt x="1513" y="965"/>
                </a:lnTo>
                <a:lnTo>
                  <a:pt x="1513" y="965"/>
                </a:lnTo>
                <a:lnTo>
                  <a:pt x="1513" y="965"/>
                </a:lnTo>
                <a:lnTo>
                  <a:pt x="1525" y="967"/>
                </a:lnTo>
                <a:lnTo>
                  <a:pt x="1534" y="963"/>
                </a:lnTo>
                <a:lnTo>
                  <a:pt x="1534" y="952"/>
                </a:lnTo>
                <a:lnTo>
                  <a:pt x="1527" y="943"/>
                </a:lnTo>
                <a:lnTo>
                  <a:pt x="1525" y="940"/>
                </a:lnTo>
                <a:lnTo>
                  <a:pt x="1521" y="936"/>
                </a:lnTo>
                <a:lnTo>
                  <a:pt x="1510" y="928"/>
                </a:lnTo>
                <a:lnTo>
                  <a:pt x="1497" y="928"/>
                </a:lnTo>
                <a:lnTo>
                  <a:pt x="1495" y="936"/>
                </a:lnTo>
                <a:lnTo>
                  <a:pt x="1498" y="944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7" y="945"/>
                </a:lnTo>
                <a:lnTo>
                  <a:pt x="1495" y="944"/>
                </a:lnTo>
                <a:lnTo>
                  <a:pt x="1491" y="943"/>
                </a:lnTo>
                <a:lnTo>
                  <a:pt x="1489" y="938"/>
                </a:lnTo>
                <a:lnTo>
                  <a:pt x="1487" y="935"/>
                </a:lnTo>
                <a:lnTo>
                  <a:pt x="1477" y="920"/>
                </a:lnTo>
                <a:lnTo>
                  <a:pt x="1467" y="906"/>
                </a:lnTo>
                <a:lnTo>
                  <a:pt x="1456" y="889"/>
                </a:lnTo>
                <a:lnTo>
                  <a:pt x="1444" y="874"/>
                </a:lnTo>
                <a:lnTo>
                  <a:pt x="1426" y="860"/>
                </a:lnTo>
                <a:lnTo>
                  <a:pt x="1407" y="849"/>
                </a:lnTo>
                <a:lnTo>
                  <a:pt x="1404" y="847"/>
                </a:lnTo>
                <a:lnTo>
                  <a:pt x="1400" y="847"/>
                </a:lnTo>
                <a:lnTo>
                  <a:pt x="1374" y="851"/>
                </a:lnTo>
                <a:lnTo>
                  <a:pt x="1347" y="853"/>
                </a:lnTo>
                <a:lnTo>
                  <a:pt x="1339" y="857"/>
                </a:lnTo>
                <a:lnTo>
                  <a:pt x="1342" y="864"/>
                </a:lnTo>
                <a:lnTo>
                  <a:pt x="1347" y="866"/>
                </a:lnTo>
                <a:lnTo>
                  <a:pt x="1348" y="871"/>
                </a:lnTo>
                <a:lnTo>
                  <a:pt x="1347" y="866"/>
                </a:lnTo>
                <a:lnTo>
                  <a:pt x="1342" y="864"/>
                </a:lnTo>
                <a:lnTo>
                  <a:pt x="1322" y="867"/>
                </a:lnTo>
                <a:lnTo>
                  <a:pt x="1302" y="869"/>
                </a:lnTo>
                <a:lnTo>
                  <a:pt x="1284" y="870"/>
                </a:lnTo>
                <a:lnTo>
                  <a:pt x="1268" y="876"/>
                </a:lnTo>
                <a:lnTo>
                  <a:pt x="1263" y="875"/>
                </a:lnTo>
                <a:lnTo>
                  <a:pt x="1259" y="875"/>
                </a:lnTo>
                <a:lnTo>
                  <a:pt x="1243" y="874"/>
                </a:lnTo>
                <a:lnTo>
                  <a:pt x="1231" y="882"/>
                </a:lnTo>
                <a:lnTo>
                  <a:pt x="1225" y="888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7" y="889"/>
                </a:lnTo>
                <a:lnTo>
                  <a:pt x="1213" y="896"/>
                </a:lnTo>
                <a:lnTo>
                  <a:pt x="1206" y="898"/>
                </a:lnTo>
                <a:lnTo>
                  <a:pt x="1209" y="901"/>
                </a:lnTo>
                <a:lnTo>
                  <a:pt x="1213" y="902"/>
                </a:lnTo>
                <a:lnTo>
                  <a:pt x="1223" y="903"/>
                </a:lnTo>
                <a:lnTo>
                  <a:pt x="1227" y="913"/>
                </a:lnTo>
                <a:lnTo>
                  <a:pt x="1232" y="922"/>
                </a:lnTo>
                <a:lnTo>
                  <a:pt x="1243" y="927"/>
                </a:lnTo>
                <a:lnTo>
                  <a:pt x="1258" y="926"/>
                </a:lnTo>
                <a:lnTo>
                  <a:pt x="1273" y="922"/>
                </a:lnTo>
                <a:lnTo>
                  <a:pt x="1277" y="922"/>
                </a:lnTo>
                <a:lnTo>
                  <a:pt x="1280" y="922"/>
                </a:lnTo>
                <a:lnTo>
                  <a:pt x="1302" y="922"/>
                </a:lnTo>
                <a:lnTo>
                  <a:pt x="1322" y="918"/>
                </a:lnTo>
                <a:lnTo>
                  <a:pt x="1334" y="919"/>
                </a:lnTo>
                <a:lnTo>
                  <a:pt x="1346" y="918"/>
                </a:lnTo>
                <a:lnTo>
                  <a:pt x="1353" y="911"/>
                </a:lnTo>
                <a:lnTo>
                  <a:pt x="1365" y="910"/>
                </a:lnTo>
                <a:lnTo>
                  <a:pt x="1369" y="910"/>
                </a:lnTo>
                <a:lnTo>
                  <a:pt x="1373" y="908"/>
                </a:lnTo>
                <a:lnTo>
                  <a:pt x="1386" y="902"/>
                </a:lnTo>
                <a:lnTo>
                  <a:pt x="1401" y="903"/>
                </a:lnTo>
                <a:lnTo>
                  <a:pt x="1395" y="910"/>
                </a:lnTo>
                <a:lnTo>
                  <a:pt x="1386" y="914"/>
                </a:lnTo>
                <a:lnTo>
                  <a:pt x="1398" y="914"/>
                </a:lnTo>
                <a:lnTo>
                  <a:pt x="1409" y="913"/>
                </a:lnTo>
                <a:lnTo>
                  <a:pt x="1424" y="913"/>
                </a:lnTo>
                <a:lnTo>
                  <a:pt x="1434" y="922"/>
                </a:lnTo>
                <a:lnTo>
                  <a:pt x="1437" y="926"/>
                </a:lnTo>
                <a:lnTo>
                  <a:pt x="1439" y="921"/>
                </a:lnTo>
                <a:lnTo>
                  <a:pt x="1441" y="927"/>
                </a:lnTo>
                <a:lnTo>
                  <a:pt x="1442" y="932"/>
                </a:lnTo>
                <a:lnTo>
                  <a:pt x="1445" y="942"/>
                </a:lnTo>
                <a:lnTo>
                  <a:pt x="1450" y="950"/>
                </a:lnTo>
                <a:lnTo>
                  <a:pt x="1450" y="954"/>
                </a:lnTo>
                <a:lnTo>
                  <a:pt x="1446" y="956"/>
                </a:lnTo>
                <a:lnTo>
                  <a:pt x="1440" y="950"/>
                </a:lnTo>
                <a:lnTo>
                  <a:pt x="1435" y="946"/>
                </a:lnTo>
                <a:lnTo>
                  <a:pt x="1425" y="938"/>
                </a:lnTo>
                <a:lnTo>
                  <a:pt x="1414" y="937"/>
                </a:lnTo>
                <a:lnTo>
                  <a:pt x="1319" y="946"/>
                </a:lnTo>
                <a:lnTo>
                  <a:pt x="1224" y="953"/>
                </a:lnTo>
                <a:lnTo>
                  <a:pt x="1211" y="956"/>
                </a:lnTo>
                <a:lnTo>
                  <a:pt x="1199" y="961"/>
                </a:lnTo>
                <a:lnTo>
                  <a:pt x="1208" y="963"/>
                </a:lnTo>
                <a:lnTo>
                  <a:pt x="1215" y="967"/>
                </a:lnTo>
                <a:lnTo>
                  <a:pt x="1211" y="973"/>
                </a:lnTo>
                <a:lnTo>
                  <a:pt x="1203" y="974"/>
                </a:lnTo>
                <a:lnTo>
                  <a:pt x="1199" y="973"/>
                </a:lnTo>
                <a:lnTo>
                  <a:pt x="1197" y="967"/>
                </a:lnTo>
                <a:lnTo>
                  <a:pt x="1195" y="963"/>
                </a:lnTo>
                <a:lnTo>
                  <a:pt x="1192" y="960"/>
                </a:lnTo>
                <a:lnTo>
                  <a:pt x="1188" y="960"/>
                </a:lnTo>
                <a:lnTo>
                  <a:pt x="1187" y="963"/>
                </a:lnTo>
                <a:lnTo>
                  <a:pt x="1182" y="959"/>
                </a:lnTo>
                <a:lnTo>
                  <a:pt x="1176" y="959"/>
                </a:lnTo>
                <a:lnTo>
                  <a:pt x="1140" y="961"/>
                </a:lnTo>
                <a:lnTo>
                  <a:pt x="1105" y="965"/>
                </a:lnTo>
                <a:lnTo>
                  <a:pt x="1000" y="978"/>
                </a:lnTo>
                <a:lnTo>
                  <a:pt x="894" y="991"/>
                </a:lnTo>
                <a:lnTo>
                  <a:pt x="766" y="1011"/>
                </a:lnTo>
                <a:lnTo>
                  <a:pt x="638" y="1035"/>
                </a:lnTo>
                <a:lnTo>
                  <a:pt x="609" y="1041"/>
                </a:lnTo>
                <a:lnTo>
                  <a:pt x="579" y="1044"/>
                </a:lnTo>
                <a:lnTo>
                  <a:pt x="584" y="1039"/>
                </a:lnTo>
                <a:lnTo>
                  <a:pt x="587" y="1035"/>
                </a:lnTo>
                <a:lnTo>
                  <a:pt x="581" y="1032"/>
                </a:lnTo>
                <a:lnTo>
                  <a:pt x="575" y="1034"/>
                </a:lnTo>
                <a:lnTo>
                  <a:pt x="566" y="1037"/>
                </a:lnTo>
                <a:lnTo>
                  <a:pt x="558" y="1039"/>
                </a:lnTo>
                <a:lnTo>
                  <a:pt x="544" y="1040"/>
                </a:lnTo>
                <a:lnTo>
                  <a:pt x="531" y="1038"/>
                </a:lnTo>
                <a:lnTo>
                  <a:pt x="508" y="1041"/>
                </a:lnTo>
                <a:lnTo>
                  <a:pt x="483" y="1047"/>
                </a:lnTo>
                <a:lnTo>
                  <a:pt x="460" y="1055"/>
                </a:lnTo>
                <a:lnTo>
                  <a:pt x="436" y="1063"/>
                </a:lnTo>
                <a:lnTo>
                  <a:pt x="393" y="1078"/>
                </a:lnTo>
                <a:lnTo>
                  <a:pt x="349" y="1091"/>
                </a:lnTo>
                <a:lnTo>
                  <a:pt x="347" y="1093"/>
                </a:lnTo>
                <a:lnTo>
                  <a:pt x="345" y="1091"/>
                </a:lnTo>
                <a:lnTo>
                  <a:pt x="345" y="1089"/>
                </a:lnTo>
                <a:lnTo>
                  <a:pt x="347" y="1089"/>
                </a:lnTo>
                <a:lnTo>
                  <a:pt x="336" y="1090"/>
                </a:lnTo>
                <a:lnTo>
                  <a:pt x="325" y="1095"/>
                </a:lnTo>
                <a:lnTo>
                  <a:pt x="327" y="1096"/>
                </a:lnTo>
                <a:lnTo>
                  <a:pt x="327" y="1096"/>
                </a:lnTo>
                <a:lnTo>
                  <a:pt x="325" y="1097"/>
                </a:lnTo>
                <a:lnTo>
                  <a:pt x="324" y="1096"/>
                </a:lnTo>
                <a:lnTo>
                  <a:pt x="309" y="1099"/>
                </a:lnTo>
                <a:lnTo>
                  <a:pt x="297" y="1105"/>
                </a:lnTo>
                <a:lnTo>
                  <a:pt x="268" y="1117"/>
                </a:lnTo>
                <a:lnTo>
                  <a:pt x="238" y="1128"/>
                </a:lnTo>
                <a:lnTo>
                  <a:pt x="211" y="1137"/>
                </a:lnTo>
                <a:lnTo>
                  <a:pt x="184" y="1146"/>
                </a:lnTo>
                <a:lnTo>
                  <a:pt x="176" y="1149"/>
                </a:lnTo>
                <a:lnTo>
                  <a:pt x="169" y="1146"/>
                </a:lnTo>
                <a:lnTo>
                  <a:pt x="171" y="1140"/>
                </a:lnTo>
                <a:lnTo>
                  <a:pt x="180" y="1134"/>
                </a:lnTo>
                <a:lnTo>
                  <a:pt x="181" y="1134"/>
                </a:lnTo>
                <a:lnTo>
                  <a:pt x="182" y="1133"/>
                </a:lnTo>
                <a:lnTo>
                  <a:pt x="202" y="1122"/>
                </a:lnTo>
                <a:lnTo>
                  <a:pt x="224" y="1113"/>
                </a:lnTo>
                <a:lnTo>
                  <a:pt x="229" y="1111"/>
                </a:lnTo>
                <a:lnTo>
                  <a:pt x="230" y="1106"/>
                </a:lnTo>
                <a:lnTo>
                  <a:pt x="226" y="1103"/>
                </a:lnTo>
                <a:lnTo>
                  <a:pt x="222" y="1105"/>
                </a:lnTo>
                <a:lnTo>
                  <a:pt x="197" y="1115"/>
                </a:lnTo>
                <a:lnTo>
                  <a:pt x="175" y="1128"/>
                </a:lnTo>
                <a:lnTo>
                  <a:pt x="163" y="1133"/>
                </a:lnTo>
                <a:lnTo>
                  <a:pt x="152" y="1132"/>
                </a:lnTo>
                <a:lnTo>
                  <a:pt x="141" y="1131"/>
                </a:lnTo>
                <a:lnTo>
                  <a:pt x="131" y="1134"/>
                </a:lnTo>
                <a:lnTo>
                  <a:pt x="127" y="1136"/>
                </a:lnTo>
                <a:lnTo>
                  <a:pt x="127" y="1140"/>
                </a:lnTo>
                <a:lnTo>
                  <a:pt x="130" y="1143"/>
                </a:lnTo>
                <a:lnTo>
                  <a:pt x="134" y="1142"/>
                </a:lnTo>
                <a:lnTo>
                  <a:pt x="139" y="1140"/>
                </a:lnTo>
                <a:lnTo>
                  <a:pt x="146" y="1136"/>
                </a:lnTo>
                <a:lnTo>
                  <a:pt x="155" y="1136"/>
                </a:lnTo>
                <a:lnTo>
                  <a:pt x="160" y="1141"/>
                </a:lnTo>
                <a:lnTo>
                  <a:pt x="158" y="1152"/>
                </a:lnTo>
                <a:lnTo>
                  <a:pt x="157" y="1165"/>
                </a:lnTo>
                <a:lnTo>
                  <a:pt x="139" y="1166"/>
                </a:lnTo>
                <a:lnTo>
                  <a:pt x="122" y="1173"/>
                </a:lnTo>
                <a:lnTo>
                  <a:pt x="120" y="1168"/>
                </a:lnTo>
                <a:lnTo>
                  <a:pt x="123" y="1164"/>
                </a:lnTo>
                <a:lnTo>
                  <a:pt x="126" y="1159"/>
                </a:lnTo>
                <a:lnTo>
                  <a:pt x="125" y="1150"/>
                </a:lnTo>
                <a:lnTo>
                  <a:pt x="118" y="1159"/>
                </a:lnTo>
                <a:lnTo>
                  <a:pt x="108" y="1165"/>
                </a:lnTo>
                <a:lnTo>
                  <a:pt x="99" y="1175"/>
                </a:lnTo>
                <a:lnTo>
                  <a:pt x="93" y="1187"/>
                </a:lnTo>
                <a:lnTo>
                  <a:pt x="81" y="1192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5"/>
                </a:lnTo>
                <a:lnTo>
                  <a:pt x="69" y="1193"/>
                </a:lnTo>
                <a:lnTo>
                  <a:pt x="72" y="1189"/>
                </a:lnTo>
                <a:lnTo>
                  <a:pt x="70" y="1185"/>
                </a:lnTo>
                <a:lnTo>
                  <a:pt x="63" y="1183"/>
                </a:lnTo>
                <a:lnTo>
                  <a:pt x="59" y="1189"/>
                </a:lnTo>
                <a:lnTo>
                  <a:pt x="58" y="1191"/>
                </a:lnTo>
                <a:lnTo>
                  <a:pt x="54" y="1193"/>
                </a:lnTo>
                <a:lnTo>
                  <a:pt x="56" y="1174"/>
                </a:lnTo>
                <a:lnTo>
                  <a:pt x="56" y="1156"/>
                </a:lnTo>
                <a:lnTo>
                  <a:pt x="50" y="1175"/>
                </a:lnTo>
                <a:lnTo>
                  <a:pt x="46" y="1194"/>
                </a:lnTo>
                <a:lnTo>
                  <a:pt x="44" y="1208"/>
                </a:lnTo>
                <a:lnTo>
                  <a:pt x="38" y="1221"/>
                </a:lnTo>
                <a:lnTo>
                  <a:pt x="34" y="1224"/>
                </a:lnTo>
                <a:lnTo>
                  <a:pt x="31" y="1227"/>
                </a:lnTo>
                <a:lnTo>
                  <a:pt x="28" y="1227"/>
                </a:lnTo>
                <a:lnTo>
                  <a:pt x="25" y="1231"/>
                </a:lnTo>
                <a:lnTo>
                  <a:pt x="24" y="1232"/>
                </a:lnTo>
                <a:lnTo>
                  <a:pt x="23" y="1232"/>
                </a:lnTo>
                <a:lnTo>
                  <a:pt x="17" y="1233"/>
                </a:lnTo>
                <a:lnTo>
                  <a:pt x="14" y="1237"/>
                </a:lnTo>
                <a:lnTo>
                  <a:pt x="8" y="1244"/>
                </a:lnTo>
                <a:lnTo>
                  <a:pt x="0" y="1250"/>
                </a:lnTo>
                <a:lnTo>
                  <a:pt x="0" y="1394"/>
                </a:lnTo>
                <a:lnTo>
                  <a:pt x="0" y="1538"/>
                </a:lnTo>
                <a:lnTo>
                  <a:pt x="4" y="1533"/>
                </a:lnTo>
                <a:lnTo>
                  <a:pt x="5" y="1528"/>
                </a:lnTo>
                <a:lnTo>
                  <a:pt x="12" y="1480"/>
                </a:lnTo>
                <a:lnTo>
                  <a:pt x="19" y="1432"/>
                </a:lnTo>
                <a:lnTo>
                  <a:pt x="16" y="1431"/>
                </a:lnTo>
                <a:lnTo>
                  <a:pt x="14" y="1432"/>
                </a:lnTo>
                <a:lnTo>
                  <a:pt x="16" y="1431"/>
                </a:lnTo>
                <a:lnTo>
                  <a:pt x="19" y="1432"/>
                </a:lnTo>
                <a:lnTo>
                  <a:pt x="20" y="1419"/>
                </a:lnTo>
                <a:lnTo>
                  <a:pt x="23" y="1407"/>
                </a:lnTo>
                <a:lnTo>
                  <a:pt x="28" y="1370"/>
                </a:lnTo>
                <a:lnTo>
                  <a:pt x="33" y="1332"/>
                </a:lnTo>
                <a:lnTo>
                  <a:pt x="34" y="1328"/>
                </a:lnTo>
                <a:lnTo>
                  <a:pt x="30" y="1324"/>
                </a:lnTo>
                <a:lnTo>
                  <a:pt x="20" y="1315"/>
                </a:lnTo>
                <a:lnTo>
                  <a:pt x="26" y="1301"/>
                </a:lnTo>
                <a:lnTo>
                  <a:pt x="24" y="1301"/>
                </a:lnTo>
                <a:lnTo>
                  <a:pt x="23" y="1301"/>
                </a:lnTo>
                <a:lnTo>
                  <a:pt x="24" y="1301"/>
                </a:lnTo>
                <a:lnTo>
                  <a:pt x="26" y="1301"/>
                </a:lnTo>
                <a:lnTo>
                  <a:pt x="27" y="1301"/>
                </a:lnTo>
                <a:lnTo>
                  <a:pt x="28" y="1300"/>
                </a:lnTo>
                <a:lnTo>
                  <a:pt x="31" y="1297"/>
                </a:lnTo>
                <a:lnTo>
                  <a:pt x="34" y="1294"/>
                </a:lnTo>
                <a:lnTo>
                  <a:pt x="39" y="1297"/>
                </a:lnTo>
                <a:lnTo>
                  <a:pt x="40" y="1302"/>
                </a:lnTo>
                <a:lnTo>
                  <a:pt x="40" y="1302"/>
                </a:lnTo>
                <a:lnTo>
                  <a:pt x="40" y="1304"/>
                </a:lnTo>
                <a:lnTo>
                  <a:pt x="39" y="1305"/>
                </a:lnTo>
                <a:lnTo>
                  <a:pt x="38" y="1309"/>
                </a:lnTo>
                <a:lnTo>
                  <a:pt x="40" y="1312"/>
                </a:lnTo>
                <a:lnTo>
                  <a:pt x="38" y="1339"/>
                </a:lnTo>
                <a:lnTo>
                  <a:pt x="36" y="1365"/>
                </a:lnTo>
                <a:lnTo>
                  <a:pt x="35" y="1373"/>
                </a:lnTo>
                <a:lnTo>
                  <a:pt x="32" y="1380"/>
                </a:lnTo>
                <a:lnTo>
                  <a:pt x="30" y="1387"/>
                </a:lnTo>
                <a:lnTo>
                  <a:pt x="35" y="1393"/>
                </a:lnTo>
                <a:lnTo>
                  <a:pt x="39" y="1400"/>
                </a:lnTo>
                <a:lnTo>
                  <a:pt x="36" y="1407"/>
                </a:lnTo>
                <a:lnTo>
                  <a:pt x="34" y="1422"/>
                </a:lnTo>
                <a:lnTo>
                  <a:pt x="36" y="1438"/>
                </a:lnTo>
                <a:lnTo>
                  <a:pt x="38" y="1452"/>
                </a:lnTo>
                <a:lnTo>
                  <a:pt x="35" y="1467"/>
                </a:lnTo>
                <a:lnTo>
                  <a:pt x="30" y="1511"/>
                </a:lnTo>
                <a:lnTo>
                  <a:pt x="25" y="1555"/>
                </a:lnTo>
                <a:lnTo>
                  <a:pt x="33" y="1555"/>
                </a:lnTo>
                <a:lnTo>
                  <a:pt x="38" y="1559"/>
                </a:lnTo>
                <a:lnTo>
                  <a:pt x="33" y="1555"/>
                </a:lnTo>
                <a:lnTo>
                  <a:pt x="25" y="1555"/>
                </a:lnTo>
                <a:lnTo>
                  <a:pt x="19" y="1572"/>
                </a:lnTo>
                <a:lnTo>
                  <a:pt x="3" y="1573"/>
                </a:lnTo>
                <a:lnTo>
                  <a:pt x="1" y="1573"/>
                </a:lnTo>
                <a:lnTo>
                  <a:pt x="0" y="1573"/>
                </a:lnTo>
                <a:lnTo>
                  <a:pt x="0" y="1574"/>
                </a:lnTo>
                <a:lnTo>
                  <a:pt x="0" y="1575"/>
                </a:lnTo>
                <a:lnTo>
                  <a:pt x="19" y="1576"/>
                </a:lnTo>
                <a:lnTo>
                  <a:pt x="35" y="1567"/>
                </a:lnTo>
                <a:lnTo>
                  <a:pt x="35" y="1565"/>
                </a:lnTo>
                <a:lnTo>
                  <a:pt x="36" y="1567"/>
                </a:lnTo>
                <a:lnTo>
                  <a:pt x="36" y="1569"/>
                </a:lnTo>
                <a:lnTo>
                  <a:pt x="38" y="1571"/>
                </a:lnTo>
                <a:lnTo>
                  <a:pt x="39" y="1580"/>
                </a:lnTo>
                <a:lnTo>
                  <a:pt x="49" y="1580"/>
                </a:lnTo>
                <a:lnTo>
                  <a:pt x="38" y="1584"/>
                </a:lnTo>
                <a:lnTo>
                  <a:pt x="27" y="1589"/>
                </a:lnTo>
                <a:lnTo>
                  <a:pt x="25" y="1590"/>
                </a:lnTo>
                <a:lnTo>
                  <a:pt x="23" y="1589"/>
                </a:lnTo>
                <a:lnTo>
                  <a:pt x="14" y="1580"/>
                </a:lnTo>
                <a:lnTo>
                  <a:pt x="3" y="1586"/>
                </a:lnTo>
                <a:lnTo>
                  <a:pt x="1" y="1586"/>
                </a:lnTo>
                <a:lnTo>
                  <a:pt x="0" y="1586"/>
                </a:lnTo>
                <a:lnTo>
                  <a:pt x="0" y="1614"/>
                </a:lnTo>
                <a:lnTo>
                  <a:pt x="0" y="1641"/>
                </a:lnTo>
                <a:lnTo>
                  <a:pt x="0" y="1832"/>
                </a:lnTo>
                <a:lnTo>
                  <a:pt x="0" y="2022"/>
                </a:lnTo>
                <a:lnTo>
                  <a:pt x="25" y="2022"/>
                </a:lnTo>
                <a:lnTo>
                  <a:pt x="50" y="2023"/>
                </a:lnTo>
                <a:lnTo>
                  <a:pt x="134" y="2023"/>
                </a:lnTo>
                <a:lnTo>
                  <a:pt x="218" y="2023"/>
                </a:lnTo>
                <a:lnTo>
                  <a:pt x="225" y="2022"/>
                </a:lnTo>
                <a:lnTo>
                  <a:pt x="232" y="2022"/>
                </a:lnTo>
                <a:lnTo>
                  <a:pt x="1076" y="2022"/>
                </a:lnTo>
                <a:lnTo>
                  <a:pt x="1920" y="2022"/>
                </a:lnTo>
                <a:lnTo>
                  <a:pt x="2029" y="2023"/>
                </a:lnTo>
                <a:lnTo>
                  <a:pt x="2138" y="2023"/>
                </a:lnTo>
                <a:lnTo>
                  <a:pt x="2148" y="2023"/>
                </a:lnTo>
                <a:lnTo>
                  <a:pt x="2158" y="2022"/>
                </a:lnTo>
                <a:lnTo>
                  <a:pt x="2259" y="2022"/>
                </a:lnTo>
                <a:lnTo>
                  <a:pt x="2360" y="2022"/>
                </a:lnTo>
                <a:lnTo>
                  <a:pt x="2832" y="2022"/>
                </a:lnTo>
                <a:lnTo>
                  <a:pt x="3305" y="2022"/>
                </a:lnTo>
                <a:lnTo>
                  <a:pt x="3305" y="1976"/>
                </a:lnTo>
                <a:lnTo>
                  <a:pt x="3305" y="1931"/>
                </a:lnTo>
                <a:lnTo>
                  <a:pt x="3305" y="1925"/>
                </a:lnTo>
                <a:lnTo>
                  <a:pt x="3305" y="1919"/>
                </a:lnTo>
                <a:lnTo>
                  <a:pt x="3305" y="1913"/>
                </a:lnTo>
                <a:lnTo>
                  <a:pt x="3305" y="1908"/>
                </a:lnTo>
                <a:lnTo>
                  <a:pt x="3305" y="1900"/>
                </a:lnTo>
                <a:lnTo>
                  <a:pt x="3305" y="1893"/>
                </a:lnTo>
                <a:lnTo>
                  <a:pt x="3305" y="1843"/>
                </a:lnTo>
                <a:lnTo>
                  <a:pt x="3305" y="1791"/>
                </a:lnTo>
                <a:lnTo>
                  <a:pt x="3305" y="1789"/>
                </a:lnTo>
                <a:lnTo>
                  <a:pt x="3305" y="1786"/>
                </a:lnTo>
                <a:lnTo>
                  <a:pt x="3294" y="1789"/>
                </a:lnTo>
                <a:lnTo>
                  <a:pt x="3294" y="1801"/>
                </a:lnTo>
                <a:lnTo>
                  <a:pt x="3291" y="1797"/>
                </a:lnTo>
                <a:lnTo>
                  <a:pt x="3287" y="1794"/>
                </a:lnTo>
                <a:lnTo>
                  <a:pt x="3287" y="1791"/>
                </a:lnTo>
                <a:lnTo>
                  <a:pt x="3287" y="1789"/>
                </a:lnTo>
                <a:lnTo>
                  <a:pt x="3283" y="1792"/>
                </a:lnTo>
                <a:lnTo>
                  <a:pt x="3280" y="1797"/>
                </a:lnTo>
                <a:lnTo>
                  <a:pt x="3279" y="1798"/>
                </a:lnTo>
                <a:lnTo>
                  <a:pt x="3279" y="1800"/>
                </a:lnTo>
                <a:lnTo>
                  <a:pt x="3279" y="1798"/>
                </a:lnTo>
                <a:lnTo>
                  <a:pt x="3280" y="1797"/>
                </a:lnTo>
                <a:lnTo>
                  <a:pt x="3283" y="1792"/>
                </a:lnTo>
                <a:lnTo>
                  <a:pt x="3287" y="1789"/>
                </a:lnTo>
                <a:lnTo>
                  <a:pt x="3287" y="1784"/>
                </a:lnTo>
                <a:lnTo>
                  <a:pt x="3291" y="1781"/>
                </a:lnTo>
                <a:lnTo>
                  <a:pt x="3294" y="1778"/>
                </a:lnTo>
                <a:lnTo>
                  <a:pt x="3294" y="1775"/>
                </a:lnTo>
                <a:lnTo>
                  <a:pt x="3293" y="1772"/>
                </a:lnTo>
                <a:lnTo>
                  <a:pt x="3290" y="1772"/>
                </a:lnTo>
                <a:lnTo>
                  <a:pt x="3283" y="1770"/>
                </a:lnTo>
                <a:lnTo>
                  <a:pt x="3286" y="1763"/>
                </a:lnTo>
                <a:lnTo>
                  <a:pt x="3287" y="1759"/>
                </a:lnTo>
                <a:lnTo>
                  <a:pt x="3286" y="1755"/>
                </a:lnTo>
                <a:lnTo>
                  <a:pt x="3281" y="1754"/>
                </a:lnTo>
                <a:lnTo>
                  <a:pt x="3278" y="1755"/>
                </a:lnTo>
                <a:lnTo>
                  <a:pt x="3272" y="1759"/>
                </a:lnTo>
                <a:lnTo>
                  <a:pt x="3272" y="1766"/>
                </a:lnTo>
                <a:lnTo>
                  <a:pt x="3271" y="1766"/>
                </a:lnTo>
                <a:lnTo>
                  <a:pt x="3269" y="1766"/>
                </a:lnTo>
                <a:lnTo>
                  <a:pt x="3269" y="1748"/>
                </a:lnTo>
                <a:lnTo>
                  <a:pt x="3267" y="1731"/>
                </a:lnTo>
                <a:lnTo>
                  <a:pt x="3257" y="1739"/>
                </a:lnTo>
                <a:lnTo>
                  <a:pt x="3246" y="1739"/>
                </a:lnTo>
                <a:lnTo>
                  <a:pt x="3235" y="1737"/>
                </a:lnTo>
                <a:lnTo>
                  <a:pt x="3225" y="1735"/>
                </a:lnTo>
                <a:lnTo>
                  <a:pt x="3218" y="1736"/>
                </a:lnTo>
                <a:lnTo>
                  <a:pt x="3216" y="1741"/>
                </a:lnTo>
                <a:lnTo>
                  <a:pt x="3212" y="1748"/>
                </a:lnTo>
                <a:lnTo>
                  <a:pt x="3205" y="1743"/>
                </a:lnTo>
                <a:lnTo>
                  <a:pt x="3205" y="1740"/>
                </a:lnTo>
                <a:lnTo>
                  <a:pt x="3207" y="1737"/>
                </a:lnTo>
                <a:lnTo>
                  <a:pt x="3207" y="1732"/>
                </a:lnTo>
                <a:lnTo>
                  <a:pt x="3205" y="1728"/>
                </a:lnTo>
                <a:lnTo>
                  <a:pt x="3209" y="1715"/>
                </a:lnTo>
                <a:lnTo>
                  <a:pt x="3204" y="1702"/>
                </a:lnTo>
                <a:lnTo>
                  <a:pt x="3202" y="1699"/>
                </a:lnTo>
                <a:lnTo>
                  <a:pt x="3198" y="1701"/>
                </a:lnTo>
                <a:lnTo>
                  <a:pt x="3195" y="1706"/>
                </a:lnTo>
                <a:lnTo>
                  <a:pt x="3193" y="1710"/>
                </a:lnTo>
                <a:lnTo>
                  <a:pt x="3187" y="1706"/>
                </a:lnTo>
                <a:lnTo>
                  <a:pt x="3186" y="1698"/>
                </a:lnTo>
                <a:lnTo>
                  <a:pt x="3188" y="1678"/>
                </a:lnTo>
                <a:lnTo>
                  <a:pt x="3192" y="1659"/>
                </a:lnTo>
                <a:lnTo>
                  <a:pt x="3192" y="1655"/>
                </a:lnTo>
                <a:lnTo>
                  <a:pt x="3189" y="1654"/>
                </a:lnTo>
                <a:lnTo>
                  <a:pt x="3174" y="1644"/>
                </a:lnTo>
                <a:lnTo>
                  <a:pt x="3178" y="1624"/>
                </a:lnTo>
                <a:lnTo>
                  <a:pt x="3179" y="1621"/>
                </a:lnTo>
                <a:lnTo>
                  <a:pt x="3179" y="1618"/>
                </a:lnTo>
                <a:lnTo>
                  <a:pt x="3173" y="1598"/>
                </a:lnTo>
                <a:lnTo>
                  <a:pt x="3170" y="1577"/>
                </a:lnTo>
                <a:lnTo>
                  <a:pt x="3166" y="1545"/>
                </a:lnTo>
                <a:lnTo>
                  <a:pt x="3159" y="1514"/>
                </a:lnTo>
                <a:lnTo>
                  <a:pt x="3156" y="1487"/>
                </a:lnTo>
                <a:lnTo>
                  <a:pt x="3150" y="1461"/>
                </a:lnTo>
                <a:lnTo>
                  <a:pt x="3150" y="1460"/>
                </a:lnTo>
                <a:lnTo>
                  <a:pt x="3150" y="1458"/>
                </a:lnTo>
                <a:lnTo>
                  <a:pt x="3152" y="1451"/>
                </a:lnTo>
                <a:lnTo>
                  <a:pt x="3150" y="1443"/>
                </a:lnTo>
                <a:lnTo>
                  <a:pt x="3153" y="1440"/>
                </a:lnTo>
                <a:lnTo>
                  <a:pt x="3152" y="1436"/>
                </a:lnTo>
                <a:lnTo>
                  <a:pt x="3144" y="1423"/>
                </a:lnTo>
                <a:lnTo>
                  <a:pt x="3140" y="1407"/>
                </a:lnTo>
                <a:lnTo>
                  <a:pt x="3132" y="1386"/>
                </a:lnTo>
                <a:lnTo>
                  <a:pt x="3114" y="1370"/>
                </a:lnTo>
                <a:lnTo>
                  <a:pt x="3101" y="1368"/>
                </a:lnTo>
                <a:lnTo>
                  <a:pt x="3093" y="1379"/>
                </a:lnTo>
                <a:lnTo>
                  <a:pt x="3093" y="1399"/>
                </a:lnTo>
                <a:lnTo>
                  <a:pt x="3092" y="1418"/>
                </a:lnTo>
                <a:lnTo>
                  <a:pt x="3095" y="1422"/>
                </a:lnTo>
                <a:lnTo>
                  <a:pt x="3102" y="1424"/>
                </a:lnTo>
                <a:lnTo>
                  <a:pt x="3093" y="1435"/>
                </a:lnTo>
                <a:lnTo>
                  <a:pt x="3092" y="1449"/>
                </a:lnTo>
                <a:lnTo>
                  <a:pt x="3098" y="1482"/>
                </a:lnTo>
                <a:lnTo>
                  <a:pt x="3103" y="1516"/>
                </a:lnTo>
                <a:lnTo>
                  <a:pt x="3106" y="1535"/>
                </a:lnTo>
                <a:lnTo>
                  <a:pt x="3105" y="1556"/>
                </a:lnTo>
                <a:lnTo>
                  <a:pt x="3104" y="1563"/>
                </a:lnTo>
                <a:lnTo>
                  <a:pt x="3107" y="1570"/>
                </a:lnTo>
                <a:lnTo>
                  <a:pt x="3112" y="1587"/>
                </a:lnTo>
                <a:lnTo>
                  <a:pt x="3120" y="1603"/>
                </a:lnTo>
                <a:lnTo>
                  <a:pt x="3121" y="1604"/>
                </a:lnTo>
                <a:lnTo>
                  <a:pt x="3120" y="1605"/>
                </a:lnTo>
                <a:lnTo>
                  <a:pt x="3117" y="1622"/>
                </a:lnTo>
                <a:lnTo>
                  <a:pt x="3122" y="1639"/>
                </a:lnTo>
                <a:lnTo>
                  <a:pt x="3122" y="1644"/>
                </a:lnTo>
                <a:lnTo>
                  <a:pt x="3122" y="1649"/>
                </a:lnTo>
                <a:lnTo>
                  <a:pt x="3121" y="1650"/>
                </a:lnTo>
                <a:lnTo>
                  <a:pt x="3120" y="1650"/>
                </a:lnTo>
                <a:lnTo>
                  <a:pt x="3118" y="1650"/>
                </a:lnTo>
                <a:lnTo>
                  <a:pt x="3116" y="1650"/>
                </a:lnTo>
                <a:lnTo>
                  <a:pt x="3109" y="1648"/>
                </a:lnTo>
                <a:lnTo>
                  <a:pt x="3102" y="1650"/>
                </a:lnTo>
                <a:lnTo>
                  <a:pt x="3083" y="1642"/>
                </a:lnTo>
                <a:lnTo>
                  <a:pt x="3078" y="1620"/>
                </a:lnTo>
                <a:lnTo>
                  <a:pt x="3080" y="1610"/>
                </a:lnTo>
                <a:lnTo>
                  <a:pt x="3090" y="1609"/>
                </a:lnTo>
                <a:lnTo>
                  <a:pt x="3096" y="1609"/>
                </a:lnTo>
                <a:lnTo>
                  <a:pt x="3103" y="1608"/>
                </a:lnTo>
                <a:lnTo>
                  <a:pt x="3103" y="1619"/>
                </a:lnTo>
                <a:lnTo>
                  <a:pt x="3107" y="1631"/>
                </a:lnTo>
                <a:lnTo>
                  <a:pt x="3107" y="1619"/>
                </a:lnTo>
                <a:lnTo>
                  <a:pt x="3109" y="1609"/>
                </a:lnTo>
                <a:lnTo>
                  <a:pt x="3106" y="1608"/>
                </a:lnTo>
                <a:lnTo>
                  <a:pt x="3104" y="1607"/>
                </a:lnTo>
                <a:lnTo>
                  <a:pt x="3096" y="1605"/>
                </a:lnTo>
                <a:lnTo>
                  <a:pt x="3089" y="1603"/>
                </a:lnTo>
                <a:lnTo>
                  <a:pt x="3079" y="1599"/>
                </a:lnTo>
                <a:lnTo>
                  <a:pt x="3074" y="1589"/>
                </a:lnTo>
                <a:lnTo>
                  <a:pt x="3073" y="1558"/>
                </a:lnTo>
                <a:lnTo>
                  <a:pt x="3061" y="1529"/>
                </a:lnTo>
                <a:lnTo>
                  <a:pt x="3066" y="1531"/>
                </a:lnTo>
                <a:lnTo>
                  <a:pt x="3072" y="1531"/>
                </a:lnTo>
                <a:lnTo>
                  <a:pt x="3072" y="1527"/>
                </a:lnTo>
                <a:lnTo>
                  <a:pt x="3070" y="1522"/>
                </a:lnTo>
                <a:lnTo>
                  <a:pt x="3065" y="1517"/>
                </a:lnTo>
                <a:lnTo>
                  <a:pt x="3062" y="1512"/>
                </a:lnTo>
                <a:lnTo>
                  <a:pt x="3057" y="1504"/>
                </a:lnTo>
                <a:lnTo>
                  <a:pt x="3064" y="1499"/>
                </a:lnTo>
                <a:lnTo>
                  <a:pt x="3065" y="1498"/>
                </a:lnTo>
                <a:lnTo>
                  <a:pt x="3065" y="1495"/>
                </a:lnTo>
                <a:lnTo>
                  <a:pt x="3063" y="1485"/>
                </a:lnTo>
                <a:lnTo>
                  <a:pt x="3057" y="1478"/>
                </a:lnTo>
                <a:lnTo>
                  <a:pt x="3053" y="1476"/>
                </a:lnTo>
                <a:lnTo>
                  <a:pt x="3053" y="1472"/>
                </a:lnTo>
                <a:lnTo>
                  <a:pt x="3059" y="1454"/>
                </a:lnTo>
                <a:lnTo>
                  <a:pt x="3056" y="1435"/>
                </a:lnTo>
                <a:lnTo>
                  <a:pt x="3056" y="1428"/>
                </a:lnTo>
                <a:lnTo>
                  <a:pt x="3050" y="1423"/>
                </a:lnTo>
                <a:lnTo>
                  <a:pt x="3057" y="1401"/>
                </a:lnTo>
                <a:lnTo>
                  <a:pt x="3047" y="1379"/>
                </a:lnTo>
                <a:lnTo>
                  <a:pt x="3047" y="1376"/>
                </a:lnTo>
                <a:lnTo>
                  <a:pt x="3046" y="1374"/>
                </a:lnTo>
                <a:lnTo>
                  <a:pt x="3046" y="1373"/>
                </a:lnTo>
                <a:lnTo>
                  <a:pt x="3046" y="1372"/>
                </a:lnTo>
                <a:lnTo>
                  <a:pt x="3041" y="1360"/>
                </a:lnTo>
                <a:lnTo>
                  <a:pt x="3034" y="1348"/>
                </a:lnTo>
                <a:lnTo>
                  <a:pt x="3021" y="1332"/>
                </a:lnTo>
                <a:lnTo>
                  <a:pt x="3001" y="1326"/>
                </a:lnTo>
                <a:lnTo>
                  <a:pt x="2981" y="1342"/>
                </a:lnTo>
                <a:lnTo>
                  <a:pt x="2975" y="1364"/>
                </a:lnTo>
                <a:lnTo>
                  <a:pt x="2980" y="1375"/>
                </a:lnTo>
                <a:lnTo>
                  <a:pt x="2980" y="1386"/>
                </a:lnTo>
                <a:lnTo>
                  <a:pt x="2979" y="1395"/>
                </a:lnTo>
                <a:lnTo>
                  <a:pt x="2987" y="1400"/>
                </a:lnTo>
                <a:lnTo>
                  <a:pt x="2982" y="1408"/>
                </a:lnTo>
                <a:lnTo>
                  <a:pt x="2977" y="1417"/>
                </a:lnTo>
                <a:lnTo>
                  <a:pt x="2977" y="1430"/>
                </a:lnTo>
                <a:lnTo>
                  <a:pt x="2981" y="1440"/>
                </a:lnTo>
                <a:lnTo>
                  <a:pt x="2986" y="1498"/>
                </a:lnTo>
                <a:lnTo>
                  <a:pt x="2984" y="1555"/>
                </a:lnTo>
                <a:lnTo>
                  <a:pt x="2984" y="1558"/>
                </a:lnTo>
                <a:lnTo>
                  <a:pt x="2985" y="1560"/>
                </a:lnTo>
                <a:lnTo>
                  <a:pt x="2995" y="1577"/>
                </a:lnTo>
                <a:lnTo>
                  <a:pt x="3001" y="1595"/>
                </a:lnTo>
                <a:lnTo>
                  <a:pt x="3005" y="1610"/>
                </a:lnTo>
                <a:lnTo>
                  <a:pt x="3011" y="1624"/>
                </a:lnTo>
                <a:lnTo>
                  <a:pt x="3015" y="1626"/>
                </a:lnTo>
                <a:lnTo>
                  <a:pt x="3015" y="1632"/>
                </a:lnTo>
                <a:lnTo>
                  <a:pt x="3011" y="1635"/>
                </a:lnTo>
                <a:lnTo>
                  <a:pt x="3004" y="1635"/>
                </a:lnTo>
                <a:lnTo>
                  <a:pt x="2985" y="1633"/>
                </a:lnTo>
                <a:lnTo>
                  <a:pt x="2966" y="1632"/>
                </a:lnTo>
                <a:lnTo>
                  <a:pt x="2961" y="1632"/>
                </a:lnTo>
                <a:lnTo>
                  <a:pt x="2961" y="1637"/>
                </a:lnTo>
                <a:lnTo>
                  <a:pt x="2962" y="1641"/>
                </a:lnTo>
                <a:lnTo>
                  <a:pt x="2965" y="1641"/>
                </a:lnTo>
                <a:lnTo>
                  <a:pt x="2976" y="1636"/>
                </a:lnTo>
                <a:lnTo>
                  <a:pt x="2988" y="1637"/>
                </a:lnTo>
                <a:lnTo>
                  <a:pt x="2983" y="1639"/>
                </a:lnTo>
                <a:lnTo>
                  <a:pt x="2979" y="1640"/>
                </a:lnTo>
                <a:lnTo>
                  <a:pt x="2988" y="1646"/>
                </a:lnTo>
                <a:lnTo>
                  <a:pt x="3000" y="1647"/>
                </a:lnTo>
                <a:lnTo>
                  <a:pt x="3007" y="1649"/>
                </a:lnTo>
                <a:lnTo>
                  <a:pt x="3011" y="1656"/>
                </a:lnTo>
                <a:lnTo>
                  <a:pt x="3011" y="1675"/>
                </a:lnTo>
                <a:lnTo>
                  <a:pt x="3011" y="1692"/>
                </a:lnTo>
                <a:lnTo>
                  <a:pt x="3013" y="1698"/>
                </a:lnTo>
                <a:lnTo>
                  <a:pt x="3019" y="1700"/>
                </a:lnTo>
                <a:lnTo>
                  <a:pt x="3047" y="1701"/>
                </a:lnTo>
                <a:lnTo>
                  <a:pt x="3074" y="1705"/>
                </a:lnTo>
                <a:lnTo>
                  <a:pt x="3089" y="1702"/>
                </a:lnTo>
                <a:lnTo>
                  <a:pt x="3090" y="1687"/>
                </a:lnTo>
                <a:lnTo>
                  <a:pt x="3089" y="1684"/>
                </a:lnTo>
                <a:lnTo>
                  <a:pt x="3089" y="1680"/>
                </a:lnTo>
                <a:lnTo>
                  <a:pt x="3090" y="1677"/>
                </a:lnTo>
                <a:lnTo>
                  <a:pt x="3093" y="1676"/>
                </a:lnTo>
                <a:lnTo>
                  <a:pt x="3096" y="1677"/>
                </a:lnTo>
                <a:lnTo>
                  <a:pt x="3096" y="1680"/>
                </a:lnTo>
                <a:lnTo>
                  <a:pt x="3098" y="1694"/>
                </a:lnTo>
                <a:lnTo>
                  <a:pt x="3106" y="1706"/>
                </a:lnTo>
                <a:lnTo>
                  <a:pt x="3107" y="1708"/>
                </a:lnTo>
                <a:lnTo>
                  <a:pt x="3109" y="1709"/>
                </a:lnTo>
                <a:lnTo>
                  <a:pt x="3112" y="1708"/>
                </a:lnTo>
                <a:lnTo>
                  <a:pt x="3112" y="1705"/>
                </a:lnTo>
                <a:lnTo>
                  <a:pt x="3111" y="1697"/>
                </a:lnTo>
                <a:lnTo>
                  <a:pt x="3114" y="1691"/>
                </a:lnTo>
                <a:lnTo>
                  <a:pt x="3121" y="1683"/>
                </a:lnTo>
                <a:lnTo>
                  <a:pt x="3118" y="1674"/>
                </a:lnTo>
                <a:lnTo>
                  <a:pt x="3118" y="1670"/>
                </a:lnTo>
                <a:lnTo>
                  <a:pt x="3119" y="1666"/>
                </a:lnTo>
                <a:lnTo>
                  <a:pt x="3118" y="1665"/>
                </a:lnTo>
                <a:lnTo>
                  <a:pt x="3118" y="1665"/>
                </a:lnTo>
                <a:lnTo>
                  <a:pt x="3118" y="1665"/>
                </a:lnTo>
                <a:lnTo>
                  <a:pt x="3119" y="1666"/>
                </a:lnTo>
                <a:lnTo>
                  <a:pt x="3120" y="1666"/>
                </a:lnTo>
                <a:lnTo>
                  <a:pt x="3120" y="1666"/>
                </a:lnTo>
                <a:lnTo>
                  <a:pt x="3122" y="1666"/>
                </a:lnTo>
                <a:lnTo>
                  <a:pt x="3131" y="1676"/>
                </a:lnTo>
                <a:lnTo>
                  <a:pt x="3127" y="1688"/>
                </a:lnTo>
                <a:lnTo>
                  <a:pt x="3122" y="1701"/>
                </a:lnTo>
                <a:lnTo>
                  <a:pt x="3128" y="1714"/>
                </a:lnTo>
                <a:lnTo>
                  <a:pt x="3131" y="1717"/>
                </a:lnTo>
                <a:lnTo>
                  <a:pt x="3132" y="1722"/>
                </a:lnTo>
                <a:lnTo>
                  <a:pt x="3124" y="1724"/>
                </a:lnTo>
                <a:lnTo>
                  <a:pt x="3117" y="1726"/>
                </a:lnTo>
                <a:lnTo>
                  <a:pt x="3106" y="1724"/>
                </a:lnTo>
                <a:lnTo>
                  <a:pt x="3099" y="1728"/>
                </a:lnTo>
                <a:lnTo>
                  <a:pt x="3106" y="1735"/>
                </a:lnTo>
                <a:lnTo>
                  <a:pt x="3118" y="1736"/>
                </a:lnTo>
                <a:lnTo>
                  <a:pt x="3129" y="1740"/>
                </a:lnTo>
                <a:lnTo>
                  <a:pt x="3134" y="1749"/>
                </a:lnTo>
                <a:lnTo>
                  <a:pt x="3135" y="1759"/>
                </a:lnTo>
                <a:lnTo>
                  <a:pt x="3139" y="1769"/>
                </a:lnTo>
                <a:lnTo>
                  <a:pt x="3141" y="1774"/>
                </a:lnTo>
                <a:lnTo>
                  <a:pt x="3141" y="1781"/>
                </a:lnTo>
                <a:lnTo>
                  <a:pt x="3140" y="1784"/>
                </a:lnTo>
                <a:lnTo>
                  <a:pt x="3138" y="1785"/>
                </a:lnTo>
                <a:lnTo>
                  <a:pt x="3135" y="1785"/>
                </a:lnTo>
                <a:lnTo>
                  <a:pt x="3134" y="1783"/>
                </a:lnTo>
                <a:lnTo>
                  <a:pt x="3128" y="1772"/>
                </a:lnTo>
                <a:lnTo>
                  <a:pt x="3117" y="1769"/>
                </a:lnTo>
                <a:lnTo>
                  <a:pt x="3110" y="1766"/>
                </a:lnTo>
                <a:lnTo>
                  <a:pt x="3108" y="1758"/>
                </a:lnTo>
                <a:lnTo>
                  <a:pt x="3105" y="1752"/>
                </a:lnTo>
                <a:lnTo>
                  <a:pt x="3097" y="1749"/>
                </a:lnTo>
                <a:lnTo>
                  <a:pt x="3092" y="1752"/>
                </a:lnTo>
                <a:lnTo>
                  <a:pt x="3089" y="1757"/>
                </a:lnTo>
                <a:lnTo>
                  <a:pt x="3088" y="1763"/>
                </a:lnTo>
                <a:lnTo>
                  <a:pt x="3086" y="1770"/>
                </a:lnTo>
                <a:lnTo>
                  <a:pt x="3086" y="1770"/>
                </a:lnTo>
                <a:lnTo>
                  <a:pt x="3082" y="1770"/>
                </a:lnTo>
                <a:lnTo>
                  <a:pt x="3079" y="1770"/>
                </a:lnTo>
                <a:lnTo>
                  <a:pt x="3078" y="1771"/>
                </a:lnTo>
                <a:lnTo>
                  <a:pt x="3078" y="1772"/>
                </a:lnTo>
                <a:lnTo>
                  <a:pt x="3077" y="1772"/>
                </a:lnTo>
                <a:lnTo>
                  <a:pt x="3077" y="1773"/>
                </a:lnTo>
                <a:lnTo>
                  <a:pt x="3076" y="1774"/>
                </a:lnTo>
                <a:lnTo>
                  <a:pt x="3076" y="1774"/>
                </a:lnTo>
                <a:lnTo>
                  <a:pt x="3076" y="1774"/>
                </a:lnTo>
                <a:lnTo>
                  <a:pt x="3077" y="1773"/>
                </a:lnTo>
                <a:lnTo>
                  <a:pt x="3077" y="1772"/>
                </a:lnTo>
                <a:lnTo>
                  <a:pt x="3078" y="1772"/>
                </a:lnTo>
                <a:lnTo>
                  <a:pt x="3078" y="1771"/>
                </a:lnTo>
                <a:lnTo>
                  <a:pt x="3079" y="1770"/>
                </a:lnTo>
                <a:lnTo>
                  <a:pt x="3076" y="1766"/>
                </a:lnTo>
                <a:lnTo>
                  <a:pt x="3071" y="1767"/>
                </a:lnTo>
                <a:lnTo>
                  <a:pt x="3070" y="1759"/>
                </a:lnTo>
                <a:lnTo>
                  <a:pt x="3067" y="1752"/>
                </a:lnTo>
                <a:lnTo>
                  <a:pt x="3064" y="1754"/>
                </a:lnTo>
                <a:lnTo>
                  <a:pt x="3063" y="1756"/>
                </a:lnTo>
                <a:lnTo>
                  <a:pt x="3060" y="1768"/>
                </a:lnTo>
                <a:lnTo>
                  <a:pt x="3051" y="1764"/>
                </a:lnTo>
                <a:lnTo>
                  <a:pt x="3042" y="1762"/>
                </a:lnTo>
                <a:lnTo>
                  <a:pt x="3041" y="1770"/>
                </a:lnTo>
                <a:lnTo>
                  <a:pt x="3035" y="1793"/>
                </a:lnTo>
                <a:lnTo>
                  <a:pt x="3030" y="1817"/>
                </a:lnTo>
                <a:lnTo>
                  <a:pt x="3016" y="1816"/>
                </a:lnTo>
                <a:lnTo>
                  <a:pt x="3014" y="1802"/>
                </a:lnTo>
                <a:lnTo>
                  <a:pt x="3013" y="1801"/>
                </a:lnTo>
                <a:lnTo>
                  <a:pt x="3013" y="1800"/>
                </a:lnTo>
                <a:lnTo>
                  <a:pt x="3012" y="1791"/>
                </a:lnTo>
                <a:lnTo>
                  <a:pt x="3015" y="1783"/>
                </a:lnTo>
                <a:lnTo>
                  <a:pt x="3021" y="1782"/>
                </a:lnTo>
                <a:lnTo>
                  <a:pt x="3026" y="1786"/>
                </a:lnTo>
                <a:lnTo>
                  <a:pt x="3028" y="1769"/>
                </a:lnTo>
                <a:lnTo>
                  <a:pt x="3022" y="1754"/>
                </a:lnTo>
                <a:lnTo>
                  <a:pt x="3023" y="1751"/>
                </a:lnTo>
                <a:lnTo>
                  <a:pt x="3027" y="1748"/>
                </a:lnTo>
                <a:lnTo>
                  <a:pt x="3035" y="1743"/>
                </a:lnTo>
                <a:lnTo>
                  <a:pt x="3034" y="1733"/>
                </a:lnTo>
                <a:lnTo>
                  <a:pt x="3028" y="1737"/>
                </a:lnTo>
                <a:lnTo>
                  <a:pt x="3021" y="1735"/>
                </a:lnTo>
                <a:lnTo>
                  <a:pt x="3013" y="1733"/>
                </a:lnTo>
                <a:lnTo>
                  <a:pt x="3010" y="1742"/>
                </a:lnTo>
                <a:lnTo>
                  <a:pt x="3010" y="1742"/>
                </a:lnTo>
                <a:lnTo>
                  <a:pt x="2990" y="1743"/>
                </a:lnTo>
                <a:lnTo>
                  <a:pt x="2987" y="1727"/>
                </a:lnTo>
                <a:lnTo>
                  <a:pt x="2988" y="1722"/>
                </a:lnTo>
                <a:lnTo>
                  <a:pt x="2983" y="1720"/>
                </a:lnTo>
                <a:lnTo>
                  <a:pt x="2937" y="1717"/>
                </a:lnTo>
                <a:lnTo>
                  <a:pt x="2891" y="1715"/>
                </a:lnTo>
                <a:lnTo>
                  <a:pt x="2881" y="1717"/>
                </a:lnTo>
                <a:lnTo>
                  <a:pt x="2874" y="1720"/>
                </a:lnTo>
                <a:lnTo>
                  <a:pt x="2859" y="1718"/>
                </a:lnTo>
                <a:lnTo>
                  <a:pt x="2844" y="1721"/>
                </a:lnTo>
                <a:lnTo>
                  <a:pt x="2839" y="1717"/>
                </a:lnTo>
                <a:lnTo>
                  <a:pt x="2834" y="1715"/>
                </a:lnTo>
                <a:lnTo>
                  <a:pt x="2834" y="1717"/>
                </a:lnTo>
                <a:lnTo>
                  <a:pt x="2834" y="1720"/>
                </a:lnTo>
                <a:lnTo>
                  <a:pt x="2834" y="1717"/>
                </a:lnTo>
                <a:lnTo>
                  <a:pt x="2834" y="1715"/>
                </a:lnTo>
                <a:lnTo>
                  <a:pt x="2824" y="1714"/>
                </a:lnTo>
                <a:lnTo>
                  <a:pt x="2814" y="1713"/>
                </a:lnTo>
                <a:lnTo>
                  <a:pt x="2814" y="1713"/>
                </a:lnTo>
                <a:lnTo>
                  <a:pt x="2813" y="1707"/>
                </a:lnTo>
                <a:lnTo>
                  <a:pt x="2810" y="1700"/>
                </a:lnTo>
                <a:lnTo>
                  <a:pt x="2815" y="1695"/>
                </a:lnTo>
                <a:lnTo>
                  <a:pt x="2817" y="1687"/>
                </a:lnTo>
                <a:lnTo>
                  <a:pt x="2813" y="1664"/>
                </a:lnTo>
                <a:lnTo>
                  <a:pt x="2815" y="1640"/>
                </a:lnTo>
                <a:lnTo>
                  <a:pt x="2816" y="1638"/>
                </a:lnTo>
                <a:lnTo>
                  <a:pt x="2816" y="1637"/>
                </a:lnTo>
                <a:lnTo>
                  <a:pt x="2808" y="1633"/>
                </a:lnTo>
                <a:lnTo>
                  <a:pt x="2801" y="1631"/>
                </a:lnTo>
                <a:lnTo>
                  <a:pt x="2793" y="1632"/>
                </a:lnTo>
                <a:lnTo>
                  <a:pt x="2790" y="1636"/>
                </a:lnTo>
                <a:lnTo>
                  <a:pt x="2789" y="1644"/>
                </a:lnTo>
                <a:lnTo>
                  <a:pt x="2795" y="1650"/>
                </a:lnTo>
                <a:lnTo>
                  <a:pt x="2800" y="1653"/>
                </a:lnTo>
                <a:lnTo>
                  <a:pt x="2800" y="1660"/>
                </a:lnTo>
                <a:lnTo>
                  <a:pt x="2788" y="1661"/>
                </a:lnTo>
                <a:lnTo>
                  <a:pt x="2777" y="1659"/>
                </a:lnTo>
                <a:lnTo>
                  <a:pt x="2776" y="1650"/>
                </a:lnTo>
                <a:lnTo>
                  <a:pt x="2785" y="1642"/>
                </a:lnTo>
                <a:lnTo>
                  <a:pt x="2767" y="1644"/>
                </a:lnTo>
                <a:lnTo>
                  <a:pt x="2750" y="1647"/>
                </a:lnTo>
                <a:lnTo>
                  <a:pt x="2745" y="1652"/>
                </a:lnTo>
                <a:lnTo>
                  <a:pt x="2749" y="1657"/>
                </a:lnTo>
                <a:lnTo>
                  <a:pt x="2761" y="1667"/>
                </a:lnTo>
                <a:lnTo>
                  <a:pt x="2776" y="1670"/>
                </a:lnTo>
                <a:lnTo>
                  <a:pt x="2782" y="1674"/>
                </a:lnTo>
                <a:lnTo>
                  <a:pt x="2784" y="1680"/>
                </a:lnTo>
                <a:lnTo>
                  <a:pt x="2782" y="1683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7" y="1680"/>
                </a:lnTo>
                <a:lnTo>
                  <a:pt x="2776" y="1679"/>
                </a:lnTo>
                <a:lnTo>
                  <a:pt x="2775" y="1679"/>
                </a:lnTo>
                <a:lnTo>
                  <a:pt x="2775" y="1680"/>
                </a:lnTo>
                <a:lnTo>
                  <a:pt x="2776" y="1681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78" y="1682"/>
                </a:lnTo>
                <a:lnTo>
                  <a:pt x="2790" y="1691"/>
                </a:lnTo>
                <a:lnTo>
                  <a:pt x="2803" y="1697"/>
                </a:lnTo>
                <a:lnTo>
                  <a:pt x="2803" y="1697"/>
                </a:lnTo>
                <a:lnTo>
                  <a:pt x="2802" y="1701"/>
                </a:lnTo>
                <a:lnTo>
                  <a:pt x="2801" y="1705"/>
                </a:lnTo>
                <a:lnTo>
                  <a:pt x="2794" y="1707"/>
                </a:lnTo>
                <a:lnTo>
                  <a:pt x="2788" y="1707"/>
                </a:lnTo>
                <a:lnTo>
                  <a:pt x="2782" y="1708"/>
                </a:lnTo>
                <a:lnTo>
                  <a:pt x="2778" y="1712"/>
                </a:lnTo>
                <a:lnTo>
                  <a:pt x="2760" y="1713"/>
                </a:lnTo>
                <a:lnTo>
                  <a:pt x="2742" y="1709"/>
                </a:lnTo>
                <a:lnTo>
                  <a:pt x="2737" y="1708"/>
                </a:lnTo>
                <a:lnTo>
                  <a:pt x="2737" y="1712"/>
                </a:lnTo>
                <a:lnTo>
                  <a:pt x="2743" y="1725"/>
                </a:lnTo>
                <a:lnTo>
                  <a:pt x="2753" y="1736"/>
                </a:lnTo>
                <a:lnTo>
                  <a:pt x="2752" y="1742"/>
                </a:lnTo>
                <a:lnTo>
                  <a:pt x="2750" y="1747"/>
                </a:lnTo>
                <a:lnTo>
                  <a:pt x="2745" y="1749"/>
                </a:lnTo>
                <a:lnTo>
                  <a:pt x="2741" y="1751"/>
                </a:lnTo>
                <a:lnTo>
                  <a:pt x="2728" y="1754"/>
                </a:lnTo>
                <a:lnTo>
                  <a:pt x="2723" y="1764"/>
                </a:lnTo>
                <a:lnTo>
                  <a:pt x="2720" y="1775"/>
                </a:lnTo>
                <a:lnTo>
                  <a:pt x="2716" y="1785"/>
                </a:lnTo>
                <a:lnTo>
                  <a:pt x="2708" y="1823"/>
                </a:lnTo>
                <a:lnTo>
                  <a:pt x="2717" y="1861"/>
                </a:lnTo>
                <a:lnTo>
                  <a:pt x="2708" y="1862"/>
                </a:lnTo>
                <a:lnTo>
                  <a:pt x="2702" y="1870"/>
                </a:lnTo>
                <a:lnTo>
                  <a:pt x="2703" y="1876"/>
                </a:lnTo>
                <a:lnTo>
                  <a:pt x="2704" y="1880"/>
                </a:lnTo>
                <a:lnTo>
                  <a:pt x="2707" y="1891"/>
                </a:lnTo>
                <a:lnTo>
                  <a:pt x="2717" y="1889"/>
                </a:lnTo>
                <a:lnTo>
                  <a:pt x="2719" y="1894"/>
                </a:lnTo>
                <a:lnTo>
                  <a:pt x="2719" y="1900"/>
                </a:lnTo>
                <a:lnTo>
                  <a:pt x="2708" y="1900"/>
                </a:lnTo>
                <a:lnTo>
                  <a:pt x="2697" y="1897"/>
                </a:lnTo>
                <a:lnTo>
                  <a:pt x="2691" y="1898"/>
                </a:lnTo>
                <a:lnTo>
                  <a:pt x="2688" y="1905"/>
                </a:lnTo>
                <a:lnTo>
                  <a:pt x="2689" y="1909"/>
                </a:lnTo>
                <a:lnTo>
                  <a:pt x="2695" y="1910"/>
                </a:lnTo>
                <a:lnTo>
                  <a:pt x="2708" y="1909"/>
                </a:lnTo>
                <a:lnTo>
                  <a:pt x="2719" y="1906"/>
                </a:lnTo>
                <a:lnTo>
                  <a:pt x="2723" y="1939"/>
                </a:lnTo>
                <a:lnTo>
                  <a:pt x="2726" y="1972"/>
                </a:lnTo>
                <a:lnTo>
                  <a:pt x="2725" y="1976"/>
                </a:lnTo>
                <a:lnTo>
                  <a:pt x="2720" y="1977"/>
                </a:lnTo>
                <a:lnTo>
                  <a:pt x="2720" y="1982"/>
                </a:lnTo>
                <a:lnTo>
                  <a:pt x="2720" y="1985"/>
                </a:lnTo>
                <a:lnTo>
                  <a:pt x="2719" y="1985"/>
                </a:lnTo>
                <a:lnTo>
                  <a:pt x="2719" y="1986"/>
                </a:lnTo>
                <a:lnTo>
                  <a:pt x="2719" y="1985"/>
                </a:lnTo>
                <a:lnTo>
                  <a:pt x="2720" y="1985"/>
                </a:lnTo>
                <a:lnTo>
                  <a:pt x="2720" y="1982"/>
                </a:lnTo>
                <a:lnTo>
                  <a:pt x="2720" y="1977"/>
                </a:lnTo>
                <a:lnTo>
                  <a:pt x="2703" y="1976"/>
                </a:lnTo>
                <a:lnTo>
                  <a:pt x="2698" y="1960"/>
                </a:lnTo>
                <a:lnTo>
                  <a:pt x="2697" y="1959"/>
                </a:lnTo>
                <a:lnTo>
                  <a:pt x="2694" y="1958"/>
                </a:lnTo>
                <a:lnTo>
                  <a:pt x="2694" y="1971"/>
                </a:lnTo>
                <a:lnTo>
                  <a:pt x="2692" y="1984"/>
                </a:lnTo>
                <a:lnTo>
                  <a:pt x="2689" y="1990"/>
                </a:lnTo>
                <a:lnTo>
                  <a:pt x="2683" y="1991"/>
                </a:lnTo>
                <a:lnTo>
                  <a:pt x="2679" y="1980"/>
                </a:lnTo>
                <a:lnTo>
                  <a:pt x="2673" y="1968"/>
                </a:lnTo>
                <a:lnTo>
                  <a:pt x="2674" y="1954"/>
                </a:lnTo>
                <a:lnTo>
                  <a:pt x="2674" y="1941"/>
                </a:lnTo>
                <a:lnTo>
                  <a:pt x="2678" y="1940"/>
                </a:lnTo>
                <a:lnTo>
                  <a:pt x="2679" y="1939"/>
                </a:lnTo>
                <a:lnTo>
                  <a:pt x="2672" y="1930"/>
                </a:lnTo>
                <a:lnTo>
                  <a:pt x="2666" y="1925"/>
                </a:lnTo>
                <a:lnTo>
                  <a:pt x="2665" y="1931"/>
                </a:lnTo>
                <a:lnTo>
                  <a:pt x="2666" y="1941"/>
                </a:lnTo>
                <a:lnTo>
                  <a:pt x="2661" y="1931"/>
                </a:lnTo>
                <a:lnTo>
                  <a:pt x="2662" y="1921"/>
                </a:lnTo>
                <a:lnTo>
                  <a:pt x="2658" y="1890"/>
                </a:lnTo>
                <a:lnTo>
                  <a:pt x="2661" y="1858"/>
                </a:lnTo>
                <a:lnTo>
                  <a:pt x="2663" y="1843"/>
                </a:lnTo>
                <a:lnTo>
                  <a:pt x="2661" y="1828"/>
                </a:lnTo>
                <a:lnTo>
                  <a:pt x="2652" y="1802"/>
                </a:lnTo>
                <a:lnTo>
                  <a:pt x="2640" y="1777"/>
                </a:lnTo>
                <a:lnTo>
                  <a:pt x="2634" y="1768"/>
                </a:lnTo>
                <a:lnTo>
                  <a:pt x="2623" y="1763"/>
                </a:lnTo>
                <a:lnTo>
                  <a:pt x="2623" y="1759"/>
                </a:lnTo>
                <a:lnTo>
                  <a:pt x="2619" y="1758"/>
                </a:lnTo>
                <a:lnTo>
                  <a:pt x="2614" y="1756"/>
                </a:lnTo>
                <a:lnTo>
                  <a:pt x="2610" y="1754"/>
                </a:lnTo>
                <a:lnTo>
                  <a:pt x="2607" y="1755"/>
                </a:lnTo>
                <a:lnTo>
                  <a:pt x="2603" y="1755"/>
                </a:lnTo>
                <a:lnTo>
                  <a:pt x="2598" y="1743"/>
                </a:lnTo>
                <a:lnTo>
                  <a:pt x="2596" y="1729"/>
                </a:lnTo>
                <a:lnTo>
                  <a:pt x="2590" y="1736"/>
                </a:lnTo>
                <a:lnTo>
                  <a:pt x="2585" y="1740"/>
                </a:lnTo>
                <a:lnTo>
                  <a:pt x="2582" y="1737"/>
                </a:lnTo>
                <a:lnTo>
                  <a:pt x="2582" y="1732"/>
                </a:lnTo>
                <a:lnTo>
                  <a:pt x="2591" y="1727"/>
                </a:lnTo>
                <a:lnTo>
                  <a:pt x="2591" y="1716"/>
                </a:lnTo>
                <a:lnTo>
                  <a:pt x="2597" y="1715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18" y="1709"/>
                </a:lnTo>
                <a:lnTo>
                  <a:pt x="2633" y="1711"/>
                </a:lnTo>
                <a:lnTo>
                  <a:pt x="2641" y="1721"/>
                </a:lnTo>
                <a:lnTo>
                  <a:pt x="2638" y="1733"/>
                </a:lnTo>
                <a:lnTo>
                  <a:pt x="2634" y="1747"/>
                </a:lnTo>
                <a:lnTo>
                  <a:pt x="2617" y="1749"/>
                </a:lnTo>
                <a:lnTo>
                  <a:pt x="2619" y="1743"/>
                </a:lnTo>
                <a:lnTo>
                  <a:pt x="2623" y="1738"/>
                </a:lnTo>
                <a:lnTo>
                  <a:pt x="2620" y="1720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603" y="1712"/>
                </a:lnTo>
                <a:lnTo>
                  <a:pt x="2576" y="1708"/>
                </a:lnTo>
                <a:lnTo>
                  <a:pt x="2550" y="1708"/>
                </a:lnTo>
                <a:lnTo>
                  <a:pt x="2531" y="1706"/>
                </a:lnTo>
                <a:lnTo>
                  <a:pt x="2521" y="1688"/>
                </a:lnTo>
                <a:lnTo>
                  <a:pt x="2520" y="1688"/>
                </a:lnTo>
                <a:lnTo>
                  <a:pt x="2518" y="1686"/>
                </a:lnTo>
                <a:lnTo>
                  <a:pt x="2520" y="1697"/>
                </a:lnTo>
                <a:lnTo>
                  <a:pt x="2519" y="1708"/>
                </a:lnTo>
                <a:lnTo>
                  <a:pt x="2520" y="1724"/>
                </a:lnTo>
                <a:lnTo>
                  <a:pt x="2533" y="1733"/>
                </a:lnTo>
                <a:lnTo>
                  <a:pt x="2534" y="1735"/>
                </a:lnTo>
                <a:lnTo>
                  <a:pt x="2534" y="1736"/>
                </a:lnTo>
                <a:lnTo>
                  <a:pt x="2531" y="1737"/>
                </a:lnTo>
                <a:lnTo>
                  <a:pt x="2531" y="1740"/>
                </a:lnTo>
                <a:lnTo>
                  <a:pt x="2542" y="1747"/>
                </a:lnTo>
                <a:lnTo>
                  <a:pt x="2552" y="1736"/>
                </a:lnTo>
                <a:lnTo>
                  <a:pt x="2552" y="1736"/>
                </a:lnTo>
                <a:lnTo>
                  <a:pt x="2557" y="1736"/>
                </a:lnTo>
                <a:lnTo>
                  <a:pt x="2562" y="1736"/>
                </a:lnTo>
                <a:lnTo>
                  <a:pt x="2562" y="1735"/>
                </a:lnTo>
                <a:lnTo>
                  <a:pt x="2562" y="1735"/>
                </a:lnTo>
                <a:lnTo>
                  <a:pt x="2562" y="1735"/>
                </a:lnTo>
                <a:lnTo>
                  <a:pt x="2562" y="1736"/>
                </a:lnTo>
                <a:lnTo>
                  <a:pt x="2565" y="1742"/>
                </a:lnTo>
                <a:lnTo>
                  <a:pt x="2561" y="1746"/>
                </a:lnTo>
                <a:lnTo>
                  <a:pt x="2550" y="1753"/>
                </a:lnTo>
                <a:lnTo>
                  <a:pt x="2542" y="1760"/>
                </a:lnTo>
                <a:lnTo>
                  <a:pt x="2534" y="1762"/>
                </a:lnTo>
                <a:lnTo>
                  <a:pt x="2527" y="1760"/>
                </a:lnTo>
                <a:lnTo>
                  <a:pt x="2528" y="1801"/>
                </a:lnTo>
                <a:lnTo>
                  <a:pt x="2525" y="1839"/>
                </a:lnTo>
                <a:lnTo>
                  <a:pt x="2514" y="1846"/>
                </a:lnTo>
                <a:lnTo>
                  <a:pt x="2515" y="1858"/>
                </a:lnTo>
                <a:lnTo>
                  <a:pt x="2515" y="1866"/>
                </a:lnTo>
                <a:lnTo>
                  <a:pt x="2525" y="1870"/>
                </a:lnTo>
                <a:lnTo>
                  <a:pt x="2530" y="1865"/>
                </a:lnTo>
                <a:lnTo>
                  <a:pt x="2534" y="1860"/>
                </a:lnTo>
                <a:lnTo>
                  <a:pt x="2528" y="1859"/>
                </a:lnTo>
                <a:lnTo>
                  <a:pt x="2525" y="1855"/>
                </a:lnTo>
                <a:lnTo>
                  <a:pt x="2528" y="1859"/>
                </a:lnTo>
                <a:lnTo>
                  <a:pt x="2534" y="1860"/>
                </a:lnTo>
                <a:lnTo>
                  <a:pt x="2558" y="1860"/>
                </a:lnTo>
                <a:lnTo>
                  <a:pt x="2581" y="1860"/>
                </a:lnTo>
                <a:lnTo>
                  <a:pt x="2590" y="1858"/>
                </a:lnTo>
                <a:lnTo>
                  <a:pt x="2591" y="1849"/>
                </a:lnTo>
                <a:lnTo>
                  <a:pt x="2588" y="1830"/>
                </a:lnTo>
                <a:lnTo>
                  <a:pt x="2580" y="1813"/>
                </a:lnTo>
                <a:lnTo>
                  <a:pt x="2577" y="1802"/>
                </a:lnTo>
                <a:lnTo>
                  <a:pt x="2574" y="1792"/>
                </a:lnTo>
                <a:lnTo>
                  <a:pt x="2573" y="1791"/>
                </a:lnTo>
                <a:lnTo>
                  <a:pt x="2574" y="1789"/>
                </a:lnTo>
                <a:lnTo>
                  <a:pt x="2574" y="1789"/>
                </a:lnTo>
                <a:lnTo>
                  <a:pt x="2576" y="1791"/>
                </a:lnTo>
                <a:lnTo>
                  <a:pt x="2598" y="1822"/>
                </a:lnTo>
                <a:lnTo>
                  <a:pt x="2602" y="1860"/>
                </a:lnTo>
                <a:lnTo>
                  <a:pt x="2601" y="1864"/>
                </a:lnTo>
                <a:lnTo>
                  <a:pt x="2601" y="1868"/>
                </a:lnTo>
                <a:lnTo>
                  <a:pt x="2607" y="1909"/>
                </a:lnTo>
                <a:lnTo>
                  <a:pt x="2609" y="1951"/>
                </a:lnTo>
                <a:lnTo>
                  <a:pt x="2607" y="1949"/>
                </a:lnTo>
                <a:lnTo>
                  <a:pt x="2604" y="1946"/>
                </a:lnTo>
                <a:lnTo>
                  <a:pt x="2593" y="1953"/>
                </a:lnTo>
                <a:lnTo>
                  <a:pt x="2580" y="1952"/>
                </a:lnTo>
                <a:lnTo>
                  <a:pt x="2580" y="1952"/>
                </a:lnTo>
                <a:lnTo>
                  <a:pt x="2580" y="1949"/>
                </a:lnTo>
                <a:lnTo>
                  <a:pt x="2579" y="1946"/>
                </a:lnTo>
                <a:lnTo>
                  <a:pt x="2579" y="1947"/>
                </a:lnTo>
                <a:lnTo>
                  <a:pt x="2579" y="1949"/>
                </a:lnTo>
                <a:lnTo>
                  <a:pt x="2579" y="1947"/>
                </a:lnTo>
                <a:lnTo>
                  <a:pt x="2579" y="1946"/>
                </a:lnTo>
                <a:lnTo>
                  <a:pt x="2578" y="1939"/>
                </a:lnTo>
                <a:lnTo>
                  <a:pt x="2578" y="1930"/>
                </a:lnTo>
                <a:lnTo>
                  <a:pt x="2578" y="1930"/>
                </a:lnTo>
                <a:lnTo>
                  <a:pt x="2556" y="1928"/>
                </a:lnTo>
                <a:lnTo>
                  <a:pt x="2534" y="1930"/>
                </a:lnTo>
                <a:lnTo>
                  <a:pt x="2530" y="1930"/>
                </a:lnTo>
                <a:lnTo>
                  <a:pt x="2527" y="1930"/>
                </a:lnTo>
                <a:lnTo>
                  <a:pt x="2527" y="1924"/>
                </a:lnTo>
                <a:lnTo>
                  <a:pt x="2526" y="1920"/>
                </a:lnTo>
                <a:lnTo>
                  <a:pt x="2523" y="1909"/>
                </a:lnTo>
                <a:lnTo>
                  <a:pt x="2533" y="1908"/>
                </a:lnTo>
                <a:lnTo>
                  <a:pt x="2557" y="1908"/>
                </a:lnTo>
                <a:lnTo>
                  <a:pt x="2580" y="1908"/>
                </a:lnTo>
                <a:lnTo>
                  <a:pt x="2580" y="1906"/>
                </a:lnTo>
                <a:lnTo>
                  <a:pt x="2580" y="1904"/>
                </a:lnTo>
                <a:lnTo>
                  <a:pt x="2560" y="1904"/>
                </a:lnTo>
                <a:lnTo>
                  <a:pt x="2541" y="1904"/>
                </a:lnTo>
                <a:lnTo>
                  <a:pt x="2526" y="1901"/>
                </a:lnTo>
                <a:lnTo>
                  <a:pt x="2527" y="1888"/>
                </a:lnTo>
                <a:lnTo>
                  <a:pt x="2529" y="1878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0"/>
                </a:lnTo>
                <a:lnTo>
                  <a:pt x="2525" y="1879"/>
                </a:lnTo>
                <a:lnTo>
                  <a:pt x="2518" y="1886"/>
                </a:lnTo>
                <a:lnTo>
                  <a:pt x="2514" y="1890"/>
                </a:lnTo>
                <a:lnTo>
                  <a:pt x="2514" y="1894"/>
                </a:lnTo>
                <a:lnTo>
                  <a:pt x="2511" y="1905"/>
                </a:lnTo>
                <a:lnTo>
                  <a:pt x="2501" y="1907"/>
                </a:lnTo>
                <a:lnTo>
                  <a:pt x="2495" y="1908"/>
                </a:lnTo>
                <a:lnTo>
                  <a:pt x="2494" y="1913"/>
                </a:lnTo>
                <a:lnTo>
                  <a:pt x="2491" y="1923"/>
                </a:lnTo>
                <a:lnTo>
                  <a:pt x="2484" y="1928"/>
                </a:lnTo>
                <a:lnTo>
                  <a:pt x="2480" y="1900"/>
                </a:lnTo>
                <a:lnTo>
                  <a:pt x="2480" y="1871"/>
                </a:lnTo>
                <a:lnTo>
                  <a:pt x="2480" y="1864"/>
                </a:lnTo>
                <a:lnTo>
                  <a:pt x="2476" y="1858"/>
                </a:lnTo>
                <a:lnTo>
                  <a:pt x="2469" y="1849"/>
                </a:lnTo>
                <a:lnTo>
                  <a:pt x="2468" y="1838"/>
                </a:lnTo>
                <a:lnTo>
                  <a:pt x="2467" y="1830"/>
                </a:lnTo>
                <a:lnTo>
                  <a:pt x="2465" y="1820"/>
                </a:lnTo>
                <a:lnTo>
                  <a:pt x="2471" y="1819"/>
                </a:lnTo>
                <a:lnTo>
                  <a:pt x="2479" y="1819"/>
                </a:lnTo>
                <a:lnTo>
                  <a:pt x="2475" y="1832"/>
                </a:lnTo>
                <a:lnTo>
                  <a:pt x="2481" y="1845"/>
                </a:lnTo>
                <a:lnTo>
                  <a:pt x="2487" y="1832"/>
                </a:lnTo>
                <a:lnTo>
                  <a:pt x="2487" y="1818"/>
                </a:lnTo>
                <a:lnTo>
                  <a:pt x="2488" y="1815"/>
                </a:lnTo>
                <a:lnTo>
                  <a:pt x="2484" y="1815"/>
                </a:lnTo>
                <a:lnTo>
                  <a:pt x="2473" y="1813"/>
                </a:lnTo>
                <a:lnTo>
                  <a:pt x="2464" y="1808"/>
                </a:lnTo>
                <a:lnTo>
                  <a:pt x="2464" y="1781"/>
                </a:lnTo>
                <a:lnTo>
                  <a:pt x="2455" y="1753"/>
                </a:lnTo>
                <a:lnTo>
                  <a:pt x="2457" y="1733"/>
                </a:lnTo>
                <a:lnTo>
                  <a:pt x="2458" y="1713"/>
                </a:lnTo>
                <a:lnTo>
                  <a:pt x="2457" y="1709"/>
                </a:lnTo>
                <a:lnTo>
                  <a:pt x="2453" y="1707"/>
                </a:lnTo>
                <a:lnTo>
                  <a:pt x="2451" y="1680"/>
                </a:lnTo>
                <a:lnTo>
                  <a:pt x="2438" y="1661"/>
                </a:lnTo>
                <a:lnTo>
                  <a:pt x="2434" y="1656"/>
                </a:lnTo>
                <a:lnTo>
                  <a:pt x="2428" y="1655"/>
                </a:lnTo>
                <a:lnTo>
                  <a:pt x="2423" y="1660"/>
                </a:lnTo>
                <a:lnTo>
                  <a:pt x="2423" y="1667"/>
                </a:lnTo>
                <a:lnTo>
                  <a:pt x="2420" y="1674"/>
                </a:lnTo>
                <a:lnTo>
                  <a:pt x="2413" y="1675"/>
                </a:lnTo>
                <a:lnTo>
                  <a:pt x="2408" y="1675"/>
                </a:lnTo>
                <a:lnTo>
                  <a:pt x="2404" y="1675"/>
                </a:lnTo>
                <a:lnTo>
                  <a:pt x="2401" y="1677"/>
                </a:lnTo>
                <a:lnTo>
                  <a:pt x="2400" y="1681"/>
                </a:lnTo>
                <a:lnTo>
                  <a:pt x="2403" y="1683"/>
                </a:lnTo>
                <a:lnTo>
                  <a:pt x="2406" y="1683"/>
                </a:lnTo>
                <a:lnTo>
                  <a:pt x="2420" y="1681"/>
                </a:lnTo>
                <a:lnTo>
                  <a:pt x="2435" y="1683"/>
                </a:lnTo>
                <a:lnTo>
                  <a:pt x="2445" y="1688"/>
                </a:lnTo>
                <a:lnTo>
                  <a:pt x="2445" y="1700"/>
                </a:lnTo>
                <a:lnTo>
                  <a:pt x="2441" y="1708"/>
                </a:lnTo>
                <a:lnTo>
                  <a:pt x="2432" y="1708"/>
                </a:lnTo>
                <a:lnTo>
                  <a:pt x="2428" y="1708"/>
                </a:lnTo>
                <a:lnTo>
                  <a:pt x="2424" y="1708"/>
                </a:lnTo>
                <a:lnTo>
                  <a:pt x="2411" y="1709"/>
                </a:lnTo>
                <a:lnTo>
                  <a:pt x="2405" y="1716"/>
                </a:lnTo>
                <a:lnTo>
                  <a:pt x="2409" y="1724"/>
                </a:lnTo>
                <a:lnTo>
                  <a:pt x="2421" y="1726"/>
                </a:lnTo>
                <a:lnTo>
                  <a:pt x="2422" y="1726"/>
                </a:lnTo>
                <a:lnTo>
                  <a:pt x="2423" y="1727"/>
                </a:lnTo>
                <a:lnTo>
                  <a:pt x="2435" y="1731"/>
                </a:lnTo>
                <a:lnTo>
                  <a:pt x="2435" y="1743"/>
                </a:lnTo>
                <a:lnTo>
                  <a:pt x="2432" y="1753"/>
                </a:lnTo>
                <a:lnTo>
                  <a:pt x="2434" y="1760"/>
                </a:lnTo>
                <a:lnTo>
                  <a:pt x="2438" y="1773"/>
                </a:lnTo>
                <a:lnTo>
                  <a:pt x="2435" y="1785"/>
                </a:lnTo>
                <a:lnTo>
                  <a:pt x="2435" y="1785"/>
                </a:lnTo>
                <a:lnTo>
                  <a:pt x="2432" y="1787"/>
                </a:lnTo>
                <a:lnTo>
                  <a:pt x="2430" y="1789"/>
                </a:lnTo>
                <a:lnTo>
                  <a:pt x="2443" y="1829"/>
                </a:lnTo>
                <a:lnTo>
                  <a:pt x="2456" y="1868"/>
                </a:lnTo>
                <a:lnTo>
                  <a:pt x="2443" y="1829"/>
                </a:lnTo>
                <a:lnTo>
                  <a:pt x="2430" y="1789"/>
                </a:lnTo>
                <a:lnTo>
                  <a:pt x="2423" y="1792"/>
                </a:lnTo>
                <a:lnTo>
                  <a:pt x="2425" y="1800"/>
                </a:lnTo>
                <a:lnTo>
                  <a:pt x="2427" y="1802"/>
                </a:lnTo>
                <a:lnTo>
                  <a:pt x="2425" y="1804"/>
                </a:lnTo>
                <a:lnTo>
                  <a:pt x="2420" y="1809"/>
                </a:lnTo>
                <a:lnTo>
                  <a:pt x="2423" y="1817"/>
                </a:lnTo>
                <a:lnTo>
                  <a:pt x="2421" y="1817"/>
                </a:lnTo>
                <a:lnTo>
                  <a:pt x="2421" y="1818"/>
                </a:lnTo>
                <a:lnTo>
                  <a:pt x="2406" y="1833"/>
                </a:lnTo>
                <a:lnTo>
                  <a:pt x="2384" y="1832"/>
                </a:lnTo>
                <a:lnTo>
                  <a:pt x="2379" y="1832"/>
                </a:lnTo>
                <a:lnTo>
                  <a:pt x="2374" y="1833"/>
                </a:lnTo>
                <a:lnTo>
                  <a:pt x="2361" y="1834"/>
                </a:lnTo>
                <a:lnTo>
                  <a:pt x="2355" y="1822"/>
                </a:lnTo>
                <a:lnTo>
                  <a:pt x="2350" y="1761"/>
                </a:lnTo>
                <a:lnTo>
                  <a:pt x="2344" y="1699"/>
                </a:lnTo>
                <a:lnTo>
                  <a:pt x="2340" y="1692"/>
                </a:lnTo>
                <a:lnTo>
                  <a:pt x="2338" y="1683"/>
                </a:lnTo>
                <a:lnTo>
                  <a:pt x="2337" y="1679"/>
                </a:lnTo>
                <a:lnTo>
                  <a:pt x="2333" y="1678"/>
                </a:lnTo>
                <a:lnTo>
                  <a:pt x="2330" y="1681"/>
                </a:lnTo>
                <a:lnTo>
                  <a:pt x="2331" y="1686"/>
                </a:lnTo>
                <a:lnTo>
                  <a:pt x="2335" y="1693"/>
                </a:lnTo>
                <a:lnTo>
                  <a:pt x="2338" y="1700"/>
                </a:lnTo>
                <a:lnTo>
                  <a:pt x="2340" y="1711"/>
                </a:lnTo>
                <a:lnTo>
                  <a:pt x="2345" y="1723"/>
                </a:lnTo>
                <a:lnTo>
                  <a:pt x="2347" y="1774"/>
                </a:lnTo>
                <a:lnTo>
                  <a:pt x="2349" y="1825"/>
                </a:lnTo>
                <a:lnTo>
                  <a:pt x="2346" y="1835"/>
                </a:lnTo>
                <a:lnTo>
                  <a:pt x="2338" y="1836"/>
                </a:lnTo>
                <a:lnTo>
                  <a:pt x="2333" y="1835"/>
                </a:lnTo>
                <a:lnTo>
                  <a:pt x="2326" y="1834"/>
                </a:lnTo>
                <a:lnTo>
                  <a:pt x="2320" y="1805"/>
                </a:lnTo>
                <a:lnTo>
                  <a:pt x="2306" y="1779"/>
                </a:lnTo>
                <a:lnTo>
                  <a:pt x="2273" y="1749"/>
                </a:lnTo>
                <a:lnTo>
                  <a:pt x="2230" y="1738"/>
                </a:lnTo>
                <a:lnTo>
                  <a:pt x="2158" y="1763"/>
                </a:lnTo>
                <a:lnTo>
                  <a:pt x="2126" y="1839"/>
                </a:lnTo>
                <a:lnTo>
                  <a:pt x="2122" y="1840"/>
                </a:lnTo>
                <a:lnTo>
                  <a:pt x="2118" y="1842"/>
                </a:lnTo>
                <a:lnTo>
                  <a:pt x="2103" y="1844"/>
                </a:lnTo>
                <a:lnTo>
                  <a:pt x="2098" y="1860"/>
                </a:lnTo>
                <a:lnTo>
                  <a:pt x="2093" y="1869"/>
                </a:lnTo>
                <a:lnTo>
                  <a:pt x="2083" y="1876"/>
                </a:lnTo>
                <a:lnTo>
                  <a:pt x="2077" y="1876"/>
                </a:lnTo>
                <a:lnTo>
                  <a:pt x="2072" y="1869"/>
                </a:lnTo>
                <a:lnTo>
                  <a:pt x="2065" y="1866"/>
                </a:lnTo>
                <a:lnTo>
                  <a:pt x="2060" y="1870"/>
                </a:lnTo>
                <a:lnTo>
                  <a:pt x="2060" y="1868"/>
                </a:lnTo>
                <a:lnTo>
                  <a:pt x="2060" y="1866"/>
                </a:lnTo>
                <a:lnTo>
                  <a:pt x="2061" y="1863"/>
                </a:lnTo>
                <a:lnTo>
                  <a:pt x="2059" y="1860"/>
                </a:lnTo>
                <a:lnTo>
                  <a:pt x="2058" y="1859"/>
                </a:lnTo>
                <a:lnTo>
                  <a:pt x="2057" y="1858"/>
                </a:lnTo>
                <a:lnTo>
                  <a:pt x="2053" y="1858"/>
                </a:lnTo>
                <a:lnTo>
                  <a:pt x="2050" y="1858"/>
                </a:lnTo>
                <a:lnTo>
                  <a:pt x="2053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7" y="1858"/>
                </a:lnTo>
                <a:lnTo>
                  <a:pt x="2058" y="1853"/>
                </a:lnTo>
                <a:lnTo>
                  <a:pt x="2058" y="1849"/>
                </a:lnTo>
                <a:lnTo>
                  <a:pt x="2058" y="1805"/>
                </a:lnTo>
                <a:lnTo>
                  <a:pt x="2056" y="1761"/>
                </a:lnTo>
                <a:lnTo>
                  <a:pt x="2053" y="1790"/>
                </a:lnTo>
                <a:lnTo>
                  <a:pt x="2053" y="1819"/>
                </a:lnTo>
                <a:lnTo>
                  <a:pt x="2049" y="1833"/>
                </a:lnTo>
                <a:lnTo>
                  <a:pt x="2035" y="1835"/>
                </a:lnTo>
                <a:lnTo>
                  <a:pt x="2032" y="1835"/>
                </a:lnTo>
                <a:lnTo>
                  <a:pt x="2029" y="1834"/>
                </a:lnTo>
                <a:lnTo>
                  <a:pt x="2028" y="1832"/>
                </a:lnTo>
                <a:lnTo>
                  <a:pt x="2027" y="1830"/>
                </a:lnTo>
                <a:lnTo>
                  <a:pt x="1984" y="1767"/>
                </a:lnTo>
                <a:lnTo>
                  <a:pt x="1907" y="1740"/>
                </a:lnTo>
                <a:lnTo>
                  <a:pt x="1860" y="1749"/>
                </a:lnTo>
                <a:lnTo>
                  <a:pt x="1820" y="1778"/>
                </a:lnTo>
                <a:lnTo>
                  <a:pt x="1813" y="1775"/>
                </a:lnTo>
                <a:lnTo>
                  <a:pt x="1808" y="1771"/>
                </a:lnTo>
                <a:lnTo>
                  <a:pt x="1812" y="1763"/>
                </a:lnTo>
                <a:lnTo>
                  <a:pt x="1817" y="1757"/>
                </a:lnTo>
                <a:lnTo>
                  <a:pt x="1818" y="1754"/>
                </a:lnTo>
                <a:lnTo>
                  <a:pt x="1820" y="1752"/>
                </a:lnTo>
                <a:lnTo>
                  <a:pt x="1823" y="1744"/>
                </a:lnTo>
                <a:lnTo>
                  <a:pt x="1820" y="1736"/>
                </a:lnTo>
                <a:lnTo>
                  <a:pt x="1805" y="1756"/>
                </a:lnTo>
                <a:lnTo>
                  <a:pt x="1803" y="1782"/>
                </a:lnTo>
                <a:lnTo>
                  <a:pt x="1803" y="1783"/>
                </a:lnTo>
                <a:lnTo>
                  <a:pt x="1802" y="1784"/>
                </a:lnTo>
                <a:lnTo>
                  <a:pt x="1801" y="1790"/>
                </a:lnTo>
                <a:lnTo>
                  <a:pt x="1806" y="1793"/>
                </a:lnTo>
                <a:lnTo>
                  <a:pt x="1809" y="1799"/>
                </a:lnTo>
                <a:lnTo>
                  <a:pt x="1809" y="1804"/>
                </a:lnTo>
                <a:lnTo>
                  <a:pt x="1807" y="1806"/>
                </a:lnTo>
                <a:lnTo>
                  <a:pt x="1805" y="1808"/>
                </a:lnTo>
                <a:lnTo>
                  <a:pt x="1790" y="1808"/>
                </a:lnTo>
                <a:lnTo>
                  <a:pt x="1790" y="1823"/>
                </a:lnTo>
                <a:lnTo>
                  <a:pt x="1790" y="1824"/>
                </a:lnTo>
                <a:lnTo>
                  <a:pt x="1788" y="1825"/>
                </a:lnTo>
                <a:lnTo>
                  <a:pt x="1788" y="1825"/>
                </a:lnTo>
                <a:lnTo>
                  <a:pt x="1783" y="1825"/>
                </a:lnTo>
                <a:lnTo>
                  <a:pt x="1779" y="1828"/>
                </a:lnTo>
                <a:lnTo>
                  <a:pt x="1776" y="1828"/>
                </a:lnTo>
                <a:lnTo>
                  <a:pt x="1774" y="1828"/>
                </a:lnTo>
                <a:lnTo>
                  <a:pt x="1765" y="1819"/>
                </a:lnTo>
                <a:lnTo>
                  <a:pt x="1764" y="1806"/>
                </a:lnTo>
                <a:lnTo>
                  <a:pt x="1769" y="1788"/>
                </a:lnTo>
                <a:lnTo>
                  <a:pt x="1773" y="1769"/>
                </a:lnTo>
                <a:lnTo>
                  <a:pt x="1764" y="1787"/>
                </a:lnTo>
                <a:lnTo>
                  <a:pt x="1761" y="1810"/>
                </a:lnTo>
                <a:lnTo>
                  <a:pt x="1761" y="1821"/>
                </a:lnTo>
                <a:lnTo>
                  <a:pt x="1753" y="1827"/>
                </a:lnTo>
                <a:lnTo>
                  <a:pt x="1748" y="1830"/>
                </a:lnTo>
                <a:lnTo>
                  <a:pt x="1746" y="1837"/>
                </a:lnTo>
                <a:lnTo>
                  <a:pt x="1746" y="1851"/>
                </a:lnTo>
                <a:lnTo>
                  <a:pt x="1746" y="1866"/>
                </a:lnTo>
                <a:lnTo>
                  <a:pt x="1747" y="1869"/>
                </a:lnTo>
                <a:lnTo>
                  <a:pt x="1749" y="1870"/>
                </a:lnTo>
                <a:lnTo>
                  <a:pt x="1752" y="1869"/>
                </a:lnTo>
                <a:lnTo>
                  <a:pt x="1751" y="1865"/>
                </a:lnTo>
                <a:lnTo>
                  <a:pt x="1749" y="1859"/>
                </a:lnTo>
                <a:lnTo>
                  <a:pt x="1754" y="1854"/>
                </a:lnTo>
                <a:lnTo>
                  <a:pt x="1760" y="1854"/>
                </a:lnTo>
                <a:lnTo>
                  <a:pt x="1765" y="1860"/>
                </a:lnTo>
                <a:lnTo>
                  <a:pt x="1768" y="1863"/>
                </a:lnTo>
                <a:lnTo>
                  <a:pt x="1771" y="1863"/>
                </a:lnTo>
                <a:lnTo>
                  <a:pt x="1777" y="1862"/>
                </a:lnTo>
                <a:lnTo>
                  <a:pt x="1782" y="1866"/>
                </a:lnTo>
                <a:lnTo>
                  <a:pt x="1786" y="1856"/>
                </a:lnTo>
                <a:lnTo>
                  <a:pt x="1801" y="1849"/>
                </a:lnTo>
                <a:lnTo>
                  <a:pt x="1812" y="1840"/>
                </a:lnTo>
                <a:lnTo>
                  <a:pt x="1825" y="1836"/>
                </a:lnTo>
                <a:lnTo>
                  <a:pt x="1829" y="1850"/>
                </a:lnTo>
                <a:lnTo>
                  <a:pt x="1838" y="1860"/>
                </a:lnTo>
                <a:lnTo>
                  <a:pt x="1845" y="1882"/>
                </a:lnTo>
                <a:lnTo>
                  <a:pt x="1854" y="1904"/>
                </a:lnTo>
                <a:lnTo>
                  <a:pt x="1855" y="1907"/>
                </a:lnTo>
                <a:lnTo>
                  <a:pt x="1856" y="1911"/>
                </a:lnTo>
                <a:lnTo>
                  <a:pt x="1859" y="1912"/>
                </a:lnTo>
                <a:lnTo>
                  <a:pt x="1859" y="1914"/>
                </a:lnTo>
                <a:lnTo>
                  <a:pt x="1859" y="1912"/>
                </a:lnTo>
                <a:lnTo>
                  <a:pt x="1856" y="1911"/>
                </a:lnTo>
                <a:lnTo>
                  <a:pt x="1849" y="1916"/>
                </a:lnTo>
                <a:lnTo>
                  <a:pt x="1843" y="1924"/>
                </a:lnTo>
                <a:lnTo>
                  <a:pt x="1834" y="1931"/>
                </a:lnTo>
                <a:lnTo>
                  <a:pt x="1825" y="1925"/>
                </a:lnTo>
                <a:lnTo>
                  <a:pt x="1818" y="1920"/>
                </a:lnTo>
                <a:lnTo>
                  <a:pt x="1808" y="1923"/>
                </a:lnTo>
                <a:lnTo>
                  <a:pt x="1805" y="1923"/>
                </a:lnTo>
                <a:lnTo>
                  <a:pt x="1803" y="1923"/>
                </a:lnTo>
                <a:lnTo>
                  <a:pt x="1797" y="1914"/>
                </a:lnTo>
                <a:lnTo>
                  <a:pt x="1791" y="1902"/>
                </a:lnTo>
                <a:lnTo>
                  <a:pt x="1787" y="1888"/>
                </a:lnTo>
                <a:lnTo>
                  <a:pt x="1771" y="1889"/>
                </a:lnTo>
                <a:lnTo>
                  <a:pt x="1777" y="1895"/>
                </a:lnTo>
                <a:lnTo>
                  <a:pt x="1782" y="1904"/>
                </a:lnTo>
                <a:lnTo>
                  <a:pt x="1786" y="1914"/>
                </a:lnTo>
                <a:lnTo>
                  <a:pt x="1783" y="1924"/>
                </a:lnTo>
                <a:lnTo>
                  <a:pt x="1773" y="1934"/>
                </a:lnTo>
                <a:lnTo>
                  <a:pt x="1760" y="1938"/>
                </a:lnTo>
                <a:lnTo>
                  <a:pt x="1757" y="1938"/>
                </a:lnTo>
                <a:lnTo>
                  <a:pt x="1756" y="1937"/>
                </a:lnTo>
                <a:lnTo>
                  <a:pt x="1752" y="1921"/>
                </a:lnTo>
                <a:lnTo>
                  <a:pt x="1751" y="1905"/>
                </a:lnTo>
                <a:lnTo>
                  <a:pt x="1753" y="1894"/>
                </a:lnTo>
                <a:lnTo>
                  <a:pt x="1748" y="1882"/>
                </a:lnTo>
                <a:lnTo>
                  <a:pt x="1746" y="1920"/>
                </a:lnTo>
                <a:lnTo>
                  <a:pt x="1747" y="1957"/>
                </a:lnTo>
                <a:lnTo>
                  <a:pt x="1746" y="1970"/>
                </a:lnTo>
                <a:lnTo>
                  <a:pt x="1747" y="1982"/>
                </a:lnTo>
                <a:lnTo>
                  <a:pt x="1739" y="1981"/>
                </a:lnTo>
                <a:lnTo>
                  <a:pt x="1732" y="1976"/>
                </a:lnTo>
                <a:lnTo>
                  <a:pt x="1717" y="1965"/>
                </a:lnTo>
                <a:lnTo>
                  <a:pt x="1723" y="1946"/>
                </a:lnTo>
                <a:lnTo>
                  <a:pt x="1725" y="1944"/>
                </a:lnTo>
                <a:lnTo>
                  <a:pt x="1724" y="1942"/>
                </a:lnTo>
                <a:lnTo>
                  <a:pt x="1715" y="1920"/>
                </a:lnTo>
                <a:lnTo>
                  <a:pt x="1708" y="1897"/>
                </a:lnTo>
                <a:lnTo>
                  <a:pt x="1707" y="1839"/>
                </a:lnTo>
                <a:lnTo>
                  <a:pt x="1703" y="1782"/>
                </a:lnTo>
                <a:lnTo>
                  <a:pt x="1702" y="1747"/>
                </a:lnTo>
                <a:lnTo>
                  <a:pt x="1703" y="1712"/>
                </a:lnTo>
                <a:lnTo>
                  <a:pt x="1703" y="1702"/>
                </a:lnTo>
                <a:lnTo>
                  <a:pt x="1708" y="1694"/>
                </a:lnTo>
                <a:lnTo>
                  <a:pt x="1715" y="1688"/>
                </a:lnTo>
                <a:lnTo>
                  <a:pt x="1726" y="1686"/>
                </a:lnTo>
                <a:lnTo>
                  <a:pt x="1715" y="1685"/>
                </a:lnTo>
                <a:lnTo>
                  <a:pt x="1708" y="1680"/>
                </a:lnTo>
                <a:lnTo>
                  <a:pt x="1712" y="1678"/>
                </a:lnTo>
                <a:lnTo>
                  <a:pt x="1715" y="1678"/>
                </a:lnTo>
                <a:lnTo>
                  <a:pt x="1718" y="1681"/>
                </a:lnTo>
                <a:lnTo>
                  <a:pt x="1724" y="1682"/>
                </a:lnTo>
                <a:lnTo>
                  <a:pt x="1732" y="1681"/>
                </a:lnTo>
                <a:lnTo>
                  <a:pt x="1740" y="1684"/>
                </a:lnTo>
                <a:lnTo>
                  <a:pt x="1747" y="1691"/>
                </a:lnTo>
                <a:lnTo>
                  <a:pt x="1756" y="1688"/>
                </a:lnTo>
                <a:lnTo>
                  <a:pt x="1762" y="1688"/>
                </a:lnTo>
                <a:lnTo>
                  <a:pt x="1762" y="1695"/>
                </a:lnTo>
                <a:lnTo>
                  <a:pt x="1762" y="1703"/>
                </a:lnTo>
                <a:lnTo>
                  <a:pt x="1769" y="1706"/>
                </a:lnTo>
                <a:lnTo>
                  <a:pt x="1776" y="1706"/>
                </a:lnTo>
                <a:lnTo>
                  <a:pt x="1779" y="1699"/>
                </a:lnTo>
                <a:lnTo>
                  <a:pt x="1782" y="1683"/>
                </a:lnTo>
                <a:lnTo>
                  <a:pt x="1783" y="1668"/>
                </a:lnTo>
                <a:lnTo>
                  <a:pt x="1784" y="1660"/>
                </a:lnTo>
                <a:lnTo>
                  <a:pt x="1791" y="1657"/>
                </a:lnTo>
                <a:lnTo>
                  <a:pt x="1817" y="1662"/>
                </a:lnTo>
                <a:lnTo>
                  <a:pt x="1843" y="1661"/>
                </a:lnTo>
                <a:lnTo>
                  <a:pt x="1885" y="1661"/>
                </a:lnTo>
                <a:lnTo>
                  <a:pt x="1928" y="1660"/>
                </a:lnTo>
                <a:lnTo>
                  <a:pt x="1934" y="1659"/>
                </a:lnTo>
                <a:lnTo>
                  <a:pt x="1938" y="1656"/>
                </a:lnTo>
                <a:lnTo>
                  <a:pt x="1949" y="1651"/>
                </a:lnTo>
                <a:lnTo>
                  <a:pt x="1960" y="1656"/>
                </a:lnTo>
                <a:lnTo>
                  <a:pt x="1980" y="1660"/>
                </a:lnTo>
                <a:lnTo>
                  <a:pt x="1999" y="1654"/>
                </a:lnTo>
                <a:lnTo>
                  <a:pt x="1983" y="1654"/>
                </a:lnTo>
                <a:lnTo>
                  <a:pt x="1966" y="1654"/>
                </a:lnTo>
                <a:lnTo>
                  <a:pt x="1975" y="1652"/>
                </a:lnTo>
                <a:lnTo>
                  <a:pt x="1983" y="1647"/>
                </a:lnTo>
                <a:lnTo>
                  <a:pt x="1955" y="1649"/>
                </a:lnTo>
                <a:lnTo>
                  <a:pt x="1928" y="1653"/>
                </a:lnTo>
                <a:lnTo>
                  <a:pt x="1901" y="1655"/>
                </a:lnTo>
                <a:lnTo>
                  <a:pt x="1875" y="1654"/>
                </a:lnTo>
                <a:lnTo>
                  <a:pt x="1875" y="1652"/>
                </a:lnTo>
                <a:lnTo>
                  <a:pt x="1875" y="1651"/>
                </a:lnTo>
                <a:lnTo>
                  <a:pt x="1901" y="1651"/>
                </a:lnTo>
                <a:lnTo>
                  <a:pt x="1928" y="1651"/>
                </a:lnTo>
                <a:lnTo>
                  <a:pt x="1927" y="1649"/>
                </a:lnTo>
                <a:lnTo>
                  <a:pt x="1925" y="1649"/>
                </a:lnTo>
                <a:lnTo>
                  <a:pt x="1867" y="1649"/>
                </a:lnTo>
                <a:lnTo>
                  <a:pt x="1809" y="1649"/>
                </a:lnTo>
                <a:lnTo>
                  <a:pt x="1807" y="1649"/>
                </a:lnTo>
                <a:lnTo>
                  <a:pt x="1806" y="1651"/>
                </a:lnTo>
                <a:lnTo>
                  <a:pt x="1803" y="1656"/>
                </a:lnTo>
                <a:lnTo>
                  <a:pt x="1797" y="1651"/>
                </a:lnTo>
                <a:lnTo>
                  <a:pt x="1798" y="1650"/>
                </a:lnTo>
                <a:lnTo>
                  <a:pt x="1798" y="1649"/>
                </a:lnTo>
                <a:lnTo>
                  <a:pt x="1798" y="1649"/>
                </a:lnTo>
                <a:lnTo>
                  <a:pt x="1799" y="1648"/>
                </a:lnTo>
                <a:lnTo>
                  <a:pt x="1798" y="1648"/>
                </a:lnTo>
                <a:lnTo>
                  <a:pt x="1798" y="1647"/>
                </a:lnTo>
                <a:lnTo>
                  <a:pt x="1792" y="1636"/>
                </a:lnTo>
                <a:lnTo>
                  <a:pt x="1780" y="1634"/>
                </a:lnTo>
                <a:lnTo>
                  <a:pt x="1759" y="1636"/>
                </a:lnTo>
                <a:lnTo>
                  <a:pt x="1738" y="1639"/>
                </a:lnTo>
                <a:lnTo>
                  <a:pt x="1721" y="1640"/>
                </a:lnTo>
                <a:lnTo>
                  <a:pt x="1703" y="1640"/>
                </a:lnTo>
                <a:lnTo>
                  <a:pt x="1692" y="1639"/>
                </a:lnTo>
                <a:lnTo>
                  <a:pt x="1685" y="1649"/>
                </a:lnTo>
                <a:lnTo>
                  <a:pt x="1680" y="1633"/>
                </a:lnTo>
                <a:lnTo>
                  <a:pt x="1694" y="1631"/>
                </a:lnTo>
                <a:lnTo>
                  <a:pt x="1701" y="1630"/>
                </a:lnTo>
                <a:lnTo>
                  <a:pt x="1709" y="1630"/>
                </a:lnTo>
                <a:lnTo>
                  <a:pt x="1712" y="1630"/>
                </a:lnTo>
                <a:lnTo>
                  <a:pt x="1714" y="1628"/>
                </a:lnTo>
                <a:lnTo>
                  <a:pt x="1719" y="1621"/>
                </a:lnTo>
                <a:lnTo>
                  <a:pt x="1725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6" y="1615"/>
                </a:lnTo>
                <a:lnTo>
                  <a:pt x="1721" y="1616"/>
                </a:lnTo>
                <a:lnTo>
                  <a:pt x="1716" y="1615"/>
                </a:lnTo>
                <a:lnTo>
                  <a:pt x="1719" y="1610"/>
                </a:lnTo>
                <a:lnTo>
                  <a:pt x="1726" y="1610"/>
                </a:lnTo>
                <a:lnTo>
                  <a:pt x="1747" y="1608"/>
                </a:lnTo>
                <a:lnTo>
                  <a:pt x="1769" y="1605"/>
                </a:lnTo>
                <a:lnTo>
                  <a:pt x="1769" y="1603"/>
                </a:lnTo>
                <a:lnTo>
                  <a:pt x="1769" y="1601"/>
                </a:lnTo>
                <a:lnTo>
                  <a:pt x="1730" y="1601"/>
                </a:lnTo>
                <a:lnTo>
                  <a:pt x="1693" y="1601"/>
                </a:lnTo>
                <a:lnTo>
                  <a:pt x="1691" y="1601"/>
                </a:lnTo>
                <a:lnTo>
                  <a:pt x="1688" y="1601"/>
                </a:lnTo>
                <a:lnTo>
                  <a:pt x="1691" y="1601"/>
                </a:lnTo>
                <a:lnTo>
                  <a:pt x="1693" y="1601"/>
                </a:lnTo>
                <a:lnTo>
                  <a:pt x="1699" y="1598"/>
                </a:lnTo>
                <a:lnTo>
                  <a:pt x="1707" y="1598"/>
                </a:lnTo>
                <a:lnTo>
                  <a:pt x="1721" y="1599"/>
                </a:lnTo>
                <a:lnTo>
                  <a:pt x="1736" y="1596"/>
                </a:lnTo>
                <a:lnTo>
                  <a:pt x="1729" y="1588"/>
                </a:lnTo>
                <a:lnTo>
                  <a:pt x="1730" y="1577"/>
                </a:lnTo>
                <a:lnTo>
                  <a:pt x="1731" y="1569"/>
                </a:lnTo>
                <a:lnTo>
                  <a:pt x="1736" y="1560"/>
                </a:lnTo>
                <a:lnTo>
                  <a:pt x="1736" y="1558"/>
                </a:lnTo>
                <a:lnTo>
                  <a:pt x="1733" y="1556"/>
                </a:lnTo>
                <a:lnTo>
                  <a:pt x="1732" y="1556"/>
                </a:lnTo>
                <a:lnTo>
                  <a:pt x="1731" y="1555"/>
                </a:lnTo>
                <a:lnTo>
                  <a:pt x="1726" y="1555"/>
                </a:lnTo>
                <a:lnTo>
                  <a:pt x="1721" y="1556"/>
                </a:lnTo>
                <a:lnTo>
                  <a:pt x="1726" y="1555"/>
                </a:lnTo>
                <a:lnTo>
                  <a:pt x="1731" y="1555"/>
                </a:lnTo>
                <a:lnTo>
                  <a:pt x="1732" y="1556"/>
                </a:lnTo>
                <a:lnTo>
                  <a:pt x="1733" y="1556"/>
                </a:lnTo>
                <a:lnTo>
                  <a:pt x="1740" y="1556"/>
                </a:lnTo>
                <a:lnTo>
                  <a:pt x="1745" y="1556"/>
                </a:lnTo>
                <a:lnTo>
                  <a:pt x="1749" y="1569"/>
                </a:lnTo>
                <a:lnTo>
                  <a:pt x="1762" y="1574"/>
                </a:lnTo>
                <a:lnTo>
                  <a:pt x="1769" y="1577"/>
                </a:lnTo>
                <a:lnTo>
                  <a:pt x="1772" y="1586"/>
                </a:lnTo>
                <a:lnTo>
                  <a:pt x="1764" y="1587"/>
                </a:lnTo>
                <a:lnTo>
                  <a:pt x="1759" y="1590"/>
                </a:lnTo>
                <a:lnTo>
                  <a:pt x="1755" y="1588"/>
                </a:lnTo>
                <a:lnTo>
                  <a:pt x="1752" y="1585"/>
                </a:lnTo>
                <a:lnTo>
                  <a:pt x="1748" y="1581"/>
                </a:lnTo>
                <a:lnTo>
                  <a:pt x="1743" y="1583"/>
                </a:lnTo>
                <a:lnTo>
                  <a:pt x="1740" y="1585"/>
                </a:lnTo>
                <a:lnTo>
                  <a:pt x="1739" y="1589"/>
                </a:lnTo>
                <a:lnTo>
                  <a:pt x="1741" y="1594"/>
                </a:lnTo>
                <a:lnTo>
                  <a:pt x="1744" y="1596"/>
                </a:lnTo>
                <a:lnTo>
                  <a:pt x="1753" y="1599"/>
                </a:lnTo>
                <a:lnTo>
                  <a:pt x="1760" y="1596"/>
                </a:lnTo>
                <a:lnTo>
                  <a:pt x="1770" y="1599"/>
                </a:lnTo>
                <a:lnTo>
                  <a:pt x="1779" y="1595"/>
                </a:lnTo>
                <a:lnTo>
                  <a:pt x="1780" y="1595"/>
                </a:lnTo>
                <a:lnTo>
                  <a:pt x="1782" y="1595"/>
                </a:lnTo>
                <a:lnTo>
                  <a:pt x="1787" y="1596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1" y="1594"/>
                </a:lnTo>
                <a:lnTo>
                  <a:pt x="1792" y="1593"/>
                </a:lnTo>
                <a:lnTo>
                  <a:pt x="1794" y="1592"/>
                </a:lnTo>
                <a:lnTo>
                  <a:pt x="1793" y="1592"/>
                </a:lnTo>
                <a:lnTo>
                  <a:pt x="1793" y="1591"/>
                </a:lnTo>
                <a:lnTo>
                  <a:pt x="1793" y="1592"/>
                </a:lnTo>
                <a:lnTo>
                  <a:pt x="1794" y="1592"/>
                </a:lnTo>
                <a:lnTo>
                  <a:pt x="1801" y="1593"/>
                </a:lnTo>
                <a:lnTo>
                  <a:pt x="1805" y="1588"/>
                </a:lnTo>
                <a:lnTo>
                  <a:pt x="1805" y="1588"/>
                </a:lnTo>
                <a:lnTo>
                  <a:pt x="1806" y="1587"/>
                </a:lnTo>
                <a:lnTo>
                  <a:pt x="1805" y="1587"/>
                </a:lnTo>
                <a:lnTo>
                  <a:pt x="1804" y="1587"/>
                </a:lnTo>
                <a:lnTo>
                  <a:pt x="1798" y="1586"/>
                </a:lnTo>
                <a:lnTo>
                  <a:pt x="1793" y="1583"/>
                </a:lnTo>
                <a:lnTo>
                  <a:pt x="1794" y="1576"/>
                </a:lnTo>
                <a:lnTo>
                  <a:pt x="1802" y="1573"/>
                </a:lnTo>
                <a:lnTo>
                  <a:pt x="1805" y="1572"/>
                </a:lnTo>
                <a:lnTo>
                  <a:pt x="1806" y="1569"/>
                </a:lnTo>
                <a:lnTo>
                  <a:pt x="1805" y="1532"/>
                </a:lnTo>
                <a:lnTo>
                  <a:pt x="1804" y="1497"/>
                </a:lnTo>
                <a:lnTo>
                  <a:pt x="1803" y="1491"/>
                </a:lnTo>
                <a:lnTo>
                  <a:pt x="1798" y="1487"/>
                </a:lnTo>
                <a:lnTo>
                  <a:pt x="1788" y="1484"/>
                </a:lnTo>
                <a:lnTo>
                  <a:pt x="1785" y="1473"/>
                </a:lnTo>
                <a:lnTo>
                  <a:pt x="1784" y="1467"/>
                </a:lnTo>
                <a:lnTo>
                  <a:pt x="1785" y="1461"/>
                </a:lnTo>
                <a:lnTo>
                  <a:pt x="1782" y="1452"/>
                </a:lnTo>
                <a:lnTo>
                  <a:pt x="1774" y="1451"/>
                </a:lnTo>
                <a:lnTo>
                  <a:pt x="1773" y="1449"/>
                </a:lnTo>
                <a:lnTo>
                  <a:pt x="1772" y="1446"/>
                </a:lnTo>
                <a:lnTo>
                  <a:pt x="1772" y="1441"/>
                </a:lnTo>
                <a:lnTo>
                  <a:pt x="1772" y="1438"/>
                </a:lnTo>
                <a:lnTo>
                  <a:pt x="1761" y="1427"/>
                </a:lnTo>
                <a:lnTo>
                  <a:pt x="1747" y="1423"/>
                </a:lnTo>
                <a:lnTo>
                  <a:pt x="1722" y="1423"/>
                </a:lnTo>
                <a:lnTo>
                  <a:pt x="1695" y="1423"/>
                </a:lnTo>
                <a:lnTo>
                  <a:pt x="1684" y="1424"/>
                </a:lnTo>
                <a:lnTo>
                  <a:pt x="1672" y="1428"/>
                </a:lnTo>
                <a:lnTo>
                  <a:pt x="1678" y="1428"/>
                </a:lnTo>
                <a:lnTo>
                  <a:pt x="1681" y="1431"/>
                </a:lnTo>
                <a:lnTo>
                  <a:pt x="1682" y="1432"/>
                </a:lnTo>
                <a:lnTo>
                  <a:pt x="1682" y="1433"/>
                </a:lnTo>
                <a:lnTo>
                  <a:pt x="1682" y="1432"/>
                </a:lnTo>
                <a:lnTo>
                  <a:pt x="1681" y="1431"/>
                </a:lnTo>
                <a:lnTo>
                  <a:pt x="1678" y="1428"/>
                </a:lnTo>
                <a:lnTo>
                  <a:pt x="1672" y="1428"/>
                </a:lnTo>
                <a:lnTo>
                  <a:pt x="1646" y="1434"/>
                </a:lnTo>
                <a:lnTo>
                  <a:pt x="1618" y="1435"/>
                </a:lnTo>
                <a:lnTo>
                  <a:pt x="1627" y="1438"/>
                </a:lnTo>
                <a:lnTo>
                  <a:pt x="1636" y="1440"/>
                </a:lnTo>
                <a:lnTo>
                  <a:pt x="1623" y="1439"/>
                </a:lnTo>
                <a:lnTo>
                  <a:pt x="1610" y="1443"/>
                </a:lnTo>
                <a:lnTo>
                  <a:pt x="1602" y="1446"/>
                </a:lnTo>
                <a:lnTo>
                  <a:pt x="1598" y="1438"/>
                </a:lnTo>
                <a:lnTo>
                  <a:pt x="1574" y="1434"/>
                </a:lnTo>
                <a:lnTo>
                  <a:pt x="1549" y="1436"/>
                </a:lnTo>
                <a:lnTo>
                  <a:pt x="1550" y="1438"/>
                </a:lnTo>
                <a:lnTo>
                  <a:pt x="1550" y="1440"/>
                </a:lnTo>
                <a:lnTo>
                  <a:pt x="1540" y="1436"/>
                </a:lnTo>
                <a:lnTo>
                  <a:pt x="1528" y="1436"/>
                </a:lnTo>
                <a:lnTo>
                  <a:pt x="1506" y="1438"/>
                </a:lnTo>
                <a:lnTo>
                  <a:pt x="1486" y="1441"/>
                </a:lnTo>
                <a:lnTo>
                  <a:pt x="1474" y="1447"/>
                </a:lnTo>
                <a:lnTo>
                  <a:pt x="1470" y="1456"/>
                </a:lnTo>
                <a:lnTo>
                  <a:pt x="1470" y="1462"/>
                </a:lnTo>
                <a:lnTo>
                  <a:pt x="1473" y="1466"/>
                </a:lnTo>
                <a:lnTo>
                  <a:pt x="1479" y="1465"/>
                </a:lnTo>
                <a:lnTo>
                  <a:pt x="1482" y="1461"/>
                </a:lnTo>
                <a:lnTo>
                  <a:pt x="1500" y="1446"/>
                </a:lnTo>
                <a:lnTo>
                  <a:pt x="1522" y="1450"/>
                </a:lnTo>
                <a:lnTo>
                  <a:pt x="1515" y="1451"/>
                </a:lnTo>
                <a:lnTo>
                  <a:pt x="1507" y="1451"/>
                </a:lnTo>
                <a:lnTo>
                  <a:pt x="1502" y="1451"/>
                </a:lnTo>
                <a:lnTo>
                  <a:pt x="1498" y="1455"/>
                </a:lnTo>
                <a:lnTo>
                  <a:pt x="1498" y="1463"/>
                </a:lnTo>
                <a:lnTo>
                  <a:pt x="1503" y="1469"/>
                </a:lnTo>
                <a:lnTo>
                  <a:pt x="1511" y="1480"/>
                </a:lnTo>
                <a:lnTo>
                  <a:pt x="1505" y="1491"/>
                </a:lnTo>
                <a:lnTo>
                  <a:pt x="1510" y="1492"/>
                </a:lnTo>
                <a:lnTo>
                  <a:pt x="1513" y="1489"/>
                </a:lnTo>
                <a:lnTo>
                  <a:pt x="1522" y="1487"/>
                </a:lnTo>
                <a:lnTo>
                  <a:pt x="1525" y="1498"/>
                </a:lnTo>
                <a:lnTo>
                  <a:pt x="1522" y="1503"/>
                </a:lnTo>
                <a:lnTo>
                  <a:pt x="1517" y="1501"/>
                </a:lnTo>
                <a:lnTo>
                  <a:pt x="1513" y="1499"/>
                </a:lnTo>
                <a:lnTo>
                  <a:pt x="1509" y="1500"/>
                </a:lnTo>
                <a:lnTo>
                  <a:pt x="1492" y="1509"/>
                </a:lnTo>
                <a:lnTo>
                  <a:pt x="1475" y="1509"/>
                </a:lnTo>
                <a:lnTo>
                  <a:pt x="1470" y="1508"/>
                </a:lnTo>
                <a:lnTo>
                  <a:pt x="1467" y="1511"/>
                </a:lnTo>
                <a:lnTo>
                  <a:pt x="1470" y="1515"/>
                </a:lnTo>
                <a:lnTo>
                  <a:pt x="1476" y="1514"/>
                </a:lnTo>
                <a:lnTo>
                  <a:pt x="1480" y="1514"/>
                </a:lnTo>
                <a:lnTo>
                  <a:pt x="1483" y="1514"/>
                </a:lnTo>
                <a:lnTo>
                  <a:pt x="1530" y="1512"/>
                </a:lnTo>
                <a:lnTo>
                  <a:pt x="1578" y="1507"/>
                </a:lnTo>
                <a:lnTo>
                  <a:pt x="1590" y="1511"/>
                </a:lnTo>
                <a:lnTo>
                  <a:pt x="1602" y="1510"/>
                </a:lnTo>
                <a:lnTo>
                  <a:pt x="1622" y="1502"/>
                </a:lnTo>
                <a:lnTo>
                  <a:pt x="1642" y="1506"/>
                </a:lnTo>
                <a:lnTo>
                  <a:pt x="1665" y="1509"/>
                </a:lnTo>
                <a:lnTo>
                  <a:pt x="1687" y="1509"/>
                </a:lnTo>
                <a:lnTo>
                  <a:pt x="1743" y="1509"/>
                </a:lnTo>
                <a:lnTo>
                  <a:pt x="1798" y="1506"/>
                </a:lnTo>
                <a:lnTo>
                  <a:pt x="1798" y="1511"/>
                </a:lnTo>
                <a:lnTo>
                  <a:pt x="1795" y="1515"/>
                </a:lnTo>
                <a:lnTo>
                  <a:pt x="1786" y="1519"/>
                </a:lnTo>
                <a:lnTo>
                  <a:pt x="1787" y="1530"/>
                </a:lnTo>
                <a:lnTo>
                  <a:pt x="1785" y="1533"/>
                </a:lnTo>
                <a:lnTo>
                  <a:pt x="1782" y="1534"/>
                </a:lnTo>
                <a:lnTo>
                  <a:pt x="1689" y="1535"/>
                </a:lnTo>
                <a:lnTo>
                  <a:pt x="1597" y="1540"/>
                </a:lnTo>
                <a:lnTo>
                  <a:pt x="1425" y="1544"/>
                </a:lnTo>
                <a:lnTo>
                  <a:pt x="1253" y="1549"/>
                </a:lnTo>
                <a:lnTo>
                  <a:pt x="1256" y="1544"/>
                </a:lnTo>
                <a:lnTo>
                  <a:pt x="1261" y="1543"/>
                </a:lnTo>
                <a:lnTo>
                  <a:pt x="1270" y="1542"/>
                </a:lnTo>
                <a:lnTo>
                  <a:pt x="1279" y="1541"/>
                </a:lnTo>
                <a:lnTo>
                  <a:pt x="1294" y="1539"/>
                </a:lnTo>
                <a:lnTo>
                  <a:pt x="1310" y="1539"/>
                </a:lnTo>
                <a:lnTo>
                  <a:pt x="1321" y="1539"/>
                </a:lnTo>
                <a:lnTo>
                  <a:pt x="1332" y="1530"/>
                </a:lnTo>
                <a:lnTo>
                  <a:pt x="1299" y="1530"/>
                </a:lnTo>
                <a:lnTo>
                  <a:pt x="1268" y="1530"/>
                </a:lnTo>
                <a:lnTo>
                  <a:pt x="1291" y="1527"/>
                </a:lnTo>
                <a:lnTo>
                  <a:pt x="1315" y="1524"/>
                </a:lnTo>
                <a:lnTo>
                  <a:pt x="1322" y="1524"/>
                </a:lnTo>
                <a:lnTo>
                  <a:pt x="1327" y="1519"/>
                </a:lnTo>
                <a:lnTo>
                  <a:pt x="1330" y="1519"/>
                </a:lnTo>
                <a:lnTo>
                  <a:pt x="1332" y="1519"/>
                </a:lnTo>
                <a:lnTo>
                  <a:pt x="1342" y="1525"/>
                </a:lnTo>
                <a:lnTo>
                  <a:pt x="1351" y="1519"/>
                </a:lnTo>
                <a:lnTo>
                  <a:pt x="1378" y="1522"/>
                </a:lnTo>
                <a:lnTo>
                  <a:pt x="1405" y="1522"/>
                </a:lnTo>
                <a:lnTo>
                  <a:pt x="1400" y="1519"/>
                </a:lnTo>
                <a:lnTo>
                  <a:pt x="1396" y="1514"/>
                </a:lnTo>
                <a:lnTo>
                  <a:pt x="1394" y="1492"/>
                </a:lnTo>
                <a:lnTo>
                  <a:pt x="1398" y="1470"/>
                </a:lnTo>
                <a:lnTo>
                  <a:pt x="1398" y="1461"/>
                </a:lnTo>
                <a:lnTo>
                  <a:pt x="1391" y="1455"/>
                </a:lnTo>
                <a:lnTo>
                  <a:pt x="1381" y="1453"/>
                </a:lnTo>
                <a:lnTo>
                  <a:pt x="1373" y="1456"/>
                </a:lnTo>
                <a:lnTo>
                  <a:pt x="1371" y="1468"/>
                </a:lnTo>
                <a:lnTo>
                  <a:pt x="1377" y="1479"/>
                </a:lnTo>
                <a:lnTo>
                  <a:pt x="1382" y="1479"/>
                </a:lnTo>
                <a:lnTo>
                  <a:pt x="1389" y="1476"/>
                </a:lnTo>
                <a:lnTo>
                  <a:pt x="1389" y="1487"/>
                </a:lnTo>
                <a:lnTo>
                  <a:pt x="1380" y="1495"/>
                </a:lnTo>
                <a:lnTo>
                  <a:pt x="1385" y="1500"/>
                </a:lnTo>
                <a:lnTo>
                  <a:pt x="1388" y="1507"/>
                </a:lnTo>
                <a:lnTo>
                  <a:pt x="1381" y="1510"/>
                </a:lnTo>
                <a:lnTo>
                  <a:pt x="1374" y="1508"/>
                </a:lnTo>
                <a:lnTo>
                  <a:pt x="1364" y="1506"/>
                </a:lnTo>
                <a:lnTo>
                  <a:pt x="1354" y="1510"/>
                </a:lnTo>
                <a:lnTo>
                  <a:pt x="1344" y="1509"/>
                </a:lnTo>
                <a:lnTo>
                  <a:pt x="1332" y="1510"/>
                </a:lnTo>
                <a:lnTo>
                  <a:pt x="1324" y="1512"/>
                </a:lnTo>
                <a:lnTo>
                  <a:pt x="1317" y="1510"/>
                </a:lnTo>
                <a:lnTo>
                  <a:pt x="1321" y="1504"/>
                </a:lnTo>
                <a:lnTo>
                  <a:pt x="1322" y="1498"/>
                </a:lnTo>
                <a:lnTo>
                  <a:pt x="1322" y="1477"/>
                </a:lnTo>
                <a:lnTo>
                  <a:pt x="1323" y="1455"/>
                </a:lnTo>
                <a:lnTo>
                  <a:pt x="1320" y="1445"/>
                </a:lnTo>
                <a:lnTo>
                  <a:pt x="1309" y="1446"/>
                </a:lnTo>
                <a:lnTo>
                  <a:pt x="1305" y="1448"/>
                </a:lnTo>
                <a:lnTo>
                  <a:pt x="1302" y="1451"/>
                </a:lnTo>
                <a:lnTo>
                  <a:pt x="1300" y="1448"/>
                </a:lnTo>
                <a:lnTo>
                  <a:pt x="1299" y="1447"/>
                </a:lnTo>
                <a:lnTo>
                  <a:pt x="1271" y="1446"/>
                </a:lnTo>
                <a:lnTo>
                  <a:pt x="1245" y="1451"/>
                </a:lnTo>
                <a:lnTo>
                  <a:pt x="1242" y="1455"/>
                </a:lnTo>
                <a:lnTo>
                  <a:pt x="1243" y="1460"/>
                </a:lnTo>
                <a:lnTo>
                  <a:pt x="1246" y="1463"/>
                </a:lnTo>
                <a:lnTo>
                  <a:pt x="1249" y="1461"/>
                </a:lnTo>
                <a:lnTo>
                  <a:pt x="1256" y="1460"/>
                </a:lnTo>
                <a:lnTo>
                  <a:pt x="1259" y="1466"/>
                </a:lnTo>
                <a:lnTo>
                  <a:pt x="1258" y="1483"/>
                </a:lnTo>
                <a:lnTo>
                  <a:pt x="1260" y="1501"/>
                </a:lnTo>
                <a:lnTo>
                  <a:pt x="1259" y="1504"/>
                </a:lnTo>
                <a:lnTo>
                  <a:pt x="1256" y="1506"/>
                </a:lnTo>
                <a:lnTo>
                  <a:pt x="1242" y="1504"/>
                </a:lnTo>
                <a:lnTo>
                  <a:pt x="1231" y="1513"/>
                </a:lnTo>
                <a:lnTo>
                  <a:pt x="1229" y="1514"/>
                </a:lnTo>
                <a:lnTo>
                  <a:pt x="1226" y="1514"/>
                </a:lnTo>
                <a:lnTo>
                  <a:pt x="1188" y="1514"/>
                </a:lnTo>
                <a:lnTo>
                  <a:pt x="1152" y="1515"/>
                </a:lnTo>
                <a:lnTo>
                  <a:pt x="1154" y="1521"/>
                </a:lnTo>
                <a:lnTo>
                  <a:pt x="1156" y="1527"/>
                </a:lnTo>
                <a:lnTo>
                  <a:pt x="1145" y="1528"/>
                </a:lnTo>
                <a:lnTo>
                  <a:pt x="1135" y="1521"/>
                </a:lnTo>
                <a:lnTo>
                  <a:pt x="1134" y="1519"/>
                </a:lnTo>
                <a:lnTo>
                  <a:pt x="1133" y="1518"/>
                </a:lnTo>
                <a:lnTo>
                  <a:pt x="1112" y="1523"/>
                </a:lnTo>
                <a:lnTo>
                  <a:pt x="1092" y="1524"/>
                </a:lnTo>
                <a:lnTo>
                  <a:pt x="1072" y="1523"/>
                </a:lnTo>
                <a:lnTo>
                  <a:pt x="1057" y="1510"/>
                </a:lnTo>
                <a:lnTo>
                  <a:pt x="1057" y="1510"/>
                </a:lnTo>
                <a:lnTo>
                  <a:pt x="1058" y="1510"/>
                </a:lnTo>
                <a:lnTo>
                  <a:pt x="1057" y="1509"/>
                </a:lnTo>
                <a:lnTo>
                  <a:pt x="1057" y="1510"/>
                </a:lnTo>
                <a:lnTo>
                  <a:pt x="1058" y="1510"/>
                </a:lnTo>
                <a:lnTo>
                  <a:pt x="1061" y="1493"/>
                </a:lnTo>
                <a:lnTo>
                  <a:pt x="1063" y="1477"/>
                </a:lnTo>
                <a:lnTo>
                  <a:pt x="1063" y="1468"/>
                </a:lnTo>
                <a:lnTo>
                  <a:pt x="1056" y="1464"/>
                </a:lnTo>
                <a:lnTo>
                  <a:pt x="1054" y="1462"/>
                </a:lnTo>
                <a:lnTo>
                  <a:pt x="1052" y="1460"/>
                </a:lnTo>
                <a:lnTo>
                  <a:pt x="1055" y="1457"/>
                </a:lnTo>
                <a:lnTo>
                  <a:pt x="1058" y="1457"/>
                </a:lnTo>
                <a:lnTo>
                  <a:pt x="1067" y="1461"/>
                </a:lnTo>
                <a:lnTo>
                  <a:pt x="1071" y="1470"/>
                </a:lnTo>
                <a:lnTo>
                  <a:pt x="1070" y="1484"/>
                </a:lnTo>
                <a:lnTo>
                  <a:pt x="1070" y="1497"/>
                </a:lnTo>
                <a:lnTo>
                  <a:pt x="1066" y="1507"/>
                </a:lnTo>
                <a:lnTo>
                  <a:pt x="1058" y="1510"/>
                </a:lnTo>
                <a:lnTo>
                  <a:pt x="1058" y="1510"/>
                </a:lnTo>
                <a:lnTo>
                  <a:pt x="1058" y="1510"/>
                </a:lnTo>
                <a:lnTo>
                  <a:pt x="1057" y="1509"/>
                </a:lnTo>
                <a:lnTo>
                  <a:pt x="1057" y="1510"/>
                </a:lnTo>
                <a:lnTo>
                  <a:pt x="1057" y="1510"/>
                </a:lnTo>
                <a:lnTo>
                  <a:pt x="1050" y="1509"/>
                </a:lnTo>
                <a:lnTo>
                  <a:pt x="1045" y="1513"/>
                </a:lnTo>
                <a:lnTo>
                  <a:pt x="1035" y="1522"/>
                </a:lnTo>
                <a:lnTo>
                  <a:pt x="1025" y="1521"/>
                </a:lnTo>
                <a:lnTo>
                  <a:pt x="1007" y="1517"/>
                </a:lnTo>
                <a:lnTo>
                  <a:pt x="991" y="1519"/>
                </a:lnTo>
                <a:lnTo>
                  <a:pt x="992" y="1496"/>
                </a:lnTo>
                <a:lnTo>
                  <a:pt x="996" y="1471"/>
                </a:lnTo>
                <a:lnTo>
                  <a:pt x="996" y="1466"/>
                </a:lnTo>
                <a:lnTo>
                  <a:pt x="992" y="1461"/>
                </a:lnTo>
                <a:lnTo>
                  <a:pt x="987" y="1460"/>
                </a:lnTo>
                <a:lnTo>
                  <a:pt x="981" y="1463"/>
                </a:lnTo>
                <a:lnTo>
                  <a:pt x="978" y="1465"/>
                </a:lnTo>
                <a:lnTo>
                  <a:pt x="973" y="1469"/>
                </a:lnTo>
                <a:lnTo>
                  <a:pt x="988" y="1477"/>
                </a:lnTo>
                <a:lnTo>
                  <a:pt x="988" y="1492"/>
                </a:lnTo>
                <a:lnTo>
                  <a:pt x="987" y="1507"/>
                </a:lnTo>
                <a:lnTo>
                  <a:pt x="990" y="1522"/>
                </a:lnTo>
                <a:lnTo>
                  <a:pt x="991" y="1527"/>
                </a:lnTo>
                <a:lnTo>
                  <a:pt x="986" y="1529"/>
                </a:lnTo>
                <a:lnTo>
                  <a:pt x="983" y="1530"/>
                </a:lnTo>
                <a:lnTo>
                  <a:pt x="982" y="1533"/>
                </a:lnTo>
                <a:lnTo>
                  <a:pt x="984" y="1537"/>
                </a:lnTo>
                <a:lnTo>
                  <a:pt x="988" y="1538"/>
                </a:lnTo>
                <a:lnTo>
                  <a:pt x="999" y="1538"/>
                </a:lnTo>
                <a:lnTo>
                  <a:pt x="1009" y="1538"/>
                </a:lnTo>
                <a:lnTo>
                  <a:pt x="1063" y="1534"/>
                </a:lnTo>
                <a:lnTo>
                  <a:pt x="1117" y="1532"/>
                </a:lnTo>
                <a:lnTo>
                  <a:pt x="1152" y="1531"/>
                </a:lnTo>
                <a:lnTo>
                  <a:pt x="1188" y="1530"/>
                </a:lnTo>
                <a:lnTo>
                  <a:pt x="1224" y="1529"/>
                </a:lnTo>
                <a:lnTo>
                  <a:pt x="1259" y="1529"/>
                </a:lnTo>
                <a:lnTo>
                  <a:pt x="1233" y="1532"/>
                </a:lnTo>
                <a:lnTo>
                  <a:pt x="1208" y="1541"/>
                </a:lnTo>
                <a:lnTo>
                  <a:pt x="1227" y="1545"/>
                </a:lnTo>
                <a:lnTo>
                  <a:pt x="1244" y="1545"/>
                </a:lnTo>
                <a:lnTo>
                  <a:pt x="1247" y="1546"/>
                </a:lnTo>
                <a:lnTo>
                  <a:pt x="1247" y="1549"/>
                </a:lnTo>
                <a:lnTo>
                  <a:pt x="1228" y="1550"/>
                </a:lnTo>
                <a:lnTo>
                  <a:pt x="1209" y="1552"/>
                </a:lnTo>
                <a:lnTo>
                  <a:pt x="1086" y="1557"/>
                </a:lnTo>
                <a:lnTo>
                  <a:pt x="963" y="1561"/>
                </a:lnTo>
                <a:lnTo>
                  <a:pt x="874" y="1565"/>
                </a:lnTo>
                <a:lnTo>
                  <a:pt x="786" y="1569"/>
                </a:lnTo>
                <a:lnTo>
                  <a:pt x="691" y="1575"/>
                </a:lnTo>
                <a:lnTo>
                  <a:pt x="594" y="1584"/>
                </a:lnTo>
                <a:lnTo>
                  <a:pt x="594" y="1584"/>
                </a:lnTo>
                <a:lnTo>
                  <a:pt x="581" y="1580"/>
                </a:lnTo>
                <a:lnTo>
                  <a:pt x="569" y="1586"/>
                </a:lnTo>
                <a:lnTo>
                  <a:pt x="531" y="1588"/>
                </a:lnTo>
                <a:lnTo>
                  <a:pt x="494" y="1590"/>
                </a:lnTo>
                <a:lnTo>
                  <a:pt x="450" y="1594"/>
                </a:lnTo>
                <a:lnTo>
                  <a:pt x="407" y="1598"/>
                </a:lnTo>
                <a:lnTo>
                  <a:pt x="408" y="1592"/>
                </a:lnTo>
                <a:lnTo>
                  <a:pt x="413" y="1591"/>
                </a:lnTo>
                <a:lnTo>
                  <a:pt x="459" y="1587"/>
                </a:lnTo>
                <a:lnTo>
                  <a:pt x="505" y="1583"/>
                </a:lnTo>
                <a:lnTo>
                  <a:pt x="533" y="1580"/>
                </a:lnTo>
                <a:lnTo>
                  <a:pt x="561" y="1577"/>
                </a:lnTo>
                <a:lnTo>
                  <a:pt x="554" y="1567"/>
                </a:lnTo>
                <a:lnTo>
                  <a:pt x="542" y="1564"/>
                </a:lnTo>
                <a:lnTo>
                  <a:pt x="504" y="1570"/>
                </a:lnTo>
                <a:lnTo>
                  <a:pt x="468" y="1572"/>
                </a:lnTo>
                <a:lnTo>
                  <a:pt x="412" y="1578"/>
                </a:lnTo>
                <a:lnTo>
                  <a:pt x="358" y="1584"/>
                </a:lnTo>
                <a:lnTo>
                  <a:pt x="345" y="1579"/>
                </a:lnTo>
                <a:lnTo>
                  <a:pt x="346" y="1567"/>
                </a:lnTo>
                <a:lnTo>
                  <a:pt x="350" y="1548"/>
                </a:lnTo>
                <a:lnTo>
                  <a:pt x="350" y="1530"/>
                </a:lnTo>
                <a:lnTo>
                  <a:pt x="348" y="1525"/>
                </a:lnTo>
                <a:lnTo>
                  <a:pt x="343" y="1526"/>
                </a:lnTo>
                <a:lnTo>
                  <a:pt x="333" y="1538"/>
                </a:lnTo>
                <a:lnTo>
                  <a:pt x="327" y="1550"/>
                </a:lnTo>
                <a:lnTo>
                  <a:pt x="327" y="1571"/>
                </a:lnTo>
                <a:lnTo>
                  <a:pt x="335" y="1585"/>
                </a:lnTo>
                <a:lnTo>
                  <a:pt x="320" y="1588"/>
                </a:lnTo>
                <a:lnTo>
                  <a:pt x="306" y="1592"/>
                </a:lnTo>
                <a:lnTo>
                  <a:pt x="314" y="1593"/>
                </a:lnTo>
                <a:lnTo>
                  <a:pt x="320" y="1592"/>
                </a:lnTo>
                <a:lnTo>
                  <a:pt x="322" y="1592"/>
                </a:lnTo>
                <a:lnTo>
                  <a:pt x="324" y="1593"/>
                </a:lnTo>
                <a:lnTo>
                  <a:pt x="324" y="1594"/>
                </a:lnTo>
                <a:lnTo>
                  <a:pt x="324" y="1596"/>
                </a:lnTo>
                <a:lnTo>
                  <a:pt x="313" y="1600"/>
                </a:lnTo>
                <a:lnTo>
                  <a:pt x="302" y="1599"/>
                </a:lnTo>
                <a:lnTo>
                  <a:pt x="293" y="1593"/>
                </a:lnTo>
                <a:lnTo>
                  <a:pt x="284" y="1593"/>
                </a:lnTo>
                <a:lnTo>
                  <a:pt x="267" y="1595"/>
                </a:lnTo>
                <a:lnTo>
                  <a:pt x="249" y="1598"/>
                </a:lnTo>
                <a:lnTo>
                  <a:pt x="234" y="1599"/>
                </a:lnTo>
                <a:lnTo>
                  <a:pt x="220" y="1600"/>
                </a:lnTo>
                <a:lnTo>
                  <a:pt x="214" y="1599"/>
                </a:lnTo>
                <a:lnTo>
                  <a:pt x="211" y="1595"/>
                </a:lnTo>
                <a:lnTo>
                  <a:pt x="211" y="1589"/>
                </a:lnTo>
                <a:lnTo>
                  <a:pt x="215" y="1586"/>
                </a:lnTo>
                <a:lnTo>
                  <a:pt x="229" y="1579"/>
                </a:lnTo>
                <a:lnTo>
                  <a:pt x="243" y="1585"/>
                </a:lnTo>
                <a:lnTo>
                  <a:pt x="246" y="1587"/>
                </a:lnTo>
                <a:lnTo>
                  <a:pt x="249" y="1586"/>
                </a:lnTo>
                <a:lnTo>
                  <a:pt x="262" y="1572"/>
                </a:lnTo>
                <a:lnTo>
                  <a:pt x="266" y="1553"/>
                </a:lnTo>
                <a:lnTo>
                  <a:pt x="263" y="1550"/>
                </a:lnTo>
                <a:lnTo>
                  <a:pt x="261" y="1550"/>
                </a:lnTo>
                <a:lnTo>
                  <a:pt x="248" y="1550"/>
                </a:lnTo>
                <a:lnTo>
                  <a:pt x="237" y="1557"/>
                </a:lnTo>
                <a:lnTo>
                  <a:pt x="233" y="1559"/>
                </a:lnTo>
                <a:lnTo>
                  <a:pt x="230" y="1558"/>
                </a:lnTo>
                <a:lnTo>
                  <a:pt x="227" y="1553"/>
                </a:lnTo>
                <a:lnTo>
                  <a:pt x="225" y="1547"/>
                </a:lnTo>
                <a:lnTo>
                  <a:pt x="227" y="1546"/>
                </a:lnTo>
                <a:lnTo>
                  <a:pt x="229" y="1545"/>
                </a:lnTo>
                <a:lnTo>
                  <a:pt x="243" y="1545"/>
                </a:lnTo>
                <a:lnTo>
                  <a:pt x="257" y="1542"/>
                </a:lnTo>
                <a:lnTo>
                  <a:pt x="273" y="1540"/>
                </a:lnTo>
                <a:lnTo>
                  <a:pt x="288" y="1531"/>
                </a:lnTo>
                <a:lnTo>
                  <a:pt x="252" y="1537"/>
                </a:lnTo>
                <a:lnTo>
                  <a:pt x="215" y="1538"/>
                </a:lnTo>
                <a:lnTo>
                  <a:pt x="233" y="1533"/>
                </a:lnTo>
                <a:lnTo>
                  <a:pt x="251" y="1529"/>
                </a:lnTo>
                <a:lnTo>
                  <a:pt x="270" y="1527"/>
                </a:lnTo>
                <a:lnTo>
                  <a:pt x="289" y="1527"/>
                </a:lnTo>
                <a:lnTo>
                  <a:pt x="306" y="1526"/>
                </a:lnTo>
                <a:lnTo>
                  <a:pt x="323" y="1523"/>
                </a:lnTo>
                <a:lnTo>
                  <a:pt x="313" y="1521"/>
                </a:lnTo>
                <a:lnTo>
                  <a:pt x="301" y="1522"/>
                </a:lnTo>
                <a:lnTo>
                  <a:pt x="291" y="1523"/>
                </a:lnTo>
                <a:lnTo>
                  <a:pt x="285" y="1517"/>
                </a:lnTo>
                <a:lnTo>
                  <a:pt x="285" y="1517"/>
                </a:lnTo>
                <a:lnTo>
                  <a:pt x="287" y="1516"/>
                </a:lnTo>
                <a:lnTo>
                  <a:pt x="289" y="1514"/>
                </a:lnTo>
                <a:lnTo>
                  <a:pt x="308" y="1501"/>
                </a:lnTo>
                <a:lnTo>
                  <a:pt x="313" y="1479"/>
                </a:lnTo>
                <a:lnTo>
                  <a:pt x="314" y="1453"/>
                </a:lnTo>
                <a:lnTo>
                  <a:pt x="317" y="1428"/>
                </a:lnTo>
                <a:lnTo>
                  <a:pt x="327" y="1410"/>
                </a:lnTo>
                <a:lnTo>
                  <a:pt x="335" y="1393"/>
                </a:lnTo>
                <a:lnTo>
                  <a:pt x="335" y="1391"/>
                </a:lnTo>
                <a:lnTo>
                  <a:pt x="335" y="1389"/>
                </a:lnTo>
                <a:lnTo>
                  <a:pt x="329" y="1373"/>
                </a:lnTo>
                <a:lnTo>
                  <a:pt x="332" y="1356"/>
                </a:lnTo>
                <a:lnTo>
                  <a:pt x="333" y="1351"/>
                </a:lnTo>
                <a:lnTo>
                  <a:pt x="333" y="1348"/>
                </a:lnTo>
                <a:lnTo>
                  <a:pt x="329" y="1340"/>
                </a:lnTo>
                <a:lnTo>
                  <a:pt x="321" y="1334"/>
                </a:lnTo>
                <a:lnTo>
                  <a:pt x="315" y="1335"/>
                </a:lnTo>
                <a:lnTo>
                  <a:pt x="312" y="1342"/>
                </a:lnTo>
                <a:lnTo>
                  <a:pt x="311" y="1344"/>
                </a:lnTo>
                <a:lnTo>
                  <a:pt x="309" y="1345"/>
                </a:lnTo>
                <a:lnTo>
                  <a:pt x="300" y="1345"/>
                </a:lnTo>
                <a:lnTo>
                  <a:pt x="297" y="1354"/>
                </a:lnTo>
                <a:lnTo>
                  <a:pt x="291" y="1360"/>
                </a:lnTo>
                <a:lnTo>
                  <a:pt x="285" y="1361"/>
                </a:lnTo>
                <a:lnTo>
                  <a:pt x="282" y="1357"/>
                </a:lnTo>
                <a:lnTo>
                  <a:pt x="283" y="1351"/>
                </a:lnTo>
                <a:lnTo>
                  <a:pt x="278" y="1341"/>
                </a:lnTo>
                <a:lnTo>
                  <a:pt x="269" y="1341"/>
                </a:lnTo>
                <a:lnTo>
                  <a:pt x="256" y="1342"/>
                </a:lnTo>
                <a:lnTo>
                  <a:pt x="248" y="1331"/>
                </a:lnTo>
                <a:lnTo>
                  <a:pt x="253" y="1331"/>
                </a:lnTo>
                <a:lnTo>
                  <a:pt x="255" y="1328"/>
                </a:lnTo>
                <a:lnTo>
                  <a:pt x="262" y="1317"/>
                </a:lnTo>
                <a:lnTo>
                  <a:pt x="271" y="1307"/>
                </a:lnTo>
                <a:lnTo>
                  <a:pt x="274" y="1304"/>
                </a:lnTo>
                <a:lnTo>
                  <a:pt x="277" y="1305"/>
                </a:lnTo>
                <a:lnTo>
                  <a:pt x="279" y="1310"/>
                </a:lnTo>
                <a:lnTo>
                  <a:pt x="278" y="1312"/>
                </a:lnTo>
                <a:lnTo>
                  <a:pt x="271" y="1323"/>
                </a:lnTo>
                <a:lnTo>
                  <a:pt x="266" y="1333"/>
                </a:lnTo>
                <a:lnTo>
                  <a:pt x="272" y="1335"/>
                </a:lnTo>
                <a:lnTo>
                  <a:pt x="278" y="1338"/>
                </a:lnTo>
                <a:lnTo>
                  <a:pt x="289" y="1339"/>
                </a:lnTo>
                <a:lnTo>
                  <a:pt x="290" y="1327"/>
                </a:lnTo>
                <a:lnTo>
                  <a:pt x="291" y="1316"/>
                </a:lnTo>
                <a:lnTo>
                  <a:pt x="300" y="1310"/>
                </a:lnTo>
                <a:lnTo>
                  <a:pt x="306" y="1310"/>
                </a:lnTo>
                <a:lnTo>
                  <a:pt x="313" y="1316"/>
                </a:lnTo>
                <a:lnTo>
                  <a:pt x="318" y="1320"/>
                </a:lnTo>
                <a:lnTo>
                  <a:pt x="325" y="1321"/>
                </a:lnTo>
                <a:lnTo>
                  <a:pt x="329" y="1316"/>
                </a:lnTo>
                <a:lnTo>
                  <a:pt x="328" y="1310"/>
                </a:lnTo>
                <a:lnTo>
                  <a:pt x="324" y="1282"/>
                </a:lnTo>
                <a:lnTo>
                  <a:pt x="311" y="1257"/>
                </a:lnTo>
                <a:lnTo>
                  <a:pt x="312" y="1239"/>
                </a:lnTo>
                <a:lnTo>
                  <a:pt x="317" y="1222"/>
                </a:lnTo>
                <a:lnTo>
                  <a:pt x="321" y="1217"/>
                </a:lnTo>
                <a:lnTo>
                  <a:pt x="329" y="1217"/>
                </a:lnTo>
                <a:lnTo>
                  <a:pt x="334" y="1218"/>
                </a:lnTo>
                <a:lnTo>
                  <a:pt x="340" y="1217"/>
                </a:lnTo>
                <a:lnTo>
                  <a:pt x="340" y="1214"/>
                </a:lnTo>
                <a:lnTo>
                  <a:pt x="340" y="1211"/>
                </a:lnTo>
                <a:lnTo>
                  <a:pt x="340" y="1210"/>
                </a:lnTo>
                <a:lnTo>
                  <a:pt x="340" y="1209"/>
                </a:lnTo>
                <a:lnTo>
                  <a:pt x="340" y="1210"/>
                </a:lnTo>
                <a:lnTo>
                  <a:pt x="340" y="1211"/>
                </a:lnTo>
                <a:lnTo>
                  <a:pt x="340" y="1214"/>
                </a:lnTo>
                <a:lnTo>
                  <a:pt x="340" y="1217"/>
                </a:lnTo>
                <a:lnTo>
                  <a:pt x="347" y="1213"/>
                </a:lnTo>
                <a:lnTo>
                  <a:pt x="348" y="1207"/>
                </a:lnTo>
                <a:lnTo>
                  <a:pt x="350" y="1203"/>
                </a:lnTo>
                <a:lnTo>
                  <a:pt x="352" y="1201"/>
                </a:lnTo>
                <a:lnTo>
                  <a:pt x="363" y="1201"/>
                </a:lnTo>
                <a:lnTo>
                  <a:pt x="374" y="1200"/>
                </a:lnTo>
                <a:lnTo>
                  <a:pt x="375" y="1206"/>
                </a:lnTo>
                <a:lnTo>
                  <a:pt x="373" y="1213"/>
                </a:lnTo>
                <a:lnTo>
                  <a:pt x="372" y="1218"/>
                </a:lnTo>
                <a:lnTo>
                  <a:pt x="375" y="1221"/>
                </a:lnTo>
                <a:lnTo>
                  <a:pt x="379" y="1220"/>
                </a:lnTo>
                <a:lnTo>
                  <a:pt x="380" y="1216"/>
                </a:lnTo>
                <a:lnTo>
                  <a:pt x="381" y="1210"/>
                </a:lnTo>
                <a:lnTo>
                  <a:pt x="388" y="1211"/>
                </a:lnTo>
                <a:lnTo>
                  <a:pt x="392" y="1210"/>
                </a:lnTo>
                <a:lnTo>
                  <a:pt x="396" y="1208"/>
                </a:lnTo>
                <a:lnTo>
                  <a:pt x="405" y="1197"/>
                </a:lnTo>
                <a:lnTo>
                  <a:pt x="409" y="1185"/>
                </a:lnTo>
                <a:lnTo>
                  <a:pt x="451" y="1173"/>
                </a:lnTo>
                <a:lnTo>
                  <a:pt x="493" y="1162"/>
                </a:lnTo>
                <a:lnTo>
                  <a:pt x="509" y="1156"/>
                </a:lnTo>
                <a:lnTo>
                  <a:pt x="517" y="1141"/>
                </a:lnTo>
                <a:lnTo>
                  <a:pt x="511" y="1141"/>
                </a:lnTo>
                <a:lnTo>
                  <a:pt x="505" y="1142"/>
                </a:lnTo>
                <a:lnTo>
                  <a:pt x="458" y="1154"/>
                </a:lnTo>
                <a:lnTo>
                  <a:pt x="411" y="1166"/>
                </a:lnTo>
                <a:lnTo>
                  <a:pt x="389" y="1172"/>
                </a:lnTo>
                <a:lnTo>
                  <a:pt x="366" y="1179"/>
                </a:lnTo>
                <a:lnTo>
                  <a:pt x="368" y="1182"/>
                </a:lnTo>
                <a:lnTo>
                  <a:pt x="370" y="1185"/>
                </a:lnTo>
                <a:lnTo>
                  <a:pt x="372" y="1186"/>
                </a:lnTo>
                <a:lnTo>
                  <a:pt x="373" y="1186"/>
                </a:lnTo>
                <a:lnTo>
                  <a:pt x="372" y="1186"/>
                </a:lnTo>
                <a:lnTo>
                  <a:pt x="370" y="1185"/>
                </a:lnTo>
                <a:lnTo>
                  <a:pt x="368" y="1182"/>
                </a:lnTo>
                <a:lnTo>
                  <a:pt x="366" y="1179"/>
                </a:lnTo>
                <a:lnTo>
                  <a:pt x="353" y="1177"/>
                </a:lnTo>
                <a:lnTo>
                  <a:pt x="346" y="1187"/>
                </a:lnTo>
                <a:lnTo>
                  <a:pt x="340" y="1187"/>
                </a:lnTo>
                <a:lnTo>
                  <a:pt x="335" y="1187"/>
                </a:lnTo>
                <a:lnTo>
                  <a:pt x="335" y="1180"/>
                </a:lnTo>
                <a:lnTo>
                  <a:pt x="335" y="1174"/>
                </a:lnTo>
                <a:lnTo>
                  <a:pt x="318" y="1180"/>
                </a:lnTo>
                <a:lnTo>
                  <a:pt x="309" y="1194"/>
                </a:lnTo>
                <a:lnTo>
                  <a:pt x="287" y="1202"/>
                </a:lnTo>
                <a:lnTo>
                  <a:pt x="263" y="1209"/>
                </a:lnTo>
                <a:lnTo>
                  <a:pt x="262" y="1210"/>
                </a:lnTo>
                <a:lnTo>
                  <a:pt x="261" y="1210"/>
                </a:lnTo>
                <a:lnTo>
                  <a:pt x="259" y="1211"/>
                </a:lnTo>
                <a:lnTo>
                  <a:pt x="257" y="1211"/>
                </a:lnTo>
                <a:lnTo>
                  <a:pt x="255" y="1208"/>
                </a:lnTo>
                <a:lnTo>
                  <a:pt x="253" y="1208"/>
                </a:lnTo>
                <a:lnTo>
                  <a:pt x="236" y="1210"/>
                </a:lnTo>
                <a:lnTo>
                  <a:pt x="218" y="1213"/>
                </a:lnTo>
                <a:lnTo>
                  <a:pt x="231" y="1203"/>
                </a:lnTo>
                <a:lnTo>
                  <a:pt x="244" y="1197"/>
                </a:lnTo>
                <a:lnTo>
                  <a:pt x="244" y="1196"/>
                </a:lnTo>
                <a:lnTo>
                  <a:pt x="244" y="1197"/>
                </a:lnTo>
                <a:lnTo>
                  <a:pt x="244" y="1197"/>
                </a:lnTo>
                <a:lnTo>
                  <a:pt x="271" y="1190"/>
                </a:lnTo>
                <a:lnTo>
                  <a:pt x="298" y="1181"/>
                </a:lnTo>
                <a:lnTo>
                  <a:pt x="300" y="1179"/>
                </a:lnTo>
                <a:lnTo>
                  <a:pt x="300" y="1176"/>
                </a:lnTo>
                <a:lnTo>
                  <a:pt x="297" y="1175"/>
                </a:lnTo>
                <a:lnTo>
                  <a:pt x="293" y="1175"/>
                </a:lnTo>
                <a:lnTo>
                  <a:pt x="279" y="1181"/>
                </a:lnTo>
                <a:lnTo>
                  <a:pt x="266" y="1185"/>
                </a:lnTo>
                <a:lnTo>
                  <a:pt x="253" y="1188"/>
                </a:lnTo>
                <a:lnTo>
                  <a:pt x="243" y="1196"/>
                </a:lnTo>
                <a:lnTo>
                  <a:pt x="243" y="1196"/>
                </a:lnTo>
                <a:lnTo>
                  <a:pt x="244" y="1196"/>
                </a:lnTo>
                <a:lnTo>
                  <a:pt x="243" y="1196"/>
                </a:lnTo>
                <a:lnTo>
                  <a:pt x="234" y="1195"/>
                </a:lnTo>
                <a:lnTo>
                  <a:pt x="226" y="1197"/>
                </a:lnTo>
                <a:lnTo>
                  <a:pt x="206" y="1205"/>
                </a:lnTo>
                <a:lnTo>
                  <a:pt x="185" y="1212"/>
                </a:lnTo>
                <a:lnTo>
                  <a:pt x="181" y="1214"/>
                </a:lnTo>
                <a:lnTo>
                  <a:pt x="179" y="1218"/>
                </a:lnTo>
                <a:lnTo>
                  <a:pt x="183" y="1220"/>
                </a:lnTo>
                <a:lnTo>
                  <a:pt x="187" y="1219"/>
                </a:lnTo>
                <a:lnTo>
                  <a:pt x="196" y="1216"/>
                </a:lnTo>
                <a:lnTo>
                  <a:pt x="203" y="1220"/>
                </a:lnTo>
                <a:lnTo>
                  <a:pt x="203" y="1220"/>
                </a:lnTo>
                <a:lnTo>
                  <a:pt x="205" y="1221"/>
                </a:lnTo>
                <a:lnTo>
                  <a:pt x="203" y="1221"/>
                </a:lnTo>
                <a:lnTo>
                  <a:pt x="202" y="1220"/>
                </a:lnTo>
                <a:lnTo>
                  <a:pt x="194" y="1223"/>
                </a:lnTo>
                <a:lnTo>
                  <a:pt x="185" y="1229"/>
                </a:lnTo>
                <a:lnTo>
                  <a:pt x="171" y="1238"/>
                </a:lnTo>
                <a:lnTo>
                  <a:pt x="155" y="1240"/>
                </a:lnTo>
                <a:lnTo>
                  <a:pt x="153" y="1241"/>
                </a:lnTo>
                <a:lnTo>
                  <a:pt x="152" y="1241"/>
                </a:lnTo>
                <a:lnTo>
                  <a:pt x="152" y="1241"/>
                </a:lnTo>
                <a:lnTo>
                  <a:pt x="151" y="1241"/>
                </a:lnTo>
                <a:lnTo>
                  <a:pt x="153" y="1240"/>
                </a:lnTo>
                <a:lnTo>
                  <a:pt x="154" y="1239"/>
                </a:lnTo>
                <a:lnTo>
                  <a:pt x="151" y="1235"/>
                </a:lnTo>
                <a:lnTo>
                  <a:pt x="155" y="1231"/>
                </a:lnTo>
                <a:lnTo>
                  <a:pt x="166" y="1226"/>
                </a:lnTo>
                <a:lnTo>
                  <a:pt x="176" y="1220"/>
                </a:lnTo>
                <a:lnTo>
                  <a:pt x="158" y="1222"/>
                </a:lnTo>
                <a:lnTo>
                  <a:pt x="145" y="1227"/>
                </a:lnTo>
                <a:lnTo>
                  <a:pt x="131" y="1232"/>
                </a:lnTo>
                <a:lnTo>
                  <a:pt x="125" y="1219"/>
                </a:lnTo>
                <a:lnTo>
                  <a:pt x="141" y="1208"/>
                </a:lnTo>
                <a:lnTo>
                  <a:pt x="158" y="1201"/>
                </a:lnTo>
                <a:lnTo>
                  <a:pt x="186" y="1188"/>
                </a:lnTo>
                <a:lnTo>
                  <a:pt x="215" y="1176"/>
                </a:lnTo>
                <a:lnTo>
                  <a:pt x="216" y="1168"/>
                </a:lnTo>
                <a:lnTo>
                  <a:pt x="221" y="1164"/>
                </a:lnTo>
                <a:lnTo>
                  <a:pt x="222" y="1163"/>
                </a:lnTo>
                <a:lnTo>
                  <a:pt x="224" y="1163"/>
                </a:lnTo>
                <a:lnTo>
                  <a:pt x="222" y="1163"/>
                </a:lnTo>
                <a:lnTo>
                  <a:pt x="221" y="1164"/>
                </a:lnTo>
                <a:lnTo>
                  <a:pt x="216" y="1168"/>
                </a:lnTo>
                <a:lnTo>
                  <a:pt x="215" y="1176"/>
                </a:lnTo>
                <a:lnTo>
                  <a:pt x="220" y="1177"/>
                </a:lnTo>
                <a:lnTo>
                  <a:pt x="224" y="1174"/>
                </a:lnTo>
                <a:lnTo>
                  <a:pt x="230" y="1170"/>
                </a:lnTo>
                <a:lnTo>
                  <a:pt x="239" y="1168"/>
                </a:lnTo>
                <a:lnTo>
                  <a:pt x="238" y="1174"/>
                </a:lnTo>
                <a:lnTo>
                  <a:pt x="237" y="1180"/>
                </a:lnTo>
                <a:lnTo>
                  <a:pt x="237" y="1185"/>
                </a:lnTo>
                <a:lnTo>
                  <a:pt x="239" y="1188"/>
                </a:lnTo>
                <a:lnTo>
                  <a:pt x="243" y="1186"/>
                </a:lnTo>
                <a:lnTo>
                  <a:pt x="245" y="1181"/>
                </a:lnTo>
                <a:lnTo>
                  <a:pt x="246" y="1174"/>
                </a:lnTo>
                <a:lnTo>
                  <a:pt x="246" y="1166"/>
                </a:lnTo>
                <a:lnTo>
                  <a:pt x="256" y="1163"/>
                </a:lnTo>
                <a:lnTo>
                  <a:pt x="267" y="1161"/>
                </a:lnTo>
                <a:lnTo>
                  <a:pt x="276" y="1159"/>
                </a:lnTo>
                <a:lnTo>
                  <a:pt x="284" y="1152"/>
                </a:lnTo>
                <a:lnTo>
                  <a:pt x="291" y="1151"/>
                </a:lnTo>
                <a:lnTo>
                  <a:pt x="298" y="1148"/>
                </a:lnTo>
                <a:lnTo>
                  <a:pt x="324" y="1139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57" y="1133"/>
                </a:lnTo>
                <a:lnTo>
                  <a:pt x="362" y="1134"/>
                </a:lnTo>
                <a:lnTo>
                  <a:pt x="367" y="1136"/>
                </a:lnTo>
                <a:lnTo>
                  <a:pt x="369" y="1142"/>
                </a:lnTo>
                <a:lnTo>
                  <a:pt x="368" y="1146"/>
                </a:lnTo>
                <a:lnTo>
                  <a:pt x="365" y="1146"/>
                </a:lnTo>
                <a:lnTo>
                  <a:pt x="357" y="1146"/>
                </a:lnTo>
                <a:lnTo>
                  <a:pt x="351" y="1141"/>
                </a:lnTo>
                <a:lnTo>
                  <a:pt x="351" y="1136"/>
                </a:lnTo>
                <a:lnTo>
                  <a:pt x="352" y="1132"/>
                </a:lnTo>
                <a:lnTo>
                  <a:pt x="352" y="1132"/>
                </a:lnTo>
                <a:lnTo>
                  <a:pt x="352" y="1132"/>
                </a:lnTo>
                <a:lnTo>
                  <a:pt x="362" y="1129"/>
                </a:lnTo>
                <a:lnTo>
                  <a:pt x="372" y="1126"/>
                </a:lnTo>
                <a:lnTo>
                  <a:pt x="374" y="1124"/>
                </a:lnTo>
                <a:lnTo>
                  <a:pt x="377" y="1122"/>
                </a:lnTo>
                <a:lnTo>
                  <a:pt x="381" y="1121"/>
                </a:lnTo>
                <a:lnTo>
                  <a:pt x="383" y="1118"/>
                </a:lnTo>
                <a:lnTo>
                  <a:pt x="402" y="1116"/>
                </a:lnTo>
                <a:lnTo>
                  <a:pt x="419" y="1113"/>
                </a:lnTo>
                <a:lnTo>
                  <a:pt x="423" y="1110"/>
                </a:lnTo>
                <a:lnTo>
                  <a:pt x="424" y="1105"/>
                </a:lnTo>
                <a:lnTo>
                  <a:pt x="414" y="1106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12" y="1103"/>
                </a:lnTo>
                <a:lnTo>
                  <a:pt x="421" y="1101"/>
                </a:lnTo>
                <a:lnTo>
                  <a:pt x="424" y="1102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24" y="1105"/>
                </a:lnTo>
                <a:lnTo>
                  <a:pt x="444" y="1105"/>
                </a:lnTo>
                <a:lnTo>
                  <a:pt x="463" y="1098"/>
                </a:lnTo>
                <a:lnTo>
                  <a:pt x="474" y="1095"/>
                </a:lnTo>
                <a:lnTo>
                  <a:pt x="487" y="1091"/>
                </a:lnTo>
                <a:lnTo>
                  <a:pt x="496" y="1091"/>
                </a:lnTo>
                <a:lnTo>
                  <a:pt x="503" y="1087"/>
                </a:lnTo>
                <a:lnTo>
                  <a:pt x="513" y="1084"/>
                </a:lnTo>
                <a:lnTo>
                  <a:pt x="522" y="1080"/>
                </a:lnTo>
                <a:lnTo>
                  <a:pt x="532" y="1078"/>
                </a:lnTo>
                <a:lnTo>
                  <a:pt x="541" y="1080"/>
                </a:lnTo>
                <a:lnTo>
                  <a:pt x="551" y="1081"/>
                </a:lnTo>
                <a:lnTo>
                  <a:pt x="559" y="1073"/>
                </a:lnTo>
                <a:lnTo>
                  <a:pt x="562" y="1072"/>
                </a:lnTo>
                <a:lnTo>
                  <a:pt x="564" y="1072"/>
                </a:lnTo>
                <a:lnTo>
                  <a:pt x="570" y="1073"/>
                </a:lnTo>
                <a:lnTo>
                  <a:pt x="576" y="1072"/>
                </a:lnTo>
                <a:lnTo>
                  <a:pt x="595" y="1068"/>
                </a:lnTo>
                <a:lnTo>
                  <a:pt x="613" y="1063"/>
                </a:lnTo>
                <a:lnTo>
                  <a:pt x="639" y="1059"/>
                </a:lnTo>
                <a:lnTo>
                  <a:pt x="665" y="1056"/>
                </a:lnTo>
                <a:lnTo>
                  <a:pt x="696" y="1049"/>
                </a:lnTo>
                <a:lnTo>
                  <a:pt x="728" y="1043"/>
                </a:lnTo>
                <a:lnTo>
                  <a:pt x="736" y="1042"/>
                </a:lnTo>
                <a:lnTo>
                  <a:pt x="742" y="1038"/>
                </a:lnTo>
                <a:lnTo>
                  <a:pt x="743" y="1039"/>
                </a:lnTo>
                <a:lnTo>
                  <a:pt x="744" y="1039"/>
                </a:lnTo>
                <a:lnTo>
                  <a:pt x="747" y="1054"/>
                </a:lnTo>
                <a:lnTo>
                  <a:pt x="746" y="1069"/>
                </a:lnTo>
                <a:lnTo>
                  <a:pt x="744" y="1083"/>
                </a:lnTo>
                <a:lnTo>
                  <a:pt x="742" y="1097"/>
                </a:lnTo>
                <a:lnTo>
                  <a:pt x="727" y="1101"/>
                </a:lnTo>
                <a:lnTo>
                  <a:pt x="712" y="1103"/>
                </a:lnTo>
                <a:lnTo>
                  <a:pt x="712" y="1103"/>
                </a:lnTo>
                <a:lnTo>
                  <a:pt x="712" y="1103"/>
                </a:lnTo>
                <a:lnTo>
                  <a:pt x="712" y="1103"/>
                </a:lnTo>
                <a:lnTo>
                  <a:pt x="710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09" y="1103"/>
                </a:lnTo>
                <a:lnTo>
                  <a:pt x="710" y="1103"/>
                </a:lnTo>
                <a:lnTo>
                  <a:pt x="712" y="1103"/>
                </a:lnTo>
                <a:lnTo>
                  <a:pt x="710" y="1104"/>
                </a:lnTo>
                <a:lnTo>
                  <a:pt x="709" y="1103"/>
                </a:lnTo>
                <a:lnTo>
                  <a:pt x="703" y="1103"/>
                </a:lnTo>
                <a:lnTo>
                  <a:pt x="699" y="1104"/>
                </a:lnTo>
                <a:lnTo>
                  <a:pt x="633" y="1119"/>
                </a:lnTo>
                <a:lnTo>
                  <a:pt x="566" y="1130"/>
                </a:lnTo>
                <a:lnTo>
                  <a:pt x="556" y="1132"/>
                </a:lnTo>
                <a:lnTo>
                  <a:pt x="549" y="1136"/>
                </a:lnTo>
                <a:lnTo>
                  <a:pt x="557" y="1144"/>
                </a:lnTo>
                <a:lnTo>
                  <a:pt x="569" y="1145"/>
                </a:lnTo>
                <a:lnTo>
                  <a:pt x="572" y="1145"/>
                </a:lnTo>
                <a:lnTo>
                  <a:pt x="575" y="1145"/>
                </a:lnTo>
                <a:lnTo>
                  <a:pt x="623" y="1135"/>
                </a:lnTo>
                <a:lnTo>
                  <a:pt x="671" y="1126"/>
                </a:lnTo>
                <a:lnTo>
                  <a:pt x="710" y="1117"/>
                </a:lnTo>
                <a:lnTo>
                  <a:pt x="748" y="1111"/>
                </a:lnTo>
                <a:lnTo>
                  <a:pt x="745" y="1119"/>
                </a:lnTo>
                <a:lnTo>
                  <a:pt x="745" y="1128"/>
                </a:lnTo>
                <a:lnTo>
                  <a:pt x="751" y="1129"/>
                </a:lnTo>
                <a:lnTo>
                  <a:pt x="757" y="1127"/>
                </a:lnTo>
                <a:lnTo>
                  <a:pt x="757" y="1132"/>
                </a:lnTo>
                <a:lnTo>
                  <a:pt x="757" y="1139"/>
                </a:lnTo>
                <a:lnTo>
                  <a:pt x="757" y="1145"/>
                </a:lnTo>
                <a:lnTo>
                  <a:pt x="758" y="1150"/>
                </a:lnTo>
                <a:lnTo>
                  <a:pt x="761" y="1157"/>
                </a:lnTo>
                <a:lnTo>
                  <a:pt x="761" y="1162"/>
                </a:lnTo>
                <a:lnTo>
                  <a:pt x="760" y="1165"/>
                </a:lnTo>
                <a:lnTo>
                  <a:pt x="760" y="1167"/>
                </a:lnTo>
                <a:lnTo>
                  <a:pt x="760" y="1173"/>
                </a:lnTo>
                <a:lnTo>
                  <a:pt x="762" y="1176"/>
                </a:lnTo>
                <a:lnTo>
                  <a:pt x="766" y="1176"/>
                </a:lnTo>
                <a:lnTo>
                  <a:pt x="769" y="1176"/>
                </a:lnTo>
                <a:lnTo>
                  <a:pt x="770" y="1173"/>
                </a:lnTo>
                <a:lnTo>
                  <a:pt x="769" y="1168"/>
                </a:lnTo>
                <a:lnTo>
                  <a:pt x="768" y="1161"/>
                </a:lnTo>
                <a:lnTo>
                  <a:pt x="768" y="1157"/>
                </a:lnTo>
                <a:lnTo>
                  <a:pt x="775" y="1150"/>
                </a:lnTo>
                <a:lnTo>
                  <a:pt x="775" y="1141"/>
                </a:lnTo>
                <a:lnTo>
                  <a:pt x="784" y="1156"/>
                </a:lnTo>
                <a:lnTo>
                  <a:pt x="784" y="1173"/>
                </a:lnTo>
                <a:lnTo>
                  <a:pt x="784" y="1182"/>
                </a:lnTo>
                <a:lnTo>
                  <a:pt x="782" y="1192"/>
                </a:lnTo>
                <a:lnTo>
                  <a:pt x="783" y="1197"/>
                </a:lnTo>
                <a:lnTo>
                  <a:pt x="789" y="1202"/>
                </a:lnTo>
                <a:lnTo>
                  <a:pt x="796" y="1200"/>
                </a:lnTo>
                <a:lnTo>
                  <a:pt x="801" y="1193"/>
                </a:lnTo>
                <a:lnTo>
                  <a:pt x="806" y="1208"/>
                </a:lnTo>
                <a:lnTo>
                  <a:pt x="801" y="1222"/>
                </a:lnTo>
                <a:lnTo>
                  <a:pt x="799" y="1235"/>
                </a:lnTo>
                <a:lnTo>
                  <a:pt x="803" y="1252"/>
                </a:lnTo>
                <a:lnTo>
                  <a:pt x="806" y="1236"/>
                </a:lnTo>
                <a:lnTo>
                  <a:pt x="808" y="1222"/>
                </a:lnTo>
                <a:lnTo>
                  <a:pt x="810" y="1214"/>
                </a:lnTo>
                <a:lnTo>
                  <a:pt x="817" y="1211"/>
                </a:lnTo>
                <a:lnTo>
                  <a:pt x="820" y="1216"/>
                </a:lnTo>
                <a:lnTo>
                  <a:pt x="820" y="1222"/>
                </a:lnTo>
                <a:lnTo>
                  <a:pt x="832" y="1207"/>
                </a:lnTo>
                <a:lnTo>
                  <a:pt x="839" y="1188"/>
                </a:lnTo>
                <a:lnTo>
                  <a:pt x="840" y="1187"/>
                </a:lnTo>
                <a:lnTo>
                  <a:pt x="842" y="1185"/>
                </a:lnTo>
                <a:lnTo>
                  <a:pt x="844" y="1183"/>
                </a:lnTo>
                <a:lnTo>
                  <a:pt x="846" y="1182"/>
                </a:lnTo>
                <a:lnTo>
                  <a:pt x="854" y="1181"/>
                </a:lnTo>
                <a:lnTo>
                  <a:pt x="863" y="1180"/>
                </a:lnTo>
                <a:lnTo>
                  <a:pt x="860" y="1191"/>
                </a:lnTo>
                <a:lnTo>
                  <a:pt x="853" y="1202"/>
                </a:lnTo>
                <a:lnTo>
                  <a:pt x="853" y="1196"/>
                </a:lnTo>
                <a:lnTo>
                  <a:pt x="849" y="1194"/>
                </a:lnTo>
                <a:lnTo>
                  <a:pt x="845" y="1201"/>
                </a:lnTo>
                <a:lnTo>
                  <a:pt x="845" y="1208"/>
                </a:lnTo>
                <a:lnTo>
                  <a:pt x="850" y="1206"/>
                </a:lnTo>
                <a:lnTo>
                  <a:pt x="853" y="1202"/>
                </a:lnTo>
                <a:lnTo>
                  <a:pt x="852" y="1208"/>
                </a:lnTo>
                <a:lnTo>
                  <a:pt x="853" y="1216"/>
                </a:lnTo>
                <a:lnTo>
                  <a:pt x="863" y="1209"/>
                </a:lnTo>
                <a:lnTo>
                  <a:pt x="869" y="1218"/>
                </a:lnTo>
                <a:lnTo>
                  <a:pt x="873" y="1220"/>
                </a:lnTo>
                <a:lnTo>
                  <a:pt x="876" y="1218"/>
                </a:lnTo>
                <a:lnTo>
                  <a:pt x="885" y="1212"/>
                </a:lnTo>
                <a:lnTo>
                  <a:pt x="894" y="1221"/>
                </a:lnTo>
                <a:lnTo>
                  <a:pt x="897" y="1226"/>
                </a:lnTo>
                <a:lnTo>
                  <a:pt x="903" y="1229"/>
                </a:lnTo>
                <a:lnTo>
                  <a:pt x="895" y="1248"/>
                </a:lnTo>
                <a:lnTo>
                  <a:pt x="890" y="1267"/>
                </a:lnTo>
                <a:lnTo>
                  <a:pt x="885" y="1275"/>
                </a:lnTo>
                <a:lnTo>
                  <a:pt x="876" y="1273"/>
                </a:lnTo>
                <a:lnTo>
                  <a:pt x="872" y="1271"/>
                </a:lnTo>
                <a:lnTo>
                  <a:pt x="867" y="1275"/>
                </a:lnTo>
                <a:lnTo>
                  <a:pt x="863" y="1279"/>
                </a:lnTo>
                <a:lnTo>
                  <a:pt x="858" y="1275"/>
                </a:lnTo>
                <a:lnTo>
                  <a:pt x="854" y="1274"/>
                </a:lnTo>
                <a:lnTo>
                  <a:pt x="854" y="1271"/>
                </a:lnTo>
                <a:lnTo>
                  <a:pt x="858" y="1267"/>
                </a:lnTo>
                <a:lnTo>
                  <a:pt x="853" y="1266"/>
                </a:lnTo>
                <a:lnTo>
                  <a:pt x="837" y="1259"/>
                </a:lnTo>
                <a:lnTo>
                  <a:pt x="822" y="1252"/>
                </a:lnTo>
                <a:lnTo>
                  <a:pt x="817" y="1252"/>
                </a:lnTo>
                <a:lnTo>
                  <a:pt x="814" y="1257"/>
                </a:lnTo>
                <a:lnTo>
                  <a:pt x="809" y="1263"/>
                </a:lnTo>
                <a:lnTo>
                  <a:pt x="803" y="1263"/>
                </a:lnTo>
                <a:lnTo>
                  <a:pt x="796" y="1256"/>
                </a:lnTo>
                <a:lnTo>
                  <a:pt x="785" y="1256"/>
                </a:lnTo>
                <a:lnTo>
                  <a:pt x="781" y="1262"/>
                </a:lnTo>
                <a:lnTo>
                  <a:pt x="781" y="1269"/>
                </a:lnTo>
                <a:lnTo>
                  <a:pt x="781" y="1280"/>
                </a:lnTo>
                <a:lnTo>
                  <a:pt x="781" y="1290"/>
                </a:lnTo>
                <a:lnTo>
                  <a:pt x="779" y="1300"/>
                </a:lnTo>
                <a:lnTo>
                  <a:pt x="784" y="1309"/>
                </a:lnTo>
                <a:lnTo>
                  <a:pt x="787" y="1305"/>
                </a:lnTo>
                <a:lnTo>
                  <a:pt x="790" y="1301"/>
                </a:lnTo>
                <a:lnTo>
                  <a:pt x="801" y="1290"/>
                </a:lnTo>
                <a:lnTo>
                  <a:pt x="803" y="1275"/>
                </a:lnTo>
                <a:lnTo>
                  <a:pt x="808" y="1275"/>
                </a:lnTo>
                <a:lnTo>
                  <a:pt x="814" y="1275"/>
                </a:lnTo>
                <a:lnTo>
                  <a:pt x="815" y="1274"/>
                </a:lnTo>
                <a:lnTo>
                  <a:pt x="815" y="1273"/>
                </a:lnTo>
                <a:lnTo>
                  <a:pt x="816" y="1271"/>
                </a:lnTo>
                <a:lnTo>
                  <a:pt x="816" y="1268"/>
                </a:lnTo>
                <a:lnTo>
                  <a:pt x="816" y="1267"/>
                </a:lnTo>
                <a:lnTo>
                  <a:pt x="816" y="1266"/>
                </a:lnTo>
                <a:lnTo>
                  <a:pt x="816" y="1267"/>
                </a:lnTo>
                <a:lnTo>
                  <a:pt x="816" y="1268"/>
                </a:lnTo>
                <a:lnTo>
                  <a:pt x="816" y="1271"/>
                </a:lnTo>
                <a:lnTo>
                  <a:pt x="815" y="1273"/>
                </a:lnTo>
                <a:lnTo>
                  <a:pt x="815" y="1274"/>
                </a:lnTo>
                <a:lnTo>
                  <a:pt x="814" y="1275"/>
                </a:lnTo>
                <a:lnTo>
                  <a:pt x="817" y="1290"/>
                </a:lnTo>
                <a:lnTo>
                  <a:pt x="816" y="1307"/>
                </a:lnTo>
                <a:lnTo>
                  <a:pt x="814" y="1319"/>
                </a:lnTo>
                <a:lnTo>
                  <a:pt x="812" y="1333"/>
                </a:lnTo>
                <a:lnTo>
                  <a:pt x="816" y="1331"/>
                </a:lnTo>
                <a:lnTo>
                  <a:pt x="821" y="1330"/>
                </a:lnTo>
                <a:lnTo>
                  <a:pt x="825" y="1321"/>
                </a:lnTo>
                <a:lnTo>
                  <a:pt x="825" y="1312"/>
                </a:lnTo>
                <a:lnTo>
                  <a:pt x="827" y="1307"/>
                </a:lnTo>
                <a:lnTo>
                  <a:pt x="832" y="1303"/>
                </a:lnTo>
                <a:lnTo>
                  <a:pt x="838" y="1307"/>
                </a:lnTo>
                <a:lnTo>
                  <a:pt x="840" y="1314"/>
                </a:lnTo>
                <a:lnTo>
                  <a:pt x="840" y="1319"/>
                </a:lnTo>
                <a:lnTo>
                  <a:pt x="838" y="1325"/>
                </a:lnTo>
                <a:lnTo>
                  <a:pt x="833" y="1342"/>
                </a:lnTo>
                <a:lnTo>
                  <a:pt x="834" y="1360"/>
                </a:lnTo>
                <a:lnTo>
                  <a:pt x="832" y="1373"/>
                </a:lnTo>
                <a:lnTo>
                  <a:pt x="829" y="1385"/>
                </a:lnTo>
                <a:lnTo>
                  <a:pt x="817" y="1359"/>
                </a:lnTo>
                <a:lnTo>
                  <a:pt x="821" y="1330"/>
                </a:lnTo>
                <a:lnTo>
                  <a:pt x="816" y="1331"/>
                </a:lnTo>
                <a:lnTo>
                  <a:pt x="812" y="1333"/>
                </a:lnTo>
                <a:lnTo>
                  <a:pt x="807" y="1366"/>
                </a:lnTo>
                <a:lnTo>
                  <a:pt x="808" y="1403"/>
                </a:lnTo>
                <a:lnTo>
                  <a:pt x="815" y="1399"/>
                </a:lnTo>
                <a:lnTo>
                  <a:pt x="819" y="1392"/>
                </a:lnTo>
                <a:lnTo>
                  <a:pt x="822" y="1388"/>
                </a:lnTo>
                <a:lnTo>
                  <a:pt x="828" y="1388"/>
                </a:lnTo>
                <a:lnTo>
                  <a:pt x="832" y="1407"/>
                </a:lnTo>
                <a:lnTo>
                  <a:pt x="823" y="1424"/>
                </a:lnTo>
                <a:lnTo>
                  <a:pt x="821" y="1426"/>
                </a:lnTo>
                <a:lnTo>
                  <a:pt x="821" y="1428"/>
                </a:lnTo>
                <a:lnTo>
                  <a:pt x="830" y="1440"/>
                </a:lnTo>
                <a:lnTo>
                  <a:pt x="839" y="1450"/>
                </a:lnTo>
                <a:lnTo>
                  <a:pt x="847" y="1395"/>
                </a:lnTo>
                <a:lnTo>
                  <a:pt x="850" y="1341"/>
                </a:lnTo>
                <a:lnTo>
                  <a:pt x="851" y="1315"/>
                </a:lnTo>
                <a:lnTo>
                  <a:pt x="857" y="1289"/>
                </a:lnTo>
                <a:lnTo>
                  <a:pt x="857" y="1284"/>
                </a:lnTo>
                <a:lnTo>
                  <a:pt x="860" y="1281"/>
                </a:lnTo>
                <a:lnTo>
                  <a:pt x="863" y="1285"/>
                </a:lnTo>
                <a:lnTo>
                  <a:pt x="863" y="1290"/>
                </a:lnTo>
                <a:lnTo>
                  <a:pt x="859" y="1308"/>
                </a:lnTo>
                <a:lnTo>
                  <a:pt x="865" y="1323"/>
                </a:lnTo>
                <a:lnTo>
                  <a:pt x="872" y="1309"/>
                </a:lnTo>
                <a:lnTo>
                  <a:pt x="874" y="1294"/>
                </a:lnTo>
                <a:lnTo>
                  <a:pt x="875" y="1288"/>
                </a:lnTo>
                <a:lnTo>
                  <a:pt x="879" y="1286"/>
                </a:lnTo>
                <a:lnTo>
                  <a:pt x="884" y="1289"/>
                </a:lnTo>
                <a:lnTo>
                  <a:pt x="885" y="1295"/>
                </a:lnTo>
                <a:lnTo>
                  <a:pt x="885" y="1300"/>
                </a:lnTo>
                <a:lnTo>
                  <a:pt x="887" y="1305"/>
                </a:lnTo>
                <a:lnTo>
                  <a:pt x="881" y="1369"/>
                </a:lnTo>
                <a:lnTo>
                  <a:pt x="873" y="1432"/>
                </a:lnTo>
                <a:lnTo>
                  <a:pt x="873" y="1440"/>
                </a:lnTo>
                <a:lnTo>
                  <a:pt x="872" y="1449"/>
                </a:lnTo>
                <a:lnTo>
                  <a:pt x="873" y="1456"/>
                </a:lnTo>
                <a:lnTo>
                  <a:pt x="880" y="1457"/>
                </a:lnTo>
                <a:lnTo>
                  <a:pt x="911" y="1455"/>
                </a:lnTo>
                <a:lnTo>
                  <a:pt x="942" y="1453"/>
                </a:lnTo>
                <a:lnTo>
                  <a:pt x="959" y="1453"/>
                </a:lnTo>
                <a:lnTo>
                  <a:pt x="976" y="1452"/>
                </a:lnTo>
                <a:lnTo>
                  <a:pt x="983" y="1451"/>
                </a:lnTo>
                <a:lnTo>
                  <a:pt x="985" y="1447"/>
                </a:lnTo>
                <a:lnTo>
                  <a:pt x="981" y="1443"/>
                </a:lnTo>
                <a:lnTo>
                  <a:pt x="975" y="1445"/>
                </a:lnTo>
                <a:lnTo>
                  <a:pt x="960" y="1446"/>
                </a:lnTo>
                <a:lnTo>
                  <a:pt x="958" y="1431"/>
                </a:lnTo>
                <a:lnTo>
                  <a:pt x="964" y="1421"/>
                </a:lnTo>
                <a:lnTo>
                  <a:pt x="973" y="1421"/>
                </a:lnTo>
                <a:lnTo>
                  <a:pt x="985" y="1419"/>
                </a:lnTo>
                <a:lnTo>
                  <a:pt x="989" y="1406"/>
                </a:lnTo>
                <a:lnTo>
                  <a:pt x="992" y="1332"/>
                </a:lnTo>
                <a:lnTo>
                  <a:pt x="997" y="1257"/>
                </a:lnTo>
                <a:lnTo>
                  <a:pt x="998" y="1255"/>
                </a:lnTo>
                <a:lnTo>
                  <a:pt x="997" y="1253"/>
                </a:lnTo>
                <a:lnTo>
                  <a:pt x="997" y="1252"/>
                </a:lnTo>
                <a:lnTo>
                  <a:pt x="997" y="1251"/>
                </a:lnTo>
                <a:lnTo>
                  <a:pt x="1004" y="1249"/>
                </a:lnTo>
                <a:lnTo>
                  <a:pt x="1012" y="1252"/>
                </a:lnTo>
                <a:lnTo>
                  <a:pt x="1007" y="1253"/>
                </a:lnTo>
                <a:lnTo>
                  <a:pt x="1005" y="1256"/>
                </a:lnTo>
                <a:lnTo>
                  <a:pt x="1018" y="1263"/>
                </a:lnTo>
                <a:lnTo>
                  <a:pt x="1018" y="1281"/>
                </a:lnTo>
                <a:lnTo>
                  <a:pt x="1015" y="1336"/>
                </a:lnTo>
                <a:lnTo>
                  <a:pt x="1014" y="1393"/>
                </a:lnTo>
                <a:lnTo>
                  <a:pt x="1012" y="1406"/>
                </a:lnTo>
                <a:lnTo>
                  <a:pt x="1013" y="1420"/>
                </a:lnTo>
                <a:lnTo>
                  <a:pt x="1016" y="1412"/>
                </a:lnTo>
                <a:lnTo>
                  <a:pt x="1017" y="1405"/>
                </a:lnTo>
                <a:lnTo>
                  <a:pt x="1017" y="1392"/>
                </a:lnTo>
                <a:lnTo>
                  <a:pt x="1018" y="1379"/>
                </a:lnTo>
                <a:lnTo>
                  <a:pt x="1021" y="1342"/>
                </a:lnTo>
                <a:lnTo>
                  <a:pt x="1024" y="1304"/>
                </a:lnTo>
                <a:lnTo>
                  <a:pt x="1025" y="1271"/>
                </a:lnTo>
                <a:lnTo>
                  <a:pt x="1026" y="1238"/>
                </a:lnTo>
                <a:lnTo>
                  <a:pt x="1028" y="1188"/>
                </a:lnTo>
                <a:lnTo>
                  <a:pt x="1031" y="1137"/>
                </a:lnTo>
                <a:lnTo>
                  <a:pt x="1031" y="1134"/>
                </a:lnTo>
                <a:lnTo>
                  <a:pt x="1028" y="1132"/>
                </a:lnTo>
                <a:lnTo>
                  <a:pt x="1025" y="1134"/>
                </a:lnTo>
                <a:lnTo>
                  <a:pt x="1024" y="1137"/>
                </a:lnTo>
                <a:lnTo>
                  <a:pt x="1024" y="1141"/>
                </a:lnTo>
                <a:lnTo>
                  <a:pt x="1024" y="1144"/>
                </a:lnTo>
                <a:lnTo>
                  <a:pt x="1022" y="1185"/>
                </a:lnTo>
                <a:lnTo>
                  <a:pt x="1021" y="1225"/>
                </a:lnTo>
                <a:lnTo>
                  <a:pt x="1021" y="1231"/>
                </a:lnTo>
                <a:lnTo>
                  <a:pt x="1018" y="1234"/>
                </a:lnTo>
                <a:lnTo>
                  <a:pt x="1014" y="1231"/>
                </a:lnTo>
                <a:lnTo>
                  <a:pt x="1015" y="1225"/>
                </a:lnTo>
                <a:lnTo>
                  <a:pt x="1013" y="1204"/>
                </a:lnTo>
                <a:lnTo>
                  <a:pt x="1005" y="1183"/>
                </a:lnTo>
                <a:lnTo>
                  <a:pt x="987" y="1154"/>
                </a:lnTo>
                <a:lnTo>
                  <a:pt x="959" y="1130"/>
                </a:lnTo>
                <a:lnTo>
                  <a:pt x="955" y="1122"/>
                </a:lnTo>
                <a:lnTo>
                  <a:pt x="957" y="1116"/>
                </a:lnTo>
                <a:lnTo>
                  <a:pt x="971" y="1097"/>
                </a:lnTo>
                <a:lnTo>
                  <a:pt x="992" y="1084"/>
                </a:lnTo>
                <a:lnTo>
                  <a:pt x="1003" y="1085"/>
                </a:lnTo>
                <a:lnTo>
                  <a:pt x="1014" y="1085"/>
                </a:lnTo>
                <a:lnTo>
                  <a:pt x="1013" y="1091"/>
                </a:lnTo>
                <a:lnTo>
                  <a:pt x="1016" y="1098"/>
                </a:lnTo>
                <a:lnTo>
                  <a:pt x="1011" y="1099"/>
                </a:lnTo>
                <a:lnTo>
                  <a:pt x="1010" y="1103"/>
                </a:lnTo>
                <a:lnTo>
                  <a:pt x="1014" y="1106"/>
                </a:lnTo>
                <a:lnTo>
                  <a:pt x="1018" y="1104"/>
                </a:lnTo>
                <a:lnTo>
                  <a:pt x="1022" y="1102"/>
                </a:lnTo>
                <a:lnTo>
                  <a:pt x="1028" y="1103"/>
                </a:lnTo>
                <a:lnTo>
                  <a:pt x="1028" y="1112"/>
                </a:lnTo>
                <a:lnTo>
                  <a:pt x="1028" y="1121"/>
                </a:lnTo>
                <a:lnTo>
                  <a:pt x="1030" y="1117"/>
                </a:lnTo>
                <a:lnTo>
                  <a:pt x="1031" y="1114"/>
                </a:lnTo>
                <a:lnTo>
                  <a:pt x="1035" y="1089"/>
                </a:lnTo>
                <a:lnTo>
                  <a:pt x="1056" y="1074"/>
                </a:lnTo>
                <a:lnTo>
                  <a:pt x="1056" y="1073"/>
                </a:lnTo>
                <a:lnTo>
                  <a:pt x="1057" y="1073"/>
                </a:lnTo>
                <a:lnTo>
                  <a:pt x="1069" y="1064"/>
                </a:lnTo>
                <a:lnTo>
                  <a:pt x="1080" y="1072"/>
                </a:lnTo>
                <a:lnTo>
                  <a:pt x="1078" y="1074"/>
                </a:lnTo>
                <a:lnTo>
                  <a:pt x="1077" y="1075"/>
                </a:lnTo>
                <a:lnTo>
                  <a:pt x="1067" y="1078"/>
                </a:lnTo>
                <a:lnTo>
                  <a:pt x="1060" y="1084"/>
                </a:lnTo>
                <a:lnTo>
                  <a:pt x="1060" y="1093"/>
                </a:lnTo>
                <a:lnTo>
                  <a:pt x="1066" y="1096"/>
                </a:lnTo>
                <a:lnTo>
                  <a:pt x="1095" y="1088"/>
                </a:lnTo>
                <a:lnTo>
                  <a:pt x="1123" y="1082"/>
                </a:lnTo>
                <a:lnTo>
                  <a:pt x="1145" y="1080"/>
                </a:lnTo>
                <a:lnTo>
                  <a:pt x="1164" y="1088"/>
                </a:lnTo>
                <a:lnTo>
                  <a:pt x="1179" y="1097"/>
                </a:lnTo>
                <a:lnTo>
                  <a:pt x="1194" y="1088"/>
                </a:lnTo>
                <a:lnTo>
                  <a:pt x="1180" y="1100"/>
                </a:lnTo>
                <a:lnTo>
                  <a:pt x="1163" y="1112"/>
                </a:lnTo>
                <a:lnTo>
                  <a:pt x="1179" y="1106"/>
                </a:lnTo>
                <a:lnTo>
                  <a:pt x="1193" y="1103"/>
                </a:lnTo>
                <a:lnTo>
                  <a:pt x="1197" y="1102"/>
                </a:lnTo>
                <a:lnTo>
                  <a:pt x="1198" y="1106"/>
                </a:lnTo>
                <a:lnTo>
                  <a:pt x="1198" y="1111"/>
                </a:lnTo>
                <a:lnTo>
                  <a:pt x="1202" y="1111"/>
                </a:lnTo>
                <a:lnTo>
                  <a:pt x="1208" y="1111"/>
                </a:lnTo>
                <a:lnTo>
                  <a:pt x="1210" y="1106"/>
                </a:lnTo>
                <a:lnTo>
                  <a:pt x="1211" y="1098"/>
                </a:lnTo>
                <a:lnTo>
                  <a:pt x="1217" y="1099"/>
                </a:lnTo>
                <a:lnTo>
                  <a:pt x="1240" y="1103"/>
                </a:lnTo>
                <a:lnTo>
                  <a:pt x="1262" y="1110"/>
                </a:lnTo>
                <a:lnTo>
                  <a:pt x="1279" y="1122"/>
                </a:lnTo>
                <a:lnTo>
                  <a:pt x="1298" y="1134"/>
                </a:lnTo>
                <a:lnTo>
                  <a:pt x="1302" y="1141"/>
                </a:lnTo>
                <a:lnTo>
                  <a:pt x="1308" y="1146"/>
                </a:lnTo>
                <a:lnTo>
                  <a:pt x="1305" y="1137"/>
                </a:lnTo>
                <a:lnTo>
                  <a:pt x="1300" y="1132"/>
                </a:lnTo>
                <a:lnTo>
                  <a:pt x="1277" y="1111"/>
                </a:lnTo>
                <a:lnTo>
                  <a:pt x="1248" y="1098"/>
                </a:lnTo>
                <a:lnTo>
                  <a:pt x="1229" y="1093"/>
                </a:lnTo>
                <a:lnTo>
                  <a:pt x="1209" y="1093"/>
                </a:lnTo>
                <a:lnTo>
                  <a:pt x="1204" y="1093"/>
                </a:lnTo>
                <a:lnTo>
                  <a:pt x="1200" y="1089"/>
                </a:lnTo>
                <a:lnTo>
                  <a:pt x="1202" y="1086"/>
                </a:lnTo>
                <a:lnTo>
                  <a:pt x="1207" y="1085"/>
                </a:lnTo>
                <a:lnTo>
                  <a:pt x="1211" y="1081"/>
                </a:lnTo>
                <a:lnTo>
                  <a:pt x="1209" y="1075"/>
                </a:lnTo>
                <a:lnTo>
                  <a:pt x="1209" y="1067"/>
                </a:lnTo>
                <a:lnTo>
                  <a:pt x="1217" y="1065"/>
                </a:lnTo>
                <a:lnTo>
                  <a:pt x="1229" y="1068"/>
                </a:lnTo>
                <a:lnTo>
                  <a:pt x="1239" y="1060"/>
                </a:lnTo>
                <a:lnTo>
                  <a:pt x="1240" y="1060"/>
                </a:lnTo>
                <a:lnTo>
                  <a:pt x="1242" y="1060"/>
                </a:lnTo>
                <a:lnTo>
                  <a:pt x="1266" y="1058"/>
                </a:lnTo>
                <a:lnTo>
                  <a:pt x="1289" y="1058"/>
                </a:lnTo>
                <a:lnTo>
                  <a:pt x="1297" y="1061"/>
                </a:lnTo>
                <a:lnTo>
                  <a:pt x="1294" y="1070"/>
                </a:lnTo>
                <a:lnTo>
                  <a:pt x="1289" y="1076"/>
                </a:lnTo>
                <a:lnTo>
                  <a:pt x="1285" y="1083"/>
                </a:lnTo>
                <a:lnTo>
                  <a:pt x="1284" y="1086"/>
                </a:lnTo>
                <a:lnTo>
                  <a:pt x="1285" y="1088"/>
                </a:lnTo>
                <a:lnTo>
                  <a:pt x="1287" y="1089"/>
                </a:lnTo>
                <a:lnTo>
                  <a:pt x="1289" y="1088"/>
                </a:lnTo>
                <a:lnTo>
                  <a:pt x="1307" y="1079"/>
                </a:lnTo>
                <a:lnTo>
                  <a:pt x="1329" y="1081"/>
                </a:lnTo>
                <a:lnTo>
                  <a:pt x="1331" y="1080"/>
                </a:lnTo>
                <a:lnTo>
                  <a:pt x="1332" y="1076"/>
                </a:lnTo>
                <a:lnTo>
                  <a:pt x="1334" y="1076"/>
                </a:lnTo>
                <a:lnTo>
                  <a:pt x="1336" y="1076"/>
                </a:lnTo>
                <a:lnTo>
                  <a:pt x="1338" y="1076"/>
                </a:lnTo>
                <a:lnTo>
                  <a:pt x="1339" y="1074"/>
                </a:lnTo>
                <a:lnTo>
                  <a:pt x="1339" y="1074"/>
                </a:lnTo>
                <a:lnTo>
                  <a:pt x="1339" y="1074"/>
                </a:lnTo>
                <a:lnTo>
                  <a:pt x="1340" y="1074"/>
                </a:lnTo>
                <a:lnTo>
                  <a:pt x="1342" y="1075"/>
                </a:lnTo>
                <a:lnTo>
                  <a:pt x="1342" y="1075"/>
                </a:lnTo>
                <a:lnTo>
                  <a:pt x="1343" y="1076"/>
                </a:lnTo>
                <a:lnTo>
                  <a:pt x="1343" y="1078"/>
                </a:lnTo>
                <a:lnTo>
                  <a:pt x="1343" y="1100"/>
                </a:lnTo>
                <a:lnTo>
                  <a:pt x="1343" y="1122"/>
                </a:lnTo>
                <a:lnTo>
                  <a:pt x="1342" y="1166"/>
                </a:lnTo>
                <a:lnTo>
                  <a:pt x="1340" y="1210"/>
                </a:lnTo>
                <a:lnTo>
                  <a:pt x="1340" y="1214"/>
                </a:lnTo>
                <a:lnTo>
                  <a:pt x="1337" y="1218"/>
                </a:lnTo>
                <a:lnTo>
                  <a:pt x="1323" y="1217"/>
                </a:lnTo>
                <a:lnTo>
                  <a:pt x="1310" y="1223"/>
                </a:lnTo>
                <a:lnTo>
                  <a:pt x="1308" y="1222"/>
                </a:lnTo>
                <a:lnTo>
                  <a:pt x="1307" y="1220"/>
                </a:lnTo>
                <a:lnTo>
                  <a:pt x="1322" y="1214"/>
                </a:lnTo>
                <a:lnTo>
                  <a:pt x="1338" y="1207"/>
                </a:lnTo>
                <a:lnTo>
                  <a:pt x="1319" y="1210"/>
                </a:lnTo>
                <a:lnTo>
                  <a:pt x="1301" y="1212"/>
                </a:lnTo>
                <a:lnTo>
                  <a:pt x="1299" y="1210"/>
                </a:lnTo>
                <a:lnTo>
                  <a:pt x="1301" y="1208"/>
                </a:lnTo>
                <a:lnTo>
                  <a:pt x="1312" y="1202"/>
                </a:lnTo>
                <a:lnTo>
                  <a:pt x="1309" y="1189"/>
                </a:lnTo>
                <a:lnTo>
                  <a:pt x="1306" y="1175"/>
                </a:lnTo>
                <a:lnTo>
                  <a:pt x="1299" y="1161"/>
                </a:lnTo>
                <a:lnTo>
                  <a:pt x="1255" y="1120"/>
                </a:lnTo>
                <a:lnTo>
                  <a:pt x="1195" y="1115"/>
                </a:lnTo>
                <a:lnTo>
                  <a:pt x="1150" y="1139"/>
                </a:lnTo>
                <a:lnTo>
                  <a:pt x="1119" y="1178"/>
                </a:lnTo>
                <a:lnTo>
                  <a:pt x="1121" y="1177"/>
                </a:lnTo>
                <a:lnTo>
                  <a:pt x="1123" y="1176"/>
                </a:lnTo>
                <a:lnTo>
                  <a:pt x="1121" y="1177"/>
                </a:lnTo>
                <a:lnTo>
                  <a:pt x="1119" y="1178"/>
                </a:lnTo>
                <a:lnTo>
                  <a:pt x="1111" y="1189"/>
                </a:lnTo>
                <a:lnTo>
                  <a:pt x="1107" y="1201"/>
                </a:lnTo>
                <a:lnTo>
                  <a:pt x="1097" y="1217"/>
                </a:lnTo>
                <a:lnTo>
                  <a:pt x="1078" y="1225"/>
                </a:lnTo>
                <a:lnTo>
                  <a:pt x="1071" y="1231"/>
                </a:lnTo>
                <a:lnTo>
                  <a:pt x="1069" y="1238"/>
                </a:lnTo>
                <a:lnTo>
                  <a:pt x="1073" y="1242"/>
                </a:lnTo>
                <a:lnTo>
                  <a:pt x="1079" y="1241"/>
                </a:lnTo>
                <a:lnTo>
                  <a:pt x="1094" y="1240"/>
                </a:lnTo>
                <a:lnTo>
                  <a:pt x="1105" y="1251"/>
                </a:lnTo>
                <a:lnTo>
                  <a:pt x="1107" y="1254"/>
                </a:lnTo>
                <a:lnTo>
                  <a:pt x="1111" y="1255"/>
                </a:lnTo>
                <a:lnTo>
                  <a:pt x="1106" y="1262"/>
                </a:lnTo>
                <a:lnTo>
                  <a:pt x="1107" y="1267"/>
                </a:lnTo>
                <a:lnTo>
                  <a:pt x="1116" y="1282"/>
                </a:lnTo>
                <a:lnTo>
                  <a:pt x="1116" y="1298"/>
                </a:lnTo>
                <a:lnTo>
                  <a:pt x="1123" y="1313"/>
                </a:lnTo>
                <a:lnTo>
                  <a:pt x="1139" y="1310"/>
                </a:lnTo>
                <a:lnTo>
                  <a:pt x="1150" y="1308"/>
                </a:lnTo>
                <a:lnTo>
                  <a:pt x="1153" y="1317"/>
                </a:lnTo>
                <a:lnTo>
                  <a:pt x="1154" y="1342"/>
                </a:lnTo>
                <a:lnTo>
                  <a:pt x="1153" y="1366"/>
                </a:lnTo>
                <a:lnTo>
                  <a:pt x="1155" y="1378"/>
                </a:lnTo>
                <a:lnTo>
                  <a:pt x="1166" y="1385"/>
                </a:lnTo>
                <a:lnTo>
                  <a:pt x="1171" y="1391"/>
                </a:lnTo>
                <a:lnTo>
                  <a:pt x="1169" y="1401"/>
                </a:lnTo>
                <a:lnTo>
                  <a:pt x="1165" y="1405"/>
                </a:lnTo>
                <a:lnTo>
                  <a:pt x="1158" y="1403"/>
                </a:lnTo>
                <a:lnTo>
                  <a:pt x="1149" y="1400"/>
                </a:lnTo>
                <a:lnTo>
                  <a:pt x="1138" y="1402"/>
                </a:lnTo>
                <a:lnTo>
                  <a:pt x="1137" y="1403"/>
                </a:lnTo>
                <a:lnTo>
                  <a:pt x="1135" y="1403"/>
                </a:lnTo>
                <a:lnTo>
                  <a:pt x="1131" y="1422"/>
                </a:lnTo>
                <a:lnTo>
                  <a:pt x="1132" y="1441"/>
                </a:lnTo>
                <a:lnTo>
                  <a:pt x="1134" y="1443"/>
                </a:lnTo>
                <a:lnTo>
                  <a:pt x="1138" y="1442"/>
                </a:lnTo>
                <a:lnTo>
                  <a:pt x="1143" y="1442"/>
                </a:lnTo>
                <a:lnTo>
                  <a:pt x="1149" y="1440"/>
                </a:lnTo>
                <a:lnTo>
                  <a:pt x="1160" y="1441"/>
                </a:lnTo>
                <a:lnTo>
                  <a:pt x="1169" y="1441"/>
                </a:lnTo>
                <a:lnTo>
                  <a:pt x="1195" y="1440"/>
                </a:lnTo>
                <a:lnTo>
                  <a:pt x="1221" y="1437"/>
                </a:lnTo>
                <a:lnTo>
                  <a:pt x="1258" y="1437"/>
                </a:lnTo>
                <a:lnTo>
                  <a:pt x="1297" y="1436"/>
                </a:lnTo>
                <a:lnTo>
                  <a:pt x="1303" y="1434"/>
                </a:lnTo>
                <a:lnTo>
                  <a:pt x="1305" y="1427"/>
                </a:lnTo>
                <a:lnTo>
                  <a:pt x="1307" y="1350"/>
                </a:lnTo>
                <a:lnTo>
                  <a:pt x="1309" y="1273"/>
                </a:lnTo>
                <a:lnTo>
                  <a:pt x="1309" y="1249"/>
                </a:lnTo>
                <a:lnTo>
                  <a:pt x="1312" y="1224"/>
                </a:lnTo>
                <a:lnTo>
                  <a:pt x="1310" y="1224"/>
                </a:lnTo>
                <a:lnTo>
                  <a:pt x="1310" y="1224"/>
                </a:lnTo>
                <a:lnTo>
                  <a:pt x="1310" y="1224"/>
                </a:lnTo>
                <a:lnTo>
                  <a:pt x="1312" y="1224"/>
                </a:lnTo>
                <a:lnTo>
                  <a:pt x="1325" y="1225"/>
                </a:lnTo>
                <a:lnTo>
                  <a:pt x="1339" y="1225"/>
                </a:lnTo>
                <a:lnTo>
                  <a:pt x="1335" y="1232"/>
                </a:lnTo>
                <a:lnTo>
                  <a:pt x="1329" y="1232"/>
                </a:lnTo>
                <a:lnTo>
                  <a:pt x="1338" y="1235"/>
                </a:lnTo>
                <a:lnTo>
                  <a:pt x="1340" y="1247"/>
                </a:lnTo>
                <a:lnTo>
                  <a:pt x="1338" y="1311"/>
                </a:lnTo>
                <a:lnTo>
                  <a:pt x="1336" y="1375"/>
                </a:lnTo>
                <a:lnTo>
                  <a:pt x="1335" y="1389"/>
                </a:lnTo>
                <a:lnTo>
                  <a:pt x="1336" y="1403"/>
                </a:lnTo>
                <a:lnTo>
                  <a:pt x="1338" y="1403"/>
                </a:lnTo>
                <a:lnTo>
                  <a:pt x="1342" y="1403"/>
                </a:lnTo>
                <a:lnTo>
                  <a:pt x="1344" y="1304"/>
                </a:lnTo>
                <a:lnTo>
                  <a:pt x="1345" y="1207"/>
                </a:lnTo>
                <a:lnTo>
                  <a:pt x="1347" y="1203"/>
                </a:lnTo>
                <a:lnTo>
                  <a:pt x="1348" y="1198"/>
                </a:lnTo>
                <a:lnTo>
                  <a:pt x="1347" y="1161"/>
                </a:lnTo>
                <a:lnTo>
                  <a:pt x="1347" y="1124"/>
                </a:lnTo>
                <a:lnTo>
                  <a:pt x="1347" y="1124"/>
                </a:lnTo>
                <a:lnTo>
                  <a:pt x="1347" y="1096"/>
                </a:lnTo>
                <a:lnTo>
                  <a:pt x="1351" y="1068"/>
                </a:lnTo>
                <a:lnTo>
                  <a:pt x="1354" y="1065"/>
                </a:lnTo>
                <a:lnTo>
                  <a:pt x="1353" y="1061"/>
                </a:lnTo>
                <a:lnTo>
                  <a:pt x="1354" y="1056"/>
                </a:lnTo>
                <a:lnTo>
                  <a:pt x="1355" y="1052"/>
                </a:lnTo>
                <a:lnTo>
                  <a:pt x="1362" y="1050"/>
                </a:lnTo>
                <a:lnTo>
                  <a:pt x="1368" y="1049"/>
                </a:lnTo>
                <a:lnTo>
                  <a:pt x="1374" y="1044"/>
                </a:lnTo>
                <a:lnTo>
                  <a:pt x="1373" y="1041"/>
                </a:lnTo>
                <a:lnTo>
                  <a:pt x="1363" y="1039"/>
                </a:lnTo>
                <a:lnTo>
                  <a:pt x="1353" y="1040"/>
                </a:lnTo>
                <a:lnTo>
                  <a:pt x="1351" y="1045"/>
                </a:lnTo>
                <a:lnTo>
                  <a:pt x="1352" y="1051"/>
                </a:lnTo>
                <a:lnTo>
                  <a:pt x="1344" y="1056"/>
                </a:lnTo>
                <a:lnTo>
                  <a:pt x="1334" y="1052"/>
                </a:lnTo>
                <a:lnTo>
                  <a:pt x="1334" y="1049"/>
                </a:lnTo>
                <a:lnTo>
                  <a:pt x="1334" y="1047"/>
                </a:lnTo>
                <a:lnTo>
                  <a:pt x="1338" y="1040"/>
                </a:lnTo>
                <a:lnTo>
                  <a:pt x="1345" y="1035"/>
                </a:lnTo>
                <a:lnTo>
                  <a:pt x="1338" y="1032"/>
                </a:lnTo>
                <a:lnTo>
                  <a:pt x="1332" y="1032"/>
                </a:lnTo>
                <a:lnTo>
                  <a:pt x="1298" y="1035"/>
                </a:lnTo>
                <a:lnTo>
                  <a:pt x="1262" y="1037"/>
                </a:lnTo>
                <a:lnTo>
                  <a:pt x="1183" y="1044"/>
                </a:lnTo>
                <a:lnTo>
                  <a:pt x="1103" y="1052"/>
                </a:lnTo>
                <a:lnTo>
                  <a:pt x="1100" y="1053"/>
                </a:lnTo>
                <a:lnTo>
                  <a:pt x="1097" y="1053"/>
                </a:lnTo>
                <a:lnTo>
                  <a:pt x="1095" y="1053"/>
                </a:lnTo>
                <a:lnTo>
                  <a:pt x="1093" y="1053"/>
                </a:lnTo>
                <a:lnTo>
                  <a:pt x="1090" y="1053"/>
                </a:lnTo>
                <a:lnTo>
                  <a:pt x="1088" y="1053"/>
                </a:lnTo>
                <a:lnTo>
                  <a:pt x="1072" y="1055"/>
                </a:lnTo>
                <a:lnTo>
                  <a:pt x="1058" y="1064"/>
                </a:lnTo>
                <a:lnTo>
                  <a:pt x="1055" y="1066"/>
                </a:lnTo>
                <a:lnTo>
                  <a:pt x="1049" y="1066"/>
                </a:lnTo>
                <a:lnTo>
                  <a:pt x="1040" y="1066"/>
                </a:lnTo>
                <a:lnTo>
                  <a:pt x="1030" y="1067"/>
                </a:lnTo>
                <a:lnTo>
                  <a:pt x="1025" y="1061"/>
                </a:lnTo>
                <a:lnTo>
                  <a:pt x="1017" y="1060"/>
                </a:lnTo>
                <a:lnTo>
                  <a:pt x="1006" y="1061"/>
                </a:lnTo>
                <a:lnTo>
                  <a:pt x="995" y="1064"/>
                </a:lnTo>
                <a:lnTo>
                  <a:pt x="931" y="1071"/>
                </a:lnTo>
                <a:lnTo>
                  <a:pt x="867" y="1076"/>
                </a:lnTo>
                <a:lnTo>
                  <a:pt x="869" y="1075"/>
                </a:lnTo>
                <a:lnTo>
                  <a:pt x="872" y="1073"/>
                </a:lnTo>
                <a:lnTo>
                  <a:pt x="869" y="1073"/>
                </a:lnTo>
                <a:lnTo>
                  <a:pt x="866" y="1072"/>
                </a:lnTo>
                <a:lnTo>
                  <a:pt x="863" y="1073"/>
                </a:lnTo>
                <a:lnTo>
                  <a:pt x="861" y="1075"/>
                </a:lnTo>
                <a:lnTo>
                  <a:pt x="860" y="1075"/>
                </a:lnTo>
                <a:lnTo>
                  <a:pt x="859" y="1075"/>
                </a:lnTo>
                <a:lnTo>
                  <a:pt x="858" y="1074"/>
                </a:lnTo>
                <a:lnTo>
                  <a:pt x="858" y="1076"/>
                </a:lnTo>
                <a:lnTo>
                  <a:pt x="858" y="1076"/>
                </a:lnTo>
                <a:lnTo>
                  <a:pt x="857" y="1078"/>
                </a:lnTo>
                <a:lnTo>
                  <a:pt x="850" y="1075"/>
                </a:lnTo>
                <a:lnTo>
                  <a:pt x="843" y="1073"/>
                </a:lnTo>
                <a:lnTo>
                  <a:pt x="850" y="1068"/>
                </a:lnTo>
                <a:lnTo>
                  <a:pt x="849" y="1059"/>
                </a:lnTo>
                <a:lnTo>
                  <a:pt x="848" y="1058"/>
                </a:lnTo>
                <a:lnTo>
                  <a:pt x="847" y="1057"/>
                </a:lnTo>
                <a:lnTo>
                  <a:pt x="848" y="1041"/>
                </a:lnTo>
                <a:lnTo>
                  <a:pt x="847" y="1025"/>
                </a:lnTo>
                <a:lnTo>
                  <a:pt x="848" y="1018"/>
                </a:lnTo>
                <a:lnTo>
                  <a:pt x="848" y="1009"/>
                </a:lnTo>
                <a:lnTo>
                  <a:pt x="852" y="1015"/>
                </a:lnTo>
                <a:lnTo>
                  <a:pt x="857" y="1022"/>
                </a:lnTo>
                <a:lnTo>
                  <a:pt x="855" y="1043"/>
                </a:lnTo>
                <a:lnTo>
                  <a:pt x="854" y="1065"/>
                </a:lnTo>
                <a:lnTo>
                  <a:pt x="857" y="1069"/>
                </a:lnTo>
                <a:lnTo>
                  <a:pt x="861" y="1068"/>
                </a:lnTo>
                <a:lnTo>
                  <a:pt x="866" y="1065"/>
                </a:lnTo>
                <a:lnTo>
                  <a:pt x="867" y="1058"/>
                </a:lnTo>
                <a:lnTo>
                  <a:pt x="891" y="1055"/>
                </a:lnTo>
                <a:lnTo>
                  <a:pt x="914" y="1051"/>
                </a:lnTo>
                <a:lnTo>
                  <a:pt x="933" y="1050"/>
                </a:lnTo>
                <a:lnTo>
                  <a:pt x="952" y="1048"/>
                </a:lnTo>
                <a:lnTo>
                  <a:pt x="996" y="1041"/>
                </a:lnTo>
                <a:lnTo>
                  <a:pt x="1041" y="1044"/>
                </a:lnTo>
                <a:lnTo>
                  <a:pt x="1042" y="1043"/>
                </a:lnTo>
                <a:lnTo>
                  <a:pt x="1044" y="1042"/>
                </a:lnTo>
                <a:lnTo>
                  <a:pt x="1078" y="1035"/>
                </a:lnTo>
                <a:lnTo>
                  <a:pt x="1113" y="1033"/>
                </a:lnTo>
                <a:lnTo>
                  <a:pt x="1117" y="1033"/>
                </a:lnTo>
                <a:lnTo>
                  <a:pt x="1118" y="1030"/>
                </a:lnTo>
                <a:lnTo>
                  <a:pt x="1119" y="1027"/>
                </a:lnTo>
                <a:lnTo>
                  <a:pt x="1120" y="1024"/>
                </a:lnTo>
                <a:lnTo>
                  <a:pt x="1117" y="1022"/>
                </a:lnTo>
                <a:lnTo>
                  <a:pt x="1112" y="1024"/>
                </a:lnTo>
                <a:lnTo>
                  <a:pt x="1103" y="1025"/>
                </a:lnTo>
                <a:lnTo>
                  <a:pt x="1090" y="1022"/>
                </a:lnTo>
                <a:lnTo>
                  <a:pt x="1096" y="1020"/>
                </a:lnTo>
                <a:lnTo>
                  <a:pt x="1102" y="1018"/>
                </a:lnTo>
                <a:lnTo>
                  <a:pt x="1102" y="1017"/>
                </a:lnTo>
                <a:lnTo>
                  <a:pt x="1103" y="1017"/>
                </a:lnTo>
                <a:lnTo>
                  <a:pt x="1102" y="1017"/>
                </a:lnTo>
                <a:lnTo>
                  <a:pt x="1102" y="1018"/>
                </a:lnTo>
                <a:lnTo>
                  <a:pt x="1111" y="1020"/>
                </a:lnTo>
                <a:lnTo>
                  <a:pt x="1118" y="1011"/>
                </a:lnTo>
                <a:lnTo>
                  <a:pt x="1126" y="999"/>
                </a:lnTo>
                <a:lnTo>
                  <a:pt x="1140" y="1003"/>
                </a:lnTo>
                <a:lnTo>
                  <a:pt x="1145" y="1005"/>
                </a:lnTo>
                <a:lnTo>
                  <a:pt x="1148" y="1007"/>
                </a:lnTo>
                <a:lnTo>
                  <a:pt x="1154" y="1012"/>
                </a:lnTo>
                <a:lnTo>
                  <a:pt x="1160" y="1011"/>
                </a:lnTo>
                <a:lnTo>
                  <a:pt x="1165" y="1003"/>
                </a:lnTo>
                <a:lnTo>
                  <a:pt x="1162" y="992"/>
                </a:lnTo>
                <a:lnTo>
                  <a:pt x="1158" y="987"/>
                </a:lnTo>
                <a:lnTo>
                  <a:pt x="1155" y="980"/>
                </a:lnTo>
                <a:lnTo>
                  <a:pt x="1160" y="979"/>
                </a:lnTo>
                <a:lnTo>
                  <a:pt x="1164" y="981"/>
                </a:lnTo>
                <a:lnTo>
                  <a:pt x="1169" y="992"/>
                </a:lnTo>
                <a:lnTo>
                  <a:pt x="1172" y="1002"/>
                </a:lnTo>
                <a:lnTo>
                  <a:pt x="1173" y="1009"/>
                </a:lnTo>
                <a:lnTo>
                  <a:pt x="1179" y="1011"/>
                </a:lnTo>
                <a:lnTo>
                  <a:pt x="1184" y="1011"/>
                </a:lnTo>
                <a:lnTo>
                  <a:pt x="1188" y="1015"/>
                </a:lnTo>
                <a:lnTo>
                  <a:pt x="1164" y="1019"/>
                </a:lnTo>
                <a:lnTo>
                  <a:pt x="1140" y="1019"/>
                </a:lnTo>
                <a:lnTo>
                  <a:pt x="1135" y="1019"/>
                </a:lnTo>
                <a:lnTo>
                  <a:pt x="1132" y="1023"/>
                </a:lnTo>
                <a:lnTo>
                  <a:pt x="1135" y="1028"/>
                </a:lnTo>
                <a:lnTo>
                  <a:pt x="1141" y="1028"/>
                </a:lnTo>
                <a:lnTo>
                  <a:pt x="1161" y="1026"/>
                </a:lnTo>
                <a:lnTo>
                  <a:pt x="1180" y="1024"/>
                </a:lnTo>
                <a:lnTo>
                  <a:pt x="1231" y="1020"/>
                </a:lnTo>
                <a:lnTo>
                  <a:pt x="1283" y="1015"/>
                </a:lnTo>
                <a:lnTo>
                  <a:pt x="1290" y="1018"/>
                </a:lnTo>
                <a:lnTo>
                  <a:pt x="1291" y="1024"/>
                </a:lnTo>
                <a:lnTo>
                  <a:pt x="1297" y="1018"/>
                </a:lnTo>
                <a:lnTo>
                  <a:pt x="1303" y="1014"/>
                </a:lnTo>
                <a:lnTo>
                  <a:pt x="1313" y="1014"/>
                </a:lnTo>
                <a:lnTo>
                  <a:pt x="1320" y="1020"/>
                </a:lnTo>
                <a:lnTo>
                  <a:pt x="1327" y="1013"/>
                </a:lnTo>
                <a:lnTo>
                  <a:pt x="1336" y="1011"/>
                </a:lnTo>
                <a:lnTo>
                  <a:pt x="1348" y="1010"/>
                </a:lnTo>
                <a:lnTo>
                  <a:pt x="1360" y="1007"/>
                </a:lnTo>
                <a:lnTo>
                  <a:pt x="1380" y="1007"/>
                </a:lnTo>
                <a:lnTo>
                  <a:pt x="1403" y="1004"/>
                </a:lnTo>
                <a:lnTo>
                  <a:pt x="1380" y="1002"/>
                </a:lnTo>
                <a:lnTo>
                  <a:pt x="1360" y="1005"/>
                </a:lnTo>
                <a:lnTo>
                  <a:pt x="1328" y="1004"/>
                </a:lnTo>
                <a:lnTo>
                  <a:pt x="1295" y="1007"/>
                </a:lnTo>
                <a:lnTo>
                  <a:pt x="1251" y="1010"/>
                </a:lnTo>
                <a:lnTo>
                  <a:pt x="1206" y="1015"/>
                </a:lnTo>
                <a:lnTo>
                  <a:pt x="1199" y="1014"/>
                </a:lnTo>
                <a:lnTo>
                  <a:pt x="1196" y="1011"/>
                </a:lnTo>
                <a:lnTo>
                  <a:pt x="1199" y="998"/>
                </a:lnTo>
                <a:lnTo>
                  <a:pt x="1197" y="986"/>
                </a:lnTo>
                <a:lnTo>
                  <a:pt x="1202" y="980"/>
                </a:lnTo>
                <a:lnTo>
                  <a:pt x="1209" y="979"/>
                </a:lnTo>
                <a:lnTo>
                  <a:pt x="1214" y="979"/>
                </a:lnTo>
                <a:lnTo>
                  <a:pt x="1216" y="982"/>
                </a:lnTo>
                <a:lnTo>
                  <a:pt x="1215" y="995"/>
                </a:lnTo>
                <a:lnTo>
                  <a:pt x="1219" y="1008"/>
                </a:lnTo>
                <a:lnTo>
                  <a:pt x="1234" y="1002"/>
                </a:lnTo>
                <a:lnTo>
                  <a:pt x="1251" y="998"/>
                </a:lnTo>
                <a:lnTo>
                  <a:pt x="1262" y="1003"/>
                </a:lnTo>
                <a:lnTo>
                  <a:pt x="1274" y="1002"/>
                </a:lnTo>
                <a:lnTo>
                  <a:pt x="1285" y="1001"/>
                </a:lnTo>
                <a:lnTo>
                  <a:pt x="1290" y="992"/>
                </a:lnTo>
                <a:lnTo>
                  <a:pt x="1286" y="984"/>
                </a:lnTo>
                <a:lnTo>
                  <a:pt x="1277" y="982"/>
                </a:lnTo>
                <a:lnTo>
                  <a:pt x="1271" y="980"/>
                </a:lnTo>
                <a:lnTo>
                  <a:pt x="1273" y="973"/>
                </a:lnTo>
                <a:lnTo>
                  <a:pt x="1274" y="973"/>
                </a:lnTo>
                <a:lnTo>
                  <a:pt x="1275" y="973"/>
                </a:lnTo>
                <a:lnTo>
                  <a:pt x="1282" y="973"/>
                </a:lnTo>
                <a:lnTo>
                  <a:pt x="1286" y="968"/>
                </a:lnTo>
                <a:lnTo>
                  <a:pt x="1290" y="968"/>
                </a:lnTo>
                <a:lnTo>
                  <a:pt x="1293" y="967"/>
                </a:lnTo>
                <a:lnTo>
                  <a:pt x="1304" y="976"/>
                </a:lnTo>
                <a:lnTo>
                  <a:pt x="1304" y="990"/>
                </a:lnTo>
                <a:lnTo>
                  <a:pt x="1305" y="996"/>
                </a:lnTo>
                <a:lnTo>
                  <a:pt x="1314" y="998"/>
                </a:lnTo>
                <a:lnTo>
                  <a:pt x="1333" y="993"/>
                </a:lnTo>
                <a:lnTo>
                  <a:pt x="1351" y="988"/>
                </a:lnTo>
                <a:lnTo>
                  <a:pt x="1366" y="986"/>
                </a:lnTo>
                <a:lnTo>
                  <a:pt x="1381" y="979"/>
                </a:lnTo>
                <a:lnTo>
                  <a:pt x="1385" y="979"/>
                </a:lnTo>
                <a:lnTo>
                  <a:pt x="1390" y="981"/>
                </a:lnTo>
                <a:lnTo>
                  <a:pt x="1403" y="986"/>
                </a:lnTo>
                <a:lnTo>
                  <a:pt x="1410" y="978"/>
                </a:lnTo>
                <a:lnTo>
                  <a:pt x="1411" y="978"/>
                </a:lnTo>
                <a:lnTo>
                  <a:pt x="1413" y="978"/>
                </a:lnTo>
                <a:lnTo>
                  <a:pt x="1422" y="988"/>
                </a:lnTo>
                <a:lnTo>
                  <a:pt x="1431" y="997"/>
                </a:lnTo>
                <a:lnTo>
                  <a:pt x="1431" y="997"/>
                </a:lnTo>
                <a:lnTo>
                  <a:pt x="1434" y="1002"/>
                </a:lnTo>
                <a:lnTo>
                  <a:pt x="1437" y="1005"/>
                </a:lnTo>
                <a:lnTo>
                  <a:pt x="1442" y="1007"/>
                </a:lnTo>
                <a:lnTo>
                  <a:pt x="1449" y="1009"/>
                </a:lnTo>
                <a:lnTo>
                  <a:pt x="1445" y="1011"/>
                </a:lnTo>
                <a:lnTo>
                  <a:pt x="1444" y="1014"/>
                </a:lnTo>
                <a:lnTo>
                  <a:pt x="1448" y="1020"/>
                </a:lnTo>
                <a:lnTo>
                  <a:pt x="1452" y="1017"/>
                </a:lnTo>
                <a:lnTo>
                  <a:pt x="1453" y="1019"/>
                </a:lnTo>
                <a:lnTo>
                  <a:pt x="1456" y="1022"/>
                </a:lnTo>
                <a:lnTo>
                  <a:pt x="1455" y="1034"/>
                </a:lnTo>
                <a:lnTo>
                  <a:pt x="1457" y="1047"/>
                </a:lnTo>
                <a:lnTo>
                  <a:pt x="1456" y="1051"/>
                </a:lnTo>
                <a:lnTo>
                  <a:pt x="1458" y="1056"/>
                </a:lnTo>
                <a:lnTo>
                  <a:pt x="1457" y="1061"/>
                </a:lnTo>
                <a:lnTo>
                  <a:pt x="1461" y="1065"/>
                </a:lnTo>
                <a:lnTo>
                  <a:pt x="1467" y="1060"/>
                </a:lnTo>
                <a:lnTo>
                  <a:pt x="1467" y="1054"/>
                </a:lnTo>
                <a:lnTo>
                  <a:pt x="1466" y="1051"/>
                </a:lnTo>
                <a:lnTo>
                  <a:pt x="1465" y="1048"/>
                </a:lnTo>
                <a:lnTo>
                  <a:pt x="1470" y="1059"/>
                </a:lnTo>
                <a:lnTo>
                  <a:pt x="1465" y="1071"/>
                </a:lnTo>
                <a:lnTo>
                  <a:pt x="1465" y="1071"/>
                </a:lnTo>
                <a:lnTo>
                  <a:pt x="1461" y="1067"/>
                </a:lnTo>
                <a:lnTo>
                  <a:pt x="1456" y="1068"/>
                </a:lnTo>
                <a:lnTo>
                  <a:pt x="1445" y="1055"/>
                </a:lnTo>
                <a:lnTo>
                  <a:pt x="1435" y="1043"/>
                </a:lnTo>
                <a:lnTo>
                  <a:pt x="1413" y="1027"/>
                </a:lnTo>
                <a:lnTo>
                  <a:pt x="1386" y="1032"/>
                </a:lnTo>
                <a:lnTo>
                  <a:pt x="1391" y="1037"/>
                </a:lnTo>
                <a:lnTo>
                  <a:pt x="1395" y="1042"/>
                </a:lnTo>
                <a:lnTo>
                  <a:pt x="1390" y="1054"/>
                </a:lnTo>
                <a:lnTo>
                  <a:pt x="1378" y="1057"/>
                </a:lnTo>
                <a:lnTo>
                  <a:pt x="1378" y="1057"/>
                </a:lnTo>
                <a:close/>
                <a:moveTo>
                  <a:pt x="245" y="491"/>
                </a:moveTo>
                <a:lnTo>
                  <a:pt x="245" y="491"/>
                </a:lnTo>
                <a:lnTo>
                  <a:pt x="245" y="490"/>
                </a:lnTo>
                <a:lnTo>
                  <a:pt x="245" y="490"/>
                </a:lnTo>
                <a:lnTo>
                  <a:pt x="245" y="489"/>
                </a:lnTo>
                <a:lnTo>
                  <a:pt x="245" y="490"/>
                </a:lnTo>
                <a:lnTo>
                  <a:pt x="245" y="491"/>
                </a:lnTo>
                <a:close/>
                <a:moveTo>
                  <a:pt x="766" y="673"/>
                </a:moveTo>
                <a:lnTo>
                  <a:pt x="766" y="673"/>
                </a:lnTo>
                <a:lnTo>
                  <a:pt x="766" y="674"/>
                </a:lnTo>
                <a:lnTo>
                  <a:pt x="767" y="674"/>
                </a:lnTo>
                <a:lnTo>
                  <a:pt x="767" y="674"/>
                </a:lnTo>
                <a:lnTo>
                  <a:pt x="767" y="673"/>
                </a:lnTo>
                <a:lnTo>
                  <a:pt x="767" y="673"/>
                </a:lnTo>
                <a:lnTo>
                  <a:pt x="767" y="673"/>
                </a:lnTo>
                <a:lnTo>
                  <a:pt x="766" y="673"/>
                </a:lnTo>
                <a:close/>
                <a:moveTo>
                  <a:pt x="2809" y="1567"/>
                </a:move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8" y="1567"/>
                </a:lnTo>
                <a:lnTo>
                  <a:pt x="2809" y="1567"/>
                </a:lnTo>
                <a:close/>
                <a:moveTo>
                  <a:pt x="2052" y="1524"/>
                </a:moveTo>
                <a:lnTo>
                  <a:pt x="2052" y="1523"/>
                </a:lnTo>
                <a:lnTo>
                  <a:pt x="2053" y="1523"/>
                </a:lnTo>
                <a:lnTo>
                  <a:pt x="2052" y="1523"/>
                </a:lnTo>
                <a:lnTo>
                  <a:pt x="2051" y="1523"/>
                </a:lnTo>
                <a:lnTo>
                  <a:pt x="2052" y="1523"/>
                </a:lnTo>
                <a:lnTo>
                  <a:pt x="2052" y="1524"/>
                </a:lnTo>
                <a:close/>
                <a:moveTo>
                  <a:pt x="848" y="80"/>
                </a:moveTo>
                <a:lnTo>
                  <a:pt x="848" y="81"/>
                </a:lnTo>
                <a:lnTo>
                  <a:pt x="847" y="82"/>
                </a:lnTo>
                <a:lnTo>
                  <a:pt x="848" y="81"/>
                </a:lnTo>
                <a:lnTo>
                  <a:pt x="848" y="81"/>
                </a:lnTo>
                <a:lnTo>
                  <a:pt x="848" y="81"/>
                </a:lnTo>
                <a:lnTo>
                  <a:pt x="848" y="80"/>
                </a:lnTo>
                <a:close/>
                <a:moveTo>
                  <a:pt x="1982" y="932"/>
                </a:moveTo>
                <a:lnTo>
                  <a:pt x="1981" y="932"/>
                </a:lnTo>
                <a:lnTo>
                  <a:pt x="1981" y="932"/>
                </a:lnTo>
                <a:lnTo>
                  <a:pt x="1981" y="933"/>
                </a:lnTo>
                <a:lnTo>
                  <a:pt x="1982" y="933"/>
                </a:lnTo>
                <a:lnTo>
                  <a:pt x="1982" y="933"/>
                </a:lnTo>
                <a:lnTo>
                  <a:pt x="1982" y="932"/>
                </a:lnTo>
                <a:lnTo>
                  <a:pt x="1982" y="932"/>
                </a:lnTo>
                <a:lnTo>
                  <a:pt x="1982" y="932"/>
                </a:lnTo>
                <a:close/>
                <a:moveTo>
                  <a:pt x="155" y="734"/>
                </a:moveTo>
                <a:lnTo>
                  <a:pt x="154" y="734"/>
                </a:lnTo>
                <a:lnTo>
                  <a:pt x="154" y="734"/>
                </a:lnTo>
                <a:lnTo>
                  <a:pt x="154" y="733"/>
                </a:lnTo>
                <a:lnTo>
                  <a:pt x="154" y="732"/>
                </a:lnTo>
                <a:lnTo>
                  <a:pt x="154" y="732"/>
                </a:lnTo>
                <a:lnTo>
                  <a:pt x="153" y="733"/>
                </a:lnTo>
                <a:lnTo>
                  <a:pt x="154" y="733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4" y="734"/>
                </a:lnTo>
                <a:lnTo>
                  <a:pt x="155" y="734"/>
                </a:lnTo>
                <a:lnTo>
                  <a:pt x="156" y="742"/>
                </a:lnTo>
                <a:lnTo>
                  <a:pt x="156" y="748"/>
                </a:lnTo>
                <a:lnTo>
                  <a:pt x="155" y="754"/>
                </a:lnTo>
                <a:lnTo>
                  <a:pt x="158" y="759"/>
                </a:lnTo>
                <a:lnTo>
                  <a:pt x="165" y="757"/>
                </a:lnTo>
                <a:lnTo>
                  <a:pt x="170" y="751"/>
                </a:lnTo>
                <a:lnTo>
                  <a:pt x="175" y="739"/>
                </a:lnTo>
                <a:lnTo>
                  <a:pt x="172" y="727"/>
                </a:lnTo>
                <a:lnTo>
                  <a:pt x="172" y="727"/>
                </a:lnTo>
                <a:lnTo>
                  <a:pt x="183" y="726"/>
                </a:lnTo>
                <a:lnTo>
                  <a:pt x="186" y="715"/>
                </a:lnTo>
                <a:lnTo>
                  <a:pt x="180" y="717"/>
                </a:lnTo>
                <a:lnTo>
                  <a:pt x="172" y="719"/>
                </a:lnTo>
                <a:lnTo>
                  <a:pt x="176" y="708"/>
                </a:lnTo>
                <a:lnTo>
                  <a:pt x="170" y="698"/>
                </a:lnTo>
                <a:lnTo>
                  <a:pt x="160" y="714"/>
                </a:lnTo>
                <a:lnTo>
                  <a:pt x="157" y="733"/>
                </a:lnTo>
                <a:lnTo>
                  <a:pt x="156" y="733"/>
                </a:lnTo>
                <a:lnTo>
                  <a:pt x="155" y="734"/>
                </a:lnTo>
                <a:lnTo>
                  <a:pt x="155" y="734"/>
                </a:lnTo>
                <a:close/>
                <a:moveTo>
                  <a:pt x="2400" y="1079"/>
                </a:moveTo>
                <a:lnTo>
                  <a:pt x="2400" y="1079"/>
                </a:lnTo>
                <a:lnTo>
                  <a:pt x="2400" y="1079"/>
                </a:lnTo>
                <a:lnTo>
                  <a:pt x="2400" y="1079"/>
                </a:lnTo>
                <a:lnTo>
                  <a:pt x="2400" y="1079"/>
                </a:lnTo>
                <a:lnTo>
                  <a:pt x="2400" y="1078"/>
                </a:lnTo>
                <a:lnTo>
                  <a:pt x="2400" y="1078"/>
                </a:lnTo>
                <a:lnTo>
                  <a:pt x="2400" y="1078"/>
                </a:lnTo>
                <a:lnTo>
                  <a:pt x="2400" y="1079"/>
                </a:lnTo>
                <a:close/>
                <a:moveTo>
                  <a:pt x="596" y="701"/>
                </a:moveTo>
                <a:lnTo>
                  <a:pt x="597" y="701"/>
                </a:lnTo>
                <a:lnTo>
                  <a:pt x="599" y="700"/>
                </a:lnTo>
                <a:lnTo>
                  <a:pt x="599" y="700"/>
                </a:lnTo>
                <a:lnTo>
                  <a:pt x="597" y="699"/>
                </a:lnTo>
                <a:lnTo>
                  <a:pt x="596" y="700"/>
                </a:lnTo>
                <a:lnTo>
                  <a:pt x="595" y="700"/>
                </a:lnTo>
                <a:lnTo>
                  <a:pt x="596" y="701"/>
                </a:lnTo>
                <a:lnTo>
                  <a:pt x="596" y="701"/>
                </a:lnTo>
                <a:close/>
                <a:moveTo>
                  <a:pt x="773" y="164"/>
                </a:moveTo>
                <a:lnTo>
                  <a:pt x="772" y="164"/>
                </a:lnTo>
                <a:lnTo>
                  <a:pt x="772" y="164"/>
                </a:lnTo>
                <a:lnTo>
                  <a:pt x="772" y="164"/>
                </a:lnTo>
                <a:lnTo>
                  <a:pt x="772" y="165"/>
                </a:lnTo>
                <a:lnTo>
                  <a:pt x="773" y="165"/>
                </a:lnTo>
                <a:lnTo>
                  <a:pt x="773" y="164"/>
                </a:lnTo>
                <a:close/>
                <a:moveTo>
                  <a:pt x="3186" y="1624"/>
                </a:moveTo>
                <a:lnTo>
                  <a:pt x="3186" y="1624"/>
                </a:lnTo>
                <a:lnTo>
                  <a:pt x="3186" y="1624"/>
                </a:lnTo>
                <a:lnTo>
                  <a:pt x="3185" y="1624"/>
                </a:lnTo>
                <a:lnTo>
                  <a:pt x="3184" y="1624"/>
                </a:lnTo>
                <a:lnTo>
                  <a:pt x="3184" y="1625"/>
                </a:lnTo>
                <a:lnTo>
                  <a:pt x="3185" y="1625"/>
                </a:lnTo>
                <a:lnTo>
                  <a:pt x="3186" y="1625"/>
                </a:lnTo>
                <a:lnTo>
                  <a:pt x="3186" y="1624"/>
                </a:lnTo>
                <a:close/>
                <a:moveTo>
                  <a:pt x="2176" y="1558"/>
                </a:moveTo>
                <a:lnTo>
                  <a:pt x="2174" y="1557"/>
                </a:lnTo>
                <a:lnTo>
                  <a:pt x="2174" y="1556"/>
                </a:lnTo>
                <a:lnTo>
                  <a:pt x="2173" y="1557"/>
                </a:lnTo>
                <a:lnTo>
                  <a:pt x="2173" y="1558"/>
                </a:lnTo>
                <a:lnTo>
                  <a:pt x="2173" y="1559"/>
                </a:lnTo>
                <a:lnTo>
                  <a:pt x="2174" y="1559"/>
                </a:lnTo>
                <a:lnTo>
                  <a:pt x="2174" y="1558"/>
                </a:lnTo>
                <a:lnTo>
                  <a:pt x="2176" y="1558"/>
                </a:lnTo>
                <a:close/>
                <a:moveTo>
                  <a:pt x="1067" y="952"/>
                </a:moveTo>
                <a:lnTo>
                  <a:pt x="1067" y="952"/>
                </a:lnTo>
                <a:lnTo>
                  <a:pt x="1069" y="952"/>
                </a:lnTo>
                <a:lnTo>
                  <a:pt x="1067" y="951"/>
                </a:lnTo>
                <a:lnTo>
                  <a:pt x="1067" y="951"/>
                </a:lnTo>
                <a:lnTo>
                  <a:pt x="1067" y="951"/>
                </a:lnTo>
                <a:lnTo>
                  <a:pt x="1066" y="951"/>
                </a:lnTo>
                <a:lnTo>
                  <a:pt x="1066" y="952"/>
                </a:lnTo>
                <a:lnTo>
                  <a:pt x="1067" y="952"/>
                </a:lnTo>
                <a:close/>
                <a:moveTo>
                  <a:pt x="2185" y="1556"/>
                </a:moveTo>
                <a:lnTo>
                  <a:pt x="2186" y="1554"/>
                </a:lnTo>
                <a:lnTo>
                  <a:pt x="2184" y="1552"/>
                </a:lnTo>
                <a:lnTo>
                  <a:pt x="2184" y="1548"/>
                </a:lnTo>
                <a:lnTo>
                  <a:pt x="2181" y="1546"/>
                </a:lnTo>
                <a:lnTo>
                  <a:pt x="2179" y="1547"/>
                </a:lnTo>
                <a:lnTo>
                  <a:pt x="2178" y="1550"/>
                </a:lnTo>
                <a:lnTo>
                  <a:pt x="2180" y="1553"/>
                </a:lnTo>
                <a:lnTo>
                  <a:pt x="2183" y="1553"/>
                </a:lnTo>
                <a:lnTo>
                  <a:pt x="2183" y="1556"/>
                </a:lnTo>
                <a:lnTo>
                  <a:pt x="2185" y="1556"/>
                </a:lnTo>
                <a:close/>
                <a:moveTo>
                  <a:pt x="1140" y="590"/>
                </a:moveTo>
                <a:lnTo>
                  <a:pt x="1140" y="591"/>
                </a:lnTo>
                <a:lnTo>
                  <a:pt x="1139" y="591"/>
                </a:lnTo>
                <a:lnTo>
                  <a:pt x="1140" y="592"/>
                </a:lnTo>
                <a:lnTo>
                  <a:pt x="1141" y="592"/>
                </a:lnTo>
                <a:lnTo>
                  <a:pt x="1141" y="592"/>
                </a:lnTo>
                <a:lnTo>
                  <a:pt x="1142" y="602"/>
                </a:lnTo>
                <a:lnTo>
                  <a:pt x="1147" y="612"/>
                </a:lnTo>
                <a:lnTo>
                  <a:pt x="1148" y="619"/>
                </a:lnTo>
                <a:lnTo>
                  <a:pt x="1154" y="616"/>
                </a:lnTo>
                <a:lnTo>
                  <a:pt x="1160" y="615"/>
                </a:lnTo>
                <a:lnTo>
                  <a:pt x="1158" y="622"/>
                </a:lnTo>
                <a:lnTo>
                  <a:pt x="1160" y="624"/>
                </a:lnTo>
                <a:lnTo>
                  <a:pt x="1163" y="625"/>
                </a:lnTo>
                <a:lnTo>
                  <a:pt x="1163" y="627"/>
                </a:lnTo>
                <a:lnTo>
                  <a:pt x="1163" y="628"/>
                </a:lnTo>
                <a:lnTo>
                  <a:pt x="1151" y="645"/>
                </a:lnTo>
                <a:lnTo>
                  <a:pt x="1147" y="666"/>
                </a:lnTo>
                <a:lnTo>
                  <a:pt x="1157" y="681"/>
                </a:lnTo>
                <a:lnTo>
                  <a:pt x="1171" y="681"/>
                </a:lnTo>
                <a:lnTo>
                  <a:pt x="1180" y="678"/>
                </a:lnTo>
                <a:lnTo>
                  <a:pt x="1182" y="686"/>
                </a:lnTo>
                <a:lnTo>
                  <a:pt x="1187" y="716"/>
                </a:lnTo>
                <a:lnTo>
                  <a:pt x="1198" y="746"/>
                </a:lnTo>
                <a:lnTo>
                  <a:pt x="1198" y="748"/>
                </a:lnTo>
                <a:lnTo>
                  <a:pt x="1199" y="749"/>
                </a:lnTo>
                <a:lnTo>
                  <a:pt x="1204" y="773"/>
                </a:lnTo>
                <a:lnTo>
                  <a:pt x="1224" y="787"/>
                </a:lnTo>
                <a:lnTo>
                  <a:pt x="1228" y="789"/>
                </a:lnTo>
                <a:lnTo>
                  <a:pt x="1229" y="793"/>
                </a:lnTo>
                <a:lnTo>
                  <a:pt x="1231" y="797"/>
                </a:lnTo>
                <a:lnTo>
                  <a:pt x="1237" y="799"/>
                </a:lnTo>
                <a:lnTo>
                  <a:pt x="1237" y="789"/>
                </a:lnTo>
                <a:lnTo>
                  <a:pt x="1233" y="779"/>
                </a:lnTo>
                <a:lnTo>
                  <a:pt x="1218" y="721"/>
                </a:lnTo>
                <a:lnTo>
                  <a:pt x="1204" y="662"/>
                </a:lnTo>
                <a:lnTo>
                  <a:pt x="1206" y="659"/>
                </a:lnTo>
                <a:lnTo>
                  <a:pt x="1202" y="658"/>
                </a:lnTo>
                <a:lnTo>
                  <a:pt x="1202" y="658"/>
                </a:lnTo>
                <a:lnTo>
                  <a:pt x="1202" y="658"/>
                </a:lnTo>
                <a:lnTo>
                  <a:pt x="1201" y="657"/>
                </a:lnTo>
                <a:lnTo>
                  <a:pt x="1199" y="656"/>
                </a:lnTo>
                <a:lnTo>
                  <a:pt x="1200" y="656"/>
                </a:lnTo>
                <a:lnTo>
                  <a:pt x="1200" y="656"/>
                </a:lnTo>
                <a:lnTo>
                  <a:pt x="1200" y="656"/>
                </a:lnTo>
                <a:lnTo>
                  <a:pt x="1188" y="641"/>
                </a:lnTo>
                <a:lnTo>
                  <a:pt x="1176" y="628"/>
                </a:lnTo>
                <a:lnTo>
                  <a:pt x="1175" y="622"/>
                </a:lnTo>
                <a:lnTo>
                  <a:pt x="1173" y="614"/>
                </a:lnTo>
                <a:lnTo>
                  <a:pt x="1175" y="596"/>
                </a:lnTo>
                <a:lnTo>
                  <a:pt x="1189" y="592"/>
                </a:lnTo>
                <a:lnTo>
                  <a:pt x="1192" y="573"/>
                </a:lnTo>
                <a:lnTo>
                  <a:pt x="1184" y="555"/>
                </a:lnTo>
                <a:lnTo>
                  <a:pt x="1183" y="551"/>
                </a:lnTo>
                <a:lnTo>
                  <a:pt x="1181" y="546"/>
                </a:lnTo>
                <a:lnTo>
                  <a:pt x="1181" y="546"/>
                </a:lnTo>
                <a:lnTo>
                  <a:pt x="1180" y="546"/>
                </a:lnTo>
                <a:lnTo>
                  <a:pt x="1181" y="546"/>
                </a:lnTo>
                <a:lnTo>
                  <a:pt x="1181" y="546"/>
                </a:lnTo>
                <a:lnTo>
                  <a:pt x="1187" y="541"/>
                </a:lnTo>
                <a:lnTo>
                  <a:pt x="1187" y="534"/>
                </a:lnTo>
                <a:lnTo>
                  <a:pt x="1189" y="523"/>
                </a:lnTo>
                <a:lnTo>
                  <a:pt x="1192" y="513"/>
                </a:lnTo>
                <a:lnTo>
                  <a:pt x="1185" y="509"/>
                </a:lnTo>
                <a:lnTo>
                  <a:pt x="1180" y="504"/>
                </a:lnTo>
                <a:lnTo>
                  <a:pt x="1185" y="509"/>
                </a:lnTo>
                <a:lnTo>
                  <a:pt x="1192" y="513"/>
                </a:lnTo>
                <a:lnTo>
                  <a:pt x="1188" y="505"/>
                </a:lnTo>
                <a:lnTo>
                  <a:pt x="1185" y="498"/>
                </a:lnTo>
                <a:lnTo>
                  <a:pt x="1188" y="491"/>
                </a:lnTo>
                <a:lnTo>
                  <a:pt x="1188" y="485"/>
                </a:lnTo>
                <a:lnTo>
                  <a:pt x="1188" y="483"/>
                </a:lnTo>
                <a:lnTo>
                  <a:pt x="1188" y="480"/>
                </a:lnTo>
                <a:lnTo>
                  <a:pt x="1191" y="454"/>
                </a:lnTo>
                <a:lnTo>
                  <a:pt x="1189" y="427"/>
                </a:lnTo>
                <a:lnTo>
                  <a:pt x="1189" y="427"/>
                </a:lnTo>
                <a:lnTo>
                  <a:pt x="1193" y="418"/>
                </a:lnTo>
                <a:lnTo>
                  <a:pt x="1188" y="410"/>
                </a:lnTo>
                <a:lnTo>
                  <a:pt x="1183" y="400"/>
                </a:lnTo>
                <a:lnTo>
                  <a:pt x="1177" y="392"/>
                </a:lnTo>
                <a:lnTo>
                  <a:pt x="1167" y="381"/>
                </a:lnTo>
                <a:lnTo>
                  <a:pt x="1155" y="375"/>
                </a:lnTo>
                <a:lnTo>
                  <a:pt x="1155" y="375"/>
                </a:lnTo>
                <a:lnTo>
                  <a:pt x="1148" y="376"/>
                </a:lnTo>
                <a:lnTo>
                  <a:pt x="1141" y="376"/>
                </a:lnTo>
                <a:lnTo>
                  <a:pt x="1130" y="364"/>
                </a:lnTo>
                <a:lnTo>
                  <a:pt x="1113" y="366"/>
                </a:lnTo>
                <a:lnTo>
                  <a:pt x="1082" y="376"/>
                </a:lnTo>
                <a:lnTo>
                  <a:pt x="1051" y="383"/>
                </a:lnTo>
                <a:lnTo>
                  <a:pt x="1006" y="393"/>
                </a:lnTo>
                <a:lnTo>
                  <a:pt x="963" y="401"/>
                </a:lnTo>
                <a:lnTo>
                  <a:pt x="957" y="403"/>
                </a:lnTo>
                <a:lnTo>
                  <a:pt x="953" y="408"/>
                </a:lnTo>
                <a:lnTo>
                  <a:pt x="960" y="409"/>
                </a:lnTo>
                <a:lnTo>
                  <a:pt x="967" y="407"/>
                </a:lnTo>
                <a:lnTo>
                  <a:pt x="984" y="401"/>
                </a:lnTo>
                <a:lnTo>
                  <a:pt x="1001" y="400"/>
                </a:lnTo>
                <a:lnTo>
                  <a:pt x="1015" y="400"/>
                </a:lnTo>
                <a:lnTo>
                  <a:pt x="1029" y="398"/>
                </a:lnTo>
                <a:lnTo>
                  <a:pt x="1039" y="393"/>
                </a:lnTo>
                <a:lnTo>
                  <a:pt x="1049" y="392"/>
                </a:lnTo>
                <a:lnTo>
                  <a:pt x="1054" y="394"/>
                </a:lnTo>
                <a:lnTo>
                  <a:pt x="1057" y="393"/>
                </a:lnTo>
                <a:lnTo>
                  <a:pt x="1061" y="392"/>
                </a:lnTo>
                <a:lnTo>
                  <a:pt x="1065" y="392"/>
                </a:lnTo>
                <a:lnTo>
                  <a:pt x="1064" y="395"/>
                </a:lnTo>
                <a:lnTo>
                  <a:pt x="1063" y="396"/>
                </a:lnTo>
                <a:lnTo>
                  <a:pt x="1055" y="406"/>
                </a:lnTo>
                <a:lnTo>
                  <a:pt x="1056" y="418"/>
                </a:lnTo>
                <a:lnTo>
                  <a:pt x="1060" y="431"/>
                </a:lnTo>
                <a:lnTo>
                  <a:pt x="1070" y="441"/>
                </a:lnTo>
                <a:lnTo>
                  <a:pt x="1073" y="444"/>
                </a:lnTo>
                <a:lnTo>
                  <a:pt x="1077" y="444"/>
                </a:lnTo>
                <a:lnTo>
                  <a:pt x="1092" y="441"/>
                </a:lnTo>
                <a:lnTo>
                  <a:pt x="1107" y="439"/>
                </a:lnTo>
                <a:lnTo>
                  <a:pt x="1116" y="434"/>
                </a:lnTo>
                <a:lnTo>
                  <a:pt x="1115" y="428"/>
                </a:lnTo>
                <a:lnTo>
                  <a:pt x="1112" y="417"/>
                </a:lnTo>
                <a:lnTo>
                  <a:pt x="1122" y="416"/>
                </a:lnTo>
                <a:lnTo>
                  <a:pt x="1127" y="420"/>
                </a:lnTo>
                <a:lnTo>
                  <a:pt x="1132" y="426"/>
                </a:lnTo>
                <a:lnTo>
                  <a:pt x="1134" y="413"/>
                </a:lnTo>
                <a:lnTo>
                  <a:pt x="1127" y="402"/>
                </a:lnTo>
                <a:lnTo>
                  <a:pt x="1134" y="391"/>
                </a:lnTo>
                <a:lnTo>
                  <a:pt x="1136" y="379"/>
                </a:lnTo>
                <a:lnTo>
                  <a:pt x="1137" y="379"/>
                </a:lnTo>
                <a:lnTo>
                  <a:pt x="1138" y="379"/>
                </a:lnTo>
                <a:lnTo>
                  <a:pt x="1140" y="382"/>
                </a:lnTo>
                <a:lnTo>
                  <a:pt x="1140" y="385"/>
                </a:lnTo>
                <a:lnTo>
                  <a:pt x="1139" y="397"/>
                </a:lnTo>
                <a:lnTo>
                  <a:pt x="1151" y="399"/>
                </a:lnTo>
                <a:lnTo>
                  <a:pt x="1150" y="423"/>
                </a:lnTo>
                <a:lnTo>
                  <a:pt x="1149" y="447"/>
                </a:lnTo>
                <a:lnTo>
                  <a:pt x="1150" y="451"/>
                </a:lnTo>
                <a:lnTo>
                  <a:pt x="1154" y="453"/>
                </a:lnTo>
                <a:lnTo>
                  <a:pt x="1157" y="460"/>
                </a:lnTo>
                <a:lnTo>
                  <a:pt x="1163" y="467"/>
                </a:lnTo>
                <a:lnTo>
                  <a:pt x="1168" y="472"/>
                </a:lnTo>
                <a:lnTo>
                  <a:pt x="1169" y="480"/>
                </a:lnTo>
                <a:lnTo>
                  <a:pt x="1161" y="473"/>
                </a:lnTo>
                <a:lnTo>
                  <a:pt x="1151" y="468"/>
                </a:lnTo>
                <a:lnTo>
                  <a:pt x="1150" y="468"/>
                </a:lnTo>
                <a:lnTo>
                  <a:pt x="1149" y="468"/>
                </a:lnTo>
                <a:lnTo>
                  <a:pt x="1139" y="456"/>
                </a:lnTo>
                <a:lnTo>
                  <a:pt x="1125" y="453"/>
                </a:lnTo>
                <a:lnTo>
                  <a:pt x="1096" y="459"/>
                </a:lnTo>
                <a:lnTo>
                  <a:pt x="1067" y="463"/>
                </a:lnTo>
                <a:lnTo>
                  <a:pt x="1049" y="467"/>
                </a:lnTo>
                <a:lnTo>
                  <a:pt x="1031" y="468"/>
                </a:lnTo>
                <a:lnTo>
                  <a:pt x="1049" y="467"/>
                </a:lnTo>
                <a:lnTo>
                  <a:pt x="1067" y="463"/>
                </a:lnTo>
                <a:lnTo>
                  <a:pt x="1066" y="457"/>
                </a:lnTo>
                <a:lnTo>
                  <a:pt x="1076" y="454"/>
                </a:lnTo>
                <a:lnTo>
                  <a:pt x="1060" y="454"/>
                </a:lnTo>
                <a:lnTo>
                  <a:pt x="1048" y="456"/>
                </a:lnTo>
                <a:lnTo>
                  <a:pt x="1012" y="461"/>
                </a:lnTo>
                <a:lnTo>
                  <a:pt x="975" y="471"/>
                </a:lnTo>
                <a:lnTo>
                  <a:pt x="972" y="470"/>
                </a:lnTo>
                <a:lnTo>
                  <a:pt x="969" y="470"/>
                </a:lnTo>
                <a:lnTo>
                  <a:pt x="967" y="470"/>
                </a:lnTo>
                <a:lnTo>
                  <a:pt x="966" y="470"/>
                </a:lnTo>
                <a:lnTo>
                  <a:pt x="952" y="472"/>
                </a:lnTo>
                <a:lnTo>
                  <a:pt x="938" y="475"/>
                </a:lnTo>
                <a:lnTo>
                  <a:pt x="927" y="477"/>
                </a:lnTo>
                <a:lnTo>
                  <a:pt x="918" y="483"/>
                </a:lnTo>
                <a:lnTo>
                  <a:pt x="875" y="490"/>
                </a:lnTo>
                <a:lnTo>
                  <a:pt x="832" y="499"/>
                </a:lnTo>
                <a:lnTo>
                  <a:pt x="822" y="499"/>
                </a:lnTo>
                <a:lnTo>
                  <a:pt x="820" y="490"/>
                </a:lnTo>
                <a:lnTo>
                  <a:pt x="819" y="486"/>
                </a:lnTo>
                <a:lnTo>
                  <a:pt x="819" y="480"/>
                </a:lnTo>
                <a:lnTo>
                  <a:pt x="818" y="475"/>
                </a:lnTo>
                <a:lnTo>
                  <a:pt x="815" y="472"/>
                </a:lnTo>
                <a:lnTo>
                  <a:pt x="812" y="475"/>
                </a:lnTo>
                <a:lnTo>
                  <a:pt x="812" y="480"/>
                </a:lnTo>
                <a:lnTo>
                  <a:pt x="810" y="499"/>
                </a:lnTo>
                <a:lnTo>
                  <a:pt x="797" y="510"/>
                </a:lnTo>
                <a:lnTo>
                  <a:pt x="794" y="513"/>
                </a:lnTo>
                <a:lnTo>
                  <a:pt x="793" y="515"/>
                </a:lnTo>
                <a:lnTo>
                  <a:pt x="792" y="521"/>
                </a:lnTo>
                <a:lnTo>
                  <a:pt x="786" y="522"/>
                </a:lnTo>
                <a:lnTo>
                  <a:pt x="774" y="523"/>
                </a:lnTo>
                <a:lnTo>
                  <a:pt x="762" y="519"/>
                </a:lnTo>
                <a:lnTo>
                  <a:pt x="766" y="506"/>
                </a:lnTo>
                <a:lnTo>
                  <a:pt x="766" y="494"/>
                </a:lnTo>
                <a:lnTo>
                  <a:pt x="763" y="490"/>
                </a:lnTo>
                <a:lnTo>
                  <a:pt x="759" y="490"/>
                </a:lnTo>
                <a:lnTo>
                  <a:pt x="748" y="494"/>
                </a:lnTo>
                <a:lnTo>
                  <a:pt x="738" y="493"/>
                </a:lnTo>
                <a:lnTo>
                  <a:pt x="728" y="492"/>
                </a:lnTo>
                <a:lnTo>
                  <a:pt x="726" y="501"/>
                </a:lnTo>
                <a:lnTo>
                  <a:pt x="725" y="507"/>
                </a:lnTo>
                <a:lnTo>
                  <a:pt x="725" y="514"/>
                </a:lnTo>
                <a:lnTo>
                  <a:pt x="723" y="515"/>
                </a:lnTo>
                <a:lnTo>
                  <a:pt x="723" y="517"/>
                </a:lnTo>
                <a:lnTo>
                  <a:pt x="723" y="517"/>
                </a:lnTo>
                <a:lnTo>
                  <a:pt x="723" y="518"/>
                </a:lnTo>
                <a:lnTo>
                  <a:pt x="715" y="534"/>
                </a:lnTo>
                <a:lnTo>
                  <a:pt x="699" y="539"/>
                </a:lnTo>
                <a:lnTo>
                  <a:pt x="666" y="549"/>
                </a:lnTo>
                <a:lnTo>
                  <a:pt x="635" y="564"/>
                </a:lnTo>
                <a:lnTo>
                  <a:pt x="632" y="564"/>
                </a:lnTo>
                <a:lnTo>
                  <a:pt x="630" y="564"/>
                </a:lnTo>
                <a:lnTo>
                  <a:pt x="612" y="567"/>
                </a:lnTo>
                <a:lnTo>
                  <a:pt x="596" y="573"/>
                </a:lnTo>
                <a:lnTo>
                  <a:pt x="596" y="573"/>
                </a:lnTo>
                <a:lnTo>
                  <a:pt x="595" y="574"/>
                </a:lnTo>
                <a:lnTo>
                  <a:pt x="594" y="575"/>
                </a:lnTo>
                <a:lnTo>
                  <a:pt x="595" y="575"/>
                </a:lnTo>
                <a:lnTo>
                  <a:pt x="597" y="575"/>
                </a:lnTo>
                <a:lnTo>
                  <a:pt x="595" y="575"/>
                </a:lnTo>
                <a:lnTo>
                  <a:pt x="594" y="575"/>
                </a:lnTo>
                <a:lnTo>
                  <a:pt x="584" y="576"/>
                </a:lnTo>
                <a:lnTo>
                  <a:pt x="574" y="580"/>
                </a:lnTo>
                <a:lnTo>
                  <a:pt x="573" y="581"/>
                </a:lnTo>
                <a:lnTo>
                  <a:pt x="572" y="582"/>
                </a:lnTo>
                <a:lnTo>
                  <a:pt x="522" y="597"/>
                </a:lnTo>
                <a:lnTo>
                  <a:pt x="476" y="619"/>
                </a:lnTo>
                <a:lnTo>
                  <a:pt x="446" y="630"/>
                </a:lnTo>
                <a:lnTo>
                  <a:pt x="419" y="643"/>
                </a:lnTo>
                <a:lnTo>
                  <a:pt x="413" y="644"/>
                </a:lnTo>
                <a:lnTo>
                  <a:pt x="411" y="640"/>
                </a:lnTo>
                <a:lnTo>
                  <a:pt x="411" y="633"/>
                </a:lnTo>
                <a:lnTo>
                  <a:pt x="409" y="630"/>
                </a:lnTo>
                <a:lnTo>
                  <a:pt x="396" y="635"/>
                </a:lnTo>
                <a:lnTo>
                  <a:pt x="389" y="645"/>
                </a:lnTo>
                <a:lnTo>
                  <a:pt x="383" y="659"/>
                </a:lnTo>
                <a:lnTo>
                  <a:pt x="370" y="667"/>
                </a:lnTo>
                <a:lnTo>
                  <a:pt x="365" y="670"/>
                </a:lnTo>
                <a:lnTo>
                  <a:pt x="361" y="675"/>
                </a:lnTo>
                <a:lnTo>
                  <a:pt x="339" y="683"/>
                </a:lnTo>
                <a:lnTo>
                  <a:pt x="320" y="694"/>
                </a:lnTo>
                <a:lnTo>
                  <a:pt x="281" y="715"/>
                </a:lnTo>
                <a:lnTo>
                  <a:pt x="242" y="736"/>
                </a:lnTo>
                <a:lnTo>
                  <a:pt x="201" y="764"/>
                </a:lnTo>
                <a:lnTo>
                  <a:pt x="163" y="796"/>
                </a:lnTo>
                <a:lnTo>
                  <a:pt x="158" y="793"/>
                </a:lnTo>
                <a:lnTo>
                  <a:pt x="160" y="788"/>
                </a:lnTo>
                <a:lnTo>
                  <a:pt x="164" y="781"/>
                </a:lnTo>
                <a:lnTo>
                  <a:pt x="168" y="776"/>
                </a:lnTo>
                <a:lnTo>
                  <a:pt x="182" y="761"/>
                </a:lnTo>
                <a:lnTo>
                  <a:pt x="198" y="747"/>
                </a:lnTo>
                <a:lnTo>
                  <a:pt x="206" y="734"/>
                </a:lnTo>
                <a:lnTo>
                  <a:pt x="216" y="722"/>
                </a:lnTo>
                <a:lnTo>
                  <a:pt x="222" y="719"/>
                </a:lnTo>
                <a:lnTo>
                  <a:pt x="222" y="713"/>
                </a:lnTo>
                <a:lnTo>
                  <a:pt x="216" y="712"/>
                </a:lnTo>
                <a:lnTo>
                  <a:pt x="210" y="715"/>
                </a:lnTo>
                <a:lnTo>
                  <a:pt x="206" y="718"/>
                </a:lnTo>
                <a:lnTo>
                  <a:pt x="203" y="723"/>
                </a:lnTo>
                <a:lnTo>
                  <a:pt x="196" y="738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3" y="747"/>
                </a:lnTo>
                <a:lnTo>
                  <a:pt x="182" y="750"/>
                </a:lnTo>
                <a:lnTo>
                  <a:pt x="181" y="751"/>
                </a:lnTo>
                <a:lnTo>
                  <a:pt x="164" y="768"/>
                </a:lnTo>
                <a:lnTo>
                  <a:pt x="142" y="781"/>
                </a:lnTo>
                <a:lnTo>
                  <a:pt x="135" y="785"/>
                </a:lnTo>
                <a:lnTo>
                  <a:pt x="129" y="791"/>
                </a:lnTo>
                <a:lnTo>
                  <a:pt x="124" y="794"/>
                </a:lnTo>
                <a:lnTo>
                  <a:pt x="124" y="799"/>
                </a:lnTo>
                <a:lnTo>
                  <a:pt x="129" y="800"/>
                </a:lnTo>
                <a:lnTo>
                  <a:pt x="133" y="798"/>
                </a:lnTo>
                <a:lnTo>
                  <a:pt x="147" y="792"/>
                </a:lnTo>
                <a:lnTo>
                  <a:pt x="150" y="807"/>
                </a:lnTo>
                <a:lnTo>
                  <a:pt x="150" y="808"/>
                </a:lnTo>
                <a:lnTo>
                  <a:pt x="150" y="808"/>
                </a:lnTo>
                <a:lnTo>
                  <a:pt x="140" y="815"/>
                </a:lnTo>
                <a:lnTo>
                  <a:pt x="132" y="823"/>
                </a:lnTo>
                <a:lnTo>
                  <a:pt x="131" y="818"/>
                </a:lnTo>
                <a:lnTo>
                  <a:pt x="130" y="812"/>
                </a:lnTo>
                <a:lnTo>
                  <a:pt x="119" y="827"/>
                </a:lnTo>
                <a:lnTo>
                  <a:pt x="107" y="840"/>
                </a:lnTo>
                <a:lnTo>
                  <a:pt x="100" y="856"/>
                </a:lnTo>
                <a:lnTo>
                  <a:pt x="90" y="871"/>
                </a:lnTo>
                <a:lnTo>
                  <a:pt x="52" y="921"/>
                </a:lnTo>
                <a:lnTo>
                  <a:pt x="25" y="978"/>
                </a:lnTo>
                <a:lnTo>
                  <a:pt x="13" y="1037"/>
                </a:lnTo>
                <a:lnTo>
                  <a:pt x="23" y="1098"/>
                </a:lnTo>
                <a:lnTo>
                  <a:pt x="24" y="1114"/>
                </a:lnTo>
                <a:lnTo>
                  <a:pt x="23" y="1130"/>
                </a:lnTo>
                <a:lnTo>
                  <a:pt x="18" y="1158"/>
                </a:lnTo>
                <a:lnTo>
                  <a:pt x="21" y="1186"/>
                </a:lnTo>
                <a:lnTo>
                  <a:pt x="21" y="1189"/>
                </a:lnTo>
                <a:lnTo>
                  <a:pt x="19" y="1190"/>
                </a:lnTo>
                <a:lnTo>
                  <a:pt x="17" y="1188"/>
                </a:lnTo>
                <a:lnTo>
                  <a:pt x="15" y="1190"/>
                </a:lnTo>
                <a:lnTo>
                  <a:pt x="15" y="1194"/>
                </a:lnTo>
                <a:lnTo>
                  <a:pt x="18" y="1196"/>
                </a:lnTo>
                <a:lnTo>
                  <a:pt x="26" y="1196"/>
                </a:lnTo>
                <a:lnTo>
                  <a:pt x="30" y="1189"/>
                </a:lnTo>
                <a:lnTo>
                  <a:pt x="32" y="1174"/>
                </a:lnTo>
                <a:lnTo>
                  <a:pt x="35" y="1159"/>
                </a:lnTo>
                <a:lnTo>
                  <a:pt x="38" y="1151"/>
                </a:lnTo>
                <a:lnTo>
                  <a:pt x="41" y="1144"/>
                </a:lnTo>
                <a:lnTo>
                  <a:pt x="43" y="1134"/>
                </a:lnTo>
                <a:lnTo>
                  <a:pt x="43" y="1126"/>
                </a:lnTo>
                <a:lnTo>
                  <a:pt x="49" y="1088"/>
                </a:lnTo>
                <a:lnTo>
                  <a:pt x="56" y="1050"/>
                </a:lnTo>
                <a:lnTo>
                  <a:pt x="58" y="1042"/>
                </a:lnTo>
                <a:lnTo>
                  <a:pt x="64" y="1038"/>
                </a:lnTo>
                <a:lnTo>
                  <a:pt x="71" y="1043"/>
                </a:lnTo>
                <a:lnTo>
                  <a:pt x="71" y="1053"/>
                </a:lnTo>
                <a:lnTo>
                  <a:pt x="69" y="1061"/>
                </a:lnTo>
                <a:lnTo>
                  <a:pt x="69" y="1069"/>
                </a:lnTo>
                <a:lnTo>
                  <a:pt x="74" y="1071"/>
                </a:lnTo>
                <a:lnTo>
                  <a:pt x="79" y="1075"/>
                </a:lnTo>
                <a:lnTo>
                  <a:pt x="80" y="1076"/>
                </a:lnTo>
                <a:lnTo>
                  <a:pt x="81" y="1078"/>
                </a:lnTo>
                <a:lnTo>
                  <a:pt x="80" y="1076"/>
                </a:lnTo>
                <a:lnTo>
                  <a:pt x="79" y="1075"/>
                </a:lnTo>
                <a:lnTo>
                  <a:pt x="74" y="1071"/>
                </a:lnTo>
                <a:lnTo>
                  <a:pt x="69" y="1069"/>
                </a:lnTo>
                <a:lnTo>
                  <a:pt x="66" y="1080"/>
                </a:lnTo>
                <a:lnTo>
                  <a:pt x="62" y="1089"/>
                </a:lnTo>
                <a:lnTo>
                  <a:pt x="58" y="1100"/>
                </a:lnTo>
                <a:lnTo>
                  <a:pt x="58" y="1113"/>
                </a:lnTo>
                <a:lnTo>
                  <a:pt x="60" y="1126"/>
                </a:lnTo>
                <a:lnTo>
                  <a:pt x="58" y="1139"/>
                </a:lnTo>
                <a:lnTo>
                  <a:pt x="57" y="1145"/>
                </a:lnTo>
                <a:lnTo>
                  <a:pt x="61" y="1148"/>
                </a:lnTo>
                <a:lnTo>
                  <a:pt x="72" y="1149"/>
                </a:lnTo>
                <a:lnTo>
                  <a:pt x="79" y="1144"/>
                </a:lnTo>
                <a:lnTo>
                  <a:pt x="84" y="1125"/>
                </a:lnTo>
                <a:lnTo>
                  <a:pt x="85" y="1104"/>
                </a:lnTo>
                <a:lnTo>
                  <a:pt x="85" y="1100"/>
                </a:lnTo>
                <a:lnTo>
                  <a:pt x="86" y="1096"/>
                </a:lnTo>
                <a:lnTo>
                  <a:pt x="89" y="1088"/>
                </a:lnTo>
                <a:lnTo>
                  <a:pt x="87" y="1081"/>
                </a:lnTo>
                <a:lnTo>
                  <a:pt x="89" y="1070"/>
                </a:lnTo>
                <a:lnTo>
                  <a:pt x="91" y="1059"/>
                </a:lnTo>
                <a:lnTo>
                  <a:pt x="105" y="1069"/>
                </a:lnTo>
                <a:lnTo>
                  <a:pt x="105" y="1084"/>
                </a:lnTo>
                <a:lnTo>
                  <a:pt x="102" y="1104"/>
                </a:lnTo>
                <a:lnTo>
                  <a:pt x="101" y="1124"/>
                </a:lnTo>
                <a:lnTo>
                  <a:pt x="101" y="1127"/>
                </a:lnTo>
                <a:lnTo>
                  <a:pt x="105" y="1128"/>
                </a:lnTo>
                <a:lnTo>
                  <a:pt x="109" y="1100"/>
                </a:lnTo>
                <a:lnTo>
                  <a:pt x="114" y="1072"/>
                </a:lnTo>
                <a:lnTo>
                  <a:pt x="116" y="1063"/>
                </a:lnTo>
                <a:lnTo>
                  <a:pt x="123" y="1058"/>
                </a:lnTo>
                <a:lnTo>
                  <a:pt x="133" y="1060"/>
                </a:lnTo>
                <a:lnTo>
                  <a:pt x="139" y="1068"/>
                </a:lnTo>
                <a:lnTo>
                  <a:pt x="142" y="1072"/>
                </a:lnTo>
                <a:lnTo>
                  <a:pt x="149" y="1075"/>
                </a:lnTo>
                <a:lnTo>
                  <a:pt x="151" y="1068"/>
                </a:lnTo>
                <a:lnTo>
                  <a:pt x="155" y="1061"/>
                </a:lnTo>
                <a:lnTo>
                  <a:pt x="158" y="1056"/>
                </a:lnTo>
                <a:lnTo>
                  <a:pt x="154" y="1052"/>
                </a:lnTo>
                <a:lnTo>
                  <a:pt x="162" y="1010"/>
                </a:lnTo>
                <a:lnTo>
                  <a:pt x="167" y="969"/>
                </a:lnTo>
                <a:lnTo>
                  <a:pt x="173" y="942"/>
                </a:lnTo>
                <a:lnTo>
                  <a:pt x="180" y="915"/>
                </a:lnTo>
                <a:lnTo>
                  <a:pt x="184" y="915"/>
                </a:lnTo>
                <a:lnTo>
                  <a:pt x="188" y="913"/>
                </a:lnTo>
                <a:lnTo>
                  <a:pt x="184" y="910"/>
                </a:lnTo>
                <a:lnTo>
                  <a:pt x="180" y="910"/>
                </a:lnTo>
                <a:lnTo>
                  <a:pt x="180" y="906"/>
                </a:lnTo>
                <a:lnTo>
                  <a:pt x="182" y="903"/>
                </a:lnTo>
                <a:lnTo>
                  <a:pt x="191" y="904"/>
                </a:lnTo>
                <a:lnTo>
                  <a:pt x="201" y="901"/>
                </a:lnTo>
                <a:lnTo>
                  <a:pt x="194" y="926"/>
                </a:lnTo>
                <a:lnTo>
                  <a:pt x="184" y="950"/>
                </a:lnTo>
                <a:lnTo>
                  <a:pt x="203" y="950"/>
                </a:lnTo>
                <a:lnTo>
                  <a:pt x="222" y="954"/>
                </a:lnTo>
                <a:lnTo>
                  <a:pt x="226" y="956"/>
                </a:lnTo>
                <a:lnTo>
                  <a:pt x="228" y="959"/>
                </a:lnTo>
                <a:lnTo>
                  <a:pt x="225" y="962"/>
                </a:lnTo>
                <a:lnTo>
                  <a:pt x="221" y="961"/>
                </a:lnTo>
                <a:lnTo>
                  <a:pt x="201" y="964"/>
                </a:lnTo>
                <a:lnTo>
                  <a:pt x="183" y="969"/>
                </a:lnTo>
                <a:lnTo>
                  <a:pt x="180" y="972"/>
                </a:lnTo>
                <a:lnTo>
                  <a:pt x="179" y="976"/>
                </a:lnTo>
                <a:lnTo>
                  <a:pt x="185" y="989"/>
                </a:lnTo>
                <a:lnTo>
                  <a:pt x="200" y="989"/>
                </a:lnTo>
                <a:lnTo>
                  <a:pt x="206" y="989"/>
                </a:lnTo>
                <a:lnTo>
                  <a:pt x="211" y="991"/>
                </a:lnTo>
                <a:lnTo>
                  <a:pt x="228" y="995"/>
                </a:lnTo>
                <a:lnTo>
                  <a:pt x="245" y="999"/>
                </a:lnTo>
                <a:lnTo>
                  <a:pt x="253" y="998"/>
                </a:lnTo>
                <a:lnTo>
                  <a:pt x="257" y="992"/>
                </a:lnTo>
                <a:lnTo>
                  <a:pt x="260" y="968"/>
                </a:lnTo>
                <a:lnTo>
                  <a:pt x="266" y="945"/>
                </a:lnTo>
                <a:lnTo>
                  <a:pt x="267" y="940"/>
                </a:lnTo>
                <a:lnTo>
                  <a:pt x="264" y="934"/>
                </a:lnTo>
                <a:lnTo>
                  <a:pt x="261" y="928"/>
                </a:lnTo>
                <a:lnTo>
                  <a:pt x="264" y="920"/>
                </a:lnTo>
                <a:lnTo>
                  <a:pt x="269" y="904"/>
                </a:lnTo>
                <a:lnTo>
                  <a:pt x="268" y="887"/>
                </a:lnTo>
                <a:lnTo>
                  <a:pt x="268" y="887"/>
                </a:lnTo>
                <a:lnTo>
                  <a:pt x="268" y="887"/>
                </a:lnTo>
                <a:lnTo>
                  <a:pt x="266" y="883"/>
                </a:lnTo>
                <a:lnTo>
                  <a:pt x="264" y="879"/>
                </a:lnTo>
                <a:lnTo>
                  <a:pt x="267" y="868"/>
                </a:lnTo>
                <a:lnTo>
                  <a:pt x="262" y="859"/>
                </a:lnTo>
                <a:lnTo>
                  <a:pt x="254" y="847"/>
                </a:lnTo>
                <a:lnTo>
                  <a:pt x="254" y="834"/>
                </a:lnTo>
                <a:lnTo>
                  <a:pt x="257" y="831"/>
                </a:lnTo>
                <a:lnTo>
                  <a:pt x="260" y="829"/>
                </a:lnTo>
                <a:lnTo>
                  <a:pt x="264" y="828"/>
                </a:lnTo>
                <a:lnTo>
                  <a:pt x="267" y="823"/>
                </a:lnTo>
                <a:lnTo>
                  <a:pt x="273" y="820"/>
                </a:lnTo>
                <a:lnTo>
                  <a:pt x="275" y="824"/>
                </a:lnTo>
                <a:lnTo>
                  <a:pt x="277" y="831"/>
                </a:lnTo>
                <a:lnTo>
                  <a:pt x="276" y="840"/>
                </a:lnTo>
                <a:lnTo>
                  <a:pt x="283" y="835"/>
                </a:lnTo>
                <a:lnTo>
                  <a:pt x="285" y="828"/>
                </a:lnTo>
                <a:lnTo>
                  <a:pt x="289" y="818"/>
                </a:lnTo>
                <a:lnTo>
                  <a:pt x="301" y="821"/>
                </a:lnTo>
                <a:lnTo>
                  <a:pt x="304" y="822"/>
                </a:lnTo>
                <a:lnTo>
                  <a:pt x="307" y="821"/>
                </a:lnTo>
                <a:lnTo>
                  <a:pt x="313" y="810"/>
                </a:lnTo>
                <a:lnTo>
                  <a:pt x="317" y="800"/>
                </a:lnTo>
                <a:lnTo>
                  <a:pt x="321" y="797"/>
                </a:lnTo>
                <a:lnTo>
                  <a:pt x="325" y="794"/>
                </a:lnTo>
                <a:lnTo>
                  <a:pt x="327" y="800"/>
                </a:lnTo>
                <a:lnTo>
                  <a:pt x="328" y="807"/>
                </a:lnTo>
                <a:lnTo>
                  <a:pt x="329" y="811"/>
                </a:lnTo>
                <a:lnTo>
                  <a:pt x="333" y="812"/>
                </a:lnTo>
                <a:lnTo>
                  <a:pt x="336" y="810"/>
                </a:lnTo>
                <a:lnTo>
                  <a:pt x="337" y="806"/>
                </a:lnTo>
                <a:lnTo>
                  <a:pt x="337" y="800"/>
                </a:lnTo>
                <a:lnTo>
                  <a:pt x="342" y="795"/>
                </a:lnTo>
                <a:lnTo>
                  <a:pt x="343" y="808"/>
                </a:lnTo>
                <a:lnTo>
                  <a:pt x="337" y="821"/>
                </a:lnTo>
                <a:lnTo>
                  <a:pt x="328" y="837"/>
                </a:lnTo>
                <a:lnTo>
                  <a:pt x="317" y="853"/>
                </a:lnTo>
                <a:lnTo>
                  <a:pt x="316" y="857"/>
                </a:lnTo>
                <a:lnTo>
                  <a:pt x="316" y="860"/>
                </a:lnTo>
                <a:lnTo>
                  <a:pt x="318" y="867"/>
                </a:lnTo>
                <a:lnTo>
                  <a:pt x="312" y="870"/>
                </a:lnTo>
                <a:lnTo>
                  <a:pt x="304" y="875"/>
                </a:lnTo>
                <a:lnTo>
                  <a:pt x="304" y="882"/>
                </a:lnTo>
                <a:lnTo>
                  <a:pt x="317" y="890"/>
                </a:lnTo>
                <a:lnTo>
                  <a:pt x="330" y="889"/>
                </a:lnTo>
                <a:lnTo>
                  <a:pt x="339" y="886"/>
                </a:lnTo>
                <a:lnTo>
                  <a:pt x="348" y="889"/>
                </a:lnTo>
                <a:lnTo>
                  <a:pt x="360" y="892"/>
                </a:lnTo>
                <a:lnTo>
                  <a:pt x="368" y="898"/>
                </a:lnTo>
                <a:lnTo>
                  <a:pt x="377" y="906"/>
                </a:lnTo>
                <a:lnTo>
                  <a:pt x="385" y="900"/>
                </a:lnTo>
                <a:lnTo>
                  <a:pt x="396" y="894"/>
                </a:lnTo>
                <a:lnTo>
                  <a:pt x="405" y="903"/>
                </a:lnTo>
                <a:lnTo>
                  <a:pt x="406" y="886"/>
                </a:lnTo>
                <a:lnTo>
                  <a:pt x="408" y="867"/>
                </a:lnTo>
                <a:lnTo>
                  <a:pt x="404" y="870"/>
                </a:lnTo>
                <a:lnTo>
                  <a:pt x="403" y="872"/>
                </a:lnTo>
                <a:lnTo>
                  <a:pt x="396" y="875"/>
                </a:lnTo>
                <a:lnTo>
                  <a:pt x="390" y="873"/>
                </a:lnTo>
                <a:lnTo>
                  <a:pt x="389" y="871"/>
                </a:lnTo>
                <a:lnTo>
                  <a:pt x="391" y="868"/>
                </a:lnTo>
                <a:lnTo>
                  <a:pt x="403" y="859"/>
                </a:lnTo>
                <a:lnTo>
                  <a:pt x="402" y="839"/>
                </a:lnTo>
                <a:lnTo>
                  <a:pt x="402" y="838"/>
                </a:lnTo>
                <a:lnTo>
                  <a:pt x="402" y="838"/>
                </a:lnTo>
                <a:lnTo>
                  <a:pt x="402" y="837"/>
                </a:lnTo>
                <a:lnTo>
                  <a:pt x="402" y="836"/>
                </a:lnTo>
                <a:lnTo>
                  <a:pt x="400" y="833"/>
                </a:lnTo>
                <a:lnTo>
                  <a:pt x="399" y="828"/>
                </a:lnTo>
                <a:lnTo>
                  <a:pt x="403" y="813"/>
                </a:lnTo>
                <a:lnTo>
                  <a:pt x="391" y="797"/>
                </a:lnTo>
                <a:lnTo>
                  <a:pt x="384" y="788"/>
                </a:lnTo>
                <a:lnTo>
                  <a:pt x="384" y="777"/>
                </a:lnTo>
                <a:lnTo>
                  <a:pt x="385" y="770"/>
                </a:lnTo>
                <a:lnTo>
                  <a:pt x="385" y="765"/>
                </a:lnTo>
                <a:lnTo>
                  <a:pt x="385" y="765"/>
                </a:lnTo>
                <a:lnTo>
                  <a:pt x="389" y="774"/>
                </a:lnTo>
                <a:lnTo>
                  <a:pt x="390" y="783"/>
                </a:lnTo>
                <a:lnTo>
                  <a:pt x="399" y="770"/>
                </a:lnTo>
                <a:lnTo>
                  <a:pt x="411" y="761"/>
                </a:lnTo>
                <a:lnTo>
                  <a:pt x="417" y="762"/>
                </a:lnTo>
                <a:lnTo>
                  <a:pt x="420" y="767"/>
                </a:lnTo>
                <a:lnTo>
                  <a:pt x="422" y="769"/>
                </a:lnTo>
                <a:lnTo>
                  <a:pt x="424" y="767"/>
                </a:lnTo>
                <a:lnTo>
                  <a:pt x="431" y="764"/>
                </a:lnTo>
                <a:lnTo>
                  <a:pt x="439" y="762"/>
                </a:lnTo>
                <a:lnTo>
                  <a:pt x="439" y="762"/>
                </a:lnTo>
                <a:lnTo>
                  <a:pt x="439" y="762"/>
                </a:lnTo>
                <a:lnTo>
                  <a:pt x="439" y="762"/>
                </a:lnTo>
                <a:lnTo>
                  <a:pt x="440" y="762"/>
                </a:lnTo>
                <a:lnTo>
                  <a:pt x="440" y="762"/>
                </a:lnTo>
                <a:lnTo>
                  <a:pt x="440" y="762"/>
                </a:lnTo>
                <a:lnTo>
                  <a:pt x="439" y="762"/>
                </a:lnTo>
                <a:lnTo>
                  <a:pt x="439" y="762"/>
                </a:lnTo>
                <a:lnTo>
                  <a:pt x="440" y="762"/>
                </a:lnTo>
                <a:lnTo>
                  <a:pt x="439" y="762"/>
                </a:lnTo>
                <a:lnTo>
                  <a:pt x="439" y="762"/>
                </a:lnTo>
                <a:lnTo>
                  <a:pt x="442" y="755"/>
                </a:lnTo>
                <a:lnTo>
                  <a:pt x="450" y="751"/>
                </a:lnTo>
                <a:lnTo>
                  <a:pt x="461" y="739"/>
                </a:lnTo>
                <a:lnTo>
                  <a:pt x="479" y="743"/>
                </a:lnTo>
                <a:lnTo>
                  <a:pt x="483" y="743"/>
                </a:lnTo>
                <a:lnTo>
                  <a:pt x="485" y="738"/>
                </a:lnTo>
                <a:lnTo>
                  <a:pt x="487" y="731"/>
                </a:lnTo>
                <a:lnTo>
                  <a:pt x="495" y="726"/>
                </a:lnTo>
                <a:lnTo>
                  <a:pt x="498" y="721"/>
                </a:lnTo>
                <a:lnTo>
                  <a:pt x="498" y="716"/>
                </a:lnTo>
                <a:lnTo>
                  <a:pt x="525" y="705"/>
                </a:lnTo>
                <a:lnTo>
                  <a:pt x="551" y="694"/>
                </a:lnTo>
                <a:lnTo>
                  <a:pt x="552" y="699"/>
                </a:lnTo>
                <a:lnTo>
                  <a:pt x="555" y="700"/>
                </a:lnTo>
                <a:lnTo>
                  <a:pt x="560" y="698"/>
                </a:lnTo>
                <a:lnTo>
                  <a:pt x="562" y="691"/>
                </a:lnTo>
                <a:lnTo>
                  <a:pt x="565" y="690"/>
                </a:lnTo>
                <a:lnTo>
                  <a:pt x="569" y="688"/>
                </a:lnTo>
                <a:lnTo>
                  <a:pt x="577" y="684"/>
                </a:lnTo>
                <a:lnTo>
                  <a:pt x="582" y="691"/>
                </a:lnTo>
                <a:lnTo>
                  <a:pt x="591" y="693"/>
                </a:lnTo>
                <a:lnTo>
                  <a:pt x="597" y="693"/>
                </a:lnTo>
                <a:lnTo>
                  <a:pt x="602" y="689"/>
                </a:lnTo>
                <a:lnTo>
                  <a:pt x="607" y="686"/>
                </a:lnTo>
                <a:lnTo>
                  <a:pt x="608" y="683"/>
                </a:lnTo>
                <a:lnTo>
                  <a:pt x="607" y="677"/>
                </a:lnTo>
                <a:lnTo>
                  <a:pt x="605" y="671"/>
                </a:lnTo>
                <a:lnTo>
                  <a:pt x="600" y="661"/>
                </a:lnTo>
                <a:lnTo>
                  <a:pt x="597" y="660"/>
                </a:lnTo>
                <a:lnTo>
                  <a:pt x="594" y="661"/>
                </a:lnTo>
                <a:lnTo>
                  <a:pt x="586" y="669"/>
                </a:lnTo>
                <a:lnTo>
                  <a:pt x="576" y="670"/>
                </a:lnTo>
                <a:lnTo>
                  <a:pt x="547" y="678"/>
                </a:lnTo>
                <a:lnTo>
                  <a:pt x="520" y="689"/>
                </a:lnTo>
                <a:lnTo>
                  <a:pt x="476" y="706"/>
                </a:lnTo>
                <a:lnTo>
                  <a:pt x="434" y="724"/>
                </a:lnTo>
                <a:lnTo>
                  <a:pt x="437" y="724"/>
                </a:lnTo>
                <a:lnTo>
                  <a:pt x="439" y="724"/>
                </a:lnTo>
                <a:lnTo>
                  <a:pt x="437" y="724"/>
                </a:lnTo>
                <a:lnTo>
                  <a:pt x="434" y="724"/>
                </a:lnTo>
                <a:lnTo>
                  <a:pt x="429" y="726"/>
                </a:lnTo>
                <a:lnTo>
                  <a:pt x="426" y="728"/>
                </a:lnTo>
                <a:lnTo>
                  <a:pt x="424" y="727"/>
                </a:lnTo>
                <a:lnTo>
                  <a:pt x="422" y="727"/>
                </a:lnTo>
                <a:lnTo>
                  <a:pt x="420" y="716"/>
                </a:lnTo>
                <a:lnTo>
                  <a:pt x="429" y="711"/>
                </a:lnTo>
                <a:lnTo>
                  <a:pt x="450" y="702"/>
                </a:lnTo>
                <a:lnTo>
                  <a:pt x="465" y="691"/>
                </a:lnTo>
                <a:lnTo>
                  <a:pt x="450" y="696"/>
                </a:lnTo>
                <a:lnTo>
                  <a:pt x="436" y="688"/>
                </a:lnTo>
                <a:lnTo>
                  <a:pt x="433" y="693"/>
                </a:lnTo>
                <a:lnTo>
                  <a:pt x="430" y="700"/>
                </a:lnTo>
                <a:lnTo>
                  <a:pt x="425" y="706"/>
                </a:lnTo>
                <a:lnTo>
                  <a:pt x="419" y="705"/>
                </a:lnTo>
                <a:lnTo>
                  <a:pt x="409" y="700"/>
                </a:lnTo>
                <a:lnTo>
                  <a:pt x="404" y="708"/>
                </a:lnTo>
                <a:lnTo>
                  <a:pt x="399" y="716"/>
                </a:lnTo>
                <a:lnTo>
                  <a:pt x="392" y="716"/>
                </a:lnTo>
                <a:lnTo>
                  <a:pt x="383" y="713"/>
                </a:lnTo>
                <a:lnTo>
                  <a:pt x="380" y="718"/>
                </a:lnTo>
                <a:lnTo>
                  <a:pt x="374" y="729"/>
                </a:lnTo>
                <a:lnTo>
                  <a:pt x="365" y="737"/>
                </a:lnTo>
                <a:lnTo>
                  <a:pt x="365" y="737"/>
                </a:lnTo>
                <a:lnTo>
                  <a:pt x="365" y="738"/>
                </a:lnTo>
                <a:lnTo>
                  <a:pt x="364" y="739"/>
                </a:lnTo>
                <a:lnTo>
                  <a:pt x="364" y="739"/>
                </a:lnTo>
                <a:lnTo>
                  <a:pt x="365" y="740"/>
                </a:lnTo>
                <a:lnTo>
                  <a:pt x="365" y="738"/>
                </a:lnTo>
                <a:lnTo>
                  <a:pt x="366" y="737"/>
                </a:lnTo>
                <a:lnTo>
                  <a:pt x="366" y="737"/>
                </a:lnTo>
                <a:lnTo>
                  <a:pt x="365" y="737"/>
                </a:lnTo>
                <a:lnTo>
                  <a:pt x="366" y="737"/>
                </a:lnTo>
                <a:lnTo>
                  <a:pt x="374" y="736"/>
                </a:lnTo>
                <a:lnTo>
                  <a:pt x="381" y="732"/>
                </a:lnTo>
                <a:lnTo>
                  <a:pt x="394" y="727"/>
                </a:lnTo>
                <a:lnTo>
                  <a:pt x="396" y="739"/>
                </a:lnTo>
                <a:lnTo>
                  <a:pt x="367" y="755"/>
                </a:lnTo>
                <a:lnTo>
                  <a:pt x="337" y="769"/>
                </a:lnTo>
                <a:lnTo>
                  <a:pt x="339" y="755"/>
                </a:lnTo>
                <a:lnTo>
                  <a:pt x="352" y="748"/>
                </a:lnTo>
                <a:lnTo>
                  <a:pt x="358" y="746"/>
                </a:lnTo>
                <a:lnTo>
                  <a:pt x="359" y="742"/>
                </a:lnTo>
                <a:lnTo>
                  <a:pt x="355" y="739"/>
                </a:lnTo>
                <a:lnTo>
                  <a:pt x="351" y="742"/>
                </a:lnTo>
                <a:lnTo>
                  <a:pt x="343" y="744"/>
                </a:lnTo>
                <a:lnTo>
                  <a:pt x="342" y="735"/>
                </a:lnTo>
                <a:lnTo>
                  <a:pt x="343" y="732"/>
                </a:lnTo>
                <a:lnTo>
                  <a:pt x="343" y="729"/>
                </a:lnTo>
                <a:lnTo>
                  <a:pt x="351" y="723"/>
                </a:lnTo>
                <a:lnTo>
                  <a:pt x="360" y="720"/>
                </a:lnTo>
                <a:lnTo>
                  <a:pt x="400" y="697"/>
                </a:lnTo>
                <a:lnTo>
                  <a:pt x="442" y="678"/>
                </a:lnTo>
                <a:lnTo>
                  <a:pt x="448" y="678"/>
                </a:lnTo>
                <a:lnTo>
                  <a:pt x="450" y="674"/>
                </a:lnTo>
                <a:lnTo>
                  <a:pt x="461" y="670"/>
                </a:lnTo>
                <a:lnTo>
                  <a:pt x="472" y="665"/>
                </a:lnTo>
                <a:lnTo>
                  <a:pt x="474" y="675"/>
                </a:lnTo>
                <a:lnTo>
                  <a:pt x="476" y="685"/>
                </a:lnTo>
                <a:lnTo>
                  <a:pt x="473" y="687"/>
                </a:lnTo>
                <a:lnTo>
                  <a:pt x="472" y="691"/>
                </a:lnTo>
                <a:lnTo>
                  <a:pt x="480" y="689"/>
                </a:lnTo>
                <a:lnTo>
                  <a:pt x="486" y="686"/>
                </a:lnTo>
                <a:lnTo>
                  <a:pt x="502" y="680"/>
                </a:lnTo>
                <a:lnTo>
                  <a:pt x="519" y="673"/>
                </a:lnTo>
                <a:lnTo>
                  <a:pt x="522" y="671"/>
                </a:lnTo>
                <a:lnTo>
                  <a:pt x="522" y="668"/>
                </a:lnTo>
                <a:lnTo>
                  <a:pt x="519" y="666"/>
                </a:lnTo>
                <a:lnTo>
                  <a:pt x="516" y="667"/>
                </a:lnTo>
                <a:lnTo>
                  <a:pt x="506" y="671"/>
                </a:lnTo>
                <a:lnTo>
                  <a:pt x="496" y="674"/>
                </a:lnTo>
                <a:lnTo>
                  <a:pt x="495" y="674"/>
                </a:lnTo>
                <a:lnTo>
                  <a:pt x="494" y="675"/>
                </a:lnTo>
                <a:lnTo>
                  <a:pt x="495" y="674"/>
                </a:lnTo>
                <a:lnTo>
                  <a:pt x="495" y="673"/>
                </a:lnTo>
                <a:lnTo>
                  <a:pt x="494" y="663"/>
                </a:lnTo>
                <a:lnTo>
                  <a:pt x="484" y="666"/>
                </a:lnTo>
                <a:lnTo>
                  <a:pt x="483" y="667"/>
                </a:lnTo>
                <a:lnTo>
                  <a:pt x="481" y="667"/>
                </a:lnTo>
                <a:lnTo>
                  <a:pt x="480" y="667"/>
                </a:lnTo>
                <a:lnTo>
                  <a:pt x="479" y="667"/>
                </a:lnTo>
                <a:lnTo>
                  <a:pt x="480" y="667"/>
                </a:lnTo>
                <a:lnTo>
                  <a:pt x="480" y="666"/>
                </a:lnTo>
                <a:lnTo>
                  <a:pt x="480" y="662"/>
                </a:lnTo>
                <a:lnTo>
                  <a:pt x="480" y="660"/>
                </a:lnTo>
                <a:lnTo>
                  <a:pt x="500" y="653"/>
                </a:lnTo>
                <a:lnTo>
                  <a:pt x="520" y="645"/>
                </a:lnTo>
                <a:lnTo>
                  <a:pt x="521" y="642"/>
                </a:lnTo>
                <a:lnTo>
                  <a:pt x="522" y="640"/>
                </a:lnTo>
                <a:lnTo>
                  <a:pt x="521" y="642"/>
                </a:lnTo>
                <a:lnTo>
                  <a:pt x="520" y="645"/>
                </a:lnTo>
                <a:lnTo>
                  <a:pt x="529" y="643"/>
                </a:lnTo>
                <a:lnTo>
                  <a:pt x="537" y="639"/>
                </a:lnTo>
                <a:lnTo>
                  <a:pt x="543" y="638"/>
                </a:lnTo>
                <a:lnTo>
                  <a:pt x="547" y="641"/>
                </a:lnTo>
                <a:lnTo>
                  <a:pt x="549" y="646"/>
                </a:lnTo>
                <a:lnTo>
                  <a:pt x="547" y="653"/>
                </a:lnTo>
                <a:lnTo>
                  <a:pt x="544" y="655"/>
                </a:lnTo>
                <a:lnTo>
                  <a:pt x="543" y="660"/>
                </a:lnTo>
                <a:lnTo>
                  <a:pt x="554" y="660"/>
                </a:lnTo>
                <a:lnTo>
                  <a:pt x="563" y="656"/>
                </a:lnTo>
                <a:lnTo>
                  <a:pt x="565" y="654"/>
                </a:lnTo>
                <a:lnTo>
                  <a:pt x="563" y="651"/>
                </a:lnTo>
                <a:lnTo>
                  <a:pt x="556" y="642"/>
                </a:lnTo>
                <a:lnTo>
                  <a:pt x="565" y="635"/>
                </a:lnTo>
                <a:lnTo>
                  <a:pt x="575" y="630"/>
                </a:lnTo>
                <a:lnTo>
                  <a:pt x="579" y="622"/>
                </a:lnTo>
                <a:lnTo>
                  <a:pt x="582" y="621"/>
                </a:lnTo>
                <a:lnTo>
                  <a:pt x="582" y="617"/>
                </a:lnTo>
                <a:lnTo>
                  <a:pt x="586" y="620"/>
                </a:lnTo>
                <a:lnTo>
                  <a:pt x="590" y="619"/>
                </a:lnTo>
                <a:lnTo>
                  <a:pt x="621" y="610"/>
                </a:lnTo>
                <a:lnTo>
                  <a:pt x="650" y="597"/>
                </a:lnTo>
                <a:lnTo>
                  <a:pt x="648" y="595"/>
                </a:lnTo>
                <a:lnTo>
                  <a:pt x="645" y="595"/>
                </a:lnTo>
                <a:lnTo>
                  <a:pt x="648" y="595"/>
                </a:lnTo>
                <a:lnTo>
                  <a:pt x="650" y="597"/>
                </a:lnTo>
                <a:lnTo>
                  <a:pt x="663" y="595"/>
                </a:lnTo>
                <a:lnTo>
                  <a:pt x="675" y="594"/>
                </a:lnTo>
                <a:lnTo>
                  <a:pt x="679" y="593"/>
                </a:lnTo>
                <a:lnTo>
                  <a:pt x="681" y="596"/>
                </a:lnTo>
                <a:lnTo>
                  <a:pt x="681" y="610"/>
                </a:lnTo>
                <a:lnTo>
                  <a:pt x="670" y="620"/>
                </a:lnTo>
                <a:lnTo>
                  <a:pt x="664" y="620"/>
                </a:lnTo>
                <a:lnTo>
                  <a:pt x="658" y="623"/>
                </a:lnTo>
                <a:lnTo>
                  <a:pt x="645" y="625"/>
                </a:lnTo>
                <a:lnTo>
                  <a:pt x="630" y="628"/>
                </a:lnTo>
                <a:lnTo>
                  <a:pt x="626" y="629"/>
                </a:lnTo>
                <a:lnTo>
                  <a:pt x="625" y="632"/>
                </a:lnTo>
                <a:lnTo>
                  <a:pt x="627" y="635"/>
                </a:lnTo>
                <a:lnTo>
                  <a:pt x="632" y="635"/>
                </a:lnTo>
                <a:lnTo>
                  <a:pt x="642" y="632"/>
                </a:lnTo>
                <a:lnTo>
                  <a:pt x="653" y="628"/>
                </a:lnTo>
                <a:lnTo>
                  <a:pt x="648" y="636"/>
                </a:lnTo>
                <a:lnTo>
                  <a:pt x="638" y="640"/>
                </a:lnTo>
                <a:lnTo>
                  <a:pt x="642" y="643"/>
                </a:lnTo>
                <a:lnTo>
                  <a:pt x="643" y="648"/>
                </a:lnTo>
                <a:lnTo>
                  <a:pt x="636" y="652"/>
                </a:lnTo>
                <a:lnTo>
                  <a:pt x="627" y="654"/>
                </a:lnTo>
                <a:lnTo>
                  <a:pt x="623" y="656"/>
                </a:lnTo>
                <a:lnTo>
                  <a:pt x="621" y="659"/>
                </a:lnTo>
                <a:lnTo>
                  <a:pt x="624" y="663"/>
                </a:lnTo>
                <a:lnTo>
                  <a:pt x="630" y="666"/>
                </a:lnTo>
                <a:lnTo>
                  <a:pt x="640" y="665"/>
                </a:lnTo>
                <a:lnTo>
                  <a:pt x="651" y="663"/>
                </a:lnTo>
                <a:lnTo>
                  <a:pt x="655" y="668"/>
                </a:lnTo>
                <a:lnTo>
                  <a:pt x="658" y="661"/>
                </a:lnTo>
                <a:lnTo>
                  <a:pt x="666" y="659"/>
                </a:lnTo>
                <a:lnTo>
                  <a:pt x="673" y="657"/>
                </a:lnTo>
                <a:lnTo>
                  <a:pt x="673" y="660"/>
                </a:lnTo>
                <a:lnTo>
                  <a:pt x="676" y="661"/>
                </a:lnTo>
                <a:lnTo>
                  <a:pt x="678" y="659"/>
                </a:lnTo>
                <a:lnTo>
                  <a:pt x="678" y="655"/>
                </a:lnTo>
                <a:lnTo>
                  <a:pt x="681" y="654"/>
                </a:lnTo>
                <a:lnTo>
                  <a:pt x="683" y="653"/>
                </a:lnTo>
                <a:lnTo>
                  <a:pt x="690" y="658"/>
                </a:lnTo>
                <a:lnTo>
                  <a:pt x="696" y="661"/>
                </a:lnTo>
                <a:lnTo>
                  <a:pt x="699" y="657"/>
                </a:lnTo>
                <a:lnTo>
                  <a:pt x="701" y="653"/>
                </a:lnTo>
                <a:lnTo>
                  <a:pt x="703" y="657"/>
                </a:lnTo>
                <a:lnTo>
                  <a:pt x="707" y="661"/>
                </a:lnTo>
                <a:lnTo>
                  <a:pt x="711" y="651"/>
                </a:lnTo>
                <a:lnTo>
                  <a:pt x="723" y="652"/>
                </a:lnTo>
                <a:lnTo>
                  <a:pt x="734" y="651"/>
                </a:lnTo>
                <a:lnTo>
                  <a:pt x="740" y="639"/>
                </a:lnTo>
                <a:lnTo>
                  <a:pt x="774" y="626"/>
                </a:lnTo>
                <a:lnTo>
                  <a:pt x="810" y="623"/>
                </a:lnTo>
                <a:lnTo>
                  <a:pt x="812" y="621"/>
                </a:lnTo>
                <a:lnTo>
                  <a:pt x="813" y="622"/>
                </a:lnTo>
                <a:lnTo>
                  <a:pt x="814" y="621"/>
                </a:lnTo>
                <a:lnTo>
                  <a:pt x="814" y="620"/>
                </a:lnTo>
                <a:lnTo>
                  <a:pt x="814" y="621"/>
                </a:lnTo>
                <a:lnTo>
                  <a:pt x="813" y="622"/>
                </a:lnTo>
                <a:lnTo>
                  <a:pt x="812" y="622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3"/>
                </a:lnTo>
                <a:lnTo>
                  <a:pt x="810" y="625"/>
                </a:lnTo>
                <a:lnTo>
                  <a:pt x="810" y="628"/>
                </a:lnTo>
                <a:lnTo>
                  <a:pt x="807" y="633"/>
                </a:lnTo>
                <a:lnTo>
                  <a:pt x="812" y="641"/>
                </a:lnTo>
                <a:lnTo>
                  <a:pt x="814" y="643"/>
                </a:lnTo>
                <a:lnTo>
                  <a:pt x="820" y="641"/>
                </a:lnTo>
                <a:lnTo>
                  <a:pt x="839" y="637"/>
                </a:lnTo>
                <a:lnTo>
                  <a:pt x="851" y="653"/>
                </a:lnTo>
                <a:lnTo>
                  <a:pt x="851" y="654"/>
                </a:lnTo>
                <a:lnTo>
                  <a:pt x="851" y="656"/>
                </a:lnTo>
                <a:lnTo>
                  <a:pt x="847" y="667"/>
                </a:lnTo>
                <a:lnTo>
                  <a:pt x="843" y="677"/>
                </a:lnTo>
                <a:lnTo>
                  <a:pt x="854" y="676"/>
                </a:lnTo>
                <a:lnTo>
                  <a:pt x="851" y="663"/>
                </a:lnTo>
                <a:lnTo>
                  <a:pt x="870" y="670"/>
                </a:lnTo>
                <a:lnTo>
                  <a:pt x="889" y="676"/>
                </a:lnTo>
                <a:lnTo>
                  <a:pt x="883" y="687"/>
                </a:lnTo>
                <a:lnTo>
                  <a:pt x="878" y="698"/>
                </a:lnTo>
                <a:lnTo>
                  <a:pt x="876" y="704"/>
                </a:lnTo>
                <a:lnTo>
                  <a:pt x="880" y="708"/>
                </a:lnTo>
                <a:lnTo>
                  <a:pt x="889" y="718"/>
                </a:lnTo>
                <a:lnTo>
                  <a:pt x="893" y="731"/>
                </a:lnTo>
                <a:lnTo>
                  <a:pt x="889" y="718"/>
                </a:lnTo>
                <a:lnTo>
                  <a:pt x="880" y="708"/>
                </a:lnTo>
                <a:lnTo>
                  <a:pt x="876" y="713"/>
                </a:lnTo>
                <a:lnTo>
                  <a:pt x="868" y="715"/>
                </a:lnTo>
                <a:lnTo>
                  <a:pt x="880" y="726"/>
                </a:lnTo>
                <a:lnTo>
                  <a:pt x="888" y="737"/>
                </a:lnTo>
                <a:lnTo>
                  <a:pt x="888" y="738"/>
                </a:lnTo>
                <a:lnTo>
                  <a:pt x="887" y="739"/>
                </a:lnTo>
                <a:lnTo>
                  <a:pt x="879" y="740"/>
                </a:lnTo>
                <a:lnTo>
                  <a:pt x="873" y="736"/>
                </a:lnTo>
                <a:lnTo>
                  <a:pt x="870" y="734"/>
                </a:lnTo>
                <a:lnTo>
                  <a:pt x="867" y="734"/>
                </a:lnTo>
                <a:lnTo>
                  <a:pt x="857" y="739"/>
                </a:lnTo>
                <a:lnTo>
                  <a:pt x="846" y="740"/>
                </a:lnTo>
                <a:lnTo>
                  <a:pt x="839" y="743"/>
                </a:lnTo>
                <a:lnTo>
                  <a:pt x="840" y="748"/>
                </a:lnTo>
                <a:lnTo>
                  <a:pt x="840" y="757"/>
                </a:lnTo>
                <a:lnTo>
                  <a:pt x="849" y="760"/>
                </a:lnTo>
                <a:lnTo>
                  <a:pt x="852" y="761"/>
                </a:lnTo>
                <a:lnTo>
                  <a:pt x="854" y="764"/>
                </a:lnTo>
                <a:lnTo>
                  <a:pt x="858" y="766"/>
                </a:lnTo>
                <a:lnTo>
                  <a:pt x="861" y="764"/>
                </a:lnTo>
                <a:lnTo>
                  <a:pt x="868" y="755"/>
                </a:lnTo>
                <a:lnTo>
                  <a:pt x="873" y="746"/>
                </a:lnTo>
                <a:lnTo>
                  <a:pt x="874" y="748"/>
                </a:lnTo>
                <a:lnTo>
                  <a:pt x="875" y="749"/>
                </a:lnTo>
                <a:lnTo>
                  <a:pt x="874" y="760"/>
                </a:lnTo>
                <a:lnTo>
                  <a:pt x="889" y="762"/>
                </a:lnTo>
                <a:lnTo>
                  <a:pt x="895" y="766"/>
                </a:lnTo>
                <a:lnTo>
                  <a:pt x="900" y="770"/>
                </a:lnTo>
                <a:lnTo>
                  <a:pt x="900" y="770"/>
                </a:lnTo>
                <a:lnTo>
                  <a:pt x="903" y="773"/>
                </a:lnTo>
                <a:lnTo>
                  <a:pt x="905" y="774"/>
                </a:lnTo>
                <a:lnTo>
                  <a:pt x="918" y="779"/>
                </a:lnTo>
                <a:lnTo>
                  <a:pt x="931" y="778"/>
                </a:lnTo>
                <a:lnTo>
                  <a:pt x="921" y="761"/>
                </a:lnTo>
                <a:lnTo>
                  <a:pt x="923" y="743"/>
                </a:lnTo>
                <a:lnTo>
                  <a:pt x="967" y="686"/>
                </a:lnTo>
                <a:lnTo>
                  <a:pt x="1033" y="663"/>
                </a:lnTo>
                <a:lnTo>
                  <a:pt x="1000" y="629"/>
                </a:lnTo>
                <a:lnTo>
                  <a:pt x="948" y="628"/>
                </a:lnTo>
                <a:lnTo>
                  <a:pt x="953" y="621"/>
                </a:lnTo>
                <a:lnTo>
                  <a:pt x="961" y="621"/>
                </a:lnTo>
                <a:lnTo>
                  <a:pt x="978" y="620"/>
                </a:lnTo>
                <a:lnTo>
                  <a:pt x="992" y="620"/>
                </a:lnTo>
                <a:lnTo>
                  <a:pt x="992" y="619"/>
                </a:lnTo>
                <a:lnTo>
                  <a:pt x="992" y="617"/>
                </a:lnTo>
                <a:lnTo>
                  <a:pt x="987" y="616"/>
                </a:lnTo>
                <a:lnTo>
                  <a:pt x="981" y="614"/>
                </a:lnTo>
                <a:lnTo>
                  <a:pt x="1010" y="619"/>
                </a:lnTo>
                <a:lnTo>
                  <a:pt x="1034" y="635"/>
                </a:lnTo>
                <a:lnTo>
                  <a:pt x="1046" y="654"/>
                </a:lnTo>
                <a:lnTo>
                  <a:pt x="1052" y="675"/>
                </a:lnTo>
                <a:lnTo>
                  <a:pt x="1054" y="678"/>
                </a:lnTo>
                <a:lnTo>
                  <a:pt x="1056" y="680"/>
                </a:lnTo>
                <a:lnTo>
                  <a:pt x="1058" y="677"/>
                </a:lnTo>
                <a:lnTo>
                  <a:pt x="1058" y="674"/>
                </a:lnTo>
                <a:lnTo>
                  <a:pt x="1040" y="633"/>
                </a:lnTo>
                <a:lnTo>
                  <a:pt x="1003" y="607"/>
                </a:lnTo>
                <a:lnTo>
                  <a:pt x="990" y="604"/>
                </a:lnTo>
                <a:lnTo>
                  <a:pt x="976" y="601"/>
                </a:lnTo>
                <a:lnTo>
                  <a:pt x="991" y="598"/>
                </a:lnTo>
                <a:lnTo>
                  <a:pt x="1005" y="598"/>
                </a:lnTo>
                <a:lnTo>
                  <a:pt x="1031" y="591"/>
                </a:lnTo>
                <a:lnTo>
                  <a:pt x="1057" y="590"/>
                </a:lnTo>
                <a:lnTo>
                  <a:pt x="1060" y="589"/>
                </a:lnTo>
                <a:lnTo>
                  <a:pt x="1062" y="584"/>
                </a:lnTo>
                <a:lnTo>
                  <a:pt x="1069" y="594"/>
                </a:lnTo>
                <a:lnTo>
                  <a:pt x="1073" y="606"/>
                </a:lnTo>
                <a:lnTo>
                  <a:pt x="1070" y="646"/>
                </a:lnTo>
                <a:lnTo>
                  <a:pt x="1067" y="688"/>
                </a:lnTo>
                <a:lnTo>
                  <a:pt x="1074" y="659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30"/>
                </a:lnTo>
                <a:lnTo>
                  <a:pt x="1077" y="626"/>
                </a:lnTo>
                <a:lnTo>
                  <a:pt x="1078" y="623"/>
                </a:lnTo>
                <a:lnTo>
                  <a:pt x="1081" y="612"/>
                </a:lnTo>
                <a:lnTo>
                  <a:pt x="1075" y="602"/>
                </a:lnTo>
                <a:lnTo>
                  <a:pt x="1076" y="590"/>
                </a:lnTo>
                <a:lnTo>
                  <a:pt x="1082" y="578"/>
                </a:lnTo>
                <a:lnTo>
                  <a:pt x="1082" y="575"/>
                </a:lnTo>
                <a:lnTo>
                  <a:pt x="1078" y="573"/>
                </a:lnTo>
                <a:lnTo>
                  <a:pt x="1076" y="575"/>
                </a:lnTo>
                <a:lnTo>
                  <a:pt x="1073" y="574"/>
                </a:lnTo>
                <a:lnTo>
                  <a:pt x="1075" y="573"/>
                </a:lnTo>
                <a:lnTo>
                  <a:pt x="1076" y="570"/>
                </a:lnTo>
                <a:lnTo>
                  <a:pt x="1079" y="569"/>
                </a:lnTo>
                <a:lnTo>
                  <a:pt x="1082" y="568"/>
                </a:lnTo>
                <a:lnTo>
                  <a:pt x="1088" y="567"/>
                </a:lnTo>
                <a:lnTo>
                  <a:pt x="1089" y="563"/>
                </a:lnTo>
                <a:lnTo>
                  <a:pt x="1086" y="560"/>
                </a:lnTo>
                <a:lnTo>
                  <a:pt x="1081" y="562"/>
                </a:lnTo>
                <a:lnTo>
                  <a:pt x="1076" y="562"/>
                </a:lnTo>
                <a:lnTo>
                  <a:pt x="1072" y="561"/>
                </a:lnTo>
                <a:lnTo>
                  <a:pt x="1060" y="554"/>
                </a:lnTo>
                <a:lnTo>
                  <a:pt x="1046" y="551"/>
                </a:lnTo>
                <a:lnTo>
                  <a:pt x="966" y="567"/>
                </a:lnTo>
                <a:lnTo>
                  <a:pt x="884" y="582"/>
                </a:lnTo>
                <a:lnTo>
                  <a:pt x="873" y="585"/>
                </a:lnTo>
                <a:lnTo>
                  <a:pt x="861" y="587"/>
                </a:lnTo>
                <a:lnTo>
                  <a:pt x="873" y="585"/>
                </a:lnTo>
                <a:lnTo>
                  <a:pt x="884" y="582"/>
                </a:lnTo>
                <a:lnTo>
                  <a:pt x="878" y="577"/>
                </a:lnTo>
                <a:lnTo>
                  <a:pt x="874" y="569"/>
                </a:lnTo>
                <a:lnTo>
                  <a:pt x="896" y="563"/>
                </a:lnTo>
                <a:lnTo>
                  <a:pt x="919" y="556"/>
                </a:lnTo>
                <a:lnTo>
                  <a:pt x="922" y="558"/>
                </a:lnTo>
                <a:lnTo>
                  <a:pt x="925" y="558"/>
                </a:lnTo>
                <a:lnTo>
                  <a:pt x="998" y="543"/>
                </a:lnTo>
                <a:lnTo>
                  <a:pt x="1072" y="529"/>
                </a:lnTo>
                <a:lnTo>
                  <a:pt x="1080" y="526"/>
                </a:lnTo>
                <a:lnTo>
                  <a:pt x="1089" y="522"/>
                </a:lnTo>
                <a:lnTo>
                  <a:pt x="1060" y="523"/>
                </a:lnTo>
                <a:lnTo>
                  <a:pt x="1031" y="526"/>
                </a:lnTo>
                <a:lnTo>
                  <a:pt x="1028" y="528"/>
                </a:lnTo>
                <a:lnTo>
                  <a:pt x="1025" y="526"/>
                </a:lnTo>
                <a:lnTo>
                  <a:pt x="1026" y="523"/>
                </a:lnTo>
                <a:lnTo>
                  <a:pt x="1028" y="520"/>
                </a:lnTo>
                <a:lnTo>
                  <a:pt x="1034" y="515"/>
                </a:lnTo>
                <a:lnTo>
                  <a:pt x="1040" y="509"/>
                </a:lnTo>
                <a:lnTo>
                  <a:pt x="1042" y="508"/>
                </a:lnTo>
                <a:lnTo>
                  <a:pt x="1045" y="508"/>
                </a:lnTo>
                <a:lnTo>
                  <a:pt x="1047" y="514"/>
                </a:lnTo>
                <a:lnTo>
                  <a:pt x="1051" y="510"/>
                </a:lnTo>
                <a:lnTo>
                  <a:pt x="1055" y="507"/>
                </a:lnTo>
                <a:lnTo>
                  <a:pt x="1057" y="503"/>
                </a:lnTo>
                <a:lnTo>
                  <a:pt x="1088" y="498"/>
                </a:lnTo>
                <a:lnTo>
                  <a:pt x="1118" y="492"/>
                </a:lnTo>
                <a:lnTo>
                  <a:pt x="1130" y="492"/>
                </a:lnTo>
                <a:lnTo>
                  <a:pt x="1139" y="500"/>
                </a:lnTo>
                <a:lnTo>
                  <a:pt x="1158" y="523"/>
                </a:lnTo>
                <a:lnTo>
                  <a:pt x="1180" y="546"/>
                </a:lnTo>
                <a:lnTo>
                  <a:pt x="1180" y="560"/>
                </a:lnTo>
                <a:lnTo>
                  <a:pt x="1177" y="573"/>
                </a:lnTo>
                <a:lnTo>
                  <a:pt x="1167" y="563"/>
                </a:lnTo>
                <a:lnTo>
                  <a:pt x="1160" y="552"/>
                </a:lnTo>
                <a:lnTo>
                  <a:pt x="1145" y="539"/>
                </a:lnTo>
                <a:lnTo>
                  <a:pt x="1124" y="538"/>
                </a:lnTo>
                <a:lnTo>
                  <a:pt x="1116" y="543"/>
                </a:lnTo>
                <a:lnTo>
                  <a:pt x="1115" y="551"/>
                </a:lnTo>
                <a:lnTo>
                  <a:pt x="1109" y="552"/>
                </a:lnTo>
                <a:lnTo>
                  <a:pt x="1106" y="556"/>
                </a:lnTo>
                <a:lnTo>
                  <a:pt x="1101" y="558"/>
                </a:lnTo>
                <a:lnTo>
                  <a:pt x="1098" y="563"/>
                </a:lnTo>
                <a:lnTo>
                  <a:pt x="1101" y="567"/>
                </a:lnTo>
                <a:lnTo>
                  <a:pt x="1105" y="568"/>
                </a:lnTo>
                <a:lnTo>
                  <a:pt x="1110" y="569"/>
                </a:lnTo>
                <a:lnTo>
                  <a:pt x="1116" y="571"/>
                </a:lnTo>
                <a:lnTo>
                  <a:pt x="1121" y="573"/>
                </a:lnTo>
                <a:lnTo>
                  <a:pt x="1123" y="566"/>
                </a:lnTo>
                <a:lnTo>
                  <a:pt x="1135" y="561"/>
                </a:lnTo>
                <a:lnTo>
                  <a:pt x="1146" y="554"/>
                </a:lnTo>
                <a:lnTo>
                  <a:pt x="1154" y="568"/>
                </a:lnTo>
                <a:lnTo>
                  <a:pt x="1154" y="585"/>
                </a:lnTo>
                <a:lnTo>
                  <a:pt x="1154" y="592"/>
                </a:lnTo>
                <a:lnTo>
                  <a:pt x="1156" y="597"/>
                </a:lnTo>
                <a:lnTo>
                  <a:pt x="1153" y="601"/>
                </a:lnTo>
                <a:lnTo>
                  <a:pt x="1149" y="598"/>
                </a:lnTo>
                <a:lnTo>
                  <a:pt x="1145" y="595"/>
                </a:lnTo>
                <a:lnTo>
                  <a:pt x="1141" y="592"/>
                </a:lnTo>
                <a:lnTo>
                  <a:pt x="1141" y="591"/>
                </a:lnTo>
                <a:lnTo>
                  <a:pt x="1140" y="590"/>
                </a:lnTo>
                <a:close/>
                <a:moveTo>
                  <a:pt x="166" y="604"/>
                </a:move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5" y="604"/>
                </a:lnTo>
                <a:lnTo>
                  <a:pt x="166" y="604"/>
                </a:lnTo>
                <a:close/>
                <a:moveTo>
                  <a:pt x="193" y="650"/>
                </a:moveTo>
                <a:lnTo>
                  <a:pt x="194" y="651"/>
                </a:lnTo>
                <a:lnTo>
                  <a:pt x="196" y="648"/>
                </a:lnTo>
                <a:lnTo>
                  <a:pt x="199" y="647"/>
                </a:lnTo>
                <a:lnTo>
                  <a:pt x="199" y="644"/>
                </a:lnTo>
                <a:lnTo>
                  <a:pt x="198" y="644"/>
                </a:lnTo>
                <a:lnTo>
                  <a:pt x="198" y="643"/>
                </a:lnTo>
                <a:lnTo>
                  <a:pt x="196" y="645"/>
                </a:lnTo>
                <a:lnTo>
                  <a:pt x="195" y="647"/>
                </a:lnTo>
                <a:lnTo>
                  <a:pt x="195" y="647"/>
                </a:lnTo>
                <a:lnTo>
                  <a:pt x="193" y="647"/>
                </a:lnTo>
                <a:lnTo>
                  <a:pt x="193" y="650"/>
                </a:lnTo>
                <a:close/>
                <a:moveTo>
                  <a:pt x="2159" y="915"/>
                </a:moveTo>
                <a:lnTo>
                  <a:pt x="2159" y="914"/>
                </a:lnTo>
                <a:lnTo>
                  <a:pt x="2161" y="913"/>
                </a:lnTo>
                <a:lnTo>
                  <a:pt x="2158" y="913"/>
                </a:lnTo>
                <a:lnTo>
                  <a:pt x="2155" y="913"/>
                </a:lnTo>
                <a:lnTo>
                  <a:pt x="2157" y="914"/>
                </a:lnTo>
                <a:lnTo>
                  <a:pt x="2159" y="915"/>
                </a:lnTo>
                <a:close/>
                <a:moveTo>
                  <a:pt x="813" y="467"/>
                </a:moveTo>
                <a:lnTo>
                  <a:pt x="813" y="467"/>
                </a:lnTo>
                <a:lnTo>
                  <a:pt x="814" y="467"/>
                </a:lnTo>
                <a:lnTo>
                  <a:pt x="813" y="467"/>
                </a:lnTo>
                <a:lnTo>
                  <a:pt x="813" y="466"/>
                </a:lnTo>
                <a:lnTo>
                  <a:pt x="812" y="467"/>
                </a:lnTo>
                <a:lnTo>
                  <a:pt x="812" y="467"/>
                </a:lnTo>
                <a:lnTo>
                  <a:pt x="812" y="467"/>
                </a:lnTo>
                <a:lnTo>
                  <a:pt x="813" y="467"/>
                </a:lnTo>
                <a:close/>
                <a:moveTo>
                  <a:pt x="995" y="911"/>
                </a:moveTo>
                <a:lnTo>
                  <a:pt x="995" y="912"/>
                </a:lnTo>
                <a:lnTo>
                  <a:pt x="995" y="912"/>
                </a:lnTo>
                <a:lnTo>
                  <a:pt x="995" y="912"/>
                </a:lnTo>
                <a:lnTo>
                  <a:pt x="996" y="911"/>
                </a:lnTo>
                <a:lnTo>
                  <a:pt x="995" y="910"/>
                </a:lnTo>
                <a:lnTo>
                  <a:pt x="995" y="911"/>
                </a:lnTo>
                <a:close/>
                <a:moveTo>
                  <a:pt x="181" y="742"/>
                </a:moveTo>
                <a:lnTo>
                  <a:pt x="181" y="745"/>
                </a:lnTo>
                <a:lnTo>
                  <a:pt x="183" y="747"/>
                </a:lnTo>
                <a:lnTo>
                  <a:pt x="182" y="744"/>
                </a:lnTo>
                <a:lnTo>
                  <a:pt x="182" y="742"/>
                </a:lnTo>
                <a:lnTo>
                  <a:pt x="181" y="742"/>
                </a:lnTo>
                <a:lnTo>
                  <a:pt x="181" y="742"/>
                </a:lnTo>
                <a:close/>
                <a:moveTo>
                  <a:pt x="181" y="731"/>
                </a:moveTo>
                <a:lnTo>
                  <a:pt x="181" y="733"/>
                </a:lnTo>
                <a:lnTo>
                  <a:pt x="183" y="733"/>
                </a:lnTo>
                <a:lnTo>
                  <a:pt x="183" y="733"/>
                </a:lnTo>
                <a:lnTo>
                  <a:pt x="184" y="732"/>
                </a:lnTo>
                <a:lnTo>
                  <a:pt x="184" y="731"/>
                </a:lnTo>
                <a:lnTo>
                  <a:pt x="183" y="730"/>
                </a:lnTo>
                <a:lnTo>
                  <a:pt x="182" y="731"/>
                </a:lnTo>
                <a:lnTo>
                  <a:pt x="181" y="731"/>
                </a:lnTo>
                <a:close/>
                <a:moveTo>
                  <a:pt x="2936" y="1621"/>
                </a:moveTo>
                <a:lnTo>
                  <a:pt x="2935" y="1620"/>
                </a:lnTo>
                <a:lnTo>
                  <a:pt x="2934" y="1620"/>
                </a:lnTo>
                <a:lnTo>
                  <a:pt x="2932" y="1620"/>
                </a:lnTo>
                <a:lnTo>
                  <a:pt x="2932" y="1621"/>
                </a:lnTo>
                <a:lnTo>
                  <a:pt x="2932" y="1622"/>
                </a:lnTo>
                <a:lnTo>
                  <a:pt x="2934" y="1623"/>
                </a:lnTo>
                <a:lnTo>
                  <a:pt x="2935" y="1622"/>
                </a:lnTo>
                <a:lnTo>
                  <a:pt x="2936" y="1621"/>
                </a:lnTo>
                <a:close/>
                <a:moveTo>
                  <a:pt x="1416" y="1522"/>
                </a:moveTo>
                <a:lnTo>
                  <a:pt x="1419" y="1522"/>
                </a:lnTo>
                <a:lnTo>
                  <a:pt x="1420" y="1522"/>
                </a:lnTo>
                <a:lnTo>
                  <a:pt x="1420" y="1521"/>
                </a:lnTo>
                <a:lnTo>
                  <a:pt x="1421" y="1521"/>
                </a:lnTo>
                <a:lnTo>
                  <a:pt x="1419" y="1521"/>
                </a:lnTo>
                <a:lnTo>
                  <a:pt x="1418" y="1519"/>
                </a:lnTo>
                <a:lnTo>
                  <a:pt x="1416" y="1521"/>
                </a:lnTo>
                <a:lnTo>
                  <a:pt x="1416" y="1522"/>
                </a:lnTo>
                <a:close/>
                <a:moveTo>
                  <a:pt x="1500" y="1125"/>
                </a:moveTo>
                <a:lnTo>
                  <a:pt x="1498" y="1124"/>
                </a:lnTo>
                <a:lnTo>
                  <a:pt x="1498" y="1124"/>
                </a:lnTo>
                <a:lnTo>
                  <a:pt x="1496" y="1124"/>
                </a:lnTo>
                <a:lnTo>
                  <a:pt x="1495" y="1125"/>
                </a:lnTo>
                <a:lnTo>
                  <a:pt x="1496" y="1125"/>
                </a:lnTo>
                <a:lnTo>
                  <a:pt x="1497" y="1126"/>
                </a:lnTo>
                <a:lnTo>
                  <a:pt x="1498" y="1125"/>
                </a:lnTo>
                <a:lnTo>
                  <a:pt x="1500" y="1125"/>
                </a:lnTo>
                <a:close/>
                <a:moveTo>
                  <a:pt x="444" y="409"/>
                </a:moveTo>
                <a:lnTo>
                  <a:pt x="444" y="409"/>
                </a:lnTo>
                <a:lnTo>
                  <a:pt x="444" y="410"/>
                </a:lnTo>
                <a:lnTo>
                  <a:pt x="445" y="410"/>
                </a:lnTo>
                <a:lnTo>
                  <a:pt x="445" y="409"/>
                </a:lnTo>
                <a:lnTo>
                  <a:pt x="445" y="409"/>
                </a:lnTo>
                <a:lnTo>
                  <a:pt x="445" y="408"/>
                </a:lnTo>
                <a:lnTo>
                  <a:pt x="444" y="409"/>
                </a:lnTo>
                <a:lnTo>
                  <a:pt x="444" y="409"/>
                </a:lnTo>
                <a:close/>
                <a:moveTo>
                  <a:pt x="677" y="1161"/>
                </a:moveTo>
                <a:lnTo>
                  <a:pt x="677" y="1161"/>
                </a:lnTo>
                <a:lnTo>
                  <a:pt x="676" y="1160"/>
                </a:lnTo>
                <a:lnTo>
                  <a:pt x="675" y="1161"/>
                </a:lnTo>
                <a:lnTo>
                  <a:pt x="675" y="1162"/>
                </a:lnTo>
                <a:lnTo>
                  <a:pt x="676" y="1162"/>
                </a:lnTo>
                <a:lnTo>
                  <a:pt x="676" y="1162"/>
                </a:lnTo>
                <a:lnTo>
                  <a:pt x="677" y="1162"/>
                </a:lnTo>
                <a:lnTo>
                  <a:pt x="677" y="1161"/>
                </a:lnTo>
                <a:close/>
                <a:moveTo>
                  <a:pt x="334" y="536"/>
                </a:moveTo>
                <a:lnTo>
                  <a:pt x="335" y="532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8"/>
                </a:lnTo>
                <a:lnTo>
                  <a:pt x="340" y="512"/>
                </a:lnTo>
                <a:lnTo>
                  <a:pt x="340" y="494"/>
                </a:lnTo>
                <a:lnTo>
                  <a:pt x="332" y="503"/>
                </a:lnTo>
                <a:lnTo>
                  <a:pt x="323" y="513"/>
                </a:lnTo>
                <a:lnTo>
                  <a:pt x="334" y="510"/>
                </a:lnTo>
                <a:lnTo>
                  <a:pt x="335" y="521"/>
                </a:lnTo>
                <a:lnTo>
                  <a:pt x="335" y="524"/>
                </a:lnTo>
                <a:lnTo>
                  <a:pt x="335" y="528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lnTo>
                  <a:pt x="333" y="532"/>
                </a:lnTo>
                <a:lnTo>
                  <a:pt x="334" y="536"/>
                </a:lnTo>
                <a:close/>
                <a:moveTo>
                  <a:pt x="335" y="529"/>
                </a:moveTo>
                <a:lnTo>
                  <a:pt x="335" y="529"/>
                </a:lnTo>
                <a:lnTo>
                  <a:pt x="335" y="529"/>
                </a:lnTo>
                <a:lnTo>
                  <a:pt x="335" y="529"/>
                </a:lnTo>
                <a:close/>
                <a:moveTo>
                  <a:pt x="854" y="1188"/>
                </a:moveTo>
                <a:lnTo>
                  <a:pt x="852" y="1187"/>
                </a:lnTo>
                <a:lnTo>
                  <a:pt x="851" y="1186"/>
                </a:lnTo>
                <a:lnTo>
                  <a:pt x="851" y="1187"/>
                </a:lnTo>
                <a:lnTo>
                  <a:pt x="850" y="1187"/>
                </a:lnTo>
                <a:lnTo>
                  <a:pt x="851" y="1189"/>
                </a:lnTo>
                <a:lnTo>
                  <a:pt x="852" y="1190"/>
                </a:lnTo>
                <a:lnTo>
                  <a:pt x="853" y="1189"/>
                </a:lnTo>
                <a:lnTo>
                  <a:pt x="854" y="1188"/>
                </a:lnTo>
                <a:close/>
                <a:moveTo>
                  <a:pt x="645" y="276"/>
                </a:moveTo>
                <a:lnTo>
                  <a:pt x="643" y="276"/>
                </a:lnTo>
                <a:lnTo>
                  <a:pt x="643" y="276"/>
                </a:lnTo>
                <a:lnTo>
                  <a:pt x="645" y="279"/>
                </a:lnTo>
                <a:lnTo>
                  <a:pt x="648" y="280"/>
                </a:lnTo>
                <a:lnTo>
                  <a:pt x="648" y="280"/>
                </a:lnTo>
                <a:lnTo>
                  <a:pt x="648" y="280"/>
                </a:lnTo>
                <a:lnTo>
                  <a:pt x="649" y="281"/>
                </a:lnTo>
                <a:lnTo>
                  <a:pt x="649" y="280"/>
                </a:lnTo>
                <a:lnTo>
                  <a:pt x="649" y="279"/>
                </a:lnTo>
                <a:lnTo>
                  <a:pt x="647" y="276"/>
                </a:lnTo>
                <a:lnTo>
                  <a:pt x="645" y="276"/>
                </a:lnTo>
                <a:close/>
                <a:moveTo>
                  <a:pt x="1799" y="978"/>
                </a:moveTo>
                <a:lnTo>
                  <a:pt x="1798" y="977"/>
                </a:lnTo>
                <a:lnTo>
                  <a:pt x="1797" y="977"/>
                </a:lnTo>
                <a:lnTo>
                  <a:pt x="1797" y="978"/>
                </a:lnTo>
                <a:lnTo>
                  <a:pt x="1795" y="979"/>
                </a:lnTo>
                <a:lnTo>
                  <a:pt x="1797" y="979"/>
                </a:lnTo>
                <a:lnTo>
                  <a:pt x="1798" y="980"/>
                </a:lnTo>
                <a:lnTo>
                  <a:pt x="1799" y="979"/>
                </a:lnTo>
                <a:lnTo>
                  <a:pt x="1799" y="978"/>
                </a:lnTo>
                <a:close/>
                <a:moveTo>
                  <a:pt x="1441" y="1240"/>
                </a:move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3" y="1239"/>
                </a:lnTo>
                <a:lnTo>
                  <a:pt x="1444" y="1237"/>
                </a:lnTo>
                <a:lnTo>
                  <a:pt x="1444" y="1237"/>
                </a:lnTo>
                <a:lnTo>
                  <a:pt x="1443" y="1237"/>
                </a:lnTo>
                <a:lnTo>
                  <a:pt x="1442" y="1238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36" y="1241"/>
                </a:lnTo>
                <a:lnTo>
                  <a:pt x="1434" y="1246"/>
                </a:lnTo>
                <a:lnTo>
                  <a:pt x="1431" y="1255"/>
                </a:lnTo>
                <a:lnTo>
                  <a:pt x="1425" y="1264"/>
                </a:lnTo>
                <a:lnTo>
                  <a:pt x="1424" y="1273"/>
                </a:lnTo>
                <a:lnTo>
                  <a:pt x="1426" y="1283"/>
                </a:lnTo>
                <a:lnTo>
                  <a:pt x="1429" y="1284"/>
                </a:lnTo>
                <a:lnTo>
                  <a:pt x="1434" y="1285"/>
                </a:lnTo>
                <a:lnTo>
                  <a:pt x="1440" y="1280"/>
                </a:lnTo>
                <a:lnTo>
                  <a:pt x="1443" y="1274"/>
                </a:lnTo>
                <a:lnTo>
                  <a:pt x="1443" y="1257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lnTo>
                  <a:pt x="1441" y="1240"/>
                </a:lnTo>
                <a:close/>
                <a:moveTo>
                  <a:pt x="570" y="752"/>
                </a:move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70" y="752"/>
                </a:lnTo>
                <a:lnTo>
                  <a:pt x="569" y="752"/>
                </a:lnTo>
                <a:lnTo>
                  <a:pt x="569" y="746"/>
                </a:lnTo>
                <a:lnTo>
                  <a:pt x="565" y="740"/>
                </a:lnTo>
                <a:lnTo>
                  <a:pt x="535" y="727"/>
                </a:lnTo>
                <a:lnTo>
                  <a:pt x="504" y="736"/>
                </a:lnTo>
                <a:lnTo>
                  <a:pt x="484" y="758"/>
                </a:lnTo>
                <a:lnTo>
                  <a:pt x="471" y="783"/>
                </a:lnTo>
                <a:lnTo>
                  <a:pt x="467" y="792"/>
                </a:lnTo>
                <a:lnTo>
                  <a:pt x="455" y="790"/>
                </a:lnTo>
                <a:lnTo>
                  <a:pt x="458" y="796"/>
                </a:lnTo>
                <a:lnTo>
                  <a:pt x="460" y="799"/>
                </a:lnTo>
                <a:lnTo>
                  <a:pt x="471" y="810"/>
                </a:lnTo>
                <a:lnTo>
                  <a:pt x="466" y="824"/>
                </a:lnTo>
                <a:lnTo>
                  <a:pt x="465" y="827"/>
                </a:lnTo>
                <a:lnTo>
                  <a:pt x="467" y="831"/>
                </a:lnTo>
                <a:lnTo>
                  <a:pt x="476" y="818"/>
                </a:lnTo>
                <a:lnTo>
                  <a:pt x="485" y="805"/>
                </a:lnTo>
                <a:lnTo>
                  <a:pt x="486" y="800"/>
                </a:lnTo>
                <a:lnTo>
                  <a:pt x="490" y="799"/>
                </a:lnTo>
                <a:lnTo>
                  <a:pt x="494" y="801"/>
                </a:lnTo>
                <a:lnTo>
                  <a:pt x="495" y="806"/>
                </a:lnTo>
                <a:lnTo>
                  <a:pt x="495" y="810"/>
                </a:lnTo>
                <a:lnTo>
                  <a:pt x="498" y="813"/>
                </a:lnTo>
                <a:lnTo>
                  <a:pt x="510" y="815"/>
                </a:lnTo>
                <a:lnTo>
                  <a:pt x="520" y="815"/>
                </a:lnTo>
                <a:lnTo>
                  <a:pt x="521" y="820"/>
                </a:lnTo>
                <a:lnTo>
                  <a:pt x="521" y="823"/>
                </a:lnTo>
                <a:lnTo>
                  <a:pt x="504" y="839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75" y="857"/>
                </a:lnTo>
                <a:lnTo>
                  <a:pt x="456" y="851"/>
                </a:lnTo>
                <a:lnTo>
                  <a:pt x="452" y="850"/>
                </a:lnTo>
                <a:lnTo>
                  <a:pt x="449" y="853"/>
                </a:lnTo>
                <a:lnTo>
                  <a:pt x="445" y="860"/>
                </a:lnTo>
                <a:lnTo>
                  <a:pt x="439" y="857"/>
                </a:lnTo>
                <a:lnTo>
                  <a:pt x="430" y="853"/>
                </a:lnTo>
                <a:lnTo>
                  <a:pt x="421" y="856"/>
                </a:lnTo>
                <a:lnTo>
                  <a:pt x="430" y="861"/>
                </a:lnTo>
                <a:lnTo>
                  <a:pt x="435" y="869"/>
                </a:lnTo>
                <a:lnTo>
                  <a:pt x="437" y="876"/>
                </a:lnTo>
                <a:lnTo>
                  <a:pt x="445" y="876"/>
                </a:lnTo>
                <a:lnTo>
                  <a:pt x="453" y="875"/>
                </a:lnTo>
                <a:lnTo>
                  <a:pt x="451" y="868"/>
                </a:lnTo>
                <a:lnTo>
                  <a:pt x="451" y="867"/>
                </a:lnTo>
                <a:lnTo>
                  <a:pt x="452" y="866"/>
                </a:lnTo>
                <a:lnTo>
                  <a:pt x="464" y="865"/>
                </a:lnTo>
                <a:lnTo>
                  <a:pt x="470" y="873"/>
                </a:lnTo>
                <a:lnTo>
                  <a:pt x="475" y="880"/>
                </a:lnTo>
                <a:lnTo>
                  <a:pt x="483" y="882"/>
                </a:lnTo>
                <a:lnTo>
                  <a:pt x="484" y="882"/>
                </a:lnTo>
                <a:lnTo>
                  <a:pt x="486" y="881"/>
                </a:lnTo>
                <a:lnTo>
                  <a:pt x="483" y="877"/>
                </a:lnTo>
                <a:lnTo>
                  <a:pt x="482" y="874"/>
                </a:lnTo>
                <a:lnTo>
                  <a:pt x="494" y="873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496" y="861"/>
                </a:lnTo>
                <a:lnTo>
                  <a:pt x="504" y="864"/>
                </a:lnTo>
                <a:lnTo>
                  <a:pt x="510" y="855"/>
                </a:lnTo>
                <a:lnTo>
                  <a:pt x="510" y="851"/>
                </a:lnTo>
                <a:lnTo>
                  <a:pt x="514" y="850"/>
                </a:lnTo>
                <a:lnTo>
                  <a:pt x="524" y="850"/>
                </a:lnTo>
                <a:lnTo>
                  <a:pt x="529" y="841"/>
                </a:lnTo>
                <a:lnTo>
                  <a:pt x="531" y="836"/>
                </a:lnTo>
                <a:lnTo>
                  <a:pt x="533" y="833"/>
                </a:lnTo>
                <a:lnTo>
                  <a:pt x="545" y="825"/>
                </a:lnTo>
                <a:lnTo>
                  <a:pt x="551" y="813"/>
                </a:lnTo>
                <a:lnTo>
                  <a:pt x="559" y="801"/>
                </a:lnTo>
                <a:lnTo>
                  <a:pt x="567" y="790"/>
                </a:lnTo>
                <a:lnTo>
                  <a:pt x="571" y="784"/>
                </a:lnTo>
                <a:lnTo>
                  <a:pt x="572" y="778"/>
                </a:lnTo>
                <a:lnTo>
                  <a:pt x="574" y="773"/>
                </a:lnTo>
                <a:lnTo>
                  <a:pt x="567" y="764"/>
                </a:lnTo>
                <a:lnTo>
                  <a:pt x="565" y="760"/>
                </a:lnTo>
                <a:lnTo>
                  <a:pt x="563" y="754"/>
                </a:lnTo>
                <a:lnTo>
                  <a:pt x="560" y="753"/>
                </a:lnTo>
                <a:lnTo>
                  <a:pt x="558" y="752"/>
                </a:lnTo>
                <a:lnTo>
                  <a:pt x="560" y="753"/>
                </a:lnTo>
                <a:lnTo>
                  <a:pt x="563" y="754"/>
                </a:lnTo>
                <a:lnTo>
                  <a:pt x="566" y="753"/>
                </a:lnTo>
                <a:lnTo>
                  <a:pt x="569" y="752"/>
                </a:lnTo>
                <a:lnTo>
                  <a:pt x="569" y="752"/>
                </a:lnTo>
                <a:lnTo>
                  <a:pt x="569" y="752"/>
                </a:lnTo>
                <a:lnTo>
                  <a:pt x="570" y="752"/>
                </a:lnTo>
                <a:lnTo>
                  <a:pt x="570" y="752"/>
                </a:lnTo>
                <a:close/>
                <a:moveTo>
                  <a:pt x="573" y="754"/>
                </a:moveTo>
                <a:lnTo>
                  <a:pt x="571" y="753"/>
                </a:lnTo>
                <a:lnTo>
                  <a:pt x="570" y="752"/>
                </a:lnTo>
                <a:lnTo>
                  <a:pt x="571" y="754"/>
                </a:lnTo>
                <a:lnTo>
                  <a:pt x="572" y="755"/>
                </a:lnTo>
                <a:lnTo>
                  <a:pt x="572" y="755"/>
                </a:lnTo>
                <a:lnTo>
                  <a:pt x="573" y="754"/>
                </a:lnTo>
                <a:close/>
                <a:moveTo>
                  <a:pt x="442" y="766"/>
                </a:moveTo>
                <a:lnTo>
                  <a:pt x="442" y="765"/>
                </a:lnTo>
                <a:lnTo>
                  <a:pt x="443" y="764"/>
                </a:lnTo>
                <a:lnTo>
                  <a:pt x="442" y="763"/>
                </a:lnTo>
                <a:lnTo>
                  <a:pt x="440" y="762"/>
                </a:lnTo>
                <a:lnTo>
                  <a:pt x="440" y="765"/>
                </a:lnTo>
                <a:lnTo>
                  <a:pt x="442" y="766"/>
                </a:lnTo>
                <a:close/>
                <a:moveTo>
                  <a:pt x="1510" y="1427"/>
                </a:moveTo>
                <a:lnTo>
                  <a:pt x="1511" y="1426"/>
                </a:lnTo>
                <a:lnTo>
                  <a:pt x="1512" y="1426"/>
                </a:lnTo>
                <a:lnTo>
                  <a:pt x="1511" y="1425"/>
                </a:lnTo>
                <a:lnTo>
                  <a:pt x="1511" y="1424"/>
                </a:lnTo>
                <a:lnTo>
                  <a:pt x="1510" y="1424"/>
                </a:lnTo>
                <a:lnTo>
                  <a:pt x="1509" y="1424"/>
                </a:lnTo>
                <a:lnTo>
                  <a:pt x="1509" y="1426"/>
                </a:lnTo>
                <a:lnTo>
                  <a:pt x="1510" y="1427"/>
                </a:lnTo>
                <a:close/>
                <a:moveTo>
                  <a:pt x="2982" y="1671"/>
                </a:moveTo>
                <a:lnTo>
                  <a:pt x="2982" y="1671"/>
                </a:lnTo>
                <a:lnTo>
                  <a:pt x="2982" y="1671"/>
                </a:lnTo>
                <a:lnTo>
                  <a:pt x="2982" y="1671"/>
                </a:lnTo>
                <a:lnTo>
                  <a:pt x="2982" y="1672"/>
                </a:lnTo>
                <a:lnTo>
                  <a:pt x="2982" y="1671"/>
                </a:lnTo>
                <a:lnTo>
                  <a:pt x="2982" y="1672"/>
                </a:lnTo>
                <a:lnTo>
                  <a:pt x="2982" y="1672"/>
                </a:lnTo>
                <a:lnTo>
                  <a:pt x="2971" y="1680"/>
                </a:lnTo>
                <a:lnTo>
                  <a:pt x="2974" y="1692"/>
                </a:lnTo>
                <a:lnTo>
                  <a:pt x="2976" y="1697"/>
                </a:lnTo>
                <a:lnTo>
                  <a:pt x="2974" y="1701"/>
                </a:lnTo>
                <a:lnTo>
                  <a:pt x="2971" y="1703"/>
                </a:lnTo>
                <a:lnTo>
                  <a:pt x="2971" y="1708"/>
                </a:lnTo>
                <a:lnTo>
                  <a:pt x="2974" y="1708"/>
                </a:lnTo>
                <a:lnTo>
                  <a:pt x="2977" y="1707"/>
                </a:lnTo>
                <a:lnTo>
                  <a:pt x="2982" y="1706"/>
                </a:lnTo>
                <a:lnTo>
                  <a:pt x="2986" y="1706"/>
                </a:lnTo>
                <a:lnTo>
                  <a:pt x="2993" y="1700"/>
                </a:lnTo>
                <a:lnTo>
                  <a:pt x="2990" y="1695"/>
                </a:lnTo>
                <a:lnTo>
                  <a:pt x="2983" y="1684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2"/>
                </a:lnTo>
                <a:lnTo>
                  <a:pt x="2982" y="1671"/>
                </a:lnTo>
                <a:lnTo>
                  <a:pt x="2984" y="1671"/>
                </a:lnTo>
                <a:lnTo>
                  <a:pt x="2985" y="1669"/>
                </a:lnTo>
                <a:lnTo>
                  <a:pt x="2985" y="1669"/>
                </a:lnTo>
                <a:lnTo>
                  <a:pt x="2985" y="1668"/>
                </a:lnTo>
                <a:lnTo>
                  <a:pt x="2983" y="1669"/>
                </a:lnTo>
                <a:lnTo>
                  <a:pt x="2982" y="1671"/>
                </a:lnTo>
                <a:close/>
                <a:moveTo>
                  <a:pt x="1394" y="1449"/>
                </a:moveTo>
                <a:lnTo>
                  <a:pt x="1395" y="1450"/>
                </a:lnTo>
                <a:lnTo>
                  <a:pt x="1396" y="1450"/>
                </a:lnTo>
                <a:lnTo>
                  <a:pt x="1397" y="1449"/>
                </a:lnTo>
                <a:lnTo>
                  <a:pt x="1397" y="1448"/>
                </a:lnTo>
                <a:lnTo>
                  <a:pt x="1396" y="1448"/>
                </a:lnTo>
                <a:lnTo>
                  <a:pt x="1395" y="1447"/>
                </a:lnTo>
                <a:lnTo>
                  <a:pt x="1394" y="1448"/>
                </a:lnTo>
                <a:lnTo>
                  <a:pt x="1394" y="1449"/>
                </a:lnTo>
                <a:close/>
                <a:moveTo>
                  <a:pt x="600" y="1035"/>
                </a:moveTo>
                <a:lnTo>
                  <a:pt x="604" y="1034"/>
                </a:lnTo>
                <a:lnTo>
                  <a:pt x="608" y="1030"/>
                </a:lnTo>
                <a:lnTo>
                  <a:pt x="604" y="1032"/>
                </a:lnTo>
                <a:lnTo>
                  <a:pt x="600" y="1035"/>
                </a:lnTo>
                <a:close/>
                <a:moveTo>
                  <a:pt x="961" y="265"/>
                </a:moveTo>
                <a:lnTo>
                  <a:pt x="960" y="269"/>
                </a:lnTo>
                <a:lnTo>
                  <a:pt x="963" y="272"/>
                </a:lnTo>
                <a:lnTo>
                  <a:pt x="963" y="269"/>
                </a:lnTo>
                <a:lnTo>
                  <a:pt x="961" y="265"/>
                </a:lnTo>
                <a:close/>
                <a:moveTo>
                  <a:pt x="1698" y="1405"/>
                </a:moveTo>
                <a:lnTo>
                  <a:pt x="1698" y="1408"/>
                </a:lnTo>
                <a:lnTo>
                  <a:pt x="1698" y="1412"/>
                </a:lnTo>
                <a:lnTo>
                  <a:pt x="1700" y="1409"/>
                </a:lnTo>
                <a:lnTo>
                  <a:pt x="1698" y="1405"/>
                </a:lnTo>
                <a:close/>
                <a:moveTo>
                  <a:pt x="442" y="199"/>
                </a:moveTo>
                <a:lnTo>
                  <a:pt x="442" y="200"/>
                </a:lnTo>
                <a:lnTo>
                  <a:pt x="442" y="200"/>
                </a:lnTo>
                <a:lnTo>
                  <a:pt x="445" y="199"/>
                </a:lnTo>
                <a:lnTo>
                  <a:pt x="446" y="196"/>
                </a:lnTo>
                <a:lnTo>
                  <a:pt x="443" y="197"/>
                </a:lnTo>
                <a:lnTo>
                  <a:pt x="442" y="199"/>
                </a:lnTo>
                <a:close/>
                <a:moveTo>
                  <a:pt x="446" y="196"/>
                </a:move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48" y="196"/>
                </a:lnTo>
                <a:lnTo>
                  <a:pt x="453" y="198"/>
                </a:lnTo>
                <a:lnTo>
                  <a:pt x="452" y="204"/>
                </a:lnTo>
                <a:lnTo>
                  <a:pt x="446" y="210"/>
                </a:lnTo>
                <a:lnTo>
                  <a:pt x="442" y="214"/>
                </a:lnTo>
                <a:lnTo>
                  <a:pt x="437" y="217"/>
                </a:lnTo>
                <a:lnTo>
                  <a:pt x="430" y="217"/>
                </a:lnTo>
                <a:lnTo>
                  <a:pt x="428" y="216"/>
                </a:lnTo>
                <a:lnTo>
                  <a:pt x="428" y="213"/>
                </a:lnTo>
                <a:lnTo>
                  <a:pt x="431" y="209"/>
                </a:lnTo>
                <a:lnTo>
                  <a:pt x="438" y="208"/>
                </a:lnTo>
                <a:lnTo>
                  <a:pt x="438" y="207"/>
                </a:lnTo>
                <a:lnTo>
                  <a:pt x="438" y="204"/>
                </a:lnTo>
                <a:lnTo>
                  <a:pt x="429" y="204"/>
                </a:lnTo>
                <a:lnTo>
                  <a:pt x="422" y="210"/>
                </a:lnTo>
                <a:lnTo>
                  <a:pt x="398" y="224"/>
                </a:lnTo>
                <a:lnTo>
                  <a:pt x="377" y="240"/>
                </a:lnTo>
                <a:lnTo>
                  <a:pt x="376" y="240"/>
                </a:lnTo>
                <a:lnTo>
                  <a:pt x="376" y="242"/>
                </a:lnTo>
                <a:lnTo>
                  <a:pt x="357" y="252"/>
                </a:lnTo>
                <a:lnTo>
                  <a:pt x="340" y="264"/>
                </a:lnTo>
                <a:lnTo>
                  <a:pt x="342" y="265"/>
                </a:lnTo>
                <a:lnTo>
                  <a:pt x="343" y="266"/>
                </a:lnTo>
                <a:lnTo>
                  <a:pt x="342" y="265"/>
                </a:lnTo>
                <a:lnTo>
                  <a:pt x="340" y="264"/>
                </a:lnTo>
                <a:lnTo>
                  <a:pt x="323" y="277"/>
                </a:lnTo>
                <a:lnTo>
                  <a:pt x="306" y="290"/>
                </a:lnTo>
                <a:lnTo>
                  <a:pt x="275" y="320"/>
                </a:lnTo>
                <a:lnTo>
                  <a:pt x="244" y="349"/>
                </a:lnTo>
                <a:lnTo>
                  <a:pt x="238" y="354"/>
                </a:lnTo>
                <a:lnTo>
                  <a:pt x="234" y="362"/>
                </a:lnTo>
                <a:lnTo>
                  <a:pt x="227" y="369"/>
                </a:lnTo>
                <a:lnTo>
                  <a:pt x="224" y="379"/>
                </a:lnTo>
                <a:lnTo>
                  <a:pt x="221" y="381"/>
                </a:lnTo>
                <a:lnTo>
                  <a:pt x="218" y="384"/>
                </a:lnTo>
                <a:lnTo>
                  <a:pt x="216" y="384"/>
                </a:lnTo>
                <a:lnTo>
                  <a:pt x="213" y="385"/>
                </a:lnTo>
                <a:lnTo>
                  <a:pt x="212" y="385"/>
                </a:lnTo>
                <a:lnTo>
                  <a:pt x="211" y="385"/>
                </a:lnTo>
                <a:lnTo>
                  <a:pt x="200" y="397"/>
                </a:lnTo>
                <a:lnTo>
                  <a:pt x="191" y="410"/>
                </a:lnTo>
                <a:lnTo>
                  <a:pt x="184" y="424"/>
                </a:lnTo>
                <a:lnTo>
                  <a:pt x="176" y="436"/>
                </a:lnTo>
                <a:lnTo>
                  <a:pt x="152" y="471"/>
                </a:lnTo>
                <a:lnTo>
                  <a:pt x="130" y="506"/>
                </a:lnTo>
                <a:lnTo>
                  <a:pt x="119" y="530"/>
                </a:lnTo>
                <a:lnTo>
                  <a:pt x="108" y="553"/>
                </a:lnTo>
                <a:lnTo>
                  <a:pt x="108" y="569"/>
                </a:lnTo>
                <a:lnTo>
                  <a:pt x="119" y="581"/>
                </a:lnTo>
                <a:lnTo>
                  <a:pt x="125" y="584"/>
                </a:lnTo>
                <a:lnTo>
                  <a:pt x="124" y="591"/>
                </a:lnTo>
                <a:lnTo>
                  <a:pt x="124" y="595"/>
                </a:lnTo>
                <a:lnTo>
                  <a:pt x="124" y="599"/>
                </a:lnTo>
                <a:lnTo>
                  <a:pt x="121" y="609"/>
                </a:lnTo>
                <a:lnTo>
                  <a:pt x="124" y="617"/>
                </a:lnTo>
                <a:lnTo>
                  <a:pt x="126" y="623"/>
                </a:lnTo>
                <a:lnTo>
                  <a:pt x="131" y="620"/>
                </a:lnTo>
                <a:lnTo>
                  <a:pt x="135" y="611"/>
                </a:lnTo>
                <a:lnTo>
                  <a:pt x="137" y="602"/>
                </a:lnTo>
                <a:lnTo>
                  <a:pt x="140" y="602"/>
                </a:lnTo>
                <a:lnTo>
                  <a:pt x="142" y="602"/>
                </a:lnTo>
                <a:lnTo>
                  <a:pt x="148" y="596"/>
                </a:lnTo>
                <a:lnTo>
                  <a:pt x="154" y="599"/>
                </a:lnTo>
                <a:lnTo>
                  <a:pt x="156" y="599"/>
                </a:lnTo>
                <a:lnTo>
                  <a:pt x="160" y="599"/>
                </a:lnTo>
                <a:lnTo>
                  <a:pt x="155" y="592"/>
                </a:lnTo>
                <a:lnTo>
                  <a:pt x="158" y="584"/>
                </a:lnTo>
                <a:lnTo>
                  <a:pt x="163" y="573"/>
                </a:lnTo>
                <a:lnTo>
                  <a:pt x="165" y="561"/>
                </a:lnTo>
                <a:lnTo>
                  <a:pt x="165" y="559"/>
                </a:lnTo>
                <a:lnTo>
                  <a:pt x="166" y="558"/>
                </a:lnTo>
                <a:lnTo>
                  <a:pt x="170" y="561"/>
                </a:lnTo>
                <a:lnTo>
                  <a:pt x="173" y="564"/>
                </a:lnTo>
                <a:lnTo>
                  <a:pt x="183" y="555"/>
                </a:lnTo>
                <a:lnTo>
                  <a:pt x="185" y="543"/>
                </a:lnTo>
                <a:lnTo>
                  <a:pt x="190" y="535"/>
                </a:lnTo>
                <a:lnTo>
                  <a:pt x="187" y="525"/>
                </a:lnTo>
                <a:lnTo>
                  <a:pt x="198" y="523"/>
                </a:lnTo>
                <a:lnTo>
                  <a:pt x="200" y="513"/>
                </a:lnTo>
                <a:lnTo>
                  <a:pt x="202" y="505"/>
                </a:lnTo>
                <a:lnTo>
                  <a:pt x="205" y="499"/>
                </a:lnTo>
                <a:lnTo>
                  <a:pt x="206" y="499"/>
                </a:lnTo>
                <a:lnTo>
                  <a:pt x="206" y="498"/>
                </a:lnTo>
                <a:lnTo>
                  <a:pt x="218" y="488"/>
                </a:lnTo>
                <a:lnTo>
                  <a:pt x="226" y="473"/>
                </a:lnTo>
                <a:lnTo>
                  <a:pt x="225" y="470"/>
                </a:lnTo>
                <a:lnTo>
                  <a:pt x="221" y="470"/>
                </a:lnTo>
                <a:lnTo>
                  <a:pt x="221" y="468"/>
                </a:lnTo>
                <a:lnTo>
                  <a:pt x="220" y="466"/>
                </a:lnTo>
                <a:lnTo>
                  <a:pt x="220" y="461"/>
                </a:lnTo>
                <a:lnTo>
                  <a:pt x="222" y="458"/>
                </a:lnTo>
                <a:lnTo>
                  <a:pt x="227" y="456"/>
                </a:lnTo>
                <a:lnTo>
                  <a:pt x="231" y="458"/>
                </a:lnTo>
                <a:lnTo>
                  <a:pt x="230" y="463"/>
                </a:lnTo>
                <a:lnTo>
                  <a:pt x="233" y="468"/>
                </a:lnTo>
                <a:lnTo>
                  <a:pt x="238" y="467"/>
                </a:lnTo>
                <a:lnTo>
                  <a:pt x="241" y="462"/>
                </a:lnTo>
                <a:lnTo>
                  <a:pt x="245" y="454"/>
                </a:lnTo>
                <a:lnTo>
                  <a:pt x="247" y="445"/>
                </a:lnTo>
                <a:lnTo>
                  <a:pt x="252" y="454"/>
                </a:lnTo>
                <a:lnTo>
                  <a:pt x="252" y="462"/>
                </a:lnTo>
                <a:lnTo>
                  <a:pt x="248" y="473"/>
                </a:lnTo>
                <a:lnTo>
                  <a:pt x="249" y="485"/>
                </a:lnTo>
                <a:lnTo>
                  <a:pt x="254" y="477"/>
                </a:lnTo>
                <a:lnTo>
                  <a:pt x="259" y="472"/>
                </a:lnTo>
                <a:lnTo>
                  <a:pt x="267" y="471"/>
                </a:lnTo>
                <a:lnTo>
                  <a:pt x="271" y="473"/>
                </a:lnTo>
                <a:lnTo>
                  <a:pt x="273" y="464"/>
                </a:lnTo>
                <a:lnTo>
                  <a:pt x="279" y="460"/>
                </a:lnTo>
                <a:lnTo>
                  <a:pt x="281" y="460"/>
                </a:lnTo>
                <a:lnTo>
                  <a:pt x="282" y="460"/>
                </a:lnTo>
                <a:lnTo>
                  <a:pt x="285" y="459"/>
                </a:lnTo>
                <a:lnTo>
                  <a:pt x="286" y="456"/>
                </a:lnTo>
                <a:lnTo>
                  <a:pt x="284" y="454"/>
                </a:lnTo>
                <a:lnTo>
                  <a:pt x="281" y="454"/>
                </a:lnTo>
                <a:lnTo>
                  <a:pt x="275" y="453"/>
                </a:lnTo>
                <a:lnTo>
                  <a:pt x="275" y="449"/>
                </a:lnTo>
                <a:lnTo>
                  <a:pt x="278" y="436"/>
                </a:lnTo>
                <a:lnTo>
                  <a:pt x="278" y="422"/>
                </a:lnTo>
                <a:lnTo>
                  <a:pt x="282" y="415"/>
                </a:lnTo>
                <a:lnTo>
                  <a:pt x="276" y="410"/>
                </a:lnTo>
                <a:lnTo>
                  <a:pt x="276" y="406"/>
                </a:lnTo>
                <a:lnTo>
                  <a:pt x="274" y="401"/>
                </a:lnTo>
                <a:lnTo>
                  <a:pt x="275" y="396"/>
                </a:lnTo>
                <a:lnTo>
                  <a:pt x="277" y="392"/>
                </a:lnTo>
                <a:lnTo>
                  <a:pt x="283" y="396"/>
                </a:lnTo>
                <a:lnTo>
                  <a:pt x="287" y="401"/>
                </a:lnTo>
                <a:lnTo>
                  <a:pt x="287" y="407"/>
                </a:lnTo>
                <a:lnTo>
                  <a:pt x="291" y="406"/>
                </a:lnTo>
                <a:lnTo>
                  <a:pt x="305" y="397"/>
                </a:lnTo>
                <a:lnTo>
                  <a:pt x="317" y="386"/>
                </a:lnTo>
                <a:lnTo>
                  <a:pt x="321" y="399"/>
                </a:lnTo>
                <a:lnTo>
                  <a:pt x="321" y="413"/>
                </a:lnTo>
                <a:lnTo>
                  <a:pt x="331" y="408"/>
                </a:lnTo>
                <a:lnTo>
                  <a:pt x="332" y="420"/>
                </a:lnTo>
                <a:lnTo>
                  <a:pt x="339" y="413"/>
                </a:lnTo>
                <a:lnTo>
                  <a:pt x="347" y="407"/>
                </a:lnTo>
                <a:lnTo>
                  <a:pt x="336" y="406"/>
                </a:lnTo>
                <a:lnTo>
                  <a:pt x="333" y="396"/>
                </a:lnTo>
                <a:lnTo>
                  <a:pt x="327" y="391"/>
                </a:lnTo>
                <a:lnTo>
                  <a:pt x="328" y="382"/>
                </a:lnTo>
                <a:lnTo>
                  <a:pt x="338" y="372"/>
                </a:lnTo>
                <a:lnTo>
                  <a:pt x="348" y="364"/>
                </a:lnTo>
                <a:lnTo>
                  <a:pt x="351" y="364"/>
                </a:lnTo>
                <a:lnTo>
                  <a:pt x="352" y="364"/>
                </a:lnTo>
                <a:lnTo>
                  <a:pt x="363" y="371"/>
                </a:lnTo>
                <a:lnTo>
                  <a:pt x="373" y="363"/>
                </a:lnTo>
                <a:lnTo>
                  <a:pt x="375" y="355"/>
                </a:lnTo>
                <a:lnTo>
                  <a:pt x="374" y="348"/>
                </a:lnTo>
                <a:lnTo>
                  <a:pt x="378" y="344"/>
                </a:lnTo>
                <a:lnTo>
                  <a:pt x="379" y="338"/>
                </a:lnTo>
                <a:lnTo>
                  <a:pt x="387" y="339"/>
                </a:lnTo>
                <a:lnTo>
                  <a:pt x="393" y="335"/>
                </a:lnTo>
                <a:lnTo>
                  <a:pt x="399" y="329"/>
                </a:lnTo>
                <a:lnTo>
                  <a:pt x="409" y="324"/>
                </a:lnTo>
                <a:lnTo>
                  <a:pt x="423" y="318"/>
                </a:lnTo>
                <a:lnTo>
                  <a:pt x="435" y="305"/>
                </a:lnTo>
                <a:lnTo>
                  <a:pt x="436" y="299"/>
                </a:lnTo>
                <a:lnTo>
                  <a:pt x="429" y="296"/>
                </a:lnTo>
                <a:lnTo>
                  <a:pt x="430" y="290"/>
                </a:lnTo>
                <a:lnTo>
                  <a:pt x="430" y="284"/>
                </a:lnTo>
                <a:lnTo>
                  <a:pt x="431" y="280"/>
                </a:lnTo>
                <a:lnTo>
                  <a:pt x="433" y="277"/>
                </a:lnTo>
                <a:lnTo>
                  <a:pt x="439" y="280"/>
                </a:lnTo>
                <a:lnTo>
                  <a:pt x="440" y="288"/>
                </a:lnTo>
                <a:lnTo>
                  <a:pt x="443" y="281"/>
                </a:lnTo>
                <a:lnTo>
                  <a:pt x="448" y="276"/>
                </a:lnTo>
                <a:lnTo>
                  <a:pt x="448" y="281"/>
                </a:lnTo>
                <a:lnTo>
                  <a:pt x="446" y="287"/>
                </a:lnTo>
                <a:lnTo>
                  <a:pt x="444" y="291"/>
                </a:lnTo>
                <a:lnTo>
                  <a:pt x="446" y="295"/>
                </a:lnTo>
                <a:lnTo>
                  <a:pt x="449" y="296"/>
                </a:lnTo>
                <a:lnTo>
                  <a:pt x="451" y="295"/>
                </a:lnTo>
                <a:lnTo>
                  <a:pt x="466" y="285"/>
                </a:lnTo>
                <a:lnTo>
                  <a:pt x="481" y="274"/>
                </a:lnTo>
                <a:lnTo>
                  <a:pt x="475" y="272"/>
                </a:lnTo>
                <a:lnTo>
                  <a:pt x="470" y="273"/>
                </a:lnTo>
                <a:lnTo>
                  <a:pt x="471" y="260"/>
                </a:lnTo>
                <a:lnTo>
                  <a:pt x="475" y="246"/>
                </a:lnTo>
                <a:lnTo>
                  <a:pt x="475" y="243"/>
                </a:lnTo>
                <a:lnTo>
                  <a:pt x="472" y="242"/>
                </a:lnTo>
                <a:lnTo>
                  <a:pt x="474" y="234"/>
                </a:lnTo>
                <a:lnTo>
                  <a:pt x="475" y="228"/>
                </a:lnTo>
                <a:lnTo>
                  <a:pt x="478" y="227"/>
                </a:lnTo>
                <a:lnTo>
                  <a:pt x="480" y="229"/>
                </a:lnTo>
                <a:lnTo>
                  <a:pt x="480" y="235"/>
                </a:lnTo>
                <a:lnTo>
                  <a:pt x="485" y="239"/>
                </a:lnTo>
                <a:lnTo>
                  <a:pt x="485" y="254"/>
                </a:lnTo>
                <a:lnTo>
                  <a:pt x="488" y="268"/>
                </a:lnTo>
                <a:lnTo>
                  <a:pt x="490" y="275"/>
                </a:lnTo>
                <a:lnTo>
                  <a:pt x="499" y="277"/>
                </a:lnTo>
                <a:lnTo>
                  <a:pt x="504" y="273"/>
                </a:lnTo>
                <a:lnTo>
                  <a:pt x="503" y="266"/>
                </a:lnTo>
                <a:lnTo>
                  <a:pt x="506" y="265"/>
                </a:lnTo>
                <a:lnTo>
                  <a:pt x="509" y="261"/>
                </a:lnTo>
                <a:lnTo>
                  <a:pt x="513" y="257"/>
                </a:lnTo>
                <a:lnTo>
                  <a:pt x="518" y="262"/>
                </a:lnTo>
                <a:lnTo>
                  <a:pt x="520" y="266"/>
                </a:lnTo>
                <a:lnTo>
                  <a:pt x="522" y="272"/>
                </a:lnTo>
                <a:lnTo>
                  <a:pt x="527" y="257"/>
                </a:lnTo>
                <a:lnTo>
                  <a:pt x="531" y="244"/>
                </a:lnTo>
                <a:lnTo>
                  <a:pt x="536" y="237"/>
                </a:lnTo>
                <a:lnTo>
                  <a:pt x="544" y="233"/>
                </a:lnTo>
                <a:lnTo>
                  <a:pt x="545" y="235"/>
                </a:lnTo>
                <a:lnTo>
                  <a:pt x="546" y="237"/>
                </a:lnTo>
                <a:lnTo>
                  <a:pt x="547" y="238"/>
                </a:lnTo>
                <a:lnTo>
                  <a:pt x="549" y="237"/>
                </a:lnTo>
                <a:lnTo>
                  <a:pt x="565" y="228"/>
                </a:lnTo>
                <a:lnTo>
                  <a:pt x="582" y="219"/>
                </a:lnTo>
                <a:lnTo>
                  <a:pt x="585" y="227"/>
                </a:lnTo>
                <a:lnTo>
                  <a:pt x="589" y="234"/>
                </a:lnTo>
                <a:lnTo>
                  <a:pt x="589" y="227"/>
                </a:lnTo>
                <a:lnTo>
                  <a:pt x="589" y="220"/>
                </a:lnTo>
                <a:lnTo>
                  <a:pt x="591" y="215"/>
                </a:lnTo>
                <a:lnTo>
                  <a:pt x="590" y="209"/>
                </a:lnTo>
                <a:lnTo>
                  <a:pt x="588" y="210"/>
                </a:lnTo>
                <a:lnTo>
                  <a:pt x="587" y="210"/>
                </a:lnTo>
                <a:lnTo>
                  <a:pt x="572" y="216"/>
                </a:lnTo>
                <a:lnTo>
                  <a:pt x="557" y="224"/>
                </a:lnTo>
                <a:lnTo>
                  <a:pt x="557" y="217"/>
                </a:lnTo>
                <a:lnTo>
                  <a:pt x="557" y="211"/>
                </a:lnTo>
                <a:lnTo>
                  <a:pt x="560" y="206"/>
                </a:lnTo>
                <a:lnTo>
                  <a:pt x="564" y="202"/>
                </a:lnTo>
                <a:lnTo>
                  <a:pt x="578" y="197"/>
                </a:lnTo>
                <a:lnTo>
                  <a:pt x="588" y="186"/>
                </a:lnTo>
                <a:lnTo>
                  <a:pt x="596" y="187"/>
                </a:lnTo>
                <a:lnTo>
                  <a:pt x="605" y="183"/>
                </a:lnTo>
                <a:lnTo>
                  <a:pt x="618" y="176"/>
                </a:lnTo>
                <a:lnTo>
                  <a:pt x="631" y="169"/>
                </a:lnTo>
                <a:lnTo>
                  <a:pt x="637" y="168"/>
                </a:lnTo>
                <a:lnTo>
                  <a:pt x="641" y="164"/>
                </a:lnTo>
                <a:lnTo>
                  <a:pt x="640" y="161"/>
                </a:lnTo>
                <a:lnTo>
                  <a:pt x="638" y="158"/>
                </a:lnTo>
                <a:lnTo>
                  <a:pt x="632" y="157"/>
                </a:lnTo>
                <a:lnTo>
                  <a:pt x="626" y="163"/>
                </a:lnTo>
                <a:lnTo>
                  <a:pt x="619" y="165"/>
                </a:lnTo>
                <a:lnTo>
                  <a:pt x="610" y="166"/>
                </a:lnTo>
                <a:lnTo>
                  <a:pt x="612" y="164"/>
                </a:lnTo>
                <a:lnTo>
                  <a:pt x="613" y="163"/>
                </a:lnTo>
                <a:lnTo>
                  <a:pt x="620" y="159"/>
                </a:lnTo>
                <a:lnTo>
                  <a:pt x="622" y="153"/>
                </a:lnTo>
                <a:lnTo>
                  <a:pt x="617" y="147"/>
                </a:lnTo>
                <a:lnTo>
                  <a:pt x="607" y="148"/>
                </a:lnTo>
                <a:lnTo>
                  <a:pt x="603" y="149"/>
                </a:lnTo>
                <a:lnTo>
                  <a:pt x="600" y="147"/>
                </a:lnTo>
                <a:lnTo>
                  <a:pt x="612" y="140"/>
                </a:lnTo>
                <a:lnTo>
                  <a:pt x="626" y="145"/>
                </a:lnTo>
                <a:lnTo>
                  <a:pt x="628" y="146"/>
                </a:lnTo>
                <a:lnTo>
                  <a:pt x="632" y="146"/>
                </a:lnTo>
                <a:lnTo>
                  <a:pt x="632" y="143"/>
                </a:lnTo>
                <a:lnTo>
                  <a:pt x="632" y="141"/>
                </a:lnTo>
                <a:lnTo>
                  <a:pt x="632" y="143"/>
                </a:lnTo>
                <a:lnTo>
                  <a:pt x="632" y="146"/>
                </a:lnTo>
                <a:lnTo>
                  <a:pt x="637" y="145"/>
                </a:lnTo>
                <a:lnTo>
                  <a:pt x="639" y="140"/>
                </a:lnTo>
                <a:lnTo>
                  <a:pt x="641" y="140"/>
                </a:lnTo>
                <a:lnTo>
                  <a:pt x="643" y="139"/>
                </a:lnTo>
                <a:lnTo>
                  <a:pt x="643" y="139"/>
                </a:lnTo>
                <a:lnTo>
                  <a:pt x="643" y="139"/>
                </a:lnTo>
                <a:lnTo>
                  <a:pt x="647" y="150"/>
                </a:lnTo>
                <a:lnTo>
                  <a:pt x="656" y="155"/>
                </a:lnTo>
                <a:lnTo>
                  <a:pt x="655" y="156"/>
                </a:lnTo>
                <a:lnTo>
                  <a:pt x="655" y="157"/>
                </a:lnTo>
                <a:lnTo>
                  <a:pt x="650" y="163"/>
                </a:lnTo>
                <a:lnTo>
                  <a:pt x="655" y="168"/>
                </a:lnTo>
                <a:lnTo>
                  <a:pt x="654" y="170"/>
                </a:lnTo>
                <a:lnTo>
                  <a:pt x="653" y="172"/>
                </a:lnTo>
                <a:lnTo>
                  <a:pt x="654" y="174"/>
                </a:lnTo>
                <a:lnTo>
                  <a:pt x="654" y="177"/>
                </a:lnTo>
                <a:lnTo>
                  <a:pt x="653" y="191"/>
                </a:lnTo>
                <a:lnTo>
                  <a:pt x="664" y="196"/>
                </a:lnTo>
                <a:lnTo>
                  <a:pt x="670" y="196"/>
                </a:lnTo>
                <a:lnTo>
                  <a:pt x="676" y="192"/>
                </a:lnTo>
                <a:lnTo>
                  <a:pt x="676" y="192"/>
                </a:lnTo>
                <a:lnTo>
                  <a:pt x="683" y="192"/>
                </a:lnTo>
                <a:lnTo>
                  <a:pt x="687" y="186"/>
                </a:lnTo>
                <a:lnTo>
                  <a:pt x="688" y="186"/>
                </a:lnTo>
                <a:lnTo>
                  <a:pt x="688" y="186"/>
                </a:lnTo>
                <a:lnTo>
                  <a:pt x="688" y="186"/>
                </a:lnTo>
                <a:lnTo>
                  <a:pt x="687" y="186"/>
                </a:lnTo>
                <a:lnTo>
                  <a:pt x="682" y="186"/>
                </a:lnTo>
                <a:lnTo>
                  <a:pt x="679" y="181"/>
                </a:lnTo>
                <a:lnTo>
                  <a:pt x="679" y="181"/>
                </a:lnTo>
                <a:lnTo>
                  <a:pt x="680" y="179"/>
                </a:lnTo>
                <a:lnTo>
                  <a:pt x="680" y="178"/>
                </a:lnTo>
                <a:lnTo>
                  <a:pt x="680" y="178"/>
                </a:lnTo>
                <a:lnTo>
                  <a:pt x="681" y="177"/>
                </a:lnTo>
                <a:lnTo>
                  <a:pt x="681" y="177"/>
                </a:lnTo>
                <a:lnTo>
                  <a:pt x="685" y="182"/>
                </a:lnTo>
                <a:lnTo>
                  <a:pt x="690" y="186"/>
                </a:lnTo>
                <a:lnTo>
                  <a:pt x="690" y="186"/>
                </a:lnTo>
                <a:lnTo>
                  <a:pt x="688" y="186"/>
                </a:lnTo>
                <a:lnTo>
                  <a:pt x="690" y="186"/>
                </a:lnTo>
                <a:lnTo>
                  <a:pt x="690" y="186"/>
                </a:lnTo>
                <a:lnTo>
                  <a:pt x="696" y="181"/>
                </a:lnTo>
                <a:lnTo>
                  <a:pt x="697" y="173"/>
                </a:lnTo>
                <a:lnTo>
                  <a:pt x="702" y="164"/>
                </a:lnTo>
                <a:lnTo>
                  <a:pt x="712" y="157"/>
                </a:lnTo>
                <a:lnTo>
                  <a:pt x="716" y="157"/>
                </a:lnTo>
                <a:lnTo>
                  <a:pt x="719" y="155"/>
                </a:lnTo>
                <a:lnTo>
                  <a:pt x="751" y="148"/>
                </a:lnTo>
                <a:lnTo>
                  <a:pt x="777" y="133"/>
                </a:lnTo>
                <a:lnTo>
                  <a:pt x="782" y="133"/>
                </a:lnTo>
                <a:lnTo>
                  <a:pt x="785" y="130"/>
                </a:lnTo>
                <a:lnTo>
                  <a:pt x="792" y="130"/>
                </a:lnTo>
                <a:lnTo>
                  <a:pt x="799" y="128"/>
                </a:lnTo>
                <a:lnTo>
                  <a:pt x="798" y="135"/>
                </a:lnTo>
                <a:lnTo>
                  <a:pt x="797" y="143"/>
                </a:lnTo>
                <a:lnTo>
                  <a:pt x="800" y="135"/>
                </a:lnTo>
                <a:lnTo>
                  <a:pt x="799" y="128"/>
                </a:lnTo>
                <a:lnTo>
                  <a:pt x="822" y="119"/>
                </a:lnTo>
                <a:lnTo>
                  <a:pt x="845" y="109"/>
                </a:lnTo>
                <a:lnTo>
                  <a:pt x="844" y="107"/>
                </a:lnTo>
                <a:lnTo>
                  <a:pt x="843" y="105"/>
                </a:lnTo>
                <a:lnTo>
                  <a:pt x="818" y="113"/>
                </a:lnTo>
                <a:lnTo>
                  <a:pt x="792" y="121"/>
                </a:lnTo>
                <a:lnTo>
                  <a:pt x="792" y="108"/>
                </a:lnTo>
                <a:lnTo>
                  <a:pt x="802" y="100"/>
                </a:lnTo>
                <a:lnTo>
                  <a:pt x="815" y="93"/>
                </a:lnTo>
                <a:lnTo>
                  <a:pt x="827" y="90"/>
                </a:lnTo>
                <a:lnTo>
                  <a:pt x="839" y="84"/>
                </a:lnTo>
                <a:lnTo>
                  <a:pt x="839" y="71"/>
                </a:lnTo>
                <a:lnTo>
                  <a:pt x="840" y="66"/>
                </a:lnTo>
                <a:lnTo>
                  <a:pt x="842" y="61"/>
                </a:lnTo>
                <a:lnTo>
                  <a:pt x="842" y="61"/>
                </a:lnTo>
                <a:lnTo>
                  <a:pt x="842" y="61"/>
                </a:lnTo>
                <a:lnTo>
                  <a:pt x="843" y="62"/>
                </a:lnTo>
                <a:lnTo>
                  <a:pt x="844" y="61"/>
                </a:lnTo>
                <a:lnTo>
                  <a:pt x="846" y="63"/>
                </a:lnTo>
                <a:lnTo>
                  <a:pt x="848" y="65"/>
                </a:lnTo>
                <a:lnTo>
                  <a:pt x="851" y="67"/>
                </a:lnTo>
                <a:lnTo>
                  <a:pt x="854" y="64"/>
                </a:lnTo>
                <a:lnTo>
                  <a:pt x="855" y="60"/>
                </a:lnTo>
                <a:lnTo>
                  <a:pt x="857" y="57"/>
                </a:lnTo>
                <a:lnTo>
                  <a:pt x="858" y="63"/>
                </a:lnTo>
                <a:lnTo>
                  <a:pt x="860" y="69"/>
                </a:lnTo>
                <a:lnTo>
                  <a:pt x="859" y="73"/>
                </a:lnTo>
                <a:lnTo>
                  <a:pt x="857" y="76"/>
                </a:lnTo>
                <a:lnTo>
                  <a:pt x="853" y="76"/>
                </a:lnTo>
                <a:lnTo>
                  <a:pt x="851" y="75"/>
                </a:lnTo>
                <a:lnTo>
                  <a:pt x="851" y="77"/>
                </a:lnTo>
                <a:lnTo>
                  <a:pt x="851" y="78"/>
                </a:lnTo>
                <a:lnTo>
                  <a:pt x="853" y="80"/>
                </a:lnTo>
                <a:lnTo>
                  <a:pt x="857" y="78"/>
                </a:lnTo>
                <a:lnTo>
                  <a:pt x="859" y="79"/>
                </a:lnTo>
                <a:lnTo>
                  <a:pt x="861" y="79"/>
                </a:lnTo>
                <a:lnTo>
                  <a:pt x="867" y="77"/>
                </a:lnTo>
                <a:lnTo>
                  <a:pt x="873" y="74"/>
                </a:lnTo>
                <a:lnTo>
                  <a:pt x="867" y="77"/>
                </a:lnTo>
                <a:lnTo>
                  <a:pt x="861" y="79"/>
                </a:lnTo>
                <a:lnTo>
                  <a:pt x="861" y="90"/>
                </a:lnTo>
                <a:lnTo>
                  <a:pt x="870" y="94"/>
                </a:lnTo>
                <a:lnTo>
                  <a:pt x="868" y="99"/>
                </a:lnTo>
                <a:lnTo>
                  <a:pt x="863" y="97"/>
                </a:lnTo>
                <a:lnTo>
                  <a:pt x="858" y="99"/>
                </a:lnTo>
                <a:lnTo>
                  <a:pt x="854" y="103"/>
                </a:lnTo>
                <a:lnTo>
                  <a:pt x="861" y="109"/>
                </a:lnTo>
                <a:lnTo>
                  <a:pt x="869" y="116"/>
                </a:lnTo>
                <a:lnTo>
                  <a:pt x="874" y="117"/>
                </a:lnTo>
                <a:lnTo>
                  <a:pt x="877" y="116"/>
                </a:lnTo>
                <a:lnTo>
                  <a:pt x="878" y="109"/>
                </a:lnTo>
                <a:lnTo>
                  <a:pt x="876" y="104"/>
                </a:lnTo>
                <a:lnTo>
                  <a:pt x="875" y="101"/>
                </a:lnTo>
                <a:lnTo>
                  <a:pt x="876" y="97"/>
                </a:lnTo>
                <a:lnTo>
                  <a:pt x="879" y="99"/>
                </a:lnTo>
                <a:lnTo>
                  <a:pt x="881" y="102"/>
                </a:lnTo>
                <a:lnTo>
                  <a:pt x="881" y="104"/>
                </a:lnTo>
                <a:lnTo>
                  <a:pt x="884" y="105"/>
                </a:lnTo>
                <a:lnTo>
                  <a:pt x="888" y="103"/>
                </a:lnTo>
                <a:lnTo>
                  <a:pt x="889" y="101"/>
                </a:lnTo>
                <a:lnTo>
                  <a:pt x="889" y="91"/>
                </a:lnTo>
                <a:lnTo>
                  <a:pt x="897" y="87"/>
                </a:lnTo>
                <a:lnTo>
                  <a:pt x="889" y="87"/>
                </a:lnTo>
                <a:lnTo>
                  <a:pt x="881" y="88"/>
                </a:lnTo>
                <a:lnTo>
                  <a:pt x="882" y="81"/>
                </a:lnTo>
                <a:lnTo>
                  <a:pt x="882" y="75"/>
                </a:lnTo>
                <a:lnTo>
                  <a:pt x="884" y="72"/>
                </a:lnTo>
                <a:lnTo>
                  <a:pt x="885" y="70"/>
                </a:lnTo>
                <a:lnTo>
                  <a:pt x="896" y="67"/>
                </a:lnTo>
                <a:lnTo>
                  <a:pt x="906" y="64"/>
                </a:lnTo>
                <a:lnTo>
                  <a:pt x="909" y="62"/>
                </a:lnTo>
                <a:lnTo>
                  <a:pt x="910" y="58"/>
                </a:lnTo>
                <a:lnTo>
                  <a:pt x="909" y="54"/>
                </a:lnTo>
                <a:lnTo>
                  <a:pt x="905" y="52"/>
                </a:lnTo>
                <a:lnTo>
                  <a:pt x="901" y="51"/>
                </a:lnTo>
                <a:lnTo>
                  <a:pt x="899" y="48"/>
                </a:lnTo>
                <a:lnTo>
                  <a:pt x="898" y="43"/>
                </a:lnTo>
                <a:lnTo>
                  <a:pt x="895" y="38"/>
                </a:lnTo>
                <a:lnTo>
                  <a:pt x="892" y="31"/>
                </a:lnTo>
                <a:lnTo>
                  <a:pt x="893" y="25"/>
                </a:lnTo>
                <a:lnTo>
                  <a:pt x="894" y="25"/>
                </a:lnTo>
                <a:lnTo>
                  <a:pt x="895" y="26"/>
                </a:lnTo>
                <a:lnTo>
                  <a:pt x="895" y="33"/>
                </a:lnTo>
                <a:lnTo>
                  <a:pt x="901" y="38"/>
                </a:lnTo>
                <a:lnTo>
                  <a:pt x="906" y="38"/>
                </a:lnTo>
                <a:lnTo>
                  <a:pt x="910" y="33"/>
                </a:lnTo>
                <a:lnTo>
                  <a:pt x="921" y="35"/>
                </a:lnTo>
                <a:lnTo>
                  <a:pt x="922" y="45"/>
                </a:lnTo>
                <a:lnTo>
                  <a:pt x="919" y="48"/>
                </a:lnTo>
                <a:lnTo>
                  <a:pt x="918" y="52"/>
                </a:lnTo>
                <a:lnTo>
                  <a:pt x="914" y="66"/>
                </a:lnTo>
                <a:lnTo>
                  <a:pt x="916" y="80"/>
                </a:lnTo>
                <a:lnTo>
                  <a:pt x="918" y="82"/>
                </a:lnTo>
                <a:lnTo>
                  <a:pt x="920" y="84"/>
                </a:lnTo>
                <a:lnTo>
                  <a:pt x="931" y="85"/>
                </a:lnTo>
                <a:lnTo>
                  <a:pt x="930" y="96"/>
                </a:lnTo>
                <a:lnTo>
                  <a:pt x="931" y="110"/>
                </a:lnTo>
                <a:lnTo>
                  <a:pt x="944" y="109"/>
                </a:lnTo>
                <a:lnTo>
                  <a:pt x="953" y="110"/>
                </a:lnTo>
                <a:lnTo>
                  <a:pt x="956" y="118"/>
                </a:lnTo>
                <a:lnTo>
                  <a:pt x="958" y="134"/>
                </a:lnTo>
                <a:lnTo>
                  <a:pt x="958" y="149"/>
                </a:lnTo>
                <a:lnTo>
                  <a:pt x="959" y="177"/>
                </a:lnTo>
                <a:lnTo>
                  <a:pt x="956" y="203"/>
                </a:lnTo>
                <a:lnTo>
                  <a:pt x="957" y="204"/>
                </a:lnTo>
                <a:lnTo>
                  <a:pt x="958" y="207"/>
                </a:lnTo>
                <a:lnTo>
                  <a:pt x="964" y="218"/>
                </a:lnTo>
                <a:lnTo>
                  <a:pt x="961" y="231"/>
                </a:lnTo>
                <a:lnTo>
                  <a:pt x="965" y="248"/>
                </a:lnTo>
                <a:lnTo>
                  <a:pt x="971" y="265"/>
                </a:lnTo>
                <a:lnTo>
                  <a:pt x="973" y="268"/>
                </a:lnTo>
                <a:lnTo>
                  <a:pt x="978" y="270"/>
                </a:lnTo>
                <a:lnTo>
                  <a:pt x="988" y="283"/>
                </a:lnTo>
                <a:lnTo>
                  <a:pt x="994" y="298"/>
                </a:lnTo>
                <a:lnTo>
                  <a:pt x="991" y="301"/>
                </a:lnTo>
                <a:lnTo>
                  <a:pt x="988" y="301"/>
                </a:lnTo>
                <a:lnTo>
                  <a:pt x="979" y="299"/>
                </a:lnTo>
                <a:lnTo>
                  <a:pt x="970" y="295"/>
                </a:lnTo>
                <a:lnTo>
                  <a:pt x="972" y="303"/>
                </a:lnTo>
                <a:lnTo>
                  <a:pt x="968" y="309"/>
                </a:lnTo>
                <a:lnTo>
                  <a:pt x="965" y="321"/>
                </a:lnTo>
                <a:lnTo>
                  <a:pt x="970" y="332"/>
                </a:lnTo>
                <a:lnTo>
                  <a:pt x="971" y="330"/>
                </a:lnTo>
                <a:lnTo>
                  <a:pt x="971" y="327"/>
                </a:lnTo>
                <a:lnTo>
                  <a:pt x="969" y="319"/>
                </a:lnTo>
                <a:lnTo>
                  <a:pt x="975" y="314"/>
                </a:lnTo>
                <a:lnTo>
                  <a:pt x="985" y="310"/>
                </a:lnTo>
                <a:lnTo>
                  <a:pt x="991" y="313"/>
                </a:lnTo>
                <a:lnTo>
                  <a:pt x="989" y="319"/>
                </a:lnTo>
                <a:lnTo>
                  <a:pt x="982" y="325"/>
                </a:lnTo>
                <a:lnTo>
                  <a:pt x="981" y="326"/>
                </a:lnTo>
                <a:lnTo>
                  <a:pt x="980" y="326"/>
                </a:lnTo>
                <a:lnTo>
                  <a:pt x="989" y="326"/>
                </a:lnTo>
                <a:lnTo>
                  <a:pt x="1001" y="326"/>
                </a:lnTo>
                <a:lnTo>
                  <a:pt x="994" y="333"/>
                </a:lnTo>
                <a:lnTo>
                  <a:pt x="984" y="339"/>
                </a:lnTo>
                <a:lnTo>
                  <a:pt x="999" y="345"/>
                </a:lnTo>
                <a:lnTo>
                  <a:pt x="1010" y="355"/>
                </a:lnTo>
                <a:lnTo>
                  <a:pt x="997" y="359"/>
                </a:lnTo>
                <a:lnTo>
                  <a:pt x="1002" y="367"/>
                </a:lnTo>
                <a:lnTo>
                  <a:pt x="1002" y="370"/>
                </a:lnTo>
                <a:lnTo>
                  <a:pt x="1003" y="372"/>
                </a:lnTo>
                <a:lnTo>
                  <a:pt x="1010" y="381"/>
                </a:lnTo>
                <a:lnTo>
                  <a:pt x="1019" y="383"/>
                </a:lnTo>
                <a:lnTo>
                  <a:pt x="1030" y="381"/>
                </a:lnTo>
                <a:lnTo>
                  <a:pt x="1040" y="380"/>
                </a:lnTo>
                <a:lnTo>
                  <a:pt x="1052" y="375"/>
                </a:lnTo>
                <a:lnTo>
                  <a:pt x="1057" y="361"/>
                </a:lnTo>
                <a:lnTo>
                  <a:pt x="1059" y="353"/>
                </a:lnTo>
                <a:lnTo>
                  <a:pt x="1064" y="349"/>
                </a:lnTo>
                <a:lnTo>
                  <a:pt x="1070" y="351"/>
                </a:lnTo>
                <a:lnTo>
                  <a:pt x="1072" y="359"/>
                </a:lnTo>
                <a:lnTo>
                  <a:pt x="1081" y="366"/>
                </a:lnTo>
                <a:lnTo>
                  <a:pt x="1093" y="363"/>
                </a:lnTo>
                <a:lnTo>
                  <a:pt x="1098" y="357"/>
                </a:lnTo>
                <a:lnTo>
                  <a:pt x="1095" y="350"/>
                </a:lnTo>
                <a:lnTo>
                  <a:pt x="1075" y="293"/>
                </a:lnTo>
                <a:lnTo>
                  <a:pt x="1055" y="237"/>
                </a:lnTo>
                <a:lnTo>
                  <a:pt x="1048" y="217"/>
                </a:lnTo>
                <a:lnTo>
                  <a:pt x="1040" y="198"/>
                </a:lnTo>
                <a:lnTo>
                  <a:pt x="1040" y="198"/>
                </a:lnTo>
                <a:lnTo>
                  <a:pt x="1031" y="174"/>
                </a:lnTo>
                <a:lnTo>
                  <a:pt x="1024" y="151"/>
                </a:lnTo>
                <a:lnTo>
                  <a:pt x="1022" y="149"/>
                </a:lnTo>
                <a:lnTo>
                  <a:pt x="1021" y="148"/>
                </a:lnTo>
                <a:lnTo>
                  <a:pt x="1018" y="139"/>
                </a:lnTo>
                <a:lnTo>
                  <a:pt x="1016" y="130"/>
                </a:lnTo>
                <a:lnTo>
                  <a:pt x="1010" y="108"/>
                </a:lnTo>
                <a:lnTo>
                  <a:pt x="996" y="91"/>
                </a:lnTo>
                <a:lnTo>
                  <a:pt x="990" y="81"/>
                </a:lnTo>
                <a:lnTo>
                  <a:pt x="983" y="74"/>
                </a:lnTo>
                <a:lnTo>
                  <a:pt x="975" y="66"/>
                </a:lnTo>
                <a:lnTo>
                  <a:pt x="966" y="64"/>
                </a:lnTo>
                <a:lnTo>
                  <a:pt x="961" y="61"/>
                </a:lnTo>
                <a:lnTo>
                  <a:pt x="957" y="59"/>
                </a:lnTo>
                <a:lnTo>
                  <a:pt x="953" y="52"/>
                </a:lnTo>
                <a:lnTo>
                  <a:pt x="954" y="44"/>
                </a:lnTo>
                <a:lnTo>
                  <a:pt x="954" y="38"/>
                </a:lnTo>
                <a:lnTo>
                  <a:pt x="952" y="31"/>
                </a:lnTo>
                <a:lnTo>
                  <a:pt x="926" y="4"/>
                </a:lnTo>
                <a:lnTo>
                  <a:pt x="890" y="0"/>
                </a:lnTo>
                <a:lnTo>
                  <a:pt x="875" y="0"/>
                </a:lnTo>
                <a:lnTo>
                  <a:pt x="861" y="1"/>
                </a:lnTo>
                <a:lnTo>
                  <a:pt x="810" y="16"/>
                </a:lnTo>
                <a:lnTo>
                  <a:pt x="763" y="36"/>
                </a:lnTo>
                <a:lnTo>
                  <a:pt x="761" y="38"/>
                </a:lnTo>
                <a:lnTo>
                  <a:pt x="760" y="38"/>
                </a:lnTo>
                <a:lnTo>
                  <a:pt x="707" y="57"/>
                </a:lnTo>
                <a:lnTo>
                  <a:pt x="654" y="79"/>
                </a:lnTo>
                <a:lnTo>
                  <a:pt x="623" y="92"/>
                </a:lnTo>
                <a:lnTo>
                  <a:pt x="593" y="108"/>
                </a:lnTo>
                <a:lnTo>
                  <a:pt x="555" y="127"/>
                </a:lnTo>
                <a:lnTo>
                  <a:pt x="517" y="150"/>
                </a:lnTo>
                <a:lnTo>
                  <a:pt x="510" y="150"/>
                </a:lnTo>
                <a:lnTo>
                  <a:pt x="505" y="155"/>
                </a:lnTo>
                <a:lnTo>
                  <a:pt x="499" y="159"/>
                </a:lnTo>
                <a:lnTo>
                  <a:pt x="493" y="163"/>
                </a:lnTo>
                <a:lnTo>
                  <a:pt x="491" y="163"/>
                </a:lnTo>
                <a:lnTo>
                  <a:pt x="489" y="163"/>
                </a:lnTo>
                <a:lnTo>
                  <a:pt x="470" y="176"/>
                </a:lnTo>
                <a:lnTo>
                  <a:pt x="451" y="187"/>
                </a:lnTo>
                <a:lnTo>
                  <a:pt x="448" y="191"/>
                </a:lnTo>
                <a:lnTo>
                  <a:pt x="448" y="196"/>
                </a:lnTo>
                <a:lnTo>
                  <a:pt x="448" y="196"/>
                </a:lnTo>
                <a:lnTo>
                  <a:pt x="446" y="196"/>
                </a:lnTo>
                <a:lnTo>
                  <a:pt x="446" y="196"/>
                </a:lnTo>
                <a:lnTo>
                  <a:pt x="446" y="196"/>
                </a:lnTo>
                <a:close/>
                <a:moveTo>
                  <a:pt x="124" y="1116"/>
                </a:moveTo>
                <a:lnTo>
                  <a:pt x="120" y="1116"/>
                </a:lnTo>
                <a:lnTo>
                  <a:pt x="117" y="1116"/>
                </a:lnTo>
                <a:lnTo>
                  <a:pt x="120" y="1117"/>
                </a:lnTo>
                <a:lnTo>
                  <a:pt x="124" y="1116"/>
                </a:lnTo>
                <a:close/>
                <a:moveTo>
                  <a:pt x="711" y="174"/>
                </a:moveTo>
                <a:lnTo>
                  <a:pt x="711" y="171"/>
                </a:lnTo>
                <a:lnTo>
                  <a:pt x="711" y="168"/>
                </a:lnTo>
                <a:lnTo>
                  <a:pt x="710" y="171"/>
                </a:lnTo>
                <a:lnTo>
                  <a:pt x="711" y="174"/>
                </a:lnTo>
                <a:close/>
                <a:moveTo>
                  <a:pt x="3174" y="1257"/>
                </a:moveTo>
                <a:lnTo>
                  <a:pt x="3177" y="1256"/>
                </a:lnTo>
                <a:lnTo>
                  <a:pt x="3177" y="1254"/>
                </a:lnTo>
                <a:lnTo>
                  <a:pt x="3176" y="1253"/>
                </a:lnTo>
                <a:lnTo>
                  <a:pt x="3173" y="1253"/>
                </a:lnTo>
                <a:lnTo>
                  <a:pt x="3172" y="1253"/>
                </a:lnTo>
                <a:lnTo>
                  <a:pt x="3172" y="1255"/>
                </a:lnTo>
                <a:lnTo>
                  <a:pt x="3173" y="1256"/>
                </a:lnTo>
                <a:lnTo>
                  <a:pt x="3174" y="1257"/>
                </a:lnTo>
                <a:close/>
                <a:moveTo>
                  <a:pt x="1060" y="923"/>
                </a:moveTo>
                <a:lnTo>
                  <a:pt x="1063" y="925"/>
                </a:lnTo>
                <a:lnTo>
                  <a:pt x="1066" y="923"/>
                </a:lnTo>
                <a:lnTo>
                  <a:pt x="1063" y="922"/>
                </a:lnTo>
                <a:lnTo>
                  <a:pt x="1060" y="923"/>
                </a:lnTo>
                <a:close/>
                <a:moveTo>
                  <a:pt x="2637" y="1648"/>
                </a:moveTo>
                <a:lnTo>
                  <a:pt x="2635" y="1648"/>
                </a:lnTo>
                <a:lnTo>
                  <a:pt x="2634" y="1650"/>
                </a:lnTo>
                <a:lnTo>
                  <a:pt x="2635" y="1652"/>
                </a:lnTo>
                <a:lnTo>
                  <a:pt x="2636" y="1653"/>
                </a:lnTo>
                <a:lnTo>
                  <a:pt x="2637" y="1652"/>
                </a:lnTo>
                <a:lnTo>
                  <a:pt x="2639" y="1651"/>
                </a:lnTo>
                <a:lnTo>
                  <a:pt x="2638" y="1649"/>
                </a:lnTo>
                <a:lnTo>
                  <a:pt x="2637" y="1648"/>
                </a:lnTo>
                <a:close/>
                <a:moveTo>
                  <a:pt x="961" y="255"/>
                </a:moveTo>
                <a:lnTo>
                  <a:pt x="960" y="255"/>
                </a:lnTo>
                <a:lnTo>
                  <a:pt x="959" y="256"/>
                </a:lnTo>
                <a:lnTo>
                  <a:pt x="960" y="257"/>
                </a:lnTo>
                <a:lnTo>
                  <a:pt x="961" y="258"/>
                </a:lnTo>
                <a:lnTo>
                  <a:pt x="963" y="258"/>
                </a:lnTo>
                <a:lnTo>
                  <a:pt x="965" y="257"/>
                </a:lnTo>
                <a:lnTo>
                  <a:pt x="964" y="256"/>
                </a:lnTo>
                <a:lnTo>
                  <a:pt x="961" y="255"/>
                </a:lnTo>
                <a:close/>
                <a:moveTo>
                  <a:pt x="1776" y="1761"/>
                </a:moveTo>
                <a:lnTo>
                  <a:pt x="1777" y="1759"/>
                </a:lnTo>
                <a:lnTo>
                  <a:pt x="1778" y="1758"/>
                </a:lnTo>
                <a:lnTo>
                  <a:pt x="1778" y="1757"/>
                </a:lnTo>
                <a:lnTo>
                  <a:pt x="1777" y="1756"/>
                </a:lnTo>
                <a:lnTo>
                  <a:pt x="1776" y="1757"/>
                </a:lnTo>
                <a:lnTo>
                  <a:pt x="1775" y="1759"/>
                </a:lnTo>
                <a:lnTo>
                  <a:pt x="1775" y="1760"/>
                </a:lnTo>
                <a:lnTo>
                  <a:pt x="1776" y="1761"/>
                </a:lnTo>
                <a:close/>
                <a:moveTo>
                  <a:pt x="2180" y="1484"/>
                </a:moveTo>
                <a:lnTo>
                  <a:pt x="2180" y="1485"/>
                </a:lnTo>
                <a:lnTo>
                  <a:pt x="2181" y="1486"/>
                </a:lnTo>
                <a:lnTo>
                  <a:pt x="2183" y="1486"/>
                </a:lnTo>
                <a:lnTo>
                  <a:pt x="2186" y="1485"/>
                </a:lnTo>
                <a:lnTo>
                  <a:pt x="2185" y="1483"/>
                </a:lnTo>
                <a:lnTo>
                  <a:pt x="2183" y="1482"/>
                </a:lnTo>
                <a:lnTo>
                  <a:pt x="2181" y="1482"/>
                </a:lnTo>
                <a:lnTo>
                  <a:pt x="2180" y="1484"/>
                </a:lnTo>
                <a:close/>
                <a:moveTo>
                  <a:pt x="656" y="280"/>
                </a:moveTo>
                <a:lnTo>
                  <a:pt x="654" y="280"/>
                </a:lnTo>
                <a:lnTo>
                  <a:pt x="652" y="281"/>
                </a:lnTo>
                <a:lnTo>
                  <a:pt x="655" y="284"/>
                </a:lnTo>
                <a:lnTo>
                  <a:pt x="656" y="285"/>
                </a:lnTo>
                <a:lnTo>
                  <a:pt x="658" y="284"/>
                </a:lnTo>
                <a:lnTo>
                  <a:pt x="660" y="281"/>
                </a:lnTo>
                <a:lnTo>
                  <a:pt x="657" y="280"/>
                </a:lnTo>
                <a:lnTo>
                  <a:pt x="656" y="280"/>
                </a:lnTo>
                <a:close/>
                <a:moveTo>
                  <a:pt x="2310" y="1653"/>
                </a:moveTo>
                <a:lnTo>
                  <a:pt x="2312" y="1653"/>
                </a:lnTo>
                <a:lnTo>
                  <a:pt x="2314" y="1653"/>
                </a:lnTo>
                <a:lnTo>
                  <a:pt x="2313" y="1651"/>
                </a:lnTo>
                <a:lnTo>
                  <a:pt x="2312" y="1650"/>
                </a:lnTo>
                <a:lnTo>
                  <a:pt x="2310" y="1650"/>
                </a:lnTo>
                <a:lnTo>
                  <a:pt x="2309" y="1651"/>
                </a:lnTo>
                <a:lnTo>
                  <a:pt x="2309" y="1652"/>
                </a:lnTo>
                <a:lnTo>
                  <a:pt x="2310" y="1653"/>
                </a:lnTo>
                <a:close/>
                <a:moveTo>
                  <a:pt x="1605" y="1435"/>
                </a:moveTo>
                <a:lnTo>
                  <a:pt x="1606" y="1437"/>
                </a:lnTo>
                <a:lnTo>
                  <a:pt x="1608" y="1438"/>
                </a:lnTo>
                <a:lnTo>
                  <a:pt x="1609" y="1437"/>
                </a:lnTo>
                <a:lnTo>
                  <a:pt x="1611" y="1437"/>
                </a:lnTo>
                <a:lnTo>
                  <a:pt x="1610" y="1435"/>
                </a:lnTo>
                <a:lnTo>
                  <a:pt x="1609" y="1433"/>
                </a:lnTo>
                <a:lnTo>
                  <a:pt x="1606" y="1434"/>
                </a:lnTo>
                <a:lnTo>
                  <a:pt x="1605" y="1435"/>
                </a:lnTo>
                <a:close/>
                <a:moveTo>
                  <a:pt x="2163" y="1549"/>
                </a:moveTo>
                <a:lnTo>
                  <a:pt x="2165" y="1550"/>
                </a:lnTo>
                <a:lnTo>
                  <a:pt x="2166" y="1552"/>
                </a:lnTo>
                <a:lnTo>
                  <a:pt x="2169" y="1552"/>
                </a:lnTo>
                <a:lnTo>
                  <a:pt x="2170" y="1549"/>
                </a:lnTo>
                <a:lnTo>
                  <a:pt x="2169" y="1548"/>
                </a:lnTo>
                <a:lnTo>
                  <a:pt x="2167" y="1547"/>
                </a:lnTo>
                <a:lnTo>
                  <a:pt x="2165" y="1547"/>
                </a:lnTo>
                <a:lnTo>
                  <a:pt x="2163" y="1549"/>
                </a:lnTo>
                <a:close/>
                <a:moveTo>
                  <a:pt x="211" y="674"/>
                </a:moveTo>
                <a:lnTo>
                  <a:pt x="210" y="673"/>
                </a:lnTo>
                <a:lnTo>
                  <a:pt x="209" y="672"/>
                </a:lnTo>
                <a:lnTo>
                  <a:pt x="206" y="674"/>
                </a:lnTo>
                <a:lnTo>
                  <a:pt x="205" y="677"/>
                </a:lnTo>
                <a:lnTo>
                  <a:pt x="200" y="678"/>
                </a:lnTo>
                <a:lnTo>
                  <a:pt x="199" y="683"/>
                </a:lnTo>
                <a:lnTo>
                  <a:pt x="200" y="684"/>
                </a:lnTo>
                <a:lnTo>
                  <a:pt x="201" y="685"/>
                </a:lnTo>
                <a:lnTo>
                  <a:pt x="205" y="684"/>
                </a:lnTo>
                <a:lnTo>
                  <a:pt x="207" y="680"/>
                </a:lnTo>
                <a:lnTo>
                  <a:pt x="207" y="680"/>
                </a:lnTo>
                <a:lnTo>
                  <a:pt x="210" y="677"/>
                </a:lnTo>
                <a:lnTo>
                  <a:pt x="211" y="674"/>
                </a:lnTo>
                <a:close/>
                <a:moveTo>
                  <a:pt x="2579" y="1593"/>
                </a:moveTo>
                <a:lnTo>
                  <a:pt x="2579" y="1590"/>
                </a:lnTo>
                <a:lnTo>
                  <a:pt x="2577" y="1590"/>
                </a:lnTo>
                <a:lnTo>
                  <a:pt x="2575" y="1591"/>
                </a:lnTo>
                <a:lnTo>
                  <a:pt x="2574" y="1593"/>
                </a:lnTo>
                <a:lnTo>
                  <a:pt x="2575" y="1594"/>
                </a:lnTo>
                <a:lnTo>
                  <a:pt x="2576" y="1595"/>
                </a:lnTo>
                <a:lnTo>
                  <a:pt x="2578" y="1594"/>
                </a:lnTo>
                <a:lnTo>
                  <a:pt x="2579" y="1593"/>
                </a:lnTo>
                <a:close/>
                <a:moveTo>
                  <a:pt x="3168" y="1250"/>
                </a:moveTo>
                <a:lnTo>
                  <a:pt x="3167" y="1248"/>
                </a:lnTo>
                <a:lnTo>
                  <a:pt x="3165" y="1247"/>
                </a:lnTo>
                <a:lnTo>
                  <a:pt x="3163" y="1248"/>
                </a:lnTo>
                <a:lnTo>
                  <a:pt x="3162" y="1250"/>
                </a:lnTo>
                <a:lnTo>
                  <a:pt x="3163" y="1253"/>
                </a:lnTo>
                <a:lnTo>
                  <a:pt x="3165" y="1254"/>
                </a:lnTo>
                <a:lnTo>
                  <a:pt x="3167" y="1253"/>
                </a:lnTo>
                <a:lnTo>
                  <a:pt x="3168" y="1250"/>
                </a:lnTo>
                <a:close/>
                <a:moveTo>
                  <a:pt x="621" y="1027"/>
                </a:moveTo>
                <a:lnTo>
                  <a:pt x="619" y="1027"/>
                </a:lnTo>
                <a:lnTo>
                  <a:pt x="617" y="1028"/>
                </a:lnTo>
                <a:lnTo>
                  <a:pt x="617" y="1030"/>
                </a:lnTo>
                <a:lnTo>
                  <a:pt x="619" y="1032"/>
                </a:lnTo>
                <a:lnTo>
                  <a:pt x="621" y="1030"/>
                </a:lnTo>
                <a:lnTo>
                  <a:pt x="624" y="1030"/>
                </a:lnTo>
                <a:lnTo>
                  <a:pt x="622" y="1028"/>
                </a:lnTo>
                <a:lnTo>
                  <a:pt x="621" y="1027"/>
                </a:lnTo>
                <a:close/>
                <a:moveTo>
                  <a:pt x="169" y="684"/>
                </a:moveTo>
                <a:lnTo>
                  <a:pt x="171" y="684"/>
                </a:lnTo>
                <a:lnTo>
                  <a:pt x="172" y="682"/>
                </a:lnTo>
                <a:lnTo>
                  <a:pt x="172" y="678"/>
                </a:lnTo>
                <a:lnTo>
                  <a:pt x="170" y="677"/>
                </a:lnTo>
                <a:lnTo>
                  <a:pt x="168" y="678"/>
                </a:lnTo>
                <a:lnTo>
                  <a:pt x="168" y="681"/>
                </a:lnTo>
                <a:lnTo>
                  <a:pt x="168" y="683"/>
                </a:lnTo>
                <a:lnTo>
                  <a:pt x="169" y="684"/>
                </a:lnTo>
                <a:close/>
                <a:moveTo>
                  <a:pt x="1059" y="375"/>
                </a:moveTo>
                <a:lnTo>
                  <a:pt x="1065" y="376"/>
                </a:lnTo>
                <a:lnTo>
                  <a:pt x="1070" y="372"/>
                </a:lnTo>
                <a:lnTo>
                  <a:pt x="1064" y="371"/>
                </a:lnTo>
                <a:lnTo>
                  <a:pt x="1059" y="375"/>
                </a:lnTo>
                <a:close/>
                <a:moveTo>
                  <a:pt x="1800" y="1601"/>
                </a:moveTo>
                <a:lnTo>
                  <a:pt x="1798" y="1602"/>
                </a:lnTo>
                <a:lnTo>
                  <a:pt x="1798" y="1604"/>
                </a:lnTo>
                <a:lnTo>
                  <a:pt x="1799" y="1606"/>
                </a:lnTo>
                <a:lnTo>
                  <a:pt x="1801" y="1607"/>
                </a:lnTo>
                <a:lnTo>
                  <a:pt x="1801" y="1605"/>
                </a:lnTo>
                <a:lnTo>
                  <a:pt x="1802" y="1604"/>
                </a:lnTo>
                <a:lnTo>
                  <a:pt x="1802" y="1602"/>
                </a:lnTo>
                <a:lnTo>
                  <a:pt x="1800" y="1601"/>
                </a:lnTo>
                <a:close/>
                <a:moveTo>
                  <a:pt x="683" y="1085"/>
                </a:moveTo>
                <a:lnTo>
                  <a:pt x="691" y="1086"/>
                </a:lnTo>
                <a:lnTo>
                  <a:pt x="697" y="1083"/>
                </a:lnTo>
                <a:lnTo>
                  <a:pt x="691" y="1083"/>
                </a:lnTo>
                <a:lnTo>
                  <a:pt x="683" y="1085"/>
                </a:lnTo>
                <a:close/>
                <a:moveTo>
                  <a:pt x="1928" y="978"/>
                </a:moveTo>
                <a:lnTo>
                  <a:pt x="1930" y="979"/>
                </a:lnTo>
                <a:lnTo>
                  <a:pt x="1931" y="977"/>
                </a:lnTo>
                <a:lnTo>
                  <a:pt x="1934" y="973"/>
                </a:lnTo>
                <a:lnTo>
                  <a:pt x="1929" y="971"/>
                </a:lnTo>
                <a:lnTo>
                  <a:pt x="1927" y="962"/>
                </a:lnTo>
                <a:lnTo>
                  <a:pt x="1919" y="961"/>
                </a:lnTo>
                <a:lnTo>
                  <a:pt x="1888" y="961"/>
                </a:lnTo>
                <a:lnTo>
                  <a:pt x="1858" y="962"/>
                </a:lnTo>
                <a:lnTo>
                  <a:pt x="1845" y="963"/>
                </a:lnTo>
                <a:lnTo>
                  <a:pt x="1834" y="963"/>
                </a:lnTo>
                <a:lnTo>
                  <a:pt x="1813" y="963"/>
                </a:lnTo>
                <a:lnTo>
                  <a:pt x="1791" y="965"/>
                </a:lnTo>
                <a:lnTo>
                  <a:pt x="1797" y="971"/>
                </a:lnTo>
                <a:lnTo>
                  <a:pt x="1803" y="974"/>
                </a:lnTo>
                <a:lnTo>
                  <a:pt x="1812" y="977"/>
                </a:lnTo>
                <a:lnTo>
                  <a:pt x="1809" y="984"/>
                </a:lnTo>
                <a:lnTo>
                  <a:pt x="1805" y="984"/>
                </a:lnTo>
                <a:lnTo>
                  <a:pt x="1802" y="989"/>
                </a:lnTo>
                <a:lnTo>
                  <a:pt x="1798" y="992"/>
                </a:lnTo>
                <a:lnTo>
                  <a:pt x="1797" y="995"/>
                </a:lnTo>
                <a:lnTo>
                  <a:pt x="1800" y="998"/>
                </a:lnTo>
                <a:lnTo>
                  <a:pt x="1804" y="999"/>
                </a:lnTo>
                <a:lnTo>
                  <a:pt x="1809" y="998"/>
                </a:lnTo>
                <a:lnTo>
                  <a:pt x="1814" y="995"/>
                </a:lnTo>
                <a:lnTo>
                  <a:pt x="1815" y="991"/>
                </a:lnTo>
                <a:lnTo>
                  <a:pt x="1814" y="987"/>
                </a:lnTo>
                <a:lnTo>
                  <a:pt x="1824" y="983"/>
                </a:lnTo>
                <a:lnTo>
                  <a:pt x="1835" y="989"/>
                </a:lnTo>
                <a:lnTo>
                  <a:pt x="1836" y="991"/>
                </a:lnTo>
                <a:lnTo>
                  <a:pt x="1834" y="994"/>
                </a:lnTo>
                <a:lnTo>
                  <a:pt x="1828" y="1001"/>
                </a:lnTo>
                <a:lnTo>
                  <a:pt x="1827" y="1011"/>
                </a:lnTo>
                <a:lnTo>
                  <a:pt x="1829" y="1009"/>
                </a:lnTo>
                <a:lnTo>
                  <a:pt x="1830" y="1008"/>
                </a:lnTo>
                <a:lnTo>
                  <a:pt x="1831" y="1008"/>
                </a:lnTo>
                <a:lnTo>
                  <a:pt x="1831" y="1008"/>
                </a:lnTo>
                <a:lnTo>
                  <a:pt x="1831" y="1009"/>
                </a:lnTo>
                <a:lnTo>
                  <a:pt x="1831" y="1009"/>
                </a:lnTo>
                <a:lnTo>
                  <a:pt x="1830" y="1011"/>
                </a:lnTo>
                <a:lnTo>
                  <a:pt x="1829" y="1012"/>
                </a:lnTo>
                <a:lnTo>
                  <a:pt x="1828" y="1013"/>
                </a:lnTo>
                <a:lnTo>
                  <a:pt x="1827" y="1015"/>
                </a:lnTo>
                <a:lnTo>
                  <a:pt x="1823" y="1021"/>
                </a:lnTo>
                <a:lnTo>
                  <a:pt x="1825" y="1022"/>
                </a:lnTo>
                <a:lnTo>
                  <a:pt x="1840" y="1021"/>
                </a:lnTo>
                <a:lnTo>
                  <a:pt x="1854" y="1024"/>
                </a:lnTo>
                <a:lnTo>
                  <a:pt x="1849" y="1027"/>
                </a:lnTo>
                <a:lnTo>
                  <a:pt x="1845" y="1032"/>
                </a:lnTo>
                <a:lnTo>
                  <a:pt x="1851" y="1032"/>
                </a:lnTo>
                <a:lnTo>
                  <a:pt x="1858" y="1030"/>
                </a:lnTo>
                <a:lnTo>
                  <a:pt x="1862" y="1029"/>
                </a:lnTo>
                <a:lnTo>
                  <a:pt x="1863" y="1025"/>
                </a:lnTo>
                <a:lnTo>
                  <a:pt x="1862" y="1021"/>
                </a:lnTo>
                <a:lnTo>
                  <a:pt x="1856" y="1020"/>
                </a:lnTo>
                <a:lnTo>
                  <a:pt x="1851" y="1017"/>
                </a:lnTo>
                <a:lnTo>
                  <a:pt x="1845" y="1011"/>
                </a:lnTo>
                <a:lnTo>
                  <a:pt x="1864" y="998"/>
                </a:lnTo>
                <a:lnTo>
                  <a:pt x="1878" y="981"/>
                </a:lnTo>
                <a:lnTo>
                  <a:pt x="1883" y="978"/>
                </a:lnTo>
                <a:lnTo>
                  <a:pt x="1889" y="980"/>
                </a:lnTo>
                <a:lnTo>
                  <a:pt x="1904" y="986"/>
                </a:lnTo>
                <a:lnTo>
                  <a:pt x="1921" y="980"/>
                </a:lnTo>
                <a:lnTo>
                  <a:pt x="1918" y="978"/>
                </a:lnTo>
                <a:lnTo>
                  <a:pt x="1913" y="977"/>
                </a:lnTo>
                <a:lnTo>
                  <a:pt x="1921" y="972"/>
                </a:lnTo>
                <a:lnTo>
                  <a:pt x="1928" y="972"/>
                </a:lnTo>
                <a:lnTo>
                  <a:pt x="1928" y="972"/>
                </a:lnTo>
                <a:lnTo>
                  <a:pt x="1927" y="975"/>
                </a:lnTo>
                <a:lnTo>
                  <a:pt x="1928" y="978"/>
                </a:lnTo>
                <a:close/>
                <a:moveTo>
                  <a:pt x="1357" y="916"/>
                </a:moveTo>
                <a:lnTo>
                  <a:pt x="1357" y="916"/>
                </a:lnTo>
                <a:lnTo>
                  <a:pt x="1357" y="916"/>
                </a:lnTo>
                <a:lnTo>
                  <a:pt x="1364" y="916"/>
                </a:lnTo>
                <a:lnTo>
                  <a:pt x="1371" y="916"/>
                </a:lnTo>
                <a:lnTo>
                  <a:pt x="1371" y="916"/>
                </a:lnTo>
                <a:lnTo>
                  <a:pt x="1371" y="916"/>
                </a:lnTo>
                <a:lnTo>
                  <a:pt x="1364" y="916"/>
                </a:lnTo>
                <a:lnTo>
                  <a:pt x="1357" y="916"/>
                </a:lnTo>
                <a:close/>
                <a:moveTo>
                  <a:pt x="3247" y="1389"/>
                </a:moveTo>
                <a:lnTo>
                  <a:pt x="3246" y="1390"/>
                </a:lnTo>
                <a:lnTo>
                  <a:pt x="3246" y="1392"/>
                </a:lnTo>
                <a:lnTo>
                  <a:pt x="3250" y="1394"/>
                </a:lnTo>
                <a:lnTo>
                  <a:pt x="3256" y="1392"/>
                </a:lnTo>
                <a:lnTo>
                  <a:pt x="3252" y="1389"/>
                </a:lnTo>
                <a:lnTo>
                  <a:pt x="3247" y="1389"/>
                </a:lnTo>
                <a:close/>
                <a:moveTo>
                  <a:pt x="2090" y="1097"/>
                </a:moveTo>
                <a:lnTo>
                  <a:pt x="2094" y="1089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4" y="1083"/>
                </a:lnTo>
                <a:lnTo>
                  <a:pt x="2090" y="1088"/>
                </a:lnTo>
                <a:lnTo>
                  <a:pt x="2090" y="1097"/>
                </a:lnTo>
                <a:close/>
                <a:moveTo>
                  <a:pt x="449" y="500"/>
                </a:moveTo>
                <a:lnTo>
                  <a:pt x="448" y="499"/>
                </a:lnTo>
                <a:lnTo>
                  <a:pt x="446" y="499"/>
                </a:lnTo>
                <a:lnTo>
                  <a:pt x="441" y="501"/>
                </a:lnTo>
                <a:lnTo>
                  <a:pt x="440" y="509"/>
                </a:lnTo>
                <a:lnTo>
                  <a:pt x="445" y="504"/>
                </a:lnTo>
                <a:lnTo>
                  <a:pt x="449" y="500"/>
                </a:lnTo>
                <a:close/>
                <a:moveTo>
                  <a:pt x="723" y="670"/>
                </a:moveTo>
                <a:lnTo>
                  <a:pt x="717" y="669"/>
                </a:lnTo>
                <a:lnTo>
                  <a:pt x="712" y="671"/>
                </a:lnTo>
                <a:lnTo>
                  <a:pt x="718" y="673"/>
                </a:lnTo>
                <a:lnTo>
                  <a:pt x="723" y="670"/>
                </a:lnTo>
                <a:close/>
                <a:moveTo>
                  <a:pt x="805" y="754"/>
                </a:moveTo>
                <a:lnTo>
                  <a:pt x="806" y="750"/>
                </a:lnTo>
                <a:lnTo>
                  <a:pt x="803" y="746"/>
                </a:lnTo>
                <a:lnTo>
                  <a:pt x="801" y="750"/>
                </a:lnTo>
                <a:lnTo>
                  <a:pt x="802" y="754"/>
                </a:lnTo>
                <a:lnTo>
                  <a:pt x="803" y="754"/>
                </a:lnTo>
                <a:lnTo>
                  <a:pt x="805" y="754"/>
                </a:lnTo>
                <a:close/>
                <a:moveTo>
                  <a:pt x="957" y="310"/>
                </a:moveTo>
                <a:lnTo>
                  <a:pt x="958" y="310"/>
                </a:lnTo>
                <a:lnTo>
                  <a:pt x="960" y="309"/>
                </a:lnTo>
                <a:lnTo>
                  <a:pt x="961" y="305"/>
                </a:lnTo>
                <a:lnTo>
                  <a:pt x="958" y="302"/>
                </a:lnTo>
                <a:lnTo>
                  <a:pt x="956" y="306"/>
                </a:lnTo>
                <a:lnTo>
                  <a:pt x="957" y="310"/>
                </a:lnTo>
                <a:close/>
                <a:moveTo>
                  <a:pt x="1317" y="1163"/>
                </a:moveTo>
                <a:lnTo>
                  <a:pt x="1316" y="1156"/>
                </a:lnTo>
                <a:lnTo>
                  <a:pt x="1310" y="1150"/>
                </a:lnTo>
                <a:lnTo>
                  <a:pt x="1313" y="1157"/>
                </a:lnTo>
                <a:lnTo>
                  <a:pt x="1317" y="1163"/>
                </a:lnTo>
                <a:close/>
                <a:moveTo>
                  <a:pt x="424" y="430"/>
                </a:moveTo>
                <a:lnTo>
                  <a:pt x="427" y="429"/>
                </a:lnTo>
                <a:lnTo>
                  <a:pt x="429" y="425"/>
                </a:lnTo>
                <a:lnTo>
                  <a:pt x="429" y="422"/>
                </a:lnTo>
                <a:lnTo>
                  <a:pt x="429" y="417"/>
                </a:lnTo>
                <a:lnTo>
                  <a:pt x="434" y="412"/>
                </a:lnTo>
                <a:lnTo>
                  <a:pt x="429" y="408"/>
                </a:lnTo>
                <a:lnTo>
                  <a:pt x="428" y="408"/>
                </a:lnTo>
                <a:lnTo>
                  <a:pt x="426" y="407"/>
                </a:lnTo>
                <a:lnTo>
                  <a:pt x="421" y="407"/>
                </a:lnTo>
                <a:lnTo>
                  <a:pt x="414" y="409"/>
                </a:lnTo>
                <a:lnTo>
                  <a:pt x="408" y="412"/>
                </a:lnTo>
                <a:lnTo>
                  <a:pt x="408" y="421"/>
                </a:lnTo>
                <a:lnTo>
                  <a:pt x="414" y="426"/>
                </a:lnTo>
                <a:lnTo>
                  <a:pt x="421" y="423"/>
                </a:lnTo>
                <a:lnTo>
                  <a:pt x="421" y="428"/>
                </a:lnTo>
                <a:lnTo>
                  <a:pt x="424" y="430"/>
                </a:lnTo>
                <a:close/>
                <a:moveTo>
                  <a:pt x="1799" y="1629"/>
                </a:moveTo>
                <a:lnTo>
                  <a:pt x="1802" y="1619"/>
                </a:lnTo>
                <a:lnTo>
                  <a:pt x="1800" y="1611"/>
                </a:lnTo>
                <a:lnTo>
                  <a:pt x="1798" y="1619"/>
                </a:lnTo>
                <a:lnTo>
                  <a:pt x="1799" y="1629"/>
                </a:lnTo>
                <a:close/>
                <a:moveTo>
                  <a:pt x="584" y="302"/>
                </a:moveTo>
                <a:lnTo>
                  <a:pt x="580" y="296"/>
                </a:lnTo>
                <a:lnTo>
                  <a:pt x="576" y="290"/>
                </a:lnTo>
                <a:lnTo>
                  <a:pt x="576" y="299"/>
                </a:lnTo>
                <a:lnTo>
                  <a:pt x="584" y="302"/>
                </a:lnTo>
                <a:close/>
                <a:moveTo>
                  <a:pt x="1103" y="916"/>
                </a:moveTo>
                <a:lnTo>
                  <a:pt x="1105" y="905"/>
                </a:lnTo>
                <a:lnTo>
                  <a:pt x="1102" y="897"/>
                </a:lnTo>
                <a:lnTo>
                  <a:pt x="1101" y="905"/>
                </a:lnTo>
                <a:lnTo>
                  <a:pt x="1103" y="916"/>
                </a:lnTo>
                <a:close/>
                <a:moveTo>
                  <a:pt x="762" y="1253"/>
                </a:moveTo>
                <a:lnTo>
                  <a:pt x="764" y="1253"/>
                </a:lnTo>
                <a:lnTo>
                  <a:pt x="767" y="1251"/>
                </a:lnTo>
                <a:lnTo>
                  <a:pt x="764" y="1247"/>
                </a:lnTo>
                <a:lnTo>
                  <a:pt x="759" y="1246"/>
                </a:lnTo>
                <a:lnTo>
                  <a:pt x="756" y="1246"/>
                </a:lnTo>
                <a:lnTo>
                  <a:pt x="755" y="1250"/>
                </a:lnTo>
                <a:lnTo>
                  <a:pt x="758" y="1253"/>
                </a:lnTo>
                <a:lnTo>
                  <a:pt x="762" y="1253"/>
                </a:lnTo>
                <a:close/>
                <a:moveTo>
                  <a:pt x="781" y="761"/>
                </a:moveTo>
                <a:lnTo>
                  <a:pt x="787" y="761"/>
                </a:lnTo>
                <a:lnTo>
                  <a:pt x="792" y="755"/>
                </a:lnTo>
                <a:lnTo>
                  <a:pt x="786" y="755"/>
                </a:lnTo>
                <a:lnTo>
                  <a:pt x="779" y="757"/>
                </a:lnTo>
                <a:lnTo>
                  <a:pt x="779" y="759"/>
                </a:lnTo>
                <a:lnTo>
                  <a:pt x="781" y="761"/>
                </a:lnTo>
                <a:close/>
                <a:moveTo>
                  <a:pt x="503" y="460"/>
                </a:moveTo>
                <a:lnTo>
                  <a:pt x="500" y="460"/>
                </a:lnTo>
                <a:lnTo>
                  <a:pt x="499" y="463"/>
                </a:lnTo>
                <a:lnTo>
                  <a:pt x="500" y="467"/>
                </a:lnTo>
                <a:lnTo>
                  <a:pt x="503" y="468"/>
                </a:lnTo>
                <a:lnTo>
                  <a:pt x="508" y="468"/>
                </a:lnTo>
                <a:lnTo>
                  <a:pt x="510" y="464"/>
                </a:lnTo>
                <a:lnTo>
                  <a:pt x="508" y="461"/>
                </a:lnTo>
                <a:lnTo>
                  <a:pt x="503" y="460"/>
                </a:lnTo>
                <a:close/>
                <a:moveTo>
                  <a:pt x="536" y="424"/>
                </a:moveTo>
                <a:lnTo>
                  <a:pt x="544" y="425"/>
                </a:lnTo>
                <a:lnTo>
                  <a:pt x="550" y="422"/>
                </a:lnTo>
                <a:lnTo>
                  <a:pt x="543" y="421"/>
                </a:lnTo>
                <a:lnTo>
                  <a:pt x="536" y="424"/>
                </a:lnTo>
                <a:close/>
                <a:moveTo>
                  <a:pt x="608" y="1100"/>
                </a:moveTo>
                <a:lnTo>
                  <a:pt x="619" y="1100"/>
                </a:lnTo>
                <a:lnTo>
                  <a:pt x="627" y="1097"/>
                </a:lnTo>
                <a:lnTo>
                  <a:pt x="618" y="1096"/>
                </a:lnTo>
                <a:lnTo>
                  <a:pt x="608" y="1100"/>
                </a:lnTo>
                <a:close/>
                <a:moveTo>
                  <a:pt x="960" y="283"/>
                </a:moveTo>
                <a:lnTo>
                  <a:pt x="959" y="281"/>
                </a:lnTo>
                <a:lnTo>
                  <a:pt x="957" y="281"/>
                </a:lnTo>
                <a:lnTo>
                  <a:pt x="956" y="287"/>
                </a:lnTo>
                <a:lnTo>
                  <a:pt x="958" y="294"/>
                </a:lnTo>
                <a:lnTo>
                  <a:pt x="963" y="288"/>
                </a:lnTo>
                <a:lnTo>
                  <a:pt x="960" y="283"/>
                </a:lnTo>
                <a:close/>
                <a:moveTo>
                  <a:pt x="276" y="1544"/>
                </a:moveTo>
                <a:lnTo>
                  <a:pt x="272" y="1552"/>
                </a:lnTo>
                <a:lnTo>
                  <a:pt x="274" y="1560"/>
                </a:lnTo>
                <a:lnTo>
                  <a:pt x="277" y="1553"/>
                </a:lnTo>
                <a:lnTo>
                  <a:pt x="276" y="1544"/>
                </a:lnTo>
                <a:close/>
                <a:moveTo>
                  <a:pt x="1774" y="1920"/>
                </a:moveTo>
                <a:lnTo>
                  <a:pt x="1778" y="1917"/>
                </a:lnTo>
                <a:lnTo>
                  <a:pt x="1780" y="1913"/>
                </a:lnTo>
                <a:lnTo>
                  <a:pt x="1778" y="1911"/>
                </a:lnTo>
                <a:lnTo>
                  <a:pt x="1776" y="1910"/>
                </a:lnTo>
                <a:lnTo>
                  <a:pt x="1771" y="1913"/>
                </a:lnTo>
                <a:lnTo>
                  <a:pt x="1770" y="1917"/>
                </a:lnTo>
                <a:lnTo>
                  <a:pt x="1771" y="1920"/>
                </a:lnTo>
                <a:lnTo>
                  <a:pt x="1774" y="1920"/>
                </a:lnTo>
                <a:close/>
                <a:moveTo>
                  <a:pt x="2162" y="1113"/>
                </a:moveTo>
                <a:lnTo>
                  <a:pt x="2153" y="1110"/>
                </a:lnTo>
                <a:lnTo>
                  <a:pt x="2142" y="1114"/>
                </a:lnTo>
                <a:lnTo>
                  <a:pt x="2153" y="1116"/>
                </a:lnTo>
                <a:lnTo>
                  <a:pt x="2162" y="1113"/>
                </a:lnTo>
                <a:close/>
                <a:moveTo>
                  <a:pt x="2568" y="1625"/>
                </a:moveTo>
                <a:lnTo>
                  <a:pt x="2564" y="1626"/>
                </a:lnTo>
                <a:lnTo>
                  <a:pt x="2563" y="1631"/>
                </a:lnTo>
                <a:lnTo>
                  <a:pt x="2565" y="1634"/>
                </a:lnTo>
                <a:lnTo>
                  <a:pt x="2568" y="1635"/>
                </a:lnTo>
                <a:lnTo>
                  <a:pt x="2572" y="1633"/>
                </a:lnTo>
                <a:lnTo>
                  <a:pt x="2573" y="1629"/>
                </a:lnTo>
                <a:lnTo>
                  <a:pt x="2572" y="1625"/>
                </a:lnTo>
                <a:lnTo>
                  <a:pt x="2568" y="1625"/>
                </a:lnTo>
                <a:close/>
                <a:moveTo>
                  <a:pt x="1070" y="910"/>
                </a:move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4" y="908"/>
                </a:lnTo>
                <a:lnTo>
                  <a:pt x="1075" y="905"/>
                </a:lnTo>
                <a:lnTo>
                  <a:pt x="1080" y="895"/>
                </a:lnTo>
                <a:lnTo>
                  <a:pt x="1087" y="904"/>
                </a:lnTo>
                <a:lnTo>
                  <a:pt x="1089" y="906"/>
                </a:lnTo>
                <a:lnTo>
                  <a:pt x="1093" y="905"/>
                </a:lnTo>
                <a:lnTo>
                  <a:pt x="1095" y="900"/>
                </a:lnTo>
                <a:lnTo>
                  <a:pt x="1094" y="894"/>
                </a:lnTo>
                <a:lnTo>
                  <a:pt x="1091" y="890"/>
                </a:lnTo>
                <a:lnTo>
                  <a:pt x="1087" y="890"/>
                </a:lnTo>
                <a:lnTo>
                  <a:pt x="1072" y="891"/>
                </a:lnTo>
                <a:lnTo>
                  <a:pt x="1057" y="894"/>
                </a:lnTo>
                <a:lnTo>
                  <a:pt x="1051" y="896"/>
                </a:lnTo>
                <a:lnTo>
                  <a:pt x="1049" y="903"/>
                </a:lnTo>
                <a:lnTo>
                  <a:pt x="1061" y="902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lnTo>
                  <a:pt x="1070" y="910"/>
                </a:lnTo>
                <a:close/>
                <a:moveTo>
                  <a:pt x="1063" y="916"/>
                </a:moveTo>
                <a:lnTo>
                  <a:pt x="1069" y="920"/>
                </a:lnTo>
                <a:lnTo>
                  <a:pt x="1077" y="919"/>
                </a:lnTo>
                <a:lnTo>
                  <a:pt x="1071" y="915"/>
                </a:lnTo>
                <a:lnTo>
                  <a:pt x="1070" y="910"/>
                </a:lnTo>
                <a:lnTo>
                  <a:pt x="1064" y="911"/>
                </a:lnTo>
                <a:lnTo>
                  <a:pt x="1063" y="916"/>
                </a:lnTo>
                <a:close/>
                <a:moveTo>
                  <a:pt x="766" y="942"/>
                </a:moveTo>
                <a:lnTo>
                  <a:pt x="762" y="945"/>
                </a:lnTo>
                <a:lnTo>
                  <a:pt x="760" y="949"/>
                </a:lnTo>
                <a:lnTo>
                  <a:pt x="761" y="951"/>
                </a:lnTo>
                <a:lnTo>
                  <a:pt x="764" y="951"/>
                </a:lnTo>
                <a:lnTo>
                  <a:pt x="769" y="949"/>
                </a:lnTo>
                <a:lnTo>
                  <a:pt x="770" y="946"/>
                </a:lnTo>
                <a:lnTo>
                  <a:pt x="769" y="943"/>
                </a:lnTo>
                <a:lnTo>
                  <a:pt x="766" y="942"/>
                </a:lnTo>
                <a:close/>
                <a:moveTo>
                  <a:pt x="2237" y="1069"/>
                </a:moveTo>
                <a:lnTo>
                  <a:pt x="2250" y="1070"/>
                </a:lnTo>
                <a:lnTo>
                  <a:pt x="2256" y="1061"/>
                </a:lnTo>
                <a:lnTo>
                  <a:pt x="2247" y="1066"/>
                </a:lnTo>
                <a:lnTo>
                  <a:pt x="2237" y="1069"/>
                </a:lnTo>
                <a:close/>
                <a:moveTo>
                  <a:pt x="2250" y="1395"/>
                </a:moveTo>
                <a:lnTo>
                  <a:pt x="2254" y="1392"/>
                </a:lnTo>
                <a:lnTo>
                  <a:pt x="2255" y="1388"/>
                </a:lnTo>
                <a:lnTo>
                  <a:pt x="2254" y="1384"/>
                </a:lnTo>
                <a:lnTo>
                  <a:pt x="2250" y="1382"/>
                </a:lnTo>
                <a:lnTo>
                  <a:pt x="2245" y="1385"/>
                </a:lnTo>
                <a:lnTo>
                  <a:pt x="2248" y="1390"/>
                </a:lnTo>
                <a:lnTo>
                  <a:pt x="2246" y="1393"/>
                </a:lnTo>
                <a:lnTo>
                  <a:pt x="2250" y="1395"/>
                </a:lnTo>
                <a:close/>
                <a:moveTo>
                  <a:pt x="2310" y="1638"/>
                </a:moveTo>
                <a:lnTo>
                  <a:pt x="2310" y="1634"/>
                </a:lnTo>
                <a:lnTo>
                  <a:pt x="2306" y="1632"/>
                </a:lnTo>
                <a:lnTo>
                  <a:pt x="2303" y="1635"/>
                </a:lnTo>
                <a:lnTo>
                  <a:pt x="2303" y="1639"/>
                </a:lnTo>
                <a:lnTo>
                  <a:pt x="2305" y="1642"/>
                </a:lnTo>
                <a:lnTo>
                  <a:pt x="2308" y="1644"/>
                </a:lnTo>
                <a:lnTo>
                  <a:pt x="2312" y="1641"/>
                </a:lnTo>
                <a:lnTo>
                  <a:pt x="2310" y="1638"/>
                </a:lnTo>
                <a:close/>
                <a:moveTo>
                  <a:pt x="1554" y="1176"/>
                </a:moveTo>
                <a:lnTo>
                  <a:pt x="1540" y="1177"/>
                </a:lnTo>
                <a:lnTo>
                  <a:pt x="1526" y="1177"/>
                </a:lnTo>
                <a:lnTo>
                  <a:pt x="1540" y="1179"/>
                </a:lnTo>
                <a:lnTo>
                  <a:pt x="1554" y="1176"/>
                </a:lnTo>
                <a:close/>
                <a:moveTo>
                  <a:pt x="734" y="173"/>
                </a:moveTo>
                <a:lnTo>
                  <a:pt x="726" y="178"/>
                </a:lnTo>
                <a:lnTo>
                  <a:pt x="721" y="184"/>
                </a:lnTo>
                <a:lnTo>
                  <a:pt x="730" y="182"/>
                </a:lnTo>
                <a:lnTo>
                  <a:pt x="734" y="173"/>
                </a:lnTo>
                <a:close/>
                <a:moveTo>
                  <a:pt x="2137" y="1114"/>
                </a:moveTo>
                <a:lnTo>
                  <a:pt x="2127" y="1111"/>
                </a:lnTo>
                <a:lnTo>
                  <a:pt x="2116" y="1113"/>
                </a:lnTo>
                <a:lnTo>
                  <a:pt x="2126" y="1116"/>
                </a:lnTo>
                <a:lnTo>
                  <a:pt x="2137" y="1114"/>
                </a:lnTo>
                <a:close/>
                <a:moveTo>
                  <a:pt x="1742" y="1615"/>
                </a:moveTo>
                <a:lnTo>
                  <a:pt x="1747" y="1619"/>
                </a:lnTo>
                <a:lnTo>
                  <a:pt x="1754" y="1620"/>
                </a:lnTo>
                <a:lnTo>
                  <a:pt x="1755" y="1619"/>
                </a:lnTo>
                <a:lnTo>
                  <a:pt x="1755" y="1617"/>
                </a:lnTo>
                <a:lnTo>
                  <a:pt x="1748" y="1614"/>
                </a:lnTo>
                <a:lnTo>
                  <a:pt x="1742" y="1615"/>
                </a:lnTo>
                <a:close/>
                <a:moveTo>
                  <a:pt x="2651" y="1775"/>
                </a:moveTo>
                <a:lnTo>
                  <a:pt x="2654" y="1772"/>
                </a:lnTo>
                <a:lnTo>
                  <a:pt x="2655" y="1768"/>
                </a:lnTo>
                <a:lnTo>
                  <a:pt x="2654" y="1764"/>
                </a:lnTo>
                <a:lnTo>
                  <a:pt x="2652" y="1764"/>
                </a:lnTo>
                <a:lnTo>
                  <a:pt x="2648" y="1767"/>
                </a:lnTo>
                <a:lnTo>
                  <a:pt x="2647" y="1772"/>
                </a:lnTo>
                <a:lnTo>
                  <a:pt x="2648" y="1774"/>
                </a:lnTo>
                <a:lnTo>
                  <a:pt x="2651" y="1775"/>
                </a:lnTo>
                <a:close/>
                <a:moveTo>
                  <a:pt x="2959" y="1559"/>
                </a:moveTo>
                <a:lnTo>
                  <a:pt x="2960" y="1562"/>
                </a:lnTo>
                <a:lnTo>
                  <a:pt x="2964" y="1563"/>
                </a:lnTo>
                <a:lnTo>
                  <a:pt x="2968" y="1561"/>
                </a:lnTo>
                <a:lnTo>
                  <a:pt x="2970" y="1558"/>
                </a:lnTo>
                <a:lnTo>
                  <a:pt x="2969" y="1555"/>
                </a:lnTo>
                <a:lnTo>
                  <a:pt x="2966" y="1554"/>
                </a:lnTo>
                <a:lnTo>
                  <a:pt x="2961" y="1555"/>
                </a:lnTo>
                <a:lnTo>
                  <a:pt x="2959" y="1559"/>
                </a:lnTo>
                <a:close/>
                <a:moveTo>
                  <a:pt x="579" y="1450"/>
                </a:moveTo>
                <a:lnTo>
                  <a:pt x="575" y="1451"/>
                </a:lnTo>
                <a:lnTo>
                  <a:pt x="573" y="1454"/>
                </a:lnTo>
                <a:lnTo>
                  <a:pt x="576" y="1458"/>
                </a:lnTo>
                <a:lnTo>
                  <a:pt x="580" y="1458"/>
                </a:lnTo>
                <a:lnTo>
                  <a:pt x="585" y="1457"/>
                </a:lnTo>
                <a:lnTo>
                  <a:pt x="587" y="1454"/>
                </a:lnTo>
                <a:lnTo>
                  <a:pt x="584" y="1450"/>
                </a:lnTo>
                <a:lnTo>
                  <a:pt x="579" y="1450"/>
                </a:lnTo>
                <a:close/>
                <a:moveTo>
                  <a:pt x="2224" y="1381"/>
                </a:moveTo>
                <a:lnTo>
                  <a:pt x="2221" y="1384"/>
                </a:lnTo>
                <a:lnTo>
                  <a:pt x="2221" y="1387"/>
                </a:lnTo>
                <a:lnTo>
                  <a:pt x="2222" y="1393"/>
                </a:lnTo>
                <a:lnTo>
                  <a:pt x="2225" y="1396"/>
                </a:lnTo>
                <a:lnTo>
                  <a:pt x="2229" y="1394"/>
                </a:lnTo>
                <a:lnTo>
                  <a:pt x="2228" y="1388"/>
                </a:lnTo>
                <a:lnTo>
                  <a:pt x="2229" y="1384"/>
                </a:lnTo>
                <a:lnTo>
                  <a:pt x="2224" y="1381"/>
                </a:lnTo>
                <a:close/>
                <a:moveTo>
                  <a:pt x="190" y="676"/>
                </a:moveTo>
                <a:lnTo>
                  <a:pt x="184" y="684"/>
                </a:lnTo>
                <a:lnTo>
                  <a:pt x="178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9" y="691"/>
                </a:lnTo>
                <a:lnTo>
                  <a:pt x="178" y="691"/>
                </a:lnTo>
                <a:lnTo>
                  <a:pt x="177" y="691"/>
                </a:lnTo>
                <a:lnTo>
                  <a:pt x="177" y="692"/>
                </a:lnTo>
                <a:lnTo>
                  <a:pt x="179" y="693"/>
                </a:lnTo>
                <a:lnTo>
                  <a:pt x="180" y="691"/>
                </a:lnTo>
                <a:lnTo>
                  <a:pt x="188" y="686"/>
                </a:lnTo>
                <a:lnTo>
                  <a:pt x="190" y="676"/>
                </a:lnTo>
                <a:close/>
                <a:moveTo>
                  <a:pt x="567" y="1107"/>
                </a:moveTo>
                <a:lnTo>
                  <a:pt x="557" y="1106"/>
                </a:lnTo>
                <a:lnTo>
                  <a:pt x="544" y="1110"/>
                </a:lnTo>
                <a:lnTo>
                  <a:pt x="556" y="1112"/>
                </a:lnTo>
                <a:lnTo>
                  <a:pt x="567" y="1107"/>
                </a:lnTo>
                <a:close/>
                <a:moveTo>
                  <a:pt x="2863" y="1063"/>
                </a:moveTo>
                <a:lnTo>
                  <a:pt x="2865" y="1067"/>
                </a:lnTo>
                <a:lnTo>
                  <a:pt x="2869" y="1069"/>
                </a:lnTo>
                <a:lnTo>
                  <a:pt x="2873" y="1067"/>
                </a:lnTo>
                <a:lnTo>
                  <a:pt x="2873" y="1063"/>
                </a:lnTo>
                <a:lnTo>
                  <a:pt x="2871" y="1058"/>
                </a:lnTo>
                <a:lnTo>
                  <a:pt x="2868" y="1057"/>
                </a:lnTo>
                <a:lnTo>
                  <a:pt x="2864" y="1059"/>
                </a:lnTo>
                <a:lnTo>
                  <a:pt x="2863" y="1063"/>
                </a:lnTo>
                <a:close/>
                <a:moveTo>
                  <a:pt x="608" y="663"/>
                </a:moveTo>
                <a:lnTo>
                  <a:pt x="612" y="673"/>
                </a:lnTo>
                <a:lnTo>
                  <a:pt x="616" y="682"/>
                </a:lnTo>
                <a:lnTo>
                  <a:pt x="621" y="668"/>
                </a:lnTo>
                <a:lnTo>
                  <a:pt x="608" y="663"/>
                </a:lnTo>
                <a:close/>
                <a:moveTo>
                  <a:pt x="1638" y="1525"/>
                </a:moveTo>
                <a:lnTo>
                  <a:pt x="1649" y="1529"/>
                </a:lnTo>
                <a:lnTo>
                  <a:pt x="1658" y="1526"/>
                </a:lnTo>
                <a:lnTo>
                  <a:pt x="1649" y="1521"/>
                </a:lnTo>
                <a:lnTo>
                  <a:pt x="1638" y="1525"/>
                </a:lnTo>
                <a:close/>
                <a:moveTo>
                  <a:pt x="802" y="227"/>
                </a:moveTo>
                <a:lnTo>
                  <a:pt x="804" y="233"/>
                </a:lnTo>
                <a:lnTo>
                  <a:pt x="810" y="237"/>
                </a:lnTo>
                <a:lnTo>
                  <a:pt x="810" y="243"/>
                </a:lnTo>
                <a:lnTo>
                  <a:pt x="813" y="246"/>
                </a:lnTo>
                <a:lnTo>
                  <a:pt x="828" y="247"/>
                </a:lnTo>
                <a:lnTo>
                  <a:pt x="842" y="241"/>
                </a:lnTo>
                <a:lnTo>
                  <a:pt x="847" y="238"/>
                </a:lnTo>
                <a:lnTo>
                  <a:pt x="848" y="232"/>
                </a:lnTo>
                <a:lnTo>
                  <a:pt x="843" y="229"/>
                </a:lnTo>
                <a:lnTo>
                  <a:pt x="836" y="229"/>
                </a:lnTo>
                <a:lnTo>
                  <a:pt x="824" y="232"/>
                </a:lnTo>
                <a:lnTo>
                  <a:pt x="813" y="233"/>
                </a:lnTo>
                <a:lnTo>
                  <a:pt x="812" y="229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21" y="219"/>
                </a:lnTo>
                <a:lnTo>
                  <a:pt x="829" y="211"/>
                </a:lnTo>
                <a:lnTo>
                  <a:pt x="833" y="210"/>
                </a:lnTo>
                <a:lnTo>
                  <a:pt x="835" y="206"/>
                </a:lnTo>
                <a:lnTo>
                  <a:pt x="832" y="203"/>
                </a:lnTo>
                <a:lnTo>
                  <a:pt x="828" y="203"/>
                </a:lnTo>
                <a:lnTo>
                  <a:pt x="818" y="206"/>
                </a:lnTo>
                <a:lnTo>
                  <a:pt x="809" y="209"/>
                </a:lnTo>
                <a:lnTo>
                  <a:pt x="807" y="213"/>
                </a:lnTo>
                <a:lnTo>
                  <a:pt x="810" y="216"/>
                </a:lnTo>
                <a:lnTo>
                  <a:pt x="810" y="219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10" y="224"/>
                </a:lnTo>
                <a:lnTo>
                  <a:pt x="805" y="224"/>
                </a:lnTo>
                <a:lnTo>
                  <a:pt x="802" y="227"/>
                </a:lnTo>
                <a:close/>
                <a:moveTo>
                  <a:pt x="3153" y="1261"/>
                </a:moveTo>
                <a:lnTo>
                  <a:pt x="3142" y="1255"/>
                </a:lnTo>
                <a:lnTo>
                  <a:pt x="3133" y="1256"/>
                </a:lnTo>
                <a:lnTo>
                  <a:pt x="3141" y="1263"/>
                </a:lnTo>
                <a:lnTo>
                  <a:pt x="3153" y="1261"/>
                </a:lnTo>
                <a:close/>
                <a:moveTo>
                  <a:pt x="647" y="243"/>
                </a:moveTo>
                <a:lnTo>
                  <a:pt x="654" y="238"/>
                </a:lnTo>
                <a:lnTo>
                  <a:pt x="661" y="233"/>
                </a:lnTo>
                <a:lnTo>
                  <a:pt x="651" y="233"/>
                </a:lnTo>
                <a:lnTo>
                  <a:pt x="647" y="243"/>
                </a:lnTo>
                <a:close/>
                <a:moveTo>
                  <a:pt x="808" y="1405"/>
                </a:moveTo>
                <a:lnTo>
                  <a:pt x="802" y="1407"/>
                </a:lnTo>
                <a:lnTo>
                  <a:pt x="800" y="1415"/>
                </a:lnTo>
                <a:lnTo>
                  <a:pt x="800" y="1415"/>
                </a:lnTo>
                <a:lnTo>
                  <a:pt x="793" y="1418"/>
                </a:lnTo>
                <a:lnTo>
                  <a:pt x="791" y="1422"/>
                </a:lnTo>
                <a:lnTo>
                  <a:pt x="796" y="1425"/>
                </a:lnTo>
                <a:lnTo>
                  <a:pt x="801" y="1423"/>
                </a:lnTo>
                <a:lnTo>
                  <a:pt x="808" y="1423"/>
                </a:lnTo>
                <a:lnTo>
                  <a:pt x="810" y="1416"/>
                </a:lnTo>
                <a:lnTo>
                  <a:pt x="813" y="1409"/>
                </a:lnTo>
                <a:lnTo>
                  <a:pt x="808" y="1405"/>
                </a:lnTo>
                <a:close/>
                <a:moveTo>
                  <a:pt x="2325" y="1074"/>
                </a:moveTo>
                <a:lnTo>
                  <a:pt x="2330" y="1073"/>
                </a:lnTo>
                <a:lnTo>
                  <a:pt x="2332" y="1069"/>
                </a:lnTo>
                <a:lnTo>
                  <a:pt x="2331" y="1066"/>
                </a:lnTo>
                <a:lnTo>
                  <a:pt x="2326" y="1065"/>
                </a:lnTo>
                <a:lnTo>
                  <a:pt x="2322" y="1068"/>
                </a:lnTo>
                <a:lnTo>
                  <a:pt x="2320" y="1072"/>
                </a:lnTo>
                <a:lnTo>
                  <a:pt x="2322" y="1074"/>
                </a:lnTo>
                <a:lnTo>
                  <a:pt x="2325" y="1074"/>
                </a:lnTo>
                <a:close/>
                <a:moveTo>
                  <a:pt x="216" y="532"/>
                </a:moveTo>
                <a:lnTo>
                  <a:pt x="211" y="533"/>
                </a:lnTo>
                <a:lnTo>
                  <a:pt x="209" y="537"/>
                </a:lnTo>
                <a:lnTo>
                  <a:pt x="210" y="540"/>
                </a:lnTo>
                <a:lnTo>
                  <a:pt x="213" y="543"/>
                </a:lnTo>
                <a:lnTo>
                  <a:pt x="217" y="541"/>
                </a:lnTo>
                <a:lnTo>
                  <a:pt x="220" y="537"/>
                </a:lnTo>
                <a:lnTo>
                  <a:pt x="218" y="533"/>
                </a:lnTo>
                <a:lnTo>
                  <a:pt x="216" y="532"/>
                </a:lnTo>
                <a:close/>
                <a:moveTo>
                  <a:pt x="2711" y="1212"/>
                </a:moveTo>
                <a:lnTo>
                  <a:pt x="2708" y="1214"/>
                </a:lnTo>
                <a:lnTo>
                  <a:pt x="2708" y="1218"/>
                </a:lnTo>
                <a:lnTo>
                  <a:pt x="2714" y="1220"/>
                </a:lnTo>
                <a:lnTo>
                  <a:pt x="2722" y="1219"/>
                </a:lnTo>
                <a:lnTo>
                  <a:pt x="2717" y="1212"/>
                </a:lnTo>
                <a:lnTo>
                  <a:pt x="2711" y="1212"/>
                </a:lnTo>
                <a:close/>
                <a:moveTo>
                  <a:pt x="282" y="482"/>
                </a:moveTo>
                <a:lnTo>
                  <a:pt x="286" y="480"/>
                </a:lnTo>
                <a:lnTo>
                  <a:pt x="288" y="476"/>
                </a:lnTo>
                <a:lnTo>
                  <a:pt x="287" y="473"/>
                </a:lnTo>
                <a:lnTo>
                  <a:pt x="284" y="472"/>
                </a:lnTo>
                <a:lnTo>
                  <a:pt x="279" y="473"/>
                </a:lnTo>
                <a:lnTo>
                  <a:pt x="276" y="477"/>
                </a:lnTo>
                <a:lnTo>
                  <a:pt x="278" y="480"/>
                </a:lnTo>
                <a:lnTo>
                  <a:pt x="282" y="482"/>
                </a:lnTo>
                <a:close/>
                <a:moveTo>
                  <a:pt x="198" y="563"/>
                </a:moveTo>
                <a:lnTo>
                  <a:pt x="197" y="560"/>
                </a:lnTo>
                <a:lnTo>
                  <a:pt x="194" y="559"/>
                </a:lnTo>
                <a:lnTo>
                  <a:pt x="188" y="561"/>
                </a:lnTo>
                <a:lnTo>
                  <a:pt x="186" y="565"/>
                </a:lnTo>
                <a:lnTo>
                  <a:pt x="187" y="568"/>
                </a:lnTo>
                <a:lnTo>
                  <a:pt x="191" y="569"/>
                </a:lnTo>
                <a:lnTo>
                  <a:pt x="196" y="568"/>
                </a:lnTo>
                <a:lnTo>
                  <a:pt x="198" y="563"/>
                </a:lnTo>
                <a:close/>
                <a:moveTo>
                  <a:pt x="1048" y="946"/>
                </a:moveTo>
                <a:lnTo>
                  <a:pt x="1064" y="946"/>
                </a:lnTo>
                <a:lnTo>
                  <a:pt x="1080" y="942"/>
                </a:lnTo>
                <a:lnTo>
                  <a:pt x="1064" y="944"/>
                </a:lnTo>
                <a:lnTo>
                  <a:pt x="1048" y="946"/>
                </a:lnTo>
                <a:close/>
                <a:moveTo>
                  <a:pt x="829" y="733"/>
                </a:moveTo>
                <a:lnTo>
                  <a:pt x="830" y="733"/>
                </a:lnTo>
                <a:lnTo>
                  <a:pt x="831" y="731"/>
                </a:lnTo>
                <a:lnTo>
                  <a:pt x="824" y="727"/>
                </a:lnTo>
                <a:lnTo>
                  <a:pt x="816" y="724"/>
                </a:lnTo>
                <a:lnTo>
                  <a:pt x="814" y="727"/>
                </a:lnTo>
                <a:lnTo>
                  <a:pt x="814" y="729"/>
                </a:lnTo>
                <a:lnTo>
                  <a:pt x="821" y="733"/>
                </a:lnTo>
                <a:lnTo>
                  <a:pt x="829" y="733"/>
                </a:lnTo>
                <a:close/>
                <a:moveTo>
                  <a:pt x="846" y="697"/>
                </a:moveTo>
                <a:lnTo>
                  <a:pt x="857" y="701"/>
                </a:lnTo>
                <a:lnTo>
                  <a:pt x="869" y="700"/>
                </a:lnTo>
                <a:lnTo>
                  <a:pt x="857" y="697"/>
                </a:lnTo>
                <a:lnTo>
                  <a:pt x="846" y="697"/>
                </a:lnTo>
                <a:close/>
                <a:moveTo>
                  <a:pt x="770" y="673"/>
                </a:moveTo>
                <a:lnTo>
                  <a:pt x="776" y="685"/>
                </a:lnTo>
                <a:lnTo>
                  <a:pt x="786" y="689"/>
                </a:lnTo>
                <a:lnTo>
                  <a:pt x="781" y="681"/>
                </a:lnTo>
                <a:lnTo>
                  <a:pt x="770" y="673"/>
                </a:lnTo>
                <a:close/>
                <a:moveTo>
                  <a:pt x="1032" y="912"/>
                </a:moveTo>
                <a:lnTo>
                  <a:pt x="1033" y="930"/>
                </a:lnTo>
                <a:lnTo>
                  <a:pt x="1034" y="948"/>
                </a:lnTo>
                <a:lnTo>
                  <a:pt x="1037" y="929"/>
                </a:lnTo>
                <a:lnTo>
                  <a:pt x="1037" y="910"/>
                </a:lnTo>
                <a:lnTo>
                  <a:pt x="1037" y="906"/>
                </a:lnTo>
                <a:lnTo>
                  <a:pt x="1039" y="902"/>
                </a:lnTo>
                <a:lnTo>
                  <a:pt x="1040" y="900"/>
                </a:lnTo>
                <a:lnTo>
                  <a:pt x="1037" y="899"/>
                </a:lnTo>
                <a:lnTo>
                  <a:pt x="1037" y="899"/>
                </a:lnTo>
                <a:lnTo>
                  <a:pt x="1037" y="899"/>
                </a:lnTo>
                <a:lnTo>
                  <a:pt x="1034" y="898"/>
                </a:lnTo>
                <a:lnTo>
                  <a:pt x="1032" y="900"/>
                </a:lnTo>
                <a:lnTo>
                  <a:pt x="1025" y="905"/>
                </a:lnTo>
                <a:lnTo>
                  <a:pt x="1032" y="912"/>
                </a:lnTo>
                <a:close/>
                <a:moveTo>
                  <a:pt x="1181" y="938"/>
                </a:moveTo>
                <a:lnTo>
                  <a:pt x="1169" y="940"/>
                </a:lnTo>
                <a:lnTo>
                  <a:pt x="1158" y="941"/>
                </a:lnTo>
                <a:lnTo>
                  <a:pt x="1170" y="947"/>
                </a:lnTo>
                <a:lnTo>
                  <a:pt x="1181" y="938"/>
                </a:lnTo>
                <a:close/>
                <a:moveTo>
                  <a:pt x="1203" y="947"/>
                </a:moveTo>
                <a:lnTo>
                  <a:pt x="1203" y="945"/>
                </a:lnTo>
                <a:lnTo>
                  <a:pt x="1202" y="943"/>
                </a:lnTo>
                <a:lnTo>
                  <a:pt x="1193" y="943"/>
                </a:lnTo>
                <a:lnTo>
                  <a:pt x="1183" y="949"/>
                </a:lnTo>
                <a:lnTo>
                  <a:pt x="1194" y="951"/>
                </a:lnTo>
                <a:lnTo>
                  <a:pt x="1203" y="947"/>
                </a:lnTo>
                <a:close/>
                <a:moveTo>
                  <a:pt x="2087" y="1293"/>
                </a:moveTo>
                <a:lnTo>
                  <a:pt x="2082" y="1294"/>
                </a:lnTo>
                <a:lnTo>
                  <a:pt x="2081" y="1296"/>
                </a:lnTo>
                <a:lnTo>
                  <a:pt x="2083" y="1301"/>
                </a:lnTo>
                <a:lnTo>
                  <a:pt x="2089" y="1303"/>
                </a:lnTo>
                <a:lnTo>
                  <a:pt x="2093" y="1302"/>
                </a:lnTo>
                <a:lnTo>
                  <a:pt x="2095" y="1298"/>
                </a:lnTo>
                <a:lnTo>
                  <a:pt x="2092" y="1294"/>
                </a:lnTo>
                <a:lnTo>
                  <a:pt x="2087" y="1293"/>
                </a:lnTo>
                <a:close/>
                <a:moveTo>
                  <a:pt x="678" y="809"/>
                </a:moveTo>
                <a:lnTo>
                  <a:pt x="672" y="808"/>
                </a:lnTo>
                <a:lnTo>
                  <a:pt x="667" y="806"/>
                </a:lnTo>
                <a:lnTo>
                  <a:pt x="670" y="813"/>
                </a:lnTo>
                <a:lnTo>
                  <a:pt x="676" y="815"/>
                </a:lnTo>
                <a:lnTo>
                  <a:pt x="681" y="816"/>
                </a:lnTo>
                <a:lnTo>
                  <a:pt x="685" y="813"/>
                </a:lnTo>
                <a:lnTo>
                  <a:pt x="683" y="809"/>
                </a:lnTo>
                <a:lnTo>
                  <a:pt x="678" y="809"/>
                </a:lnTo>
                <a:close/>
                <a:moveTo>
                  <a:pt x="2450" y="1116"/>
                </a:moveTo>
                <a:lnTo>
                  <a:pt x="2454" y="1117"/>
                </a:lnTo>
                <a:lnTo>
                  <a:pt x="2457" y="1114"/>
                </a:lnTo>
                <a:lnTo>
                  <a:pt x="2455" y="1110"/>
                </a:lnTo>
                <a:lnTo>
                  <a:pt x="2451" y="1109"/>
                </a:lnTo>
                <a:lnTo>
                  <a:pt x="2445" y="1109"/>
                </a:lnTo>
                <a:lnTo>
                  <a:pt x="2443" y="1112"/>
                </a:lnTo>
                <a:lnTo>
                  <a:pt x="2445" y="1115"/>
                </a:lnTo>
                <a:lnTo>
                  <a:pt x="2450" y="1116"/>
                </a:lnTo>
                <a:close/>
                <a:moveTo>
                  <a:pt x="172" y="727"/>
                </a:moveTo>
                <a:lnTo>
                  <a:pt x="169" y="723"/>
                </a:lnTo>
                <a:lnTo>
                  <a:pt x="172" y="719"/>
                </a:lnTo>
                <a:lnTo>
                  <a:pt x="172" y="723"/>
                </a:lnTo>
                <a:lnTo>
                  <a:pt x="172" y="727"/>
                </a:lnTo>
                <a:close/>
                <a:moveTo>
                  <a:pt x="2942" y="1621"/>
                </a:moveTo>
                <a:lnTo>
                  <a:pt x="2949" y="1626"/>
                </a:lnTo>
                <a:lnTo>
                  <a:pt x="2955" y="1629"/>
                </a:lnTo>
                <a:lnTo>
                  <a:pt x="2957" y="1624"/>
                </a:lnTo>
                <a:lnTo>
                  <a:pt x="2955" y="1619"/>
                </a:lnTo>
                <a:lnTo>
                  <a:pt x="2949" y="1617"/>
                </a:lnTo>
                <a:lnTo>
                  <a:pt x="2942" y="1621"/>
                </a:lnTo>
                <a:close/>
                <a:moveTo>
                  <a:pt x="2647" y="1022"/>
                </a:moveTo>
                <a:lnTo>
                  <a:pt x="2641" y="1023"/>
                </a:lnTo>
                <a:lnTo>
                  <a:pt x="2640" y="1027"/>
                </a:lnTo>
                <a:lnTo>
                  <a:pt x="2642" y="1034"/>
                </a:lnTo>
                <a:lnTo>
                  <a:pt x="2648" y="1036"/>
                </a:lnTo>
                <a:lnTo>
                  <a:pt x="2651" y="1034"/>
                </a:lnTo>
                <a:lnTo>
                  <a:pt x="2651" y="1032"/>
                </a:lnTo>
                <a:lnTo>
                  <a:pt x="2649" y="1025"/>
                </a:lnTo>
                <a:lnTo>
                  <a:pt x="2647" y="1022"/>
                </a:lnTo>
                <a:close/>
                <a:moveTo>
                  <a:pt x="170" y="594"/>
                </a:moveTo>
                <a:lnTo>
                  <a:pt x="175" y="590"/>
                </a:lnTo>
                <a:lnTo>
                  <a:pt x="177" y="583"/>
                </a:lnTo>
                <a:lnTo>
                  <a:pt x="176" y="581"/>
                </a:lnTo>
                <a:lnTo>
                  <a:pt x="172" y="580"/>
                </a:lnTo>
                <a:lnTo>
                  <a:pt x="167" y="584"/>
                </a:lnTo>
                <a:lnTo>
                  <a:pt x="164" y="589"/>
                </a:lnTo>
                <a:lnTo>
                  <a:pt x="166" y="593"/>
                </a:lnTo>
                <a:lnTo>
                  <a:pt x="170" y="594"/>
                </a:lnTo>
                <a:close/>
                <a:moveTo>
                  <a:pt x="721" y="1082"/>
                </a:moveTo>
                <a:lnTo>
                  <a:pt x="725" y="1082"/>
                </a:lnTo>
                <a:lnTo>
                  <a:pt x="727" y="1078"/>
                </a:lnTo>
                <a:lnTo>
                  <a:pt x="724" y="1075"/>
                </a:lnTo>
                <a:lnTo>
                  <a:pt x="718" y="1076"/>
                </a:lnTo>
                <a:lnTo>
                  <a:pt x="712" y="1079"/>
                </a:lnTo>
                <a:lnTo>
                  <a:pt x="702" y="1082"/>
                </a:lnTo>
                <a:lnTo>
                  <a:pt x="713" y="1082"/>
                </a:lnTo>
                <a:lnTo>
                  <a:pt x="721" y="1082"/>
                </a:lnTo>
                <a:close/>
                <a:moveTo>
                  <a:pt x="1505" y="1415"/>
                </a:moveTo>
                <a:lnTo>
                  <a:pt x="1496" y="1419"/>
                </a:lnTo>
                <a:lnTo>
                  <a:pt x="1490" y="1426"/>
                </a:lnTo>
                <a:lnTo>
                  <a:pt x="1501" y="1426"/>
                </a:lnTo>
                <a:lnTo>
                  <a:pt x="1509" y="1419"/>
                </a:lnTo>
                <a:lnTo>
                  <a:pt x="1509" y="1417"/>
                </a:lnTo>
                <a:lnTo>
                  <a:pt x="1505" y="1415"/>
                </a:lnTo>
                <a:close/>
                <a:moveTo>
                  <a:pt x="2037" y="1680"/>
                </a:moveTo>
                <a:lnTo>
                  <a:pt x="2042" y="1693"/>
                </a:lnTo>
                <a:lnTo>
                  <a:pt x="2050" y="1701"/>
                </a:lnTo>
                <a:lnTo>
                  <a:pt x="2046" y="1690"/>
                </a:lnTo>
                <a:lnTo>
                  <a:pt x="2037" y="1680"/>
                </a:lnTo>
                <a:close/>
                <a:moveTo>
                  <a:pt x="2188" y="1486"/>
                </a:moveTo>
                <a:lnTo>
                  <a:pt x="2201" y="1486"/>
                </a:lnTo>
                <a:lnTo>
                  <a:pt x="2210" y="1483"/>
                </a:lnTo>
                <a:lnTo>
                  <a:pt x="2211" y="1480"/>
                </a:lnTo>
                <a:lnTo>
                  <a:pt x="2209" y="1478"/>
                </a:lnTo>
                <a:lnTo>
                  <a:pt x="2199" y="1479"/>
                </a:lnTo>
                <a:lnTo>
                  <a:pt x="2188" y="1486"/>
                </a:lnTo>
                <a:close/>
                <a:moveTo>
                  <a:pt x="3163" y="1305"/>
                </a:moveTo>
                <a:lnTo>
                  <a:pt x="3164" y="1327"/>
                </a:lnTo>
                <a:lnTo>
                  <a:pt x="3166" y="1347"/>
                </a:lnTo>
                <a:lnTo>
                  <a:pt x="3167" y="1355"/>
                </a:lnTo>
                <a:lnTo>
                  <a:pt x="3173" y="1359"/>
                </a:lnTo>
                <a:lnTo>
                  <a:pt x="3170" y="1332"/>
                </a:lnTo>
                <a:lnTo>
                  <a:pt x="3167" y="1305"/>
                </a:lnTo>
                <a:lnTo>
                  <a:pt x="3167" y="1295"/>
                </a:lnTo>
                <a:lnTo>
                  <a:pt x="3161" y="1286"/>
                </a:lnTo>
                <a:lnTo>
                  <a:pt x="3159" y="1297"/>
                </a:lnTo>
                <a:lnTo>
                  <a:pt x="3163" y="1305"/>
                </a:lnTo>
                <a:close/>
                <a:moveTo>
                  <a:pt x="487" y="319"/>
                </a:moveTo>
                <a:lnTo>
                  <a:pt x="485" y="316"/>
                </a:lnTo>
                <a:lnTo>
                  <a:pt x="483" y="315"/>
                </a:lnTo>
                <a:lnTo>
                  <a:pt x="478" y="319"/>
                </a:lnTo>
                <a:lnTo>
                  <a:pt x="473" y="324"/>
                </a:lnTo>
                <a:lnTo>
                  <a:pt x="475" y="327"/>
                </a:lnTo>
                <a:lnTo>
                  <a:pt x="481" y="330"/>
                </a:lnTo>
                <a:lnTo>
                  <a:pt x="484" y="324"/>
                </a:lnTo>
                <a:lnTo>
                  <a:pt x="487" y="319"/>
                </a:lnTo>
                <a:close/>
                <a:moveTo>
                  <a:pt x="660" y="259"/>
                </a:moveTo>
                <a:lnTo>
                  <a:pt x="656" y="257"/>
                </a:lnTo>
                <a:lnTo>
                  <a:pt x="653" y="258"/>
                </a:lnTo>
                <a:lnTo>
                  <a:pt x="645" y="261"/>
                </a:lnTo>
                <a:lnTo>
                  <a:pt x="637" y="266"/>
                </a:lnTo>
                <a:lnTo>
                  <a:pt x="646" y="266"/>
                </a:lnTo>
                <a:lnTo>
                  <a:pt x="654" y="266"/>
                </a:lnTo>
                <a:lnTo>
                  <a:pt x="658" y="264"/>
                </a:lnTo>
                <a:lnTo>
                  <a:pt x="660" y="259"/>
                </a:lnTo>
                <a:close/>
                <a:moveTo>
                  <a:pt x="2674" y="1763"/>
                </a:moveTo>
                <a:lnTo>
                  <a:pt x="2678" y="1770"/>
                </a:lnTo>
                <a:lnTo>
                  <a:pt x="2683" y="1773"/>
                </a:lnTo>
                <a:lnTo>
                  <a:pt x="2686" y="1772"/>
                </a:lnTo>
                <a:lnTo>
                  <a:pt x="2688" y="1769"/>
                </a:lnTo>
                <a:lnTo>
                  <a:pt x="2685" y="1762"/>
                </a:lnTo>
                <a:lnTo>
                  <a:pt x="2679" y="1759"/>
                </a:lnTo>
                <a:lnTo>
                  <a:pt x="2676" y="1760"/>
                </a:lnTo>
                <a:lnTo>
                  <a:pt x="2674" y="1763"/>
                </a:lnTo>
                <a:close/>
                <a:moveTo>
                  <a:pt x="686" y="264"/>
                </a:moveTo>
                <a:lnTo>
                  <a:pt x="692" y="262"/>
                </a:lnTo>
                <a:lnTo>
                  <a:pt x="698" y="259"/>
                </a:lnTo>
                <a:lnTo>
                  <a:pt x="700" y="258"/>
                </a:lnTo>
                <a:lnTo>
                  <a:pt x="700" y="255"/>
                </a:lnTo>
                <a:lnTo>
                  <a:pt x="692" y="252"/>
                </a:lnTo>
                <a:lnTo>
                  <a:pt x="684" y="256"/>
                </a:lnTo>
                <a:lnTo>
                  <a:pt x="677" y="259"/>
                </a:lnTo>
                <a:lnTo>
                  <a:pt x="679" y="266"/>
                </a:lnTo>
                <a:lnTo>
                  <a:pt x="672" y="276"/>
                </a:lnTo>
                <a:lnTo>
                  <a:pt x="680" y="283"/>
                </a:lnTo>
                <a:lnTo>
                  <a:pt x="678" y="290"/>
                </a:lnTo>
                <a:lnTo>
                  <a:pt x="682" y="295"/>
                </a:lnTo>
                <a:lnTo>
                  <a:pt x="694" y="300"/>
                </a:lnTo>
                <a:lnTo>
                  <a:pt x="706" y="295"/>
                </a:lnTo>
                <a:lnTo>
                  <a:pt x="712" y="289"/>
                </a:lnTo>
                <a:lnTo>
                  <a:pt x="713" y="280"/>
                </a:lnTo>
                <a:lnTo>
                  <a:pt x="705" y="276"/>
                </a:lnTo>
                <a:lnTo>
                  <a:pt x="695" y="278"/>
                </a:lnTo>
                <a:lnTo>
                  <a:pt x="687" y="281"/>
                </a:lnTo>
                <a:lnTo>
                  <a:pt x="680" y="283"/>
                </a:lnTo>
                <a:lnTo>
                  <a:pt x="680" y="283"/>
                </a:lnTo>
                <a:lnTo>
                  <a:pt x="680" y="283"/>
                </a:lnTo>
                <a:lnTo>
                  <a:pt x="684" y="274"/>
                </a:lnTo>
                <a:lnTo>
                  <a:pt x="686" y="264"/>
                </a:lnTo>
                <a:close/>
                <a:moveTo>
                  <a:pt x="680" y="283"/>
                </a:moveTo>
                <a:lnTo>
                  <a:pt x="680" y="283"/>
                </a:lnTo>
                <a:lnTo>
                  <a:pt x="680" y="283"/>
                </a:lnTo>
                <a:lnTo>
                  <a:pt x="680" y="283"/>
                </a:lnTo>
                <a:close/>
                <a:moveTo>
                  <a:pt x="589" y="1574"/>
                </a:moveTo>
                <a:lnTo>
                  <a:pt x="607" y="1574"/>
                </a:lnTo>
                <a:lnTo>
                  <a:pt x="624" y="1572"/>
                </a:lnTo>
                <a:lnTo>
                  <a:pt x="607" y="1570"/>
                </a:lnTo>
                <a:lnTo>
                  <a:pt x="589" y="1574"/>
                </a:lnTo>
                <a:close/>
                <a:moveTo>
                  <a:pt x="275" y="1083"/>
                </a:moveTo>
                <a:lnTo>
                  <a:pt x="271" y="1085"/>
                </a:lnTo>
                <a:lnTo>
                  <a:pt x="270" y="1090"/>
                </a:lnTo>
                <a:lnTo>
                  <a:pt x="271" y="1093"/>
                </a:lnTo>
                <a:lnTo>
                  <a:pt x="272" y="1094"/>
                </a:lnTo>
                <a:lnTo>
                  <a:pt x="276" y="1093"/>
                </a:lnTo>
                <a:lnTo>
                  <a:pt x="278" y="1089"/>
                </a:lnTo>
                <a:lnTo>
                  <a:pt x="283" y="1086"/>
                </a:lnTo>
                <a:lnTo>
                  <a:pt x="286" y="1082"/>
                </a:lnTo>
                <a:lnTo>
                  <a:pt x="281" y="1081"/>
                </a:lnTo>
                <a:lnTo>
                  <a:pt x="275" y="1083"/>
                </a:lnTo>
                <a:close/>
                <a:moveTo>
                  <a:pt x="513" y="333"/>
                </a:moveTo>
                <a:lnTo>
                  <a:pt x="504" y="336"/>
                </a:lnTo>
                <a:lnTo>
                  <a:pt x="497" y="342"/>
                </a:lnTo>
                <a:lnTo>
                  <a:pt x="498" y="345"/>
                </a:lnTo>
                <a:lnTo>
                  <a:pt x="502" y="346"/>
                </a:lnTo>
                <a:lnTo>
                  <a:pt x="511" y="341"/>
                </a:lnTo>
                <a:lnTo>
                  <a:pt x="518" y="336"/>
                </a:lnTo>
                <a:lnTo>
                  <a:pt x="516" y="333"/>
                </a:lnTo>
                <a:lnTo>
                  <a:pt x="513" y="333"/>
                </a:lnTo>
                <a:close/>
                <a:moveTo>
                  <a:pt x="2282" y="1209"/>
                </a:moveTo>
                <a:lnTo>
                  <a:pt x="2283" y="1201"/>
                </a:lnTo>
                <a:lnTo>
                  <a:pt x="2277" y="1193"/>
                </a:lnTo>
                <a:lnTo>
                  <a:pt x="2274" y="1202"/>
                </a:lnTo>
                <a:lnTo>
                  <a:pt x="2275" y="1209"/>
                </a:lnTo>
                <a:lnTo>
                  <a:pt x="2278" y="1210"/>
                </a:lnTo>
                <a:lnTo>
                  <a:pt x="2282" y="1209"/>
                </a:lnTo>
                <a:close/>
                <a:moveTo>
                  <a:pt x="458" y="1132"/>
                </a:moveTo>
                <a:lnTo>
                  <a:pt x="473" y="1131"/>
                </a:lnTo>
                <a:lnTo>
                  <a:pt x="487" y="1125"/>
                </a:lnTo>
                <a:lnTo>
                  <a:pt x="467" y="1126"/>
                </a:lnTo>
                <a:lnTo>
                  <a:pt x="458" y="1132"/>
                </a:lnTo>
                <a:close/>
                <a:moveTo>
                  <a:pt x="2117" y="988"/>
                </a:moveTo>
                <a:lnTo>
                  <a:pt x="2121" y="993"/>
                </a:lnTo>
                <a:lnTo>
                  <a:pt x="2127" y="996"/>
                </a:lnTo>
                <a:lnTo>
                  <a:pt x="2131" y="994"/>
                </a:lnTo>
                <a:lnTo>
                  <a:pt x="2130" y="990"/>
                </a:lnTo>
                <a:lnTo>
                  <a:pt x="2128" y="984"/>
                </a:lnTo>
                <a:lnTo>
                  <a:pt x="2122" y="983"/>
                </a:lnTo>
                <a:lnTo>
                  <a:pt x="2118" y="986"/>
                </a:lnTo>
                <a:lnTo>
                  <a:pt x="2117" y="988"/>
                </a:lnTo>
                <a:close/>
                <a:moveTo>
                  <a:pt x="2716" y="1610"/>
                </a:moveTo>
                <a:lnTo>
                  <a:pt x="2711" y="1609"/>
                </a:lnTo>
                <a:lnTo>
                  <a:pt x="2708" y="1613"/>
                </a:lnTo>
                <a:lnTo>
                  <a:pt x="2704" y="1617"/>
                </a:lnTo>
                <a:lnTo>
                  <a:pt x="2705" y="1621"/>
                </a:lnTo>
                <a:lnTo>
                  <a:pt x="2710" y="1623"/>
                </a:lnTo>
                <a:lnTo>
                  <a:pt x="2714" y="1621"/>
                </a:lnTo>
                <a:lnTo>
                  <a:pt x="2719" y="1620"/>
                </a:lnTo>
                <a:lnTo>
                  <a:pt x="2725" y="1618"/>
                </a:lnTo>
                <a:lnTo>
                  <a:pt x="2720" y="1615"/>
                </a:lnTo>
                <a:lnTo>
                  <a:pt x="2716" y="1610"/>
                </a:lnTo>
                <a:close/>
                <a:moveTo>
                  <a:pt x="830" y="1537"/>
                </a:moveTo>
                <a:lnTo>
                  <a:pt x="823" y="1539"/>
                </a:lnTo>
                <a:lnTo>
                  <a:pt x="817" y="1545"/>
                </a:lnTo>
                <a:lnTo>
                  <a:pt x="824" y="1545"/>
                </a:lnTo>
                <a:lnTo>
                  <a:pt x="832" y="1544"/>
                </a:lnTo>
                <a:lnTo>
                  <a:pt x="835" y="1543"/>
                </a:lnTo>
                <a:lnTo>
                  <a:pt x="836" y="1539"/>
                </a:lnTo>
                <a:lnTo>
                  <a:pt x="834" y="1537"/>
                </a:lnTo>
                <a:lnTo>
                  <a:pt x="830" y="1537"/>
                </a:lnTo>
                <a:close/>
                <a:moveTo>
                  <a:pt x="2834" y="1634"/>
                </a:moveTo>
                <a:lnTo>
                  <a:pt x="2832" y="1640"/>
                </a:lnTo>
                <a:lnTo>
                  <a:pt x="2835" y="1650"/>
                </a:lnTo>
                <a:lnTo>
                  <a:pt x="2840" y="1646"/>
                </a:lnTo>
                <a:lnTo>
                  <a:pt x="2847" y="1641"/>
                </a:lnTo>
                <a:lnTo>
                  <a:pt x="2840" y="1635"/>
                </a:lnTo>
                <a:lnTo>
                  <a:pt x="2834" y="1634"/>
                </a:lnTo>
                <a:close/>
                <a:moveTo>
                  <a:pt x="2226" y="1679"/>
                </a:moveTo>
                <a:lnTo>
                  <a:pt x="2245" y="1678"/>
                </a:lnTo>
                <a:lnTo>
                  <a:pt x="2263" y="1676"/>
                </a:lnTo>
                <a:lnTo>
                  <a:pt x="2268" y="1676"/>
                </a:lnTo>
                <a:lnTo>
                  <a:pt x="2272" y="1676"/>
                </a:lnTo>
                <a:lnTo>
                  <a:pt x="2268" y="1676"/>
                </a:lnTo>
                <a:lnTo>
                  <a:pt x="2263" y="1676"/>
                </a:lnTo>
                <a:lnTo>
                  <a:pt x="2245" y="1676"/>
                </a:lnTo>
                <a:lnTo>
                  <a:pt x="2226" y="1676"/>
                </a:lnTo>
                <a:lnTo>
                  <a:pt x="2226" y="1678"/>
                </a:lnTo>
                <a:lnTo>
                  <a:pt x="2226" y="1679"/>
                </a:lnTo>
                <a:close/>
                <a:moveTo>
                  <a:pt x="664" y="1163"/>
                </a:moveTo>
                <a:lnTo>
                  <a:pt x="664" y="1161"/>
                </a:lnTo>
                <a:lnTo>
                  <a:pt x="662" y="1160"/>
                </a:lnTo>
                <a:lnTo>
                  <a:pt x="652" y="1160"/>
                </a:lnTo>
                <a:lnTo>
                  <a:pt x="643" y="1164"/>
                </a:lnTo>
                <a:lnTo>
                  <a:pt x="643" y="1165"/>
                </a:lnTo>
                <a:lnTo>
                  <a:pt x="643" y="1167"/>
                </a:lnTo>
                <a:lnTo>
                  <a:pt x="654" y="1167"/>
                </a:lnTo>
                <a:lnTo>
                  <a:pt x="664" y="1163"/>
                </a:lnTo>
                <a:close/>
                <a:moveTo>
                  <a:pt x="1745" y="1361"/>
                </a:moveTo>
                <a:lnTo>
                  <a:pt x="1743" y="1358"/>
                </a:lnTo>
                <a:lnTo>
                  <a:pt x="1740" y="1358"/>
                </a:lnTo>
                <a:lnTo>
                  <a:pt x="1726" y="1358"/>
                </a:lnTo>
                <a:lnTo>
                  <a:pt x="1712" y="1361"/>
                </a:lnTo>
                <a:lnTo>
                  <a:pt x="1726" y="1362"/>
                </a:lnTo>
                <a:lnTo>
                  <a:pt x="1740" y="1363"/>
                </a:lnTo>
                <a:lnTo>
                  <a:pt x="1743" y="1363"/>
                </a:lnTo>
                <a:lnTo>
                  <a:pt x="1745" y="1361"/>
                </a:lnTo>
                <a:close/>
                <a:moveTo>
                  <a:pt x="383" y="355"/>
                </a:moveTo>
                <a:lnTo>
                  <a:pt x="385" y="361"/>
                </a:lnTo>
                <a:lnTo>
                  <a:pt x="391" y="363"/>
                </a:lnTo>
                <a:lnTo>
                  <a:pt x="395" y="362"/>
                </a:lnTo>
                <a:lnTo>
                  <a:pt x="396" y="356"/>
                </a:lnTo>
                <a:lnTo>
                  <a:pt x="398" y="352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21" y="339"/>
                </a:lnTo>
                <a:lnTo>
                  <a:pt x="435" y="323"/>
                </a:lnTo>
                <a:lnTo>
                  <a:pt x="419" y="333"/>
                </a:lnTo>
                <a:lnTo>
                  <a:pt x="403" y="344"/>
                </a:lnTo>
                <a:lnTo>
                  <a:pt x="402" y="346"/>
                </a:lnTo>
                <a:lnTo>
                  <a:pt x="402" y="348"/>
                </a:lnTo>
                <a:lnTo>
                  <a:pt x="402" y="348"/>
                </a:lnTo>
                <a:lnTo>
                  <a:pt x="396" y="349"/>
                </a:lnTo>
                <a:lnTo>
                  <a:pt x="391" y="351"/>
                </a:lnTo>
                <a:lnTo>
                  <a:pt x="385" y="351"/>
                </a:lnTo>
                <a:lnTo>
                  <a:pt x="383" y="355"/>
                </a:lnTo>
                <a:close/>
                <a:moveTo>
                  <a:pt x="2268" y="1076"/>
                </a:moveTo>
                <a:lnTo>
                  <a:pt x="2274" y="1075"/>
                </a:lnTo>
                <a:lnTo>
                  <a:pt x="2278" y="1070"/>
                </a:lnTo>
                <a:lnTo>
                  <a:pt x="2274" y="1066"/>
                </a:lnTo>
                <a:lnTo>
                  <a:pt x="2269" y="1065"/>
                </a:lnTo>
                <a:lnTo>
                  <a:pt x="2262" y="1067"/>
                </a:lnTo>
                <a:lnTo>
                  <a:pt x="2260" y="1072"/>
                </a:lnTo>
                <a:lnTo>
                  <a:pt x="2262" y="1076"/>
                </a:lnTo>
                <a:lnTo>
                  <a:pt x="2268" y="1076"/>
                </a:lnTo>
                <a:close/>
                <a:moveTo>
                  <a:pt x="1787" y="1374"/>
                </a:moveTo>
                <a:lnTo>
                  <a:pt x="1787" y="1370"/>
                </a:lnTo>
                <a:lnTo>
                  <a:pt x="1786" y="1366"/>
                </a:lnTo>
                <a:lnTo>
                  <a:pt x="1788" y="1360"/>
                </a:lnTo>
                <a:lnTo>
                  <a:pt x="1789" y="1355"/>
                </a:lnTo>
                <a:lnTo>
                  <a:pt x="1850" y="1293"/>
                </a:lnTo>
                <a:lnTo>
                  <a:pt x="1934" y="1305"/>
                </a:lnTo>
                <a:lnTo>
                  <a:pt x="1960" y="1330"/>
                </a:lnTo>
                <a:lnTo>
                  <a:pt x="1970" y="1366"/>
                </a:lnTo>
                <a:lnTo>
                  <a:pt x="1969" y="1380"/>
                </a:lnTo>
                <a:lnTo>
                  <a:pt x="1967" y="1394"/>
                </a:lnTo>
                <a:lnTo>
                  <a:pt x="1966" y="1415"/>
                </a:lnTo>
                <a:lnTo>
                  <a:pt x="1958" y="1433"/>
                </a:lnTo>
                <a:lnTo>
                  <a:pt x="1982" y="1433"/>
                </a:lnTo>
                <a:lnTo>
                  <a:pt x="2005" y="1433"/>
                </a:lnTo>
                <a:lnTo>
                  <a:pt x="2012" y="1431"/>
                </a:lnTo>
                <a:lnTo>
                  <a:pt x="2013" y="1424"/>
                </a:lnTo>
                <a:lnTo>
                  <a:pt x="2012" y="1402"/>
                </a:lnTo>
                <a:lnTo>
                  <a:pt x="2012" y="1380"/>
                </a:lnTo>
                <a:lnTo>
                  <a:pt x="2011" y="1340"/>
                </a:lnTo>
                <a:lnTo>
                  <a:pt x="2010" y="1299"/>
                </a:lnTo>
                <a:lnTo>
                  <a:pt x="2024" y="1299"/>
                </a:lnTo>
                <a:lnTo>
                  <a:pt x="2035" y="1308"/>
                </a:lnTo>
                <a:lnTo>
                  <a:pt x="2035" y="1297"/>
                </a:lnTo>
                <a:lnTo>
                  <a:pt x="2025" y="1296"/>
                </a:lnTo>
                <a:lnTo>
                  <a:pt x="2016" y="1296"/>
                </a:lnTo>
                <a:lnTo>
                  <a:pt x="2009" y="1296"/>
                </a:lnTo>
                <a:lnTo>
                  <a:pt x="2001" y="1290"/>
                </a:lnTo>
                <a:lnTo>
                  <a:pt x="2003" y="1285"/>
                </a:lnTo>
                <a:lnTo>
                  <a:pt x="2007" y="1280"/>
                </a:lnTo>
                <a:lnTo>
                  <a:pt x="2006" y="1273"/>
                </a:lnTo>
                <a:lnTo>
                  <a:pt x="1965" y="1200"/>
                </a:lnTo>
                <a:lnTo>
                  <a:pt x="1884" y="1176"/>
                </a:lnTo>
                <a:lnTo>
                  <a:pt x="1824" y="1202"/>
                </a:lnTo>
                <a:lnTo>
                  <a:pt x="1792" y="1255"/>
                </a:lnTo>
                <a:lnTo>
                  <a:pt x="1787" y="1270"/>
                </a:lnTo>
                <a:lnTo>
                  <a:pt x="1791" y="1286"/>
                </a:lnTo>
                <a:lnTo>
                  <a:pt x="1795" y="1295"/>
                </a:lnTo>
                <a:lnTo>
                  <a:pt x="1787" y="1299"/>
                </a:lnTo>
                <a:lnTo>
                  <a:pt x="1777" y="1299"/>
                </a:lnTo>
                <a:lnTo>
                  <a:pt x="1769" y="1299"/>
                </a:lnTo>
                <a:lnTo>
                  <a:pt x="1763" y="1300"/>
                </a:lnTo>
                <a:lnTo>
                  <a:pt x="1763" y="1303"/>
                </a:lnTo>
                <a:lnTo>
                  <a:pt x="1767" y="1314"/>
                </a:lnTo>
                <a:lnTo>
                  <a:pt x="1774" y="1321"/>
                </a:lnTo>
                <a:lnTo>
                  <a:pt x="1778" y="1325"/>
                </a:lnTo>
                <a:lnTo>
                  <a:pt x="1778" y="1330"/>
                </a:lnTo>
                <a:lnTo>
                  <a:pt x="1773" y="1331"/>
                </a:lnTo>
                <a:lnTo>
                  <a:pt x="1767" y="1332"/>
                </a:lnTo>
                <a:lnTo>
                  <a:pt x="1739" y="1329"/>
                </a:lnTo>
                <a:lnTo>
                  <a:pt x="1710" y="1330"/>
                </a:lnTo>
                <a:lnTo>
                  <a:pt x="1715" y="1335"/>
                </a:lnTo>
                <a:lnTo>
                  <a:pt x="1722" y="1336"/>
                </a:lnTo>
                <a:lnTo>
                  <a:pt x="1744" y="1333"/>
                </a:lnTo>
                <a:lnTo>
                  <a:pt x="1767" y="1333"/>
                </a:lnTo>
                <a:lnTo>
                  <a:pt x="1783" y="1338"/>
                </a:lnTo>
                <a:lnTo>
                  <a:pt x="1786" y="1354"/>
                </a:lnTo>
                <a:lnTo>
                  <a:pt x="1775" y="1356"/>
                </a:lnTo>
                <a:lnTo>
                  <a:pt x="1763" y="1359"/>
                </a:lnTo>
                <a:lnTo>
                  <a:pt x="1776" y="1360"/>
                </a:lnTo>
                <a:lnTo>
                  <a:pt x="1786" y="1366"/>
                </a:lnTo>
                <a:lnTo>
                  <a:pt x="1786" y="1371"/>
                </a:lnTo>
                <a:lnTo>
                  <a:pt x="1787" y="1374"/>
                </a:lnTo>
                <a:close/>
                <a:moveTo>
                  <a:pt x="1774" y="1165"/>
                </a:moveTo>
                <a:lnTo>
                  <a:pt x="1765" y="1166"/>
                </a:lnTo>
                <a:lnTo>
                  <a:pt x="1757" y="1170"/>
                </a:lnTo>
                <a:lnTo>
                  <a:pt x="1765" y="1171"/>
                </a:lnTo>
                <a:lnTo>
                  <a:pt x="1773" y="1174"/>
                </a:lnTo>
                <a:lnTo>
                  <a:pt x="1776" y="1175"/>
                </a:lnTo>
                <a:lnTo>
                  <a:pt x="1779" y="1174"/>
                </a:lnTo>
                <a:lnTo>
                  <a:pt x="1780" y="1172"/>
                </a:lnTo>
                <a:lnTo>
                  <a:pt x="1780" y="1168"/>
                </a:lnTo>
                <a:lnTo>
                  <a:pt x="1777" y="1165"/>
                </a:lnTo>
                <a:lnTo>
                  <a:pt x="1774" y="1165"/>
                </a:lnTo>
                <a:close/>
                <a:moveTo>
                  <a:pt x="2016" y="1131"/>
                </a:moveTo>
                <a:lnTo>
                  <a:pt x="2015" y="1134"/>
                </a:lnTo>
                <a:lnTo>
                  <a:pt x="2017" y="1137"/>
                </a:lnTo>
                <a:lnTo>
                  <a:pt x="2021" y="1146"/>
                </a:lnTo>
                <a:lnTo>
                  <a:pt x="2030" y="1154"/>
                </a:lnTo>
                <a:lnTo>
                  <a:pt x="2026" y="1144"/>
                </a:lnTo>
                <a:lnTo>
                  <a:pt x="2022" y="1134"/>
                </a:lnTo>
                <a:lnTo>
                  <a:pt x="2020" y="1131"/>
                </a:lnTo>
                <a:lnTo>
                  <a:pt x="2016" y="1131"/>
                </a:lnTo>
                <a:close/>
                <a:moveTo>
                  <a:pt x="417" y="395"/>
                </a:moveTo>
                <a:lnTo>
                  <a:pt x="419" y="393"/>
                </a:lnTo>
                <a:lnTo>
                  <a:pt x="418" y="390"/>
                </a:lnTo>
                <a:lnTo>
                  <a:pt x="408" y="388"/>
                </a:lnTo>
                <a:lnTo>
                  <a:pt x="398" y="392"/>
                </a:lnTo>
                <a:lnTo>
                  <a:pt x="408" y="398"/>
                </a:lnTo>
                <a:lnTo>
                  <a:pt x="417" y="395"/>
                </a:lnTo>
                <a:close/>
                <a:moveTo>
                  <a:pt x="827" y="691"/>
                </a:moveTo>
                <a:lnTo>
                  <a:pt x="823" y="684"/>
                </a:lnTo>
                <a:lnTo>
                  <a:pt x="812" y="677"/>
                </a:lnTo>
                <a:lnTo>
                  <a:pt x="814" y="687"/>
                </a:lnTo>
                <a:lnTo>
                  <a:pt x="812" y="696"/>
                </a:lnTo>
                <a:lnTo>
                  <a:pt x="821" y="696"/>
                </a:lnTo>
                <a:lnTo>
                  <a:pt x="827" y="691"/>
                </a:lnTo>
                <a:close/>
                <a:moveTo>
                  <a:pt x="2956" y="1258"/>
                </a:moveTo>
                <a:lnTo>
                  <a:pt x="2961" y="1255"/>
                </a:lnTo>
                <a:lnTo>
                  <a:pt x="2964" y="1250"/>
                </a:lnTo>
                <a:lnTo>
                  <a:pt x="2962" y="1244"/>
                </a:lnTo>
                <a:lnTo>
                  <a:pt x="2959" y="1242"/>
                </a:lnTo>
                <a:lnTo>
                  <a:pt x="2954" y="1244"/>
                </a:lnTo>
                <a:lnTo>
                  <a:pt x="2952" y="1250"/>
                </a:lnTo>
                <a:lnTo>
                  <a:pt x="2953" y="1255"/>
                </a:lnTo>
                <a:lnTo>
                  <a:pt x="2956" y="1258"/>
                </a:lnTo>
                <a:close/>
                <a:moveTo>
                  <a:pt x="2544" y="1610"/>
                </a:moveTo>
                <a:lnTo>
                  <a:pt x="2540" y="1606"/>
                </a:lnTo>
                <a:lnTo>
                  <a:pt x="2533" y="1605"/>
                </a:lnTo>
                <a:lnTo>
                  <a:pt x="2529" y="1605"/>
                </a:lnTo>
                <a:lnTo>
                  <a:pt x="2527" y="1609"/>
                </a:lnTo>
                <a:lnTo>
                  <a:pt x="2529" y="1615"/>
                </a:lnTo>
                <a:lnTo>
                  <a:pt x="2534" y="1616"/>
                </a:lnTo>
                <a:lnTo>
                  <a:pt x="2541" y="1615"/>
                </a:lnTo>
                <a:lnTo>
                  <a:pt x="2544" y="1610"/>
                </a:lnTo>
                <a:close/>
                <a:moveTo>
                  <a:pt x="308" y="1174"/>
                </a:moveTo>
                <a:lnTo>
                  <a:pt x="311" y="1176"/>
                </a:lnTo>
                <a:lnTo>
                  <a:pt x="314" y="1176"/>
                </a:lnTo>
                <a:lnTo>
                  <a:pt x="324" y="1173"/>
                </a:lnTo>
                <a:lnTo>
                  <a:pt x="337" y="1165"/>
                </a:lnTo>
                <a:lnTo>
                  <a:pt x="323" y="1166"/>
                </a:lnTo>
                <a:lnTo>
                  <a:pt x="312" y="1170"/>
                </a:lnTo>
                <a:lnTo>
                  <a:pt x="308" y="1171"/>
                </a:lnTo>
                <a:lnTo>
                  <a:pt x="308" y="1174"/>
                </a:lnTo>
                <a:close/>
                <a:moveTo>
                  <a:pt x="2339" y="1103"/>
                </a:moveTo>
                <a:lnTo>
                  <a:pt x="2335" y="1104"/>
                </a:lnTo>
                <a:lnTo>
                  <a:pt x="2334" y="1107"/>
                </a:lnTo>
                <a:lnTo>
                  <a:pt x="2336" y="1112"/>
                </a:lnTo>
                <a:lnTo>
                  <a:pt x="2339" y="1113"/>
                </a:lnTo>
                <a:lnTo>
                  <a:pt x="2348" y="1113"/>
                </a:lnTo>
                <a:lnTo>
                  <a:pt x="2359" y="1111"/>
                </a:lnTo>
                <a:lnTo>
                  <a:pt x="2349" y="1104"/>
                </a:lnTo>
                <a:lnTo>
                  <a:pt x="2339" y="1103"/>
                </a:lnTo>
                <a:close/>
                <a:moveTo>
                  <a:pt x="321" y="443"/>
                </a:moveTo>
                <a:lnTo>
                  <a:pt x="315" y="445"/>
                </a:lnTo>
                <a:lnTo>
                  <a:pt x="312" y="452"/>
                </a:lnTo>
                <a:lnTo>
                  <a:pt x="314" y="456"/>
                </a:lnTo>
                <a:lnTo>
                  <a:pt x="318" y="457"/>
                </a:lnTo>
                <a:lnTo>
                  <a:pt x="323" y="454"/>
                </a:lnTo>
                <a:lnTo>
                  <a:pt x="327" y="448"/>
                </a:lnTo>
                <a:lnTo>
                  <a:pt x="324" y="444"/>
                </a:lnTo>
                <a:lnTo>
                  <a:pt x="321" y="443"/>
                </a:lnTo>
                <a:close/>
                <a:moveTo>
                  <a:pt x="227" y="647"/>
                </a:moveTo>
                <a:lnTo>
                  <a:pt x="228" y="644"/>
                </a:lnTo>
                <a:lnTo>
                  <a:pt x="226" y="641"/>
                </a:lnTo>
                <a:lnTo>
                  <a:pt x="222" y="642"/>
                </a:lnTo>
                <a:lnTo>
                  <a:pt x="221" y="646"/>
                </a:lnTo>
                <a:lnTo>
                  <a:pt x="218" y="659"/>
                </a:lnTo>
                <a:lnTo>
                  <a:pt x="217" y="672"/>
                </a:lnTo>
                <a:lnTo>
                  <a:pt x="224" y="660"/>
                </a:lnTo>
                <a:lnTo>
                  <a:pt x="227" y="647"/>
                </a:lnTo>
                <a:close/>
                <a:moveTo>
                  <a:pt x="2217" y="1045"/>
                </a:moveTo>
                <a:lnTo>
                  <a:pt x="2234" y="1050"/>
                </a:lnTo>
                <a:lnTo>
                  <a:pt x="2252" y="1052"/>
                </a:lnTo>
                <a:lnTo>
                  <a:pt x="2235" y="1045"/>
                </a:lnTo>
                <a:lnTo>
                  <a:pt x="2217" y="1045"/>
                </a:lnTo>
                <a:close/>
                <a:moveTo>
                  <a:pt x="2570" y="1026"/>
                </a:moveTo>
                <a:lnTo>
                  <a:pt x="2573" y="1024"/>
                </a:lnTo>
                <a:lnTo>
                  <a:pt x="2574" y="1020"/>
                </a:lnTo>
                <a:lnTo>
                  <a:pt x="2573" y="1013"/>
                </a:lnTo>
                <a:lnTo>
                  <a:pt x="2567" y="1010"/>
                </a:lnTo>
                <a:lnTo>
                  <a:pt x="2563" y="1012"/>
                </a:lnTo>
                <a:lnTo>
                  <a:pt x="2563" y="1018"/>
                </a:lnTo>
                <a:lnTo>
                  <a:pt x="2564" y="1024"/>
                </a:lnTo>
                <a:lnTo>
                  <a:pt x="2570" y="1026"/>
                </a:lnTo>
                <a:close/>
                <a:moveTo>
                  <a:pt x="453" y="373"/>
                </a:moveTo>
                <a:lnTo>
                  <a:pt x="458" y="371"/>
                </a:lnTo>
                <a:lnTo>
                  <a:pt x="463" y="366"/>
                </a:lnTo>
                <a:lnTo>
                  <a:pt x="460" y="363"/>
                </a:lnTo>
                <a:lnTo>
                  <a:pt x="455" y="363"/>
                </a:lnTo>
                <a:lnTo>
                  <a:pt x="449" y="364"/>
                </a:lnTo>
                <a:lnTo>
                  <a:pt x="445" y="369"/>
                </a:lnTo>
                <a:lnTo>
                  <a:pt x="448" y="372"/>
                </a:lnTo>
                <a:lnTo>
                  <a:pt x="453" y="373"/>
                </a:lnTo>
                <a:close/>
                <a:moveTo>
                  <a:pt x="873" y="125"/>
                </a:moveTo>
                <a:lnTo>
                  <a:pt x="867" y="128"/>
                </a:lnTo>
                <a:lnTo>
                  <a:pt x="861" y="133"/>
                </a:lnTo>
                <a:lnTo>
                  <a:pt x="877" y="133"/>
                </a:lnTo>
                <a:lnTo>
                  <a:pt x="894" y="126"/>
                </a:lnTo>
                <a:lnTo>
                  <a:pt x="882" y="125"/>
                </a:lnTo>
                <a:lnTo>
                  <a:pt x="873" y="125"/>
                </a:lnTo>
                <a:close/>
                <a:moveTo>
                  <a:pt x="1935" y="1037"/>
                </a:moveTo>
                <a:lnTo>
                  <a:pt x="1928" y="1037"/>
                </a:lnTo>
                <a:lnTo>
                  <a:pt x="1924" y="1042"/>
                </a:lnTo>
                <a:lnTo>
                  <a:pt x="1927" y="1048"/>
                </a:lnTo>
                <a:lnTo>
                  <a:pt x="1933" y="1048"/>
                </a:lnTo>
                <a:lnTo>
                  <a:pt x="1941" y="1047"/>
                </a:lnTo>
                <a:lnTo>
                  <a:pt x="1944" y="1040"/>
                </a:lnTo>
                <a:lnTo>
                  <a:pt x="1941" y="1036"/>
                </a:lnTo>
                <a:lnTo>
                  <a:pt x="1935" y="1037"/>
                </a:lnTo>
                <a:close/>
                <a:moveTo>
                  <a:pt x="1923" y="1021"/>
                </a:moveTo>
                <a:lnTo>
                  <a:pt x="1930" y="1029"/>
                </a:lnTo>
                <a:lnTo>
                  <a:pt x="1941" y="1032"/>
                </a:lnTo>
                <a:lnTo>
                  <a:pt x="1943" y="1027"/>
                </a:lnTo>
                <a:lnTo>
                  <a:pt x="1942" y="1024"/>
                </a:lnTo>
                <a:lnTo>
                  <a:pt x="1934" y="1019"/>
                </a:lnTo>
                <a:lnTo>
                  <a:pt x="1923" y="1021"/>
                </a:lnTo>
                <a:close/>
                <a:moveTo>
                  <a:pt x="786" y="1478"/>
                </a:moveTo>
                <a:lnTo>
                  <a:pt x="778" y="1477"/>
                </a:lnTo>
                <a:lnTo>
                  <a:pt x="771" y="1476"/>
                </a:lnTo>
                <a:lnTo>
                  <a:pt x="775" y="1485"/>
                </a:lnTo>
                <a:lnTo>
                  <a:pt x="778" y="1496"/>
                </a:lnTo>
                <a:lnTo>
                  <a:pt x="782" y="1486"/>
                </a:lnTo>
                <a:lnTo>
                  <a:pt x="786" y="1478"/>
                </a:lnTo>
                <a:close/>
                <a:moveTo>
                  <a:pt x="2278" y="1385"/>
                </a:moveTo>
                <a:lnTo>
                  <a:pt x="2273" y="1380"/>
                </a:lnTo>
                <a:lnTo>
                  <a:pt x="2269" y="1377"/>
                </a:lnTo>
                <a:lnTo>
                  <a:pt x="2265" y="1375"/>
                </a:lnTo>
                <a:lnTo>
                  <a:pt x="2262" y="1377"/>
                </a:lnTo>
                <a:lnTo>
                  <a:pt x="2260" y="1384"/>
                </a:lnTo>
                <a:lnTo>
                  <a:pt x="2261" y="1389"/>
                </a:lnTo>
                <a:lnTo>
                  <a:pt x="2270" y="1390"/>
                </a:lnTo>
                <a:lnTo>
                  <a:pt x="2278" y="1385"/>
                </a:lnTo>
                <a:close/>
                <a:moveTo>
                  <a:pt x="2932" y="1251"/>
                </a:moveTo>
                <a:lnTo>
                  <a:pt x="2937" y="1251"/>
                </a:lnTo>
                <a:lnTo>
                  <a:pt x="2942" y="1252"/>
                </a:lnTo>
                <a:lnTo>
                  <a:pt x="2941" y="1247"/>
                </a:lnTo>
                <a:lnTo>
                  <a:pt x="2938" y="1243"/>
                </a:lnTo>
                <a:lnTo>
                  <a:pt x="2931" y="1242"/>
                </a:lnTo>
                <a:lnTo>
                  <a:pt x="2924" y="1244"/>
                </a:lnTo>
                <a:lnTo>
                  <a:pt x="2923" y="1247"/>
                </a:lnTo>
                <a:lnTo>
                  <a:pt x="2923" y="1249"/>
                </a:lnTo>
                <a:lnTo>
                  <a:pt x="2928" y="1252"/>
                </a:lnTo>
                <a:lnTo>
                  <a:pt x="2932" y="1251"/>
                </a:lnTo>
                <a:close/>
                <a:moveTo>
                  <a:pt x="2875" y="1021"/>
                </a:moveTo>
                <a:lnTo>
                  <a:pt x="2870" y="1023"/>
                </a:lnTo>
                <a:lnTo>
                  <a:pt x="2869" y="1028"/>
                </a:lnTo>
                <a:lnTo>
                  <a:pt x="2871" y="1037"/>
                </a:lnTo>
                <a:lnTo>
                  <a:pt x="2877" y="1043"/>
                </a:lnTo>
                <a:lnTo>
                  <a:pt x="2880" y="1041"/>
                </a:lnTo>
                <a:lnTo>
                  <a:pt x="2880" y="1037"/>
                </a:lnTo>
                <a:lnTo>
                  <a:pt x="2880" y="1028"/>
                </a:lnTo>
                <a:lnTo>
                  <a:pt x="2875" y="1021"/>
                </a:lnTo>
                <a:close/>
                <a:moveTo>
                  <a:pt x="2916" y="1670"/>
                </a:moveTo>
                <a:lnTo>
                  <a:pt x="2912" y="1672"/>
                </a:lnTo>
                <a:lnTo>
                  <a:pt x="2912" y="1677"/>
                </a:lnTo>
                <a:lnTo>
                  <a:pt x="2913" y="1684"/>
                </a:lnTo>
                <a:lnTo>
                  <a:pt x="2919" y="1688"/>
                </a:lnTo>
                <a:lnTo>
                  <a:pt x="2923" y="1686"/>
                </a:lnTo>
                <a:lnTo>
                  <a:pt x="2923" y="1680"/>
                </a:lnTo>
                <a:lnTo>
                  <a:pt x="2923" y="1674"/>
                </a:lnTo>
                <a:lnTo>
                  <a:pt x="2916" y="1670"/>
                </a:lnTo>
                <a:close/>
                <a:moveTo>
                  <a:pt x="878" y="195"/>
                </a:moveTo>
                <a:lnTo>
                  <a:pt x="879" y="197"/>
                </a:lnTo>
                <a:lnTo>
                  <a:pt x="882" y="198"/>
                </a:lnTo>
                <a:lnTo>
                  <a:pt x="890" y="194"/>
                </a:lnTo>
                <a:lnTo>
                  <a:pt x="899" y="189"/>
                </a:lnTo>
                <a:lnTo>
                  <a:pt x="893" y="185"/>
                </a:lnTo>
                <a:lnTo>
                  <a:pt x="889" y="182"/>
                </a:lnTo>
                <a:lnTo>
                  <a:pt x="881" y="186"/>
                </a:lnTo>
                <a:lnTo>
                  <a:pt x="878" y="195"/>
                </a:lnTo>
                <a:close/>
                <a:moveTo>
                  <a:pt x="2299" y="1106"/>
                </a:moveTo>
                <a:lnTo>
                  <a:pt x="2310" y="1110"/>
                </a:lnTo>
                <a:lnTo>
                  <a:pt x="2321" y="1113"/>
                </a:lnTo>
                <a:lnTo>
                  <a:pt x="2325" y="1112"/>
                </a:lnTo>
                <a:lnTo>
                  <a:pt x="2328" y="1109"/>
                </a:lnTo>
                <a:lnTo>
                  <a:pt x="2326" y="1105"/>
                </a:lnTo>
                <a:lnTo>
                  <a:pt x="2323" y="1104"/>
                </a:lnTo>
                <a:lnTo>
                  <a:pt x="2312" y="1103"/>
                </a:lnTo>
                <a:lnTo>
                  <a:pt x="2299" y="1106"/>
                </a:lnTo>
                <a:close/>
                <a:moveTo>
                  <a:pt x="180" y="1096"/>
                </a:moveTo>
                <a:lnTo>
                  <a:pt x="191" y="1101"/>
                </a:lnTo>
                <a:lnTo>
                  <a:pt x="198" y="1098"/>
                </a:lnTo>
                <a:lnTo>
                  <a:pt x="199" y="1089"/>
                </a:lnTo>
                <a:lnTo>
                  <a:pt x="195" y="1078"/>
                </a:lnTo>
                <a:lnTo>
                  <a:pt x="192" y="1091"/>
                </a:lnTo>
                <a:lnTo>
                  <a:pt x="180" y="1096"/>
                </a:lnTo>
                <a:close/>
                <a:moveTo>
                  <a:pt x="3237" y="1433"/>
                </a:moveTo>
                <a:lnTo>
                  <a:pt x="3241" y="1416"/>
                </a:lnTo>
                <a:lnTo>
                  <a:pt x="3234" y="1401"/>
                </a:lnTo>
                <a:lnTo>
                  <a:pt x="3233" y="1417"/>
                </a:lnTo>
                <a:lnTo>
                  <a:pt x="3237" y="1433"/>
                </a:lnTo>
                <a:close/>
                <a:moveTo>
                  <a:pt x="2761" y="1161"/>
                </a:moveTo>
                <a:lnTo>
                  <a:pt x="2762" y="1171"/>
                </a:lnTo>
                <a:lnTo>
                  <a:pt x="2760" y="1181"/>
                </a:lnTo>
                <a:lnTo>
                  <a:pt x="2755" y="1172"/>
                </a:lnTo>
                <a:lnTo>
                  <a:pt x="2752" y="1163"/>
                </a:lnTo>
                <a:lnTo>
                  <a:pt x="2752" y="1159"/>
                </a:lnTo>
                <a:lnTo>
                  <a:pt x="2755" y="1157"/>
                </a:lnTo>
                <a:lnTo>
                  <a:pt x="2759" y="1157"/>
                </a:lnTo>
                <a:lnTo>
                  <a:pt x="2761" y="1161"/>
                </a:lnTo>
                <a:close/>
                <a:moveTo>
                  <a:pt x="2761" y="1073"/>
                </a:moveTo>
                <a:lnTo>
                  <a:pt x="2761" y="1065"/>
                </a:lnTo>
                <a:lnTo>
                  <a:pt x="2753" y="1058"/>
                </a:lnTo>
                <a:lnTo>
                  <a:pt x="2750" y="1057"/>
                </a:lnTo>
                <a:lnTo>
                  <a:pt x="2748" y="1057"/>
                </a:lnTo>
                <a:lnTo>
                  <a:pt x="2743" y="1012"/>
                </a:lnTo>
                <a:lnTo>
                  <a:pt x="2738" y="967"/>
                </a:lnTo>
                <a:lnTo>
                  <a:pt x="2733" y="962"/>
                </a:lnTo>
                <a:lnTo>
                  <a:pt x="2728" y="961"/>
                </a:lnTo>
                <a:lnTo>
                  <a:pt x="2725" y="964"/>
                </a:lnTo>
                <a:lnTo>
                  <a:pt x="2726" y="969"/>
                </a:lnTo>
                <a:lnTo>
                  <a:pt x="2727" y="973"/>
                </a:lnTo>
                <a:lnTo>
                  <a:pt x="2727" y="977"/>
                </a:lnTo>
                <a:lnTo>
                  <a:pt x="2734" y="1026"/>
                </a:lnTo>
                <a:lnTo>
                  <a:pt x="2742" y="1076"/>
                </a:lnTo>
                <a:lnTo>
                  <a:pt x="2740" y="1109"/>
                </a:lnTo>
                <a:lnTo>
                  <a:pt x="2742" y="1140"/>
                </a:lnTo>
                <a:lnTo>
                  <a:pt x="2748" y="1140"/>
                </a:lnTo>
                <a:lnTo>
                  <a:pt x="2753" y="1137"/>
                </a:lnTo>
                <a:lnTo>
                  <a:pt x="2748" y="1140"/>
                </a:lnTo>
                <a:lnTo>
                  <a:pt x="2742" y="1140"/>
                </a:lnTo>
                <a:lnTo>
                  <a:pt x="2742" y="1143"/>
                </a:lnTo>
                <a:lnTo>
                  <a:pt x="2744" y="1145"/>
                </a:lnTo>
                <a:lnTo>
                  <a:pt x="2746" y="1171"/>
                </a:lnTo>
                <a:lnTo>
                  <a:pt x="2745" y="1196"/>
                </a:lnTo>
                <a:lnTo>
                  <a:pt x="2746" y="1198"/>
                </a:lnTo>
                <a:lnTo>
                  <a:pt x="2750" y="1200"/>
                </a:lnTo>
                <a:lnTo>
                  <a:pt x="2752" y="1206"/>
                </a:lnTo>
                <a:lnTo>
                  <a:pt x="2754" y="1211"/>
                </a:lnTo>
                <a:lnTo>
                  <a:pt x="2758" y="1218"/>
                </a:lnTo>
                <a:lnTo>
                  <a:pt x="2765" y="1219"/>
                </a:lnTo>
                <a:lnTo>
                  <a:pt x="2769" y="1214"/>
                </a:lnTo>
                <a:lnTo>
                  <a:pt x="2765" y="1209"/>
                </a:lnTo>
                <a:lnTo>
                  <a:pt x="2765" y="1205"/>
                </a:lnTo>
                <a:lnTo>
                  <a:pt x="2764" y="1201"/>
                </a:lnTo>
                <a:lnTo>
                  <a:pt x="2764" y="1182"/>
                </a:lnTo>
                <a:lnTo>
                  <a:pt x="2764" y="1165"/>
                </a:lnTo>
                <a:lnTo>
                  <a:pt x="2763" y="1156"/>
                </a:lnTo>
                <a:lnTo>
                  <a:pt x="2758" y="1146"/>
                </a:lnTo>
                <a:lnTo>
                  <a:pt x="2758" y="1141"/>
                </a:lnTo>
                <a:lnTo>
                  <a:pt x="2758" y="1136"/>
                </a:lnTo>
                <a:lnTo>
                  <a:pt x="2757" y="1122"/>
                </a:lnTo>
                <a:lnTo>
                  <a:pt x="2753" y="1110"/>
                </a:lnTo>
                <a:lnTo>
                  <a:pt x="2750" y="1096"/>
                </a:lnTo>
                <a:lnTo>
                  <a:pt x="2750" y="1080"/>
                </a:lnTo>
                <a:lnTo>
                  <a:pt x="2750" y="1075"/>
                </a:lnTo>
                <a:lnTo>
                  <a:pt x="2750" y="1070"/>
                </a:lnTo>
                <a:lnTo>
                  <a:pt x="2756" y="1073"/>
                </a:lnTo>
                <a:lnTo>
                  <a:pt x="2761" y="1073"/>
                </a:lnTo>
                <a:close/>
                <a:moveTo>
                  <a:pt x="609" y="287"/>
                </a:moveTo>
                <a:lnTo>
                  <a:pt x="609" y="289"/>
                </a:lnTo>
                <a:lnTo>
                  <a:pt x="610" y="291"/>
                </a:lnTo>
                <a:lnTo>
                  <a:pt x="618" y="292"/>
                </a:lnTo>
                <a:lnTo>
                  <a:pt x="624" y="289"/>
                </a:lnTo>
                <a:lnTo>
                  <a:pt x="630" y="287"/>
                </a:lnTo>
                <a:lnTo>
                  <a:pt x="633" y="283"/>
                </a:lnTo>
                <a:lnTo>
                  <a:pt x="633" y="281"/>
                </a:lnTo>
                <a:lnTo>
                  <a:pt x="632" y="279"/>
                </a:lnTo>
                <a:lnTo>
                  <a:pt x="620" y="281"/>
                </a:lnTo>
                <a:lnTo>
                  <a:pt x="609" y="287"/>
                </a:lnTo>
                <a:close/>
                <a:moveTo>
                  <a:pt x="2868" y="1261"/>
                </a:moveTo>
                <a:lnTo>
                  <a:pt x="2862" y="1253"/>
                </a:lnTo>
                <a:lnTo>
                  <a:pt x="2854" y="1244"/>
                </a:lnTo>
                <a:lnTo>
                  <a:pt x="2851" y="1259"/>
                </a:lnTo>
                <a:lnTo>
                  <a:pt x="2868" y="1261"/>
                </a:lnTo>
                <a:close/>
                <a:moveTo>
                  <a:pt x="92" y="747"/>
                </a:moveTo>
                <a:lnTo>
                  <a:pt x="87" y="743"/>
                </a:lnTo>
                <a:lnTo>
                  <a:pt x="85" y="735"/>
                </a:lnTo>
                <a:lnTo>
                  <a:pt x="86" y="751"/>
                </a:lnTo>
                <a:lnTo>
                  <a:pt x="97" y="763"/>
                </a:lnTo>
                <a:lnTo>
                  <a:pt x="100" y="752"/>
                </a:lnTo>
                <a:lnTo>
                  <a:pt x="92" y="747"/>
                </a:lnTo>
                <a:close/>
                <a:moveTo>
                  <a:pt x="2424" y="983"/>
                </a:moveTo>
                <a:lnTo>
                  <a:pt x="2429" y="980"/>
                </a:lnTo>
                <a:lnTo>
                  <a:pt x="2430" y="973"/>
                </a:lnTo>
                <a:lnTo>
                  <a:pt x="2427" y="967"/>
                </a:lnTo>
                <a:lnTo>
                  <a:pt x="2421" y="967"/>
                </a:lnTo>
                <a:lnTo>
                  <a:pt x="2415" y="968"/>
                </a:lnTo>
                <a:lnTo>
                  <a:pt x="2415" y="974"/>
                </a:lnTo>
                <a:lnTo>
                  <a:pt x="2418" y="980"/>
                </a:lnTo>
                <a:lnTo>
                  <a:pt x="2424" y="983"/>
                </a:lnTo>
                <a:close/>
                <a:moveTo>
                  <a:pt x="413" y="515"/>
                </a:moveTo>
                <a:lnTo>
                  <a:pt x="419" y="502"/>
                </a:lnTo>
                <a:lnTo>
                  <a:pt x="419" y="488"/>
                </a:lnTo>
                <a:lnTo>
                  <a:pt x="413" y="486"/>
                </a:lnTo>
                <a:lnTo>
                  <a:pt x="405" y="488"/>
                </a:lnTo>
                <a:lnTo>
                  <a:pt x="411" y="500"/>
                </a:lnTo>
                <a:lnTo>
                  <a:pt x="413" y="515"/>
                </a:lnTo>
                <a:close/>
                <a:moveTo>
                  <a:pt x="738" y="240"/>
                </a:moveTo>
                <a:lnTo>
                  <a:pt x="747" y="240"/>
                </a:lnTo>
                <a:lnTo>
                  <a:pt x="756" y="235"/>
                </a:lnTo>
                <a:lnTo>
                  <a:pt x="760" y="234"/>
                </a:lnTo>
                <a:lnTo>
                  <a:pt x="762" y="231"/>
                </a:lnTo>
                <a:lnTo>
                  <a:pt x="759" y="228"/>
                </a:lnTo>
                <a:lnTo>
                  <a:pt x="755" y="228"/>
                </a:lnTo>
                <a:lnTo>
                  <a:pt x="745" y="231"/>
                </a:lnTo>
                <a:lnTo>
                  <a:pt x="737" y="237"/>
                </a:lnTo>
                <a:lnTo>
                  <a:pt x="737" y="239"/>
                </a:lnTo>
                <a:lnTo>
                  <a:pt x="738" y="240"/>
                </a:lnTo>
                <a:close/>
                <a:moveTo>
                  <a:pt x="690" y="196"/>
                </a:moveTo>
                <a:lnTo>
                  <a:pt x="677" y="200"/>
                </a:lnTo>
                <a:lnTo>
                  <a:pt x="663" y="204"/>
                </a:lnTo>
                <a:lnTo>
                  <a:pt x="661" y="207"/>
                </a:lnTo>
                <a:lnTo>
                  <a:pt x="661" y="210"/>
                </a:lnTo>
                <a:lnTo>
                  <a:pt x="662" y="212"/>
                </a:lnTo>
                <a:lnTo>
                  <a:pt x="664" y="213"/>
                </a:lnTo>
                <a:lnTo>
                  <a:pt x="678" y="206"/>
                </a:lnTo>
                <a:lnTo>
                  <a:pt x="693" y="202"/>
                </a:lnTo>
                <a:lnTo>
                  <a:pt x="695" y="200"/>
                </a:lnTo>
                <a:lnTo>
                  <a:pt x="694" y="198"/>
                </a:lnTo>
                <a:lnTo>
                  <a:pt x="692" y="197"/>
                </a:lnTo>
                <a:lnTo>
                  <a:pt x="690" y="196"/>
                </a:lnTo>
                <a:close/>
                <a:moveTo>
                  <a:pt x="2011" y="1488"/>
                </a:moveTo>
                <a:lnTo>
                  <a:pt x="2014" y="1487"/>
                </a:lnTo>
                <a:lnTo>
                  <a:pt x="2015" y="1480"/>
                </a:lnTo>
                <a:lnTo>
                  <a:pt x="2010" y="1476"/>
                </a:lnTo>
                <a:lnTo>
                  <a:pt x="2002" y="1477"/>
                </a:lnTo>
                <a:lnTo>
                  <a:pt x="1997" y="1477"/>
                </a:lnTo>
                <a:lnTo>
                  <a:pt x="1995" y="1481"/>
                </a:lnTo>
                <a:lnTo>
                  <a:pt x="2001" y="1486"/>
                </a:lnTo>
                <a:lnTo>
                  <a:pt x="2011" y="1488"/>
                </a:lnTo>
                <a:close/>
                <a:moveTo>
                  <a:pt x="2708" y="1706"/>
                </a:moveTo>
                <a:lnTo>
                  <a:pt x="2704" y="1709"/>
                </a:lnTo>
                <a:lnTo>
                  <a:pt x="2704" y="1713"/>
                </a:lnTo>
                <a:lnTo>
                  <a:pt x="2713" y="1717"/>
                </a:lnTo>
                <a:lnTo>
                  <a:pt x="2724" y="1716"/>
                </a:lnTo>
                <a:lnTo>
                  <a:pt x="2717" y="1708"/>
                </a:lnTo>
                <a:lnTo>
                  <a:pt x="2708" y="1706"/>
                </a:lnTo>
                <a:close/>
                <a:moveTo>
                  <a:pt x="2122" y="1087"/>
                </a:moveTo>
                <a:lnTo>
                  <a:pt x="2120" y="1088"/>
                </a:lnTo>
                <a:lnTo>
                  <a:pt x="2119" y="1090"/>
                </a:lnTo>
                <a:lnTo>
                  <a:pt x="2120" y="1094"/>
                </a:lnTo>
                <a:lnTo>
                  <a:pt x="2122" y="1095"/>
                </a:lnTo>
                <a:lnTo>
                  <a:pt x="2136" y="1094"/>
                </a:lnTo>
                <a:lnTo>
                  <a:pt x="2151" y="1093"/>
                </a:lnTo>
                <a:lnTo>
                  <a:pt x="2137" y="1085"/>
                </a:lnTo>
                <a:lnTo>
                  <a:pt x="2122" y="1087"/>
                </a:lnTo>
                <a:close/>
                <a:moveTo>
                  <a:pt x="1755" y="1380"/>
                </a:moveTo>
                <a:lnTo>
                  <a:pt x="1742" y="1377"/>
                </a:lnTo>
                <a:lnTo>
                  <a:pt x="1731" y="1372"/>
                </a:lnTo>
                <a:lnTo>
                  <a:pt x="1737" y="1384"/>
                </a:lnTo>
                <a:lnTo>
                  <a:pt x="1744" y="1393"/>
                </a:lnTo>
                <a:lnTo>
                  <a:pt x="1748" y="1386"/>
                </a:lnTo>
                <a:lnTo>
                  <a:pt x="1755" y="1380"/>
                </a:lnTo>
                <a:close/>
                <a:moveTo>
                  <a:pt x="240" y="656"/>
                </a:moveTo>
                <a:lnTo>
                  <a:pt x="246" y="643"/>
                </a:lnTo>
                <a:lnTo>
                  <a:pt x="256" y="633"/>
                </a:lnTo>
                <a:lnTo>
                  <a:pt x="251" y="627"/>
                </a:lnTo>
                <a:lnTo>
                  <a:pt x="244" y="626"/>
                </a:lnTo>
                <a:lnTo>
                  <a:pt x="241" y="630"/>
                </a:lnTo>
                <a:lnTo>
                  <a:pt x="241" y="637"/>
                </a:lnTo>
                <a:lnTo>
                  <a:pt x="240" y="646"/>
                </a:lnTo>
                <a:lnTo>
                  <a:pt x="240" y="656"/>
                </a:lnTo>
                <a:close/>
                <a:moveTo>
                  <a:pt x="536" y="1147"/>
                </a:moveTo>
                <a:lnTo>
                  <a:pt x="524" y="1151"/>
                </a:lnTo>
                <a:lnTo>
                  <a:pt x="516" y="1161"/>
                </a:lnTo>
                <a:lnTo>
                  <a:pt x="515" y="1165"/>
                </a:lnTo>
                <a:lnTo>
                  <a:pt x="517" y="1171"/>
                </a:lnTo>
                <a:lnTo>
                  <a:pt x="519" y="1171"/>
                </a:lnTo>
                <a:lnTo>
                  <a:pt x="521" y="1171"/>
                </a:lnTo>
                <a:lnTo>
                  <a:pt x="526" y="1167"/>
                </a:lnTo>
                <a:lnTo>
                  <a:pt x="526" y="1163"/>
                </a:lnTo>
                <a:lnTo>
                  <a:pt x="528" y="1154"/>
                </a:lnTo>
                <a:lnTo>
                  <a:pt x="536" y="1147"/>
                </a:lnTo>
                <a:close/>
                <a:moveTo>
                  <a:pt x="1688" y="1326"/>
                </a:moveTo>
                <a:lnTo>
                  <a:pt x="1688" y="1341"/>
                </a:lnTo>
                <a:lnTo>
                  <a:pt x="1688" y="1357"/>
                </a:lnTo>
                <a:lnTo>
                  <a:pt x="1695" y="1342"/>
                </a:lnTo>
                <a:lnTo>
                  <a:pt x="1692" y="1326"/>
                </a:lnTo>
                <a:lnTo>
                  <a:pt x="1691" y="1326"/>
                </a:lnTo>
                <a:lnTo>
                  <a:pt x="1688" y="1326"/>
                </a:lnTo>
                <a:close/>
                <a:moveTo>
                  <a:pt x="1662" y="1145"/>
                </a:moveTo>
                <a:lnTo>
                  <a:pt x="1657" y="1149"/>
                </a:lnTo>
                <a:lnTo>
                  <a:pt x="1657" y="1155"/>
                </a:lnTo>
                <a:lnTo>
                  <a:pt x="1657" y="1162"/>
                </a:lnTo>
                <a:lnTo>
                  <a:pt x="1663" y="1166"/>
                </a:lnTo>
                <a:lnTo>
                  <a:pt x="1667" y="1163"/>
                </a:lnTo>
                <a:lnTo>
                  <a:pt x="1667" y="1158"/>
                </a:lnTo>
                <a:lnTo>
                  <a:pt x="1666" y="1149"/>
                </a:lnTo>
                <a:lnTo>
                  <a:pt x="1662" y="1145"/>
                </a:lnTo>
                <a:close/>
                <a:moveTo>
                  <a:pt x="1799" y="1684"/>
                </a:moveTo>
                <a:lnTo>
                  <a:pt x="1843" y="1684"/>
                </a:lnTo>
                <a:lnTo>
                  <a:pt x="1888" y="1684"/>
                </a:lnTo>
                <a:lnTo>
                  <a:pt x="1888" y="1683"/>
                </a:lnTo>
                <a:lnTo>
                  <a:pt x="1886" y="1682"/>
                </a:lnTo>
                <a:lnTo>
                  <a:pt x="1843" y="1682"/>
                </a:lnTo>
                <a:lnTo>
                  <a:pt x="1798" y="1682"/>
                </a:lnTo>
                <a:lnTo>
                  <a:pt x="1798" y="1683"/>
                </a:lnTo>
                <a:lnTo>
                  <a:pt x="1799" y="1684"/>
                </a:lnTo>
                <a:close/>
                <a:moveTo>
                  <a:pt x="404" y="1107"/>
                </a:move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404" y="1107"/>
                </a:lnTo>
                <a:lnTo>
                  <a:pt x="399" y="1109"/>
                </a:lnTo>
                <a:lnTo>
                  <a:pt x="396" y="1112"/>
                </a:lnTo>
                <a:lnTo>
                  <a:pt x="400" y="1111"/>
                </a:lnTo>
                <a:lnTo>
                  <a:pt x="404" y="1107"/>
                </a:lnTo>
                <a:close/>
                <a:moveTo>
                  <a:pt x="1770" y="916"/>
                </a:moveTo>
                <a:lnTo>
                  <a:pt x="1773" y="915"/>
                </a:lnTo>
                <a:lnTo>
                  <a:pt x="1776" y="908"/>
                </a:lnTo>
                <a:lnTo>
                  <a:pt x="1751" y="910"/>
                </a:lnTo>
                <a:lnTo>
                  <a:pt x="1725" y="912"/>
                </a:lnTo>
                <a:lnTo>
                  <a:pt x="1747" y="913"/>
                </a:lnTo>
                <a:lnTo>
                  <a:pt x="1770" y="916"/>
                </a:lnTo>
                <a:close/>
                <a:moveTo>
                  <a:pt x="925" y="456"/>
                </a:moveTo>
                <a:lnTo>
                  <a:pt x="929" y="456"/>
                </a:lnTo>
                <a:lnTo>
                  <a:pt x="931" y="454"/>
                </a:lnTo>
                <a:lnTo>
                  <a:pt x="940" y="446"/>
                </a:lnTo>
                <a:lnTo>
                  <a:pt x="952" y="441"/>
                </a:lnTo>
                <a:lnTo>
                  <a:pt x="938" y="441"/>
                </a:lnTo>
                <a:lnTo>
                  <a:pt x="926" y="445"/>
                </a:lnTo>
                <a:lnTo>
                  <a:pt x="923" y="446"/>
                </a:lnTo>
                <a:lnTo>
                  <a:pt x="922" y="449"/>
                </a:lnTo>
                <a:lnTo>
                  <a:pt x="923" y="454"/>
                </a:lnTo>
                <a:lnTo>
                  <a:pt x="925" y="456"/>
                </a:lnTo>
                <a:close/>
                <a:moveTo>
                  <a:pt x="271" y="1573"/>
                </a:moveTo>
                <a:lnTo>
                  <a:pt x="274" y="1578"/>
                </a:lnTo>
                <a:lnTo>
                  <a:pt x="281" y="1579"/>
                </a:lnTo>
                <a:lnTo>
                  <a:pt x="286" y="1573"/>
                </a:lnTo>
                <a:lnTo>
                  <a:pt x="285" y="1562"/>
                </a:lnTo>
                <a:lnTo>
                  <a:pt x="276" y="1565"/>
                </a:lnTo>
                <a:lnTo>
                  <a:pt x="271" y="1573"/>
                </a:lnTo>
                <a:close/>
                <a:moveTo>
                  <a:pt x="230" y="1091"/>
                </a:moveTo>
                <a:lnTo>
                  <a:pt x="231" y="1094"/>
                </a:lnTo>
                <a:lnTo>
                  <a:pt x="231" y="1095"/>
                </a:lnTo>
                <a:lnTo>
                  <a:pt x="247" y="1089"/>
                </a:lnTo>
                <a:lnTo>
                  <a:pt x="263" y="1084"/>
                </a:lnTo>
                <a:lnTo>
                  <a:pt x="246" y="1083"/>
                </a:lnTo>
                <a:lnTo>
                  <a:pt x="230" y="1091"/>
                </a:lnTo>
                <a:close/>
                <a:moveTo>
                  <a:pt x="1487" y="1187"/>
                </a:move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73" y="1175"/>
                </a:lnTo>
                <a:lnTo>
                  <a:pt x="1464" y="1160"/>
                </a:lnTo>
                <a:lnTo>
                  <a:pt x="1460" y="1167"/>
                </a:lnTo>
                <a:lnTo>
                  <a:pt x="1463" y="1173"/>
                </a:lnTo>
                <a:lnTo>
                  <a:pt x="1468" y="1191"/>
                </a:lnTo>
                <a:lnTo>
                  <a:pt x="1473" y="1209"/>
                </a:lnTo>
                <a:lnTo>
                  <a:pt x="1487" y="1247"/>
                </a:lnTo>
                <a:lnTo>
                  <a:pt x="1497" y="1286"/>
                </a:lnTo>
                <a:lnTo>
                  <a:pt x="1502" y="1305"/>
                </a:lnTo>
                <a:lnTo>
                  <a:pt x="1509" y="1324"/>
                </a:lnTo>
                <a:lnTo>
                  <a:pt x="1513" y="1340"/>
                </a:lnTo>
                <a:lnTo>
                  <a:pt x="1517" y="1356"/>
                </a:lnTo>
                <a:lnTo>
                  <a:pt x="1527" y="1385"/>
                </a:lnTo>
                <a:lnTo>
                  <a:pt x="1536" y="1415"/>
                </a:lnTo>
                <a:lnTo>
                  <a:pt x="1543" y="1425"/>
                </a:lnTo>
                <a:lnTo>
                  <a:pt x="1554" y="1425"/>
                </a:lnTo>
                <a:lnTo>
                  <a:pt x="1597" y="1425"/>
                </a:lnTo>
                <a:lnTo>
                  <a:pt x="1640" y="1423"/>
                </a:lnTo>
                <a:lnTo>
                  <a:pt x="1648" y="1424"/>
                </a:lnTo>
                <a:lnTo>
                  <a:pt x="1652" y="1417"/>
                </a:lnTo>
                <a:lnTo>
                  <a:pt x="1649" y="1410"/>
                </a:lnTo>
                <a:lnTo>
                  <a:pt x="1642" y="1410"/>
                </a:lnTo>
                <a:lnTo>
                  <a:pt x="1638" y="1409"/>
                </a:lnTo>
                <a:lnTo>
                  <a:pt x="1637" y="1406"/>
                </a:lnTo>
                <a:lnTo>
                  <a:pt x="1638" y="1404"/>
                </a:lnTo>
                <a:lnTo>
                  <a:pt x="1640" y="1403"/>
                </a:lnTo>
                <a:lnTo>
                  <a:pt x="1647" y="1399"/>
                </a:lnTo>
                <a:lnTo>
                  <a:pt x="1646" y="1392"/>
                </a:lnTo>
                <a:lnTo>
                  <a:pt x="1635" y="1350"/>
                </a:lnTo>
                <a:lnTo>
                  <a:pt x="1630" y="1309"/>
                </a:lnTo>
                <a:lnTo>
                  <a:pt x="1630" y="1300"/>
                </a:lnTo>
                <a:lnTo>
                  <a:pt x="1636" y="1297"/>
                </a:lnTo>
                <a:lnTo>
                  <a:pt x="1658" y="1295"/>
                </a:lnTo>
                <a:lnTo>
                  <a:pt x="1680" y="1303"/>
                </a:lnTo>
                <a:lnTo>
                  <a:pt x="1682" y="1311"/>
                </a:lnTo>
                <a:lnTo>
                  <a:pt x="1686" y="1317"/>
                </a:lnTo>
                <a:lnTo>
                  <a:pt x="1685" y="1312"/>
                </a:lnTo>
                <a:lnTo>
                  <a:pt x="1687" y="1309"/>
                </a:lnTo>
                <a:lnTo>
                  <a:pt x="1692" y="1314"/>
                </a:lnTo>
                <a:lnTo>
                  <a:pt x="1696" y="1319"/>
                </a:lnTo>
                <a:lnTo>
                  <a:pt x="1700" y="1309"/>
                </a:lnTo>
                <a:lnTo>
                  <a:pt x="1713" y="1305"/>
                </a:lnTo>
                <a:lnTo>
                  <a:pt x="1697" y="1301"/>
                </a:lnTo>
                <a:lnTo>
                  <a:pt x="1682" y="1302"/>
                </a:lnTo>
                <a:lnTo>
                  <a:pt x="1678" y="1294"/>
                </a:lnTo>
                <a:lnTo>
                  <a:pt x="1685" y="1287"/>
                </a:lnTo>
                <a:lnTo>
                  <a:pt x="1687" y="1286"/>
                </a:lnTo>
                <a:lnTo>
                  <a:pt x="1687" y="1282"/>
                </a:lnTo>
                <a:lnTo>
                  <a:pt x="1686" y="1273"/>
                </a:lnTo>
                <a:lnTo>
                  <a:pt x="1685" y="1264"/>
                </a:lnTo>
                <a:lnTo>
                  <a:pt x="1678" y="1240"/>
                </a:lnTo>
                <a:lnTo>
                  <a:pt x="1662" y="1223"/>
                </a:lnTo>
                <a:lnTo>
                  <a:pt x="1642" y="1211"/>
                </a:lnTo>
                <a:lnTo>
                  <a:pt x="1621" y="1201"/>
                </a:lnTo>
                <a:lnTo>
                  <a:pt x="1616" y="1198"/>
                </a:lnTo>
                <a:lnTo>
                  <a:pt x="1611" y="1198"/>
                </a:lnTo>
                <a:lnTo>
                  <a:pt x="1587" y="1206"/>
                </a:lnTo>
                <a:lnTo>
                  <a:pt x="1562" y="1214"/>
                </a:lnTo>
                <a:lnTo>
                  <a:pt x="1551" y="1219"/>
                </a:lnTo>
                <a:lnTo>
                  <a:pt x="1544" y="1219"/>
                </a:lnTo>
                <a:lnTo>
                  <a:pt x="1527" y="1202"/>
                </a:lnTo>
                <a:lnTo>
                  <a:pt x="1514" y="1181"/>
                </a:lnTo>
                <a:lnTo>
                  <a:pt x="1516" y="1181"/>
                </a:lnTo>
                <a:lnTo>
                  <a:pt x="1517" y="1180"/>
                </a:lnTo>
                <a:lnTo>
                  <a:pt x="1511" y="1177"/>
                </a:lnTo>
                <a:lnTo>
                  <a:pt x="1504" y="1178"/>
                </a:lnTo>
                <a:lnTo>
                  <a:pt x="1503" y="1175"/>
                </a:lnTo>
                <a:lnTo>
                  <a:pt x="1502" y="1172"/>
                </a:lnTo>
                <a:lnTo>
                  <a:pt x="1498" y="1171"/>
                </a:lnTo>
                <a:lnTo>
                  <a:pt x="1495" y="1176"/>
                </a:lnTo>
                <a:lnTo>
                  <a:pt x="1492" y="1182"/>
                </a:lnTo>
                <a:lnTo>
                  <a:pt x="1487" y="1187"/>
                </a:lnTo>
                <a:close/>
                <a:moveTo>
                  <a:pt x="1487" y="1187"/>
                </a:move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87" y="1187"/>
                </a:lnTo>
                <a:lnTo>
                  <a:pt x="1492" y="1190"/>
                </a:lnTo>
                <a:lnTo>
                  <a:pt x="1498" y="1186"/>
                </a:lnTo>
                <a:lnTo>
                  <a:pt x="1503" y="1185"/>
                </a:lnTo>
                <a:lnTo>
                  <a:pt x="1509" y="1188"/>
                </a:lnTo>
                <a:lnTo>
                  <a:pt x="1509" y="1188"/>
                </a:lnTo>
                <a:lnTo>
                  <a:pt x="1515" y="1204"/>
                </a:lnTo>
                <a:lnTo>
                  <a:pt x="1521" y="1220"/>
                </a:lnTo>
                <a:lnTo>
                  <a:pt x="1526" y="1240"/>
                </a:lnTo>
                <a:lnTo>
                  <a:pt x="1524" y="1261"/>
                </a:lnTo>
                <a:lnTo>
                  <a:pt x="1522" y="1282"/>
                </a:lnTo>
                <a:lnTo>
                  <a:pt x="1529" y="1302"/>
                </a:lnTo>
                <a:lnTo>
                  <a:pt x="1530" y="1305"/>
                </a:lnTo>
                <a:lnTo>
                  <a:pt x="1528" y="1309"/>
                </a:lnTo>
                <a:lnTo>
                  <a:pt x="1528" y="1309"/>
                </a:lnTo>
                <a:lnTo>
                  <a:pt x="1522" y="1307"/>
                </a:lnTo>
                <a:lnTo>
                  <a:pt x="1519" y="1300"/>
                </a:lnTo>
                <a:lnTo>
                  <a:pt x="1506" y="1259"/>
                </a:lnTo>
                <a:lnTo>
                  <a:pt x="1496" y="1219"/>
                </a:lnTo>
                <a:lnTo>
                  <a:pt x="1489" y="1204"/>
                </a:lnTo>
                <a:lnTo>
                  <a:pt x="1487" y="1187"/>
                </a:lnTo>
                <a:close/>
                <a:moveTo>
                  <a:pt x="579" y="814"/>
                </a:moveTo>
                <a:lnTo>
                  <a:pt x="585" y="809"/>
                </a:lnTo>
                <a:lnTo>
                  <a:pt x="584" y="801"/>
                </a:lnTo>
                <a:lnTo>
                  <a:pt x="579" y="799"/>
                </a:lnTo>
                <a:lnTo>
                  <a:pt x="575" y="801"/>
                </a:lnTo>
                <a:lnTo>
                  <a:pt x="569" y="805"/>
                </a:lnTo>
                <a:lnTo>
                  <a:pt x="561" y="808"/>
                </a:lnTo>
                <a:lnTo>
                  <a:pt x="571" y="815"/>
                </a:lnTo>
                <a:lnTo>
                  <a:pt x="579" y="814"/>
                </a:lnTo>
                <a:close/>
                <a:moveTo>
                  <a:pt x="270" y="480"/>
                </a:moveTo>
                <a:lnTo>
                  <a:pt x="257" y="488"/>
                </a:lnTo>
                <a:lnTo>
                  <a:pt x="247" y="500"/>
                </a:lnTo>
                <a:lnTo>
                  <a:pt x="261" y="498"/>
                </a:lnTo>
                <a:lnTo>
                  <a:pt x="276" y="498"/>
                </a:lnTo>
                <a:lnTo>
                  <a:pt x="268" y="492"/>
                </a:lnTo>
                <a:lnTo>
                  <a:pt x="270" y="480"/>
                </a:lnTo>
                <a:close/>
                <a:moveTo>
                  <a:pt x="2136" y="929"/>
                </a:moveTo>
                <a:lnTo>
                  <a:pt x="2134" y="925"/>
                </a:lnTo>
                <a:lnTo>
                  <a:pt x="2127" y="922"/>
                </a:lnTo>
                <a:lnTo>
                  <a:pt x="2125" y="923"/>
                </a:lnTo>
                <a:lnTo>
                  <a:pt x="2123" y="926"/>
                </a:lnTo>
                <a:lnTo>
                  <a:pt x="2124" y="930"/>
                </a:lnTo>
                <a:lnTo>
                  <a:pt x="2127" y="934"/>
                </a:lnTo>
                <a:lnTo>
                  <a:pt x="2133" y="942"/>
                </a:lnTo>
                <a:lnTo>
                  <a:pt x="2134" y="950"/>
                </a:lnTo>
                <a:lnTo>
                  <a:pt x="2139" y="940"/>
                </a:lnTo>
                <a:lnTo>
                  <a:pt x="2136" y="929"/>
                </a:lnTo>
                <a:close/>
                <a:moveTo>
                  <a:pt x="1717" y="1161"/>
                </a:moveTo>
                <a:lnTo>
                  <a:pt x="1724" y="1165"/>
                </a:lnTo>
                <a:lnTo>
                  <a:pt x="1728" y="1171"/>
                </a:lnTo>
                <a:lnTo>
                  <a:pt x="1729" y="1162"/>
                </a:lnTo>
                <a:lnTo>
                  <a:pt x="1728" y="1152"/>
                </a:lnTo>
                <a:lnTo>
                  <a:pt x="1727" y="1149"/>
                </a:lnTo>
                <a:lnTo>
                  <a:pt x="1723" y="1148"/>
                </a:lnTo>
                <a:lnTo>
                  <a:pt x="1721" y="1150"/>
                </a:lnTo>
                <a:lnTo>
                  <a:pt x="1722" y="1154"/>
                </a:lnTo>
                <a:lnTo>
                  <a:pt x="1722" y="1159"/>
                </a:lnTo>
                <a:lnTo>
                  <a:pt x="1717" y="1161"/>
                </a:lnTo>
                <a:close/>
                <a:moveTo>
                  <a:pt x="1712" y="1161"/>
                </a:moveTo>
                <a:lnTo>
                  <a:pt x="1714" y="1161"/>
                </a:lnTo>
                <a:lnTo>
                  <a:pt x="1717" y="1161"/>
                </a:lnTo>
                <a:lnTo>
                  <a:pt x="1715" y="1161"/>
                </a:lnTo>
                <a:lnTo>
                  <a:pt x="1712" y="1161"/>
                </a:lnTo>
                <a:close/>
                <a:moveTo>
                  <a:pt x="1760" y="1024"/>
                </a:moveTo>
                <a:lnTo>
                  <a:pt x="1756" y="1024"/>
                </a:lnTo>
                <a:lnTo>
                  <a:pt x="1753" y="1028"/>
                </a:lnTo>
                <a:lnTo>
                  <a:pt x="1763" y="1029"/>
                </a:lnTo>
                <a:lnTo>
                  <a:pt x="1774" y="1026"/>
                </a:lnTo>
                <a:lnTo>
                  <a:pt x="1778" y="1024"/>
                </a:lnTo>
                <a:lnTo>
                  <a:pt x="1778" y="1019"/>
                </a:lnTo>
                <a:lnTo>
                  <a:pt x="1775" y="1017"/>
                </a:lnTo>
                <a:lnTo>
                  <a:pt x="1771" y="1018"/>
                </a:lnTo>
                <a:lnTo>
                  <a:pt x="1757" y="1020"/>
                </a:lnTo>
                <a:lnTo>
                  <a:pt x="1744" y="1015"/>
                </a:lnTo>
                <a:lnTo>
                  <a:pt x="1756" y="1022"/>
                </a:lnTo>
                <a:lnTo>
                  <a:pt x="1771" y="1024"/>
                </a:lnTo>
                <a:lnTo>
                  <a:pt x="1764" y="1024"/>
                </a:lnTo>
                <a:lnTo>
                  <a:pt x="1760" y="1024"/>
                </a:lnTo>
                <a:close/>
                <a:moveTo>
                  <a:pt x="359" y="580"/>
                </a:moveTo>
                <a:lnTo>
                  <a:pt x="362" y="569"/>
                </a:lnTo>
                <a:lnTo>
                  <a:pt x="368" y="561"/>
                </a:lnTo>
                <a:lnTo>
                  <a:pt x="364" y="552"/>
                </a:lnTo>
                <a:lnTo>
                  <a:pt x="361" y="540"/>
                </a:lnTo>
                <a:lnTo>
                  <a:pt x="354" y="567"/>
                </a:lnTo>
                <a:lnTo>
                  <a:pt x="359" y="580"/>
                </a:lnTo>
                <a:close/>
                <a:moveTo>
                  <a:pt x="2213" y="1061"/>
                </a:moveTo>
                <a:lnTo>
                  <a:pt x="2195" y="1057"/>
                </a:lnTo>
                <a:lnTo>
                  <a:pt x="2177" y="1059"/>
                </a:lnTo>
                <a:lnTo>
                  <a:pt x="2182" y="1063"/>
                </a:lnTo>
                <a:lnTo>
                  <a:pt x="2187" y="1063"/>
                </a:lnTo>
                <a:lnTo>
                  <a:pt x="2197" y="1064"/>
                </a:lnTo>
                <a:lnTo>
                  <a:pt x="2198" y="1072"/>
                </a:lnTo>
                <a:lnTo>
                  <a:pt x="2198" y="1076"/>
                </a:lnTo>
                <a:lnTo>
                  <a:pt x="2199" y="1080"/>
                </a:lnTo>
                <a:lnTo>
                  <a:pt x="2196" y="108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2" y="1104"/>
                </a:lnTo>
                <a:lnTo>
                  <a:pt x="2189" y="1112"/>
                </a:lnTo>
                <a:lnTo>
                  <a:pt x="2189" y="1120"/>
                </a:lnTo>
                <a:lnTo>
                  <a:pt x="2195" y="1125"/>
                </a:lnTo>
                <a:lnTo>
                  <a:pt x="2202" y="1127"/>
                </a:lnTo>
                <a:lnTo>
                  <a:pt x="2206" y="1134"/>
                </a:lnTo>
                <a:lnTo>
                  <a:pt x="2209" y="1128"/>
                </a:lnTo>
                <a:lnTo>
                  <a:pt x="2211" y="1122"/>
                </a:lnTo>
                <a:lnTo>
                  <a:pt x="2217" y="1124"/>
                </a:lnTo>
                <a:lnTo>
                  <a:pt x="2223" y="1126"/>
                </a:lnTo>
                <a:lnTo>
                  <a:pt x="2240" y="1129"/>
                </a:lnTo>
                <a:lnTo>
                  <a:pt x="2259" y="1126"/>
                </a:lnTo>
                <a:lnTo>
                  <a:pt x="2234" y="1119"/>
                </a:lnTo>
                <a:lnTo>
                  <a:pt x="2211" y="1118"/>
                </a:lnTo>
                <a:lnTo>
                  <a:pt x="2202" y="1119"/>
                </a:lnTo>
                <a:lnTo>
                  <a:pt x="2197" y="1115"/>
                </a:lnTo>
                <a:lnTo>
                  <a:pt x="2196" y="1106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196" y="1098"/>
                </a:lnTo>
                <a:lnTo>
                  <a:pt x="2203" y="1090"/>
                </a:lnTo>
                <a:lnTo>
                  <a:pt x="2202" y="1080"/>
                </a:lnTo>
                <a:lnTo>
                  <a:pt x="2207" y="1071"/>
                </a:lnTo>
                <a:lnTo>
                  <a:pt x="2213" y="1061"/>
                </a:lnTo>
                <a:close/>
                <a:moveTo>
                  <a:pt x="2694" y="1625"/>
                </a:moveTo>
                <a:lnTo>
                  <a:pt x="2678" y="1621"/>
                </a:lnTo>
                <a:lnTo>
                  <a:pt x="2663" y="1621"/>
                </a:lnTo>
                <a:lnTo>
                  <a:pt x="2656" y="1619"/>
                </a:lnTo>
                <a:lnTo>
                  <a:pt x="2649" y="1620"/>
                </a:lnTo>
                <a:lnTo>
                  <a:pt x="2649" y="1622"/>
                </a:lnTo>
                <a:lnTo>
                  <a:pt x="2649" y="1623"/>
                </a:lnTo>
                <a:lnTo>
                  <a:pt x="2655" y="1626"/>
                </a:lnTo>
                <a:lnTo>
                  <a:pt x="2662" y="1626"/>
                </a:lnTo>
                <a:lnTo>
                  <a:pt x="2676" y="1626"/>
                </a:lnTo>
                <a:lnTo>
                  <a:pt x="2684" y="1638"/>
                </a:lnTo>
                <a:lnTo>
                  <a:pt x="2688" y="1631"/>
                </a:lnTo>
                <a:lnTo>
                  <a:pt x="2694" y="1625"/>
                </a:lnTo>
                <a:close/>
                <a:moveTo>
                  <a:pt x="1699" y="1529"/>
                </a:moveTo>
                <a:lnTo>
                  <a:pt x="1723" y="1528"/>
                </a:lnTo>
                <a:lnTo>
                  <a:pt x="1747" y="1524"/>
                </a:lnTo>
                <a:lnTo>
                  <a:pt x="1744" y="1519"/>
                </a:lnTo>
                <a:lnTo>
                  <a:pt x="1741" y="1518"/>
                </a:lnTo>
                <a:lnTo>
                  <a:pt x="1719" y="1522"/>
                </a:lnTo>
                <a:lnTo>
                  <a:pt x="1699" y="1521"/>
                </a:lnTo>
                <a:lnTo>
                  <a:pt x="1695" y="1522"/>
                </a:lnTo>
                <a:lnTo>
                  <a:pt x="1694" y="1526"/>
                </a:lnTo>
                <a:lnTo>
                  <a:pt x="1695" y="1529"/>
                </a:lnTo>
                <a:lnTo>
                  <a:pt x="1699" y="1529"/>
                </a:lnTo>
                <a:close/>
                <a:moveTo>
                  <a:pt x="210" y="597"/>
                </a:moveTo>
                <a:lnTo>
                  <a:pt x="211" y="590"/>
                </a:lnTo>
                <a:lnTo>
                  <a:pt x="213" y="582"/>
                </a:lnTo>
                <a:lnTo>
                  <a:pt x="214" y="578"/>
                </a:lnTo>
                <a:lnTo>
                  <a:pt x="212" y="574"/>
                </a:lnTo>
                <a:lnTo>
                  <a:pt x="206" y="573"/>
                </a:lnTo>
                <a:lnTo>
                  <a:pt x="200" y="574"/>
                </a:lnTo>
                <a:lnTo>
                  <a:pt x="195" y="581"/>
                </a:lnTo>
                <a:lnTo>
                  <a:pt x="194" y="591"/>
                </a:lnTo>
                <a:lnTo>
                  <a:pt x="197" y="593"/>
                </a:lnTo>
                <a:lnTo>
                  <a:pt x="203" y="592"/>
                </a:lnTo>
                <a:lnTo>
                  <a:pt x="206" y="594"/>
                </a:lnTo>
                <a:lnTo>
                  <a:pt x="206" y="597"/>
                </a:lnTo>
                <a:lnTo>
                  <a:pt x="205" y="606"/>
                </a:lnTo>
                <a:lnTo>
                  <a:pt x="201" y="613"/>
                </a:lnTo>
                <a:lnTo>
                  <a:pt x="197" y="621"/>
                </a:lnTo>
                <a:lnTo>
                  <a:pt x="203" y="629"/>
                </a:lnTo>
                <a:lnTo>
                  <a:pt x="212" y="610"/>
                </a:lnTo>
                <a:lnTo>
                  <a:pt x="224" y="593"/>
                </a:lnTo>
                <a:lnTo>
                  <a:pt x="216" y="595"/>
                </a:lnTo>
                <a:lnTo>
                  <a:pt x="210" y="597"/>
                </a:lnTo>
                <a:close/>
                <a:moveTo>
                  <a:pt x="707" y="203"/>
                </a:moveTo>
                <a:lnTo>
                  <a:pt x="707" y="206"/>
                </a:lnTo>
                <a:lnTo>
                  <a:pt x="708" y="208"/>
                </a:lnTo>
                <a:lnTo>
                  <a:pt x="712" y="211"/>
                </a:lnTo>
                <a:lnTo>
                  <a:pt x="716" y="210"/>
                </a:lnTo>
                <a:lnTo>
                  <a:pt x="726" y="206"/>
                </a:lnTo>
                <a:lnTo>
                  <a:pt x="734" y="200"/>
                </a:lnTo>
                <a:lnTo>
                  <a:pt x="734" y="198"/>
                </a:lnTo>
                <a:lnTo>
                  <a:pt x="733" y="197"/>
                </a:lnTo>
                <a:lnTo>
                  <a:pt x="719" y="198"/>
                </a:lnTo>
                <a:lnTo>
                  <a:pt x="707" y="203"/>
                </a:lnTo>
                <a:close/>
                <a:moveTo>
                  <a:pt x="2738" y="1233"/>
                </a:moveTo>
                <a:lnTo>
                  <a:pt x="2730" y="1237"/>
                </a:lnTo>
                <a:lnTo>
                  <a:pt x="2728" y="1244"/>
                </a:lnTo>
                <a:lnTo>
                  <a:pt x="2738" y="1250"/>
                </a:lnTo>
                <a:lnTo>
                  <a:pt x="2750" y="1246"/>
                </a:lnTo>
                <a:lnTo>
                  <a:pt x="2745" y="1237"/>
                </a:lnTo>
                <a:lnTo>
                  <a:pt x="2738" y="1233"/>
                </a:lnTo>
                <a:close/>
                <a:moveTo>
                  <a:pt x="388" y="1147"/>
                </a:moveTo>
                <a:lnTo>
                  <a:pt x="367" y="1155"/>
                </a:lnTo>
                <a:lnTo>
                  <a:pt x="347" y="1159"/>
                </a:lnTo>
                <a:lnTo>
                  <a:pt x="344" y="1161"/>
                </a:lnTo>
                <a:lnTo>
                  <a:pt x="344" y="1164"/>
                </a:lnTo>
                <a:lnTo>
                  <a:pt x="346" y="1165"/>
                </a:lnTo>
                <a:lnTo>
                  <a:pt x="347" y="1165"/>
                </a:lnTo>
                <a:lnTo>
                  <a:pt x="369" y="1159"/>
                </a:lnTo>
                <a:lnTo>
                  <a:pt x="391" y="1155"/>
                </a:lnTo>
                <a:lnTo>
                  <a:pt x="393" y="1154"/>
                </a:lnTo>
                <a:lnTo>
                  <a:pt x="393" y="1150"/>
                </a:lnTo>
                <a:lnTo>
                  <a:pt x="391" y="1147"/>
                </a:lnTo>
                <a:lnTo>
                  <a:pt x="388" y="1147"/>
                </a:lnTo>
                <a:close/>
                <a:moveTo>
                  <a:pt x="868" y="371"/>
                </a:moveTo>
                <a:lnTo>
                  <a:pt x="872" y="370"/>
                </a:lnTo>
                <a:lnTo>
                  <a:pt x="874" y="368"/>
                </a:lnTo>
                <a:lnTo>
                  <a:pt x="876" y="354"/>
                </a:lnTo>
                <a:lnTo>
                  <a:pt x="875" y="339"/>
                </a:lnTo>
                <a:lnTo>
                  <a:pt x="873" y="336"/>
                </a:lnTo>
                <a:lnTo>
                  <a:pt x="869" y="335"/>
                </a:lnTo>
                <a:lnTo>
                  <a:pt x="867" y="337"/>
                </a:lnTo>
                <a:lnTo>
                  <a:pt x="866" y="340"/>
                </a:lnTo>
                <a:lnTo>
                  <a:pt x="865" y="351"/>
                </a:lnTo>
                <a:lnTo>
                  <a:pt x="866" y="362"/>
                </a:lnTo>
                <a:lnTo>
                  <a:pt x="866" y="367"/>
                </a:lnTo>
                <a:lnTo>
                  <a:pt x="868" y="371"/>
                </a:lnTo>
                <a:close/>
                <a:moveTo>
                  <a:pt x="1539" y="1147"/>
                </a:moveTo>
                <a:lnTo>
                  <a:pt x="1534" y="1142"/>
                </a:lnTo>
                <a:lnTo>
                  <a:pt x="1529" y="1145"/>
                </a:lnTo>
                <a:lnTo>
                  <a:pt x="1526" y="1146"/>
                </a:lnTo>
                <a:lnTo>
                  <a:pt x="1522" y="1146"/>
                </a:lnTo>
                <a:lnTo>
                  <a:pt x="1509" y="1148"/>
                </a:lnTo>
                <a:lnTo>
                  <a:pt x="1511" y="1160"/>
                </a:lnTo>
                <a:lnTo>
                  <a:pt x="1529" y="1150"/>
                </a:lnTo>
                <a:lnTo>
                  <a:pt x="1550" y="1151"/>
                </a:lnTo>
                <a:lnTo>
                  <a:pt x="1543" y="1149"/>
                </a:lnTo>
                <a:lnTo>
                  <a:pt x="1539" y="1147"/>
                </a:lnTo>
                <a:close/>
                <a:moveTo>
                  <a:pt x="640" y="184"/>
                </a:moveTo>
                <a:lnTo>
                  <a:pt x="622" y="193"/>
                </a:lnTo>
                <a:lnTo>
                  <a:pt x="603" y="200"/>
                </a:lnTo>
                <a:lnTo>
                  <a:pt x="601" y="202"/>
                </a:lnTo>
                <a:lnTo>
                  <a:pt x="600" y="206"/>
                </a:lnTo>
                <a:lnTo>
                  <a:pt x="597" y="212"/>
                </a:lnTo>
                <a:lnTo>
                  <a:pt x="601" y="218"/>
                </a:lnTo>
                <a:lnTo>
                  <a:pt x="608" y="226"/>
                </a:lnTo>
                <a:lnTo>
                  <a:pt x="601" y="235"/>
                </a:lnTo>
                <a:lnTo>
                  <a:pt x="608" y="234"/>
                </a:lnTo>
                <a:lnTo>
                  <a:pt x="611" y="228"/>
                </a:lnTo>
                <a:lnTo>
                  <a:pt x="615" y="215"/>
                </a:lnTo>
                <a:lnTo>
                  <a:pt x="618" y="201"/>
                </a:lnTo>
                <a:lnTo>
                  <a:pt x="631" y="196"/>
                </a:lnTo>
                <a:lnTo>
                  <a:pt x="643" y="189"/>
                </a:lnTo>
                <a:lnTo>
                  <a:pt x="647" y="188"/>
                </a:lnTo>
                <a:lnTo>
                  <a:pt x="647" y="185"/>
                </a:lnTo>
                <a:lnTo>
                  <a:pt x="643" y="183"/>
                </a:lnTo>
                <a:lnTo>
                  <a:pt x="640" y="184"/>
                </a:lnTo>
                <a:close/>
                <a:moveTo>
                  <a:pt x="325" y="584"/>
                </a:moveTo>
                <a:lnTo>
                  <a:pt x="306" y="594"/>
                </a:lnTo>
                <a:lnTo>
                  <a:pt x="289" y="608"/>
                </a:lnTo>
                <a:lnTo>
                  <a:pt x="316" y="599"/>
                </a:lnTo>
                <a:lnTo>
                  <a:pt x="325" y="584"/>
                </a:lnTo>
                <a:close/>
                <a:moveTo>
                  <a:pt x="366" y="1327"/>
                </a:moveTo>
                <a:lnTo>
                  <a:pt x="362" y="1327"/>
                </a:lnTo>
                <a:lnTo>
                  <a:pt x="359" y="1330"/>
                </a:lnTo>
                <a:lnTo>
                  <a:pt x="358" y="1341"/>
                </a:lnTo>
                <a:lnTo>
                  <a:pt x="360" y="1349"/>
                </a:lnTo>
                <a:lnTo>
                  <a:pt x="369" y="1351"/>
                </a:lnTo>
                <a:lnTo>
                  <a:pt x="380" y="1347"/>
                </a:lnTo>
                <a:lnTo>
                  <a:pt x="373" y="1347"/>
                </a:lnTo>
                <a:lnTo>
                  <a:pt x="365" y="1346"/>
                </a:lnTo>
                <a:lnTo>
                  <a:pt x="370" y="1342"/>
                </a:lnTo>
                <a:lnTo>
                  <a:pt x="373" y="1338"/>
                </a:lnTo>
                <a:lnTo>
                  <a:pt x="372" y="1330"/>
                </a:lnTo>
                <a:lnTo>
                  <a:pt x="366" y="1327"/>
                </a:lnTo>
                <a:close/>
                <a:moveTo>
                  <a:pt x="1813" y="935"/>
                </a:moveTo>
                <a:lnTo>
                  <a:pt x="1807" y="937"/>
                </a:lnTo>
                <a:lnTo>
                  <a:pt x="1800" y="947"/>
                </a:lnTo>
                <a:lnTo>
                  <a:pt x="1799" y="950"/>
                </a:lnTo>
                <a:lnTo>
                  <a:pt x="1800" y="952"/>
                </a:lnTo>
                <a:lnTo>
                  <a:pt x="1806" y="954"/>
                </a:lnTo>
                <a:lnTo>
                  <a:pt x="1814" y="954"/>
                </a:lnTo>
                <a:lnTo>
                  <a:pt x="1817" y="950"/>
                </a:lnTo>
                <a:lnTo>
                  <a:pt x="1817" y="945"/>
                </a:lnTo>
                <a:lnTo>
                  <a:pt x="1816" y="937"/>
                </a:lnTo>
                <a:lnTo>
                  <a:pt x="1813" y="935"/>
                </a:lnTo>
                <a:close/>
                <a:moveTo>
                  <a:pt x="241" y="517"/>
                </a:moveTo>
                <a:lnTo>
                  <a:pt x="239" y="533"/>
                </a:lnTo>
                <a:lnTo>
                  <a:pt x="254" y="534"/>
                </a:lnTo>
                <a:lnTo>
                  <a:pt x="255" y="537"/>
                </a:lnTo>
                <a:lnTo>
                  <a:pt x="256" y="540"/>
                </a:lnTo>
                <a:lnTo>
                  <a:pt x="249" y="574"/>
                </a:lnTo>
                <a:lnTo>
                  <a:pt x="246" y="609"/>
                </a:lnTo>
                <a:lnTo>
                  <a:pt x="254" y="600"/>
                </a:lnTo>
                <a:lnTo>
                  <a:pt x="258" y="591"/>
                </a:lnTo>
                <a:lnTo>
                  <a:pt x="261" y="567"/>
                </a:lnTo>
                <a:lnTo>
                  <a:pt x="271" y="545"/>
                </a:lnTo>
                <a:lnTo>
                  <a:pt x="272" y="540"/>
                </a:lnTo>
                <a:lnTo>
                  <a:pt x="271" y="535"/>
                </a:lnTo>
                <a:lnTo>
                  <a:pt x="272" y="532"/>
                </a:lnTo>
                <a:lnTo>
                  <a:pt x="273" y="528"/>
                </a:lnTo>
                <a:lnTo>
                  <a:pt x="281" y="530"/>
                </a:lnTo>
                <a:lnTo>
                  <a:pt x="285" y="535"/>
                </a:lnTo>
                <a:lnTo>
                  <a:pt x="285" y="536"/>
                </a:lnTo>
                <a:lnTo>
                  <a:pt x="285" y="538"/>
                </a:lnTo>
                <a:lnTo>
                  <a:pt x="283" y="553"/>
                </a:lnTo>
                <a:lnTo>
                  <a:pt x="281" y="568"/>
                </a:lnTo>
                <a:lnTo>
                  <a:pt x="281" y="570"/>
                </a:lnTo>
                <a:lnTo>
                  <a:pt x="283" y="573"/>
                </a:lnTo>
                <a:lnTo>
                  <a:pt x="283" y="586"/>
                </a:lnTo>
                <a:lnTo>
                  <a:pt x="283" y="600"/>
                </a:lnTo>
                <a:lnTo>
                  <a:pt x="289" y="596"/>
                </a:lnTo>
                <a:lnTo>
                  <a:pt x="293" y="593"/>
                </a:lnTo>
                <a:lnTo>
                  <a:pt x="306" y="581"/>
                </a:lnTo>
                <a:lnTo>
                  <a:pt x="309" y="564"/>
                </a:lnTo>
                <a:lnTo>
                  <a:pt x="311" y="541"/>
                </a:lnTo>
                <a:lnTo>
                  <a:pt x="313" y="519"/>
                </a:lnTo>
                <a:lnTo>
                  <a:pt x="317" y="518"/>
                </a:lnTo>
                <a:lnTo>
                  <a:pt x="319" y="516"/>
                </a:lnTo>
                <a:lnTo>
                  <a:pt x="317" y="514"/>
                </a:lnTo>
                <a:lnTo>
                  <a:pt x="314" y="514"/>
                </a:lnTo>
                <a:lnTo>
                  <a:pt x="315" y="502"/>
                </a:lnTo>
                <a:lnTo>
                  <a:pt x="316" y="488"/>
                </a:lnTo>
                <a:lnTo>
                  <a:pt x="302" y="495"/>
                </a:lnTo>
                <a:lnTo>
                  <a:pt x="289" y="492"/>
                </a:lnTo>
                <a:lnTo>
                  <a:pt x="284" y="491"/>
                </a:lnTo>
                <a:lnTo>
                  <a:pt x="283" y="497"/>
                </a:lnTo>
                <a:lnTo>
                  <a:pt x="282" y="503"/>
                </a:lnTo>
                <a:lnTo>
                  <a:pt x="283" y="508"/>
                </a:lnTo>
                <a:lnTo>
                  <a:pt x="284" y="516"/>
                </a:lnTo>
                <a:lnTo>
                  <a:pt x="285" y="522"/>
                </a:lnTo>
                <a:lnTo>
                  <a:pt x="284" y="516"/>
                </a:lnTo>
                <a:lnTo>
                  <a:pt x="283" y="508"/>
                </a:lnTo>
                <a:lnTo>
                  <a:pt x="271" y="512"/>
                </a:lnTo>
                <a:lnTo>
                  <a:pt x="261" y="506"/>
                </a:lnTo>
                <a:lnTo>
                  <a:pt x="252" y="502"/>
                </a:lnTo>
                <a:lnTo>
                  <a:pt x="243" y="508"/>
                </a:lnTo>
                <a:lnTo>
                  <a:pt x="242" y="513"/>
                </a:lnTo>
                <a:lnTo>
                  <a:pt x="241" y="517"/>
                </a:lnTo>
                <a:close/>
                <a:moveTo>
                  <a:pt x="321" y="466"/>
                </a:moveTo>
                <a:lnTo>
                  <a:pt x="318" y="472"/>
                </a:lnTo>
                <a:lnTo>
                  <a:pt x="319" y="479"/>
                </a:lnTo>
                <a:lnTo>
                  <a:pt x="324" y="482"/>
                </a:lnTo>
                <a:lnTo>
                  <a:pt x="330" y="478"/>
                </a:lnTo>
                <a:lnTo>
                  <a:pt x="336" y="473"/>
                </a:lnTo>
                <a:lnTo>
                  <a:pt x="345" y="470"/>
                </a:lnTo>
                <a:lnTo>
                  <a:pt x="332" y="461"/>
                </a:lnTo>
                <a:lnTo>
                  <a:pt x="321" y="466"/>
                </a:lnTo>
                <a:close/>
                <a:moveTo>
                  <a:pt x="865" y="1343"/>
                </a:moveTo>
                <a:lnTo>
                  <a:pt x="858" y="1385"/>
                </a:lnTo>
                <a:lnTo>
                  <a:pt x="862" y="1417"/>
                </a:lnTo>
                <a:lnTo>
                  <a:pt x="863" y="1379"/>
                </a:lnTo>
                <a:lnTo>
                  <a:pt x="865" y="1343"/>
                </a:lnTo>
                <a:close/>
                <a:moveTo>
                  <a:pt x="2142" y="1067"/>
                </a:move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7" y="1070"/>
                </a:lnTo>
                <a:lnTo>
                  <a:pt x="2149" y="1074"/>
                </a:lnTo>
                <a:lnTo>
                  <a:pt x="2149" y="1075"/>
                </a:lnTo>
                <a:lnTo>
                  <a:pt x="2149" y="1076"/>
                </a:lnTo>
                <a:lnTo>
                  <a:pt x="2149" y="1075"/>
                </a:lnTo>
                <a:lnTo>
                  <a:pt x="2148" y="1075"/>
                </a:lnTo>
                <a:lnTo>
                  <a:pt x="2148" y="1080"/>
                </a:lnTo>
                <a:lnTo>
                  <a:pt x="2152" y="1079"/>
                </a:lnTo>
                <a:lnTo>
                  <a:pt x="2156" y="1076"/>
                </a:lnTo>
                <a:lnTo>
                  <a:pt x="2163" y="1078"/>
                </a:lnTo>
                <a:lnTo>
                  <a:pt x="2173" y="1081"/>
                </a:lnTo>
                <a:lnTo>
                  <a:pt x="2184" y="1080"/>
                </a:lnTo>
                <a:lnTo>
                  <a:pt x="2189" y="1079"/>
                </a:lnTo>
                <a:lnTo>
                  <a:pt x="2192" y="1073"/>
                </a:lnTo>
                <a:lnTo>
                  <a:pt x="2188" y="1070"/>
                </a:lnTo>
                <a:lnTo>
                  <a:pt x="2183" y="1070"/>
                </a:lnTo>
                <a:lnTo>
                  <a:pt x="2179" y="1066"/>
                </a:lnTo>
                <a:lnTo>
                  <a:pt x="2172" y="1068"/>
                </a:lnTo>
                <a:lnTo>
                  <a:pt x="2162" y="1070"/>
                </a:lnTo>
                <a:lnTo>
                  <a:pt x="2151" y="1064"/>
                </a:lnTo>
                <a:lnTo>
                  <a:pt x="2147" y="1063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37" y="1066"/>
                </a:lnTo>
                <a:lnTo>
                  <a:pt x="2131" y="1065"/>
                </a:lnTo>
                <a:lnTo>
                  <a:pt x="2110" y="1067"/>
                </a:lnTo>
                <a:lnTo>
                  <a:pt x="2094" y="1083"/>
                </a:lnTo>
                <a:lnTo>
                  <a:pt x="2108" y="1081"/>
                </a:lnTo>
                <a:lnTo>
                  <a:pt x="2122" y="1076"/>
                </a:lnTo>
                <a:lnTo>
                  <a:pt x="2115" y="1074"/>
                </a:lnTo>
                <a:lnTo>
                  <a:pt x="2106" y="1072"/>
                </a:lnTo>
                <a:lnTo>
                  <a:pt x="2120" y="1069"/>
                </a:lnTo>
                <a:lnTo>
                  <a:pt x="2134" y="1070"/>
                </a:lnTo>
                <a:lnTo>
                  <a:pt x="2139" y="1071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lnTo>
                  <a:pt x="2142" y="1067"/>
                </a:lnTo>
                <a:close/>
                <a:moveTo>
                  <a:pt x="518" y="373"/>
                </a:moveTo>
                <a:lnTo>
                  <a:pt x="527" y="370"/>
                </a:lnTo>
                <a:lnTo>
                  <a:pt x="531" y="361"/>
                </a:lnTo>
                <a:lnTo>
                  <a:pt x="528" y="356"/>
                </a:lnTo>
                <a:lnTo>
                  <a:pt x="521" y="353"/>
                </a:lnTo>
                <a:lnTo>
                  <a:pt x="511" y="359"/>
                </a:lnTo>
                <a:lnTo>
                  <a:pt x="503" y="367"/>
                </a:lnTo>
                <a:lnTo>
                  <a:pt x="509" y="375"/>
                </a:lnTo>
                <a:lnTo>
                  <a:pt x="518" y="373"/>
                </a:lnTo>
                <a:close/>
                <a:moveTo>
                  <a:pt x="329" y="1274"/>
                </a:moveTo>
                <a:lnTo>
                  <a:pt x="336" y="1269"/>
                </a:lnTo>
                <a:lnTo>
                  <a:pt x="339" y="1261"/>
                </a:lnTo>
                <a:lnTo>
                  <a:pt x="340" y="1253"/>
                </a:lnTo>
                <a:lnTo>
                  <a:pt x="335" y="1248"/>
                </a:lnTo>
                <a:lnTo>
                  <a:pt x="328" y="1246"/>
                </a:lnTo>
                <a:lnTo>
                  <a:pt x="320" y="1243"/>
                </a:lnTo>
                <a:lnTo>
                  <a:pt x="325" y="1255"/>
                </a:lnTo>
                <a:lnTo>
                  <a:pt x="325" y="1268"/>
                </a:lnTo>
                <a:lnTo>
                  <a:pt x="325" y="1272"/>
                </a:lnTo>
                <a:lnTo>
                  <a:pt x="329" y="1274"/>
                </a:lnTo>
                <a:close/>
                <a:moveTo>
                  <a:pt x="1848" y="1034"/>
                </a:moveTo>
                <a:lnTo>
                  <a:pt x="1855" y="1056"/>
                </a:lnTo>
                <a:lnTo>
                  <a:pt x="1884" y="1057"/>
                </a:lnTo>
                <a:lnTo>
                  <a:pt x="1865" y="1049"/>
                </a:lnTo>
                <a:lnTo>
                  <a:pt x="1848" y="1034"/>
                </a:lnTo>
                <a:close/>
                <a:moveTo>
                  <a:pt x="331" y="1504"/>
                </a:moveTo>
                <a:lnTo>
                  <a:pt x="332" y="1514"/>
                </a:lnTo>
                <a:lnTo>
                  <a:pt x="340" y="1517"/>
                </a:lnTo>
                <a:lnTo>
                  <a:pt x="349" y="1515"/>
                </a:lnTo>
                <a:lnTo>
                  <a:pt x="350" y="1507"/>
                </a:lnTo>
                <a:lnTo>
                  <a:pt x="350" y="1499"/>
                </a:lnTo>
                <a:lnTo>
                  <a:pt x="344" y="1495"/>
                </a:lnTo>
                <a:lnTo>
                  <a:pt x="335" y="1497"/>
                </a:lnTo>
                <a:lnTo>
                  <a:pt x="331" y="1504"/>
                </a:lnTo>
                <a:close/>
                <a:moveTo>
                  <a:pt x="72" y="813"/>
                </a:moveTo>
                <a:lnTo>
                  <a:pt x="75" y="819"/>
                </a:lnTo>
                <a:lnTo>
                  <a:pt x="72" y="824"/>
                </a:lnTo>
                <a:lnTo>
                  <a:pt x="69" y="827"/>
                </a:lnTo>
                <a:lnTo>
                  <a:pt x="71" y="830"/>
                </a:lnTo>
                <a:lnTo>
                  <a:pt x="74" y="835"/>
                </a:lnTo>
                <a:lnTo>
                  <a:pt x="78" y="835"/>
                </a:lnTo>
                <a:lnTo>
                  <a:pt x="80" y="833"/>
                </a:lnTo>
                <a:lnTo>
                  <a:pt x="81" y="829"/>
                </a:lnTo>
                <a:lnTo>
                  <a:pt x="82" y="818"/>
                </a:lnTo>
                <a:lnTo>
                  <a:pt x="85" y="807"/>
                </a:lnTo>
                <a:lnTo>
                  <a:pt x="84" y="801"/>
                </a:lnTo>
                <a:lnTo>
                  <a:pt x="77" y="800"/>
                </a:lnTo>
                <a:lnTo>
                  <a:pt x="73" y="801"/>
                </a:lnTo>
                <a:lnTo>
                  <a:pt x="70" y="805"/>
                </a:lnTo>
                <a:lnTo>
                  <a:pt x="69" y="809"/>
                </a:lnTo>
                <a:lnTo>
                  <a:pt x="72" y="813"/>
                </a:lnTo>
                <a:close/>
                <a:moveTo>
                  <a:pt x="1237" y="847"/>
                </a:moveTo>
                <a:lnTo>
                  <a:pt x="1240" y="856"/>
                </a:lnTo>
                <a:lnTo>
                  <a:pt x="1242" y="865"/>
                </a:lnTo>
                <a:lnTo>
                  <a:pt x="1245" y="869"/>
                </a:lnTo>
                <a:lnTo>
                  <a:pt x="1249" y="869"/>
                </a:lnTo>
                <a:lnTo>
                  <a:pt x="1255" y="867"/>
                </a:lnTo>
                <a:lnTo>
                  <a:pt x="1255" y="861"/>
                </a:lnTo>
                <a:lnTo>
                  <a:pt x="1254" y="853"/>
                </a:lnTo>
                <a:lnTo>
                  <a:pt x="1252" y="845"/>
                </a:lnTo>
                <a:lnTo>
                  <a:pt x="1249" y="840"/>
                </a:lnTo>
                <a:lnTo>
                  <a:pt x="1244" y="839"/>
                </a:lnTo>
                <a:lnTo>
                  <a:pt x="1239" y="842"/>
                </a:lnTo>
                <a:lnTo>
                  <a:pt x="1237" y="847"/>
                </a:lnTo>
                <a:close/>
                <a:moveTo>
                  <a:pt x="1004" y="961"/>
                </a:moveTo>
                <a:lnTo>
                  <a:pt x="1031" y="962"/>
                </a:lnTo>
                <a:lnTo>
                  <a:pt x="1057" y="951"/>
                </a:lnTo>
                <a:lnTo>
                  <a:pt x="1016" y="957"/>
                </a:lnTo>
                <a:lnTo>
                  <a:pt x="975" y="961"/>
                </a:lnTo>
                <a:lnTo>
                  <a:pt x="990" y="962"/>
                </a:lnTo>
                <a:lnTo>
                  <a:pt x="1004" y="961"/>
                </a:lnTo>
                <a:close/>
                <a:moveTo>
                  <a:pt x="535" y="1495"/>
                </a:moveTo>
                <a:lnTo>
                  <a:pt x="541" y="1492"/>
                </a:lnTo>
                <a:lnTo>
                  <a:pt x="544" y="1487"/>
                </a:lnTo>
                <a:lnTo>
                  <a:pt x="545" y="1485"/>
                </a:lnTo>
                <a:lnTo>
                  <a:pt x="543" y="1484"/>
                </a:lnTo>
                <a:lnTo>
                  <a:pt x="537" y="1482"/>
                </a:lnTo>
                <a:lnTo>
                  <a:pt x="534" y="1476"/>
                </a:lnTo>
                <a:lnTo>
                  <a:pt x="530" y="1471"/>
                </a:lnTo>
                <a:lnTo>
                  <a:pt x="524" y="1470"/>
                </a:lnTo>
                <a:lnTo>
                  <a:pt x="519" y="1471"/>
                </a:lnTo>
                <a:lnTo>
                  <a:pt x="517" y="1476"/>
                </a:lnTo>
                <a:lnTo>
                  <a:pt x="525" y="1486"/>
                </a:lnTo>
                <a:lnTo>
                  <a:pt x="535" y="1495"/>
                </a:lnTo>
                <a:close/>
                <a:moveTo>
                  <a:pt x="2213" y="1653"/>
                </a:moveTo>
                <a:lnTo>
                  <a:pt x="2257" y="1654"/>
                </a:lnTo>
                <a:lnTo>
                  <a:pt x="2301" y="1651"/>
                </a:lnTo>
                <a:lnTo>
                  <a:pt x="2257" y="1649"/>
                </a:lnTo>
                <a:lnTo>
                  <a:pt x="2213" y="1653"/>
                </a:lnTo>
                <a:close/>
                <a:moveTo>
                  <a:pt x="1472" y="1535"/>
                </a:moveTo>
                <a:lnTo>
                  <a:pt x="1476" y="1537"/>
                </a:lnTo>
                <a:lnTo>
                  <a:pt x="1480" y="1537"/>
                </a:lnTo>
                <a:lnTo>
                  <a:pt x="1489" y="1534"/>
                </a:lnTo>
                <a:lnTo>
                  <a:pt x="1500" y="1533"/>
                </a:lnTo>
                <a:lnTo>
                  <a:pt x="1504" y="1531"/>
                </a:lnTo>
                <a:lnTo>
                  <a:pt x="1504" y="1526"/>
                </a:lnTo>
                <a:lnTo>
                  <a:pt x="1502" y="1522"/>
                </a:lnTo>
                <a:lnTo>
                  <a:pt x="1499" y="1522"/>
                </a:lnTo>
                <a:lnTo>
                  <a:pt x="1486" y="1525"/>
                </a:lnTo>
                <a:lnTo>
                  <a:pt x="1474" y="1525"/>
                </a:lnTo>
                <a:lnTo>
                  <a:pt x="1468" y="1525"/>
                </a:lnTo>
                <a:lnTo>
                  <a:pt x="1465" y="1528"/>
                </a:lnTo>
                <a:lnTo>
                  <a:pt x="1467" y="1533"/>
                </a:lnTo>
                <a:lnTo>
                  <a:pt x="1472" y="1535"/>
                </a:lnTo>
                <a:close/>
                <a:moveTo>
                  <a:pt x="801" y="375"/>
                </a:moveTo>
                <a:lnTo>
                  <a:pt x="763" y="384"/>
                </a:lnTo>
                <a:lnTo>
                  <a:pt x="730" y="402"/>
                </a:lnTo>
                <a:lnTo>
                  <a:pt x="766" y="388"/>
                </a:lnTo>
                <a:lnTo>
                  <a:pt x="801" y="375"/>
                </a:lnTo>
                <a:close/>
                <a:moveTo>
                  <a:pt x="652" y="804"/>
                </a:moveTo>
                <a:lnTo>
                  <a:pt x="657" y="806"/>
                </a:lnTo>
                <a:lnTo>
                  <a:pt x="663" y="805"/>
                </a:lnTo>
                <a:lnTo>
                  <a:pt x="664" y="800"/>
                </a:lnTo>
                <a:lnTo>
                  <a:pt x="664" y="796"/>
                </a:lnTo>
                <a:lnTo>
                  <a:pt x="660" y="793"/>
                </a:lnTo>
                <a:lnTo>
                  <a:pt x="653" y="792"/>
                </a:lnTo>
                <a:lnTo>
                  <a:pt x="640" y="789"/>
                </a:lnTo>
                <a:lnTo>
                  <a:pt x="627" y="794"/>
                </a:lnTo>
                <a:lnTo>
                  <a:pt x="625" y="793"/>
                </a:lnTo>
                <a:lnTo>
                  <a:pt x="623" y="793"/>
                </a:lnTo>
                <a:lnTo>
                  <a:pt x="619" y="791"/>
                </a:lnTo>
                <a:lnTo>
                  <a:pt x="616" y="793"/>
                </a:lnTo>
                <a:lnTo>
                  <a:pt x="615" y="796"/>
                </a:lnTo>
                <a:lnTo>
                  <a:pt x="616" y="799"/>
                </a:lnTo>
                <a:lnTo>
                  <a:pt x="618" y="801"/>
                </a:lnTo>
                <a:lnTo>
                  <a:pt x="623" y="801"/>
                </a:lnTo>
                <a:lnTo>
                  <a:pt x="631" y="800"/>
                </a:lnTo>
                <a:lnTo>
                  <a:pt x="639" y="798"/>
                </a:lnTo>
                <a:lnTo>
                  <a:pt x="646" y="800"/>
                </a:lnTo>
                <a:lnTo>
                  <a:pt x="652" y="804"/>
                </a:lnTo>
                <a:close/>
                <a:moveTo>
                  <a:pt x="3056" y="1732"/>
                </a:moveTo>
                <a:lnTo>
                  <a:pt x="3059" y="1735"/>
                </a:lnTo>
                <a:lnTo>
                  <a:pt x="3063" y="1733"/>
                </a:lnTo>
                <a:lnTo>
                  <a:pt x="3066" y="1737"/>
                </a:lnTo>
                <a:lnTo>
                  <a:pt x="3071" y="1738"/>
                </a:lnTo>
                <a:lnTo>
                  <a:pt x="3082" y="1737"/>
                </a:lnTo>
                <a:lnTo>
                  <a:pt x="3093" y="1730"/>
                </a:lnTo>
                <a:lnTo>
                  <a:pt x="3093" y="1728"/>
                </a:lnTo>
                <a:lnTo>
                  <a:pt x="3094" y="1726"/>
                </a:lnTo>
                <a:lnTo>
                  <a:pt x="3087" y="1720"/>
                </a:lnTo>
                <a:lnTo>
                  <a:pt x="3078" y="1717"/>
                </a:lnTo>
                <a:lnTo>
                  <a:pt x="3074" y="1717"/>
                </a:lnTo>
                <a:lnTo>
                  <a:pt x="3071" y="1718"/>
                </a:lnTo>
                <a:lnTo>
                  <a:pt x="3068" y="1718"/>
                </a:lnTo>
                <a:lnTo>
                  <a:pt x="3065" y="1718"/>
                </a:lnTo>
                <a:lnTo>
                  <a:pt x="3058" y="1711"/>
                </a:lnTo>
                <a:lnTo>
                  <a:pt x="3051" y="1709"/>
                </a:lnTo>
                <a:lnTo>
                  <a:pt x="3042" y="1714"/>
                </a:lnTo>
                <a:lnTo>
                  <a:pt x="3034" y="1722"/>
                </a:lnTo>
                <a:lnTo>
                  <a:pt x="3034" y="1723"/>
                </a:lnTo>
                <a:lnTo>
                  <a:pt x="3035" y="1723"/>
                </a:lnTo>
                <a:lnTo>
                  <a:pt x="3037" y="1731"/>
                </a:lnTo>
                <a:lnTo>
                  <a:pt x="3041" y="1739"/>
                </a:lnTo>
                <a:lnTo>
                  <a:pt x="3043" y="1742"/>
                </a:lnTo>
                <a:lnTo>
                  <a:pt x="3047" y="1743"/>
                </a:lnTo>
                <a:lnTo>
                  <a:pt x="3048" y="1740"/>
                </a:lnTo>
                <a:lnTo>
                  <a:pt x="3048" y="1737"/>
                </a:lnTo>
                <a:lnTo>
                  <a:pt x="3048" y="1733"/>
                </a:lnTo>
                <a:lnTo>
                  <a:pt x="3047" y="1730"/>
                </a:lnTo>
                <a:lnTo>
                  <a:pt x="3052" y="1727"/>
                </a:lnTo>
                <a:lnTo>
                  <a:pt x="3056" y="1732"/>
                </a:lnTo>
                <a:close/>
                <a:moveTo>
                  <a:pt x="1450" y="1531"/>
                </a:moveTo>
                <a:lnTo>
                  <a:pt x="1413" y="1530"/>
                </a:lnTo>
                <a:lnTo>
                  <a:pt x="1378" y="1534"/>
                </a:lnTo>
                <a:lnTo>
                  <a:pt x="1413" y="1538"/>
                </a:lnTo>
                <a:lnTo>
                  <a:pt x="1450" y="1531"/>
                </a:lnTo>
                <a:close/>
                <a:moveTo>
                  <a:pt x="1297" y="931"/>
                </a:moveTo>
                <a:lnTo>
                  <a:pt x="1297" y="931"/>
                </a:lnTo>
                <a:lnTo>
                  <a:pt x="1297" y="932"/>
                </a:lnTo>
                <a:lnTo>
                  <a:pt x="1297" y="932"/>
                </a:lnTo>
                <a:lnTo>
                  <a:pt x="1295" y="932"/>
                </a:lnTo>
                <a:lnTo>
                  <a:pt x="1295" y="931"/>
                </a:lnTo>
                <a:lnTo>
                  <a:pt x="1295" y="931"/>
                </a:lnTo>
                <a:lnTo>
                  <a:pt x="1295" y="931"/>
                </a:lnTo>
                <a:lnTo>
                  <a:pt x="1297" y="931"/>
                </a:lnTo>
                <a:close/>
                <a:moveTo>
                  <a:pt x="1287" y="940"/>
                </a:moveTo>
                <a:lnTo>
                  <a:pt x="1301" y="940"/>
                </a:lnTo>
                <a:lnTo>
                  <a:pt x="1313" y="937"/>
                </a:lnTo>
                <a:lnTo>
                  <a:pt x="1317" y="934"/>
                </a:lnTo>
                <a:lnTo>
                  <a:pt x="1318" y="929"/>
                </a:lnTo>
                <a:lnTo>
                  <a:pt x="1315" y="926"/>
                </a:lnTo>
                <a:lnTo>
                  <a:pt x="1310" y="927"/>
                </a:lnTo>
                <a:lnTo>
                  <a:pt x="1299" y="928"/>
                </a:lnTo>
                <a:lnTo>
                  <a:pt x="1288" y="930"/>
                </a:lnTo>
                <a:lnTo>
                  <a:pt x="1279" y="932"/>
                </a:lnTo>
                <a:lnTo>
                  <a:pt x="1275" y="937"/>
                </a:lnTo>
                <a:lnTo>
                  <a:pt x="1280" y="941"/>
                </a:lnTo>
                <a:lnTo>
                  <a:pt x="1287" y="940"/>
                </a:lnTo>
                <a:close/>
                <a:moveTo>
                  <a:pt x="2450" y="1095"/>
                </a:moveTo>
                <a:lnTo>
                  <a:pt x="2450" y="1090"/>
                </a:lnTo>
                <a:lnTo>
                  <a:pt x="2446" y="1087"/>
                </a:lnTo>
                <a:lnTo>
                  <a:pt x="2441" y="1082"/>
                </a:lnTo>
                <a:lnTo>
                  <a:pt x="2436" y="1078"/>
                </a:lnTo>
                <a:lnTo>
                  <a:pt x="2423" y="1084"/>
                </a:lnTo>
                <a:lnTo>
                  <a:pt x="2409" y="1086"/>
                </a:lnTo>
                <a:lnTo>
                  <a:pt x="2416" y="1100"/>
                </a:lnTo>
                <a:lnTo>
                  <a:pt x="2431" y="1094"/>
                </a:lnTo>
                <a:lnTo>
                  <a:pt x="2437" y="1088"/>
                </a:lnTo>
                <a:lnTo>
                  <a:pt x="2442" y="1097"/>
                </a:lnTo>
                <a:lnTo>
                  <a:pt x="2445" y="1098"/>
                </a:lnTo>
                <a:lnTo>
                  <a:pt x="2450" y="1095"/>
                </a:lnTo>
                <a:close/>
                <a:moveTo>
                  <a:pt x="3211" y="1325"/>
                </a:moveTo>
                <a:lnTo>
                  <a:pt x="3207" y="1312"/>
                </a:lnTo>
                <a:lnTo>
                  <a:pt x="3201" y="1300"/>
                </a:lnTo>
                <a:lnTo>
                  <a:pt x="3197" y="1296"/>
                </a:lnTo>
                <a:lnTo>
                  <a:pt x="3189" y="1296"/>
                </a:lnTo>
                <a:lnTo>
                  <a:pt x="3182" y="1299"/>
                </a:lnTo>
                <a:lnTo>
                  <a:pt x="3178" y="1305"/>
                </a:lnTo>
                <a:lnTo>
                  <a:pt x="3180" y="1311"/>
                </a:lnTo>
                <a:lnTo>
                  <a:pt x="3186" y="1313"/>
                </a:lnTo>
                <a:lnTo>
                  <a:pt x="3199" y="1317"/>
                </a:lnTo>
                <a:lnTo>
                  <a:pt x="3211" y="1325"/>
                </a:lnTo>
                <a:close/>
                <a:moveTo>
                  <a:pt x="1786" y="898"/>
                </a:moveTo>
                <a:lnTo>
                  <a:pt x="1799" y="897"/>
                </a:lnTo>
                <a:lnTo>
                  <a:pt x="1807" y="905"/>
                </a:lnTo>
                <a:lnTo>
                  <a:pt x="1809" y="908"/>
                </a:lnTo>
                <a:lnTo>
                  <a:pt x="1813" y="910"/>
                </a:lnTo>
                <a:lnTo>
                  <a:pt x="1816" y="907"/>
                </a:lnTo>
                <a:lnTo>
                  <a:pt x="1817" y="904"/>
                </a:lnTo>
                <a:lnTo>
                  <a:pt x="1816" y="890"/>
                </a:lnTo>
                <a:lnTo>
                  <a:pt x="1800" y="887"/>
                </a:lnTo>
                <a:lnTo>
                  <a:pt x="1793" y="887"/>
                </a:lnTo>
                <a:lnTo>
                  <a:pt x="1786" y="888"/>
                </a:lnTo>
                <a:lnTo>
                  <a:pt x="1783" y="890"/>
                </a:lnTo>
                <a:lnTo>
                  <a:pt x="1783" y="896"/>
                </a:lnTo>
                <a:lnTo>
                  <a:pt x="1783" y="898"/>
                </a:lnTo>
                <a:lnTo>
                  <a:pt x="1786" y="898"/>
                </a:lnTo>
                <a:close/>
                <a:moveTo>
                  <a:pt x="762" y="177"/>
                </a:moveTo>
                <a:lnTo>
                  <a:pt x="766" y="171"/>
                </a:lnTo>
                <a:lnTo>
                  <a:pt x="762" y="166"/>
                </a:lnTo>
                <a:lnTo>
                  <a:pt x="755" y="164"/>
                </a:lnTo>
                <a:lnTo>
                  <a:pt x="753" y="155"/>
                </a:lnTo>
                <a:lnTo>
                  <a:pt x="748" y="189"/>
                </a:lnTo>
                <a:lnTo>
                  <a:pt x="745" y="222"/>
                </a:lnTo>
                <a:lnTo>
                  <a:pt x="747" y="223"/>
                </a:lnTo>
                <a:lnTo>
                  <a:pt x="748" y="223"/>
                </a:lnTo>
                <a:lnTo>
                  <a:pt x="753" y="213"/>
                </a:lnTo>
                <a:lnTo>
                  <a:pt x="755" y="202"/>
                </a:lnTo>
                <a:lnTo>
                  <a:pt x="754" y="188"/>
                </a:lnTo>
                <a:lnTo>
                  <a:pt x="762" y="177"/>
                </a:lnTo>
                <a:close/>
                <a:moveTo>
                  <a:pt x="2276" y="1334"/>
                </a:moveTo>
                <a:lnTo>
                  <a:pt x="2273" y="1332"/>
                </a:lnTo>
                <a:lnTo>
                  <a:pt x="2270" y="1332"/>
                </a:lnTo>
                <a:lnTo>
                  <a:pt x="2258" y="1330"/>
                </a:lnTo>
                <a:lnTo>
                  <a:pt x="2245" y="1330"/>
                </a:lnTo>
                <a:lnTo>
                  <a:pt x="2239" y="1329"/>
                </a:lnTo>
                <a:lnTo>
                  <a:pt x="2235" y="1333"/>
                </a:lnTo>
                <a:lnTo>
                  <a:pt x="2239" y="1344"/>
                </a:lnTo>
                <a:lnTo>
                  <a:pt x="2249" y="1346"/>
                </a:lnTo>
                <a:lnTo>
                  <a:pt x="2261" y="1344"/>
                </a:lnTo>
                <a:lnTo>
                  <a:pt x="2272" y="1340"/>
                </a:lnTo>
                <a:lnTo>
                  <a:pt x="2275" y="1339"/>
                </a:lnTo>
                <a:lnTo>
                  <a:pt x="2276" y="1334"/>
                </a:lnTo>
                <a:close/>
                <a:moveTo>
                  <a:pt x="1456" y="1384"/>
                </a:moveTo>
                <a:lnTo>
                  <a:pt x="1449" y="1371"/>
                </a:lnTo>
                <a:lnTo>
                  <a:pt x="1438" y="1364"/>
                </a:lnTo>
                <a:lnTo>
                  <a:pt x="1433" y="1373"/>
                </a:lnTo>
                <a:lnTo>
                  <a:pt x="1433" y="1386"/>
                </a:lnTo>
                <a:lnTo>
                  <a:pt x="1433" y="1386"/>
                </a:lnTo>
                <a:lnTo>
                  <a:pt x="1433" y="1387"/>
                </a:lnTo>
                <a:lnTo>
                  <a:pt x="1435" y="1391"/>
                </a:lnTo>
                <a:lnTo>
                  <a:pt x="1439" y="1392"/>
                </a:lnTo>
                <a:lnTo>
                  <a:pt x="1444" y="1393"/>
                </a:lnTo>
                <a:lnTo>
                  <a:pt x="1446" y="1392"/>
                </a:lnTo>
                <a:lnTo>
                  <a:pt x="1450" y="1386"/>
                </a:lnTo>
                <a:lnTo>
                  <a:pt x="1456" y="1384"/>
                </a:lnTo>
                <a:close/>
                <a:moveTo>
                  <a:pt x="2183" y="1070"/>
                </a:moveTo>
                <a:lnTo>
                  <a:pt x="2183" y="1071"/>
                </a:lnTo>
                <a:lnTo>
                  <a:pt x="2182" y="1071"/>
                </a:lnTo>
                <a:lnTo>
                  <a:pt x="2182" y="1071"/>
                </a:lnTo>
                <a:lnTo>
                  <a:pt x="2182" y="1070"/>
                </a:lnTo>
                <a:lnTo>
                  <a:pt x="2182" y="1070"/>
                </a:lnTo>
                <a:lnTo>
                  <a:pt x="2183" y="1070"/>
                </a:lnTo>
                <a:close/>
                <a:moveTo>
                  <a:pt x="2237" y="1283"/>
                </a:moveTo>
                <a:lnTo>
                  <a:pt x="2237" y="1274"/>
                </a:lnTo>
                <a:lnTo>
                  <a:pt x="2241" y="1267"/>
                </a:lnTo>
                <a:lnTo>
                  <a:pt x="2241" y="1267"/>
                </a:lnTo>
                <a:lnTo>
                  <a:pt x="2241" y="1267"/>
                </a:lnTo>
                <a:lnTo>
                  <a:pt x="2242" y="1267"/>
                </a:lnTo>
                <a:lnTo>
                  <a:pt x="2243" y="1267"/>
                </a:lnTo>
                <a:lnTo>
                  <a:pt x="2245" y="1266"/>
                </a:lnTo>
                <a:lnTo>
                  <a:pt x="2247" y="1265"/>
                </a:lnTo>
                <a:lnTo>
                  <a:pt x="2247" y="1265"/>
                </a:lnTo>
                <a:lnTo>
                  <a:pt x="2247" y="1265"/>
                </a:lnTo>
                <a:lnTo>
                  <a:pt x="2257" y="1264"/>
                </a:lnTo>
                <a:lnTo>
                  <a:pt x="2268" y="1264"/>
                </a:lnTo>
                <a:lnTo>
                  <a:pt x="2249" y="1257"/>
                </a:lnTo>
                <a:lnTo>
                  <a:pt x="2219" y="1261"/>
                </a:lnTo>
                <a:lnTo>
                  <a:pt x="2233" y="1269"/>
                </a:lnTo>
                <a:lnTo>
                  <a:pt x="2237" y="1283"/>
                </a:lnTo>
                <a:close/>
                <a:moveTo>
                  <a:pt x="2241" y="1267"/>
                </a:moveTo>
                <a:lnTo>
                  <a:pt x="2240" y="1266"/>
                </a:lnTo>
                <a:lnTo>
                  <a:pt x="2241" y="1264"/>
                </a:lnTo>
                <a:lnTo>
                  <a:pt x="2242" y="1264"/>
                </a:lnTo>
                <a:lnTo>
                  <a:pt x="2244" y="1263"/>
                </a:lnTo>
                <a:lnTo>
                  <a:pt x="2245" y="1264"/>
                </a:lnTo>
                <a:lnTo>
                  <a:pt x="2247" y="1265"/>
                </a:lnTo>
                <a:lnTo>
                  <a:pt x="2244" y="1266"/>
                </a:lnTo>
                <a:lnTo>
                  <a:pt x="2241" y="1267"/>
                </a:lnTo>
                <a:close/>
                <a:moveTo>
                  <a:pt x="236" y="551"/>
                </a:moveTo>
                <a:lnTo>
                  <a:pt x="226" y="549"/>
                </a:lnTo>
                <a:lnTo>
                  <a:pt x="217" y="553"/>
                </a:lnTo>
                <a:lnTo>
                  <a:pt x="214" y="561"/>
                </a:lnTo>
                <a:lnTo>
                  <a:pt x="217" y="567"/>
                </a:lnTo>
                <a:lnTo>
                  <a:pt x="226" y="575"/>
                </a:lnTo>
                <a:lnTo>
                  <a:pt x="226" y="585"/>
                </a:lnTo>
                <a:lnTo>
                  <a:pt x="225" y="589"/>
                </a:lnTo>
                <a:lnTo>
                  <a:pt x="228" y="592"/>
                </a:lnTo>
                <a:lnTo>
                  <a:pt x="231" y="591"/>
                </a:lnTo>
                <a:lnTo>
                  <a:pt x="233" y="589"/>
                </a:lnTo>
                <a:lnTo>
                  <a:pt x="240" y="568"/>
                </a:lnTo>
                <a:lnTo>
                  <a:pt x="241" y="548"/>
                </a:lnTo>
                <a:lnTo>
                  <a:pt x="240" y="547"/>
                </a:lnTo>
                <a:lnTo>
                  <a:pt x="238" y="546"/>
                </a:lnTo>
                <a:lnTo>
                  <a:pt x="237" y="548"/>
                </a:lnTo>
                <a:lnTo>
                  <a:pt x="236" y="551"/>
                </a:lnTo>
                <a:close/>
                <a:moveTo>
                  <a:pt x="840" y="953"/>
                </a:moveTo>
                <a:lnTo>
                  <a:pt x="845" y="948"/>
                </a:lnTo>
                <a:lnTo>
                  <a:pt x="846" y="938"/>
                </a:lnTo>
                <a:lnTo>
                  <a:pt x="845" y="930"/>
                </a:lnTo>
                <a:lnTo>
                  <a:pt x="840" y="922"/>
                </a:lnTo>
                <a:lnTo>
                  <a:pt x="834" y="923"/>
                </a:lnTo>
                <a:lnTo>
                  <a:pt x="828" y="928"/>
                </a:lnTo>
                <a:lnTo>
                  <a:pt x="825" y="935"/>
                </a:lnTo>
                <a:lnTo>
                  <a:pt x="828" y="942"/>
                </a:lnTo>
                <a:lnTo>
                  <a:pt x="832" y="951"/>
                </a:lnTo>
                <a:lnTo>
                  <a:pt x="840" y="953"/>
                </a:lnTo>
                <a:close/>
                <a:moveTo>
                  <a:pt x="2133" y="1258"/>
                </a:moveTo>
                <a:lnTo>
                  <a:pt x="2146" y="1267"/>
                </a:lnTo>
                <a:lnTo>
                  <a:pt x="2159" y="1273"/>
                </a:lnTo>
                <a:lnTo>
                  <a:pt x="2164" y="1271"/>
                </a:lnTo>
                <a:lnTo>
                  <a:pt x="2168" y="1269"/>
                </a:lnTo>
                <a:lnTo>
                  <a:pt x="2161" y="1264"/>
                </a:lnTo>
                <a:lnTo>
                  <a:pt x="2153" y="1261"/>
                </a:lnTo>
                <a:lnTo>
                  <a:pt x="2152" y="1252"/>
                </a:lnTo>
                <a:lnTo>
                  <a:pt x="2152" y="1244"/>
                </a:lnTo>
                <a:lnTo>
                  <a:pt x="2151" y="1238"/>
                </a:lnTo>
                <a:lnTo>
                  <a:pt x="2146" y="1235"/>
                </a:lnTo>
                <a:lnTo>
                  <a:pt x="2135" y="1234"/>
                </a:lnTo>
                <a:lnTo>
                  <a:pt x="2126" y="1235"/>
                </a:lnTo>
                <a:lnTo>
                  <a:pt x="2126" y="1242"/>
                </a:lnTo>
                <a:lnTo>
                  <a:pt x="2131" y="1251"/>
                </a:lnTo>
                <a:lnTo>
                  <a:pt x="2132" y="1254"/>
                </a:lnTo>
                <a:lnTo>
                  <a:pt x="2133" y="1258"/>
                </a:lnTo>
                <a:close/>
                <a:moveTo>
                  <a:pt x="3260" y="1340"/>
                </a:moveTo>
                <a:lnTo>
                  <a:pt x="3257" y="1327"/>
                </a:lnTo>
                <a:lnTo>
                  <a:pt x="3243" y="1323"/>
                </a:lnTo>
                <a:lnTo>
                  <a:pt x="3241" y="1323"/>
                </a:lnTo>
                <a:lnTo>
                  <a:pt x="3238" y="1320"/>
                </a:lnTo>
                <a:lnTo>
                  <a:pt x="3233" y="1319"/>
                </a:lnTo>
                <a:lnTo>
                  <a:pt x="3229" y="1320"/>
                </a:lnTo>
                <a:lnTo>
                  <a:pt x="3228" y="1326"/>
                </a:lnTo>
                <a:lnTo>
                  <a:pt x="3230" y="1330"/>
                </a:lnTo>
                <a:lnTo>
                  <a:pt x="3241" y="1339"/>
                </a:lnTo>
                <a:lnTo>
                  <a:pt x="3252" y="1345"/>
                </a:lnTo>
                <a:lnTo>
                  <a:pt x="3257" y="1346"/>
                </a:lnTo>
                <a:lnTo>
                  <a:pt x="3260" y="1340"/>
                </a:lnTo>
                <a:close/>
                <a:moveTo>
                  <a:pt x="1714" y="1408"/>
                </a:moveTo>
                <a:lnTo>
                  <a:pt x="1715" y="1412"/>
                </a:lnTo>
                <a:lnTo>
                  <a:pt x="1718" y="1414"/>
                </a:lnTo>
                <a:lnTo>
                  <a:pt x="1719" y="1411"/>
                </a:lnTo>
                <a:lnTo>
                  <a:pt x="1719" y="1408"/>
                </a:lnTo>
                <a:lnTo>
                  <a:pt x="1718" y="1393"/>
                </a:lnTo>
                <a:lnTo>
                  <a:pt x="1717" y="1377"/>
                </a:lnTo>
                <a:lnTo>
                  <a:pt x="1702" y="1378"/>
                </a:lnTo>
                <a:lnTo>
                  <a:pt x="1687" y="1374"/>
                </a:lnTo>
                <a:lnTo>
                  <a:pt x="1688" y="1386"/>
                </a:lnTo>
                <a:lnTo>
                  <a:pt x="1688" y="1397"/>
                </a:lnTo>
                <a:lnTo>
                  <a:pt x="1687" y="1407"/>
                </a:lnTo>
                <a:lnTo>
                  <a:pt x="1692" y="1412"/>
                </a:lnTo>
                <a:lnTo>
                  <a:pt x="1696" y="1407"/>
                </a:lnTo>
                <a:lnTo>
                  <a:pt x="1695" y="1397"/>
                </a:lnTo>
                <a:lnTo>
                  <a:pt x="1702" y="1394"/>
                </a:lnTo>
                <a:lnTo>
                  <a:pt x="1702" y="1387"/>
                </a:lnTo>
                <a:lnTo>
                  <a:pt x="1711" y="1385"/>
                </a:lnTo>
                <a:lnTo>
                  <a:pt x="1714" y="1393"/>
                </a:lnTo>
                <a:lnTo>
                  <a:pt x="1714" y="1401"/>
                </a:lnTo>
                <a:lnTo>
                  <a:pt x="1714" y="1408"/>
                </a:lnTo>
                <a:close/>
                <a:moveTo>
                  <a:pt x="1773" y="1135"/>
                </a:moveTo>
                <a:lnTo>
                  <a:pt x="1863" y="1133"/>
                </a:lnTo>
                <a:lnTo>
                  <a:pt x="1953" y="1131"/>
                </a:lnTo>
                <a:lnTo>
                  <a:pt x="1862" y="1131"/>
                </a:lnTo>
                <a:lnTo>
                  <a:pt x="1773" y="1135"/>
                </a:lnTo>
                <a:close/>
                <a:moveTo>
                  <a:pt x="2649" y="936"/>
                </a:moveTo>
                <a:lnTo>
                  <a:pt x="2641" y="941"/>
                </a:lnTo>
                <a:lnTo>
                  <a:pt x="2640" y="947"/>
                </a:lnTo>
                <a:lnTo>
                  <a:pt x="2640" y="965"/>
                </a:lnTo>
                <a:lnTo>
                  <a:pt x="2641" y="982"/>
                </a:lnTo>
                <a:lnTo>
                  <a:pt x="2643" y="988"/>
                </a:lnTo>
                <a:lnTo>
                  <a:pt x="2648" y="989"/>
                </a:lnTo>
                <a:lnTo>
                  <a:pt x="2652" y="987"/>
                </a:lnTo>
                <a:lnTo>
                  <a:pt x="2653" y="982"/>
                </a:lnTo>
                <a:lnTo>
                  <a:pt x="2652" y="967"/>
                </a:lnTo>
                <a:lnTo>
                  <a:pt x="2651" y="954"/>
                </a:lnTo>
                <a:lnTo>
                  <a:pt x="2651" y="950"/>
                </a:lnTo>
                <a:lnTo>
                  <a:pt x="2651" y="947"/>
                </a:lnTo>
                <a:lnTo>
                  <a:pt x="2652" y="941"/>
                </a:lnTo>
                <a:lnTo>
                  <a:pt x="2649" y="936"/>
                </a:lnTo>
                <a:close/>
                <a:moveTo>
                  <a:pt x="1654" y="1141"/>
                </a:moveTo>
                <a:lnTo>
                  <a:pt x="1681" y="1142"/>
                </a:lnTo>
                <a:lnTo>
                  <a:pt x="1689" y="1163"/>
                </a:lnTo>
                <a:lnTo>
                  <a:pt x="1689" y="1163"/>
                </a:lnTo>
                <a:lnTo>
                  <a:pt x="1692" y="1163"/>
                </a:lnTo>
                <a:lnTo>
                  <a:pt x="1691" y="1154"/>
                </a:lnTo>
                <a:lnTo>
                  <a:pt x="1694" y="1144"/>
                </a:lnTo>
                <a:lnTo>
                  <a:pt x="1701" y="1150"/>
                </a:lnTo>
                <a:lnTo>
                  <a:pt x="1709" y="1154"/>
                </a:lnTo>
                <a:lnTo>
                  <a:pt x="1697" y="1136"/>
                </a:lnTo>
                <a:lnTo>
                  <a:pt x="1685" y="1134"/>
                </a:lnTo>
                <a:lnTo>
                  <a:pt x="1661" y="1137"/>
                </a:lnTo>
                <a:lnTo>
                  <a:pt x="1636" y="1140"/>
                </a:lnTo>
                <a:lnTo>
                  <a:pt x="1645" y="1142"/>
                </a:lnTo>
                <a:lnTo>
                  <a:pt x="1654" y="1141"/>
                </a:lnTo>
                <a:close/>
                <a:moveTo>
                  <a:pt x="1223" y="880"/>
                </a:moveTo>
                <a:lnTo>
                  <a:pt x="1217" y="876"/>
                </a:lnTo>
                <a:lnTo>
                  <a:pt x="1212" y="877"/>
                </a:lnTo>
                <a:lnTo>
                  <a:pt x="1192" y="880"/>
                </a:lnTo>
                <a:lnTo>
                  <a:pt x="1171" y="882"/>
                </a:lnTo>
                <a:lnTo>
                  <a:pt x="1166" y="882"/>
                </a:lnTo>
                <a:lnTo>
                  <a:pt x="1164" y="887"/>
                </a:lnTo>
                <a:lnTo>
                  <a:pt x="1167" y="890"/>
                </a:lnTo>
                <a:lnTo>
                  <a:pt x="1173" y="889"/>
                </a:lnTo>
                <a:lnTo>
                  <a:pt x="1195" y="888"/>
                </a:lnTo>
                <a:lnTo>
                  <a:pt x="1217" y="889"/>
                </a:lnTo>
                <a:lnTo>
                  <a:pt x="1222" y="885"/>
                </a:lnTo>
                <a:lnTo>
                  <a:pt x="1223" y="880"/>
                </a:lnTo>
                <a:close/>
                <a:moveTo>
                  <a:pt x="1891" y="1065"/>
                </a:moveTo>
                <a:lnTo>
                  <a:pt x="1885" y="1065"/>
                </a:lnTo>
                <a:lnTo>
                  <a:pt x="1880" y="1064"/>
                </a:lnTo>
                <a:lnTo>
                  <a:pt x="1876" y="1066"/>
                </a:lnTo>
                <a:lnTo>
                  <a:pt x="1873" y="1069"/>
                </a:lnTo>
                <a:lnTo>
                  <a:pt x="1875" y="1073"/>
                </a:lnTo>
                <a:lnTo>
                  <a:pt x="1879" y="1073"/>
                </a:lnTo>
                <a:lnTo>
                  <a:pt x="1899" y="1075"/>
                </a:lnTo>
                <a:lnTo>
                  <a:pt x="1920" y="1070"/>
                </a:lnTo>
                <a:lnTo>
                  <a:pt x="1913" y="1066"/>
                </a:lnTo>
                <a:lnTo>
                  <a:pt x="1909" y="1059"/>
                </a:lnTo>
                <a:lnTo>
                  <a:pt x="1913" y="1060"/>
                </a:lnTo>
                <a:lnTo>
                  <a:pt x="1916" y="1061"/>
                </a:lnTo>
                <a:lnTo>
                  <a:pt x="1921" y="1060"/>
                </a:lnTo>
                <a:lnTo>
                  <a:pt x="1925" y="1058"/>
                </a:lnTo>
                <a:lnTo>
                  <a:pt x="1923" y="1054"/>
                </a:lnTo>
                <a:lnTo>
                  <a:pt x="1921" y="1051"/>
                </a:lnTo>
                <a:lnTo>
                  <a:pt x="1907" y="1052"/>
                </a:lnTo>
                <a:lnTo>
                  <a:pt x="1897" y="1059"/>
                </a:lnTo>
                <a:lnTo>
                  <a:pt x="1896" y="1065"/>
                </a:lnTo>
                <a:lnTo>
                  <a:pt x="1891" y="1065"/>
                </a:lnTo>
                <a:close/>
                <a:moveTo>
                  <a:pt x="737" y="290"/>
                </a:moveTo>
                <a:lnTo>
                  <a:pt x="741" y="289"/>
                </a:lnTo>
                <a:lnTo>
                  <a:pt x="744" y="286"/>
                </a:lnTo>
                <a:lnTo>
                  <a:pt x="748" y="285"/>
                </a:lnTo>
                <a:lnTo>
                  <a:pt x="754" y="286"/>
                </a:lnTo>
                <a:lnTo>
                  <a:pt x="768" y="288"/>
                </a:lnTo>
                <a:lnTo>
                  <a:pt x="781" y="279"/>
                </a:lnTo>
                <a:lnTo>
                  <a:pt x="776" y="279"/>
                </a:lnTo>
                <a:lnTo>
                  <a:pt x="773" y="280"/>
                </a:lnTo>
                <a:lnTo>
                  <a:pt x="772" y="281"/>
                </a:lnTo>
                <a:lnTo>
                  <a:pt x="771" y="280"/>
                </a:lnTo>
                <a:lnTo>
                  <a:pt x="771" y="279"/>
                </a:lnTo>
                <a:lnTo>
                  <a:pt x="772" y="278"/>
                </a:lnTo>
                <a:lnTo>
                  <a:pt x="771" y="275"/>
                </a:lnTo>
                <a:lnTo>
                  <a:pt x="771" y="271"/>
                </a:lnTo>
                <a:lnTo>
                  <a:pt x="771" y="269"/>
                </a:lnTo>
                <a:lnTo>
                  <a:pt x="771" y="268"/>
                </a:lnTo>
                <a:lnTo>
                  <a:pt x="772" y="265"/>
                </a:lnTo>
                <a:lnTo>
                  <a:pt x="772" y="264"/>
                </a:lnTo>
                <a:lnTo>
                  <a:pt x="776" y="259"/>
                </a:lnTo>
                <a:lnTo>
                  <a:pt x="772" y="255"/>
                </a:lnTo>
                <a:lnTo>
                  <a:pt x="762" y="253"/>
                </a:lnTo>
                <a:lnTo>
                  <a:pt x="754" y="255"/>
                </a:lnTo>
                <a:lnTo>
                  <a:pt x="745" y="258"/>
                </a:lnTo>
                <a:lnTo>
                  <a:pt x="736" y="252"/>
                </a:lnTo>
                <a:lnTo>
                  <a:pt x="738" y="263"/>
                </a:lnTo>
                <a:lnTo>
                  <a:pt x="739" y="272"/>
                </a:lnTo>
                <a:lnTo>
                  <a:pt x="736" y="276"/>
                </a:lnTo>
                <a:lnTo>
                  <a:pt x="736" y="280"/>
                </a:lnTo>
                <a:lnTo>
                  <a:pt x="734" y="286"/>
                </a:lnTo>
                <a:lnTo>
                  <a:pt x="737" y="290"/>
                </a:lnTo>
                <a:close/>
                <a:moveTo>
                  <a:pt x="658" y="1571"/>
                </a:moveTo>
                <a:lnTo>
                  <a:pt x="729" y="1564"/>
                </a:lnTo>
                <a:lnTo>
                  <a:pt x="798" y="1559"/>
                </a:lnTo>
                <a:lnTo>
                  <a:pt x="728" y="1559"/>
                </a:lnTo>
                <a:lnTo>
                  <a:pt x="658" y="1571"/>
                </a:lnTo>
                <a:close/>
                <a:moveTo>
                  <a:pt x="835" y="436"/>
                </a:moveTo>
                <a:lnTo>
                  <a:pt x="858" y="428"/>
                </a:lnTo>
                <a:lnTo>
                  <a:pt x="879" y="429"/>
                </a:lnTo>
                <a:lnTo>
                  <a:pt x="889" y="427"/>
                </a:lnTo>
                <a:lnTo>
                  <a:pt x="898" y="426"/>
                </a:lnTo>
                <a:lnTo>
                  <a:pt x="901" y="424"/>
                </a:lnTo>
                <a:lnTo>
                  <a:pt x="901" y="421"/>
                </a:lnTo>
                <a:lnTo>
                  <a:pt x="899" y="418"/>
                </a:lnTo>
                <a:lnTo>
                  <a:pt x="896" y="420"/>
                </a:lnTo>
                <a:lnTo>
                  <a:pt x="885" y="418"/>
                </a:lnTo>
                <a:lnTo>
                  <a:pt x="876" y="417"/>
                </a:lnTo>
                <a:lnTo>
                  <a:pt x="853" y="421"/>
                </a:lnTo>
                <a:lnTo>
                  <a:pt x="833" y="428"/>
                </a:lnTo>
                <a:lnTo>
                  <a:pt x="829" y="430"/>
                </a:lnTo>
                <a:lnTo>
                  <a:pt x="827" y="434"/>
                </a:lnTo>
                <a:lnTo>
                  <a:pt x="831" y="437"/>
                </a:lnTo>
                <a:lnTo>
                  <a:pt x="835" y="436"/>
                </a:lnTo>
                <a:close/>
                <a:moveTo>
                  <a:pt x="1541" y="1532"/>
                </a:moveTo>
                <a:lnTo>
                  <a:pt x="1567" y="1530"/>
                </a:lnTo>
                <a:lnTo>
                  <a:pt x="1593" y="1529"/>
                </a:lnTo>
                <a:lnTo>
                  <a:pt x="1610" y="1530"/>
                </a:lnTo>
                <a:lnTo>
                  <a:pt x="1626" y="1529"/>
                </a:lnTo>
                <a:lnTo>
                  <a:pt x="1631" y="1529"/>
                </a:lnTo>
                <a:lnTo>
                  <a:pt x="1633" y="1526"/>
                </a:lnTo>
                <a:lnTo>
                  <a:pt x="1631" y="1523"/>
                </a:lnTo>
                <a:lnTo>
                  <a:pt x="1626" y="1522"/>
                </a:lnTo>
                <a:lnTo>
                  <a:pt x="1622" y="1522"/>
                </a:lnTo>
                <a:lnTo>
                  <a:pt x="1619" y="1522"/>
                </a:lnTo>
                <a:lnTo>
                  <a:pt x="1586" y="1524"/>
                </a:lnTo>
                <a:lnTo>
                  <a:pt x="1552" y="1523"/>
                </a:lnTo>
                <a:lnTo>
                  <a:pt x="1550" y="1523"/>
                </a:lnTo>
                <a:lnTo>
                  <a:pt x="1549" y="1523"/>
                </a:lnTo>
                <a:lnTo>
                  <a:pt x="1540" y="1528"/>
                </a:lnTo>
                <a:lnTo>
                  <a:pt x="1528" y="1527"/>
                </a:lnTo>
                <a:lnTo>
                  <a:pt x="1525" y="1528"/>
                </a:lnTo>
                <a:lnTo>
                  <a:pt x="1521" y="1529"/>
                </a:lnTo>
                <a:lnTo>
                  <a:pt x="1531" y="1534"/>
                </a:lnTo>
                <a:lnTo>
                  <a:pt x="1541" y="1532"/>
                </a:lnTo>
                <a:close/>
                <a:moveTo>
                  <a:pt x="867" y="1481"/>
                </a:moveTo>
                <a:lnTo>
                  <a:pt x="870" y="1480"/>
                </a:lnTo>
                <a:lnTo>
                  <a:pt x="875" y="1478"/>
                </a:lnTo>
                <a:lnTo>
                  <a:pt x="880" y="1471"/>
                </a:lnTo>
                <a:lnTo>
                  <a:pt x="889" y="1468"/>
                </a:lnTo>
                <a:lnTo>
                  <a:pt x="903" y="1469"/>
                </a:lnTo>
                <a:lnTo>
                  <a:pt x="914" y="1477"/>
                </a:lnTo>
                <a:lnTo>
                  <a:pt x="918" y="1478"/>
                </a:lnTo>
                <a:lnTo>
                  <a:pt x="921" y="1477"/>
                </a:lnTo>
                <a:lnTo>
                  <a:pt x="939" y="1470"/>
                </a:lnTo>
                <a:lnTo>
                  <a:pt x="958" y="1470"/>
                </a:lnTo>
                <a:lnTo>
                  <a:pt x="951" y="1465"/>
                </a:lnTo>
                <a:lnTo>
                  <a:pt x="942" y="1464"/>
                </a:lnTo>
                <a:lnTo>
                  <a:pt x="933" y="1466"/>
                </a:lnTo>
                <a:lnTo>
                  <a:pt x="923" y="1466"/>
                </a:lnTo>
                <a:lnTo>
                  <a:pt x="897" y="1465"/>
                </a:lnTo>
                <a:lnTo>
                  <a:pt x="873" y="1468"/>
                </a:lnTo>
                <a:lnTo>
                  <a:pt x="867" y="1469"/>
                </a:lnTo>
                <a:lnTo>
                  <a:pt x="865" y="1473"/>
                </a:lnTo>
                <a:lnTo>
                  <a:pt x="865" y="1478"/>
                </a:lnTo>
                <a:lnTo>
                  <a:pt x="867" y="1481"/>
                </a:lnTo>
                <a:close/>
                <a:moveTo>
                  <a:pt x="2940" y="1656"/>
                </a:moveTo>
                <a:lnTo>
                  <a:pt x="2945" y="1654"/>
                </a:lnTo>
                <a:lnTo>
                  <a:pt x="2949" y="1649"/>
                </a:lnTo>
                <a:lnTo>
                  <a:pt x="2947" y="1647"/>
                </a:lnTo>
                <a:lnTo>
                  <a:pt x="2947" y="1646"/>
                </a:lnTo>
                <a:lnTo>
                  <a:pt x="2937" y="1638"/>
                </a:lnTo>
                <a:lnTo>
                  <a:pt x="2930" y="1626"/>
                </a:lnTo>
                <a:lnTo>
                  <a:pt x="2927" y="1624"/>
                </a:lnTo>
                <a:lnTo>
                  <a:pt x="2924" y="1628"/>
                </a:lnTo>
                <a:lnTo>
                  <a:pt x="2924" y="1633"/>
                </a:lnTo>
                <a:lnTo>
                  <a:pt x="2920" y="1635"/>
                </a:lnTo>
                <a:lnTo>
                  <a:pt x="2915" y="1648"/>
                </a:lnTo>
                <a:lnTo>
                  <a:pt x="2916" y="1662"/>
                </a:lnTo>
                <a:lnTo>
                  <a:pt x="2919" y="1664"/>
                </a:lnTo>
                <a:lnTo>
                  <a:pt x="2922" y="1663"/>
                </a:lnTo>
                <a:lnTo>
                  <a:pt x="2930" y="1656"/>
                </a:lnTo>
                <a:lnTo>
                  <a:pt x="2940" y="1656"/>
                </a:lnTo>
                <a:close/>
                <a:moveTo>
                  <a:pt x="2893" y="1620"/>
                </a:moveTo>
                <a:lnTo>
                  <a:pt x="2896" y="1626"/>
                </a:lnTo>
                <a:lnTo>
                  <a:pt x="2891" y="1635"/>
                </a:lnTo>
                <a:lnTo>
                  <a:pt x="2891" y="1636"/>
                </a:lnTo>
                <a:lnTo>
                  <a:pt x="2890" y="1638"/>
                </a:lnTo>
                <a:lnTo>
                  <a:pt x="2888" y="1660"/>
                </a:lnTo>
                <a:lnTo>
                  <a:pt x="2888" y="1681"/>
                </a:lnTo>
                <a:lnTo>
                  <a:pt x="2888" y="1685"/>
                </a:lnTo>
                <a:lnTo>
                  <a:pt x="2891" y="1687"/>
                </a:lnTo>
                <a:lnTo>
                  <a:pt x="2895" y="1687"/>
                </a:lnTo>
                <a:lnTo>
                  <a:pt x="2898" y="1685"/>
                </a:lnTo>
                <a:lnTo>
                  <a:pt x="2900" y="1682"/>
                </a:lnTo>
                <a:lnTo>
                  <a:pt x="2899" y="1678"/>
                </a:lnTo>
                <a:lnTo>
                  <a:pt x="2895" y="1668"/>
                </a:lnTo>
                <a:lnTo>
                  <a:pt x="2901" y="1660"/>
                </a:lnTo>
                <a:lnTo>
                  <a:pt x="2905" y="1647"/>
                </a:lnTo>
                <a:lnTo>
                  <a:pt x="2905" y="1634"/>
                </a:lnTo>
                <a:lnTo>
                  <a:pt x="2904" y="1623"/>
                </a:lnTo>
                <a:lnTo>
                  <a:pt x="2893" y="1620"/>
                </a:lnTo>
                <a:close/>
                <a:moveTo>
                  <a:pt x="903" y="199"/>
                </a:moveTo>
                <a:lnTo>
                  <a:pt x="910" y="209"/>
                </a:lnTo>
                <a:lnTo>
                  <a:pt x="920" y="216"/>
                </a:lnTo>
                <a:lnTo>
                  <a:pt x="926" y="220"/>
                </a:lnTo>
                <a:lnTo>
                  <a:pt x="933" y="218"/>
                </a:lnTo>
                <a:lnTo>
                  <a:pt x="941" y="212"/>
                </a:lnTo>
                <a:lnTo>
                  <a:pt x="941" y="200"/>
                </a:lnTo>
                <a:lnTo>
                  <a:pt x="939" y="188"/>
                </a:lnTo>
                <a:lnTo>
                  <a:pt x="939" y="177"/>
                </a:lnTo>
                <a:lnTo>
                  <a:pt x="937" y="169"/>
                </a:lnTo>
                <a:lnTo>
                  <a:pt x="928" y="166"/>
                </a:lnTo>
                <a:lnTo>
                  <a:pt x="925" y="168"/>
                </a:lnTo>
                <a:lnTo>
                  <a:pt x="925" y="172"/>
                </a:lnTo>
                <a:lnTo>
                  <a:pt x="919" y="174"/>
                </a:lnTo>
                <a:lnTo>
                  <a:pt x="912" y="176"/>
                </a:lnTo>
                <a:lnTo>
                  <a:pt x="907" y="180"/>
                </a:lnTo>
                <a:lnTo>
                  <a:pt x="910" y="185"/>
                </a:lnTo>
                <a:lnTo>
                  <a:pt x="907" y="192"/>
                </a:lnTo>
                <a:lnTo>
                  <a:pt x="903" y="199"/>
                </a:lnTo>
                <a:close/>
                <a:moveTo>
                  <a:pt x="69" y="1197"/>
                </a:move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8"/>
                </a:lnTo>
                <a:lnTo>
                  <a:pt x="69" y="1200"/>
                </a:lnTo>
                <a:lnTo>
                  <a:pt x="70" y="1202"/>
                </a:lnTo>
                <a:lnTo>
                  <a:pt x="70" y="1203"/>
                </a:lnTo>
                <a:lnTo>
                  <a:pt x="70" y="1202"/>
                </a:lnTo>
                <a:lnTo>
                  <a:pt x="69" y="1200"/>
                </a:lnTo>
                <a:lnTo>
                  <a:pt x="64" y="1200"/>
                </a:lnTo>
                <a:lnTo>
                  <a:pt x="60" y="1200"/>
                </a:lnTo>
                <a:lnTo>
                  <a:pt x="64" y="1196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lnTo>
                  <a:pt x="69" y="1197"/>
                </a:lnTo>
                <a:close/>
                <a:moveTo>
                  <a:pt x="1113" y="700"/>
                </a:moveTo>
                <a:lnTo>
                  <a:pt x="1117" y="700"/>
                </a:lnTo>
                <a:lnTo>
                  <a:pt x="1121" y="700"/>
                </a:lnTo>
                <a:lnTo>
                  <a:pt x="1117" y="704"/>
                </a:lnTo>
                <a:lnTo>
                  <a:pt x="1113" y="700"/>
                </a:lnTo>
                <a:close/>
                <a:moveTo>
                  <a:pt x="1149" y="686"/>
                </a:moveTo>
                <a:lnTo>
                  <a:pt x="1145" y="682"/>
                </a:lnTo>
                <a:lnTo>
                  <a:pt x="1137" y="682"/>
                </a:lnTo>
                <a:lnTo>
                  <a:pt x="1127" y="683"/>
                </a:lnTo>
                <a:lnTo>
                  <a:pt x="1117" y="685"/>
                </a:lnTo>
                <a:lnTo>
                  <a:pt x="1107" y="689"/>
                </a:lnTo>
                <a:lnTo>
                  <a:pt x="1106" y="700"/>
                </a:lnTo>
                <a:lnTo>
                  <a:pt x="1110" y="707"/>
                </a:lnTo>
                <a:lnTo>
                  <a:pt x="1119" y="708"/>
                </a:lnTo>
                <a:lnTo>
                  <a:pt x="1127" y="707"/>
                </a:lnTo>
                <a:lnTo>
                  <a:pt x="1136" y="706"/>
                </a:lnTo>
                <a:lnTo>
                  <a:pt x="1141" y="704"/>
                </a:lnTo>
                <a:lnTo>
                  <a:pt x="1142" y="698"/>
                </a:lnTo>
                <a:lnTo>
                  <a:pt x="1143" y="698"/>
                </a:lnTo>
                <a:lnTo>
                  <a:pt x="1149" y="693"/>
                </a:lnTo>
                <a:lnTo>
                  <a:pt x="1149" y="686"/>
                </a:lnTo>
                <a:close/>
                <a:moveTo>
                  <a:pt x="548" y="1539"/>
                </a:moveTo>
                <a:lnTo>
                  <a:pt x="550" y="1538"/>
                </a:lnTo>
                <a:lnTo>
                  <a:pt x="552" y="1537"/>
                </a:lnTo>
                <a:lnTo>
                  <a:pt x="555" y="1529"/>
                </a:lnTo>
                <a:lnTo>
                  <a:pt x="556" y="1523"/>
                </a:lnTo>
                <a:lnTo>
                  <a:pt x="559" y="1519"/>
                </a:lnTo>
                <a:lnTo>
                  <a:pt x="563" y="1522"/>
                </a:lnTo>
                <a:lnTo>
                  <a:pt x="563" y="1522"/>
                </a:lnTo>
                <a:lnTo>
                  <a:pt x="564" y="1521"/>
                </a:lnTo>
                <a:lnTo>
                  <a:pt x="569" y="1510"/>
                </a:lnTo>
                <a:lnTo>
                  <a:pt x="569" y="1497"/>
                </a:lnTo>
                <a:lnTo>
                  <a:pt x="563" y="1497"/>
                </a:lnTo>
                <a:lnTo>
                  <a:pt x="555" y="1498"/>
                </a:lnTo>
                <a:lnTo>
                  <a:pt x="545" y="1499"/>
                </a:lnTo>
                <a:lnTo>
                  <a:pt x="536" y="1499"/>
                </a:lnTo>
                <a:lnTo>
                  <a:pt x="533" y="1499"/>
                </a:lnTo>
                <a:lnTo>
                  <a:pt x="531" y="1503"/>
                </a:lnTo>
                <a:lnTo>
                  <a:pt x="533" y="1518"/>
                </a:lnTo>
                <a:lnTo>
                  <a:pt x="534" y="1534"/>
                </a:lnTo>
                <a:lnTo>
                  <a:pt x="540" y="1525"/>
                </a:lnTo>
                <a:lnTo>
                  <a:pt x="539" y="1513"/>
                </a:lnTo>
                <a:lnTo>
                  <a:pt x="540" y="1507"/>
                </a:lnTo>
                <a:lnTo>
                  <a:pt x="546" y="1506"/>
                </a:lnTo>
                <a:lnTo>
                  <a:pt x="551" y="1509"/>
                </a:lnTo>
                <a:lnTo>
                  <a:pt x="550" y="1514"/>
                </a:lnTo>
                <a:lnTo>
                  <a:pt x="548" y="1526"/>
                </a:lnTo>
                <a:lnTo>
                  <a:pt x="548" y="1539"/>
                </a:lnTo>
                <a:close/>
                <a:moveTo>
                  <a:pt x="379" y="425"/>
                </a:moveTo>
                <a:lnTo>
                  <a:pt x="370" y="411"/>
                </a:lnTo>
                <a:lnTo>
                  <a:pt x="355" y="418"/>
                </a:lnTo>
                <a:lnTo>
                  <a:pt x="364" y="427"/>
                </a:lnTo>
                <a:lnTo>
                  <a:pt x="361" y="438"/>
                </a:lnTo>
                <a:lnTo>
                  <a:pt x="361" y="439"/>
                </a:lnTo>
                <a:lnTo>
                  <a:pt x="361" y="440"/>
                </a:lnTo>
                <a:lnTo>
                  <a:pt x="368" y="449"/>
                </a:lnTo>
                <a:lnTo>
                  <a:pt x="381" y="452"/>
                </a:lnTo>
                <a:lnTo>
                  <a:pt x="383" y="467"/>
                </a:lnTo>
                <a:lnTo>
                  <a:pt x="379" y="482"/>
                </a:lnTo>
                <a:lnTo>
                  <a:pt x="379" y="486"/>
                </a:lnTo>
                <a:lnTo>
                  <a:pt x="382" y="490"/>
                </a:lnTo>
                <a:lnTo>
                  <a:pt x="388" y="489"/>
                </a:lnTo>
                <a:lnTo>
                  <a:pt x="389" y="486"/>
                </a:lnTo>
                <a:lnTo>
                  <a:pt x="392" y="461"/>
                </a:lnTo>
                <a:lnTo>
                  <a:pt x="396" y="437"/>
                </a:lnTo>
                <a:lnTo>
                  <a:pt x="394" y="433"/>
                </a:lnTo>
                <a:lnTo>
                  <a:pt x="391" y="433"/>
                </a:lnTo>
                <a:lnTo>
                  <a:pt x="383" y="430"/>
                </a:lnTo>
                <a:lnTo>
                  <a:pt x="379" y="425"/>
                </a:lnTo>
                <a:close/>
                <a:moveTo>
                  <a:pt x="1769" y="1110"/>
                </a:moveTo>
                <a:lnTo>
                  <a:pt x="1880" y="1110"/>
                </a:lnTo>
                <a:lnTo>
                  <a:pt x="1991" y="1106"/>
                </a:lnTo>
                <a:lnTo>
                  <a:pt x="1880" y="1105"/>
                </a:lnTo>
                <a:lnTo>
                  <a:pt x="1769" y="1110"/>
                </a:lnTo>
                <a:close/>
                <a:moveTo>
                  <a:pt x="2910" y="1283"/>
                </a:moveTo>
                <a:lnTo>
                  <a:pt x="2910" y="1284"/>
                </a:lnTo>
                <a:lnTo>
                  <a:pt x="2910" y="1285"/>
                </a:lnTo>
                <a:lnTo>
                  <a:pt x="2910" y="1285"/>
                </a:lnTo>
                <a:lnTo>
                  <a:pt x="2909" y="1286"/>
                </a:lnTo>
                <a:lnTo>
                  <a:pt x="2909" y="1285"/>
                </a:lnTo>
                <a:lnTo>
                  <a:pt x="2909" y="1285"/>
                </a:lnTo>
                <a:lnTo>
                  <a:pt x="2909" y="1284"/>
                </a:lnTo>
                <a:lnTo>
                  <a:pt x="2910" y="1283"/>
                </a:lnTo>
                <a:close/>
                <a:moveTo>
                  <a:pt x="2905" y="1237"/>
                </a:moveTo>
                <a:lnTo>
                  <a:pt x="2900" y="1234"/>
                </a:lnTo>
                <a:lnTo>
                  <a:pt x="2895" y="1234"/>
                </a:lnTo>
                <a:lnTo>
                  <a:pt x="2893" y="1237"/>
                </a:lnTo>
                <a:lnTo>
                  <a:pt x="2893" y="1240"/>
                </a:lnTo>
                <a:lnTo>
                  <a:pt x="2898" y="1265"/>
                </a:lnTo>
                <a:lnTo>
                  <a:pt x="2902" y="1289"/>
                </a:lnTo>
                <a:lnTo>
                  <a:pt x="2906" y="1305"/>
                </a:lnTo>
                <a:lnTo>
                  <a:pt x="2914" y="1321"/>
                </a:lnTo>
                <a:lnTo>
                  <a:pt x="2916" y="1317"/>
                </a:lnTo>
                <a:lnTo>
                  <a:pt x="2917" y="1314"/>
                </a:lnTo>
                <a:lnTo>
                  <a:pt x="2914" y="1290"/>
                </a:lnTo>
                <a:lnTo>
                  <a:pt x="2909" y="1268"/>
                </a:lnTo>
                <a:lnTo>
                  <a:pt x="2906" y="1256"/>
                </a:lnTo>
                <a:lnTo>
                  <a:pt x="2908" y="1244"/>
                </a:lnTo>
                <a:lnTo>
                  <a:pt x="2908" y="1239"/>
                </a:lnTo>
                <a:lnTo>
                  <a:pt x="2905" y="1237"/>
                </a:lnTo>
                <a:close/>
                <a:moveTo>
                  <a:pt x="2550" y="1618"/>
                </a:moveTo>
                <a:lnTo>
                  <a:pt x="2560" y="1619"/>
                </a:lnTo>
                <a:lnTo>
                  <a:pt x="2568" y="1616"/>
                </a:lnTo>
                <a:lnTo>
                  <a:pt x="2573" y="1610"/>
                </a:lnTo>
                <a:lnTo>
                  <a:pt x="2568" y="1602"/>
                </a:lnTo>
                <a:lnTo>
                  <a:pt x="2579" y="1607"/>
                </a:lnTo>
                <a:lnTo>
                  <a:pt x="2577" y="1615"/>
                </a:lnTo>
                <a:lnTo>
                  <a:pt x="2576" y="1618"/>
                </a:lnTo>
                <a:lnTo>
                  <a:pt x="2577" y="1622"/>
                </a:lnTo>
                <a:lnTo>
                  <a:pt x="2580" y="1622"/>
                </a:lnTo>
                <a:lnTo>
                  <a:pt x="2583" y="1620"/>
                </a:lnTo>
                <a:lnTo>
                  <a:pt x="2598" y="1613"/>
                </a:lnTo>
                <a:lnTo>
                  <a:pt x="2614" y="1617"/>
                </a:lnTo>
                <a:lnTo>
                  <a:pt x="2617" y="1618"/>
                </a:lnTo>
                <a:lnTo>
                  <a:pt x="2620" y="1619"/>
                </a:lnTo>
                <a:lnTo>
                  <a:pt x="2624" y="1617"/>
                </a:lnTo>
                <a:lnTo>
                  <a:pt x="2626" y="1611"/>
                </a:lnTo>
                <a:lnTo>
                  <a:pt x="2624" y="1608"/>
                </a:lnTo>
                <a:lnTo>
                  <a:pt x="2621" y="1609"/>
                </a:lnTo>
                <a:lnTo>
                  <a:pt x="2607" y="1605"/>
                </a:lnTo>
                <a:lnTo>
                  <a:pt x="2593" y="1602"/>
                </a:lnTo>
                <a:lnTo>
                  <a:pt x="2573" y="1600"/>
                </a:lnTo>
                <a:lnTo>
                  <a:pt x="2552" y="1604"/>
                </a:lnTo>
                <a:lnTo>
                  <a:pt x="2548" y="1610"/>
                </a:lnTo>
                <a:lnTo>
                  <a:pt x="2550" y="1618"/>
                </a:lnTo>
                <a:close/>
                <a:moveTo>
                  <a:pt x="2716" y="1105"/>
                </a:moveTo>
                <a:lnTo>
                  <a:pt x="2701" y="1099"/>
                </a:lnTo>
                <a:lnTo>
                  <a:pt x="2684" y="1098"/>
                </a:lnTo>
                <a:lnTo>
                  <a:pt x="2672" y="1099"/>
                </a:lnTo>
                <a:lnTo>
                  <a:pt x="2667" y="1111"/>
                </a:lnTo>
                <a:lnTo>
                  <a:pt x="2668" y="1118"/>
                </a:lnTo>
                <a:lnTo>
                  <a:pt x="2672" y="1126"/>
                </a:lnTo>
                <a:lnTo>
                  <a:pt x="2673" y="1127"/>
                </a:lnTo>
                <a:lnTo>
                  <a:pt x="2677" y="1127"/>
                </a:lnTo>
                <a:lnTo>
                  <a:pt x="2695" y="1118"/>
                </a:lnTo>
                <a:lnTo>
                  <a:pt x="2714" y="1113"/>
                </a:lnTo>
                <a:lnTo>
                  <a:pt x="2718" y="1110"/>
                </a:lnTo>
                <a:lnTo>
                  <a:pt x="2716" y="1105"/>
                </a:lnTo>
                <a:close/>
                <a:moveTo>
                  <a:pt x="554" y="749"/>
                </a:moveTo>
                <a:lnTo>
                  <a:pt x="551" y="747"/>
                </a:lnTo>
                <a:lnTo>
                  <a:pt x="549" y="746"/>
                </a:lnTo>
                <a:lnTo>
                  <a:pt x="551" y="747"/>
                </a:lnTo>
                <a:lnTo>
                  <a:pt x="554" y="749"/>
                </a:lnTo>
                <a:close/>
                <a:moveTo>
                  <a:pt x="831" y="993"/>
                </a:moveTo>
                <a:lnTo>
                  <a:pt x="875" y="988"/>
                </a:lnTo>
                <a:lnTo>
                  <a:pt x="918" y="982"/>
                </a:lnTo>
                <a:lnTo>
                  <a:pt x="927" y="981"/>
                </a:lnTo>
                <a:lnTo>
                  <a:pt x="938" y="979"/>
                </a:lnTo>
                <a:lnTo>
                  <a:pt x="940" y="978"/>
                </a:lnTo>
                <a:lnTo>
                  <a:pt x="942" y="976"/>
                </a:lnTo>
                <a:lnTo>
                  <a:pt x="941" y="973"/>
                </a:lnTo>
                <a:lnTo>
                  <a:pt x="939" y="972"/>
                </a:lnTo>
                <a:lnTo>
                  <a:pt x="928" y="969"/>
                </a:lnTo>
                <a:lnTo>
                  <a:pt x="918" y="967"/>
                </a:lnTo>
                <a:lnTo>
                  <a:pt x="900" y="972"/>
                </a:lnTo>
                <a:lnTo>
                  <a:pt x="882" y="974"/>
                </a:lnTo>
                <a:lnTo>
                  <a:pt x="885" y="976"/>
                </a:lnTo>
                <a:lnTo>
                  <a:pt x="889" y="977"/>
                </a:lnTo>
                <a:lnTo>
                  <a:pt x="855" y="986"/>
                </a:lnTo>
                <a:lnTo>
                  <a:pt x="821" y="990"/>
                </a:lnTo>
                <a:lnTo>
                  <a:pt x="827" y="993"/>
                </a:lnTo>
                <a:lnTo>
                  <a:pt x="831" y="993"/>
                </a:lnTo>
                <a:close/>
                <a:moveTo>
                  <a:pt x="2885" y="1067"/>
                </a:moveTo>
                <a:lnTo>
                  <a:pt x="2885" y="1060"/>
                </a:lnTo>
                <a:lnTo>
                  <a:pt x="2882" y="1055"/>
                </a:lnTo>
                <a:lnTo>
                  <a:pt x="2879" y="1054"/>
                </a:lnTo>
                <a:lnTo>
                  <a:pt x="2877" y="1056"/>
                </a:lnTo>
                <a:lnTo>
                  <a:pt x="2876" y="1064"/>
                </a:lnTo>
                <a:lnTo>
                  <a:pt x="2879" y="1070"/>
                </a:lnTo>
                <a:lnTo>
                  <a:pt x="2879" y="1070"/>
                </a:lnTo>
                <a:lnTo>
                  <a:pt x="2879" y="1071"/>
                </a:lnTo>
                <a:lnTo>
                  <a:pt x="2878" y="1093"/>
                </a:lnTo>
                <a:lnTo>
                  <a:pt x="2878" y="1114"/>
                </a:lnTo>
                <a:lnTo>
                  <a:pt x="2874" y="1113"/>
                </a:lnTo>
                <a:lnTo>
                  <a:pt x="2869" y="1110"/>
                </a:lnTo>
                <a:lnTo>
                  <a:pt x="2867" y="1105"/>
                </a:lnTo>
                <a:lnTo>
                  <a:pt x="2864" y="1105"/>
                </a:lnTo>
                <a:lnTo>
                  <a:pt x="2861" y="1109"/>
                </a:lnTo>
                <a:lnTo>
                  <a:pt x="2861" y="1114"/>
                </a:lnTo>
                <a:lnTo>
                  <a:pt x="2863" y="1117"/>
                </a:lnTo>
                <a:lnTo>
                  <a:pt x="2863" y="1120"/>
                </a:lnTo>
                <a:lnTo>
                  <a:pt x="2844" y="1111"/>
                </a:lnTo>
                <a:lnTo>
                  <a:pt x="2829" y="1095"/>
                </a:lnTo>
                <a:lnTo>
                  <a:pt x="2828" y="1089"/>
                </a:lnTo>
                <a:lnTo>
                  <a:pt x="2831" y="1084"/>
                </a:lnTo>
                <a:lnTo>
                  <a:pt x="2830" y="1080"/>
                </a:lnTo>
                <a:lnTo>
                  <a:pt x="2826" y="1078"/>
                </a:lnTo>
                <a:lnTo>
                  <a:pt x="2816" y="1070"/>
                </a:lnTo>
                <a:lnTo>
                  <a:pt x="2802" y="1068"/>
                </a:lnTo>
                <a:lnTo>
                  <a:pt x="2790" y="1072"/>
                </a:lnTo>
                <a:lnTo>
                  <a:pt x="2785" y="1082"/>
                </a:lnTo>
                <a:lnTo>
                  <a:pt x="2787" y="1090"/>
                </a:lnTo>
                <a:lnTo>
                  <a:pt x="2797" y="1096"/>
                </a:lnTo>
                <a:lnTo>
                  <a:pt x="2804" y="1099"/>
                </a:lnTo>
                <a:lnTo>
                  <a:pt x="2809" y="1106"/>
                </a:lnTo>
                <a:lnTo>
                  <a:pt x="2815" y="1115"/>
                </a:lnTo>
                <a:lnTo>
                  <a:pt x="2821" y="1124"/>
                </a:lnTo>
                <a:lnTo>
                  <a:pt x="2830" y="1127"/>
                </a:lnTo>
                <a:lnTo>
                  <a:pt x="2836" y="1120"/>
                </a:lnTo>
                <a:lnTo>
                  <a:pt x="2838" y="1120"/>
                </a:lnTo>
                <a:lnTo>
                  <a:pt x="2840" y="1120"/>
                </a:lnTo>
                <a:lnTo>
                  <a:pt x="2854" y="1124"/>
                </a:lnTo>
                <a:lnTo>
                  <a:pt x="2868" y="1125"/>
                </a:lnTo>
                <a:lnTo>
                  <a:pt x="2874" y="1136"/>
                </a:lnTo>
                <a:lnTo>
                  <a:pt x="2881" y="1147"/>
                </a:lnTo>
                <a:lnTo>
                  <a:pt x="2884" y="1158"/>
                </a:lnTo>
                <a:lnTo>
                  <a:pt x="2884" y="1168"/>
                </a:lnTo>
                <a:lnTo>
                  <a:pt x="2885" y="1190"/>
                </a:lnTo>
                <a:lnTo>
                  <a:pt x="2885" y="1212"/>
                </a:lnTo>
                <a:lnTo>
                  <a:pt x="2888" y="1216"/>
                </a:lnTo>
                <a:lnTo>
                  <a:pt x="2889" y="1219"/>
                </a:lnTo>
                <a:lnTo>
                  <a:pt x="2894" y="1225"/>
                </a:lnTo>
                <a:lnTo>
                  <a:pt x="2901" y="1227"/>
                </a:lnTo>
                <a:lnTo>
                  <a:pt x="2904" y="1226"/>
                </a:lnTo>
                <a:lnTo>
                  <a:pt x="2904" y="1224"/>
                </a:lnTo>
                <a:lnTo>
                  <a:pt x="2901" y="1216"/>
                </a:lnTo>
                <a:lnTo>
                  <a:pt x="2895" y="1210"/>
                </a:lnTo>
                <a:lnTo>
                  <a:pt x="2894" y="1210"/>
                </a:lnTo>
                <a:lnTo>
                  <a:pt x="2893" y="1209"/>
                </a:lnTo>
                <a:lnTo>
                  <a:pt x="2910" y="1202"/>
                </a:lnTo>
                <a:lnTo>
                  <a:pt x="2928" y="1197"/>
                </a:lnTo>
                <a:lnTo>
                  <a:pt x="2920" y="1196"/>
                </a:lnTo>
                <a:lnTo>
                  <a:pt x="2911" y="1194"/>
                </a:lnTo>
                <a:lnTo>
                  <a:pt x="2902" y="1187"/>
                </a:lnTo>
                <a:lnTo>
                  <a:pt x="2902" y="1177"/>
                </a:lnTo>
                <a:lnTo>
                  <a:pt x="2904" y="1171"/>
                </a:lnTo>
                <a:lnTo>
                  <a:pt x="2900" y="1166"/>
                </a:lnTo>
                <a:lnTo>
                  <a:pt x="2898" y="1155"/>
                </a:lnTo>
                <a:lnTo>
                  <a:pt x="2894" y="1143"/>
                </a:lnTo>
                <a:lnTo>
                  <a:pt x="2891" y="1133"/>
                </a:lnTo>
                <a:lnTo>
                  <a:pt x="2892" y="1122"/>
                </a:lnTo>
                <a:lnTo>
                  <a:pt x="2929" y="1129"/>
                </a:lnTo>
                <a:lnTo>
                  <a:pt x="2960" y="1150"/>
                </a:lnTo>
                <a:lnTo>
                  <a:pt x="2964" y="1154"/>
                </a:lnTo>
                <a:lnTo>
                  <a:pt x="2968" y="1155"/>
                </a:lnTo>
                <a:lnTo>
                  <a:pt x="2970" y="1150"/>
                </a:lnTo>
                <a:lnTo>
                  <a:pt x="2969" y="1146"/>
                </a:lnTo>
                <a:lnTo>
                  <a:pt x="2965" y="1141"/>
                </a:lnTo>
                <a:lnTo>
                  <a:pt x="2962" y="1133"/>
                </a:lnTo>
                <a:lnTo>
                  <a:pt x="2961" y="1137"/>
                </a:lnTo>
                <a:lnTo>
                  <a:pt x="2959" y="1140"/>
                </a:lnTo>
                <a:lnTo>
                  <a:pt x="2957" y="1139"/>
                </a:lnTo>
                <a:lnTo>
                  <a:pt x="2956" y="1135"/>
                </a:lnTo>
                <a:lnTo>
                  <a:pt x="2951" y="1120"/>
                </a:lnTo>
                <a:lnTo>
                  <a:pt x="2956" y="1104"/>
                </a:lnTo>
                <a:lnTo>
                  <a:pt x="2956" y="1102"/>
                </a:lnTo>
                <a:lnTo>
                  <a:pt x="2956" y="1100"/>
                </a:lnTo>
                <a:lnTo>
                  <a:pt x="2952" y="1097"/>
                </a:lnTo>
                <a:lnTo>
                  <a:pt x="2951" y="1091"/>
                </a:lnTo>
                <a:lnTo>
                  <a:pt x="2951" y="1086"/>
                </a:lnTo>
                <a:lnTo>
                  <a:pt x="2947" y="1082"/>
                </a:lnTo>
                <a:lnTo>
                  <a:pt x="2946" y="1083"/>
                </a:lnTo>
                <a:lnTo>
                  <a:pt x="2946" y="1083"/>
                </a:lnTo>
                <a:lnTo>
                  <a:pt x="2946" y="1083"/>
                </a:lnTo>
                <a:lnTo>
                  <a:pt x="2947" y="1082"/>
                </a:lnTo>
                <a:lnTo>
                  <a:pt x="2946" y="1080"/>
                </a:lnTo>
                <a:lnTo>
                  <a:pt x="2946" y="1078"/>
                </a:lnTo>
                <a:lnTo>
                  <a:pt x="2946" y="1055"/>
                </a:lnTo>
                <a:lnTo>
                  <a:pt x="2943" y="1034"/>
                </a:lnTo>
                <a:lnTo>
                  <a:pt x="2949" y="1036"/>
                </a:lnTo>
                <a:lnTo>
                  <a:pt x="2951" y="1041"/>
                </a:lnTo>
                <a:lnTo>
                  <a:pt x="2954" y="1071"/>
                </a:lnTo>
                <a:lnTo>
                  <a:pt x="2956" y="1100"/>
                </a:lnTo>
                <a:lnTo>
                  <a:pt x="2956" y="1102"/>
                </a:lnTo>
                <a:lnTo>
                  <a:pt x="2956" y="1104"/>
                </a:lnTo>
                <a:lnTo>
                  <a:pt x="2960" y="1119"/>
                </a:lnTo>
                <a:lnTo>
                  <a:pt x="2962" y="1133"/>
                </a:lnTo>
                <a:lnTo>
                  <a:pt x="2965" y="1141"/>
                </a:lnTo>
                <a:lnTo>
                  <a:pt x="2969" y="1146"/>
                </a:lnTo>
                <a:lnTo>
                  <a:pt x="2970" y="1146"/>
                </a:lnTo>
                <a:lnTo>
                  <a:pt x="2971" y="1146"/>
                </a:lnTo>
                <a:lnTo>
                  <a:pt x="2977" y="1157"/>
                </a:lnTo>
                <a:lnTo>
                  <a:pt x="2980" y="1168"/>
                </a:lnTo>
                <a:lnTo>
                  <a:pt x="2977" y="1174"/>
                </a:lnTo>
                <a:lnTo>
                  <a:pt x="2983" y="1176"/>
                </a:lnTo>
                <a:lnTo>
                  <a:pt x="2990" y="1174"/>
                </a:lnTo>
                <a:lnTo>
                  <a:pt x="2992" y="1167"/>
                </a:lnTo>
                <a:lnTo>
                  <a:pt x="2991" y="1164"/>
                </a:lnTo>
                <a:lnTo>
                  <a:pt x="2995" y="1164"/>
                </a:lnTo>
                <a:lnTo>
                  <a:pt x="3000" y="1163"/>
                </a:lnTo>
                <a:lnTo>
                  <a:pt x="3005" y="1163"/>
                </a:lnTo>
                <a:lnTo>
                  <a:pt x="3005" y="1170"/>
                </a:lnTo>
                <a:lnTo>
                  <a:pt x="3003" y="1175"/>
                </a:lnTo>
                <a:lnTo>
                  <a:pt x="3010" y="1175"/>
                </a:lnTo>
                <a:lnTo>
                  <a:pt x="3015" y="1174"/>
                </a:lnTo>
                <a:lnTo>
                  <a:pt x="3022" y="1170"/>
                </a:lnTo>
                <a:lnTo>
                  <a:pt x="3019" y="1161"/>
                </a:lnTo>
                <a:lnTo>
                  <a:pt x="3016" y="1156"/>
                </a:lnTo>
                <a:lnTo>
                  <a:pt x="3016" y="1150"/>
                </a:lnTo>
                <a:lnTo>
                  <a:pt x="3021" y="1148"/>
                </a:lnTo>
                <a:lnTo>
                  <a:pt x="3028" y="1150"/>
                </a:lnTo>
                <a:lnTo>
                  <a:pt x="3036" y="1154"/>
                </a:lnTo>
                <a:lnTo>
                  <a:pt x="3044" y="1156"/>
                </a:lnTo>
                <a:lnTo>
                  <a:pt x="3049" y="1158"/>
                </a:lnTo>
                <a:lnTo>
                  <a:pt x="3052" y="1162"/>
                </a:lnTo>
                <a:lnTo>
                  <a:pt x="3057" y="1173"/>
                </a:lnTo>
                <a:lnTo>
                  <a:pt x="3060" y="1182"/>
                </a:lnTo>
                <a:lnTo>
                  <a:pt x="3067" y="1202"/>
                </a:lnTo>
                <a:lnTo>
                  <a:pt x="3070" y="1222"/>
                </a:lnTo>
                <a:lnTo>
                  <a:pt x="3074" y="1235"/>
                </a:lnTo>
                <a:lnTo>
                  <a:pt x="3070" y="1247"/>
                </a:lnTo>
                <a:lnTo>
                  <a:pt x="3065" y="1256"/>
                </a:lnTo>
                <a:lnTo>
                  <a:pt x="3063" y="1268"/>
                </a:lnTo>
                <a:lnTo>
                  <a:pt x="3063" y="1275"/>
                </a:lnTo>
                <a:lnTo>
                  <a:pt x="3065" y="1282"/>
                </a:lnTo>
                <a:lnTo>
                  <a:pt x="3071" y="1296"/>
                </a:lnTo>
                <a:lnTo>
                  <a:pt x="3075" y="1311"/>
                </a:lnTo>
                <a:lnTo>
                  <a:pt x="3079" y="1323"/>
                </a:lnTo>
                <a:lnTo>
                  <a:pt x="3091" y="1326"/>
                </a:lnTo>
                <a:lnTo>
                  <a:pt x="3094" y="1327"/>
                </a:lnTo>
                <a:lnTo>
                  <a:pt x="3096" y="1328"/>
                </a:lnTo>
                <a:lnTo>
                  <a:pt x="3110" y="1334"/>
                </a:lnTo>
                <a:lnTo>
                  <a:pt x="3125" y="1340"/>
                </a:lnTo>
                <a:lnTo>
                  <a:pt x="3132" y="1340"/>
                </a:lnTo>
                <a:lnTo>
                  <a:pt x="3133" y="1334"/>
                </a:lnTo>
                <a:lnTo>
                  <a:pt x="3132" y="1323"/>
                </a:lnTo>
                <a:lnTo>
                  <a:pt x="3133" y="1310"/>
                </a:lnTo>
                <a:lnTo>
                  <a:pt x="3128" y="1293"/>
                </a:lnTo>
                <a:lnTo>
                  <a:pt x="3126" y="1275"/>
                </a:lnTo>
                <a:lnTo>
                  <a:pt x="3124" y="1257"/>
                </a:lnTo>
                <a:lnTo>
                  <a:pt x="3121" y="1240"/>
                </a:lnTo>
                <a:lnTo>
                  <a:pt x="3123" y="1237"/>
                </a:lnTo>
                <a:lnTo>
                  <a:pt x="3123" y="1233"/>
                </a:lnTo>
                <a:lnTo>
                  <a:pt x="3122" y="1224"/>
                </a:lnTo>
                <a:lnTo>
                  <a:pt x="3133" y="1220"/>
                </a:lnTo>
                <a:lnTo>
                  <a:pt x="3126" y="1217"/>
                </a:lnTo>
                <a:lnTo>
                  <a:pt x="3123" y="1214"/>
                </a:lnTo>
                <a:lnTo>
                  <a:pt x="3120" y="1211"/>
                </a:lnTo>
                <a:lnTo>
                  <a:pt x="3120" y="1207"/>
                </a:lnTo>
                <a:lnTo>
                  <a:pt x="3122" y="1205"/>
                </a:lnTo>
                <a:lnTo>
                  <a:pt x="3126" y="1206"/>
                </a:lnTo>
                <a:lnTo>
                  <a:pt x="3129" y="1207"/>
                </a:lnTo>
                <a:lnTo>
                  <a:pt x="3133" y="1207"/>
                </a:lnTo>
                <a:lnTo>
                  <a:pt x="3134" y="1207"/>
                </a:lnTo>
                <a:lnTo>
                  <a:pt x="3134" y="1206"/>
                </a:lnTo>
                <a:lnTo>
                  <a:pt x="3133" y="1204"/>
                </a:lnTo>
                <a:lnTo>
                  <a:pt x="3131" y="1203"/>
                </a:lnTo>
                <a:lnTo>
                  <a:pt x="3117" y="1196"/>
                </a:lnTo>
                <a:lnTo>
                  <a:pt x="3109" y="1181"/>
                </a:lnTo>
                <a:lnTo>
                  <a:pt x="3108" y="1178"/>
                </a:lnTo>
                <a:lnTo>
                  <a:pt x="3107" y="1177"/>
                </a:lnTo>
                <a:lnTo>
                  <a:pt x="3099" y="1165"/>
                </a:lnTo>
                <a:lnTo>
                  <a:pt x="3106" y="1154"/>
                </a:lnTo>
                <a:lnTo>
                  <a:pt x="3108" y="1147"/>
                </a:lnTo>
                <a:lnTo>
                  <a:pt x="3104" y="1141"/>
                </a:lnTo>
                <a:lnTo>
                  <a:pt x="3101" y="1134"/>
                </a:lnTo>
                <a:lnTo>
                  <a:pt x="3107" y="1130"/>
                </a:lnTo>
                <a:lnTo>
                  <a:pt x="3111" y="1126"/>
                </a:lnTo>
                <a:lnTo>
                  <a:pt x="3108" y="1121"/>
                </a:lnTo>
                <a:lnTo>
                  <a:pt x="3104" y="1119"/>
                </a:lnTo>
                <a:lnTo>
                  <a:pt x="3102" y="1116"/>
                </a:lnTo>
                <a:lnTo>
                  <a:pt x="3098" y="1110"/>
                </a:lnTo>
                <a:lnTo>
                  <a:pt x="3098" y="1101"/>
                </a:lnTo>
                <a:lnTo>
                  <a:pt x="3102" y="1098"/>
                </a:lnTo>
                <a:lnTo>
                  <a:pt x="3104" y="1099"/>
                </a:lnTo>
                <a:lnTo>
                  <a:pt x="3114" y="1104"/>
                </a:lnTo>
                <a:lnTo>
                  <a:pt x="3121" y="1113"/>
                </a:lnTo>
                <a:lnTo>
                  <a:pt x="3124" y="1134"/>
                </a:lnTo>
                <a:lnTo>
                  <a:pt x="3123" y="1156"/>
                </a:lnTo>
                <a:lnTo>
                  <a:pt x="3124" y="1164"/>
                </a:lnTo>
                <a:lnTo>
                  <a:pt x="3131" y="1172"/>
                </a:lnTo>
                <a:lnTo>
                  <a:pt x="3134" y="1180"/>
                </a:lnTo>
                <a:lnTo>
                  <a:pt x="3137" y="1189"/>
                </a:lnTo>
                <a:lnTo>
                  <a:pt x="3136" y="1194"/>
                </a:lnTo>
                <a:lnTo>
                  <a:pt x="3133" y="1201"/>
                </a:lnTo>
                <a:lnTo>
                  <a:pt x="3138" y="1203"/>
                </a:lnTo>
                <a:lnTo>
                  <a:pt x="3143" y="1206"/>
                </a:lnTo>
                <a:lnTo>
                  <a:pt x="3153" y="1212"/>
                </a:lnTo>
                <a:lnTo>
                  <a:pt x="3164" y="1209"/>
                </a:lnTo>
                <a:lnTo>
                  <a:pt x="3166" y="1208"/>
                </a:lnTo>
                <a:lnTo>
                  <a:pt x="3169" y="1211"/>
                </a:lnTo>
                <a:lnTo>
                  <a:pt x="3178" y="1229"/>
                </a:lnTo>
                <a:lnTo>
                  <a:pt x="3184" y="1251"/>
                </a:lnTo>
                <a:lnTo>
                  <a:pt x="3185" y="1236"/>
                </a:lnTo>
                <a:lnTo>
                  <a:pt x="3186" y="1223"/>
                </a:lnTo>
                <a:lnTo>
                  <a:pt x="3190" y="1213"/>
                </a:lnTo>
                <a:lnTo>
                  <a:pt x="3182" y="1204"/>
                </a:lnTo>
                <a:lnTo>
                  <a:pt x="3201" y="1209"/>
                </a:lnTo>
                <a:lnTo>
                  <a:pt x="3217" y="1218"/>
                </a:lnTo>
                <a:lnTo>
                  <a:pt x="3216" y="1222"/>
                </a:lnTo>
                <a:lnTo>
                  <a:pt x="3213" y="1231"/>
                </a:lnTo>
                <a:lnTo>
                  <a:pt x="3217" y="1253"/>
                </a:lnTo>
                <a:lnTo>
                  <a:pt x="3230" y="1274"/>
                </a:lnTo>
                <a:lnTo>
                  <a:pt x="3239" y="1279"/>
                </a:lnTo>
                <a:lnTo>
                  <a:pt x="3243" y="1270"/>
                </a:lnTo>
                <a:lnTo>
                  <a:pt x="3245" y="1281"/>
                </a:lnTo>
                <a:lnTo>
                  <a:pt x="3249" y="1287"/>
                </a:lnTo>
                <a:lnTo>
                  <a:pt x="3262" y="1297"/>
                </a:lnTo>
                <a:lnTo>
                  <a:pt x="3271" y="1311"/>
                </a:lnTo>
                <a:lnTo>
                  <a:pt x="3263" y="1309"/>
                </a:lnTo>
                <a:lnTo>
                  <a:pt x="3259" y="1304"/>
                </a:lnTo>
                <a:lnTo>
                  <a:pt x="3256" y="1301"/>
                </a:lnTo>
                <a:lnTo>
                  <a:pt x="3253" y="1300"/>
                </a:lnTo>
                <a:lnTo>
                  <a:pt x="3250" y="1302"/>
                </a:lnTo>
                <a:lnTo>
                  <a:pt x="3249" y="1305"/>
                </a:lnTo>
                <a:lnTo>
                  <a:pt x="3250" y="1310"/>
                </a:lnTo>
                <a:lnTo>
                  <a:pt x="3255" y="1312"/>
                </a:lnTo>
                <a:lnTo>
                  <a:pt x="3270" y="1320"/>
                </a:lnTo>
                <a:lnTo>
                  <a:pt x="3273" y="1338"/>
                </a:lnTo>
                <a:lnTo>
                  <a:pt x="3275" y="1355"/>
                </a:lnTo>
                <a:lnTo>
                  <a:pt x="3287" y="1368"/>
                </a:lnTo>
                <a:lnTo>
                  <a:pt x="3294" y="1373"/>
                </a:lnTo>
                <a:lnTo>
                  <a:pt x="3301" y="1380"/>
                </a:lnTo>
                <a:lnTo>
                  <a:pt x="3298" y="1359"/>
                </a:lnTo>
                <a:lnTo>
                  <a:pt x="3298" y="1336"/>
                </a:lnTo>
                <a:lnTo>
                  <a:pt x="3300" y="1331"/>
                </a:lnTo>
                <a:lnTo>
                  <a:pt x="3305" y="1331"/>
                </a:lnTo>
                <a:lnTo>
                  <a:pt x="3305" y="1320"/>
                </a:lnTo>
                <a:lnTo>
                  <a:pt x="3305" y="1309"/>
                </a:lnTo>
                <a:lnTo>
                  <a:pt x="3305" y="1304"/>
                </a:lnTo>
                <a:lnTo>
                  <a:pt x="3305" y="1301"/>
                </a:lnTo>
                <a:lnTo>
                  <a:pt x="3305" y="1277"/>
                </a:lnTo>
                <a:lnTo>
                  <a:pt x="3305" y="1253"/>
                </a:lnTo>
                <a:lnTo>
                  <a:pt x="3305" y="1239"/>
                </a:lnTo>
                <a:lnTo>
                  <a:pt x="3305" y="1225"/>
                </a:lnTo>
                <a:lnTo>
                  <a:pt x="3302" y="1226"/>
                </a:lnTo>
                <a:lnTo>
                  <a:pt x="3300" y="1225"/>
                </a:lnTo>
                <a:lnTo>
                  <a:pt x="3296" y="1221"/>
                </a:lnTo>
                <a:lnTo>
                  <a:pt x="3296" y="1214"/>
                </a:lnTo>
                <a:lnTo>
                  <a:pt x="3289" y="1183"/>
                </a:lnTo>
                <a:lnTo>
                  <a:pt x="3276" y="1156"/>
                </a:lnTo>
                <a:lnTo>
                  <a:pt x="3215" y="1087"/>
                </a:lnTo>
                <a:lnTo>
                  <a:pt x="3137" y="1038"/>
                </a:lnTo>
                <a:lnTo>
                  <a:pt x="3057" y="1003"/>
                </a:lnTo>
                <a:lnTo>
                  <a:pt x="2976" y="971"/>
                </a:lnTo>
                <a:lnTo>
                  <a:pt x="2930" y="954"/>
                </a:lnTo>
                <a:lnTo>
                  <a:pt x="2883" y="942"/>
                </a:lnTo>
                <a:lnTo>
                  <a:pt x="2826" y="928"/>
                </a:lnTo>
                <a:lnTo>
                  <a:pt x="2770" y="916"/>
                </a:lnTo>
                <a:lnTo>
                  <a:pt x="2745" y="912"/>
                </a:lnTo>
                <a:lnTo>
                  <a:pt x="2720" y="907"/>
                </a:lnTo>
                <a:lnTo>
                  <a:pt x="2714" y="908"/>
                </a:lnTo>
                <a:lnTo>
                  <a:pt x="2710" y="914"/>
                </a:lnTo>
                <a:lnTo>
                  <a:pt x="2711" y="918"/>
                </a:lnTo>
                <a:lnTo>
                  <a:pt x="2715" y="920"/>
                </a:lnTo>
                <a:lnTo>
                  <a:pt x="2716" y="921"/>
                </a:lnTo>
                <a:lnTo>
                  <a:pt x="2717" y="923"/>
                </a:lnTo>
                <a:lnTo>
                  <a:pt x="2730" y="935"/>
                </a:lnTo>
                <a:lnTo>
                  <a:pt x="2746" y="943"/>
                </a:lnTo>
                <a:lnTo>
                  <a:pt x="2748" y="943"/>
                </a:lnTo>
                <a:lnTo>
                  <a:pt x="2748" y="944"/>
                </a:lnTo>
                <a:lnTo>
                  <a:pt x="2760" y="951"/>
                </a:lnTo>
                <a:lnTo>
                  <a:pt x="2774" y="953"/>
                </a:lnTo>
                <a:lnTo>
                  <a:pt x="2787" y="952"/>
                </a:lnTo>
                <a:lnTo>
                  <a:pt x="2797" y="945"/>
                </a:lnTo>
                <a:lnTo>
                  <a:pt x="2802" y="966"/>
                </a:lnTo>
                <a:lnTo>
                  <a:pt x="2798" y="988"/>
                </a:lnTo>
                <a:lnTo>
                  <a:pt x="2797" y="998"/>
                </a:lnTo>
                <a:lnTo>
                  <a:pt x="2801" y="1006"/>
                </a:lnTo>
                <a:lnTo>
                  <a:pt x="2808" y="1003"/>
                </a:lnTo>
                <a:lnTo>
                  <a:pt x="2814" y="993"/>
                </a:lnTo>
                <a:lnTo>
                  <a:pt x="2823" y="1004"/>
                </a:lnTo>
                <a:lnTo>
                  <a:pt x="2836" y="1008"/>
                </a:lnTo>
                <a:lnTo>
                  <a:pt x="2852" y="993"/>
                </a:lnTo>
                <a:lnTo>
                  <a:pt x="2852" y="969"/>
                </a:lnTo>
                <a:lnTo>
                  <a:pt x="2860" y="982"/>
                </a:lnTo>
                <a:lnTo>
                  <a:pt x="2858" y="997"/>
                </a:lnTo>
                <a:lnTo>
                  <a:pt x="2858" y="1003"/>
                </a:lnTo>
                <a:lnTo>
                  <a:pt x="2862" y="1008"/>
                </a:lnTo>
                <a:lnTo>
                  <a:pt x="2865" y="1010"/>
                </a:lnTo>
                <a:lnTo>
                  <a:pt x="2867" y="1010"/>
                </a:lnTo>
                <a:lnTo>
                  <a:pt x="2870" y="1006"/>
                </a:lnTo>
                <a:lnTo>
                  <a:pt x="2870" y="1001"/>
                </a:lnTo>
                <a:lnTo>
                  <a:pt x="2870" y="998"/>
                </a:lnTo>
                <a:lnTo>
                  <a:pt x="2873" y="996"/>
                </a:lnTo>
                <a:lnTo>
                  <a:pt x="2875" y="1005"/>
                </a:lnTo>
                <a:lnTo>
                  <a:pt x="2881" y="1012"/>
                </a:lnTo>
                <a:lnTo>
                  <a:pt x="2880" y="995"/>
                </a:lnTo>
                <a:lnTo>
                  <a:pt x="2875" y="980"/>
                </a:lnTo>
                <a:lnTo>
                  <a:pt x="2874" y="973"/>
                </a:lnTo>
                <a:lnTo>
                  <a:pt x="2880" y="972"/>
                </a:lnTo>
                <a:lnTo>
                  <a:pt x="2888" y="972"/>
                </a:lnTo>
                <a:lnTo>
                  <a:pt x="2893" y="967"/>
                </a:lnTo>
                <a:lnTo>
                  <a:pt x="2894" y="978"/>
                </a:lnTo>
                <a:lnTo>
                  <a:pt x="2892" y="986"/>
                </a:lnTo>
                <a:lnTo>
                  <a:pt x="2897" y="998"/>
                </a:lnTo>
                <a:lnTo>
                  <a:pt x="2900" y="1012"/>
                </a:lnTo>
                <a:lnTo>
                  <a:pt x="2905" y="1017"/>
                </a:lnTo>
                <a:lnTo>
                  <a:pt x="2906" y="1024"/>
                </a:lnTo>
                <a:lnTo>
                  <a:pt x="2905" y="1034"/>
                </a:lnTo>
                <a:lnTo>
                  <a:pt x="2911" y="1041"/>
                </a:lnTo>
                <a:lnTo>
                  <a:pt x="2916" y="1051"/>
                </a:lnTo>
                <a:lnTo>
                  <a:pt x="2906" y="1057"/>
                </a:lnTo>
                <a:lnTo>
                  <a:pt x="2914" y="1059"/>
                </a:lnTo>
                <a:lnTo>
                  <a:pt x="2915" y="1066"/>
                </a:lnTo>
                <a:lnTo>
                  <a:pt x="2910" y="1069"/>
                </a:lnTo>
                <a:lnTo>
                  <a:pt x="2906" y="1066"/>
                </a:lnTo>
                <a:lnTo>
                  <a:pt x="2900" y="1067"/>
                </a:lnTo>
                <a:lnTo>
                  <a:pt x="2898" y="1071"/>
                </a:lnTo>
                <a:lnTo>
                  <a:pt x="2896" y="1074"/>
                </a:lnTo>
                <a:lnTo>
                  <a:pt x="2897" y="1076"/>
                </a:lnTo>
                <a:lnTo>
                  <a:pt x="2908" y="1085"/>
                </a:lnTo>
                <a:lnTo>
                  <a:pt x="2905" y="1098"/>
                </a:lnTo>
                <a:lnTo>
                  <a:pt x="2906" y="1100"/>
                </a:lnTo>
                <a:lnTo>
                  <a:pt x="2909" y="1102"/>
                </a:lnTo>
                <a:lnTo>
                  <a:pt x="2912" y="1105"/>
                </a:lnTo>
                <a:lnTo>
                  <a:pt x="2912" y="1111"/>
                </a:lnTo>
                <a:lnTo>
                  <a:pt x="2909" y="1114"/>
                </a:lnTo>
                <a:lnTo>
                  <a:pt x="2905" y="1116"/>
                </a:lnTo>
                <a:lnTo>
                  <a:pt x="2899" y="1117"/>
                </a:lnTo>
                <a:lnTo>
                  <a:pt x="2893" y="1118"/>
                </a:lnTo>
                <a:lnTo>
                  <a:pt x="2890" y="1093"/>
                </a:lnTo>
                <a:lnTo>
                  <a:pt x="2885" y="1067"/>
                </a:lnTo>
                <a:close/>
                <a:moveTo>
                  <a:pt x="2366" y="1148"/>
                </a:moveTo>
                <a:lnTo>
                  <a:pt x="2343" y="1148"/>
                </a:lnTo>
                <a:lnTo>
                  <a:pt x="2319" y="1146"/>
                </a:lnTo>
                <a:lnTo>
                  <a:pt x="2303" y="1146"/>
                </a:lnTo>
                <a:lnTo>
                  <a:pt x="2288" y="1144"/>
                </a:lnTo>
                <a:lnTo>
                  <a:pt x="2284" y="1144"/>
                </a:lnTo>
                <a:lnTo>
                  <a:pt x="2279" y="1147"/>
                </a:lnTo>
                <a:lnTo>
                  <a:pt x="2279" y="1150"/>
                </a:lnTo>
                <a:lnTo>
                  <a:pt x="2282" y="1152"/>
                </a:lnTo>
                <a:lnTo>
                  <a:pt x="2299" y="1159"/>
                </a:lnTo>
                <a:lnTo>
                  <a:pt x="2315" y="1159"/>
                </a:lnTo>
                <a:lnTo>
                  <a:pt x="2336" y="1156"/>
                </a:lnTo>
                <a:lnTo>
                  <a:pt x="2358" y="1159"/>
                </a:lnTo>
                <a:lnTo>
                  <a:pt x="2373" y="1159"/>
                </a:lnTo>
                <a:lnTo>
                  <a:pt x="2386" y="1154"/>
                </a:lnTo>
                <a:lnTo>
                  <a:pt x="2392" y="1160"/>
                </a:lnTo>
                <a:lnTo>
                  <a:pt x="2393" y="1168"/>
                </a:lnTo>
                <a:lnTo>
                  <a:pt x="2392" y="1182"/>
                </a:lnTo>
                <a:lnTo>
                  <a:pt x="2382" y="1195"/>
                </a:lnTo>
                <a:lnTo>
                  <a:pt x="2389" y="1194"/>
                </a:lnTo>
                <a:lnTo>
                  <a:pt x="2395" y="1196"/>
                </a:lnTo>
                <a:lnTo>
                  <a:pt x="2399" y="1222"/>
                </a:lnTo>
                <a:lnTo>
                  <a:pt x="2406" y="1247"/>
                </a:lnTo>
                <a:lnTo>
                  <a:pt x="2408" y="1261"/>
                </a:lnTo>
                <a:lnTo>
                  <a:pt x="2415" y="1273"/>
                </a:lnTo>
                <a:lnTo>
                  <a:pt x="2414" y="1258"/>
                </a:lnTo>
                <a:lnTo>
                  <a:pt x="2408" y="1244"/>
                </a:lnTo>
                <a:lnTo>
                  <a:pt x="2408" y="1242"/>
                </a:lnTo>
                <a:lnTo>
                  <a:pt x="2408" y="1240"/>
                </a:lnTo>
                <a:lnTo>
                  <a:pt x="2409" y="1239"/>
                </a:lnTo>
                <a:lnTo>
                  <a:pt x="2410" y="1238"/>
                </a:lnTo>
                <a:lnTo>
                  <a:pt x="2409" y="1237"/>
                </a:lnTo>
                <a:lnTo>
                  <a:pt x="2407" y="1235"/>
                </a:lnTo>
                <a:lnTo>
                  <a:pt x="2404" y="1221"/>
                </a:lnTo>
                <a:lnTo>
                  <a:pt x="2403" y="1206"/>
                </a:lnTo>
                <a:lnTo>
                  <a:pt x="2404" y="1198"/>
                </a:lnTo>
                <a:lnTo>
                  <a:pt x="2406" y="1194"/>
                </a:lnTo>
                <a:lnTo>
                  <a:pt x="2413" y="1183"/>
                </a:lnTo>
                <a:lnTo>
                  <a:pt x="2409" y="1172"/>
                </a:lnTo>
                <a:lnTo>
                  <a:pt x="2404" y="1150"/>
                </a:lnTo>
                <a:lnTo>
                  <a:pt x="2403" y="1129"/>
                </a:lnTo>
                <a:lnTo>
                  <a:pt x="2401" y="1128"/>
                </a:lnTo>
                <a:lnTo>
                  <a:pt x="2401" y="1127"/>
                </a:lnTo>
                <a:lnTo>
                  <a:pt x="2394" y="1125"/>
                </a:lnTo>
                <a:lnTo>
                  <a:pt x="2395" y="1117"/>
                </a:lnTo>
                <a:lnTo>
                  <a:pt x="2393" y="1113"/>
                </a:lnTo>
                <a:lnTo>
                  <a:pt x="2389" y="1111"/>
                </a:lnTo>
                <a:lnTo>
                  <a:pt x="2386" y="1114"/>
                </a:lnTo>
                <a:lnTo>
                  <a:pt x="2386" y="1118"/>
                </a:lnTo>
                <a:lnTo>
                  <a:pt x="2388" y="1131"/>
                </a:lnTo>
                <a:lnTo>
                  <a:pt x="2386" y="1143"/>
                </a:lnTo>
                <a:lnTo>
                  <a:pt x="2377" y="1147"/>
                </a:lnTo>
                <a:lnTo>
                  <a:pt x="2366" y="1148"/>
                </a:lnTo>
                <a:close/>
                <a:moveTo>
                  <a:pt x="1424" y="1219"/>
                </a:moveTo>
                <a:lnTo>
                  <a:pt x="1424" y="1220"/>
                </a:lnTo>
                <a:lnTo>
                  <a:pt x="1425" y="1221"/>
                </a:lnTo>
                <a:lnTo>
                  <a:pt x="1424" y="1222"/>
                </a:lnTo>
                <a:lnTo>
                  <a:pt x="1423" y="1222"/>
                </a:lnTo>
                <a:lnTo>
                  <a:pt x="1422" y="1221"/>
                </a:lnTo>
                <a:lnTo>
                  <a:pt x="1421" y="1220"/>
                </a:lnTo>
                <a:lnTo>
                  <a:pt x="1422" y="1219"/>
                </a:lnTo>
                <a:lnTo>
                  <a:pt x="1424" y="1219"/>
                </a:lnTo>
                <a:close/>
                <a:moveTo>
                  <a:pt x="1156" y="1285"/>
                </a:moveTo>
                <a:lnTo>
                  <a:pt x="1156" y="1286"/>
                </a:lnTo>
                <a:lnTo>
                  <a:pt x="1156" y="1287"/>
                </a:lnTo>
                <a:lnTo>
                  <a:pt x="1156" y="1286"/>
                </a:lnTo>
                <a:lnTo>
                  <a:pt x="1156" y="1285"/>
                </a:lnTo>
                <a:close/>
                <a:moveTo>
                  <a:pt x="1157" y="1279"/>
                </a:moveTo>
                <a:lnTo>
                  <a:pt x="1157" y="1281"/>
                </a:lnTo>
                <a:lnTo>
                  <a:pt x="1156" y="1282"/>
                </a:lnTo>
                <a:lnTo>
                  <a:pt x="1157" y="1281"/>
                </a:lnTo>
                <a:lnTo>
                  <a:pt x="1157" y="1279"/>
                </a:lnTo>
                <a:close/>
                <a:moveTo>
                  <a:pt x="1156" y="1261"/>
                </a:moveTo>
                <a:lnTo>
                  <a:pt x="1156" y="1261"/>
                </a:lnTo>
                <a:lnTo>
                  <a:pt x="1156" y="1261"/>
                </a:lnTo>
                <a:lnTo>
                  <a:pt x="1156" y="1261"/>
                </a:lnTo>
                <a:close/>
                <a:moveTo>
                  <a:pt x="2092" y="1684"/>
                </a:moveTo>
                <a:lnTo>
                  <a:pt x="2081" y="1695"/>
                </a:lnTo>
                <a:lnTo>
                  <a:pt x="2067" y="1694"/>
                </a:lnTo>
                <a:lnTo>
                  <a:pt x="2059" y="1695"/>
                </a:lnTo>
                <a:lnTo>
                  <a:pt x="2057" y="1702"/>
                </a:lnTo>
                <a:lnTo>
                  <a:pt x="2060" y="1712"/>
                </a:lnTo>
                <a:lnTo>
                  <a:pt x="2064" y="1721"/>
                </a:lnTo>
                <a:lnTo>
                  <a:pt x="2070" y="1722"/>
                </a:lnTo>
                <a:lnTo>
                  <a:pt x="2077" y="1721"/>
                </a:lnTo>
                <a:lnTo>
                  <a:pt x="2080" y="1721"/>
                </a:lnTo>
                <a:lnTo>
                  <a:pt x="2085" y="1722"/>
                </a:lnTo>
                <a:lnTo>
                  <a:pt x="2089" y="1722"/>
                </a:lnTo>
                <a:lnTo>
                  <a:pt x="2091" y="1720"/>
                </a:lnTo>
                <a:lnTo>
                  <a:pt x="2093" y="1708"/>
                </a:lnTo>
                <a:lnTo>
                  <a:pt x="2101" y="1699"/>
                </a:lnTo>
                <a:lnTo>
                  <a:pt x="2105" y="1699"/>
                </a:lnTo>
                <a:lnTo>
                  <a:pt x="2107" y="1697"/>
                </a:lnTo>
                <a:lnTo>
                  <a:pt x="2110" y="1685"/>
                </a:lnTo>
                <a:lnTo>
                  <a:pt x="2120" y="1678"/>
                </a:lnTo>
                <a:lnTo>
                  <a:pt x="2104" y="1680"/>
                </a:lnTo>
                <a:lnTo>
                  <a:pt x="2092" y="1684"/>
                </a:lnTo>
                <a:close/>
                <a:moveTo>
                  <a:pt x="451" y="491"/>
                </a:moveTo>
                <a:lnTo>
                  <a:pt x="452" y="494"/>
                </a:lnTo>
                <a:lnTo>
                  <a:pt x="454" y="495"/>
                </a:lnTo>
                <a:lnTo>
                  <a:pt x="464" y="493"/>
                </a:lnTo>
                <a:lnTo>
                  <a:pt x="468" y="485"/>
                </a:lnTo>
                <a:lnTo>
                  <a:pt x="468" y="471"/>
                </a:lnTo>
                <a:lnTo>
                  <a:pt x="471" y="457"/>
                </a:lnTo>
                <a:lnTo>
                  <a:pt x="472" y="446"/>
                </a:lnTo>
                <a:lnTo>
                  <a:pt x="464" y="439"/>
                </a:lnTo>
                <a:lnTo>
                  <a:pt x="459" y="434"/>
                </a:lnTo>
                <a:lnTo>
                  <a:pt x="461" y="428"/>
                </a:lnTo>
                <a:lnTo>
                  <a:pt x="472" y="411"/>
                </a:lnTo>
                <a:lnTo>
                  <a:pt x="478" y="391"/>
                </a:lnTo>
                <a:lnTo>
                  <a:pt x="479" y="386"/>
                </a:lnTo>
                <a:lnTo>
                  <a:pt x="479" y="380"/>
                </a:lnTo>
                <a:lnTo>
                  <a:pt x="467" y="383"/>
                </a:lnTo>
                <a:lnTo>
                  <a:pt x="455" y="387"/>
                </a:lnTo>
                <a:lnTo>
                  <a:pt x="450" y="387"/>
                </a:lnTo>
                <a:lnTo>
                  <a:pt x="445" y="392"/>
                </a:lnTo>
                <a:lnTo>
                  <a:pt x="448" y="395"/>
                </a:lnTo>
                <a:lnTo>
                  <a:pt x="452" y="395"/>
                </a:lnTo>
                <a:lnTo>
                  <a:pt x="453" y="399"/>
                </a:lnTo>
                <a:lnTo>
                  <a:pt x="457" y="401"/>
                </a:lnTo>
                <a:lnTo>
                  <a:pt x="456" y="421"/>
                </a:lnTo>
                <a:lnTo>
                  <a:pt x="454" y="440"/>
                </a:lnTo>
                <a:lnTo>
                  <a:pt x="455" y="445"/>
                </a:lnTo>
                <a:lnTo>
                  <a:pt x="459" y="447"/>
                </a:lnTo>
                <a:lnTo>
                  <a:pt x="460" y="446"/>
                </a:lnTo>
                <a:lnTo>
                  <a:pt x="460" y="446"/>
                </a:lnTo>
                <a:lnTo>
                  <a:pt x="460" y="446"/>
                </a:lnTo>
                <a:lnTo>
                  <a:pt x="460" y="446"/>
                </a:lnTo>
                <a:lnTo>
                  <a:pt x="460" y="447"/>
                </a:lnTo>
                <a:lnTo>
                  <a:pt x="460" y="447"/>
                </a:lnTo>
                <a:lnTo>
                  <a:pt x="457" y="470"/>
                </a:lnTo>
                <a:lnTo>
                  <a:pt x="441" y="490"/>
                </a:lnTo>
                <a:lnTo>
                  <a:pt x="450" y="487"/>
                </a:lnTo>
                <a:lnTo>
                  <a:pt x="451" y="491"/>
                </a:lnTo>
                <a:close/>
                <a:moveTo>
                  <a:pt x="321" y="940"/>
                </a:moveTo>
                <a:lnTo>
                  <a:pt x="339" y="933"/>
                </a:lnTo>
                <a:lnTo>
                  <a:pt x="357" y="929"/>
                </a:lnTo>
                <a:lnTo>
                  <a:pt x="359" y="928"/>
                </a:lnTo>
                <a:lnTo>
                  <a:pt x="360" y="926"/>
                </a:lnTo>
                <a:lnTo>
                  <a:pt x="359" y="923"/>
                </a:lnTo>
                <a:lnTo>
                  <a:pt x="355" y="922"/>
                </a:lnTo>
                <a:lnTo>
                  <a:pt x="324" y="915"/>
                </a:lnTo>
                <a:lnTo>
                  <a:pt x="293" y="910"/>
                </a:lnTo>
                <a:lnTo>
                  <a:pt x="289" y="911"/>
                </a:lnTo>
                <a:lnTo>
                  <a:pt x="286" y="914"/>
                </a:lnTo>
                <a:lnTo>
                  <a:pt x="287" y="925"/>
                </a:lnTo>
                <a:lnTo>
                  <a:pt x="291" y="933"/>
                </a:lnTo>
                <a:lnTo>
                  <a:pt x="299" y="934"/>
                </a:lnTo>
                <a:lnTo>
                  <a:pt x="305" y="929"/>
                </a:lnTo>
                <a:lnTo>
                  <a:pt x="307" y="927"/>
                </a:lnTo>
                <a:lnTo>
                  <a:pt x="309" y="923"/>
                </a:lnTo>
                <a:lnTo>
                  <a:pt x="309" y="935"/>
                </a:lnTo>
                <a:lnTo>
                  <a:pt x="321" y="940"/>
                </a:lnTo>
                <a:close/>
                <a:moveTo>
                  <a:pt x="1912" y="991"/>
                </a:moveTo>
                <a:lnTo>
                  <a:pt x="1891" y="999"/>
                </a:lnTo>
                <a:lnTo>
                  <a:pt x="1881" y="1019"/>
                </a:lnTo>
                <a:lnTo>
                  <a:pt x="1882" y="1032"/>
                </a:lnTo>
                <a:lnTo>
                  <a:pt x="1895" y="1035"/>
                </a:lnTo>
                <a:lnTo>
                  <a:pt x="1903" y="1035"/>
                </a:lnTo>
                <a:lnTo>
                  <a:pt x="1906" y="1027"/>
                </a:lnTo>
                <a:lnTo>
                  <a:pt x="1908" y="1019"/>
                </a:lnTo>
                <a:lnTo>
                  <a:pt x="1915" y="1018"/>
                </a:lnTo>
                <a:lnTo>
                  <a:pt x="1924" y="1010"/>
                </a:lnTo>
                <a:lnTo>
                  <a:pt x="1928" y="1001"/>
                </a:lnTo>
                <a:lnTo>
                  <a:pt x="1922" y="993"/>
                </a:lnTo>
                <a:lnTo>
                  <a:pt x="1912" y="991"/>
                </a:lnTo>
                <a:close/>
                <a:moveTo>
                  <a:pt x="1070" y="702"/>
                </a:moveTo>
                <a:lnTo>
                  <a:pt x="1069" y="696"/>
                </a:lnTo>
                <a:lnTo>
                  <a:pt x="1062" y="694"/>
                </a:lnTo>
                <a:lnTo>
                  <a:pt x="1046" y="697"/>
                </a:lnTo>
                <a:lnTo>
                  <a:pt x="1030" y="700"/>
                </a:lnTo>
                <a:lnTo>
                  <a:pt x="1039" y="711"/>
                </a:lnTo>
                <a:lnTo>
                  <a:pt x="1051" y="711"/>
                </a:lnTo>
                <a:lnTo>
                  <a:pt x="1059" y="709"/>
                </a:lnTo>
                <a:lnTo>
                  <a:pt x="1063" y="717"/>
                </a:lnTo>
                <a:lnTo>
                  <a:pt x="1063" y="754"/>
                </a:lnTo>
                <a:lnTo>
                  <a:pt x="1061" y="792"/>
                </a:lnTo>
                <a:lnTo>
                  <a:pt x="1059" y="825"/>
                </a:lnTo>
                <a:lnTo>
                  <a:pt x="1058" y="859"/>
                </a:lnTo>
                <a:lnTo>
                  <a:pt x="1062" y="853"/>
                </a:lnTo>
                <a:lnTo>
                  <a:pt x="1062" y="846"/>
                </a:lnTo>
                <a:lnTo>
                  <a:pt x="1063" y="811"/>
                </a:lnTo>
                <a:lnTo>
                  <a:pt x="1065" y="777"/>
                </a:lnTo>
                <a:lnTo>
                  <a:pt x="1069" y="739"/>
                </a:lnTo>
                <a:lnTo>
                  <a:pt x="1070" y="702"/>
                </a:lnTo>
                <a:close/>
                <a:moveTo>
                  <a:pt x="2102" y="1140"/>
                </a:moveTo>
                <a:lnTo>
                  <a:pt x="2106" y="1141"/>
                </a:lnTo>
                <a:lnTo>
                  <a:pt x="2109" y="1144"/>
                </a:lnTo>
                <a:lnTo>
                  <a:pt x="2107" y="1148"/>
                </a:lnTo>
                <a:lnTo>
                  <a:pt x="2102" y="1146"/>
                </a:lnTo>
                <a:lnTo>
                  <a:pt x="2100" y="1143"/>
                </a:lnTo>
                <a:lnTo>
                  <a:pt x="2102" y="1140"/>
                </a:lnTo>
                <a:close/>
                <a:moveTo>
                  <a:pt x="2096" y="1174"/>
                </a:moveTo>
                <a:lnTo>
                  <a:pt x="2102" y="1173"/>
                </a:lnTo>
                <a:lnTo>
                  <a:pt x="2105" y="1175"/>
                </a:lnTo>
                <a:lnTo>
                  <a:pt x="2113" y="1167"/>
                </a:lnTo>
                <a:lnTo>
                  <a:pt x="2123" y="1168"/>
                </a:lnTo>
                <a:lnTo>
                  <a:pt x="2126" y="1168"/>
                </a:lnTo>
                <a:lnTo>
                  <a:pt x="2128" y="1165"/>
                </a:lnTo>
                <a:lnTo>
                  <a:pt x="2128" y="1163"/>
                </a:lnTo>
                <a:lnTo>
                  <a:pt x="2126" y="1162"/>
                </a:lnTo>
                <a:lnTo>
                  <a:pt x="2122" y="1157"/>
                </a:lnTo>
                <a:lnTo>
                  <a:pt x="2122" y="1150"/>
                </a:lnTo>
                <a:lnTo>
                  <a:pt x="2128" y="1149"/>
                </a:lnTo>
                <a:lnTo>
                  <a:pt x="2133" y="1155"/>
                </a:lnTo>
                <a:lnTo>
                  <a:pt x="2137" y="1158"/>
                </a:lnTo>
                <a:lnTo>
                  <a:pt x="2139" y="1156"/>
                </a:lnTo>
                <a:lnTo>
                  <a:pt x="2143" y="1147"/>
                </a:lnTo>
                <a:lnTo>
                  <a:pt x="2150" y="1147"/>
                </a:lnTo>
                <a:lnTo>
                  <a:pt x="2169" y="1146"/>
                </a:lnTo>
                <a:lnTo>
                  <a:pt x="2189" y="1146"/>
                </a:lnTo>
                <a:lnTo>
                  <a:pt x="2194" y="1146"/>
                </a:lnTo>
                <a:lnTo>
                  <a:pt x="2198" y="1141"/>
                </a:lnTo>
                <a:lnTo>
                  <a:pt x="2181" y="1139"/>
                </a:lnTo>
                <a:lnTo>
                  <a:pt x="2163" y="1139"/>
                </a:lnTo>
                <a:lnTo>
                  <a:pt x="2137" y="1143"/>
                </a:lnTo>
                <a:lnTo>
                  <a:pt x="2110" y="1144"/>
                </a:lnTo>
                <a:lnTo>
                  <a:pt x="2108" y="1135"/>
                </a:lnTo>
                <a:lnTo>
                  <a:pt x="2101" y="1132"/>
                </a:lnTo>
                <a:lnTo>
                  <a:pt x="2095" y="1137"/>
                </a:lnTo>
                <a:lnTo>
                  <a:pt x="2096" y="1146"/>
                </a:lnTo>
                <a:lnTo>
                  <a:pt x="2097" y="1157"/>
                </a:lnTo>
                <a:lnTo>
                  <a:pt x="2096" y="1167"/>
                </a:lnTo>
                <a:lnTo>
                  <a:pt x="2095" y="1171"/>
                </a:lnTo>
                <a:lnTo>
                  <a:pt x="2096" y="1174"/>
                </a:lnTo>
                <a:close/>
                <a:moveTo>
                  <a:pt x="1964" y="1084"/>
                </a:moveTo>
                <a:lnTo>
                  <a:pt x="1964" y="1085"/>
                </a:lnTo>
                <a:lnTo>
                  <a:pt x="1964" y="1085"/>
                </a:lnTo>
                <a:lnTo>
                  <a:pt x="1964" y="1084"/>
                </a:lnTo>
                <a:close/>
                <a:moveTo>
                  <a:pt x="1955" y="1085"/>
                </a:moveTo>
                <a:lnTo>
                  <a:pt x="1950" y="1086"/>
                </a:lnTo>
                <a:lnTo>
                  <a:pt x="1945" y="1082"/>
                </a:lnTo>
                <a:lnTo>
                  <a:pt x="1943" y="1079"/>
                </a:lnTo>
                <a:lnTo>
                  <a:pt x="1940" y="1080"/>
                </a:lnTo>
                <a:lnTo>
                  <a:pt x="1938" y="1082"/>
                </a:lnTo>
                <a:lnTo>
                  <a:pt x="1937" y="1086"/>
                </a:lnTo>
                <a:lnTo>
                  <a:pt x="1939" y="1088"/>
                </a:lnTo>
                <a:lnTo>
                  <a:pt x="1944" y="1088"/>
                </a:lnTo>
                <a:lnTo>
                  <a:pt x="1956" y="1099"/>
                </a:lnTo>
                <a:lnTo>
                  <a:pt x="1972" y="1100"/>
                </a:lnTo>
                <a:lnTo>
                  <a:pt x="1981" y="1100"/>
                </a:lnTo>
                <a:lnTo>
                  <a:pt x="1987" y="1100"/>
                </a:lnTo>
                <a:lnTo>
                  <a:pt x="1996" y="1098"/>
                </a:lnTo>
                <a:lnTo>
                  <a:pt x="1999" y="1094"/>
                </a:lnTo>
                <a:lnTo>
                  <a:pt x="1998" y="1079"/>
                </a:lnTo>
                <a:lnTo>
                  <a:pt x="1994" y="1066"/>
                </a:lnTo>
                <a:lnTo>
                  <a:pt x="1991" y="1065"/>
                </a:lnTo>
                <a:lnTo>
                  <a:pt x="1989" y="1066"/>
                </a:lnTo>
                <a:lnTo>
                  <a:pt x="1976" y="1068"/>
                </a:lnTo>
                <a:lnTo>
                  <a:pt x="1962" y="1066"/>
                </a:lnTo>
                <a:lnTo>
                  <a:pt x="1954" y="1067"/>
                </a:lnTo>
                <a:lnTo>
                  <a:pt x="1956" y="1075"/>
                </a:lnTo>
                <a:lnTo>
                  <a:pt x="1957" y="1081"/>
                </a:lnTo>
                <a:lnTo>
                  <a:pt x="1955" y="1085"/>
                </a:lnTo>
                <a:close/>
                <a:moveTo>
                  <a:pt x="966" y="945"/>
                </a:moveTo>
                <a:lnTo>
                  <a:pt x="975" y="937"/>
                </a:lnTo>
                <a:lnTo>
                  <a:pt x="986" y="933"/>
                </a:lnTo>
                <a:lnTo>
                  <a:pt x="980" y="929"/>
                </a:lnTo>
                <a:lnTo>
                  <a:pt x="973" y="926"/>
                </a:lnTo>
                <a:lnTo>
                  <a:pt x="983" y="925"/>
                </a:lnTo>
                <a:lnTo>
                  <a:pt x="992" y="921"/>
                </a:lnTo>
                <a:lnTo>
                  <a:pt x="986" y="915"/>
                </a:lnTo>
                <a:lnTo>
                  <a:pt x="976" y="918"/>
                </a:lnTo>
                <a:lnTo>
                  <a:pt x="964" y="925"/>
                </a:lnTo>
                <a:lnTo>
                  <a:pt x="949" y="922"/>
                </a:lnTo>
                <a:lnTo>
                  <a:pt x="935" y="921"/>
                </a:lnTo>
                <a:lnTo>
                  <a:pt x="922" y="923"/>
                </a:lnTo>
                <a:lnTo>
                  <a:pt x="919" y="926"/>
                </a:lnTo>
                <a:lnTo>
                  <a:pt x="915" y="928"/>
                </a:lnTo>
                <a:lnTo>
                  <a:pt x="893" y="928"/>
                </a:lnTo>
                <a:lnTo>
                  <a:pt x="870" y="928"/>
                </a:lnTo>
                <a:lnTo>
                  <a:pt x="875" y="934"/>
                </a:lnTo>
                <a:lnTo>
                  <a:pt x="873" y="942"/>
                </a:lnTo>
                <a:lnTo>
                  <a:pt x="879" y="941"/>
                </a:lnTo>
                <a:lnTo>
                  <a:pt x="883" y="937"/>
                </a:lnTo>
                <a:lnTo>
                  <a:pt x="889" y="934"/>
                </a:lnTo>
                <a:lnTo>
                  <a:pt x="896" y="935"/>
                </a:lnTo>
                <a:lnTo>
                  <a:pt x="911" y="938"/>
                </a:lnTo>
                <a:lnTo>
                  <a:pt x="927" y="934"/>
                </a:lnTo>
                <a:lnTo>
                  <a:pt x="939" y="931"/>
                </a:lnTo>
                <a:lnTo>
                  <a:pt x="948" y="934"/>
                </a:lnTo>
                <a:lnTo>
                  <a:pt x="958" y="941"/>
                </a:lnTo>
                <a:lnTo>
                  <a:pt x="968" y="936"/>
                </a:lnTo>
                <a:lnTo>
                  <a:pt x="968" y="941"/>
                </a:lnTo>
                <a:lnTo>
                  <a:pt x="966" y="945"/>
                </a:lnTo>
                <a:close/>
                <a:moveTo>
                  <a:pt x="86" y="1081"/>
                </a:moveTo>
                <a:lnTo>
                  <a:pt x="85" y="1080"/>
                </a:lnTo>
                <a:lnTo>
                  <a:pt x="84" y="1079"/>
                </a:lnTo>
                <a:lnTo>
                  <a:pt x="85" y="1080"/>
                </a:lnTo>
                <a:lnTo>
                  <a:pt x="86" y="1081"/>
                </a:lnTo>
                <a:close/>
                <a:moveTo>
                  <a:pt x="97" y="1053"/>
                </a:moveTo>
                <a:lnTo>
                  <a:pt x="96" y="1052"/>
                </a:lnTo>
                <a:lnTo>
                  <a:pt x="96" y="1051"/>
                </a:lnTo>
                <a:lnTo>
                  <a:pt x="96" y="1050"/>
                </a:lnTo>
                <a:lnTo>
                  <a:pt x="97" y="1049"/>
                </a:lnTo>
                <a:lnTo>
                  <a:pt x="99" y="1050"/>
                </a:lnTo>
                <a:lnTo>
                  <a:pt x="99" y="1051"/>
                </a:lnTo>
                <a:lnTo>
                  <a:pt x="99" y="1052"/>
                </a:lnTo>
                <a:lnTo>
                  <a:pt x="97" y="1053"/>
                </a:lnTo>
                <a:close/>
                <a:moveTo>
                  <a:pt x="200" y="812"/>
                </a:moveTo>
                <a:lnTo>
                  <a:pt x="201" y="809"/>
                </a:lnTo>
                <a:lnTo>
                  <a:pt x="205" y="807"/>
                </a:lnTo>
                <a:lnTo>
                  <a:pt x="201" y="809"/>
                </a:lnTo>
                <a:lnTo>
                  <a:pt x="200" y="812"/>
                </a:lnTo>
                <a:lnTo>
                  <a:pt x="203" y="821"/>
                </a:lnTo>
                <a:lnTo>
                  <a:pt x="201" y="829"/>
                </a:lnTo>
                <a:lnTo>
                  <a:pt x="198" y="833"/>
                </a:lnTo>
                <a:lnTo>
                  <a:pt x="195" y="836"/>
                </a:lnTo>
                <a:lnTo>
                  <a:pt x="194" y="824"/>
                </a:lnTo>
                <a:lnTo>
                  <a:pt x="200" y="812"/>
                </a:lnTo>
                <a:close/>
                <a:moveTo>
                  <a:pt x="267" y="772"/>
                </a:moveTo>
                <a:lnTo>
                  <a:pt x="257" y="790"/>
                </a:lnTo>
                <a:lnTo>
                  <a:pt x="244" y="806"/>
                </a:lnTo>
                <a:lnTo>
                  <a:pt x="228" y="811"/>
                </a:lnTo>
                <a:lnTo>
                  <a:pt x="215" y="822"/>
                </a:lnTo>
                <a:lnTo>
                  <a:pt x="213" y="823"/>
                </a:lnTo>
                <a:lnTo>
                  <a:pt x="210" y="823"/>
                </a:lnTo>
                <a:lnTo>
                  <a:pt x="211" y="815"/>
                </a:lnTo>
                <a:lnTo>
                  <a:pt x="209" y="807"/>
                </a:lnTo>
                <a:lnTo>
                  <a:pt x="237" y="788"/>
                </a:lnTo>
                <a:lnTo>
                  <a:pt x="267" y="772"/>
                </a:lnTo>
                <a:close/>
                <a:moveTo>
                  <a:pt x="274" y="767"/>
                </a:moveTo>
                <a:lnTo>
                  <a:pt x="302" y="748"/>
                </a:lnTo>
                <a:lnTo>
                  <a:pt x="333" y="735"/>
                </a:lnTo>
                <a:lnTo>
                  <a:pt x="331" y="749"/>
                </a:lnTo>
                <a:lnTo>
                  <a:pt x="318" y="758"/>
                </a:lnTo>
                <a:lnTo>
                  <a:pt x="305" y="763"/>
                </a:lnTo>
                <a:lnTo>
                  <a:pt x="293" y="772"/>
                </a:lnTo>
                <a:lnTo>
                  <a:pt x="304" y="776"/>
                </a:lnTo>
                <a:lnTo>
                  <a:pt x="300" y="785"/>
                </a:lnTo>
                <a:lnTo>
                  <a:pt x="300" y="785"/>
                </a:lnTo>
                <a:lnTo>
                  <a:pt x="301" y="787"/>
                </a:lnTo>
                <a:lnTo>
                  <a:pt x="300" y="785"/>
                </a:lnTo>
                <a:lnTo>
                  <a:pt x="292" y="788"/>
                </a:lnTo>
                <a:lnTo>
                  <a:pt x="283" y="783"/>
                </a:lnTo>
                <a:lnTo>
                  <a:pt x="277" y="776"/>
                </a:lnTo>
                <a:lnTo>
                  <a:pt x="274" y="767"/>
                </a:lnTo>
                <a:lnTo>
                  <a:pt x="271" y="768"/>
                </a:lnTo>
                <a:lnTo>
                  <a:pt x="268" y="769"/>
                </a:lnTo>
                <a:lnTo>
                  <a:pt x="271" y="768"/>
                </a:lnTo>
                <a:lnTo>
                  <a:pt x="274" y="767"/>
                </a:lnTo>
                <a:close/>
                <a:moveTo>
                  <a:pt x="327" y="777"/>
                </a:moveTo>
                <a:lnTo>
                  <a:pt x="320" y="779"/>
                </a:lnTo>
                <a:lnTo>
                  <a:pt x="313" y="782"/>
                </a:lnTo>
                <a:lnTo>
                  <a:pt x="313" y="780"/>
                </a:lnTo>
                <a:lnTo>
                  <a:pt x="313" y="777"/>
                </a:lnTo>
                <a:lnTo>
                  <a:pt x="315" y="766"/>
                </a:lnTo>
                <a:lnTo>
                  <a:pt x="324" y="762"/>
                </a:lnTo>
                <a:lnTo>
                  <a:pt x="329" y="767"/>
                </a:lnTo>
                <a:lnTo>
                  <a:pt x="327" y="777"/>
                </a:lnTo>
                <a:close/>
                <a:moveTo>
                  <a:pt x="300" y="795"/>
                </a:moveTo>
                <a:lnTo>
                  <a:pt x="301" y="794"/>
                </a:lnTo>
                <a:lnTo>
                  <a:pt x="301" y="793"/>
                </a:lnTo>
                <a:lnTo>
                  <a:pt x="301" y="794"/>
                </a:lnTo>
                <a:lnTo>
                  <a:pt x="300" y="795"/>
                </a:lnTo>
                <a:close/>
                <a:moveTo>
                  <a:pt x="301" y="792"/>
                </a:moveTo>
                <a:lnTo>
                  <a:pt x="301" y="789"/>
                </a:lnTo>
                <a:lnTo>
                  <a:pt x="301" y="787"/>
                </a:lnTo>
                <a:lnTo>
                  <a:pt x="301" y="787"/>
                </a:lnTo>
                <a:lnTo>
                  <a:pt x="301" y="787"/>
                </a:lnTo>
                <a:lnTo>
                  <a:pt x="301" y="789"/>
                </a:lnTo>
                <a:lnTo>
                  <a:pt x="301" y="792"/>
                </a:lnTo>
                <a:close/>
                <a:moveTo>
                  <a:pt x="284" y="816"/>
                </a:moveTo>
                <a:lnTo>
                  <a:pt x="284" y="814"/>
                </a:lnTo>
                <a:lnTo>
                  <a:pt x="284" y="813"/>
                </a:lnTo>
                <a:lnTo>
                  <a:pt x="284" y="814"/>
                </a:lnTo>
                <a:lnTo>
                  <a:pt x="284" y="816"/>
                </a:lnTo>
                <a:close/>
                <a:moveTo>
                  <a:pt x="279" y="807"/>
                </a:moveTo>
                <a:lnTo>
                  <a:pt x="281" y="807"/>
                </a:lnTo>
                <a:lnTo>
                  <a:pt x="281" y="807"/>
                </a:lnTo>
                <a:lnTo>
                  <a:pt x="281" y="807"/>
                </a:lnTo>
                <a:lnTo>
                  <a:pt x="279" y="807"/>
                </a:lnTo>
                <a:close/>
                <a:moveTo>
                  <a:pt x="279" y="823"/>
                </a:moveTo>
                <a:lnTo>
                  <a:pt x="282" y="820"/>
                </a:lnTo>
                <a:lnTo>
                  <a:pt x="284" y="816"/>
                </a:lnTo>
                <a:lnTo>
                  <a:pt x="282" y="820"/>
                </a:lnTo>
                <a:lnTo>
                  <a:pt x="279" y="823"/>
                </a:lnTo>
                <a:close/>
                <a:moveTo>
                  <a:pt x="275" y="806"/>
                </a:moveTo>
                <a:lnTo>
                  <a:pt x="275" y="806"/>
                </a:lnTo>
                <a:lnTo>
                  <a:pt x="274" y="806"/>
                </a:lnTo>
                <a:lnTo>
                  <a:pt x="275" y="806"/>
                </a:lnTo>
                <a:lnTo>
                  <a:pt x="275" y="806"/>
                </a:lnTo>
                <a:close/>
                <a:moveTo>
                  <a:pt x="276" y="806"/>
                </a:moveTo>
                <a:lnTo>
                  <a:pt x="276" y="806"/>
                </a:lnTo>
                <a:lnTo>
                  <a:pt x="276" y="806"/>
                </a:lnTo>
                <a:lnTo>
                  <a:pt x="276" y="806"/>
                </a:lnTo>
                <a:lnTo>
                  <a:pt x="276" y="806"/>
                </a:lnTo>
                <a:close/>
                <a:moveTo>
                  <a:pt x="264" y="809"/>
                </a:moveTo>
                <a:lnTo>
                  <a:pt x="267" y="796"/>
                </a:lnTo>
                <a:lnTo>
                  <a:pt x="277" y="788"/>
                </a:lnTo>
                <a:lnTo>
                  <a:pt x="275" y="797"/>
                </a:lnTo>
                <a:lnTo>
                  <a:pt x="274" y="806"/>
                </a:lnTo>
                <a:lnTo>
                  <a:pt x="274" y="806"/>
                </a:lnTo>
                <a:lnTo>
                  <a:pt x="269" y="807"/>
                </a:lnTo>
                <a:lnTo>
                  <a:pt x="264" y="809"/>
                </a:lnTo>
                <a:close/>
                <a:moveTo>
                  <a:pt x="253" y="819"/>
                </a:moveTo>
                <a:lnTo>
                  <a:pt x="254" y="818"/>
                </a:lnTo>
                <a:lnTo>
                  <a:pt x="255" y="816"/>
                </a:lnTo>
                <a:lnTo>
                  <a:pt x="254" y="818"/>
                </a:lnTo>
                <a:lnTo>
                  <a:pt x="253" y="819"/>
                </a:lnTo>
                <a:close/>
                <a:moveTo>
                  <a:pt x="244" y="806"/>
                </a:moveTo>
                <a:lnTo>
                  <a:pt x="252" y="804"/>
                </a:lnTo>
                <a:lnTo>
                  <a:pt x="260" y="801"/>
                </a:lnTo>
                <a:lnTo>
                  <a:pt x="254" y="810"/>
                </a:lnTo>
                <a:lnTo>
                  <a:pt x="252" y="819"/>
                </a:lnTo>
                <a:lnTo>
                  <a:pt x="238" y="827"/>
                </a:lnTo>
                <a:lnTo>
                  <a:pt x="224" y="837"/>
                </a:lnTo>
                <a:lnTo>
                  <a:pt x="217" y="841"/>
                </a:lnTo>
                <a:lnTo>
                  <a:pt x="211" y="845"/>
                </a:lnTo>
                <a:lnTo>
                  <a:pt x="217" y="841"/>
                </a:lnTo>
                <a:lnTo>
                  <a:pt x="224" y="837"/>
                </a:lnTo>
                <a:lnTo>
                  <a:pt x="215" y="834"/>
                </a:lnTo>
                <a:lnTo>
                  <a:pt x="207" y="834"/>
                </a:lnTo>
                <a:lnTo>
                  <a:pt x="210" y="830"/>
                </a:lnTo>
                <a:lnTo>
                  <a:pt x="213" y="827"/>
                </a:lnTo>
                <a:lnTo>
                  <a:pt x="230" y="819"/>
                </a:lnTo>
                <a:lnTo>
                  <a:pt x="244" y="806"/>
                </a:lnTo>
                <a:close/>
                <a:moveTo>
                  <a:pt x="475" y="630"/>
                </a:moveTo>
                <a:lnTo>
                  <a:pt x="475" y="630"/>
                </a:lnTo>
                <a:lnTo>
                  <a:pt x="475" y="632"/>
                </a:lnTo>
                <a:lnTo>
                  <a:pt x="475" y="635"/>
                </a:lnTo>
                <a:lnTo>
                  <a:pt x="475" y="632"/>
                </a:lnTo>
                <a:lnTo>
                  <a:pt x="475" y="630"/>
                </a:lnTo>
                <a:lnTo>
                  <a:pt x="473" y="630"/>
                </a:lnTo>
                <a:lnTo>
                  <a:pt x="471" y="630"/>
                </a:lnTo>
                <a:lnTo>
                  <a:pt x="473" y="630"/>
                </a:lnTo>
                <a:lnTo>
                  <a:pt x="475" y="630"/>
                </a:lnTo>
                <a:close/>
                <a:moveTo>
                  <a:pt x="480" y="626"/>
                </a:moveTo>
                <a:lnTo>
                  <a:pt x="478" y="628"/>
                </a:lnTo>
                <a:lnTo>
                  <a:pt x="475" y="630"/>
                </a:lnTo>
                <a:lnTo>
                  <a:pt x="478" y="630"/>
                </a:lnTo>
                <a:lnTo>
                  <a:pt x="480" y="630"/>
                </a:lnTo>
                <a:lnTo>
                  <a:pt x="478" y="630"/>
                </a:lnTo>
                <a:lnTo>
                  <a:pt x="475" y="630"/>
                </a:lnTo>
                <a:lnTo>
                  <a:pt x="478" y="628"/>
                </a:lnTo>
                <a:lnTo>
                  <a:pt x="480" y="626"/>
                </a:lnTo>
                <a:close/>
                <a:moveTo>
                  <a:pt x="723" y="537"/>
                </a:moveTo>
                <a:lnTo>
                  <a:pt x="723" y="537"/>
                </a:lnTo>
                <a:lnTo>
                  <a:pt x="723" y="537"/>
                </a:lnTo>
                <a:lnTo>
                  <a:pt x="722" y="538"/>
                </a:lnTo>
                <a:lnTo>
                  <a:pt x="722" y="538"/>
                </a:lnTo>
                <a:lnTo>
                  <a:pt x="722" y="537"/>
                </a:lnTo>
                <a:lnTo>
                  <a:pt x="722" y="536"/>
                </a:lnTo>
                <a:lnTo>
                  <a:pt x="722" y="536"/>
                </a:lnTo>
                <a:lnTo>
                  <a:pt x="723" y="537"/>
                </a:lnTo>
                <a:close/>
                <a:moveTo>
                  <a:pt x="796" y="531"/>
                </a:moveTo>
                <a:lnTo>
                  <a:pt x="796" y="531"/>
                </a:lnTo>
                <a:lnTo>
                  <a:pt x="796" y="531"/>
                </a:lnTo>
                <a:lnTo>
                  <a:pt x="796" y="531"/>
                </a:lnTo>
                <a:lnTo>
                  <a:pt x="796" y="531"/>
                </a:lnTo>
                <a:close/>
                <a:moveTo>
                  <a:pt x="834" y="509"/>
                </a:moveTo>
                <a:lnTo>
                  <a:pt x="833" y="509"/>
                </a:lnTo>
                <a:lnTo>
                  <a:pt x="832" y="509"/>
                </a:lnTo>
                <a:lnTo>
                  <a:pt x="833" y="509"/>
                </a:lnTo>
                <a:lnTo>
                  <a:pt x="834" y="509"/>
                </a:lnTo>
                <a:close/>
                <a:moveTo>
                  <a:pt x="830" y="509"/>
                </a:moveTo>
                <a:lnTo>
                  <a:pt x="831" y="509"/>
                </a:lnTo>
                <a:lnTo>
                  <a:pt x="832" y="509"/>
                </a:lnTo>
                <a:lnTo>
                  <a:pt x="831" y="509"/>
                </a:lnTo>
                <a:lnTo>
                  <a:pt x="830" y="509"/>
                </a:lnTo>
                <a:lnTo>
                  <a:pt x="829" y="513"/>
                </a:lnTo>
                <a:lnTo>
                  <a:pt x="831" y="515"/>
                </a:lnTo>
                <a:lnTo>
                  <a:pt x="833" y="518"/>
                </a:lnTo>
                <a:lnTo>
                  <a:pt x="832" y="520"/>
                </a:lnTo>
                <a:lnTo>
                  <a:pt x="828" y="521"/>
                </a:lnTo>
                <a:lnTo>
                  <a:pt x="825" y="518"/>
                </a:lnTo>
                <a:lnTo>
                  <a:pt x="822" y="514"/>
                </a:lnTo>
                <a:lnTo>
                  <a:pt x="817" y="515"/>
                </a:lnTo>
                <a:lnTo>
                  <a:pt x="822" y="509"/>
                </a:lnTo>
                <a:lnTo>
                  <a:pt x="830" y="509"/>
                </a:lnTo>
                <a:close/>
                <a:moveTo>
                  <a:pt x="837" y="509"/>
                </a:moveTo>
                <a:lnTo>
                  <a:pt x="837" y="509"/>
                </a:lnTo>
                <a:lnTo>
                  <a:pt x="836" y="509"/>
                </a:lnTo>
                <a:lnTo>
                  <a:pt x="837" y="509"/>
                </a:lnTo>
                <a:lnTo>
                  <a:pt x="837" y="509"/>
                </a:lnTo>
                <a:close/>
                <a:moveTo>
                  <a:pt x="1031" y="468"/>
                </a:moveTo>
                <a:lnTo>
                  <a:pt x="1027" y="469"/>
                </a:lnTo>
                <a:lnTo>
                  <a:pt x="1022" y="469"/>
                </a:lnTo>
                <a:lnTo>
                  <a:pt x="1027" y="469"/>
                </a:lnTo>
                <a:lnTo>
                  <a:pt x="1031" y="468"/>
                </a:lnTo>
                <a:close/>
                <a:moveTo>
                  <a:pt x="950" y="512"/>
                </a:moveTo>
                <a:lnTo>
                  <a:pt x="943" y="512"/>
                </a:lnTo>
                <a:lnTo>
                  <a:pt x="937" y="512"/>
                </a:lnTo>
                <a:lnTo>
                  <a:pt x="943" y="512"/>
                </a:lnTo>
                <a:lnTo>
                  <a:pt x="950" y="512"/>
                </a:lnTo>
                <a:close/>
                <a:moveTo>
                  <a:pt x="951" y="510"/>
                </a:moveTo>
                <a:lnTo>
                  <a:pt x="951" y="510"/>
                </a:lnTo>
                <a:lnTo>
                  <a:pt x="971" y="505"/>
                </a:lnTo>
                <a:lnTo>
                  <a:pt x="991" y="502"/>
                </a:lnTo>
                <a:lnTo>
                  <a:pt x="971" y="505"/>
                </a:lnTo>
                <a:lnTo>
                  <a:pt x="951" y="510"/>
                </a:lnTo>
                <a:close/>
                <a:moveTo>
                  <a:pt x="1012" y="492"/>
                </a:moveTo>
                <a:lnTo>
                  <a:pt x="1012" y="491"/>
                </a:lnTo>
                <a:lnTo>
                  <a:pt x="1011" y="491"/>
                </a:lnTo>
                <a:lnTo>
                  <a:pt x="1012" y="491"/>
                </a:lnTo>
                <a:lnTo>
                  <a:pt x="1012" y="492"/>
                </a:lnTo>
                <a:lnTo>
                  <a:pt x="1012" y="492"/>
                </a:lnTo>
                <a:close/>
                <a:moveTo>
                  <a:pt x="901" y="770"/>
                </a:moveTo>
                <a:lnTo>
                  <a:pt x="901" y="770"/>
                </a:lnTo>
                <a:lnTo>
                  <a:pt x="901" y="770"/>
                </a:lnTo>
                <a:lnTo>
                  <a:pt x="903" y="769"/>
                </a:lnTo>
                <a:lnTo>
                  <a:pt x="904" y="768"/>
                </a:lnTo>
                <a:lnTo>
                  <a:pt x="903" y="769"/>
                </a:lnTo>
                <a:lnTo>
                  <a:pt x="901" y="770"/>
                </a:lnTo>
                <a:lnTo>
                  <a:pt x="901" y="770"/>
                </a:lnTo>
                <a:lnTo>
                  <a:pt x="901" y="770"/>
                </a:lnTo>
                <a:close/>
                <a:moveTo>
                  <a:pt x="822" y="629"/>
                </a:moveTo>
                <a:lnTo>
                  <a:pt x="824" y="624"/>
                </a:lnTo>
                <a:lnTo>
                  <a:pt x="830" y="621"/>
                </a:lnTo>
                <a:lnTo>
                  <a:pt x="830" y="621"/>
                </a:lnTo>
                <a:lnTo>
                  <a:pt x="831" y="622"/>
                </a:lnTo>
                <a:lnTo>
                  <a:pt x="837" y="627"/>
                </a:lnTo>
                <a:lnTo>
                  <a:pt x="844" y="631"/>
                </a:lnTo>
                <a:lnTo>
                  <a:pt x="832" y="632"/>
                </a:lnTo>
                <a:lnTo>
                  <a:pt x="822" y="629"/>
                </a:lnTo>
                <a:close/>
                <a:moveTo>
                  <a:pt x="831" y="610"/>
                </a:moveTo>
                <a:lnTo>
                  <a:pt x="830" y="609"/>
                </a:lnTo>
                <a:lnTo>
                  <a:pt x="829" y="608"/>
                </a:lnTo>
                <a:lnTo>
                  <a:pt x="829" y="607"/>
                </a:lnTo>
                <a:lnTo>
                  <a:pt x="828" y="606"/>
                </a:lnTo>
                <a:lnTo>
                  <a:pt x="829" y="607"/>
                </a:lnTo>
                <a:lnTo>
                  <a:pt x="829" y="608"/>
                </a:lnTo>
                <a:lnTo>
                  <a:pt x="830" y="609"/>
                </a:lnTo>
                <a:lnTo>
                  <a:pt x="831" y="610"/>
                </a:lnTo>
                <a:lnTo>
                  <a:pt x="831" y="611"/>
                </a:lnTo>
                <a:lnTo>
                  <a:pt x="832" y="613"/>
                </a:lnTo>
                <a:lnTo>
                  <a:pt x="831" y="611"/>
                </a:lnTo>
                <a:lnTo>
                  <a:pt x="831" y="610"/>
                </a:lnTo>
                <a:close/>
                <a:moveTo>
                  <a:pt x="817" y="610"/>
                </a:moveTo>
                <a:lnTo>
                  <a:pt x="817" y="611"/>
                </a:lnTo>
                <a:lnTo>
                  <a:pt x="817" y="612"/>
                </a:lnTo>
                <a:lnTo>
                  <a:pt x="817" y="611"/>
                </a:lnTo>
                <a:lnTo>
                  <a:pt x="817" y="610"/>
                </a:lnTo>
                <a:close/>
                <a:moveTo>
                  <a:pt x="815" y="614"/>
                </a:moveTo>
                <a:lnTo>
                  <a:pt x="816" y="613"/>
                </a:lnTo>
                <a:lnTo>
                  <a:pt x="817" y="612"/>
                </a:lnTo>
                <a:lnTo>
                  <a:pt x="816" y="613"/>
                </a:lnTo>
                <a:lnTo>
                  <a:pt x="815" y="614"/>
                </a:lnTo>
                <a:close/>
                <a:moveTo>
                  <a:pt x="663" y="643"/>
                </a:moveTo>
                <a:lnTo>
                  <a:pt x="663" y="632"/>
                </a:lnTo>
                <a:lnTo>
                  <a:pt x="667" y="624"/>
                </a:lnTo>
                <a:lnTo>
                  <a:pt x="673" y="621"/>
                </a:lnTo>
                <a:lnTo>
                  <a:pt x="681" y="621"/>
                </a:lnTo>
                <a:lnTo>
                  <a:pt x="684" y="628"/>
                </a:lnTo>
                <a:lnTo>
                  <a:pt x="683" y="638"/>
                </a:lnTo>
                <a:lnTo>
                  <a:pt x="687" y="637"/>
                </a:lnTo>
                <a:lnTo>
                  <a:pt x="692" y="636"/>
                </a:lnTo>
                <a:lnTo>
                  <a:pt x="687" y="637"/>
                </a:lnTo>
                <a:lnTo>
                  <a:pt x="683" y="638"/>
                </a:lnTo>
                <a:lnTo>
                  <a:pt x="673" y="641"/>
                </a:lnTo>
                <a:lnTo>
                  <a:pt x="663" y="643"/>
                </a:lnTo>
                <a:close/>
                <a:moveTo>
                  <a:pt x="818" y="551"/>
                </a:moveTo>
                <a:lnTo>
                  <a:pt x="816" y="552"/>
                </a:lnTo>
                <a:lnTo>
                  <a:pt x="814" y="553"/>
                </a:lnTo>
                <a:lnTo>
                  <a:pt x="816" y="552"/>
                </a:lnTo>
                <a:lnTo>
                  <a:pt x="818" y="551"/>
                </a:lnTo>
                <a:close/>
                <a:moveTo>
                  <a:pt x="846" y="547"/>
                </a:moveTo>
                <a:lnTo>
                  <a:pt x="846" y="550"/>
                </a:lnTo>
                <a:lnTo>
                  <a:pt x="844" y="553"/>
                </a:lnTo>
                <a:lnTo>
                  <a:pt x="846" y="550"/>
                </a:lnTo>
                <a:lnTo>
                  <a:pt x="846" y="547"/>
                </a:lnTo>
                <a:lnTo>
                  <a:pt x="846" y="547"/>
                </a:lnTo>
                <a:close/>
                <a:moveTo>
                  <a:pt x="714" y="569"/>
                </a:moveTo>
                <a:lnTo>
                  <a:pt x="714" y="570"/>
                </a:lnTo>
                <a:lnTo>
                  <a:pt x="714" y="571"/>
                </a:lnTo>
                <a:lnTo>
                  <a:pt x="708" y="575"/>
                </a:lnTo>
                <a:lnTo>
                  <a:pt x="701" y="575"/>
                </a:lnTo>
                <a:lnTo>
                  <a:pt x="701" y="575"/>
                </a:lnTo>
                <a:lnTo>
                  <a:pt x="703" y="571"/>
                </a:lnTo>
                <a:lnTo>
                  <a:pt x="701" y="568"/>
                </a:lnTo>
                <a:lnTo>
                  <a:pt x="701" y="566"/>
                </a:lnTo>
                <a:lnTo>
                  <a:pt x="701" y="564"/>
                </a:lnTo>
                <a:lnTo>
                  <a:pt x="699" y="565"/>
                </a:lnTo>
                <a:lnTo>
                  <a:pt x="698" y="565"/>
                </a:lnTo>
                <a:lnTo>
                  <a:pt x="699" y="565"/>
                </a:lnTo>
                <a:lnTo>
                  <a:pt x="701" y="564"/>
                </a:lnTo>
                <a:lnTo>
                  <a:pt x="707" y="560"/>
                </a:lnTo>
                <a:lnTo>
                  <a:pt x="714" y="569"/>
                </a:lnTo>
                <a:close/>
                <a:moveTo>
                  <a:pt x="697" y="565"/>
                </a:moveTo>
                <a:lnTo>
                  <a:pt x="695" y="565"/>
                </a:lnTo>
                <a:lnTo>
                  <a:pt x="692" y="565"/>
                </a:lnTo>
                <a:lnTo>
                  <a:pt x="695" y="565"/>
                </a:lnTo>
                <a:lnTo>
                  <a:pt x="697" y="565"/>
                </a:lnTo>
                <a:close/>
                <a:moveTo>
                  <a:pt x="642" y="587"/>
                </a:moveTo>
                <a:lnTo>
                  <a:pt x="641" y="590"/>
                </a:lnTo>
                <a:lnTo>
                  <a:pt x="640" y="591"/>
                </a:lnTo>
                <a:lnTo>
                  <a:pt x="641" y="590"/>
                </a:lnTo>
                <a:lnTo>
                  <a:pt x="642" y="587"/>
                </a:lnTo>
                <a:lnTo>
                  <a:pt x="642" y="587"/>
                </a:lnTo>
                <a:lnTo>
                  <a:pt x="641" y="586"/>
                </a:lnTo>
                <a:lnTo>
                  <a:pt x="648" y="580"/>
                </a:lnTo>
                <a:lnTo>
                  <a:pt x="656" y="577"/>
                </a:lnTo>
                <a:lnTo>
                  <a:pt x="651" y="584"/>
                </a:lnTo>
                <a:lnTo>
                  <a:pt x="642" y="587"/>
                </a:lnTo>
                <a:close/>
                <a:moveTo>
                  <a:pt x="635" y="597"/>
                </a:moveTo>
                <a:lnTo>
                  <a:pt x="636" y="597"/>
                </a:lnTo>
                <a:lnTo>
                  <a:pt x="637" y="597"/>
                </a:lnTo>
                <a:lnTo>
                  <a:pt x="636" y="597"/>
                </a:lnTo>
                <a:lnTo>
                  <a:pt x="635" y="597"/>
                </a:lnTo>
                <a:close/>
                <a:moveTo>
                  <a:pt x="638" y="592"/>
                </a:moveTo>
                <a:lnTo>
                  <a:pt x="637" y="592"/>
                </a:lnTo>
                <a:lnTo>
                  <a:pt x="636" y="593"/>
                </a:lnTo>
                <a:lnTo>
                  <a:pt x="637" y="592"/>
                </a:lnTo>
                <a:lnTo>
                  <a:pt x="638" y="592"/>
                </a:lnTo>
                <a:close/>
                <a:moveTo>
                  <a:pt x="649" y="574"/>
                </a:moveTo>
                <a:lnTo>
                  <a:pt x="648" y="575"/>
                </a:lnTo>
                <a:lnTo>
                  <a:pt x="646" y="575"/>
                </a:lnTo>
                <a:lnTo>
                  <a:pt x="643" y="574"/>
                </a:lnTo>
                <a:lnTo>
                  <a:pt x="643" y="571"/>
                </a:lnTo>
                <a:lnTo>
                  <a:pt x="645" y="570"/>
                </a:lnTo>
                <a:lnTo>
                  <a:pt x="647" y="569"/>
                </a:lnTo>
                <a:lnTo>
                  <a:pt x="648" y="571"/>
                </a:lnTo>
                <a:lnTo>
                  <a:pt x="649" y="574"/>
                </a:lnTo>
                <a:close/>
                <a:moveTo>
                  <a:pt x="529" y="622"/>
                </a:moveTo>
                <a:lnTo>
                  <a:pt x="536" y="623"/>
                </a:lnTo>
                <a:lnTo>
                  <a:pt x="539" y="630"/>
                </a:lnTo>
                <a:lnTo>
                  <a:pt x="530" y="629"/>
                </a:lnTo>
                <a:lnTo>
                  <a:pt x="529" y="622"/>
                </a:lnTo>
                <a:close/>
                <a:moveTo>
                  <a:pt x="521" y="638"/>
                </a:moveTo>
                <a:lnTo>
                  <a:pt x="522" y="639"/>
                </a:lnTo>
                <a:lnTo>
                  <a:pt x="522" y="639"/>
                </a:lnTo>
                <a:lnTo>
                  <a:pt x="522" y="639"/>
                </a:lnTo>
                <a:lnTo>
                  <a:pt x="521" y="638"/>
                </a:lnTo>
                <a:close/>
                <a:moveTo>
                  <a:pt x="409" y="683"/>
                </a:moveTo>
                <a:lnTo>
                  <a:pt x="409" y="684"/>
                </a:lnTo>
                <a:lnTo>
                  <a:pt x="410" y="685"/>
                </a:lnTo>
                <a:lnTo>
                  <a:pt x="410" y="685"/>
                </a:lnTo>
                <a:lnTo>
                  <a:pt x="409" y="684"/>
                </a:lnTo>
                <a:lnTo>
                  <a:pt x="409" y="683"/>
                </a:lnTo>
                <a:close/>
                <a:moveTo>
                  <a:pt x="1154" y="453"/>
                </a:moveTo>
                <a:lnTo>
                  <a:pt x="1156" y="455"/>
                </a:lnTo>
                <a:lnTo>
                  <a:pt x="1160" y="457"/>
                </a:lnTo>
                <a:lnTo>
                  <a:pt x="1156" y="455"/>
                </a:lnTo>
                <a:lnTo>
                  <a:pt x="1154" y="453"/>
                </a:lnTo>
                <a:close/>
                <a:moveTo>
                  <a:pt x="441" y="726"/>
                </a:moveTo>
                <a:lnTo>
                  <a:pt x="441" y="727"/>
                </a:lnTo>
                <a:lnTo>
                  <a:pt x="442" y="728"/>
                </a:lnTo>
                <a:lnTo>
                  <a:pt x="441" y="727"/>
                </a:lnTo>
                <a:lnTo>
                  <a:pt x="441" y="726"/>
                </a:lnTo>
                <a:close/>
                <a:moveTo>
                  <a:pt x="429" y="737"/>
                </a:moveTo>
                <a:lnTo>
                  <a:pt x="431" y="737"/>
                </a:lnTo>
                <a:lnTo>
                  <a:pt x="434" y="738"/>
                </a:lnTo>
                <a:lnTo>
                  <a:pt x="431" y="737"/>
                </a:lnTo>
                <a:lnTo>
                  <a:pt x="429" y="737"/>
                </a:lnTo>
                <a:close/>
                <a:moveTo>
                  <a:pt x="399" y="885"/>
                </a:moveTo>
                <a:lnTo>
                  <a:pt x="400" y="885"/>
                </a:lnTo>
                <a:lnTo>
                  <a:pt x="402" y="885"/>
                </a:lnTo>
                <a:lnTo>
                  <a:pt x="400" y="887"/>
                </a:lnTo>
                <a:lnTo>
                  <a:pt x="399" y="887"/>
                </a:lnTo>
                <a:lnTo>
                  <a:pt x="398" y="887"/>
                </a:lnTo>
                <a:lnTo>
                  <a:pt x="397" y="887"/>
                </a:lnTo>
                <a:lnTo>
                  <a:pt x="398" y="886"/>
                </a:lnTo>
                <a:lnTo>
                  <a:pt x="399" y="885"/>
                </a:lnTo>
                <a:close/>
                <a:moveTo>
                  <a:pt x="1110" y="434"/>
                </a:moveTo>
                <a:lnTo>
                  <a:pt x="1110" y="434"/>
                </a:lnTo>
                <a:lnTo>
                  <a:pt x="1110" y="436"/>
                </a:lnTo>
                <a:lnTo>
                  <a:pt x="1109" y="436"/>
                </a:lnTo>
                <a:lnTo>
                  <a:pt x="1109" y="436"/>
                </a:lnTo>
                <a:lnTo>
                  <a:pt x="1109" y="434"/>
                </a:lnTo>
                <a:lnTo>
                  <a:pt x="1108" y="434"/>
                </a:lnTo>
                <a:lnTo>
                  <a:pt x="1109" y="434"/>
                </a:lnTo>
                <a:lnTo>
                  <a:pt x="1110" y="434"/>
                </a:lnTo>
                <a:close/>
                <a:moveTo>
                  <a:pt x="2954" y="1209"/>
                </a:moveTo>
                <a:lnTo>
                  <a:pt x="2960" y="1212"/>
                </a:lnTo>
                <a:lnTo>
                  <a:pt x="2968" y="1209"/>
                </a:lnTo>
                <a:lnTo>
                  <a:pt x="2975" y="1205"/>
                </a:lnTo>
                <a:lnTo>
                  <a:pt x="2985" y="1207"/>
                </a:lnTo>
                <a:lnTo>
                  <a:pt x="2992" y="1209"/>
                </a:lnTo>
                <a:lnTo>
                  <a:pt x="3000" y="1212"/>
                </a:lnTo>
                <a:lnTo>
                  <a:pt x="3014" y="1218"/>
                </a:lnTo>
                <a:lnTo>
                  <a:pt x="3023" y="1228"/>
                </a:lnTo>
                <a:lnTo>
                  <a:pt x="3027" y="1229"/>
                </a:lnTo>
                <a:lnTo>
                  <a:pt x="3030" y="1226"/>
                </a:lnTo>
                <a:lnTo>
                  <a:pt x="3031" y="1220"/>
                </a:lnTo>
                <a:lnTo>
                  <a:pt x="3030" y="1213"/>
                </a:lnTo>
                <a:lnTo>
                  <a:pt x="3025" y="1201"/>
                </a:lnTo>
                <a:lnTo>
                  <a:pt x="3021" y="1188"/>
                </a:lnTo>
                <a:lnTo>
                  <a:pt x="3020" y="1185"/>
                </a:lnTo>
                <a:lnTo>
                  <a:pt x="3018" y="1182"/>
                </a:lnTo>
                <a:lnTo>
                  <a:pt x="3015" y="1183"/>
                </a:lnTo>
                <a:lnTo>
                  <a:pt x="3013" y="1187"/>
                </a:lnTo>
                <a:lnTo>
                  <a:pt x="3008" y="1193"/>
                </a:lnTo>
                <a:lnTo>
                  <a:pt x="3000" y="1192"/>
                </a:lnTo>
                <a:lnTo>
                  <a:pt x="2980" y="1185"/>
                </a:lnTo>
                <a:lnTo>
                  <a:pt x="2958" y="1181"/>
                </a:lnTo>
                <a:lnTo>
                  <a:pt x="2960" y="1191"/>
                </a:lnTo>
                <a:lnTo>
                  <a:pt x="2958" y="1201"/>
                </a:lnTo>
                <a:lnTo>
                  <a:pt x="2954" y="1205"/>
                </a:lnTo>
                <a:lnTo>
                  <a:pt x="2954" y="1209"/>
                </a:lnTo>
                <a:close/>
                <a:moveTo>
                  <a:pt x="1825" y="1059"/>
                </a:moveTo>
                <a:lnTo>
                  <a:pt x="1818" y="1048"/>
                </a:lnTo>
                <a:lnTo>
                  <a:pt x="1808" y="1055"/>
                </a:lnTo>
                <a:lnTo>
                  <a:pt x="1814" y="1059"/>
                </a:lnTo>
                <a:lnTo>
                  <a:pt x="1817" y="1065"/>
                </a:lnTo>
                <a:lnTo>
                  <a:pt x="1813" y="1069"/>
                </a:lnTo>
                <a:lnTo>
                  <a:pt x="1806" y="1070"/>
                </a:lnTo>
                <a:lnTo>
                  <a:pt x="1801" y="1070"/>
                </a:lnTo>
                <a:lnTo>
                  <a:pt x="1799" y="1073"/>
                </a:lnTo>
                <a:lnTo>
                  <a:pt x="1800" y="1079"/>
                </a:lnTo>
                <a:lnTo>
                  <a:pt x="1804" y="1082"/>
                </a:lnTo>
                <a:lnTo>
                  <a:pt x="1810" y="1083"/>
                </a:lnTo>
                <a:lnTo>
                  <a:pt x="1817" y="1083"/>
                </a:lnTo>
                <a:lnTo>
                  <a:pt x="1825" y="1086"/>
                </a:lnTo>
                <a:lnTo>
                  <a:pt x="1824" y="1096"/>
                </a:lnTo>
                <a:lnTo>
                  <a:pt x="1825" y="1102"/>
                </a:lnTo>
                <a:lnTo>
                  <a:pt x="1831" y="1102"/>
                </a:lnTo>
                <a:lnTo>
                  <a:pt x="1868" y="1102"/>
                </a:lnTo>
                <a:lnTo>
                  <a:pt x="1905" y="1102"/>
                </a:lnTo>
                <a:lnTo>
                  <a:pt x="1910" y="1101"/>
                </a:lnTo>
                <a:lnTo>
                  <a:pt x="1912" y="1096"/>
                </a:lnTo>
                <a:lnTo>
                  <a:pt x="1882" y="1097"/>
                </a:lnTo>
                <a:lnTo>
                  <a:pt x="1853" y="1090"/>
                </a:lnTo>
                <a:lnTo>
                  <a:pt x="1853" y="1090"/>
                </a:lnTo>
                <a:lnTo>
                  <a:pt x="1852" y="1091"/>
                </a:lnTo>
                <a:lnTo>
                  <a:pt x="1853" y="1090"/>
                </a:lnTo>
                <a:lnTo>
                  <a:pt x="1853" y="1090"/>
                </a:lnTo>
                <a:lnTo>
                  <a:pt x="1852" y="1085"/>
                </a:lnTo>
                <a:lnTo>
                  <a:pt x="1852" y="1079"/>
                </a:lnTo>
                <a:lnTo>
                  <a:pt x="1852" y="1072"/>
                </a:lnTo>
                <a:lnTo>
                  <a:pt x="1846" y="1073"/>
                </a:lnTo>
                <a:lnTo>
                  <a:pt x="1832" y="1071"/>
                </a:lnTo>
                <a:lnTo>
                  <a:pt x="1825" y="1059"/>
                </a:lnTo>
                <a:close/>
                <a:moveTo>
                  <a:pt x="672" y="731"/>
                </a:moveTo>
                <a:lnTo>
                  <a:pt x="690" y="743"/>
                </a:lnTo>
                <a:lnTo>
                  <a:pt x="707" y="755"/>
                </a:lnTo>
                <a:lnTo>
                  <a:pt x="708" y="758"/>
                </a:lnTo>
                <a:lnTo>
                  <a:pt x="709" y="762"/>
                </a:lnTo>
                <a:lnTo>
                  <a:pt x="709" y="767"/>
                </a:lnTo>
                <a:lnTo>
                  <a:pt x="711" y="770"/>
                </a:lnTo>
                <a:lnTo>
                  <a:pt x="724" y="758"/>
                </a:lnTo>
                <a:lnTo>
                  <a:pt x="733" y="744"/>
                </a:lnTo>
                <a:lnTo>
                  <a:pt x="753" y="731"/>
                </a:lnTo>
                <a:lnTo>
                  <a:pt x="774" y="723"/>
                </a:lnTo>
                <a:lnTo>
                  <a:pt x="783" y="719"/>
                </a:lnTo>
                <a:lnTo>
                  <a:pt x="783" y="711"/>
                </a:lnTo>
                <a:lnTo>
                  <a:pt x="770" y="693"/>
                </a:lnTo>
                <a:lnTo>
                  <a:pt x="756" y="677"/>
                </a:lnTo>
                <a:lnTo>
                  <a:pt x="748" y="677"/>
                </a:lnTo>
                <a:lnTo>
                  <a:pt x="740" y="681"/>
                </a:lnTo>
                <a:lnTo>
                  <a:pt x="739" y="681"/>
                </a:lnTo>
                <a:lnTo>
                  <a:pt x="739" y="681"/>
                </a:lnTo>
                <a:lnTo>
                  <a:pt x="713" y="686"/>
                </a:lnTo>
                <a:lnTo>
                  <a:pt x="692" y="700"/>
                </a:lnTo>
                <a:lnTo>
                  <a:pt x="688" y="692"/>
                </a:lnTo>
                <a:lnTo>
                  <a:pt x="694" y="687"/>
                </a:lnTo>
                <a:lnTo>
                  <a:pt x="698" y="684"/>
                </a:lnTo>
                <a:lnTo>
                  <a:pt x="703" y="681"/>
                </a:lnTo>
                <a:lnTo>
                  <a:pt x="706" y="678"/>
                </a:lnTo>
                <a:lnTo>
                  <a:pt x="706" y="675"/>
                </a:lnTo>
                <a:lnTo>
                  <a:pt x="702" y="673"/>
                </a:lnTo>
                <a:lnTo>
                  <a:pt x="699" y="674"/>
                </a:lnTo>
                <a:lnTo>
                  <a:pt x="690" y="680"/>
                </a:lnTo>
                <a:lnTo>
                  <a:pt x="683" y="687"/>
                </a:lnTo>
                <a:lnTo>
                  <a:pt x="681" y="694"/>
                </a:lnTo>
                <a:lnTo>
                  <a:pt x="687" y="701"/>
                </a:lnTo>
                <a:lnTo>
                  <a:pt x="687" y="704"/>
                </a:lnTo>
                <a:lnTo>
                  <a:pt x="687" y="706"/>
                </a:lnTo>
                <a:lnTo>
                  <a:pt x="683" y="713"/>
                </a:lnTo>
                <a:lnTo>
                  <a:pt x="675" y="711"/>
                </a:lnTo>
                <a:lnTo>
                  <a:pt x="672" y="711"/>
                </a:lnTo>
                <a:lnTo>
                  <a:pt x="671" y="713"/>
                </a:lnTo>
                <a:lnTo>
                  <a:pt x="672" y="719"/>
                </a:lnTo>
                <a:lnTo>
                  <a:pt x="669" y="723"/>
                </a:lnTo>
                <a:lnTo>
                  <a:pt x="666" y="729"/>
                </a:lnTo>
                <a:lnTo>
                  <a:pt x="672" y="731"/>
                </a:lnTo>
                <a:close/>
                <a:moveTo>
                  <a:pt x="816" y="991"/>
                </a:moveTo>
                <a:lnTo>
                  <a:pt x="770" y="992"/>
                </a:lnTo>
                <a:lnTo>
                  <a:pt x="725" y="997"/>
                </a:lnTo>
                <a:lnTo>
                  <a:pt x="676" y="1008"/>
                </a:lnTo>
                <a:lnTo>
                  <a:pt x="627" y="1029"/>
                </a:lnTo>
                <a:lnTo>
                  <a:pt x="723" y="1011"/>
                </a:lnTo>
                <a:lnTo>
                  <a:pt x="816" y="995"/>
                </a:lnTo>
                <a:lnTo>
                  <a:pt x="816" y="993"/>
                </a:lnTo>
                <a:lnTo>
                  <a:pt x="816" y="991"/>
                </a:lnTo>
                <a:close/>
                <a:moveTo>
                  <a:pt x="2291" y="1032"/>
                </a:moveTo>
                <a:lnTo>
                  <a:pt x="2292" y="1036"/>
                </a:lnTo>
                <a:lnTo>
                  <a:pt x="2298" y="1041"/>
                </a:lnTo>
                <a:lnTo>
                  <a:pt x="2289" y="1041"/>
                </a:lnTo>
                <a:lnTo>
                  <a:pt x="2286" y="1036"/>
                </a:lnTo>
                <a:lnTo>
                  <a:pt x="2286" y="1030"/>
                </a:lnTo>
                <a:lnTo>
                  <a:pt x="2291" y="1032"/>
                </a:lnTo>
                <a:close/>
                <a:moveTo>
                  <a:pt x="2268" y="1041"/>
                </a:moveTo>
                <a:lnTo>
                  <a:pt x="2258" y="1039"/>
                </a:lnTo>
                <a:lnTo>
                  <a:pt x="2249" y="1044"/>
                </a:lnTo>
                <a:lnTo>
                  <a:pt x="2263" y="1047"/>
                </a:lnTo>
                <a:lnTo>
                  <a:pt x="2277" y="1045"/>
                </a:lnTo>
                <a:lnTo>
                  <a:pt x="2289" y="1044"/>
                </a:lnTo>
                <a:lnTo>
                  <a:pt x="2297" y="1056"/>
                </a:lnTo>
                <a:lnTo>
                  <a:pt x="2297" y="1059"/>
                </a:lnTo>
                <a:lnTo>
                  <a:pt x="2300" y="1060"/>
                </a:lnTo>
                <a:lnTo>
                  <a:pt x="2303" y="1058"/>
                </a:lnTo>
                <a:lnTo>
                  <a:pt x="2303" y="1055"/>
                </a:lnTo>
                <a:lnTo>
                  <a:pt x="2303" y="1050"/>
                </a:lnTo>
                <a:lnTo>
                  <a:pt x="2308" y="1051"/>
                </a:lnTo>
                <a:lnTo>
                  <a:pt x="2312" y="1053"/>
                </a:lnTo>
                <a:lnTo>
                  <a:pt x="2316" y="1053"/>
                </a:lnTo>
                <a:lnTo>
                  <a:pt x="2313" y="1048"/>
                </a:lnTo>
                <a:lnTo>
                  <a:pt x="2309" y="1041"/>
                </a:lnTo>
                <a:lnTo>
                  <a:pt x="2324" y="1051"/>
                </a:lnTo>
                <a:lnTo>
                  <a:pt x="2340" y="1051"/>
                </a:lnTo>
                <a:lnTo>
                  <a:pt x="2335" y="1050"/>
                </a:lnTo>
                <a:lnTo>
                  <a:pt x="2333" y="1044"/>
                </a:lnTo>
                <a:lnTo>
                  <a:pt x="2336" y="1040"/>
                </a:lnTo>
                <a:lnTo>
                  <a:pt x="2343" y="1042"/>
                </a:lnTo>
                <a:lnTo>
                  <a:pt x="2346" y="1044"/>
                </a:lnTo>
                <a:lnTo>
                  <a:pt x="2349" y="1045"/>
                </a:lnTo>
                <a:lnTo>
                  <a:pt x="2352" y="1045"/>
                </a:lnTo>
                <a:lnTo>
                  <a:pt x="2353" y="1041"/>
                </a:lnTo>
                <a:lnTo>
                  <a:pt x="2345" y="1027"/>
                </a:lnTo>
                <a:lnTo>
                  <a:pt x="2330" y="1025"/>
                </a:lnTo>
                <a:lnTo>
                  <a:pt x="2315" y="1029"/>
                </a:lnTo>
                <a:lnTo>
                  <a:pt x="2303" y="1021"/>
                </a:lnTo>
                <a:lnTo>
                  <a:pt x="2298" y="1017"/>
                </a:lnTo>
                <a:lnTo>
                  <a:pt x="2298" y="1011"/>
                </a:lnTo>
                <a:lnTo>
                  <a:pt x="2303" y="1008"/>
                </a:lnTo>
                <a:lnTo>
                  <a:pt x="2309" y="1010"/>
                </a:lnTo>
                <a:lnTo>
                  <a:pt x="2316" y="1012"/>
                </a:lnTo>
                <a:lnTo>
                  <a:pt x="2320" y="1007"/>
                </a:lnTo>
                <a:lnTo>
                  <a:pt x="2309" y="1007"/>
                </a:lnTo>
                <a:lnTo>
                  <a:pt x="2300" y="1007"/>
                </a:lnTo>
                <a:lnTo>
                  <a:pt x="2294" y="1007"/>
                </a:lnTo>
                <a:lnTo>
                  <a:pt x="2291" y="1010"/>
                </a:lnTo>
                <a:lnTo>
                  <a:pt x="2287" y="1022"/>
                </a:lnTo>
                <a:lnTo>
                  <a:pt x="2276" y="1029"/>
                </a:lnTo>
                <a:lnTo>
                  <a:pt x="2274" y="1032"/>
                </a:lnTo>
                <a:lnTo>
                  <a:pt x="2274" y="1036"/>
                </a:lnTo>
                <a:lnTo>
                  <a:pt x="2273" y="1042"/>
                </a:lnTo>
                <a:lnTo>
                  <a:pt x="2268" y="1041"/>
                </a:lnTo>
                <a:close/>
                <a:moveTo>
                  <a:pt x="91" y="727"/>
                </a:moveTo>
                <a:lnTo>
                  <a:pt x="90" y="726"/>
                </a:lnTo>
                <a:lnTo>
                  <a:pt x="89" y="724"/>
                </a:lnTo>
                <a:lnTo>
                  <a:pt x="90" y="724"/>
                </a:lnTo>
                <a:lnTo>
                  <a:pt x="92" y="726"/>
                </a:lnTo>
                <a:lnTo>
                  <a:pt x="92" y="726"/>
                </a:lnTo>
                <a:lnTo>
                  <a:pt x="91" y="727"/>
                </a:lnTo>
                <a:close/>
                <a:moveTo>
                  <a:pt x="176" y="658"/>
                </a:moveTo>
                <a:lnTo>
                  <a:pt x="176" y="657"/>
                </a:lnTo>
                <a:lnTo>
                  <a:pt x="177" y="657"/>
                </a:lnTo>
                <a:lnTo>
                  <a:pt x="177" y="658"/>
                </a:lnTo>
                <a:lnTo>
                  <a:pt x="176" y="658"/>
                </a:lnTo>
                <a:close/>
                <a:moveTo>
                  <a:pt x="99" y="732"/>
                </a:moveTo>
                <a:lnTo>
                  <a:pt x="99" y="732"/>
                </a:lnTo>
                <a:lnTo>
                  <a:pt x="94" y="734"/>
                </a:lnTo>
                <a:lnTo>
                  <a:pt x="92" y="738"/>
                </a:lnTo>
                <a:lnTo>
                  <a:pt x="94" y="742"/>
                </a:lnTo>
                <a:lnTo>
                  <a:pt x="99" y="743"/>
                </a:lnTo>
                <a:lnTo>
                  <a:pt x="99" y="743"/>
                </a:lnTo>
                <a:lnTo>
                  <a:pt x="103" y="747"/>
                </a:lnTo>
                <a:lnTo>
                  <a:pt x="107" y="743"/>
                </a:lnTo>
                <a:lnTo>
                  <a:pt x="110" y="732"/>
                </a:lnTo>
                <a:lnTo>
                  <a:pt x="102" y="724"/>
                </a:lnTo>
                <a:lnTo>
                  <a:pt x="97" y="718"/>
                </a:lnTo>
                <a:lnTo>
                  <a:pt x="100" y="713"/>
                </a:lnTo>
                <a:lnTo>
                  <a:pt x="109" y="718"/>
                </a:lnTo>
                <a:lnTo>
                  <a:pt x="119" y="714"/>
                </a:lnTo>
                <a:lnTo>
                  <a:pt x="121" y="711"/>
                </a:lnTo>
                <a:lnTo>
                  <a:pt x="124" y="711"/>
                </a:lnTo>
                <a:lnTo>
                  <a:pt x="129" y="716"/>
                </a:lnTo>
                <a:lnTo>
                  <a:pt x="129" y="720"/>
                </a:lnTo>
                <a:lnTo>
                  <a:pt x="124" y="728"/>
                </a:lnTo>
                <a:lnTo>
                  <a:pt x="126" y="735"/>
                </a:lnTo>
                <a:lnTo>
                  <a:pt x="133" y="735"/>
                </a:lnTo>
                <a:lnTo>
                  <a:pt x="139" y="732"/>
                </a:lnTo>
                <a:lnTo>
                  <a:pt x="140" y="735"/>
                </a:lnTo>
                <a:lnTo>
                  <a:pt x="142" y="738"/>
                </a:lnTo>
                <a:lnTo>
                  <a:pt x="146" y="737"/>
                </a:lnTo>
                <a:lnTo>
                  <a:pt x="147" y="733"/>
                </a:lnTo>
                <a:lnTo>
                  <a:pt x="147" y="728"/>
                </a:lnTo>
                <a:lnTo>
                  <a:pt x="148" y="721"/>
                </a:lnTo>
                <a:lnTo>
                  <a:pt x="151" y="711"/>
                </a:lnTo>
                <a:lnTo>
                  <a:pt x="152" y="699"/>
                </a:lnTo>
                <a:lnTo>
                  <a:pt x="154" y="686"/>
                </a:lnTo>
                <a:lnTo>
                  <a:pt x="157" y="673"/>
                </a:lnTo>
                <a:lnTo>
                  <a:pt x="164" y="672"/>
                </a:lnTo>
                <a:lnTo>
                  <a:pt x="165" y="665"/>
                </a:lnTo>
                <a:lnTo>
                  <a:pt x="166" y="656"/>
                </a:lnTo>
                <a:lnTo>
                  <a:pt x="167" y="647"/>
                </a:lnTo>
                <a:lnTo>
                  <a:pt x="167" y="647"/>
                </a:lnTo>
                <a:lnTo>
                  <a:pt x="167" y="647"/>
                </a:lnTo>
                <a:lnTo>
                  <a:pt x="169" y="654"/>
                </a:lnTo>
                <a:lnTo>
                  <a:pt x="175" y="658"/>
                </a:lnTo>
                <a:lnTo>
                  <a:pt x="172" y="665"/>
                </a:lnTo>
                <a:lnTo>
                  <a:pt x="169" y="671"/>
                </a:lnTo>
                <a:lnTo>
                  <a:pt x="180" y="668"/>
                </a:lnTo>
                <a:lnTo>
                  <a:pt x="184" y="659"/>
                </a:lnTo>
                <a:lnTo>
                  <a:pt x="184" y="641"/>
                </a:lnTo>
                <a:lnTo>
                  <a:pt x="185" y="624"/>
                </a:lnTo>
                <a:lnTo>
                  <a:pt x="188" y="616"/>
                </a:lnTo>
                <a:lnTo>
                  <a:pt x="191" y="610"/>
                </a:lnTo>
                <a:lnTo>
                  <a:pt x="193" y="605"/>
                </a:lnTo>
                <a:lnTo>
                  <a:pt x="191" y="600"/>
                </a:lnTo>
                <a:lnTo>
                  <a:pt x="184" y="598"/>
                </a:lnTo>
                <a:lnTo>
                  <a:pt x="178" y="598"/>
                </a:lnTo>
                <a:lnTo>
                  <a:pt x="172" y="604"/>
                </a:lnTo>
                <a:lnTo>
                  <a:pt x="171" y="610"/>
                </a:lnTo>
                <a:lnTo>
                  <a:pt x="163" y="610"/>
                </a:lnTo>
                <a:lnTo>
                  <a:pt x="155" y="610"/>
                </a:lnTo>
                <a:lnTo>
                  <a:pt x="148" y="609"/>
                </a:lnTo>
                <a:lnTo>
                  <a:pt x="145" y="614"/>
                </a:lnTo>
                <a:lnTo>
                  <a:pt x="145" y="619"/>
                </a:lnTo>
                <a:lnTo>
                  <a:pt x="150" y="621"/>
                </a:lnTo>
                <a:lnTo>
                  <a:pt x="150" y="626"/>
                </a:lnTo>
                <a:lnTo>
                  <a:pt x="153" y="630"/>
                </a:lnTo>
                <a:lnTo>
                  <a:pt x="150" y="644"/>
                </a:lnTo>
                <a:lnTo>
                  <a:pt x="137" y="652"/>
                </a:lnTo>
                <a:lnTo>
                  <a:pt x="137" y="653"/>
                </a:lnTo>
                <a:lnTo>
                  <a:pt x="137" y="654"/>
                </a:lnTo>
                <a:lnTo>
                  <a:pt x="138" y="661"/>
                </a:lnTo>
                <a:lnTo>
                  <a:pt x="136" y="668"/>
                </a:lnTo>
                <a:lnTo>
                  <a:pt x="135" y="672"/>
                </a:lnTo>
                <a:lnTo>
                  <a:pt x="134" y="675"/>
                </a:lnTo>
                <a:lnTo>
                  <a:pt x="127" y="674"/>
                </a:lnTo>
                <a:lnTo>
                  <a:pt x="122" y="673"/>
                </a:lnTo>
                <a:lnTo>
                  <a:pt x="121" y="672"/>
                </a:lnTo>
                <a:lnTo>
                  <a:pt x="121" y="670"/>
                </a:lnTo>
                <a:lnTo>
                  <a:pt x="121" y="662"/>
                </a:lnTo>
                <a:lnTo>
                  <a:pt x="117" y="659"/>
                </a:lnTo>
                <a:lnTo>
                  <a:pt x="107" y="660"/>
                </a:lnTo>
                <a:lnTo>
                  <a:pt x="102" y="671"/>
                </a:lnTo>
                <a:lnTo>
                  <a:pt x="102" y="680"/>
                </a:lnTo>
                <a:lnTo>
                  <a:pt x="102" y="689"/>
                </a:lnTo>
                <a:lnTo>
                  <a:pt x="97" y="694"/>
                </a:lnTo>
                <a:lnTo>
                  <a:pt x="101" y="701"/>
                </a:lnTo>
                <a:lnTo>
                  <a:pt x="100" y="703"/>
                </a:lnTo>
                <a:lnTo>
                  <a:pt x="95" y="706"/>
                </a:lnTo>
                <a:lnTo>
                  <a:pt x="91" y="706"/>
                </a:lnTo>
                <a:lnTo>
                  <a:pt x="87" y="703"/>
                </a:lnTo>
                <a:lnTo>
                  <a:pt x="86" y="700"/>
                </a:lnTo>
                <a:lnTo>
                  <a:pt x="81" y="699"/>
                </a:lnTo>
                <a:lnTo>
                  <a:pt x="81" y="702"/>
                </a:lnTo>
                <a:lnTo>
                  <a:pt x="80" y="706"/>
                </a:lnTo>
                <a:lnTo>
                  <a:pt x="81" y="711"/>
                </a:lnTo>
                <a:lnTo>
                  <a:pt x="82" y="715"/>
                </a:lnTo>
                <a:lnTo>
                  <a:pt x="85" y="730"/>
                </a:lnTo>
                <a:lnTo>
                  <a:pt x="99" y="732"/>
                </a:lnTo>
                <a:close/>
                <a:moveTo>
                  <a:pt x="796" y="63"/>
                </a:move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4" y="65"/>
                </a:lnTo>
                <a:lnTo>
                  <a:pt x="794" y="67"/>
                </a:lnTo>
                <a:lnTo>
                  <a:pt x="793" y="65"/>
                </a:lnTo>
                <a:lnTo>
                  <a:pt x="793" y="63"/>
                </a:lnTo>
                <a:lnTo>
                  <a:pt x="794" y="64"/>
                </a:lnTo>
                <a:lnTo>
                  <a:pt x="796" y="63"/>
                </a:lnTo>
                <a:lnTo>
                  <a:pt x="804" y="58"/>
                </a:lnTo>
                <a:lnTo>
                  <a:pt x="816" y="59"/>
                </a:lnTo>
                <a:lnTo>
                  <a:pt x="816" y="59"/>
                </a:lnTo>
                <a:lnTo>
                  <a:pt x="816" y="62"/>
                </a:lnTo>
                <a:lnTo>
                  <a:pt x="817" y="66"/>
                </a:lnTo>
                <a:lnTo>
                  <a:pt x="815" y="66"/>
                </a:lnTo>
                <a:lnTo>
                  <a:pt x="813" y="66"/>
                </a:lnTo>
                <a:lnTo>
                  <a:pt x="804" y="63"/>
                </a:lnTo>
                <a:lnTo>
                  <a:pt x="796" y="64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3"/>
                </a:lnTo>
                <a:lnTo>
                  <a:pt x="796" y="64"/>
                </a:lnTo>
                <a:lnTo>
                  <a:pt x="796" y="64"/>
                </a:lnTo>
                <a:lnTo>
                  <a:pt x="796" y="64"/>
                </a:lnTo>
                <a:lnTo>
                  <a:pt x="796" y="63"/>
                </a:lnTo>
                <a:close/>
                <a:moveTo>
                  <a:pt x="2657" y="949"/>
                </a:moveTo>
                <a:lnTo>
                  <a:pt x="2661" y="957"/>
                </a:lnTo>
                <a:lnTo>
                  <a:pt x="2669" y="959"/>
                </a:lnTo>
                <a:lnTo>
                  <a:pt x="2679" y="960"/>
                </a:lnTo>
                <a:lnTo>
                  <a:pt x="2685" y="966"/>
                </a:lnTo>
                <a:lnTo>
                  <a:pt x="2685" y="981"/>
                </a:lnTo>
                <a:lnTo>
                  <a:pt x="2687" y="995"/>
                </a:lnTo>
                <a:lnTo>
                  <a:pt x="2688" y="1015"/>
                </a:lnTo>
                <a:lnTo>
                  <a:pt x="2692" y="1037"/>
                </a:lnTo>
                <a:lnTo>
                  <a:pt x="2684" y="1037"/>
                </a:lnTo>
                <a:lnTo>
                  <a:pt x="2677" y="1036"/>
                </a:lnTo>
                <a:lnTo>
                  <a:pt x="2669" y="1039"/>
                </a:lnTo>
                <a:lnTo>
                  <a:pt x="2664" y="1045"/>
                </a:lnTo>
                <a:lnTo>
                  <a:pt x="2663" y="1054"/>
                </a:lnTo>
                <a:lnTo>
                  <a:pt x="2665" y="1061"/>
                </a:lnTo>
                <a:lnTo>
                  <a:pt x="2671" y="1061"/>
                </a:lnTo>
                <a:lnTo>
                  <a:pt x="2678" y="1057"/>
                </a:lnTo>
                <a:lnTo>
                  <a:pt x="2681" y="1055"/>
                </a:lnTo>
                <a:lnTo>
                  <a:pt x="2685" y="1057"/>
                </a:lnTo>
                <a:lnTo>
                  <a:pt x="2689" y="1059"/>
                </a:lnTo>
                <a:lnTo>
                  <a:pt x="2692" y="1055"/>
                </a:lnTo>
                <a:lnTo>
                  <a:pt x="2693" y="1050"/>
                </a:lnTo>
                <a:lnTo>
                  <a:pt x="2697" y="1048"/>
                </a:lnTo>
                <a:lnTo>
                  <a:pt x="2701" y="1051"/>
                </a:lnTo>
                <a:lnTo>
                  <a:pt x="2703" y="1055"/>
                </a:lnTo>
                <a:lnTo>
                  <a:pt x="2702" y="1060"/>
                </a:lnTo>
                <a:lnTo>
                  <a:pt x="2705" y="1065"/>
                </a:lnTo>
                <a:lnTo>
                  <a:pt x="2714" y="1061"/>
                </a:lnTo>
                <a:lnTo>
                  <a:pt x="2719" y="1056"/>
                </a:lnTo>
                <a:lnTo>
                  <a:pt x="2720" y="1049"/>
                </a:lnTo>
                <a:lnTo>
                  <a:pt x="2722" y="1041"/>
                </a:lnTo>
                <a:lnTo>
                  <a:pt x="2722" y="1039"/>
                </a:lnTo>
                <a:lnTo>
                  <a:pt x="2722" y="1036"/>
                </a:lnTo>
                <a:lnTo>
                  <a:pt x="2716" y="996"/>
                </a:lnTo>
                <a:lnTo>
                  <a:pt x="2712" y="957"/>
                </a:lnTo>
                <a:lnTo>
                  <a:pt x="2708" y="946"/>
                </a:lnTo>
                <a:lnTo>
                  <a:pt x="2698" y="943"/>
                </a:lnTo>
                <a:lnTo>
                  <a:pt x="2683" y="942"/>
                </a:lnTo>
                <a:lnTo>
                  <a:pt x="2669" y="938"/>
                </a:lnTo>
                <a:lnTo>
                  <a:pt x="2659" y="938"/>
                </a:lnTo>
                <a:lnTo>
                  <a:pt x="2657" y="949"/>
                </a:lnTo>
                <a:close/>
                <a:moveTo>
                  <a:pt x="1918" y="966"/>
                </a:moveTo>
                <a:lnTo>
                  <a:pt x="1919" y="967"/>
                </a:lnTo>
                <a:lnTo>
                  <a:pt x="1918" y="967"/>
                </a:lnTo>
                <a:lnTo>
                  <a:pt x="1918" y="966"/>
                </a:lnTo>
                <a:close/>
                <a:moveTo>
                  <a:pt x="2553" y="1679"/>
                </a:moveTo>
                <a:lnTo>
                  <a:pt x="2570" y="1680"/>
                </a:lnTo>
                <a:lnTo>
                  <a:pt x="2586" y="1684"/>
                </a:lnTo>
                <a:lnTo>
                  <a:pt x="2600" y="1688"/>
                </a:lnTo>
                <a:lnTo>
                  <a:pt x="2614" y="1687"/>
                </a:lnTo>
                <a:lnTo>
                  <a:pt x="2620" y="1684"/>
                </a:lnTo>
                <a:lnTo>
                  <a:pt x="2626" y="1682"/>
                </a:lnTo>
                <a:lnTo>
                  <a:pt x="2636" y="1681"/>
                </a:lnTo>
                <a:lnTo>
                  <a:pt x="2637" y="1671"/>
                </a:lnTo>
                <a:lnTo>
                  <a:pt x="2637" y="1667"/>
                </a:lnTo>
                <a:lnTo>
                  <a:pt x="2636" y="1663"/>
                </a:lnTo>
                <a:lnTo>
                  <a:pt x="2628" y="1667"/>
                </a:lnTo>
                <a:lnTo>
                  <a:pt x="2621" y="1663"/>
                </a:lnTo>
                <a:lnTo>
                  <a:pt x="2619" y="1654"/>
                </a:lnTo>
                <a:lnTo>
                  <a:pt x="2624" y="1647"/>
                </a:lnTo>
                <a:lnTo>
                  <a:pt x="2626" y="1645"/>
                </a:lnTo>
                <a:lnTo>
                  <a:pt x="2627" y="1642"/>
                </a:lnTo>
                <a:lnTo>
                  <a:pt x="2625" y="1640"/>
                </a:lnTo>
                <a:lnTo>
                  <a:pt x="2622" y="1639"/>
                </a:lnTo>
                <a:lnTo>
                  <a:pt x="2606" y="1636"/>
                </a:lnTo>
                <a:lnTo>
                  <a:pt x="2591" y="1629"/>
                </a:lnTo>
                <a:lnTo>
                  <a:pt x="2583" y="1628"/>
                </a:lnTo>
                <a:lnTo>
                  <a:pt x="2579" y="1632"/>
                </a:lnTo>
                <a:lnTo>
                  <a:pt x="2570" y="1640"/>
                </a:lnTo>
                <a:lnTo>
                  <a:pt x="2558" y="1640"/>
                </a:lnTo>
                <a:lnTo>
                  <a:pt x="2542" y="1639"/>
                </a:lnTo>
                <a:lnTo>
                  <a:pt x="2527" y="1647"/>
                </a:lnTo>
                <a:lnTo>
                  <a:pt x="2538" y="1648"/>
                </a:lnTo>
                <a:lnTo>
                  <a:pt x="2541" y="1659"/>
                </a:lnTo>
                <a:lnTo>
                  <a:pt x="2542" y="1664"/>
                </a:lnTo>
                <a:lnTo>
                  <a:pt x="2542" y="1669"/>
                </a:lnTo>
                <a:lnTo>
                  <a:pt x="2544" y="1678"/>
                </a:lnTo>
                <a:lnTo>
                  <a:pt x="2553" y="1679"/>
                </a:lnTo>
                <a:close/>
                <a:moveTo>
                  <a:pt x="2648" y="1588"/>
                </a:moveTo>
                <a:lnTo>
                  <a:pt x="2650" y="1591"/>
                </a:lnTo>
                <a:lnTo>
                  <a:pt x="2654" y="1592"/>
                </a:lnTo>
                <a:lnTo>
                  <a:pt x="2656" y="1591"/>
                </a:lnTo>
                <a:lnTo>
                  <a:pt x="2657" y="1590"/>
                </a:lnTo>
                <a:lnTo>
                  <a:pt x="2659" y="1580"/>
                </a:lnTo>
                <a:lnTo>
                  <a:pt x="2668" y="1574"/>
                </a:lnTo>
                <a:lnTo>
                  <a:pt x="2659" y="1573"/>
                </a:lnTo>
                <a:lnTo>
                  <a:pt x="2652" y="1572"/>
                </a:lnTo>
                <a:lnTo>
                  <a:pt x="2638" y="1568"/>
                </a:lnTo>
                <a:lnTo>
                  <a:pt x="2625" y="1559"/>
                </a:lnTo>
                <a:lnTo>
                  <a:pt x="2624" y="1557"/>
                </a:lnTo>
                <a:lnTo>
                  <a:pt x="2625" y="1554"/>
                </a:lnTo>
                <a:lnTo>
                  <a:pt x="2629" y="1545"/>
                </a:lnTo>
                <a:lnTo>
                  <a:pt x="2628" y="1537"/>
                </a:lnTo>
                <a:lnTo>
                  <a:pt x="2625" y="1513"/>
                </a:lnTo>
                <a:lnTo>
                  <a:pt x="2625" y="1488"/>
                </a:lnTo>
                <a:lnTo>
                  <a:pt x="2625" y="1484"/>
                </a:lnTo>
                <a:lnTo>
                  <a:pt x="2621" y="1480"/>
                </a:lnTo>
                <a:lnTo>
                  <a:pt x="2622" y="1476"/>
                </a:lnTo>
                <a:lnTo>
                  <a:pt x="2622" y="1471"/>
                </a:lnTo>
                <a:lnTo>
                  <a:pt x="2620" y="1432"/>
                </a:lnTo>
                <a:lnTo>
                  <a:pt x="2616" y="1392"/>
                </a:lnTo>
                <a:lnTo>
                  <a:pt x="2616" y="1385"/>
                </a:lnTo>
                <a:lnTo>
                  <a:pt x="2612" y="1377"/>
                </a:lnTo>
                <a:lnTo>
                  <a:pt x="2604" y="1371"/>
                </a:lnTo>
                <a:lnTo>
                  <a:pt x="2611" y="1362"/>
                </a:lnTo>
                <a:lnTo>
                  <a:pt x="2612" y="1360"/>
                </a:lnTo>
                <a:lnTo>
                  <a:pt x="2612" y="1357"/>
                </a:lnTo>
                <a:lnTo>
                  <a:pt x="2611" y="1343"/>
                </a:lnTo>
                <a:lnTo>
                  <a:pt x="2606" y="1330"/>
                </a:lnTo>
                <a:lnTo>
                  <a:pt x="2580" y="1300"/>
                </a:lnTo>
                <a:lnTo>
                  <a:pt x="2543" y="1288"/>
                </a:lnTo>
                <a:lnTo>
                  <a:pt x="2509" y="1299"/>
                </a:lnTo>
                <a:lnTo>
                  <a:pt x="2495" y="1325"/>
                </a:lnTo>
                <a:lnTo>
                  <a:pt x="2495" y="1361"/>
                </a:lnTo>
                <a:lnTo>
                  <a:pt x="2496" y="1397"/>
                </a:lnTo>
                <a:lnTo>
                  <a:pt x="2502" y="1479"/>
                </a:lnTo>
                <a:lnTo>
                  <a:pt x="2512" y="1561"/>
                </a:lnTo>
                <a:lnTo>
                  <a:pt x="2512" y="1571"/>
                </a:lnTo>
                <a:lnTo>
                  <a:pt x="2513" y="1579"/>
                </a:lnTo>
                <a:lnTo>
                  <a:pt x="2521" y="1581"/>
                </a:lnTo>
                <a:lnTo>
                  <a:pt x="2531" y="1581"/>
                </a:lnTo>
                <a:lnTo>
                  <a:pt x="2533" y="1587"/>
                </a:lnTo>
                <a:lnTo>
                  <a:pt x="2529" y="1592"/>
                </a:lnTo>
                <a:lnTo>
                  <a:pt x="2527" y="1595"/>
                </a:lnTo>
                <a:lnTo>
                  <a:pt x="2529" y="1600"/>
                </a:lnTo>
                <a:lnTo>
                  <a:pt x="2531" y="1601"/>
                </a:lnTo>
                <a:lnTo>
                  <a:pt x="2532" y="1599"/>
                </a:lnTo>
                <a:lnTo>
                  <a:pt x="2535" y="1593"/>
                </a:lnTo>
                <a:lnTo>
                  <a:pt x="2541" y="1594"/>
                </a:lnTo>
                <a:lnTo>
                  <a:pt x="2541" y="1594"/>
                </a:lnTo>
                <a:lnTo>
                  <a:pt x="2543" y="1596"/>
                </a:lnTo>
                <a:lnTo>
                  <a:pt x="2545" y="1596"/>
                </a:lnTo>
                <a:lnTo>
                  <a:pt x="2546" y="1593"/>
                </a:lnTo>
                <a:lnTo>
                  <a:pt x="2543" y="1592"/>
                </a:lnTo>
                <a:lnTo>
                  <a:pt x="2550" y="1592"/>
                </a:lnTo>
                <a:lnTo>
                  <a:pt x="2557" y="1593"/>
                </a:lnTo>
                <a:lnTo>
                  <a:pt x="2567" y="1592"/>
                </a:lnTo>
                <a:lnTo>
                  <a:pt x="2567" y="1581"/>
                </a:lnTo>
                <a:lnTo>
                  <a:pt x="2573" y="1581"/>
                </a:lnTo>
                <a:lnTo>
                  <a:pt x="2578" y="1581"/>
                </a:lnTo>
                <a:lnTo>
                  <a:pt x="2583" y="1587"/>
                </a:lnTo>
                <a:lnTo>
                  <a:pt x="2588" y="1583"/>
                </a:lnTo>
                <a:lnTo>
                  <a:pt x="2602" y="1584"/>
                </a:lnTo>
                <a:lnTo>
                  <a:pt x="2617" y="1581"/>
                </a:lnTo>
                <a:lnTo>
                  <a:pt x="2617" y="1581"/>
                </a:lnTo>
                <a:lnTo>
                  <a:pt x="2617" y="1580"/>
                </a:lnTo>
                <a:lnTo>
                  <a:pt x="2624" y="1583"/>
                </a:lnTo>
                <a:lnTo>
                  <a:pt x="2632" y="1578"/>
                </a:lnTo>
                <a:lnTo>
                  <a:pt x="2642" y="1578"/>
                </a:lnTo>
                <a:lnTo>
                  <a:pt x="2648" y="1588"/>
                </a:lnTo>
                <a:close/>
                <a:moveTo>
                  <a:pt x="2219" y="1475"/>
                </a:moveTo>
                <a:lnTo>
                  <a:pt x="2217" y="1439"/>
                </a:lnTo>
                <a:lnTo>
                  <a:pt x="2216" y="1404"/>
                </a:lnTo>
                <a:lnTo>
                  <a:pt x="2215" y="1385"/>
                </a:lnTo>
                <a:lnTo>
                  <a:pt x="2209" y="1366"/>
                </a:lnTo>
                <a:lnTo>
                  <a:pt x="2209" y="1364"/>
                </a:lnTo>
                <a:lnTo>
                  <a:pt x="2210" y="1361"/>
                </a:lnTo>
                <a:lnTo>
                  <a:pt x="2213" y="1336"/>
                </a:lnTo>
                <a:lnTo>
                  <a:pt x="2204" y="1313"/>
                </a:lnTo>
                <a:lnTo>
                  <a:pt x="2179" y="1286"/>
                </a:lnTo>
                <a:lnTo>
                  <a:pt x="2140" y="1277"/>
                </a:lnTo>
                <a:lnTo>
                  <a:pt x="2179" y="1381"/>
                </a:lnTo>
                <a:lnTo>
                  <a:pt x="2217" y="1485"/>
                </a:lnTo>
                <a:lnTo>
                  <a:pt x="2219" y="1480"/>
                </a:lnTo>
                <a:lnTo>
                  <a:pt x="2219" y="1475"/>
                </a:lnTo>
                <a:close/>
                <a:moveTo>
                  <a:pt x="1733" y="1037"/>
                </a:moveTo>
                <a:lnTo>
                  <a:pt x="1733" y="1038"/>
                </a:lnTo>
                <a:lnTo>
                  <a:pt x="1733" y="1039"/>
                </a:lnTo>
                <a:lnTo>
                  <a:pt x="1732" y="1039"/>
                </a:lnTo>
                <a:lnTo>
                  <a:pt x="1732" y="1038"/>
                </a:lnTo>
                <a:lnTo>
                  <a:pt x="1732" y="1038"/>
                </a:lnTo>
                <a:lnTo>
                  <a:pt x="1733" y="1037"/>
                </a:lnTo>
                <a:close/>
                <a:moveTo>
                  <a:pt x="1780" y="1038"/>
                </a:moveTo>
                <a:lnTo>
                  <a:pt x="1761" y="1040"/>
                </a:lnTo>
                <a:lnTo>
                  <a:pt x="1740" y="1039"/>
                </a:lnTo>
                <a:lnTo>
                  <a:pt x="1761" y="1035"/>
                </a:lnTo>
                <a:lnTo>
                  <a:pt x="1780" y="1038"/>
                </a:lnTo>
                <a:close/>
                <a:moveTo>
                  <a:pt x="1631" y="1074"/>
                </a:moveTo>
                <a:lnTo>
                  <a:pt x="1618" y="1079"/>
                </a:lnTo>
                <a:lnTo>
                  <a:pt x="1605" y="1080"/>
                </a:lnTo>
                <a:lnTo>
                  <a:pt x="1601" y="1081"/>
                </a:lnTo>
                <a:lnTo>
                  <a:pt x="1600" y="1085"/>
                </a:lnTo>
                <a:lnTo>
                  <a:pt x="1602" y="1089"/>
                </a:lnTo>
                <a:lnTo>
                  <a:pt x="1606" y="1089"/>
                </a:lnTo>
                <a:lnTo>
                  <a:pt x="1621" y="1090"/>
                </a:lnTo>
                <a:lnTo>
                  <a:pt x="1635" y="1084"/>
                </a:lnTo>
                <a:lnTo>
                  <a:pt x="1638" y="1083"/>
                </a:lnTo>
                <a:lnTo>
                  <a:pt x="1640" y="1085"/>
                </a:lnTo>
                <a:lnTo>
                  <a:pt x="1647" y="1089"/>
                </a:lnTo>
                <a:lnTo>
                  <a:pt x="1652" y="1085"/>
                </a:lnTo>
                <a:lnTo>
                  <a:pt x="1654" y="1083"/>
                </a:lnTo>
                <a:lnTo>
                  <a:pt x="1655" y="1084"/>
                </a:lnTo>
                <a:lnTo>
                  <a:pt x="1661" y="1087"/>
                </a:lnTo>
                <a:lnTo>
                  <a:pt x="1666" y="1085"/>
                </a:lnTo>
                <a:lnTo>
                  <a:pt x="1679" y="1083"/>
                </a:lnTo>
                <a:lnTo>
                  <a:pt x="1683" y="1095"/>
                </a:lnTo>
                <a:lnTo>
                  <a:pt x="1683" y="1100"/>
                </a:lnTo>
                <a:lnTo>
                  <a:pt x="1685" y="1101"/>
                </a:lnTo>
                <a:lnTo>
                  <a:pt x="1695" y="1101"/>
                </a:lnTo>
                <a:lnTo>
                  <a:pt x="1702" y="1100"/>
                </a:lnTo>
                <a:lnTo>
                  <a:pt x="1702" y="1091"/>
                </a:lnTo>
                <a:lnTo>
                  <a:pt x="1698" y="1084"/>
                </a:lnTo>
                <a:lnTo>
                  <a:pt x="1697" y="1082"/>
                </a:lnTo>
                <a:lnTo>
                  <a:pt x="1695" y="1080"/>
                </a:lnTo>
                <a:lnTo>
                  <a:pt x="1694" y="1075"/>
                </a:lnTo>
                <a:lnTo>
                  <a:pt x="1696" y="1072"/>
                </a:lnTo>
                <a:lnTo>
                  <a:pt x="1700" y="1070"/>
                </a:lnTo>
                <a:lnTo>
                  <a:pt x="1704" y="1073"/>
                </a:lnTo>
                <a:lnTo>
                  <a:pt x="1708" y="1078"/>
                </a:lnTo>
                <a:lnTo>
                  <a:pt x="1713" y="1079"/>
                </a:lnTo>
                <a:lnTo>
                  <a:pt x="1716" y="1073"/>
                </a:lnTo>
                <a:lnTo>
                  <a:pt x="1714" y="1066"/>
                </a:lnTo>
                <a:lnTo>
                  <a:pt x="1713" y="1055"/>
                </a:lnTo>
                <a:lnTo>
                  <a:pt x="1724" y="1050"/>
                </a:lnTo>
                <a:lnTo>
                  <a:pt x="1740" y="1050"/>
                </a:lnTo>
                <a:lnTo>
                  <a:pt x="1756" y="1053"/>
                </a:lnTo>
                <a:lnTo>
                  <a:pt x="1759" y="1055"/>
                </a:lnTo>
                <a:lnTo>
                  <a:pt x="1760" y="1059"/>
                </a:lnTo>
                <a:lnTo>
                  <a:pt x="1757" y="1061"/>
                </a:lnTo>
                <a:lnTo>
                  <a:pt x="1753" y="1060"/>
                </a:lnTo>
                <a:lnTo>
                  <a:pt x="1748" y="1060"/>
                </a:lnTo>
                <a:lnTo>
                  <a:pt x="1745" y="1064"/>
                </a:lnTo>
                <a:lnTo>
                  <a:pt x="1753" y="1066"/>
                </a:lnTo>
                <a:lnTo>
                  <a:pt x="1760" y="1069"/>
                </a:lnTo>
                <a:lnTo>
                  <a:pt x="1754" y="1073"/>
                </a:lnTo>
                <a:lnTo>
                  <a:pt x="1746" y="1076"/>
                </a:lnTo>
                <a:lnTo>
                  <a:pt x="1753" y="1082"/>
                </a:lnTo>
                <a:lnTo>
                  <a:pt x="1754" y="1089"/>
                </a:lnTo>
                <a:lnTo>
                  <a:pt x="1755" y="1096"/>
                </a:lnTo>
                <a:lnTo>
                  <a:pt x="1759" y="1099"/>
                </a:lnTo>
                <a:lnTo>
                  <a:pt x="1770" y="1099"/>
                </a:lnTo>
                <a:lnTo>
                  <a:pt x="1778" y="1096"/>
                </a:lnTo>
                <a:lnTo>
                  <a:pt x="1778" y="1087"/>
                </a:lnTo>
                <a:lnTo>
                  <a:pt x="1774" y="1079"/>
                </a:lnTo>
                <a:lnTo>
                  <a:pt x="1773" y="1074"/>
                </a:lnTo>
                <a:lnTo>
                  <a:pt x="1771" y="1071"/>
                </a:lnTo>
                <a:lnTo>
                  <a:pt x="1767" y="1058"/>
                </a:lnTo>
                <a:lnTo>
                  <a:pt x="1772" y="1045"/>
                </a:lnTo>
                <a:lnTo>
                  <a:pt x="1784" y="1054"/>
                </a:lnTo>
                <a:lnTo>
                  <a:pt x="1795" y="1047"/>
                </a:lnTo>
                <a:lnTo>
                  <a:pt x="1797" y="1042"/>
                </a:lnTo>
                <a:lnTo>
                  <a:pt x="1791" y="1037"/>
                </a:lnTo>
                <a:lnTo>
                  <a:pt x="1802" y="1035"/>
                </a:lnTo>
                <a:lnTo>
                  <a:pt x="1814" y="1028"/>
                </a:lnTo>
                <a:lnTo>
                  <a:pt x="1772" y="1030"/>
                </a:lnTo>
                <a:lnTo>
                  <a:pt x="1733" y="1037"/>
                </a:lnTo>
                <a:lnTo>
                  <a:pt x="1733" y="1037"/>
                </a:lnTo>
                <a:lnTo>
                  <a:pt x="1733" y="1037"/>
                </a:lnTo>
                <a:lnTo>
                  <a:pt x="1723" y="1034"/>
                </a:lnTo>
                <a:lnTo>
                  <a:pt x="1715" y="1039"/>
                </a:lnTo>
                <a:lnTo>
                  <a:pt x="1711" y="1043"/>
                </a:lnTo>
                <a:lnTo>
                  <a:pt x="1706" y="1044"/>
                </a:lnTo>
                <a:lnTo>
                  <a:pt x="1666" y="1045"/>
                </a:lnTo>
                <a:lnTo>
                  <a:pt x="1626" y="1047"/>
                </a:lnTo>
                <a:lnTo>
                  <a:pt x="1606" y="1049"/>
                </a:lnTo>
                <a:lnTo>
                  <a:pt x="1586" y="1051"/>
                </a:lnTo>
                <a:lnTo>
                  <a:pt x="1585" y="1053"/>
                </a:lnTo>
                <a:lnTo>
                  <a:pt x="1586" y="1055"/>
                </a:lnTo>
                <a:lnTo>
                  <a:pt x="1587" y="1065"/>
                </a:lnTo>
                <a:lnTo>
                  <a:pt x="1596" y="1061"/>
                </a:lnTo>
                <a:lnTo>
                  <a:pt x="1597" y="1061"/>
                </a:lnTo>
                <a:lnTo>
                  <a:pt x="1600" y="1061"/>
                </a:lnTo>
                <a:lnTo>
                  <a:pt x="1615" y="1064"/>
                </a:lnTo>
                <a:lnTo>
                  <a:pt x="1630" y="1065"/>
                </a:lnTo>
                <a:lnTo>
                  <a:pt x="1634" y="1066"/>
                </a:lnTo>
                <a:lnTo>
                  <a:pt x="1636" y="1068"/>
                </a:lnTo>
                <a:lnTo>
                  <a:pt x="1635" y="1072"/>
                </a:lnTo>
                <a:lnTo>
                  <a:pt x="1631" y="1074"/>
                </a:lnTo>
                <a:close/>
                <a:moveTo>
                  <a:pt x="472" y="1370"/>
                </a:moveTo>
                <a:lnTo>
                  <a:pt x="472" y="1375"/>
                </a:lnTo>
                <a:lnTo>
                  <a:pt x="470" y="1379"/>
                </a:lnTo>
                <a:lnTo>
                  <a:pt x="463" y="1382"/>
                </a:lnTo>
                <a:lnTo>
                  <a:pt x="459" y="1389"/>
                </a:lnTo>
                <a:lnTo>
                  <a:pt x="456" y="1396"/>
                </a:lnTo>
                <a:lnTo>
                  <a:pt x="452" y="1389"/>
                </a:lnTo>
                <a:lnTo>
                  <a:pt x="451" y="1385"/>
                </a:lnTo>
                <a:lnTo>
                  <a:pt x="451" y="1380"/>
                </a:lnTo>
                <a:lnTo>
                  <a:pt x="452" y="1379"/>
                </a:lnTo>
                <a:lnTo>
                  <a:pt x="452" y="1378"/>
                </a:lnTo>
                <a:lnTo>
                  <a:pt x="456" y="1363"/>
                </a:lnTo>
                <a:lnTo>
                  <a:pt x="472" y="1370"/>
                </a:lnTo>
                <a:lnTo>
                  <a:pt x="474" y="1364"/>
                </a:lnTo>
                <a:lnTo>
                  <a:pt x="475" y="1359"/>
                </a:lnTo>
                <a:lnTo>
                  <a:pt x="474" y="1364"/>
                </a:lnTo>
                <a:lnTo>
                  <a:pt x="472" y="1370"/>
                </a:lnTo>
                <a:close/>
                <a:moveTo>
                  <a:pt x="503" y="1277"/>
                </a:moveTo>
                <a:lnTo>
                  <a:pt x="500" y="1256"/>
                </a:lnTo>
                <a:lnTo>
                  <a:pt x="493" y="1237"/>
                </a:lnTo>
                <a:lnTo>
                  <a:pt x="478" y="1221"/>
                </a:lnTo>
                <a:lnTo>
                  <a:pt x="457" y="1217"/>
                </a:lnTo>
                <a:lnTo>
                  <a:pt x="443" y="1221"/>
                </a:lnTo>
                <a:lnTo>
                  <a:pt x="431" y="1229"/>
                </a:lnTo>
                <a:lnTo>
                  <a:pt x="423" y="1235"/>
                </a:lnTo>
                <a:lnTo>
                  <a:pt x="413" y="1239"/>
                </a:lnTo>
                <a:lnTo>
                  <a:pt x="412" y="1239"/>
                </a:lnTo>
                <a:lnTo>
                  <a:pt x="412" y="1241"/>
                </a:lnTo>
                <a:lnTo>
                  <a:pt x="417" y="1247"/>
                </a:lnTo>
                <a:lnTo>
                  <a:pt x="412" y="1253"/>
                </a:lnTo>
                <a:lnTo>
                  <a:pt x="410" y="1258"/>
                </a:lnTo>
                <a:lnTo>
                  <a:pt x="414" y="1264"/>
                </a:lnTo>
                <a:lnTo>
                  <a:pt x="421" y="1267"/>
                </a:lnTo>
                <a:lnTo>
                  <a:pt x="427" y="1264"/>
                </a:lnTo>
                <a:lnTo>
                  <a:pt x="434" y="1259"/>
                </a:lnTo>
                <a:lnTo>
                  <a:pt x="440" y="1261"/>
                </a:lnTo>
                <a:lnTo>
                  <a:pt x="446" y="1263"/>
                </a:lnTo>
                <a:lnTo>
                  <a:pt x="454" y="1263"/>
                </a:lnTo>
                <a:lnTo>
                  <a:pt x="464" y="1266"/>
                </a:lnTo>
                <a:lnTo>
                  <a:pt x="468" y="1277"/>
                </a:lnTo>
                <a:lnTo>
                  <a:pt x="472" y="1272"/>
                </a:lnTo>
                <a:lnTo>
                  <a:pt x="479" y="1273"/>
                </a:lnTo>
                <a:lnTo>
                  <a:pt x="475" y="1286"/>
                </a:lnTo>
                <a:lnTo>
                  <a:pt x="484" y="1297"/>
                </a:lnTo>
                <a:lnTo>
                  <a:pt x="484" y="1299"/>
                </a:lnTo>
                <a:lnTo>
                  <a:pt x="484" y="1300"/>
                </a:lnTo>
                <a:lnTo>
                  <a:pt x="474" y="1305"/>
                </a:lnTo>
                <a:lnTo>
                  <a:pt x="471" y="1315"/>
                </a:lnTo>
                <a:lnTo>
                  <a:pt x="466" y="1335"/>
                </a:lnTo>
                <a:lnTo>
                  <a:pt x="449" y="1339"/>
                </a:lnTo>
                <a:lnTo>
                  <a:pt x="431" y="1335"/>
                </a:lnTo>
                <a:lnTo>
                  <a:pt x="414" y="1332"/>
                </a:lnTo>
                <a:lnTo>
                  <a:pt x="402" y="1329"/>
                </a:lnTo>
                <a:lnTo>
                  <a:pt x="390" y="1339"/>
                </a:lnTo>
                <a:lnTo>
                  <a:pt x="411" y="1342"/>
                </a:lnTo>
                <a:lnTo>
                  <a:pt x="433" y="1346"/>
                </a:lnTo>
                <a:lnTo>
                  <a:pt x="437" y="1347"/>
                </a:lnTo>
                <a:lnTo>
                  <a:pt x="439" y="1351"/>
                </a:lnTo>
                <a:lnTo>
                  <a:pt x="438" y="1355"/>
                </a:lnTo>
                <a:lnTo>
                  <a:pt x="434" y="1358"/>
                </a:lnTo>
                <a:lnTo>
                  <a:pt x="430" y="1359"/>
                </a:lnTo>
                <a:lnTo>
                  <a:pt x="426" y="1358"/>
                </a:lnTo>
                <a:lnTo>
                  <a:pt x="421" y="1360"/>
                </a:lnTo>
                <a:lnTo>
                  <a:pt x="422" y="1362"/>
                </a:lnTo>
                <a:lnTo>
                  <a:pt x="431" y="1372"/>
                </a:lnTo>
                <a:lnTo>
                  <a:pt x="441" y="1379"/>
                </a:lnTo>
                <a:lnTo>
                  <a:pt x="441" y="1384"/>
                </a:lnTo>
                <a:lnTo>
                  <a:pt x="441" y="1387"/>
                </a:lnTo>
                <a:lnTo>
                  <a:pt x="436" y="1385"/>
                </a:lnTo>
                <a:lnTo>
                  <a:pt x="431" y="1382"/>
                </a:lnTo>
                <a:lnTo>
                  <a:pt x="428" y="1395"/>
                </a:lnTo>
                <a:lnTo>
                  <a:pt x="423" y="1408"/>
                </a:lnTo>
                <a:lnTo>
                  <a:pt x="422" y="1414"/>
                </a:lnTo>
                <a:lnTo>
                  <a:pt x="426" y="1420"/>
                </a:lnTo>
                <a:lnTo>
                  <a:pt x="431" y="1427"/>
                </a:lnTo>
                <a:lnTo>
                  <a:pt x="431" y="1436"/>
                </a:lnTo>
                <a:lnTo>
                  <a:pt x="426" y="1434"/>
                </a:lnTo>
                <a:lnTo>
                  <a:pt x="423" y="1433"/>
                </a:lnTo>
                <a:lnTo>
                  <a:pt x="420" y="1437"/>
                </a:lnTo>
                <a:lnTo>
                  <a:pt x="420" y="1442"/>
                </a:lnTo>
                <a:lnTo>
                  <a:pt x="420" y="1466"/>
                </a:lnTo>
                <a:lnTo>
                  <a:pt x="417" y="1489"/>
                </a:lnTo>
                <a:lnTo>
                  <a:pt x="418" y="1497"/>
                </a:lnTo>
                <a:lnTo>
                  <a:pt x="425" y="1499"/>
                </a:lnTo>
                <a:lnTo>
                  <a:pt x="442" y="1499"/>
                </a:lnTo>
                <a:lnTo>
                  <a:pt x="460" y="1499"/>
                </a:lnTo>
                <a:lnTo>
                  <a:pt x="466" y="1494"/>
                </a:lnTo>
                <a:lnTo>
                  <a:pt x="471" y="1488"/>
                </a:lnTo>
                <a:lnTo>
                  <a:pt x="486" y="1478"/>
                </a:lnTo>
                <a:lnTo>
                  <a:pt x="489" y="1461"/>
                </a:lnTo>
                <a:lnTo>
                  <a:pt x="489" y="1449"/>
                </a:lnTo>
                <a:lnTo>
                  <a:pt x="490" y="1437"/>
                </a:lnTo>
                <a:lnTo>
                  <a:pt x="495" y="1390"/>
                </a:lnTo>
                <a:lnTo>
                  <a:pt x="499" y="1344"/>
                </a:lnTo>
                <a:lnTo>
                  <a:pt x="501" y="1321"/>
                </a:lnTo>
                <a:lnTo>
                  <a:pt x="485" y="1301"/>
                </a:lnTo>
                <a:lnTo>
                  <a:pt x="502" y="1293"/>
                </a:lnTo>
                <a:lnTo>
                  <a:pt x="503" y="1277"/>
                </a:lnTo>
                <a:close/>
                <a:moveTo>
                  <a:pt x="821" y="451"/>
                </a:moveTo>
                <a:lnTo>
                  <a:pt x="823" y="453"/>
                </a:lnTo>
                <a:lnTo>
                  <a:pt x="828" y="452"/>
                </a:lnTo>
                <a:lnTo>
                  <a:pt x="828" y="449"/>
                </a:lnTo>
                <a:lnTo>
                  <a:pt x="828" y="446"/>
                </a:lnTo>
                <a:lnTo>
                  <a:pt x="827" y="443"/>
                </a:lnTo>
                <a:lnTo>
                  <a:pt x="822" y="442"/>
                </a:lnTo>
                <a:lnTo>
                  <a:pt x="815" y="443"/>
                </a:lnTo>
                <a:lnTo>
                  <a:pt x="806" y="443"/>
                </a:lnTo>
                <a:lnTo>
                  <a:pt x="778" y="451"/>
                </a:lnTo>
                <a:lnTo>
                  <a:pt x="751" y="458"/>
                </a:lnTo>
                <a:lnTo>
                  <a:pt x="733" y="462"/>
                </a:lnTo>
                <a:lnTo>
                  <a:pt x="716" y="469"/>
                </a:lnTo>
                <a:lnTo>
                  <a:pt x="683" y="482"/>
                </a:lnTo>
                <a:lnTo>
                  <a:pt x="648" y="488"/>
                </a:lnTo>
                <a:lnTo>
                  <a:pt x="646" y="488"/>
                </a:lnTo>
                <a:lnTo>
                  <a:pt x="643" y="490"/>
                </a:lnTo>
                <a:lnTo>
                  <a:pt x="621" y="499"/>
                </a:lnTo>
                <a:lnTo>
                  <a:pt x="600" y="510"/>
                </a:lnTo>
                <a:lnTo>
                  <a:pt x="577" y="520"/>
                </a:lnTo>
                <a:lnTo>
                  <a:pt x="556" y="530"/>
                </a:lnTo>
                <a:lnTo>
                  <a:pt x="526" y="541"/>
                </a:lnTo>
                <a:lnTo>
                  <a:pt x="496" y="552"/>
                </a:lnTo>
                <a:lnTo>
                  <a:pt x="481" y="558"/>
                </a:lnTo>
                <a:lnTo>
                  <a:pt x="466" y="562"/>
                </a:lnTo>
                <a:lnTo>
                  <a:pt x="450" y="567"/>
                </a:lnTo>
                <a:lnTo>
                  <a:pt x="440" y="581"/>
                </a:lnTo>
                <a:lnTo>
                  <a:pt x="437" y="584"/>
                </a:lnTo>
                <a:lnTo>
                  <a:pt x="433" y="586"/>
                </a:lnTo>
                <a:lnTo>
                  <a:pt x="406" y="602"/>
                </a:lnTo>
                <a:lnTo>
                  <a:pt x="378" y="615"/>
                </a:lnTo>
                <a:lnTo>
                  <a:pt x="362" y="616"/>
                </a:lnTo>
                <a:lnTo>
                  <a:pt x="354" y="604"/>
                </a:lnTo>
                <a:lnTo>
                  <a:pt x="353" y="602"/>
                </a:lnTo>
                <a:lnTo>
                  <a:pt x="351" y="601"/>
                </a:lnTo>
                <a:lnTo>
                  <a:pt x="351" y="607"/>
                </a:lnTo>
                <a:lnTo>
                  <a:pt x="351" y="612"/>
                </a:lnTo>
                <a:lnTo>
                  <a:pt x="345" y="628"/>
                </a:lnTo>
                <a:lnTo>
                  <a:pt x="329" y="636"/>
                </a:lnTo>
                <a:lnTo>
                  <a:pt x="314" y="640"/>
                </a:lnTo>
                <a:lnTo>
                  <a:pt x="304" y="653"/>
                </a:lnTo>
                <a:lnTo>
                  <a:pt x="301" y="657"/>
                </a:lnTo>
                <a:lnTo>
                  <a:pt x="296" y="660"/>
                </a:lnTo>
                <a:lnTo>
                  <a:pt x="263" y="686"/>
                </a:lnTo>
                <a:lnTo>
                  <a:pt x="231" y="711"/>
                </a:lnTo>
                <a:lnTo>
                  <a:pt x="226" y="720"/>
                </a:lnTo>
                <a:lnTo>
                  <a:pt x="229" y="732"/>
                </a:lnTo>
                <a:lnTo>
                  <a:pt x="237" y="715"/>
                </a:lnTo>
                <a:lnTo>
                  <a:pt x="249" y="705"/>
                </a:lnTo>
                <a:lnTo>
                  <a:pt x="263" y="694"/>
                </a:lnTo>
                <a:lnTo>
                  <a:pt x="277" y="684"/>
                </a:lnTo>
                <a:lnTo>
                  <a:pt x="296" y="673"/>
                </a:lnTo>
                <a:lnTo>
                  <a:pt x="309" y="658"/>
                </a:lnTo>
                <a:lnTo>
                  <a:pt x="320" y="647"/>
                </a:lnTo>
                <a:lnTo>
                  <a:pt x="332" y="641"/>
                </a:lnTo>
                <a:lnTo>
                  <a:pt x="335" y="641"/>
                </a:lnTo>
                <a:lnTo>
                  <a:pt x="338" y="641"/>
                </a:lnTo>
                <a:lnTo>
                  <a:pt x="338" y="644"/>
                </a:lnTo>
                <a:lnTo>
                  <a:pt x="337" y="646"/>
                </a:lnTo>
                <a:lnTo>
                  <a:pt x="335" y="657"/>
                </a:lnTo>
                <a:lnTo>
                  <a:pt x="336" y="670"/>
                </a:lnTo>
                <a:lnTo>
                  <a:pt x="343" y="660"/>
                </a:lnTo>
                <a:lnTo>
                  <a:pt x="344" y="651"/>
                </a:lnTo>
                <a:lnTo>
                  <a:pt x="345" y="644"/>
                </a:lnTo>
                <a:lnTo>
                  <a:pt x="351" y="640"/>
                </a:lnTo>
                <a:lnTo>
                  <a:pt x="380" y="624"/>
                </a:lnTo>
                <a:lnTo>
                  <a:pt x="410" y="607"/>
                </a:lnTo>
                <a:lnTo>
                  <a:pt x="428" y="599"/>
                </a:lnTo>
                <a:lnTo>
                  <a:pt x="443" y="586"/>
                </a:lnTo>
                <a:lnTo>
                  <a:pt x="452" y="577"/>
                </a:lnTo>
                <a:lnTo>
                  <a:pt x="463" y="571"/>
                </a:lnTo>
                <a:lnTo>
                  <a:pt x="469" y="567"/>
                </a:lnTo>
                <a:lnTo>
                  <a:pt x="476" y="566"/>
                </a:lnTo>
                <a:lnTo>
                  <a:pt x="480" y="574"/>
                </a:lnTo>
                <a:lnTo>
                  <a:pt x="478" y="582"/>
                </a:lnTo>
                <a:lnTo>
                  <a:pt x="478" y="583"/>
                </a:lnTo>
                <a:lnTo>
                  <a:pt x="481" y="584"/>
                </a:lnTo>
                <a:lnTo>
                  <a:pt x="485" y="570"/>
                </a:lnTo>
                <a:lnTo>
                  <a:pt x="497" y="563"/>
                </a:lnTo>
                <a:lnTo>
                  <a:pt x="516" y="559"/>
                </a:lnTo>
                <a:lnTo>
                  <a:pt x="517" y="577"/>
                </a:lnTo>
                <a:lnTo>
                  <a:pt x="520" y="570"/>
                </a:lnTo>
                <a:lnTo>
                  <a:pt x="520" y="564"/>
                </a:lnTo>
                <a:lnTo>
                  <a:pt x="522" y="554"/>
                </a:lnTo>
                <a:lnTo>
                  <a:pt x="530" y="549"/>
                </a:lnTo>
                <a:lnTo>
                  <a:pt x="559" y="536"/>
                </a:lnTo>
                <a:lnTo>
                  <a:pt x="589" y="524"/>
                </a:lnTo>
                <a:lnTo>
                  <a:pt x="605" y="520"/>
                </a:lnTo>
                <a:lnTo>
                  <a:pt x="617" y="513"/>
                </a:lnTo>
                <a:lnTo>
                  <a:pt x="632" y="501"/>
                </a:lnTo>
                <a:lnTo>
                  <a:pt x="649" y="495"/>
                </a:lnTo>
                <a:lnTo>
                  <a:pt x="656" y="497"/>
                </a:lnTo>
                <a:lnTo>
                  <a:pt x="658" y="504"/>
                </a:lnTo>
                <a:lnTo>
                  <a:pt x="658" y="508"/>
                </a:lnTo>
                <a:lnTo>
                  <a:pt x="658" y="513"/>
                </a:lnTo>
                <a:lnTo>
                  <a:pt x="660" y="514"/>
                </a:lnTo>
                <a:lnTo>
                  <a:pt x="662" y="515"/>
                </a:lnTo>
                <a:lnTo>
                  <a:pt x="667" y="500"/>
                </a:lnTo>
                <a:lnTo>
                  <a:pt x="681" y="491"/>
                </a:lnTo>
                <a:lnTo>
                  <a:pt x="715" y="479"/>
                </a:lnTo>
                <a:lnTo>
                  <a:pt x="751" y="468"/>
                </a:lnTo>
                <a:lnTo>
                  <a:pt x="779" y="459"/>
                </a:lnTo>
                <a:lnTo>
                  <a:pt x="808" y="451"/>
                </a:lnTo>
                <a:lnTo>
                  <a:pt x="815" y="448"/>
                </a:lnTo>
                <a:lnTo>
                  <a:pt x="821" y="451"/>
                </a:lnTo>
                <a:close/>
                <a:moveTo>
                  <a:pt x="2027" y="973"/>
                </a:moveTo>
                <a:lnTo>
                  <a:pt x="2038" y="971"/>
                </a:lnTo>
                <a:lnTo>
                  <a:pt x="2051" y="968"/>
                </a:lnTo>
                <a:lnTo>
                  <a:pt x="2040" y="975"/>
                </a:lnTo>
                <a:lnTo>
                  <a:pt x="2027" y="973"/>
                </a:lnTo>
                <a:close/>
                <a:moveTo>
                  <a:pt x="2087" y="986"/>
                </a:moveTo>
                <a:lnTo>
                  <a:pt x="2081" y="983"/>
                </a:lnTo>
                <a:lnTo>
                  <a:pt x="2075" y="980"/>
                </a:lnTo>
                <a:lnTo>
                  <a:pt x="2082" y="980"/>
                </a:lnTo>
                <a:lnTo>
                  <a:pt x="2087" y="986"/>
                </a:lnTo>
                <a:close/>
                <a:moveTo>
                  <a:pt x="2136" y="1032"/>
                </a:moveTo>
                <a:lnTo>
                  <a:pt x="2139" y="1029"/>
                </a:lnTo>
                <a:lnTo>
                  <a:pt x="2142" y="1029"/>
                </a:lnTo>
                <a:lnTo>
                  <a:pt x="2151" y="1034"/>
                </a:lnTo>
                <a:lnTo>
                  <a:pt x="2162" y="1038"/>
                </a:lnTo>
                <a:lnTo>
                  <a:pt x="2150" y="1039"/>
                </a:lnTo>
                <a:lnTo>
                  <a:pt x="2140" y="1037"/>
                </a:lnTo>
                <a:lnTo>
                  <a:pt x="2137" y="1035"/>
                </a:lnTo>
                <a:lnTo>
                  <a:pt x="2136" y="1032"/>
                </a:lnTo>
                <a:close/>
                <a:moveTo>
                  <a:pt x="1980" y="1047"/>
                </a:moveTo>
                <a:lnTo>
                  <a:pt x="1986" y="1048"/>
                </a:lnTo>
                <a:lnTo>
                  <a:pt x="1991" y="1051"/>
                </a:lnTo>
                <a:lnTo>
                  <a:pt x="1991" y="1055"/>
                </a:lnTo>
                <a:lnTo>
                  <a:pt x="1995" y="1057"/>
                </a:lnTo>
                <a:lnTo>
                  <a:pt x="1999" y="1054"/>
                </a:lnTo>
                <a:lnTo>
                  <a:pt x="1999" y="1049"/>
                </a:lnTo>
                <a:lnTo>
                  <a:pt x="2007" y="1039"/>
                </a:lnTo>
                <a:lnTo>
                  <a:pt x="2018" y="1041"/>
                </a:lnTo>
                <a:lnTo>
                  <a:pt x="2026" y="1051"/>
                </a:lnTo>
                <a:lnTo>
                  <a:pt x="2031" y="1063"/>
                </a:lnTo>
                <a:lnTo>
                  <a:pt x="2045" y="1054"/>
                </a:lnTo>
                <a:lnTo>
                  <a:pt x="2056" y="1043"/>
                </a:lnTo>
                <a:lnTo>
                  <a:pt x="2058" y="1042"/>
                </a:lnTo>
                <a:lnTo>
                  <a:pt x="2061" y="1045"/>
                </a:lnTo>
                <a:lnTo>
                  <a:pt x="2065" y="1054"/>
                </a:lnTo>
                <a:lnTo>
                  <a:pt x="2074" y="1054"/>
                </a:lnTo>
                <a:lnTo>
                  <a:pt x="2088" y="1055"/>
                </a:lnTo>
                <a:lnTo>
                  <a:pt x="2101" y="1053"/>
                </a:lnTo>
                <a:lnTo>
                  <a:pt x="2102" y="1053"/>
                </a:lnTo>
                <a:lnTo>
                  <a:pt x="2103" y="1054"/>
                </a:lnTo>
                <a:lnTo>
                  <a:pt x="2113" y="1060"/>
                </a:lnTo>
                <a:lnTo>
                  <a:pt x="2125" y="1057"/>
                </a:lnTo>
                <a:lnTo>
                  <a:pt x="2142" y="1056"/>
                </a:lnTo>
                <a:lnTo>
                  <a:pt x="2161" y="1055"/>
                </a:lnTo>
                <a:lnTo>
                  <a:pt x="2156" y="1052"/>
                </a:lnTo>
                <a:lnTo>
                  <a:pt x="2155" y="1047"/>
                </a:lnTo>
                <a:lnTo>
                  <a:pt x="2159" y="1043"/>
                </a:lnTo>
                <a:lnTo>
                  <a:pt x="2166" y="1043"/>
                </a:lnTo>
                <a:lnTo>
                  <a:pt x="2174" y="1044"/>
                </a:lnTo>
                <a:lnTo>
                  <a:pt x="2183" y="1043"/>
                </a:lnTo>
                <a:lnTo>
                  <a:pt x="2169" y="1036"/>
                </a:lnTo>
                <a:lnTo>
                  <a:pt x="2152" y="1030"/>
                </a:lnTo>
                <a:lnTo>
                  <a:pt x="2170" y="1025"/>
                </a:lnTo>
                <a:lnTo>
                  <a:pt x="2187" y="1017"/>
                </a:lnTo>
                <a:lnTo>
                  <a:pt x="2171" y="1017"/>
                </a:lnTo>
                <a:lnTo>
                  <a:pt x="2156" y="1019"/>
                </a:lnTo>
                <a:lnTo>
                  <a:pt x="2140" y="1022"/>
                </a:lnTo>
                <a:lnTo>
                  <a:pt x="2124" y="1026"/>
                </a:lnTo>
                <a:lnTo>
                  <a:pt x="2121" y="1026"/>
                </a:lnTo>
                <a:lnTo>
                  <a:pt x="2118" y="1025"/>
                </a:lnTo>
                <a:lnTo>
                  <a:pt x="2104" y="1019"/>
                </a:lnTo>
                <a:lnTo>
                  <a:pt x="2089" y="1017"/>
                </a:lnTo>
                <a:lnTo>
                  <a:pt x="2086" y="1013"/>
                </a:lnTo>
                <a:lnTo>
                  <a:pt x="2081" y="1012"/>
                </a:lnTo>
                <a:lnTo>
                  <a:pt x="2081" y="1010"/>
                </a:lnTo>
                <a:lnTo>
                  <a:pt x="2081" y="1008"/>
                </a:lnTo>
                <a:lnTo>
                  <a:pt x="2090" y="1005"/>
                </a:lnTo>
                <a:lnTo>
                  <a:pt x="2092" y="996"/>
                </a:lnTo>
                <a:lnTo>
                  <a:pt x="2091" y="981"/>
                </a:lnTo>
                <a:lnTo>
                  <a:pt x="2082" y="972"/>
                </a:lnTo>
                <a:lnTo>
                  <a:pt x="2067" y="969"/>
                </a:lnTo>
                <a:lnTo>
                  <a:pt x="2053" y="964"/>
                </a:lnTo>
                <a:lnTo>
                  <a:pt x="2059" y="963"/>
                </a:lnTo>
                <a:lnTo>
                  <a:pt x="2065" y="961"/>
                </a:lnTo>
                <a:lnTo>
                  <a:pt x="2027" y="961"/>
                </a:lnTo>
                <a:lnTo>
                  <a:pt x="1989" y="961"/>
                </a:lnTo>
                <a:lnTo>
                  <a:pt x="1984" y="964"/>
                </a:lnTo>
                <a:lnTo>
                  <a:pt x="1986" y="969"/>
                </a:lnTo>
                <a:lnTo>
                  <a:pt x="1997" y="995"/>
                </a:lnTo>
                <a:lnTo>
                  <a:pt x="2000" y="1023"/>
                </a:lnTo>
                <a:lnTo>
                  <a:pt x="2002" y="1030"/>
                </a:lnTo>
                <a:lnTo>
                  <a:pt x="2011" y="1030"/>
                </a:lnTo>
                <a:lnTo>
                  <a:pt x="2026" y="1025"/>
                </a:lnTo>
                <a:lnTo>
                  <a:pt x="2043" y="1028"/>
                </a:lnTo>
                <a:lnTo>
                  <a:pt x="2044" y="1027"/>
                </a:lnTo>
                <a:lnTo>
                  <a:pt x="2046" y="1026"/>
                </a:lnTo>
                <a:lnTo>
                  <a:pt x="2060" y="1026"/>
                </a:lnTo>
                <a:lnTo>
                  <a:pt x="2073" y="1033"/>
                </a:lnTo>
                <a:lnTo>
                  <a:pt x="2019" y="1035"/>
                </a:lnTo>
                <a:lnTo>
                  <a:pt x="1967" y="1042"/>
                </a:lnTo>
                <a:lnTo>
                  <a:pt x="1973" y="1045"/>
                </a:lnTo>
                <a:lnTo>
                  <a:pt x="1980" y="1047"/>
                </a:lnTo>
                <a:close/>
                <a:moveTo>
                  <a:pt x="2897" y="1511"/>
                </a:moveTo>
                <a:lnTo>
                  <a:pt x="2879" y="1508"/>
                </a:lnTo>
                <a:lnTo>
                  <a:pt x="2861" y="1501"/>
                </a:lnTo>
                <a:lnTo>
                  <a:pt x="2855" y="1500"/>
                </a:lnTo>
                <a:lnTo>
                  <a:pt x="2852" y="1504"/>
                </a:lnTo>
                <a:lnTo>
                  <a:pt x="2847" y="1514"/>
                </a:lnTo>
                <a:lnTo>
                  <a:pt x="2836" y="1515"/>
                </a:lnTo>
                <a:lnTo>
                  <a:pt x="2832" y="1515"/>
                </a:lnTo>
                <a:lnTo>
                  <a:pt x="2831" y="1518"/>
                </a:lnTo>
                <a:lnTo>
                  <a:pt x="2832" y="1522"/>
                </a:lnTo>
                <a:lnTo>
                  <a:pt x="2836" y="1522"/>
                </a:lnTo>
                <a:lnTo>
                  <a:pt x="2851" y="1528"/>
                </a:lnTo>
                <a:lnTo>
                  <a:pt x="2853" y="1545"/>
                </a:lnTo>
                <a:lnTo>
                  <a:pt x="2853" y="1562"/>
                </a:lnTo>
                <a:lnTo>
                  <a:pt x="2867" y="1574"/>
                </a:lnTo>
                <a:lnTo>
                  <a:pt x="2871" y="1578"/>
                </a:lnTo>
                <a:lnTo>
                  <a:pt x="2868" y="1586"/>
                </a:lnTo>
                <a:lnTo>
                  <a:pt x="2864" y="1599"/>
                </a:lnTo>
                <a:lnTo>
                  <a:pt x="2874" y="1608"/>
                </a:lnTo>
                <a:lnTo>
                  <a:pt x="2868" y="1616"/>
                </a:lnTo>
                <a:lnTo>
                  <a:pt x="2869" y="1632"/>
                </a:lnTo>
                <a:lnTo>
                  <a:pt x="2880" y="1615"/>
                </a:lnTo>
                <a:lnTo>
                  <a:pt x="2884" y="1595"/>
                </a:lnTo>
                <a:lnTo>
                  <a:pt x="2891" y="1589"/>
                </a:lnTo>
                <a:lnTo>
                  <a:pt x="2901" y="1579"/>
                </a:lnTo>
                <a:lnTo>
                  <a:pt x="2908" y="1579"/>
                </a:lnTo>
                <a:lnTo>
                  <a:pt x="2920" y="1583"/>
                </a:lnTo>
                <a:lnTo>
                  <a:pt x="2913" y="1588"/>
                </a:lnTo>
                <a:lnTo>
                  <a:pt x="2908" y="1592"/>
                </a:lnTo>
                <a:lnTo>
                  <a:pt x="2921" y="1598"/>
                </a:lnTo>
                <a:lnTo>
                  <a:pt x="2931" y="1592"/>
                </a:lnTo>
                <a:lnTo>
                  <a:pt x="2936" y="1588"/>
                </a:lnTo>
                <a:lnTo>
                  <a:pt x="2940" y="1585"/>
                </a:lnTo>
                <a:lnTo>
                  <a:pt x="2946" y="1586"/>
                </a:lnTo>
                <a:lnTo>
                  <a:pt x="2947" y="1580"/>
                </a:lnTo>
                <a:lnTo>
                  <a:pt x="2943" y="1575"/>
                </a:lnTo>
                <a:lnTo>
                  <a:pt x="2936" y="1577"/>
                </a:lnTo>
                <a:lnTo>
                  <a:pt x="2931" y="1578"/>
                </a:lnTo>
                <a:lnTo>
                  <a:pt x="2929" y="1575"/>
                </a:lnTo>
                <a:lnTo>
                  <a:pt x="2928" y="1572"/>
                </a:lnTo>
                <a:lnTo>
                  <a:pt x="2930" y="1568"/>
                </a:lnTo>
                <a:lnTo>
                  <a:pt x="2937" y="1555"/>
                </a:lnTo>
                <a:lnTo>
                  <a:pt x="2941" y="1541"/>
                </a:lnTo>
                <a:lnTo>
                  <a:pt x="2941" y="1503"/>
                </a:lnTo>
                <a:lnTo>
                  <a:pt x="2938" y="1468"/>
                </a:lnTo>
                <a:lnTo>
                  <a:pt x="2936" y="1441"/>
                </a:lnTo>
                <a:lnTo>
                  <a:pt x="2930" y="1416"/>
                </a:lnTo>
                <a:lnTo>
                  <a:pt x="2930" y="1402"/>
                </a:lnTo>
                <a:lnTo>
                  <a:pt x="2936" y="1389"/>
                </a:lnTo>
                <a:lnTo>
                  <a:pt x="2936" y="1387"/>
                </a:lnTo>
                <a:lnTo>
                  <a:pt x="2931" y="1385"/>
                </a:lnTo>
                <a:lnTo>
                  <a:pt x="2924" y="1381"/>
                </a:lnTo>
                <a:lnTo>
                  <a:pt x="2923" y="1374"/>
                </a:lnTo>
                <a:lnTo>
                  <a:pt x="2915" y="1338"/>
                </a:lnTo>
                <a:lnTo>
                  <a:pt x="2889" y="1312"/>
                </a:lnTo>
                <a:lnTo>
                  <a:pt x="2873" y="1308"/>
                </a:lnTo>
                <a:lnTo>
                  <a:pt x="2855" y="1313"/>
                </a:lnTo>
                <a:lnTo>
                  <a:pt x="2844" y="1328"/>
                </a:lnTo>
                <a:lnTo>
                  <a:pt x="2837" y="1346"/>
                </a:lnTo>
                <a:lnTo>
                  <a:pt x="2838" y="1348"/>
                </a:lnTo>
                <a:lnTo>
                  <a:pt x="2839" y="1349"/>
                </a:lnTo>
                <a:lnTo>
                  <a:pt x="2843" y="1355"/>
                </a:lnTo>
                <a:lnTo>
                  <a:pt x="2843" y="1360"/>
                </a:lnTo>
                <a:lnTo>
                  <a:pt x="2840" y="1374"/>
                </a:lnTo>
                <a:lnTo>
                  <a:pt x="2840" y="1387"/>
                </a:lnTo>
                <a:lnTo>
                  <a:pt x="2843" y="1422"/>
                </a:lnTo>
                <a:lnTo>
                  <a:pt x="2843" y="1457"/>
                </a:lnTo>
                <a:lnTo>
                  <a:pt x="2845" y="1469"/>
                </a:lnTo>
                <a:lnTo>
                  <a:pt x="2856" y="1478"/>
                </a:lnTo>
                <a:lnTo>
                  <a:pt x="2867" y="1483"/>
                </a:lnTo>
                <a:lnTo>
                  <a:pt x="2878" y="1488"/>
                </a:lnTo>
                <a:lnTo>
                  <a:pt x="2883" y="1491"/>
                </a:lnTo>
                <a:lnTo>
                  <a:pt x="2889" y="1488"/>
                </a:lnTo>
                <a:lnTo>
                  <a:pt x="2894" y="1486"/>
                </a:lnTo>
                <a:lnTo>
                  <a:pt x="2900" y="1487"/>
                </a:lnTo>
                <a:lnTo>
                  <a:pt x="2899" y="1494"/>
                </a:lnTo>
                <a:lnTo>
                  <a:pt x="2902" y="1499"/>
                </a:lnTo>
                <a:lnTo>
                  <a:pt x="2907" y="1503"/>
                </a:lnTo>
                <a:lnTo>
                  <a:pt x="2907" y="1509"/>
                </a:lnTo>
                <a:lnTo>
                  <a:pt x="2902" y="1511"/>
                </a:lnTo>
                <a:lnTo>
                  <a:pt x="2897" y="1511"/>
                </a:lnTo>
                <a:close/>
                <a:moveTo>
                  <a:pt x="2492" y="1098"/>
                </a:moveTo>
                <a:lnTo>
                  <a:pt x="2499" y="1098"/>
                </a:lnTo>
                <a:lnTo>
                  <a:pt x="2500" y="1103"/>
                </a:lnTo>
                <a:lnTo>
                  <a:pt x="2497" y="1107"/>
                </a:lnTo>
                <a:lnTo>
                  <a:pt x="2494" y="1115"/>
                </a:lnTo>
                <a:lnTo>
                  <a:pt x="2489" y="1105"/>
                </a:lnTo>
                <a:lnTo>
                  <a:pt x="2492" y="1098"/>
                </a:lnTo>
                <a:close/>
                <a:moveTo>
                  <a:pt x="2501" y="1234"/>
                </a:moveTo>
                <a:lnTo>
                  <a:pt x="2497" y="1236"/>
                </a:lnTo>
                <a:lnTo>
                  <a:pt x="2491" y="1238"/>
                </a:lnTo>
                <a:lnTo>
                  <a:pt x="2487" y="1240"/>
                </a:lnTo>
                <a:lnTo>
                  <a:pt x="2486" y="1246"/>
                </a:lnTo>
                <a:lnTo>
                  <a:pt x="2490" y="1248"/>
                </a:lnTo>
                <a:lnTo>
                  <a:pt x="2495" y="1247"/>
                </a:lnTo>
                <a:lnTo>
                  <a:pt x="2541" y="1251"/>
                </a:lnTo>
                <a:lnTo>
                  <a:pt x="2588" y="1255"/>
                </a:lnTo>
                <a:lnTo>
                  <a:pt x="2588" y="1253"/>
                </a:lnTo>
                <a:lnTo>
                  <a:pt x="2588" y="1252"/>
                </a:lnTo>
                <a:lnTo>
                  <a:pt x="2588" y="1250"/>
                </a:lnTo>
                <a:lnTo>
                  <a:pt x="2589" y="1248"/>
                </a:lnTo>
                <a:lnTo>
                  <a:pt x="2588" y="1250"/>
                </a:lnTo>
                <a:lnTo>
                  <a:pt x="2588" y="1252"/>
                </a:lnTo>
                <a:lnTo>
                  <a:pt x="2588" y="1253"/>
                </a:lnTo>
                <a:lnTo>
                  <a:pt x="2588" y="1255"/>
                </a:lnTo>
                <a:lnTo>
                  <a:pt x="2590" y="1256"/>
                </a:lnTo>
                <a:lnTo>
                  <a:pt x="2593" y="1257"/>
                </a:lnTo>
                <a:lnTo>
                  <a:pt x="2600" y="1258"/>
                </a:lnTo>
                <a:lnTo>
                  <a:pt x="2608" y="1256"/>
                </a:lnTo>
                <a:lnTo>
                  <a:pt x="2604" y="1253"/>
                </a:lnTo>
                <a:lnTo>
                  <a:pt x="2601" y="1250"/>
                </a:lnTo>
                <a:lnTo>
                  <a:pt x="2601" y="1242"/>
                </a:lnTo>
                <a:lnTo>
                  <a:pt x="2594" y="1237"/>
                </a:lnTo>
                <a:lnTo>
                  <a:pt x="2592" y="1240"/>
                </a:lnTo>
                <a:lnTo>
                  <a:pt x="2591" y="1243"/>
                </a:lnTo>
                <a:lnTo>
                  <a:pt x="2592" y="1240"/>
                </a:lnTo>
                <a:lnTo>
                  <a:pt x="2594" y="1237"/>
                </a:lnTo>
                <a:lnTo>
                  <a:pt x="2594" y="1235"/>
                </a:lnTo>
                <a:lnTo>
                  <a:pt x="2593" y="1233"/>
                </a:lnTo>
                <a:lnTo>
                  <a:pt x="2597" y="1212"/>
                </a:lnTo>
                <a:lnTo>
                  <a:pt x="2595" y="1192"/>
                </a:lnTo>
                <a:lnTo>
                  <a:pt x="2595" y="1164"/>
                </a:lnTo>
                <a:lnTo>
                  <a:pt x="2585" y="1137"/>
                </a:lnTo>
                <a:lnTo>
                  <a:pt x="2560" y="1117"/>
                </a:lnTo>
                <a:lnTo>
                  <a:pt x="2532" y="1107"/>
                </a:lnTo>
                <a:lnTo>
                  <a:pt x="2533" y="1102"/>
                </a:lnTo>
                <a:lnTo>
                  <a:pt x="2537" y="1101"/>
                </a:lnTo>
                <a:lnTo>
                  <a:pt x="2549" y="1101"/>
                </a:lnTo>
                <a:lnTo>
                  <a:pt x="2560" y="1096"/>
                </a:lnTo>
                <a:lnTo>
                  <a:pt x="2563" y="1090"/>
                </a:lnTo>
                <a:lnTo>
                  <a:pt x="2563" y="1085"/>
                </a:lnTo>
                <a:lnTo>
                  <a:pt x="2560" y="1082"/>
                </a:lnTo>
                <a:lnTo>
                  <a:pt x="2555" y="1082"/>
                </a:lnTo>
                <a:lnTo>
                  <a:pt x="2540" y="1082"/>
                </a:lnTo>
                <a:lnTo>
                  <a:pt x="2523" y="1081"/>
                </a:lnTo>
                <a:lnTo>
                  <a:pt x="2501" y="1079"/>
                </a:lnTo>
                <a:lnTo>
                  <a:pt x="2479" y="1085"/>
                </a:lnTo>
                <a:lnTo>
                  <a:pt x="2473" y="1091"/>
                </a:lnTo>
                <a:lnTo>
                  <a:pt x="2475" y="1097"/>
                </a:lnTo>
                <a:lnTo>
                  <a:pt x="2485" y="1109"/>
                </a:lnTo>
                <a:lnTo>
                  <a:pt x="2494" y="1120"/>
                </a:lnTo>
                <a:lnTo>
                  <a:pt x="2490" y="1125"/>
                </a:lnTo>
                <a:lnTo>
                  <a:pt x="2488" y="1128"/>
                </a:lnTo>
                <a:lnTo>
                  <a:pt x="2483" y="1122"/>
                </a:lnTo>
                <a:lnTo>
                  <a:pt x="2476" y="1118"/>
                </a:lnTo>
                <a:lnTo>
                  <a:pt x="2476" y="1131"/>
                </a:lnTo>
                <a:lnTo>
                  <a:pt x="2481" y="1139"/>
                </a:lnTo>
                <a:lnTo>
                  <a:pt x="2483" y="1151"/>
                </a:lnTo>
                <a:lnTo>
                  <a:pt x="2494" y="1157"/>
                </a:lnTo>
                <a:lnTo>
                  <a:pt x="2521" y="1177"/>
                </a:lnTo>
                <a:lnTo>
                  <a:pt x="2519" y="1210"/>
                </a:lnTo>
                <a:lnTo>
                  <a:pt x="2518" y="1212"/>
                </a:lnTo>
                <a:lnTo>
                  <a:pt x="2517" y="1216"/>
                </a:lnTo>
                <a:lnTo>
                  <a:pt x="2514" y="1228"/>
                </a:lnTo>
                <a:lnTo>
                  <a:pt x="2501" y="1234"/>
                </a:lnTo>
                <a:close/>
                <a:moveTo>
                  <a:pt x="339" y="274"/>
                </a:moveTo>
                <a:lnTo>
                  <a:pt x="340" y="271"/>
                </a:lnTo>
                <a:lnTo>
                  <a:pt x="343" y="266"/>
                </a:lnTo>
                <a:lnTo>
                  <a:pt x="353" y="268"/>
                </a:lnTo>
                <a:lnTo>
                  <a:pt x="360" y="259"/>
                </a:lnTo>
                <a:lnTo>
                  <a:pt x="366" y="258"/>
                </a:lnTo>
                <a:lnTo>
                  <a:pt x="375" y="264"/>
                </a:lnTo>
                <a:lnTo>
                  <a:pt x="375" y="266"/>
                </a:lnTo>
                <a:lnTo>
                  <a:pt x="376" y="270"/>
                </a:lnTo>
                <a:lnTo>
                  <a:pt x="376" y="270"/>
                </a:lnTo>
                <a:lnTo>
                  <a:pt x="375" y="271"/>
                </a:lnTo>
                <a:lnTo>
                  <a:pt x="374" y="271"/>
                </a:lnTo>
                <a:lnTo>
                  <a:pt x="363" y="278"/>
                </a:lnTo>
                <a:lnTo>
                  <a:pt x="373" y="299"/>
                </a:lnTo>
                <a:lnTo>
                  <a:pt x="365" y="298"/>
                </a:lnTo>
                <a:lnTo>
                  <a:pt x="359" y="295"/>
                </a:lnTo>
                <a:lnTo>
                  <a:pt x="359" y="295"/>
                </a:lnTo>
                <a:lnTo>
                  <a:pt x="358" y="290"/>
                </a:lnTo>
                <a:lnTo>
                  <a:pt x="353" y="286"/>
                </a:lnTo>
                <a:lnTo>
                  <a:pt x="345" y="281"/>
                </a:lnTo>
                <a:lnTo>
                  <a:pt x="339" y="274"/>
                </a:lnTo>
                <a:lnTo>
                  <a:pt x="313" y="290"/>
                </a:lnTo>
                <a:lnTo>
                  <a:pt x="290" y="310"/>
                </a:lnTo>
                <a:lnTo>
                  <a:pt x="313" y="290"/>
                </a:lnTo>
                <a:lnTo>
                  <a:pt x="339" y="274"/>
                </a:lnTo>
                <a:close/>
                <a:moveTo>
                  <a:pt x="376" y="243"/>
                </a:moveTo>
                <a:lnTo>
                  <a:pt x="390" y="239"/>
                </a:lnTo>
                <a:lnTo>
                  <a:pt x="400" y="230"/>
                </a:lnTo>
                <a:lnTo>
                  <a:pt x="400" y="229"/>
                </a:lnTo>
                <a:lnTo>
                  <a:pt x="402" y="228"/>
                </a:lnTo>
                <a:lnTo>
                  <a:pt x="400" y="229"/>
                </a:lnTo>
                <a:lnTo>
                  <a:pt x="400" y="230"/>
                </a:lnTo>
                <a:lnTo>
                  <a:pt x="404" y="235"/>
                </a:lnTo>
                <a:lnTo>
                  <a:pt x="400" y="240"/>
                </a:lnTo>
                <a:lnTo>
                  <a:pt x="394" y="244"/>
                </a:lnTo>
                <a:lnTo>
                  <a:pt x="388" y="249"/>
                </a:lnTo>
                <a:lnTo>
                  <a:pt x="384" y="253"/>
                </a:lnTo>
                <a:lnTo>
                  <a:pt x="380" y="253"/>
                </a:lnTo>
                <a:lnTo>
                  <a:pt x="376" y="248"/>
                </a:lnTo>
                <a:lnTo>
                  <a:pt x="376" y="243"/>
                </a:lnTo>
                <a:close/>
                <a:moveTo>
                  <a:pt x="688" y="73"/>
                </a:moveTo>
                <a:lnTo>
                  <a:pt x="692" y="78"/>
                </a:lnTo>
                <a:lnTo>
                  <a:pt x="691" y="81"/>
                </a:lnTo>
                <a:lnTo>
                  <a:pt x="680" y="89"/>
                </a:lnTo>
                <a:lnTo>
                  <a:pt x="669" y="92"/>
                </a:lnTo>
                <a:lnTo>
                  <a:pt x="666" y="89"/>
                </a:lnTo>
                <a:lnTo>
                  <a:pt x="665" y="84"/>
                </a:lnTo>
                <a:lnTo>
                  <a:pt x="676" y="77"/>
                </a:lnTo>
                <a:lnTo>
                  <a:pt x="688" y="73"/>
                </a:lnTo>
                <a:close/>
                <a:moveTo>
                  <a:pt x="709" y="79"/>
                </a:moveTo>
                <a:lnTo>
                  <a:pt x="708" y="73"/>
                </a:lnTo>
                <a:lnTo>
                  <a:pt x="707" y="70"/>
                </a:lnTo>
                <a:lnTo>
                  <a:pt x="708" y="73"/>
                </a:lnTo>
                <a:lnTo>
                  <a:pt x="709" y="79"/>
                </a:lnTo>
                <a:close/>
                <a:moveTo>
                  <a:pt x="770" y="42"/>
                </a:moveTo>
                <a:lnTo>
                  <a:pt x="770" y="42"/>
                </a:lnTo>
                <a:lnTo>
                  <a:pt x="774" y="41"/>
                </a:lnTo>
                <a:lnTo>
                  <a:pt x="777" y="40"/>
                </a:lnTo>
                <a:lnTo>
                  <a:pt x="782" y="43"/>
                </a:lnTo>
                <a:lnTo>
                  <a:pt x="787" y="45"/>
                </a:lnTo>
                <a:lnTo>
                  <a:pt x="773" y="51"/>
                </a:lnTo>
                <a:lnTo>
                  <a:pt x="760" y="57"/>
                </a:lnTo>
                <a:lnTo>
                  <a:pt x="757" y="58"/>
                </a:lnTo>
                <a:lnTo>
                  <a:pt x="756" y="56"/>
                </a:lnTo>
                <a:lnTo>
                  <a:pt x="756" y="52"/>
                </a:lnTo>
                <a:lnTo>
                  <a:pt x="759" y="51"/>
                </a:lnTo>
                <a:lnTo>
                  <a:pt x="766" y="48"/>
                </a:lnTo>
                <a:lnTo>
                  <a:pt x="770" y="42"/>
                </a:lnTo>
                <a:close/>
                <a:moveTo>
                  <a:pt x="815" y="78"/>
                </a:moveTo>
                <a:lnTo>
                  <a:pt x="808" y="80"/>
                </a:lnTo>
                <a:lnTo>
                  <a:pt x="803" y="85"/>
                </a:lnTo>
                <a:lnTo>
                  <a:pt x="808" y="80"/>
                </a:lnTo>
                <a:lnTo>
                  <a:pt x="815" y="78"/>
                </a:lnTo>
                <a:lnTo>
                  <a:pt x="815" y="78"/>
                </a:lnTo>
                <a:lnTo>
                  <a:pt x="820" y="79"/>
                </a:lnTo>
                <a:lnTo>
                  <a:pt x="824" y="78"/>
                </a:lnTo>
                <a:lnTo>
                  <a:pt x="820" y="85"/>
                </a:lnTo>
                <a:lnTo>
                  <a:pt x="815" y="78"/>
                </a:lnTo>
                <a:close/>
                <a:moveTo>
                  <a:pt x="770" y="105"/>
                </a:moveTo>
                <a:lnTo>
                  <a:pt x="764" y="106"/>
                </a:lnTo>
                <a:lnTo>
                  <a:pt x="759" y="103"/>
                </a:lnTo>
                <a:lnTo>
                  <a:pt x="763" y="95"/>
                </a:lnTo>
                <a:lnTo>
                  <a:pt x="768" y="88"/>
                </a:lnTo>
                <a:lnTo>
                  <a:pt x="769" y="87"/>
                </a:lnTo>
                <a:lnTo>
                  <a:pt x="770" y="86"/>
                </a:lnTo>
                <a:lnTo>
                  <a:pt x="771" y="85"/>
                </a:lnTo>
                <a:lnTo>
                  <a:pt x="772" y="84"/>
                </a:lnTo>
                <a:lnTo>
                  <a:pt x="772" y="84"/>
                </a:lnTo>
                <a:lnTo>
                  <a:pt x="774" y="82"/>
                </a:lnTo>
                <a:lnTo>
                  <a:pt x="775" y="82"/>
                </a:lnTo>
                <a:lnTo>
                  <a:pt x="774" y="82"/>
                </a:lnTo>
                <a:lnTo>
                  <a:pt x="772" y="84"/>
                </a:lnTo>
                <a:lnTo>
                  <a:pt x="775" y="84"/>
                </a:lnTo>
                <a:lnTo>
                  <a:pt x="777" y="85"/>
                </a:lnTo>
                <a:lnTo>
                  <a:pt x="779" y="88"/>
                </a:lnTo>
                <a:lnTo>
                  <a:pt x="783" y="92"/>
                </a:lnTo>
                <a:lnTo>
                  <a:pt x="781" y="104"/>
                </a:lnTo>
                <a:lnTo>
                  <a:pt x="770" y="105"/>
                </a:lnTo>
                <a:close/>
                <a:moveTo>
                  <a:pt x="729" y="146"/>
                </a:moveTo>
                <a:lnTo>
                  <a:pt x="726" y="132"/>
                </a:lnTo>
                <a:lnTo>
                  <a:pt x="739" y="124"/>
                </a:lnTo>
                <a:lnTo>
                  <a:pt x="748" y="120"/>
                </a:lnTo>
                <a:lnTo>
                  <a:pt x="759" y="118"/>
                </a:lnTo>
                <a:lnTo>
                  <a:pt x="760" y="120"/>
                </a:lnTo>
                <a:lnTo>
                  <a:pt x="760" y="121"/>
                </a:lnTo>
                <a:lnTo>
                  <a:pt x="758" y="127"/>
                </a:lnTo>
                <a:lnTo>
                  <a:pt x="761" y="133"/>
                </a:lnTo>
                <a:lnTo>
                  <a:pt x="746" y="140"/>
                </a:lnTo>
                <a:lnTo>
                  <a:pt x="729" y="146"/>
                </a:lnTo>
                <a:close/>
                <a:moveTo>
                  <a:pt x="680" y="174"/>
                </a:moveTo>
                <a:lnTo>
                  <a:pt x="680" y="176"/>
                </a:lnTo>
                <a:lnTo>
                  <a:pt x="680" y="177"/>
                </a:lnTo>
                <a:lnTo>
                  <a:pt x="680" y="176"/>
                </a:lnTo>
                <a:lnTo>
                  <a:pt x="680" y="174"/>
                </a:lnTo>
                <a:close/>
                <a:moveTo>
                  <a:pt x="679" y="173"/>
                </a:moveTo>
                <a:lnTo>
                  <a:pt x="679" y="174"/>
                </a:lnTo>
                <a:lnTo>
                  <a:pt x="680" y="174"/>
                </a:lnTo>
                <a:lnTo>
                  <a:pt x="679" y="174"/>
                </a:lnTo>
                <a:lnTo>
                  <a:pt x="679" y="173"/>
                </a:lnTo>
                <a:lnTo>
                  <a:pt x="678" y="173"/>
                </a:lnTo>
                <a:lnTo>
                  <a:pt x="677" y="173"/>
                </a:lnTo>
                <a:lnTo>
                  <a:pt x="678" y="173"/>
                </a:lnTo>
                <a:lnTo>
                  <a:pt x="679" y="173"/>
                </a:lnTo>
                <a:close/>
                <a:moveTo>
                  <a:pt x="692" y="128"/>
                </a:moveTo>
                <a:lnTo>
                  <a:pt x="690" y="131"/>
                </a:lnTo>
                <a:lnTo>
                  <a:pt x="690" y="134"/>
                </a:lnTo>
                <a:lnTo>
                  <a:pt x="690" y="131"/>
                </a:lnTo>
                <a:lnTo>
                  <a:pt x="692" y="128"/>
                </a:lnTo>
                <a:close/>
                <a:moveTo>
                  <a:pt x="701" y="131"/>
                </a:moveTo>
                <a:lnTo>
                  <a:pt x="697" y="128"/>
                </a:lnTo>
                <a:lnTo>
                  <a:pt x="693" y="127"/>
                </a:lnTo>
                <a:lnTo>
                  <a:pt x="695" y="121"/>
                </a:lnTo>
                <a:lnTo>
                  <a:pt x="696" y="115"/>
                </a:lnTo>
                <a:lnTo>
                  <a:pt x="695" y="113"/>
                </a:lnTo>
                <a:lnTo>
                  <a:pt x="694" y="113"/>
                </a:lnTo>
                <a:lnTo>
                  <a:pt x="695" y="113"/>
                </a:lnTo>
                <a:lnTo>
                  <a:pt x="696" y="115"/>
                </a:lnTo>
                <a:lnTo>
                  <a:pt x="698" y="112"/>
                </a:lnTo>
                <a:lnTo>
                  <a:pt x="701" y="111"/>
                </a:lnTo>
                <a:lnTo>
                  <a:pt x="702" y="113"/>
                </a:lnTo>
                <a:lnTo>
                  <a:pt x="705" y="116"/>
                </a:lnTo>
                <a:lnTo>
                  <a:pt x="712" y="124"/>
                </a:lnTo>
                <a:lnTo>
                  <a:pt x="701" y="131"/>
                </a:lnTo>
                <a:close/>
                <a:moveTo>
                  <a:pt x="759" y="116"/>
                </a:moveTo>
                <a:lnTo>
                  <a:pt x="759" y="115"/>
                </a:lnTo>
                <a:lnTo>
                  <a:pt x="759" y="112"/>
                </a:lnTo>
                <a:lnTo>
                  <a:pt x="759" y="115"/>
                </a:lnTo>
                <a:lnTo>
                  <a:pt x="759" y="116"/>
                </a:lnTo>
                <a:close/>
                <a:moveTo>
                  <a:pt x="813" y="46"/>
                </a:moveTo>
                <a:lnTo>
                  <a:pt x="804" y="50"/>
                </a:lnTo>
                <a:lnTo>
                  <a:pt x="796" y="51"/>
                </a:lnTo>
                <a:lnTo>
                  <a:pt x="803" y="46"/>
                </a:lnTo>
                <a:lnTo>
                  <a:pt x="813" y="46"/>
                </a:lnTo>
                <a:close/>
                <a:moveTo>
                  <a:pt x="424" y="302"/>
                </a:moveTo>
                <a:lnTo>
                  <a:pt x="423" y="302"/>
                </a:lnTo>
                <a:lnTo>
                  <a:pt x="422" y="303"/>
                </a:lnTo>
                <a:lnTo>
                  <a:pt x="421" y="304"/>
                </a:lnTo>
                <a:lnTo>
                  <a:pt x="410" y="311"/>
                </a:lnTo>
                <a:lnTo>
                  <a:pt x="400" y="320"/>
                </a:lnTo>
                <a:lnTo>
                  <a:pt x="392" y="324"/>
                </a:lnTo>
                <a:lnTo>
                  <a:pt x="381" y="322"/>
                </a:lnTo>
                <a:lnTo>
                  <a:pt x="381" y="322"/>
                </a:lnTo>
                <a:lnTo>
                  <a:pt x="382" y="320"/>
                </a:lnTo>
                <a:lnTo>
                  <a:pt x="384" y="319"/>
                </a:lnTo>
                <a:lnTo>
                  <a:pt x="382" y="318"/>
                </a:lnTo>
                <a:lnTo>
                  <a:pt x="380" y="318"/>
                </a:lnTo>
                <a:lnTo>
                  <a:pt x="384" y="310"/>
                </a:lnTo>
                <a:lnTo>
                  <a:pt x="391" y="305"/>
                </a:lnTo>
                <a:lnTo>
                  <a:pt x="407" y="301"/>
                </a:lnTo>
                <a:lnTo>
                  <a:pt x="418" y="288"/>
                </a:lnTo>
                <a:lnTo>
                  <a:pt x="421" y="279"/>
                </a:lnTo>
                <a:lnTo>
                  <a:pt x="428" y="277"/>
                </a:lnTo>
                <a:lnTo>
                  <a:pt x="421" y="279"/>
                </a:lnTo>
                <a:lnTo>
                  <a:pt x="418" y="288"/>
                </a:lnTo>
                <a:lnTo>
                  <a:pt x="421" y="287"/>
                </a:lnTo>
                <a:lnTo>
                  <a:pt x="424" y="286"/>
                </a:lnTo>
                <a:lnTo>
                  <a:pt x="424" y="286"/>
                </a:lnTo>
                <a:lnTo>
                  <a:pt x="425" y="293"/>
                </a:lnTo>
                <a:lnTo>
                  <a:pt x="424" y="302"/>
                </a:lnTo>
                <a:close/>
                <a:moveTo>
                  <a:pt x="389" y="262"/>
                </a:moveTo>
                <a:lnTo>
                  <a:pt x="391" y="262"/>
                </a:lnTo>
                <a:lnTo>
                  <a:pt x="392" y="263"/>
                </a:lnTo>
                <a:lnTo>
                  <a:pt x="391" y="262"/>
                </a:lnTo>
                <a:lnTo>
                  <a:pt x="389" y="262"/>
                </a:lnTo>
                <a:close/>
                <a:moveTo>
                  <a:pt x="417" y="232"/>
                </a:moveTo>
                <a:lnTo>
                  <a:pt x="417" y="232"/>
                </a:lnTo>
                <a:lnTo>
                  <a:pt x="418" y="233"/>
                </a:lnTo>
                <a:lnTo>
                  <a:pt x="417" y="232"/>
                </a:lnTo>
                <a:lnTo>
                  <a:pt x="417" y="232"/>
                </a:lnTo>
                <a:close/>
                <a:moveTo>
                  <a:pt x="419" y="233"/>
                </a:moveTo>
                <a:lnTo>
                  <a:pt x="419" y="233"/>
                </a:lnTo>
                <a:lnTo>
                  <a:pt x="419" y="233"/>
                </a:lnTo>
                <a:lnTo>
                  <a:pt x="419" y="233"/>
                </a:lnTo>
                <a:lnTo>
                  <a:pt x="419" y="233"/>
                </a:lnTo>
                <a:close/>
                <a:moveTo>
                  <a:pt x="390" y="299"/>
                </a:moveTo>
                <a:lnTo>
                  <a:pt x="390" y="300"/>
                </a:lnTo>
                <a:lnTo>
                  <a:pt x="390" y="300"/>
                </a:lnTo>
                <a:lnTo>
                  <a:pt x="390" y="300"/>
                </a:lnTo>
                <a:lnTo>
                  <a:pt x="390" y="299"/>
                </a:lnTo>
                <a:close/>
                <a:moveTo>
                  <a:pt x="355" y="299"/>
                </a:moveTo>
                <a:lnTo>
                  <a:pt x="357" y="298"/>
                </a:lnTo>
                <a:lnTo>
                  <a:pt x="358" y="296"/>
                </a:lnTo>
                <a:lnTo>
                  <a:pt x="357" y="298"/>
                </a:lnTo>
                <a:lnTo>
                  <a:pt x="355" y="299"/>
                </a:lnTo>
                <a:close/>
                <a:moveTo>
                  <a:pt x="215" y="449"/>
                </a:moveTo>
                <a:lnTo>
                  <a:pt x="216" y="451"/>
                </a:lnTo>
                <a:lnTo>
                  <a:pt x="216" y="449"/>
                </a:lnTo>
                <a:lnTo>
                  <a:pt x="215" y="449"/>
                </a:lnTo>
                <a:close/>
                <a:moveTo>
                  <a:pt x="1021" y="150"/>
                </a:moveTo>
                <a:lnTo>
                  <a:pt x="1021" y="150"/>
                </a:lnTo>
                <a:lnTo>
                  <a:pt x="1021" y="150"/>
                </a:lnTo>
                <a:lnTo>
                  <a:pt x="1021" y="150"/>
                </a:lnTo>
                <a:close/>
                <a:moveTo>
                  <a:pt x="1022" y="151"/>
                </a:moveTo>
                <a:lnTo>
                  <a:pt x="1022" y="151"/>
                </a:lnTo>
                <a:lnTo>
                  <a:pt x="1022" y="151"/>
                </a:lnTo>
                <a:lnTo>
                  <a:pt x="1022" y="151"/>
                </a:lnTo>
                <a:close/>
                <a:moveTo>
                  <a:pt x="1030" y="207"/>
                </a:moveTo>
                <a:lnTo>
                  <a:pt x="1030" y="207"/>
                </a:lnTo>
                <a:lnTo>
                  <a:pt x="1030" y="207"/>
                </a:lnTo>
                <a:lnTo>
                  <a:pt x="1031" y="206"/>
                </a:lnTo>
                <a:lnTo>
                  <a:pt x="1030" y="207"/>
                </a:lnTo>
                <a:lnTo>
                  <a:pt x="1030" y="207"/>
                </a:lnTo>
                <a:close/>
                <a:moveTo>
                  <a:pt x="1025" y="181"/>
                </a:moveTo>
                <a:lnTo>
                  <a:pt x="1025" y="182"/>
                </a:lnTo>
                <a:lnTo>
                  <a:pt x="1026" y="182"/>
                </a:lnTo>
                <a:lnTo>
                  <a:pt x="1025" y="182"/>
                </a:lnTo>
                <a:lnTo>
                  <a:pt x="1025" y="181"/>
                </a:lnTo>
                <a:lnTo>
                  <a:pt x="1025" y="181"/>
                </a:lnTo>
                <a:close/>
                <a:moveTo>
                  <a:pt x="1026" y="185"/>
                </a:moveTo>
                <a:lnTo>
                  <a:pt x="1026" y="185"/>
                </a:lnTo>
                <a:lnTo>
                  <a:pt x="1026" y="185"/>
                </a:lnTo>
                <a:lnTo>
                  <a:pt x="1026" y="185"/>
                </a:lnTo>
                <a:lnTo>
                  <a:pt x="1026" y="185"/>
                </a:lnTo>
                <a:close/>
                <a:moveTo>
                  <a:pt x="648" y="1426"/>
                </a:moveTo>
                <a:lnTo>
                  <a:pt x="648" y="1425"/>
                </a:lnTo>
                <a:lnTo>
                  <a:pt x="649" y="1424"/>
                </a:lnTo>
                <a:lnTo>
                  <a:pt x="648" y="1425"/>
                </a:lnTo>
                <a:lnTo>
                  <a:pt x="648" y="1426"/>
                </a:lnTo>
                <a:lnTo>
                  <a:pt x="648" y="1432"/>
                </a:lnTo>
                <a:lnTo>
                  <a:pt x="648" y="1438"/>
                </a:lnTo>
                <a:lnTo>
                  <a:pt x="645" y="1432"/>
                </a:lnTo>
                <a:lnTo>
                  <a:pt x="648" y="1426"/>
                </a:lnTo>
                <a:close/>
                <a:moveTo>
                  <a:pt x="628" y="1193"/>
                </a:moveTo>
                <a:lnTo>
                  <a:pt x="628" y="1193"/>
                </a:lnTo>
                <a:lnTo>
                  <a:pt x="628" y="1194"/>
                </a:lnTo>
                <a:lnTo>
                  <a:pt x="628" y="1193"/>
                </a:lnTo>
                <a:lnTo>
                  <a:pt x="628" y="1193"/>
                </a:lnTo>
                <a:close/>
                <a:moveTo>
                  <a:pt x="635" y="1278"/>
                </a:moveTo>
                <a:lnTo>
                  <a:pt x="634" y="1277"/>
                </a:lnTo>
                <a:lnTo>
                  <a:pt x="634" y="1275"/>
                </a:lnTo>
                <a:lnTo>
                  <a:pt x="634" y="1274"/>
                </a:lnTo>
                <a:lnTo>
                  <a:pt x="635" y="1273"/>
                </a:lnTo>
                <a:lnTo>
                  <a:pt x="636" y="1274"/>
                </a:lnTo>
                <a:lnTo>
                  <a:pt x="637" y="1275"/>
                </a:lnTo>
                <a:lnTo>
                  <a:pt x="636" y="1277"/>
                </a:lnTo>
                <a:lnTo>
                  <a:pt x="635" y="1278"/>
                </a:lnTo>
                <a:close/>
                <a:moveTo>
                  <a:pt x="653" y="1478"/>
                </a:moveTo>
                <a:lnTo>
                  <a:pt x="667" y="1476"/>
                </a:lnTo>
                <a:lnTo>
                  <a:pt x="683" y="1476"/>
                </a:lnTo>
                <a:lnTo>
                  <a:pt x="705" y="1467"/>
                </a:lnTo>
                <a:lnTo>
                  <a:pt x="713" y="1445"/>
                </a:lnTo>
                <a:lnTo>
                  <a:pt x="713" y="1439"/>
                </a:lnTo>
                <a:lnTo>
                  <a:pt x="714" y="1434"/>
                </a:lnTo>
                <a:lnTo>
                  <a:pt x="719" y="1365"/>
                </a:lnTo>
                <a:lnTo>
                  <a:pt x="725" y="1296"/>
                </a:lnTo>
                <a:lnTo>
                  <a:pt x="727" y="1304"/>
                </a:lnTo>
                <a:lnTo>
                  <a:pt x="728" y="1313"/>
                </a:lnTo>
                <a:lnTo>
                  <a:pt x="736" y="1310"/>
                </a:lnTo>
                <a:lnTo>
                  <a:pt x="737" y="1316"/>
                </a:lnTo>
                <a:lnTo>
                  <a:pt x="737" y="1326"/>
                </a:lnTo>
                <a:lnTo>
                  <a:pt x="740" y="1334"/>
                </a:lnTo>
                <a:lnTo>
                  <a:pt x="744" y="1327"/>
                </a:lnTo>
                <a:lnTo>
                  <a:pt x="747" y="1319"/>
                </a:lnTo>
                <a:lnTo>
                  <a:pt x="745" y="1299"/>
                </a:lnTo>
                <a:lnTo>
                  <a:pt x="746" y="1280"/>
                </a:lnTo>
                <a:lnTo>
                  <a:pt x="747" y="1266"/>
                </a:lnTo>
                <a:lnTo>
                  <a:pt x="746" y="1252"/>
                </a:lnTo>
                <a:lnTo>
                  <a:pt x="745" y="1249"/>
                </a:lnTo>
                <a:lnTo>
                  <a:pt x="742" y="1247"/>
                </a:lnTo>
                <a:lnTo>
                  <a:pt x="740" y="1249"/>
                </a:lnTo>
                <a:lnTo>
                  <a:pt x="740" y="1252"/>
                </a:lnTo>
                <a:lnTo>
                  <a:pt x="732" y="1264"/>
                </a:lnTo>
                <a:lnTo>
                  <a:pt x="719" y="1264"/>
                </a:lnTo>
                <a:lnTo>
                  <a:pt x="725" y="1259"/>
                </a:lnTo>
                <a:lnTo>
                  <a:pt x="727" y="1252"/>
                </a:lnTo>
                <a:lnTo>
                  <a:pt x="724" y="1227"/>
                </a:lnTo>
                <a:lnTo>
                  <a:pt x="714" y="1203"/>
                </a:lnTo>
                <a:lnTo>
                  <a:pt x="710" y="1195"/>
                </a:lnTo>
                <a:lnTo>
                  <a:pt x="703" y="1189"/>
                </a:lnTo>
                <a:lnTo>
                  <a:pt x="667" y="1176"/>
                </a:lnTo>
                <a:lnTo>
                  <a:pt x="631" y="1188"/>
                </a:lnTo>
                <a:lnTo>
                  <a:pt x="628" y="1189"/>
                </a:lnTo>
                <a:lnTo>
                  <a:pt x="628" y="1191"/>
                </a:lnTo>
                <a:lnTo>
                  <a:pt x="628" y="1189"/>
                </a:lnTo>
                <a:lnTo>
                  <a:pt x="631" y="1188"/>
                </a:lnTo>
                <a:lnTo>
                  <a:pt x="620" y="1191"/>
                </a:lnTo>
                <a:lnTo>
                  <a:pt x="612" y="1200"/>
                </a:lnTo>
                <a:lnTo>
                  <a:pt x="606" y="1210"/>
                </a:lnTo>
                <a:lnTo>
                  <a:pt x="597" y="1220"/>
                </a:lnTo>
                <a:lnTo>
                  <a:pt x="593" y="1227"/>
                </a:lnTo>
                <a:lnTo>
                  <a:pt x="602" y="1234"/>
                </a:lnTo>
                <a:lnTo>
                  <a:pt x="604" y="1221"/>
                </a:lnTo>
                <a:lnTo>
                  <a:pt x="611" y="1216"/>
                </a:lnTo>
                <a:lnTo>
                  <a:pt x="623" y="1224"/>
                </a:lnTo>
                <a:lnTo>
                  <a:pt x="621" y="1240"/>
                </a:lnTo>
                <a:lnTo>
                  <a:pt x="633" y="1235"/>
                </a:lnTo>
                <a:lnTo>
                  <a:pt x="637" y="1246"/>
                </a:lnTo>
                <a:lnTo>
                  <a:pt x="638" y="1253"/>
                </a:lnTo>
                <a:lnTo>
                  <a:pt x="642" y="1262"/>
                </a:lnTo>
                <a:lnTo>
                  <a:pt x="642" y="1266"/>
                </a:lnTo>
                <a:lnTo>
                  <a:pt x="637" y="1268"/>
                </a:lnTo>
                <a:lnTo>
                  <a:pt x="631" y="1271"/>
                </a:lnTo>
                <a:lnTo>
                  <a:pt x="631" y="1279"/>
                </a:lnTo>
                <a:lnTo>
                  <a:pt x="631" y="1287"/>
                </a:lnTo>
                <a:lnTo>
                  <a:pt x="633" y="1295"/>
                </a:lnTo>
                <a:lnTo>
                  <a:pt x="634" y="1300"/>
                </a:lnTo>
                <a:lnTo>
                  <a:pt x="628" y="1301"/>
                </a:lnTo>
                <a:lnTo>
                  <a:pt x="618" y="1301"/>
                </a:lnTo>
                <a:lnTo>
                  <a:pt x="607" y="1297"/>
                </a:lnTo>
                <a:lnTo>
                  <a:pt x="582" y="1293"/>
                </a:lnTo>
                <a:lnTo>
                  <a:pt x="559" y="1303"/>
                </a:lnTo>
                <a:lnTo>
                  <a:pt x="587" y="1305"/>
                </a:lnTo>
                <a:lnTo>
                  <a:pt x="613" y="1316"/>
                </a:lnTo>
                <a:lnTo>
                  <a:pt x="603" y="1329"/>
                </a:lnTo>
                <a:lnTo>
                  <a:pt x="596" y="1345"/>
                </a:lnTo>
                <a:lnTo>
                  <a:pt x="594" y="1336"/>
                </a:lnTo>
                <a:lnTo>
                  <a:pt x="588" y="1334"/>
                </a:lnTo>
                <a:lnTo>
                  <a:pt x="578" y="1340"/>
                </a:lnTo>
                <a:lnTo>
                  <a:pt x="575" y="1348"/>
                </a:lnTo>
                <a:lnTo>
                  <a:pt x="576" y="1364"/>
                </a:lnTo>
                <a:lnTo>
                  <a:pt x="577" y="1379"/>
                </a:lnTo>
                <a:lnTo>
                  <a:pt x="577" y="1382"/>
                </a:lnTo>
                <a:lnTo>
                  <a:pt x="580" y="1385"/>
                </a:lnTo>
                <a:lnTo>
                  <a:pt x="582" y="1384"/>
                </a:lnTo>
                <a:lnTo>
                  <a:pt x="585" y="1380"/>
                </a:lnTo>
                <a:lnTo>
                  <a:pt x="587" y="1375"/>
                </a:lnTo>
                <a:lnTo>
                  <a:pt x="588" y="1370"/>
                </a:lnTo>
                <a:lnTo>
                  <a:pt x="592" y="1360"/>
                </a:lnTo>
                <a:lnTo>
                  <a:pt x="601" y="1357"/>
                </a:lnTo>
                <a:lnTo>
                  <a:pt x="603" y="1363"/>
                </a:lnTo>
                <a:lnTo>
                  <a:pt x="602" y="1370"/>
                </a:lnTo>
                <a:lnTo>
                  <a:pt x="597" y="1400"/>
                </a:lnTo>
                <a:lnTo>
                  <a:pt x="600" y="1430"/>
                </a:lnTo>
                <a:lnTo>
                  <a:pt x="601" y="1445"/>
                </a:lnTo>
                <a:lnTo>
                  <a:pt x="597" y="1460"/>
                </a:lnTo>
                <a:lnTo>
                  <a:pt x="600" y="1470"/>
                </a:lnTo>
                <a:lnTo>
                  <a:pt x="609" y="1470"/>
                </a:lnTo>
                <a:lnTo>
                  <a:pt x="630" y="1463"/>
                </a:lnTo>
                <a:lnTo>
                  <a:pt x="647" y="1447"/>
                </a:lnTo>
                <a:lnTo>
                  <a:pt x="647" y="1458"/>
                </a:lnTo>
                <a:lnTo>
                  <a:pt x="646" y="1470"/>
                </a:lnTo>
                <a:lnTo>
                  <a:pt x="646" y="1477"/>
                </a:lnTo>
                <a:lnTo>
                  <a:pt x="653" y="1478"/>
                </a:lnTo>
                <a:close/>
                <a:moveTo>
                  <a:pt x="2778" y="1613"/>
                </a:moveTo>
                <a:lnTo>
                  <a:pt x="2777" y="1614"/>
                </a:lnTo>
                <a:lnTo>
                  <a:pt x="2777" y="1615"/>
                </a:lnTo>
                <a:lnTo>
                  <a:pt x="2777" y="1614"/>
                </a:lnTo>
                <a:lnTo>
                  <a:pt x="2778" y="1613"/>
                </a:lnTo>
                <a:close/>
                <a:moveTo>
                  <a:pt x="2682" y="1363"/>
                </a:moveTo>
                <a:lnTo>
                  <a:pt x="2686" y="1343"/>
                </a:lnTo>
                <a:lnTo>
                  <a:pt x="2695" y="1324"/>
                </a:lnTo>
                <a:lnTo>
                  <a:pt x="2699" y="1318"/>
                </a:lnTo>
                <a:lnTo>
                  <a:pt x="2704" y="1316"/>
                </a:lnTo>
                <a:lnTo>
                  <a:pt x="2710" y="1320"/>
                </a:lnTo>
                <a:lnTo>
                  <a:pt x="2711" y="1328"/>
                </a:lnTo>
                <a:lnTo>
                  <a:pt x="2711" y="1331"/>
                </a:lnTo>
                <a:lnTo>
                  <a:pt x="2712" y="1336"/>
                </a:lnTo>
                <a:lnTo>
                  <a:pt x="2707" y="1356"/>
                </a:lnTo>
                <a:lnTo>
                  <a:pt x="2692" y="1370"/>
                </a:lnTo>
                <a:lnTo>
                  <a:pt x="2683" y="1370"/>
                </a:lnTo>
                <a:lnTo>
                  <a:pt x="2682" y="1363"/>
                </a:lnTo>
                <a:close/>
                <a:moveTo>
                  <a:pt x="2677" y="1324"/>
                </a:moveTo>
                <a:lnTo>
                  <a:pt x="2677" y="1339"/>
                </a:lnTo>
                <a:lnTo>
                  <a:pt x="2676" y="1353"/>
                </a:lnTo>
                <a:lnTo>
                  <a:pt x="2673" y="1365"/>
                </a:lnTo>
                <a:lnTo>
                  <a:pt x="2677" y="1377"/>
                </a:lnTo>
                <a:lnTo>
                  <a:pt x="2673" y="1388"/>
                </a:lnTo>
                <a:lnTo>
                  <a:pt x="2665" y="1396"/>
                </a:lnTo>
                <a:lnTo>
                  <a:pt x="2671" y="1400"/>
                </a:lnTo>
                <a:lnTo>
                  <a:pt x="2677" y="1403"/>
                </a:lnTo>
                <a:lnTo>
                  <a:pt x="2679" y="1428"/>
                </a:lnTo>
                <a:lnTo>
                  <a:pt x="2681" y="1454"/>
                </a:lnTo>
                <a:lnTo>
                  <a:pt x="2685" y="1485"/>
                </a:lnTo>
                <a:lnTo>
                  <a:pt x="2685" y="1517"/>
                </a:lnTo>
                <a:lnTo>
                  <a:pt x="2689" y="1539"/>
                </a:lnTo>
                <a:lnTo>
                  <a:pt x="2693" y="1561"/>
                </a:lnTo>
                <a:lnTo>
                  <a:pt x="2693" y="1573"/>
                </a:lnTo>
                <a:lnTo>
                  <a:pt x="2697" y="1583"/>
                </a:lnTo>
                <a:lnTo>
                  <a:pt x="2708" y="1586"/>
                </a:lnTo>
                <a:lnTo>
                  <a:pt x="2720" y="1585"/>
                </a:lnTo>
                <a:lnTo>
                  <a:pt x="2729" y="1587"/>
                </a:lnTo>
                <a:lnTo>
                  <a:pt x="2738" y="1589"/>
                </a:lnTo>
                <a:lnTo>
                  <a:pt x="2735" y="1594"/>
                </a:lnTo>
                <a:lnTo>
                  <a:pt x="2740" y="1596"/>
                </a:lnTo>
                <a:lnTo>
                  <a:pt x="2732" y="1602"/>
                </a:lnTo>
                <a:lnTo>
                  <a:pt x="2723" y="1605"/>
                </a:lnTo>
                <a:lnTo>
                  <a:pt x="2730" y="1609"/>
                </a:lnTo>
                <a:lnTo>
                  <a:pt x="2738" y="1608"/>
                </a:lnTo>
                <a:lnTo>
                  <a:pt x="2750" y="1614"/>
                </a:lnTo>
                <a:lnTo>
                  <a:pt x="2762" y="1618"/>
                </a:lnTo>
                <a:lnTo>
                  <a:pt x="2767" y="1621"/>
                </a:lnTo>
                <a:lnTo>
                  <a:pt x="2771" y="1618"/>
                </a:lnTo>
                <a:lnTo>
                  <a:pt x="2774" y="1618"/>
                </a:lnTo>
                <a:lnTo>
                  <a:pt x="2776" y="1618"/>
                </a:lnTo>
                <a:lnTo>
                  <a:pt x="2776" y="1623"/>
                </a:lnTo>
                <a:lnTo>
                  <a:pt x="2778" y="1628"/>
                </a:lnTo>
                <a:lnTo>
                  <a:pt x="2783" y="1623"/>
                </a:lnTo>
                <a:lnTo>
                  <a:pt x="2783" y="1618"/>
                </a:lnTo>
                <a:lnTo>
                  <a:pt x="2794" y="1619"/>
                </a:lnTo>
                <a:lnTo>
                  <a:pt x="2804" y="1618"/>
                </a:lnTo>
                <a:lnTo>
                  <a:pt x="2803" y="1607"/>
                </a:lnTo>
                <a:lnTo>
                  <a:pt x="2798" y="1596"/>
                </a:lnTo>
                <a:lnTo>
                  <a:pt x="2799" y="1593"/>
                </a:lnTo>
                <a:lnTo>
                  <a:pt x="2799" y="1591"/>
                </a:lnTo>
                <a:lnTo>
                  <a:pt x="2803" y="1590"/>
                </a:lnTo>
                <a:lnTo>
                  <a:pt x="2806" y="1587"/>
                </a:lnTo>
                <a:lnTo>
                  <a:pt x="2805" y="1584"/>
                </a:lnTo>
                <a:lnTo>
                  <a:pt x="2801" y="1583"/>
                </a:lnTo>
                <a:lnTo>
                  <a:pt x="2799" y="1581"/>
                </a:lnTo>
                <a:lnTo>
                  <a:pt x="2799" y="1578"/>
                </a:lnTo>
                <a:lnTo>
                  <a:pt x="2804" y="1574"/>
                </a:lnTo>
                <a:lnTo>
                  <a:pt x="2799" y="1570"/>
                </a:lnTo>
                <a:lnTo>
                  <a:pt x="2797" y="1568"/>
                </a:lnTo>
                <a:lnTo>
                  <a:pt x="2798" y="1564"/>
                </a:lnTo>
                <a:lnTo>
                  <a:pt x="2804" y="1550"/>
                </a:lnTo>
                <a:lnTo>
                  <a:pt x="2798" y="1538"/>
                </a:lnTo>
                <a:lnTo>
                  <a:pt x="2798" y="1537"/>
                </a:lnTo>
                <a:lnTo>
                  <a:pt x="2798" y="1535"/>
                </a:lnTo>
                <a:lnTo>
                  <a:pt x="2803" y="1535"/>
                </a:lnTo>
                <a:lnTo>
                  <a:pt x="2808" y="1534"/>
                </a:lnTo>
                <a:lnTo>
                  <a:pt x="2802" y="1529"/>
                </a:lnTo>
                <a:lnTo>
                  <a:pt x="2801" y="1522"/>
                </a:lnTo>
                <a:lnTo>
                  <a:pt x="2799" y="1496"/>
                </a:lnTo>
                <a:lnTo>
                  <a:pt x="2797" y="1470"/>
                </a:lnTo>
                <a:lnTo>
                  <a:pt x="2793" y="1438"/>
                </a:lnTo>
                <a:lnTo>
                  <a:pt x="2791" y="1406"/>
                </a:lnTo>
                <a:lnTo>
                  <a:pt x="2793" y="1405"/>
                </a:lnTo>
                <a:lnTo>
                  <a:pt x="2794" y="1404"/>
                </a:lnTo>
                <a:lnTo>
                  <a:pt x="2788" y="1389"/>
                </a:lnTo>
                <a:lnTo>
                  <a:pt x="2786" y="1374"/>
                </a:lnTo>
                <a:lnTo>
                  <a:pt x="2784" y="1371"/>
                </a:lnTo>
                <a:lnTo>
                  <a:pt x="2786" y="1364"/>
                </a:lnTo>
                <a:lnTo>
                  <a:pt x="2788" y="1357"/>
                </a:lnTo>
                <a:lnTo>
                  <a:pt x="2785" y="1350"/>
                </a:lnTo>
                <a:lnTo>
                  <a:pt x="2777" y="1341"/>
                </a:lnTo>
                <a:lnTo>
                  <a:pt x="2773" y="1331"/>
                </a:lnTo>
                <a:lnTo>
                  <a:pt x="2763" y="1315"/>
                </a:lnTo>
                <a:lnTo>
                  <a:pt x="2752" y="1301"/>
                </a:lnTo>
                <a:lnTo>
                  <a:pt x="2708" y="1293"/>
                </a:lnTo>
                <a:lnTo>
                  <a:pt x="2677" y="1324"/>
                </a:lnTo>
                <a:close/>
                <a:moveTo>
                  <a:pt x="2320" y="1545"/>
                </a:moveTo>
                <a:lnTo>
                  <a:pt x="2318" y="1545"/>
                </a:lnTo>
                <a:lnTo>
                  <a:pt x="2316" y="1544"/>
                </a:lnTo>
                <a:lnTo>
                  <a:pt x="2318" y="1545"/>
                </a:lnTo>
                <a:lnTo>
                  <a:pt x="2320" y="1545"/>
                </a:lnTo>
                <a:lnTo>
                  <a:pt x="2326" y="1552"/>
                </a:lnTo>
                <a:lnTo>
                  <a:pt x="2322" y="1560"/>
                </a:lnTo>
                <a:lnTo>
                  <a:pt x="2312" y="1568"/>
                </a:lnTo>
                <a:lnTo>
                  <a:pt x="2301" y="1561"/>
                </a:lnTo>
                <a:lnTo>
                  <a:pt x="2299" y="1559"/>
                </a:lnTo>
                <a:lnTo>
                  <a:pt x="2300" y="1555"/>
                </a:lnTo>
                <a:lnTo>
                  <a:pt x="2310" y="1545"/>
                </a:lnTo>
                <a:lnTo>
                  <a:pt x="2320" y="1533"/>
                </a:lnTo>
                <a:lnTo>
                  <a:pt x="2325" y="1532"/>
                </a:lnTo>
                <a:lnTo>
                  <a:pt x="2334" y="1534"/>
                </a:lnTo>
                <a:lnTo>
                  <a:pt x="2328" y="1541"/>
                </a:lnTo>
                <a:lnTo>
                  <a:pt x="2320" y="1545"/>
                </a:lnTo>
                <a:close/>
                <a:moveTo>
                  <a:pt x="1510" y="1185"/>
                </a:moveTo>
                <a:lnTo>
                  <a:pt x="1511" y="1183"/>
                </a:lnTo>
                <a:lnTo>
                  <a:pt x="1511" y="1182"/>
                </a:lnTo>
                <a:lnTo>
                  <a:pt x="1511" y="1183"/>
                </a:lnTo>
                <a:lnTo>
                  <a:pt x="1510" y="1185"/>
                </a:lnTo>
                <a:close/>
                <a:moveTo>
                  <a:pt x="1782" y="1330"/>
                </a:moveTo>
                <a:lnTo>
                  <a:pt x="1780" y="1321"/>
                </a:lnTo>
                <a:lnTo>
                  <a:pt x="1784" y="1314"/>
                </a:lnTo>
                <a:lnTo>
                  <a:pt x="1785" y="1311"/>
                </a:lnTo>
                <a:lnTo>
                  <a:pt x="1785" y="1308"/>
                </a:lnTo>
                <a:lnTo>
                  <a:pt x="1785" y="1311"/>
                </a:lnTo>
                <a:lnTo>
                  <a:pt x="1784" y="1314"/>
                </a:lnTo>
                <a:lnTo>
                  <a:pt x="1786" y="1323"/>
                </a:lnTo>
                <a:lnTo>
                  <a:pt x="1782" y="1330"/>
                </a:lnTo>
                <a:close/>
                <a:moveTo>
                  <a:pt x="2389" y="1557"/>
                </a:moveTo>
                <a:lnTo>
                  <a:pt x="2384" y="1560"/>
                </a:lnTo>
                <a:lnTo>
                  <a:pt x="2381" y="1559"/>
                </a:lnTo>
                <a:lnTo>
                  <a:pt x="2383" y="1556"/>
                </a:lnTo>
                <a:lnTo>
                  <a:pt x="2388" y="1554"/>
                </a:lnTo>
                <a:lnTo>
                  <a:pt x="2389" y="1555"/>
                </a:lnTo>
                <a:lnTo>
                  <a:pt x="2389" y="1557"/>
                </a:lnTo>
                <a:close/>
                <a:moveTo>
                  <a:pt x="2333" y="1494"/>
                </a:moveTo>
                <a:lnTo>
                  <a:pt x="2315" y="1494"/>
                </a:lnTo>
                <a:lnTo>
                  <a:pt x="2297" y="1495"/>
                </a:lnTo>
                <a:lnTo>
                  <a:pt x="2293" y="1493"/>
                </a:lnTo>
                <a:lnTo>
                  <a:pt x="2293" y="1487"/>
                </a:lnTo>
                <a:lnTo>
                  <a:pt x="2291" y="1483"/>
                </a:lnTo>
                <a:lnTo>
                  <a:pt x="2290" y="1479"/>
                </a:lnTo>
                <a:lnTo>
                  <a:pt x="2290" y="1479"/>
                </a:lnTo>
                <a:lnTo>
                  <a:pt x="2290" y="1478"/>
                </a:lnTo>
                <a:lnTo>
                  <a:pt x="2290" y="1479"/>
                </a:lnTo>
                <a:lnTo>
                  <a:pt x="2290" y="1479"/>
                </a:lnTo>
                <a:lnTo>
                  <a:pt x="2291" y="1483"/>
                </a:lnTo>
                <a:lnTo>
                  <a:pt x="2293" y="1487"/>
                </a:lnTo>
                <a:lnTo>
                  <a:pt x="2348" y="1486"/>
                </a:lnTo>
                <a:lnTo>
                  <a:pt x="2403" y="1486"/>
                </a:lnTo>
                <a:lnTo>
                  <a:pt x="2408" y="1486"/>
                </a:lnTo>
                <a:lnTo>
                  <a:pt x="2412" y="1489"/>
                </a:lnTo>
                <a:lnTo>
                  <a:pt x="2411" y="1495"/>
                </a:lnTo>
                <a:lnTo>
                  <a:pt x="2407" y="1499"/>
                </a:lnTo>
                <a:lnTo>
                  <a:pt x="2370" y="1491"/>
                </a:lnTo>
                <a:lnTo>
                  <a:pt x="2333" y="1494"/>
                </a:lnTo>
                <a:close/>
                <a:moveTo>
                  <a:pt x="2377" y="1268"/>
                </a:moveTo>
                <a:lnTo>
                  <a:pt x="2378" y="1269"/>
                </a:lnTo>
                <a:lnTo>
                  <a:pt x="2379" y="1269"/>
                </a:lnTo>
                <a:lnTo>
                  <a:pt x="2378" y="1270"/>
                </a:lnTo>
                <a:lnTo>
                  <a:pt x="2378" y="1270"/>
                </a:lnTo>
                <a:lnTo>
                  <a:pt x="2377" y="1269"/>
                </a:lnTo>
                <a:lnTo>
                  <a:pt x="2377" y="1268"/>
                </a:lnTo>
                <a:close/>
                <a:moveTo>
                  <a:pt x="2197" y="1615"/>
                </a:moveTo>
                <a:lnTo>
                  <a:pt x="2197" y="1614"/>
                </a:lnTo>
                <a:lnTo>
                  <a:pt x="2197" y="1614"/>
                </a:lnTo>
                <a:lnTo>
                  <a:pt x="2197" y="1614"/>
                </a:lnTo>
                <a:lnTo>
                  <a:pt x="2198" y="1613"/>
                </a:lnTo>
                <a:lnTo>
                  <a:pt x="2198" y="1614"/>
                </a:lnTo>
                <a:lnTo>
                  <a:pt x="2198" y="1614"/>
                </a:lnTo>
                <a:lnTo>
                  <a:pt x="2198" y="1614"/>
                </a:lnTo>
                <a:lnTo>
                  <a:pt x="2197" y="1615"/>
                </a:lnTo>
                <a:close/>
                <a:moveTo>
                  <a:pt x="2092" y="1584"/>
                </a:moveTo>
                <a:lnTo>
                  <a:pt x="2092" y="1584"/>
                </a:lnTo>
                <a:lnTo>
                  <a:pt x="2093" y="1583"/>
                </a:lnTo>
                <a:lnTo>
                  <a:pt x="2092" y="1584"/>
                </a:lnTo>
                <a:lnTo>
                  <a:pt x="2092" y="1584"/>
                </a:lnTo>
                <a:close/>
                <a:moveTo>
                  <a:pt x="1915" y="864"/>
                </a:moveTo>
                <a:lnTo>
                  <a:pt x="1931" y="862"/>
                </a:lnTo>
                <a:lnTo>
                  <a:pt x="1947" y="861"/>
                </a:lnTo>
                <a:lnTo>
                  <a:pt x="1960" y="864"/>
                </a:lnTo>
                <a:lnTo>
                  <a:pt x="1960" y="879"/>
                </a:lnTo>
                <a:lnTo>
                  <a:pt x="1951" y="871"/>
                </a:lnTo>
                <a:lnTo>
                  <a:pt x="1940" y="872"/>
                </a:lnTo>
                <a:lnTo>
                  <a:pt x="1937" y="879"/>
                </a:lnTo>
                <a:lnTo>
                  <a:pt x="1941" y="884"/>
                </a:lnTo>
                <a:lnTo>
                  <a:pt x="1923" y="883"/>
                </a:lnTo>
                <a:lnTo>
                  <a:pt x="1905" y="882"/>
                </a:lnTo>
                <a:lnTo>
                  <a:pt x="1905" y="869"/>
                </a:lnTo>
                <a:lnTo>
                  <a:pt x="1905" y="857"/>
                </a:lnTo>
                <a:lnTo>
                  <a:pt x="1909" y="862"/>
                </a:lnTo>
                <a:lnTo>
                  <a:pt x="1915" y="864"/>
                </a:lnTo>
                <a:close/>
                <a:moveTo>
                  <a:pt x="1950" y="922"/>
                </a:moveTo>
                <a:lnTo>
                  <a:pt x="1947" y="925"/>
                </a:lnTo>
                <a:lnTo>
                  <a:pt x="1945" y="925"/>
                </a:lnTo>
                <a:lnTo>
                  <a:pt x="1937" y="922"/>
                </a:lnTo>
                <a:lnTo>
                  <a:pt x="1929" y="917"/>
                </a:lnTo>
                <a:lnTo>
                  <a:pt x="1928" y="917"/>
                </a:lnTo>
                <a:lnTo>
                  <a:pt x="1926" y="918"/>
                </a:lnTo>
                <a:lnTo>
                  <a:pt x="1925" y="919"/>
                </a:lnTo>
                <a:lnTo>
                  <a:pt x="1924" y="921"/>
                </a:lnTo>
                <a:lnTo>
                  <a:pt x="1925" y="919"/>
                </a:lnTo>
                <a:lnTo>
                  <a:pt x="1926" y="918"/>
                </a:lnTo>
                <a:lnTo>
                  <a:pt x="1928" y="917"/>
                </a:lnTo>
                <a:lnTo>
                  <a:pt x="1929" y="917"/>
                </a:lnTo>
                <a:lnTo>
                  <a:pt x="1929" y="914"/>
                </a:lnTo>
                <a:lnTo>
                  <a:pt x="1929" y="910"/>
                </a:lnTo>
                <a:lnTo>
                  <a:pt x="1930" y="906"/>
                </a:lnTo>
                <a:lnTo>
                  <a:pt x="1931" y="904"/>
                </a:lnTo>
                <a:lnTo>
                  <a:pt x="1931" y="899"/>
                </a:lnTo>
                <a:lnTo>
                  <a:pt x="1936" y="897"/>
                </a:lnTo>
                <a:lnTo>
                  <a:pt x="1940" y="900"/>
                </a:lnTo>
                <a:lnTo>
                  <a:pt x="1939" y="905"/>
                </a:lnTo>
                <a:lnTo>
                  <a:pt x="1941" y="913"/>
                </a:lnTo>
                <a:lnTo>
                  <a:pt x="1946" y="918"/>
                </a:lnTo>
                <a:lnTo>
                  <a:pt x="1950" y="920"/>
                </a:lnTo>
                <a:lnTo>
                  <a:pt x="1950" y="922"/>
                </a:lnTo>
                <a:close/>
                <a:moveTo>
                  <a:pt x="1921" y="926"/>
                </a:moveTo>
                <a:lnTo>
                  <a:pt x="1922" y="925"/>
                </a:lnTo>
                <a:lnTo>
                  <a:pt x="1923" y="922"/>
                </a:lnTo>
                <a:lnTo>
                  <a:pt x="1922" y="925"/>
                </a:lnTo>
                <a:lnTo>
                  <a:pt x="1921" y="926"/>
                </a:lnTo>
                <a:close/>
                <a:moveTo>
                  <a:pt x="1975" y="858"/>
                </a:moveTo>
                <a:lnTo>
                  <a:pt x="1975" y="859"/>
                </a:lnTo>
                <a:lnTo>
                  <a:pt x="1975" y="860"/>
                </a:lnTo>
                <a:lnTo>
                  <a:pt x="1975" y="859"/>
                </a:lnTo>
                <a:lnTo>
                  <a:pt x="1975" y="858"/>
                </a:lnTo>
                <a:close/>
                <a:moveTo>
                  <a:pt x="1975" y="860"/>
                </a:moveTo>
                <a:lnTo>
                  <a:pt x="1975" y="862"/>
                </a:lnTo>
                <a:lnTo>
                  <a:pt x="1975" y="865"/>
                </a:lnTo>
                <a:lnTo>
                  <a:pt x="2007" y="860"/>
                </a:lnTo>
                <a:lnTo>
                  <a:pt x="2040" y="859"/>
                </a:lnTo>
                <a:lnTo>
                  <a:pt x="2046" y="862"/>
                </a:lnTo>
                <a:lnTo>
                  <a:pt x="2051" y="867"/>
                </a:lnTo>
                <a:lnTo>
                  <a:pt x="2051" y="870"/>
                </a:lnTo>
                <a:lnTo>
                  <a:pt x="2053" y="872"/>
                </a:lnTo>
                <a:lnTo>
                  <a:pt x="2062" y="866"/>
                </a:lnTo>
                <a:lnTo>
                  <a:pt x="2070" y="859"/>
                </a:lnTo>
                <a:lnTo>
                  <a:pt x="2072" y="856"/>
                </a:lnTo>
                <a:lnTo>
                  <a:pt x="2075" y="855"/>
                </a:lnTo>
                <a:lnTo>
                  <a:pt x="2081" y="859"/>
                </a:lnTo>
                <a:lnTo>
                  <a:pt x="2085" y="867"/>
                </a:lnTo>
                <a:lnTo>
                  <a:pt x="2083" y="871"/>
                </a:lnTo>
                <a:lnTo>
                  <a:pt x="2079" y="874"/>
                </a:lnTo>
                <a:lnTo>
                  <a:pt x="2073" y="875"/>
                </a:lnTo>
                <a:lnTo>
                  <a:pt x="2065" y="879"/>
                </a:lnTo>
                <a:lnTo>
                  <a:pt x="2055" y="883"/>
                </a:lnTo>
                <a:lnTo>
                  <a:pt x="2045" y="875"/>
                </a:lnTo>
                <a:lnTo>
                  <a:pt x="2037" y="871"/>
                </a:lnTo>
                <a:lnTo>
                  <a:pt x="2029" y="872"/>
                </a:lnTo>
                <a:lnTo>
                  <a:pt x="2026" y="873"/>
                </a:lnTo>
                <a:lnTo>
                  <a:pt x="2026" y="876"/>
                </a:lnTo>
                <a:lnTo>
                  <a:pt x="2028" y="883"/>
                </a:lnTo>
                <a:lnTo>
                  <a:pt x="2035" y="886"/>
                </a:lnTo>
                <a:lnTo>
                  <a:pt x="2037" y="887"/>
                </a:lnTo>
                <a:lnTo>
                  <a:pt x="2041" y="889"/>
                </a:lnTo>
                <a:lnTo>
                  <a:pt x="2044" y="890"/>
                </a:lnTo>
                <a:lnTo>
                  <a:pt x="2045" y="894"/>
                </a:lnTo>
                <a:lnTo>
                  <a:pt x="2043" y="897"/>
                </a:lnTo>
                <a:lnTo>
                  <a:pt x="2038" y="897"/>
                </a:lnTo>
                <a:lnTo>
                  <a:pt x="2018" y="898"/>
                </a:lnTo>
                <a:lnTo>
                  <a:pt x="1995" y="899"/>
                </a:lnTo>
                <a:lnTo>
                  <a:pt x="2002" y="895"/>
                </a:lnTo>
                <a:lnTo>
                  <a:pt x="2003" y="889"/>
                </a:lnTo>
                <a:lnTo>
                  <a:pt x="2000" y="885"/>
                </a:lnTo>
                <a:lnTo>
                  <a:pt x="1996" y="884"/>
                </a:lnTo>
                <a:lnTo>
                  <a:pt x="1989" y="882"/>
                </a:lnTo>
                <a:lnTo>
                  <a:pt x="1986" y="876"/>
                </a:lnTo>
                <a:lnTo>
                  <a:pt x="1983" y="871"/>
                </a:lnTo>
                <a:lnTo>
                  <a:pt x="1977" y="873"/>
                </a:lnTo>
                <a:lnTo>
                  <a:pt x="1977" y="874"/>
                </a:lnTo>
                <a:lnTo>
                  <a:pt x="1977" y="875"/>
                </a:lnTo>
                <a:lnTo>
                  <a:pt x="1977" y="874"/>
                </a:lnTo>
                <a:lnTo>
                  <a:pt x="1977" y="873"/>
                </a:lnTo>
                <a:lnTo>
                  <a:pt x="1976" y="869"/>
                </a:lnTo>
                <a:lnTo>
                  <a:pt x="1975" y="865"/>
                </a:lnTo>
                <a:lnTo>
                  <a:pt x="1975" y="862"/>
                </a:lnTo>
                <a:lnTo>
                  <a:pt x="1975" y="860"/>
                </a:lnTo>
                <a:close/>
                <a:moveTo>
                  <a:pt x="2053" y="864"/>
                </a:moveTo>
                <a:lnTo>
                  <a:pt x="2052" y="865"/>
                </a:lnTo>
                <a:lnTo>
                  <a:pt x="2051" y="866"/>
                </a:lnTo>
                <a:lnTo>
                  <a:pt x="2051" y="865"/>
                </a:lnTo>
                <a:lnTo>
                  <a:pt x="2052" y="864"/>
                </a:lnTo>
                <a:lnTo>
                  <a:pt x="2052" y="864"/>
                </a:lnTo>
                <a:lnTo>
                  <a:pt x="2053" y="864"/>
                </a:lnTo>
                <a:close/>
                <a:moveTo>
                  <a:pt x="2051" y="932"/>
                </a:moveTo>
                <a:lnTo>
                  <a:pt x="2050" y="932"/>
                </a:lnTo>
                <a:lnTo>
                  <a:pt x="2050" y="931"/>
                </a:lnTo>
                <a:lnTo>
                  <a:pt x="2051" y="931"/>
                </a:lnTo>
                <a:lnTo>
                  <a:pt x="2051" y="931"/>
                </a:lnTo>
                <a:lnTo>
                  <a:pt x="2051" y="931"/>
                </a:lnTo>
                <a:lnTo>
                  <a:pt x="2051" y="932"/>
                </a:lnTo>
                <a:lnTo>
                  <a:pt x="2051" y="932"/>
                </a:lnTo>
                <a:lnTo>
                  <a:pt x="2051" y="932"/>
                </a:lnTo>
                <a:close/>
                <a:moveTo>
                  <a:pt x="1977" y="882"/>
                </a:moveTo>
                <a:lnTo>
                  <a:pt x="1977" y="880"/>
                </a:lnTo>
                <a:lnTo>
                  <a:pt x="1977" y="876"/>
                </a:lnTo>
                <a:lnTo>
                  <a:pt x="1979" y="880"/>
                </a:lnTo>
                <a:lnTo>
                  <a:pt x="1977" y="882"/>
                </a:lnTo>
                <a:close/>
                <a:moveTo>
                  <a:pt x="2128" y="861"/>
                </a:moveTo>
                <a:lnTo>
                  <a:pt x="2134" y="866"/>
                </a:lnTo>
                <a:lnTo>
                  <a:pt x="2135" y="874"/>
                </a:lnTo>
                <a:lnTo>
                  <a:pt x="2135" y="881"/>
                </a:lnTo>
                <a:lnTo>
                  <a:pt x="2130" y="884"/>
                </a:lnTo>
                <a:lnTo>
                  <a:pt x="2122" y="882"/>
                </a:lnTo>
                <a:lnTo>
                  <a:pt x="2117" y="877"/>
                </a:lnTo>
                <a:lnTo>
                  <a:pt x="2123" y="868"/>
                </a:lnTo>
                <a:lnTo>
                  <a:pt x="2128" y="861"/>
                </a:lnTo>
                <a:close/>
                <a:moveTo>
                  <a:pt x="2286" y="883"/>
                </a:moveTo>
                <a:lnTo>
                  <a:pt x="2283" y="874"/>
                </a:lnTo>
                <a:lnTo>
                  <a:pt x="2287" y="868"/>
                </a:lnTo>
                <a:lnTo>
                  <a:pt x="2292" y="873"/>
                </a:lnTo>
                <a:lnTo>
                  <a:pt x="2295" y="883"/>
                </a:lnTo>
                <a:lnTo>
                  <a:pt x="2298" y="892"/>
                </a:lnTo>
                <a:lnTo>
                  <a:pt x="2298" y="903"/>
                </a:lnTo>
                <a:lnTo>
                  <a:pt x="2291" y="904"/>
                </a:lnTo>
                <a:lnTo>
                  <a:pt x="2285" y="904"/>
                </a:lnTo>
                <a:lnTo>
                  <a:pt x="2284" y="894"/>
                </a:lnTo>
                <a:lnTo>
                  <a:pt x="2286" y="883"/>
                </a:lnTo>
                <a:close/>
                <a:moveTo>
                  <a:pt x="0" y="1545"/>
                </a:moveTo>
                <a:lnTo>
                  <a:pt x="0" y="1546"/>
                </a:lnTo>
                <a:lnTo>
                  <a:pt x="0" y="1547"/>
                </a:lnTo>
                <a:lnTo>
                  <a:pt x="1" y="1546"/>
                </a:lnTo>
                <a:lnTo>
                  <a:pt x="0" y="1545"/>
                </a:lnTo>
                <a:close/>
                <a:moveTo>
                  <a:pt x="3301" y="1543"/>
                </a:moveTo>
                <a:lnTo>
                  <a:pt x="3302" y="1545"/>
                </a:lnTo>
                <a:lnTo>
                  <a:pt x="3305" y="1545"/>
                </a:lnTo>
                <a:lnTo>
                  <a:pt x="3305" y="1542"/>
                </a:lnTo>
                <a:lnTo>
                  <a:pt x="3305" y="1540"/>
                </a:lnTo>
                <a:lnTo>
                  <a:pt x="3302" y="1541"/>
                </a:lnTo>
                <a:lnTo>
                  <a:pt x="3301" y="1543"/>
                </a:lnTo>
                <a:close/>
                <a:moveTo>
                  <a:pt x="3278" y="1269"/>
                </a:moveTo>
                <a:lnTo>
                  <a:pt x="3285" y="1273"/>
                </a:lnTo>
                <a:lnTo>
                  <a:pt x="3290" y="1279"/>
                </a:lnTo>
                <a:lnTo>
                  <a:pt x="3290" y="1281"/>
                </a:lnTo>
                <a:lnTo>
                  <a:pt x="3290" y="1283"/>
                </a:lnTo>
                <a:lnTo>
                  <a:pt x="3278" y="1282"/>
                </a:lnTo>
                <a:lnTo>
                  <a:pt x="3278" y="1269"/>
                </a:lnTo>
                <a:close/>
                <a:moveTo>
                  <a:pt x="3254" y="1282"/>
                </a:moveTo>
                <a:lnTo>
                  <a:pt x="3252" y="1282"/>
                </a:lnTo>
                <a:lnTo>
                  <a:pt x="3249" y="1278"/>
                </a:lnTo>
                <a:lnTo>
                  <a:pt x="3248" y="1259"/>
                </a:lnTo>
                <a:lnTo>
                  <a:pt x="3246" y="1240"/>
                </a:lnTo>
                <a:lnTo>
                  <a:pt x="3244" y="1239"/>
                </a:lnTo>
                <a:lnTo>
                  <a:pt x="3243" y="1238"/>
                </a:lnTo>
                <a:lnTo>
                  <a:pt x="3240" y="1238"/>
                </a:lnTo>
                <a:lnTo>
                  <a:pt x="3239" y="1236"/>
                </a:lnTo>
                <a:lnTo>
                  <a:pt x="3241" y="1235"/>
                </a:lnTo>
                <a:lnTo>
                  <a:pt x="3244" y="1237"/>
                </a:lnTo>
                <a:lnTo>
                  <a:pt x="3245" y="1238"/>
                </a:lnTo>
                <a:lnTo>
                  <a:pt x="3247" y="1239"/>
                </a:lnTo>
                <a:lnTo>
                  <a:pt x="3249" y="1240"/>
                </a:lnTo>
                <a:lnTo>
                  <a:pt x="3250" y="1242"/>
                </a:lnTo>
                <a:lnTo>
                  <a:pt x="3258" y="1263"/>
                </a:lnTo>
                <a:lnTo>
                  <a:pt x="3263" y="1283"/>
                </a:lnTo>
                <a:lnTo>
                  <a:pt x="3259" y="1280"/>
                </a:lnTo>
                <a:lnTo>
                  <a:pt x="3254" y="1282"/>
                </a:lnTo>
                <a:close/>
                <a:moveTo>
                  <a:pt x="3103" y="1148"/>
                </a:moveTo>
                <a:lnTo>
                  <a:pt x="3088" y="1158"/>
                </a:lnTo>
                <a:lnTo>
                  <a:pt x="3076" y="1152"/>
                </a:lnTo>
                <a:lnTo>
                  <a:pt x="3074" y="1147"/>
                </a:lnTo>
                <a:lnTo>
                  <a:pt x="3076" y="1142"/>
                </a:lnTo>
                <a:lnTo>
                  <a:pt x="3078" y="1140"/>
                </a:lnTo>
                <a:lnTo>
                  <a:pt x="3080" y="1140"/>
                </a:lnTo>
                <a:lnTo>
                  <a:pt x="3084" y="1142"/>
                </a:lnTo>
                <a:lnTo>
                  <a:pt x="3084" y="1147"/>
                </a:lnTo>
                <a:lnTo>
                  <a:pt x="3087" y="1150"/>
                </a:lnTo>
                <a:lnTo>
                  <a:pt x="3091" y="1149"/>
                </a:lnTo>
                <a:lnTo>
                  <a:pt x="3096" y="1147"/>
                </a:lnTo>
                <a:lnTo>
                  <a:pt x="3103" y="1148"/>
                </a:lnTo>
                <a:close/>
                <a:moveTo>
                  <a:pt x="3063" y="1116"/>
                </a:moveTo>
                <a:lnTo>
                  <a:pt x="3066" y="1115"/>
                </a:lnTo>
                <a:lnTo>
                  <a:pt x="3067" y="1112"/>
                </a:lnTo>
                <a:lnTo>
                  <a:pt x="3065" y="1110"/>
                </a:lnTo>
                <a:lnTo>
                  <a:pt x="3064" y="1109"/>
                </a:lnTo>
                <a:lnTo>
                  <a:pt x="3061" y="1110"/>
                </a:lnTo>
                <a:lnTo>
                  <a:pt x="3061" y="1113"/>
                </a:lnTo>
                <a:lnTo>
                  <a:pt x="3053" y="1111"/>
                </a:lnTo>
                <a:lnTo>
                  <a:pt x="3048" y="1106"/>
                </a:lnTo>
                <a:lnTo>
                  <a:pt x="3040" y="1102"/>
                </a:lnTo>
                <a:lnTo>
                  <a:pt x="3033" y="1109"/>
                </a:lnTo>
                <a:lnTo>
                  <a:pt x="3021" y="1118"/>
                </a:lnTo>
                <a:lnTo>
                  <a:pt x="3010" y="1127"/>
                </a:lnTo>
                <a:lnTo>
                  <a:pt x="3005" y="1126"/>
                </a:lnTo>
                <a:lnTo>
                  <a:pt x="2999" y="1122"/>
                </a:lnTo>
                <a:lnTo>
                  <a:pt x="2999" y="1122"/>
                </a:lnTo>
                <a:lnTo>
                  <a:pt x="2995" y="1111"/>
                </a:lnTo>
                <a:lnTo>
                  <a:pt x="2997" y="1098"/>
                </a:lnTo>
                <a:lnTo>
                  <a:pt x="3008" y="1103"/>
                </a:lnTo>
                <a:lnTo>
                  <a:pt x="3021" y="1101"/>
                </a:lnTo>
                <a:lnTo>
                  <a:pt x="3021" y="1101"/>
                </a:lnTo>
                <a:lnTo>
                  <a:pt x="3023" y="1104"/>
                </a:lnTo>
                <a:lnTo>
                  <a:pt x="3028" y="1105"/>
                </a:lnTo>
                <a:lnTo>
                  <a:pt x="3028" y="1105"/>
                </a:lnTo>
                <a:lnTo>
                  <a:pt x="3028" y="1106"/>
                </a:lnTo>
                <a:lnTo>
                  <a:pt x="3029" y="1106"/>
                </a:lnTo>
                <a:lnTo>
                  <a:pt x="3029" y="1105"/>
                </a:lnTo>
                <a:lnTo>
                  <a:pt x="3028" y="1104"/>
                </a:lnTo>
                <a:lnTo>
                  <a:pt x="3028" y="1105"/>
                </a:lnTo>
                <a:lnTo>
                  <a:pt x="3028" y="1105"/>
                </a:lnTo>
                <a:lnTo>
                  <a:pt x="3028" y="1104"/>
                </a:lnTo>
                <a:lnTo>
                  <a:pt x="3027" y="1101"/>
                </a:lnTo>
                <a:lnTo>
                  <a:pt x="3023" y="1100"/>
                </a:lnTo>
                <a:lnTo>
                  <a:pt x="3011" y="1096"/>
                </a:lnTo>
                <a:lnTo>
                  <a:pt x="2997" y="1096"/>
                </a:lnTo>
                <a:lnTo>
                  <a:pt x="2990" y="1084"/>
                </a:lnTo>
                <a:lnTo>
                  <a:pt x="2989" y="1070"/>
                </a:lnTo>
                <a:lnTo>
                  <a:pt x="2987" y="1056"/>
                </a:lnTo>
                <a:lnTo>
                  <a:pt x="2986" y="1042"/>
                </a:lnTo>
                <a:lnTo>
                  <a:pt x="2995" y="1041"/>
                </a:lnTo>
                <a:lnTo>
                  <a:pt x="3001" y="1036"/>
                </a:lnTo>
                <a:lnTo>
                  <a:pt x="3000" y="1028"/>
                </a:lnTo>
                <a:lnTo>
                  <a:pt x="2993" y="1024"/>
                </a:lnTo>
                <a:lnTo>
                  <a:pt x="2992" y="1023"/>
                </a:lnTo>
                <a:lnTo>
                  <a:pt x="2991" y="1022"/>
                </a:lnTo>
                <a:lnTo>
                  <a:pt x="2987" y="1011"/>
                </a:lnTo>
                <a:lnTo>
                  <a:pt x="2991" y="997"/>
                </a:lnTo>
                <a:lnTo>
                  <a:pt x="3004" y="1020"/>
                </a:lnTo>
                <a:lnTo>
                  <a:pt x="3014" y="1043"/>
                </a:lnTo>
                <a:lnTo>
                  <a:pt x="3016" y="1048"/>
                </a:lnTo>
                <a:lnTo>
                  <a:pt x="3018" y="1051"/>
                </a:lnTo>
                <a:lnTo>
                  <a:pt x="3033" y="1061"/>
                </a:lnTo>
                <a:lnTo>
                  <a:pt x="3038" y="1080"/>
                </a:lnTo>
                <a:lnTo>
                  <a:pt x="3042" y="1086"/>
                </a:lnTo>
                <a:lnTo>
                  <a:pt x="3048" y="1088"/>
                </a:lnTo>
                <a:lnTo>
                  <a:pt x="3053" y="1085"/>
                </a:lnTo>
                <a:lnTo>
                  <a:pt x="3053" y="1079"/>
                </a:lnTo>
                <a:lnTo>
                  <a:pt x="3053" y="1075"/>
                </a:lnTo>
                <a:lnTo>
                  <a:pt x="3056" y="1073"/>
                </a:lnTo>
                <a:lnTo>
                  <a:pt x="3059" y="1074"/>
                </a:lnTo>
                <a:lnTo>
                  <a:pt x="3061" y="1078"/>
                </a:lnTo>
                <a:lnTo>
                  <a:pt x="3065" y="1084"/>
                </a:lnTo>
                <a:lnTo>
                  <a:pt x="3073" y="1086"/>
                </a:lnTo>
                <a:lnTo>
                  <a:pt x="3077" y="1087"/>
                </a:lnTo>
                <a:lnTo>
                  <a:pt x="3079" y="1090"/>
                </a:lnTo>
                <a:lnTo>
                  <a:pt x="3086" y="1105"/>
                </a:lnTo>
                <a:lnTo>
                  <a:pt x="3083" y="1121"/>
                </a:lnTo>
                <a:lnTo>
                  <a:pt x="3084" y="1126"/>
                </a:lnTo>
                <a:lnTo>
                  <a:pt x="3088" y="1132"/>
                </a:lnTo>
                <a:lnTo>
                  <a:pt x="3073" y="1128"/>
                </a:lnTo>
                <a:lnTo>
                  <a:pt x="3063" y="1116"/>
                </a:lnTo>
                <a:close/>
                <a:moveTo>
                  <a:pt x="2998" y="1130"/>
                </a:moveTo>
                <a:lnTo>
                  <a:pt x="2998" y="1130"/>
                </a:lnTo>
                <a:lnTo>
                  <a:pt x="2998" y="1130"/>
                </a:lnTo>
                <a:lnTo>
                  <a:pt x="2998" y="1130"/>
                </a:lnTo>
                <a:lnTo>
                  <a:pt x="2998" y="1130"/>
                </a:lnTo>
                <a:close/>
                <a:moveTo>
                  <a:pt x="3029" y="1027"/>
                </a:moveTo>
                <a:lnTo>
                  <a:pt x="3036" y="1017"/>
                </a:lnTo>
                <a:lnTo>
                  <a:pt x="3048" y="1011"/>
                </a:lnTo>
                <a:lnTo>
                  <a:pt x="3042" y="1023"/>
                </a:lnTo>
                <a:lnTo>
                  <a:pt x="3037" y="1036"/>
                </a:lnTo>
                <a:lnTo>
                  <a:pt x="3035" y="1036"/>
                </a:lnTo>
                <a:lnTo>
                  <a:pt x="3032" y="1036"/>
                </a:lnTo>
                <a:lnTo>
                  <a:pt x="3028" y="1033"/>
                </a:lnTo>
                <a:lnTo>
                  <a:pt x="3029" y="1027"/>
                </a:lnTo>
                <a:close/>
                <a:moveTo>
                  <a:pt x="3056" y="1007"/>
                </a:moveTo>
                <a:lnTo>
                  <a:pt x="3052" y="1010"/>
                </a:lnTo>
                <a:lnTo>
                  <a:pt x="3048" y="1011"/>
                </a:lnTo>
                <a:lnTo>
                  <a:pt x="3050" y="1007"/>
                </a:lnTo>
                <a:lnTo>
                  <a:pt x="3056" y="1007"/>
                </a:lnTo>
                <a:close/>
                <a:moveTo>
                  <a:pt x="2945" y="1084"/>
                </a:moveTo>
                <a:lnTo>
                  <a:pt x="2945" y="1084"/>
                </a:lnTo>
                <a:lnTo>
                  <a:pt x="2945" y="1084"/>
                </a:lnTo>
                <a:lnTo>
                  <a:pt x="2945" y="1084"/>
                </a:lnTo>
                <a:lnTo>
                  <a:pt x="2945" y="1084"/>
                </a:lnTo>
                <a:close/>
                <a:moveTo>
                  <a:pt x="3239" y="1769"/>
                </a:moveTo>
                <a:lnTo>
                  <a:pt x="3239" y="1770"/>
                </a:lnTo>
                <a:lnTo>
                  <a:pt x="3239" y="1771"/>
                </a:lnTo>
                <a:lnTo>
                  <a:pt x="3239" y="1770"/>
                </a:lnTo>
                <a:lnTo>
                  <a:pt x="3239" y="1769"/>
                </a:lnTo>
                <a:lnTo>
                  <a:pt x="3239" y="1769"/>
                </a:lnTo>
                <a:close/>
                <a:moveTo>
                  <a:pt x="3152" y="1723"/>
                </a:moveTo>
                <a:lnTo>
                  <a:pt x="3144" y="1726"/>
                </a:lnTo>
                <a:lnTo>
                  <a:pt x="3142" y="1718"/>
                </a:lnTo>
                <a:lnTo>
                  <a:pt x="3139" y="1713"/>
                </a:lnTo>
                <a:lnTo>
                  <a:pt x="3134" y="1710"/>
                </a:lnTo>
                <a:lnTo>
                  <a:pt x="3139" y="1705"/>
                </a:lnTo>
                <a:lnTo>
                  <a:pt x="3148" y="1705"/>
                </a:lnTo>
                <a:lnTo>
                  <a:pt x="3155" y="1708"/>
                </a:lnTo>
                <a:lnTo>
                  <a:pt x="3163" y="1708"/>
                </a:lnTo>
                <a:lnTo>
                  <a:pt x="3171" y="1708"/>
                </a:lnTo>
                <a:lnTo>
                  <a:pt x="3180" y="1710"/>
                </a:lnTo>
                <a:lnTo>
                  <a:pt x="3173" y="1716"/>
                </a:lnTo>
                <a:lnTo>
                  <a:pt x="3167" y="1723"/>
                </a:lnTo>
                <a:lnTo>
                  <a:pt x="3167" y="1723"/>
                </a:lnTo>
                <a:lnTo>
                  <a:pt x="3159" y="1723"/>
                </a:lnTo>
                <a:lnTo>
                  <a:pt x="3152" y="1723"/>
                </a:lnTo>
                <a:close/>
                <a:moveTo>
                  <a:pt x="3122" y="2014"/>
                </a:moveTo>
                <a:lnTo>
                  <a:pt x="3125" y="2013"/>
                </a:lnTo>
                <a:lnTo>
                  <a:pt x="3129" y="2013"/>
                </a:lnTo>
                <a:lnTo>
                  <a:pt x="3129" y="2013"/>
                </a:lnTo>
                <a:lnTo>
                  <a:pt x="3125" y="2013"/>
                </a:lnTo>
                <a:lnTo>
                  <a:pt x="3122" y="2014"/>
                </a:lnTo>
                <a:close/>
                <a:moveTo>
                  <a:pt x="3091" y="1797"/>
                </a:moveTo>
                <a:lnTo>
                  <a:pt x="3091" y="1797"/>
                </a:lnTo>
                <a:lnTo>
                  <a:pt x="3091" y="1797"/>
                </a:lnTo>
                <a:lnTo>
                  <a:pt x="3091" y="1797"/>
                </a:lnTo>
                <a:lnTo>
                  <a:pt x="3091" y="1797"/>
                </a:lnTo>
                <a:close/>
                <a:moveTo>
                  <a:pt x="3086" y="1778"/>
                </a:moveTo>
                <a:lnTo>
                  <a:pt x="3086" y="1777"/>
                </a:lnTo>
                <a:lnTo>
                  <a:pt x="3086" y="1776"/>
                </a:lnTo>
                <a:lnTo>
                  <a:pt x="3086" y="1777"/>
                </a:lnTo>
                <a:lnTo>
                  <a:pt x="3086" y="1778"/>
                </a:lnTo>
                <a:lnTo>
                  <a:pt x="3086" y="1779"/>
                </a:lnTo>
                <a:lnTo>
                  <a:pt x="3086" y="1782"/>
                </a:lnTo>
                <a:lnTo>
                  <a:pt x="3086" y="1779"/>
                </a:lnTo>
                <a:lnTo>
                  <a:pt x="3086" y="1778"/>
                </a:lnTo>
                <a:close/>
                <a:moveTo>
                  <a:pt x="3140" y="1991"/>
                </a:moveTo>
                <a:lnTo>
                  <a:pt x="3139" y="1991"/>
                </a:lnTo>
                <a:lnTo>
                  <a:pt x="3139" y="1991"/>
                </a:lnTo>
                <a:lnTo>
                  <a:pt x="3139" y="1991"/>
                </a:lnTo>
                <a:lnTo>
                  <a:pt x="3140" y="1991"/>
                </a:lnTo>
                <a:close/>
                <a:moveTo>
                  <a:pt x="3135" y="1982"/>
                </a:moveTo>
                <a:lnTo>
                  <a:pt x="3138" y="1985"/>
                </a:lnTo>
                <a:lnTo>
                  <a:pt x="3138" y="1990"/>
                </a:lnTo>
                <a:lnTo>
                  <a:pt x="3138" y="1985"/>
                </a:lnTo>
                <a:lnTo>
                  <a:pt x="3134" y="1982"/>
                </a:lnTo>
                <a:lnTo>
                  <a:pt x="3135" y="1982"/>
                </a:lnTo>
                <a:lnTo>
                  <a:pt x="3135" y="1982"/>
                </a:lnTo>
                <a:close/>
                <a:moveTo>
                  <a:pt x="3138" y="1970"/>
                </a:moveTo>
                <a:lnTo>
                  <a:pt x="3138" y="1970"/>
                </a:lnTo>
                <a:lnTo>
                  <a:pt x="3138" y="1970"/>
                </a:lnTo>
                <a:lnTo>
                  <a:pt x="3138" y="1970"/>
                </a:lnTo>
                <a:lnTo>
                  <a:pt x="3138" y="1970"/>
                </a:lnTo>
                <a:close/>
                <a:moveTo>
                  <a:pt x="3136" y="1970"/>
                </a:moveTo>
                <a:lnTo>
                  <a:pt x="3136" y="1969"/>
                </a:lnTo>
                <a:lnTo>
                  <a:pt x="3137" y="1968"/>
                </a:lnTo>
                <a:lnTo>
                  <a:pt x="3137" y="1968"/>
                </a:lnTo>
                <a:lnTo>
                  <a:pt x="3136" y="1969"/>
                </a:lnTo>
                <a:lnTo>
                  <a:pt x="3136" y="1970"/>
                </a:lnTo>
                <a:close/>
                <a:moveTo>
                  <a:pt x="3132" y="1924"/>
                </a:moveTo>
                <a:lnTo>
                  <a:pt x="3132" y="1922"/>
                </a:lnTo>
                <a:lnTo>
                  <a:pt x="3132" y="1921"/>
                </a:lnTo>
                <a:lnTo>
                  <a:pt x="3132" y="1920"/>
                </a:lnTo>
                <a:lnTo>
                  <a:pt x="3132" y="1919"/>
                </a:lnTo>
                <a:lnTo>
                  <a:pt x="3132" y="1920"/>
                </a:lnTo>
                <a:lnTo>
                  <a:pt x="3132" y="1921"/>
                </a:lnTo>
                <a:lnTo>
                  <a:pt x="3132" y="1922"/>
                </a:lnTo>
                <a:lnTo>
                  <a:pt x="3132" y="1924"/>
                </a:lnTo>
                <a:close/>
                <a:moveTo>
                  <a:pt x="3134" y="1977"/>
                </a:moveTo>
                <a:lnTo>
                  <a:pt x="3134" y="1980"/>
                </a:lnTo>
                <a:lnTo>
                  <a:pt x="3134" y="1982"/>
                </a:lnTo>
                <a:lnTo>
                  <a:pt x="3134" y="1980"/>
                </a:lnTo>
                <a:lnTo>
                  <a:pt x="3134" y="1977"/>
                </a:lnTo>
                <a:close/>
                <a:moveTo>
                  <a:pt x="3140" y="1736"/>
                </a:moveTo>
                <a:lnTo>
                  <a:pt x="3143" y="1733"/>
                </a:lnTo>
                <a:lnTo>
                  <a:pt x="3149" y="1733"/>
                </a:lnTo>
                <a:lnTo>
                  <a:pt x="3149" y="1732"/>
                </a:lnTo>
                <a:lnTo>
                  <a:pt x="3150" y="1730"/>
                </a:lnTo>
                <a:lnTo>
                  <a:pt x="3149" y="1732"/>
                </a:lnTo>
                <a:lnTo>
                  <a:pt x="3149" y="1733"/>
                </a:lnTo>
                <a:lnTo>
                  <a:pt x="3151" y="1739"/>
                </a:lnTo>
                <a:lnTo>
                  <a:pt x="3153" y="1745"/>
                </a:lnTo>
                <a:lnTo>
                  <a:pt x="3155" y="1745"/>
                </a:lnTo>
                <a:lnTo>
                  <a:pt x="3157" y="1746"/>
                </a:lnTo>
                <a:lnTo>
                  <a:pt x="3155" y="1745"/>
                </a:lnTo>
                <a:lnTo>
                  <a:pt x="3153" y="1745"/>
                </a:lnTo>
                <a:lnTo>
                  <a:pt x="3153" y="1748"/>
                </a:lnTo>
                <a:lnTo>
                  <a:pt x="3156" y="1751"/>
                </a:lnTo>
                <a:lnTo>
                  <a:pt x="3157" y="1759"/>
                </a:lnTo>
                <a:lnTo>
                  <a:pt x="3158" y="1769"/>
                </a:lnTo>
                <a:lnTo>
                  <a:pt x="3144" y="1755"/>
                </a:lnTo>
                <a:lnTo>
                  <a:pt x="3140" y="1736"/>
                </a:lnTo>
                <a:close/>
                <a:moveTo>
                  <a:pt x="3119" y="1563"/>
                </a:moveTo>
                <a:lnTo>
                  <a:pt x="3118" y="1563"/>
                </a:lnTo>
                <a:lnTo>
                  <a:pt x="3117" y="1562"/>
                </a:lnTo>
                <a:lnTo>
                  <a:pt x="3118" y="1563"/>
                </a:lnTo>
                <a:lnTo>
                  <a:pt x="3119" y="1563"/>
                </a:lnTo>
                <a:lnTo>
                  <a:pt x="3124" y="1565"/>
                </a:lnTo>
                <a:lnTo>
                  <a:pt x="3129" y="1568"/>
                </a:lnTo>
                <a:lnTo>
                  <a:pt x="3124" y="1565"/>
                </a:lnTo>
                <a:lnTo>
                  <a:pt x="3119" y="1563"/>
                </a:lnTo>
                <a:close/>
                <a:moveTo>
                  <a:pt x="3137" y="1463"/>
                </a:moveTo>
                <a:lnTo>
                  <a:pt x="3137" y="1463"/>
                </a:lnTo>
                <a:lnTo>
                  <a:pt x="3137" y="1464"/>
                </a:lnTo>
                <a:lnTo>
                  <a:pt x="3137" y="1466"/>
                </a:lnTo>
                <a:lnTo>
                  <a:pt x="3137" y="1468"/>
                </a:lnTo>
                <a:lnTo>
                  <a:pt x="3137" y="1466"/>
                </a:lnTo>
                <a:lnTo>
                  <a:pt x="3137" y="1464"/>
                </a:lnTo>
                <a:lnTo>
                  <a:pt x="3137" y="1463"/>
                </a:lnTo>
                <a:lnTo>
                  <a:pt x="3137" y="1463"/>
                </a:lnTo>
                <a:close/>
                <a:moveTo>
                  <a:pt x="3132" y="1573"/>
                </a:moveTo>
                <a:lnTo>
                  <a:pt x="3132" y="1573"/>
                </a:lnTo>
                <a:lnTo>
                  <a:pt x="3133" y="1573"/>
                </a:lnTo>
                <a:lnTo>
                  <a:pt x="3133" y="1573"/>
                </a:lnTo>
                <a:lnTo>
                  <a:pt x="3133" y="1573"/>
                </a:lnTo>
                <a:lnTo>
                  <a:pt x="3132" y="1573"/>
                </a:lnTo>
                <a:lnTo>
                  <a:pt x="3132" y="1573"/>
                </a:lnTo>
                <a:lnTo>
                  <a:pt x="3132" y="1573"/>
                </a:lnTo>
                <a:close/>
                <a:moveTo>
                  <a:pt x="3132" y="1573"/>
                </a:moveTo>
                <a:lnTo>
                  <a:pt x="3132" y="1573"/>
                </a:lnTo>
                <a:lnTo>
                  <a:pt x="3132" y="1573"/>
                </a:lnTo>
                <a:lnTo>
                  <a:pt x="3132" y="1573"/>
                </a:lnTo>
                <a:close/>
                <a:moveTo>
                  <a:pt x="3138" y="1461"/>
                </a:moveTo>
                <a:lnTo>
                  <a:pt x="3138" y="1462"/>
                </a:lnTo>
                <a:lnTo>
                  <a:pt x="3137" y="1462"/>
                </a:lnTo>
                <a:lnTo>
                  <a:pt x="3138" y="1462"/>
                </a:lnTo>
                <a:lnTo>
                  <a:pt x="3138" y="1461"/>
                </a:lnTo>
                <a:close/>
                <a:moveTo>
                  <a:pt x="3164" y="1579"/>
                </a:moveTo>
                <a:lnTo>
                  <a:pt x="3164" y="1580"/>
                </a:lnTo>
                <a:lnTo>
                  <a:pt x="3164" y="1580"/>
                </a:lnTo>
                <a:lnTo>
                  <a:pt x="3164" y="1581"/>
                </a:lnTo>
                <a:lnTo>
                  <a:pt x="3164" y="1581"/>
                </a:lnTo>
                <a:lnTo>
                  <a:pt x="3164" y="1581"/>
                </a:lnTo>
                <a:lnTo>
                  <a:pt x="3164" y="1580"/>
                </a:lnTo>
                <a:lnTo>
                  <a:pt x="3164" y="1580"/>
                </a:lnTo>
                <a:lnTo>
                  <a:pt x="3164" y="1579"/>
                </a:lnTo>
                <a:close/>
                <a:moveTo>
                  <a:pt x="3188" y="1715"/>
                </a:moveTo>
                <a:lnTo>
                  <a:pt x="3188" y="1715"/>
                </a:lnTo>
                <a:lnTo>
                  <a:pt x="3187" y="1715"/>
                </a:lnTo>
                <a:lnTo>
                  <a:pt x="3188" y="1715"/>
                </a:lnTo>
                <a:lnTo>
                  <a:pt x="3188" y="1715"/>
                </a:lnTo>
                <a:close/>
                <a:moveTo>
                  <a:pt x="3182" y="1710"/>
                </a:moveTo>
                <a:lnTo>
                  <a:pt x="3183" y="1711"/>
                </a:lnTo>
                <a:lnTo>
                  <a:pt x="3185" y="1713"/>
                </a:lnTo>
                <a:lnTo>
                  <a:pt x="3183" y="1711"/>
                </a:lnTo>
                <a:lnTo>
                  <a:pt x="3182" y="1710"/>
                </a:lnTo>
                <a:close/>
                <a:moveTo>
                  <a:pt x="2937" y="1773"/>
                </a:moveTo>
                <a:lnTo>
                  <a:pt x="2925" y="1774"/>
                </a:lnTo>
                <a:lnTo>
                  <a:pt x="2915" y="1781"/>
                </a:lnTo>
                <a:lnTo>
                  <a:pt x="2909" y="1777"/>
                </a:lnTo>
                <a:lnTo>
                  <a:pt x="2907" y="1771"/>
                </a:lnTo>
                <a:lnTo>
                  <a:pt x="2901" y="1764"/>
                </a:lnTo>
                <a:lnTo>
                  <a:pt x="2895" y="1762"/>
                </a:lnTo>
                <a:lnTo>
                  <a:pt x="2892" y="1762"/>
                </a:lnTo>
                <a:lnTo>
                  <a:pt x="2891" y="1764"/>
                </a:lnTo>
                <a:lnTo>
                  <a:pt x="2891" y="1767"/>
                </a:lnTo>
                <a:lnTo>
                  <a:pt x="2893" y="1768"/>
                </a:lnTo>
                <a:lnTo>
                  <a:pt x="2898" y="1769"/>
                </a:lnTo>
                <a:lnTo>
                  <a:pt x="2898" y="1772"/>
                </a:lnTo>
                <a:lnTo>
                  <a:pt x="2895" y="1786"/>
                </a:lnTo>
                <a:lnTo>
                  <a:pt x="2904" y="1797"/>
                </a:lnTo>
                <a:lnTo>
                  <a:pt x="2905" y="1804"/>
                </a:lnTo>
                <a:lnTo>
                  <a:pt x="2901" y="1809"/>
                </a:lnTo>
                <a:lnTo>
                  <a:pt x="2897" y="1831"/>
                </a:lnTo>
                <a:lnTo>
                  <a:pt x="2898" y="1852"/>
                </a:lnTo>
                <a:lnTo>
                  <a:pt x="2901" y="1861"/>
                </a:lnTo>
                <a:lnTo>
                  <a:pt x="2900" y="1870"/>
                </a:lnTo>
                <a:lnTo>
                  <a:pt x="2901" y="1876"/>
                </a:lnTo>
                <a:lnTo>
                  <a:pt x="2902" y="1881"/>
                </a:lnTo>
                <a:lnTo>
                  <a:pt x="2904" y="1883"/>
                </a:lnTo>
                <a:lnTo>
                  <a:pt x="2904" y="1885"/>
                </a:lnTo>
                <a:lnTo>
                  <a:pt x="2904" y="1883"/>
                </a:lnTo>
                <a:lnTo>
                  <a:pt x="2902" y="1881"/>
                </a:lnTo>
                <a:lnTo>
                  <a:pt x="2901" y="1876"/>
                </a:lnTo>
                <a:lnTo>
                  <a:pt x="2900" y="1870"/>
                </a:lnTo>
                <a:lnTo>
                  <a:pt x="2893" y="1868"/>
                </a:lnTo>
                <a:lnTo>
                  <a:pt x="2888" y="1873"/>
                </a:lnTo>
                <a:lnTo>
                  <a:pt x="2886" y="1891"/>
                </a:lnTo>
                <a:lnTo>
                  <a:pt x="2892" y="1909"/>
                </a:lnTo>
                <a:lnTo>
                  <a:pt x="2893" y="1909"/>
                </a:lnTo>
                <a:lnTo>
                  <a:pt x="2893" y="1916"/>
                </a:lnTo>
                <a:lnTo>
                  <a:pt x="2894" y="1924"/>
                </a:lnTo>
                <a:lnTo>
                  <a:pt x="2893" y="1938"/>
                </a:lnTo>
                <a:lnTo>
                  <a:pt x="2882" y="1945"/>
                </a:lnTo>
                <a:lnTo>
                  <a:pt x="2875" y="1951"/>
                </a:lnTo>
                <a:lnTo>
                  <a:pt x="2874" y="1958"/>
                </a:lnTo>
                <a:lnTo>
                  <a:pt x="2875" y="1962"/>
                </a:lnTo>
                <a:lnTo>
                  <a:pt x="2873" y="1966"/>
                </a:lnTo>
                <a:lnTo>
                  <a:pt x="2868" y="1963"/>
                </a:lnTo>
                <a:lnTo>
                  <a:pt x="2867" y="1958"/>
                </a:lnTo>
                <a:lnTo>
                  <a:pt x="2865" y="1929"/>
                </a:lnTo>
                <a:lnTo>
                  <a:pt x="2862" y="1900"/>
                </a:lnTo>
                <a:lnTo>
                  <a:pt x="2861" y="1884"/>
                </a:lnTo>
                <a:lnTo>
                  <a:pt x="2854" y="1866"/>
                </a:lnTo>
                <a:lnTo>
                  <a:pt x="2853" y="1884"/>
                </a:lnTo>
                <a:lnTo>
                  <a:pt x="2853" y="1900"/>
                </a:lnTo>
                <a:lnTo>
                  <a:pt x="2849" y="1897"/>
                </a:lnTo>
                <a:lnTo>
                  <a:pt x="2845" y="1895"/>
                </a:lnTo>
                <a:lnTo>
                  <a:pt x="2844" y="1890"/>
                </a:lnTo>
                <a:lnTo>
                  <a:pt x="2846" y="1884"/>
                </a:lnTo>
                <a:lnTo>
                  <a:pt x="2849" y="1867"/>
                </a:lnTo>
                <a:lnTo>
                  <a:pt x="2841" y="1852"/>
                </a:lnTo>
                <a:lnTo>
                  <a:pt x="2835" y="1846"/>
                </a:lnTo>
                <a:lnTo>
                  <a:pt x="2834" y="1837"/>
                </a:lnTo>
                <a:lnTo>
                  <a:pt x="2832" y="1814"/>
                </a:lnTo>
                <a:lnTo>
                  <a:pt x="2820" y="1793"/>
                </a:lnTo>
                <a:lnTo>
                  <a:pt x="2815" y="1781"/>
                </a:lnTo>
                <a:lnTo>
                  <a:pt x="2814" y="1766"/>
                </a:lnTo>
                <a:lnTo>
                  <a:pt x="2814" y="1766"/>
                </a:lnTo>
                <a:lnTo>
                  <a:pt x="2808" y="1758"/>
                </a:lnTo>
                <a:lnTo>
                  <a:pt x="2803" y="1751"/>
                </a:lnTo>
                <a:lnTo>
                  <a:pt x="2804" y="1745"/>
                </a:lnTo>
                <a:lnTo>
                  <a:pt x="2806" y="1740"/>
                </a:lnTo>
                <a:lnTo>
                  <a:pt x="2821" y="1743"/>
                </a:lnTo>
                <a:lnTo>
                  <a:pt x="2836" y="1746"/>
                </a:lnTo>
                <a:lnTo>
                  <a:pt x="2837" y="1743"/>
                </a:lnTo>
                <a:lnTo>
                  <a:pt x="2837" y="1740"/>
                </a:lnTo>
                <a:lnTo>
                  <a:pt x="2837" y="1743"/>
                </a:lnTo>
                <a:lnTo>
                  <a:pt x="2836" y="1746"/>
                </a:lnTo>
                <a:lnTo>
                  <a:pt x="2837" y="1747"/>
                </a:lnTo>
                <a:lnTo>
                  <a:pt x="2839" y="1747"/>
                </a:lnTo>
                <a:lnTo>
                  <a:pt x="2839" y="1747"/>
                </a:lnTo>
                <a:lnTo>
                  <a:pt x="2838" y="1753"/>
                </a:lnTo>
                <a:lnTo>
                  <a:pt x="2835" y="1757"/>
                </a:lnTo>
                <a:lnTo>
                  <a:pt x="2835" y="1760"/>
                </a:lnTo>
                <a:lnTo>
                  <a:pt x="2836" y="1762"/>
                </a:lnTo>
                <a:lnTo>
                  <a:pt x="2845" y="1762"/>
                </a:lnTo>
                <a:lnTo>
                  <a:pt x="2852" y="1766"/>
                </a:lnTo>
                <a:lnTo>
                  <a:pt x="2856" y="1762"/>
                </a:lnTo>
                <a:lnTo>
                  <a:pt x="2854" y="1757"/>
                </a:lnTo>
                <a:lnTo>
                  <a:pt x="2851" y="1754"/>
                </a:lnTo>
                <a:lnTo>
                  <a:pt x="2852" y="1748"/>
                </a:lnTo>
                <a:lnTo>
                  <a:pt x="2856" y="1744"/>
                </a:lnTo>
                <a:lnTo>
                  <a:pt x="2861" y="1743"/>
                </a:lnTo>
                <a:lnTo>
                  <a:pt x="2867" y="1745"/>
                </a:lnTo>
                <a:lnTo>
                  <a:pt x="2871" y="1752"/>
                </a:lnTo>
                <a:lnTo>
                  <a:pt x="2874" y="1763"/>
                </a:lnTo>
                <a:lnTo>
                  <a:pt x="2875" y="1776"/>
                </a:lnTo>
                <a:lnTo>
                  <a:pt x="2876" y="1779"/>
                </a:lnTo>
                <a:lnTo>
                  <a:pt x="2876" y="1783"/>
                </a:lnTo>
                <a:lnTo>
                  <a:pt x="2878" y="1789"/>
                </a:lnTo>
                <a:lnTo>
                  <a:pt x="2883" y="1791"/>
                </a:lnTo>
                <a:lnTo>
                  <a:pt x="2886" y="1786"/>
                </a:lnTo>
                <a:lnTo>
                  <a:pt x="2884" y="1781"/>
                </a:lnTo>
                <a:lnTo>
                  <a:pt x="2879" y="1766"/>
                </a:lnTo>
                <a:lnTo>
                  <a:pt x="2877" y="1751"/>
                </a:lnTo>
                <a:lnTo>
                  <a:pt x="2876" y="1740"/>
                </a:lnTo>
                <a:lnTo>
                  <a:pt x="2878" y="1728"/>
                </a:lnTo>
                <a:lnTo>
                  <a:pt x="2889" y="1730"/>
                </a:lnTo>
                <a:lnTo>
                  <a:pt x="2898" y="1722"/>
                </a:lnTo>
                <a:lnTo>
                  <a:pt x="2899" y="1740"/>
                </a:lnTo>
                <a:lnTo>
                  <a:pt x="2908" y="1754"/>
                </a:lnTo>
                <a:lnTo>
                  <a:pt x="2910" y="1757"/>
                </a:lnTo>
                <a:lnTo>
                  <a:pt x="2914" y="1757"/>
                </a:lnTo>
                <a:lnTo>
                  <a:pt x="2920" y="1755"/>
                </a:lnTo>
                <a:lnTo>
                  <a:pt x="2924" y="1759"/>
                </a:lnTo>
                <a:lnTo>
                  <a:pt x="2928" y="1759"/>
                </a:lnTo>
                <a:lnTo>
                  <a:pt x="2934" y="1756"/>
                </a:lnTo>
                <a:lnTo>
                  <a:pt x="2934" y="1756"/>
                </a:lnTo>
                <a:lnTo>
                  <a:pt x="2937" y="1758"/>
                </a:lnTo>
                <a:lnTo>
                  <a:pt x="2941" y="1756"/>
                </a:lnTo>
                <a:lnTo>
                  <a:pt x="2941" y="1760"/>
                </a:lnTo>
                <a:lnTo>
                  <a:pt x="2943" y="1763"/>
                </a:lnTo>
                <a:lnTo>
                  <a:pt x="2947" y="1761"/>
                </a:lnTo>
                <a:lnTo>
                  <a:pt x="2949" y="1756"/>
                </a:lnTo>
                <a:lnTo>
                  <a:pt x="2951" y="1757"/>
                </a:lnTo>
                <a:lnTo>
                  <a:pt x="2952" y="1756"/>
                </a:lnTo>
                <a:lnTo>
                  <a:pt x="2953" y="1754"/>
                </a:lnTo>
                <a:lnTo>
                  <a:pt x="2951" y="1752"/>
                </a:lnTo>
                <a:lnTo>
                  <a:pt x="2941" y="1751"/>
                </a:lnTo>
                <a:lnTo>
                  <a:pt x="2932" y="1752"/>
                </a:lnTo>
                <a:lnTo>
                  <a:pt x="2926" y="1749"/>
                </a:lnTo>
                <a:lnTo>
                  <a:pt x="2922" y="1746"/>
                </a:lnTo>
                <a:lnTo>
                  <a:pt x="2921" y="1741"/>
                </a:lnTo>
                <a:lnTo>
                  <a:pt x="2923" y="1737"/>
                </a:lnTo>
                <a:lnTo>
                  <a:pt x="2927" y="1737"/>
                </a:lnTo>
                <a:lnTo>
                  <a:pt x="2929" y="1740"/>
                </a:lnTo>
                <a:lnTo>
                  <a:pt x="2930" y="1743"/>
                </a:lnTo>
                <a:lnTo>
                  <a:pt x="2934" y="1743"/>
                </a:lnTo>
                <a:lnTo>
                  <a:pt x="2941" y="1736"/>
                </a:lnTo>
                <a:lnTo>
                  <a:pt x="2942" y="1731"/>
                </a:lnTo>
                <a:lnTo>
                  <a:pt x="2947" y="1730"/>
                </a:lnTo>
                <a:lnTo>
                  <a:pt x="2949" y="1731"/>
                </a:lnTo>
                <a:lnTo>
                  <a:pt x="2951" y="1730"/>
                </a:lnTo>
                <a:lnTo>
                  <a:pt x="2968" y="1723"/>
                </a:lnTo>
                <a:lnTo>
                  <a:pt x="2979" y="1739"/>
                </a:lnTo>
                <a:lnTo>
                  <a:pt x="2979" y="1740"/>
                </a:lnTo>
                <a:lnTo>
                  <a:pt x="2980" y="1741"/>
                </a:lnTo>
                <a:lnTo>
                  <a:pt x="2982" y="1748"/>
                </a:lnTo>
                <a:lnTo>
                  <a:pt x="2985" y="1756"/>
                </a:lnTo>
                <a:lnTo>
                  <a:pt x="2983" y="1769"/>
                </a:lnTo>
                <a:lnTo>
                  <a:pt x="2986" y="1782"/>
                </a:lnTo>
                <a:lnTo>
                  <a:pt x="2986" y="1788"/>
                </a:lnTo>
                <a:lnTo>
                  <a:pt x="2983" y="1795"/>
                </a:lnTo>
                <a:lnTo>
                  <a:pt x="2975" y="1776"/>
                </a:lnTo>
                <a:lnTo>
                  <a:pt x="2973" y="1757"/>
                </a:lnTo>
                <a:lnTo>
                  <a:pt x="2974" y="1747"/>
                </a:lnTo>
                <a:lnTo>
                  <a:pt x="2966" y="1743"/>
                </a:lnTo>
                <a:lnTo>
                  <a:pt x="2958" y="1748"/>
                </a:lnTo>
                <a:lnTo>
                  <a:pt x="2959" y="1758"/>
                </a:lnTo>
                <a:lnTo>
                  <a:pt x="2962" y="1770"/>
                </a:lnTo>
                <a:lnTo>
                  <a:pt x="2961" y="1781"/>
                </a:lnTo>
                <a:lnTo>
                  <a:pt x="2950" y="1776"/>
                </a:lnTo>
                <a:lnTo>
                  <a:pt x="2937" y="1773"/>
                </a:lnTo>
                <a:close/>
                <a:moveTo>
                  <a:pt x="2913" y="1783"/>
                </a:moveTo>
                <a:lnTo>
                  <a:pt x="2913" y="1783"/>
                </a:lnTo>
                <a:lnTo>
                  <a:pt x="2914" y="1783"/>
                </a:lnTo>
                <a:lnTo>
                  <a:pt x="2913" y="1783"/>
                </a:lnTo>
                <a:lnTo>
                  <a:pt x="2913" y="1783"/>
                </a:lnTo>
                <a:close/>
                <a:moveTo>
                  <a:pt x="2910" y="1786"/>
                </a:moveTo>
                <a:lnTo>
                  <a:pt x="2910" y="1786"/>
                </a:lnTo>
                <a:lnTo>
                  <a:pt x="2910" y="1786"/>
                </a:lnTo>
                <a:lnTo>
                  <a:pt x="2910" y="1786"/>
                </a:lnTo>
                <a:lnTo>
                  <a:pt x="2910" y="1786"/>
                </a:lnTo>
                <a:close/>
                <a:moveTo>
                  <a:pt x="2839" y="1957"/>
                </a:moveTo>
                <a:lnTo>
                  <a:pt x="2839" y="1957"/>
                </a:lnTo>
                <a:lnTo>
                  <a:pt x="2839" y="1956"/>
                </a:lnTo>
                <a:lnTo>
                  <a:pt x="2839" y="1957"/>
                </a:lnTo>
                <a:lnTo>
                  <a:pt x="2839" y="1957"/>
                </a:lnTo>
                <a:lnTo>
                  <a:pt x="2843" y="1958"/>
                </a:lnTo>
                <a:lnTo>
                  <a:pt x="2844" y="1959"/>
                </a:lnTo>
                <a:lnTo>
                  <a:pt x="2845" y="1961"/>
                </a:lnTo>
                <a:lnTo>
                  <a:pt x="2845" y="1962"/>
                </a:lnTo>
                <a:lnTo>
                  <a:pt x="2845" y="1963"/>
                </a:lnTo>
                <a:lnTo>
                  <a:pt x="2845" y="1965"/>
                </a:lnTo>
                <a:lnTo>
                  <a:pt x="2845" y="1963"/>
                </a:lnTo>
                <a:lnTo>
                  <a:pt x="2845" y="1962"/>
                </a:lnTo>
                <a:lnTo>
                  <a:pt x="2845" y="1961"/>
                </a:lnTo>
                <a:lnTo>
                  <a:pt x="2844" y="1959"/>
                </a:lnTo>
                <a:lnTo>
                  <a:pt x="2843" y="1958"/>
                </a:lnTo>
                <a:lnTo>
                  <a:pt x="2839" y="1957"/>
                </a:lnTo>
                <a:close/>
                <a:moveTo>
                  <a:pt x="2863" y="1960"/>
                </a:moveTo>
                <a:lnTo>
                  <a:pt x="2864" y="1959"/>
                </a:lnTo>
                <a:lnTo>
                  <a:pt x="2864" y="1959"/>
                </a:lnTo>
                <a:lnTo>
                  <a:pt x="2864" y="1959"/>
                </a:lnTo>
                <a:lnTo>
                  <a:pt x="2864" y="1960"/>
                </a:lnTo>
                <a:lnTo>
                  <a:pt x="2864" y="1960"/>
                </a:lnTo>
                <a:lnTo>
                  <a:pt x="2863" y="1961"/>
                </a:lnTo>
                <a:lnTo>
                  <a:pt x="2863" y="1960"/>
                </a:lnTo>
                <a:lnTo>
                  <a:pt x="2863" y="1960"/>
                </a:lnTo>
                <a:close/>
                <a:moveTo>
                  <a:pt x="2826" y="1864"/>
                </a:moveTo>
                <a:lnTo>
                  <a:pt x="2825" y="1863"/>
                </a:lnTo>
                <a:lnTo>
                  <a:pt x="2825" y="1863"/>
                </a:lnTo>
                <a:lnTo>
                  <a:pt x="2825" y="1863"/>
                </a:lnTo>
                <a:lnTo>
                  <a:pt x="2826" y="1864"/>
                </a:lnTo>
                <a:lnTo>
                  <a:pt x="2826" y="1864"/>
                </a:lnTo>
                <a:close/>
                <a:moveTo>
                  <a:pt x="2824" y="1864"/>
                </a:moveTo>
                <a:lnTo>
                  <a:pt x="2823" y="1864"/>
                </a:lnTo>
                <a:lnTo>
                  <a:pt x="2823" y="1864"/>
                </a:lnTo>
                <a:lnTo>
                  <a:pt x="2823" y="1864"/>
                </a:lnTo>
                <a:lnTo>
                  <a:pt x="2823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lnTo>
                  <a:pt x="2824" y="1864"/>
                </a:lnTo>
                <a:close/>
                <a:moveTo>
                  <a:pt x="2787" y="1950"/>
                </a:moveTo>
                <a:lnTo>
                  <a:pt x="2770" y="1951"/>
                </a:lnTo>
                <a:lnTo>
                  <a:pt x="2752" y="1952"/>
                </a:lnTo>
                <a:lnTo>
                  <a:pt x="2745" y="1950"/>
                </a:lnTo>
                <a:lnTo>
                  <a:pt x="2743" y="1943"/>
                </a:lnTo>
                <a:lnTo>
                  <a:pt x="2740" y="1906"/>
                </a:lnTo>
                <a:lnTo>
                  <a:pt x="2735" y="1867"/>
                </a:lnTo>
                <a:lnTo>
                  <a:pt x="2757" y="1866"/>
                </a:lnTo>
                <a:lnTo>
                  <a:pt x="2777" y="1865"/>
                </a:lnTo>
                <a:lnTo>
                  <a:pt x="2784" y="1866"/>
                </a:lnTo>
                <a:lnTo>
                  <a:pt x="2787" y="1871"/>
                </a:lnTo>
                <a:lnTo>
                  <a:pt x="2790" y="1907"/>
                </a:lnTo>
                <a:lnTo>
                  <a:pt x="2793" y="1942"/>
                </a:lnTo>
                <a:lnTo>
                  <a:pt x="2792" y="1949"/>
                </a:lnTo>
                <a:lnTo>
                  <a:pt x="2787" y="1950"/>
                </a:lnTo>
                <a:close/>
                <a:moveTo>
                  <a:pt x="2769" y="1721"/>
                </a:moveTo>
                <a:lnTo>
                  <a:pt x="2770" y="1721"/>
                </a:lnTo>
                <a:lnTo>
                  <a:pt x="2772" y="1721"/>
                </a:lnTo>
                <a:lnTo>
                  <a:pt x="2770" y="1721"/>
                </a:lnTo>
                <a:lnTo>
                  <a:pt x="2769" y="1721"/>
                </a:lnTo>
                <a:lnTo>
                  <a:pt x="2770" y="1726"/>
                </a:lnTo>
                <a:lnTo>
                  <a:pt x="2765" y="1729"/>
                </a:lnTo>
                <a:lnTo>
                  <a:pt x="2772" y="1731"/>
                </a:lnTo>
                <a:lnTo>
                  <a:pt x="2776" y="1736"/>
                </a:lnTo>
                <a:lnTo>
                  <a:pt x="2776" y="1736"/>
                </a:lnTo>
                <a:lnTo>
                  <a:pt x="2777" y="1737"/>
                </a:lnTo>
                <a:lnTo>
                  <a:pt x="2776" y="1736"/>
                </a:lnTo>
                <a:lnTo>
                  <a:pt x="2775" y="1736"/>
                </a:lnTo>
                <a:lnTo>
                  <a:pt x="2765" y="1736"/>
                </a:lnTo>
                <a:lnTo>
                  <a:pt x="2756" y="1732"/>
                </a:lnTo>
                <a:lnTo>
                  <a:pt x="2753" y="1722"/>
                </a:lnTo>
                <a:lnTo>
                  <a:pt x="2769" y="1721"/>
                </a:lnTo>
                <a:close/>
                <a:moveTo>
                  <a:pt x="2791" y="1717"/>
                </a:moveTo>
                <a:lnTo>
                  <a:pt x="2791" y="1718"/>
                </a:lnTo>
                <a:lnTo>
                  <a:pt x="2791" y="1718"/>
                </a:lnTo>
                <a:lnTo>
                  <a:pt x="2791" y="1718"/>
                </a:lnTo>
                <a:lnTo>
                  <a:pt x="2791" y="1717"/>
                </a:lnTo>
                <a:close/>
                <a:moveTo>
                  <a:pt x="2791" y="1717"/>
                </a:moveTo>
                <a:lnTo>
                  <a:pt x="2791" y="1717"/>
                </a:lnTo>
                <a:lnTo>
                  <a:pt x="2791" y="1717"/>
                </a:lnTo>
                <a:lnTo>
                  <a:pt x="2791" y="1717"/>
                </a:lnTo>
                <a:lnTo>
                  <a:pt x="2791" y="1717"/>
                </a:lnTo>
                <a:close/>
                <a:moveTo>
                  <a:pt x="2793" y="1721"/>
                </a:moveTo>
                <a:lnTo>
                  <a:pt x="2793" y="1724"/>
                </a:lnTo>
                <a:lnTo>
                  <a:pt x="2793" y="1727"/>
                </a:lnTo>
                <a:lnTo>
                  <a:pt x="2793" y="1724"/>
                </a:lnTo>
                <a:lnTo>
                  <a:pt x="2793" y="1721"/>
                </a:lnTo>
                <a:lnTo>
                  <a:pt x="2793" y="1720"/>
                </a:lnTo>
                <a:lnTo>
                  <a:pt x="2792" y="1720"/>
                </a:lnTo>
                <a:lnTo>
                  <a:pt x="2793" y="1720"/>
                </a:lnTo>
                <a:lnTo>
                  <a:pt x="2793" y="1721"/>
                </a:lnTo>
                <a:lnTo>
                  <a:pt x="2793" y="1721"/>
                </a:lnTo>
                <a:close/>
                <a:moveTo>
                  <a:pt x="2801" y="1757"/>
                </a:moveTo>
                <a:lnTo>
                  <a:pt x="2801" y="1756"/>
                </a:lnTo>
                <a:lnTo>
                  <a:pt x="2802" y="1755"/>
                </a:lnTo>
                <a:lnTo>
                  <a:pt x="2801" y="1756"/>
                </a:lnTo>
                <a:lnTo>
                  <a:pt x="2801" y="1757"/>
                </a:lnTo>
                <a:close/>
                <a:moveTo>
                  <a:pt x="2794" y="1715"/>
                </a:moveTo>
                <a:lnTo>
                  <a:pt x="2799" y="1714"/>
                </a:lnTo>
                <a:lnTo>
                  <a:pt x="2802" y="1714"/>
                </a:lnTo>
                <a:lnTo>
                  <a:pt x="2807" y="1715"/>
                </a:lnTo>
                <a:lnTo>
                  <a:pt x="2813" y="1717"/>
                </a:lnTo>
                <a:lnTo>
                  <a:pt x="2813" y="1715"/>
                </a:lnTo>
                <a:lnTo>
                  <a:pt x="2814" y="1713"/>
                </a:lnTo>
                <a:lnTo>
                  <a:pt x="2813" y="1715"/>
                </a:lnTo>
                <a:lnTo>
                  <a:pt x="2813" y="1717"/>
                </a:lnTo>
                <a:lnTo>
                  <a:pt x="2819" y="1720"/>
                </a:lnTo>
                <a:lnTo>
                  <a:pt x="2817" y="1727"/>
                </a:lnTo>
                <a:lnTo>
                  <a:pt x="2815" y="1728"/>
                </a:lnTo>
                <a:lnTo>
                  <a:pt x="2814" y="1730"/>
                </a:lnTo>
                <a:lnTo>
                  <a:pt x="2817" y="1737"/>
                </a:lnTo>
                <a:lnTo>
                  <a:pt x="2809" y="1736"/>
                </a:lnTo>
                <a:lnTo>
                  <a:pt x="2806" y="1736"/>
                </a:lnTo>
                <a:lnTo>
                  <a:pt x="2803" y="1736"/>
                </a:lnTo>
                <a:lnTo>
                  <a:pt x="2804" y="1738"/>
                </a:lnTo>
                <a:lnTo>
                  <a:pt x="2805" y="1739"/>
                </a:lnTo>
                <a:lnTo>
                  <a:pt x="2804" y="1738"/>
                </a:lnTo>
                <a:lnTo>
                  <a:pt x="2803" y="1736"/>
                </a:lnTo>
                <a:lnTo>
                  <a:pt x="2799" y="1728"/>
                </a:lnTo>
                <a:lnTo>
                  <a:pt x="2794" y="1720"/>
                </a:lnTo>
                <a:lnTo>
                  <a:pt x="2794" y="1717"/>
                </a:lnTo>
                <a:lnTo>
                  <a:pt x="2794" y="1715"/>
                </a:lnTo>
                <a:lnTo>
                  <a:pt x="2793" y="1715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2" y="1716"/>
                </a:lnTo>
                <a:lnTo>
                  <a:pt x="2793" y="1715"/>
                </a:lnTo>
                <a:lnTo>
                  <a:pt x="2794" y="1715"/>
                </a:lnTo>
                <a:close/>
                <a:moveTo>
                  <a:pt x="2866" y="1730"/>
                </a:moveTo>
                <a:lnTo>
                  <a:pt x="2870" y="1730"/>
                </a:lnTo>
                <a:lnTo>
                  <a:pt x="2871" y="1733"/>
                </a:lnTo>
                <a:lnTo>
                  <a:pt x="2870" y="1737"/>
                </a:lnTo>
                <a:lnTo>
                  <a:pt x="2867" y="1738"/>
                </a:lnTo>
                <a:lnTo>
                  <a:pt x="2858" y="1738"/>
                </a:lnTo>
                <a:lnTo>
                  <a:pt x="2847" y="1738"/>
                </a:lnTo>
                <a:lnTo>
                  <a:pt x="2846" y="1733"/>
                </a:lnTo>
                <a:lnTo>
                  <a:pt x="2846" y="1728"/>
                </a:lnTo>
                <a:lnTo>
                  <a:pt x="2846" y="1728"/>
                </a:lnTo>
                <a:lnTo>
                  <a:pt x="2856" y="1730"/>
                </a:lnTo>
                <a:lnTo>
                  <a:pt x="2866" y="1730"/>
                </a:lnTo>
                <a:close/>
                <a:moveTo>
                  <a:pt x="2701" y="2005"/>
                </a:moveTo>
                <a:lnTo>
                  <a:pt x="2695" y="2006"/>
                </a:lnTo>
                <a:lnTo>
                  <a:pt x="2689" y="2007"/>
                </a:lnTo>
                <a:lnTo>
                  <a:pt x="2695" y="1995"/>
                </a:lnTo>
                <a:lnTo>
                  <a:pt x="2709" y="1995"/>
                </a:lnTo>
                <a:lnTo>
                  <a:pt x="2710" y="2003"/>
                </a:lnTo>
                <a:lnTo>
                  <a:pt x="2701" y="2005"/>
                </a:lnTo>
                <a:close/>
                <a:moveTo>
                  <a:pt x="2612" y="1971"/>
                </a:moveTo>
                <a:lnTo>
                  <a:pt x="2611" y="1968"/>
                </a:lnTo>
                <a:lnTo>
                  <a:pt x="2611" y="1963"/>
                </a:lnTo>
                <a:lnTo>
                  <a:pt x="2611" y="1968"/>
                </a:lnTo>
                <a:lnTo>
                  <a:pt x="2612" y="1971"/>
                </a:lnTo>
                <a:close/>
                <a:moveTo>
                  <a:pt x="2518" y="1983"/>
                </a:moveTo>
                <a:lnTo>
                  <a:pt x="2518" y="1983"/>
                </a:lnTo>
                <a:lnTo>
                  <a:pt x="2518" y="1983"/>
                </a:lnTo>
                <a:lnTo>
                  <a:pt x="2518" y="1983"/>
                </a:lnTo>
                <a:lnTo>
                  <a:pt x="2518" y="1983"/>
                </a:lnTo>
                <a:close/>
                <a:moveTo>
                  <a:pt x="2519" y="2004"/>
                </a:moveTo>
                <a:lnTo>
                  <a:pt x="2521" y="2001"/>
                </a:lnTo>
                <a:lnTo>
                  <a:pt x="2518" y="1997"/>
                </a:lnTo>
                <a:lnTo>
                  <a:pt x="2507" y="1989"/>
                </a:lnTo>
                <a:lnTo>
                  <a:pt x="2511" y="1974"/>
                </a:lnTo>
                <a:lnTo>
                  <a:pt x="2513" y="1970"/>
                </a:lnTo>
                <a:lnTo>
                  <a:pt x="2511" y="1965"/>
                </a:lnTo>
                <a:lnTo>
                  <a:pt x="2502" y="1961"/>
                </a:lnTo>
                <a:lnTo>
                  <a:pt x="2495" y="1961"/>
                </a:lnTo>
                <a:lnTo>
                  <a:pt x="2491" y="1961"/>
                </a:lnTo>
                <a:lnTo>
                  <a:pt x="2486" y="1954"/>
                </a:lnTo>
                <a:lnTo>
                  <a:pt x="2486" y="1953"/>
                </a:lnTo>
                <a:lnTo>
                  <a:pt x="2486" y="1952"/>
                </a:lnTo>
                <a:lnTo>
                  <a:pt x="2502" y="1953"/>
                </a:lnTo>
                <a:lnTo>
                  <a:pt x="2517" y="1952"/>
                </a:lnTo>
                <a:lnTo>
                  <a:pt x="2517" y="1952"/>
                </a:lnTo>
                <a:lnTo>
                  <a:pt x="2517" y="1967"/>
                </a:lnTo>
                <a:lnTo>
                  <a:pt x="2516" y="1982"/>
                </a:lnTo>
                <a:lnTo>
                  <a:pt x="2515" y="1988"/>
                </a:lnTo>
                <a:lnTo>
                  <a:pt x="2517" y="1992"/>
                </a:lnTo>
                <a:lnTo>
                  <a:pt x="2518" y="1995"/>
                </a:lnTo>
                <a:lnTo>
                  <a:pt x="2518" y="1997"/>
                </a:lnTo>
                <a:lnTo>
                  <a:pt x="2521" y="2001"/>
                </a:lnTo>
                <a:lnTo>
                  <a:pt x="2519" y="2004"/>
                </a:lnTo>
                <a:close/>
                <a:moveTo>
                  <a:pt x="2423" y="1821"/>
                </a:moveTo>
                <a:lnTo>
                  <a:pt x="2423" y="1819"/>
                </a:lnTo>
                <a:lnTo>
                  <a:pt x="2423" y="1817"/>
                </a:lnTo>
                <a:lnTo>
                  <a:pt x="2424" y="1819"/>
                </a:lnTo>
                <a:lnTo>
                  <a:pt x="2424" y="1820"/>
                </a:lnTo>
                <a:lnTo>
                  <a:pt x="2424" y="1821"/>
                </a:lnTo>
                <a:lnTo>
                  <a:pt x="2423" y="1821"/>
                </a:lnTo>
                <a:close/>
                <a:moveTo>
                  <a:pt x="2446" y="1776"/>
                </a:moveTo>
                <a:lnTo>
                  <a:pt x="2447" y="1775"/>
                </a:lnTo>
                <a:lnTo>
                  <a:pt x="2447" y="1774"/>
                </a:lnTo>
                <a:lnTo>
                  <a:pt x="2447" y="1775"/>
                </a:lnTo>
                <a:lnTo>
                  <a:pt x="2446" y="1776"/>
                </a:lnTo>
                <a:close/>
                <a:moveTo>
                  <a:pt x="2445" y="1782"/>
                </a:moveTo>
                <a:lnTo>
                  <a:pt x="2446" y="1781"/>
                </a:lnTo>
                <a:lnTo>
                  <a:pt x="2446" y="1779"/>
                </a:lnTo>
                <a:lnTo>
                  <a:pt x="2446" y="1781"/>
                </a:lnTo>
                <a:lnTo>
                  <a:pt x="2445" y="1782"/>
                </a:lnTo>
                <a:close/>
                <a:moveTo>
                  <a:pt x="2442" y="1785"/>
                </a:moveTo>
                <a:lnTo>
                  <a:pt x="2440" y="1785"/>
                </a:lnTo>
                <a:lnTo>
                  <a:pt x="2439" y="1785"/>
                </a:lnTo>
                <a:lnTo>
                  <a:pt x="2440" y="1785"/>
                </a:lnTo>
                <a:lnTo>
                  <a:pt x="2442" y="1785"/>
                </a:lnTo>
                <a:lnTo>
                  <a:pt x="2443" y="1785"/>
                </a:lnTo>
                <a:lnTo>
                  <a:pt x="2443" y="1784"/>
                </a:lnTo>
                <a:lnTo>
                  <a:pt x="2443" y="1785"/>
                </a:lnTo>
                <a:lnTo>
                  <a:pt x="2442" y="1785"/>
                </a:lnTo>
                <a:close/>
                <a:moveTo>
                  <a:pt x="2520" y="1988"/>
                </a:moveTo>
                <a:lnTo>
                  <a:pt x="2519" y="1988"/>
                </a:lnTo>
                <a:lnTo>
                  <a:pt x="2519" y="1989"/>
                </a:lnTo>
                <a:lnTo>
                  <a:pt x="2519" y="1988"/>
                </a:lnTo>
                <a:lnTo>
                  <a:pt x="2520" y="1988"/>
                </a:lnTo>
                <a:close/>
                <a:moveTo>
                  <a:pt x="2519" y="1984"/>
                </a:moveTo>
                <a:lnTo>
                  <a:pt x="2520" y="1985"/>
                </a:lnTo>
                <a:lnTo>
                  <a:pt x="2520" y="1986"/>
                </a:lnTo>
                <a:lnTo>
                  <a:pt x="2520" y="1985"/>
                </a:lnTo>
                <a:lnTo>
                  <a:pt x="2519" y="1984"/>
                </a:lnTo>
                <a:close/>
                <a:moveTo>
                  <a:pt x="1949" y="1886"/>
                </a:moveTo>
                <a:lnTo>
                  <a:pt x="1949" y="1886"/>
                </a:lnTo>
                <a:lnTo>
                  <a:pt x="1949" y="1886"/>
                </a:lnTo>
                <a:lnTo>
                  <a:pt x="1950" y="1878"/>
                </a:lnTo>
                <a:lnTo>
                  <a:pt x="1949" y="1869"/>
                </a:lnTo>
                <a:lnTo>
                  <a:pt x="1949" y="1878"/>
                </a:lnTo>
                <a:lnTo>
                  <a:pt x="1949" y="1886"/>
                </a:lnTo>
                <a:close/>
                <a:moveTo>
                  <a:pt x="1905" y="2006"/>
                </a:moveTo>
                <a:lnTo>
                  <a:pt x="1900" y="2004"/>
                </a:lnTo>
                <a:lnTo>
                  <a:pt x="1899" y="2000"/>
                </a:lnTo>
                <a:lnTo>
                  <a:pt x="1900" y="1995"/>
                </a:lnTo>
                <a:lnTo>
                  <a:pt x="1906" y="1992"/>
                </a:lnTo>
                <a:lnTo>
                  <a:pt x="1910" y="1995"/>
                </a:lnTo>
                <a:lnTo>
                  <a:pt x="1910" y="1999"/>
                </a:lnTo>
                <a:lnTo>
                  <a:pt x="1909" y="2004"/>
                </a:lnTo>
                <a:lnTo>
                  <a:pt x="1905" y="2006"/>
                </a:lnTo>
                <a:close/>
                <a:moveTo>
                  <a:pt x="1652" y="1837"/>
                </a:moveTo>
                <a:lnTo>
                  <a:pt x="1655" y="1842"/>
                </a:lnTo>
                <a:lnTo>
                  <a:pt x="1656" y="1848"/>
                </a:lnTo>
                <a:lnTo>
                  <a:pt x="1658" y="1845"/>
                </a:lnTo>
                <a:lnTo>
                  <a:pt x="1661" y="1844"/>
                </a:lnTo>
                <a:lnTo>
                  <a:pt x="1674" y="1844"/>
                </a:lnTo>
                <a:lnTo>
                  <a:pt x="1687" y="1840"/>
                </a:lnTo>
                <a:lnTo>
                  <a:pt x="1691" y="1842"/>
                </a:lnTo>
                <a:lnTo>
                  <a:pt x="1692" y="1845"/>
                </a:lnTo>
                <a:lnTo>
                  <a:pt x="1677" y="1850"/>
                </a:lnTo>
                <a:lnTo>
                  <a:pt x="1661" y="1852"/>
                </a:lnTo>
                <a:lnTo>
                  <a:pt x="1678" y="1863"/>
                </a:lnTo>
                <a:lnTo>
                  <a:pt x="1693" y="1876"/>
                </a:lnTo>
                <a:lnTo>
                  <a:pt x="1693" y="1905"/>
                </a:lnTo>
                <a:lnTo>
                  <a:pt x="1693" y="1934"/>
                </a:lnTo>
                <a:lnTo>
                  <a:pt x="1687" y="1934"/>
                </a:lnTo>
                <a:lnTo>
                  <a:pt x="1687" y="1938"/>
                </a:lnTo>
                <a:lnTo>
                  <a:pt x="1685" y="1949"/>
                </a:lnTo>
                <a:lnTo>
                  <a:pt x="1674" y="1952"/>
                </a:lnTo>
                <a:lnTo>
                  <a:pt x="1666" y="1952"/>
                </a:lnTo>
                <a:lnTo>
                  <a:pt x="1657" y="1954"/>
                </a:lnTo>
                <a:lnTo>
                  <a:pt x="1657" y="1900"/>
                </a:lnTo>
                <a:lnTo>
                  <a:pt x="1656" y="1848"/>
                </a:lnTo>
                <a:lnTo>
                  <a:pt x="1655" y="1842"/>
                </a:lnTo>
                <a:lnTo>
                  <a:pt x="1652" y="1837"/>
                </a:lnTo>
                <a:close/>
                <a:moveTo>
                  <a:pt x="1648" y="1834"/>
                </a:moveTo>
                <a:lnTo>
                  <a:pt x="1649" y="1835"/>
                </a:lnTo>
                <a:lnTo>
                  <a:pt x="1650" y="1836"/>
                </a:lnTo>
                <a:lnTo>
                  <a:pt x="1651" y="1836"/>
                </a:lnTo>
                <a:lnTo>
                  <a:pt x="1652" y="1837"/>
                </a:lnTo>
                <a:lnTo>
                  <a:pt x="1651" y="1836"/>
                </a:lnTo>
                <a:lnTo>
                  <a:pt x="1650" y="1836"/>
                </a:lnTo>
                <a:lnTo>
                  <a:pt x="1649" y="1835"/>
                </a:lnTo>
                <a:lnTo>
                  <a:pt x="1648" y="1834"/>
                </a:lnTo>
                <a:close/>
                <a:moveTo>
                  <a:pt x="1693" y="1860"/>
                </a:moveTo>
                <a:lnTo>
                  <a:pt x="1693" y="1860"/>
                </a:lnTo>
                <a:lnTo>
                  <a:pt x="1693" y="1860"/>
                </a:lnTo>
                <a:lnTo>
                  <a:pt x="1693" y="1860"/>
                </a:lnTo>
                <a:lnTo>
                  <a:pt x="1693" y="1860"/>
                </a:lnTo>
                <a:close/>
                <a:moveTo>
                  <a:pt x="1343" y="2019"/>
                </a:moveTo>
                <a:lnTo>
                  <a:pt x="1337" y="2018"/>
                </a:lnTo>
                <a:lnTo>
                  <a:pt x="1335" y="2011"/>
                </a:lnTo>
                <a:lnTo>
                  <a:pt x="1332" y="1877"/>
                </a:lnTo>
                <a:lnTo>
                  <a:pt x="1335" y="1743"/>
                </a:lnTo>
                <a:lnTo>
                  <a:pt x="1336" y="1729"/>
                </a:lnTo>
                <a:lnTo>
                  <a:pt x="1337" y="1715"/>
                </a:lnTo>
                <a:lnTo>
                  <a:pt x="1342" y="1712"/>
                </a:lnTo>
                <a:lnTo>
                  <a:pt x="1342" y="1707"/>
                </a:lnTo>
                <a:lnTo>
                  <a:pt x="1344" y="1695"/>
                </a:lnTo>
                <a:lnTo>
                  <a:pt x="1355" y="1688"/>
                </a:lnTo>
                <a:lnTo>
                  <a:pt x="1376" y="1688"/>
                </a:lnTo>
                <a:lnTo>
                  <a:pt x="1397" y="1684"/>
                </a:lnTo>
                <a:lnTo>
                  <a:pt x="1403" y="1682"/>
                </a:lnTo>
                <a:lnTo>
                  <a:pt x="1408" y="1683"/>
                </a:lnTo>
                <a:lnTo>
                  <a:pt x="1418" y="1683"/>
                </a:lnTo>
                <a:lnTo>
                  <a:pt x="1424" y="1677"/>
                </a:lnTo>
                <a:lnTo>
                  <a:pt x="1427" y="1674"/>
                </a:lnTo>
                <a:lnTo>
                  <a:pt x="1430" y="1675"/>
                </a:lnTo>
                <a:lnTo>
                  <a:pt x="1439" y="1684"/>
                </a:lnTo>
                <a:lnTo>
                  <a:pt x="1451" y="1681"/>
                </a:lnTo>
                <a:lnTo>
                  <a:pt x="1454" y="1680"/>
                </a:lnTo>
                <a:lnTo>
                  <a:pt x="1458" y="1680"/>
                </a:lnTo>
                <a:lnTo>
                  <a:pt x="1461" y="1680"/>
                </a:lnTo>
                <a:lnTo>
                  <a:pt x="1463" y="1679"/>
                </a:lnTo>
                <a:lnTo>
                  <a:pt x="1461" y="1674"/>
                </a:lnTo>
                <a:lnTo>
                  <a:pt x="1466" y="1671"/>
                </a:lnTo>
                <a:lnTo>
                  <a:pt x="1473" y="1674"/>
                </a:lnTo>
                <a:lnTo>
                  <a:pt x="1479" y="1680"/>
                </a:lnTo>
                <a:lnTo>
                  <a:pt x="1483" y="1697"/>
                </a:lnTo>
                <a:lnTo>
                  <a:pt x="1487" y="1715"/>
                </a:lnTo>
                <a:lnTo>
                  <a:pt x="1473" y="1725"/>
                </a:lnTo>
                <a:lnTo>
                  <a:pt x="1460" y="1735"/>
                </a:lnTo>
                <a:lnTo>
                  <a:pt x="1449" y="1746"/>
                </a:lnTo>
                <a:lnTo>
                  <a:pt x="1439" y="1761"/>
                </a:lnTo>
                <a:lnTo>
                  <a:pt x="1436" y="1761"/>
                </a:lnTo>
                <a:lnTo>
                  <a:pt x="1434" y="1764"/>
                </a:lnTo>
                <a:lnTo>
                  <a:pt x="1423" y="1790"/>
                </a:lnTo>
                <a:lnTo>
                  <a:pt x="1418" y="1818"/>
                </a:lnTo>
                <a:lnTo>
                  <a:pt x="1418" y="1825"/>
                </a:lnTo>
                <a:lnTo>
                  <a:pt x="1411" y="1830"/>
                </a:lnTo>
                <a:lnTo>
                  <a:pt x="1399" y="1831"/>
                </a:lnTo>
                <a:lnTo>
                  <a:pt x="1388" y="1833"/>
                </a:lnTo>
                <a:lnTo>
                  <a:pt x="1381" y="1835"/>
                </a:lnTo>
                <a:lnTo>
                  <a:pt x="1380" y="1840"/>
                </a:lnTo>
                <a:lnTo>
                  <a:pt x="1381" y="1855"/>
                </a:lnTo>
                <a:lnTo>
                  <a:pt x="1396" y="1858"/>
                </a:lnTo>
                <a:lnTo>
                  <a:pt x="1401" y="1858"/>
                </a:lnTo>
                <a:lnTo>
                  <a:pt x="1407" y="1858"/>
                </a:lnTo>
                <a:lnTo>
                  <a:pt x="1414" y="1860"/>
                </a:lnTo>
                <a:lnTo>
                  <a:pt x="1419" y="1867"/>
                </a:lnTo>
                <a:lnTo>
                  <a:pt x="1421" y="1883"/>
                </a:lnTo>
                <a:lnTo>
                  <a:pt x="1420" y="1900"/>
                </a:lnTo>
                <a:lnTo>
                  <a:pt x="1420" y="1932"/>
                </a:lnTo>
                <a:lnTo>
                  <a:pt x="1420" y="1965"/>
                </a:lnTo>
                <a:lnTo>
                  <a:pt x="1418" y="1992"/>
                </a:lnTo>
                <a:lnTo>
                  <a:pt x="1421" y="2019"/>
                </a:lnTo>
                <a:lnTo>
                  <a:pt x="1382" y="2019"/>
                </a:lnTo>
                <a:lnTo>
                  <a:pt x="1343" y="2019"/>
                </a:lnTo>
                <a:close/>
                <a:moveTo>
                  <a:pt x="1328" y="1809"/>
                </a:moveTo>
                <a:lnTo>
                  <a:pt x="1329" y="1768"/>
                </a:lnTo>
                <a:lnTo>
                  <a:pt x="1330" y="1725"/>
                </a:lnTo>
                <a:lnTo>
                  <a:pt x="1329" y="1768"/>
                </a:lnTo>
                <a:lnTo>
                  <a:pt x="1328" y="1809"/>
                </a:lnTo>
                <a:close/>
                <a:moveTo>
                  <a:pt x="1324" y="2009"/>
                </a:moveTo>
                <a:lnTo>
                  <a:pt x="1322" y="2018"/>
                </a:lnTo>
                <a:lnTo>
                  <a:pt x="1315" y="2020"/>
                </a:lnTo>
                <a:lnTo>
                  <a:pt x="1295" y="2018"/>
                </a:lnTo>
                <a:lnTo>
                  <a:pt x="1294" y="2000"/>
                </a:lnTo>
                <a:lnTo>
                  <a:pt x="1295" y="1930"/>
                </a:lnTo>
                <a:lnTo>
                  <a:pt x="1297" y="1860"/>
                </a:lnTo>
                <a:lnTo>
                  <a:pt x="1310" y="1871"/>
                </a:lnTo>
                <a:lnTo>
                  <a:pt x="1325" y="1881"/>
                </a:lnTo>
                <a:lnTo>
                  <a:pt x="1325" y="1884"/>
                </a:lnTo>
                <a:lnTo>
                  <a:pt x="1325" y="1888"/>
                </a:lnTo>
                <a:lnTo>
                  <a:pt x="1325" y="1888"/>
                </a:lnTo>
                <a:lnTo>
                  <a:pt x="1324" y="1888"/>
                </a:lnTo>
                <a:lnTo>
                  <a:pt x="1323" y="1889"/>
                </a:lnTo>
                <a:lnTo>
                  <a:pt x="1324" y="1890"/>
                </a:lnTo>
                <a:lnTo>
                  <a:pt x="1325" y="1891"/>
                </a:lnTo>
                <a:lnTo>
                  <a:pt x="1325" y="1951"/>
                </a:lnTo>
                <a:lnTo>
                  <a:pt x="1324" y="2009"/>
                </a:lnTo>
                <a:close/>
                <a:moveTo>
                  <a:pt x="1286" y="1836"/>
                </a:moveTo>
                <a:lnTo>
                  <a:pt x="1287" y="1838"/>
                </a:lnTo>
                <a:lnTo>
                  <a:pt x="1289" y="1839"/>
                </a:lnTo>
                <a:lnTo>
                  <a:pt x="1287" y="1838"/>
                </a:lnTo>
                <a:lnTo>
                  <a:pt x="1286" y="1836"/>
                </a:lnTo>
                <a:close/>
                <a:moveTo>
                  <a:pt x="1284" y="1834"/>
                </a:moveTo>
                <a:lnTo>
                  <a:pt x="1285" y="1835"/>
                </a:lnTo>
                <a:lnTo>
                  <a:pt x="1285" y="1835"/>
                </a:lnTo>
                <a:lnTo>
                  <a:pt x="1285" y="1835"/>
                </a:lnTo>
                <a:lnTo>
                  <a:pt x="1284" y="1834"/>
                </a:lnTo>
                <a:lnTo>
                  <a:pt x="1284" y="1834"/>
                </a:lnTo>
                <a:close/>
                <a:moveTo>
                  <a:pt x="1297" y="1859"/>
                </a:moveTo>
                <a:lnTo>
                  <a:pt x="1297" y="1858"/>
                </a:lnTo>
                <a:lnTo>
                  <a:pt x="1297" y="1856"/>
                </a:lnTo>
                <a:lnTo>
                  <a:pt x="1297" y="1858"/>
                </a:lnTo>
                <a:lnTo>
                  <a:pt x="1297" y="1859"/>
                </a:lnTo>
                <a:close/>
                <a:moveTo>
                  <a:pt x="1293" y="1830"/>
                </a:moveTo>
                <a:lnTo>
                  <a:pt x="1298" y="1827"/>
                </a:lnTo>
                <a:lnTo>
                  <a:pt x="1299" y="1821"/>
                </a:lnTo>
                <a:lnTo>
                  <a:pt x="1304" y="1816"/>
                </a:lnTo>
                <a:lnTo>
                  <a:pt x="1310" y="1808"/>
                </a:lnTo>
                <a:lnTo>
                  <a:pt x="1314" y="1819"/>
                </a:lnTo>
                <a:lnTo>
                  <a:pt x="1313" y="1829"/>
                </a:lnTo>
                <a:lnTo>
                  <a:pt x="1304" y="1834"/>
                </a:lnTo>
                <a:lnTo>
                  <a:pt x="1292" y="1833"/>
                </a:lnTo>
                <a:lnTo>
                  <a:pt x="1288" y="1833"/>
                </a:lnTo>
                <a:lnTo>
                  <a:pt x="1284" y="1834"/>
                </a:lnTo>
                <a:lnTo>
                  <a:pt x="1287" y="1829"/>
                </a:lnTo>
                <a:lnTo>
                  <a:pt x="1293" y="1830"/>
                </a:lnTo>
                <a:close/>
                <a:moveTo>
                  <a:pt x="1179" y="1906"/>
                </a:moveTo>
                <a:lnTo>
                  <a:pt x="1179" y="1906"/>
                </a:lnTo>
                <a:lnTo>
                  <a:pt x="1178" y="1961"/>
                </a:lnTo>
                <a:lnTo>
                  <a:pt x="1176" y="2018"/>
                </a:lnTo>
                <a:lnTo>
                  <a:pt x="1178" y="1961"/>
                </a:lnTo>
                <a:lnTo>
                  <a:pt x="1179" y="1906"/>
                </a:lnTo>
                <a:lnTo>
                  <a:pt x="1178" y="1906"/>
                </a:lnTo>
                <a:lnTo>
                  <a:pt x="1177" y="1906"/>
                </a:lnTo>
                <a:lnTo>
                  <a:pt x="1173" y="1898"/>
                </a:lnTo>
                <a:lnTo>
                  <a:pt x="1175" y="1891"/>
                </a:lnTo>
                <a:lnTo>
                  <a:pt x="1177" y="1878"/>
                </a:lnTo>
                <a:lnTo>
                  <a:pt x="1189" y="1876"/>
                </a:lnTo>
                <a:lnTo>
                  <a:pt x="1196" y="1876"/>
                </a:lnTo>
                <a:lnTo>
                  <a:pt x="1203" y="1875"/>
                </a:lnTo>
                <a:lnTo>
                  <a:pt x="1213" y="1877"/>
                </a:lnTo>
                <a:lnTo>
                  <a:pt x="1216" y="1885"/>
                </a:lnTo>
                <a:lnTo>
                  <a:pt x="1216" y="1862"/>
                </a:lnTo>
                <a:lnTo>
                  <a:pt x="1216" y="1837"/>
                </a:lnTo>
                <a:lnTo>
                  <a:pt x="1216" y="1862"/>
                </a:lnTo>
                <a:lnTo>
                  <a:pt x="1216" y="1885"/>
                </a:lnTo>
                <a:lnTo>
                  <a:pt x="1215" y="1895"/>
                </a:lnTo>
                <a:lnTo>
                  <a:pt x="1215" y="1904"/>
                </a:lnTo>
                <a:lnTo>
                  <a:pt x="1210" y="1904"/>
                </a:lnTo>
                <a:lnTo>
                  <a:pt x="1204" y="1905"/>
                </a:lnTo>
                <a:lnTo>
                  <a:pt x="1198" y="1905"/>
                </a:lnTo>
                <a:lnTo>
                  <a:pt x="1193" y="1905"/>
                </a:lnTo>
                <a:lnTo>
                  <a:pt x="1191" y="1904"/>
                </a:lnTo>
                <a:lnTo>
                  <a:pt x="1188" y="1904"/>
                </a:lnTo>
                <a:lnTo>
                  <a:pt x="1188" y="1904"/>
                </a:lnTo>
                <a:lnTo>
                  <a:pt x="1187" y="1904"/>
                </a:lnTo>
                <a:lnTo>
                  <a:pt x="1185" y="1917"/>
                </a:lnTo>
                <a:lnTo>
                  <a:pt x="1184" y="1930"/>
                </a:lnTo>
                <a:lnTo>
                  <a:pt x="1185" y="1917"/>
                </a:lnTo>
                <a:lnTo>
                  <a:pt x="1187" y="1904"/>
                </a:lnTo>
                <a:lnTo>
                  <a:pt x="1183" y="1904"/>
                </a:lnTo>
                <a:lnTo>
                  <a:pt x="1179" y="1906"/>
                </a:lnTo>
                <a:close/>
                <a:moveTo>
                  <a:pt x="1197" y="1837"/>
                </a:moveTo>
                <a:lnTo>
                  <a:pt x="1194" y="1837"/>
                </a:lnTo>
                <a:lnTo>
                  <a:pt x="1191" y="1835"/>
                </a:lnTo>
                <a:lnTo>
                  <a:pt x="1194" y="1837"/>
                </a:lnTo>
                <a:lnTo>
                  <a:pt x="1197" y="1837"/>
                </a:lnTo>
                <a:close/>
                <a:moveTo>
                  <a:pt x="985" y="2007"/>
                </a:moveTo>
                <a:lnTo>
                  <a:pt x="981" y="2018"/>
                </a:lnTo>
                <a:lnTo>
                  <a:pt x="969" y="2020"/>
                </a:lnTo>
                <a:lnTo>
                  <a:pt x="961" y="2016"/>
                </a:lnTo>
                <a:lnTo>
                  <a:pt x="961" y="2007"/>
                </a:lnTo>
                <a:lnTo>
                  <a:pt x="964" y="1940"/>
                </a:lnTo>
                <a:lnTo>
                  <a:pt x="967" y="1874"/>
                </a:lnTo>
                <a:lnTo>
                  <a:pt x="967" y="1869"/>
                </a:lnTo>
                <a:lnTo>
                  <a:pt x="966" y="1866"/>
                </a:lnTo>
                <a:lnTo>
                  <a:pt x="967" y="1869"/>
                </a:lnTo>
                <a:lnTo>
                  <a:pt x="967" y="1874"/>
                </a:lnTo>
                <a:lnTo>
                  <a:pt x="972" y="1873"/>
                </a:lnTo>
                <a:lnTo>
                  <a:pt x="972" y="1878"/>
                </a:lnTo>
                <a:lnTo>
                  <a:pt x="972" y="1884"/>
                </a:lnTo>
                <a:lnTo>
                  <a:pt x="979" y="1888"/>
                </a:lnTo>
                <a:lnTo>
                  <a:pt x="981" y="1889"/>
                </a:lnTo>
                <a:lnTo>
                  <a:pt x="982" y="1891"/>
                </a:lnTo>
                <a:lnTo>
                  <a:pt x="983" y="1897"/>
                </a:lnTo>
                <a:lnTo>
                  <a:pt x="988" y="1898"/>
                </a:lnTo>
                <a:lnTo>
                  <a:pt x="986" y="1953"/>
                </a:lnTo>
                <a:lnTo>
                  <a:pt x="985" y="2007"/>
                </a:lnTo>
                <a:close/>
                <a:moveTo>
                  <a:pt x="951" y="1966"/>
                </a:moveTo>
                <a:lnTo>
                  <a:pt x="951" y="1976"/>
                </a:lnTo>
                <a:lnTo>
                  <a:pt x="950" y="1986"/>
                </a:lnTo>
                <a:lnTo>
                  <a:pt x="951" y="1976"/>
                </a:lnTo>
                <a:lnTo>
                  <a:pt x="951" y="1966"/>
                </a:lnTo>
                <a:close/>
                <a:moveTo>
                  <a:pt x="847" y="2011"/>
                </a:moveTo>
                <a:lnTo>
                  <a:pt x="839" y="2009"/>
                </a:lnTo>
                <a:lnTo>
                  <a:pt x="836" y="2002"/>
                </a:lnTo>
                <a:lnTo>
                  <a:pt x="836" y="1996"/>
                </a:lnTo>
                <a:lnTo>
                  <a:pt x="842" y="1995"/>
                </a:lnTo>
                <a:lnTo>
                  <a:pt x="850" y="1995"/>
                </a:lnTo>
                <a:lnTo>
                  <a:pt x="854" y="2002"/>
                </a:lnTo>
                <a:lnTo>
                  <a:pt x="852" y="2008"/>
                </a:lnTo>
                <a:lnTo>
                  <a:pt x="847" y="2011"/>
                </a:lnTo>
                <a:close/>
                <a:moveTo>
                  <a:pt x="791" y="2019"/>
                </a:moveTo>
                <a:lnTo>
                  <a:pt x="792" y="2019"/>
                </a:lnTo>
                <a:lnTo>
                  <a:pt x="793" y="2019"/>
                </a:lnTo>
                <a:lnTo>
                  <a:pt x="792" y="2019"/>
                </a:lnTo>
                <a:lnTo>
                  <a:pt x="791" y="2019"/>
                </a:lnTo>
                <a:close/>
                <a:moveTo>
                  <a:pt x="751" y="2019"/>
                </a:moveTo>
                <a:lnTo>
                  <a:pt x="756" y="2015"/>
                </a:lnTo>
                <a:lnTo>
                  <a:pt x="757" y="2007"/>
                </a:lnTo>
                <a:lnTo>
                  <a:pt x="756" y="2000"/>
                </a:lnTo>
                <a:lnTo>
                  <a:pt x="757" y="1991"/>
                </a:lnTo>
                <a:lnTo>
                  <a:pt x="761" y="1986"/>
                </a:lnTo>
                <a:lnTo>
                  <a:pt x="763" y="1980"/>
                </a:lnTo>
                <a:lnTo>
                  <a:pt x="768" y="1980"/>
                </a:lnTo>
                <a:lnTo>
                  <a:pt x="768" y="1975"/>
                </a:lnTo>
                <a:lnTo>
                  <a:pt x="768" y="1970"/>
                </a:lnTo>
                <a:lnTo>
                  <a:pt x="772" y="1968"/>
                </a:lnTo>
                <a:lnTo>
                  <a:pt x="779" y="1968"/>
                </a:lnTo>
                <a:lnTo>
                  <a:pt x="784" y="1972"/>
                </a:lnTo>
                <a:lnTo>
                  <a:pt x="787" y="1989"/>
                </a:lnTo>
                <a:lnTo>
                  <a:pt x="784" y="2006"/>
                </a:lnTo>
                <a:lnTo>
                  <a:pt x="783" y="2012"/>
                </a:lnTo>
                <a:lnTo>
                  <a:pt x="783" y="2017"/>
                </a:lnTo>
                <a:lnTo>
                  <a:pt x="781" y="2017"/>
                </a:lnTo>
                <a:lnTo>
                  <a:pt x="777" y="2017"/>
                </a:lnTo>
                <a:lnTo>
                  <a:pt x="774" y="2016"/>
                </a:lnTo>
                <a:lnTo>
                  <a:pt x="772" y="2018"/>
                </a:lnTo>
                <a:lnTo>
                  <a:pt x="761" y="2020"/>
                </a:lnTo>
                <a:lnTo>
                  <a:pt x="751" y="2019"/>
                </a:lnTo>
                <a:close/>
                <a:moveTo>
                  <a:pt x="677" y="2011"/>
                </a:moveTo>
                <a:lnTo>
                  <a:pt x="678" y="1988"/>
                </a:lnTo>
                <a:lnTo>
                  <a:pt x="680" y="1965"/>
                </a:lnTo>
                <a:lnTo>
                  <a:pt x="685" y="1969"/>
                </a:lnTo>
                <a:lnTo>
                  <a:pt x="691" y="1974"/>
                </a:lnTo>
                <a:lnTo>
                  <a:pt x="701" y="1980"/>
                </a:lnTo>
                <a:lnTo>
                  <a:pt x="714" y="1975"/>
                </a:lnTo>
                <a:lnTo>
                  <a:pt x="707" y="1973"/>
                </a:lnTo>
                <a:lnTo>
                  <a:pt x="697" y="1969"/>
                </a:lnTo>
                <a:lnTo>
                  <a:pt x="706" y="1963"/>
                </a:lnTo>
                <a:lnTo>
                  <a:pt x="715" y="1962"/>
                </a:lnTo>
                <a:lnTo>
                  <a:pt x="717" y="1960"/>
                </a:lnTo>
                <a:lnTo>
                  <a:pt x="716" y="1956"/>
                </a:lnTo>
                <a:lnTo>
                  <a:pt x="719" y="1956"/>
                </a:lnTo>
                <a:lnTo>
                  <a:pt x="724" y="1956"/>
                </a:lnTo>
                <a:lnTo>
                  <a:pt x="727" y="1958"/>
                </a:lnTo>
                <a:lnTo>
                  <a:pt x="729" y="1959"/>
                </a:lnTo>
                <a:lnTo>
                  <a:pt x="724" y="1967"/>
                </a:lnTo>
                <a:lnTo>
                  <a:pt x="731" y="1970"/>
                </a:lnTo>
                <a:lnTo>
                  <a:pt x="736" y="1986"/>
                </a:lnTo>
                <a:lnTo>
                  <a:pt x="734" y="2002"/>
                </a:lnTo>
                <a:lnTo>
                  <a:pt x="732" y="2011"/>
                </a:lnTo>
                <a:lnTo>
                  <a:pt x="729" y="2019"/>
                </a:lnTo>
                <a:lnTo>
                  <a:pt x="707" y="2019"/>
                </a:lnTo>
                <a:lnTo>
                  <a:pt x="685" y="2020"/>
                </a:lnTo>
                <a:lnTo>
                  <a:pt x="678" y="2018"/>
                </a:lnTo>
                <a:lnTo>
                  <a:pt x="677" y="2011"/>
                </a:lnTo>
                <a:close/>
                <a:moveTo>
                  <a:pt x="692" y="1832"/>
                </a:moveTo>
                <a:lnTo>
                  <a:pt x="699" y="1832"/>
                </a:lnTo>
                <a:lnTo>
                  <a:pt x="705" y="1836"/>
                </a:lnTo>
                <a:lnTo>
                  <a:pt x="700" y="1843"/>
                </a:lnTo>
                <a:lnTo>
                  <a:pt x="691" y="1845"/>
                </a:lnTo>
                <a:lnTo>
                  <a:pt x="688" y="1845"/>
                </a:lnTo>
                <a:lnTo>
                  <a:pt x="686" y="1845"/>
                </a:lnTo>
                <a:lnTo>
                  <a:pt x="681" y="1842"/>
                </a:lnTo>
                <a:lnTo>
                  <a:pt x="676" y="1836"/>
                </a:lnTo>
                <a:lnTo>
                  <a:pt x="683" y="1833"/>
                </a:lnTo>
                <a:lnTo>
                  <a:pt x="692" y="1832"/>
                </a:lnTo>
                <a:close/>
                <a:moveTo>
                  <a:pt x="536" y="1906"/>
                </a:moveTo>
                <a:lnTo>
                  <a:pt x="536" y="1907"/>
                </a:lnTo>
                <a:lnTo>
                  <a:pt x="536" y="1909"/>
                </a:lnTo>
                <a:lnTo>
                  <a:pt x="536" y="1909"/>
                </a:lnTo>
                <a:lnTo>
                  <a:pt x="536" y="1910"/>
                </a:lnTo>
                <a:lnTo>
                  <a:pt x="535" y="1916"/>
                </a:lnTo>
                <a:lnTo>
                  <a:pt x="536" y="1924"/>
                </a:lnTo>
                <a:lnTo>
                  <a:pt x="533" y="1924"/>
                </a:lnTo>
                <a:lnTo>
                  <a:pt x="531" y="1924"/>
                </a:lnTo>
                <a:lnTo>
                  <a:pt x="531" y="1921"/>
                </a:lnTo>
                <a:lnTo>
                  <a:pt x="528" y="1922"/>
                </a:lnTo>
                <a:lnTo>
                  <a:pt x="524" y="1926"/>
                </a:lnTo>
                <a:lnTo>
                  <a:pt x="518" y="1927"/>
                </a:lnTo>
                <a:lnTo>
                  <a:pt x="520" y="1922"/>
                </a:lnTo>
                <a:lnTo>
                  <a:pt x="525" y="1919"/>
                </a:lnTo>
                <a:lnTo>
                  <a:pt x="516" y="1906"/>
                </a:lnTo>
                <a:lnTo>
                  <a:pt x="524" y="1892"/>
                </a:lnTo>
                <a:lnTo>
                  <a:pt x="528" y="1898"/>
                </a:lnTo>
                <a:lnTo>
                  <a:pt x="534" y="1902"/>
                </a:lnTo>
                <a:lnTo>
                  <a:pt x="534" y="1900"/>
                </a:lnTo>
                <a:lnTo>
                  <a:pt x="535" y="1897"/>
                </a:lnTo>
                <a:lnTo>
                  <a:pt x="534" y="1900"/>
                </a:lnTo>
                <a:lnTo>
                  <a:pt x="534" y="1902"/>
                </a:lnTo>
                <a:lnTo>
                  <a:pt x="535" y="1904"/>
                </a:lnTo>
                <a:lnTo>
                  <a:pt x="536" y="1906"/>
                </a:lnTo>
                <a:lnTo>
                  <a:pt x="545" y="1910"/>
                </a:lnTo>
                <a:lnTo>
                  <a:pt x="548" y="1921"/>
                </a:lnTo>
                <a:lnTo>
                  <a:pt x="545" y="1910"/>
                </a:lnTo>
                <a:lnTo>
                  <a:pt x="536" y="1906"/>
                </a:lnTo>
                <a:close/>
                <a:moveTo>
                  <a:pt x="543" y="2015"/>
                </a:moveTo>
                <a:lnTo>
                  <a:pt x="543" y="2015"/>
                </a:lnTo>
                <a:lnTo>
                  <a:pt x="543" y="2016"/>
                </a:lnTo>
                <a:lnTo>
                  <a:pt x="543" y="2015"/>
                </a:lnTo>
                <a:lnTo>
                  <a:pt x="543" y="2015"/>
                </a:lnTo>
                <a:lnTo>
                  <a:pt x="543" y="2014"/>
                </a:lnTo>
                <a:lnTo>
                  <a:pt x="543" y="2013"/>
                </a:lnTo>
                <a:lnTo>
                  <a:pt x="543" y="2014"/>
                </a:lnTo>
                <a:lnTo>
                  <a:pt x="543" y="2015"/>
                </a:lnTo>
                <a:close/>
                <a:moveTo>
                  <a:pt x="539" y="2019"/>
                </a:moveTo>
                <a:lnTo>
                  <a:pt x="540" y="2019"/>
                </a:lnTo>
                <a:lnTo>
                  <a:pt x="542" y="2018"/>
                </a:lnTo>
                <a:lnTo>
                  <a:pt x="540" y="2019"/>
                </a:lnTo>
                <a:lnTo>
                  <a:pt x="539" y="2019"/>
                </a:lnTo>
                <a:close/>
                <a:moveTo>
                  <a:pt x="460" y="2007"/>
                </a:moveTo>
                <a:lnTo>
                  <a:pt x="461" y="2009"/>
                </a:lnTo>
                <a:lnTo>
                  <a:pt x="464" y="2012"/>
                </a:lnTo>
                <a:lnTo>
                  <a:pt x="468" y="2015"/>
                </a:lnTo>
                <a:lnTo>
                  <a:pt x="474" y="2017"/>
                </a:lnTo>
                <a:lnTo>
                  <a:pt x="468" y="2015"/>
                </a:lnTo>
                <a:lnTo>
                  <a:pt x="464" y="2012"/>
                </a:lnTo>
                <a:lnTo>
                  <a:pt x="461" y="2009"/>
                </a:lnTo>
                <a:lnTo>
                  <a:pt x="460" y="2007"/>
                </a:lnTo>
                <a:close/>
                <a:moveTo>
                  <a:pt x="396" y="1787"/>
                </a:moveTo>
                <a:lnTo>
                  <a:pt x="391" y="1788"/>
                </a:lnTo>
                <a:lnTo>
                  <a:pt x="387" y="1785"/>
                </a:lnTo>
                <a:lnTo>
                  <a:pt x="380" y="1776"/>
                </a:lnTo>
                <a:lnTo>
                  <a:pt x="375" y="1769"/>
                </a:lnTo>
                <a:lnTo>
                  <a:pt x="375" y="1768"/>
                </a:lnTo>
                <a:lnTo>
                  <a:pt x="374" y="1768"/>
                </a:lnTo>
                <a:lnTo>
                  <a:pt x="375" y="1768"/>
                </a:lnTo>
                <a:lnTo>
                  <a:pt x="375" y="1769"/>
                </a:lnTo>
                <a:lnTo>
                  <a:pt x="384" y="1772"/>
                </a:lnTo>
                <a:lnTo>
                  <a:pt x="392" y="1778"/>
                </a:lnTo>
                <a:lnTo>
                  <a:pt x="396" y="1782"/>
                </a:lnTo>
                <a:lnTo>
                  <a:pt x="396" y="1787"/>
                </a:lnTo>
                <a:close/>
                <a:moveTo>
                  <a:pt x="228" y="1920"/>
                </a:moveTo>
                <a:lnTo>
                  <a:pt x="229" y="1921"/>
                </a:lnTo>
                <a:lnTo>
                  <a:pt x="230" y="1922"/>
                </a:lnTo>
                <a:lnTo>
                  <a:pt x="229" y="1921"/>
                </a:lnTo>
                <a:lnTo>
                  <a:pt x="228" y="1920"/>
                </a:lnTo>
                <a:close/>
                <a:moveTo>
                  <a:pt x="227" y="1917"/>
                </a:moveTo>
                <a:lnTo>
                  <a:pt x="226" y="1916"/>
                </a:lnTo>
                <a:lnTo>
                  <a:pt x="225" y="1914"/>
                </a:lnTo>
                <a:lnTo>
                  <a:pt x="226" y="1916"/>
                </a:lnTo>
                <a:lnTo>
                  <a:pt x="227" y="1917"/>
                </a:lnTo>
                <a:close/>
                <a:moveTo>
                  <a:pt x="148" y="1728"/>
                </a:moveTo>
                <a:lnTo>
                  <a:pt x="147" y="1729"/>
                </a:lnTo>
                <a:lnTo>
                  <a:pt x="146" y="1730"/>
                </a:lnTo>
                <a:lnTo>
                  <a:pt x="147" y="1729"/>
                </a:lnTo>
                <a:lnTo>
                  <a:pt x="148" y="1728"/>
                </a:lnTo>
                <a:close/>
                <a:moveTo>
                  <a:pt x="12" y="1434"/>
                </a:moveTo>
                <a:lnTo>
                  <a:pt x="13" y="1434"/>
                </a:lnTo>
                <a:lnTo>
                  <a:pt x="13" y="1434"/>
                </a:lnTo>
                <a:lnTo>
                  <a:pt x="13" y="1434"/>
                </a:lnTo>
                <a:lnTo>
                  <a:pt x="12" y="1434"/>
                </a:lnTo>
                <a:close/>
                <a:moveTo>
                  <a:pt x="13" y="1433"/>
                </a:moveTo>
                <a:lnTo>
                  <a:pt x="13" y="1433"/>
                </a:lnTo>
                <a:lnTo>
                  <a:pt x="14" y="1433"/>
                </a:lnTo>
                <a:lnTo>
                  <a:pt x="13" y="1433"/>
                </a:lnTo>
                <a:lnTo>
                  <a:pt x="13" y="1433"/>
                </a:lnTo>
                <a:close/>
                <a:moveTo>
                  <a:pt x="66" y="1243"/>
                </a:moveTo>
                <a:lnTo>
                  <a:pt x="65" y="1243"/>
                </a:lnTo>
                <a:lnTo>
                  <a:pt x="65" y="1243"/>
                </a:lnTo>
                <a:lnTo>
                  <a:pt x="65" y="1243"/>
                </a:lnTo>
                <a:lnTo>
                  <a:pt x="66" y="1243"/>
                </a:lnTo>
                <a:close/>
                <a:moveTo>
                  <a:pt x="66" y="1243"/>
                </a:moveTo>
                <a:lnTo>
                  <a:pt x="66" y="1243"/>
                </a:lnTo>
                <a:lnTo>
                  <a:pt x="66" y="1243"/>
                </a:lnTo>
                <a:lnTo>
                  <a:pt x="66" y="1243"/>
                </a:lnTo>
                <a:lnTo>
                  <a:pt x="66" y="1243"/>
                </a:lnTo>
                <a:close/>
                <a:moveTo>
                  <a:pt x="95" y="1227"/>
                </a:moveTo>
                <a:lnTo>
                  <a:pt x="99" y="1235"/>
                </a:lnTo>
                <a:lnTo>
                  <a:pt x="97" y="1240"/>
                </a:lnTo>
                <a:lnTo>
                  <a:pt x="94" y="1262"/>
                </a:lnTo>
                <a:lnTo>
                  <a:pt x="81" y="1278"/>
                </a:lnTo>
                <a:lnTo>
                  <a:pt x="69" y="1284"/>
                </a:lnTo>
                <a:lnTo>
                  <a:pt x="56" y="1293"/>
                </a:lnTo>
                <a:lnTo>
                  <a:pt x="57" y="1268"/>
                </a:lnTo>
                <a:lnTo>
                  <a:pt x="69" y="1248"/>
                </a:lnTo>
                <a:lnTo>
                  <a:pt x="69" y="1248"/>
                </a:lnTo>
                <a:lnTo>
                  <a:pt x="75" y="1248"/>
                </a:lnTo>
                <a:lnTo>
                  <a:pt x="78" y="1243"/>
                </a:lnTo>
                <a:lnTo>
                  <a:pt x="88" y="1237"/>
                </a:lnTo>
                <a:lnTo>
                  <a:pt x="95" y="1227"/>
                </a:lnTo>
                <a:close/>
                <a:moveTo>
                  <a:pt x="449" y="1072"/>
                </a:moveTo>
                <a:lnTo>
                  <a:pt x="485" y="1061"/>
                </a:lnTo>
                <a:lnTo>
                  <a:pt x="522" y="1053"/>
                </a:lnTo>
                <a:lnTo>
                  <a:pt x="549" y="1047"/>
                </a:lnTo>
                <a:lnTo>
                  <a:pt x="577" y="1044"/>
                </a:lnTo>
                <a:lnTo>
                  <a:pt x="552" y="1053"/>
                </a:lnTo>
                <a:lnTo>
                  <a:pt x="527" y="1058"/>
                </a:lnTo>
                <a:lnTo>
                  <a:pt x="471" y="1073"/>
                </a:lnTo>
                <a:lnTo>
                  <a:pt x="417" y="1087"/>
                </a:lnTo>
                <a:lnTo>
                  <a:pt x="431" y="1076"/>
                </a:lnTo>
                <a:lnTo>
                  <a:pt x="449" y="1072"/>
                </a:lnTo>
                <a:close/>
                <a:moveTo>
                  <a:pt x="244" y="1159"/>
                </a:moveTo>
                <a:lnTo>
                  <a:pt x="246" y="1156"/>
                </a:lnTo>
                <a:lnTo>
                  <a:pt x="249" y="1152"/>
                </a:lnTo>
                <a:lnTo>
                  <a:pt x="246" y="1156"/>
                </a:lnTo>
                <a:lnTo>
                  <a:pt x="244" y="1159"/>
                </a:lnTo>
                <a:close/>
                <a:moveTo>
                  <a:pt x="236" y="1161"/>
                </a:moveTo>
                <a:lnTo>
                  <a:pt x="237" y="1161"/>
                </a:lnTo>
                <a:lnTo>
                  <a:pt x="237" y="1160"/>
                </a:lnTo>
                <a:lnTo>
                  <a:pt x="237" y="1161"/>
                </a:lnTo>
                <a:lnTo>
                  <a:pt x="236" y="1161"/>
                </a:lnTo>
                <a:close/>
                <a:moveTo>
                  <a:pt x="228" y="1164"/>
                </a:moveTo>
                <a:lnTo>
                  <a:pt x="229" y="1163"/>
                </a:lnTo>
                <a:lnTo>
                  <a:pt x="230" y="1162"/>
                </a:lnTo>
                <a:lnTo>
                  <a:pt x="229" y="1163"/>
                </a:lnTo>
                <a:lnTo>
                  <a:pt x="228" y="1164"/>
                </a:lnTo>
                <a:close/>
                <a:moveTo>
                  <a:pt x="317" y="1133"/>
                </a:moveTo>
                <a:lnTo>
                  <a:pt x="317" y="1133"/>
                </a:lnTo>
                <a:lnTo>
                  <a:pt x="317" y="1133"/>
                </a:lnTo>
                <a:lnTo>
                  <a:pt x="317" y="1133"/>
                </a:lnTo>
                <a:close/>
                <a:moveTo>
                  <a:pt x="122" y="1235"/>
                </a:moveTo>
                <a:lnTo>
                  <a:pt x="119" y="1239"/>
                </a:lnTo>
                <a:lnTo>
                  <a:pt x="115" y="1239"/>
                </a:lnTo>
                <a:lnTo>
                  <a:pt x="116" y="1232"/>
                </a:lnTo>
                <a:lnTo>
                  <a:pt x="117" y="1224"/>
                </a:lnTo>
                <a:lnTo>
                  <a:pt x="119" y="1218"/>
                </a:lnTo>
                <a:lnTo>
                  <a:pt x="125" y="1219"/>
                </a:lnTo>
                <a:lnTo>
                  <a:pt x="123" y="1227"/>
                </a:lnTo>
                <a:lnTo>
                  <a:pt x="122" y="1235"/>
                </a:lnTo>
                <a:close/>
                <a:moveTo>
                  <a:pt x="79" y="1549"/>
                </a:moveTo>
                <a:lnTo>
                  <a:pt x="72" y="1558"/>
                </a:lnTo>
                <a:lnTo>
                  <a:pt x="61" y="1555"/>
                </a:lnTo>
                <a:lnTo>
                  <a:pt x="65" y="1549"/>
                </a:lnTo>
                <a:lnTo>
                  <a:pt x="70" y="1543"/>
                </a:lnTo>
                <a:lnTo>
                  <a:pt x="73" y="1522"/>
                </a:lnTo>
                <a:lnTo>
                  <a:pt x="77" y="1500"/>
                </a:lnTo>
                <a:lnTo>
                  <a:pt x="73" y="1522"/>
                </a:lnTo>
                <a:lnTo>
                  <a:pt x="70" y="1543"/>
                </a:lnTo>
                <a:lnTo>
                  <a:pt x="77" y="1544"/>
                </a:lnTo>
                <a:lnTo>
                  <a:pt x="79" y="1549"/>
                </a:lnTo>
                <a:close/>
                <a:moveTo>
                  <a:pt x="145" y="1547"/>
                </a:moveTo>
                <a:lnTo>
                  <a:pt x="145" y="1547"/>
                </a:lnTo>
                <a:lnTo>
                  <a:pt x="145" y="1547"/>
                </a:lnTo>
                <a:lnTo>
                  <a:pt x="145" y="1547"/>
                </a:lnTo>
                <a:lnTo>
                  <a:pt x="145" y="1547"/>
                </a:lnTo>
                <a:close/>
                <a:moveTo>
                  <a:pt x="183" y="1376"/>
                </a:moveTo>
                <a:lnTo>
                  <a:pt x="185" y="1381"/>
                </a:lnTo>
                <a:lnTo>
                  <a:pt x="180" y="1385"/>
                </a:lnTo>
                <a:lnTo>
                  <a:pt x="171" y="1386"/>
                </a:lnTo>
                <a:lnTo>
                  <a:pt x="163" y="1385"/>
                </a:lnTo>
                <a:lnTo>
                  <a:pt x="163" y="1382"/>
                </a:lnTo>
                <a:lnTo>
                  <a:pt x="163" y="1380"/>
                </a:lnTo>
                <a:lnTo>
                  <a:pt x="162" y="1377"/>
                </a:lnTo>
                <a:lnTo>
                  <a:pt x="162" y="1375"/>
                </a:lnTo>
                <a:lnTo>
                  <a:pt x="162" y="1377"/>
                </a:lnTo>
                <a:lnTo>
                  <a:pt x="163" y="1380"/>
                </a:lnTo>
                <a:lnTo>
                  <a:pt x="168" y="1375"/>
                </a:lnTo>
                <a:lnTo>
                  <a:pt x="163" y="1370"/>
                </a:lnTo>
                <a:lnTo>
                  <a:pt x="163" y="1369"/>
                </a:lnTo>
                <a:lnTo>
                  <a:pt x="162" y="1368"/>
                </a:lnTo>
                <a:lnTo>
                  <a:pt x="162" y="1368"/>
                </a:lnTo>
                <a:lnTo>
                  <a:pt x="167" y="1356"/>
                </a:lnTo>
                <a:lnTo>
                  <a:pt x="180" y="1355"/>
                </a:lnTo>
                <a:lnTo>
                  <a:pt x="184" y="1356"/>
                </a:lnTo>
                <a:lnTo>
                  <a:pt x="186" y="1358"/>
                </a:lnTo>
                <a:lnTo>
                  <a:pt x="186" y="1361"/>
                </a:lnTo>
                <a:lnTo>
                  <a:pt x="184" y="1364"/>
                </a:lnTo>
                <a:lnTo>
                  <a:pt x="179" y="1370"/>
                </a:lnTo>
                <a:lnTo>
                  <a:pt x="183" y="1376"/>
                </a:lnTo>
                <a:close/>
                <a:moveTo>
                  <a:pt x="207" y="1284"/>
                </a:moveTo>
                <a:lnTo>
                  <a:pt x="208" y="1279"/>
                </a:lnTo>
                <a:lnTo>
                  <a:pt x="214" y="1277"/>
                </a:lnTo>
                <a:lnTo>
                  <a:pt x="214" y="1299"/>
                </a:lnTo>
                <a:lnTo>
                  <a:pt x="211" y="1321"/>
                </a:lnTo>
                <a:lnTo>
                  <a:pt x="212" y="1326"/>
                </a:lnTo>
                <a:lnTo>
                  <a:pt x="214" y="1329"/>
                </a:lnTo>
                <a:lnTo>
                  <a:pt x="210" y="1350"/>
                </a:lnTo>
                <a:lnTo>
                  <a:pt x="203" y="1371"/>
                </a:lnTo>
                <a:lnTo>
                  <a:pt x="203" y="1379"/>
                </a:lnTo>
                <a:lnTo>
                  <a:pt x="203" y="1388"/>
                </a:lnTo>
                <a:lnTo>
                  <a:pt x="201" y="1427"/>
                </a:lnTo>
                <a:lnTo>
                  <a:pt x="197" y="1467"/>
                </a:lnTo>
                <a:lnTo>
                  <a:pt x="195" y="1487"/>
                </a:lnTo>
                <a:lnTo>
                  <a:pt x="196" y="1508"/>
                </a:lnTo>
                <a:lnTo>
                  <a:pt x="192" y="1518"/>
                </a:lnTo>
                <a:lnTo>
                  <a:pt x="181" y="1525"/>
                </a:lnTo>
                <a:lnTo>
                  <a:pt x="187" y="1531"/>
                </a:lnTo>
                <a:lnTo>
                  <a:pt x="191" y="1540"/>
                </a:lnTo>
                <a:lnTo>
                  <a:pt x="190" y="1542"/>
                </a:lnTo>
                <a:lnTo>
                  <a:pt x="188" y="1543"/>
                </a:lnTo>
                <a:lnTo>
                  <a:pt x="181" y="1541"/>
                </a:lnTo>
                <a:lnTo>
                  <a:pt x="172" y="1542"/>
                </a:lnTo>
                <a:lnTo>
                  <a:pt x="172" y="1544"/>
                </a:lnTo>
                <a:lnTo>
                  <a:pt x="171" y="1546"/>
                </a:lnTo>
                <a:lnTo>
                  <a:pt x="177" y="1548"/>
                </a:lnTo>
                <a:lnTo>
                  <a:pt x="181" y="1550"/>
                </a:lnTo>
                <a:lnTo>
                  <a:pt x="180" y="1553"/>
                </a:lnTo>
                <a:lnTo>
                  <a:pt x="179" y="1555"/>
                </a:lnTo>
                <a:lnTo>
                  <a:pt x="173" y="1570"/>
                </a:lnTo>
                <a:lnTo>
                  <a:pt x="179" y="1586"/>
                </a:lnTo>
                <a:lnTo>
                  <a:pt x="181" y="1589"/>
                </a:lnTo>
                <a:lnTo>
                  <a:pt x="182" y="1593"/>
                </a:lnTo>
                <a:lnTo>
                  <a:pt x="181" y="1602"/>
                </a:lnTo>
                <a:lnTo>
                  <a:pt x="171" y="1607"/>
                </a:lnTo>
                <a:lnTo>
                  <a:pt x="156" y="1607"/>
                </a:lnTo>
                <a:lnTo>
                  <a:pt x="142" y="1611"/>
                </a:lnTo>
                <a:lnTo>
                  <a:pt x="141" y="1614"/>
                </a:lnTo>
                <a:lnTo>
                  <a:pt x="143" y="1616"/>
                </a:lnTo>
                <a:lnTo>
                  <a:pt x="141" y="1614"/>
                </a:lnTo>
                <a:lnTo>
                  <a:pt x="142" y="1611"/>
                </a:lnTo>
                <a:lnTo>
                  <a:pt x="138" y="1611"/>
                </a:lnTo>
                <a:lnTo>
                  <a:pt x="134" y="1611"/>
                </a:lnTo>
                <a:lnTo>
                  <a:pt x="132" y="1614"/>
                </a:lnTo>
                <a:lnTo>
                  <a:pt x="129" y="1614"/>
                </a:lnTo>
                <a:lnTo>
                  <a:pt x="132" y="1614"/>
                </a:lnTo>
                <a:lnTo>
                  <a:pt x="134" y="1611"/>
                </a:lnTo>
                <a:lnTo>
                  <a:pt x="134" y="1607"/>
                </a:lnTo>
                <a:lnTo>
                  <a:pt x="130" y="1606"/>
                </a:lnTo>
                <a:lnTo>
                  <a:pt x="126" y="1608"/>
                </a:lnTo>
                <a:lnTo>
                  <a:pt x="126" y="1613"/>
                </a:lnTo>
                <a:lnTo>
                  <a:pt x="114" y="1615"/>
                </a:lnTo>
                <a:lnTo>
                  <a:pt x="102" y="1617"/>
                </a:lnTo>
                <a:lnTo>
                  <a:pt x="101" y="1614"/>
                </a:lnTo>
                <a:lnTo>
                  <a:pt x="101" y="1610"/>
                </a:lnTo>
                <a:lnTo>
                  <a:pt x="106" y="1594"/>
                </a:lnTo>
                <a:lnTo>
                  <a:pt x="109" y="1577"/>
                </a:lnTo>
                <a:lnTo>
                  <a:pt x="111" y="1572"/>
                </a:lnTo>
                <a:lnTo>
                  <a:pt x="118" y="1569"/>
                </a:lnTo>
                <a:lnTo>
                  <a:pt x="126" y="1565"/>
                </a:lnTo>
                <a:lnTo>
                  <a:pt x="135" y="1564"/>
                </a:lnTo>
                <a:lnTo>
                  <a:pt x="149" y="1560"/>
                </a:lnTo>
                <a:lnTo>
                  <a:pt x="157" y="1548"/>
                </a:lnTo>
                <a:lnTo>
                  <a:pt x="165" y="1547"/>
                </a:lnTo>
                <a:lnTo>
                  <a:pt x="171" y="1546"/>
                </a:lnTo>
                <a:lnTo>
                  <a:pt x="172" y="1544"/>
                </a:lnTo>
                <a:lnTo>
                  <a:pt x="172" y="1542"/>
                </a:lnTo>
                <a:lnTo>
                  <a:pt x="162" y="1542"/>
                </a:lnTo>
                <a:lnTo>
                  <a:pt x="151" y="1542"/>
                </a:lnTo>
                <a:lnTo>
                  <a:pt x="162" y="1529"/>
                </a:lnTo>
                <a:lnTo>
                  <a:pt x="171" y="1515"/>
                </a:lnTo>
                <a:lnTo>
                  <a:pt x="176" y="1511"/>
                </a:lnTo>
                <a:lnTo>
                  <a:pt x="175" y="1507"/>
                </a:lnTo>
                <a:lnTo>
                  <a:pt x="175" y="1500"/>
                </a:lnTo>
                <a:lnTo>
                  <a:pt x="175" y="1495"/>
                </a:lnTo>
                <a:lnTo>
                  <a:pt x="175" y="1495"/>
                </a:lnTo>
                <a:lnTo>
                  <a:pt x="180" y="1486"/>
                </a:lnTo>
                <a:lnTo>
                  <a:pt x="179" y="1477"/>
                </a:lnTo>
                <a:lnTo>
                  <a:pt x="179" y="1473"/>
                </a:lnTo>
                <a:lnTo>
                  <a:pt x="180" y="1469"/>
                </a:lnTo>
                <a:lnTo>
                  <a:pt x="184" y="1466"/>
                </a:lnTo>
                <a:lnTo>
                  <a:pt x="180" y="1461"/>
                </a:lnTo>
                <a:lnTo>
                  <a:pt x="180" y="1457"/>
                </a:lnTo>
                <a:lnTo>
                  <a:pt x="180" y="1453"/>
                </a:lnTo>
                <a:lnTo>
                  <a:pt x="186" y="1439"/>
                </a:lnTo>
                <a:lnTo>
                  <a:pt x="186" y="1423"/>
                </a:lnTo>
                <a:lnTo>
                  <a:pt x="188" y="1410"/>
                </a:lnTo>
                <a:lnTo>
                  <a:pt x="191" y="1397"/>
                </a:lnTo>
                <a:lnTo>
                  <a:pt x="194" y="1369"/>
                </a:lnTo>
                <a:lnTo>
                  <a:pt x="195" y="1340"/>
                </a:lnTo>
                <a:lnTo>
                  <a:pt x="200" y="1312"/>
                </a:lnTo>
                <a:lnTo>
                  <a:pt x="207" y="1284"/>
                </a:lnTo>
                <a:close/>
                <a:moveTo>
                  <a:pt x="264" y="1254"/>
                </a:moveTo>
                <a:lnTo>
                  <a:pt x="264" y="1262"/>
                </a:lnTo>
                <a:lnTo>
                  <a:pt x="262" y="1271"/>
                </a:lnTo>
                <a:lnTo>
                  <a:pt x="252" y="1262"/>
                </a:lnTo>
                <a:lnTo>
                  <a:pt x="253" y="1248"/>
                </a:lnTo>
                <a:lnTo>
                  <a:pt x="255" y="1238"/>
                </a:lnTo>
                <a:lnTo>
                  <a:pt x="246" y="1233"/>
                </a:lnTo>
                <a:lnTo>
                  <a:pt x="252" y="1233"/>
                </a:lnTo>
                <a:lnTo>
                  <a:pt x="256" y="1229"/>
                </a:lnTo>
                <a:lnTo>
                  <a:pt x="264" y="1240"/>
                </a:lnTo>
                <a:lnTo>
                  <a:pt x="264" y="1254"/>
                </a:lnTo>
                <a:close/>
                <a:moveTo>
                  <a:pt x="267" y="1509"/>
                </a:moveTo>
                <a:lnTo>
                  <a:pt x="267" y="1508"/>
                </a:lnTo>
                <a:lnTo>
                  <a:pt x="267" y="1507"/>
                </a:lnTo>
                <a:lnTo>
                  <a:pt x="267" y="1508"/>
                </a:lnTo>
                <a:lnTo>
                  <a:pt x="267" y="1509"/>
                </a:lnTo>
                <a:close/>
                <a:moveTo>
                  <a:pt x="224" y="1445"/>
                </a:moveTo>
                <a:lnTo>
                  <a:pt x="223" y="1451"/>
                </a:lnTo>
                <a:lnTo>
                  <a:pt x="218" y="1453"/>
                </a:lnTo>
                <a:lnTo>
                  <a:pt x="215" y="1449"/>
                </a:lnTo>
                <a:lnTo>
                  <a:pt x="216" y="1442"/>
                </a:lnTo>
                <a:lnTo>
                  <a:pt x="218" y="1434"/>
                </a:lnTo>
                <a:lnTo>
                  <a:pt x="224" y="1427"/>
                </a:lnTo>
                <a:lnTo>
                  <a:pt x="225" y="1436"/>
                </a:lnTo>
                <a:lnTo>
                  <a:pt x="224" y="1445"/>
                </a:lnTo>
                <a:close/>
                <a:moveTo>
                  <a:pt x="238" y="1328"/>
                </a:moveTo>
                <a:lnTo>
                  <a:pt x="246" y="1324"/>
                </a:lnTo>
                <a:lnTo>
                  <a:pt x="248" y="1331"/>
                </a:lnTo>
                <a:lnTo>
                  <a:pt x="243" y="1330"/>
                </a:lnTo>
                <a:lnTo>
                  <a:pt x="238" y="1328"/>
                </a:lnTo>
                <a:close/>
                <a:moveTo>
                  <a:pt x="526" y="1595"/>
                </a:moveTo>
                <a:lnTo>
                  <a:pt x="535" y="1592"/>
                </a:lnTo>
                <a:lnTo>
                  <a:pt x="546" y="1591"/>
                </a:lnTo>
                <a:lnTo>
                  <a:pt x="535" y="1592"/>
                </a:lnTo>
                <a:lnTo>
                  <a:pt x="526" y="1595"/>
                </a:lnTo>
                <a:lnTo>
                  <a:pt x="525" y="1602"/>
                </a:lnTo>
                <a:lnTo>
                  <a:pt x="517" y="1602"/>
                </a:lnTo>
                <a:lnTo>
                  <a:pt x="504" y="1603"/>
                </a:lnTo>
                <a:lnTo>
                  <a:pt x="490" y="1603"/>
                </a:lnTo>
                <a:lnTo>
                  <a:pt x="496" y="1601"/>
                </a:lnTo>
                <a:lnTo>
                  <a:pt x="501" y="1598"/>
                </a:lnTo>
                <a:lnTo>
                  <a:pt x="513" y="1596"/>
                </a:lnTo>
                <a:lnTo>
                  <a:pt x="526" y="1595"/>
                </a:lnTo>
                <a:close/>
                <a:moveTo>
                  <a:pt x="516" y="1605"/>
                </a:moveTo>
                <a:lnTo>
                  <a:pt x="516" y="1605"/>
                </a:lnTo>
                <a:lnTo>
                  <a:pt x="516" y="1605"/>
                </a:lnTo>
                <a:lnTo>
                  <a:pt x="516" y="1605"/>
                </a:lnTo>
                <a:lnTo>
                  <a:pt x="516" y="1605"/>
                </a:lnTo>
                <a:close/>
                <a:moveTo>
                  <a:pt x="511" y="1606"/>
                </a:moveTo>
                <a:lnTo>
                  <a:pt x="513" y="1606"/>
                </a:lnTo>
                <a:lnTo>
                  <a:pt x="516" y="1605"/>
                </a:lnTo>
                <a:lnTo>
                  <a:pt x="513" y="1606"/>
                </a:lnTo>
                <a:lnTo>
                  <a:pt x="511" y="1606"/>
                </a:lnTo>
                <a:close/>
                <a:moveTo>
                  <a:pt x="710" y="1631"/>
                </a:moveTo>
                <a:lnTo>
                  <a:pt x="709" y="1631"/>
                </a:lnTo>
                <a:lnTo>
                  <a:pt x="708" y="1630"/>
                </a:lnTo>
                <a:lnTo>
                  <a:pt x="709" y="1631"/>
                </a:lnTo>
                <a:lnTo>
                  <a:pt x="710" y="1631"/>
                </a:lnTo>
                <a:close/>
                <a:moveTo>
                  <a:pt x="844" y="1592"/>
                </a:moveTo>
                <a:lnTo>
                  <a:pt x="863" y="1591"/>
                </a:lnTo>
                <a:lnTo>
                  <a:pt x="881" y="1590"/>
                </a:lnTo>
                <a:lnTo>
                  <a:pt x="935" y="1588"/>
                </a:lnTo>
                <a:lnTo>
                  <a:pt x="988" y="1586"/>
                </a:lnTo>
                <a:lnTo>
                  <a:pt x="979" y="1594"/>
                </a:lnTo>
                <a:lnTo>
                  <a:pt x="967" y="1599"/>
                </a:lnTo>
                <a:lnTo>
                  <a:pt x="965" y="1599"/>
                </a:lnTo>
                <a:lnTo>
                  <a:pt x="963" y="1601"/>
                </a:lnTo>
                <a:lnTo>
                  <a:pt x="951" y="1615"/>
                </a:lnTo>
                <a:lnTo>
                  <a:pt x="935" y="1618"/>
                </a:lnTo>
                <a:lnTo>
                  <a:pt x="910" y="1621"/>
                </a:lnTo>
                <a:lnTo>
                  <a:pt x="884" y="1620"/>
                </a:lnTo>
                <a:lnTo>
                  <a:pt x="872" y="1620"/>
                </a:lnTo>
                <a:lnTo>
                  <a:pt x="857" y="1617"/>
                </a:lnTo>
                <a:lnTo>
                  <a:pt x="870" y="1609"/>
                </a:lnTo>
                <a:lnTo>
                  <a:pt x="882" y="1602"/>
                </a:lnTo>
                <a:lnTo>
                  <a:pt x="884" y="1598"/>
                </a:lnTo>
                <a:lnTo>
                  <a:pt x="881" y="1590"/>
                </a:lnTo>
                <a:lnTo>
                  <a:pt x="863" y="1591"/>
                </a:lnTo>
                <a:lnTo>
                  <a:pt x="844" y="1592"/>
                </a:lnTo>
                <a:lnTo>
                  <a:pt x="839" y="1592"/>
                </a:lnTo>
                <a:lnTo>
                  <a:pt x="835" y="1593"/>
                </a:lnTo>
                <a:lnTo>
                  <a:pt x="839" y="1592"/>
                </a:lnTo>
                <a:lnTo>
                  <a:pt x="844" y="1592"/>
                </a:lnTo>
                <a:close/>
                <a:moveTo>
                  <a:pt x="1179" y="1580"/>
                </a:moveTo>
                <a:lnTo>
                  <a:pt x="1181" y="1580"/>
                </a:lnTo>
                <a:lnTo>
                  <a:pt x="1182" y="1580"/>
                </a:lnTo>
                <a:lnTo>
                  <a:pt x="1188" y="1580"/>
                </a:lnTo>
                <a:lnTo>
                  <a:pt x="1192" y="1587"/>
                </a:lnTo>
                <a:lnTo>
                  <a:pt x="1189" y="1591"/>
                </a:lnTo>
                <a:lnTo>
                  <a:pt x="1186" y="1593"/>
                </a:lnTo>
                <a:lnTo>
                  <a:pt x="1180" y="1588"/>
                </a:lnTo>
                <a:lnTo>
                  <a:pt x="1179" y="1580"/>
                </a:lnTo>
                <a:lnTo>
                  <a:pt x="1176" y="1578"/>
                </a:lnTo>
                <a:lnTo>
                  <a:pt x="1172" y="1577"/>
                </a:lnTo>
                <a:lnTo>
                  <a:pt x="1176" y="1578"/>
                </a:lnTo>
                <a:lnTo>
                  <a:pt x="1179" y="1580"/>
                </a:lnTo>
                <a:close/>
                <a:moveTo>
                  <a:pt x="1245" y="1562"/>
                </a:moveTo>
                <a:lnTo>
                  <a:pt x="1246" y="1562"/>
                </a:lnTo>
                <a:lnTo>
                  <a:pt x="1246" y="1562"/>
                </a:lnTo>
                <a:lnTo>
                  <a:pt x="1246" y="1562"/>
                </a:lnTo>
                <a:lnTo>
                  <a:pt x="1245" y="1562"/>
                </a:lnTo>
                <a:lnTo>
                  <a:pt x="1245" y="1562"/>
                </a:lnTo>
                <a:lnTo>
                  <a:pt x="1244" y="1563"/>
                </a:lnTo>
                <a:lnTo>
                  <a:pt x="1245" y="1562"/>
                </a:lnTo>
                <a:lnTo>
                  <a:pt x="1245" y="1562"/>
                </a:lnTo>
                <a:close/>
                <a:moveTo>
                  <a:pt x="995" y="1586"/>
                </a:moveTo>
                <a:lnTo>
                  <a:pt x="995" y="1586"/>
                </a:lnTo>
                <a:lnTo>
                  <a:pt x="996" y="1586"/>
                </a:lnTo>
                <a:lnTo>
                  <a:pt x="995" y="1587"/>
                </a:lnTo>
                <a:lnTo>
                  <a:pt x="995" y="1586"/>
                </a:lnTo>
                <a:close/>
                <a:moveTo>
                  <a:pt x="1104" y="1580"/>
                </a:moveTo>
                <a:lnTo>
                  <a:pt x="1102" y="1580"/>
                </a:lnTo>
                <a:lnTo>
                  <a:pt x="1101" y="1580"/>
                </a:lnTo>
                <a:lnTo>
                  <a:pt x="1102" y="1580"/>
                </a:lnTo>
                <a:lnTo>
                  <a:pt x="1104" y="1580"/>
                </a:lnTo>
                <a:close/>
                <a:moveTo>
                  <a:pt x="1257" y="1577"/>
                </a:moveTo>
                <a:lnTo>
                  <a:pt x="1259" y="1572"/>
                </a:lnTo>
                <a:lnTo>
                  <a:pt x="1262" y="1570"/>
                </a:lnTo>
                <a:lnTo>
                  <a:pt x="1259" y="1572"/>
                </a:lnTo>
                <a:lnTo>
                  <a:pt x="1257" y="1577"/>
                </a:lnTo>
                <a:lnTo>
                  <a:pt x="1263" y="1577"/>
                </a:lnTo>
                <a:lnTo>
                  <a:pt x="1269" y="1575"/>
                </a:lnTo>
                <a:lnTo>
                  <a:pt x="1284" y="1575"/>
                </a:lnTo>
                <a:lnTo>
                  <a:pt x="1299" y="1576"/>
                </a:lnTo>
                <a:lnTo>
                  <a:pt x="1294" y="1590"/>
                </a:lnTo>
                <a:lnTo>
                  <a:pt x="1282" y="1594"/>
                </a:lnTo>
                <a:lnTo>
                  <a:pt x="1273" y="1598"/>
                </a:lnTo>
                <a:lnTo>
                  <a:pt x="1270" y="1603"/>
                </a:lnTo>
                <a:lnTo>
                  <a:pt x="1274" y="1610"/>
                </a:lnTo>
                <a:lnTo>
                  <a:pt x="1284" y="1611"/>
                </a:lnTo>
                <a:lnTo>
                  <a:pt x="1303" y="1609"/>
                </a:lnTo>
                <a:lnTo>
                  <a:pt x="1320" y="1604"/>
                </a:lnTo>
                <a:lnTo>
                  <a:pt x="1322" y="1604"/>
                </a:lnTo>
                <a:lnTo>
                  <a:pt x="1323" y="1605"/>
                </a:lnTo>
                <a:lnTo>
                  <a:pt x="1334" y="1609"/>
                </a:lnTo>
                <a:lnTo>
                  <a:pt x="1345" y="1608"/>
                </a:lnTo>
                <a:lnTo>
                  <a:pt x="1359" y="1606"/>
                </a:lnTo>
                <a:lnTo>
                  <a:pt x="1360" y="1592"/>
                </a:lnTo>
                <a:lnTo>
                  <a:pt x="1359" y="1588"/>
                </a:lnTo>
                <a:lnTo>
                  <a:pt x="1357" y="1586"/>
                </a:lnTo>
                <a:lnTo>
                  <a:pt x="1353" y="1588"/>
                </a:lnTo>
                <a:lnTo>
                  <a:pt x="1353" y="1591"/>
                </a:lnTo>
                <a:lnTo>
                  <a:pt x="1351" y="1599"/>
                </a:lnTo>
                <a:lnTo>
                  <a:pt x="1349" y="1604"/>
                </a:lnTo>
                <a:lnTo>
                  <a:pt x="1336" y="1591"/>
                </a:lnTo>
                <a:lnTo>
                  <a:pt x="1333" y="1574"/>
                </a:lnTo>
                <a:lnTo>
                  <a:pt x="1352" y="1574"/>
                </a:lnTo>
                <a:lnTo>
                  <a:pt x="1371" y="1574"/>
                </a:lnTo>
                <a:lnTo>
                  <a:pt x="1371" y="1574"/>
                </a:lnTo>
                <a:lnTo>
                  <a:pt x="1374" y="1593"/>
                </a:lnTo>
                <a:lnTo>
                  <a:pt x="1375" y="1613"/>
                </a:lnTo>
                <a:lnTo>
                  <a:pt x="1375" y="1614"/>
                </a:lnTo>
                <a:lnTo>
                  <a:pt x="1376" y="1615"/>
                </a:lnTo>
                <a:lnTo>
                  <a:pt x="1375" y="1614"/>
                </a:lnTo>
                <a:lnTo>
                  <a:pt x="1375" y="1613"/>
                </a:lnTo>
                <a:lnTo>
                  <a:pt x="1358" y="1614"/>
                </a:lnTo>
                <a:lnTo>
                  <a:pt x="1342" y="1614"/>
                </a:lnTo>
                <a:lnTo>
                  <a:pt x="1342" y="1614"/>
                </a:lnTo>
                <a:lnTo>
                  <a:pt x="1329" y="1614"/>
                </a:lnTo>
                <a:lnTo>
                  <a:pt x="1317" y="1616"/>
                </a:lnTo>
                <a:lnTo>
                  <a:pt x="1314" y="1616"/>
                </a:lnTo>
                <a:lnTo>
                  <a:pt x="1312" y="1616"/>
                </a:lnTo>
                <a:lnTo>
                  <a:pt x="1288" y="1616"/>
                </a:lnTo>
                <a:lnTo>
                  <a:pt x="1266" y="1619"/>
                </a:lnTo>
                <a:lnTo>
                  <a:pt x="1263" y="1619"/>
                </a:lnTo>
                <a:lnTo>
                  <a:pt x="1260" y="1619"/>
                </a:lnTo>
                <a:lnTo>
                  <a:pt x="1236" y="1618"/>
                </a:lnTo>
                <a:lnTo>
                  <a:pt x="1210" y="1619"/>
                </a:lnTo>
                <a:lnTo>
                  <a:pt x="1210" y="1619"/>
                </a:lnTo>
                <a:lnTo>
                  <a:pt x="1208" y="1619"/>
                </a:lnTo>
                <a:lnTo>
                  <a:pt x="1204" y="1619"/>
                </a:lnTo>
                <a:lnTo>
                  <a:pt x="1195" y="1619"/>
                </a:lnTo>
                <a:lnTo>
                  <a:pt x="1187" y="1623"/>
                </a:lnTo>
                <a:lnTo>
                  <a:pt x="1184" y="1623"/>
                </a:lnTo>
                <a:lnTo>
                  <a:pt x="1182" y="1623"/>
                </a:lnTo>
                <a:lnTo>
                  <a:pt x="1182" y="1623"/>
                </a:lnTo>
                <a:lnTo>
                  <a:pt x="1182" y="1621"/>
                </a:lnTo>
                <a:lnTo>
                  <a:pt x="1180" y="1619"/>
                </a:lnTo>
                <a:lnTo>
                  <a:pt x="1181" y="1613"/>
                </a:lnTo>
                <a:lnTo>
                  <a:pt x="1180" y="1608"/>
                </a:lnTo>
                <a:lnTo>
                  <a:pt x="1173" y="1608"/>
                </a:lnTo>
                <a:lnTo>
                  <a:pt x="1166" y="1609"/>
                </a:lnTo>
                <a:lnTo>
                  <a:pt x="1162" y="1613"/>
                </a:lnTo>
                <a:lnTo>
                  <a:pt x="1162" y="1619"/>
                </a:lnTo>
                <a:lnTo>
                  <a:pt x="1153" y="1618"/>
                </a:lnTo>
                <a:lnTo>
                  <a:pt x="1145" y="1618"/>
                </a:lnTo>
                <a:lnTo>
                  <a:pt x="1131" y="1621"/>
                </a:lnTo>
                <a:lnTo>
                  <a:pt x="1116" y="1620"/>
                </a:lnTo>
                <a:lnTo>
                  <a:pt x="1113" y="1620"/>
                </a:lnTo>
                <a:lnTo>
                  <a:pt x="1110" y="1620"/>
                </a:lnTo>
                <a:lnTo>
                  <a:pt x="1104" y="1620"/>
                </a:lnTo>
                <a:lnTo>
                  <a:pt x="1097" y="1621"/>
                </a:lnTo>
                <a:lnTo>
                  <a:pt x="1093" y="1624"/>
                </a:lnTo>
                <a:lnTo>
                  <a:pt x="1098" y="1629"/>
                </a:lnTo>
                <a:lnTo>
                  <a:pt x="1097" y="1633"/>
                </a:lnTo>
                <a:lnTo>
                  <a:pt x="1096" y="1637"/>
                </a:lnTo>
                <a:lnTo>
                  <a:pt x="1094" y="1640"/>
                </a:lnTo>
                <a:lnTo>
                  <a:pt x="1092" y="1641"/>
                </a:lnTo>
                <a:lnTo>
                  <a:pt x="1079" y="1634"/>
                </a:lnTo>
                <a:lnTo>
                  <a:pt x="1067" y="1629"/>
                </a:lnTo>
                <a:lnTo>
                  <a:pt x="1076" y="1626"/>
                </a:lnTo>
                <a:lnTo>
                  <a:pt x="1086" y="1624"/>
                </a:lnTo>
                <a:lnTo>
                  <a:pt x="1046" y="1622"/>
                </a:lnTo>
                <a:lnTo>
                  <a:pt x="1007" y="1624"/>
                </a:lnTo>
                <a:lnTo>
                  <a:pt x="985" y="1623"/>
                </a:lnTo>
                <a:lnTo>
                  <a:pt x="964" y="1625"/>
                </a:lnTo>
                <a:lnTo>
                  <a:pt x="956" y="1625"/>
                </a:lnTo>
                <a:lnTo>
                  <a:pt x="949" y="1625"/>
                </a:lnTo>
                <a:lnTo>
                  <a:pt x="953" y="1622"/>
                </a:lnTo>
                <a:lnTo>
                  <a:pt x="958" y="1622"/>
                </a:lnTo>
                <a:lnTo>
                  <a:pt x="1010" y="1620"/>
                </a:lnTo>
                <a:lnTo>
                  <a:pt x="1060" y="1619"/>
                </a:lnTo>
                <a:lnTo>
                  <a:pt x="1079" y="1618"/>
                </a:lnTo>
                <a:lnTo>
                  <a:pt x="1100" y="1617"/>
                </a:lnTo>
                <a:lnTo>
                  <a:pt x="1105" y="1617"/>
                </a:lnTo>
                <a:lnTo>
                  <a:pt x="1110" y="1620"/>
                </a:lnTo>
                <a:lnTo>
                  <a:pt x="1113" y="1620"/>
                </a:lnTo>
                <a:lnTo>
                  <a:pt x="1116" y="1620"/>
                </a:lnTo>
                <a:lnTo>
                  <a:pt x="1119" y="1618"/>
                </a:lnTo>
                <a:lnTo>
                  <a:pt x="1121" y="1614"/>
                </a:lnTo>
                <a:lnTo>
                  <a:pt x="1108" y="1613"/>
                </a:lnTo>
                <a:lnTo>
                  <a:pt x="1095" y="1610"/>
                </a:lnTo>
                <a:lnTo>
                  <a:pt x="1090" y="1610"/>
                </a:lnTo>
                <a:lnTo>
                  <a:pt x="1087" y="1607"/>
                </a:lnTo>
                <a:lnTo>
                  <a:pt x="1070" y="1592"/>
                </a:lnTo>
                <a:lnTo>
                  <a:pt x="1050" y="1584"/>
                </a:lnTo>
                <a:lnTo>
                  <a:pt x="1069" y="1583"/>
                </a:lnTo>
                <a:lnTo>
                  <a:pt x="1088" y="1584"/>
                </a:lnTo>
                <a:lnTo>
                  <a:pt x="1098" y="1588"/>
                </a:lnTo>
                <a:lnTo>
                  <a:pt x="1110" y="1587"/>
                </a:lnTo>
                <a:lnTo>
                  <a:pt x="1140" y="1585"/>
                </a:lnTo>
                <a:lnTo>
                  <a:pt x="1167" y="1596"/>
                </a:lnTo>
                <a:lnTo>
                  <a:pt x="1185" y="1602"/>
                </a:lnTo>
                <a:lnTo>
                  <a:pt x="1204" y="1600"/>
                </a:lnTo>
                <a:lnTo>
                  <a:pt x="1223" y="1603"/>
                </a:lnTo>
                <a:lnTo>
                  <a:pt x="1241" y="1601"/>
                </a:lnTo>
                <a:lnTo>
                  <a:pt x="1243" y="1602"/>
                </a:lnTo>
                <a:lnTo>
                  <a:pt x="1244" y="1605"/>
                </a:lnTo>
                <a:lnTo>
                  <a:pt x="1238" y="1607"/>
                </a:lnTo>
                <a:lnTo>
                  <a:pt x="1233" y="1613"/>
                </a:lnTo>
                <a:lnTo>
                  <a:pt x="1243" y="1611"/>
                </a:lnTo>
                <a:lnTo>
                  <a:pt x="1253" y="1611"/>
                </a:lnTo>
                <a:lnTo>
                  <a:pt x="1259" y="1607"/>
                </a:lnTo>
                <a:lnTo>
                  <a:pt x="1258" y="1601"/>
                </a:lnTo>
                <a:lnTo>
                  <a:pt x="1253" y="1590"/>
                </a:lnTo>
                <a:lnTo>
                  <a:pt x="1254" y="1578"/>
                </a:lnTo>
                <a:lnTo>
                  <a:pt x="1255" y="1577"/>
                </a:lnTo>
                <a:lnTo>
                  <a:pt x="1257" y="1577"/>
                </a:lnTo>
                <a:close/>
                <a:moveTo>
                  <a:pt x="1365" y="1558"/>
                </a:moveTo>
                <a:lnTo>
                  <a:pt x="1362" y="1557"/>
                </a:lnTo>
                <a:lnTo>
                  <a:pt x="1360" y="1555"/>
                </a:lnTo>
                <a:lnTo>
                  <a:pt x="1360" y="1555"/>
                </a:lnTo>
                <a:lnTo>
                  <a:pt x="1362" y="1557"/>
                </a:lnTo>
                <a:lnTo>
                  <a:pt x="1365" y="1558"/>
                </a:lnTo>
                <a:close/>
                <a:moveTo>
                  <a:pt x="1442" y="1563"/>
                </a:moveTo>
                <a:lnTo>
                  <a:pt x="1442" y="1564"/>
                </a:lnTo>
                <a:lnTo>
                  <a:pt x="1442" y="1565"/>
                </a:lnTo>
                <a:lnTo>
                  <a:pt x="1442" y="1565"/>
                </a:lnTo>
                <a:lnTo>
                  <a:pt x="1442" y="1567"/>
                </a:lnTo>
                <a:lnTo>
                  <a:pt x="1445" y="1569"/>
                </a:lnTo>
                <a:lnTo>
                  <a:pt x="1449" y="1570"/>
                </a:lnTo>
                <a:lnTo>
                  <a:pt x="1460" y="1569"/>
                </a:lnTo>
                <a:lnTo>
                  <a:pt x="1472" y="1571"/>
                </a:lnTo>
                <a:lnTo>
                  <a:pt x="1468" y="1577"/>
                </a:lnTo>
                <a:lnTo>
                  <a:pt x="1467" y="1585"/>
                </a:lnTo>
                <a:lnTo>
                  <a:pt x="1468" y="1592"/>
                </a:lnTo>
                <a:lnTo>
                  <a:pt x="1475" y="1594"/>
                </a:lnTo>
                <a:lnTo>
                  <a:pt x="1485" y="1602"/>
                </a:lnTo>
                <a:lnTo>
                  <a:pt x="1495" y="1602"/>
                </a:lnTo>
                <a:lnTo>
                  <a:pt x="1498" y="1594"/>
                </a:lnTo>
                <a:lnTo>
                  <a:pt x="1497" y="1585"/>
                </a:lnTo>
                <a:lnTo>
                  <a:pt x="1497" y="1576"/>
                </a:lnTo>
                <a:lnTo>
                  <a:pt x="1503" y="1570"/>
                </a:lnTo>
                <a:lnTo>
                  <a:pt x="1502" y="1569"/>
                </a:lnTo>
                <a:lnTo>
                  <a:pt x="1501" y="1569"/>
                </a:lnTo>
                <a:lnTo>
                  <a:pt x="1499" y="1569"/>
                </a:lnTo>
                <a:lnTo>
                  <a:pt x="1497" y="1569"/>
                </a:lnTo>
                <a:lnTo>
                  <a:pt x="1499" y="1569"/>
                </a:lnTo>
                <a:lnTo>
                  <a:pt x="1501" y="1569"/>
                </a:lnTo>
                <a:lnTo>
                  <a:pt x="1502" y="1569"/>
                </a:lnTo>
                <a:lnTo>
                  <a:pt x="1503" y="1570"/>
                </a:lnTo>
                <a:lnTo>
                  <a:pt x="1520" y="1569"/>
                </a:lnTo>
                <a:lnTo>
                  <a:pt x="1537" y="1568"/>
                </a:lnTo>
                <a:lnTo>
                  <a:pt x="1537" y="1574"/>
                </a:lnTo>
                <a:lnTo>
                  <a:pt x="1539" y="1580"/>
                </a:lnTo>
                <a:lnTo>
                  <a:pt x="1537" y="1580"/>
                </a:lnTo>
                <a:lnTo>
                  <a:pt x="1537" y="1580"/>
                </a:lnTo>
                <a:lnTo>
                  <a:pt x="1537" y="1580"/>
                </a:lnTo>
                <a:lnTo>
                  <a:pt x="1519" y="1590"/>
                </a:lnTo>
                <a:lnTo>
                  <a:pt x="1517" y="1606"/>
                </a:lnTo>
                <a:lnTo>
                  <a:pt x="1514" y="1608"/>
                </a:lnTo>
                <a:lnTo>
                  <a:pt x="1511" y="1609"/>
                </a:lnTo>
                <a:lnTo>
                  <a:pt x="1476" y="1609"/>
                </a:lnTo>
                <a:lnTo>
                  <a:pt x="1443" y="1611"/>
                </a:lnTo>
                <a:lnTo>
                  <a:pt x="1434" y="1610"/>
                </a:lnTo>
                <a:lnTo>
                  <a:pt x="1424" y="1610"/>
                </a:lnTo>
                <a:lnTo>
                  <a:pt x="1428" y="1606"/>
                </a:lnTo>
                <a:lnTo>
                  <a:pt x="1436" y="1606"/>
                </a:lnTo>
                <a:lnTo>
                  <a:pt x="1450" y="1600"/>
                </a:lnTo>
                <a:lnTo>
                  <a:pt x="1461" y="1588"/>
                </a:lnTo>
                <a:lnTo>
                  <a:pt x="1451" y="1580"/>
                </a:lnTo>
                <a:lnTo>
                  <a:pt x="1444" y="1571"/>
                </a:lnTo>
                <a:lnTo>
                  <a:pt x="1425" y="1572"/>
                </a:lnTo>
                <a:lnTo>
                  <a:pt x="1407" y="1572"/>
                </a:lnTo>
                <a:lnTo>
                  <a:pt x="1425" y="1572"/>
                </a:lnTo>
                <a:lnTo>
                  <a:pt x="1444" y="1571"/>
                </a:lnTo>
                <a:lnTo>
                  <a:pt x="1446" y="1571"/>
                </a:lnTo>
                <a:lnTo>
                  <a:pt x="1449" y="1570"/>
                </a:lnTo>
                <a:lnTo>
                  <a:pt x="1445" y="1569"/>
                </a:lnTo>
                <a:lnTo>
                  <a:pt x="1442" y="1567"/>
                </a:lnTo>
                <a:lnTo>
                  <a:pt x="1442" y="1565"/>
                </a:lnTo>
                <a:lnTo>
                  <a:pt x="1442" y="1565"/>
                </a:lnTo>
                <a:lnTo>
                  <a:pt x="1442" y="1564"/>
                </a:lnTo>
                <a:lnTo>
                  <a:pt x="1442" y="1563"/>
                </a:lnTo>
                <a:close/>
                <a:moveTo>
                  <a:pt x="1645" y="1567"/>
                </a:moveTo>
                <a:lnTo>
                  <a:pt x="1648" y="1568"/>
                </a:lnTo>
                <a:lnTo>
                  <a:pt x="1650" y="1565"/>
                </a:lnTo>
                <a:lnTo>
                  <a:pt x="1657" y="1565"/>
                </a:lnTo>
                <a:lnTo>
                  <a:pt x="1665" y="1565"/>
                </a:lnTo>
                <a:lnTo>
                  <a:pt x="1665" y="1565"/>
                </a:lnTo>
                <a:lnTo>
                  <a:pt x="1670" y="1572"/>
                </a:lnTo>
                <a:lnTo>
                  <a:pt x="1676" y="1567"/>
                </a:lnTo>
                <a:lnTo>
                  <a:pt x="1693" y="1564"/>
                </a:lnTo>
                <a:lnTo>
                  <a:pt x="1710" y="1564"/>
                </a:lnTo>
                <a:lnTo>
                  <a:pt x="1714" y="1563"/>
                </a:lnTo>
                <a:lnTo>
                  <a:pt x="1718" y="1562"/>
                </a:lnTo>
                <a:lnTo>
                  <a:pt x="1714" y="1563"/>
                </a:lnTo>
                <a:lnTo>
                  <a:pt x="1710" y="1564"/>
                </a:lnTo>
                <a:lnTo>
                  <a:pt x="1709" y="1567"/>
                </a:lnTo>
                <a:lnTo>
                  <a:pt x="1709" y="1569"/>
                </a:lnTo>
                <a:lnTo>
                  <a:pt x="1709" y="1577"/>
                </a:lnTo>
                <a:lnTo>
                  <a:pt x="1702" y="1584"/>
                </a:lnTo>
                <a:lnTo>
                  <a:pt x="1697" y="1580"/>
                </a:lnTo>
                <a:lnTo>
                  <a:pt x="1695" y="1573"/>
                </a:lnTo>
                <a:lnTo>
                  <a:pt x="1691" y="1571"/>
                </a:lnTo>
                <a:lnTo>
                  <a:pt x="1686" y="1570"/>
                </a:lnTo>
                <a:lnTo>
                  <a:pt x="1682" y="1572"/>
                </a:lnTo>
                <a:lnTo>
                  <a:pt x="1680" y="1575"/>
                </a:lnTo>
                <a:lnTo>
                  <a:pt x="1678" y="1588"/>
                </a:lnTo>
                <a:lnTo>
                  <a:pt x="1678" y="1601"/>
                </a:lnTo>
                <a:lnTo>
                  <a:pt x="1665" y="1606"/>
                </a:lnTo>
                <a:lnTo>
                  <a:pt x="1652" y="1604"/>
                </a:lnTo>
                <a:lnTo>
                  <a:pt x="1652" y="1588"/>
                </a:lnTo>
                <a:lnTo>
                  <a:pt x="1642" y="1575"/>
                </a:lnTo>
                <a:lnTo>
                  <a:pt x="1640" y="1572"/>
                </a:lnTo>
                <a:lnTo>
                  <a:pt x="1640" y="1567"/>
                </a:lnTo>
                <a:lnTo>
                  <a:pt x="1640" y="1567"/>
                </a:lnTo>
                <a:lnTo>
                  <a:pt x="1642" y="1567"/>
                </a:lnTo>
                <a:lnTo>
                  <a:pt x="1645" y="1567"/>
                </a:lnTo>
                <a:close/>
                <a:moveTo>
                  <a:pt x="1791" y="1592"/>
                </a:moveTo>
                <a:lnTo>
                  <a:pt x="1791" y="1592"/>
                </a:lnTo>
                <a:lnTo>
                  <a:pt x="1791" y="1593"/>
                </a:lnTo>
                <a:lnTo>
                  <a:pt x="1791" y="1592"/>
                </a:lnTo>
                <a:lnTo>
                  <a:pt x="1791" y="1592"/>
                </a:lnTo>
                <a:close/>
                <a:moveTo>
                  <a:pt x="1718" y="1562"/>
                </a:moveTo>
                <a:lnTo>
                  <a:pt x="1721" y="1562"/>
                </a:lnTo>
                <a:lnTo>
                  <a:pt x="1722" y="1562"/>
                </a:lnTo>
                <a:lnTo>
                  <a:pt x="1721" y="1562"/>
                </a:lnTo>
                <a:lnTo>
                  <a:pt x="1718" y="1562"/>
                </a:lnTo>
                <a:close/>
                <a:moveTo>
                  <a:pt x="1590" y="1561"/>
                </a:moveTo>
                <a:lnTo>
                  <a:pt x="1590" y="1561"/>
                </a:lnTo>
                <a:lnTo>
                  <a:pt x="1591" y="1561"/>
                </a:lnTo>
                <a:lnTo>
                  <a:pt x="1590" y="1561"/>
                </a:lnTo>
                <a:lnTo>
                  <a:pt x="1590" y="1561"/>
                </a:lnTo>
                <a:close/>
                <a:moveTo>
                  <a:pt x="1562" y="1585"/>
                </a:moveTo>
                <a:lnTo>
                  <a:pt x="1562" y="1585"/>
                </a:lnTo>
                <a:lnTo>
                  <a:pt x="1562" y="1585"/>
                </a:lnTo>
                <a:lnTo>
                  <a:pt x="1562" y="1585"/>
                </a:lnTo>
                <a:lnTo>
                  <a:pt x="1562" y="1585"/>
                </a:lnTo>
                <a:close/>
                <a:moveTo>
                  <a:pt x="1659" y="1645"/>
                </a:moveTo>
                <a:lnTo>
                  <a:pt x="1658" y="1645"/>
                </a:lnTo>
                <a:lnTo>
                  <a:pt x="1657" y="1645"/>
                </a:lnTo>
                <a:lnTo>
                  <a:pt x="1658" y="1645"/>
                </a:lnTo>
                <a:lnTo>
                  <a:pt x="1659" y="1645"/>
                </a:lnTo>
                <a:close/>
                <a:moveTo>
                  <a:pt x="1593" y="1634"/>
                </a:moveTo>
                <a:lnTo>
                  <a:pt x="1592" y="1626"/>
                </a:lnTo>
                <a:lnTo>
                  <a:pt x="1595" y="1619"/>
                </a:lnTo>
                <a:lnTo>
                  <a:pt x="1598" y="1619"/>
                </a:lnTo>
                <a:lnTo>
                  <a:pt x="1600" y="1620"/>
                </a:lnTo>
                <a:lnTo>
                  <a:pt x="1603" y="1629"/>
                </a:lnTo>
                <a:lnTo>
                  <a:pt x="1601" y="1637"/>
                </a:lnTo>
                <a:lnTo>
                  <a:pt x="1597" y="1637"/>
                </a:lnTo>
                <a:lnTo>
                  <a:pt x="1594" y="1637"/>
                </a:lnTo>
                <a:lnTo>
                  <a:pt x="1593" y="1636"/>
                </a:lnTo>
                <a:lnTo>
                  <a:pt x="1593" y="1634"/>
                </a:lnTo>
                <a:close/>
                <a:moveTo>
                  <a:pt x="1535" y="1638"/>
                </a:moveTo>
                <a:lnTo>
                  <a:pt x="1524" y="1638"/>
                </a:lnTo>
                <a:lnTo>
                  <a:pt x="1511" y="1639"/>
                </a:lnTo>
                <a:lnTo>
                  <a:pt x="1502" y="1639"/>
                </a:lnTo>
                <a:lnTo>
                  <a:pt x="1495" y="1639"/>
                </a:lnTo>
                <a:lnTo>
                  <a:pt x="1502" y="1639"/>
                </a:lnTo>
                <a:lnTo>
                  <a:pt x="1511" y="1639"/>
                </a:lnTo>
                <a:lnTo>
                  <a:pt x="1524" y="1638"/>
                </a:lnTo>
                <a:lnTo>
                  <a:pt x="1535" y="1638"/>
                </a:lnTo>
                <a:lnTo>
                  <a:pt x="1542" y="1634"/>
                </a:lnTo>
                <a:lnTo>
                  <a:pt x="1546" y="1628"/>
                </a:lnTo>
                <a:lnTo>
                  <a:pt x="1548" y="1624"/>
                </a:lnTo>
                <a:lnTo>
                  <a:pt x="1550" y="1622"/>
                </a:lnTo>
                <a:lnTo>
                  <a:pt x="1565" y="1619"/>
                </a:lnTo>
                <a:lnTo>
                  <a:pt x="1581" y="1616"/>
                </a:lnTo>
                <a:lnTo>
                  <a:pt x="1587" y="1618"/>
                </a:lnTo>
                <a:lnTo>
                  <a:pt x="1589" y="1623"/>
                </a:lnTo>
                <a:lnTo>
                  <a:pt x="1589" y="1631"/>
                </a:lnTo>
                <a:lnTo>
                  <a:pt x="1588" y="1637"/>
                </a:lnTo>
                <a:lnTo>
                  <a:pt x="1588" y="1637"/>
                </a:lnTo>
                <a:lnTo>
                  <a:pt x="1562" y="1638"/>
                </a:lnTo>
                <a:lnTo>
                  <a:pt x="1535" y="1638"/>
                </a:lnTo>
                <a:close/>
                <a:moveTo>
                  <a:pt x="983" y="1663"/>
                </a:moveTo>
                <a:lnTo>
                  <a:pt x="1015" y="1660"/>
                </a:lnTo>
                <a:lnTo>
                  <a:pt x="1046" y="1663"/>
                </a:lnTo>
                <a:lnTo>
                  <a:pt x="1015" y="1664"/>
                </a:lnTo>
                <a:lnTo>
                  <a:pt x="983" y="1663"/>
                </a:lnTo>
                <a:close/>
                <a:moveTo>
                  <a:pt x="980" y="1776"/>
                </a:moveTo>
                <a:lnTo>
                  <a:pt x="981" y="1775"/>
                </a:lnTo>
                <a:lnTo>
                  <a:pt x="983" y="1774"/>
                </a:lnTo>
                <a:lnTo>
                  <a:pt x="984" y="1775"/>
                </a:lnTo>
                <a:lnTo>
                  <a:pt x="985" y="1776"/>
                </a:lnTo>
                <a:lnTo>
                  <a:pt x="983" y="1777"/>
                </a:lnTo>
                <a:lnTo>
                  <a:pt x="982" y="1778"/>
                </a:lnTo>
                <a:lnTo>
                  <a:pt x="981" y="1777"/>
                </a:lnTo>
                <a:lnTo>
                  <a:pt x="980" y="1776"/>
                </a:lnTo>
                <a:close/>
                <a:moveTo>
                  <a:pt x="964" y="1766"/>
                </a:moveTo>
                <a:lnTo>
                  <a:pt x="953" y="1754"/>
                </a:lnTo>
                <a:lnTo>
                  <a:pt x="946" y="1740"/>
                </a:lnTo>
                <a:lnTo>
                  <a:pt x="958" y="1751"/>
                </a:lnTo>
                <a:lnTo>
                  <a:pt x="964" y="1766"/>
                </a:lnTo>
                <a:close/>
                <a:moveTo>
                  <a:pt x="925" y="1722"/>
                </a:moveTo>
                <a:lnTo>
                  <a:pt x="936" y="1725"/>
                </a:lnTo>
                <a:lnTo>
                  <a:pt x="942" y="1732"/>
                </a:lnTo>
                <a:lnTo>
                  <a:pt x="941" y="1733"/>
                </a:lnTo>
                <a:lnTo>
                  <a:pt x="940" y="1735"/>
                </a:lnTo>
                <a:lnTo>
                  <a:pt x="931" y="1730"/>
                </a:lnTo>
                <a:lnTo>
                  <a:pt x="925" y="1722"/>
                </a:lnTo>
                <a:close/>
                <a:moveTo>
                  <a:pt x="747" y="1981"/>
                </a:moveTo>
                <a:lnTo>
                  <a:pt x="746" y="1982"/>
                </a:lnTo>
                <a:lnTo>
                  <a:pt x="746" y="1984"/>
                </a:lnTo>
                <a:lnTo>
                  <a:pt x="746" y="1984"/>
                </a:lnTo>
                <a:lnTo>
                  <a:pt x="746" y="1985"/>
                </a:lnTo>
                <a:lnTo>
                  <a:pt x="746" y="1984"/>
                </a:lnTo>
                <a:lnTo>
                  <a:pt x="746" y="1984"/>
                </a:lnTo>
                <a:lnTo>
                  <a:pt x="746" y="1982"/>
                </a:lnTo>
                <a:lnTo>
                  <a:pt x="747" y="1981"/>
                </a:lnTo>
                <a:close/>
                <a:moveTo>
                  <a:pt x="705" y="1920"/>
                </a:moveTo>
                <a:lnTo>
                  <a:pt x="705" y="1920"/>
                </a:lnTo>
                <a:lnTo>
                  <a:pt x="706" y="1920"/>
                </a:lnTo>
                <a:lnTo>
                  <a:pt x="705" y="1920"/>
                </a:lnTo>
                <a:lnTo>
                  <a:pt x="705" y="1920"/>
                </a:lnTo>
                <a:close/>
                <a:moveTo>
                  <a:pt x="701" y="1664"/>
                </a:moveTo>
                <a:lnTo>
                  <a:pt x="702" y="1664"/>
                </a:lnTo>
                <a:lnTo>
                  <a:pt x="702" y="1663"/>
                </a:lnTo>
                <a:lnTo>
                  <a:pt x="702" y="1661"/>
                </a:lnTo>
                <a:lnTo>
                  <a:pt x="701" y="1657"/>
                </a:lnTo>
                <a:lnTo>
                  <a:pt x="703" y="1657"/>
                </a:lnTo>
                <a:lnTo>
                  <a:pt x="706" y="1657"/>
                </a:lnTo>
                <a:lnTo>
                  <a:pt x="708" y="1660"/>
                </a:lnTo>
                <a:lnTo>
                  <a:pt x="709" y="1661"/>
                </a:lnTo>
                <a:lnTo>
                  <a:pt x="707" y="1663"/>
                </a:lnTo>
                <a:lnTo>
                  <a:pt x="702" y="1663"/>
                </a:lnTo>
                <a:lnTo>
                  <a:pt x="702" y="1664"/>
                </a:lnTo>
                <a:lnTo>
                  <a:pt x="701" y="1664"/>
                </a:lnTo>
                <a:lnTo>
                  <a:pt x="696" y="1664"/>
                </a:lnTo>
                <a:lnTo>
                  <a:pt x="690" y="1664"/>
                </a:lnTo>
                <a:lnTo>
                  <a:pt x="696" y="1664"/>
                </a:lnTo>
                <a:lnTo>
                  <a:pt x="701" y="1664"/>
                </a:lnTo>
                <a:close/>
                <a:moveTo>
                  <a:pt x="701" y="1645"/>
                </a:moveTo>
                <a:lnTo>
                  <a:pt x="700" y="1644"/>
                </a:lnTo>
                <a:lnTo>
                  <a:pt x="699" y="1642"/>
                </a:lnTo>
                <a:lnTo>
                  <a:pt x="700" y="1644"/>
                </a:lnTo>
                <a:lnTo>
                  <a:pt x="701" y="1645"/>
                </a:lnTo>
                <a:close/>
                <a:moveTo>
                  <a:pt x="724" y="1663"/>
                </a:moveTo>
                <a:lnTo>
                  <a:pt x="722" y="1664"/>
                </a:lnTo>
                <a:lnTo>
                  <a:pt x="719" y="1664"/>
                </a:lnTo>
                <a:lnTo>
                  <a:pt x="717" y="1660"/>
                </a:lnTo>
                <a:lnTo>
                  <a:pt x="716" y="1656"/>
                </a:lnTo>
                <a:lnTo>
                  <a:pt x="721" y="1656"/>
                </a:lnTo>
                <a:lnTo>
                  <a:pt x="725" y="1656"/>
                </a:lnTo>
                <a:lnTo>
                  <a:pt x="724" y="1660"/>
                </a:lnTo>
                <a:lnTo>
                  <a:pt x="724" y="1663"/>
                </a:lnTo>
                <a:close/>
                <a:moveTo>
                  <a:pt x="728" y="1664"/>
                </a:moveTo>
                <a:lnTo>
                  <a:pt x="730" y="1664"/>
                </a:lnTo>
                <a:lnTo>
                  <a:pt x="732" y="1664"/>
                </a:lnTo>
                <a:lnTo>
                  <a:pt x="730" y="1664"/>
                </a:lnTo>
                <a:lnTo>
                  <a:pt x="728" y="1664"/>
                </a:lnTo>
                <a:close/>
                <a:moveTo>
                  <a:pt x="789" y="1675"/>
                </a:moveTo>
                <a:lnTo>
                  <a:pt x="788" y="1675"/>
                </a:lnTo>
                <a:lnTo>
                  <a:pt x="787" y="1675"/>
                </a:lnTo>
                <a:lnTo>
                  <a:pt x="788" y="1675"/>
                </a:lnTo>
                <a:lnTo>
                  <a:pt x="789" y="1675"/>
                </a:lnTo>
                <a:close/>
                <a:moveTo>
                  <a:pt x="719" y="1685"/>
                </a:moveTo>
                <a:lnTo>
                  <a:pt x="719" y="1686"/>
                </a:lnTo>
                <a:lnTo>
                  <a:pt x="718" y="1687"/>
                </a:lnTo>
                <a:lnTo>
                  <a:pt x="717" y="1691"/>
                </a:lnTo>
                <a:lnTo>
                  <a:pt x="713" y="1693"/>
                </a:lnTo>
                <a:lnTo>
                  <a:pt x="713" y="1693"/>
                </a:lnTo>
                <a:lnTo>
                  <a:pt x="717" y="1691"/>
                </a:lnTo>
                <a:lnTo>
                  <a:pt x="718" y="1687"/>
                </a:lnTo>
                <a:lnTo>
                  <a:pt x="719" y="1686"/>
                </a:lnTo>
                <a:lnTo>
                  <a:pt x="719" y="1685"/>
                </a:lnTo>
                <a:lnTo>
                  <a:pt x="719" y="1684"/>
                </a:lnTo>
                <a:lnTo>
                  <a:pt x="719" y="1683"/>
                </a:lnTo>
                <a:lnTo>
                  <a:pt x="719" y="1684"/>
                </a:lnTo>
                <a:lnTo>
                  <a:pt x="719" y="1685"/>
                </a:lnTo>
                <a:close/>
                <a:moveTo>
                  <a:pt x="771" y="1727"/>
                </a:moveTo>
                <a:lnTo>
                  <a:pt x="774" y="1731"/>
                </a:lnTo>
                <a:lnTo>
                  <a:pt x="778" y="1733"/>
                </a:lnTo>
                <a:lnTo>
                  <a:pt x="774" y="1731"/>
                </a:lnTo>
                <a:lnTo>
                  <a:pt x="771" y="1727"/>
                </a:lnTo>
                <a:close/>
                <a:moveTo>
                  <a:pt x="761" y="1821"/>
                </a:moveTo>
                <a:lnTo>
                  <a:pt x="760" y="1821"/>
                </a:lnTo>
                <a:lnTo>
                  <a:pt x="759" y="1820"/>
                </a:lnTo>
                <a:lnTo>
                  <a:pt x="760" y="1821"/>
                </a:lnTo>
                <a:lnTo>
                  <a:pt x="761" y="1821"/>
                </a:lnTo>
                <a:lnTo>
                  <a:pt x="761" y="1821"/>
                </a:lnTo>
                <a:close/>
                <a:moveTo>
                  <a:pt x="769" y="1813"/>
                </a:moveTo>
                <a:lnTo>
                  <a:pt x="769" y="1817"/>
                </a:lnTo>
                <a:lnTo>
                  <a:pt x="770" y="1819"/>
                </a:lnTo>
                <a:lnTo>
                  <a:pt x="769" y="1817"/>
                </a:lnTo>
                <a:lnTo>
                  <a:pt x="769" y="1813"/>
                </a:lnTo>
                <a:lnTo>
                  <a:pt x="770" y="1808"/>
                </a:lnTo>
                <a:lnTo>
                  <a:pt x="772" y="1803"/>
                </a:lnTo>
                <a:lnTo>
                  <a:pt x="770" y="1808"/>
                </a:lnTo>
                <a:lnTo>
                  <a:pt x="769" y="1813"/>
                </a:lnTo>
                <a:close/>
                <a:moveTo>
                  <a:pt x="762" y="1633"/>
                </a:moveTo>
                <a:lnTo>
                  <a:pt x="772" y="1637"/>
                </a:lnTo>
                <a:lnTo>
                  <a:pt x="776" y="1654"/>
                </a:lnTo>
                <a:lnTo>
                  <a:pt x="777" y="1644"/>
                </a:lnTo>
                <a:lnTo>
                  <a:pt x="783" y="1634"/>
                </a:lnTo>
                <a:lnTo>
                  <a:pt x="784" y="1635"/>
                </a:lnTo>
                <a:lnTo>
                  <a:pt x="785" y="1636"/>
                </a:lnTo>
                <a:lnTo>
                  <a:pt x="785" y="1645"/>
                </a:lnTo>
                <a:lnTo>
                  <a:pt x="787" y="1653"/>
                </a:lnTo>
                <a:lnTo>
                  <a:pt x="778" y="1661"/>
                </a:lnTo>
                <a:lnTo>
                  <a:pt x="767" y="1660"/>
                </a:lnTo>
                <a:lnTo>
                  <a:pt x="762" y="1656"/>
                </a:lnTo>
                <a:lnTo>
                  <a:pt x="762" y="1650"/>
                </a:lnTo>
                <a:lnTo>
                  <a:pt x="761" y="1641"/>
                </a:lnTo>
                <a:lnTo>
                  <a:pt x="762" y="1633"/>
                </a:lnTo>
                <a:lnTo>
                  <a:pt x="762" y="1633"/>
                </a:lnTo>
                <a:close/>
                <a:moveTo>
                  <a:pt x="769" y="1599"/>
                </a:moveTo>
                <a:lnTo>
                  <a:pt x="772" y="1596"/>
                </a:lnTo>
                <a:lnTo>
                  <a:pt x="775" y="1599"/>
                </a:lnTo>
                <a:lnTo>
                  <a:pt x="773" y="1604"/>
                </a:lnTo>
                <a:lnTo>
                  <a:pt x="773" y="1608"/>
                </a:lnTo>
                <a:lnTo>
                  <a:pt x="772" y="1618"/>
                </a:lnTo>
                <a:lnTo>
                  <a:pt x="772" y="1626"/>
                </a:lnTo>
                <a:lnTo>
                  <a:pt x="769" y="1626"/>
                </a:lnTo>
                <a:lnTo>
                  <a:pt x="766" y="1625"/>
                </a:lnTo>
                <a:lnTo>
                  <a:pt x="766" y="1626"/>
                </a:lnTo>
                <a:lnTo>
                  <a:pt x="766" y="1626"/>
                </a:lnTo>
                <a:lnTo>
                  <a:pt x="766" y="1626"/>
                </a:lnTo>
                <a:lnTo>
                  <a:pt x="766" y="1625"/>
                </a:lnTo>
                <a:lnTo>
                  <a:pt x="764" y="1613"/>
                </a:lnTo>
                <a:lnTo>
                  <a:pt x="769" y="1599"/>
                </a:lnTo>
                <a:close/>
                <a:moveTo>
                  <a:pt x="825" y="1717"/>
                </a:moveTo>
                <a:lnTo>
                  <a:pt x="828" y="1711"/>
                </a:lnTo>
                <a:lnTo>
                  <a:pt x="824" y="1708"/>
                </a:lnTo>
                <a:lnTo>
                  <a:pt x="828" y="1711"/>
                </a:lnTo>
                <a:lnTo>
                  <a:pt x="825" y="1717"/>
                </a:lnTo>
                <a:close/>
                <a:moveTo>
                  <a:pt x="849" y="1749"/>
                </a:moveTo>
                <a:lnTo>
                  <a:pt x="849" y="1748"/>
                </a:lnTo>
                <a:lnTo>
                  <a:pt x="848" y="1748"/>
                </a:lnTo>
                <a:lnTo>
                  <a:pt x="849" y="1748"/>
                </a:lnTo>
                <a:lnTo>
                  <a:pt x="849" y="1749"/>
                </a:lnTo>
                <a:close/>
                <a:moveTo>
                  <a:pt x="847" y="1746"/>
                </a:moveTo>
                <a:lnTo>
                  <a:pt x="847" y="1747"/>
                </a:lnTo>
                <a:lnTo>
                  <a:pt x="848" y="1747"/>
                </a:lnTo>
                <a:lnTo>
                  <a:pt x="847" y="1747"/>
                </a:lnTo>
                <a:lnTo>
                  <a:pt x="847" y="1746"/>
                </a:lnTo>
                <a:lnTo>
                  <a:pt x="847" y="1747"/>
                </a:lnTo>
                <a:lnTo>
                  <a:pt x="846" y="1748"/>
                </a:lnTo>
                <a:lnTo>
                  <a:pt x="847" y="1747"/>
                </a:lnTo>
                <a:lnTo>
                  <a:pt x="847" y="1746"/>
                </a:lnTo>
                <a:close/>
                <a:moveTo>
                  <a:pt x="821" y="1731"/>
                </a:moveTo>
                <a:lnTo>
                  <a:pt x="820" y="1730"/>
                </a:lnTo>
                <a:lnTo>
                  <a:pt x="820" y="1729"/>
                </a:lnTo>
                <a:lnTo>
                  <a:pt x="820" y="1730"/>
                </a:lnTo>
                <a:lnTo>
                  <a:pt x="821" y="1731"/>
                </a:lnTo>
                <a:close/>
                <a:moveTo>
                  <a:pt x="830" y="1717"/>
                </a:moveTo>
                <a:lnTo>
                  <a:pt x="828" y="1717"/>
                </a:lnTo>
                <a:lnTo>
                  <a:pt x="825" y="1717"/>
                </a:lnTo>
                <a:lnTo>
                  <a:pt x="825" y="1717"/>
                </a:lnTo>
                <a:lnTo>
                  <a:pt x="828" y="1717"/>
                </a:lnTo>
                <a:lnTo>
                  <a:pt x="830" y="1717"/>
                </a:lnTo>
                <a:close/>
                <a:moveTo>
                  <a:pt x="789" y="1653"/>
                </a:moveTo>
                <a:lnTo>
                  <a:pt x="798" y="1655"/>
                </a:lnTo>
                <a:lnTo>
                  <a:pt x="806" y="1657"/>
                </a:lnTo>
                <a:lnTo>
                  <a:pt x="798" y="1655"/>
                </a:lnTo>
                <a:lnTo>
                  <a:pt x="789" y="1653"/>
                </a:lnTo>
                <a:close/>
                <a:moveTo>
                  <a:pt x="733" y="1884"/>
                </a:moveTo>
                <a:lnTo>
                  <a:pt x="732" y="1878"/>
                </a:lnTo>
                <a:lnTo>
                  <a:pt x="731" y="1871"/>
                </a:lnTo>
                <a:lnTo>
                  <a:pt x="732" y="1878"/>
                </a:lnTo>
                <a:lnTo>
                  <a:pt x="733" y="1884"/>
                </a:lnTo>
                <a:close/>
                <a:moveTo>
                  <a:pt x="712" y="1878"/>
                </a:moveTo>
                <a:lnTo>
                  <a:pt x="713" y="1873"/>
                </a:lnTo>
                <a:lnTo>
                  <a:pt x="718" y="1870"/>
                </a:lnTo>
                <a:lnTo>
                  <a:pt x="723" y="1874"/>
                </a:lnTo>
                <a:lnTo>
                  <a:pt x="723" y="1879"/>
                </a:lnTo>
                <a:lnTo>
                  <a:pt x="722" y="1886"/>
                </a:lnTo>
                <a:lnTo>
                  <a:pt x="722" y="1895"/>
                </a:lnTo>
                <a:lnTo>
                  <a:pt x="724" y="1899"/>
                </a:lnTo>
                <a:lnTo>
                  <a:pt x="729" y="1900"/>
                </a:lnTo>
                <a:lnTo>
                  <a:pt x="732" y="1907"/>
                </a:lnTo>
                <a:lnTo>
                  <a:pt x="730" y="1913"/>
                </a:lnTo>
                <a:lnTo>
                  <a:pt x="728" y="1919"/>
                </a:lnTo>
                <a:lnTo>
                  <a:pt x="722" y="1919"/>
                </a:lnTo>
                <a:lnTo>
                  <a:pt x="728" y="1919"/>
                </a:lnTo>
                <a:lnTo>
                  <a:pt x="730" y="1913"/>
                </a:lnTo>
                <a:lnTo>
                  <a:pt x="726" y="1909"/>
                </a:lnTo>
                <a:lnTo>
                  <a:pt x="722" y="1908"/>
                </a:lnTo>
                <a:lnTo>
                  <a:pt x="718" y="1912"/>
                </a:lnTo>
                <a:lnTo>
                  <a:pt x="719" y="1919"/>
                </a:lnTo>
                <a:lnTo>
                  <a:pt x="713" y="1919"/>
                </a:lnTo>
                <a:lnTo>
                  <a:pt x="707" y="1917"/>
                </a:lnTo>
                <a:lnTo>
                  <a:pt x="711" y="1898"/>
                </a:lnTo>
                <a:lnTo>
                  <a:pt x="712" y="1878"/>
                </a:lnTo>
                <a:close/>
                <a:moveTo>
                  <a:pt x="732" y="1839"/>
                </a:moveTo>
                <a:lnTo>
                  <a:pt x="733" y="1846"/>
                </a:lnTo>
                <a:lnTo>
                  <a:pt x="729" y="1848"/>
                </a:lnTo>
                <a:lnTo>
                  <a:pt x="733" y="1846"/>
                </a:lnTo>
                <a:lnTo>
                  <a:pt x="732" y="1839"/>
                </a:lnTo>
                <a:lnTo>
                  <a:pt x="726" y="1842"/>
                </a:lnTo>
                <a:lnTo>
                  <a:pt x="726" y="1848"/>
                </a:lnTo>
                <a:lnTo>
                  <a:pt x="725" y="1848"/>
                </a:lnTo>
                <a:lnTo>
                  <a:pt x="725" y="1849"/>
                </a:lnTo>
                <a:lnTo>
                  <a:pt x="728" y="1860"/>
                </a:lnTo>
                <a:lnTo>
                  <a:pt x="731" y="1870"/>
                </a:lnTo>
                <a:lnTo>
                  <a:pt x="728" y="1860"/>
                </a:lnTo>
                <a:lnTo>
                  <a:pt x="725" y="1849"/>
                </a:lnTo>
                <a:lnTo>
                  <a:pt x="722" y="1848"/>
                </a:lnTo>
                <a:lnTo>
                  <a:pt x="718" y="1849"/>
                </a:lnTo>
                <a:lnTo>
                  <a:pt x="715" y="1852"/>
                </a:lnTo>
                <a:lnTo>
                  <a:pt x="711" y="1853"/>
                </a:lnTo>
                <a:lnTo>
                  <a:pt x="709" y="1849"/>
                </a:lnTo>
                <a:lnTo>
                  <a:pt x="710" y="1845"/>
                </a:lnTo>
                <a:lnTo>
                  <a:pt x="712" y="1838"/>
                </a:lnTo>
                <a:lnTo>
                  <a:pt x="717" y="1835"/>
                </a:lnTo>
                <a:lnTo>
                  <a:pt x="723" y="1834"/>
                </a:lnTo>
                <a:lnTo>
                  <a:pt x="729" y="1834"/>
                </a:lnTo>
                <a:lnTo>
                  <a:pt x="731" y="1836"/>
                </a:lnTo>
                <a:lnTo>
                  <a:pt x="732" y="1839"/>
                </a:lnTo>
                <a:close/>
                <a:moveTo>
                  <a:pt x="801" y="1840"/>
                </a:moveTo>
                <a:lnTo>
                  <a:pt x="802" y="1842"/>
                </a:lnTo>
                <a:lnTo>
                  <a:pt x="802" y="1842"/>
                </a:lnTo>
                <a:lnTo>
                  <a:pt x="802" y="1842"/>
                </a:lnTo>
                <a:lnTo>
                  <a:pt x="801" y="1840"/>
                </a:lnTo>
                <a:close/>
                <a:moveTo>
                  <a:pt x="820" y="1832"/>
                </a:moveTo>
                <a:lnTo>
                  <a:pt x="820" y="1832"/>
                </a:lnTo>
                <a:lnTo>
                  <a:pt x="821" y="1832"/>
                </a:lnTo>
                <a:lnTo>
                  <a:pt x="820" y="1832"/>
                </a:lnTo>
                <a:lnTo>
                  <a:pt x="820" y="1832"/>
                </a:lnTo>
                <a:lnTo>
                  <a:pt x="807" y="1832"/>
                </a:lnTo>
                <a:lnTo>
                  <a:pt x="794" y="1837"/>
                </a:lnTo>
                <a:lnTo>
                  <a:pt x="792" y="1837"/>
                </a:lnTo>
                <a:lnTo>
                  <a:pt x="790" y="1836"/>
                </a:lnTo>
                <a:lnTo>
                  <a:pt x="785" y="1831"/>
                </a:lnTo>
                <a:lnTo>
                  <a:pt x="776" y="1830"/>
                </a:lnTo>
                <a:lnTo>
                  <a:pt x="781" y="1812"/>
                </a:lnTo>
                <a:lnTo>
                  <a:pt x="788" y="1793"/>
                </a:lnTo>
                <a:lnTo>
                  <a:pt x="793" y="1793"/>
                </a:lnTo>
                <a:lnTo>
                  <a:pt x="799" y="1793"/>
                </a:lnTo>
                <a:lnTo>
                  <a:pt x="794" y="1788"/>
                </a:lnTo>
                <a:lnTo>
                  <a:pt x="791" y="1783"/>
                </a:lnTo>
                <a:lnTo>
                  <a:pt x="787" y="1767"/>
                </a:lnTo>
                <a:lnTo>
                  <a:pt x="783" y="1751"/>
                </a:lnTo>
                <a:lnTo>
                  <a:pt x="784" y="1742"/>
                </a:lnTo>
                <a:lnTo>
                  <a:pt x="779" y="1735"/>
                </a:lnTo>
                <a:lnTo>
                  <a:pt x="779" y="1735"/>
                </a:lnTo>
                <a:lnTo>
                  <a:pt x="779" y="1735"/>
                </a:lnTo>
                <a:lnTo>
                  <a:pt x="779" y="1731"/>
                </a:lnTo>
                <a:lnTo>
                  <a:pt x="779" y="1729"/>
                </a:lnTo>
                <a:lnTo>
                  <a:pt x="779" y="1729"/>
                </a:lnTo>
                <a:lnTo>
                  <a:pt x="784" y="1728"/>
                </a:lnTo>
                <a:lnTo>
                  <a:pt x="785" y="1725"/>
                </a:lnTo>
                <a:lnTo>
                  <a:pt x="783" y="1713"/>
                </a:lnTo>
                <a:lnTo>
                  <a:pt x="782" y="1700"/>
                </a:lnTo>
                <a:lnTo>
                  <a:pt x="781" y="1700"/>
                </a:lnTo>
                <a:lnTo>
                  <a:pt x="778" y="1700"/>
                </a:lnTo>
                <a:lnTo>
                  <a:pt x="778" y="1687"/>
                </a:lnTo>
                <a:lnTo>
                  <a:pt x="782" y="1675"/>
                </a:lnTo>
                <a:lnTo>
                  <a:pt x="783" y="1674"/>
                </a:lnTo>
                <a:lnTo>
                  <a:pt x="785" y="1675"/>
                </a:lnTo>
                <a:lnTo>
                  <a:pt x="786" y="1675"/>
                </a:lnTo>
                <a:lnTo>
                  <a:pt x="787" y="1675"/>
                </a:lnTo>
                <a:lnTo>
                  <a:pt x="786" y="1675"/>
                </a:lnTo>
                <a:lnTo>
                  <a:pt x="785" y="1675"/>
                </a:lnTo>
                <a:lnTo>
                  <a:pt x="785" y="1685"/>
                </a:lnTo>
                <a:lnTo>
                  <a:pt x="785" y="1698"/>
                </a:lnTo>
                <a:lnTo>
                  <a:pt x="788" y="1687"/>
                </a:lnTo>
                <a:lnTo>
                  <a:pt x="792" y="1680"/>
                </a:lnTo>
                <a:lnTo>
                  <a:pt x="794" y="1703"/>
                </a:lnTo>
                <a:lnTo>
                  <a:pt x="799" y="1726"/>
                </a:lnTo>
                <a:lnTo>
                  <a:pt x="798" y="1740"/>
                </a:lnTo>
                <a:lnTo>
                  <a:pt x="791" y="1755"/>
                </a:lnTo>
                <a:lnTo>
                  <a:pt x="788" y="1754"/>
                </a:lnTo>
                <a:lnTo>
                  <a:pt x="783" y="1751"/>
                </a:lnTo>
                <a:lnTo>
                  <a:pt x="787" y="1767"/>
                </a:lnTo>
                <a:lnTo>
                  <a:pt x="791" y="1783"/>
                </a:lnTo>
                <a:lnTo>
                  <a:pt x="800" y="1781"/>
                </a:lnTo>
                <a:lnTo>
                  <a:pt x="809" y="1779"/>
                </a:lnTo>
                <a:lnTo>
                  <a:pt x="806" y="1776"/>
                </a:lnTo>
                <a:lnTo>
                  <a:pt x="803" y="1776"/>
                </a:lnTo>
                <a:lnTo>
                  <a:pt x="799" y="1774"/>
                </a:lnTo>
                <a:lnTo>
                  <a:pt x="797" y="1771"/>
                </a:lnTo>
                <a:lnTo>
                  <a:pt x="798" y="1768"/>
                </a:lnTo>
                <a:lnTo>
                  <a:pt x="802" y="1766"/>
                </a:lnTo>
                <a:lnTo>
                  <a:pt x="805" y="1764"/>
                </a:lnTo>
                <a:lnTo>
                  <a:pt x="807" y="1761"/>
                </a:lnTo>
                <a:lnTo>
                  <a:pt x="812" y="1758"/>
                </a:lnTo>
                <a:lnTo>
                  <a:pt x="817" y="1759"/>
                </a:lnTo>
                <a:lnTo>
                  <a:pt x="819" y="1762"/>
                </a:lnTo>
                <a:lnTo>
                  <a:pt x="817" y="1767"/>
                </a:lnTo>
                <a:lnTo>
                  <a:pt x="815" y="1776"/>
                </a:lnTo>
                <a:lnTo>
                  <a:pt x="810" y="1787"/>
                </a:lnTo>
                <a:lnTo>
                  <a:pt x="818" y="1779"/>
                </a:lnTo>
                <a:lnTo>
                  <a:pt x="825" y="1773"/>
                </a:lnTo>
                <a:lnTo>
                  <a:pt x="828" y="1766"/>
                </a:lnTo>
                <a:lnTo>
                  <a:pt x="833" y="1763"/>
                </a:lnTo>
                <a:lnTo>
                  <a:pt x="828" y="1766"/>
                </a:lnTo>
                <a:lnTo>
                  <a:pt x="825" y="1773"/>
                </a:lnTo>
                <a:lnTo>
                  <a:pt x="833" y="1773"/>
                </a:lnTo>
                <a:lnTo>
                  <a:pt x="842" y="1773"/>
                </a:lnTo>
                <a:lnTo>
                  <a:pt x="838" y="1784"/>
                </a:lnTo>
                <a:lnTo>
                  <a:pt x="834" y="1793"/>
                </a:lnTo>
                <a:lnTo>
                  <a:pt x="827" y="1812"/>
                </a:lnTo>
                <a:lnTo>
                  <a:pt x="820" y="1832"/>
                </a:lnTo>
                <a:close/>
                <a:moveTo>
                  <a:pt x="838" y="1921"/>
                </a:moveTo>
                <a:lnTo>
                  <a:pt x="837" y="1930"/>
                </a:lnTo>
                <a:lnTo>
                  <a:pt x="834" y="1939"/>
                </a:lnTo>
                <a:lnTo>
                  <a:pt x="834" y="1939"/>
                </a:lnTo>
                <a:lnTo>
                  <a:pt x="837" y="1930"/>
                </a:lnTo>
                <a:lnTo>
                  <a:pt x="838" y="1921"/>
                </a:lnTo>
                <a:close/>
                <a:moveTo>
                  <a:pt x="834" y="1936"/>
                </a:moveTo>
                <a:lnTo>
                  <a:pt x="834" y="1936"/>
                </a:lnTo>
                <a:lnTo>
                  <a:pt x="833" y="1935"/>
                </a:lnTo>
                <a:lnTo>
                  <a:pt x="834" y="1936"/>
                </a:lnTo>
                <a:lnTo>
                  <a:pt x="834" y="1936"/>
                </a:lnTo>
                <a:close/>
                <a:moveTo>
                  <a:pt x="842" y="1957"/>
                </a:moveTo>
                <a:lnTo>
                  <a:pt x="843" y="1957"/>
                </a:lnTo>
                <a:lnTo>
                  <a:pt x="843" y="1956"/>
                </a:lnTo>
                <a:lnTo>
                  <a:pt x="843" y="1956"/>
                </a:lnTo>
                <a:lnTo>
                  <a:pt x="843" y="1957"/>
                </a:lnTo>
                <a:lnTo>
                  <a:pt x="842" y="1957"/>
                </a:lnTo>
                <a:close/>
                <a:moveTo>
                  <a:pt x="1137" y="1624"/>
                </a:moveTo>
                <a:lnTo>
                  <a:pt x="1146" y="1623"/>
                </a:lnTo>
                <a:lnTo>
                  <a:pt x="1155" y="1623"/>
                </a:lnTo>
                <a:lnTo>
                  <a:pt x="1146" y="1623"/>
                </a:lnTo>
                <a:lnTo>
                  <a:pt x="1137" y="1624"/>
                </a:lnTo>
                <a:close/>
                <a:moveTo>
                  <a:pt x="1453" y="1641"/>
                </a:moveTo>
                <a:lnTo>
                  <a:pt x="1461" y="1640"/>
                </a:lnTo>
                <a:lnTo>
                  <a:pt x="1470" y="1640"/>
                </a:lnTo>
                <a:lnTo>
                  <a:pt x="1461" y="1640"/>
                </a:lnTo>
                <a:lnTo>
                  <a:pt x="1453" y="1641"/>
                </a:lnTo>
                <a:lnTo>
                  <a:pt x="1444" y="1641"/>
                </a:lnTo>
                <a:lnTo>
                  <a:pt x="1437" y="1641"/>
                </a:lnTo>
                <a:lnTo>
                  <a:pt x="1444" y="1641"/>
                </a:lnTo>
                <a:lnTo>
                  <a:pt x="1453" y="1641"/>
                </a:lnTo>
                <a:close/>
                <a:moveTo>
                  <a:pt x="1337" y="1620"/>
                </a:moveTo>
                <a:lnTo>
                  <a:pt x="1338" y="1620"/>
                </a:lnTo>
                <a:lnTo>
                  <a:pt x="1338" y="1619"/>
                </a:lnTo>
                <a:lnTo>
                  <a:pt x="1351" y="1621"/>
                </a:lnTo>
                <a:lnTo>
                  <a:pt x="1364" y="1619"/>
                </a:lnTo>
                <a:lnTo>
                  <a:pt x="1367" y="1619"/>
                </a:lnTo>
                <a:lnTo>
                  <a:pt x="1369" y="1621"/>
                </a:lnTo>
                <a:lnTo>
                  <a:pt x="1369" y="1624"/>
                </a:lnTo>
                <a:lnTo>
                  <a:pt x="1366" y="1626"/>
                </a:lnTo>
                <a:lnTo>
                  <a:pt x="1351" y="1628"/>
                </a:lnTo>
                <a:lnTo>
                  <a:pt x="1337" y="1620"/>
                </a:lnTo>
                <a:close/>
                <a:moveTo>
                  <a:pt x="1275" y="1636"/>
                </a:moveTo>
                <a:lnTo>
                  <a:pt x="1278" y="1631"/>
                </a:lnTo>
                <a:lnTo>
                  <a:pt x="1284" y="1630"/>
                </a:lnTo>
                <a:lnTo>
                  <a:pt x="1291" y="1635"/>
                </a:lnTo>
                <a:lnTo>
                  <a:pt x="1291" y="1646"/>
                </a:lnTo>
                <a:lnTo>
                  <a:pt x="1295" y="1645"/>
                </a:lnTo>
                <a:lnTo>
                  <a:pt x="1300" y="1644"/>
                </a:lnTo>
                <a:lnTo>
                  <a:pt x="1301" y="1644"/>
                </a:lnTo>
                <a:lnTo>
                  <a:pt x="1303" y="1644"/>
                </a:lnTo>
                <a:lnTo>
                  <a:pt x="1307" y="1644"/>
                </a:lnTo>
                <a:lnTo>
                  <a:pt x="1312" y="1647"/>
                </a:lnTo>
                <a:lnTo>
                  <a:pt x="1316" y="1641"/>
                </a:lnTo>
                <a:lnTo>
                  <a:pt x="1322" y="1641"/>
                </a:lnTo>
                <a:lnTo>
                  <a:pt x="1348" y="1641"/>
                </a:lnTo>
                <a:lnTo>
                  <a:pt x="1375" y="1640"/>
                </a:lnTo>
                <a:lnTo>
                  <a:pt x="1380" y="1641"/>
                </a:lnTo>
                <a:lnTo>
                  <a:pt x="1382" y="1646"/>
                </a:lnTo>
                <a:lnTo>
                  <a:pt x="1383" y="1646"/>
                </a:lnTo>
                <a:lnTo>
                  <a:pt x="1385" y="1647"/>
                </a:lnTo>
                <a:lnTo>
                  <a:pt x="1383" y="1646"/>
                </a:lnTo>
                <a:lnTo>
                  <a:pt x="1382" y="1646"/>
                </a:lnTo>
                <a:lnTo>
                  <a:pt x="1368" y="1647"/>
                </a:lnTo>
                <a:lnTo>
                  <a:pt x="1355" y="1647"/>
                </a:lnTo>
                <a:lnTo>
                  <a:pt x="1336" y="1647"/>
                </a:lnTo>
                <a:lnTo>
                  <a:pt x="1317" y="1647"/>
                </a:lnTo>
                <a:lnTo>
                  <a:pt x="1318" y="1649"/>
                </a:lnTo>
                <a:lnTo>
                  <a:pt x="1318" y="1651"/>
                </a:lnTo>
                <a:lnTo>
                  <a:pt x="1318" y="1652"/>
                </a:lnTo>
                <a:lnTo>
                  <a:pt x="1318" y="1653"/>
                </a:lnTo>
                <a:lnTo>
                  <a:pt x="1318" y="1652"/>
                </a:lnTo>
                <a:lnTo>
                  <a:pt x="1318" y="1651"/>
                </a:lnTo>
                <a:lnTo>
                  <a:pt x="1318" y="1649"/>
                </a:lnTo>
                <a:lnTo>
                  <a:pt x="1317" y="1647"/>
                </a:lnTo>
                <a:lnTo>
                  <a:pt x="1314" y="1647"/>
                </a:lnTo>
                <a:lnTo>
                  <a:pt x="1312" y="1647"/>
                </a:lnTo>
                <a:lnTo>
                  <a:pt x="1307" y="1644"/>
                </a:lnTo>
                <a:lnTo>
                  <a:pt x="1303" y="1644"/>
                </a:lnTo>
                <a:lnTo>
                  <a:pt x="1301" y="1644"/>
                </a:lnTo>
                <a:lnTo>
                  <a:pt x="1300" y="1644"/>
                </a:lnTo>
                <a:lnTo>
                  <a:pt x="1295" y="1645"/>
                </a:lnTo>
                <a:lnTo>
                  <a:pt x="1291" y="1646"/>
                </a:lnTo>
                <a:lnTo>
                  <a:pt x="1274" y="1646"/>
                </a:lnTo>
                <a:lnTo>
                  <a:pt x="1258" y="1646"/>
                </a:lnTo>
                <a:lnTo>
                  <a:pt x="1261" y="1642"/>
                </a:lnTo>
                <a:lnTo>
                  <a:pt x="1266" y="1641"/>
                </a:lnTo>
                <a:lnTo>
                  <a:pt x="1271" y="1640"/>
                </a:lnTo>
                <a:lnTo>
                  <a:pt x="1275" y="1636"/>
                </a:lnTo>
                <a:close/>
                <a:moveTo>
                  <a:pt x="1230" y="1639"/>
                </a:moveTo>
                <a:lnTo>
                  <a:pt x="1222" y="1639"/>
                </a:lnTo>
                <a:lnTo>
                  <a:pt x="1212" y="1638"/>
                </a:lnTo>
                <a:lnTo>
                  <a:pt x="1227" y="1634"/>
                </a:lnTo>
                <a:lnTo>
                  <a:pt x="1242" y="1629"/>
                </a:lnTo>
                <a:lnTo>
                  <a:pt x="1242" y="1626"/>
                </a:lnTo>
                <a:lnTo>
                  <a:pt x="1243" y="1623"/>
                </a:lnTo>
                <a:lnTo>
                  <a:pt x="1245" y="1623"/>
                </a:lnTo>
                <a:lnTo>
                  <a:pt x="1248" y="1623"/>
                </a:lnTo>
                <a:lnTo>
                  <a:pt x="1249" y="1635"/>
                </a:lnTo>
                <a:lnTo>
                  <a:pt x="1253" y="1646"/>
                </a:lnTo>
                <a:lnTo>
                  <a:pt x="1245" y="1646"/>
                </a:lnTo>
                <a:lnTo>
                  <a:pt x="1238" y="1646"/>
                </a:lnTo>
                <a:lnTo>
                  <a:pt x="1236" y="1640"/>
                </a:lnTo>
                <a:lnTo>
                  <a:pt x="1230" y="1639"/>
                </a:lnTo>
                <a:close/>
                <a:moveTo>
                  <a:pt x="1076" y="1637"/>
                </a:moveTo>
                <a:lnTo>
                  <a:pt x="1085" y="1646"/>
                </a:lnTo>
                <a:lnTo>
                  <a:pt x="1096" y="1645"/>
                </a:lnTo>
                <a:lnTo>
                  <a:pt x="1090" y="1649"/>
                </a:lnTo>
                <a:lnTo>
                  <a:pt x="1082" y="1649"/>
                </a:lnTo>
                <a:lnTo>
                  <a:pt x="1082" y="1649"/>
                </a:lnTo>
                <a:lnTo>
                  <a:pt x="1076" y="1650"/>
                </a:lnTo>
                <a:lnTo>
                  <a:pt x="1069" y="1649"/>
                </a:lnTo>
                <a:lnTo>
                  <a:pt x="1074" y="1646"/>
                </a:lnTo>
                <a:lnTo>
                  <a:pt x="1076" y="1637"/>
                </a:lnTo>
                <a:close/>
                <a:moveTo>
                  <a:pt x="964" y="1629"/>
                </a:moveTo>
                <a:lnTo>
                  <a:pt x="982" y="1630"/>
                </a:lnTo>
                <a:lnTo>
                  <a:pt x="1001" y="1632"/>
                </a:lnTo>
                <a:lnTo>
                  <a:pt x="997" y="1635"/>
                </a:lnTo>
                <a:lnTo>
                  <a:pt x="994" y="1638"/>
                </a:lnTo>
                <a:lnTo>
                  <a:pt x="1007" y="1639"/>
                </a:lnTo>
                <a:lnTo>
                  <a:pt x="1014" y="1629"/>
                </a:lnTo>
                <a:lnTo>
                  <a:pt x="1019" y="1626"/>
                </a:lnTo>
                <a:lnTo>
                  <a:pt x="1025" y="1626"/>
                </a:lnTo>
                <a:lnTo>
                  <a:pt x="1035" y="1629"/>
                </a:lnTo>
                <a:lnTo>
                  <a:pt x="1045" y="1626"/>
                </a:lnTo>
                <a:lnTo>
                  <a:pt x="1054" y="1626"/>
                </a:lnTo>
                <a:lnTo>
                  <a:pt x="1062" y="1629"/>
                </a:lnTo>
                <a:lnTo>
                  <a:pt x="1060" y="1639"/>
                </a:lnTo>
                <a:lnTo>
                  <a:pt x="1049" y="1641"/>
                </a:lnTo>
                <a:lnTo>
                  <a:pt x="1041" y="1640"/>
                </a:lnTo>
                <a:lnTo>
                  <a:pt x="1031" y="1641"/>
                </a:lnTo>
                <a:lnTo>
                  <a:pt x="1045" y="1644"/>
                </a:lnTo>
                <a:lnTo>
                  <a:pt x="1057" y="1651"/>
                </a:lnTo>
                <a:lnTo>
                  <a:pt x="1054" y="1651"/>
                </a:lnTo>
                <a:lnTo>
                  <a:pt x="1049" y="1651"/>
                </a:lnTo>
                <a:lnTo>
                  <a:pt x="1049" y="1653"/>
                </a:lnTo>
                <a:lnTo>
                  <a:pt x="1048" y="1654"/>
                </a:lnTo>
                <a:lnTo>
                  <a:pt x="1049" y="1653"/>
                </a:lnTo>
                <a:lnTo>
                  <a:pt x="1049" y="1651"/>
                </a:lnTo>
                <a:lnTo>
                  <a:pt x="1045" y="1649"/>
                </a:lnTo>
                <a:lnTo>
                  <a:pt x="1044" y="1654"/>
                </a:lnTo>
                <a:lnTo>
                  <a:pt x="1003" y="1656"/>
                </a:lnTo>
                <a:lnTo>
                  <a:pt x="964" y="1653"/>
                </a:lnTo>
                <a:lnTo>
                  <a:pt x="964" y="1653"/>
                </a:lnTo>
                <a:lnTo>
                  <a:pt x="958" y="1644"/>
                </a:lnTo>
                <a:lnTo>
                  <a:pt x="944" y="1642"/>
                </a:lnTo>
                <a:lnTo>
                  <a:pt x="956" y="1640"/>
                </a:lnTo>
                <a:lnTo>
                  <a:pt x="958" y="1630"/>
                </a:lnTo>
                <a:lnTo>
                  <a:pt x="960" y="1630"/>
                </a:lnTo>
                <a:lnTo>
                  <a:pt x="964" y="1629"/>
                </a:lnTo>
                <a:close/>
                <a:moveTo>
                  <a:pt x="513" y="1677"/>
                </a:moveTo>
                <a:lnTo>
                  <a:pt x="514" y="1677"/>
                </a:lnTo>
                <a:lnTo>
                  <a:pt x="514" y="1677"/>
                </a:lnTo>
                <a:lnTo>
                  <a:pt x="514" y="1677"/>
                </a:lnTo>
                <a:lnTo>
                  <a:pt x="513" y="1677"/>
                </a:lnTo>
                <a:close/>
                <a:moveTo>
                  <a:pt x="512" y="1675"/>
                </a:moveTo>
                <a:lnTo>
                  <a:pt x="512" y="1676"/>
                </a:lnTo>
                <a:lnTo>
                  <a:pt x="513" y="1676"/>
                </a:lnTo>
                <a:lnTo>
                  <a:pt x="512" y="1676"/>
                </a:lnTo>
                <a:lnTo>
                  <a:pt x="512" y="1675"/>
                </a:lnTo>
                <a:close/>
                <a:moveTo>
                  <a:pt x="511" y="1691"/>
                </a:moveTo>
                <a:lnTo>
                  <a:pt x="511" y="1690"/>
                </a:lnTo>
                <a:lnTo>
                  <a:pt x="512" y="1688"/>
                </a:lnTo>
                <a:lnTo>
                  <a:pt x="511" y="1690"/>
                </a:lnTo>
                <a:lnTo>
                  <a:pt x="511" y="1691"/>
                </a:lnTo>
                <a:close/>
                <a:moveTo>
                  <a:pt x="516" y="1678"/>
                </a:moveTo>
                <a:lnTo>
                  <a:pt x="516" y="1678"/>
                </a:lnTo>
                <a:lnTo>
                  <a:pt x="515" y="1677"/>
                </a:lnTo>
                <a:lnTo>
                  <a:pt x="516" y="1678"/>
                </a:lnTo>
                <a:lnTo>
                  <a:pt x="516" y="1678"/>
                </a:lnTo>
                <a:close/>
                <a:moveTo>
                  <a:pt x="518" y="1678"/>
                </a:moveTo>
                <a:lnTo>
                  <a:pt x="518" y="1678"/>
                </a:lnTo>
                <a:lnTo>
                  <a:pt x="517" y="1678"/>
                </a:lnTo>
                <a:lnTo>
                  <a:pt x="518" y="1678"/>
                </a:lnTo>
                <a:lnTo>
                  <a:pt x="518" y="1678"/>
                </a:lnTo>
                <a:close/>
                <a:moveTo>
                  <a:pt x="517" y="1672"/>
                </a:moveTo>
                <a:lnTo>
                  <a:pt x="521" y="1671"/>
                </a:lnTo>
                <a:lnTo>
                  <a:pt x="527" y="1670"/>
                </a:lnTo>
                <a:lnTo>
                  <a:pt x="521" y="1671"/>
                </a:lnTo>
                <a:lnTo>
                  <a:pt x="517" y="1672"/>
                </a:lnTo>
                <a:close/>
                <a:moveTo>
                  <a:pt x="488" y="1832"/>
                </a:moveTo>
                <a:lnTo>
                  <a:pt x="504" y="1823"/>
                </a:lnTo>
                <a:lnTo>
                  <a:pt x="502" y="1806"/>
                </a:lnTo>
                <a:lnTo>
                  <a:pt x="505" y="1800"/>
                </a:lnTo>
                <a:lnTo>
                  <a:pt x="514" y="1794"/>
                </a:lnTo>
                <a:lnTo>
                  <a:pt x="515" y="1806"/>
                </a:lnTo>
                <a:lnTo>
                  <a:pt x="524" y="1805"/>
                </a:lnTo>
                <a:lnTo>
                  <a:pt x="512" y="1829"/>
                </a:lnTo>
                <a:lnTo>
                  <a:pt x="488" y="1832"/>
                </a:lnTo>
                <a:close/>
                <a:moveTo>
                  <a:pt x="460" y="1862"/>
                </a:moveTo>
                <a:lnTo>
                  <a:pt x="459" y="1863"/>
                </a:lnTo>
                <a:lnTo>
                  <a:pt x="457" y="1864"/>
                </a:lnTo>
                <a:lnTo>
                  <a:pt x="459" y="1863"/>
                </a:lnTo>
                <a:lnTo>
                  <a:pt x="460" y="1862"/>
                </a:lnTo>
                <a:lnTo>
                  <a:pt x="464" y="1859"/>
                </a:lnTo>
                <a:lnTo>
                  <a:pt x="465" y="1854"/>
                </a:lnTo>
                <a:lnTo>
                  <a:pt x="465" y="1852"/>
                </a:lnTo>
                <a:lnTo>
                  <a:pt x="465" y="1850"/>
                </a:lnTo>
                <a:lnTo>
                  <a:pt x="473" y="1838"/>
                </a:lnTo>
                <a:lnTo>
                  <a:pt x="493" y="1838"/>
                </a:lnTo>
                <a:lnTo>
                  <a:pt x="504" y="1845"/>
                </a:lnTo>
                <a:lnTo>
                  <a:pt x="504" y="1858"/>
                </a:lnTo>
                <a:lnTo>
                  <a:pt x="501" y="1865"/>
                </a:lnTo>
                <a:lnTo>
                  <a:pt x="493" y="1868"/>
                </a:lnTo>
                <a:lnTo>
                  <a:pt x="475" y="1867"/>
                </a:lnTo>
                <a:lnTo>
                  <a:pt x="465" y="1854"/>
                </a:lnTo>
                <a:lnTo>
                  <a:pt x="464" y="1859"/>
                </a:lnTo>
                <a:lnTo>
                  <a:pt x="460" y="1862"/>
                </a:lnTo>
                <a:close/>
                <a:moveTo>
                  <a:pt x="456" y="1866"/>
                </a:moveTo>
                <a:lnTo>
                  <a:pt x="456" y="1865"/>
                </a:lnTo>
                <a:lnTo>
                  <a:pt x="457" y="1864"/>
                </a:lnTo>
                <a:lnTo>
                  <a:pt x="456" y="1865"/>
                </a:lnTo>
                <a:lnTo>
                  <a:pt x="456" y="1866"/>
                </a:lnTo>
                <a:close/>
                <a:moveTo>
                  <a:pt x="468" y="1690"/>
                </a:moveTo>
                <a:lnTo>
                  <a:pt x="471" y="1694"/>
                </a:lnTo>
                <a:lnTo>
                  <a:pt x="471" y="1699"/>
                </a:lnTo>
                <a:lnTo>
                  <a:pt x="469" y="1700"/>
                </a:lnTo>
                <a:lnTo>
                  <a:pt x="468" y="1698"/>
                </a:lnTo>
                <a:lnTo>
                  <a:pt x="469" y="1699"/>
                </a:lnTo>
                <a:lnTo>
                  <a:pt x="471" y="1699"/>
                </a:lnTo>
                <a:lnTo>
                  <a:pt x="471" y="1694"/>
                </a:lnTo>
                <a:lnTo>
                  <a:pt x="468" y="1690"/>
                </a:lnTo>
                <a:close/>
                <a:moveTo>
                  <a:pt x="413" y="1729"/>
                </a:moveTo>
                <a:lnTo>
                  <a:pt x="410" y="1725"/>
                </a:lnTo>
                <a:lnTo>
                  <a:pt x="407" y="1721"/>
                </a:lnTo>
                <a:lnTo>
                  <a:pt x="404" y="1717"/>
                </a:lnTo>
                <a:lnTo>
                  <a:pt x="403" y="1712"/>
                </a:lnTo>
                <a:lnTo>
                  <a:pt x="407" y="1710"/>
                </a:lnTo>
                <a:lnTo>
                  <a:pt x="411" y="1711"/>
                </a:lnTo>
                <a:lnTo>
                  <a:pt x="417" y="1709"/>
                </a:lnTo>
                <a:lnTo>
                  <a:pt x="419" y="1705"/>
                </a:lnTo>
                <a:lnTo>
                  <a:pt x="423" y="1700"/>
                </a:lnTo>
                <a:lnTo>
                  <a:pt x="428" y="1701"/>
                </a:lnTo>
                <a:lnTo>
                  <a:pt x="431" y="1706"/>
                </a:lnTo>
                <a:lnTo>
                  <a:pt x="429" y="1711"/>
                </a:lnTo>
                <a:lnTo>
                  <a:pt x="425" y="1718"/>
                </a:lnTo>
                <a:lnTo>
                  <a:pt x="425" y="1727"/>
                </a:lnTo>
                <a:lnTo>
                  <a:pt x="428" y="1731"/>
                </a:lnTo>
                <a:lnTo>
                  <a:pt x="434" y="1735"/>
                </a:lnTo>
                <a:lnTo>
                  <a:pt x="437" y="1735"/>
                </a:lnTo>
                <a:lnTo>
                  <a:pt x="439" y="1732"/>
                </a:lnTo>
                <a:lnTo>
                  <a:pt x="439" y="1727"/>
                </a:lnTo>
                <a:lnTo>
                  <a:pt x="437" y="1722"/>
                </a:lnTo>
                <a:lnTo>
                  <a:pt x="433" y="1715"/>
                </a:lnTo>
                <a:lnTo>
                  <a:pt x="440" y="1713"/>
                </a:lnTo>
                <a:lnTo>
                  <a:pt x="444" y="1713"/>
                </a:lnTo>
                <a:lnTo>
                  <a:pt x="449" y="1711"/>
                </a:lnTo>
                <a:lnTo>
                  <a:pt x="449" y="1706"/>
                </a:lnTo>
                <a:lnTo>
                  <a:pt x="446" y="1700"/>
                </a:lnTo>
                <a:lnTo>
                  <a:pt x="442" y="1696"/>
                </a:lnTo>
                <a:lnTo>
                  <a:pt x="439" y="1690"/>
                </a:lnTo>
                <a:lnTo>
                  <a:pt x="436" y="1687"/>
                </a:lnTo>
                <a:lnTo>
                  <a:pt x="433" y="1686"/>
                </a:lnTo>
                <a:lnTo>
                  <a:pt x="436" y="1687"/>
                </a:lnTo>
                <a:lnTo>
                  <a:pt x="439" y="1690"/>
                </a:lnTo>
                <a:lnTo>
                  <a:pt x="443" y="1690"/>
                </a:lnTo>
                <a:lnTo>
                  <a:pt x="448" y="1690"/>
                </a:lnTo>
                <a:lnTo>
                  <a:pt x="456" y="1699"/>
                </a:lnTo>
                <a:lnTo>
                  <a:pt x="469" y="1705"/>
                </a:lnTo>
                <a:lnTo>
                  <a:pt x="472" y="1706"/>
                </a:lnTo>
                <a:lnTo>
                  <a:pt x="474" y="1708"/>
                </a:lnTo>
                <a:lnTo>
                  <a:pt x="474" y="1730"/>
                </a:lnTo>
                <a:lnTo>
                  <a:pt x="468" y="1752"/>
                </a:lnTo>
                <a:lnTo>
                  <a:pt x="463" y="1756"/>
                </a:lnTo>
                <a:lnTo>
                  <a:pt x="458" y="1752"/>
                </a:lnTo>
                <a:lnTo>
                  <a:pt x="449" y="1741"/>
                </a:lnTo>
                <a:lnTo>
                  <a:pt x="434" y="1741"/>
                </a:lnTo>
                <a:lnTo>
                  <a:pt x="423" y="1740"/>
                </a:lnTo>
                <a:lnTo>
                  <a:pt x="413" y="1729"/>
                </a:lnTo>
                <a:close/>
                <a:moveTo>
                  <a:pt x="152" y="1727"/>
                </a:moveTo>
                <a:lnTo>
                  <a:pt x="158" y="1728"/>
                </a:lnTo>
                <a:lnTo>
                  <a:pt x="165" y="1732"/>
                </a:lnTo>
                <a:lnTo>
                  <a:pt x="158" y="1728"/>
                </a:lnTo>
                <a:lnTo>
                  <a:pt x="152" y="1727"/>
                </a:lnTo>
                <a:lnTo>
                  <a:pt x="151" y="1727"/>
                </a:lnTo>
                <a:lnTo>
                  <a:pt x="149" y="1727"/>
                </a:lnTo>
                <a:lnTo>
                  <a:pt x="151" y="1727"/>
                </a:lnTo>
                <a:lnTo>
                  <a:pt x="152" y="1727"/>
                </a:lnTo>
                <a:close/>
                <a:moveTo>
                  <a:pt x="278" y="1863"/>
                </a:moveTo>
                <a:lnTo>
                  <a:pt x="278" y="1863"/>
                </a:lnTo>
                <a:lnTo>
                  <a:pt x="278" y="1863"/>
                </a:lnTo>
                <a:lnTo>
                  <a:pt x="278" y="1863"/>
                </a:lnTo>
                <a:lnTo>
                  <a:pt x="278" y="1863"/>
                </a:lnTo>
                <a:close/>
                <a:moveTo>
                  <a:pt x="167" y="1978"/>
                </a:moveTo>
                <a:lnTo>
                  <a:pt x="168" y="1985"/>
                </a:lnTo>
                <a:lnTo>
                  <a:pt x="165" y="1990"/>
                </a:lnTo>
                <a:lnTo>
                  <a:pt x="168" y="1985"/>
                </a:lnTo>
                <a:lnTo>
                  <a:pt x="167" y="1978"/>
                </a:lnTo>
                <a:close/>
                <a:moveTo>
                  <a:pt x="156" y="1996"/>
                </a:moveTo>
                <a:lnTo>
                  <a:pt x="155" y="1997"/>
                </a:lnTo>
                <a:lnTo>
                  <a:pt x="155" y="1997"/>
                </a:lnTo>
                <a:lnTo>
                  <a:pt x="154" y="1998"/>
                </a:lnTo>
                <a:lnTo>
                  <a:pt x="153" y="1999"/>
                </a:lnTo>
                <a:lnTo>
                  <a:pt x="154" y="1998"/>
                </a:lnTo>
                <a:lnTo>
                  <a:pt x="155" y="1997"/>
                </a:lnTo>
                <a:lnTo>
                  <a:pt x="155" y="1997"/>
                </a:lnTo>
                <a:lnTo>
                  <a:pt x="156" y="1996"/>
                </a:lnTo>
                <a:lnTo>
                  <a:pt x="160" y="1995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3" y="1992"/>
                </a:lnTo>
                <a:lnTo>
                  <a:pt x="164" y="1998"/>
                </a:lnTo>
                <a:lnTo>
                  <a:pt x="167" y="2000"/>
                </a:lnTo>
                <a:lnTo>
                  <a:pt x="168" y="2000"/>
                </a:lnTo>
                <a:lnTo>
                  <a:pt x="170" y="2000"/>
                </a:lnTo>
                <a:lnTo>
                  <a:pt x="168" y="2000"/>
                </a:lnTo>
                <a:lnTo>
                  <a:pt x="167" y="2000"/>
                </a:lnTo>
                <a:lnTo>
                  <a:pt x="164" y="1998"/>
                </a:lnTo>
                <a:lnTo>
                  <a:pt x="163" y="1992"/>
                </a:lnTo>
                <a:lnTo>
                  <a:pt x="160" y="1995"/>
                </a:lnTo>
                <a:lnTo>
                  <a:pt x="156" y="1996"/>
                </a:lnTo>
                <a:close/>
                <a:moveTo>
                  <a:pt x="367" y="1763"/>
                </a:moveTo>
                <a:lnTo>
                  <a:pt x="366" y="1763"/>
                </a:lnTo>
                <a:lnTo>
                  <a:pt x="366" y="1764"/>
                </a:lnTo>
                <a:lnTo>
                  <a:pt x="366" y="1763"/>
                </a:lnTo>
                <a:lnTo>
                  <a:pt x="367" y="1763"/>
                </a:lnTo>
                <a:lnTo>
                  <a:pt x="370" y="1763"/>
                </a:lnTo>
                <a:lnTo>
                  <a:pt x="370" y="1767"/>
                </a:lnTo>
                <a:lnTo>
                  <a:pt x="372" y="1768"/>
                </a:lnTo>
                <a:lnTo>
                  <a:pt x="373" y="1769"/>
                </a:lnTo>
                <a:lnTo>
                  <a:pt x="370" y="1770"/>
                </a:lnTo>
                <a:lnTo>
                  <a:pt x="368" y="1769"/>
                </a:lnTo>
                <a:lnTo>
                  <a:pt x="369" y="1768"/>
                </a:lnTo>
                <a:lnTo>
                  <a:pt x="370" y="1767"/>
                </a:lnTo>
                <a:lnTo>
                  <a:pt x="370" y="1763"/>
                </a:lnTo>
                <a:lnTo>
                  <a:pt x="367" y="1763"/>
                </a:lnTo>
                <a:close/>
                <a:moveTo>
                  <a:pt x="333" y="1718"/>
                </a:moveTo>
                <a:lnTo>
                  <a:pt x="331" y="1722"/>
                </a:lnTo>
                <a:lnTo>
                  <a:pt x="331" y="1727"/>
                </a:lnTo>
                <a:lnTo>
                  <a:pt x="333" y="1728"/>
                </a:lnTo>
                <a:lnTo>
                  <a:pt x="336" y="1728"/>
                </a:lnTo>
                <a:lnTo>
                  <a:pt x="342" y="1726"/>
                </a:lnTo>
                <a:lnTo>
                  <a:pt x="346" y="1721"/>
                </a:lnTo>
                <a:lnTo>
                  <a:pt x="346" y="1713"/>
                </a:lnTo>
                <a:lnTo>
                  <a:pt x="350" y="1709"/>
                </a:lnTo>
                <a:lnTo>
                  <a:pt x="362" y="1708"/>
                </a:lnTo>
                <a:lnTo>
                  <a:pt x="373" y="1711"/>
                </a:lnTo>
                <a:lnTo>
                  <a:pt x="379" y="1714"/>
                </a:lnTo>
                <a:lnTo>
                  <a:pt x="387" y="1711"/>
                </a:lnTo>
                <a:lnTo>
                  <a:pt x="367" y="1728"/>
                </a:lnTo>
                <a:lnTo>
                  <a:pt x="352" y="1742"/>
                </a:lnTo>
                <a:lnTo>
                  <a:pt x="336" y="1759"/>
                </a:lnTo>
                <a:lnTo>
                  <a:pt x="320" y="1774"/>
                </a:lnTo>
                <a:lnTo>
                  <a:pt x="319" y="1748"/>
                </a:lnTo>
                <a:lnTo>
                  <a:pt x="309" y="1725"/>
                </a:lnTo>
                <a:lnTo>
                  <a:pt x="306" y="1728"/>
                </a:lnTo>
                <a:lnTo>
                  <a:pt x="305" y="1730"/>
                </a:lnTo>
                <a:lnTo>
                  <a:pt x="296" y="1730"/>
                </a:lnTo>
                <a:lnTo>
                  <a:pt x="292" y="1722"/>
                </a:lnTo>
                <a:lnTo>
                  <a:pt x="291" y="1718"/>
                </a:lnTo>
                <a:lnTo>
                  <a:pt x="289" y="1715"/>
                </a:lnTo>
                <a:lnTo>
                  <a:pt x="287" y="1715"/>
                </a:lnTo>
                <a:lnTo>
                  <a:pt x="284" y="1715"/>
                </a:lnTo>
                <a:lnTo>
                  <a:pt x="287" y="1715"/>
                </a:lnTo>
                <a:lnTo>
                  <a:pt x="289" y="1715"/>
                </a:lnTo>
                <a:lnTo>
                  <a:pt x="292" y="1709"/>
                </a:lnTo>
                <a:lnTo>
                  <a:pt x="300" y="1708"/>
                </a:lnTo>
                <a:lnTo>
                  <a:pt x="312" y="1710"/>
                </a:lnTo>
                <a:lnTo>
                  <a:pt x="323" y="1709"/>
                </a:lnTo>
                <a:lnTo>
                  <a:pt x="329" y="1703"/>
                </a:lnTo>
                <a:lnTo>
                  <a:pt x="328" y="1697"/>
                </a:lnTo>
                <a:lnTo>
                  <a:pt x="331" y="1697"/>
                </a:lnTo>
                <a:lnTo>
                  <a:pt x="335" y="1698"/>
                </a:lnTo>
                <a:lnTo>
                  <a:pt x="339" y="1709"/>
                </a:lnTo>
                <a:lnTo>
                  <a:pt x="333" y="1718"/>
                </a:lnTo>
                <a:close/>
                <a:moveTo>
                  <a:pt x="365" y="1631"/>
                </a:moveTo>
                <a:lnTo>
                  <a:pt x="362" y="1638"/>
                </a:lnTo>
                <a:lnTo>
                  <a:pt x="361" y="1647"/>
                </a:lnTo>
                <a:lnTo>
                  <a:pt x="359" y="1653"/>
                </a:lnTo>
                <a:lnTo>
                  <a:pt x="352" y="1654"/>
                </a:lnTo>
                <a:lnTo>
                  <a:pt x="348" y="1651"/>
                </a:lnTo>
                <a:lnTo>
                  <a:pt x="348" y="1646"/>
                </a:lnTo>
                <a:lnTo>
                  <a:pt x="350" y="1631"/>
                </a:lnTo>
                <a:lnTo>
                  <a:pt x="365" y="1631"/>
                </a:lnTo>
                <a:close/>
                <a:moveTo>
                  <a:pt x="244" y="1891"/>
                </a:moveTo>
                <a:lnTo>
                  <a:pt x="242" y="1895"/>
                </a:lnTo>
                <a:lnTo>
                  <a:pt x="241" y="1900"/>
                </a:lnTo>
                <a:lnTo>
                  <a:pt x="244" y="1900"/>
                </a:lnTo>
                <a:lnTo>
                  <a:pt x="247" y="1901"/>
                </a:lnTo>
                <a:lnTo>
                  <a:pt x="244" y="1900"/>
                </a:lnTo>
                <a:lnTo>
                  <a:pt x="241" y="1900"/>
                </a:lnTo>
                <a:lnTo>
                  <a:pt x="237" y="1902"/>
                </a:lnTo>
                <a:lnTo>
                  <a:pt x="231" y="1904"/>
                </a:lnTo>
                <a:lnTo>
                  <a:pt x="229" y="1904"/>
                </a:lnTo>
                <a:lnTo>
                  <a:pt x="226" y="1904"/>
                </a:lnTo>
                <a:lnTo>
                  <a:pt x="226" y="1895"/>
                </a:lnTo>
                <a:lnTo>
                  <a:pt x="226" y="1888"/>
                </a:lnTo>
                <a:lnTo>
                  <a:pt x="226" y="1882"/>
                </a:lnTo>
                <a:lnTo>
                  <a:pt x="229" y="1879"/>
                </a:lnTo>
                <a:lnTo>
                  <a:pt x="237" y="1879"/>
                </a:lnTo>
                <a:lnTo>
                  <a:pt x="243" y="1884"/>
                </a:lnTo>
                <a:lnTo>
                  <a:pt x="243" y="1888"/>
                </a:lnTo>
                <a:lnTo>
                  <a:pt x="244" y="1891"/>
                </a:lnTo>
                <a:lnTo>
                  <a:pt x="249" y="1894"/>
                </a:lnTo>
                <a:lnTo>
                  <a:pt x="254" y="1898"/>
                </a:lnTo>
                <a:lnTo>
                  <a:pt x="256" y="1899"/>
                </a:lnTo>
                <a:lnTo>
                  <a:pt x="257" y="1901"/>
                </a:lnTo>
                <a:lnTo>
                  <a:pt x="256" y="1899"/>
                </a:lnTo>
                <a:lnTo>
                  <a:pt x="254" y="1898"/>
                </a:lnTo>
                <a:lnTo>
                  <a:pt x="249" y="1894"/>
                </a:lnTo>
                <a:lnTo>
                  <a:pt x="244" y="1891"/>
                </a:lnTo>
                <a:close/>
                <a:moveTo>
                  <a:pt x="276" y="1922"/>
                </a:moveTo>
                <a:lnTo>
                  <a:pt x="276" y="1914"/>
                </a:lnTo>
                <a:lnTo>
                  <a:pt x="270" y="1910"/>
                </a:lnTo>
                <a:lnTo>
                  <a:pt x="270" y="1910"/>
                </a:lnTo>
                <a:lnTo>
                  <a:pt x="270" y="1908"/>
                </a:lnTo>
                <a:lnTo>
                  <a:pt x="270" y="1906"/>
                </a:lnTo>
                <a:lnTo>
                  <a:pt x="273" y="1895"/>
                </a:lnTo>
                <a:lnTo>
                  <a:pt x="274" y="1883"/>
                </a:lnTo>
                <a:lnTo>
                  <a:pt x="275" y="1879"/>
                </a:lnTo>
                <a:lnTo>
                  <a:pt x="278" y="1877"/>
                </a:lnTo>
                <a:lnTo>
                  <a:pt x="286" y="1878"/>
                </a:lnTo>
                <a:lnTo>
                  <a:pt x="287" y="1870"/>
                </a:lnTo>
                <a:lnTo>
                  <a:pt x="294" y="1864"/>
                </a:lnTo>
                <a:lnTo>
                  <a:pt x="300" y="1856"/>
                </a:lnTo>
                <a:lnTo>
                  <a:pt x="300" y="1849"/>
                </a:lnTo>
                <a:lnTo>
                  <a:pt x="300" y="1843"/>
                </a:lnTo>
                <a:lnTo>
                  <a:pt x="300" y="1849"/>
                </a:lnTo>
                <a:lnTo>
                  <a:pt x="300" y="1856"/>
                </a:lnTo>
                <a:lnTo>
                  <a:pt x="301" y="1856"/>
                </a:lnTo>
                <a:lnTo>
                  <a:pt x="302" y="1856"/>
                </a:lnTo>
                <a:lnTo>
                  <a:pt x="302" y="1854"/>
                </a:lnTo>
                <a:lnTo>
                  <a:pt x="302" y="1851"/>
                </a:lnTo>
                <a:lnTo>
                  <a:pt x="302" y="1854"/>
                </a:lnTo>
                <a:lnTo>
                  <a:pt x="302" y="1856"/>
                </a:lnTo>
                <a:lnTo>
                  <a:pt x="304" y="1861"/>
                </a:lnTo>
                <a:lnTo>
                  <a:pt x="307" y="1863"/>
                </a:lnTo>
                <a:lnTo>
                  <a:pt x="309" y="1861"/>
                </a:lnTo>
                <a:lnTo>
                  <a:pt x="309" y="1856"/>
                </a:lnTo>
                <a:lnTo>
                  <a:pt x="314" y="1858"/>
                </a:lnTo>
                <a:lnTo>
                  <a:pt x="317" y="1858"/>
                </a:lnTo>
                <a:lnTo>
                  <a:pt x="314" y="1875"/>
                </a:lnTo>
                <a:lnTo>
                  <a:pt x="312" y="1892"/>
                </a:lnTo>
                <a:lnTo>
                  <a:pt x="311" y="1902"/>
                </a:lnTo>
                <a:lnTo>
                  <a:pt x="301" y="1909"/>
                </a:lnTo>
                <a:lnTo>
                  <a:pt x="299" y="1911"/>
                </a:lnTo>
                <a:lnTo>
                  <a:pt x="299" y="1915"/>
                </a:lnTo>
                <a:lnTo>
                  <a:pt x="296" y="1925"/>
                </a:lnTo>
                <a:lnTo>
                  <a:pt x="288" y="1930"/>
                </a:lnTo>
                <a:lnTo>
                  <a:pt x="279" y="1929"/>
                </a:lnTo>
                <a:lnTo>
                  <a:pt x="276" y="1922"/>
                </a:lnTo>
                <a:close/>
                <a:moveTo>
                  <a:pt x="381" y="1802"/>
                </a:moveTo>
                <a:lnTo>
                  <a:pt x="373" y="1798"/>
                </a:lnTo>
                <a:lnTo>
                  <a:pt x="365" y="1791"/>
                </a:lnTo>
                <a:lnTo>
                  <a:pt x="359" y="1786"/>
                </a:lnTo>
                <a:lnTo>
                  <a:pt x="351" y="1788"/>
                </a:lnTo>
                <a:lnTo>
                  <a:pt x="350" y="1794"/>
                </a:lnTo>
                <a:lnTo>
                  <a:pt x="354" y="1801"/>
                </a:lnTo>
                <a:lnTo>
                  <a:pt x="363" y="1808"/>
                </a:lnTo>
                <a:lnTo>
                  <a:pt x="364" y="1816"/>
                </a:lnTo>
                <a:lnTo>
                  <a:pt x="355" y="1815"/>
                </a:lnTo>
                <a:lnTo>
                  <a:pt x="348" y="1806"/>
                </a:lnTo>
                <a:lnTo>
                  <a:pt x="342" y="1791"/>
                </a:lnTo>
                <a:lnTo>
                  <a:pt x="353" y="1781"/>
                </a:lnTo>
                <a:lnTo>
                  <a:pt x="358" y="1778"/>
                </a:lnTo>
                <a:lnTo>
                  <a:pt x="361" y="1775"/>
                </a:lnTo>
                <a:lnTo>
                  <a:pt x="367" y="1783"/>
                </a:lnTo>
                <a:lnTo>
                  <a:pt x="375" y="1789"/>
                </a:lnTo>
                <a:lnTo>
                  <a:pt x="379" y="1795"/>
                </a:lnTo>
                <a:lnTo>
                  <a:pt x="381" y="1802"/>
                </a:lnTo>
                <a:close/>
                <a:moveTo>
                  <a:pt x="376" y="1788"/>
                </a:moveTo>
                <a:lnTo>
                  <a:pt x="380" y="1788"/>
                </a:lnTo>
                <a:lnTo>
                  <a:pt x="385" y="1789"/>
                </a:lnTo>
                <a:lnTo>
                  <a:pt x="380" y="1788"/>
                </a:lnTo>
                <a:lnTo>
                  <a:pt x="376" y="1788"/>
                </a:lnTo>
                <a:close/>
                <a:moveTo>
                  <a:pt x="480" y="2019"/>
                </a:moveTo>
                <a:lnTo>
                  <a:pt x="478" y="2018"/>
                </a:lnTo>
                <a:lnTo>
                  <a:pt x="474" y="2017"/>
                </a:lnTo>
                <a:lnTo>
                  <a:pt x="478" y="2018"/>
                </a:lnTo>
                <a:lnTo>
                  <a:pt x="480" y="2019"/>
                </a:lnTo>
                <a:close/>
                <a:moveTo>
                  <a:pt x="485" y="2019"/>
                </a:moveTo>
                <a:lnTo>
                  <a:pt x="483" y="2019"/>
                </a:lnTo>
                <a:lnTo>
                  <a:pt x="481" y="2019"/>
                </a:lnTo>
                <a:lnTo>
                  <a:pt x="483" y="2019"/>
                </a:lnTo>
                <a:lnTo>
                  <a:pt x="485" y="2019"/>
                </a:lnTo>
                <a:close/>
                <a:moveTo>
                  <a:pt x="546" y="1931"/>
                </a:moveTo>
                <a:lnTo>
                  <a:pt x="546" y="1931"/>
                </a:lnTo>
                <a:lnTo>
                  <a:pt x="546" y="1931"/>
                </a:lnTo>
                <a:lnTo>
                  <a:pt x="546" y="1931"/>
                </a:lnTo>
                <a:close/>
                <a:moveTo>
                  <a:pt x="504" y="1981"/>
                </a:moveTo>
                <a:lnTo>
                  <a:pt x="519" y="1986"/>
                </a:lnTo>
                <a:lnTo>
                  <a:pt x="531" y="1997"/>
                </a:lnTo>
                <a:lnTo>
                  <a:pt x="534" y="2002"/>
                </a:lnTo>
                <a:lnTo>
                  <a:pt x="532" y="2009"/>
                </a:lnTo>
                <a:lnTo>
                  <a:pt x="533" y="2016"/>
                </a:lnTo>
                <a:lnTo>
                  <a:pt x="539" y="2019"/>
                </a:lnTo>
                <a:lnTo>
                  <a:pt x="514" y="2019"/>
                </a:lnTo>
                <a:lnTo>
                  <a:pt x="490" y="2019"/>
                </a:lnTo>
                <a:lnTo>
                  <a:pt x="487" y="2014"/>
                </a:lnTo>
                <a:lnTo>
                  <a:pt x="486" y="2009"/>
                </a:lnTo>
                <a:lnTo>
                  <a:pt x="485" y="2003"/>
                </a:lnTo>
                <a:lnTo>
                  <a:pt x="480" y="2002"/>
                </a:lnTo>
                <a:lnTo>
                  <a:pt x="464" y="1997"/>
                </a:lnTo>
                <a:lnTo>
                  <a:pt x="459" y="1981"/>
                </a:lnTo>
                <a:lnTo>
                  <a:pt x="459" y="1970"/>
                </a:lnTo>
                <a:lnTo>
                  <a:pt x="453" y="1959"/>
                </a:lnTo>
                <a:lnTo>
                  <a:pt x="454" y="1953"/>
                </a:lnTo>
                <a:lnTo>
                  <a:pt x="455" y="1946"/>
                </a:lnTo>
                <a:lnTo>
                  <a:pt x="463" y="1945"/>
                </a:lnTo>
                <a:lnTo>
                  <a:pt x="461" y="1937"/>
                </a:lnTo>
                <a:lnTo>
                  <a:pt x="463" y="1928"/>
                </a:lnTo>
                <a:lnTo>
                  <a:pt x="468" y="1920"/>
                </a:lnTo>
                <a:lnTo>
                  <a:pt x="471" y="1906"/>
                </a:lnTo>
                <a:lnTo>
                  <a:pt x="474" y="1891"/>
                </a:lnTo>
                <a:lnTo>
                  <a:pt x="475" y="1888"/>
                </a:lnTo>
                <a:lnTo>
                  <a:pt x="479" y="1885"/>
                </a:lnTo>
                <a:lnTo>
                  <a:pt x="483" y="1886"/>
                </a:lnTo>
                <a:lnTo>
                  <a:pt x="485" y="1890"/>
                </a:lnTo>
                <a:lnTo>
                  <a:pt x="491" y="1905"/>
                </a:lnTo>
                <a:lnTo>
                  <a:pt x="487" y="1921"/>
                </a:lnTo>
                <a:lnTo>
                  <a:pt x="486" y="1925"/>
                </a:lnTo>
                <a:lnTo>
                  <a:pt x="487" y="1928"/>
                </a:lnTo>
                <a:lnTo>
                  <a:pt x="495" y="1945"/>
                </a:lnTo>
                <a:lnTo>
                  <a:pt x="493" y="1963"/>
                </a:lnTo>
                <a:lnTo>
                  <a:pt x="505" y="1966"/>
                </a:lnTo>
                <a:lnTo>
                  <a:pt x="519" y="1961"/>
                </a:lnTo>
                <a:lnTo>
                  <a:pt x="525" y="1961"/>
                </a:lnTo>
                <a:lnTo>
                  <a:pt x="528" y="1967"/>
                </a:lnTo>
                <a:lnTo>
                  <a:pt x="528" y="1973"/>
                </a:lnTo>
                <a:lnTo>
                  <a:pt x="522" y="1976"/>
                </a:lnTo>
                <a:lnTo>
                  <a:pt x="513" y="1976"/>
                </a:lnTo>
                <a:lnTo>
                  <a:pt x="502" y="1977"/>
                </a:lnTo>
                <a:lnTo>
                  <a:pt x="503" y="1980"/>
                </a:lnTo>
                <a:lnTo>
                  <a:pt x="504" y="1981"/>
                </a:lnTo>
                <a:close/>
                <a:moveTo>
                  <a:pt x="519" y="1753"/>
                </a:moveTo>
                <a:lnTo>
                  <a:pt x="521" y="1757"/>
                </a:lnTo>
                <a:lnTo>
                  <a:pt x="524" y="1761"/>
                </a:lnTo>
                <a:lnTo>
                  <a:pt x="526" y="1768"/>
                </a:lnTo>
                <a:lnTo>
                  <a:pt x="519" y="1770"/>
                </a:lnTo>
                <a:lnTo>
                  <a:pt x="516" y="1774"/>
                </a:lnTo>
                <a:lnTo>
                  <a:pt x="512" y="1779"/>
                </a:lnTo>
                <a:lnTo>
                  <a:pt x="511" y="1770"/>
                </a:lnTo>
                <a:lnTo>
                  <a:pt x="512" y="1759"/>
                </a:lnTo>
                <a:lnTo>
                  <a:pt x="512" y="1737"/>
                </a:lnTo>
                <a:lnTo>
                  <a:pt x="495" y="1722"/>
                </a:lnTo>
                <a:lnTo>
                  <a:pt x="489" y="1718"/>
                </a:lnTo>
                <a:lnTo>
                  <a:pt x="483" y="1716"/>
                </a:lnTo>
                <a:lnTo>
                  <a:pt x="481" y="1712"/>
                </a:lnTo>
                <a:lnTo>
                  <a:pt x="483" y="1707"/>
                </a:lnTo>
                <a:lnTo>
                  <a:pt x="484" y="1701"/>
                </a:lnTo>
                <a:lnTo>
                  <a:pt x="480" y="1698"/>
                </a:lnTo>
                <a:lnTo>
                  <a:pt x="494" y="1695"/>
                </a:lnTo>
                <a:lnTo>
                  <a:pt x="509" y="1694"/>
                </a:lnTo>
                <a:lnTo>
                  <a:pt x="508" y="1692"/>
                </a:lnTo>
                <a:lnTo>
                  <a:pt x="508" y="1690"/>
                </a:lnTo>
                <a:lnTo>
                  <a:pt x="497" y="1691"/>
                </a:lnTo>
                <a:lnTo>
                  <a:pt x="485" y="1688"/>
                </a:lnTo>
                <a:lnTo>
                  <a:pt x="490" y="1686"/>
                </a:lnTo>
                <a:lnTo>
                  <a:pt x="496" y="1684"/>
                </a:lnTo>
                <a:lnTo>
                  <a:pt x="502" y="1687"/>
                </a:lnTo>
                <a:lnTo>
                  <a:pt x="508" y="1690"/>
                </a:lnTo>
                <a:lnTo>
                  <a:pt x="508" y="1692"/>
                </a:lnTo>
                <a:lnTo>
                  <a:pt x="509" y="1694"/>
                </a:lnTo>
                <a:lnTo>
                  <a:pt x="510" y="1693"/>
                </a:lnTo>
                <a:lnTo>
                  <a:pt x="511" y="1693"/>
                </a:lnTo>
                <a:lnTo>
                  <a:pt x="511" y="1693"/>
                </a:lnTo>
                <a:lnTo>
                  <a:pt x="520" y="1690"/>
                </a:lnTo>
                <a:lnTo>
                  <a:pt x="520" y="1680"/>
                </a:lnTo>
                <a:lnTo>
                  <a:pt x="531" y="1680"/>
                </a:lnTo>
                <a:lnTo>
                  <a:pt x="541" y="1678"/>
                </a:lnTo>
                <a:lnTo>
                  <a:pt x="537" y="1682"/>
                </a:lnTo>
                <a:lnTo>
                  <a:pt x="533" y="1684"/>
                </a:lnTo>
                <a:lnTo>
                  <a:pt x="536" y="1686"/>
                </a:lnTo>
                <a:lnTo>
                  <a:pt x="540" y="1685"/>
                </a:lnTo>
                <a:lnTo>
                  <a:pt x="554" y="1688"/>
                </a:lnTo>
                <a:lnTo>
                  <a:pt x="548" y="1701"/>
                </a:lnTo>
                <a:lnTo>
                  <a:pt x="548" y="1709"/>
                </a:lnTo>
                <a:lnTo>
                  <a:pt x="550" y="1716"/>
                </a:lnTo>
                <a:lnTo>
                  <a:pt x="548" y="1716"/>
                </a:lnTo>
                <a:lnTo>
                  <a:pt x="547" y="1716"/>
                </a:lnTo>
                <a:lnTo>
                  <a:pt x="541" y="1711"/>
                </a:lnTo>
                <a:lnTo>
                  <a:pt x="533" y="1710"/>
                </a:lnTo>
                <a:lnTo>
                  <a:pt x="528" y="1722"/>
                </a:lnTo>
                <a:lnTo>
                  <a:pt x="530" y="1737"/>
                </a:lnTo>
                <a:lnTo>
                  <a:pt x="532" y="1740"/>
                </a:lnTo>
                <a:lnTo>
                  <a:pt x="534" y="1742"/>
                </a:lnTo>
                <a:lnTo>
                  <a:pt x="535" y="1746"/>
                </a:lnTo>
                <a:lnTo>
                  <a:pt x="534" y="1749"/>
                </a:lnTo>
                <a:lnTo>
                  <a:pt x="530" y="1749"/>
                </a:lnTo>
                <a:lnTo>
                  <a:pt x="527" y="1746"/>
                </a:lnTo>
                <a:lnTo>
                  <a:pt x="525" y="1742"/>
                </a:lnTo>
                <a:lnTo>
                  <a:pt x="520" y="1742"/>
                </a:lnTo>
                <a:lnTo>
                  <a:pt x="517" y="1747"/>
                </a:lnTo>
                <a:lnTo>
                  <a:pt x="519" y="1753"/>
                </a:lnTo>
                <a:close/>
                <a:moveTo>
                  <a:pt x="547" y="1830"/>
                </a:moveTo>
                <a:lnTo>
                  <a:pt x="543" y="1833"/>
                </a:lnTo>
                <a:lnTo>
                  <a:pt x="537" y="1832"/>
                </a:lnTo>
                <a:lnTo>
                  <a:pt x="534" y="1830"/>
                </a:lnTo>
                <a:lnTo>
                  <a:pt x="533" y="1828"/>
                </a:lnTo>
                <a:lnTo>
                  <a:pt x="536" y="1822"/>
                </a:lnTo>
                <a:lnTo>
                  <a:pt x="542" y="1820"/>
                </a:lnTo>
                <a:lnTo>
                  <a:pt x="545" y="1819"/>
                </a:lnTo>
                <a:lnTo>
                  <a:pt x="548" y="1819"/>
                </a:lnTo>
                <a:lnTo>
                  <a:pt x="550" y="1825"/>
                </a:lnTo>
                <a:lnTo>
                  <a:pt x="547" y="1830"/>
                </a:lnTo>
                <a:close/>
                <a:moveTo>
                  <a:pt x="596" y="1783"/>
                </a:moveTo>
                <a:lnTo>
                  <a:pt x="596" y="1783"/>
                </a:lnTo>
                <a:lnTo>
                  <a:pt x="597" y="1783"/>
                </a:lnTo>
                <a:lnTo>
                  <a:pt x="601" y="1782"/>
                </a:lnTo>
                <a:lnTo>
                  <a:pt x="602" y="1778"/>
                </a:lnTo>
                <a:lnTo>
                  <a:pt x="601" y="1782"/>
                </a:lnTo>
                <a:lnTo>
                  <a:pt x="597" y="1783"/>
                </a:lnTo>
                <a:lnTo>
                  <a:pt x="596" y="1783"/>
                </a:lnTo>
                <a:lnTo>
                  <a:pt x="596" y="1783"/>
                </a:lnTo>
                <a:close/>
                <a:moveTo>
                  <a:pt x="694" y="1971"/>
                </a:moveTo>
                <a:lnTo>
                  <a:pt x="694" y="1972"/>
                </a:lnTo>
                <a:lnTo>
                  <a:pt x="693" y="1973"/>
                </a:lnTo>
                <a:lnTo>
                  <a:pt x="693" y="1972"/>
                </a:lnTo>
                <a:lnTo>
                  <a:pt x="692" y="1971"/>
                </a:lnTo>
                <a:lnTo>
                  <a:pt x="692" y="1970"/>
                </a:lnTo>
                <a:lnTo>
                  <a:pt x="693" y="1969"/>
                </a:lnTo>
                <a:lnTo>
                  <a:pt x="694" y="1970"/>
                </a:lnTo>
                <a:lnTo>
                  <a:pt x="694" y="1971"/>
                </a:lnTo>
                <a:close/>
                <a:moveTo>
                  <a:pt x="688" y="1867"/>
                </a:moveTo>
                <a:lnTo>
                  <a:pt x="687" y="1864"/>
                </a:lnTo>
                <a:lnTo>
                  <a:pt x="687" y="1861"/>
                </a:lnTo>
                <a:lnTo>
                  <a:pt x="694" y="1856"/>
                </a:lnTo>
                <a:lnTo>
                  <a:pt x="701" y="1856"/>
                </a:lnTo>
                <a:lnTo>
                  <a:pt x="703" y="1860"/>
                </a:lnTo>
                <a:lnTo>
                  <a:pt x="703" y="1864"/>
                </a:lnTo>
                <a:lnTo>
                  <a:pt x="696" y="1868"/>
                </a:lnTo>
                <a:lnTo>
                  <a:pt x="688" y="1867"/>
                </a:lnTo>
                <a:close/>
                <a:moveTo>
                  <a:pt x="724" y="1955"/>
                </a:moveTo>
                <a:lnTo>
                  <a:pt x="724" y="1954"/>
                </a:lnTo>
                <a:lnTo>
                  <a:pt x="724" y="1954"/>
                </a:lnTo>
                <a:lnTo>
                  <a:pt x="724" y="1953"/>
                </a:lnTo>
                <a:lnTo>
                  <a:pt x="724" y="1953"/>
                </a:lnTo>
                <a:lnTo>
                  <a:pt x="724" y="1953"/>
                </a:lnTo>
                <a:lnTo>
                  <a:pt x="724" y="1954"/>
                </a:lnTo>
                <a:lnTo>
                  <a:pt x="724" y="1954"/>
                </a:lnTo>
                <a:lnTo>
                  <a:pt x="724" y="1955"/>
                </a:lnTo>
                <a:close/>
                <a:moveTo>
                  <a:pt x="786" y="1915"/>
                </a:moveTo>
                <a:lnTo>
                  <a:pt x="782" y="1938"/>
                </a:lnTo>
                <a:lnTo>
                  <a:pt x="783" y="1960"/>
                </a:lnTo>
                <a:lnTo>
                  <a:pt x="775" y="1954"/>
                </a:lnTo>
                <a:lnTo>
                  <a:pt x="774" y="1942"/>
                </a:lnTo>
                <a:lnTo>
                  <a:pt x="776" y="1907"/>
                </a:lnTo>
                <a:lnTo>
                  <a:pt x="777" y="1873"/>
                </a:lnTo>
                <a:lnTo>
                  <a:pt x="773" y="1859"/>
                </a:lnTo>
                <a:lnTo>
                  <a:pt x="779" y="1847"/>
                </a:lnTo>
                <a:lnTo>
                  <a:pt x="786" y="1847"/>
                </a:lnTo>
                <a:lnTo>
                  <a:pt x="791" y="1847"/>
                </a:lnTo>
                <a:lnTo>
                  <a:pt x="791" y="1847"/>
                </a:lnTo>
                <a:lnTo>
                  <a:pt x="792" y="1847"/>
                </a:lnTo>
                <a:lnTo>
                  <a:pt x="791" y="1847"/>
                </a:lnTo>
                <a:lnTo>
                  <a:pt x="791" y="1847"/>
                </a:lnTo>
                <a:lnTo>
                  <a:pt x="793" y="1848"/>
                </a:lnTo>
                <a:lnTo>
                  <a:pt x="796" y="1849"/>
                </a:lnTo>
                <a:lnTo>
                  <a:pt x="796" y="1852"/>
                </a:lnTo>
                <a:lnTo>
                  <a:pt x="796" y="1855"/>
                </a:lnTo>
                <a:lnTo>
                  <a:pt x="796" y="1856"/>
                </a:lnTo>
                <a:lnTo>
                  <a:pt x="794" y="1858"/>
                </a:lnTo>
                <a:lnTo>
                  <a:pt x="788" y="1885"/>
                </a:lnTo>
                <a:lnTo>
                  <a:pt x="786" y="1915"/>
                </a:lnTo>
                <a:close/>
                <a:moveTo>
                  <a:pt x="1039" y="1685"/>
                </a:moveTo>
                <a:lnTo>
                  <a:pt x="1031" y="1687"/>
                </a:lnTo>
                <a:lnTo>
                  <a:pt x="1024" y="1687"/>
                </a:lnTo>
                <a:lnTo>
                  <a:pt x="1016" y="1687"/>
                </a:lnTo>
                <a:lnTo>
                  <a:pt x="1010" y="1686"/>
                </a:lnTo>
                <a:lnTo>
                  <a:pt x="1009" y="1685"/>
                </a:lnTo>
                <a:lnTo>
                  <a:pt x="1007" y="1683"/>
                </a:lnTo>
                <a:lnTo>
                  <a:pt x="1007" y="1683"/>
                </a:lnTo>
                <a:lnTo>
                  <a:pt x="1009" y="1682"/>
                </a:lnTo>
                <a:lnTo>
                  <a:pt x="1011" y="1679"/>
                </a:lnTo>
                <a:lnTo>
                  <a:pt x="1012" y="1677"/>
                </a:lnTo>
                <a:lnTo>
                  <a:pt x="1013" y="1677"/>
                </a:lnTo>
                <a:lnTo>
                  <a:pt x="1014" y="1677"/>
                </a:lnTo>
                <a:lnTo>
                  <a:pt x="1013" y="1677"/>
                </a:lnTo>
                <a:lnTo>
                  <a:pt x="1012" y="1677"/>
                </a:lnTo>
                <a:lnTo>
                  <a:pt x="1011" y="1679"/>
                </a:lnTo>
                <a:lnTo>
                  <a:pt x="1009" y="1682"/>
                </a:lnTo>
                <a:lnTo>
                  <a:pt x="1017" y="1683"/>
                </a:lnTo>
                <a:lnTo>
                  <a:pt x="1025" y="1679"/>
                </a:lnTo>
                <a:lnTo>
                  <a:pt x="1028" y="1679"/>
                </a:lnTo>
                <a:lnTo>
                  <a:pt x="1031" y="1679"/>
                </a:lnTo>
                <a:lnTo>
                  <a:pt x="1034" y="1682"/>
                </a:lnTo>
                <a:lnTo>
                  <a:pt x="1039" y="1685"/>
                </a:lnTo>
                <a:close/>
                <a:moveTo>
                  <a:pt x="1461" y="1850"/>
                </a:moveTo>
                <a:lnTo>
                  <a:pt x="1461" y="1850"/>
                </a:lnTo>
                <a:lnTo>
                  <a:pt x="1458" y="1850"/>
                </a:lnTo>
                <a:lnTo>
                  <a:pt x="1456" y="1851"/>
                </a:lnTo>
                <a:lnTo>
                  <a:pt x="1458" y="1850"/>
                </a:lnTo>
                <a:lnTo>
                  <a:pt x="1461" y="1850"/>
                </a:lnTo>
                <a:close/>
                <a:moveTo>
                  <a:pt x="1490" y="1886"/>
                </a:moveTo>
                <a:lnTo>
                  <a:pt x="1484" y="1892"/>
                </a:lnTo>
                <a:lnTo>
                  <a:pt x="1476" y="1895"/>
                </a:lnTo>
                <a:lnTo>
                  <a:pt x="1472" y="1892"/>
                </a:lnTo>
                <a:lnTo>
                  <a:pt x="1472" y="1886"/>
                </a:lnTo>
                <a:lnTo>
                  <a:pt x="1472" y="1883"/>
                </a:lnTo>
                <a:lnTo>
                  <a:pt x="1471" y="1879"/>
                </a:lnTo>
                <a:lnTo>
                  <a:pt x="1469" y="1886"/>
                </a:lnTo>
                <a:lnTo>
                  <a:pt x="1465" y="1895"/>
                </a:lnTo>
                <a:lnTo>
                  <a:pt x="1464" y="1883"/>
                </a:lnTo>
                <a:lnTo>
                  <a:pt x="1467" y="1875"/>
                </a:lnTo>
                <a:lnTo>
                  <a:pt x="1476" y="1873"/>
                </a:lnTo>
                <a:lnTo>
                  <a:pt x="1487" y="1877"/>
                </a:lnTo>
                <a:lnTo>
                  <a:pt x="1490" y="1881"/>
                </a:lnTo>
                <a:lnTo>
                  <a:pt x="1490" y="1886"/>
                </a:lnTo>
                <a:close/>
                <a:moveTo>
                  <a:pt x="1516" y="1670"/>
                </a:moveTo>
                <a:lnTo>
                  <a:pt x="1507" y="1664"/>
                </a:lnTo>
                <a:lnTo>
                  <a:pt x="1498" y="1662"/>
                </a:lnTo>
                <a:lnTo>
                  <a:pt x="1485" y="1654"/>
                </a:lnTo>
                <a:lnTo>
                  <a:pt x="1471" y="1651"/>
                </a:lnTo>
                <a:lnTo>
                  <a:pt x="1485" y="1654"/>
                </a:lnTo>
                <a:lnTo>
                  <a:pt x="1498" y="1662"/>
                </a:lnTo>
                <a:lnTo>
                  <a:pt x="1498" y="1661"/>
                </a:lnTo>
                <a:lnTo>
                  <a:pt x="1498" y="1660"/>
                </a:lnTo>
                <a:lnTo>
                  <a:pt x="1497" y="1659"/>
                </a:lnTo>
                <a:lnTo>
                  <a:pt x="1496" y="1657"/>
                </a:lnTo>
                <a:lnTo>
                  <a:pt x="1497" y="1659"/>
                </a:lnTo>
                <a:lnTo>
                  <a:pt x="1498" y="1660"/>
                </a:lnTo>
                <a:lnTo>
                  <a:pt x="1500" y="1660"/>
                </a:lnTo>
                <a:lnTo>
                  <a:pt x="1502" y="1660"/>
                </a:lnTo>
                <a:lnTo>
                  <a:pt x="1509" y="1657"/>
                </a:lnTo>
                <a:lnTo>
                  <a:pt x="1515" y="1654"/>
                </a:lnTo>
                <a:lnTo>
                  <a:pt x="1516" y="1662"/>
                </a:lnTo>
                <a:lnTo>
                  <a:pt x="1516" y="1670"/>
                </a:lnTo>
                <a:close/>
                <a:moveTo>
                  <a:pt x="1659" y="1677"/>
                </a:moveTo>
                <a:lnTo>
                  <a:pt x="1656" y="1669"/>
                </a:lnTo>
                <a:lnTo>
                  <a:pt x="1649" y="1670"/>
                </a:lnTo>
                <a:lnTo>
                  <a:pt x="1651" y="1661"/>
                </a:lnTo>
                <a:lnTo>
                  <a:pt x="1657" y="1654"/>
                </a:lnTo>
                <a:lnTo>
                  <a:pt x="1658" y="1652"/>
                </a:lnTo>
                <a:lnTo>
                  <a:pt x="1661" y="1650"/>
                </a:lnTo>
                <a:lnTo>
                  <a:pt x="1662" y="1652"/>
                </a:lnTo>
                <a:lnTo>
                  <a:pt x="1664" y="1654"/>
                </a:lnTo>
                <a:lnTo>
                  <a:pt x="1661" y="1654"/>
                </a:lnTo>
                <a:lnTo>
                  <a:pt x="1657" y="1654"/>
                </a:lnTo>
                <a:lnTo>
                  <a:pt x="1664" y="1665"/>
                </a:lnTo>
                <a:lnTo>
                  <a:pt x="1659" y="1677"/>
                </a:lnTo>
                <a:close/>
                <a:moveTo>
                  <a:pt x="1752" y="1945"/>
                </a:moveTo>
                <a:lnTo>
                  <a:pt x="1758" y="1944"/>
                </a:lnTo>
                <a:lnTo>
                  <a:pt x="1764" y="1945"/>
                </a:lnTo>
                <a:lnTo>
                  <a:pt x="1767" y="1945"/>
                </a:lnTo>
                <a:lnTo>
                  <a:pt x="1768" y="1946"/>
                </a:lnTo>
                <a:lnTo>
                  <a:pt x="1765" y="1955"/>
                </a:lnTo>
                <a:lnTo>
                  <a:pt x="1767" y="1962"/>
                </a:lnTo>
                <a:lnTo>
                  <a:pt x="1763" y="1962"/>
                </a:lnTo>
                <a:lnTo>
                  <a:pt x="1761" y="1961"/>
                </a:lnTo>
                <a:lnTo>
                  <a:pt x="1760" y="1961"/>
                </a:lnTo>
                <a:lnTo>
                  <a:pt x="1760" y="1962"/>
                </a:lnTo>
                <a:lnTo>
                  <a:pt x="1758" y="1962"/>
                </a:lnTo>
                <a:lnTo>
                  <a:pt x="1757" y="1962"/>
                </a:lnTo>
                <a:lnTo>
                  <a:pt x="1758" y="1962"/>
                </a:lnTo>
                <a:lnTo>
                  <a:pt x="1760" y="1962"/>
                </a:lnTo>
                <a:lnTo>
                  <a:pt x="1760" y="1961"/>
                </a:lnTo>
                <a:lnTo>
                  <a:pt x="1761" y="1961"/>
                </a:lnTo>
                <a:lnTo>
                  <a:pt x="1759" y="1957"/>
                </a:lnTo>
                <a:lnTo>
                  <a:pt x="1754" y="1957"/>
                </a:lnTo>
                <a:lnTo>
                  <a:pt x="1754" y="1957"/>
                </a:lnTo>
                <a:lnTo>
                  <a:pt x="1752" y="1951"/>
                </a:lnTo>
                <a:lnTo>
                  <a:pt x="1752" y="1945"/>
                </a:lnTo>
                <a:close/>
                <a:moveTo>
                  <a:pt x="1771" y="1973"/>
                </a:moveTo>
                <a:lnTo>
                  <a:pt x="1770" y="1973"/>
                </a:lnTo>
                <a:lnTo>
                  <a:pt x="1769" y="1973"/>
                </a:lnTo>
                <a:lnTo>
                  <a:pt x="1769" y="1973"/>
                </a:lnTo>
                <a:lnTo>
                  <a:pt x="1768" y="1973"/>
                </a:lnTo>
                <a:lnTo>
                  <a:pt x="1769" y="1973"/>
                </a:lnTo>
                <a:lnTo>
                  <a:pt x="1769" y="1973"/>
                </a:lnTo>
                <a:lnTo>
                  <a:pt x="1770" y="1973"/>
                </a:lnTo>
                <a:lnTo>
                  <a:pt x="1771" y="1973"/>
                </a:lnTo>
                <a:close/>
                <a:moveTo>
                  <a:pt x="1761" y="1970"/>
                </a:moveTo>
                <a:lnTo>
                  <a:pt x="1763" y="1972"/>
                </a:lnTo>
                <a:lnTo>
                  <a:pt x="1767" y="1972"/>
                </a:lnTo>
                <a:lnTo>
                  <a:pt x="1763" y="1972"/>
                </a:lnTo>
                <a:lnTo>
                  <a:pt x="1761" y="1970"/>
                </a:lnTo>
                <a:close/>
                <a:moveTo>
                  <a:pt x="1859" y="1915"/>
                </a:moveTo>
                <a:lnTo>
                  <a:pt x="1859" y="1915"/>
                </a:lnTo>
                <a:lnTo>
                  <a:pt x="1858" y="1916"/>
                </a:lnTo>
                <a:lnTo>
                  <a:pt x="1858" y="1915"/>
                </a:lnTo>
                <a:lnTo>
                  <a:pt x="1859" y="1915"/>
                </a:lnTo>
                <a:close/>
                <a:moveTo>
                  <a:pt x="1850" y="1833"/>
                </a:moveTo>
                <a:lnTo>
                  <a:pt x="1848" y="1831"/>
                </a:lnTo>
                <a:lnTo>
                  <a:pt x="1847" y="1827"/>
                </a:lnTo>
                <a:lnTo>
                  <a:pt x="1849" y="1821"/>
                </a:lnTo>
                <a:lnTo>
                  <a:pt x="1853" y="1818"/>
                </a:lnTo>
                <a:lnTo>
                  <a:pt x="1861" y="1816"/>
                </a:lnTo>
                <a:lnTo>
                  <a:pt x="1868" y="1814"/>
                </a:lnTo>
                <a:lnTo>
                  <a:pt x="1869" y="1820"/>
                </a:lnTo>
                <a:lnTo>
                  <a:pt x="1876" y="1822"/>
                </a:lnTo>
                <a:lnTo>
                  <a:pt x="1891" y="1821"/>
                </a:lnTo>
                <a:lnTo>
                  <a:pt x="1907" y="1821"/>
                </a:lnTo>
                <a:lnTo>
                  <a:pt x="1904" y="1814"/>
                </a:lnTo>
                <a:lnTo>
                  <a:pt x="1900" y="1805"/>
                </a:lnTo>
                <a:lnTo>
                  <a:pt x="1899" y="1805"/>
                </a:lnTo>
                <a:lnTo>
                  <a:pt x="1897" y="1805"/>
                </a:lnTo>
                <a:lnTo>
                  <a:pt x="1886" y="1804"/>
                </a:lnTo>
                <a:lnTo>
                  <a:pt x="1878" y="1809"/>
                </a:lnTo>
                <a:lnTo>
                  <a:pt x="1874" y="1807"/>
                </a:lnTo>
                <a:lnTo>
                  <a:pt x="1868" y="1807"/>
                </a:lnTo>
                <a:lnTo>
                  <a:pt x="1862" y="1800"/>
                </a:lnTo>
                <a:lnTo>
                  <a:pt x="1861" y="1789"/>
                </a:lnTo>
                <a:lnTo>
                  <a:pt x="1884" y="1789"/>
                </a:lnTo>
                <a:lnTo>
                  <a:pt x="1907" y="1799"/>
                </a:lnTo>
                <a:lnTo>
                  <a:pt x="1905" y="1803"/>
                </a:lnTo>
                <a:lnTo>
                  <a:pt x="1900" y="1805"/>
                </a:lnTo>
                <a:lnTo>
                  <a:pt x="1904" y="1814"/>
                </a:lnTo>
                <a:lnTo>
                  <a:pt x="1907" y="1821"/>
                </a:lnTo>
                <a:lnTo>
                  <a:pt x="1907" y="1828"/>
                </a:lnTo>
                <a:lnTo>
                  <a:pt x="1907" y="1834"/>
                </a:lnTo>
                <a:lnTo>
                  <a:pt x="1911" y="1835"/>
                </a:lnTo>
                <a:lnTo>
                  <a:pt x="1915" y="1835"/>
                </a:lnTo>
                <a:lnTo>
                  <a:pt x="1911" y="1835"/>
                </a:lnTo>
                <a:lnTo>
                  <a:pt x="1907" y="1834"/>
                </a:lnTo>
                <a:lnTo>
                  <a:pt x="1888" y="1836"/>
                </a:lnTo>
                <a:lnTo>
                  <a:pt x="1868" y="1837"/>
                </a:lnTo>
                <a:lnTo>
                  <a:pt x="1859" y="1835"/>
                </a:lnTo>
                <a:lnTo>
                  <a:pt x="1850" y="1833"/>
                </a:lnTo>
                <a:close/>
                <a:moveTo>
                  <a:pt x="1940" y="1833"/>
                </a:moveTo>
                <a:lnTo>
                  <a:pt x="1935" y="1835"/>
                </a:lnTo>
                <a:lnTo>
                  <a:pt x="1929" y="1832"/>
                </a:lnTo>
                <a:lnTo>
                  <a:pt x="1930" y="1828"/>
                </a:lnTo>
                <a:lnTo>
                  <a:pt x="1931" y="1822"/>
                </a:lnTo>
                <a:lnTo>
                  <a:pt x="1939" y="1827"/>
                </a:lnTo>
                <a:lnTo>
                  <a:pt x="1940" y="1833"/>
                </a:lnTo>
                <a:close/>
                <a:moveTo>
                  <a:pt x="801" y="1030"/>
                </a:moveTo>
                <a:lnTo>
                  <a:pt x="801" y="1050"/>
                </a:lnTo>
                <a:lnTo>
                  <a:pt x="791" y="1066"/>
                </a:lnTo>
                <a:lnTo>
                  <a:pt x="796" y="1067"/>
                </a:lnTo>
                <a:lnTo>
                  <a:pt x="799" y="1068"/>
                </a:lnTo>
                <a:lnTo>
                  <a:pt x="800" y="1068"/>
                </a:lnTo>
                <a:lnTo>
                  <a:pt x="801" y="1067"/>
                </a:lnTo>
                <a:lnTo>
                  <a:pt x="801" y="1067"/>
                </a:lnTo>
                <a:lnTo>
                  <a:pt x="800" y="1068"/>
                </a:lnTo>
                <a:lnTo>
                  <a:pt x="799" y="1068"/>
                </a:lnTo>
                <a:lnTo>
                  <a:pt x="801" y="1078"/>
                </a:lnTo>
                <a:lnTo>
                  <a:pt x="801" y="1087"/>
                </a:lnTo>
                <a:lnTo>
                  <a:pt x="791" y="1091"/>
                </a:lnTo>
                <a:lnTo>
                  <a:pt x="781" y="1091"/>
                </a:lnTo>
                <a:lnTo>
                  <a:pt x="782" y="1095"/>
                </a:lnTo>
                <a:lnTo>
                  <a:pt x="784" y="1097"/>
                </a:lnTo>
                <a:lnTo>
                  <a:pt x="785" y="1097"/>
                </a:lnTo>
                <a:lnTo>
                  <a:pt x="786" y="1097"/>
                </a:lnTo>
                <a:lnTo>
                  <a:pt x="786" y="1098"/>
                </a:lnTo>
                <a:lnTo>
                  <a:pt x="787" y="1098"/>
                </a:lnTo>
                <a:lnTo>
                  <a:pt x="786" y="1098"/>
                </a:lnTo>
                <a:lnTo>
                  <a:pt x="786" y="1097"/>
                </a:lnTo>
                <a:lnTo>
                  <a:pt x="785" y="1097"/>
                </a:lnTo>
                <a:lnTo>
                  <a:pt x="784" y="1097"/>
                </a:lnTo>
                <a:lnTo>
                  <a:pt x="782" y="1095"/>
                </a:lnTo>
                <a:lnTo>
                  <a:pt x="781" y="1091"/>
                </a:lnTo>
                <a:lnTo>
                  <a:pt x="783" y="1071"/>
                </a:lnTo>
                <a:lnTo>
                  <a:pt x="787" y="1052"/>
                </a:lnTo>
                <a:lnTo>
                  <a:pt x="789" y="1042"/>
                </a:lnTo>
                <a:lnTo>
                  <a:pt x="791" y="1033"/>
                </a:lnTo>
                <a:lnTo>
                  <a:pt x="796" y="1032"/>
                </a:lnTo>
                <a:lnTo>
                  <a:pt x="801" y="1030"/>
                </a:lnTo>
                <a:close/>
                <a:moveTo>
                  <a:pt x="808" y="1071"/>
                </a:moveTo>
                <a:lnTo>
                  <a:pt x="808" y="1070"/>
                </a:lnTo>
                <a:lnTo>
                  <a:pt x="808" y="1068"/>
                </a:lnTo>
                <a:lnTo>
                  <a:pt x="813" y="1067"/>
                </a:lnTo>
                <a:lnTo>
                  <a:pt x="817" y="1069"/>
                </a:lnTo>
                <a:lnTo>
                  <a:pt x="817" y="1069"/>
                </a:lnTo>
                <a:lnTo>
                  <a:pt x="815" y="1072"/>
                </a:lnTo>
                <a:lnTo>
                  <a:pt x="814" y="1073"/>
                </a:lnTo>
                <a:lnTo>
                  <a:pt x="814" y="1079"/>
                </a:lnTo>
                <a:lnTo>
                  <a:pt x="810" y="1082"/>
                </a:lnTo>
                <a:lnTo>
                  <a:pt x="807" y="1078"/>
                </a:lnTo>
                <a:lnTo>
                  <a:pt x="808" y="1071"/>
                </a:lnTo>
                <a:close/>
                <a:moveTo>
                  <a:pt x="822" y="1064"/>
                </a:moveTo>
                <a:lnTo>
                  <a:pt x="820" y="1067"/>
                </a:lnTo>
                <a:lnTo>
                  <a:pt x="818" y="1069"/>
                </a:lnTo>
                <a:lnTo>
                  <a:pt x="820" y="1067"/>
                </a:lnTo>
                <a:lnTo>
                  <a:pt x="822" y="1064"/>
                </a:lnTo>
                <a:close/>
                <a:moveTo>
                  <a:pt x="1017" y="1078"/>
                </a:moveTo>
                <a:lnTo>
                  <a:pt x="1020" y="1070"/>
                </a:lnTo>
                <a:lnTo>
                  <a:pt x="1028" y="1069"/>
                </a:lnTo>
                <a:lnTo>
                  <a:pt x="1031" y="1075"/>
                </a:lnTo>
                <a:lnTo>
                  <a:pt x="1030" y="1082"/>
                </a:lnTo>
                <a:lnTo>
                  <a:pt x="1024" y="1084"/>
                </a:lnTo>
                <a:lnTo>
                  <a:pt x="1017" y="1081"/>
                </a:lnTo>
                <a:lnTo>
                  <a:pt x="1017" y="1081"/>
                </a:lnTo>
                <a:lnTo>
                  <a:pt x="1017" y="1079"/>
                </a:lnTo>
                <a:lnTo>
                  <a:pt x="1017" y="1078"/>
                </a:lnTo>
                <a:lnTo>
                  <a:pt x="1004" y="1078"/>
                </a:lnTo>
                <a:lnTo>
                  <a:pt x="992" y="1079"/>
                </a:lnTo>
                <a:lnTo>
                  <a:pt x="1004" y="1078"/>
                </a:lnTo>
                <a:lnTo>
                  <a:pt x="1017" y="1078"/>
                </a:lnTo>
                <a:close/>
                <a:moveTo>
                  <a:pt x="1015" y="1084"/>
                </a:moveTo>
                <a:lnTo>
                  <a:pt x="1016" y="1083"/>
                </a:lnTo>
                <a:lnTo>
                  <a:pt x="1016" y="1082"/>
                </a:lnTo>
                <a:lnTo>
                  <a:pt x="1016" y="1083"/>
                </a:lnTo>
                <a:lnTo>
                  <a:pt x="1015" y="1084"/>
                </a:lnTo>
                <a:close/>
                <a:moveTo>
                  <a:pt x="1003" y="1192"/>
                </a:moveTo>
                <a:lnTo>
                  <a:pt x="1007" y="1205"/>
                </a:lnTo>
                <a:lnTo>
                  <a:pt x="1012" y="1217"/>
                </a:lnTo>
                <a:lnTo>
                  <a:pt x="1007" y="1232"/>
                </a:lnTo>
                <a:lnTo>
                  <a:pt x="989" y="1233"/>
                </a:lnTo>
                <a:lnTo>
                  <a:pt x="998" y="1231"/>
                </a:lnTo>
                <a:lnTo>
                  <a:pt x="1000" y="1221"/>
                </a:lnTo>
                <a:lnTo>
                  <a:pt x="997" y="1205"/>
                </a:lnTo>
                <a:lnTo>
                  <a:pt x="991" y="1189"/>
                </a:lnTo>
                <a:lnTo>
                  <a:pt x="998" y="1187"/>
                </a:lnTo>
                <a:lnTo>
                  <a:pt x="1003" y="1192"/>
                </a:lnTo>
                <a:close/>
                <a:moveTo>
                  <a:pt x="989" y="1233"/>
                </a:moveTo>
                <a:lnTo>
                  <a:pt x="987" y="1233"/>
                </a:lnTo>
                <a:lnTo>
                  <a:pt x="986" y="1234"/>
                </a:lnTo>
                <a:lnTo>
                  <a:pt x="987" y="1233"/>
                </a:lnTo>
                <a:lnTo>
                  <a:pt x="989" y="1233"/>
                </a:lnTo>
                <a:close/>
                <a:moveTo>
                  <a:pt x="837" y="1186"/>
                </a:moveTo>
                <a:lnTo>
                  <a:pt x="837" y="1186"/>
                </a:lnTo>
                <a:lnTo>
                  <a:pt x="837" y="1186"/>
                </a:lnTo>
                <a:lnTo>
                  <a:pt x="835" y="1183"/>
                </a:lnTo>
                <a:lnTo>
                  <a:pt x="837" y="1180"/>
                </a:lnTo>
                <a:lnTo>
                  <a:pt x="838" y="1179"/>
                </a:lnTo>
                <a:lnTo>
                  <a:pt x="839" y="1179"/>
                </a:lnTo>
                <a:lnTo>
                  <a:pt x="839" y="1181"/>
                </a:lnTo>
                <a:lnTo>
                  <a:pt x="840" y="1183"/>
                </a:lnTo>
                <a:lnTo>
                  <a:pt x="839" y="1185"/>
                </a:lnTo>
                <a:lnTo>
                  <a:pt x="837" y="1186"/>
                </a:lnTo>
                <a:close/>
                <a:moveTo>
                  <a:pt x="833" y="1167"/>
                </a:moveTo>
                <a:lnTo>
                  <a:pt x="829" y="1165"/>
                </a:lnTo>
                <a:lnTo>
                  <a:pt x="829" y="1162"/>
                </a:lnTo>
                <a:lnTo>
                  <a:pt x="827" y="1156"/>
                </a:lnTo>
                <a:lnTo>
                  <a:pt x="828" y="1149"/>
                </a:lnTo>
                <a:lnTo>
                  <a:pt x="831" y="1148"/>
                </a:lnTo>
                <a:lnTo>
                  <a:pt x="833" y="1149"/>
                </a:lnTo>
                <a:lnTo>
                  <a:pt x="836" y="1157"/>
                </a:lnTo>
                <a:lnTo>
                  <a:pt x="835" y="1164"/>
                </a:lnTo>
                <a:lnTo>
                  <a:pt x="834" y="1166"/>
                </a:lnTo>
                <a:lnTo>
                  <a:pt x="833" y="1167"/>
                </a:lnTo>
                <a:close/>
                <a:moveTo>
                  <a:pt x="822" y="1205"/>
                </a:moveTo>
                <a:lnTo>
                  <a:pt x="822" y="1190"/>
                </a:lnTo>
                <a:lnTo>
                  <a:pt x="828" y="1175"/>
                </a:lnTo>
                <a:lnTo>
                  <a:pt x="828" y="1191"/>
                </a:lnTo>
                <a:lnTo>
                  <a:pt x="822" y="1205"/>
                </a:lnTo>
                <a:close/>
                <a:moveTo>
                  <a:pt x="772" y="1101"/>
                </a:moveTo>
                <a:lnTo>
                  <a:pt x="769" y="1101"/>
                </a:lnTo>
                <a:lnTo>
                  <a:pt x="766" y="1101"/>
                </a:lnTo>
                <a:lnTo>
                  <a:pt x="763" y="1103"/>
                </a:lnTo>
                <a:lnTo>
                  <a:pt x="760" y="1103"/>
                </a:lnTo>
                <a:lnTo>
                  <a:pt x="758" y="1091"/>
                </a:lnTo>
                <a:lnTo>
                  <a:pt x="759" y="1079"/>
                </a:lnTo>
                <a:lnTo>
                  <a:pt x="761" y="1075"/>
                </a:lnTo>
                <a:lnTo>
                  <a:pt x="764" y="1073"/>
                </a:lnTo>
                <a:lnTo>
                  <a:pt x="768" y="1076"/>
                </a:lnTo>
                <a:lnTo>
                  <a:pt x="768" y="1081"/>
                </a:lnTo>
                <a:lnTo>
                  <a:pt x="767" y="1090"/>
                </a:lnTo>
                <a:lnTo>
                  <a:pt x="766" y="1101"/>
                </a:lnTo>
                <a:lnTo>
                  <a:pt x="769" y="1101"/>
                </a:lnTo>
                <a:lnTo>
                  <a:pt x="772" y="1101"/>
                </a:lnTo>
                <a:close/>
                <a:moveTo>
                  <a:pt x="1107" y="1012"/>
                </a:moveTo>
                <a:lnTo>
                  <a:pt x="1108" y="1012"/>
                </a:lnTo>
                <a:lnTo>
                  <a:pt x="1109" y="1012"/>
                </a:lnTo>
                <a:lnTo>
                  <a:pt x="1108" y="1012"/>
                </a:lnTo>
                <a:lnTo>
                  <a:pt x="1107" y="1012"/>
                </a:lnTo>
                <a:close/>
                <a:moveTo>
                  <a:pt x="1103" y="1015"/>
                </a:moveTo>
                <a:lnTo>
                  <a:pt x="1104" y="1014"/>
                </a:lnTo>
                <a:lnTo>
                  <a:pt x="1105" y="1013"/>
                </a:lnTo>
                <a:lnTo>
                  <a:pt x="1104" y="1014"/>
                </a:lnTo>
                <a:lnTo>
                  <a:pt x="1103" y="1015"/>
                </a:lnTo>
                <a:close/>
                <a:moveTo>
                  <a:pt x="1420" y="972"/>
                </a:moveTo>
                <a:lnTo>
                  <a:pt x="1421" y="975"/>
                </a:lnTo>
                <a:lnTo>
                  <a:pt x="1423" y="977"/>
                </a:lnTo>
                <a:lnTo>
                  <a:pt x="1421" y="975"/>
                </a:lnTo>
                <a:lnTo>
                  <a:pt x="1420" y="972"/>
                </a:lnTo>
                <a:lnTo>
                  <a:pt x="1419" y="973"/>
                </a:lnTo>
                <a:lnTo>
                  <a:pt x="1418" y="974"/>
                </a:lnTo>
                <a:lnTo>
                  <a:pt x="1419" y="973"/>
                </a:lnTo>
                <a:lnTo>
                  <a:pt x="1420" y="972"/>
                </a:lnTo>
                <a:lnTo>
                  <a:pt x="1416" y="967"/>
                </a:lnTo>
                <a:lnTo>
                  <a:pt x="1412" y="964"/>
                </a:lnTo>
                <a:lnTo>
                  <a:pt x="1416" y="967"/>
                </a:lnTo>
                <a:lnTo>
                  <a:pt x="1420" y="972"/>
                </a:lnTo>
                <a:close/>
                <a:moveTo>
                  <a:pt x="1505" y="1081"/>
                </a:moveTo>
                <a:lnTo>
                  <a:pt x="1505" y="1078"/>
                </a:lnTo>
                <a:lnTo>
                  <a:pt x="1505" y="1074"/>
                </a:lnTo>
                <a:lnTo>
                  <a:pt x="1505" y="1078"/>
                </a:lnTo>
                <a:lnTo>
                  <a:pt x="1505" y="1081"/>
                </a:lnTo>
                <a:close/>
                <a:moveTo>
                  <a:pt x="1439" y="917"/>
                </a:move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lnTo>
                  <a:pt x="1439" y="917"/>
                </a:lnTo>
                <a:close/>
                <a:moveTo>
                  <a:pt x="1436" y="915"/>
                </a:moveTo>
                <a:lnTo>
                  <a:pt x="1436" y="915"/>
                </a:lnTo>
                <a:lnTo>
                  <a:pt x="1437" y="914"/>
                </a:lnTo>
                <a:lnTo>
                  <a:pt x="1436" y="913"/>
                </a:lnTo>
                <a:lnTo>
                  <a:pt x="1435" y="912"/>
                </a:lnTo>
                <a:lnTo>
                  <a:pt x="1435" y="912"/>
                </a:lnTo>
                <a:lnTo>
                  <a:pt x="1434" y="913"/>
                </a:lnTo>
                <a:lnTo>
                  <a:pt x="1435" y="912"/>
                </a:lnTo>
                <a:lnTo>
                  <a:pt x="1435" y="912"/>
                </a:lnTo>
                <a:lnTo>
                  <a:pt x="1436" y="913"/>
                </a:lnTo>
                <a:lnTo>
                  <a:pt x="1437" y="914"/>
                </a:lnTo>
                <a:lnTo>
                  <a:pt x="1438" y="916"/>
                </a:lnTo>
                <a:lnTo>
                  <a:pt x="1439" y="917"/>
                </a:lnTo>
                <a:lnTo>
                  <a:pt x="1438" y="916"/>
                </a:lnTo>
                <a:lnTo>
                  <a:pt x="1437" y="914"/>
                </a:lnTo>
                <a:lnTo>
                  <a:pt x="1436" y="915"/>
                </a:lnTo>
                <a:lnTo>
                  <a:pt x="1436" y="915"/>
                </a:lnTo>
                <a:close/>
                <a:moveTo>
                  <a:pt x="1468" y="919"/>
                </a:moveTo>
                <a:lnTo>
                  <a:pt x="1471" y="925"/>
                </a:lnTo>
                <a:lnTo>
                  <a:pt x="1475" y="929"/>
                </a:lnTo>
                <a:lnTo>
                  <a:pt x="1475" y="929"/>
                </a:lnTo>
                <a:lnTo>
                  <a:pt x="1471" y="925"/>
                </a:lnTo>
                <a:lnTo>
                  <a:pt x="1468" y="919"/>
                </a:lnTo>
                <a:lnTo>
                  <a:pt x="1458" y="905"/>
                </a:lnTo>
                <a:lnTo>
                  <a:pt x="1448" y="892"/>
                </a:lnTo>
                <a:lnTo>
                  <a:pt x="1458" y="905"/>
                </a:lnTo>
                <a:lnTo>
                  <a:pt x="1468" y="919"/>
                </a:lnTo>
                <a:close/>
                <a:moveTo>
                  <a:pt x="1476" y="941"/>
                </a:moveTo>
                <a:lnTo>
                  <a:pt x="1475" y="937"/>
                </a:lnTo>
                <a:lnTo>
                  <a:pt x="1473" y="934"/>
                </a:lnTo>
                <a:lnTo>
                  <a:pt x="1475" y="937"/>
                </a:lnTo>
                <a:lnTo>
                  <a:pt x="1476" y="941"/>
                </a:lnTo>
                <a:close/>
                <a:moveTo>
                  <a:pt x="1494" y="953"/>
                </a:moveTo>
                <a:lnTo>
                  <a:pt x="1494" y="954"/>
                </a:lnTo>
                <a:lnTo>
                  <a:pt x="1495" y="957"/>
                </a:lnTo>
                <a:lnTo>
                  <a:pt x="1495" y="957"/>
                </a:lnTo>
                <a:lnTo>
                  <a:pt x="1495" y="958"/>
                </a:lnTo>
                <a:lnTo>
                  <a:pt x="1496" y="960"/>
                </a:lnTo>
                <a:lnTo>
                  <a:pt x="1497" y="962"/>
                </a:lnTo>
                <a:lnTo>
                  <a:pt x="1496" y="960"/>
                </a:lnTo>
                <a:lnTo>
                  <a:pt x="1495" y="958"/>
                </a:lnTo>
                <a:lnTo>
                  <a:pt x="1495" y="958"/>
                </a:lnTo>
                <a:lnTo>
                  <a:pt x="1495" y="957"/>
                </a:lnTo>
                <a:lnTo>
                  <a:pt x="1495" y="957"/>
                </a:lnTo>
                <a:lnTo>
                  <a:pt x="1494" y="954"/>
                </a:lnTo>
                <a:lnTo>
                  <a:pt x="1494" y="953"/>
                </a:lnTo>
                <a:lnTo>
                  <a:pt x="1492" y="952"/>
                </a:lnTo>
                <a:lnTo>
                  <a:pt x="1492" y="951"/>
                </a:lnTo>
                <a:lnTo>
                  <a:pt x="1492" y="952"/>
                </a:lnTo>
                <a:lnTo>
                  <a:pt x="1494" y="953"/>
                </a:lnTo>
                <a:close/>
                <a:moveTo>
                  <a:pt x="1530" y="984"/>
                </a:moveTo>
                <a:lnTo>
                  <a:pt x="1530" y="984"/>
                </a:lnTo>
                <a:lnTo>
                  <a:pt x="1530" y="986"/>
                </a:lnTo>
                <a:lnTo>
                  <a:pt x="1530" y="984"/>
                </a:lnTo>
                <a:lnTo>
                  <a:pt x="1530" y="984"/>
                </a:lnTo>
                <a:close/>
                <a:moveTo>
                  <a:pt x="1532" y="981"/>
                </a:moveTo>
                <a:lnTo>
                  <a:pt x="1531" y="981"/>
                </a:lnTo>
                <a:lnTo>
                  <a:pt x="1531" y="982"/>
                </a:lnTo>
                <a:lnTo>
                  <a:pt x="1531" y="981"/>
                </a:lnTo>
                <a:lnTo>
                  <a:pt x="1532" y="981"/>
                </a:lnTo>
                <a:close/>
                <a:moveTo>
                  <a:pt x="1532" y="979"/>
                </a:moveTo>
                <a:lnTo>
                  <a:pt x="1532" y="978"/>
                </a:lnTo>
                <a:lnTo>
                  <a:pt x="1532" y="978"/>
                </a:lnTo>
                <a:lnTo>
                  <a:pt x="1532" y="978"/>
                </a:lnTo>
                <a:lnTo>
                  <a:pt x="1532" y="979"/>
                </a:lnTo>
                <a:close/>
                <a:moveTo>
                  <a:pt x="1436" y="996"/>
                </a:moveTo>
                <a:lnTo>
                  <a:pt x="1436" y="996"/>
                </a:lnTo>
                <a:lnTo>
                  <a:pt x="1436" y="996"/>
                </a:lnTo>
                <a:lnTo>
                  <a:pt x="1436" y="996"/>
                </a:lnTo>
                <a:lnTo>
                  <a:pt x="1436" y="996"/>
                </a:lnTo>
                <a:lnTo>
                  <a:pt x="1438" y="996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9" y="998"/>
                </a:lnTo>
                <a:lnTo>
                  <a:pt x="1437" y="998"/>
                </a:lnTo>
                <a:lnTo>
                  <a:pt x="1436" y="996"/>
                </a:lnTo>
                <a:close/>
                <a:moveTo>
                  <a:pt x="1427" y="987"/>
                </a:moveTo>
                <a:lnTo>
                  <a:pt x="1426" y="986"/>
                </a:lnTo>
                <a:lnTo>
                  <a:pt x="1425" y="984"/>
                </a:lnTo>
                <a:lnTo>
                  <a:pt x="1424" y="983"/>
                </a:lnTo>
                <a:lnTo>
                  <a:pt x="1423" y="981"/>
                </a:lnTo>
                <a:lnTo>
                  <a:pt x="1422" y="980"/>
                </a:lnTo>
                <a:lnTo>
                  <a:pt x="1421" y="979"/>
                </a:lnTo>
                <a:lnTo>
                  <a:pt x="1422" y="980"/>
                </a:lnTo>
                <a:lnTo>
                  <a:pt x="1423" y="981"/>
                </a:lnTo>
                <a:lnTo>
                  <a:pt x="1424" y="983"/>
                </a:lnTo>
                <a:lnTo>
                  <a:pt x="1425" y="984"/>
                </a:lnTo>
                <a:lnTo>
                  <a:pt x="1426" y="986"/>
                </a:lnTo>
                <a:lnTo>
                  <a:pt x="1427" y="987"/>
                </a:lnTo>
                <a:lnTo>
                  <a:pt x="1428" y="987"/>
                </a:lnTo>
                <a:lnTo>
                  <a:pt x="1429" y="986"/>
                </a:lnTo>
                <a:lnTo>
                  <a:pt x="1429" y="986"/>
                </a:lnTo>
                <a:lnTo>
                  <a:pt x="1428" y="987"/>
                </a:lnTo>
                <a:lnTo>
                  <a:pt x="1427" y="987"/>
                </a:lnTo>
                <a:lnTo>
                  <a:pt x="1428" y="988"/>
                </a:lnTo>
                <a:lnTo>
                  <a:pt x="1430" y="988"/>
                </a:lnTo>
                <a:lnTo>
                  <a:pt x="1428" y="988"/>
                </a:lnTo>
                <a:lnTo>
                  <a:pt x="1427" y="987"/>
                </a:lnTo>
                <a:close/>
                <a:moveTo>
                  <a:pt x="1414" y="975"/>
                </a:moveTo>
                <a:lnTo>
                  <a:pt x="1414" y="975"/>
                </a:lnTo>
                <a:lnTo>
                  <a:pt x="1414" y="975"/>
                </a:lnTo>
                <a:lnTo>
                  <a:pt x="1414" y="975"/>
                </a:lnTo>
                <a:lnTo>
                  <a:pt x="1414" y="975"/>
                </a:lnTo>
                <a:close/>
                <a:moveTo>
                  <a:pt x="1344" y="961"/>
                </a:moveTo>
                <a:lnTo>
                  <a:pt x="1346" y="960"/>
                </a:lnTo>
                <a:lnTo>
                  <a:pt x="1347" y="960"/>
                </a:lnTo>
                <a:lnTo>
                  <a:pt x="1346" y="960"/>
                </a:lnTo>
                <a:lnTo>
                  <a:pt x="1344" y="961"/>
                </a:lnTo>
                <a:close/>
                <a:moveTo>
                  <a:pt x="1336" y="982"/>
                </a:moveTo>
                <a:lnTo>
                  <a:pt x="1328" y="981"/>
                </a:lnTo>
                <a:lnTo>
                  <a:pt x="1320" y="974"/>
                </a:lnTo>
                <a:lnTo>
                  <a:pt x="1327" y="969"/>
                </a:lnTo>
                <a:lnTo>
                  <a:pt x="1334" y="968"/>
                </a:lnTo>
                <a:lnTo>
                  <a:pt x="1338" y="963"/>
                </a:lnTo>
                <a:lnTo>
                  <a:pt x="1343" y="961"/>
                </a:lnTo>
                <a:lnTo>
                  <a:pt x="1338" y="963"/>
                </a:lnTo>
                <a:lnTo>
                  <a:pt x="1334" y="968"/>
                </a:lnTo>
                <a:lnTo>
                  <a:pt x="1338" y="968"/>
                </a:lnTo>
                <a:lnTo>
                  <a:pt x="1342" y="968"/>
                </a:lnTo>
                <a:lnTo>
                  <a:pt x="1339" y="969"/>
                </a:lnTo>
                <a:lnTo>
                  <a:pt x="1338" y="972"/>
                </a:lnTo>
                <a:lnTo>
                  <a:pt x="1339" y="978"/>
                </a:lnTo>
                <a:lnTo>
                  <a:pt x="1336" y="982"/>
                </a:lnTo>
                <a:close/>
                <a:moveTo>
                  <a:pt x="1348" y="874"/>
                </a:moveTo>
                <a:lnTo>
                  <a:pt x="1348" y="873"/>
                </a:lnTo>
                <a:lnTo>
                  <a:pt x="1348" y="873"/>
                </a:lnTo>
                <a:lnTo>
                  <a:pt x="1348" y="873"/>
                </a:lnTo>
                <a:lnTo>
                  <a:pt x="1348" y="874"/>
                </a:lnTo>
                <a:close/>
                <a:moveTo>
                  <a:pt x="1268" y="880"/>
                </a:moveTo>
                <a:lnTo>
                  <a:pt x="1268" y="882"/>
                </a:lnTo>
                <a:lnTo>
                  <a:pt x="1268" y="884"/>
                </a:lnTo>
                <a:lnTo>
                  <a:pt x="1268" y="882"/>
                </a:lnTo>
                <a:lnTo>
                  <a:pt x="1268" y="880"/>
                </a:lnTo>
                <a:close/>
                <a:moveTo>
                  <a:pt x="1664" y="984"/>
                </a:moveTo>
                <a:lnTo>
                  <a:pt x="1667" y="982"/>
                </a:lnTo>
                <a:lnTo>
                  <a:pt x="1669" y="984"/>
                </a:lnTo>
                <a:lnTo>
                  <a:pt x="1671" y="988"/>
                </a:lnTo>
                <a:lnTo>
                  <a:pt x="1671" y="992"/>
                </a:lnTo>
                <a:lnTo>
                  <a:pt x="1667" y="1002"/>
                </a:lnTo>
                <a:lnTo>
                  <a:pt x="1667" y="1013"/>
                </a:lnTo>
                <a:lnTo>
                  <a:pt x="1666" y="1019"/>
                </a:lnTo>
                <a:lnTo>
                  <a:pt x="1662" y="1021"/>
                </a:lnTo>
                <a:lnTo>
                  <a:pt x="1655" y="1020"/>
                </a:lnTo>
                <a:lnTo>
                  <a:pt x="1652" y="1015"/>
                </a:lnTo>
                <a:lnTo>
                  <a:pt x="1649" y="1005"/>
                </a:lnTo>
                <a:lnTo>
                  <a:pt x="1646" y="993"/>
                </a:lnTo>
                <a:lnTo>
                  <a:pt x="1646" y="991"/>
                </a:lnTo>
                <a:lnTo>
                  <a:pt x="1646" y="989"/>
                </a:lnTo>
                <a:lnTo>
                  <a:pt x="1655" y="988"/>
                </a:lnTo>
                <a:lnTo>
                  <a:pt x="1664" y="984"/>
                </a:lnTo>
                <a:close/>
                <a:moveTo>
                  <a:pt x="1456" y="1072"/>
                </a:moveTo>
                <a:lnTo>
                  <a:pt x="1457" y="1072"/>
                </a:lnTo>
                <a:lnTo>
                  <a:pt x="1457" y="1072"/>
                </a:lnTo>
                <a:lnTo>
                  <a:pt x="1457" y="1072"/>
                </a:lnTo>
                <a:lnTo>
                  <a:pt x="1456" y="1072"/>
                </a:lnTo>
                <a:close/>
                <a:moveTo>
                  <a:pt x="1455" y="1072"/>
                </a:moveTo>
                <a:lnTo>
                  <a:pt x="1456" y="1072"/>
                </a:lnTo>
                <a:lnTo>
                  <a:pt x="1456" y="1072"/>
                </a:lnTo>
                <a:lnTo>
                  <a:pt x="1456" y="1072"/>
                </a:lnTo>
                <a:lnTo>
                  <a:pt x="1455" y="1072"/>
                </a:lnTo>
                <a:close/>
                <a:moveTo>
                  <a:pt x="888" y="1280"/>
                </a:moveTo>
                <a:lnTo>
                  <a:pt x="895" y="1279"/>
                </a:lnTo>
                <a:lnTo>
                  <a:pt x="900" y="1282"/>
                </a:lnTo>
                <a:lnTo>
                  <a:pt x="894" y="1282"/>
                </a:lnTo>
                <a:lnTo>
                  <a:pt x="888" y="1280"/>
                </a:lnTo>
                <a:close/>
                <a:moveTo>
                  <a:pt x="548" y="1569"/>
                </a:moveTo>
                <a:lnTo>
                  <a:pt x="548" y="1569"/>
                </a:lnTo>
                <a:lnTo>
                  <a:pt x="548" y="1569"/>
                </a:lnTo>
                <a:lnTo>
                  <a:pt x="548" y="1570"/>
                </a:lnTo>
                <a:lnTo>
                  <a:pt x="547" y="1570"/>
                </a:lnTo>
                <a:lnTo>
                  <a:pt x="546" y="1570"/>
                </a:lnTo>
                <a:lnTo>
                  <a:pt x="546" y="1570"/>
                </a:lnTo>
                <a:lnTo>
                  <a:pt x="547" y="1569"/>
                </a:lnTo>
                <a:lnTo>
                  <a:pt x="548" y="1569"/>
                </a:lnTo>
                <a:close/>
                <a:moveTo>
                  <a:pt x="1564" y="1488"/>
                </a:moveTo>
                <a:lnTo>
                  <a:pt x="1563" y="1488"/>
                </a:lnTo>
                <a:lnTo>
                  <a:pt x="1563" y="1487"/>
                </a:lnTo>
                <a:lnTo>
                  <a:pt x="1564" y="1487"/>
                </a:lnTo>
                <a:lnTo>
                  <a:pt x="1564" y="1487"/>
                </a:lnTo>
                <a:lnTo>
                  <a:pt x="1564" y="1487"/>
                </a:lnTo>
                <a:lnTo>
                  <a:pt x="1563" y="1487"/>
                </a:lnTo>
                <a:lnTo>
                  <a:pt x="1563" y="1488"/>
                </a:lnTo>
                <a:lnTo>
                  <a:pt x="1564" y="1488"/>
                </a:lnTo>
                <a:close/>
                <a:moveTo>
                  <a:pt x="2560" y="1729"/>
                </a:moveTo>
                <a:lnTo>
                  <a:pt x="2561" y="1730"/>
                </a:lnTo>
                <a:lnTo>
                  <a:pt x="2561" y="1732"/>
                </a:lnTo>
                <a:lnTo>
                  <a:pt x="2561" y="1730"/>
                </a:lnTo>
                <a:lnTo>
                  <a:pt x="2560" y="1729"/>
                </a:lnTo>
                <a:close/>
                <a:moveTo>
                  <a:pt x="3098" y="1666"/>
                </a:moveTo>
                <a:lnTo>
                  <a:pt x="3106" y="1660"/>
                </a:lnTo>
                <a:lnTo>
                  <a:pt x="3116" y="1664"/>
                </a:lnTo>
                <a:lnTo>
                  <a:pt x="3116" y="1664"/>
                </a:lnTo>
                <a:lnTo>
                  <a:pt x="3108" y="1672"/>
                </a:lnTo>
                <a:lnTo>
                  <a:pt x="3098" y="1666"/>
                </a:lnTo>
                <a:close/>
                <a:moveTo>
                  <a:pt x="3278" y="1547"/>
                </a:moveTo>
                <a:lnTo>
                  <a:pt x="3279" y="1548"/>
                </a:lnTo>
                <a:lnTo>
                  <a:pt x="3280" y="1549"/>
                </a:lnTo>
                <a:lnTo>
                  <a:pt x="3279" y="1550"/>
                </a:lnTo>
                <a:lnTo>
                  <a:pt x="3279" y="1552"/>
                </a:lnTo>
                <a:lnTo>
                  <a:pt x="3278" y="1550"/>
                </a:lnTo>
                <a:lnTo>
                  <a:pt x="3277" y="1549"/>
                </a:lnTo>
                <a:lnTo>
                  <a:pt x="3277" y="1548"/>
                </a:lnTo>
                <a:lnTo>
                  <a:pt x="3278" y="1547"/>
                </a:lnTo>
                <a:close/>
                <a:moveTo>
                  <a:pt x="3292" y="1424"/>
                </a:moveTo>
                <a:lnTo>
                  <a:pt x="3290" y="1427"/>
                </a:lnTo>
                <a:lnTo>
                  <a:pt x="3289" y="1432"/>
                </a:lnTo>
                <a:lnTo>
                  <a:pt x="3289" y="1435"/>
                </a:lnTo>
                <a:lnTo>
                  <a:pt x="3289" y="1438"/>
                </a:lnTo>
                <a:lnTo>
                  <a:pt x="3292" y="1461"/>
                </a:lnTo>
                <a:lnTo>
                  <a:pt x="3294" y="1484"/>
                </a:lnTo>
                <a:lnTo>
                  <a:pt x="3285" y="1475"/>
                </a:lnTo>
                <a:lnTo>
                  <a:pt x="3281" y="1462"/>
                </a:lnTo>
                <a:lnTo>
                  <a:pt x="3280" y="1449"/>
                </a:lnTo>
                <a:lnTo>
                  <a:pt x="3274" y="1438"/>
                </a:lnTo>
                <a:lnTo>
                  <a:pt x="3272" y="1430"/>
                </a:lnTo>
                <a:lnTo>
                  <a:pt x="3270" y="1420"/>
                </a:lnTo>
                <a:lnTo>
                  <a:pt x="3271" y="1409"/>
                </a:lnTo>
                <a:lnTo>
                  <a:pt x="3263" y="1400"/>
                </a:lnTo>
                <a:lnTo>
                  <a:pt x="3260" y="1400"/>
                </a:lnTo>
                <a:lnTo>
                  <a:pt x="3259" y="1403"/>
                </a:lnTo>
                <a:lnTo>
                  <a:pt x="3252" y="1403"/>
                </a:lnTo>
                <a:lnTo>
                  <a:pt x="3247" y="1408"/>
                </a:lnTo>
                <a:lnTo>
                  <a:pt x="3245" y="1437"/>
                </a:lnTo>
                <a:lnTo>
                  <a:pt x="3250" y="1465"/>
                </a:lnTo>
                <a:lnTo>
                  <a:pt x="3242" y="1473"/>
                </a:lnTo>
                <a:lnTo>
                  <a:pt x="3245" y="1483"/>
                </a:lnTo>
                <a:lnTo>
                  <a:pt x="3252" y="1499"/>
                </a:lnTo>
                <a:lnTo>
                  <a:pt x="3255" y="1516"/>
                </a:lnTo>
                <a:lnTo>
                  <a:pt x="3256" y="1526"/>
                </a:lnTo>
                <a:lnTo>
                  <a:pt x="3259" y="1534"/>
                </a:lnTo>
                <a:lnTo>
                  <a:pt x="3256" y="1542"/>
                </a:lnTo>
                <a:lnTo>
                  <a:pt x="3257" y="1550"/>
                </a:lnTo>
                <a:lnTo>
                  <a:pt x="3262" y="1568"/>
                </a:lnTo>
                <a:lnTo>
                  <a:pt x="3264" y="1586"/>
                </a:lnTo>
                <a:lnTo>
                  <a:pt x="3267" y="1598"/>
                </a:lnTo>
                <a:lnTo>
                  <a:pt x="3269" y="1608"/>
                </a:lnTo>
                <a:lnTo>
                  <a:pt x="3272" y="1624"/>
                </a:lnTo>
                <a:lnTo>
                  <a:pt x="3271" y="1640"/>
                </a:lnTo>
                <a:lnTo>
                  <a:pt x="3269" y="1648"/>
                </a:lnTo>
                <a:lnTo>
                  <a:pt x="3264" y="1652"/>
                </a:lnTo>
                <a:lnTo>
                  <a:pt x="3260" y="1650"/>
                </a:lnTo>
                <a:lnTo>
                  <a:pt x="3259" y="1645"/>
                </a:lnTo>
                <a:lnTo>
                  <a:pt x="3256" y="1641"/>
                </a:lnTo>
                <a:lnTo>
                  <a:pt x="3252" y="1641"/>
                </a:lnTo>
                <a:lnTo>
                  <a:pt x="3250" y="1638"/>
                </a:lnTo>
                <a:lnTo>
                  <a:pt x="3250" y="1635"/>
                </a:lnTo>
                <a:lnTo>
                  <a:pt x="3249" y="1615"/>
                </a:lnTo>
                <a:lnTo>
                  <a:pt x="3246" y="1595"/>
                </a:lnTo>
                <a:lnTo>
                  <a:pt x="3245" y="1593"/>
                </a:lnTo>
                <a:lnTo>
                  <a:pt x="3244" y="1591"/>
                </a:lnTo>
                <a:lnTo>
                  <a:pt x="3235" y="1583"/>
                </a:lnTo>
                <a:lnTo>
                  <a:pt x="3238" y="1571"/>
                </a:lnTo>
                <a:lnTo>
                  <a:pt x="3239" y="1562"/>
                </a:lnTo>
                <a:lnTo>
                  <a:pt x="3239" y="1554"/>
                </a:lnTo>
                <a:lnTo>
                  <a:pt x="3234" y="1516"/>
                </a:lnTo>
                <a:lnTo>
                  <a:pt x="3228" y="1479"/>
                </a:lnTo>
                <a:lnTo>
                  <a:pt x="3229" y="1478"/>
                </a:lnTo>
                <a:lnTo>
                  <a:pt x="3228" y="1477"/>
                </a:lnTo>
                <a:lnTo>
                  <a:pt x="3228" y="1473"/>
                </a:lnTo>
                <a:lnTo>
                  <a:pt x="3227" y="1471"/>
                </a:lnTo>
                <a:lnTo>
                  <a:pt x="3227" y="1470"/>
                </a:lnTo>
                <a:lnTo>
                  <a:pt x="3226" y="1468"/>
                </a:lnTo>
                <a:lnTo>
                  <a:pt x="3224" y="1468"/>
                </a:lnTo>
                <a:lnTo>
                  <a:pt x="3222" y="1468"/>
                </a:lnTo>
                <a:lnTo>
                  <a:pt x="3224" y="1468"/>
                </a:lnTo>
                <a:lnTo>
                  <a:pt x="3226" y="1468"/>
                </a:lnTo>
                <a:lnTo>
                  <a:pt x="3226" y="1466"/>
                </a:lnTo>
                <a:lnTo>
                  <a:pt x="3225" y="1463"/>
                </a:lnTo>
                <a:lnTo>
                  <a:pt x="3225" y="1460"/>
                </a:lnTo>
                <a:lnTo>
                  <a:pt x="3225" y="1456"/>
                </a:lnTo>
                <a:lnTo>
                  <a:pt x="3231" y="1454"/>
                </a:lnTo>
                <a:lnTo>
                  <a:pt x="3230" y="1452"/>
                </a:lnTo>
                <a:lnTo>
                  <a:pt x="3225" y="1438"/>
                </a:lnTo>
                <a:lnTo>
                  <a:pt x="3229" y="1424"/>
                </a:lnTo>
                <a:lnTo>
                  <a:pt x="3229" y="1411"/>
                </a:lnTo>
                <a:lnTo>
                  <a:pt x="3230" y="1399"/>
                </a:lnTo>
                <a:lnTo>
                  <a:pt x="3223" y="1405"/>
                </a:lnTo>
                <a:lnTo>
                  <a:pt x="3215" y="1410"/>
                </a:lnTo>
                <a:lnTo>
                  <a:pt x="3215" y="1410"/>
                </a:lnTo>
                <a:lnTo>
                  <a:pt x="3214" y="1409"/>
                </a:lnTo>
                <a:lnTo>
                  <a:pt x="3214" y="1407"/>
                </a:lnTo>
                <a:lnTo>
                  <a:pt x="3210" y="1393"/>
                </a:lnTo>
                <a:lnTo>
                  <a:pt x="3200" y="1382"/>
                </a:lnTo>
                <a:lnTo>
                  <a:pt x="3188" y="1377"/>
                </a:lnTo>
                <a:lnTo>
                  <a:pt x="3180" y="1387"/>
                </a:lnTo>
                <a:lnTo>
                  <a:pt x="3176" y="1404"/>
                </a:lnTo>
                <a:lnTo>
                  <a:pt x="3178" y="1421"/>
                </a:lnTo>
                <a:lnTo>
                  <a:pt x="3180" y="1430"/>
                </a:lnTo>
                <a:lnTo>
                  <a:pt x="3177" y="1438"/>
                </a:lnTo>
                <a:lnTo>
                  <a:pt x="3173" y="1443"/>
                </a:lnTo>
                <a:lnTo>
                  <a:pt x="3169" y="1448"/>
                </a:lnTo>
                <a:lnTo>
                  <a:pt x="3164" y="1453"/>
                </a:lnTo>
                <a:lnTo>
                  <a:pt x="3165" y="1461"/>
                </a:lnTo>
                <a:lnTo>
                  <a:pt x="3171" y="1463"/>
                </a:lnTo>
                <a:lnTo>
                  <a:pt x="3177" y="1458"/>
                </a:lnTo>
                <a:lnTo>
                  <a:pt x="3178" y="1458"/>
                </a:lnTo>
                <a:lnTo>
                  <a:pt x="3180" y="1458"/>
                </a:lnTo>
                <a:lnTo>
                  <a:pt x="3181" y="1464"/>
                </a:lnTo>
                <a:lnTo>
                  <a:pt x="3182" y="1470"/>
                </a:lnTo>
                <a:lnTo>
                  <a:pt x="3185" y="1495"/>
                </a:lnTo>
                <a:lnTo>
                  <a:pt x="3186" y="1522"/>
                </a:lnTo>
                <a:lnTo>
                  <a:pt x="3186" y="1522"/>
                </a:lnTo>
                <a:lnTo>
                  <a:pt x="3186" y="1522"/>
                </a:lnTo>
                <a:lnTo>
                  <a:pt x="3185" y="1526"/>
                </a:lnTo>
                <a:lnTo>
                  <a:pt x="3187" y="1529"/>
                </a:lnTo>
                <a:lnTo>
                  <a:pt x="3188" y="1531"/>
                </a:lnTo>
                <a:lnTo>
                  <a:pt x="3190" y="1533"/>
                </a:lnTo>
                <a:lnTo>
                  <a:pt x="3194" y="1558"/>
                </a:lnTo>
                <a:lnTo>
                  <a:pt x="3193" y="1584"/>
                </a:lnTo>
                <a:lnTo>
                  <a:pt x="3194" y="1587"/>
                </a:lnTo>
                <a:lnTo>
                  <a:pt x="3196" y="1590"/>
                </a:lnTo>
                <a:lnTo>
                  <a:pt x="3199" y="1599"/>
                </a:lnTo>
                <a:lnTo>
                  <a:pt x="3201" y="1607"/>
                </a:lnTo>
                <a:lnTo>
                  <a:pt x="3202" y="1623"/>
                </a:lnTo>
                <a:lnTo>
                  <a:pt x="3208" y="1638"/>
                </a:lnTo>
                <a:lnTo>
                  <a:pt x="3208" y="1640"/>
                </a:lnTo>
                <a:lnTo>
                  <a:pt x="3209" y="1644"/>
                </a:lnTo>
                <a:lnTo>
                  <a:pt x="3208" y="1653"/>
                </a:lnTo>
                <a:lnTo>
                  <a:pt x="3199" y="1657"/>
                </a:lnTo>
                <a:lnTo>
                  <a:pt x="3195" y="1661"/>
                </a:lnTo>
                <a:lnTo>
                  <a:pt x="3194" y="1665"/>
                </a:lnTo>
                <a:lnTo>
                  <a:pt x="3201" y="1677"/>
                </a:lnTo>
                <a:lnTo>
                  <a:pt x="3207" y="1686"/>
                </a:lnTo>
                <a:lnTo>
                  <a:pt x="3215" y="1695"/>
                </a:lnTo>
                <a:lnTo>
                  <a:pt x="3215" y="1705"/>
                </a:lnTo>
                <a:lnTo>
                  <a:pt x="3217" y="1714"/>
                </a:lnTo>
                <a:lnTo>
                  <a:pt x="3227" y="1718"/>
                </a:lnTo>
                <a:lnTo>
                  <a:pt x="3244" y="1718"/>
                </a:lnTo>
                <a:lnTo>
                  <a:pt x="3261" y="1725"/>
                </a:lnTo>
                <a:lnTo>
                  <a:pt x="3267" y="1693"/>
                </a:lnTo>
                <a:lnTo>
                  <a:pt x="3273" y="1685"/>
                </a:lnTo>
                <a:lnTo>
                  <a:pt x="3271" y="1693"/>
                </a:lnTo>
                <a:lnTo>
                  <a:pt x="3277" y="1697"/>
                </a:lnTo>
                <a:lnTo>
                  <a:pt x="3278" y="1699"/>
                </a:lnTo>
                <a:lnTo>
                  <a:pt x="3278" y="1702"/>
                </a:lnTo>
                <a:lnTo>
                  <a:pt x="3278" y="1715"/>
                </a:lnTo>
                <a:lnTo>
                  <a:pt x="3280" y="1726"/>
                </a:lnTo>
                <a:lnTo>
                  <a:pt x="3291" y="1729"/>
                </a:lnTo>
                <a:lnTo>
                  <a:pt x="3305" y="1730"/>
                </a:lnTo>
                <a:lnTo>
                  <a:pt x="3305" y="1680"/>
                </a:lnTo>
                <a:lnTo>
                  <a:pt x="3305" y="1629"/>
                </a:lnTo>
                <a:lnTo>
                  <a:pt x="3300" y="1629"/>
                </a:lnTo>
                <a:lnTo>
                  <a:pt x="3294" y="1626"/>
                </a:lnTo>
                <a:lnTo>
                  <a:pt x="3299" y="1625"/>
                </a:lnTo>
                <a:lnTo>
                  <a:pt x="3301" y="1620"/>
                </a:lnTo>
                <a:lnTo>
                  <a:pt x="3296" y="1589"/>
                </a:lnTo>
                <a:lnTo>
                  <a:pt x="3287" y="1558"/>
                </a:lnTo>
                <a:lnTo>
                  <a:pt x="3286" y="1554"/>
                </a:lnTo>
                <a:lnTo>
                  <a:pt x="3289" y="1552"/>
                </a:lnTo>
                <a:lnTo>
                  <a:pt x="3291" y="1547"/>
                </a:lnTo>
                <a:lnTo>
                  <a:pt x="3290" y="1544"/>
                </a:lnTo>
                <a:lnTo>
                  <a:pt x="3287" y="1537"/>
                </a:lnTo>
                <a:lnTo>
                  <a:pt x="3287" y="1529"/>
                </a:lnTo>
                <a:lnTo>
                  <a:pt x="3287" y="1511"/>
                </a:lnTo>
                <a:lnTo>
                  <a:pt x="3289" y="1494"/>
                </a:lnTo>
                <a:lnTo>
                  <a:pt x="3290" y="1493"/>
                </a:lnTo>
                <a:lnTo>
                  <a:pt x="3293" y="1494"/>
                </a:lnTo>
                <a:lnTo>
                  <a:pt x="3298" y="1492"/>
                </a:lnTo>
                <a:lnTo>
                  <a:pt x="3299" y="1487"/>
                </a:lnTo>
                <a:lnTo>
                  <a:pt x="3298" y="1492"/>
                </a:lnTo>
                <a:lnTo>
                  <a:pt x="3293" y="1494"/>
                </a:lnTo>
                <a:lnTo>
                  <a:pt x="3294" y="1506"/>
                </a:lnTo>
                <a:lnTo>
                  <a:pt x="3298" y="1517"/>
                </a:lnTo>
                <a:lnTo>
                  <a:pt x="3299" y="1527"/>
                </a:lnTo>
                <a:lnTo>
                  <a:pt x="3305" y="1534"/>
                </a:lnTo>
                <a:lnTo>
                  <a:pt x="3305" y="1526"/>
                </a:lnTo>
                <a:lnTo>
                  <a:pt x="3305" y="1517"/>
                </a:lnTo>
                <a:lnTo>
                  <a:pt x="3305" y="1477"/>
                </a:lnTo>
                <a:lnTo>
                  <a:pt x="3305" y="1436"/>
                </a:lnTo>
                <a:lnTo>
                  <a:pt x="3302" y="1432"/>
                </a:lnTo>
                <a:lnTo>
                  <a:pt x="3299" y="1428"/>
                </a:lnTo>
                <a:lnTo>
                  <a:pt x="3296" y="1425"/>
                </a:lnTo>
                <a:lnTo>
                  <a:pt x="3292" y="142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5AB8C6-E565-CB45-B5CB-7ADE16F2B2C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A7E8AD09-ACEE-2646-9451-C50664073E3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18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54">
            <a:extLst>
              <a:ext uri="{FF2B5EF4-FFF2-40B4-BE49-F238E27FC236}">
                <a16:creationId xmlns:a16="http://schemas.microsoft.com/office/drawing/2014/main" id="{7591ECA8-5D1F-BF4B-BEF7-AC989F73F688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0" y="1026146"/>
            <a:ext cx="14757177" cy="10441160"/>
          </a:xfrm>
          <a:custGeom>
            <a:avLst/>
            <a:gdLst>
              <a:gd name="T0" fmla="*/ 920 w 1010"/>
              <a:gd name="T1" fmla="*/ 378 h 610"/>
              <a:gd name="T2" fmla="*/ 652 w 1010"/>
              <a:gd name="T3" fmla="*/ 252 h 610"/>
              <a:gd name="T4" fmla="*/ 731 w 1010"/>
              <a:gd name="T5" fmla="*/ 211 h 610"/>
              <a:gd name="T6" fmla="*/ 842 w 1010"/>
              <a:gd name="T7" fmla="*/ 245 h 610"/>
              <a:gd name="T8" fmla="*/ 766 w 1010"/>
              <a:gd name="T9" fmla="*/ 171 h 610"/>
              <a:gd name="T10" fmla="*/ 562 w 1010"/>
              <a:gd name="T11" fmla="*/ 148 h 610"/>
              <a:gd name="T12" fmla="*/ 405 w 1010"/>
              <a:gd name="T13" fmla="*/ 129 h 610"/>
              <a:gd name="T14" fmla="*/ 257 w 1010"/>
              <a:gd name="T15" fmla="*/ 154 h 610"/>
              <a:gd name="T16" fmla="*/ 321 w 1010"/>
              <a:gd name="T17" fmla="*/ 94 h 610"/>
              <a:gd name="T18" fmla="*/ 138 w 1010"/>
              <a:gd name="T19" fmla="*/ 59 h 610"/>
              <a:gd name="T20" fmla="*/ 77 w 1010"/>
              <a:gd name="T21" fmla="*/ 103 h 610"/>
              <a:gd name="T22" fmla="*/ 159 w 1010"/>
              <a:gd name="T23" fmla="*/ 142 h 610"/>
              <a:gd name="T24" fmla="*/ 2 w 1010"/>
              <a:gd name="T25" fmla="*/ 319 h 610"/>
              <a:gd name="T26" fmla="*/ 70 w 1010"/>
              <a:gd name="T27" fmla="*/ 399 h 610"/>
              <a:gd name="T28" fmla="*/ 302 w 1010"/>
              <a:gd name="T29" fmla="*/ 491 h 610"/>
              <a:gd name="T30" fmla="*/ 329 w 1010"/>
              <a:gd name="T31" fmla="*/ 565 h 610"/>
              <a:gd name="T32" fmla="*/ 374 w 1010"/>
              <a:gd name="T33" fmla="*/ 499 h 610"/>
              <a:gd name="T34" fmla="*/ 209 w 1010"/>
              <a:gd name="T35" fmla="*/ 377 h 610"/>
              <a:gd name="T36" fmla="*/ 258 w 1010"/>
              <a:gd name="T37" fmla="*/ 393 h 610"/>
              <a:gd name="T38" fmla="*/ 448 w 1010"/>
              <a:gd name="T39" fmla="*/ 464 h 610"/>
              <a:gd name="T40" fmla="*/ 392 w 1010"/>
              <a:gd name="T41" fmla="*/ 305 h 610"/>
              <a:gd name="T42" fmla="*/ 404 w 1010"/>
              <a:gd name="T43" fmla="*/ 244 h 610"/>
              <a:gd name="T44" fmla="*/ 553 w 1010"/>
              <a:gd name="T45" fmla="*/ 425 h 610"/>
              <a:gd name="T46" fmla="*/ 618 w 1010"/>
              <a:gd name="T47" fmla="*/ 473 h 610"/>
              <a:gd name="T48" fmla="*/ 589 w 1010"/>
              <a:gd name="T49" fmla="*/ 259 h 610"/>
              <a:gd name="T50" fmla="*/ 765 w 1010"/>
              <a:gd name="T51" fmla="*/ 385 h 610"/>
              <a:gd name="T52" fmla="*/ 823 w 1010"/>
              <a:gd name="T53" fmla="*/ 468 h 610"/>
              <a:gd name="T54" fmla="*/ 929 w 1010"/>
              <a:gd name="T55" fmla="*/ 559 h 610"/>
              <a:gd name="T56" fmla="*/ 891 w 1010"/>
              <a:gd name="T57" fmla="*/ 378 h 610"/>
              <a:gd name="T58" fmla="*/ 865 w 1010"/>
              <a:gd name="T59" fmla="*/ 268 h 610"/>
              <a:gd name="T60" fmla="*/ 745 w 1010"/>
              <a:gd name="T61" fmla="*/ 200 h 610"/>
              <a:gd name="T62" fmla="*/ 696 w 1010"/>
              <a:gd name="T63" fmla="*/ 203 h 610"/>
              <a:gd name="T64" fmla="*/ 329 w 1010"/>
              <a:gd name="T65" fmla="*/ 176 h 610"/>
              <a:gd name="T66" fmla="*/ 291 w 1010"/>
              <a:gd name="T67" fmla="*/ 52 h 610"/>
              <a:gd name="T68" fmla="*/ 100 w 1010"/>
              <a:gd name="T69" fmla="*/ 25 h 610"/>
              <a:gd name="T70" fmla="*/ 155 w 1010"/>
              <a:gd name="T71" fmla="*/ 120 h 610"/>
              <a:gd name="T72" fmla="*/ 138 w 1010"/>
              <a:gd name="T73" fmla="*/ 405 h 610"/>
              <a:gd name="T74" fmla="*/ 326 w 1010"/>
              <a:gd name="T75" fmla="*/ 543 h 610"/>
              <a:gd name="T76" fmla="*/ 353 w 1010"/>
              <a:gd name="T77" fmla="*/ 515 h 610"/>
              <a:gd name="T78" fmla="*/ 278 w 1010"/>
              <a:gd name="T79" fmla="*/ 506 h 610"/>
              <a:gd name="T80" fmla="*/ 245 w 1010"/>
              <a:gd name="T81" fmla="*/ 492 h 610"/>
              <a:gd name="T82" fmla="*/ 445 w 1010"/>
              <a:gd name="T83" fmla="*/ 455 h 610"/>
              <a:gd name="T84" fmla="*/ 385 w 1010"/>
              <a:gd name="T85" fmla="*/ 340 h 610"/>
              <a:gd name="T86" fmla="*/ 287 w 1010"/>
              <a:gd name="T87" fmla="*/ 395 h 610"/>
              <a:gd name="T88" fmla="*/ 282 w 1010"/>
              <a:gd name="T89" fmla="*/ 336 h 610"/>
              <a:gd name="T90" fmla="*/ 257 w 1010"/>
              <a:gd name="T91" fmla="*/ 244 h 610"/>
              <a:gd name="T92" fmla="*/ 195 w 1010"/>
              <a:gd name="T93" fmla="*/ 312 h 610"/>
              <a:gd name="T94" fmla="*/ 235 w 1010"/>
              <a:gd name="T95" fmla="*/ 246 h 610"/>
              <a:gd name="T96" fmla="*/ 353 w 1010"/>
              <a:gd name="T97" fmla="*/ 263 h 610"/>
              <a:gd name="T98" fmla="*/ 369 w 1010"/>
              <a:gd name="T99" fmla="*/ 265 h 610"/>
              <a:gd name="T100" fmla="*/ 396 w 1010"/>
              <a:gd name="T101" fmla="*/ 199 h 610"/>
              <a:gd name="T102" fmla="*/ 475 w 1010"/>
              <a:gd name="T103" fmla="*/ 227 h 610"/>
              <a:gd name="T104" fmla="*/ 578 w 1010"/>
              <a:gd name="T105" fmla="*/ 459 h 610"/>
              <a:gd name="T106" fmla="*/ 550 w 1010"/>
              <a:gd name="T107" fmla="*/ 356 h 610"/>
              <a:gd name="T108" fmla="*/ 542 w 1010"/>
              <a:gd name="T109" fmla="*/ 183 h 610"/>
              <a:gd name="T110" fmla="*/ 596 w 1010"/>
              <a:gd name="T111" fmla="*/ 229 h 610"/>
              <a:gd name="T112" fmla="*/ 731 w 1010"/>
              <a:gd name="T113" fmla="*/ 329 h 610"/>
              <a:gd name="T114" fmla="*/ 780 w 1010"/>
              <a:gd name="T115" fmla="*/ 471 h 610"/>
              <a:gd name="T116" fmla="*/ 825 w 1010"/>
              <a:gd name="T117" fmla="*/ 459 h 610"/>
              <a:gd name="T118" fmla="*/ 899 w 1010"/>
              <a:gd name="T119" fmla="*/ 438 h 610"/>
              <a:gd name="T120" fmla="*/ 948 w 1010"/>
              <a:gd name="T121" fmla="*/ 470 h 610"/>
              <a:gd name="T122" fmla="*/ 954 w 1010"/>
              <a:gd name="T123" fmla="*/ 562 h 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10" h="610">
                <a:moveTo>
                  <a:pt x="991" y="552"/>
                </a:moveTo>
                <a:cubicBezTo>
                  <a:pt x="997" y="551"/>
                  <a:pt x="997" y="547"/>
                  <a:pt x="991" y="545"/>
                </a:cubicBezTo>
                <a:cubicBezTo>
                  <a:pt x="991" y="547"/>
                  <a:pt x="990" y="547"/>
                  <a:pt x="989" y="547"/>
                </a:cubicBezTo>
                <a:cubicBezTo>
                  <a:pt x="990" y="546"/>
                  <a:pt x="990" y="539"/>
                  <a:pt x="991" y="534"/>
                </a:cubicBezTo>
                <a:cubicBezTo>
                  <a:pt x="989" y="537"/>
                  <a:pt x="987" y="538"/>
                  <a:pt x="985" y="535"/>
                </a:cubicBezTo>
                <a:cubicBezTo>
                  <a:pt x="984" y="536"/>
                  <a:pt x="983" y="537"/>
                  <a:pt x="983" y="537"/>
                </a:cubicBezTo>
                <a:cubicBezTo>
                  <a:pt x="984" y="536"/>
                  <a:pt x="984" y="536"/>
                  <a:pt x="985" y="535"/>
                </a:cubicBezTo>
                <a:cubicBezTo>
                  <a:pt x="986" y="535"/>
                  <a:pt x="983" y="533"/>
                  <a:pt x="985" y="532"/>
                </a:cubicBezTo>
                <a:cubicBezTo>
                  <a:pt x="989" y="530"/>
                  <a:pt x="995" y="531"/>
                  <a:pt x="998" y="528"/>
                </a:cubicBezTo>
                <a:cubicBezTo>
                  <a:pt x="994" y="525"/>
                  <a:pt x="994" y="524"/>
                  <a:pt x="992" y="520"/>
                </a:cubicBezTo>
                <a:cubicBezTo>
                  <a:pt x="990" y="518"/>
                  <a:pt x="990" y="515"/>
                  <a:pt x="988" y="514"/>
                </a:cubicBezTo>
                <a:cubicBezTo>
                  <a:pt x="988" y="513"/>
                  <a:pt x="988" y="513"/>
                  <a:pt x="987" y="513"/>
                </a:cubicBezTo>
                <a:cubicBezTo>
                  <a:pt x="985" y="514"/>
                  <a:pt x="983" y="514"/>
                  <a:pt x="980" y="511"/>
                </a:cubicBezTo>
                <a:cubicBezTo>
                  <a:pt x="983" y="514"/>
                  <a:pt x="985" y="513"/>
                  <a:pt x="987" y="513"/>
                </a:cubicBezTo>
                <a:cubicBezTo>
                  <a:pt x="994" y="511"/>
                  <a:pt x="999" y="501"/>
                  <a:pt x="1003" y="496"/>
                </a:cubicBezTo>
                <a:cubicBezTo>
                  <a:pt x="997" y="493"/>
                  <a:pt x="982" y="493"/>
                  <a:pt x="980" y="487"/>
                </a:cubicBezTo>
                <a:cubicBezTo>
                  <a:pt x="994" y="489"/>
                  <a:pt x="989" y="470"/>
                  <a:pt x="978" y="464"/>
                </a:cubicBezTo>
                <a:cubicBezTo>
                  <a:pt x="981" y="459"/>
                  <a:pt x="987" y="457"/>
                  <a:pt x="981" y="455"/>
                </a:cubicBezTo>
                <a:cubicBezTo>
                  <a:pt x="974" y="452"/>
                  <a:pt x="967" y="456"/>
                  <a:pt x="963" y="460"/>
                </a:cubicBezTo>
                <a:cubicBezTo>
                  <a:pt x="962" y="452"/>
                  <a:pt x="964" y="446"/>
                  <a:pt x="960" y="439"/>
                </a:cubicBezTo>
                <a:cubicBezTo>
                  <a:pt x="958" y="434"/>
                  <a:pt x="956" y="433"/>
                  <a:pt x="953" y="431"/>
                </a:cubicBezTo>
                <a:cubicBezTo>
                  <a:pt x="951" y="430"/>
                  <a:pt x="950" y="433"/>
                  <a:pt x="949" y="433"/>
                </a:cubicBezTo>
                <a:cubicBezTo>
                  <a:pt x="947" y="433"/>
                  <a:pt x="948" y="430"/>
                  <a:pt x="946" y="430"/>
                </a:cubicBezTo>
                <a:cubicBezTo>
                  <a:pt x="937" y="430"/>
                  <a:pt x="935" y="440"/>
                  <a:pt x="929" y="441"/>
                </a:cubicBezTo>
                <a:cubicBezTo>
                  <a:pt x="924" y="443"/>
                  <a:pt x="919" y="434"/>
                  <a:pt x="916" y="430"/>
                </a:cubicBezTo>
                <a:cubicBezTo>
                  <a:pt x="919" y="429"/>
                  <a:pt x="922" y="428"/>
                  <a:pt x="925" y="426"/>
                </a:cubicBezTo>
                <a:cubicBezTo>
                  <a:pt x="917" y="420"/>
                  <a:pt x="914" y="413"/>
                  <a:pt x="904" y="415"/>
                </a:cubicBezTo>
                <a:cubicBezTo>
                  <a:pt x="895" y="418"/>
                  <a:pt x="894" y="424"/>
                  <a:pt x="889" y="431"/>
                </a:cubicBezTo>
                <a:cubicBezTo>
                  <a:pt x="886" y="425"/>
                  <a:pt x="873" y="416"/>
                  <a:pt x="867" y="408"/>
                </a:cubicBezTo>
                <a:cubicBezTo>
                  <a:pt x="874" y="410"/>
                  <a:pt x="877" y="406"/>
                  <a:pt x="883" y="405"/>
                </a:cubicBezTo>
                <a:cubicBezTo>
                  <a:pt x="886" y="404"/>
                  <a:pt x="891" y="406"/>
                  <a:pt x="895" y="404"/>
                </a:cubicBezTo>
                <a:cubicBezTo>
                  <a:pt x="902" y="399"/>
                  <a:pt x="897" y="391"/>
                  <a:pt x="890" y="388"/>
                </a:cubicBezTo>
                <a:cubicBezTo>
                  <a:pt x="899" y="388"/>
                  <a:pt x="906" y="397"/>
                  <a:pt x="913" y="403"/>
                </a:cubicBezTo>
                <a:cubicBezTo>
                  <a:pt x="913" y="403"/>
                  <a:pt x="913" y="402"/>
                  <a:pt x="913" y="402"/>
                </a:cubicBezTo>
                <a:cubicBezTo>
                  <a:pt x="915" y="405"/>
                  <a:pt x="918" y="406"/>
                  <a:pt x="923" y="405"/>
                </a:cubicBezTo>
                <a:cubicBezTo>
                  <a:pt x="930" y="402"/>
                  <a:pt x="926" y="403"/>
                  <a:pt x="925" y="399"/>
                </a:cubicBezTo>
                <a:cubicBezTo>
                  <a:pt x="924" y="397"/>
                  <a:pt x="920" y="397"/>
                  <a:pt x="920" y="395"/>
                </a:cubicBezTo>
                <a:cubicBezTo>
                  <a:pt x="920" y="391"/>
                  <a:pt x="924" y="394"/>
                  <a:pt x="926" y="392"/>
                </a:cubicBezTo>
                <a:cubicBezTo>
                  <a:pt x="929" y="388"/>
                  <a:pt x="931" y="382"/>
                  <a:pt x="926" y="377"/>
                </a:cubicBezTo>
                <a:cubicBezTo>
                  <a:pt x="924" y="379"/>
                  <a:pt x="922" y="379"/>
                  <a:pt x="920" y="378"/>
                </a:cubicBezTo>
                <a:cubicBezTo>
                  <a:pt x="921" y="378"/>
                  <a:pt x="921" y="377"/>
                  <a:pt x="922" y="377"/>
                </a:cubicBezTo>
                <a:cubicBezTo>
                  <a:pt x="920" y="377"/>
                  <a:pt x="917" y="376"/>
                  <a:pt x="916" y="376"/>
                </a:cubicBezTo>
                <a:cubicBezTo>
                  <a:pt x="915" y="376"/>
                  <a:pt x="914" y="376"/>
                  <a:pt x="912" y="377"/>
                </a:cubicBezTo>
                <a:cubicBezTo>
                  <a:pt x="916" y="373"/>
                  <a:pt x="921" y="369"/>
                  <a:pt x="925" y="372"/>
                </a:cubicBezTo>
                <a:cubicBezTo>
                  <a:pt x="931" y="363"/>
                  <a:pt x="917" y="372"/>
                  <a:pt x="913" y="373"/>
                </a:cubicBezTo>
                <a:cubicBezTo>
                  <a:pt x="914" y="370"/>
                  <a:pt x="915" y="369"/>
                  <a:pt x="916" y="368"/>
                </a:cubicBezTo>
                <a:cubicBezTo>
                  <a:pt x="921" y="368"/>
                  <a:pt x="923" y="364"/>
                  <a:pt x="917" y="366"/>
                </a:cubicBezTo>
                <a:cubicBezTo>
                  <a:pt x="917" y="361"/>
                  <a:pt x="921" y="357"/>
                  <a:pt x="923" y="353"/>
                </a:cubicBezTo>
                <a:cubicBezTo>
                  <a:pt x="923" y="354"/>
                  <a:pt x="926" y="343"/>
                  <a:pt x="928" y="345"/>
                </a:cubicBezTo>
                <a:cubicBezTo>
                  <a:pt x="926" y="343"/>
                  <a:pt x="921" y="343"/>
                  <a:pt x="918" y="344"/>
                </a:cubicBezTo>
                <a:cubicBezTo>
                  <a:pt x="911" y="345"/>
                  <a:pt x="912" y="346"/>
                  <a:pt x="906" y="350"/>
                </a:cubicBezTo>
                <a:cubicBezTo>
                  <a:pt x="903" y="352"/>
                  <a:pt x="902" y="355"/>
                  <a:pt x="896" y="353"/>
                </a:cubicBezTo>
                <a:cubicBezTo>
                  <a:pt x="892" y="352"/>
                  <a:pt x="888" y="344"/>
                  <a:pt x="883" y="342"/>
                </a:cubicBezTo>
                <a:cubicBezTo>
                  <a:pt x="879" y="341"/>
                  <a:pt x="873" y="345"/>
                  <a:pt x="869" y="344"/>
                </a:cubicBezTo>
                <a:cubicBezTo>
                  <a:pt x="863" y="343"/>
                  <a:pt x="867" y="341"/>
                  <a:pt x="863" y="338"/>
                </a:cubicBezTo>
                <a:cubicBezTo>
                  <a:pt x="862" y="336"/>
                  <a:pt x="857" y="335"/>
                  <a:pt x="855" y="334"/>
                </a:cubicBezTo>
                <a:cubicBezTo>
                  <a:pt x="848" y="331"/>
                  <a:pt x="849" y="331"/>
                  <a:pt x="843" y="336"/>
                </a:cubicBezTo>
                <a:cubicBezTo>
                  <a:pt x="836" y="340"/>
                  <a:pt x="825" y="349"/>
                  <a:pt x="823" y="356"/>
                </a:cubicBezTo>
                <a:cubicBezTo>
                  <a:pt x="823" y="357"/>
                  <a:pt x="823" y="364"/>
                  <a:pt x="823" y="366"/>
                </a:cubicBezTo>
                <a:cubicBezTo>
                  <a:pt x="823" y="369"/>
                  <a:pt x="822" y="374"/>
                  <a:pt x="821" y="378"/>
                </a:cubicBezTo>
                <a:cubicBezTo>
                  <a:pt x="810" y="373"/>
                  <a:pt x="801" y="369"/>
                  <a:pt x="790" y="363"/>
                </a:cubicBezTo>
                <a:cubicBezTo>
                  <a:pt x="787" y="363"/>
                  <a:pt x="772" y="358"/>
                  <a:pt x="775" y="353"/>
                </a:cubicBezTo>
                <a:cubicBezTo>
                  <a:pt x="777" y="351"/>
                  <a:pt x="781" y="355"/>
                  <a:pt x="783" y="354"/>
                </a:cubicBezTo>
                <a:cubicBezTo>
                  <a:pt x="785" y="353"/>
                  <a:pt x="787" y="349"/>
                  <a:pt x="788" y="347"/>
                </a:cubicBezTo>
                <a:cubicBezTo>
                  <a:pt x="797" y="325"/>
                  <a:pt x="756" y="301"/>
                  <a:pt x="737" y="309"/>
                </a:cubicBezTo>
                <a:cubicBezTo>
                  <a:pt x="737" y="310"/>
                  <a:pt x="738" y="310"/>
                  <a:pt x="738" y="310"/>
                </a:cubicBezTo>
                <a:cubicBezTo>
                  <a:pt x="739" y="310"/>
                  <a:pt x="741" y="310"/>
                  <a:pt x="742" y="312"/>
                </a:cubicBezTo>
                <a:cubicBezTo>
                  <a:pt x="741" y="311"/>
                  <a:pt x="739" y="311"/>
                  <a:pt x="738" y="310"/>
                </a:cubicBezTo>
                <a:cubicBezTo>
                  <a:pt x="735" y="310"/>
                  <a:pt x="732" y="311"/>
                  <a:pt x="730" y="312"/>
                </a:cubicBezTo>
                <a:cubicBezTo>
                  <a:pt x="731" y="302"/>
                  <a:pt x="718" y="306"/>
                  <a:pt x="713" y="302"/>
                </a:cubicBezTo>
                <a:cubicBezTo>
                  <a:pt x="710" y="299"/>
                  <a:pt x="709" y="292"/>
                  <a:pt x="706" y="288"/>
                </a:cubicBezTo>
                <a:cubicBezTo>
                  <a:pt x="700" y="281"/>
                  <a:pt x="698" y="283"/>
                  <a:pt x="691" y="284"/>
                </a:cubicBezTo>
                <a:cubicBezTo>
                  <a:pt x="686" y="285"/>
                  <a:pt x="687" y="283"/>
                  <a:pt x="682" y="287"/>
                </a:cubicBezTo>
                <a:cubicBezTo>
                  <a:pt x="681" y="288"/>
                  <a:pt x="679" y="292"/>
                  <a:pt x="679" y="293"/>
                </a:cubicBezTo>
                <a:cubicBezTo>
                  <a:pt x="675" y="301"/>
                  <a:pt x="677" y="302"/>
                  <a:pt x="668" y="301"/>
                </a:cubicBezTo>
                <a:cubicBezTo>
                  <a:pt x="659" y="301"/>
                  <a:pt x="657" y="296"/>
                  <a:pt x="650" y="291"/>
                </a:cubicBezTo>
                <a:cubicBezTo>
                  <a:pt x="644" y="286"/>
                  <a:pt x="636" y="285"/>
                  <a:pt x="629" y="279"/>
                </a:cubicBezTo>
                <a:cubicBezTo>
                  <a:pt x="623" y="274"/>
                  <a:pt x="618" y="266"/>
                  <a:pt x="611" y="261"/>
                </a:cubicBezTo>
                <a:cubicBezTo>
                  <a:pt x="626" y="260"/>
                  <a:pt x="625" y="282"/>
                  <a:pt x="638" y="282"/>
                </a:cubicBezTo>
                <a:cubicBezTo>
                  <a:pt x="634" y="266"/>
                  <a:pt x="643" y="262"/>
                  <a:pt x="652" y="252"/>
                </a:cubicBezTo>
                <a:cubicBezTo>
                  <a:pt x="647" y="250"/>
                  <a:pt x="643" y="248"/>
                  <a:pt x="639" y="245"/>
                </a:cubicBezTo>
                <a:cubicBezTo>
                  <a:pt x="640" y="243"/>
                  <a:pt x="642" y="241"/>
                  <a:pt x="644" y="239"/>
                </a:cubicBezTo>
                <a:cubicBezTo>
                  <a:pt x="640" y="238"/>
                  <a:pt x="621" y="236"/>
                  <a:pt x="622" y="233"/>
                </a:cubicBezTo>
                <a:cubicBezTo>
                  <a:pt x="622" y="231"/>
                  <a:pt x="631" y="229"/>
                  <a:pt x="633" y="227"/>
                </a:cubicBezTo>
                <a:cubicBezTo>
                  <a:pt x="636" y="221"/>
                  <a:pt x="633" y="216"/>
                  <a:pt x="629" y="213"/>
                </a:cubicBezTo>
                <a:cubicBezTo>
                  <a:pt x="625" y="209"/>
                  <a:pt x="618" y="210"/>
                  <a:pt x="615" y="208"/>
                </a:cubicBezTo>
                <a:cubicBezTo>
                  <a:pt x="611" y="204"/>
                  <a:pt x="614" y="205"/>
                  <a:pt x="614" y="200"/>
                </a:cubicBezTo>
                <a:cubicBezTo>
                  <a:pt x="615" y="194"/>
                  <a:pt x="617" y="192"/>
                  <a:pt x="612" y="190"/>
                </a:cubicBezTo>
                <a:cubicBezTo>
                  <a:pt x="607" y="188"/>
                  <a:pt x="600" y="193"/>
                  <a:pt x="596" y="196"/>
                </a:cubicBezTo>
                <a:cubicBezTo>
                  <a:pt x="597" y="194"/>
                  <a:pt x="596" y="193"/>
                  <a:pt x="597" y="192"/>
                </a:cubicBezTo>
                <a:cubicBezTo>
                  <a:pt x="594" y="190"/>
                  <a:pt x="594" y="192"/>
                  <a:pt x="590" y="193"/>
                </a:cubicBezTo>
                <a:cubicBezTo>
                  <a:pt x="589" y="193"/>
                  <a:pt x="589" y="195"/>
                  <a:pt x="587" y="195"/>
                </a:cubicBezTo>
                <a:cubicBezTo>
                  <a:pt x="585" y="194"/>
                  <a:pt x="582" y="189"/>
                  <a:pt x="581" y="188"/>
                </a:cubicBezTo>
                <a:cubicBezTo>
                  <a:pt x="589" y="185"/>
                  <a:pt x="612" y="179"/>
                  <a:pt x="617" y="187"/>
                </a:cubicBezTo>
                <a:cubicBezTo>
                  <a:pt x="622" y="171"/>
                  <a:pt x="653" y="186"/>
                  <a:pt x="663" y="181"/>
                </a:cubicBezTo>
                <a:cubicBezTo>
                  <a:pt x="657" y="182"/>
                  <a:pt x="659" y="190"/>
                  <a:pt x="657" y="195"/>
                </a:cubicBezTo>
                <a:cubicBezTo>
                  <a:pt x="653" y="192"/>
                  <a:pt x="652" y="192"/>
                  <a:pt x="649" y="193"/>
                </a:cubicBezTo>
                <a:cubicBezTo>
                  <a:pt x="646" y="195"/>
                  <a:pt x="643" y="199"/>
                  <a:pt x="645" y="203"/>
                </a:cubicBezTo>
                <a:cubicBezTo>
                  <a:pt x="646" y="197"/>
                  <a:pt x="650" y="198"/>
                  <a:pt x="653" y="202"/>
                </a:cubicBezTo>
                <a:cubicBezTo>
                  <a:pt x="656" y="206"/>
                  <a:pt x="653" y="207"/>
                  <a:pt x="654" y="211"/>
                </a:cubicBezTo>
                <a:cubicBezTo>
                  <a:pt x="654" y="213"/>
                  <a:pt x="656" y="217"/>
                  <a:pt x="656" y="218"/>
                </a:cubicBezTo>
                <a:cubicBezTo>
                  <a:pt x="656" y="222"/>
                  <a:pt x="649" y="226"/>
                  <a:pt x="650" y="231"/>
                </a:cubicBezTo>
                <a:cubicBezTo>
                  <a:pt x="651" y="233"/>
                  <a:pt x="658" y="242"/>
                  <a:pt x="659" y="243"/>
                </a:cubicBezTo>
                <a:cubicBezTo>
                  <a:pt x="666" y="252"/>
                  <a:pt x="677" y="253"/>
                  <a:pt x="686" y="245"/>
                </a:cubicBezTo>
                <a:cubicBezTo>
                  <a:pt x="689" y="243"/>
                  <a:pt x="690" y="235"/>
                  <a:pt x="693" y="234"/>
                </a:cubicBezTo>
                <a:cubicBezTo>
                  <a:pt x="696" y="232"/>
                  <a:pt x="695" y="237"/>
                  <a:pt x="694" y="239"/>
                </a:cubicBezTo>
                <a:cubicBezTo>
                  <a:pt x="695" y="239"/>
                  <a:pt x="697" y="238"/>
                  <a:pt x="697" y="237"/>
                </a:cubicBezTo>
                <a:cubicBezTo>
                  <a:pt x="703" y="240"/>
                  <a:pt x="705" y="250"/>
                  <a:pt x="712" y="249"/>
                </a:cubicBezTo>
                <a:cubicBezTo>
                  <a:pt x="715" y="248"/>
                  <a:pt x="718" y="242"/>
                  <a:pt x="719" y="240"/>
                </a:cubicBezTo>
                <a:cubicBezTo>
                  <a:pt x="721" y="235"/>
                  <a:pt x="719" y="231"/>
                  <a:pt x="720" y="228"/>
                </a:cubicBezTo>
                <a:cubicBezTo>
                  <a:pt x="721" y="224"/>
                  <a:pt x="731" y="221"/>
                  <a:pt x="729" y="217"/>
                </a:cubicBezTo>
                <a:cubicBezTo>
                  <a:pt x="728" y="211"/>
                  <a:pt x="715" y="216"/>
                  <a:pt x="716" y="206"/>
                </a:cubicBezTo>
                <a:cubicBezTo>
                  <a:pt x="719" y="208"/>
                  <a:pt x="723" y="207"/>
                  <a:pt x="723" y="203"/>
                </a:cubicBezTo>
                <a:cubicBezTo>
                  <a:pt x="723" y="201"/>
                  <a:pt x="717" y="194"/>
                  <a:pt x="716" y="193"/>
                </a:cubicBezTo>
                <a:cubicBezTo>
                  <a:pt x="718" y="194"/>
                  <a:pt x="724" y="199"/>
                  <a:pt x="727" y="195"/>
                </a:cubicBezTo>
                <a:cubicBezTo>
                  <a:pt x="726" y="194"/>
                  <a:pt x="726" y="194"/>
                  <a:pt x="725" y="194"/>
                </a:cubicBezTo>
                <a:cubicBezTo>
                  <a:pt x="724" y="194"/>
                  <a:pt x="727" y="194"/>
                  <a:pt x="727" y="194"/>
                </a:cubicBezTo>
                <a:cubicBezTo>
                  <a:pt x="727" y="194"/>
                  <a:pt x="727" y="194"/>
                  <a:pt x="727" y="195"/>
                </a:cubicBezTo>
                <a:cubicBezTo>
                  <a:pt x="730" y="196"/>
                  <a:pt x="735" y="202"/>
                  <a:pt x="735" y="205"/>
                </a:cubicBezTo>
                <a:cubicBezTo>
                  <a:pt x="735" y="207"/>
                  <a:pt x="732" y="209"/>
                  <a:pt x="731" y="211"/>
                </a:cubicBezTo>
                <a:cubicBezTo>
                  <a:pt x="731" y="212"/>
                  <a:pt x="733" y="221"/>
                  <a:pt x="733" y="223"/>
                </a:cubicBezTo>
                <a:cubicBezTo>
                  <a:pt x="734" y="226"/>
                  <a:pt x="740" y="231"/>
                  <a:pt x="740" y="234"/>
                </a:cubicBezTo>
                <a:cubicBezTo>
                  <a:pt x="740" y="239"/>
                  <a:pt x="736" y="236"/>
                  <a:pt x="736" y="239"/>
                </a:cubicBezTo>
                <a:cubicBezTo>
                  <a:pt x="736" y="240"/>
                  <a:pt x="740" y="242"/>
                  <a:pt x="740" y="244"/>
                </a:cubicBezTo>
                <a:cubicBezTo>
                  <a:pt x="740" y="245"/>
                  <a:pt x="739" y="247"/>
                  <a:pt x="740" y="249"/>
                </a:cubicBezTo>
                <a:cubicBezTo>
                  <a:pt x="740" y="253"/>
                  <a:pt x="739" y="256"/>
                  <a:pt x="742" y="258"/>
                </a:cubicBezTo>
                <a:cubicBezTo>
                  <a:pt x="745" y="253"/>
                  <a:pt x="746" y="244"/>
                  <a:pt x="751" y="251"/>
                </a:cubicBezTo>
                <a:cubicBezTo>
                  <a:pt x="751" y="251"/>
                  <a:pt x="751" y="251"/>
                  <a:pt x="750" y="251"/>
                </a:cubicBezTo>
                <a:cubicBezTo>
                  <a:pt x="752" y="254"/>
                  <a:pt x="758" y="263"/>
                  <a:pt x="761" y="259"/>
                </a:cubicBezTo>
                <a:cubicBezTo>
                  <a:pt x="761" y="259"/>
                  <a:pt x="761" y="259"/>
                  <a:pt x="760" y="259"/>
                </a:cubicBezTo>
                <a:cubicBezTo>
                  <a:pt x="756" y="257"/>
                  <a:pt x="755" y="252"/>
                  <a:pt x="754" y="249"/>
                </a:cubicBezTo>
                <a:cubicBezTo>
                  <a:pt x="756" y="251"/>
                  <a:pt x="758" y="255"/>
                  <a:pt x="760" y="259"/>
                </a:cubicBezTo>
                <a:cubicBezTo>
                  <a:pt x="761" y="259"/>
                  <a:pt x="761" y="259"/>
                  <a:pt x="761" y="259"/>
                </a:cubicBezTo>
                <a:cubicBezTo>
                  <a:pt x="761" y="259"/>
                  <a:pt x="761" y="259"/>
                  <a:pt x="761" y="259"/>
                </a:cubicBezTo>
                <a:cubicBezTo>
                  <a:pt x="762" y="260"/>
                  <a:pt x="762" y="261"/>
                  <a:pt x="763" y="261"/>
                </a:cubicBezTo>
                <a:cubicBezTo>
                  <a:pt x="768" y="266"/>
                  <a:pt x="764" y="257"/>
                  <a:pt x="762" y="256"/>
                </a:cubicBezTo>
                <a:cubicBezTo>
                  <a:pt x="761" y="254"/>
                  <a:pt x="761" y="255"/>
                  <a:pt x="762" y="256"/>
                </a:cubicBezTo>
                <a:cubicBezTo>
                  <a:pt x="770" y="254"/>
                  <a:pt x="761" y="248"/>
                  <a:pt x="763" y="244"/>
                </a:cubicBezTo>
                <a:cubicBezTo>
                  <a:pt x="765" y="246"/>
                  <a:pt x="769" y="250"/>
                  <a:pt x="772" y="252"/>
                </a:cubicBezTo>
                <a:cubicBezTo>
                  <a:pt x="771" y="250"/>
                  <a:pt x="770" y="248"/>
                  <a:pt x="772" y="245"/>
                </a:cubicBezTo>
                <a:cubicBezTo>
                  <a:pt x="772" y="247"/>
                  <a:pt x="772" y="247"/>
                  <a:pt x="773" y="249"/>
                </a:cubicBezTo>
                <a:cubicBezTo>
                  <a:pt x="784" y="246"/>
                  <a:pt x="771" y="245"/>
                  <a:pt x="769" y="240"/>
                </a:cubicBezTo>
                <a:cubicBezTo>
                  <a:pt x="767" y="234"/>
                  <a:pt x="777" y="235"/>
                  <a:pt x="777" y="229"/>
                </a:cubicBezTo>
                <a:cubicBezTo>
                  <a:pt x="772" y="230"/>
                  <a:pt x="766" y="230"/>
                  <a:pt x="761" y="230"/>
                </a:cubicBezTo>
                <a:cubicBezTo>
                  <a:pt x="763" y="227"/>
                  <a:pt x="763" y="226"/>
                  <a:pt x="766" y="225"/>
                </a:cubicBezTo>
                <a:cubicBezTo>
                  <a:pt x="759" y="221"/>
                  <a:pt x="756" y="229"/>
                  <a:pt x="750" y="227"/>
                </a:cubicBezTo>
                <a:cubicBezTo>
                  <a:pt x="744" y="225"/>
                  <a:pt x="744" y="218"/>
                  <a:pt x="736" y="217"/>
                </a:cubicBezTo>
                <a:cubicBezTo>
                  <a:pt x="741" y="216"/>
                  <a:pt x="748" y="217"/>
                  <a:pt x="754" y="217"/>
                </a:cubicBezTo>
                <a:cubicBezTo>
                  <a:pt x="753" y="214"/>
                  <a:pt x="753" y="211"/>
                  <a:pt x="751" y="208"/>
                </a:cubicBezTo>
                <a:cubicBezTo>
                  <a:pt x="760" y="209"/>
                  <a:pt x="770" y="209"/>
                  <a:pt x="778" y="213"/>
                </a:cubicBezTo>
                <a:cubicBezTo>
                  <a:pt x="783" y="215"/>
                  <a:pt x="786" y="218"/>
                  <a:pt x="790" y="219"/>
                </a:cubicBezTo>
                <a:cubicBezTo>
                  <a:pt x="794" y="220"/>
                  <a:pt x="799" y="218"/>
                  <a:pt x="802" y="221"/>
                </a:cubicBezTo>
                <a:cubicBezTo>
                  <a:pt x="806" y="224"/>
                  <a:pt x="808" y="234"/>
                  <a:pt x="810" y="239"/>
                </a:cubicBezTo>
                <a:cubicBezTo>
                  <a:pt x="815" y="247"/>
                  <a:pt x="822" y="252"/>
                  <a:pt x="829" y="257"/>
                </a:cubicBezTo>
                <a:cubicBezTo>
                  <a:pt x="830" y="249"/>
                  <a:pt x="832" y="242"/>
                  <a:pt x="835" y="234"/>
                </a:cubicBezTo>
                <a:cubicBezTo>
                  <a:pt x="838" y="236"/>
                  <a:pt x="840" y="239"/>
                  <a:pt x="841" y="243"/>
                </a:cubicBezTo>
                <a:cubicBezTo>
                  <a:pt x="841" y="243"/>
                  <a:pt x="841" y="243"/>
                  <a:pt x="842" y="243"/>
                </a:cubicBezTo>
                <a:cubicBezTo>
                  <a:pt x="842" y="242"/>
                  <a:pt x="843" y="241"/>
                  <a:pt x="845" y="241"/>
                </a:cubicBezTo>
                <a:cubicBezTo>
                  <a:pt x="844" y="242"/>
                  <a:pt x="843" y="242"/>
                  <a:pt x="842" y="243"/>
                </a:cubicBezTo>
                <a:cubicBezTo>
                  <a:pt x="842" y="243"/>
                  <a:pt x="842" y="244"/>
                  <a:pt x="842" y="245"/>
                </a:cubicBezTo>
                <a:cubicBezTo>
                  <a:pt x="844" y="250"/>
                  <a:pt x="848" y="247"/>
                  <a:pt x="846" y="253"/>
                </a:cubicBezTo>
                <a:cubicBezTo>
                  <a:pt x="844" y="258"/>
                  <a:pt x="839" y="259"/>
                  <a:pt x="837" y="263"/>
                </a:cubicBezTo>
                <a:cubicBezTo>
                  <a:pt x="835" y="269"/>
                  <a:pt x="839" y="270"/>
                  <a:pt x="840" y="273"/>
                </a:cubicBezTo>
                <a:cubicBezTo>
                  <a:pt x="841" y="281"/>
                  <a:pt x="836" y="290"/>
                  <a:pt x="844" y="297"/>
                </a:cubicBezTo>
                <a:cubicBezTo>
                  <a:pt x="849" y="302"/>
                  <a:pt x="851" y="300"/>
                  <a:pt x="849" y="295"/>
                </a:cubicBezTo>
                <a:cubicBezTo>
                  <a:pt x="853" y="298"/>
                  <a:pt x="850" y="293"/>
                  <a:pt x="853" y="291"/>
                </a:cubicBezTo>
                <a:cubicBezTo>
                  <a:pt x="856" y="289"/>
                  <a:pt x="858" y="288"/>
                  <a:pt x="862" y="283"/>
                </a:cubicBezTo>
                <a:cubicBezTo>
                  <a:pt x="865" y="293"/>
                  <a:pt x="879" y="297"/>
                  <a:pt x="887" y="293"/>
                </a:cubicBezTo>
                <a:cubicBezTo>
                  <a:pt x="888" y="292"/>
                  <a:pt x="893" y="286"/>
                  <a:pt x="893" y="286"/>
                </a:cubicBezTo>
                <a:cubicBezTo>
                  <a:pt x="895" y="281"/>
                  <a:pt x="891" y="275"/>
                  <a:pt x="889" y="270"/>
                </a:cubicBezTo>
                <a:cubicBezTo>
                  <a:pt x="893" y="272"/>
                  <a:pt x="899" y="270"/>
                  <a:pt x="900" y="266"/>
                </a:cubicBezTo>
                <a:cubicBezTo>
                  <a:pt x="903" y="261"/>
                  <a:pt x="898" y="254"/>
                  <a:pt x="895" y="250"/>
                </a:cubicBezTo>
                <a:cubicBezTo>
                  <a:pt x="892" y="246"/>
                  <a:pt x="887" y="242"/>
                  <a:pt x="882" y="239"/>
                </a:cubicBezTo>
                <a:cubicBezTo>
                  <a:pt x="878" y="237"/>
                  <a:pt x="874" y="238"/>
                  <a:pt x="877" y="233"/>
                </a:cubicBezTo>
                <a:cubicBezTo>
                  <a:pt x="879" y="236"/>
                  <a:pt x="880" y="236"/>
                  <a:pt x="882" y="237"/>
                </a:cubicBezTo>
                <a:cubicBezTo>
                  <a:pt x="881" y="233"/>
                  <a:pt x="879" y="233"/>
                  <a:pt x="878" y="229"/>
                </a:cubicBezTo>
                <a:cubicBezTo>
                  <a:pt x="882" y="230"/>
                  <a:pt x="884" y="232"/>
                  <a:pt x="886" y="236"/>
                </a:cubicBezTo>
                <a:cubicBezTo>
                  <a:pt x="892" y="232"/>
                  <a:pt x="880" y="229"/>
                  <a:pt x="877" y="224"/>
                </a:cubicBezTo>
                <a:cubicBezTo>
                  <a:pt x="880" y="224"/>
                  <a:pt x="884" y="226"/>
                  <a:pt x="886" y="226"/>
                </a:cubicBezTo>
                <a:cubicBezTo>
                  <a:pt x="886" y="226"/>
                  <a:pt x="886" y="229"/>
                  <a:pt x="887" y="229"/>
                </a:cubicBezTo>
                <a:cubicBezTo>
                  <a:pt x="889" y="228"/>
                  <a:pt x="888" y="220"/>
                  <a:pt x="893" y="225"/>
                </a:cubicBezTo>
                <a:cubicBezTo>
                  <a:pt x="894" y="222"/>
                  <a:pt x="896" y="218"/>
                  <a:pt x="895" y="215"/>
                </a:cubicBezTo>
                <a:cubicBezTo>
                  <a:pt x="894" y="214"/>
                  <a:pt x="890" y="209"/>
                  <a:pt x="890" y="211"/>
                </a:cubicBezTo>
                <a:cubicBezTo>
                  <a:pt x="890" y="204"/>
                  <a:pt x="895" y="206"/>
                  <a:pt x="900" y="203"/>
                </a:cubicBezTo>
                <a:cubicBezTo>
                  <a:pt x="891" y="193"/>
                  <a:pt x="867" y="200"/>
                  <a:pt x="859" y="212"/>
                </a:cubicBezTo>
                <a:cubicBezTo>
                  <a:pt x="858" y="214"/>
                  <a:pt x="857" y="216"/>
                  <a:pt x="856" y="218"/>
                </a:cubicBezTo>
                <a:cubicBezTo>
                  <a:pt x="856" y="216"/>
                  <a:pt x="857" y="214"/>
                  <a:pt x="859" y="212"/>
                </a:cubicBezTo>
                <a:cubicBezTo>
                  <a:pt x="859" y="212"/>
                  <a:pt x="859" y="212"/>
                  <a:pt x="859" y="212"/>
                </a:cubicBezTo>
                <a:cubicBezTo>
                  <a:pt x="844" y="206"/>
                  <a:pt x="823" y="210"/>
                  <a:pt x="810" y="202"/>
                </a:cubicBezTo>
                <a:cubicBezTo>
                  <a:pt x="810" y="202"/>
                  <a:pt x="808" y="199"/>
                  <a:pt x="806" y="198"/>
                </a:cubicBezTo>
                <a:cubicBezTo>
                  <a:pt x="802" y="196"/>
                  <a:pt x="796" y="198"/>
                  <a:pt x="792" y="199"/>
                </a:cubicBezTo>
                <a:cubicBezTo>
                  <a:pt x="788" y="201"/>
                  <a:pt x="784" y="204"/>
                  <a:pt x="779" y="205"/>
                </a:cubicBezTo>
                <a:cubicBezTo>
                  <a:pt x="775" y="206"/>
                  <a:pt x="770" y="204"/>
                  <a:pt x="766" y="204"/>
                </a:cubicBezTo>
                <a:cubicBezTo>
                  <a:pt x="769" y="200"/>
                  <a:pt x="773" y="202"/>
                  <a:pt x="778" y="200"/>
                </a:cubicBezTo>
                <a:cubicBezTo>
                  <a:pt x="782" y="198"/>
                  <a:pt x="789" y="192"/>
                  <a:pt x="790" y="186"/>
                </a:cubicBezTo>
                <a:cubicBezTo>
                  <a:pt x="785" y="188"/>
                  <a:pt x="782" y="184"/>
                  <a:pt x="777" y="183"/>
                </a:cubicBezTo>
                <a:cubicBezTo>
                  <a:pt x="773" y="182"/>
                  <a:pt x="768" y="186"/>
                  <a:pt x="765" y="183"/>
                </a:cubicBezTo>
                <a:cubicBezTo>
                  <a:pt x="767" y="182"/>
                  <a:pt x="770" y="180"/>
                  <a:pt x="769" y="177"/>
                </a:cubicBezTo>
                <a:cubicBezTo>
                  <a:pt x="767" y="179"/>
                  <a:pt x="765" y="180"/>
                  <a:pt x="762" y="181"/>
                </a:cubicBezTo>
                <a:cubicBezTo>
                  <a:pt x="761" y="175"/>
                  <a:pt x="776" y="174"/>
                  <a:pt x="766" y="171"/>
                </a:cubicBezTo>
                <a:cubicBezTo>
                  <a:pt x="767" y="177"/>
                  <a:pt x="760" y="177"/>
                  <a:pt x="755" y="179"/>
                </a:cubicBezTo>
                <a:cubicBezTo>
                  <a:pt x="756" y="178"/>
                  <a:pt x="756" y="178"/>
                  <a:pt x="756" y="177"/>
                </a:cubicBezTo>
                <a:cubicBezTo>
                  <a:pt x="757" y="176"/>
                  <a:pt x="756" y="176"/>
                  <a:pt x="756" y="175"/>
                </a:cubicBezTo>
                <a:cubicBezTo>
                  <a:pt x="758" y="173"/>
                  <a:pt x="762" y="173"/>
                  <a:pt x="762" y="170"/>
                </a:cubicBezTo>
                <a:cubicBezTo>
                  <a:pt x="759" y="171"/>
                  <a:pt x="761" y="170"/>
                  <a:pt x="760" y="168"/>
                </a:cubicBezTo>
                <a:cubicBezTo>
                  <a:pt x="758" y="165"/>
                  <a:pt x="762" y="165"/>
                  <a:pt x="759" y="161"/>
                </a:cubicBezTo>
                <a:cubicBezTo>
                  <a:pt x="758" y="160"/>
                  <a:pt x="757" y="160"/>
                  <a:pt x="756" y="159"/>
                </a:cubicBezTo>
                <a:cubicBezTo>
                  <a:pt x="753" y="157"/>
                  <a:pt x="743" y="156"/>
                  <a:pt x="744" y="150"/>
                </a:cubicBezTo>
                <a:cubicBezTo>
                  <a:pt x="738" y="151"/>
                  <a:pt x="728" y="158"/>
                  <a:pt x="725" y="160"/>
                </a:cubicBezTo>
                <a:cubicBezTo>
                  <a:pt x="725" y="153"/>
                  <a:pt x="725" y="145"/>
                  <a:pt x="720" y="139"/>
                </a:cubicBezTo>
                <a:cubicBezTo>
                  <a:pt x="717" y="134"/>
                  <a:pt x="713" y="133"/>
                  <a:pt x="708" y="132"/>
                </a:cubicBezTo>
                <a:cubicBezTo>
                  <a:pt x="709" y="132"/>
                  <a:pt x="698" y="133"/>
                  <a:pt x="700" y="132"/>
                </a:cubicBezTo>
                <a:cubicBezTo>
                  <a:pt x="694" y="135"/>
                  <a:pt x="695" y="142"/>
                  <a:pt x="691" y="145"/>
                </a:cubicBezTo>
                <a:cubicBezTo>
                  <a:pt x="686" y="150"/>
                  <a:pt x="688" y="145"/>
                  <a:pt x="682" y="147"/>
                </a:cubicBezTo>
                <a:cubicBezTo>
                  <a:pt x="673" y="148"/>
                  <a:pt x="667" y="152"/>
                  <a:pt x="669" y="162"/>
                </a:cubicBezTo>
                <a:cubicBezTo>
                  <a:pt x="657" y="156"/>
                  <a:pt x="662" y="168"/>
                  <a:pt x="661" y="177"/>
                </a:cubicBezTo>
                <a:cubicBezTo>
                  <a:pt x="654" y="175"/>
                  <a:pt x="638" y="175"/>
                  <a:pt x="633" y="171"/>
                </a:cubicBezTo>
                <a:cubicBezTo>
                  <a:pt x="632" y="170"/>
                  <a:pt x="625" y="162"/>
                  <a:pt x="624" y="160"/>
                </a:cubicBezTo>
                <a:cubicBezTo>
                  <a:pt x="622" y="156"/>
                  <a:pt x="624" y="154"/>
                  <a:pt x="623" y="149"/>
                </a:cubicBezTo>
                <a:cubicBezTo>
                  <a:pt x="623" y="147"/>
                  <a:pt x="621" y="135"/>
                  <a:pt x="619" y="133"/>
                </a:cubicBezTo>
                <a:cubicBezTo>
                  <a:pt x="616" y="129"/>
                  <a:pt x="615" y="132"/>
                  <a:pt x="610" y="136"/>
                </a:cubicBezTo>
                <a:cubicBezTo>
                  <a:pt x="606" y="139"/>
                  <a:pt x="601" y="142"/>
                  <a:pt x="599" y="148"/>
                </a:cubicBezTo>
                <a:cubicBezTo>
                  <a:pt x="596" y="156"/>
                  <a:pt x="601" y="157"/>
                  <a:pt x="603" y="164"/>
                </a:cubicBezTo>
                <a:cubicBezTo>
                  <a:pt x="594" y="166"/>
                  <a:pt x="591" y="178"/>
                  <a:pt x="581" y="177"/>
                </a:cubicBezTo>
                <a:cubicBezTo>
                  <a:pt x="570" y="177"/>
                  <a:pt x="584" y="173"/>
                  <a:pt x="587" y="170"/>
                </a:cubicBezTo>
                <a:cubicBezTo>
                  <a:pt x="589" y="168"/>
                  <a:pt x="594" y="160"/>
                  <a:pt x="594" y="157"/>
                </a:cubicBezTo>
                <a:cubicBezTo>
                  <a:pt x="594" y="151"/>
                  <a:pt x="595" y="155"/>
                  <a:pt x="592" y="153"/>
                </a:cubicBezTo>
                <a:cubicBezTo>
                  <a:pt x="583" y="150"/>
                  <a:pt x="576" y="159"/>
                  <a:pt x="569" y="157"/>
                </a:cubicBezTo>
                <a:cubicBezTo>
                  <a:pt x="567" y="160"/>
                  <a:pt x="564" y="161"/>
                  <a:pt x="560" y="162"/>
                </a:cubicBezTo>
                <a:cubicBezTo>
                  <a:pt x="561" y="162"/>
                  <a:pt x="562" y="161"/>
                  <a:pt x="563" y="160"/>
                </a:cubicBezTo>
                <a:cubicBezTo>
                  <a:pt x="565" y="159"/>
                  <a:pt x="566" y="157"/>
                  <a:pt x="568" y="157"/>
                </a:cubicBezTo>
                <a:cubicBezTo>
                  <a:pt x="568" y="157"/>
                  <a:pt x="568" y="157"/>
                  <a:pt x="568" y="157"/>
                </a:cubicBezTo>
                <a:cubicBezTo>
                  <a:pt x="568" y="156"/>
                  <a:pt x="569" y="154"/>
                  <a:pt x="569" y="153"/>
                </a:cubicBezTo>
                <a:cubicBezTo>
                  <a:pt x="568" y="156"/>
                  <a:pt x="565" y="158"/>
                  <a:pt x="563" y="155"/>
                </a:cubicBezTo>
                <a:cubicBezTo>
                  <a:pt x="563" y="155"/>
                  <a:pt x="563" y="155"/>
                  <a:pt x="562" y="155"/>
                </a:cubicBezTo>
                <a:cubicBezTo>
                  <a:pt x="562" y="156"/>
                  <a:pt x="561" y="157"/>
                  <a:pt x="559" y="158"/>
                </a:cubicBezTo>
                <a:cubicBezTo>
                  <a:pt x="560" y="157"/>
                  <a:pt x="561" y="156"/>
                  <a:pt x="562" y="155"/>
                </a:cubicBezTo>
                <a:cubicBezTo>
                  <a:pt x="563" y="154"/>
                  <a:pt x="563" y="153"/>
                  <a:pt x="563" y="152"/>
                </a:cubicBezTo>
                <a:cubicBezTo>
                  <a:pt x="563" y="153"/>
                  <a:pt x="559" y="158"/>
                  <a:pt x="557" y="156"/>
                </a:cubicBezTo>
                <a:cubicBezTo>
                  <a:pt x="555" y="152"/>
                  <a:pt x="562" y="149"/>
                  <a:pt x="562" y="148"/>
                </a:cubicBezTo>
                <a:cubicBezTo>
                  <a:pt x="562" y="146"/>
                  <a:pt x="561" y="145"/>
                  <a:pt x="561" y="146"/>
                </a:cubicBezTo>
                <a:cubicBezTo>
                  <a:pt x="562" y="151"/>
                  <a:pt x="557" y="145"/>
                  <a:pt x="557" y="145"/>
                </a:cubicBezTo>
                <a:cubicBezTo>
                  <a:pt x="555" y="144"/>
                  <a:pt x="559" y="141"/>
                  <a:pt x="556" y="139"/>
                </a:cubicBezTo>
                <a:cubicBezTo>
                  <a:pt x="554" y="137"/>
                  <a:pt x="549" y="137"/>
                  <a:pt x="546" y="138"/>
                </a:cubicBezTo>
                <a:cubicBezTo>
                  <a:pt x="543" y="139"/>
                  <a:pt x="545" y="145"/>
                  <a:pt x="539" y="143"/>
                </a:cubicBezTo>
                <a:cubicBezTo>
                  <a:pt x="538" y="142"/>
                  <a:pt x="537" y="133"/>
                  <a:pt x="536" y="132"/>
                </a:cubicBezTo>
                <a:cubicBezTo>
                  <a:pt x="528" y="140"/>
                  <a:pt x="528" y="154"/>
                  <a:pt x="517" y="158"/>
                </a:cubicBezTo>
                <a:cubicBezTo>
                  <a:pt x="515" y="149"/>
                  <a:pt x="500" y="144"/>
                  <a:pt x="493" y="147"/>
                </a:cubicBezTo>
                <a:cubicBezTo>
                  <a:pt x="492" y="147"/>
                  <a:pt x="487" y="152"/>
                  <a:pt x="487" y="153"/>
                </a:cubicBezTo>
                <a:cubicBezTo>
                  <a:pt x="485" y="158"/>
                  <a:pt x="488" y="164"/>
                  <a:pt x="488" y="169"/>
                </a:cubicBezTo>
                <a:cubicBezTo>
                  <a:pt x="480" y="164"/>
                  <a:pt x="475" y="176"/>
                  <a:pt x="478" y="183"/>
                </a:cubicBezTo>
                <a:cubicBezTo>
                  <a:pt x="484" y="196"/>
                  <a:pt x="487" y="179"/>
                  <a:pt x="492" y="184"/>
                </a:cubicBezTo>
                <a:cubicBezTo>
                  <a:pt x="492" y="185"/>
                  <a:pt x="490" y="189"/>
                  <a:pt x="490" y="190"/>
                </a:cubicBezTo>
                <a:cubicBezTo>
                  <a:pt x="491" y="192"/>
                  <a:pt x="494" y="193"/>
                  <a:pt x="494" y="194"/>
                </a:cubicBezTo>
                <a:cubicBezTo>
                  <a:pt x="495" y="197"/>
                  <a:pt x="498" y="201"/>
                  <a:pt x="494" y="203"/>
                </a:cubicBezTo>
                <a:cubicBezTo>
                  <a:pt x="492" y="204"/>
                  <a:pt x="489" y="200"/>
                  <a:pt x="487" y="201"/>
                </a:cubicBezTo>
                <a:cubicBezTo>
                  <a:pt x="483" y="202"/>
                  <a:pt x="484" y="209"/>
                  <a:pt x="486" y="213"/>
                </a:cubicBezTo>
                <a:cubicBezTo>
                  <a:pt x="483" y="214"/>
                  <a:pt x="483" y="214"/>
                  <a:pt x="481" y="217"/>
                </a:cubicBezTo>
                <a:cubicBezTo>
                  <a:pt x="467" y="210"/>
                  <a:pt x="441" y="222"/>
                  <a:pt x="429" y="211"/>
                </a:cubicBezTo>
                <a:cubicBezTo>
                  <a:pt x="440" y="209"/>
                  <a:pt x="451" y="209"/>
                  <a:pt x="462" y="208"/>
                </a:cubicBezTo>
                <a:cubicBezTo>
                  <a:pt x="465" y="207"/>
                  <a:pt x="475" y="208"/>
                  <a:pt x="477" y="206"/>
                </a:cubicBezTo>
                <a:cubicBezTo>
                  <a:pt x="479" y="204"/>
                  <a:pt x="479" y="198"/>
                  <a:pt x="481" y="194"/>
                </a:cubicBezTo>
                <a:cubicBezTo>
                  <a:pt x="470" y="195"/>
                  <a:pt x="455" y="202"/>
                  <a:pt x="445" y="199"/>
                </a:cubicBezTo>
                <a:cubicBezTo>
                  <a:pt x="433" y="196"/>
                  <a:pt x="443" y="178"/>
                  <a:pt x="446" y="169"/>
                </a:cubicBezTo>
                <a:cubicBezTo>
                  <a:pt x="440" y="169"/>
                  <a:pt x="434" y="169"/>
                  <a:pt x="428" y="169"/>
                </a:cubicBezTo>
                <a:cubicBezTo>
                  <a:pt x="430" y="166"/>
                  <a:pt x="430" y="163"/>
                  <a:pt x="431" y="160"/>
                </a:cubicBezTo>
                <a:cubicBezTo>
                  <a:pt x="424" y="161"/>
                  <a:pt x="414" y="161"/>
                  <a:pt x="410" y="167"/>
                </a:cubicBezTo>
                <a:cubicBezTo>
                  <a:pt x="407" y="168"/>
                  <a:pt x="404" y="169"/>
                  <a:pt x="403" y="166"/>
                </a:cubicBezTo>
                <a:cubicBezTo>
                  <a:pt x="403" y="166"/>
                  <a:pt x="403" y="166"/>
                  <a:pt x="403" y="166"/>
                </a:cubicBezTo>
                <a:cubicBezTo>
                  <a:pt x="407" y="154"/>
                  <a:pt x="418" y="160"/>
                  <a:pt x="428" y="157"/>
                </a:cubicBezTo>
                <a:cubicBezTo>
                  <a:pt x="428" y="157"/>
                  <a:pt x="427" y="156"/>
                  <a:pt x="427" y="156"/>
                </a:cubicBezTo>
                <a:cubicBezTo>
                  <a:pt x="434" y="160"/>
                  <a:pt x="448" y="138"/>
                  <a:pt x="428" y="148"/>
                </a:cubicBezTo>
                <a:cubicBezTo>
                  <a:pt x="426" y="142"/>
                  <a:pt x="432" y="138"/>
                  <a:pt x="427" y="133"/>
                </a:cubicBezTo>
                <a:cubicBezTo>
                  <a:pt x="422" y="128"/>
                  <a:pt x="419" y="131"/>
                  <a:pt x="417" y="135"/>
                </a:cubicBezTo>
                <a:cubicBezTo>
                  <a:pt x="417" y="133"/>
                  <a:pt x="416" y="131"/>
                  <a:pt x="416" y="130"/>
                </a:cubicBezTo>
                <a:cubicBezTo>
                  <a:pt x="414" y="132"/>
                  <a:pt x="413" y="138"/>
                  <a:pt x="410" y="139"/>
                </a:cubicBezTo>
                <a:cubicBezTo>
                  <a:pt x="408" y="133"/>
                  <a:pt x="415" y="130"/>
                  <a:pt x="414" y="125"/>
                </a:cubicBezTo>
                <a:cubicBezTo>
                  <a:pt x="414" y="120"/>
                  <a:pt x="408" y="133"/>
                  <a:pt x="408" y="133"/>
                </a:cubicBezTo>
                <a:cubicBezTo>
                  <a:pt x="407" y="130"/>
                  <a:pt x="407" y="128"/>
                  <a:pt x="408" y="125"/>
                </a:cubicBezTo>
                <a:cubicBezTo>
                  <a:pt x="407" y="127"/>
                  <a:pt x="406" y="127"/>
                  <a:pt x="405" y="129"/>
                </a:cubicBezTo>
                <a:cubicBezTo>
                  <a:pt x="400" y="124"/>
                  <a:pt x="403" y="117"/>
                  <a:pt x="397" y="114"/>
                </a:cubicBezTo>
                <a:cubicBezTo>
                  <a:pt x="397" y="115"/>
                  <a:pt x="397" y="117"/>
                  <a:pt x="397" y="119"/>
                </a:cubicBezTo>
                <a:cubicBezTo>
                  <a:pt x="397" y="114"/>
                  <a:pt x="396" y="111"/>
                  <a:pt x="396" y="107"/>
                </a:cubicBezTo>
                <a:cubicBezTo>
                  <a:pt x="389" y="110"/>
                  <a:pt x="386" y="116"/>
                  <a:pt x="385" y="124"/>
                </a:cubicBezTo>
                <a:cubicBezTo>
                  <a:pt x="385" y="129"/>
                  <a:pt x="385" y="128"/>
                  <a:pt x="383" y="133"/>
                </a:cubicBezTo>
                <a:cubicBezTo>
                  <a:pt x="382" y="138"/>
                  <a:pt x="380" y="141"/>
                  <a:pt x="383" y="146"/>
                </a:cubicBezTo>
                <a:cubicBezTo>
                  <a:pt x="387" y="151"/>
                  <a:pt x="397" y="153"/>
                  <a:pt x="398" y="160"/>
                </a:cubicBezTo>
                <a:cubicBezTo>
                  <a:pt x="395" y="159"/>
                  <a:pt x="391" y="155"/>
                  <a:pt x="388" y="155"/>
                </a:cubicBezTo>
                <a:cubicBezTo>
                  <a:pt x="384" y="154"/>
                  <a:pt x="382" y="160"/>
                  <a:pt x="378" y="160"/>
                </a:cubicBezTo>
                <a:cubicBezTo>
                  <a:pt x="373" y="160"/>
                  <a:pt x="363" y="154"/>
                  <a:pt x="360" y="151"/>
                </a:cubicBezTo>
                <a:cubicBezTo>
                  <a:pt x="357" y="147"/>
                  <a:pt x="356" y="139"/>
                  <a:pt x="350" y="136"/>
                </a:cubicBezTo>
                <a:cubicBezTo>
                  <a:pt x="346" y="134"/>
                  <a:pt x="335" y="135"/>
                  <a:pt x="331" y="137"/>
                </a:cubicBezTo>
                <a:cubicBezTo>
                  <a:pt x="327" y="141"/>
                  <a:pt x="327" y="152"/>
                  <a:pt x="323" y="154"/>
                </a:cubicBezTo>
                <a:cubicBezTo>
                  <a:pt x="321" y="155"/>
                  <a:pt x="316" y="153"/>
                  <a:pt x="312" y="155"/>
                </a:cubicBezTo>
                <a:cubicBezTo>
                  <a:pt x="309" y="157"/>
                  <a:pt x="307" y="163"/>
                  <a:pt x="306" y="167"/>
                </a:cubicBezTo>
                <a:cubicBezTo>
                  <a:pt x="304" y="176"/>
                  <a:pt x="305" y="182"/>
                  <a:pt x="313" y="187"/>
                </a:cubicBezTo>
                <a:cubicBezTo>
                  <a:pt x="318" y="189"/>
                  <a:pt x="324" y="188"/>
                  <a:pt x="329" y="192"/>
                </a:cubicBezTo>
                <a:cubicBezTo>
                  <a:pt x="322" y="193"/>
                  <a:pt x="329" y="207"/>
                  <a:pt x="332" y="212"/>
                </a:cubicBezTo>
                <a:cubicBezTo>
                  <a:pt x="329" y="213"/>
                  <a:pt x="328" y="214"/>
                  <a:pt x="326" y="215"/>
                </a:cubicBezTo>
                <a:cubicBezTo>
                  <a:pt x="327" y="214"/>
                  <a:pt x="328" y="213"/>
                  <a:pt x="329" y="213"/>
                </a:cubicBezTo>
                <a:cubicBezTo>
                  <a:pt x="321" y="208"/>
                  <a:pt x="317" y="201"/>
                  <a:pt x="311" y="198"/>
                </a:cubicBezTo>
                <a:cubicBezTo>
                  <a:pt x="305" y="196"/>
                  <a:pt x="302" y="198"/>
                  <a:pt x="299" y="191"/>
                </a:cubicBezTo>
                <a:cubicBezTo>
                  <a:pt x="298" y="189"/>
                  <a:pt x="298" y="187"/>
                  <a:pt x="299" y="185"/>
                </a:cubicBezTo>
                <a:cubicBezTo>
                  <a:pt x="300" y="177"/>
                  <a:pt x="299" y="169"/>
                  <a:pt x="298" y="161"/>
                </a:cubicBezTo>
                <a:cubicBezTo>
                  <a:pt x="291" y="163"/>
                  <a:pt x="276" y="171"/>
                  <a:pt x="272" y="178"/>
                </a:cubicBezTo>
                <a:cubicBezTo>
                  <a:pt x="271" y="180"/>
                  <a:pt x="273" y="183"/>
                  <a:pt x="272" y="184"/>
                </a:cubicBezTo>
                <a:cubicBezTo>
                  <a:pt x="269" y="189"/>
                  <a:pt x="271" y="186"/>
                  <a:pt x="267" y="189"/>
                </a:cubicBezTo>
                <a:cubicBezTo>
                  <a:pt x="263" y="191"/>
                  <a:pt x="259" y="194"/>
                  <a:pt x="254" y="190"/>
                </a:cubicBezTo>
                <a:cubicBezTo>
                  <a:pt x="259" y="199"/>
                  <a:pt x="248" y="198"/>
                  <a:pt x="241" y="199"/>
                </a:cubicBezTo>
                <a:cubicBezTo>
                  <a:pt x="233" y="201"/>
                  <a:pt x="225" y="203"/>
                  <a:pt x="217" y="206"/>
                </a:cubicBezTo>
                <a:cubicBezTo>
                  <a:pt x="217" y="196"/>
                  <a:pt x="225" y="192"/>
                  <a:pt x="232" y="187"/>
                </a:cubicBezTo>
                <a:cubicBezTo>
                  <a:pt x="234" y="190"/>
                  <a:pt x="235" y="193"/>
                  <a:pt x="238" y="195"/>
                </a:cubicBezTo>
                <a:cubicBezTo>
                  <a:pt x="237" y="174"/>
                  <a:pt x="256" y="193"/>
                  <a:pt x="260" y="188"/>
                </a:cubicBezTo>
                <a:cubicBezTo>
                  <a:pt x="264" y="185"/>
                  <a:pt x="248" y="178"/>
                  <a:pt x="262" y="175"/>
                </a:cubicBezTo>
                <a:cubicBezTo>
                  <a:pt x="259" y="176"/>
                  <a:pt x="256" y="177"/>
                  <a:pt x="253" y="177"/>
                </a:cubicBezTo>
                <a:cubicBezTo>
                  <a:pt x="254" y="176"/>
                  <a:pt x="266" y="168"/>
                  <a:pt x="263" y="167"/>
                </a:cubicBezTo>
                <a:cubicBezTo>
                  <a:pt x="262" y="167"/>
                  <a:pt x="254" y="173"/>
                  <a:pt x="252" y="174"/>
                </a:cubicBezTo>
                <a:cubicBezTo>
                  <a:pt x="253" y="170"/>
                  <a:pt x="257" y="167"/>
                  <a:pt x="259" y="165"/>
                </a:cubicBezTo>
                <a:cubicBezTo>
                  <a:pt x="258" y="165"/>
                  <a:pt x="258" y="166"/>
                  <a:pt x="258" y="166"/>
                </a:cubicBezTo>
                <a:cubicBezTo>
                  <a:pt x="257" y="163"/>
                  <a:pt x="259" y="156"/>
                  <a:pt x="257" y="154"/>
                </a:cubicBezTo>
                <a:cubicBezTo>
                  <a:pt x="254" y="151"/>
                  <a:pt x="254" y="157"/>
                  <a:pt x="254" y="158"/>
                </a:cubicBezTo>
                <a:cubicBezTo>
                  <a:pt x="251" y="158"/>
                  <a:pt x="249" y="158"/>
                  <a:pt x="247" y="160"/>
                </a:cubicBezTo>
                <a:cubicBezTo>
                  <a:pt x="248" y="159"/>
                  <a:pt x="249" y="159"/>
                  <a:pt x="250" y="158"/>
                </a:cubicBezTo>
                <a:cubicBezTo>
                  <a:pt x="246" y="156"/>
                  <a:pt x="243" y="159"/>
                  <a:pt x="240" y="161"/>
                </a:cubicBezTo>
                <a:cubicBezTo>
                  <a:pt x="241" y="160"/>
                  <a:pt x="241" y="159"/>
                  <a:pt x="241" y="158"/>
                </a:cubicBezTo>
                <a:cubicBezTo>
                  <a:pt x="237" y="159"/>
                  <a:pt x="234" y="149"/>
                  <a:pt x="229" y="146"/>
                </a:cubicBezTo>
                <a:cubicBezTo>
                  <a:pt x="229" y="150"/>
                  <a:pt x="231" y="161"/>
                  <a:pt x="230" y="165"/>
                </a:cubicBezTo>
                <a:cubicBezTo>
                  <a:pt x="228" y="169"/>
                  <a:pt x="225" y="168"/>
                  <a:pt x="221" y="170"/>
                </a:cubicBezTo>
                <a:cubicBezTo>
                  <a:pt x="221" y="170"/>
                  <a:pt x="223" y="169"/>
                  <a:pt x="223" y="169"/>
                </a:cubicBezTo>
                <a:cubicBezTo>
                  <a:pt x="221" y="169"/>
                  <a:pt x="212" y="171"/>
                  <a:pt x="212" y="173"/>
                </a:cubicBezTo>
                <a:cubicBezTo>
                  <a:pt x="211" y="176"/>
                  <a:pt x="222" y="176"/>
                  <a:pt x="225" y="179"/>
                </a:cubicBezTo>
                <a:cubicBezTo>
                  <a:pt x="221" y="185"/>
                  <a:pt x="222" y="190"/>
                  <a:pt x="216" y="194"/>
                </a:cubicBezTo>
                <a:cubicBezTo>
                  <a:pt x="211" y="197"/>
                  <a:pt x="203" y="199"/>
                  <a:pt x="198" y="199"/>
                </a:cubicBezTo>
                <a:cubicBezTo>
                  <a:pt x="199" y="192"/>
                  <a:pt x="203" y="181"/>
                  <a:pt x="206" y="175"/>
                </a:cubicBezTo>
                <a:cubicBezTo>
                  <a:pt x="208" y="170"/>
                  <a:pt x="211" y="157"/>
                  <a:pt x="218" y="161"/>
                </a:cubicBezTo>
                <a:cubicBezTo>
                  <a:pt x="215" y="152"/>
                  <a:pt x="224" y="153"/>
                  <a:pt x="227" y="149"/>
                </a:cubicBezTo>
                <a:cubicBezTo>
                  <a:pt x="232" y="141"/>
                  <a:pt x="224" y="146"/>
                  <a:pt x="219" y="146"/>
                </a:cubicBezTo>
                <a:cubicBezTo>
                  <a:pt x="219" y="146"/>
                  <a:pt x="219" y="146"/>
                  <a:pt x="219" y="146"/>
                </a:cubicBezTo>
                <a:cubicBezTo>
                  <a:pt x="218" y="146"/>
                  <a:pt x="218" y="146"/>
                  <a:pt x="217" y="146"/>
                </a:cubicBezTo>
                <a:cubicBezTo>
                  <a:pt x="218" y="146"/>
                  <a:pt x="218" y="146"/>
                  <a:pt x="219" y="146"/>
                </a:cubicBezTo>
                <a:cubicBezTo>
                  <a:pt x="218" y="143"/>
                  <a:pt x="221" y="140"/>
                  <a:pt x="217" y="138"/>
                </a:cubicBezTo>
                <a:cubicBezTo>
                  <a:pt x="216" y="140"/>
                  <a:pt x="215" y="141"/>
                  <a:pt x="214" y="142"/>
                </a:cubicBezTo>
                <a:cubicBezTo>
                  <a:pt x="215" y="141"/>
                  <a:pt x="216" y="140"/>
                  <a:pt x="217" y="138"/>
                </a:cubicBezTo>
                <a:cubicBezTo>
                  <a:pt x="217" y="138"/>
                  <a:pt x="217" y="138"/>
                  <a:pt x="217" y="138"/>
                </a:cubicBezTo>
                <a:cubicBezTo>
                  <a:pt x="220" y="135"/>
                  <a:pt x="221" y="131"/>
                  <a:pt x="220" y="127"/>
                </a:cubicBezTo>
                <a:cubicBezTo>
                  <a:pt x="220" y="127"/>
                  <a:pt x="219" y="128"/>
                  <a:pt x="218" y="128"/>
                </a:cubicBezTo>
                <a:cubicBezTo>
                  <a:pt x="222" y="124"/>
                  <a:pt x="227" y="120"/>
                  <a:pt x="232" y="117"/>
                </a:cubicBezTo>
                <a:cubicBezTo>
                  <a:pt x="235" y="123"/>
                  <a:pt x="237" y="128"/>
                  <a:pt x="244" y="131"/>
                </a:cubicBezTo>
                <a:cubicBezTo>
                  <a:pt x="250" y="134"/>
                  <a:pt x="251" y="133"/>
                  <a:pt x="255" y="131"/>
                </a:cubicBezTo>
                <a:cubicBezTo>
                  <a:pt x="265" y="127"/>
                  <a:pt x="264" y="120"/>
                  <a:pt x="264" y="111"/>
                </a:cubicBezTo>
                <a:cubicBezTo>
                  <a:pt x="271" y="115"/>
                  <a:pt x="276" y="108"/>
                  <a:pt x="276" y="101"/>
                </a:cubicBezTo>
                <a:cubicBezTo>
                  <a:pt x="276" y="93"/>
                  <a:pt x="268" y="84"/>
                  <a:pt x="264" y="77"/>
                </a:cubicBezTo>
                <a:cubicBezTo>
                  <a:pt x="266" y="75"/>
                  <a:pt x="270" y="74"/>
                  <a:pt x="272" y="74"/>
                </a:cubicBezTo>
                <a:cubicBezTo>
                  <a:pt x="271" y="72"/>
                  <a:pt x="270" y="70"/>
                  <a:pt x="269" y="68"/>
                </a:cubicBezTo>
                <a:cubicBezTo>
                  <a:pt x="267" y="66"/>
                  <a:pt x="263" y="65"/>
                  <a:pt x="262" y="62"/>
                </a:cubicBezTo>
                <a:cubicBezTo>
                  <a:pt x="267" y="62"/>
                  <a:pt x="271" y="61"/>
                  <a:pt x="276" y="62"/>
                </a:cubicBezTo>
                <a:cubicBezTo>
                  <a:pt x="278" y="62"/>
                  <a:pt x="290" y="63"/>
                  <a:pt x="290" y="63"/>
                </a:cubicBezTo>
                <a:cubicBezTo>
                  <a:pt x="293" y="66"/>
                  <a:pt x="289" y="74"/>
                  <a:pt x="289" y="76"/>
                </a:cubicBezTo>
                <a:cubicBezTo>
                  <a:pt x="290" y="79"/>
                  <a:pt x="295" y="82"/>
                  <a:pt x="298" y="84"/>
                </a:cubicBezTo>
                <a:cubicBezTo>
                  <a:pt x="301" y="86"/>
                  <a:pt x="316" y="99"/>
                  <a:pt x="321" y="94"/>
                </a:cubicBezTo>
                <a:cubicBezTo>
                  <a:pt x="324" y="92"/>
                  <a:pt x="321" y="79"/>
                  <a:pt x="319" y="76"/>
                </a:cubicBezTo>
                <a:cubicBezTo>
                  <a:pt x="328" y="78"/>
                  <a:pt x="339" y="71"/>
                  <a:pt x="340" y="63"/>
                </a:cubicBezTo>
                <a:cubicBezTo>
                  <a:pt x="341" y="53"/>
                  <a:pt x="332" y="56"/>
                  <a:pt x="329" y="50"/>
                </a:cubicBezTo>
                <a:cubicBezTo>
                  <a:pt x="328" y="48"/>
                  <a:pt x="333" y="45"/>
                  <a:pt x="332" y="41"/>
                </a:cubicBezTo>
                <a:cubicBezTo>
                  <a:pt x="331" y="37"/>
                  <a:pt x="327" y="36"/>
                  <a:pt x="325" y="35"/>
                </a:cubicBezTo>
                <a:cubicBezTo>
                  <a:pt x="314" y="31"/>
                  <a:pt x="305" y="38"/>
                  <a:pt x="295" y="38"/>
                </a:cubicBezTo>
                <a:cubicBezTo>
                  <a:pt x="296" y="37"/>
                  <a:pt x="297" y="36"/>
                  <a:pt x="298" y="35"/>
                </a:cubicBezTo>
                <a:cubicBezTo>
                  <a:pt x="296" y="35"/>
                  <a:pt x="293" y="34"/>
                  <a:pt x="291" y="34"/>
                </a:cubicBezTo>
                <a:cubicBezTo>
                  <a:pt x="298" y="34"/>
                  <a:pt x="307" y="32"/>
                  <a:pt x="295" y="31"/>
                </a:cubicBezTo>
                <a:cubicBezTo>
                  <a:pt x="296" y="31"/>
                  <a:pt x="308" y="29"/>
                  <a:pt x="303" y="27"/>
                </a:cubicBezTo>
                <a:cubicBezTo>
                  <a:pt x="301" y="26"/>
                  <a:pt x="294" y="29"/>
                  <a:pt x="291" y="29"/>
                </a:cubicBezTo>
                <a:cubicBezTo>
                  <a:pt x="293" y="24"/>
                  <a:pt x="297" y="27"/>
                  <a:pt x="298" y="25"/>
                </a:cubicBezTo>
                <a:cubicBezTo>
                  <a:pt x="298" y="25"/>
                  <a:pt x="300" y="19"/>
                  <a:pt x="300" y="19"/>
                </a:cubicBezTo>
                <a:cubicBezTo>
                  <a:pt x="299" y="15"/>
                  <a:pt x="299" y="13"/>
                  <a:pt x="295" y="11"/>
                </a:cubicBezTo>
                <a:cubicBezTo>
                  <a:pt x="294" y="11"/>
                  <a:pt x="289" y="12"/>
                  <a:pt x="289" y="12"/>
                </a:cubicBezTo>
                <a:cubicBezTo>
                  <a:pt x="286" y="9"/>
                  <a:pt x="290" y="5"/>
                  <a:pt x="292" y="1"/>
                </a:cubicBezTo>
                <a:cubicBezTo>
                  <a:pt x="287" y="1"/>
                  <a:pt x="283" y="3"/>
                  <a:pt x="280" y="6"/>
                </a:cubicBezTo>
                <a:cubicBezTo>
                  <a:pt x="281" y="6"/>
                  <a:pt x="282" y="6"/>
                  <a:pt x="283" y="5"/>
                </a:cubicBezTo>
                <a:cubicBezTo>
                  <a:pt x="272" y="7"/>
                  <a:pt x="276" y="26"/>
                  <a:pt x="271" y="33"/>
                </a:cubicBezTo>
                <a:cubicBezTo>
                  <a:pt x="269" y="35"/>
                  <a:pt x="263" y="38"/>
                  <a:pt x="260" y="40"/>
                </a:cubicBezTo>
                <a:cubicBezTo>
                  <a:pt x="255" y="44"/>
                  <a:pt x="249" y="49"/>
                  <a:pt x="243" y="53"/>
                </a:cubicBezTo>
                <a:cubicBezTo>
                  <a:pt x="241" y="55"/>
                  <a:pt x="236" y="62"/>
                  <a:pt x="232" y="62"/>
                </a:cubicBezTo>
                <a:cubicBezTo>
                  <a:pt x="229" y="63"/>
                  <a:pt x="230" y="59"/>
                  <a:pt x="226" y="60"/>
                </a:cubicBezTo>
                <a:cubicBezTo>
                  <a:pt x="224" y="61"/>
                  <a:pt x="222" y="63"/>
                  <a:pt x="221" y="65"/>
                </a:cubicBezTo>
                <a:cubicBezTo>
                  <a:pt x="217" y="73"/>
                  <a:pt x="220" y="77"/>
                  <a:pt x="210" y="80"/>
                </a:cubicBezTo>
                <a:cubicBezTo>
                  <a:pt x="204" y="81"/>
                  <a:pt x="197" y="81"/>
                  <a:pt x="194" y="74"/>
                </a:cubicBezTo>
                <a:cubicBezTo>
                  <a:pt x="203" y="73"/>
                  <a:pt x="196" y="61"/>
                  <a:pt x="191" y="59"/>
                </a:cubicBezTo>
                <a:cubicBezTo>
                  <a:pt x="185" y="57"/>
                  <a:pt x="173" y="57"/>
                  <a:pt x="167" y="58"/>
                </a:cubicBezTo>
                <a:cubicBezTo>
                  <a:pt x="163" y="60"/>
                  <a:pt x="156" y="64"/>
                  <a:pt x="153" y="68"/>
                </a:cubicBezTo>
                <a:cubicBezTo>
                  <a:pt x="147" y="74"/>
                  <a:pt x="151" y="78"/>
                  <a:pt x="149" y="83"/>
                </a:cubicBezTo>
                <a:cubicBezTo>
                  <a:pt x="150" y="83"/>
                  <a:pt x="151" y="84"/>
                  <a:pt x="151" y="84"/>
                </a:cubicBezTo>
                <a:cubicBezTo>
                  <a:pt x="150" y="84"/>
                  <a:pt x="150" y="84"/>
                  <a:pt x="149" y="83"/>
                </a:cubicBezTo>
                <a:cubicBezTo>
                  <a:pt x="149" y="83"/>
                  <a:pt x="149" y="83"/>
                  <a:pt x="149" y="83"/>
                </a:cubicBezTo>
                <a:cubicBezTo>
                  <a:pt x="143" y="82"/>
                  <a:pt x="137" y="83"/>
                  <a:pt x="130" y="84"/>
                </a:cubicBezTo>
                <a:cubicBezTo>
                  <a:pt x="130" y="78"/>
                  <a:pt x="139" y="70"/>
                  <a:pt x="144" y="77"/>
                </a:cubicBezTo>
                <a:cubicBezTo>
                  <a:pt x="143" y="72"/>
                  <a:pt x="139" y="65"/>
                  <a:pt x="144" y="63"/>
                </a:cubicBezTo>
                <a:cubicBezTo>
                  <a:pt x="144" y="63"/>
                  <a:pt x="143" y="62"/>
                  <a:pt x="143" y="62"/>
                </a:cubicBezTo>
                <a:cubicBezTo>
                  <a:pt x="145" y="62"/>
                  <a:pt x="152" y="61"/>
                  <a:pt x="151" y="58"/>
                </a:cubicBezTo>
                <a:cubicBezTo>
                  <a:pt x="151" y="55"/>
                  <a:pt x="141" y="60"/>
                  <a:pt x="145" y="53"/>
                </a:cubicBezTo>
                <a:cubicBezTo>
                  <a:pt x="143" y="55"/>
                  <a:pt x="141" y="57"/>
                  <a:pt x="138" y="59"/>
                </a:cubicBezTo>
                <a:cubicBezTo>
                  <a:pt x="136" y="54"/>
                  <a:pt x="139" y="54"/>
                  <a:pt x="141" y="52"/>
                </a:cubicBezTo>
                <a:cubicBezTo>
                  <a:pt x="142" y="50"/>
                  <a:pt x="148" y="48"/>
                  <a:pt x="149" y="48"/>
                </a:cubicBezTo>
                <a:cubicBezTo>
                  <a:pt x="152" y="42"/>
                  <a:pt x="139" y="44"/>
                  <a:pt x="138" y="46"/>
                </a:cubicBezTo>
                <a:cubicBezTo>
                  <a:pt x="135" y="39"/>
                  <a:pt x="131" y="45"/>
                  <a:pt x="127" y="48"/>
                </a:cubicBezTo>
                <a:cubicBezTo>
                  <a:pt x="124" y="49"/>
                  <a:pt x="124" y="50"/>
                  <a:pt x="125" y="50"/>
                </a:cubicBezTo>
                <a:cubicBezTo>
                  <a:pt x="124" y="50"/>
                  <a:pt x="124" y="50"/>
                  <a:pt x="122" y="50"/>
                </a:cubicBezTo>
                <a:cubicBezTo>
                  <a:pt x="119" y="49"/>
                  <a:pt x="116" y="48"/>
                  <a:pt x="114" y="46"/>
                </a:cubicBezTo>
                <a:cubicBezTo>
                  <a:pt x="119" y="45"/>
                  <a:pt x="117" y="40"/>
                  <a:pt x="119" y="37"/>
                </a:cubicBezTo>
                <a:cubicBezTo>
                  <a:pt x="123" y="33"/>
                  <a:pt x="128" y="34"/>
                  <a:pt x="131" y="29"/>
                </a:cubicBezTo>
                <a:cubicBezTo>
                  <a:pt x="137" y="20"/>
                  <a:pt x="134" y="14"/>
                  <a:pt x="124" y="17"/>
                </a:cubicBezTo>
                <a:cubicBezTo>
                  <a:pt x="122" y="18"/>
                  <a:pt x="115" y="23"/>
                  <a:pt x="114" y="23"/>
                </a:cubicBezTo>
                <a:cubicBezTo>
                  <a:pt x="112" y="23"/>
                  <a:pt x="110" y="19"/>
                  <a:pt x="111" y="19"/>
                </a:cubicBezTo>
                <a:cubicBezTo>
                  <a:pt x="111" y="19"/>
                  <a:pt x="112" y="17"/>
                  <a:pt x="109" y="17"/>
                </a:cubicBezTo>
                <a:cubicBezTo>
                  <a:pt x="108" y="17"/>
                  <a:pt x="105" y="19"/>
                  <a:pt x="103" y="21"/>
                </a:cubicBezTo>
                <a:cubicBezTo>
                  <a:pt x="102" y="22"/>
                  <a:pt x="101" y="23"/>
                  <a:pt x="101" y="23"/>
                </a:cubicBezTo>
                <a:cubicBezTo>
                  <a:pt x="101" y="23"/>
                  <a:pt x="102" y="22"/>
                  <a:pt x="103" y="21"/>
                </a:cubicBezTo>
                <a:cubicBezTo>
                  <a:pt x="106" y="17"/>
                  <a:pt x="112" y="9"/>
                  <a:pt x="108" y="10"/>
                </a:cubicBezTo>
                <a:cubicBezTo>
                  <a:pt x="104" y="10"/>
                  <a:pt x="104" y="19"/>
                  <a:pt x="99" y="21"/>
                </a:cubicBezTo>
                <a:cubicBezTo>
                  <a:pt x="99" y="22"/>
                  <a:pt x="98" y="24"/>
                  <a:pt x="97" y="25"/>
                </a:cubicBezTo>
                <a:cubicBezTo>
                  <a:pt x="97" y="24"/>
                  <a:pt x="97" y="22"/>
                  <a:pt x="97" y="21"/>
                </a:cubicBezTo>
                <a:cubicBezTo>
                  <a:pt x="98" y="21"/>
                  <a:pt x="98" y="21"/>
                  <a:pt x="99" y="21"/>
                </a:cubicBezTo>
                <a:cubicBezTo>
                  <a:pt x="99" y="18"/>
                  <a:pt x="99" y="16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7" y="16"/>
                  <a:pt x="96" y="18"/>
                  <a:pt x="97" y="20"/>
                </a:cubicBezTo>
                <a:cubicBezTo>
                  <a:pt x="96" y="18"/>
                  <a:pt x="96" y="16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7" y="14"/>
                  <a:pt x="97" y="14"/>
                  <a:pt x="97" y="14"/>
                </a:cubicBezTo>
                <a:cubicBezTo>
                  <a:pt x="98" y="13"/>
                  <a:pt x="98" y="12"/>
                  <a:pt x="100" y="12"/>
                </a:cubicBezTo>
                <a:cubicBezTo>
                  <a:pt x="99" y="11"/>
                  <a:pt x="98" y="9"/>
                  <a:pt x="99" y="6"/>
                </a:cubicBezTo>
                <a:cubicBezTo>
                  <a:pt x="97" y="5"/>
                  <a:pt x="92" y="3"/>
                  <a:pt x="89" y="4"/>
                </a:cubicBezTo>
                <a:cubicBezTo>
                  <a:pt x="86" y="5"/>
                  <a:pt x="86" y="9"/>
                  <a:pt x="85" y="9"/>
                </a:cubicBezTo>
                <a:cubicBezTo>
                  <a:pt x="79" y="10"/>
                  <a:pt x="78" y="5"/>
                  <a:pt x="77" y="0"/>
                </a:cubicBezTo>
                <a:cubicBezTo>
                  <a:pt x="65" y="6"/>
                  <a:pt x="74" y="21"/>
                  <a:pt x="78" y="29"/>
                </a:cubicBezTo>
                <a:cubicBezTo>
                  <a:pt x="81" y="33"/>
                  <a:pt x="87" y="39"/>
                  <a:pt x="87" y="43"/>
                </a:cubicBezTo>
                <a:cubicBezTo>
                  <a:pt x="87" y="45"/>
                  <a:pt x="85" y="48"/>
                  <a:pt x="84" y="50"/>
                </a:cubicBezTo>
                <a:cubicBezTo>
                  <a:pt x="84" y="53"/>
                  <a:pt x="84" y="55"/>
                  <a:pt x="84" y="57"/>
                </a:cubicBezTo>
                <a:cubicBezTo>
                  <a:pt x="84" y="63"/>
                  <a:pt x="84" y="70"/>
                  <a:pt x="82" y="75"/>
                </a:cubicBezTo>
                <a:cubicBezTo>
                  <a:pt x="80" y="83"/>
                  <a:pt x="78" y="78"/>
                  <a:pt x="73" y="84"/>
                </a:cubicBezTo>
                <a:cubicBezTo>
                  <a:pt x="67" y="89"/>
                  <a:pt x="68" y="100"/>
                  <a:pt x="73" y="102"/>
                </a:cubicBezTo>
                <a:cubicBezTo>
                  <a:pt x="74" y="103"/>
                  <a:pt x="76" y="103"/>
                  <a:pt x="77" y="103"/>
                </a:cubicBezTo>
                <a:cubicBezTo>
                  <a:pt x="76" y="103"/>
                  <a:pt x="74" y="103"/>
                  <a:pt x="73" y="102"/>
                </a:cubicBezTo>
                <a:cubicBezTo>
                  <a:pt x="69" y="101"/>
                  <a:pt x="65" y="100"/>
                  <a:pt x="60" y="104"/>
                </a:cubicBezTo>
                <a:cubicBezTo>
                  <a:pt x="52" y="110"/>
                  <a:pt x="50" y="116"/>
                  <a:pt x="53" y="124"/>
                </a:cubicBezTo>
                <a:cubicBezTo>
                  <a:pt x="54" y="127"/>
                  <a:pt x="53" y="128"/>
                  <a:pt x="55" y="130"/>
                </a:cubicBezTo>
                <a:cubicBezTo>
                  <a:pt x="56" y="132"/>
                  <a:pt x="59" y="132"/>
                  <a:pt x="60" y="133"/>
                </a:cubicBezTo>
                <a:cubicBezTo>
                  <a:pt x="63" y="137"/>
                  <a:pt x="63" y="134"/>
                  <a:pt x="62" y="139"/>
                </a:cubicBezTo>
                <a:cubicBezTo>
                  <a:pt x="61" y="145"/>
                  <a:pt x="48" y="158"/>
                  <a:pt x="43" y="161"/>
                </a:cubicBezTo>
                <a:cubicBezTo>
                  <a:pt x="43" y="149"/>
                  <a:pt x="49" y="139"/>
                  <a:pt x="50" y="127"/>
                </a:cubicBezTo>
                <a:cubicBezTo>
                  <a:pt x="42" y="134"/>
                  <a:pt x="39" y="148"/>
                  <a:pt x="35" y="157"/>
                </a:cubicBezTo>
                <a:cubicBezTo>
                  <a:pt x="30" y="168"/>
                  <a:pt x="26" y="178"/>
                  <a:pt x="22" y="189"/>
                </a:cubicBezTo>
                <a:cubicBezTo>
                  <a:pt x="18" y="200"/>
                  <a:pt x="13" y="210"/>
                  <a:pt x="8" y="220"/>
                </a:cubicBezTo>
                <a:cubicBezTo>
                  <a:pt x="1" y="231"/>
                  <a:pt x="2" y="240"/>
                  <a:pt x="2" y="252"/>
                </a:cubicBezTo>
                <a:cubicBezTo>
                  <a:pt x="9" y="249"/>
                  <a:pt x="13" y="235"/>
                  <a:pt x="17" y="228"/>
                </a:cubicBezTo>
                <a:cubicBezTo>
                  <a:pt x="19" y="224"/>
                  <a:pt x="20" y="219"/>
                  <a:pt x="24" y="217"/>
                </a:cubicBezTo>
                <a:cubicBezTo>
                  <a:pt x="28" y="214"/>
                  <a:pt x="36" y="213"/>
                  <a:pt x="40" y="211"/>
                </a:cubicBezTo>
                <a:cubicBezTo>
                  <a:pt x="40" y="211"/>
                  <a:pt x="40" y="211"/>
                  <a:pt x="40" y="211"/>
                </a:cubicBezTo>
                <a:cubicBezTo>
                  <a:pt x="40" y="211"/>
                  <a:pt x="40" y="210"/>
                  <a:pt x="39" y="210"/>
                </a:cubicBezTo>
                <a:cubicBezTo>
                  <a:pt x="39" y="209"/>
                  <a:pt x="40" y="211"/>
                  <a:pt x="40" y="211"/>
                </a:cubicBezTo>
                <a:cubicBezTo>
                  <a:pt x="45" y="218"/>
                  <a:pt x="62" y="222"/>
                  <a:pt x="70" y="224"/>
                </a:cubicBezTo>
                <a:cubicBezTo>
                  <a:pt x="68" y="220"/>
                  <a:pt x="65" y="216"/>
                  <a:pt x="64" y="211"/>
                </a:cubicBezTo>
                <a:cubicBezTo>
                  <a:pt x="62" y="205"/>
                  <a:pt x="63" y="206"/>
                  <a:pt x="65" y="200"/>
                </a:cubicBezTo>
                <a:cubicBezTo>
                  <a:pt x="66" y="195"/>
                  <a:pt x="69" y="189"/>
                  <a:pt x="70" y="184"/>
                </a:cubicBezTo>
                <a:cubicBezTo>
                  <a:pt x="64" y="184"/>
                  <a:pt x="58" y="185"/>
                  <a:pt x="52" y="185"/>
                </a:cubicBezTo>
                <a:cubicBezTo>
                  <a:pt x="53" y="183"/>
                  <a:pt x="54" y="179"/>
                  <a:pt x="54" y="176"/>
                </a:cubicBezTo>
                <a:cubicBezTo>
                  <a:pt x="50" y="176"/>
                  <a:pt x="47" y="177"/>
                  <a:pt x="42" y="177"/>
                </a:cubicBezTo>
                <a:cubicBezTo>
                  <a:pt x="53" y="164"/>
                  <a:pt x="63" y="152"/>
                  <a:pt x="72" y="139"/>
                </a:cubicBezTo>
                <a:cubicBezTo>
                  <a:pt x="75" y="147"/>
                  <a:pt x="73" y="147"/>
                  <a:pt x="81" y="150"/>
                </a:cubicBezTo>
                <a:cubicBezTo>
                  <a:pt x="86" y="152"/>
                  <a:pt x="88" y="153"/>
                  <a:pt x="94" y="153"/>
                </a:cubicBezTo>
                <a:cubicBezTo>
                  <a:pt x="101" y="152"/>
                  <a:pt x="105" y="150"/>
                  <a:pt x="107" y="142"/>
                </a:cubicBezTo>
                <a:cubicBezTo>
                  <a:pt x="109" y="138"/>
                  <a:pt x="106" y="133"/>
                  <a:pt x="109" y="128"/>
                </a:cubicBezTo>
                <a:cubicBezTo>
                  <a:pt x="110" y="130"/>
                  <a:pt x="111" y="131"/>
                  <a:pt x="111" y="133"/>
                </a:cubicBezTo>
                <a:cubicBezTo>
                  <a:pt x="113" y="127"/>
                  <a:pt x="118" y="131"/>
                  <a:pt x="122" y="131"/>
                </a:cubicBezTo>
                <a:cubicBezTo>
                  <a:pt x="127" y="131"/>
                  <a:pt x="127" y="134"/>
                  <a:pt x="130" y="127"/>
                </a:cubicBezTo>
                <a:cubicBezTo>
                  <a:pt x="130" y="126"/>
                  <a:pt x="130" y="124"/>
                  <a:pt x="130" y="122"/>
                </a:cubicBezTo>
                <a:cubicBezTo>
                  <a:pt x="131" y="124"/>
                  <a:pt x="133" y="124"/>
                  <a:pt x="135" y="123"/>
                </a:cubicBezTo>
                <a:cubicBezTo>
                  <a:pt x="134" y="121"/>
                  <a:pt x="134" y="119"/>
                  <a:pt x="133" y="117"/>
                </a:cubicBezTo>
                <a:cubicBezTo>
                  <a:pt x="134" y="119"/>
                  <a:pt x="135" y="121"/>
                  <a:pt x="136" y="123"/>
                </a:cubicBezTo>
                <a:cubicBezTo>
                  <a:pt x="136" y="123"/>
                  <a:pt x="136" y="123"/>
                  <a:pt x="135" y="123"/>
                </a:cubicBezTo>
                <a:cubicBezTo>
                  <a:pt x="138" y="128"/>
                  <a:pt x="141" y="133"/>
                  <a:pt x="144" y="137"/>
                </a:cubicBezTo>
                <a:cubicBezTo>
                  <a:pt x="146" y="138"/>
                  <a:pt x="156" y="148"/>
                  <a:pt x="159" y="142"/>
                </a:cubicBezTo>
                <a:cubicBezTo>
                  <a:pt x="161" y="140"/>
                  <a:pt x="155" y="139"/>
                  <a:pt x="155" y="136"/>
                </a:cubicBezTo>
                <a:cubicBezTo>
                  <a:pt x="155" y="131"/>
                  <a:pt x="157" y="136"/>
                  <a:pt x="158" y="133"/>
                </a:cubicBezTo>
                <a:cubicBezTo>
                  <a:pt x="161" y="129"/>
                  <a:pt x="169" y="122"/>
                  <a:pt x="159" y="120"/>
                </a:cubicBezTo>
                <a:cubicBezTo>
                  <a:pt x="160" y="120"/>
                  <a:pt x="161" y="119"/>
                  <a:pt x="162" y="119"/>
                </a:cubicBezTo>
                <a:cubicBezTo>
                  <a:pt x="158" y="119"/>
                  <a:pt x="155" y="120"/>
                  <a:pt x="153" y="117"/>
                </a:cubicBezTo>
                <a:cubicBezTo>
                  <a:pt x="165" y="112"/>
                  <a:pt x="161" y="122"/>
                  <a:pt x="172" y="126"/>
                </a:cubicBezTo>
                <a:cubicBezTo>
                  <a:pt x="195" y="136"/>
                  <a:pt x="178" y="114"/>
                  <a:pt x="184" y="107"/>
                </a:cubicBezTo>
                <a:cubicBezTo>
                  <a:pt x="185" y="105"/>
                  <a:pt x="194" y="106"/>
                  <a:pt x="197" y="105"/>
                </a:cubicBezTo>
                <a:cubicBezTo>
                  <a:pt x="200" y="103"/>
                  <a:pt x="205" y="100"/>
                  <a:pt x="206" y="96"/>
                </a:cubicBezTo>
                <a:cubicBezTo>
                  <a:pt x="208" y="93"/>
                  <a:pt x="206" y="90"/>
                  <a:pt x="208" y="88"/>
                </a:cubicBezTo>
                <a:cubicBezTo>
                  <a:pt x="209" y="85"/>
                  <a:pt x="220" y="84"/>
                  <a:pt x="222" y="84"/>
                </a:cubicBezTo>
                <a:cubicBezTo>
                  <a:pt x="216" y="87"/>
                  <a:pt x="205" y="92"/>
                  <a:pt x="211" y="101"/>
                </a:cubicBezTo>
                <a:cubicBezTo>
                  <a:pt x="212" y="105"/>
                  <a:pt x="208" y="110"/>
                  <a:pt x="208" y="115"/>
                </a:cubicBezTo>
                <a:cubicBezTo>
                  <a:pt x="208" y="120"/>
                  <a:pt x="211" y="125"/>
                  <a:pt x="210" y="128"/>
                </a:cubicBezTo>
                <a:cubicBezTo>
                  <a:pt x="211" y="128"/>
                  <a:pt x="211" y="129"/>
                  <a:pt x="211" y="129"/>
                </a:cubicBezTo>
                <a:cubicBezTo>
                  <a:pt x="212" y="129"/>
                  <a:pt x="213" y="129"/>
                  <a:pt x="214" y="131"/>
                </a:cubicBezTo>
                <a:cubicBezTo>
                  <a:pt x="213" y="130"/>
                  <a:pt x="212" y="129"/>
                  <a:pt x="211" y="129"/>
                </a:cubicBezTo>
                <a:cubicBezTo>
                  <a:pt x="209" y="128"/>
                  <a:pt x="209" y="135"/>
                  <a:pt x="205" y="136"/>
                </a:cubicBezTo>
                <a:cubicBezTo>
                  <a:pt x="206" y="132"/>
                  <a:pt x="207" y="127"/>
                  <a:pt x="205" y="124"/>
                </a:cubicBezTo>
                <a:cubicBezTo>
                  <a:pt x="204" y="126"/>
                  <a:pt x="203" y="127"/>
                  <a:pt x="203" y="129"/>
                </a:cubicBezTo>
                <a:cubicBezTo>
                  <a:pt x="202" y="129"/>
                  <a:pt x="202" y="128"/>
                  <a:pt x="201" y="128"/>
                </a:cubicBezTo>
                <a:cubicBezTo>
                  <a:pt x="202" y="126"/>
                  <a:pt x="199" y="121"/>
                  <a:pt x="196" y="123"/>
                </a:cubicBezTo>
                <a:cubicBezTo>
                  <a:pt x="195" y="124"/>
                  <a:pt x="197" y="135"/>
                  <a:pt x="197" y="137"/>
                </a:cubicBezTo>
                <a:cubicBezTo>
                  <a:pt x="193" y="134"/>
                  <a:pt x="188" y="135"/>
                  <a:pt x="184" y="134"/>
                </a:cubicBezTo>
                <a:cubicBezTo>
                  <a:pt x="187" y="138"/>
                  <a:pt x="189" y="139"/>
                  <a:pt x="192" y="141"/>
                </a:cubicBezTo>
                <a:cubicBezTo>
                  <a:pt x="193" y="141"/>
                  <a:pt x="193" y="141"/>
                  <a:pt x="195" y="143"/>
                </a:cubicBezTo>
                <a:cubicBezTo>
                  <a:pt x="194" y="142"/>
                  <a:pt x="193" y="141"/>
                  <a:pt x="192" y="141"/>
                </a:cubicBezTo>
                <a:cubicBezTo>
                  <a:pt x="190" y="140"/>
                  <a:pt x="198" y="151"/>
                  <a:pt x="187" y="147"/>
                </a:cubicBezTo>
                <a:cubicBezTo>
                  <a:pt x="190" y="152"/>
                  <a:pt x="194" y="151"/>
                  <a:pt x="197" y="154"/>
                </a:cubicBezTo>
                <a:cubicBezTo>
                  <a:pt x="200" y="157"/>
                  <a:pt x="200" y="157"/>
                  <a:pt x="200" y="163"/>
                </a:cubicBezTo>
                <a:cubicBezTo>
                  <a:pt x="200" y="171"/>
                  <a:pt x="201" y="177"/>
                  <a:pt x="199" y="185"/>
                </a:cubicBezTo>
                <a:cubicBezTo>
                  <a:pt x="196" y="194"/>
                  <a:pt x="194" y="201"/>
                  <a:pt x="189" y="207"/>
                </a:cubicBezTo>
                <a:cubicBezTo>
                  <a:pt x="187" y="209"/>
                  <a:pt x="182" y="212"/>
                  <a:pt x="179" y="215"/>
                </a:cubicBezTo>
                <a:cubicBezTo>
                  <a:pt x="175" y="219"/>
                  <a:pt x="173" y="222"/>
                  <a:pt x="170" y="227"/>
                </a:cubicBezTo>
                <a:cubicBezTo>
                  <a:pt x="164" y="235"/>
                  <a:pt x="155" y="237"/>
                  <a:pt x="146" y="242"/>
                </a:cubicBezTo>
                <a:cubicBezTo>
                  <a:pt x="138" y="246"/>
                  <a:pt x="131" y="252"/>
                  <a:pt x="124" y="257"/>
                </a:cubicBezTo>
                <a:cubicBezTo>
                  <a:pt x="105" y="269"/>
                  <a:pt x="87" y="278"/>
                  <a:pt x="66" y="285"/>
                </a:cubicBezTo>
                <a:cubicBezTo>
                  <a:pt x="56" y="288"/>
                  <a:pt x="46" y="291"/>
                  <a:pt x="35" y="294"/>
                </a:cubicBezTo>
                <a:cubicBezTo>
                  <a:pt x="27" y="296"/>
                  <a:pt x="10" y="303"/>
                  <a:pt x="2" y="298"/>
                </a:cubicBezTo>
                <a:cubicBezTo>
                  <a:pt x="2" y="305"/>
                  <a:pt x="2" y="312"/>
                  <a:pt x="2" y="319"/>
                </a:cubicBezTo>
                <a:cubicBezTo>
                  <a:pt x="32" y="309"/>
                  <a:pt x="63" y="303"/>
                  <a:pt x="92" y="292"/>
                </a:cubicBezTo>
                <a:cubicBezTo>
                  <a:pt x="105" y="286"/>
                  <a:pt x="116" y="281"/>
                  <a:pt x="130" y="280"/>
                </a:cubicBezTo>
                <a:cubicBezTo>
                  <a:pt x="138" y="280"/>
                  <a:pt x="143" y="283"/>
                  <a:pt x="150" y="285"/>
                </a:cubicBezTo>
                <a:cubicBezTo>
                  <a:pt x="159" y="287"/>
                  <a:pt x="156" y="286"/>
                  <a:pt x="162" y="294"/>
                </a:cubicBezTo>
                <a:cubicBezTo>
                  <a:pt x="163" y="292"/>
                  <a:pt x="164" y="291"/>
                  <a:pt x="165" y="290"/>
                </a:cubicBezTo>
                <a:cubicBezTo>
                  <a:pt x="160" y="300"/>
                  <a:pt x="153" y="312"/>
                  <a:pt x="155" y="324"/>
                </a:cubicBezTo>
                <a:cubicBezTo>
                  <a:pt x="162" y="318"/>
                  <a:pt x="166" y="314"/>
                  <a:pt x="174" y="314"/>
                </a:cubicBezTo>
                <a:cubicBezTo>
                  <a:pt x="176" y="314"/>
                  <a:pt x="185" y="316"/>
                  <a:pt x="186" y="317"/>
                </a:cubicBezTo>
                <a:cubicBezTo>
                  <a:pt x="187" y="318"/>
                  <a:pt x="185" y="326"/>
                  <a:pt x="186" y="329"/>
                </a:cubicBezTo>
                <a:cubicBezTo>
                  <a:pt x="186" y="328"/>
                  <a:pt x="186" y="328"/>
                  <a:pt x="186" y="327"/>
                </a:cubicBezTo>
                <a:cubicBezTo>
                  <a:pt x="187" y="329"/>
                  <a:pt x="187" y="332"/>
                  <a:pt x="187" y="334"/>
                </a:cubicBezTo>
                <a:cubicBezTo>
                  <a:pt x="181" y="334"/>
                  <a:pt x="171" y="336"/>
                  <a:pt x="168" y="340"/>
                </a:cubicBezTo>
                <a:cubicBezTo>
                  <a:pt x="166" y="343"/>
                  <a:pt x="168" y="347"/>
                  <a:pt x="167" y="348"/>
                </a:cubicBezTo>
                <a:cubicBezTo>
                  <a:pt x="165" y="352"/>
                  <a:pt x="160" y="354"/>
                  <a:pt x="159" y="358"/>
                </a:cubicBezTo>
                <a:cubicBezTo>
                  <a:pt x="157" y="362"/>
                  <a:pt x="156" y="366"/>
                  <a:pt x="157" y="370"/>
                </a:cubicBezTo>
                <a:cubicBezTo>
                  <a:pt x="158" y="376"/>
                  <a:pt x="158" y="374"/>
                  <a:pt x="161" y="375"/>
                </a:cubicBezTo>
                <a:cubicBezTo>
                  <a:pt x="167" y="375"/>
                  <a:pt x="174" y="370"/>
                  <a:pt x="180" y="369"/>
                </a:cubicBezTo>
                <a:cubicBezTo>
                  <a:pt x="177" y="375"/>
                  <a:pt x="184" y="379"/>
                  <a:pt x="181" y="384"/>
                </a:cubicBezTo>
                <a:cubicBezTo>
                  <a:pt x="180" y="386"/>
                  <a:pt x="174" y="388"/>
                  <a:pt x="172" y="387"/>
                </a:cubicBezTo>
                <a:cubicBezTo>
                  <a:pt x="173" y="386"/>
                  <a:pt x="173" y="385"/>
                  <a:pt x="174" y="384"/>
                </a:cubicBezTo>
                <a:cubicBezTo>
                  <a:pt x="170" y="383"/>
                  <a:pt x="169" y="387"/>
                  <a:pt x="166" y="386"/>
                </a:cubicBezTo>
                <a:cubicBezTo>
                  <a:pt x="161" y="386"/>
                  <a:pt x="161" y="383"/>
                  <a:pt x="156" y="381"/>
                </a:cubicBezTo>
                <a:cubicBezTo>
                  <a:pt x="157" y="387"/>
                  <a:pt x="148" y="385"/>
                  <a:pt x="144" y="388"/>
                </a:cubicBezTo>
                <a:cubicBezTo>
                  <a:pt x="149" y="388"/>
                  <a:pt x="152" y="390"/>
                  <a:pt x="152" y="395"/>
                </a:cubicBezTo>
                <a:cubicBezTo>
                  <a:pt x="144" y="396"/>
                  <a:pt x="132" y="408"/>
                  <a:pt x="125" y="400"/>
                </a:cubicBezTo>
                <a:cubicBezTo>
                  <a:pt x="128" y="398"/>
                  <a:pt x="131" y="395"/>
                  <a:pt x="134" y="393"/>
                </a:cubicBezTo>
                <a:cubicBezTo>
                  <a:pt x="130" y="389"/>
                  <a:pt x="116" y="383"/>
                  <a:pt x="111" y="385"/>
                </a:cubicBezTo>
                <a:cubicBezTo>
                  <a:pt x="107" y="387"/>
                  <a:pt x="107" y="393"/>
                  <a:pt x="102" y="393"/>
                </a:cubicBezTo>
                <a:cubicBezTo>
                  <a:pt x="100" y="394"/>
                  <a:pt x="96" y="392"/>
                  <a:pt x="94" y="391"/>
                </a:cubicBezTo>
                <a:cubicBezTo>
                  <a:pt x="97" y="387"/>
                  <a:pt x="103" y="388"/>
                  <a:pt x="106" y="384"/>
                </a:cubicBezTo>
                <a:cubicBezTo>
                  <a:pt x="95" y="385"/>
                  <a:pt x="85" y="389"/>
                  <a:pt x="74" y="389"/>
                </a:cubicBezTo>
                <a:cubicBezTo>
                  <a:pt x="66" y="388"/>
                  <a:pt x="57" y="386"/>
                  <a:pt x="50" y="384"/>
                </a:cubicBezTo>
                <a:cubicBezTo>
                  <a:pt x="35" y="382"/>
                  <a:pt x="18" y="379"/>
                  <a:pt x="2" y="372"/>
                </a:cubicBezTo>
                <a:cubicBezTo>
                  <a:pt x="2" y="376"/>
                  <a:pt x="0" y="391"/>
                  <a:pt x="2" y="393"/>
                </a:cubicBezTo>
                <a:cubicBezTo>
                  <a:pt x="4" y="395"/>
                  <a:pt x="19" y="394"/>
                  <a:pt x="22" y="395"/>
                </a:cubicBezTo>
                <a:cubicBezTo>
                  <a:pt x="30" y="396"/>
                  <a:pt x="40" y="397"/>
                  <a:pt x="50" y="397"/>
                </a:cubicBezTo>
                <a:cubicBezTo>
                  <a:pt x="49" y="397"/>
                  <a:pt x="48" y="397"/>
                  <a:pt x="48" y="396"/>
                </a:cubicBezTo>
                <a:cubicBezTo>
                  <a:pt x="51" y="397"/>
                  <a:pt x="52" y="397"/>
                  <a:pt x="54" y="396"/>
                </a:cubicBezTo>
                <a:cubicBezTo>
                  <a:pt x="54" y="396"/>
                  <a:pt x="53" y="397"/>
                  <a:pt x="52" y="397"/>
                </a:cubicBezTo>
                <a:cubicBezTo>
                  <a:pt x="59" y="398"/>
                  <a:pt x="63" y="398"/>
                  <a:pt x="70" y="399"/>
                </a:cubicBezTo>
                <a:cubicBezTo>
                  <a:pt x="74" y="399"/>
                  <a:pt x="83" y="397"/>
                  <a:pt x="86" y="399"/>
                </a:cubicBezTo>
                <a:cubicBezTo>
                  <a:pt x="90" y="402"/>
                  <a:pt x="93" y="412"/>
                  <a:pt x="96" y="415"/>
                </a:cubicBezTo>
                <a:cubicBezTo>
                  <a:pt x="88" y="418"/>
                  <a:pt x="81" y="419"/>
                  <a:pt x="74" y="424"/>
                </a:cubicBezTo>
                <a:cubicBezTo>
                  <a:pt x="76" y="424"/>
                  <a:pt x="86" y="428"/>
                  <a:pt x="87" y="430"/>
                </a:cubicBezTo>
                <a:cubicBezTo>
                  <a:pt x="89" y="433"/>
                  <a:pt x="88" y="438"/>
                  <a:pt x="87" y="441"/>
                </a:cubicBezTo>
                <a:cubicBezTo>
                  <a:pt x="93" y="438"/>
                  <a:pt x="99" y="432"/>
                  <a:pt x="105" y="431"/>
                </a:cubicBezTo>
                <a:cubicBezTo>
                  <a:pt x="107" y="431"/>
                  <a:pt x="113" y="432"/>
                  <a:pt x="116" y="432"/>
                </a:cubicBezTo>
                <a:cubicBezTo>
                  <a:pt x="121" y="432"/>
                  <a:pt x="122" y="432"/>
                  <a:pt x="126" y="434"/>
                </a:cubicBezTo>
                <a:cubicBezTo>
                  <a:pt x="130" y="436"/>
                  <a:pt x="132" y="439"/>
                  <a:pt x="135" y="441"/>
                </a:cubicBezTo>
                <a:cubicBezTo>
                  <a:pt x="138" y="443"/>
                  <a:pt x="144" y="444"/>
                  <a:pt x="146" y="446"/>
                </a:cubicBezTo>
                <a:cubicBezTo>
                  <a:pt x="149" y="450"/>
                  <a:pt x="151" y="464"/>
                  <a:pt x="153" y="469"/>
                </a:cubicBezTo>
                <a:cubicBezTo>
                  <a:pt x="152" y="468"/>
                  <a:pt x="153" y="468"/>
                  <a:pt x="153" y="468"/>
                </a:cubicBezTo>
                <a:cubicBezTo>
                  <a:pt x="151" y="474"/>
                  <a:pt x="160" y="477"/>
                  <a:pt x="165" y="477"/>
                </a:cubicBezTo>
                <a:cubicBezTo>
                  <a:pt x="164" y="474"/>
                  <a:pt x="163" y="471"/>
                  <a:pt x="161" y="468"/>
                </a:cubicBezTo>
                <a:cubicBezTo>
                  <a:pt x="166" y="468"/>
                  <a:pt x="171" y="469"/>
                  <a:pt x="173" y="463"/>
                </a:cubicBezTo>
                <a:cubicBezTo>
                  <a:pt x="174" y="459"/>
                  <a:pt x="170" y="456"/>
                  <a:pt x="174" y="453"/>
                </a:cubicBezTo>
                <a:cubicBezTo>
                  <a:pt x="172" y="453"/>
                  <a:pt x="167" y="454"/>
                  <a:pt x="165" y="452"/>
                </a:cubicBezTo>
                <a:cubicBezTo>
                  <a:pt x="160" y="448"/>
                  <a:pt x="173" y="451"/>
                  <a:pt x="173" y="451"/>
                </a:cubicBezTo>
                <a:cubicBezTo>
                  <a:pt x="182" y="451"/>
                  <a:pt x="173" y="450"/>
                  <a:pt x="168" y="449"/>
                </a:cubicBezTo>
                <a:cubicBezTo>
                  <a:pt x="171" y="447"/>
                  <a:pt x="173" y="446"/>
                  <a:pt x="175" y="445"/>
                </a:cubicBezTo>
                <a:cubicBezTo>
                  <a:pt x="171" y="444"/>
                  <a:pt x="171" y="442"/>
                  <a:pt x="174" y="441"/>
                </a:cubicBezTo>
                <a:cubicBezTo>
                  <a:pt x="177" y="440"/>
                  <a:pt x="181" y="442"/>
                  <a:pt x="185" y="441"/>
                </a:cubicBezTo>
                <a:cubicBezTo>
                  <a:pt x="183" y="441"/>
                  <a:pt x="182" y="442"/>
                  <a:pt x="180" y="442"/>
                </a:cubicBezTo>
                <a:cubicBezTo>
                  <a:pt x="188" y="447"/>
                  <a:pt x="194" y="453"/>
                  <a:pt x="202" y="458"/>
                </a:cubicBezTo>
                <a:cubicBezTo>
                  <a:pt x="209" y="462"/>
                  <a:pt x="216" y="463"/>
                  <a:pt x="223" y="465"/>
                </a:cubicBezTo>
                <a:cubicBezTo>
                  <a:pt x="221" y="474"/>
                  <a:pt x="201" y="476"/>
                  <a:pt x="206" y="487"/>
                </a:cubicBezTo>
                <a:cubicBezTo>
                  <a:pt x="210" y="495"/>
                  <a:pt x="227" y="494"/>
                  <a:pt x="234" y="496"/>
                </a:cubicBezTo>
                <a:cubicBezTo>
                  <a:pt x="227" y="501"/>
                  <a:pt x="222" y="518"/>
                  <a:pt x="229" y="529"/>
                </a:cubicBezTo>
                <a:cubicBezTo>
                  <a:pt x="234" y="536"/>
                  <a:pt x="231" y="531"/>
                  <a:pt x="238" y="534"/>
                </a:cubicBezTo>
                <a:cubicBezTo>
                  <a:pt x="241" y="535"/>
                  <a:pt x="242" y="538"/>
                  <a:pt x="245" y="538"/>
                </a:cubicBezTo>
                <a:cubicBezTo>
                  <a:pt x="254" y="539"/>
                  <a:pt x="260" y="526"/>
                  <a:pt x="266" y="528"/>
                </a:cubicBezTo>
                <a:cubicBezTo>
                  <a:pt x="269" y="528"/>
                  <a:pt x="272" y="532"/>
                  <a:pt x="275" y="533"/>
                </a:cubicBezTo>
                <a:cubicBezTo>
                  <a:pt x="275" y="533"/>
                  <a:pt x="283" y="534"/>
                  <a:pt x="284" y="534"/>
                </a:cubicBezTo>
                <a:cubicBezTo>
                  <a:pt x="294" y="533"/>
                  <a:pt x="293" y="531"/>
                  <a:pt x="296" y="523"/>
                </a:cubicBezTo>
                <a:cubicBezTo>
                  <a:pt x="297" y="518"/>
                  <a:pt x="305" y="501"/>
                  <a:pt x="302" y="496"/>
                </a:cubicBezTo>
                <a:cubicBezTo>
                  <a:pt x="299" y="491"/>
                  <a:pt x="297" y="504"/>
                  <a:pt x="296" y="506"/>
                </a:cubicBezTo>
                <a:cubicBezTo>
                  <a:pt x="290" y="500"/>
                  <a:pt x="297" y="487"/>
                  <a:pt x="299" y="481"/>
                </a:cubicBezTo>
                <a:cubicBezTo>
                  <a:pt x="300" y="482"/>
                  <a:pt x="300" y="484"/>
                  <a:pt x="301" y="486"/>
                </a:cubicBezTo>
                <a:cubicBezTo>
                  <a:pt x="302" y="486"/>
                  <a:pt x="300" y="488"/>
                  <a:pt x="300" y="488"/>
                </a:cubicBezTo>
                <a:cubicBezTo>
                  <a:pt x="300" y="489"/>
                  <a:pt x="302" y="490"/>
                  <a:pt x="302" y="491"/>
                </a:cubicBezTo>
                <a:cubicBezTo>
                  <a:pt x="305" y="499"/>
                  <a:pt x="304" y="505"/>
                  <a:pt x="303" y="515"/>
                </a:cubicBezTo>
                <a:cubicBezTo>
                  <a:pt x="302" y="526"/>
                  <a:pt x="299" y="530"/>
                  <a:pt x="292" y="538"/>
                </a:cubicBezTo>
                <a:cubicBezTo>
                  <a:pt x="290" y="541"/>
                  <a:pt x="284" y="546"/>
                  <a:pt x="285" y="551"/>
                </a:cubicBezTo>
                <a:cubicBezTo>
                  <a:pt x="281" y="545"/>
                  <a:pt x="271" y="540"/>
                  <a:pt x="264" y="541"/>
                </a:cubicBezTo>
                <a:cubicBezTo>
                  <a:pt x="261" y="542"/>
                  <a:pt x="260" y="543"/>
                  <a:pt x="257" y="545"/>
                </a:cubicBezTo>
                <a:cubicBezTo>
                  <a:pt x="253" y="547"/>
                  <a:pt x="249" y="547"/>
                  <a:pt x="244" y="549"/>
                </a:cubicBezTo>
                <a:cubicBezTo>
                  <a:pt x="236" y="551"/>
                  <a:pt x="227" y="561"/>
                  <a:pt x="235" y="566"/>
                </a:cubicBezTo>
                <a:cubicBezTo>
                  <a:pt x="240" y="570"/>
                  <a:pt x="248" y="572"/>
                  <a:pt x="253" y="574"/>
                </a:cubicBezTo>
                <a:cubicBezTo>
                  <a:pt x="243" y="578"/>
                  <a:pt x="244" y="598"/>
                  <a:pt x="251" y="604"/>
                </a:cubicBezTo>
                <a:cubicBezTo>
                  <a:pt x="251" y="604"/>
                  <a:pt x="260" y="608"/>
                  <a:pt x="259" y="608"/>
                </a:cubicBezTo>
                <a:cubicBezTo>
                  <a:pt x="266" y="609"/>
                  <a:pt x="272" y="598"/>
                  <a:pt x="279" y="602"/>
                </a:cubicBezTo>
                <a:cubicBezTo>
                  <a:pt x="271" y="606"/>
                  <a:pt x="286" y="610"/>
                  <a:pt x="289" y="609"/>
                </a:cubicBezTo>
                <a:cubicBezTo>
                  <a:pt x="296" y="607"/>
                  <a:pt x="301" y="597"/>
                  <a:pt x="304" y="591"/>
                </a:cubicBezTo>
                <a:cubicBezTo>
                  <a:pt x="309" y="582"/>
                  <a:pt x="310" y="560"/>
                  <a:pt x="299" y="555"/>
                </a:cubicBezTo>
                <a:cubicBezTo>
                  <a:pt x="299" y="556"/>
                  <a:pt x="299" y="556"/>
                  <a:pt x="299" y="557"/>
                </a:cubicBezTo>
                <a:cubicBezTo>
                  <a:pt x="298" y="555"/>
                  <a:pt x="293" y="556"/>
                  <a:pt x="292" y="553"/>
                </a:cubicBezTo>
                <a:cubicBezTo>
                  <a:pt x="291" y="550"/>
                  <a:pt x="296" y="547"/>
                  <a:pt x="296" y="542"/>
                </a:cubicBezTo>
                <a:cubicBezTo>
                  <a:pt x="296" y="544"/>
                  <a:pt x="296" y="546"/>
                  <a:pt x="296" y="548"/>
                </a:cubicBezTo>
                <a:cubicBezTo>
                  <a:pt x="300" y="545"/>
                  <a:pt x="302" y="540"/>
                  <a:pt x="304" y="534"/>
                </a:cubicBezTo>
                <a:cubicBezTo>
                  <a:pt x="304" y="534"/>
                  <a:pt x="304" y="534"/>
                  <a:pt x="304" y="533"/>
                </a:cubicBezTo>
                <a:cubicBezTo>
                  <a:pt x="304" y="533"/>
                  <a:pt x="304" y="533"/>
                  <a:pt x="304" y="534"/>
                </a:cubicBezTo>
                <a:cubicBezTo>
                  <a:pt x="307" y="523"/>
                  <a:pt x="307" y="509"/>
                  <a:pt x="307" y="500"/>
                </a:cubicBezTo>
                <a:cubicBezTo>
                  <a:pt x="309" y="500"/>
                  <a:pt x="313" y="500"/>
                  <a:pt x="313" y="500"/>
                </a:cubicBezTo>
                <a:cubicBezTo>
                  <a:pt x="312" y="501"/>
                  <a:pt x="314" y="501"/>
                  <a:pt x="312" y="501"/>
                </a:cubicBezTo>
                <a:cubicBezTo>
                  <a:pt x="312" y="502"/>
                  <a:pt x="312" y="503"/>
                  <a:pt x="313" y="504"/>
                </a:cubicBezTo>
                <a:cubicBezTo>
                  <a:pt x="313" y="504"/>
                  <a:pt x="313" y="503"/>
                  <a:pt x="313" y="503"/>
                </a:cubicBezTo>
                <a:cubicBezTo>
                  <a:pt x="313" y="504"/>
                  <a:pt x="314" y="506"/>
                  <a:pt x="314" y="507"/>
                </a:cubicBezTo>
                <a:cubicBezTo>
                  <a:pt x="314" y="506"/>
                  <a:pt x="313" y="505"/>
                  <a:pt x="313" y="504"/>
                </a:cubicBezTo>
                <a:cubicBezTo>
                  <a:pt x="314" y="512"/>
                  <a:pt x="316" y="519"/>
                  <a:pt x="316" y="528"/>
                </a:cubicBezTo>
                <a:cubicBezTo>
                  <a:pt x="316" y="533"/>
                  <a:pt x="319" y="539"/>
                  <a:pt x="312" y="539"/>
                </a:cubicBezTo>
                <a:cubicBezTo>
                  <a:pt x="308" y="539"/>
                  <a:pt x="308" y="534"/>
                  <a:pt x="304" y="534"/>
                </a:cubicBezTo>
                <a:cubicBezTo>
                  <a:pt x="304" y="534"/>
                  <a:pt x="304" y="534"/>
                  <a:pt x="304" y="534"/>
                </a:cubicBezTo>
                <a:cubicBezTo>
                  <a:pt x="308" y="541"/>
                  <a:pt x="309" y="548"/>
                  <a:pt x="303" y="552"/>
                </a:cubicBezTo>
                <a:cubicBezTo>
                  <a:pt x="307" y="553"/>
                  <a:pt x="311" y="556"/>
                  <a:pt x="315" y="555"/>
                </a:cubicBezTo>
                <a:cubicBezTo>
                  <a:pt x="315" y="557"/>
                  <a:pt x="313" y="567"/>
                  <a:pt x="314" y="568"/>
                </a:cubicBezTo>
                <a:cubicBezTo>
                  <a:pt x="317" y="570"/>
                  <a:pt x="320" y="565"/>
                  <a:pt x="319" y="564"/>
                </a:cubicBezTo>
                <a:cubicBezTo>
                  <a:pt x="320" y="564"/>
                  <a:pt x="321" y="563"/>
                  <a:pt x="321" y="563"/>
                </a:cubicBezTo>
                <a:cubicBezTo>
                  <a:pt x="321" y="564"/>
                  <a:pt x="321" y="565"/>
                  <a:pt x="321" y="566"/>
                </a:cubicBezTo>
                <a:cubicBezTo>
                  <a:pt x="325" y="563"/>
                  <a:pt x="321" y="555"/>
                  <a:pt x="324" y="556"/>
                </a:cubicBezTo>
                <a:cubicBezTo>
                  <a:pt x="327" y="556"/>
                  <a:pt x="329" y="564"/>
                  <a:pt x="329" y="565"/>
                </a:cubicBezTo>
                <a:cubicBezTo>
                  <a:pt x="329" y="565"/>
                  <a:pt x="328" y="580"/>
                  <a:pt x="333" y="572"/>
                </a:cubicBezTo>
                <a:cubicBezTo>
                  <a:pt x="334" y="570"/>
                  <a:pt x="330" y="565"/>
                  <a:pt x="332" y="561"/>
                </a:cubicBezTo>
                <a:cubicBezTo>
                  <a:pt x="332" y="566"/>
                  <a:pt x="337" y="571"/>
                  <a:pt x="339" y="575"/>
                </a:cubicBezTo>
                <a:cubicBezTo>
                  <a:pt x="337" y="576"/>
                  <a:pt x="334" y="579"/>
                  <a:pt x="332" y="582"/>
                </a:cubicBezTo>
                <a:cubicBezTo>
                  <a:pt x="336" y="583"/>
                  <a:pt x="342" y="582"/>
                  <a:pt x="346" y="584"/>
                </a:cubicBezTo>
                <a:cubicBezTo>
                  <a:pt x="351" y="586"/>
                  <a:pt x="350" y="585"/>
                  <a:pt x="354" y="589"/>
                </a:cubicBezTo>
                <a:cubicBezTo>
                  <a:pt x="360" y="594"/>
                  <a:pt x="367" y="598"/>
                  <a:pt x="373" y="602"/>
                </a:cubicBezTo>
                <a:cubicBezTo>
                  <a:pt x="376" y="594"/>
                  <a:pt x="377" y="582"/>
                  <a:pt x="374" y="574"/>
                </a:cubicBezTo>
                <a:cubicBezTo>
                  <a:pt x="373" y="572"/>
                  <a:pt x="371" y="571"/>
                  <a:pt x="371" y="568"/>
                </a:cubicBezTo>
                <a:cubicBezTo>
                  <a:pt x="370" y="565"/>
                  <a:pt x="372" y="565"/>
                  <a:pt x="372" y="562"/>
                </a:cubicBezTo>
                <a:cubicBezTo>
                  <a:pt x="371" y="557"/>
                  <a:pt x="371" y="552"/>
                  <a:pt x="371" y="547"/>
                </a:cubicBezTo>
                <a:cubicBezTo>
                  <a:pt x="373" y="548"/>
                  <a:pt x="373" y="547"/>
                  <a:pt x="375" y="547"/>
                </a:cubicBezTo>
                <a:cubicBezTo>
                  <a:pt x="373" y="546"/>
                  <a:pt x="373" y="545"/>
                  <a:pt x="371" y="543"/>
                </a:cubicBezTo>
                <a:cubicBezTo>
                  <a:pt x="372" y="542"/>
                  <a:pt x="373" y="542"/>
                  <a:pt x="373" y="541"/>
                </a:cubicBezTo>
                <a:cubicBezTo>
                  <a:pt x="373" y="539"/>
                  <a:pt x="373" y="538"/>
                  <a:pt x="372" y="537"/>
                </a:cubicBezTo>
                <a:cubicBezTo>
                  <a:pt x="374" y="538"/>
                  <a:pt x="374" y="540"/>
                  <a:pt x="373" y="541"/>
                </a:cubicBezTo>
                <a:cubicBezTo>
                  <a:pt x="374" y="545"/>
                  <a:pt x="375" y="549"/>
                  <a:pt x="378" y="552"/>
                </a:cubicBezTo>
                <a:cubicBezTo>
                  <a:pt x="376" y="549"/>
                  <a:pt x="376" y="545"/>
                  <a:pt x="379" y="542"/>
                </a:cubicBezTo>
                <a:cubicBezTo>
                  <a:pt x="379" y="542"/>
                  <a:pt x="386" y="560"/>
                  <a:pt x="387" y="552"/>
                </a:cubicBezTo>
                <a:cubicBezTo>
                  <a:pt x="387" y="548"/>
                  <a:pt x="384" y="550"/>
                  <a:pt x="383" y="548"/>
                </a:cubicBezTo>
                <a:cubicBezTo>
                  <a:pt x="381" y="544"/>
                  <a:pt x="380" y="540"/>
                  <a:pt x="380" y="536"/>
                </a:cubicBezTo>
                <a:cubicBezTo>
                  <a:pt x="382" y="536"/>
                  <a:pt x="384" y="537"/>
                  <a:pt x="385" y="538"/>
                </a:cubicBezTo>
                <a:cubicBezTo>
                  <a:pt x="384" y="537"/>
                  <a:pt x="383" y="537"/>
                  <a:pt x="382" y="537"/>
                </a:cubicBezTo>
                <a:cubicBezTo>
                  <a:pt x="382" y="537"/>
                  <a:pt x="382" y="538"/>
                  <a:pt x="381" y="539"/>
                </a:cubicBezTo>
                <a:cubicBezTo>
                  <a:pt x="385" y="539"/>
                  <a:pt x="385" y="539"/>
                  <a:pt x="386" y="543"/>
                </a:cubicBezTo>
                <a:cubicBezTo>
                  <a:pt x="387" y="541"/>
                  <a:pt x="388" y="542"/>
                  <a:pt x="389" y="541"/>
                </a:cubicBezTo>
                <a:cubicBezTo>
                  <a:pt x="389" y="541"/>
                  <a:pt x="389" y="542"/>
                  <a:pt x="389" y="541"/>
                </a:cubicBezTo>
                <a:cubicBezTo>
                  <a:pt x="395" y="544"/>
                  <a:pt x="401" y="547"/>
                  <a:pt x="402" y="537"/>
                </a:cubicBezTo>
                <a:cubicBezTo>
                  <a:pt x="403" y="536"/>
                  <a:pt x="403" y="535"/>
                  <a:pt x="404" y="534"/>
                </a:cubicBezTo>
                <a:cubicBezTo>
                  <a:pt x="403" y="533"/>
                  <a:pt x="402" y="533"/>
                  <a:pt x="401" y="532"/>
                </a:cubicBezTo>
                <a:cubicBezTo>
                  <a:pt x="401" y="531"/>
                  <a:pt x="399" y="529"/>
                  <a:pt x="400" y="528"/>
                </a:cubicBezTo>
                <a:cubicBezTo>
                  <a:pt x="403" y="525"/>
                  <a:pt x="405" y="529"/>
                  <a:pt x="409" y="528"/>
                </a:cubicBezTo>
                <a:cubicBezTo>
                  <a:pt x="417" y="527"/>
                  <a:pt x="411" y="519"/>
                  <a:pt x="405" y="516"/>
                </a:cubicBezTo>
                <a:cubicBezTo>
                  <a:pt x="400" y="513"/>
                  <a:pt x="391" y="514"/>
                  <a:pt x="385" y="514"/>
                </a:cubicBezTo>
                <a:cubicBezTo>
                  <a:pt x="380" y="514"/>
                  <a:pt x="375" y="514"/>
                  <a:pt x="371" y="514"/>
                </a:cubicBezTo>
                <a:cubicBezTo>
                  <a:pt x="365" y="513"/>
                  <a:pt x="367" y="514"/>
                  <a:pt x="366" y="507"/>
                </a:cubicBezTo>
                <a:cubicBezTo>
                  <a:pt x="366" y="508"/>
                  <a:pt x="360" y="506"/>
                  <a:pt x="362" y="504"/>
                </a:cubicBezTo>
                <a:cubicBezTo>
                  <a:pt x="364" y="503"/>
                  <a:pt x="370" y="507"/>
                  <a:pt x="371" y="506"/>
                </a:cubicBezTo>
                <a:cubicBezTo>
                  <a:pt x="377" y="505"/>
                  <a:pt x="365" y="504"/>
                  <a:pt x="370" y="500"/>
                </a:cubicBezTo>
                <a:cubicBezTo>
                  <a:pt x="371" y="504"/>
                  <a:pt x="375" y="499"/>
                  <a:pt x="374" y="499"/>
                </a:cubicBezTo>
                <a:cubicBezTo>
                  <a:pt x="374" y="494"/>
                  <a:pt x="367" y="495"/>
                  <a:pt x="362" y="495"/>
                </a:cubicBezTo>
                <a:cubicBezTo>
                  <a:pt x="364" y="491"/>
                  <a:pt x="365" y="487"/>
                  <a:pt x="367" y="483"/>
                </a:cubicBezTo>
                <a:cubicBezTo>
                  <a:pt x="361" y="484"/>
                  <a:pt x="357" y="488"/>
                  <a:pt x="351" y="490"/>
                </a:cubicBezTo>
                <a:cubicBezTo>
                  <a:pt x="352" y="488"/>
                  <a:pt x="352" y="486"/>
                  <a:pt x="353" y="484"/>
                </a:cubicBezTo>
                <a:cubicBezTo>
                  <a:pt x="345" y="486"/>
                  <a:pt x="347" y="495"/>
                  <a:pt x="342" y="495"/>
                </a:cubicBezTo>
                <a:cubicBezTo>
                  <a:pt x="335" y="496"/>
                  <a:pt x="329" y="481"/>
                  <a:pt x="326" y="477"/>
                </a:cubicBezTo>
                <a:cubicBezTo>
                  <a:pt x="325" y="473"/>
                  <a:pt x="324" y="469"/>
                  <a:pt x="323" y="467"/>
                </a:cubicBezTo>
                <a:cubicBezTo>
                  <a:pt x="322" y="466"/>
                  <a:pt x="325" y="465"/>
                  <a:pt x="323" y="463"/>
                </a:cubicBezTo>
                <a:cubicBezTo>
                  <a:pt x="324" y="464"/>
                  <a:pt x="313" y="460"/>
                  <a:pt x="314" y="460"/>
                </a:cubicBezTo>
                <a:cubicBezTo>
                  <a:pt x="310" y="460"/>
                  <a:pt x="306" y="463"/>
                  <a:pt x="301" y="462"/>
                </a:cubicBezTo>
                <a:cubicBezTo>
                  <a:pt x="301" y="461"/>
                  <a:pt x="301" y="460"/>
                  <a:pt x="300" y="459"/>
                </a:cubicBezTo>
                <a:cubicBezTo>
                  <a:pt x="302" y="458"/>
                  <a:pt x="303" y="457"/>
                  <a:pt x="305" y="456"/>
                </a:cubicBezTo>
                <a:cubicBezTo>
                  <a:pt x="303" y="456"/>
                  <a:pt x="296" y="459"/>
                  <a:pt x="297" y="455"/>
                </a:cubicBezTo>
                <a:cubicBezTo>
                  <a:pt x="298" y="452"/>
                  <a:pt x="303" y="453"/>
                  <a:pt x="305" y="451"/>
                </a:cubicBezTo>
                <a:cubicBezTo>
                  <a:pt x="308" y="446"/>
                  <a:pt x="293" y="455"/>
                  <a:pt x="293" y="455"/>
                </a:cubicBezTo>
                <a:cubicBezTo>
                  <a:pt x="291" y="451"/>
                  <a:pt x="292" y="448"/>
                  <a:pt x="295" y="446"/>
                </a:cubicBezTo>
                <a:cubicBezTo>
                  <a:pt x="295" y="445"/>
                  <a:pt x="294" y="445"/>
                  <a:pt x="293" y="444"/>
                </a:cubicBezTo>
                <a:cubicBezTo>
                  <a:pt x="293" y="445"/>
                  <a:pt x="294" y="445"/>
                  <a:pt x="294" y="446"/>
                </a:cubicBezTo>
                <a:cubicBezTo>
                  <a:pt x="293" y="447"/>
                  <a:pt x="294" y="446"/>
                  <a:pt x="293" y="448"/>
                </a:cubicBezTo>
                <a:cubicBezTo>
                  <a:pt x="292" y="446"/>
                  <a:pt x="293" y="445"/>
                  <a:pt x="293" y="444"/>
                </a:cubicBezTo>
                <a:cubicBezTo>
                  <a:pt x="297" y="443"/>
                  <a:pt x="296" y="440"/>
                  <a:pt x="294" y="438"/>
                </a:cubicBezTo>
                <a:cubicBezTo>
                  <a:pt x="288" y="430"/>
                  <a:pt x="284" y="440"/>
                  <a:pt x="281" y="439"/>
                </a:cubicBezTo>
                <a:cubicBezTo>
                  <a:pt x="275" y="437"/>
                  <a:pt x="283" y="431"/>
                  <a:pt x="280" y="427"/>
                </a:cubicBezTo>
                <a:cubicBezTo>
                  <a:pt x="276" y="424"/>
                  <a:pt x="271" y="431"/>
                  <a:pt x="270" y="434"/>
                </a:cubicBezTo>
                <a:cubicBezTo>
                  <a:pt x="271" y="434"/>
                  <a:pt x="272" y="435"/>
                  <a:pt x="273" y="436"/>
                </a:cubicBezTo>
                <a:cubicBezTo>
                  <a:pt x="264" y="430"/>
                  <a:pt x="269" y="455"/>
                  <a:pt x="270" y="459"/>
                </a:cubicBezTo>
                <a:cubicBezTo>
                  <a:pt x="260" y="453"/>
                  <a:pt x="252" y="445"/>
                  <a:pt x="241" y="439"/>
                </a:cubicBezTo>
                <a:cubicBezTo>
                  <a:pt x="242" y="446"/>
                  <a:pt x="243" y="453"/>
                  <a:pt x="236" y="456"/>
                </a:cubicBezTo>
                <a:cubicBezTo>
                  <a:pt x="232" y="458"/>
                  <a:pt x="224" y="455"/>
                  <a:pt x="218" y="453"/>
                </a:cubicBezTo>
                <a:cubicBezTo>
                  <a:pt x="211" y="450"/>
                  <a:pt x="190" y="441"/>
                  <a:pt x="209" y="442"/>
                </a:cubicBezTo>
                <a:cubicBezTo>
                  <a:pt x="217" y="442"/>
                  <a:pt x="240" y="440"/>
                  <a:pt x="220" y="438"/>
                </a:cubicBezTo>
                <a:cubicBezTo>
                  <a:pt x="215" y="438"/>
                  <a:pt x="204" y="438"/>
                  <a:pt x="201" y="435"/>
                </a:cubicBezTo>
                <a:cubicBezTo>
                  <a:pt x="203" y="436"/>
                  <a:pt x="199" y="425"/>
                  <a:pt x="199" y="427"/>
                </a:cubicBezTo>
                <a:cubicBezTo>
                  <a:pt x="200" y="424"/>
                  <a:pt x="206" y="423"/>
                  <a:pt x="209" y="420"/>
                </a:cubicBezTo>
                <a:cubicBezTo>
                  <a:pt x="209" y="419"/>
                  <a:pt x="211" y="412"/>
                  <a:pt x="210" y="411"/>
                </a:cubicBezTo>
                <a:cubicBezTo>
                  <a:pt x="208" y="405"/>
                  <a:pt x="202" y="404"/>
                  <a:pt x="197" y="402"/>
                </a:cubicBezTo>
                <a:cubicBezTo>
                  <a:pt x="192" y="400"/>
                  <a:pt x="191" y="402"/>
                  <a:pt x="190" y="399"/>
                </a:cubicBezTo>
                <a:cubicBezTo>
                  <a:pt x="189" y="396"/>
                  <a:pt x="191" y="392"/>
                  <a:pt x="192" y="391"/>
                </a:cubicBezTo>
                <a:cubicBezTo>
                  <a:pt x="194" y="390"/>
                  <a:pt x="201" y="390"/>
                  <a:pt x="202" y="389"/>
                </a:cubicBezTo>
                <a:cubicBezTo>
                  <a:pt x="207" y="386"/>
                  <a:pt x="206" y="380"/>
                  <a:pt x="209" y="377"/>
                </a:cubicBezTo>
                <a:cubicBezTo>
                  <a:pt x="214" y="373"/>
                  <a:pt x="211" y="377"/>
                  <a:pt x="219" y="376"/>
                </a:cubicBezTo>
                <a:cubicBezTo>
                  <a:pt x="226" y="375"/>
                  <a:pt x="228" y="367"/>
                  <a:pt x="227" y="361"/>
                </a:cubicBezTo>
                <a:cubicBezTo>
                  <a:pt x="226" y="348"/>
                  <a:pt x="218" y="333"/>
                  <a:pt x="205" y="330"/>
                </a:cubicBezTo>
                <a:cubicBezTo>
                  <a:pt x="203" y="330"/>
                  <a:pt x="203" y="329"/>
                  <a:pt x="201" y="329"/>
                </a:cubicBezTo>
                <a:cubicBezTo>
                  <a:pt x="200" y="329"/>
                  <a:pt x="198" y="332"/>
                  <a:pt x="197" y="332"/>
                </a:cubicBezTo>
                <a:cubicBezTo>
                  <a:pt x="194" y="330"/>
                  <a:pt x="197" y="332"/>
                  <a:pt x="195" y="328"/>
                </a:cubicBezTo>
                <a:cubicBezTo>
                  <a:pt x="192" y="324"/>
                  <a:pt x="194" y="316"/>
                  <a:pt x="191" y="312"/>
                </a:cubicBezTo>
                <a:cubicBezTo>
                  <a:pt x="194" y="315"/>
                  <a:pt x="199" y="318"/>
                  <a:pt x="203" y="320"/>
                </a:cubicBezTo>
                <a:cubicBezTo>
                  <a:pt x="201" y="321"/>
                  <a:pt x="201" y="324"/>
                  <a:pt x="199" y="325"/>
                </a:cubicBezTo>
                <a:cubicBezTo>
                  <a:pt x="207" y="324"/>
                  <a:pt x="215" y="318"/>
                  <a:pt x="218" y="329"/>
                </a:cubicBezTo>
                <a:cubicBezTo>
                  <a:pt x="220" y="327"/>
                  <a:pt x="220" y="323"/>
                  <a:pt x="224" y="323"/>
                </a:cubicBezTo>
                <a:cubicBezTo>
                  <a:pt x="222" y="320"/>
                  <a:pt x="219" y="319"/>
                  <a:pt x="217" y="316"/>
                </a:cubicBezTo>
                <a:cubicBezTo>
                  <a:pt x="221" y="315"/>
                  <a:pt x="224" y="316"/>
                  <a:pt x="227" y="319"/>
                </a:cubicBezTo>
                <a:cubicBezTo>
                  <a:pt x="226" y="316"/>
                  <a:pt x="225" y="314"/>
                  <a:pt x="223" y="312"/>
                </a:cubicBezTo>
                <a:cubicBezTo>
                  <a:pt x="222" y="311"/>
                  <a:pt x="222" y="312"/>
                  <a:pt x="222" y="310"/>
                </a:cubicBezTo>
                <a:cubicBezTo>
                  <a:pt x="222" y="310"/>
                  <a:pt x="222" y="309"/>
                  <a:pt x="222" y="308"/>
                </a:cubicBezTo>
                <a:cubicBezTo>
                  <a:pt x="225" y="308"/>
                  <a:pt x="227" y="309"/>
                  <a:pt x="228" y="313"/>
                </a:cubicBezTo>
                <a:cubicBezTo>
                  <a:pt x="226" y="312"/>
                  <a:pt x="224" y="311"/>
                  <a:pt x="222" y="309"/>
                </a:cubicBezTo>
                <a:cubicBezTo>
                  <a:pt x="222" y="310"/>
                  <a:pt x="222" y="310"/>
                  <a:pt x="222" y="310"/>
                </a:cubicBezTo>
                <a:cubicBezTo>
                  <a:pt x="222" y="311"/>
                  <a:pt x="223" y="312"/>
                  <a:pt x="223" y="312"/>
                </a:cubicBezTo>
                <a:cubicBezTo>
                  <a:pt x="227" y="314"/>
                  <a:pt x="229" y="318"/>
                  <a:pt x="232" y="316"/>
                </a:cubicBezTo>
                <a:cubicBezTo>
                  <a:pt x="231" y="315"/>
                  <a:pt x="230" y="314"/>
                  <a:pt x="228" y="313"/>
                </a:cubicBezTo>
                <a:cubicBezTo>
                  <a:pt x="229" y="313"/>
                  <a:pt x="230" y="313"/>
                  <a:pt x="230" y="313"/>
                </a:cubicBezTo>
                <a:cubicBezTo>
                  <a:pt x="230" y="309"/>
                  <a:pt x="230" y="310"/>
                  <a:pt x="231" y="307"/>
                </a:cubicBezTo>
                <a:cubicBezTo>
                  <a:pt x="229" y="307"/>
                  <a:pt x="229" y="307"/>
                  <a:pt x="228" y="306"/>
                </a:cubicBezTo>
                <a:cubicBezTo>
                  <a:pt x="228" y="308"/>
                  <a:pt x="228" y="308"/>
                  <a:pt x="228" y="309"/>
                </a:cubicBezTo>
                <a:cubicBezTo>
                  <a:pt x="225" y="307"/>
                  <a:pt x="222" y="306"/>
                  <a:pt x="221" y="303"/>
                </a:cubicBezTo>
                <a:cubicBezTo>
                  <a:pt x="223" y="304"/>
                  <a:pt x="226" y="305"/>
                  <a:pt x="228" y="306"/>
                </a:cubicBezTo>
                <a:cubicBezTo>
                  <a:pt x="225" y="304"/>
                  <a:pt x="222" y="304"/>
                  <a:pt x="221" y="301"/>
                </a:cubicBezTo>
                <a:cubicBezTo>
                  <a:pt x="221" y="299"/>
                  <a:pt x="224" y="293"/>
                  <a:pt x="223" y="289"/>
                </a:cubicBezTo>
                <a:cubicBezTo>
                  <a:pt x="226" y="295"/>
                  <a:pt x="230" y="290"/>
                  <a:pt x="234" y="293"/>
                </a:cubicBezTo>
                <a:cubicBezTo>
                  <a:pt x="235" y="294"/>
                  <a:pt x="235" y="296"/>
                  <a:pt x="236" y="297"/>
                </a:cubicBezTo>
                <a:cubicBezTo>
                  <a:pt x="244" y="302"/>
                  <a:pt x="247" y="306"/>
                  <a:pt x="258" y="303"/>
                </a:cubicBezTo>
                <a:cubicBezTo>
                  <a:pt x="257" y="302"/>
                  <a:pt x="256" y="300"/>
                  <a:pt x="256" y="299"/>
                </a:cubicBezTo>
                <a:cubicBezTo>
                  <a:pt x="261" y="302"/>
                  <a:pt x="264" y="302"/>
                  <a:pt x="266" y="308"/>
                </a:cubicBezTo>
                <a:cubicBezTo>
                  <a:pt x="267" y="312"/>
                  <a:pt x="265" y="317"/>
                  <a:pt x="266" y="321"/>
                </a:cubicBezTo>
                <a:cubicBezTo>
                  <a:pt x="267" y="330"/>
                  <a:pt x="274" y="337"/>
                  <a:pt x="276" y="347"/>
                </a:cubicBezTo>
                <a:cubicBezTo>
                  <a:pt x="279" y="358"/>
                  <a:pt x="277" y="367"/>
                  <a:pt x="275" y="377"/>
                </a:cubicBezTo>
                <a:cubicBezTo>
                  <a:pt x="274" y="385"/>
                  <a:pt x="276" y="385"/>
                  <a:pt x="268" y="388"/>
                </a:cubicBezTo>
                <a:cubicBezTo>
                  <a:pt x="264" y="389"/>
                  <a:pt x="260" y="388"/>
                  <a:pt x="258" y="393"/>
                </a:cubicBezTo>
                <a:cubicBezTo>
                  <a:pt x="269" y="395"/>
                  <a:pt x="265" y="394"/>
                  <a:pt x="258" y="402"/>
                </a:cubicBezTo>
                <a:cubicBezTo>
                  <a:pt x="255" y="406"/>
                  <a:pt x="253" y="408"/>
                  <a:pt x="262" y="407"/>
                </a:cubicBezTo>
                <a:cubicBezTo>
                  <a:pt x="260" y="408"/>
                  <a:pt x="256" y="413"/>
                  <a:pt x="259" y="414"/>
                </a:cubicBezTo>
                <a:cubicBezTo>
                  <a:pt x="262" y="415"/>
                  <a:pt x="263" y="410"/>
                  <a:pt x="264" y="408"/>
                </a:cubicBezTo>
                <a:cubicBezTo>
                  <a:pt x="265" y="410"/>
                  <a:pt x="262" y="417"/>
                  <a:pt x="263" y="418"/>
                </a:cubicBezTo>
                <a:cubicBezTo>
                  <a:pt x="264" y="419"/>
                  <a:pt x="269" y="415"/>
                  <a:pt x="270" y="414"/>
                </a:cubicBezTo>
                <a:cubicBezTo>
                  <a:pt x="271" y="415"/>
                  <a:pt x="271" y="415"/>
                  <a:pt x="272" y="416"/>
                </a:cubicBezTo>
                <a:cubicBezTo>
                  <a:pt x="270" y="419"/>
                  <a:pt x="274" y="424"/>
                  <a:pt x="278" y="420"/>
                </a:cubicBezTo>
                <a:cubicBezTo>
                  <a:pt x="277" y="421"/>
                  <a:pt x="279" y="414"/>
                  <a:pt x="279" y="414"/>
                </a:cubicBezTo>
                <a:cubicBezTo>
                  <a:pt x="280" y="411"/>
                  <a:pt x="277" y="410"/>
                  <a:pt x="282" y="407"/>
                </a:cubicBezTo>
                <a:cubicBezTo>
                  <a:pt x="283" y="412"/>
                  <a:pt x="282" y="417"/>
                  <a:pt x="282" y="422"/>
                </a:cubicBezTo>
                <a:cubicBezTo>
                  <a:pt x="285" y="421"/>
                  <a:pt x="283" y="415"/>
                  <a:pt x="285" y="411"/>
                </a:cubicBezTo>
                <a:cubicBezTo>
                  <a:pt x="286" y="413"/>
                  <a:pt x="287" y="416"/>
                  <a:pt x="288" y="419"/>
                </a:cubicBezTo>
                <a:cubicBezTo>
                  <a:pt x="289" y="415"/>
                  <a:pt x="289" y="412"/>
                  <a:pt x="290" y="408"/>
                </a:cubicBezTo>
                <a:cubicBezTo>
                  <a:pt x="289" y="413"/>
                  <a:pt x="289" y="426"/>
                  <a:pt x="294" y="418"/>
                </a:cubicBezTo>
                <a:cubicBezTo>
                  <a:pt x="298" y="412"/>
                  <a:pt x="293" y="411"/>
                  <a:pt x="299" y="411"/>
                </a:cubicBezTo>
                <a:cubicBezTo>
                  <a:pt x="301" y="411"/>
                  <a:pt x="303" y="414"/>
                  <a:pt x="306" y="414"/>
                </a:cubicBezTo>
                <a:cubicBezTo>
                  <a:pt x="309" y="414"/>
                  <a:pt x="311" y="412"/>
                  <a:pt x="313" y="410"/>
                </a:cubicBezTo>
                <a:cubicBezTo>
                  <a:pt x="312" y="407"/>
                  <a:pt x="309" y="401"/>
                  <a:pt x="311" y="397"/>
                </a:cubicBezTo>
                <a:cubicBezTo>
                  <a:pt x="309" y="395"/>
                  <a:pt x="309" y="396"/>
                  <a:pt x="309" y="393"/>
                </a:cubicBezTo>
                <a:cubicBezTo>
                  <a:pt x="309" y="395"/>
                  <a:pt x="318" y="403"/>
                  <a:pt x="320" y="404"/>
                </a:cubicBezTo>
                <a:cubicBezTo>
                  <a:pt x="322" y="405"/>
                  <a:pt x="322" y="402"/>
                  <a:pt x="322" y="401"/>
                </a:cubicBezTo>
                <a:cubicBezTo>
                  <a:pt x="321" y="399"/>
                  <a:pt x="316" y="398"/>
                  <a:pt x="315" y="396"/>
                </a:cubicBezTo>
                <a:cubicBezTo>
                  <a:pt x="318" y="394"/>
                  <a:pt x="321" y="396"/>
                  <a:pt x="323" y="397"/>
                </a:cubicBezTo>
                <a:cubicBezTo>
                  <a:pt x="322" y="396"/>
                  <a:pt x="321" y="395"/>
                  <a:pt x="319" y="395"/>
                </a:cubicBezTo>
                <a:cubicBezTo>
                  <a:pt x="321" y="389"/>
                  <a:pt x="331" y="393"/>
                  <a:pt x="335" y="394"/>
                </a:cubicBezTo>
                <a:cubicBezTo>
                  <a:pt x="341" y="394"/>
                  <a:pt x="340" y="393"/>
                  <a:pt x="345" y="396"/>
                </a:cubicBezTo>
                <a:cubicBezTo>
                  <a:pt x="349" y="398"/>
                  <a:pt x="351" y="402"/>
                  <a:pt x="355" y="405"/>
                </a:cubicBezTo>
                <a:cubicBezTo>
                  <a:pt x="348" y="413"/>
                  <a:pt x="347" y="416"/>
                  <a:pt x="353" y="425"/>
                </a:cubicBezTo>
                <a:cubicBezTo>
                  <a:pt x="356" y="429"/>
                  <a:pt x="359" y="436"/>
                  <a:pt x="366" y="439"/>
                </a:cubicBezTo>
                <a:cubicBezTo>
                  <a:pt x="374" y="442"/>
                  <a:pt x="382" y="436"/>
                  <a:pt x="386" y="430"/>
                </a:cubicBezTo>
                <a:cubicBezTo>
                  <a:pt x="389" y="428"/>
                  <a:pt x="392" y="421"/>
                  <a:pt x="396" y="424"/>
                </a:cubicBezTo>
                <a:cubicBezTo>
                  <a:pt x="394" y="427"/>
                  <a:pt x="394" y="427"/>
                  <a:pt x="397" y="425"/>
                </a:cubicBezTo>
                <a:cubicBezTo>
                  <a:pt x="403" y="428"/>
                  <a:pt x="406" y="432"/>
                  <a:pt x="408" y="438"/>
                </a:cubicBezTo>
                <a:cubicBezTo>
                  <a:pt x="410" y="444"/>
                  <a:pt x="409" y="443"/>
                  <a:pt x="415" y="449"/>
                </a:cubicBezTo>
                <a:cubicBezTo>
                  <a:pt x="418" y="442"/>
                  <a:pt x="419" y="432"/>
                  <a:pt x="423" y="427"/>
                </a:cubicBezTo>
                <a:cubicBezTo>
                  <a:pt x="426" y="431"/>
                  <a:pt x="428" y="436"/>
                  <a:pt x="430" y="440"/>
                </a:cubicBezTo>
                <a:cubicBezTo>
                  <a:pt x="429" y="441"/>
                  <a:pt x="428" y="443"/>
                  <a:pt x="426" y="443"/>
                </a:cubicBezTo>
                <a:cubicBezTo>
                  <a:pt x="436" y="448"/>
                  <a:pt x="427" y="455"/>
                  <a:pt x="433" y="462"/>
                </a:cubicBezTo>
                <a:cubicBezTo>
                  <a:pt x="440" y="447"/>
                  <a:pt x="439" y="458"/>
                  <a:pt x="448" y="464"/>
                </a:cubicBezTo>
                <a:cubicBezTo>
                  <a:pt x="448" y="464"/>
                  <a:pt x="457" y="465"/>
                  <a:pt x="454" y="466"/>
                </a:cubicBezTo>
                <a:cubicBezTo>
                  <a:pt x="457" y="465"/>
                  <a:pt x="457" y="463"/>
                  <a:pt x="452" y="461"/>
                </a:cubicBezTo>
                <a:cubicBezTo>
                  <a:pt x="457" y="459"/>
                  <a:pt x="455" y="455"/>
                  <a:pt x="454" y="451"/>
                </a:cubicBezTo>
                <a:cubicBezTo>
                  <a:pt x="458" y="453"/>
                  <a:pt x="460" y="456"/>
                  <a:pt x="463" y="456"/>
                </a:cubicBezTo>
                <a:cubicBezTo>
                  <a:pt x="461" y="455"/>
                  <a:pt x="462" y="455"/>
                  <a:pt x="460" y="454"/>
                </a:cubicBezTo>
                <a:cubicBezTo>
                  <a:pt x="463" y="452"/>
                  <a:pt x="469" y="453"/>
                  <a:pt x="469" y="450"/>
                </a:cubicBezTo>
                <a:cubicBezTo>
                  <a:pt x="469" y="448"/>
                  <a:pt x="460" y="444"/>
                  <a:pt x="458" y="442"/>
                </a:cubicBezTo>
                <a:cubicBezTo>
                  <a:pt x="462" y="440"/>
                  <a:pt x="466" y="437"/>
                  <a:pt x="469" y="434"/>
                </a:cubicBezTo>
                <a:cubicBezTo>
                  <a:pt x="463" y="434"/>
                  <a:pt x="457" y="434"/>
                  <a:pt x="451" y="434"/>
                </a:cubicBezTo>
                <a:cubicBezTo>
                  <a:pt x="453" y="432"/>
                  <a:pt x="454" y="431"/>
                  <a:pt x="456" y="430"/>
                </a:cubicBezTo>
                <a:cubicBezTo>
                  <a:pt x="449" y="426"/>
                  <a:pt x="445" y="433"/>
                  <a:pt x="439" y="434"/>
                </a:cubicBezTo>
                <a:cubicBezTo>
                  <a:pt x="445" y="430"/>
                  <a:pt x="425" y="422"/>
                  <a:pt x="424" y="419"/>
                </a:cubicBezTo>
                <a:cubicBezTo>
                  <a:pt x="422" y="413"/>
                  <a:pt x="443" y="407"/>
                  <a:pt x="435" y="399"/>
                </a:cubicBezTo>
                <a:cubicBezTo>
                  <a:pt x="444" y="403"/>
                  <a:pt x="443" y="397"/>
                  <a:pt x="449" y="409"/>
                </a:cubicBezTo>
                <a:cubicBezTo>
                  <a:pt x="453" y="416"/>
                  <a:pt x="455" y="422"/>
                  <a:pt x="463" y="424"/>
                </a:cubicBezTo>
                <a:cubicBezTo>
                  <a:pt x="477" y="426"/>
                  <a:pt x="461" y="418"/>
                  <a:pt x="467" y="413"/>
                </a:cubicBezTo>
                <a:cubicBezTo>
                  <a:pt x="469" y="411"/>
                  <a:pt x="473" y="415"/>
                  <a:pt x="476" y="408"/>
                </a:cubicBezTo>
                <a:cubicBezTo>
                  <a:pt x="478" y="404"/>
                  <a:pt x="478" y="399"/>
                  <a:pt x="473" y="400"/>
                </a:cubicBezTo>
                <a:cubicBezTo>
                  <a:pt x="474" y="399"/>
                  <a:pt x="474" y="398"/>
                  <a:pt x="475" y="397"/>
                </a:cubicBezTo>
                <a:cubicBezTo>
                  <a:pt x="474" y="397"/>
                  <a:pt x="473" y="397"/>
                  <a:pt x="472" y="397"/>
                </a:cubicBezTo>
                <a:cubicBezTo>
                  <a:pt x="471" y="399"/>
                  <a:pt x="472" y="399"/>
                  <a:pt x="471" y="401"/>
                </a:cubicBezTo>
                <a:cubicBezTo>
                  <a:pt x="471" y="400"/>
                  <a:pt x="470" y="400"/>
                  <a:pt x="470" y="400"/>
                </a:cubicBezTo>
                <a:cubicBezTo>
                  <a:pt x="471" y="398"/>
                  <a:pt x="471" y="398"/>
                  <a:pt x="472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69" y="397"/>
                  <a:pt x="467" y="396"/>
                  <a:pt x="464" y="395"/>
                </a:cubicBezTo>
                <a:cubicBezTo>
                  <a:pt x="467" y="393"/>
                  <a:pt x="480" y="394"/>
                  <a:pt x="479" y="392"/>
                </a:cubicBezTo>
                <a:cubicBezTo>
                  <a:pt x="478" y="387"/>
                  <a:pt x="469" y="392"/>
                  <a:pt x="465" y="390"/>
                </a:cubicBezTo>
                <a:cubicBezTo>
                  <a:pt x="468" y="388"/>
                  <a:pt x="471" y="388"/>
                  <a:pt x="475" y="388"/>
                </a:cubicBezTo>
                <a:cubicBezTo>
                  <a:pt x="466" y="379"/>
                  <a:pt x="494" y="374"/>
                  <a:pt x="485" y="367"/>
                </a:cubicBezTo>
                <a:cubicBezTo>
                  <a:pt x="482" y="364"/>
                  <a:pt x="473" y="364"/>
                  <a:pt x="470" y="365"/>
                </a:cubicBezTo>
                <a:cubicBezTo>
                  <a:pt x="467" y="366"/>
                  <a:pt x="464" y="368"/>
                  <a:pt x="462" y="369"/>
                </a:cubicBezTo>
                <a:cubicBezTo>
                  <a:pt x="459" y="370"/>
                  <a:pt x="458" y="368"/>
                  <a:pt x="456" y="369"/>
                </a:cubicBezTo>
                <a:cubicBezTo>
                  <a:pt x="458" y="367"/>
                  <a:pt x="460" y="365"/>
                  <a:pt x="461" y="362"/>
                </a:cubicBezTo>
                <a:cubicBezTo>
                  <a:pt x="456" y="360"/>
                  <a:pt x="443" y="355"/>
                  <a:pt x="439" y="357"/>
                </a:cubicBezTo>
                <a:cubicBezTo>
                  <a:pt x="442" y="351"/>
                  <a:pt x="442" y="347"/>
                  <a:pt x="444" y="340"/>
                </a:cubicBezTo>
                <a:cubicBezTo>
                  <a:pt x="445" y="336"/>
                  <a:pt x="453" y="329"/>
                  <a:pt x="449" y="324"/>
                </a:cubicBezTo>
                <a:cubicBezTo>
                  <a:pt x="444" y="317"/>
                  <a:pt x="428" y="328"/>
                  <a:pt x="422" y="331"/>
                </a:cubicBezTo>
                <a:cubicBezTo>
                  <a:pt x="425" y="323"/>
                  <a:pt x="416" y="309"/>
                  <a:pt x="408" y="305"/>
                </a:cubicBezTo>
                <a:cubicBezTo>
                  <a:pt x="403" y="302"/>
                  <a:pt x="401" y="303"/>
                  <a:pt x="396" y="306"/>
                </a:cubicBezTo>
                <a:cubicBezTo>
                  <a:pt x="394" y="306"/>
                  <a:pt x="394" y="305"/>
                  <a:pt x="392" y="305"/>
                </a:cubicBezTo>
                <a:cubicBezTo>
                  <a:pt x="390" y="306"/>
                  <a:pt x="388" y="311"/>
                  <a:pt x="387" y="313"/>
                </a:cubicBezTo>
                <a:cubicBezTo>
                  <a:pt x="386" y="315"/>
                  <a:pt x="386" y="319"/>
                  <a:pt x="385" y="321"/>
                </a:cubicBezTo>
                <a:cubicBezTo>
                  <a:pt x="381" y="325"/>
                  <a:pt x="382" y="322"/>
                  <a:pt x="378" y="323"/>
                </a:cubicBezTo>
                <a:cubicBezTo>
                  <a:pt x="375" y="325"/>
                  <a:pt x="372" y="325"/>
                  <a:pt x="369" y="328"/>
                </a:cubicBezTo>
                <a:cubicBezTo>
                  <a:pt x="358" y="336"/>
                  <a:pt x="366" y="344"/>
                  <a:pt x="366" y="356"/>
                </a:cubicBezTo>
                <a:cubicBezTo>
                  <a:pt x="354" y="341"/>
                  <a:pt x="325" y="334"/>
                  <a:pt x="308" y="323"/>
                </a:cubicBezTo>
                <a:cubicBezTo>
                  <a:pt x="308" y="324"/>
                  <a:pt x="308" y="324"/>
                  <a:pt x="308" y="325"/>
                </a:cubicBezTo>
                <a:cubicBezTo>
                  <a:pt x="308" y="322"/>
                  <a:pt x="307" y="317"/>
                  <a:pt x="308" y="314"/>
                </a:cubicBezTo>
                <a:cubicBezTo>
                  <a:pt x="309" y="309"/>
                  <a:pt x="309" y="312"/>
                  <a:pt x="312" y="308"/>
                </a:cubicBezTo>
                <a:cubicBezTo>
                  <a:pt x="314" y="304"/>
                  <a:pt x="324" y="290"/>
                  <a:pt x="321" y="286"/>
                </a:cubicBezTo>
                <a:cubicBezTo>
                  <a:pt x="318" y="282"/>
                  <a:pt x="296" y="286"/>
                  <a:pt x="292" y="290"/>
                </a:cubicBezTo>
                <a:cubicBezTo>
                  <a:pt x="286" y="297"/>
                  <a:pt x="293" y="304"/>
                  <a:pt x="281" y="302"/>
                </a:cubicBezTo>
                <a:cubicBezTo>
                  <a:pt x="272" y="300"/>
                  <a:pt x="263" y="294"/>
                  <a:pt x="264" y="286"/>
                </a:cubicBezTo>
                <a:cubicBezTo>
                  <a:pt x="264" y="272"/>
                  <a:pt x="267" y="277"/>
                  <a:pt x="276" y="278"/>
                </a:cubicBezTo>
                <a:cubicBezTo>
                  <a:pt x="285" y="280"/>
                  <a:pt x="289" y="277"/>
                  <a:pt x="292" y="270"/>
                </a:cubicBezTo>
                <a:cubicBezTo>
                  <a:pt x="295" y="262"/>
                  <a:pt x="290" y="261"/>
                  <a:pt x="287" y="253"/>
                </a:cubicBezTo>
                <a:cubicBezTo>
                  <a:pt x="297" y="255"/>
                  <a:pt x="292" y="241"/>
                  <a:pt x="287" y="237"/>
                </a:cubicBezTo>
                <a:cubicBezTo>
                  <a:pt x="282" y="233"/>
                  <a:pt x="269" y="233"/>
                  <a:pt x="266" y="226"/>
                </a:cubicBezTo>
                <a:cubicBezTo>
                  <a:pt x="269" y="227"/>
                  <a:pt x="271" y="226"/>
                  <a:pt x="272" y="224"/>
                </a:cubicBezTo>
                <a:cubicBezTo>
                  <a:pt x="269" y="224"/>
                  <a:pt x="267" y="223"/>
                  <a:pt x="265" y="221"/>
                </a:cubicBezTo>
                <a:cubicBezTo>
                  <a:pt x="268" y="223"/>
                  <a:pt x="276" y="223"/>
                  <a:pt x="280" y="222"/>
                </a:cubicBezTo>
                <a:cubicBezTo>
                  <a:pt x="276" y="219"/>
                  <a:pt x="275" y="217"/>
                  <a:pt x="279" y="215"/>
                </a:cubicBezTo>
                <a:cubicBezTo>
                  <a:pt x="277" y="215"/>
                  <a:pt x="275" y="213"/>
                  <a:pt x="273" y="214"/>
                </a:cubicBezTo>
                <a:cubicBezTo>
                  <a:pt x="278" y="209"/>
                  <a:pt x="285" y="210"/>
                  <a:pt x="288" y="217"/>
                </a:cubicBezTo>
                <a:cubicBezTo>
                  <a:pt x="295" y="210"/>
                  <a:pt x="294" y="205"/>
                  <a:pt x="305" y="207"/>
                </a:cubicBezTo>
                <a:cubicBezTo>
                  <a:pt x="309" y="208"/>
                  <a:pt x="317" y="210"/>
                  <a:pt x="319" y="214"/>
                </a:cubicBezTo>
                <a:cubicBezTo>
                  <a:pt x="324" y="220"/>
                  <a:pt x="321" y="216"/>
                  <a:pt x="319" y="221"/>
                </a:cubicBezTo>
                <a:cubicBezTo>
                  <a:pt x="318" y="224"/>
                  <a:pt x="314" y="227"/>
                  <a:pt x="316" y="230"/>
                </a:cubicBezTo>
                <a:cubicBezTo>
                  <a:pt x="317" y="232"/>
                  <a:pt x="326" y="234"/>
                  <a:pt x="328" y="235"/>
                </a:cubicBezTo>
                <a:cubicBezTo>
                  <a:pt x="333" y="237"/>
                  <a:pt x="336" y="236"/>
                  <a:pt x="338" y="234"/>
                </a:cubicBezTo>
                <a:cubicBezTo>
                  <a:pt x="340" y="229"/>
                  <a:pt x="344" y="223"/>
                  <a:pt x="345" y="220"/>
                </a:cubicBezTo>
                <a:cubicBezTo>
                  <a:pt x="343" y="226"/>
                  <a:pt x="341" y="231"/>
                  <a:pt x="338" y="234"/>
                </a:cubicBezTo>
                <a:cubicBezTo>
                  <a:pt x="337" y="237"/>
                  <a:pt x="338" y="240"/>
                  <a:pt x="343" y="240"/>
                </a:cubicBezTo>
                <a:cubicBezTo>
                  <a:pt x="336" y="242"/>
                  <a:pt x="334" y="249"/>
                  <a:pt x="334" y="256"/>
                </a:cubicBezTo>
                <a:cubicBezTo>
                  <a:pt x="333" y="261"/>
                  <a:pt x="333" y="267"/>
                  <a:pt x="336" y="271"/>
                </a:cubicBezTo>
                <a:cubicBezTo>
                  <a:pt x="340" y="275"/>
                  <a:pt x="340" y="272"/>
                  <a:pt x="344" y="274"/>
                </a:cubicBezTo>
                <a:cubicBezTo>
                  <a:pt x="349" y="276"/>
                  <a:pt x="346" y="278"/>
                  <a:pt x="352" y="278"/>
                </a:cubicBezTo>
                <a:cubicBezTo>
                  <a:pt x="357" y="277"/>
                  <a:pt x="360" y="271"/>
                  <a:pt x="365" y="271"/>
                </a:cubicBezTo>
                <a:cubicBezTo>
                  <a:pt x="370" y="270"/>
                  <a:pt x="368" y="275"/>
                  <a:pt x="374" y="278"/>
                </a:cubicBezTo>
                <a:cubicBezTo>
                  <a:pt x="388" y="284"/>
                  <a:pt x="405" y="257"/>
                  <a:pt x="404" y="244"/>
                </a:cubicBezTo>
                <a:cubicBezTo>
                  <a:pt x="403" y="237"/>
                  <a:pt x="398" y="237"/>
                  <a:pt x="404" y="236"/>
                </a:cubicBezTo>
                <a:cubicBezTo>
                  <a:pt x="412" y="234"/>
                  <a:pt x="424" y="238"/>
                  <a:pt x="432" y="239"/>
                </a:cubicBezTo>
                <a:cubicBezTo>
                  <a:pt x="431" y="236"/>
                  <a:pt x="431" y="232"/>
                  <a:pt x="429" y="229"/>
                </a:cubicBezTo>
                <a:cubicBezTo>
                  <a:pt x="436" y="226"/>
                  <a:pt x="454" y="239"/>
                  <a:pt x="461" y="242"/>
                </a:cubicBezTo>
                <a:cubicBezTo>
                  <a:pt x="456" y="244"/>
                  <a:pt x="452" y="247"/>
                  <a:pt x="450" y="251"/>
                </a:cubicBezTo>
                <a:cubicBezTo>
                  <a:pt x="454" y="251"/>
                  <a:pt x="459" y="250"/>
                  <a:pt x="462" y="252"/>
                </a:cubicBezTo>
                <a:cubicBezTo>
                  <a:pt x="455" y="255"/>
                  <a:pt x="459" y="268"/>
                  <a:pt x="457" y="272"/>
                </a:cubicBezTo>
                <a:cubicBezTo>
                  <a:pt x="460" y="271"/>
                  <a:pt x="461" y="269"/>
                  <a:pt x="462" y="267"/>
                </a:cubicBezTo>
                <a:cubicBezTo>
                  <a:pt x="462" y="267"/>
                  <a:pt x="462" y="267"/>
                  <a:pt x="462" y="267"/>
                </a:cubicBezTo>
                <a:cubicBezTo>
                  <a:pt x="463" y="266"/>
                  <a:pt x="464" y="265"/>
                  <a:pt x="464" y="264"/>
                </a:cubicBezTo>
                <a:cubicBezTo>
                  <a:pt x="463" y="265"/>
                  <a:pt x="463" y="266"/>
                  <a:pt x="462" y="267"/>
                </a:cubicBezTo>
                <a:cubicBezTo>
                  <a:pt x="467" y="270"/>
                  <a:pt x="471" y="263"/>
                  <a:pt x="476" y="260"/>
                </a:cubicBezTo>
                <a:cubicBezTo>
                  <a:pt x="476" y="263"/>
                  <a:pt x="475" y="265"/>
                  <a:pt x="474" y="268"/>
                </a:cubicBezTo>
                <a:cubicBezTo>
                  <a:pt x="473" y="267"/>
                  <a:pt x="472" y="266"/>
                  <a:pt x="471" y="265"/>
                </a:cubicBezTo>
                <a:cubicBezTo>
                  <a:pt x="471" y="273"/>
                  <a:pt x="467" y="274"/>
                  <a:pt x="475" y="271"/>
                </a:cubicBezTo>
                <a:cubicBezTo>
                  <a:pt x="472" y="274"/>
                  <a:pt x="477" y="277"/>
                  <a:pt x="479" y="275"/>
                </a:cubicBezTo>
                <a:cubicBezTo>
                  <a:pt x="480" y="274"/>
                  <a:pt x="480" y="265"/>
                  <a:pt x="480" y="263"/>
                </a:cubicBezTo>
                <a:cubicBezTo>
                  <a:pt x="484" y="265"/>
                  <a:pt x="488" y="267"/>
                  <a:pt x="493" y="268"/>
                </a:cubicBezTo>
                <a:cubicBezTo>
                  <a:pt x="492" y="263"/>
                  <a:pt x="489" y="262"/>
                  <a:pt x="487" y="258"/>
                </a:cubicBezTo>
                <a:cubicBezTo>
                  <a:pt x="486" y="258"/>
                  <a:pt x="486" y="258"/>
                  <a:pt x="486" y="258"/>
                </a:cubicBezTo>
                <a:cubicBezTo>
                  <a:pt x="486" y="258"/>
                  <a:pt x="486" y="258"/>
                  <a:pt x="487" y="257"/>
                </a:cubicBezTo>
                <a:cubicBezTo>
                  <a:pt x="487" y="257"/>
                  <a:pt x="487" y="258"/>
                  <a:pt x="487" y="258"/>
                </a:cubicBezTo>
                <a:cubicBezTo>
                  <a:pt x="492" y="257"/>
                  <a:pt x="499" y="266"/>
                  <a:pt x="499" y="271"/>
                </a:cubicBezTo>
                <a:cubicBezTo>
                  <a:pt x="498" y="276"/>
                  <a:pt x="491" y="280"/>
                  <a:pt x="489" y="285"/>
                </a:cubicBezTo>
                <a:cubicBezTo>
                  <a:pt x="487" y="289"/>
                  <a:pt x="487" y="296"/>
                  <a:pt x="486" y="301"/>
                </a:cubicBezTo>
                <a:cubicBezTo>
                  <a:pt x="498" y="299"/>
                  <a:pt x="508" y="295"/>
                  <a:pt x="509" y="282"/>
                </a:cubicBezTo>
                <a:cubicBezTo>
                  <a:pt x="517" y="293"/>
                  <a:pt x="526" y="303"/>
                  <a:pt x="532" y="315"/>
                </a:cubicBezTo>
                <a:cubicBezTo>
                  <a:pt x="534" y="319"/>
                  <a:pt x="539" y="327"/>
                  <a:pt x="535" y="331"/>
                </a:cubicBezTo>
                <a:cubicBezTo>
                  <a:pt x="530" y="335"/>
                  <a:pt x="524" y="328"/>
                  <a:pt x="521" y="332"/>
                </a:cubicBezTo>
                <a:cubicBezTo>
                  <a:pt x="521" y="332"/>
                  <a:pt x="521" y="332"/>
                  <a:pt x="521" y="332"/>
                </a:cubicBezTo>
                <a:cubicBezTo>
                  <a:pt x="521" y="332"/>
                  <a:pt x="521" y="332"/>
                  <a:pt x="520" y="332"/>
                </a:cubicBezTo>
                <a:cubicBezTo>
                  <a:pt x="520" y="332"/>
                  <a:pt x="520" y="332"/>
                  <a:pt x="521" y="332"/>
                </a:cubicBezTo>
                <a:cubicBezTo>
                  <a:pt x="520" y="332"/>
                  <a:pt x="520" y="332"/>
                  <a:pt x="520" y="332"/>
                </a:cubicBezTo>
                <a:cubicBezTo>
                  <a:pt x="509" y="341"/>
                  <a:pt x="509" y="352"/>
                  <a:pt x="503" y="364"/>
                </a:cubicBezTo>
                <a:cubicBezTo>
                  <a:pt x="501" y="369"/>
                  <a:pt x="491" y="375"/>
                  <a:pt x="496" y="381"/>
                </a:cubicBezTo>
                <a:cubicBezTo>
                  <a:pt x="501" y="390"/>
                  <a:pt x="506" y="377"/>
                  <a:pt x="512" y="380"/>
                </a:cubicBezTo>
                <a:cubicBezTo>
                  <a:pt x="511" y="381"/>
                  <a:pt x="509" y="383"/>
                  <a:pt x="507" y="384"/>
                </a:cubicBezTo>
                <a:cubicBezTo>
                  <a:pt x="513" y="385"/>
                  <a:pt x="521" y="381"/>
                  <a:pt x="526" y="377"/>
                </a:cubicBezTo>
                <a:cubicBezTo>
                  <a:pt x="522" y="388"/>
                  <a:pt x="526" y="403"/>
                  <a:pt x="538" y="411"/>
                </a:cubicBezTo>
                <a:cubicBezTo>
                  <a:pt x="543" y="414"/>
                  <a:pt x="553" y="417"/>
                  <a:pt x="553" y="425"/>
                </a:cubicBezTo>
                <a:cubicBezTo>
                  <a:pt x="554" y="433"/>
                  <a:pt x="542" y="442"/>
                  <a:pt x="537" y="447"/>
                </a:cubicBezTo>
                <a:cubicBezTo>
                  <a:pt x="534" y="445"/>
                  <a:pt x="532" y="441"/>
                  <a:pt x="532" y="437"/>
                </a:cubicBezTo>
                <a:cubicBezTo>
                  <a:pt x="529" y="441"/>
                  <a:pt x="528" y="451"/>
                  <a:pt x="522" y="447"/>
                </a:cubicBezTo>
                <a:cubicBezTo>
                  <a:pt x="522" y="451"/>
                  <a:pt x="525" y="454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6" y="457"/>
                  <a:pt x="526" y="457"/>
                  <a:pt x="526" y="457"/>
                </a:cubicBezTo>
                <a:cubicBezTo>
                  <a:pt x="524" y="459"/>
                  <a:pt x="521" y="462"/>
                  <a:pt x="519" y="465"/>
                </a:cubicBezTo>
                <a:cubicBezTo>
                  <a:pt x="521" y="465"/>
                  <a:pt x="519" y="466"/>
                  <a:pt x="522" y="464"/>
                </a:cubicBezTo>
                <a:cubicBezTo>
                  <a:pt x="522" y="465"/>
                  <a:pt x="524" y="466"/>
                  <a:pt x="525" y="467"/>
                </a:cubicBezTo>
                <a:cubicBezTo>
                  <a:pt x="521" y="470"/>
                  <a:pt x="509" y="478"/>
                  <a:pt x="513" y="485"/>
                </a:cubicBezTo>
                <a:cubicBezTo>
                  <a:pt x="515" y="487"/>
                  <a:pt x="529" y="487"/>
                  <a:pt x="532" y="488"/>
                </a:cubicBezTo>
                <a:cubicBezTo>
                  <a:pt x="528" y="495"/>
                  <a:pt x="527" y="508"/>
                  <a:pt x="535" y="514"/>
                </a:cubicBezTo>
                <a:cubicBezTo>
                  <a:pt x="535" y="513"/>
                  <a:pt x="544" y="515"/>
                  <a:pt x="544" y="515"/>
                </a:cubicBezTo>
                <a:cubicBezTo>
                  <a:pt x="549" y="514"/>
                  <a:pt x="552" y="507"/>
                  <a:pt x="556" y="507"/>
                </a:cubicBezTo>
                <a:cubicBezTo>
                  <a:pt x="558" y="507"/>
                  <a:pt x="558" y="510"/>
                  <a:pt x="560" y="511"/>
                </a:cubicBezTo>
                <a:cubicBezTo>
                  <a:pt x="560" y="511"/>
                  <a:pt x="565" y="512"/>
                  <a:pt x="565" y="512"/>
                </a:cubicBezTo>
                <a:cubicBezTo>
                  <a:pt x="568" y="512"/>
                  <a:pt x="570" y="511"/>
                  <a:pt x="573" y="507"/>
                </a:cubicBezTo>
                <a:cubicBezTo>
                  <a:pt x="577" y="502"/>
                  <a:pt x="577" y="483"/>
                  <a:pt x="584" y="483"/>
                </a:cubicBezTo>
                <a:cubicBezTo>
                  <a:pt x="584" y="483"/>
                  <a:pt x="584" y="483"/>
                  <a:pt x="584" y="483"/>
                </a:cubicBezTo>
                <a:cubicBezTo>
                  <a:pt x="583" y="482"/>
                  <a:pt x="585" y="483"/>
                  <a:pt x="584" y="483"/>
                </a:cubicBezTo>
                <a:cubicBezTo>
                  <a:pt x="584" y="483"/>
                  <a:pt x="584" y="483"/>
                  <a:pt x="584" y="483"/>
                </a:cubicBezTo>
                <a:cubicBezTo>
                  <a:pt x="584" y="484"/>
                  <a:pt x="585" y="485"/>
                  <a:pt x="585" y="487"/>
                </a:cubicBezTo>
                <a:cubicBezTo>
                  <a:pt x="585" y="486"/>
                  <a:pt x="586" y="484"/>
                  <a:pt x="587" y="483"/>
                </a:cubicBezTo>
                <a:cubicBezTo>
                  <a:pt x="587" y="483"/>
                  <a:pt x="586" y="483"/>
                  <a:pt x="586" y="483"/>
                </a:cubicBezTo>
                <a:cubicBezTo>
                  <a:pt x="587" y="482"/>
                  <a:pt x="587" y="482"/>
                  <a:pt x="587" y="482"/>
                </a:cubicBezTo>
                <a:cubicBezTo>
                  <a:pt x="587" y="481"/>
                  <a:pt x="587" y="481"/>
                  <a:pt x="587" y="480"/>
                </a:cubicBezTo>
                <a:cubicBezTo>
                  <a:pt x="587" y="481"/>
                  <a:pt x="589" y="479"/>
                  <a:pt x="589" y="478"/>
                </a:cubicBezTo>
                <a:cubicBezTo>
                  <a:pt x="588" y="479"/>
                  <a:pt x="588" y="481"/>
                  <a:pt x="587" y="482"/>
                </a:cubicBezTo>
                <a:cubicBezTo>
                  <a:pt x="587" y="482"/>
                  <a:pt x="587" y="483"/>
                  <a:pt x="587" y="483"/>
                </a:cubicBezTo>
                <a:cubicBezTo>
                  <a:pt x="591" y="485"/>
                  <a:pt x="585" y="489"/>
                  <a:pt x="589" y="492"/>
                </a:cubicBezTo>
                <a:cubicBezTo>
                  <a:pt x="590" y="493"/>
                  <a:pt x="592" y="482"/>
                  <a:pt x="592" y="480"/>
                </a:cubicBezTo>
                <a:cubicBezTo>
                  <a:pt x="595" y="482"/>
                  <a:pt x="596" y="484"/>
                  <a:pt x="596" y="487"/>
                </a:cubicBezTo>
                <a:cubicBezTo>
                  <a:pt x="596" y="486"/>
                  <a:pt x="597" y="485"/>
                  <a:pt x="598" y="484"/>
                </a:cubicBezTo>
                <a:cubicBezTo>
                  <a:pt x="597" y="488"/>
                  <a:pt x="599" y="493"/>
                  <a:pt x="603" y="492"/>
                </a:cubicBezTo>
                <a:cubicBezTo>
                  <a:pt x="603" y="492"/>
                  <a:pt x="601" y="490"/>
                  <a:pt x="601" y="490"/>
                </a:cubicBezTo>
                <a:cubicBezTo>
                  <a:pt x="602" y="490"/>
                  <a:pt x="602" y="489"/>
                  <a:pt x="602" y="489"/>
                </a:cubicBezTo>
                <a:cubicBezTo>
                  <a:pt x="605" y="491"/>
                  <a:pt x="607" y="489"/>
                  <a:pt x="611" y="489"/>
                </a:cubicBezTo>
                <a:cubicBezTo>
                  <a:pt x="606" y="477"/>
                  <a:pt x="618" y="488"/>
                  <a:pt x="620" y="489"/>
                </a:cubicBezTo>
                <a:cubicBezTo>
                  <a:pt x="618" y="482"/>
                  <a:pt x="623" y="479"/>
                  <a:pt x="618" y="473"/>
                </a:cubicBezTo>
                <a:cubicBezTo>
                  <a:pt x="613" y="467"/>
                  <a:pt x="603" y="465"/>
                  <a:pt x="598" y="459"/>
                </a:cubicBezTo>
                <a:cubicBezTo>
                  <a:pt x="592" y="453"/>
                  <a:pt x="590" y="438"/>
                  <a:pt x="586" y="427"/>
                </a:cubicBezTo>
                <a:cubicBezTo>
                  <a:pt x="597" y="423"/>
                  <a:pt x="581" y="399"/>
                  <a:pt x="580" y="393"/>
                </a:cubicBezTo>
                <a:cubicBezTo>
                  <a:pt x="586" y="396"/>
                  <a:pt x="590" y="399"/>
                  <a:pt x="597" y="399"/>
                </a:cubicBezTo>
                <a:cubicBezTo>
                  <a:pt x="605" y="398"/>
                  <a:pt x="607" y="396"/>
                  <a:pt x="605" y="389"/>
                </a:cubicBezTo>
                <a:cubicBezTo>
                  <a:pt x="605" y="387"/>
                  <a:pt x="604" y="380"/>
                  <a:pt x="604" y="377"/>
                </a:cubicBezTo>
                <a:cubicBezTo>
                  <a:pt x="604" y="376"/>
                  <a:pt x="607" y="374"/>
                  <a:pt x="601" y="374"/>
                </a:cubicBezTo>
                <a:cubicBezTo>
                  <a:pt x="606" y="371"/>
                  <a:pt x="611" y="373"/>
                  <a:pt x="616" y="372"/>
                </a:cubicBezTo>
                <a:cubicBezTo>
                  <a:pt x="618" y="371"/>
                  <a:pt x="622" y="369"/>
                  <a:pt x="625" y="367"/>
                </a:cubicBezTo>
                <a:cubicBezTo>
                  <a:pt x="631" y="363"/>
                  <a:pt x="630" y="365"/>
                  <a:pt x="631" y="358"/>
                </a:cubicBezTo>
                <a:cubicBezTo>
                  <a:pt x="632" y="350"/>
                  <a:pt x="630" y="347"/>
                  <a:pt x="628" y="340"/>
                </a:cubicBezTo>
                <a:cubicBezTo>
                  <a:pt x="627" y="338"/>
                  <a:pt x="628" y="335"/>
                  <a:pt x="626" y="333"/>
                </a:cubicBezTo>
                <a:cubicBezTo>
                  <a:pt x="622" y="329"/>
                  <a:pt x="619" y="332"/>
                  <a:pt x="616" y="330"/>
                </a:cubicBezTo>
                <a:cubicBezTo>
                  <a:pt x="612" y="329"/>
                  <a:pt x="614" y="331"/>
                  <a:pt x="611" y="328"/>
                </a:cubicBezTo>
                <a:cubicBezTo>
                  <a:pt x="610" y="326"/>
                  <a:pt x="609" y="320"/>
                  <a:pt x="608" y="318"/>
                </a:cubicBezTo>
                <a:cubicBezTo>
                  <a:pt x="605" y="307"/>
                  <a:pt x="602" y="308"/>
                  <a:pt x="593" y="307"/>
                </a:cubicBezTo>
                <a:cubicBezTo>
                  <a:pt x="589" y="306"/>
                  <a:pt x="589" y="304"/>
                  <a:pt x="585" y="305"/>
                </a:cubicBezTo>
                <a:cubicBezTo>
                  <a:pt x="583" y="305"/>
                  <a:pt x="579" y="308"/>
                  <a:pt x="578" y="310"/>
                </a:cubicBezTo>
                <a:cubicBezTo>
                  <a:pt x="574" y="314"/>
                  <a:pt x="572" y="321"/>
                  <a:pt x="567" y="324"/>
                </a:cubicBezTo>
                <a:cubicBezTo>
                  <a:pt x="567" y="317"/>
                  <a:pt x="567" y="311"/>
                  <a:pt x="566" y="304"/>
                </a:cubicBezTo>
                <a:cubicBezTo>
                  <a:pt x="557" y="306"/>
                  <a:pt x="549" y="314"/>
                  <a:pt x="540" y="318"/>
                </a:cubicBezTo>
                <a:cubicBezTo>
                  <a:pt x="537" y="311"/>
                  <a:pt x="535" y="304"/>
                  <a:pt x="535" y="297"/>
                </a:cubicBezTo>
                <a:cubicBezTo>
                  <a:pt x="537" y="297"/>
                  <a:pt x="539" y="297"/>
                  <a:pt x="540" y="298"/>
                </a:cubicBezTo>
                <a:cubicBezTo>
                  <a:pt x="537" y="292"/>
                  <a:pt x="527" y="290"/>
                  <a:pt x="522" y="285"/>
                </a:cubicBezTo>
                <a:cubicBezTo>
                  <a:pt x="516" y="279"/>
                  <a:pt x="511" y="271"/>
                  <a:pt x="506" y="265"/>
                </a:cubicBezTo>
                <a:cubicBezTo>
                  <a:pt x="501" y="258"/>
                  <a:pt x="496" y="253"/>
                  <a:pt x="489" y="249"/>
                </a:cubicBezTo>
                <a:cubicBezTo>
                  <a:pt x="483" y="245"/>
                  <a:pt x="477" y="244"/>
                  <a:pt x="482" y="237"/>
                </a:cubicBezTo>
                <a:cubicBezTo>
                  <a:pt x="487" y="242"/>
                  <a:pt x="502" y="249"/>
                  <a:pt x="505" y="243"/>
                </a:cubicBezTo>
                <a:cubicBezTo>
                  <a:pt x="504" y="244"/>
                  <a:pt x="508" y="248"/>
                  <a:pt x="509" y="250"/>
                </a:cubicBezTo>
                <a:cubicBezTo>
                  <a:pt x="514" y="256"/>
                  <a:pt x="517" y="257"/>
                  <a:pt x="525" y="255"/>
                </a:cubicBezTo>
                <a:cubicBezTo>
                  <a:pt x="529" y="254"/>
                  <a:pt x="532" y="253"/>
                  <a:pt x="536" y="251"/>
                </a:cubicBezTo>
                <a:cubicBezTo>
                  <a:pt x="543" y="246"/>
                  <a:pt x="542" y="245"/>
                  <a:pt x="543" y="237"/>
                </a:cubicBezTo>
                <a:cubicBezTo>
                  <a:pt x="549" y="241"/>
                  <a:pt x="554" y="245"/>
                  <a:pt x="560" y="249"/>
                </a:cubicBezTo>
                <a:cubicBezTo>
                  <a:pt x="566" y="253"/>
                  <a:pt x="567" y="252"/>
                  <a:pt x="569" y="258"/>
                </a:cubicBezTo>
                <a:cubicBezTo>
                  <a:pt x="575" y="269"/>
                  <a:pt x="573" y="283"/>
                  <a:pt x="589" y="284"/>
                </a:cubicBezTo>
                <a:cubicBezTo>
                  <a:pt x="580" y="267"/>
                  <a:pt x="595" y="282"/>
                  <a:pt x="597" y="267"/>
                </a:cubicBezTo>
                <a:cubicBezTo>
                  <a:pt x="596" y="267"/>
                  <a:pt x="594" y="267"/>
                  <a:pt x="593" y="267"/>
                </a:cubicBezTo>
                <a:cubicBezTo>
                  <a:pt x="593" y="267"/>
                  <a:pt x="595" y="261"/>
                  <a:pt x="596" y="260"/>
                </a:cubicBezTo>
                <a:cubicBezTo>
                  <a:pt x="593" y="261"/>
                  <a:pt x="590" y="261"/>
                  <a:pt x="588" y="259"/>
                </a:cubicBezTo>
                <a:cubicBezTo>
                  <a:pt x="588" y="259"/>
                  <a:pt x="589" y="259"/>
                  <a:pt x="589" y="259"/>
                </a:cubicBezTo>
                <a:cubicBezTo>
                  <a:pt x="588" y="258"/>
                  <a:pt x="588" y="260"/>
                  <a:pt x="587" y="258"/>
                </a:cubicBezTo>
                <a:cubicBezTo>
                  <a:pt x="603" y="252"/>
                  <a:pt x="609" y="276"/>
                  <a:pt x="616" y="284"/>
                </a:cubicBezTo>
                <a:cubicBezTo>
                  <a:pt x="623" y="292"/>
                  <a:pt x="638" y="294"/>
                  <a:pt x="648" y="299"/>
                </a:cubicBezTo>
                <a:cubicBezTo>
                  <a:pt x="653" y="302"/>
                  <a:pt x="660" y="305"/>
                  <a:pt x="661" y="310"/>
                </a:cubicBezTo>
                <a:cubicBezTo>
                  <a:pt x="661" y="309"/>
                  <a:pt x="658" y="315"/>
                  <a:pt x="658" y="315"/>
                </a:cubicBezTo>
                <a:cubicBezTo>
                  <a:pt x="657" y="318"/>
                  <a:pt x="656" y="321"/>
                  <a:pt x="657" y="325"/>
                </a:cubicBezTo>
                <a:cubicBezTo>
                  <a:pt x="659" y="331"/>
                  <a:pt x="664" y="334"/>
                  <a:pt x="669" y="336"/>
                </a:cubicBezTo>
                <a:cubicBezTo>
                  <a:pt x="673" y="337"/>
                  <a:pt x="677" y="335"/>
                  <a:pt x="680" y="339"/>
                </a:cubicBezTo>
                <a:cubicBezTo>
                  <a:pt x="676" y="338"/>
                  <a:pt x="677" y="342"/>
                  <a:pt x="682" y="340"/>
                </a:cubicBezTo>
                <a:cubicBezTo>
                  <a:pt x="673" y="342"/>
                  <a:pt x="681" y="356"/>
                  <a:pt x="684" y="359"/>
                </a:cubicBezTo>
                <a:cubicBezTo>
                  <a:pt x="677" y="358"/>
                  <a:pt x="675" y="357"/>
                  <a:pt x="668" y="351"/>
                </a:cubicBezTo>
                <a:cubicBezTo>
                  <a:pt x="661" y="346"/>
                  <a:pt x="653" y="338"/>
                  <a:pt x="645" y="345"/>
                </a:cubicBezTo>
                <a:cubicBezTo>
                  <a:pt x="647" y="348"/>
                  <a:pt x="651" y="350"/>
                  <a:pt x="654" y="351"/>
                </a:cubicBezTo>
                <a:cubicBezTo>
                  <a:pt x="651" y="356"/>
                  <a:pt x="648" y="353"/>
                  <a:pt x="646" y="358"/>
                </a:cubicBezTo>
                <a:cubicBezTo>
                  <a:pt x="644" y="362"/>
                  <a:pt x="645" y="369"/>
                  <a:pt x="651" y="368"/>
                </a:cubicBezTo>
                <a:cubicBezTo>
                  <a:pt x="650" y="369"/>
                  <a:pt x="650" y="370"/>
                  <a:pt x="650" y="371"/>
                </a:cubicBezTo>
                <a:cubicBezTo>
                  <a:pt x="652" y="368"/>
                  <a:pt x="657" y="368"/>
                  <a:pt x="660" y="369"/>
                </a:cubicBezTo>
                <a:cubicBezTo>
                  <a:pt x="657" y="373"/>
                  <a:pt x="649" y="372"/>
                  <a:pt x="647" y="375"/>
                </a:cubicBezTo>
                <a:cubicBezTo>
                  <a:pt x="645" y="379"/>
                  <a:pt x="657" y="374"/>
                  <a:pt x="657" y="374"/>
                </a:cubicBezTo>
                <a:cubicBezTo>
                  <a:pt x="655" y="377"/>
                  <a:pt x="653" y="378"/>
                  <a:pt x="652" y="380"/>
                </a:cubicBezTo>
                <a:cubicBezTo>
                  <a:pt x="654" y="379"/>
                  <a:pt x="655" y="379"/>
                  <a:pt x="657" y="378"/>
                </a:cubicBezTo>
                <a:cubicBezTo>
                  <a:pt x="656" y="383"/>
                  <a:pt x="653" y="384"/>
                  <a:pt x="652" y="387"/>
                </a:cubicBezTo>
                <a:cubicBezTo>
                  <a:pt x="650" y="391"/>
                  <a:pt x="650" y="397"/>
                  <a:pt x="646" y="399"/>
                </a:cubicBezTo>
                <a:cubicBezTo>
                  <a:pt x="650" y="400"/>
                  <a:pt x="656" y="401"/>
                  <a:pt x="660" y="399"/>
                </a:cubicBezTo>
                <a:cubicBezTo>
                  <a:pt x="659" y="399"/>
                  <a:pt x="659" y="398"/>
                  <a:pt x="659" y="397"/>
                </a:cubicBezTo>
                <a:cubicBezTo>
                  <a:pt x="662" y="401"/>
                  <a:pt x="668" y="392"/>
                  <a:pt x="671" y="390"/>
                </a:cubicBezTo>
                <a:cubicBezTo>
                  <a:pt x="674" y="388"/>
                  <a:pt x="675" y="391"/>
                  <a:pt x="678" y="388"/>
                </a:cubicBezTo>
                <a:cubicBezTo>
                  <a:pt x="679" y="388"/>
                  <a:pt x="680" y="385"/>
                  <a:pt x="681" y="384"/>
                </a:cubicBezTo>
                <a:cubicBezTo>
                  <a:pt x="683" y="378"/>
                  <a:pt x="678" y="372"/>
                  <a:pt x="680" y="366"/>
                </a:cubicBezTo>
                <a:cubicBezTo>
                  <a:pt x="681" y="362"/>
                  <a:pt x="688" y="358"/>
                  <a:pt x="693" y="358"/>
                </a:cubicBezTo>
                <a:cubicBezTo>
                  <a:pt x="697" y="357"/>
                  <a:pt x="704" y="357"/>
                  <a:pt x="707" y="361"/>
                </a:cubicBezTo>
                <a:cubicBezTo>
                  <a:pt x="710" y="365"/>
                  <a:pt x="707" y="376"/>
                  <a:pt x="709" y="382"/>
                </a:cubicBezTo>
                <a:cubicBezTo>
                  <a:pt x="712" y="389"/>
                  <a:pt x="717" y="396"/>
                  <a:pt x="723" y="392"/>
                </a:cubicBezTo>
                <a:cubicBezTo>
                  <a:pt x="727" y="390"/>
                  <a:pt x="730" y="381"/>
                  <a:pt x="734" y="377"/>
                </a:cubicBezTo>
                <a:cubicBezTo>
                  <a:pt x="734" y="377"/>
                  <a:pt x="733" y="377"/>
                  <a:pt x="733" y="377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33" y="377"/>
                  <a:pt x="733" y="377"/>
                  <a:pt x="733" y="377"/>
                </a:cubicBezTo>
                <a:cubicBezTo>
                  <a:pt x="733" y="377"/>
                  <a:pt x="734" y="377"/>
                  <a:pt x="734" y="377"/>
                </a:cubicBezTo>
                <a:cubicBezTo>
                  <a:pt x="736" y="374"/>
                  <a:pt x="743" y="378"/>
                  <a:pt x="746" y="380"/>
                </a:cubicBezTo>
                <a:cubicBezTo>
                  <a:pt x="753" y="384"/>
                  <a:pt x="757" y="385"/>
                  <a:pt x="765" y="385"/>
                </a:cubicBezTo>
                <a:cubicBezTo>
                  <a:pt x="775" y="384"/>
                  <a:pt x="769" y="383"/>
                  <a:pt x="774" y="378"/>
                </a:cubicBezTo>
                <a:cubicBezTo>
                  <a:pt x="775" y="377"/>
                  <a:pt x="779" y="377"/>
                  <a:pt x="780" y="375"/>
                </a:cubicBezTo>
                <a:cubicBezTo>
                  <a:pt x="781" y="374"/>
                  <a:pt x="780" y="369"/>
                  <a:pt x="780" y="367"/>
                </a:cubicBezTo>
                <a:cubicBezTo>
                  <a:pt x="786" y="370"/>
                  <a:pt x="791" y="373"/>
                  <a:pt x="797" y="376"/>
                </a:cubicBezTo>
                <a:cubicBezTo>
                  <a:pt x="805" y="380"/>
                  <a:pt x="802" y="383"/>
                  <a:pt x="806" y="390"/>
                </a:cubicBezTo>
                <a:cubicBezTo>
                  <a:pt x="808" y="395"/>
                  <a:pt x="810" y="396"/>
                  <a:pt x="811" y="401"/>
                </a:cubicBezTo>
                <a:cubicBezTo>
                  <a:pt x="813" y="406"/>
                  <a:pt x="813" y="410"/>
                  <a:pt x="811" y="416"/>
                </a:cubicBezTo>
                <a:cubicBezTo>
                  <a:pt x="808" y="424"/>
                  <a:pt x="804" y="432"/>
                  <a:pt x="796" y="438"/>
                </a:cubicBezTo>
                <a:cubicBezTo>
                  <a:pt x="794" y="439"/>
                  <a:pt x="786" y="446"/>
                  <a:pt x="785" y="446"/>
                </a:cubicBezTo>
                <a:cubicBezTo>
                  <a:pt x="780" y="446"/>
                  <a:pt x="779" y="438"/>
                  <a:pt x="774" y="438"/>
                </a:cubicBezTo>
                <a:cubicBezTo>
                  <a:pt x="773" y="438"/>
                  <a:pt x="772" y="439"/>
                  <a:pt x="770" y="439"/>
                </a:cubicBezTo>
                <a:cubicBezTo>
                  <a:pt x="772" y="438"/>
                  <a:pt x="773" y="438"/>
                  <a:pt x="774" y="438"/>
                </a:cubicBezTo>
                <a:cubicBezTo>
                  <a:pt x="778" y="436"/>
                  <a:pt x="773" y="433"/>
                  <a:pt x="767" y="434"/>
                </a:cubicBezTo>
                <a:cubicBezTo>
                  <a:pt x="762" y="435"/>
                  <a:pt x="763" y="437"/>
                  <a:pt x="759" y="437"/>
                </a:cubicBezTo>
                <a:cubicBezTo>
                  <a:pt x="755" y="438"/>
                  <a:pt x="751" y="436"/>
                  <a:pt x="747" y="437"/>
                </a:cubicBezTo>
                <a:cubicBezTo>
                  <a:pt x="723" y="443"/>
                  <a:pt x="744" y="452"/>
                  <a:pt x="751" y="460"/>
                </a:cubicBezTo>
                <a:cubicBezTo>
                  <a:pt x="744" y="462"/>
                  <a:pt x="737" y="477"/>
                  <a:pt x="741" y="485"/>
                </a:cubicBezTo>
                <a:cubicBezTo>
                  <a:pt x="740" y="484"/>
                  <a:pt x="749" y="491"/>
                  <a:pt x="748" y="491"/>
                </a:cubicBezTo>
                <a:cubicBezTo>
                  <a:pt x="753" y="493"/>
                  <a:pt x="760" y="489"/>
                  <a:pt x="765" y="488"/>
                </a:cubicBezTo>
                <a:cubicBezTo>
                  <a:pt x="762" y="494"/>
                  <a:pt x="768" y="499"/>
                  <a:pt x="774" y="499"/>
                </a:cubicBezTo>
                <a:cubicBezTo>
                  <a:pt x="781" y="499"/>
                  <a:pt x="793" y="487"/>
                  <a:pt x="796" y="482"/>
                </a:cubicBezTo>
                <a:cubicBezTo>
                  <a:pt x="798" y="478"/>
                  <a:pt x="799" y="468"/>
                  <a:pt x="798" y="463"/>
                </a:cubicBezTo>
                <a:cubicBezTo>
                  <a:pt x="797" y="454"/>
                  <a:pt x="790" y="455"/>
                  <a:pt x="785" y="449"/>
                </a:cubicBezTo>
                <a:cubicBezTo>
                  <a:pt x="791" y="459"/>
                  <a:pt x="803" y="440"/>
                  <a:pt x="806" y="435"/>
                </a:cubicBezTo>
                <a:cubicBezTo>
                  <a:pt x="809" y="431"/>
                  <a:pt x="812" y="425"/>
                  <a:pt x="814" y="421"/>
                </a:cubicBezTo>
                <a:cubicBezTo>
                  <a:pt x="816" y="414"/>
                  <a:pt x="814" y="405"/>
                  <a:pt x="819" y="400"/>
                </a:cubicBezTo>
                <a:cubicBezTo>
                  <a:pt x="819" y="408"/>
                  <a:pt x="822" y="418"/>
                  <a:pt x="821" y="426"/>
                </a:cubicBezTo>
                <a:cubicBezTo>
                  <a:pt x="820" y="431"/>
                  <a:pt x="817" y="439"/>
                  <a:pt x="815" y="445"/>
                </a:cubicBezTo>
                <a:cubicBezTo>
                  <a:pt x="810" y="445"/>
                  <a:pt x="807" y="442"/>
                  <a:pt x="806" y="437"/>
                </a:cubicBezTo>
                <a:cubicBezTo>
                  <a:pt x="804" y="443"/>
                  <a:pt x="808" y="453"/>
                  <a:pt x="800" y="453"/>
                </a:cubicBezTo>
                <a:cubicBezTo>
                  <a:pt x="807" y="459"/>
                  <a:pt x="812" y="460"/>
                  <a:pt x="805" y="470"/>
                </a:cubicBezTo>
                <a:cubicBezTo>
                  <a:pt x="808" y="470"/>
                  <a:pt x="812" y="469"/>
                  <a:pt x="813" y="468"/>
                </a:cubicBezTo>
                <a:cubicBezTo>
                  <a:pt x="813" y="468"/>
                  <a:pt x="813" y="469"/>
                  <a:pt x="812" y="469"/>
                </a:cubicBezTo>
                <a:cubicBezTo>
                  <a:pt x="817" y="473"/>
                  <a:pt x="815" y="465"/>
                  <a:pt x="817" y="462"/>
                </a:cubicBezTo>
                <a:cubicBezTo>
                  <a:pt x="818" y="463"/>
                  <a:pt x="820" y="464"/>
                  <a:pt x="821" y="465"/>
                </a:cubicBezTo>
                <a:cubicBezTo>
                  <a:pt x="818" y="467"/>
                  <a:pt x="820" y="470"/>
                  <a:pt x="820" y="473"/>
                </a:cubicBezTo>
                <a:cubicBezTo>
                  <a:pt x="820" y="475"/>
                  <a:pt x="818" y="476"/>
                  <a:pt x="818" y="479"/>
                </a:cubicBezTo>
                <a:cubicBezTo>
                  <a:pt x="818" y="482"/>
                  <a:pt x="822" y="476"/>
                  <a:pt x="821" y="476"/>
                </a:cubicBezTo>
                <a:cubicBezTo>
                  <a:pt x="823" y="474"/>
                  <a:pt x="822" y="467"/>
                  <a:pt x="823" y="463"/>
                </a:cubicBezTo>
                <a:cubicBezTo>
                  <a:pt x="823" y="465"/>
                  <a:pt x="823" y="466"/>
                  <a:pt x="823" y="468"/>
                </a:cubicBezTo>
                <a:cubicBezTo>
                  <a:pt x="824" y="467"/>
                  <a:pt x="824" y="465"/>
                  <a:pt x="825" y="464"/>
                </a:cubicBezTo>
                <a:cubicBezTo>
                  <a:pt x="825" y="464"/>
                  <a:pt x="823" y="462"/>
                  <a:pt x="823" y="462"/>
                </a:cubicBezTo>
                <a:cubicBezTo>
                  <a:pt x="827" y="463"/>
                  <a:pt x="827" y="468"/>
                  <a:pt x="826" y="471"/>
                </a:cubicBezTo>
                <a:cubicBezTo>
                  <a:pt x="829" y="469"/>
                  <a:pt x="832" y="467"/>
                  <a:pt x="831" y="464"/>
                </a:cubicBezTo>
                <a:cubicBezTo>
                  <a:pt x="830" y="465"/>
                  <a:pt x="829" y="466"/>
                  <a:pt x="829" y="468"/>
                </a:cubicBezTo>
                <a:cubicBezTo>
                  <a:pt x="828" y="465"/>
                  <a:pt x="828" y="461"/>
                  <a:pt x="829" y="458"/>
                </a:cubicBezTo>
                <a:cubicBezTo>
                  <a:pt x="830" y="460"/>
                  <a:pt x="830" y="462"/>
                  <a:pt x="831" y="464"/>
                </a:cubicBezTo>
                <a:cubicBezTo>
                  <a:pt x="830" y="461"/>
                  <a:pt x="830" y="460"/>
                  <a:pt x="829" y="457"/>
                </a:cubicBezTo>
                <a:cubicBezTo>
                  <a:pt x="833" y="456"/>
                  <a:pt x="837" y="455"/>
                  <a:pt x="841" y="453"/>
                </a:cubicBezTo>
                <a:cubicBezTo>
                  <a:pt x="842" y="459"/>
                  <a:pt x="844" y="462"/>
                  <a:pt x="843" y="469"/>
                </a:cubicBezTo>
                <a:cubicBezTo>
                  <a:pt x="843" y="472"/>
                  <a:pt x="843" y="485"/>
                  <a:pt x="848" y="487"/>
                </a:cubicBezTo>
                <a:cubicBezTo>
                  <a:pt x="856" y="490"/>
                  <a:pt x="856" y="469"/>
                  <a:pt x="863" y="468"/>
                </a:cubicBezTo>
                <a:cubicBezTo>
                  <a:pt x="863" y="467"/>
                  <a:pt x="863" y="465"/>
                  <a:pt x="863" y="463"/>
                </a:cubicBezTo>
                <a:cubicBezTo>
                  <a:pt x="863" y="463"/>
                  <a:pt x="864" y="463"/>
                  <a:pt x="864" y="463"/>
                </a:cubicBezTo>
                <a:cubicBezTo>
                  <a:pt x="864" y="465"/>
                  <a:pt x="863" y="470"/>
                  <a:pt x="864" y="472"/>
                </a:cubicBezTo>
                <a:cubicBezTo>
                  <a:pt x="865" y="475"/>
                  <a:pt x="866" y="465"/>
                  <a:pt x="866" y="465"/>
                </a:cubicBezTo>
                <a:cubicBezTo>
                  <a:pt x="868" y="465"/>
                  <a:pt x="870" y="481"/>
                  <a:pt x="872" y="473"/>
                </a:cubicBezTo>
                <a:cubicBezTo>
                  <a:pt x="873" y="472"/>
                  <a:pt x="870" y="463"/>
                  <a:pt x="869" y="461"/>
                </a:cubicBezTo>
                <a:cubicBezTo>
                  <a:pt x="870" y="460"/>
                  <a:pt x="870" y="460"/>
                  <a:pt x="870" y="459"/>
                </a:cubicBezTo>
                <a:cubicBezTo>
                  <a:pt x="873" y="461"/>
                  <a:pt x="872" y="466"/>
                  <a:pt x="874" y="467"/>
                </a:cubicBezTo>
                <a:cubicBezTo>
                  <a:pt x="874" y="467"/>
                  <a:pt x="877" y="469"/>
                  <a:pt x="876" y="468"/>
                </a:cubicBezTo>
                <a:cubicBezTo>
                  <a:pt x="877" y="469"/>
                  <a:pt x="881" y="466"/>
                  <a:pt x="881" y="471"/>
                </a:cubicBezTo>
                <a:cubicBezTo>
                  <a:pt x="888" y="470"/>
                  <a:pt x="892" y="463"/>
                  <a:pt x="890" y="458"/>
                </a:cubicBezTo>
                <a:cubicBezTo>
                  <a:pt x="894" y="460"/>
                  <a:pt x="897" y="465"/>
                  <a:pt x="898" y="470"/>
                </a:cubicBezTo>
                <a:cubicBezTo>
                  <a:pt x="898" y="475"/>
                  <a:pt x="892" y="479"/>
                  <a:pt x="895" y="483"/>
                </a:cubicBezTo>
                <a:cubicBezTo>
                  <a:pt x="894" y="482"/>
                  <a:pt x="893" y="482"/>
                  <a:pt x="893" y="481"/>
                </a:cubicBezTo>
                <a:cubicBezTo>
                  <a:pt x="891" y="486"/>
                  <a:pt x="870" y="478"/>
                  <a:pt x="864" y="486"/>
                </a:cubicBezTo>
                <a:cubicBezTo>
                  <a:pt x="862" y="488"/>
                  <a:pt x="864" y="491"/>
                  <a:pt x="863" y="493"/>
                </a:cubicBezTo>
                <a:cubicBezTo>
                  <a:pt x="862" y="496"/>
                  <a:pt x="859" y="497"/>
                  <a:pt x="859" y="501"/>
                </a:cubicBezTo>
                <a:cubicBezTo>
                  <a:pt x="859" y="509"/>
                  <a:pt x="871" y="513"/>
                  <a:pt x="871" y="519"/>
                </a:cubicBezTo>
                <a:cubicBezTo>
                  <a:pt x="871" y="521"/>
                  <a:pt x="867" y="524"/>
                  <a:pt x="866" y="527"/>
                </a:cubicBezTo>
                <a:cubicBezTo>
                  <a:pt x="864" y="535"/>
                  <a:pt x="867" y="530"/>
                  <a:pt x="870" y="536"/>
                </a:cubicBezTo>
                <a:cubicBezTo>
                  <a:pt x="872" y="540"/>
                  <a:pt x="874" y="545"/>
                  <a:pt x="879" y="548"/>
                </a:cubicBezTo>
                <a:cubicBezTo>
                  <a:pt x="895" y="559"/>
                  <a:pt x="898" y="540"/>
                  <a:pt x="910" y="535"/>
                </a:cubicBezTo>
                <a:cubicBezTo>
                  <a:pt x="908" y="542"/>
                  <a:pt x="911" y="537"/>
                  <a:pt x="913" y="538"/>
                </a:cubicBezTo>
                <a:cubicBezTo>
                  <a:pt x="919" y="542"/>
                  <a:pt x="920" y="552"/>
                  <a:pt x="928" y="549"/>
                </a:cubicBezTo>
                <a:cubicBezTo>
                  <a:pt x="927" y="552"/>
                  <a:pt x="927" y="557"/>
                  <a:pt x="929" y="559"/>
                </a:cubicBezTo>
                <a:cubicBezTo>
                  <a:pt x="930" y="558"/>
                  <a:pt x="931" y="556"/>
                  <a:pt x="931" y="555"/>
                </a:cubicBezTo>
                <a:cubicBezTo>
                  <a:pt x="930" y="557"/>
                  <a:pt x="930" y="558"/>
                  <a:pt x="930" y="560"/>
                </a:cubicBezTo>
                <a:cubicBezTo>
                  <a:pt x="929" y="560"/>
                  <a:pt x="929" y="559"/>
                  <a:pt x="929" y="559"/>
                </a:cubicBezTo>
                <a:cubicBezTo>
                  <a:pt x="926" y="566"/>
                  <a:pt x="917" y="572"/>
                  <a:pt x="913" y="578"/>
                </a:cubicBezTo>
                <a:cubicBezTo>
                  <a:pt x="914" y="578"/>
                  <a:pt x="915" y="578"/>
                  <a:pt x="916" y="578"/>
                </a:cubicBezTo>
                <a:cubicBezTo>
                  <a:pt x="911" y="578"/>
                  <a:pt x="908" y="586"/>
                  <a:pt x="912" y="590"/>
                </a:cubicBezTo>
                <a:cubicBezTo>
                  <a:pt x="917" y="596"/>
                  <a:pt x="913" y="588"/>
                  <a:pt x="917" y="587"/>
                </a:cubicBezTo>
                <a:cubicBezTo>
                  <a:pt x="923" y="585"/>
                  <a:pt x="919" y="592"/>
                  <a:pt x="927" y="593"/>
                </a:cubicBezTo>
                <a:cubicBezTo>
                  <a:pt x="932" y="593"/>
                  <a:pt x="933" y="589"/>
                  <a:pt x="935" y="585"/>
                </a:cubicBezTo>
                <a:cubicBezTo>
                  <a:pt x="935" y="586"/>
                  <a:pt x="935" y="587"/>
                  <a:pt x="935" y="588"/>
                </a:cubicBezTo>
                <a:cubicBezTo>
                  <a:pt x="935" y="587"/>
                  <a:pt x="937" y="586"/>
                  <a:pt x="937" y="587"/>
                </a:cubicBezTo>
                <a:cubicBezTo>
                  <a:pt x="935" y="585"/>
                  <a:pt x="935" y="583"/>
                  <a:pt x="934" y="582"/>
                </a:cubicBezTo>
                <a:cubicBezTo>
                  <a:pt x="934" y="581"/>
                  <a:pt x="936" y="580"/>
                  <a:pt x="936" y="580"/>
                </a:cubicBezTo>
                <a:cubicBezTo>
                  <a:pt x="938" y="581"/>
                  <a:pt x="939" y="590"/>
                  <a:pt x="942" y="590"/>
                </a:cubicBezTo>
                <a:cubicBezTo>
                  <a:pt x="945" y="589"/>
                  <a:pt x="939" y="582"/>
                  <a:pt x="939" y="580"/>
                </a:cubicBezTo>
                <a:cubicBezTo>
                  <a:pt x="939" y="580"/>
                  <a:pt x="945" y="584"/>
                  <a:pt x="943" y="585"/>
                </a:cubicBezTo>
                <a:cubicBezTo>
                  <a:pt x="942" y="585"/>
                  <a:pt x="948" y="583"/>
                  <a:pt x="946" y="583"/>
                </a:cubicBezTo>
                <a:cubicBezTo>
                  <a:pt x="946" y="583"/>
                  <a:pt x="944" y="579"/>
                  <a:pt x="948" y="580"/>
                </a:cubicBezTo>
                <a:cubicBezTo>
                  <a:pt x="949" y="580"/>
                  <a:pt x="950" y="585"/>
                  <a:pt x="951" y="586"/>
                </a:cubicBezTo>
                <a:cubicBezTo>
                  <a:pt x="953" y="590"/>
                  <a:pt x="957" y="600"/>
                  <a:pt x="963" y="601"/>
                </a:cubicBezTo>
                <a:cubicBezTo>
                  <a:pt x="968" y="603"/>
                  <a:pt x="977" y="601"/>
                  <a:pt x="975" y="595"/>
                </a:cubicBezTo>
                <a:cubicBezTo>
                  <a:pt x="982" y="601"/>
                  <a:pt x="992" y="601"/>
                  <a:pt x="996" y="592"/>
                </a:cubicBezTo>
                <a:cubicBezTo>
                  <a:pt x="997" y="589"/>
                  <a:pt x="997" y="585"/>
                  <a:pt x="996" y="582"/>
                </a:cubicBezTo>
                <a:cubicBezTo>
                  <a:pt x="995" y="580"/>
                  <a:pt x="990" y="573"/>
                  <a:pt x="990" y="574"/>
                </a:cubicBezTo>
                <a:cubicBezTo>
                  <a:pt x="991" y="569"/>
                  <a:pt x="1005" y="570"/>
                  <a:pt x="1007" y="566"/>
                </a:cubicBezTo>
                <a:cubicBezTo>
                  <a:pt x="1010" y="559"/>
                  <a:pt x="995" y="553"/>
                  <a:pt x="991" y="552"/>
                </a:cubicBezTo>
                <a:close/>
                <a:moveTo>
                  <a:pt x="915" y="392"/>
                </a:moveTo>
                <a:cubicBezTo>
                  <a:pt x="914" y="393"/>
                  <a:pt x="913" y="393"/>
                  <a:pt x="912" y="395"/>
                </a:cubicBezTo>
                <a:cubicBezTo>
                  <a:pt x="913" y="394"/>
                  <a:pt x="914" y="395"/>
                  <a:pt x="912" y="395"/>
                </a:cubicBezTo>
                <a:cubicBezTo>
                  <a:pt x="913" y="393"/>
                  <a:pt x="913" y="392"/>
                  <a:pt x="915" y="392"/>
                </a:cubicBezTo>
                <a:close/>
                <a:moveTo>
                  <a:pt x="906" y="378"/>
                </a:moveTo>
                <a:cubicBezTo>
                  <a:pt x="906" y="379"/>
                  <a:pt x="909" y="380"/>
                  <a:pt x="909" y="380"/>
                </a:cubicBezTo>
                <a:cubicBezTo>
                  <a:pt x="908" y="380"/>
                  <a:pt x="907" y="380"/>
                  <a:pt x="906" y="378"/>
                </a:cubicBezTo>
                <a:cubicBezTo>
                  <a:pt x="908" y="377"/>
                  <a:pt x="908" y="378"/>
                  <a:pt x="906" y="378"/>
                </a:cubicBezTo>
                <a:close/>
                <a:moveTo>
                  <a:pt x="899" y="380"/>
                </a:moveTo>
                <a:cubicBezTo>
                  <a:pt x="899" y="379"/>
                  <a:pt x="899" y="378"/>
                  <a:pt x="900" y="378"/>
                </a:cubicBezTo>
                <a:cubicBezTo>
                  <a:pt x="899" y="379"/>
                  <a:pt x="898" y="381"/>
                  <a:pt x="899" y="380"/>
                </a:cubicBezTo>
                <a:close/>
                <a:moveTo>
                  <a:pt x="898" y="381"/>
                </a:moveTo>
                <a:cubicBezTo>
                  <a:pt x="898" y="380"/>
                  <a:pt x="897" y="382"/>
                  <a:pt x="898" y="381"/>
                </a:cubicBezTo>
                <a:close/>
                <a:moveTo>
                  <a:pt x="879" y="378"/>
                </a:moveTo>
                <a:cubicBezTo>
                  <a:pt x="883" y="383"/>
                  <a:pt x="887" y="376"/>
                  <a:pt x="890" y="372"/>
                </a:cubicBezTo>
                <a:cubicBezTo>
                  <a:pt x="890" y="375"/>
                  <a:pt x="890" y="376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1" y="377"/>
                  <a:pt x="891" y="375"/>
                  <a:pt x="891" y="374"/>
                </a:cubicBezTo>
                <a:cubicBezTo>
                  <a:pt x="891" y="376"/>
                  <a:pt x="891" y="377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1" y="378"/>
                  <a:pt x="891" y="378"/>
                  <a:pt x="891" y="378"/>
                </a:cubicBezTo>
                <a:cubicBezTo>
                  <a:pt x="890" y="381"/>
                  <a:pt x="887" y="382"/>
                  <a:pt x="887" y="385"/>
                </a:cubicBezTo>
                <a:cubicBezTo>
                  <a:pt x="886" y="385"/>
                  <a:pt x="881" y="382"/>
                  <a:pt x="879" y="381"/>
                </a:cubicBezTo>
                <a:cubicBezTo>
                  <a:pt x="880" y="380"/>
                  <a:pt x="881" y="381"/>
                  <a:pt x="882" y="381"/>
                </a:cubicBezTo>
                <a:cubicBezTo>
                  <a:pt x="881" y="380"/>
                  <a:pt x="880" y="379"/>
                  <a:pt x="879" y="378"/>
                </a:cubicBezTo>
                <a:close/>
                <a:moveTo>
                  <a:pt x="876" y="384"/>
                </a:moveTo>
                <a:cubicBezTo>
                  <a:pt x="876" y="382"/>
                  <a:pt x="876" y="382"/>
                  <a:pt x="876" y="384"/>
                </a:cubicBezTo>
                <a:close/>
                <a:moveTo>
                  <a:pt x="875" y="380"/>
                </a:moveTo>
                <a:cubicBezTo>
                  <a:pt x="875" y="379"/>
                  <a:pt x="875" y="378"/>
                  <a:pt x="875" y="377"/>
                </a:cubicBezTo>
                <a:cubicBezTo>
                  <a:pt x="876" y="376"/>
                  <a:pt x="875" y="378"/>
                  <a:pt x="875" y="380"/>
                </a:cubicBezTo>
                <a:cubicBezTo>
                  <a:pt x="875" y="379"/>
                  <a:pt x="875" y="379"/>
                  <a:pt x="874" y="378"/>
                </a:cubicBezTo>
                <a:cubicBezTo>
                  <a:pt x="875" y="378"/>
                  <a:pt x="875" y="379"/>
                  <a:pt x="875" y="380"/>
                </a:cubicBezTo>
                <a:close/>
                <a:moveTo>
                  <a:pt x="761" y="255"/>
                </a:moveTo>
                <a:cubicBezTo>
                  <a:pt x="759" y="253"/>
                  <a:pt x="758" y="252"/>
                  <a:pt x="758" y="250"/>
                </a:cubicBezTo>
                <a:cubicBezTo>
                  <a:pt x="760" y="251"/>
                  <a:pt x="761" y="252"/>
                  <a:pt x="761" y="255"/>
                </a:cubicBezTo>
                <a:close/>
                <a:moveTo>
                  <a:pt x="748" y="245"/>
                </a:moveTo>
                <a:cubicBezTo>
                  <a:pt x="748" y="247"/>
                  <a:pt x="748" y="247"/>
                  <a:pt x="748" y="245"/>
                </a:cubicBezTo>
                <a:close/>
                <a:moveTo>
                  <a:pt x="889" y="268"/>
                </a:moveTo>
                <a:cubicBezTo>
                  <a:pt x="888" y="267"/>
                  <a:pt x="886" y="266"/>
                  <a:pt x="885" y="266"/>
                </a:cubicBezTo>
                <a:cubicBezTo>
                  <a:pt x="886" y="266"/>
                  <a:pt x="888" y="267"/>
                  <a:pt x="889" y="268"/>
                </a:cubicBezTo>
                <a:close/>
                <a:moveTo>
                  <a:pt x="883" y="265"/>
                </a:moveTo>
                <a:cubicBezTo>
                  <a:pt x="883" y="265"/>
                  <a:pt x="883" y="265"/>
                  <a:pt x="883" y="265"/>
                </a:cubicBezTo>
                <a:cubicBezTo>
                  <a:pt x="884" y="266"/>
                  <a:pt x="884" y="266"/>
                  <a:pt x="884" y="266"/>
                </a:cubicBezTo>
                <a:cubicBezTo>
                  <a:pt x="883" y="267"/>
                  <a:pt x="884" y="267"/>
                  <a:pt x="883" y="268"/>
                </a:cubicBezTo>
                <a:cubicBezTo>
                  <a:pt x="883" y="267"/>
                  <a:pt x="883" y="266"/>
                  <a:pt x="883" y="265"/>
                </a:cubicBezTo>
                <a:cubicBezTo>
                  <a:pt x="883" y="264"/>
                  <a:pt x="883" y="264"/>
                  <a:pt x="883" y="265"/>
                </a:cubicBezTo>
                <a:close/>
                <a:moveTo>
                  <a:pt x="886" y="223"/>
                </a:moveTo>
                <a:cubicBezTo>
                  <a:pt x="886" y="224"/>
                  <a:pt x="886" y="224"/>
                  <a:pt x="886" y="225"/>
                </a:cubicBezTo>
                <a:cubicBezTo>
                  <a:pt x="886" y="225"/>
                  <a:pt x="886" y="224"/>
                  <a:pt x="886" y="223"/>
                </a:cubicBezTo>
                <a:close/>
                <a:moveTo>
                  <a:pt x="881" y="202"/>
                </a:moveTo>
                <a:cubicBezTo>
                  <a:pt x="882" y="201"/>
                  <a:pt x="882" y="201"/>
                  <a:pt x="883" y="199"/>
                </a:cubicBezTo>
                <a:cubicBezTo>
                  <a:pt x="883" y="200"/>
                  <a:pt x="883" y="201"/>
                  <a:pt x="883" y="201"/>
                </a:cubicBezTo>
                <a:cubicBezTo>
                  <a:pt x="882" y="202"/>
                  <a:pt x="881" y="202"/>
                  <a:pt x="881" y="202"/>
                </a:cubicBezTo>
                <a:cubicBezTo>
                  <a:pt x="880" y="202"/>
                  <a:pt x="879" y="203"/>
                  <a:pt x="877" y="203"/>
                </a:cubicBezTo>
                <a:cubicBezTo>
                  <a:pt x="879" y="203"/>
                  <a:pt x="880" y="202"/>
                  <a:pt x="881" y="202"/>
                </a:cubicBezTo>
                <a:close/>
                <a:moveTo>
                  <a:pt x="865" y="268"/>
                </a:moveTo>
                <a:cubicBezTo>
                  <a:pt x="865" y="268"/>
                  <a:pt x="865" y="268"/>
                  <a:pt x="865" y="268"/>
                </a:cubicBezTo>
                <a:cubicBezTo>
                  <a:pt x="864" y="268"/>
                  <a:pt x="865" y="268"/>
                  <a:pt x="865" y="268"/>
                </a:cubicBezTo>
                <a:cubicBezTo>
                  <a:pt x="866" y="269"/>
                  <a:pt x="867" y="269"/>
                  <a:pt x="867" y="270"/>
                </a:cubicBezTo>
                <a:cubicBezTo>
                  <a:pt x="866" y="269"/>
                  <a:pt x="866" y="269"/>
                  <a:pt x="865" y="268"/>
                </a:cubicBezTo>
                <a:close/>
                <a:moveTo>
                  <a:pt x="875" y="225"/>
                </a:moveTo>
                <a:cubicBezTo>
                  <a:pt x="875" y="225"/>
                  <a:pt x="875" y="225"/>
                  <a:pt x="875" y="226"/>
                </a:cubicBezTo>
                <a:cubicBezTo>
                  <a:pt x="875" y="225"/>
                  <a:pt x="875" y="225"/>
                  <a:pt x="875" y="225"/>
                </a:cubicBezTo>
                <a:cubicBezTo>
                  <a:pt x="875" y="225"/>
                  <a:pt x="875" y="226"/>
                  <a:pt x="875" y="225"/>
                </a:cubicBezTo>
                <a:close/>
                <a:moveTo>
                  <a:pt x="873" y="268"/>
                </a:moveTo>
                <a:cubicBezTo>
                  <a:pt x="872" y="267"/>
                  <a:pt x="871" y="268"/>
                  <a:pt x="870" y="270"/>
                </a:cubicBezTo>
                <a:cubicBezTo>
                  <a:pt x="870" y="270"/>
                  <a:pt x="870" y="268"/>
                  <a:pt x="871" y="268"/>
                </a:cubicBezTo>
                <a:cubicBezTo>
                  <a:pt x="871" y="267"/>
                  <a:pt x="871" y="266"/>
                  <a:pt x="870" y="265"/>
                </a:cubicBezTo>
                <a:cubicBezTo>
                  <a:pt x="871" y="266"/>
                  <a:pt x="872" y="267"/>
                  <a:pt x="873" y="268"/>
                </a:cubicBezTo>
                <a:close/>
                <a:moveTo>
                  <a:pt x="866" y="253"/>
                </a:moveTo>
                <a:cubicBezTo>
                  <a:pt x="863" y="253"/>
                  <a:pt x="861" y="253"/>
                  <a:pt x="859" y="256"/>
                </a:cubicBezTo>
                <a:cubicBezTo>
                  <a:pt x="861" y="253"/>
                  <a:pt x="863" y="253"/>
                  <a:pt x="866" y="253"/>
                </a:cubicBezTo>
                <a:close/>
                <a:moveTo>
                  <a:pt x="815" y="236"/>
                </a:moveTo>
                <a:cubicBezTo>
                  <a:pt x="814" y="235"/>
                  <a:pt x="814" y="236"/>
                  <a:pt x="813" y="234"/>
                </a:cubicBezTo>
                <a:cubicBezTo>
                  <a:pt x="816" y="236"/>
                  <a:pt x="815" y="236"/>
                  <a:pt x="818" y="237"/>
                </a:cubicBezTo>
                <a:cubicBezTo>
                  <a:pt x="816" y="237"/>
                  <a:pt x="817" y="236"/>
                  <a:pt x="815" y="236"/>
                </a:cubicBezTo>
                <a:close/>
                <a:moveTo>
                  <a:pt x="858" y="252"/>
                </a:moveTo>
                <a:cubicBezTo>
                  <a:pt x="858" y="252"/>
                  <a:pt x="858" y="252"/>
                  <a:pt x="857" y="252"/>
                </a:cubicBezTo>
                <a:cubicBezTo>
                  <a:pt x="858" y="251"/>
                  <a:pt x="858" y="251"/>
                  <a:pt x="858" y="252"/>
                </a:cubicBezTo>
                <a:close/>
                <a:moveTo>
                  <a:pt x="846" y="215"/>
                </a:moveTo>
                <a:cubicBezTo>
                  <a:pt x="847" y="215"/>
                  <a:pt x="849" y="214"/>
                  <a:pt x="850" y="214"/>
                </a:cubicBezTo>
                <a:cubicBezTo>
                  <a:pt x="848" y="215"/>
                  <a:pt x="847" y="215"/>
                  <a:pt x="846" y="215"/>
                </a:cubicBezTo>
                <a:cubicBezTo>
                  <a:pt x="851" y="219"/>
                  <a:pt x="854" y="216"/>
                  <a:pt x="854" y="223"/>
                </a:cubicBezTo>
                <a:cubicBezTo>
                  <a:pt x="854" y="227"/>
                  <a:pt x="851" y="228"/>
                  <a:pt x="852" y="233"/>
                </a:cubicBezTo>
                <a:cubicBezTo>
                  <a:pt x="852" y="236"/>
                  <a:pt x="857" y="242"/>
                  <a:pt x="856" y="243"/>
                </a:cubicBezTo>
                <a:cubicBezTo>
                  <a:pt x="854" y="248"/>
                  <a:pt x="851" y="241"/>
                  <a:pt x="849" y="239"/>
                </a:cubicBezTo>
                <a:cubicBezTo>
                  <a:pt x="846" y="236"/>
                  <a:pt x="840" y="234"/>
                  <a:pt x="838" y="231"/>
                </a:cubicBezTo>
                <a:cubicBezTo>
                  <a:pt x="834" y="227"/>
                  <a:pt x="833" y="222"/>
                  <a:pt x="830" y="219"/>
                </a:cubicBezTo>
                <a:cubicBezTo>
                  <a:pt x="824" y="213"/>
                  <a:pt x="815" y="212"/>
                  <a:pt x="810" y="208"/>
                </a:cubicBezTo>
                <a:cubicBezTo>
                  <a:pt x="821" y="213"/>
                  <a:pt x="835" y="208"/>
                  <a:pt x="846" y="215"/>
                </a:cubicBezTo>
                <a:close/>
                <a:moveTo>
                  <a:pt x="763" y="183"/>
                </a:moveTo>
                <a:cubicBezTo>
                  <a:pt x="762" y="184"/>
                  <a:pt x="762" y="186"/>
                  <a:pt x="760" y="185"/>
                </a:cubicBezTo>
                <a:cubicBezTo>
                  <a:pt x="761" y="184"/>
                  <a:pt x="762" y="184"/>
                  <a:pt x="763" y="183"/>
                </a:cubicBezTo>
                <a:close/>
                <a:moveTo>
                  <a:pt x="749" y="194"/>
                </a:moveTo>
                <a:cubicBezTo>
                  <a:pt x="749" y="195"/>
                  <a:pt x="748" y="196"/>
                  <a:pt x="748" y="197"/>
                </a:cubicBezTo>
                <a:cubicBezTo>
                  <a:pt x="748" y="196"/>
                  <a:pt x="749" y="195"/>
                  <a:pt x="749" y="194"/>
                </a:cubicBezTo>
                <a:close/>
                <a:moveTo>
                  <a:pt x="745" y="200"/>
                </a:moveTo>
                <a:cubicBezTo>
                  <a:pt x="744" y="199"/>
                  <a:pt x="744" y="199"/>
                  <a:pt x="745" y="200"/>
                </a:cubicBezTo>
                <a:close/>
                <a:moveTo>
                  <a:pt x="731" y="196"/>
                </a:moveTo>
                <a:cubicBezTo>
                  <a:pt x="731" y="195"/>
                  <a:pt x="733" y="198"/>
                  <a:pt x="731" y="196"/>
                </a:cubicBezTo>
                <a:close/>
                <a:moveTo>
                  <a:pt x="736" y="193"/>
                </a:moveTo>
                <a:cubicBezTo>
                  <a:pt x="735" y="194"/>
                  <a:pt x="734" y="194"/>
                  <a:pt x="734" y="195"/>
                </a:cubicBezTo>
                <a:cubicBezTo>
                  <a:pt x="735" y="194"/>
                  <a:pt x="735" y="192"/>
                  <a:pt x="734" y="191"/>
                </a:cubicBezTo>
                <a:cubicBezTo>
                  <a:pt x="735" y="192"/>
                  <a:pt x="735" y="192"/>
                  <a:pt x="736" y="193"/>
                </a:cubicBezTo>
                <a:close/>
                <a:moveTo>
                  <a:pt x="731" y="188"/>
                </a:moveTo>
                <a:cubicBezTo>
                  <a:pt x="729" y="189"/>
                  <a:pt x="729" y="188"/>
                  <a:pt x="731" y="188"/>
                </a:cubicBezTo>
                <a:close/>
                <a:moveTo>
                  <a:pt x="712" y="152"/>
                </a:moveTo>
                <a:cubicBezTo>
                  <a:pt x="713" y="153"/>
                  <a:pt x="714" y="153"/>
                  <a:pt x="712" y="152"/>
                </a:cubicBezTo>
                <a:close/>
                <a:moveTo>
                  <a:pt x="711" y="162"/>
                </a:moveTo>
                <a:cubicBezTo>
                  <a:pt x="711" y="161"/>
                  <a:pt x="711" y="160"/>
                  <a:pt x="712" y="158"/>
                </a:cubicBezTo>
                <a:cubicBezTo>
                  <a:pt x="711" y="159"/>
                  <a:pt x="710" y="165"/>
                  <a:pt x="711" y="162"/>
                </a:cubicBezTo>
                <a:close/>
                <a:moveTo>
                  <a:pt x="706" y="220"/>
                </a:moveTo>
                <a:cubicBezTo>
                  <a:pt x="707" y="219"/>
                  <a:pt x="707" y="217"/>
                  <a:pt x="708" y="215"/>
                </a:cubicBezTo>
                <a:cubicBezTo>
                  <a:pt x="708" y="217"/>
                  <a:pt x="707" y="219"/>
                  <a:pt x="706" y="220"/>
                </a:cubicBezTo>
                <a:close/>
                <a:moveTo>
                  <a:pt x="706" y="174"/>
                </a:moveTo>
                <a:cubicBezTo>
                  <a:pt x="707" y="175"/>
                  <a:pt x="708" y="176"/>
                  <a:pt x="710" y="177"/>
                </a:cubicBezTo>
                <a:cubicBezTo>
                  <a:pt x="708" y="177"/>
                  <a:pt x="707" y="176"/>
                  <a:pt x="706" y="175"/>
                </a:cubicBezTo>
                <a:cubicBezTo>
                  <a:pt x="706" y="174"/>
                  <a:pt x="705" y="173"/>
                  <a:pt x="706" y="174"/>
                </a:cubicBezTo>
                <a:close/>
                <a:moveTo>
                  <a:pt x="705" y="213"/>
                </a:moveTo>
                <a:cubicBezTo>
                  <a:pt x="704" y="211"/>
                  <a:pt x="704" y="211"/>
                  <a:pt x="705" y="213"/>
                </a:cubicBezTo>
                <a:close/>
                <a:moveTo>
                  <a:pt x="701" y="155"/>
                </a:moveTo>
                <a:cubicBezTo>
                  <a:pt x="701" y="153"/>
                  <a:pt x="701" y="153"/>
                  <a:pt x="701" y="155"/>
                </a:cubicBezTo>
                <a:close/>
                <a:moveTo>
                  <a:pt x="690" y="218"/>
                </a:moveTo>
                <a:cubicBezTo>
                  <a:pt x="689" y="217"/>
                  <a:pt x="688" y="216"/>
                  <a:pt x="688" y="215"/>
                </a:cubicBezTo>
                <a:cubicBezTo>
                  <a:pt x="688" y="216"/>
                  <a:pt x="689" y="217"/>
                  <a:pt x="690" y="218"/>
                </a:cubicBezTo>
                <a:cubicBezTo>
                  <a:pt x="690" y="216"/>
                  <a:pt x="691" y="214"/>
                  <a:pt x="691" y="213"/>
                </a:cubicBezTo>
                <a:cubicBezTo>
                  <a:pt x="691" y="214"/>
                  <a:pt x="690" y="216"/>
                  <a:pt x="690" y="218"/>
                </a:cubicBezTo>
                <a:close/>
                <a:moveTo>
                  <a:pt x="692" y="206"/>
                </a:moveTo>
                <a:cubicBezTo>
                  <a:pt x="693" y="207"/>
                  <a:pt x="694" y="207"/>
                  <a:pt x="695" y="208"/>
                </a:cubicBezTo>
                <a:cubicBezTo>
                  <a:pt x="696" y="209"/>
                  <a:pt x="697" y="210"/>
                  <a:pt x="698" y="211"/>
                </a:cubicBezTo>
                <a:cubicBezTo>
                  <a:pt x="696" y="209"/>
                  <a:pt x="694" y="207"/>
                  <a:pt x="692" y="206"/>
                </a:cubicBezTo>
                <a:close/>
                <a:moveTo>
                  <a:pt x="700" y="173"/>
                </a:moveTo>
                <a:cubicBezTo>
                  <a:pt x="699" y="172"/>
                  <a:pt x="695" y="170"/>
                  <a:pt x="695" y="170"/>
                </a:cubicBezTo>
                <a:cubicBezTo>
                  <a:pt x="697" y="171"/>
                  <a:pt x="698" y="172"/>
                  <a:pt x="700" y="173"/>
                </a:cubicBezTo>
                <a:close/>
                <a:moveTo>
                  <a:pt x="696" y="203"/>
                </a:moveTo>
                <a:cubicBezTo>
                  <a:pt x="695" y="202"/>
                  <a:pt x="695" y="202"/>
                  <a:pt x="695" y="201"/>
                </a:cubicBezTo>
                <a:cubicBezTo>
                  <a:pt x="695" y="202"/>
                  <a:pt x="696" y="202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ubicBezTo>
                  <a:pt x="697" y="204"/>
                  <a:pt x="697" y="204"/>
                  <a:pt x="698" y="205"/>
                </a:cubicBezTo>
                <a:cubicBezTo>
                  <a:pt x="697" y="204"/>
                  <a:pt x="696" y="203"/>
                  <a:pt x="695" y="203"/>
                </a:cubicBezTo>
                <a:cubicBezTo>
                  <a:pt x="693" y="203"/>
                  <a:pt x="690" y="203"/>
                  <a:pt x="688" y="203"/>
                </a:cubicBezTo>
                <a:cubicBezTo>
                  <a:pt x="690" y="203"/>
                  <a:pt x="693" y="203"/>
                  <a:pt x="695" y="203"/>
                </a:cubicBezTo>
                <a:cubicBezTo>
                  <a:pt x="695" y="203"/>
                  <a:pt x="696" y="203"/>
                  <a:pt x="696" y="203"/>
                </a:cubicBezTo>
                <a:cubicBezTo>
                  <a:pt x="696" y="203"/>
                  <a:pt x="696" y="203"/>
                  <a:pt x="696" y="203"/>
                </a:cubicBezTo>
                <a:close/>
                <a:moveTo>
                  <a:pt x="690" y="169"/>
                </a:moveTo>
                <a:cubicBezTo>
                  <a:pt x="691" y="169"/>
                  <a:pt x="692" y="169"/>
                  <a:pt x="693" y="169"/>
                </a:cubicBezTo>
                <a:cubicBezTo>
                  <a:pt x="691" y="170"/>
                  <a:pt x="691" y="170"/>
                  <a:pt x="689" y="171"/>
                </a:cubicBezTo>
                <a:cubicBezTo>
                  <a:pt x="690" y="171"/>
                  <a:pt x="690" y="170"/>
                  <a:pt x="690" y="169"/>
                </a:cubicBezTo>
                <a:close/>
                <a:moveTo>
                  <a:pt x="687" y="163"/>
                </a:moveTo>
                <a:cubicBezTo>
                  <a:pt x="687" y="165"/>
                  <a:pt x="688" y="167"/>
                  <a:pt x="688" y="170"/>
                </a:cubicBezTo>
                <a:cubicBezTo>
                  <a:pt x="688" y="169"/>
                  <a:pt x="688" y="168"/>
                  <a:pt x="688" y="167"/>
                </a:cubicBezTo>
                <a:cubicBezTo>
                  <a:pt x="687" y="165"/>
                  <a:pt x="686" y="165"/>
                  <a:pt x="687" y="163"/>
                </a:cubicBezTo>
                <a:close/>
                <a:moveTo>
                  <a:pt x="671" y="208"/>
                </a:moveTo>
                <a:cubicBezTo>
                  <a:pt x="671" y="209"/>
                  <a:pt x="671" y="209"/>
                  <a:pt x="670" y="210"/>
                </a:cubicBezTo>
                <a:cubicBezTo>
                  <a:pt x="670" y="210"/>
                  <a:pt x="670" y="211"/>
                  <a:pt x="670" y="211"/>
                </a:cubicBezTo>
                <a:cubicBezTo>
                  <a:pt x="670" y="210"/>
                  <a:pt x="671" y="209"/>
                  <a:pt x="671" y="208"/>
                </a:cubicBezTo>
                <a:close/>
                <a:moveTo>
                  <a:pt x="669" y="162"/>
                </a:moveTo>
                <a:cubicBezTo>
                  <a:pt x="669" y="165"/>
                  <a:pt x="669" y="169"/>
                  <a:pt x="669" y="172"/>
                </a:cubicBezTo>
                <a:cubicBezTo>
                  <a:pt x="669" y="169"/>
                  <a:pt x="669" y="165"/>
                  <a:pt x="669" y="162"/>
                </a:cubicBezTo>
                <a:close/>
                <a:moveTo>
                  <a:pt x="607" y="167"/>
                </a:moveTo>
                <a:cubicBezTo>
                  <a:pt x="607" y="166"/>
                  <a:pt x="608" y="166"/>
                  <a:pt x="608" y="165"/>
                </a:cubicBezTo>
                <a:cubicBezTo>
                  <a:pt x="607" y="169"/>
                  <a:pt x="609" y="171"/>
                  <a:pt x="609" y="175"/>
                </a:cubicBezTo>
                <a:cubicBezTo>
                  <a:pt x="605" y="176"/>
                  <a:pt x="601" y="176"/>
                  <a:pt x="596" y="176"/>
                </a:cubicBezTo>
                <a:cubicBezTo>
                  <a:pt x="600" y="173"/>
                  <a:pt x="603" y="170"/>
                  <a:pt x="607" y="167"/>
                </a:cubicBezTo>
                <a:close/>
                <a:moveTo>
                  <a:pt x="488" y="176"/>
                </a:moveTo>
                <a:cubicBezTo>
                  <a:pt x="489" y="177"/>
                  <a:pt x="489" y="176"/>
                  <a:pt x="490" y="177"/>
                </a:cubicBezTo>
                <a:cubicBezTo>
                  <a:pt x="491" y="178"/>
                  <a:pt x="492" y="179"/>
                  <a:pt x="493" y="180"/>
                </a:cubicBezTo>
                <a:cubicBezTo>
                  <a:pt x="491" y="178"/>
                  <a:pt x="490" y="178"/>
                  <a:pt x="488" y="176"/>
                </a:cubicBezTo>
                <a:close/>
                <a:moveTo>
                  <a:pt x="408" y="141"/>
                </a:moveTo>
                <a:cubicBezTo>
                  <a:pt x="407" y="140"/>
                  <a:pt x="407" y="140"/>
                  <a:pt x="407" y="140"/>
                </a:cubicBezTo>
                <a:cubicBezTo>
                  <a:pt x="408" y="141"/>
                  <a:pt x="408" y="141"/>
                  <a:pt x="408" y="141"/>
                </a:cubicBezTo>
                <a:close/>
                <a:moveTo>
                  <a:pt x="327" y="176"/>
                </a:moveTo>
                <a:cubicBezTo>
                  <a:pt x="327" y="176"/>
                  <a:pt x="327" y="176"/>
                  <a:pt x="326" y="177"/>
                </a:cubicBezTo>
                <a:cubicBezTo>
                  <a:pt x="327" y="176"/>
                  <a:pt x="327" y="176"/>
                  <a:pt x="327" y="176"/>
                </a:cubicBezTo>
                <a:cubicBezTo>
                  <a:pt x="328" y="175"/>
                  <a:pt x="329" y="174"/>
                  <a:pt x="328" y="171"/>
                </a:cubicBezTo>
                <a:cubicBezTo>
                  <a:pt x="329" y="173"/>
                  <a:pt x="328" y="174"/>
                  <a:pt x="329" y="176"/>
                </a:cubicBezTo>
                <a:cubicBezTo>
                  <a:pt x="328" y="176"/>
                  <a:pt x="328" y="176"/>
                  <a:pt x="327" y="176"/>
                </a:cubicBezTo>
                <a:close/>
                <a:moveTo>
                  <a:pt x="330" y="59"/>
                </a:moveTo>
                <a:cubicBezTo>
                  <a:pt x="330" y="59"/>
                  <a:pt x="330" y="59"/>
                  <a:pt x="331" y="59"/>
                </a:cubicBezTo>
                <a:cubicBezTo>
                  <a:pt x="331" y="59"/>
                  <a:pt x="331" y="59"/>
                  <a:pt x="331" y="59"/>
                </a:cubicBezTo>
                <a:cubicBezTo>
                  <a:pt x="332" y="60"/>
                  <a:pt x="331" y="59"/>
                  <a:pt x="331" y="59"/>
                </a:cubicBezTo>
                <a:cubicBezTo>
                  <a:pt x="330" y="59"/>
                  <a:pt x="330" y="59"/>
                  <a:pt x="329" y="59"/>
                </a:cubicBezTo>
                <a:cubicBezTo>
                  <a:pt x="330" y="59"/>
                  <a:pt x="330" y="59"/>
                  <a:pt x="330" y="59"/>
                </a:cubicBezTo>
                <a:close/>
                <a:moveTo>
                  <a:pt x="310" y="61"/>
                </a:moveTo>
                <a:cubicBezTo>
                  <a:pt x="310" y="60"/>
                  <a:pt x="311" y="60"/>
                  <a:pt x="311" y="60"/>
                </a:cubicBezTo>
                <a:cubicBezTo>
                  <a:pt x="310" y="61"/>
                  <a:pt x="310" y="61"/>
                  <a:pt x="310" y="61"/>
                </a:cubicBezTo>
                <a:close/>
                <a:moveTo>
                  <a:pt x="314" y="48"/>
                </a:moveTo>
                <a:cubicBezTo>
                  <a:pt x="313" y="49"/>
                  <a:pt x="312" y="49"/>
                  <a:pt x="311" y="50"/>
                </a:cubicBezTo>
                <a:cubicBezTo>
                  <a:pt x="309" y="50"/>
                  <a:pt x="307" y="51"/>
                  <a:pt x="305" y="52"/>
                </a:cubicBezTo>
                <a:cubicBezTo>
                  <a:pt x="308" y="51"/>
                  <a:pt x="311" y="50"/>
                  <a:pt x="314" y="48"/>
                </a:cubicBezTo>
                <a:close/>
                <a:moveTo>
                  <a:pt x="296" y="23"/>
                </a:moveTo>
                <a:cubicBezTo>
                  <a:pt x="296" y="24"/>
                  <a:pt x="295" y="24"/>
                  <a:pt x="296" y="23"/>
                </a:cubicBezTo>
                <a:close/>
                <a:moveTo>
                  <a:pt x="248" y="105"/>
                </a:moveTo>
                <a:cubicBezTo>
                  <a:pt x="248" y="103"/>
                  <a:pt x="248" y="105"/>
                  <a:pt x="249" y="107"/>
                </a:cubicBezTo>
                <a:cubicBezTo>
                  <a:pt x="248" y="107"/>
                  <a:pt x="248" y="106"/>
                  <a:pt x="248" y="105"/>
                </a:cubicBezTo>
                <a:close/>
                <a:moveTo>
                  <a:pt x="290" y="63"/>
                </a:moveTo>
                <a:cubicBezTo>
                  <a:pt x="292" y="61"/>
                  <a:pt x="291" y="59"/>
                  <a:pt x="291" y="57"/>
                </a:cubicBezTo>
                <a:cubicBezTo>
                  <a:pt x="291" y="59"/>
                  <a:pt x="292" y="61"/>
                  <a:pt x="290" y="63"/>
                </a:cubicBezTo>
                <a:close/>
                <a:moveTo>
                  <a:pt x="293" y="25"/>
                </a:moveTo>
                <a:cubicBezTo>
                  <a:pt x="291" y="26"/>
                  <a:pt x="290" y="27"/>
                  <a:pt x="289" y="28"/>
                </a:cubicBezTo>
                <a:cubicBezTo>
                  <a:pt x="288" y="29"/>
                  <a:pt x="287" y="29"/>
                  <a:pt x="286" y="30"/>
                </a:cubicBezTo>
                <a:cubicBezTo>
                  <a:pt x="288" y="28"/>
                  <a:pt x="290" y="27"/>
                  <a:pt x="293" y="25"/>
                </a:cubicBezTo>
                <a:close/>
                <a:moveTo>
                  <a:pt x="283" y="36"/>
                </a:moveTo>
                <a:cubicBezTo>
                  <a:pt x="284" y="36"/>
                  <a:pt x="286" y="36"/>
                  <a:pt x="284" y="36"/>
                </a:cubicBezTo>
                <a:cubicBezTo>
                  <a:pt x="284" y="36"/>
                  <a:pt x="283" y="35"/>
                  <a:pt x="283" y="36"/>
                </a:cubicBezTo>
                <a:close/>
                <a:moveTo>
                  <a:pt x="281" y="9"/>
                </a:moveTo>
                <a:cubicBezTo>
                  <a:pt x="280" y="11"/>
                  <a:pt x="280" y="12"/>
                  <a:pt x="280" y="13"/>
                </a:cubicBezTo>
                <a:cubicBezTo>
                  <a:pt x="279" y="12"/>
                  <a:pt x="280" y="11"/>
                  <a:pt x="281" y="9"/>
                </a:cubicBezTo>
                <a:close/>
                <a:moveTo>
                  <a:pt x="268" y="42"/>
                </a:moveTo>
                <a:cubicBezTo>
                  <a:pt x="267" y="41"/>
                  <a:pt x="267" y="40"/>
                  <a:pt x="267" y="39"/>
                </a:cubicBezTo>
                <a:cubicBezTo>
                  <a:pt x="266" y="38"/>
                  <a:pt x="267" y="37"/>
                  <a:pt x="269" y="35"/>
                </a:cubicBezTo>
                <a:cubicBezTo>
                  <a:pt x="268" y="36"/>
                  <a:pt x="267" y="38"/>
                  <a:pt x="267" y="39"/>
                </a:cubicBezTo>
                <a:cubicBezTo>
                  <a:pt x="268" y="40"/>
                  <a:pt x="269" y="41"/>
                  <a:pt x="270" y="42"/>
                </a:cubicBezTo>
                <a:cubicBezTo>
                  <a:pt x="270" y="41"/>
                  <a:pt x="274" y="40"/>
                  <a:pt x="275" y="41"/>
                </a:cubicBezTo>
                <a:cubicBezTo>
                  <a:pt x="276" y="41"/>
                  <a:pt x="275" y="44"/>
                  <a:pt x="276" y="45"/>
                </a:cubicBezTo>
                <a:cubicBezTo>
                  <a:pt x="280" y="50"/>
                  <a:pt x="284" y="56"/>
                  <a:pt x="291" y="52"/>
                </a:cubicBezTo>
                <a:cubicBezTo>
                  <a:pt x="291" y="52"/>
                  <a:pt x="290" y="53"/>
                  <a:pt x="289" y="54"/>
                </a:cubicBezTo>
                <a:cubicBezTo>
                  <a:pt x="289" y="53"/>
                  <a:pt x="290" y="54"/>
                  <a:pt x="291" y="56"/>
                </a:cubicBezTo>
                <a:cubicBezTo>
                  <a:pt x="283" y="56"/>
                  <a:pt x="277" y="56"/>
                  <a:pt x="269" y="58"/>
                </a:cubicBezTo>
                <a:cubicBezTo>
                  <a:pt x="262" y="59"/>
                  <a:pt x="252" y="57"/>
                  <a:pt x="246" y="62"/>
                </a:cubicBezTo>
                <a:cubicBezTo>
                  <a:pt x="247" y="62"/>
                  <a:pt x="247" y="62"/>
                  <a:pt x="248" y="62"/>
                </a:cubicBezTo>
                <a:cubicBezTo>
                  <a:pt x="246" y="62"/>
                  <a:pt x="245" y="62"/>
                  <a:pt x="244" y="63"/>
                </a:cubicBezTo>
                <a:cubicBezTo>
                  <a:pt x="244" y="63"/>
                  <a:pt x="245" y="62"/>
                  <a:pt x="245" y="62"/>
                </a:cubicBezTo>
                <a:cubicBezTo>
                  <a:pt x="243" y="63"/>
                  <a:pt x="240" y="63"/>
                  <a:pt x="238" y="63"/>
                </a:cubicBezTo>
                <a:cubicBezTo>
                  <a:pt x="246" y="55"/>
                  <a:pt x="256" y="43"/>
                  <a:pt x="268" y="42"/>
                </a:cubicBezTo>
                <a:close/>
                <a:moveTo>
                  <a:pt x="236" y="95"/>
                </a:moveTo>
                <a:cubicBezTo>
                  <a:pt x="235" y="93"/>
                  <a:pt x="236" y="94"/>
                  <a:pt x="236" y="95"/>
                </a:cubicBezTo>
                <a:close/>
                <a:moveTo>
                  <a:pt x="139" y="60"/>
                </a:moveTo>
                <a:cubicBezTo>
                  <a:pt x="140" y="61"/>
                  <a:pt x="141" y="61"/>
                  <a:pt x="137" y="63"/>
                </a:cubicBezTo>
                <a:cubicBezTo>
                  <a:pt x="138" y="61"/>
                  <a:pt x="138" y="61"/>
                  <a:pt x="139" y="60"/>
                </a:cubicBezTo>
                <a:close/>
                <a:moveTo>
                  <a:pt x="141" y="48"/>
                </a:moveTo>
                <a:cubicBezTo>
                  <a:pt x="141" y="50"/>
                  <a:pt x="139" y="49"/>
                  <a:pt x="138" y="50"/>
                </a:cubicBezTo>
                <a:cubicBezTo>
                  <a:pt x="137" y="51"/>
                  <a:pt x="136" y="52"/>
                  <a:pt x="135" y="51"/>
                </a:cubicBezTo>
                <a:cubicBezTo>
                  <a:pt x="137" y="50"/>
                  <a:pt x="139" y="49"/>
                  <a:pt x="141" y="48"/>
                </a:cubicBezTo>
                <a:close/>
                <a:moveTo>
                  <a:pt x="27" y="208"/>
                </a:moveTo>
                <a:cubicBezTo>
                  <a:pt x="28" y="205"/>
                  <a:pt x="30" y="201"/>
                  <a:pt x="32" y="199"/>
                </a:cubicBezTo>
                <a:cubicBezTo>
                  <a:pt x="34" y="201"/>
                  <a:pt x="35" y="204"/>
                  <a:pt x="36" y="207"/>
                </a:cubicBezTo>
                <a:cubicBezTo>
                  <a:pt x="33" y="207"/>
                  <a:pt x="30" y="207"/>
                  <a:pt x="27" y="208"/>
                </a:cubicBezTo>
                <a:close/>
                <a:moveTo>
                  <a:pt x="78" y="129"/>
                </a:moveTo>
                <a:cubicBezTo>
                  <a:pt x="78" y="130"/>
                  <a:pt x="77" y="131"/>
                  <a:pt x="77" y="130"/>
                </a:cubicBezTo>
                <a:cubicBezTo>
                  <a:pt x="78" y="130"/>
                  <a:pt x="78" y="130"/>
                  <a:pt x="78" y="129"/>
                </a:cubicBezTo>
                <a:cubicBezTo>
                  <a:pt x="78" y="129"/>
                  <a:pt x="78" y="129"/>
                  <a:pt x="78" y="129"/>
                </a:cubicBezTo>
                <a:cubicBezTo>
                  <a:pt x="78" y="129"/>
                  <a:pt x="78" y="129"/>
                  <a:pt x="78" y="129"/>
                </a:cubicBezTo>
                <a:close/>
                <a:moveTo>
                  <a:pt x="81" y="130"/>
                </a:moveTo>
                <a:cubicBezTo>
                  <a:pt x="81" y="131"/>
                  <a:pt x="80" y="130"/>
                  <a:pt x="80" y="129"/>
                </a:cubicBezTo>
                <a:cubicBezTo>
                  <a:pt x="80" y="129"/>
                  <a:pt x="80" y="129"/>
                  <a:pt x="80" y="129"/>
                </a:cubicBezTo>
                <a:cubicBezTo>
                  <a:pt x="79" y="129"/>
                  <a:pt x="80" y="129"/>
                  <a:pt x="80" y="129"/>
                </a:cubicBezTo>
                <a:cubicBezTo>
                  <a:pt x="80" y="129"/>
                  <a:pt x="80" y="129"/>
                  <a:pt x="80" y="129"/>
                </a:cubicBezTo>
                <a:cubicBezTo>
                  <a:pt x="80" y="130"/>
                  <a:pt x="81" y="130"/>
                  <a:pt x="81" y="130"/>
                </a:cubicBezTo>
                <a:cubicBezTo>
                  <a:pt x="82" y="130"/>
                  <a:pt x="83" y="130"/>
                  <a:pt x="83" y="129"/>
                </a:cubicBezTo>
                <a:cubicBezTo>
                  <a:pt x="82" y="130"/>
                  <a:pt x="82" y="130"/>
                  <a:pt x="81" y="130"/>
                </a:cubicBezTo>
                <a:close/>
                <a:moveTo>
                  <a:pt x="108" y="21"/>
                </a:moveTo>
                <a:cubicBezTo>
                  <a:pt x="107" y="23"/>
                  <a:pt x="107" y="24"/>
                  <a:pt x="105" y="25"/>
                </a:cubicBezTo>
                <a:cubicBezTo>
                  <a:pt x="106" y="24"/>
                  <a:pt x="107" y="22"/>
                  <a:pt x="108" y="21"/>
                </a:cubicBezTo>
                <a:close/>
                <a:moveTo>
                  <a:pt x="100" y="25"/>
                </a:moveTo>
                <a:cubicBezTo>
                  <a:pt x="99" y="24"/>
                  <a:pt x="101" y="28"/>
                  <a:pt x="100" y="25"/>
                </a:cubicBezTo>
                <a:close/>
                <a:moveTo>
                  <a:pt x="104" y="28"/>
                </a:moveTo>
                <a:cubicBezTo>
                  <a:pt x="104" y="27"/>
                  <a:pt x="104" y="26"/>
                  <a:pt x="104" y="25"/>
                </a:cubicBezTo>
                <a:cubicBezTo>
                  <a:pt x="104" y="25"/>
                  <a:pt x="103" y="24"/>
                  <a:pt x="104" y="25"/>
                </a:cubicBezTo>
                <a:cubicBezTo>
                  <a:pt x="104" y="26"/>
                  <a:pt x="104" y="27"/>
                  <a:pt x="104" y="28"/>
                </a:cubicBezTo>
                <a:cubicBezTo>
                  <a:pt x="104" y="30"/>
                  <a:pt x="102" y="32"/>
                  <a:pt x="99" y="34"/>
                </a:cubicBezTo>
                <a:cubicBezTo>
                  <a:pt x="102" y="32"/>
                  <a:pt x="104" y="30"/>
                  <a:pt x="104" y="28"/>
                </a:cubicBezTo>
                <a:close/>
                <a:moveTo>
                  <a:pt x="97" y="25"/>
                </a:moveTo>
                <a:cubicBezTo>
                  <a:pt x="97" y="27"/>
                  <a:pt x="96" y="27"/>
                  <a:pt x="97" y="25"/>
                </a:cubicBezTo>
                <a:close/>
                <a:moveTo>
                  <a:pt x="114" y="64"/>
                </a:moveTo>
                <a:cubicBezTo>
                  <a:pt x="110" y="69"/>
                  <a:pt x="98" y="82"/>
                  <a:pt x="103" y="87"/>
                </a:cubicBezTo>
                <a:cubicBezTo>
                  <a:pt x="100" y="83"/>
                  <a:pt x="97" y="80"/>
                  <a:pt x="93" y="78"/>
                </a:cubicBezTo>
                <a:cubicBezTo>
                  <a:pt x="89" y="76"/>
                  <a:pt x="90" y="82"/>
                  <a:pt x="87" y="77"/>
                </a:cubicBezTo>
                <a:cubicBezTo>
                  <a:pt x="85" y="74"/>
                  <a:pt x="87" y="70"/>
                  <a:pt x="87" y="66"/>
                </a:cubicBezTo>
                <a:cubicBezTo>
                  <a:pt x="88" y="57"/>
                  <a:pt x="93" y="46"/>
                  <a:pt x="99" y="41"/>
                </a:cubicBezTo>
                <a:cubicBezTo>
                  <a:pt x="92" y="45"/>
                  <a:pt x="106" y="50"/>
                  <a:pt x="110" y="48"/>
                </a:cubicBezTo>
                <a:cubicBezTo>
                  <a:pt x="113" y="46"/>
                  <a:pt x="113" y="48"/>
                  <a:pt x="115" y="50"/>
                </a:cubicBezTo>
                <a:cubicBezTo>
                  <a:pt x="121" y="56"/>
                  <a:pt x="119" y="59"/>
                  <a:pt x="114" y="64"/>
                </a:cubicBezTo>
                <a:close/>
                <a:moveTo>
                  <a:pt x="124" y="57"/>
                </a:moveTo>
                <a:cubicBezTo>
                  <a:pt x="125" y="57"/>
                  <a:pt x="125" y="56"/>
                  <a:pt x="126" y="55"/>
                </a:cubicBezTo>
                <a:cubicBezTo>
                  <a:pt x="125" y="56"/>
                  <a:pt x="125" y="57"/>
                  <a:pt x="124" y="57"/>
                </a:cubicBezTo>
                <a:close/>
                <a:moveTo>
                  <a:pt x="127" y="113"/>
                </a:moveTo>
                <a:cubicBezTo>
                  <a:pt x="124" y="109"/>
                  <a:pt x="126" y="101"/>
                  <a:pt x="129" y="100"/>
                </a:cubicBezTo>
                <a:cubicBezTo>
                  <a:pt x="129" y="101"/>
                  <a:pt x="129" y="103"/>
                  <a:pt x="129" y="104"/>
                </a:cubicBezTo>
                <a:cubicBezTo>
                  <a:pt x="131" y="103"/>
                  <a:pt x="133" y="103"/>
                  <a:pt x="135" y="101"/>
                </a:cubicBezTo>
                <a:cubicBezTo>
                  <a:pt x="135" y="103"/>
                  <a:pt x="135" y="103"/>
                  <a:pt x="135" y="103"/>
                </a:cubicBezTo>
                <a:cubicBezTo>
                  <a:pt x="135" y="109"/>
                  <a:pt x="133" y="124"/>
                  <a:pt x="127" y="113"/>
                </a:cubicBezTo>
                <a:close/>
                <a:moveTo>
                  <a:pt x="136" y="102"/>
                </a:moveTo>
                <a:cubicBezTo>
                  <a:pt x="137" y="102"/>
                  <a:pt x="135" y="104"/>
                  <a:pt x="136" y="102"/>
                </a:cubicBezTo>
                <a:close/>
                <a:moveTo>
                  <a:pt x="137" y="97"/>
                </a:moveTo>
                <a:cubicBezTo>
                  <a:pt x="138" y="99"/>
                  <a:pt x="138" y="99"/>
                  <a:pt x="137" y="97"/>
                </a:cubicBezTo>
                <a:close/>
                <a:moveTo>
                  <a:pt x="148" y="114"/>
                </a:moveTo>
                <a:cubicBezTo>
                  <a:pt x="147" y="115"/>
                  <a:pt x="146" y="115"/>
                  <a:pt x="144" y="116"/>
                </a:cubicBezTo>
                <a:cubicBezTo>
                  <a:pt x="145" y="115"/>
                  <a:pt x="147" y="115"/>
                  <a:pt x="148" y="114"/>
                </a:cubicBezTo>
                <a:cubicBezTo>
                  <a:pt x="148" y="114"/>
                  <a:pt x="150" y="113"/>
                  <a:pt x="148" y="114"/>
                </a:cubicBezTo>
                <a:close/>
                <a:moveTo>
                  <a:pt x="155" y="120"/>
                </a:moveTo>
                <a:cubicBezTo>
                  <a:pt x="156" y="121"/>
                  <a:pt x="156" y="121"/>
                  <a:pt x="157" y="121"/>
                </a:cubicBezTo>
                <a:cubicBezTo>
                  <a:pt x="158" y="122"/>
                  <a:pt x="159" y="123"/>
                  <a:pt x="160" y="124"/>
                </a:cubicBezTo>
                <a:cubicBezTo>
                  <a:pt x="158" y="123"/>
                  <a:pt x="157" y="122"/>
                  <a:pt x="155" y="120"/>
                </a:cubicBezTo>
                <a:cubicBezTo>
                  <a:pt x="154" y="120"/>
                  <a:pt x="153" y="119"/>
                  <a:pt x="151" y="118"/>
                </a:cubicBezTo>
                <a:cubicBezTo>
                  <a:pt x="153" y="119"/>
                  <a:pt x="154" y="120"/>
                  <a:pt x="155" y="120"/>
                </a:cubicBezTo>
                <a:close/>
                <a:moveTo>
                  <a:pt x="157" y="114"/>
                </a:moveTo>
                <a:cubicBezTo>
                  <a:pt x="156" y="114"/>
                  <a:pt x="155" y="114"/>
                  <a:pt x="155" y="114"/>
                </a:cubicBezTo>
                <a:cubicBezTo>
                  <a:pt x="155" y="114"/>
                  <a:pt x="156" y="114"/>
                  <a:pt x="15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58" y="114"/>
                  <a:pt x="158" y="114"/>
                  <a:pt x="159" y="114"/>
                </a:cubicBezTo>
                <a:cubicBezTo>
                  <a:pt x="158" y="114"/>
                  <a:pt x="158" y="114"/>
                  <a:pt x="157" y="114"/>
                </a:cubicBezTo>
                <a:close/>
                <a:moveTo>
                  <a:pt x="161" y="80"/>
                </a:moveTo>
                <a:cubicBezTo>
                  <a:pt x="159" y="82"/>
                  <a:pt x="160" y="81"/>
                  <a:pt x="161" y="80"/>
                </a:cubicBezTo>
                <a:close/>
                <a:moveTo>
                  <a:pt x="175" y="88"/>
                </a:moveTo>
                <a:cubicBezTo>
                  <a:pt x="176" y="88"/>
                  <a:pt x="177" y="88"/>
                  <a:pt x="178" y="89"/>
                </a:cubicBezTo>
                <a:cubicBezTo>
                  <a:pt x="179" y="89"/>
                  <a:pt x="179" y="90"/>
                  <a:pt x="179" y="91"/>
                </a:cubicBezTo>
                <a:cubicBezTo>
                  <a:pt x="177" y="89"/>
                  <a:pt x="178" y="90"/>
                  <a:pt x="175" y="88"/>
                </a:cubicBezTo>
                <a:close/>
                <a:moveTo>
                  <a:pt x="179" y="81"/>
                </a:moveTo>
                <a:cubicBezTo>
                  <a:pt x="177" y="82"/>
                  <a:pt x="177" y="83"/>
                  <a:pt x="175" y="82"/>
                </a:cubicBezTo>
                <a:cubicBezTo>
                  <a:pt x="177" y="82"/>
                  <a:pt x="177" y="82"/>
                  <a:pt x="179" y="81"/>
                </a:cubicBezTo>
                <a:cubicBezTo>
                  <a:pt x="178" y="81"/>
                  <a:pt x="178" y="81"/>
                  <a:pt x="179" y="81"/>
                </a:cubicBezTo>
                <a:cubicBezTo>
                  <a:pt x="179" y="82"/>
                  <a:pt x="179" y="84"/>
                  <a:pt x="180" y="84"/>
                </a:cubicBezTo>
                <a:cubicBezTo>
                  <a:pt x="180" y="83"/>
                  <a:pt x="179" y="82"/>
                  <a:pt x="179" y="81"/>
                </a:cubicBezTo>
                <a:close/>
                <a:moveTo>
                  <a:pt x="183" y="106"/>
                </a:moveTo>
                <a:cubicBezTo>
                  <a:pt x="182" y="106"/>
                  <a:pt x="182" y="105"/>
                  <a:pt x="182" y="105"/>
                </a:cubicBezTo>
                <a:cubicBezTo>
                  <a:pt x="183" y="104"/>
                  <a:pt x="183" y="104"/>
                  <a:pt x="183" y="104"/>
                </a:cubicBezTo>
                <a:cubicBezTo>
                  <a:pt x="183" y="105"/>
                  <a:pt x="183" y="105"/>
                  <a:pt x="183" y="106"/>
                </a:cubicBezTo>
                <a:close/>
                <a:moveTo>
                  <a:pt x="185" y="73"/>
                </a:moveTo>
                <a:cubicBezTo>
                  <a:pt x="185" y="72"/>
                  <a:pt x="184" y="72"/>
                  <a:pt x="185" y="73"/>
                </a:cubicBezTo>
                <a:close/>
                <a:moveTo>
                  <a:pt x="187" y="77"/>
                </a:moveTo>
                <a:cubicBezTo>
                  <a:pt x="189" y="76"/>
                  <a:pt x="189" y="75"/>
                  <a:pt x="191" y="74"/>
                </a:cubicBezTo>
                <a:cubicBezTo>
                  <a:pt x="189" y="74"/>
                  <a:pt x="185" y="74"/>
                  <a:pt x="185" y="74"/>
                </a:cubicBezTo>
                <a:cubicBezTo>
                  <a:pt x="188" y="74"/>
                  <a:pt x="190" y="74"/>
                  <a:pt x="192" y="74"/>
                </a:cubicBezTo>
                <a:cubicBezTo>
                  <a:pt x="191" y="74"/>
                  <a:pt x="190" y="74"/>
                  <a:pt x="190" y="76"/>
                </a:cubicBezTo>
                <a:cubicBezTo>
                  <a:pt x="191" y="76"/>
                  <a:pt x="192" y="76"/>
                  <a:pt x="193" y="76"/>
                </a:cubicBezTo>
                <a:cubicBezTo>
                  <a:pt x="191" y="76"/>
                  <a:pt x="190" y="76"/>
                  <a:pt x="187" y="77"/>
                </a:cubicBezTo>
                <a:close/>
                <a:moveTo>
                  <a:pt x="148" y="440"/>
                </a:moveTo>
                <a:cubicBezTo>
                  <a:pt x="141" y="436"/>
                  <a:pt x="134" y="435"/>
                  <a:pt x="127" y="431"/>
                </a:cubicBezTo>
                <a:cubicBezTo>
                  <a:pt x="136" y="430"/>
                  <a:pt x="126" y="420"/>
                  <a:pt x="125" y="416"/>
                </a:cubicBezTo>
                <a:cubicBezTo>
                  <a:pt x="138" y="419"/>
                  <a:pt x="148" y="419"/>
                  <a:pt x="159" y="426"/>
                </a:cubicBezTo>
                <a:cubicBezTo>
                  <a:pt x="152" y="431"/>
                  <a:pt x="151" y="433"/>
                  <a:pt x="148" y="440"/>
                </a:cubicBezTo>
                <a:close/>
                <a:moveTo>
                  <a:pt x="157" y="413"/>
                </a:moveTo>
                <a:cubicBezTo>
                  <a:pt x="154" y="413"/>
                  <a:pt x="143" y="407"/>
                  <a:pt x="140" y="406"/>
                </a:cubicBezTo>
                <a:cubicBezTo>
                  <a:pt x="136" y="405"/>
                  <a:pt x="133" y="405"/>
                  <a:pt x="127" y="405"/>
                </a:cubicBezTo>
                <a:cubicBezTo>
                  <a:pt x="131" y="405"/>
                  <a:pt x="134" y="405"/>
                  <a:pt x="138" y="405"/>
                </a:cubicBezTo>
                <a:cubicBezTo>
                  <a:pt x="143" y="404"/>
                  <a:pt x="150" y="405"/>
                  <a:pt x="154" y="407"/>
                </a:cubicBezTo>
                <a:cubicBezTo>
                  <a:pt x="157" y="408"/>
                  <a:pt x="160" y="406"/>
                  <a:pt x="160" y="411"/>
                </a:cubicBezTo>
                <a:cubicBezTo>
                  <a:pt x="160" y="414"/>
                  <a:pt x="159" y="413"/>
                  <a:pt x="157" y="413"/>
                </a:cubicBezTo>
                <a:close/>
                <a:moveTo>
                  <a:pt x="303" y="575"/>
                </a:moveTo>
                <a:cubicBezTo>
                  <a:pt x="303" y="575"/>
                  <a:pt x="304" y="574"/>
                  <a:pt x="305" y="576"/>
                </a:cubicBezTo>
                <a:cubicBezTo>
                  <a:pt x="305" y="576"/>
                  <a:pt x="304" y="576"/>
                  <a:pt x="304" y="577"/>
                </a:cubicBezTo>
                <a:cubicBezTo>
                  <a:pt x="303" y="577"/>
                  <a:pt x="303" y="575"/>
                  <a:pt x="303" y="575"/>
                </a:cubicBezTo>
                <a:close/>
                <a:moveTo>
                  <a:pt x="290" y="555"/>
                </a:moveTo>
                <a:cubicBezTo>
                  <a:pt x="289" y="555"/>
                  <a:pt x="289" y="554"/>
                  <a:pt x="289" y="553"/>
                </a:cubicBezTo>
                <a:cubicBezTo>
                  <a:pt x="288" y="551"/>
                  <a:pt x="289" y="554"/>
                  <a:pt x="290" y="555"/>
                </a:cubicBezTo>
                <a:close/>
                <a:moveTo>
                  <a:pt x="265" y="589"/>
                </a:moveTo>
                <a:cubicBezTo>
                  <a:pt x="267" y="586"/>
                  <a:pt x="271" y="585"/>
                  <a:pt x="273" y="582"/>
                </a:cubicBezTo>
                <a:cubicBezTo>
                  <a:pt x="271" y="585"/>
                  <a:pt x="267" y="586"/>
                  <a:pt x="265" y="589"/>
                </a:cubicBezTo>
                <a:close/>
                <a:moveTo>
                  <a:pt x="274" y="576"/>
                </a:moveTo>
                <a:cubicBezTo>
                  <a:pt x="273" y="577"/>
                  <a:pt x="272" y="579"/>
                  <a:pt x="271" y="580"/>
                </a:cubicBezTo>
                <a:cubicBezTo>
                  <a:pt x="272" y="578"/>
                  <a:pt x="273" y="576"/>
                  <a:pt x="274" y="575"/>
                </a:cubicBezTo>
                <a:cubicBezTo>
                  <a:pt x="274" y="575"/>
                  <a:pt x="274" y="576"/>
                  <a:pt x="274" y="576"/>
                </a:cubicBezTo>
                <a:close/>
                <a:moveTo>
                  <a:pt x="277" y="585"/>
                </a:moveTo>
                <a:cubicBezTo>
                  <a:pt x="274" y="583"/>
                  <a:pt x="278" y="586"/>
                  <a:pt x="277" y="585"/>
                </a:cubicBezTo>
                <a:close/>
                <a:moveTo>
                  <a:pt x="269" y="556"/>
                </a:moveTo>
                <a:cubicBezTo>
                  <a:pt x="274" y="557"/>
                  <a:pt x="279" y="556"/>
                  <a:pt x="283" y="556"/>
                </a:cubicBezTo>
                <a:cubicBezTo>
                  <a:pt x="279" y="556"/>
                  <a:pt x="274" y="557"/>
                  <a:pt x="269" y="556"/>
                </a:cubicBezTo>
                <a:close/>
                <a:moveTo>
                  <a:pt x="285" y="552"/>
                </a:moveTo>
                <a:cubicBezTo>
                  <a:pt x="283" y="553"/>
                  <a:pt x="283" y="553"/>
                  <a:pt x="285" y="552"/>
                </a:cubicBezTo>
                <a:close/>
                <a:moveTo>
                  <a:pt x="286" y="577"/>
                </a:moveTo>
                <a:cubicBezTo>
                  <a:pt x="285" y="576"/>
                  <a:pt x="287" y="575"/>
                  <a:pt x="286" y="574"/>
                </a:cubicBezTo>
                <a:cubicBezTo>
                  <a:pt x="287" y="575"/>
                  <a:pt x="285" y="576"/>
                  <a:pt x="286" y="577"/>
                </a:cubicBezTo>
                <a:close/>
                <a:moveTo>
                  <a:pt x="287" y="574"/>
                </a:moveTo>
                <a:cubicBezTo>
                  <a:pt x="287" y="571"/>
                  <a:pt x="287" y="568"/>
                  <a:pt x="288" y="565"/>
                </a:cubicBezTo>
                <a:cubicBezTo>
                  <a:pt x="287" y="568"/>
                  <a:pt x="287" y="571"/>
                  <a:pt x="287" y="574"/>
                </a:cubicBezTo>
                <a:close/>
                <a:moveTo>
                  <a:pt x="286" y="557"/>
                </a:moveTo>
                <a:cubicBezTo>
                  <a:pt x="287" y="556"/>
                  <a:pt x="291" y="555"/>
                  <a:pt x="291" y="555"/>
                </a:cubicBezTo>
                <a:cubicBezTo>
                  <a:pt x="289" y="556"/>
                  <a:pt x="287" y="556"/>
                  <a:pt x="286" y="557"/>
                </a:cubicBezTo>
                <a:close/>
                <a:moveTo>
                  <a:pt x="312" y="552"/>
                </a:moveTo>
                <a:cubicBezTo>
                  <a:pt x="311" y="552"/>
                  <a:pt x="311" y="552"/>
                  <a:pt x="311" y="551"/>
                </a:cubicBezTo>
                <a:cubicBezTo>
                  <a:pt x="313" y="551"/>
                  <a:pt x="312" y="551"/>
                  <a:pt x="314" y="550"/>
                </a:cubicBezTo>
                <a:cubicBezTo>
                  <a:pt x="313" y="550"/>
                  <a:pt x="312" y="552"/>
                  <a:pt x="312" y="552"/>
                </a:cubicBezTo>
                <a:close/>
                <a:moveTo>
                  <a:pt x="326" y="543"/>
                </a:moveTo>
                <a:cubicBezTo>
                  <a:pt x="326" y="542"/>
                  <a:pt x="326" y="541"/>
                  <a:pt x="326" y="540"/>
                </a:cubicBezTo>
                <a:cubicBezTo>
                  <a:pt x="327" y="539"/>
                  <a:pt x="326" y="542"/>
                  <a:pt x="326" y="543"/>
                </a:cubicBezTo>
                <a:close/>
                <a:moveTo>
                  <a:pt x="331" y="553"/>
                </a:moveTo>
                <a:cubicBezTo>
                  <a:pt x="331" y="553"/>
                  <a:pt x="331" y="554"/>
                  <a:pt x="331" y="555"/>
                </a:cubicBezTo>
                <a:cubicBezTo>
                  <a:pt x="331" y="557"/>
                  <a:pt x="331" y="558"/>
                  <a:pt x="331" y="560"/>
                </a:cubicBezTo>
                <a:cubicBezTo>
                  <a:pt x="330" y="558"/>
                  <a:pt x="330" y="557"/>
                  <a:pt x="331" y="555"/>
                </a:cubicBezTo>
                <a:cubicBezTo>
                  <a:pt x="331" y="555"/>
                  <a:pt x="331" y="555"/>
                  <a:pt x="331" y="555"/>
                </a:cubicBezTo>
                <a:cubicBezTo>
                  <a:pt x="331" y="554"/>
                  <a:pt x="331" y="553"/>
                  <a:pt x="331" y="553"/>
                </a:cubicBezTo>
                <a:cubicBezTo>
                  <a:pt x="331" y="551"/>
                  <a:pt x="331" y="550"/>
                  <a:pt x="330" y="549"/>
                </a:cubicBezTo>
                <a:cubicBezTo>
                  <a:pt x="332" y="550"/>
                  <a:pt x="332" y="551"/>
                  <a:pt x="331" y="553"/>
                </a:cubicBezTo>
                <a:close/>
                <a:moveTo>
                  <a:pt x="355" y="566"/>
                </a:moveTo>
                <a:cubicBezTo>
                  <a:pt x="353" y="569"/>
                  <a:pt x="340" y="562"/>
                  <a:pt x="338" y="558"/>
                </a:cubicBezTo>
                <a:cubicBezTo>
                  <a:pt x="337" y="556"/>
                  <a:pt x="336" y="553"/>
                  <a:pt x="336" y="551"/>
                </a:cubicBezTo>
                <a:cubicBezTo>
                  <a:pt x="337" y="552"/>
                  <a:pt x="338" y="552"/>
                  <a:pt x="338" y="553"/>
                </a:cubicBezTo>
                <a:cubicBezTo>
                  <a:pt x="338" y="547"/>
                  <a:pt x="337" y="548"/>
                  <a:pt x="340" y="545"/>
                </a:cubicBezTo>
                <a:cubicBezTo>
                  <a:pt x="341" y="542"/>
                  <a:pt x="345" y="540"/>
                  <a:pt x="348" y="541"/>
                </a:cubicBezTo>
                <a:cubicBezTo>
                  <a:pt x="350" y="542"/>
                  <a:pt x="353" y="550"/>
                  <a:pt x="353" y="552"/>
                </a:cubicBezTo>
                <a:cubicBezTo>
                  <a:pt x="353" y="552"/>
                  <a:pt x="354" y="565"/>
                  <a:pt x="355" y="566"/>
                </a:cubicBezTo>
                <a:cubicBezTo>
                  <a:pt x="355" y="566"/>
                  <a:pt x="355" y="566"/>
                  <a:pt x="355" y="566"/>
                </a:cubicBezTo>
                <a:close/>
                <a:moveTo>
                  <a:pt x="355" y="566"/>
                </a:moveTo>
                <a:cubicBezTo>
                  <a:pt x="356" y="566"/>
                  <a:pt x="356" y="566"/>
                  <a:pt x="356" y="565"/>
                </a:cubicBezTo>
                <a:cubicBezTo>
                  <a:pt x="357" y="564"/>
                  <a:pt x="356" y="566"/>
                  <a:pt x="355" y="566"/>
                </a:cubicBezTo>
                <a:close/>
                <a:moveTo>
                  <a:pt x="360" y="528"/>
                </a:moveTo>
                <a:cubicBezTo>
                  <a:pt x="360" y="528"/>
                  <a:pt x="361" y="528"/>
                  <a:pt x="362" y="528"/>
                </a:cubicBezTo>
                <a:cubicBezTo>
                  <a:pt x="363" y="528"/>
                  <a:pt x="362" y="528"/>
                  <a:pt x="360" y="528"/>
                </a:cubicBezTo>
                <a:close/>
                <a:moveTo>
                  <a:pt x="364" y="514"/>
                </a:moveTo>
                <a:cubicBezTo>
                  <a:pt x="365" y="515"/>
                  <a:pt x="366" y="516"/>
                  <a:pt x="367" y="516"/>
                </a:cubicBezTo>
                <a:cubicBezTo>
                  <a:pt x="366" y="516"/>
                  <a:pt x="365" y="515"/>
                  <a:pt x="363" y="514"/>
                </a:cubicBezTo>
                <a:cubicBezTo>
                  <a:pt x="362" y="513"/>
                  <a:pt x="364" y="514"/>
                  <a:pt x="364" y="514"/>
                </a:cubicBezTo>
                <a:close/>
                <a:moveTo>
                  <a:pt x="353" y="513"/>
                </a:moveTo>
                <a:cubicBezTo>
                  <a:pt x="353" y="513"/>
                  <a:pt x="353" y="514"/>
                  <a:pt x="353" y="514"/>
                </a:cubicBezTo>
                <a:cubicBezTo>
                  <a:pt x="352" y="513"/>
                  <a:pt x="352" y="512"/>
                  <a:pt x="352" y="511"/>
                </a:cubicBezTo>
                <a:cubicBezTo>
                  <a:pt x="352" y="510"/>
                  <a:pt x="352" y="509"/>
                  <a:pt x="352" y="509"/>
                </a:cubicBezTo>
                <a:cubicBezTo>
                  <a:pt x="352" y="509"/>
                  <a:pt x="352" y="510"/>
                  <a:pt x="352" y="511"/>
                </a:cubicBezTo>
                <a:cubicBezTo>
                  <a:pt x="352" y="511"/>
                  <a:pt x="353" y="512"/>
                  <a:pt x="353" y="513"/>
                </a:cubicBezTo>
                <a:close/>
                <a:moveTo>
                  <a:pt x="347" y="500"/>
                </a:moveTo>
                <a:cubicBezTo>
                  <a:pt x="347" y="499"/>
                  <a:pt x="346" y="499"/>
                  <a:pt x="345" y="499"/>
                </a:cubicBezTo>
                <a:cubicBezTo>
                  <a:pt x="344" y="498"/>
                  <a:pt x="343" y="497"/>
                  <a:pt x="343" y="496"/>
                </a:cubicBezTo>
                <a:cubicBezTo>
                  <a:pt x="344" y="497"/>
                  <a:pt x="346" y="498"/>
                  <a:pt x="347" y="500"/>
                </a:cubicBezTo>
                <a:close/>
                <a:moveTo>
                  <a:pt x="347" y="523"/>
                </a:moveTo>
                <a:cubicBezTo>
                  <a:pt x="352" y="525"/>
                  <a:pt x="349" y="519"/>
                  <a:pt x="349" y="514"/>
                </a:cubicBezTo>
                <a:cubicBezTo>
                  <a:pt x="350" y="514"/>
                  <a:pt x="352" y="514"/>
                  <a:pt x="353" y="515"/>
                </a:cubicBezTo>
                <a:cubicBezTo>
                  <a:pt x="356" y="517"/>
                  <a:pt x="359" y="522"/>
                  <a:pt x="362" y="520"/>
                </a:cubicBezTo>
                <a:cubicBezTo>
                  <a:pt x="359" y="523"/>
                  <a:pt x="353" y="529"/>
                  <a:pt x="351" y="530"/>
                </a:cubicBezTo>
                <a:cubicBezTo>
                  <a:pt x="344" y="530"/>
                  <a:pt x="341" y="518"/>
                  <a:pt x="337" y="513"/>
                </a:cubicBezTo>
                <a:cubicBezTo>
                  <a:pt x="342" y="512"/>
                  <a:pt x="343" y="521"/>
                  <a:pt x="347" y="523"/>
                </a:cubicBezTo>
                <a:close/>
                <a:moveTo>
                  <a:pt x="341" y="531"/>
                </a:moveTo>
                <a:cubicBezTo>
                  <a:pt x="342" y="533"/>
                  <a:pt x="343" y="537"/>
                  <a:pt x="347" y="537"/>
                </a:cubicBezTo>
                <a:cubicBezTo>
                  <a:pt x="338" y="540"/>
                  <a:pt x="337" y="540"/>
                  <a:pt x="332" y="534"/>
                </a:cubicBezTo>
                <a:cubicBezTo>
                  <a:pt x="324" y="525"/>
                  <a:pt x="320" y="512"/>
                  <a:pt x="314" y="500"/>
                </a:cubicBezTo>
                <a:cubicBezTo>
                  <a:pt x="323" y="498"/>
                  <a:pt x="336" y="524"/>
                  <a:pt x="341" y="531"/>
                </a:cubicBezTo>
                <a:close/>
                <a:moveTo>
                  <a:pt x="293" y="461"/>
                </a:moveTo>
                <a:cubicBezTo>
                  <a:pt x="294" y="461"/>
                  <a:pt x="295" y="461"/>
                  <a:pt x="295" y="460"/>
                </a:cubicBezTo>
                <a:cubicBezTo>
                  <a:pt x="295" y="459"/>
                  <a:pt x="297" y="460"/>
                  <a:pt x="294" y="458"/>
                </a:cubicBezTo>
                <a:cubicBezTo>
                  <a:pt x="296" y="460"/>
                  <a:pt x="297" y="460"/>
                  <a:pt x="300" y="460"/>
                </a:cubicBezTo>
                <a:cubicBezTo>
                  <a:pt x="298" y="461"/>
                  <a:pt x="295" y="461"/>
                  <a:pt x="293" y="461"/>
                </a:cubicBezTo>
                <a:cubicBezTo>
                  <a:pt x="292" y="464"/>
                  <a:pt x="293" y="462"/>
                  <a:pt x="292" y="464"/>
                </a:cubicBezTo>
                <a:cubicBezTo>
                  <a:pt x="292" y="463"/>
                  <a:pt x="293" y="463"/>
                  <a:pt x="293" y="461"/>
                </a:cubicBezTo>
                <a:close/>
                <a:moveTo>
                  <a:pt x="291" y="465"/>
                </a:moveTo>
                <a:cubicBezTo>
                  <a:pt x="291" y="466"/>
                  <a:pt x="292" y="468"/>
                  <a:pt x="291" y="466"/>
                </a:cubicBezTo>
                <a:cubicBezTo>
                  <a:pt x="291" y="466"/>
                  <a:pt x="291" y="464"/>
                  <a:pt x="291" y="465"/>
                </a:cubicBezTo>
                <a:close/>
                <a:moveTo>
                  <a:pt x="246" y="506"/>
                </a:moveTo>
                <a:cubicBezTo>
                  <a:pt x="245" y="507"/>
                  <a:pt x="245" y="507"/>
                  <a:pt x="244" y="508"/>
                </a:cubicBezTo>
                <a:cubicBezTo>
                  <a:pt x="245" y="507"/>
                  <a:pt x="245" y="507"/>
                  <a:pt x="246" y="506"/>
                </a:cubicBezTo>
                <a:cubicBezTo>
                  <a:pt x="247" y="504"/>
                  <a:pt x="246" y="506"/>
                  <a:pt x="246" y="506"/>
                </a:cubicBezTo>
                <a:close/>
                <a:moveTo>
                  <a:pt x="253" y="502"/>
                </a:moveTo>
                <a:cubicBezTo>
                  <a:pt x="253" y="502"/>
                  <a:pt x="253" y="502"/>
                  <a:pt x="252" y="502"/>
                </a:cubicBezTo>
                <a:cubicBezTo>
                  <a:pt x="252" y="503"/>
                  <a:pt x="252" y="503"/>
                  <a:pt x="251" y="504"/>
                </a:cubicBezTo>
                <a:cubicBezTo>
                  <a:pt x="251" y="503"/>
                  <a:pt x="252" y="503"/>
                  <a:pt x="252" y="502"/>
                </a:cubicBezTo>
                <a:cubicBezTo>
                  <a:pt x="253" y="501"/>
                  <a:pt x="253" y="500"/>
                  <a:pt x="254" y="499"/>
                </a:cubicBezTo>
                <a:cubicBezTo>
                  <a:pt x="254" y="500"/>
                  <a:pt x="254" y="501"/>
                  <a:pt x="253" y="502"/>
                </a:cubicBezTo>
                <a:close/>
                <a:moveTo>
                  <a:pt x="253" y="499"/>
                </a:moveTo>
                <a:cubicBezTo>
                  <a:pt x="251" y="500"/>
                  <a:pt x="253" y="499"/>
                  <a:pt x="253" y="499"/>
                </a:cubicBezTo>
                <a:cubicBezTo>
                  <a:pt x="253" y="499"/>
                  <a:pt x="255" y="497"/>
                  <a:pt x="253" y="499"/>
                </a:cubicBezTo>
                <a:close/>
                <a:moveTo>
                  <a:pt x="275" y="471"/>
                </a:moveTo>
                <a:cubicBezTo>
                  <a:pt x="276" y="473"/>
                  <a:pt x="277" y="474"/>
                  <a:pt x="278" y="475"/>
                </a:cubicBezTo>
                <a:cubicBezTo>
                  <a:pt x="278" y="475"/>
                  <a:pt x="277" y="475"/>
                  <a:pt x="277" y="475"/>
                </a:cubicBezTo>
                <a:cubicBezTo>
                  <a:pt x="277" y="474"/>
                  <a:pt x="276" y="472"/>
                  <a:pt x="275" y="471"/>
                </a:cubicBezTo>
                <a:close/>
                <a:moveTo>
                  <a:pt x="278" y="506"/>
                </a:moveTo>
                <a:cubicBezTo>
                  <a:pt x="278" y="506"/>
                  <a:pt x="278" y="506"/>
                  <a:pt x="278" y="506"/>
                </a:cubicBezTo>
                <a:cubicBezTo>
                  <a:pt x="278" y="506"/>
                  <a:pt x="278" y="506"/>
                  <a:pt x="278" y="506"/>
                </a:cubicBezTo>
                <a:cubicBezTo>
                  <a:pt x="278" y="506"/>
                  <a:pt x="278" y="506"/>
                  <a:pt x="278" y="506"/>
                </a:cubicBezTo>
                <a:cubicBezTo>
                  <a:pt x="279" y="506"/>
                  <a:pt x="280" y="506"/>
                  <a:pt x="278" y="506"/>
                </a:cubicBezTo>
                <a:close/>
                <a:moveTo>
                  <a:pt x="279" y="477"/>
                </a:moveTo>
                <a:cubicBezTo>
                  <a:pt x="280" y="478"/>
                  <a:pt x="281" y="479"/>
                  <a:pt x="283" y="480"/>
                </a:cubicBezTo>
                <a:cubicBezTo>
                  <a:pt x="281" y="479"/>
                  <a:pt x="280" y="478"/>
                  <a:pt x="279" y="477"/>
                </a:cubicBezTo>
                <a:close/>
                <a:moveTo>
                  <a:pt x="274" y="445"/>
                </a:moveTo>
                <a:cubicBezTo>
                  <a:pt x="274" y="443"/>
                  <a:pt x="274" y="443"/>
                  <a:pt x="274" y="445"/>
                </a:cubicBezTo>
                <a:close/>
                <a:moveTo>
                  <a:pt x="273" y="463"/>
                </a:moveTo>
                <a:cubicBezTo>
                  <a:pt x="275" y="465"/>
                  <a:pt x="278" y="466"/>
                  <a:pt x="281" y="467"/>
                </a:cubicBezTo>
                <a:cubicBezTo>
                  <a:pt x="279" y="466"/>
                  <a:pt x="276" y="465"/>
                  <a:pt x="274" y="464"/>
                </a:cubicBezTo>
                <a:cubicBezTo>
                  <a:pt x="273" y="464"/>
                  <a:pt x="273" y="463"/>
                  <a:pt x="273" y="463"/>
                </a:cubicBezTo>
                <a:cubicBezTo>
                  <a:pt x="272" y="462"/>
                  <a:pt x="271" y="461"/>
                  <a:pt x="270" y="461"/>
                </a:cubicBezTo>
                <a:cubicBezTo>
                  <a:pt x="272" y="461"/>
                  <a:pt x="272" y="462"/>
                  <a:pt x="273" y="463"/>
                </a:cubicBezTo>
                <a:close/>
                <a:moveTo>
                  <a:pt x="270" y="520"/>
                </a:moveTo>
                <a:cubicBezTo>
                  <a:pt x="270" y="520"/>
                  <a:pt x="270" y="520"/>
                  <a:pt x="271" y="520"/>
                </a:cubicBezTo>
                <a:cubicBezTo>
                  <a:pt x="271" y="520"/>
                  <a:pt x="271" y="520"/>
                  <a:pt x="272" y="519"/>
                </a:cubicBezTo>
                <a:cubicBezTo>
                  <a:pt x="272" y="520"/>
                  <a:pt x="271" y="520"/>
                  <a:pt x="271" y="520"/>
                </a:cubicBezTo>
                <a:cubicBezTo>
                  <a:pt x="270" y="521"/>
                  <a:pt x="270" y="521"/>
                  <a:pt x="269" y="521"/>
                </a:cubicBezTo>
                <a:cubicBezTo>
                  <a:pt x="268" y="522"/>
                  <a:pt x="270" y="520"/>
                  <a:pt x="270" y="520"/>
                </a:cubicBezTo>
                <a:close/>
                <a:moveTo>
                  <a:pt x="268" y="487"/>
                </a:moveTo>
                <a:cubicBezTo>
                  <a:pt x="267" y="488"/>
                  <a:pt x="265" y="488"/>
                  <a:pt x="265" y="490"/>
                </a:cubicBezTo>
                <a:cubicBezTo>
                  <a:pt x="265" y="488"/>
                  <a:pt x="267" y="488"/>
                  <a:pt x="268" y="487"/>
                </a:cubicBezTo>
                <a:close/>
                <a:moveTo>
                  <a:pt x="258" y="519"/>
                </a:moveTo>
                <a:cubicBezTo>
                  <a:pt x="260" y="519"/>
                  <a:pt x="261" y="518"/>
                  <a:pt x="264" y="518"/>
                </a:cubicBezTo>
                <a:cubicBezTo>
                  <a:pt x="261" y="518"/>
                  <a:pt x="257" y="520"/>
                  <a:pt x="258" y="519"/>
                </a:cubicBezTo>
                <a:close/>
                <a:moveTo>
                  <a:pt x="258" y="517"/>
                </a:moveTo>
                <a:cubicBezTo>
                  <a:pt x="257" y="519"/>
                  <a:pt x="257" y="519"/>
                  <a:pt x="258" y="517"/>
                </a:cubicBezTo>
                <a:close/>
                <a:moveTo>
                  <a:pt x="253" y="482"/>
                </a:moveTo>
                <a:cubicBezTo>
                  <a:pt x="254" y="480"/>
                  <a:pt x="254" y="481"/>
                  <a:pt x="254" y="481"/>
                </a:cubicBezTo>
                <a:cubicBezTo>
                  <a:pt x="254" y="481"/>
                  <a:pt x="254" y="481"/>
                  <a:pt x="254" y="481"/>
                </a:cubicBezTo>
                <a:cubicBezTo>
                  <a:pt x="254" y="482"/>
                  <a:pt x="254" y="481"/>
                  <a:pt x="254" y="481"/>
                </a:cubicBezTo>
                <a:cubicBezTo>
                  <a:pt x="254" y="480"/>
                  <a:pt x="252" y="484"/>
                  <a:pt x="253" y="482"/>
                </a:cubicBezTo>
                <a:close/>
                <a:moveTo>
                  <a:pt x="258" y="485"/>
                </a:moveTo>
                <a:cubicBezTo>
                  <a:pt x="256" y="487"/>
                  <a:pt x="253" y="490"/>
                  <a:pt x="250" y="491"/>
                </a:cubicBezTo>
                <a:cubicBezTo>
                  <a:pt x="253" y="489"/>
                  <a:pt x="256" y="487"/>
                  <a:pt x="258" y="485"/>
                </a:cubicBezTo>
                <a:close/>
                <a:moveTo>
                  <a:pt x="245" y="492"/>
                </a:moveTo>
                <a:cubicBezTo>
                  <a:pt x="246" y="494"/>
                  <a:pt x="247" y="494"/>
                  <a:pt x="249" y="495"/>
                </a:cubicBezTo>
                <a:cubicBezTo>
                  <a:pt x="248" y="494"/>
                  <a:pt x="247" y="494"/>
                  <a:pt x="246" y="494"/>
                </a:cubicBezTo>
                <a:cubicBezTo>
                  <a:pt x="245" y="493"/>
                  <a:pt x="245" y="493"/>
                  <a:pt x="245" y="492"/>
                </a:cubicBezTo>
                <a:cubicBezTo>
                  <a:pt x="245" y="492"/>
                  <a:pt x="244" y="492"/>
                  <a:pt x="244" y="491"/>
                </a:cubicBezTo>
                <a:cubicBezTo>
                  <a:pt x="245" y="491"/>
                  <a:pt x="245" y="492"/>
                  <a:pt x="245" y="492"/>
                </a:cubicBezTo>
                <a:close/>
                <a:moveTo>
                  <a:pt x="243" y="509"/>
                </a:moveTo>
                <a:cubicBezTo>
                  <a:pt x="243" y="511"/>
                  <a:pt x="243" y="511"/>
                  <a:pt x="242" y="512"/>
                </a:cubicBezTo>
                <a:cubicBezTo>
                  <a:pt x="243" y="510"/>
                  <a:pt x="243" y="508"/>
                  <a:pt x="243" y="509"/>
                </a:cubicBezTo>
                <a:close/>
                <a:moveTo>
                  <a:pt x="232" y="490"/>
                </a:moveTo>
                <a:cubicBezTo>
                  <a:pt x="232" y="488"/>
                  <a:pt x="232" y="488"/>
                  <a:pt x="232" y="490"/>
                </a:cubicBezTo>
                <a:close/>
                <a:moveTo>
                  <a:pt x="212" y="373"/>
                </a:moveTo>
                <a:cubicBezTo>
                  <a:pt x="213" y="372"/>
                  <a:pt x="213" y="372"/>
                  <a:pt x="212" y="373"/>
                </a:cubicBezTo>
                <a:close/>
                <a:moveTo>
                  <a:pt x="212" y="363"/>
                </a:moveTo>
                <a:cubicBezTo>
                  <a:pt x="212" y="363"/>
                  <a:pt x="212" y="362"/>
                  <a:pt x="211" y="362"/>
                </a:cubicBezTo>
                <a:cubicBezTo>
                  <a:pt x="211" y="361"/>
                  <a:pt x="211" y="360"/>
                  <a:pt x="210" y="360"/>
                </a:cubicBezTo>
                <a:cubicBezTo>
                  <a:pt x="211" y="361"/>
                  <a:pt x="211" y="362"/>
                  <a:pt x="212" y="363"/>
                </a:cubicBezTo>
                <a:cubicBezTo>
                  <a:pt x="213" y="364"/>
                  <a:pt x="214" y="364"/>
                  <a:pt x="213" y="366"/>
                </a:cubicBezTo>
                <a:cubicBezTo>
                  <a:pt x="213" y="365"/>
                  <a:pt x="212" y="364"/>
                  <a:pt x="212" y="363"/>
                </a:cubicBezTo>
                <a:close/>
                <a:moveTo>
                  <a:pt x="211" y="346"/>
                </a:moveTo>
                <a:cubicBezTo>
                  <a:pt x="209" y="344"/>
                  <a:pt x="208" y="342"/>
                  <a:pt x="206" y="340"/>
                </a:cubicBezTo>
                <a:cubicBezTo>
                  <a:pt x="208" y="342"/>
                  <a:pt x="209" y="344"/>
                  <a:pt x="211" y="346"/>
                </a:cubicBezTo>
                <a:close/>
                <a:moveTo>
                  <a:pt x="265" y="396"/>
                </a:moveTo>
                <a:cubicBezTo>
                  <a:pt x="265" y="397"/>
                  <a:pt x="265" y="398"/>
                  <a:pt x="265" y="396"/>
                </a:cubicBezTo>
                <a:close/>
                <a:moveTo>
                  <a:pt x="275" y="406"/>
                </a:moveTo>
                <a:cubicBezTo>
                  <a:pt x="275" y="406"/>
                  <a:pt x="275" y="406"/>
                  <a:pt x="275" y="406"/>
                </a:cubicBezTo>
                <a:cubicBezTo>
                  <a:pt x="275" y="406"/>
                  <a:pt x="275" y="406"/>
                  <a:pt x="275" y="407"/>
                </a:cubicBezTo>
                <a:cubicBezTo>
                  <a:pt x="276" y="409"/>
                  <a:pt x="276" y="413"/>
                  <a:pt x="276" y="416"/>
                </a:cubicBezTo>
                <a:cubicBezTo>
                  <a:pt x="271" y="417"/>
                  <a:pt x="272" y="410"/>
                  <a:pt x="275" y="407"/>
                </a:cubicBezTo>
                <a:cubicBezTo>
                  <a:pt x="275" y="406"/>
                  <a:pt x="275" y="406"/>
                  <a:pt x="275" y="406"/>
                </a:cubicBezTo>
                <a:cubicBezTo>
                  <a:pt x="271" y="405"/>
                  <a:pt x="268" y="402"/>
                  <a:pt x="266" y="399"/>
                </a:cubicBezTo>
                <a:cubicBezTo>
                  <a:pt x="269" y="400"/>
                  <a:pt x="269" y="400"/>
                  <a:pt x="271" y="402"/>
                </a:cubicBezTo>
                <a:cubicBezTo>
                  <a:pt x="271" y="402"/>
                  <a:pt x="272" y="402"/>
                  <a:pt x="272" y="401"/>
                </a:cubicBezTo>
                <a:cubicBezTo>
                  <a:pt x="272" y="401"/>
                  <a:pt x="272" y="401"/>
                  <a:pt x="272" y="401"/>
                </a:cubicBezTo>
                <a:cubicBezTo>
                  <a:pt x="272" y="401"/>
                  <a:pt x="272" y="401"/>
                  <a:pt x="272" y="401"/>
                </a:cubicBezTo>
                <a:cubicBezTo>
                  <a:pt x="273" y="403"/>
                  <a:pt x="273" y="403"/>
                  <a:pt x="276" y="404"/>
                </a:cubicBezTo>
                <a:cubicBezTo>
                  <a:pt x="275" y="404"/>
                  <a:pt x="274" y="404"/>
                  <a:pt x="273" y="403"/>
                </a:cubicBezTo>
                <a:cubicBezTo>
                  <a:pt x="274" y="404"/>
                  <a:pt x="274" y="405"/>
                  <a:pt x="275" y="406"/>
                </a:cubicBezTo>
                <a:close/>
                <a:moveTo>
                  <a:pt x="453" y="450"/>
                </a:moveTo>
                <a:cubicBezTo>
                  <a:pt x="453" y="451"/>
                  <a:pt x="453" y="454"/>
                  <a:pt x="453" y="454"/>
                </a:cubicBezTo>
                <a:cubicBezTo>
                  <a:pt x="453" y="454"/>
                  <a:pt x="453" y="451"/>
                  <a:pt x="453" y="450"/>
                </a:cubicBezTo>
                <a:close/>
                <a:moveTo>
                  <a:pt x="452" y="463"/>
                </a:moveTo>
                <a:cubicBezTo>
                  <a:pt x="447" y="463"/>
                  <a:pt x="446" y="459"/>
                  <a:pt x="445" y="456"/>
                </a:cubicBezTo>
                <a:cubicBezTo>
                  <a:pt x="445" y="456"/>
                  <a:pt x="446" y="455"/>
                  <a:pt x="445" y="455"/>
                </a:cubicBezTo>
                <a:cubicBezTo>
                  <a:pt x="448" y="457"/>
                  <a:pt x="450" y="460"/>
                  <a:pt x="452" y="463"/>
                </a:cubicBezTo>
                <a:close/>
                <a:moveTo>
                  <a:pt x="445" y="455"/>
                </a:moveTo>
                <a:cubicBezTo>
                  <a:pt x="442" y="454"/>
                  <a:pt x="445" y="455"/>
                  <a:pt x="445" y="455"/>
                </a:cubicBezTo>
                <a:close/>
                <a:moveTo>
                  <a:pt x="476" y="367"/>
                </a:moveTo>
                <a:cubicBezTo>
                  <a:pt x="477" y="365"/>
                  <a:pt x="475" y="368"/>
                  <a:pt x="475" y="368"/>
                </a:cubicBezTo>
                <a:cubicBezTo>
                  <a:pt x="473" y="369"/>
                  <a:pt x="471" y="370"/>
                  <a:pt x="469" y="372"/>
                </a:cubicBezTo>
                <a:cubicBezTo>
                  <a:pt x="471" y="370"/>
                  <a:pt x="474" y="369"/>
                  <a:pt x="476" y="367"/>
                </a:cubicBezTo>
                <a:close/>
                <a:moveTo>
                  <a:pt x="463" y="377"/>
                </a:moveTo>
                <a:cubicBezTo>
                  <a:pt x="464" y="376"/>
                  <a:pt x="462" y="377"/>
                  <a:pt x="462" y="377"/>
                </a:cubicBezTo>
                <a:cubicBezTo>
                  <a:pt x="461" y="379"/>
                  <a:pt x="460" y="380"/>
                  <a:pt x="460" y="381"/>
                </a:cubicBezTo>
                <a:cubicBezTo>
                  <a:pt x="461" y="380"/>
                  <a:pt x="461" y="377"/>
                  <a:pt x="463" y="377"/>
                </a:cubicBezTo>
                <a:close/>
                <a:moveTo>
                  <a:pt x="453" y="372"/>
                </a:moveTo>
                <a:cubicBezTo>
                  <a:pt x="452" y="374"/>
                  <a:pt x="451" y="376"/>
                  <a:pt x="450" y="377"/>
                </a:cubicBezTo>
                <a:cubicBezTo>
                  <a:pt x="448" y="379"/>
                  <a:pt x="447" y="380"/>
                  <a:pt x="446" y="381"/>
                </a:cubicBezTo>
                <a:cubicBezTo>
                  <a:pt x="449" y="379"/>
                  <a:pt x="451" y="376"/>
                  <a:pt x="453" y="372"/>
                </a:cubicBezTo>
                <a:close/>
                <a:moveTo>
                  <a:pt x="444" y="387"/>
                </a:moveTo>
                <a:cubicBezTo>
                  <a:pt x="443" y="388"/>
                  <a:pt x="442" y="392"/>
                  <a:pt x="442" y="392"/>
                </a:cubicBezTo>
                <a:cubicBezTo>
                  <a:pt x="443" y="390"/>
                  <a:pt x="443" y="389"/>
                  <a:pt x="444" y="387"/>
                </a:cubicBezTo>
                <a:close/>
                <a:moveTo>
                  <a:pt x="438" y="356"/>
                </a:moveTo>
                <a:cubicBezTo>
                  <a:pt x="437" y="356"/>
                  <a:pt x="436" y="357"/>
                  <a:pt x="435" y="357"/>
                </a:cubicBezTo>
                <a:cubicBezTo>
                  <a:pt x="436" y="356"/>
                  <a:pt x="437" y="356"/>
                  <a:pt x="438" y="356"/>
                </a:cubicBezTo>
                <a:close/>
                <a:moveTo>
                  <a:pt x="412" y="361"/>
                </a:moveTo>
                <a:cubicBezTo>
                  <a:pt x="413" y="361"/>
                  <a:pt x="414" y="362"/>
                  <a:pt x="415" y="362"/>
                </a:cubicBezTo>
                <a:cubicBezTo>
                  <a:pt x="416" y="363"/>
                  <a:pt x="416" y="363"/>
                  <a:pt x="416" y="364"/>
                </a:cubicBezTo>
                <a:cubicBezTo>
                  <a:pt x="415" y="363"/>
                  <a:pt x="414" y="362"/>
                  <a:pt x="412" y="361"/>
                </a:cubicBezTo>
                <a:close/>
                <a:moveTo>
                  <a:pt x="416" y="338"/>
                </a:moveTo>
                <a:cubicBezTo>
                  <a:pt x="412" y="339"/>
                  <a:pt x="411" y="346"/>
                  <a:pt x="409" y="350"/>
                </a:cubicBezTo>
                <a:cubicBezTo>
                  <a:pt x="411" y="346"/>
                  <a:pt x="412" y="339"/>
                  <a:pt x="416" y="338"/>
                </a:cubicBezTo>
                <a:close/>
                <a:moveTo>
                  <a:pt x="404" y="332"/>
                </a:moveTo>
                <a:cubicBezTo>
                  <a:pt x="406" y="331"/>
                  <a:pt x="406" y="331"/>
                  <a:pt x="404" y="332"/>
                </a:cubicBezTo>
                <a:close/>
                <a:moveTo>
                  <a:pt x="401" y="329"/>
                </a:moveTo>
                <a:cubicBezTo>
                  <a:pt x="401" y="329"/>
                  <a:pt x="401" y="330"/>
                  <a:pt x="401" y="330"/>
                </a:cubicBezTo>
                <a:cubicBezTo>
                  <a:pt x="401" y="330"/>
                  <a:pt x="400" y="330"/>
                  <a:pt x="399" y="330"/>
                </a:cubicBezTo>
                <a:cubicBezTo>
                  <a:pt x="400" y="330"/>
                  <a:pt x="401" y="329"/>
                  <a:pt x="401" y="329"/>
                </a:cubicBezTo>
                <a:close/>
                <a:moveTo>
                  <a:pt x="388" y="353"/>
                </a:moveTo>
                <a:cubicBezTo>
                  <a:pt x="389" y="353"/>
                  <a:pt x="389" y="352"/>
                  <a:pt x="389" y="352"/>
                </a:cubicBezTo>
                <a:cubicBezTo>
                  <a:pt x="390" y="352"/>
                  <a:pt x="390" y="352"/>
                  <a:pt x="391" y="352"/>
                </a:cubicBezTo>
                <a:cubicBezTo>
                  <a:pt x="390" y="352"/>
                  <a:pt x="389" y="352"/>
                  <a:pt x="388" y="353"/>
                </a:cubicBezTo>
                <a:cubicBezTo>
                  <a:pt x="388" y="354"/>
                  <a:pt x="388" y="355"/>
                  <a:pt x="386" y="356"/>
                </a:cubicBezTo>
                <a:cubicBezTo>
                  <a:pt x="387" y="355"/>
                  <a:pt x="387" y="354"/>
                  <a:pt x="388" y="353"/>
                </a:cubicBezTo>
                <a:close/>
                <a:moveTo>
                  <a:pt x="383" y="339"/>
                </a:moveTo>
                <a:cubicBezTo>
                  <a:pt x="384" y="340"/>
                  <a:pt x="384" y="340"/>
                  <a:pt x="385" y="340"/>
                </a:cubicBezTo>
                <a:cubicBezTo>
                  <a:pt x="385" y="341"/>
                  <a:pt x="385" y="342"/>
                  <a:pt x="385" y="343"/>
                </a:cubicBezTo>
                <a:cubicBezTo>
                  <a:pt x="385" y="344"/>
                  <a:pt x="386" y="346"/>
                  <a:pt x="386" y="347"/>
                </a:cubicBezTo>
                <a:cubicBezTo>
                  <a:pt x="385" y="346"/>
                  <a:pt x="385" y="344"/>
                  <a:pt x="385" y="343"/>
                </a:cubicBezTo>
                <a:cubicBezTo>
                  <a:pt x="385" y="342"/>
                  <a:pt x="384" y="340"/>
                  <a:pt x="383" y="339"/>
                </a:cubicBezTo>
                <a:cubicBezTo>
                  <a:pt x="383" y="339"/>
                  <a:pt x="382" y="338"/>
                  <a:pt x="381" y="337"/>
                </a:cubicBezTo>
                <a:cubicBezTo>
                  <a:pt x="382" y="337"/>
                  <a:pt x="383" y="338"/>
                  <a:pt x="383" y="339"/>
                </a:cubicBezTo>
                <a:close/>
                <a:moveTo>
                  <a:pt x="362" y="405"/>
                </a:moveTo>
                <a:cubicBezTo>
                  <a:pt x="362" y="404"/>
                  <a:pt x="362" y="406"/>
                  <a:pt x="362" y="406"/>
                </a:cubicBezTo>
                <a:cubicBezTo>
                  <a:pt x="363" y="407"/>
                  <a:pt x="362" y="405"/>
                  <a:pt x="362" y="405"/>
                </a:cubicBezTo>
                <a:close/>
                <a:moveTo>
                  <a:pt x="334" y="361"/>
                </a:moveTo>
                <a:cubicBezTo>
                  <a:pt x="336" y="362"/>
                  <a:pt x="337" y="362"/>
                  <a:pt x="340" y="361"/>
                </a:cubicBezTo>
                <a:cubicBezTo>
                  <a:pt x="336" y="353"/>
                  <a:pt x="327" y="358"/>
                  <a:pt x="332" y="346"/>
                </a:cubicBezTo>
                <a:cubicBezTo>
                  <a:pt x="343" y="350"/>
                  <a:pt x="359" y="362"/>
                  <a:pt x="369" y="362"/>
                </a:cubicBezTo>
                <a:cubicBezTo>
                  <a:pt x="365" y="368"/>
                  <a:pt x="358" y="362"/>
                  <a:pt x="355" y="370"/>
                </a:cubicBezTo>
                <a:cubicBezTo>
                  <a:pt x="353" y="379"/>
                  <a:pt x="356" y="383"/>
                  <a:pt x="348" y="375"/>
                </a:cubicBezTo>
                <a:cubicBezTo>
                  <a:pt x="345" y="378"/>
                  <a:pt x="342" y="380"/>
                  <a:pt x="340" y="383"/>
                </a:cubicBezTo>
                <a:cubicBezTo>
                  <a:pt x="336" y="379"/>
                  <a:pt x="326" y="378"/>
                  <a:pt x="324" y="374"/>
                </a:cubicBezTo>
                <a:cubicBezTo>
                  <a:pt x="327" y="372"/>
                  <a:pt x="334" y="374"/>
                  <a:pt x="331" y="371"/>
                </a:cubicBezTo>
                <a:cubicBezTo>
                  <a:pt x="333" y="373"/>
                  <a:pt x="337" y="376"/>
                  <a:pt x="337" y="372"/>
                </a:cubicBezTo>
                <a:cubicBezTo>
                  <a:pt x="338" y="369"/>
                  <a:pt x="333" y="371"/>
                  <a:pt x="332" y="370"/>
                </a:cubicBezTo>
                <a:cubicBezTo>
                  <a:pt x="330" y="367"/>
                  <a:pt x="328" y="365"/>
                  <a:pt x="328" y="361"/>
                </a:cubicBezTo>
                <a:cubicBezTo>
                  <a:pt x="332" y="366"/>
                  <a:pt x="339" y="366"/>
                  <a:pt x="334" y="361"/>
                </a:cubicBezTo>
                <a:close/>
                <a:moveTo>
                  <a:pt x="326" y="369"/>
                </a:moveTo>
                <a:cubicBezTo>
                  <a:pt x="328" y="368"/>
                  <a:pt x="328" y="369"/>
                  <a:pt x="329" y="369"/>
                </a:cubicBezTo>
                <a:cubicBezTo>
                  <a:pt x="327" y="369"/>
                  <a:pt x="327" y="370"/>
                  <a:pt x="326" y="369"/>
                </a:cubicBezTo>
                <a:cubicBezTo>
                  <a:pt x="326" y="367"/>
                  <a:pt x="326" y="367"/>
                  <a:pt x="326" y="369"/>
                </a:cubicBezTo>
                <a:close/>
                <a:moveTo>
                  <a:pt x="326" y="372"/>
                </a:moveTo>
                <a:cubicBezTo>
                  <a:pt x="326" y="372"/>
                  <a:pt x="326" y="372"/>
                  <a:pt x="325" y="372"/>
                </a:cubicBezTo>
                <a:cubicBezTo>
                  <a:pt x="325" y="372"/>
                  <a:pt x="325" y="372"/>
                  <a:pt x="325" y="372"/>
                </a:cubicBezTo>
                <a:cubicBezTo>
                  <a:pt x="324" y="373"/>
                  <a:pt x="325" y="372"/>
                  <a:pt x="325" y="372"/>
                </a:cubicBezTo>
                <a:cubicBezTo>
                  <a:pt x="324" y="371"/>
                  <a:pt x="323" y="370"/>
                  <a:pt x="322" y="369"/>
                </a:cubicBezTo>
                <a:cubicBezTo>
                  <a:pt x="325" y="369"/>
                  <a:pt x="325" y="370"/>
                  <a:pt x="326" y="372"/>
                </a:cubicBezTo>
                <a:close/>
                <a:moveTo>
                  <a:pt x="280" y="384"/>
                </a:moveTo>
                <a:cubicBezTo>
                  <a:pt x="278" y="384"/>
                  <a:pt x="278" y="384"/>
                  <a:pt x="280" y="384"/>
                </a:cubicBezTo>
                <a:close/>
                <a:moveTo>
                  <a:pt x="282" y="396"/>
                </a:moveTo>
                <a:cubicBezTo>
                  <a:pt x="281" y="396"/>
                  <a:pt x="281" y="395"/>
                  <a:pt x="281" y="394"/>
                </a:cubicBezTo>
                <a:cubicBezTo>
                  <a:pt x="282" y="395"/>
                  <a:pt x="282" y="395"/>
                  <a:pt x="283" y="396"/>
                </a:cubicBezTo>
                <a:cubicBezTo>
                  <a:pt x="284" y="398"/>
                  <a:pt x="282" y="395"/>
                  <a:pt x="282" y="396"/>
                </a:cubicBezTo>
                <a:close/>
                <a:moveTo>
                  <a:pt x="285" y="395"/>
                </a:moveTo>
                <a:cubicBezTo>
                  <a:pt x="287" y="394"/>
                  <a:pt x="287" y="395"/>
                  <a:pt x="287" y="395"/>
                </a:cubicBezTo>
                <a:cubicBezTo>
                  <a:pt x="286" y="395"/>
                  <a:pt x="286" y="395"/>
                  <a:pt x="285" y="395"/>
                </a:cubicBezTo>
                <a:close/>
                <a:moveTo>
                  <a:pt x="292" y="401"/>
                </a:moveTo>
                <a:cubicBezTo>
                  <a:pt x="293" y="401"/>
                  <a:pt x="293" y="401"/>
                  <a:pt x="293" y="402"/>
                </a:cubicBezTo>
                <a:cubicBezTo>
                  <a:pt x="293" y="401"/>
                  <a:pt x="293" y="401"/>
                  <a:pt x="292" y="401"/>
                </a:cubicBezTo>
                <a:close/>
                <a:moveTo>
                  <a:pt x="294" y="400"/>
                </a:moveTo>
                <a:cubicBezTo>
                  <a:pt x="296" y="400"/>
                  <a:pt x="296" y="400"/>
                  <a:pt x="294" y="400"/>
                </a:cubicBezTo>
                <a:close/>
                <a:moveTo>
                  <a:pt x="296" y="384"/>
                </a:moveTo>
                <a:cubicBezTo>
                  <a:pt x="294" y="383"/>
                  <a:pt x="297" y="385"/>
                  <a:pt x="297" y="385"/>
                </a:cubicBezTo>
                <a:cubicBezTo>
                  <a:pt x="298" y="386"/>
                  <a:pt x="299" y="386"/>
                  <a:pt x="300" y="388"/>
                </a:cubicBezTo>
                <a:cubicBezTo>
                  <a:pt x="298" y="386"/>
                  <a:pt x="298" y="386"/>
                  <a:pt x="296" y="384"/>
                </a:cubicBezTo>
                <a:close/>
                <a:moveTo>
                  <a:pt x="297" y="384"/>
                </a:moveTo>
                <a:cubicBezTo>
                  <a:pt x="297" y="384"/>
                  <a:pt x="298" y="385"/>
                  <a:pt x="298" y="385"/>
                </a:cubicBezTo>
                <a:cubicBezTo>
                  <a:pt x="298" y="384"/>
                  <a:pt x="298" y="384"/>
                  <a:pt x="298" y="384"/>
                </a:cubicBezTo>
                <a:cubicBezTo>
                  <a:pt x="298" y="384"/>
                  <a:pt x="299" y="385"/>
                  <a:pt x="298" y="385"/>
                </a:cubicBezTo>
                <a:cubicBezTo>
                  <a:pt x="297" y="385"/>
                  <a:pt x="297" y="385"/>
                  <a:pt x="297" y="384"/>
                </a:cubicBezTo>
                <a:close/>
                <a:moveTo>
                  <a:pt x="301" y="401"/>
                </a:moveTo>
                <a:cubicBezTo>
                  <a:pt x="300" y="400"/>
                  <a:pt x="301" y="401"/>
                  <a:pt x="301" y="400"/>
                </a:cubicBezTo>
                <a:cubicBezTo>
                  <a:pt x="301" y="401"/>
                  <a:pt x="303" y="400"/>
                  <a:pt x="301" y="401"/>
                </a:cubicBezTo>
                <a:close/>
                <a:moveTo>
                  <a:pt x="301" y="376"/>
                </a:moveTo>
                <a:cubicBezTo>
                  <a:pt x="301" y="377"/>
                  <a:pt x="301" y="378"/>
                  <a:pt x="302" y="378"/>
                </a:cubicBezTo>
                <a:cubicBezTo>
                  <a:pt x="301" y="378"/>
                  <a:pt x="301" y="377"/>
                  <a:pt x="301" y="376"/>
                </a:cubicBezTo>
                <a:close/>
                <a:moveTo>
                  <a:pt x="303" y="402"/>
                </a:moveTo>
                <a:cubicBezTo>
                  <a:pt x="303" y="402"/>
                  <a:pt x="302" y="402"/>
                  <a:pt x="302" y="400"/>
                </a:cubicBezTo>
                <a:cubicBezTo>
                  <a:pt x="302" y="401"/>
                  <a:pt x="303" y="402"/>
                  <a:pt x="303" y="402"/>
                </a:cubicBezTo>
                <a:cubicBezTo>
                  <a:pt x="304" y="402"/>
                  <a:pt x="305" y="402"/>
                  <a:pt x="305" y="403"/>
                </a:cubicBezTo>
                <a:cubicBezTo>
                  <a:pt x="306" y="405"/>
                  <a:pt x="305" y="404"/>
                  <a:pt x="303" y="402"/>
                </a:cubicBezTo>
                <a:close/>
                <a:moveTo>
                  <a:pt x="300" y="324"/>
                </a:moveTo>
                <a:cubicBezTo>
                  <a:pt x="297" y="326"/>
                  <a:pt x="314" y="337"/>
                  <a:pt x="318" y="339"/>
                </a:cubicBezTo>
                <a:cubicBezTo>
                  <a:pt x="319" y="342"/>
                  <a:pt x="320" y="347"/>
                  <a:pt x="315" y="348"/>
                </a:cubicBezTo>
                <a:cubicBezTo>
                  <a:pt x="315" y="348"/>
                  <a:pt x="306" y="342"/>
                  <a:pt x="305" y="342"/>
                </a:cubicBezTo>
                <a:cubicBezTo>
                  <a:pt x="299" y="338"/>
                  <a:pt x="294" y="335"/>
                  <a:pt x="290" y="328"/>
                </a:cubicBezTo>
                <a:cubicBezTo>
                  <a:pt x="294" y="327"/>
                  <a:pt x="298" y="325"/>
                  <a:pt x="300" y="324"/>
                </a:cubicBezTo>
                <a:close/>
                <a:moveTo>
                  <a:pt x="285" y="327"/>
                </a:moveTo>
                <a:cubicBezTo>
                  <a:pt x="286" y="340"/>
                  <a:pt x="311" y="350"/>
                  <a:pt x="309" y="364"/>
                </a:cubicBezTo>
                <a:cubicBezTo>
                  <a:pt x="306" y="368"/>
                  <a:pt x="302" y="370"/>
                  <a:pt x="297" y="368"/>
                </a:cubicBezTo>
                <a:cubicBezTo>
                  <a:pt x="298" y="370"/>
                  <a:pt x="299" y="371"/>
                  <a:pt x="300" y="373"/>
                </a:cubicBezTo>
                <a:cubicBezTo>
                  <a:pt x="299" y="372"/>
                  <a:pt x="298" y="370"/>
                  <a:pt x="297" y="368"/>
                </a:cubicBezTo>
                <a:cubicBezTo>
                  <a:pt x="297" y="368"/>
                  <a:pt x="297" y="368"/>
                  <a:pt x="297" y="368"/>
                </a:cubicBezTo>
                <a:cubicBezTo>
                  <a:pt x="294" y="363"/>
                  <a:pt x="290" y="359"/>
                  <a:pt x="288" y="352"/>
                </a:cubicBezTo>
                <a:cubicBezTo>
                  <a:pt x="286" y="348"/>
                  <a:pt x="282" y="341"/>
                  <a:pt x="282" y="336"/>
                </a:cubicBezTo>
                <a:cubicBezTo>
                  <a:pt x="282" y="333"/>
                  <a:pt x="287" y="332"/>
                  <a:pt x="285" y="327"/>
                </a:cubicBezTo>
                <a:close/>
                <a:moveTo>
                  <a:pt x="283" y="351"/>
                </a:moveTo>
                <a:cubicBezTo>
                  <a:pt x="286" y="358"/>
                  <a:pt x="288" y="373"/>
                  <a:pt x="294" y="377"/>
                </a:cubicBezTo>
                <a:cubicBezTo>
                  <a:pt x="294" y="375"/>
                  <a:pt x="294" y="374"/>
                  <a:pt x="294" y="372"/>
                </a:cubicBezTo>
                <a:cubicBezTo>
                  <a:pt x="294" y="371"/>
                  <a:pt x="294" y="370"/>
                  <a:pt x="295" y="369"/>
                </a:cubicBezTo>
                <a:cubicBezTo>
                  <a:pt x="294" y="370"/>
                  <a:pt x="294" y="371"/>
                  <a:pt x="294" y="372"/>
                </a:cubicBezTo>
                <a:cubicBezTo>
                  <a:pt x="294" y="373"/>
                  <a:pt x="295" y="374"/>
                  <a:pt x="296" y="374"/>
                </a:cubicBezTo>
                <a:cubicBezTo>
                  <a:pt x="296" y="374"/>
                  <a:pt x="297" y="374"/>
                  <a:pt x="299" y="375"/>
                </a:cubicBezTo>
                <a:cubicBezTo>
                  <a:pt x="298" y="375"/>
                  <a:pt x="297" y="375"/>
                  <a:pt x="296" y="374"/>
                </a:cubicBezTo>
                <a:cubicBezTo>
                  <a:pt x="294" y="375"/>
                  <a:pt x="295" y="380"/>
                  <a:pt x="293" y="382"/>
                </a:cubicBezTo>
                <a:cubicBezTo>
                  <a:pt x="291" y="385"/>
                  <a:pt x="291" y="397"/>
                  <a:pt x="286" y="389"/>
                </a:cubicBezTo>
                <a:cubicBezTo>
                  <a:pt x="283" y="384"/>
                  <a:pt x="287" y="385"/>
                  <a:pt x="287" y="381"/>
                </a:cubicBezTo>
                <a:cubicBezTo>
                  <a:pt x="287" y="379"/>
                  <a:pt x="285" y="374"/>
                  <a:pt x="284" y="371"/>
                </a:cubicBezTo>
                <a:cubicBezTo>
                  <a:pt x="281" y="357"/>
                  <a:pt x="279" y="344"/>
                  <a:pt x="276" y="331"/>
                </a:cubicBezTo>
                <a:cubicBezTo>
                  <a:pt x="279" y="337"/>
                  <a:pt x="281" y="344"/>
                  <a:pt x="283" y="351"/>
                </a:cubicBezTo>
                <a:close/>
                <a:moveTo>
                  <a:pt x="277" y="248"/>
                </a:moveTo>
                <a:cubicBezTo>
                  <a:pt x="278" y="248"/>
                  <a:pt x="279" y="249"/>
                  <a:pt x="280" y="249"/>
                </a:cubicBezTo>
                <a:cubicBezTo>
                  <a:pt x="282" y="250"/>
                  <a:pt x="279" y="249"/>
                  <a:pt x="277" y="248"/>
                </a:cubicBezTo>
                <a:cubicBezTo>
                  <a:pt x="275" y="247"/>
                  <a:pt x="274" y="246"/>
                  <a:pt x="273" y="246"/>
                </a:cubicBezTo>
                <a:cubicBezTo>
                  <a:pt x="274" y="246"/>
                  <a:pt x="275" y="247"/>
                  <a:pt x="277" y="248"/>
                </a:cubicBezTo>
                <a:close/>
                <a:moveTo>
                  <a:pt x="272" y="252"/>
                </a:moveTo>
                <a:cubicBezTo>
                  <a:pt x="272" y="254"/>
                  <a:pt x="273" y="255"/>
                  <a:pt x="273" y="256"/>
                </a:cubicBezTo>
                <a:cubicBezTo>
                  <a:pt x="273" y="256"/>
                  <a:pt x="273" y="256"/>
                  <a:pt x="273" y="256"/>
                </a:cubicBezTo>
                <a:cubicBezTo>
                  <a:pt x="273" y="257"/>
                  <a:pt x="274" y="257"/>
                  <a:pt x="274" y="258"/>
                </a:cubicBezTo>
                <a:cubicBezTo>
                  <a:pt x="273" y="257"/>
                  <a:pt x="273" y="257"/>
                  <a:pt x="273" y="256"/>
                </a:cubicBezTo>
                <a:cubicBezTo>
                  <a:pt x="272" y="255"/>
                  <a:pt x="271" y="254"/>
                  <a:pt x="272" y="252"/>
                </a:cubicBezTo>
                <a:close/>
                <a:moveTo>
                  <a:pt x="262" y="269"/>
                </a:moveTo>
                <a:cubicBezTo>
                  <a:pt x="260" y="266"/>
                  <a:pt x="257" y="266"/>
                  <a:pt x="253" y="266"/>
                </a:cubicBezTo>
                <a:cubicBezTo>
                  <a:pt x="257" y="266"/>
                  <a:pt x="260" y="266"/>
                  <a:pt x="262" y="269"/>
                </a:cubicBezTo>
                <a:close/>
                <a:moveTo>
                  <a:pt x="253" y="248"/>
                </a:moveTo>
                <a:cubicBezTo>
                  <a:pt x="255" y="247"/>
                  <a:pt x="255" y="247"/>
                  <a:pt x="253" y="248"/>
                </a:cubicBezTo>
                <a:close/>
                <a:moveTo>
                  <a:pt x="258" y="198"/>
                </a:moveTo>
                <a:cubicBezTo>
                  <a:pt x="258" y="198"/>
                  <a:pt x="258" y="198"/>
                  <a:pt x="258" y="198"/>
                </a:cubicBezTo>
                <a:cubicBezTo>
                  <a:pt x="257" y="199"/>
                  <a:pt x="258" y="198"/>
                  <a:pt x="258" y="198"/>
                </a:cubicBezTo>
                <a:close/>
                <a:moveTo>
                  <a:pt x="255" y="238"/>
                </a:moveTo>
                <a:cubicBezTo>
                  <a:pt x="257" y="237"/>
                  <a:pt x="257" y="237"/>
                  <a:pt x="255" y="238"/>
                </a:cubicBezTo>
                <a:close/>
                <a:moveTo>
                  <a:pt x="257" y="244"/>
                </a:moveTo>
                <a:cubicBezTo>
                  <a:pt x="256" y="244"/>
                  <a:pt x="255" y="246"/>
                  <a:pt x="254" y="246"/>
                </a:cubicBezTo>
                <a:cubicBezTo>
                  <a:pt x="253" y="246"/>
                  <a:pt x="252" y="245"/>
                  <a:pt x="251" y="244"/>
                </a:cubicBezTo>
                <a:cubicBezTo>
                  <a:pt x="255" y="245"/>
                  <a:pt x="253" y="245"/>
                  <a:pt x="257" y="244"/>
                </a:cubicBezTo>
                <a:close/>
                <a:moveTo>
                  <a:pt x="203" y="240"/>
                </a:moveTo>
                <a:cubicBezTo>
                  <a:pt x="204" y="240"/>
                  <a:pt x="205" y="241"/>
                  <a:pt x="205" y="241"/>
                </a:cubicBezTo>
                <a:cubicBezTo>
                  <a:pt x="204" y="241"/>
                  <a:pt x="203" y="240"/>
                  <a:pt x="202" y="240"/>
                </a:cubicBezTo>
                <a:cubicBezTo>
                  <a:pt x="202" y="240"/>
                  <a:pt x="202" y="240"/>
                  <a:pt x="203" y="240"/>
                </a:cubicBezTo>
                <a:close/>
                <a:moveTo>
                  <a:pt x="176" y="284"/>
                </a:moveTo>
                <a:cubicBezTo>
                  <a:pt x="175" y="284"/>
                  <a:pt x="174" y="283"/>
                  <a:pt x="173" y="283"/>
                </a:cubicBezTo>
                <a:cubicBezTo>
                  <a:pt x="174" y="283"/>
                  <a:pt x="174" y="283"/>
                  <a:pt x="175" y="283"/>
                </a:cubicBezTo>
                <a:cubicBezTo>
                  <a:pt x="175" y="284"/>
                  <a:pt x="176" y="284"/>
                  <a:pt x="176" y="284"/>
                </a:cubicBezTo>
                <a:cubicBezTo>
                  <a:pt x="177" y="285"/>
                  <a:pt x="178" y="285"/>
                  <a:pt x="179" y="286"/>
                </a:cubicBezTo>
                <a:cubicBezTo>
                  <a:pt x="177" y="285"/>
                  <a:pt x="177" y="285"/>
                  <a:pt x="176" y="284"/>
                </a:cubicBezTo>
                <a:close/>
                <a:moveTo>
                  <a:pt x="172" y="397"/>
                </a:moveTo>
                <a:cubicBezTo>
                  <a:pt x="172" y="397"/>
                  <a:pt x="173" y="397"/>
                  <a:pt x="174" y="397"/>
                </a:cubicBezTo>
                <a:cubicBezTo>
                  <a:pt x="171" y="398"/>
                  <a:pt x="172" y="398"/>
                  <a:pt x="172" y="397"/>
                </a:cubicBezTo>
                <a:close/>
                <a:moveTo>
                  <a:pt x="170" y="397"/>
                </a:moveTo>
                <a:cubicBezTo>
                  <a:pt x="171" y="397"/>
                  <a:pt x="171" y="397"/>
                  <a:pt x="171" y="397"/>
                </a:cubicBezTo>
                <a:cubicBezTo>
                  <a:pt x="170" y="397"/>
                  <a:pt x="170" y="397"/>
                  <a:pt x="170" y="397"/>
                </a:cubicBezTo>
                <a:cubicBezTo>
                  <a:pt x="170" y="398"/>
                  <a:pt x="169" y="398"/>
                  <a:pt x="168" y="399"/>
                </a:cubicBezTo>
                <a:cubicBezTo>
                  <a:pt x="169" y="397"/>
                  <a:pt x="169" y="398"/>
                  <a:pt x="170" y="397"/>
                </a:cubicBezTo>
                <a:close/>
                <a:moveTo>
                  <a:pt x="167" y="445"/>
                </a:moveTo>
                <a:cubicBezTo>
                  <a:pt x="168" y="445"/>
                  <a:pt x="169" y="444"/>
                  <a:pt x="170" y="444"/>
                </a:cubicBezTo>
                <a:cubicBezTo>
                  <a:pt x="169" y="445"/>
                  <a:pt x="168" y="445"/>
                  <a:pt x="167" y="445"/>
                </a:cubicBezTo>
                <a:close/>
                <a:moveTo>
                  <a:pt x="169" y="427"/>
                </a:moveTo>
                <a:cubicBezTo>
                  <a:pt x="169" y="427"/>
                  <a:pt x="169" y="427"/>
                  <a:pt x="169" y="427"/>
                </a:cubicBezTo>
                <a:cubicBezTo>
                  <a:pt x="167" y="427"/>
                  <a:pt x="166" y="427"/>
                  <a:pt x="165" y="426"/>
                </a:cubicBezTo>
                <a:cubicBezTo>
                  <a:pt x="167" y="427"/>
                  <a:pt x="168" y="427"/>
                  <a:pt x="169" y="427"/>
                </a:cubicBezTo>
                <a:cubicBezTo>
                  <a:pt x="168" y="426"/>
                  <a:pt x="168" y="425"/>
                  <a:pt x="168" y="424"/>
                </a:cubicBezTo>
                <a:cubicBezTo>
                  <a:pt x="169" y="425"/>
                  <a:pt x="169" y="426"/>
                  <a:pt x="170" y="427"/>
                </a:cubicBezTo>
                <a:cubicBezTo>
                  <a:pt x="169" y="427"/>
                  <a:pt x="169" y="427"/>
                  <a:pt x="169" y="427"/>
                </a:cubicBezTo>
                <a:close/>
                <a:moveTo>
                  <a:pt x="170" y="400"/>
                </a:moveTo>
                <a:cubicBezTo>
                  <a:pt x="166" y="401"/>
                  <a:pt x="173" y="398"/>
                  <a:pt x="174" y="397"/>
                </a:cubicBezTo>
                <a:cubicBezTo>
                  <a:pt x="173" y="399"/>
                  <a:pt x="172" y="399"/>
                  <a:pt x="170" y="400"/>
                </a:cubicBezTo>
                <a:close/>
                <a:moveTo>
                  <a:pt x="183" y="422"/>
                </a:moveTo>
                <a:cubicBezTo>
                  <a:pt x="185" y="422"/>
                  <a:pt x="184" y="422"/>
                  <a:pt x="185" y="421"/>
                </a:cubicBezTo>
                <a:cubicBezTo>
                  <a:pt x="185" y="423"/>
                  <a:pt x="185" y="422"/>
                  <a:pt x="186" y="422"/>
                </a:cubicBezTo>
                <a:cubicBezTo>
                  <a:pt x="185" y="422"/>
                  <a:pt x="184" y="422"/>
                  <a:pt x="183" y="422"/>
                </a:cubicBezTo>
                <a:close/>
                <a:moveTo>
                  <a:pt x="174" y="419"/>
                </a:moveTo>
                <a:cubicBezTo>
                  <a:pt x="178" y="418"/>
                  <a:pt x="182" y="418"/>
                  <a:pt x="185" y="418"/>
                </a:cubicBezTo>
                <a:cubicBezTo>
                  <a:pt x="186" y="418"/>
                  <a:pt x="187" y="418"/>
                  <a:pt x="189" y="418"/>
                </a:cubicBezTo>
                <a:cubicBezTo>
                  <a:pt x="184" y="418"/>
                  <a:pt x="179" y="418"/>
                  <a:pt x="174" y="419"/>
                </a:cubicBezTo>
                <a:close/>
                <a:moveTo>
                  <a:pt x="195" y="312"/>
                </a:moveTo>
                <a:cubicBezTo>
                  <a:pt x="189" y="312"/>
                  <a:pt x="190" y="305"/>
                  <a:pt x="190" y="301"/>
                </a:cubicBezTo>
                <a:cubicBezTo>
                  <a:pt x="191" y="301"/>
                  <a:pt x="193" y="301"/>
                  <a:pt x="195" y="301"/>
                </a:cubicBezTo>
                <a:cubicBezTo>
                  <a:pt x="195" y="301"/>
                  <a:pt x="194" y="300"/>
                  <a:pt x="194" y="299"/>
                </a:cubicBezTo>
                <a:cubicBezTo>
                  <a:pt x="198" y="304"/>
                  <a:pt x="208" y="315"/>
                  <a:pt x="195" y="312"/>
                </a:cubicBezTo>
                <a:close/>
                <a:moveTo>
                  <a:pt x="215" y="318"/>
                </a:moveTo>
                <a:cubicBezTo>
                  <a:pt x="216" y="318"/>
                  <a:pt x="216" y="319"/>
                  <a:pt x="217" y="319"/>
                </a:cubicBezTo>
                <a:cubicBezTo>
                  <a:pt x="216" y="319"/>
                  <a:pt x="216" y="319"/>
                  <a:pt x="215" y="318"/>
                </a:cubicBezTo>
                <a:close/>
                <a:moveTo>
                  <a:pt x="216" y="298"/>
                </a:moveTo>
                <a:cubicBezTo>
                  <a:pt x="217" y="299"/>
                  <a:pt x="217" y="300"/>
                  <a:pt x="217" y="301"/>
                </a:cubicBezTo>
                <a:cubicBezTo>
                  <a:pt x="216" y="294"/>
                  <a:pt x="201" y="293"/>
                  <a:pt x="194" y="290"/>
                </a:cubicBezTo>
                <a:cubicBezTo>
                  <a:pt x="194" y="290"/>
                  <a:pt x="195" y="290"/>
                  <a:pt x="195" y="290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3" y="285"/>
                  <a:pt x="190" y="283"/>
                  <a:pt x="185" y="282"/>
                </a:cubicBezTo>
                <a:cubicBezTo>
                  <a:pt x="180" y="280"/>
                  <a:pt x="175" y="280"/>
                  <a:pt x="170" y="278"/>
                </a:cubicBezTo>
                <a:cubicBezTo>
                  <a:pt x="178" y="277"/>
                  <a:pt x="224" y="279"/>
                  <a:pt x="221" y="291"/>
                </a:cubicBezTo>
                <a:cubicBezTo>
                  <a:pt x="220" y="294"/>
                  <a:pt x="218" y="296"/>
                  <a:pt x="216" y="298"/>
                </a:cubicBezTo>
                <a:close/>
                <a:moveTo>
                  <a:pt x="203" y="268"/>
                </a:moveTo>
                <a:cubicBezTo>
                  <a:pt x="206" y="267"/>
                  <a:pt x="210" y="268"/>
                  <a:pt x="214" y="270"/>
                </a:cubicBezTo>
                <a:cubicBezTo>
                  <a:pt x="218" y="270"/>
                  <a:pt x="222" y="270"/>
                  <a:pt x="222" y="275"/>
                </a:cubicBezTo>
                <a:cubicBezTo>
                  <a:pt x="215" y="273"/>
                  <a:pt x="209" y="270"/>
                  <a:pt x="203" y="268"/>
                </a:cubicBezTo>
                <a:close/>
                <a:moveTo>
                  <a:pt x="188" y="264"/>
                </a:moveTo>
                <a:cubicBezTo>
                  <a:pt x="181" y="265"/>
                  <a:pt x="174" y="266"/>
                  <a:pt x="168" y="265"/>
                </a:cubicBezTo>
                <a:cubicBezTo>
                  <a:pt x="160" y="264"/>
                  <a:pt x="155" y="262"/>
                  <a:pt x="147" y="268"/>
                </a:cubicBezTo>
                <a:cubicBezTo>
                  <a:pt x="140" y="271"/>
                  <a:pt x="133" y="271"/>
                  <a:pt x="126" y="271"/>
                </a:cubicBezTo>
                <a:cubicBezTo>
                  <a:pt x="139" y="261"/>
                  <a:pt x="157" y="245"/>
                  <a:pt x="174" y="240"/>
                </a:cubicBezTo>
                <a:cubicBezTo>
                  <a:pt x="191" y="236"/>
                  <a:pt x="206" y="244"/>
                  <a:pt x="219" y="256"/>
                </a:cubicBezTo>
                <a:cubicBezTo>
                  <a:pt x="219" y="255"/>
                  <a:pt x="219" y="255"/>
                  <a:pt x="219" y="254"/>
                </a:cubicBezTo>
                <a:cubicBezTo>
                  <a:pt x="220" y="258"/>
                  <a:pt x="223" y="260"/>
                  <a:pt x="223" y="263"/>
                </a:cubicBezTo>
                <a:cubicBezTo>
                  <a:pt x="212" y="261"/>
                  <a:pt x="200" y="263"/>
                  <a:pt x="188" y="264"/>
                </a:cubicBezTo>
                <a:close/>
                <a:moveTo>
                  <a:pt x="227" y="283"/>
                </a:moveTo>
                <a:cubicBezTo>
                  <a:pt x="227" y="280"/>
                  <a:pt x="229" y="278"/>
                  <a:pt x="232" y="278"/>
                </a:cubicBezTo>
                <a:cubicBezTo>
                  <a:pt x="230" y="278"/>
                  <a:pt x="227" y="279"/>
                  <a:pt x="227" y="283"/>
                </a:cubicBezTo>
                <a:close/>
                <a:moveTo>
                  <a:pt x="220" y="249"/>
                </a:moveTo>
                <a:cubicBezTo>
                  <a:pt x="219" y="250"/>
                  <a:pt x="219" y="250"/>
                  <a:pt x="219" y="251"/>
                </a:cubicBezTo>
                <a:cubicBezTo>
                  <a:pt x="218" y="248"/>
                  <a:pt x="214" y="247"/>
                  <a:pt x="210" y="245"/>
                </a:cubicBezTo>
                <a:cubicBezTo>
                  <a:pt x="214" y="245"/>
                  <a:pt x="218" y="246"/>
                  <a:pt x="222" y="246"/>
                </a:cubicBezTo>
                <a:cubicBezTo>
                  <a:pt x="221" y="244"/>
                  <a:pt x="221" y="241"/>
                  <a:pt x="220" y="238"/>
                </a:cubicBezTo>
                <a:cubicBezTo>
                  <a:pt x="225" y="240"/>
                  <a:pt x="232" y="246"/>
                  <a:pt x="237" y="245"/>
                </a:cubicBezTo>
                <a:cubicBezTo>
                  <a:pt x="237" y="245"/>
                  <a:pt x="236" y="246"/>
                  <a:pt x="235" y="246"/>
                </a:cubicBezTo>
                <a:cubicBezTo>
                  <a:pt x="237" y="247"/>
                  <a:pt x="237" y="248"/>
                  <a:pt x="239" y="249"/>
                </a:cubicBezTo>
                <a:cubicBezTo>
                  <a:pt x="233" y="255"/>
                  <a:pt x="227" y="252"/>
                  <a:pt x="220" y="249"/>
                </a:cubicBezTo>
                <a:close/>
                <a:moveTo>
                  <a:pt x="239" y="276"/>
                </a:moveTo>
                <a:cubicBezTo>
                  <a:pt x="240" y="277"/>
                  <a:pt x="241" y="278"/>
                  <a:pt x="241" y="278"/>
                </a:cubicBezTo>
                <a:cubicBezTo>
                  <a:pt x="241" y="278"/>
                  <a:pt x="240" y="277"/>
                  <a:pt x="239" y="276"/>
                </a:cubicBezTo>
                <a:close/>
                <a:moveTo>
                  <a:pt x="243" y="265"/>
                </a:moveTo>
                <a:cubicBezTo>
                  <a:pt x="244" y="265"/>
                  <a:pt x="245" y="266"/>
                  <a:pt x="246" y="267"/>
                </a:cubicBezTo>
                <a:cubicBezTo>
                  <a:pt x="246" y="267"/>
                  <a:pt x="246" y="267"/>
                  <a:pt x="246" y="267"/>
                </a:cubicBezTo>
                <a:cubicBezTo>
                  <a:pt x="245" y="266"/>
                  <a:pt x="244" y="266"/>
                  <a:pt x="243" y="265"/>
                </a:cubicBezTo>
                <a:close/>
                <a:moveTo>
                  <a:pt x="248" y="242"/>
                </a:moveTo>
                <a:cubicBezTo>
                  <a:pt x="248" y="241"/>
                  <a:pt x="248" y="241"/>
                  <a:pt x="248" y="241"/>
                </a:cubicBezTo>
                <a:cubicBezTo>
                  <a:pt x="248" y="241"/>
                  <a:pt x="247" y="241"/>
                  <a:pt x="247" y="240"/>
                </a:cubicBezTo>
                <a:cubicBezTo>
                  <a:pt x="247" y="246"/>
                  <a:pt x="235" y="239"/>
                  <a:pt x="230" y="237"/>
                </a:cubicBezTo>
                <a:cubicBezTo>
                  <a:pt x="220" y="235"/>
                  <a:pt x="216" y="227"/>
                  <a:pt x="208" y="223"/>
                </a:cubicBezTo>
                <a:cubicBezTo>
                  <a:pt x="215" y="221"/>
                  <a:pt x="228" y="215"/>
                  <a:pt x="234" y="219"/>
                </a:cubicBezTo>
                <a:cubicBezTo>
                  <a:pt x="235" y="218"/>
                  <a:pt x="236" y="217"/>
                  <a:pt x="237" y="216"/>
                </a:cubicBezTo>
                <a:cubicBezTo>
                  <a:pt x="237" y="215"/>
                  <a:pt x="238" y="214"/>
                  <a:pt x="240" y="213"/>
                </a:cubicBezTo>
                <a:cubicBezTo>
                  <a:pt x="239" y="214"/>
                  <a:pt x="238" y="215"/>
                  <a:pt x="237" y="216"/>
                </a:cubicBezTo>
                <a:cubicBezTo>
                  <a:pt x="236" y="216"/>
                  <a:pt x="236" y="217"/>
                  <a:pt x="235" y="219"/>
                </a:cubicBezTo>
                <a:cubicBezTo>
                  <a:pt x="245" y="219"/>
                  <a:pt x="241" y="219"/>
                  <a:pt x="243" y="226"/>
                </a:cubicBezTo>
                <a:cubicBezTo>
                  <a:pt x="244" y="230"/>
                  <a:pt x="245" y="237"/>
                  <a:pt x="249" y="238"/>
                </a:cubicBezTo>
                <a:cubicBezTo>
                  <a:pt x="250" y="238"/>
                  <a:pt x="251" y="238"/>
                  <a:pt x="253" y="238"/>
                </a:cubicBezTo>
                <a:cubicBezTo>
                  <a:pt x="251" y="238"/>
                  <a:pt x="250" y="238"/>
                  <a:pt x="249" y="238"/>
                </a:cubicBezTo>
                <a:cubicBezTo>
                  <a:pt x="248" y="239"/>
                  <a:pt x="247" y="240"/>
                  <a:pt x="248" y="241"/>
                </a:cubicBezTo>
                <a:cubicBezTo>
                  <a:pt x="248" y="241"/>
                  <a:pt x="250" y="241"/>
                  <a:pt x="248" y="242"/>
                </a:cubicBezTo>
                <a:close/>
                <a:moveTo>
                  <a:pt x="262" y="275"/>
                </a:moveTo>
                <a:cubicBezTo>
                  <a:pt x="261" y="274"/>
                  <a:pt x="260" y="274"/>
                  <a:pt x="260" y="274"/>
                </a:cubicBezTo>
                <a:cubicBezTo>
                  <a:pt x="256" y="273"/>
                  <a:pt x="253" y="272"/>
                  <a:pt x="250" y="271"/>
                </a:cubicBezTo>
                <a:cubicBezTo>
                  <a:pt x="253" y="272"/>
                  <a:pt x="257" y="273"/>
                  <a:pt x="260" y="274"/>
                </a:cubicBezTo>
                <a:cubicBezTo>
                  <a:pt x="261" y="274"/>
                  <a:pt x="262" y="275"/>
                  <a:pt x="264" y="275"/>
                </a:cubicBezTo>
                <a:cubicBezTo>
                  <a:pt x="263" y="275"/>
                  <a:pt x="262" y="275"/>
                  <a:pt x="262" y="275"/>
                </a:cubicBezTo>
                <a:close/>
                <a:moveTo>
                  <a:pt x="360" y="182"/>
                </a:moveTo>
                <a:cubicBezTo>
                  <a:pt x="361" y="183"/>
                  <a:pt x="359" y="181"/>
                  <a:pt x="359" y="181"/>
                </a:cubicBezTo>
                <a:cubicBezTo>
                  <a:pt x="358" y="180"/>
                  <a:pt x="359" y="180"/>
                  <a:pt x="360" y="182"/>
                </a:cubicBezTo>
                <a:close/>
                <a:moveTo>
                  <a:pt x="352" y="247"/>
                </a:moveTo>
                <a:cubicBezTo>
                  <a:pt x="352" y="246"/>
                  <a:pt x="353" y="243"/>
                  <a:pt x="353" y="244"/>
                </a:cubicBezTo>
                <a:cubicBezTo>
                  <a:pt x="352" y="243"/>
                  <a:pt x="353" y="242"/>
                  <a:pt x="353" y="242"/>
                </a:cubicBezTo>
                <a:cubicBezTo>
                  <a:pt x="353" y="241"/>
                  <a:pt x="353" y="243"/>
                  <a:pt x="353" y="244"/>
                </a:cubicBezTo>
                <a:cubicBezTo>
                  <a:pt x="352" y="245"/>
                  <a:pt x="353" y="246"/>
                  <a:pt x="352" y="247"/>
                </a:cubicBezTo>
                <a:close/>
                <a:moveTo>
                  <a:pt x="353" y="263"/>
                </a:moveTo>
                <a:cubicBezTo>
                  <a:pt x="353" y="264"/>
                  <a:pt x="353" y="264"/>
                  <a:pt x="354" y="264"/>
                </a:cubicBezTo>
                <a:cubicBezTo>
                  <a:pt x="354" y="264"/>
                  <a:pt x="353" y="263"/>
                  <a:pt x="353" y="263"/>
                </a:cubicBezTo>
                <a:close/>
                <a:moveTo>
                  <a:pt x="357" y="258"/>
                </a:moveTo>
                <a:cubicBezTo>
                  <a:pt x="358" y="255"/>
                  <a:pt x="359" y="253"/>
                  <a:pt x="360" y="250"/>
                </a:cubicBezTo>
                <a:cubicBezTo>
                  <a:pt x="360" y="253"/>
                  <a:pt x="358" y="255"/>
                  <a:pt x="357" y="258"/>
                </a:cubicBezTo>
                <a:close/>
                <a:moveTo>
                  <a:pt x="403" y="165"/>
                </a:moveTo>
                <a:cubicBezTo>
                  <a:pt x="402" y="165"/>
                  <a:pt x="402" y="165"/>
                  <a:pt x="402" y="164"/>
                </a:cubicBezTo>
                <a:cubicBezTo>
                  <a:pt x="403" y="165"/>
                  <a:pt x="403" y="165"/>
                  <a:pt x="403" y="165"/>
                </a:cubicBezTo>
                <a:close/>
                <a:moveTo>
                  <a:pt x="399" y="141"/>
                </a:moveTo>
                <a:cubicBezTo>
                  <a:pt x="399" y="141"/>
                  <a:pt x="399" y="139"/>
                  <a:pt x="399" y="139"/>
                </a:cubicBezTo>
                <a:cubicBezTo>
                  <a:pt x="399" y="140"/>
                  <a:pt x="399" y="140"/>
                  <a:pt x="399" y="141"/>
                </a:cubicBezTo>
                <a:cubicBezTo>
                  <a:pt x="399" y="140"/>
                  <a:pt x="399" y="140"/>
                  <a:pt x="398" y="139"/>
                </a:cubicBezTo>
                <a:cubicBezTo>
                  <a:pt x="399" y="139"/>
                  <a:pt x="399" y="140"/>
                  <a:pt x="399" y="141"/>
                </a:cubicBezTo>
                <a:close/>
                <a:moveTo>
                  <a:pt x="398" y="186"/>
                </a:moveTo>
                <a:cubicBezTo>
                  <a:pt x="399" y="187"/>
                  <a:pt x="400" y="187"/>
                  <a:pt x="398" y="186"/>
                </a:cubicBezTo>
                <a:close/>
                <a:moveTo>
                  <a:pt x="405" y="188"/>
                </a:moveTo>
                <a:cubicBezTo>
                  <a:pt x="407" y="186"/>
                  <a:pt x="407" y="185"/>
                  <a:pt x="406" y="183"/>
                </a:cubicBezTo>
                <a:cubicBezTo>
                  <a:pt x="408" y="184"/>
                  <a:pt x="407" y="185"/>
                  <a:pt x="408" y="187"/>
                </a:cubicBezTo>
                <a:cubicBezTo>
                  <a:pt x="407" y="187"/>
                  <a:pt x="406" y="187"/>
                  <a:pt x="405" y="188"/>
                </a:cubicBezTo>
                <a:cubicBezTo>
                  <a:pt x="402" y="190"/>
                  <a:pt x="396" y="192"/>
                  <a:pt x="393" y="194"/>
                </a:cubicBezTo>
                <a:cubicBezTo>
                  <a:pt x="397" y="191"/>
                  <a:pt x="401" y="189"/>
                  <a:pt x="405" y="188"/>
                </a:cubicBezTo>
                <a:close/>
                <a:moveTo>
                  <a:pt x="376" y="207"/>
                </a:moveTo>
                <a:cubicBezTo>
                  <a:pt x="376" y="209"/>
                  <a:pt x="377" y="210"/>
                  <a:pt x="378" y="211"/>
                </a:cubicBezTo>
                <a:cubicBezTo>
                  <a:pt x="377" y="210"/>
                  <a:pt x="377" y="210"/>
                  <a:pt x="376" y="209"/>
                </a:cubicBezTo>
                <a:cubicBezTo>
                  <a:pt x="376" y="209"/>
                  <a:pt x="376" y="208"/>
                  <a:pt x="376" y="207"/>
                </a:cubicBezTo>
                <a:close/>
                <a:moveTo>
                  <a:pt x="375" y="205"/>
                </a:moveTo>
                <a:cubicBezTo>
                  <a:pt x="375" y="204"/>
                  <a:pt x="375" y="203"/>
                  <a:pt x="375" y="202"/>
                </a:cubicBezTo>
                <a:cubicBezTo>
                  <a:pt x="375" y="204"/>
                  <a:pt x="375" y="204"/>
                  <a:pt x="375" y="205"/>
                </a:cubicBezTo>
                <a:cubicBezTo>
                  <a:pt x="375" y="206"/>
                  <a:pt x="375" y="206"/>
                  <a:pt x="375" y="207"/>
                </a:cubicBezTo>
                <a:cubicBezTo>
                  <a:pt x="374" y="207"/>
                  <a:pt x="373" y="207"/>
                  <a:pt x="372" y="207"/>
                </a:cubicBezTo>
                <a:cubicBezTo>
                  <a:pt x="374" y="206"/>
                  <a:pt x="375" y="206"/>
                  <a:pt x="375" y="205"/>
                </a:cubicBezTo>
                <a:close/>
                <a:moveTo>
                  <a:pt x="363" y="261"/>
                </a:moveTo>
                <a:cubicBezTo>
                  <a:pt x="364" y="259"/>
                  <a:pt x="361" y="263"/>
                  <a:pt x="363" y="261"/>
                </a:cubicBezTo>
                <a:close/>
                <a:moveTo>
                  <a:pt x="363" y="245"/>
                </a:moveTo>
                <a:cubicBezTo>
                  <a:pt x="364" y="244"/>
                  <a:pt x="364" y="243"/>
                  <a:pt x="365" y="242"/>
                </a:cubicBezTo>
                <a:cubicBezTo>
                  <a:pt x="365" y="241"/>
                  <a:pt x="366" y="240"/>
                  <a:pt x="367" y="239"/>
                </a:cubicBezTo>
                <a:cubicBezTo>
                  <a:pt x="365" y="241"/>
                  <a:pt x="364" y="243"/>
                  <a:pt x="363" y="245"/>
                </a:cubicBezTo>
                <a:close/>
                <a:moveTo>
                  <a:pt x="370" y="264"/>
                </a:moveTo>
                <a:cubicBezTo>
                  <a:pt x="370" y="264"/>
                  <a:pt x="370" y="264"/>
                  <a:pt x="370" y="264"/>
                </a:cubicBezTo>
                <a:cubicBezTo>
                  <a:pt x="370" y="265"/>
                  <a:pt x="370" y="265"/>
                  <a:pt x="369" y="265"/>
                </a:cubicBezTo>
                <a:cubicBezTo>
                  <a:pt x="369" y="266"/>
                  <a:pt x="368" y="267"/>
                  <a:pt x="368" y="268"/>
                </a:cubicBezTo>
                <a:cubicBezTo>
                  <a:pt x="369" y="267"/>
                  <a:pt x="368" y="266"/>
                  <a:pt x="369" y="265"/>
                </a:cubicBezTo>
                <a:cubicBezTo>
                  <a:pt x="370" y="264"/>
                  <a:pt x="370" y="263"/>
                  <a:pt x="371" y="263"/>
                </a:cubicBezTo>
                <a:cubicBezTo>
                  <a:pt x="370" y="263"/>
                  <a:pt x="370" y="264"/>
                  <a:pt x="370" y="264"/>
                </a:cubicBezTo>
                <a:close/>
                <a:moveTo>
                  <a:pt x="372" y="219"/>
                </a:moveTo>
                <a:cubicBezTo>
                  <a:pt x="373" y="219"/>
                  <a:pt x="374" y="219"/>
                  <a:pt x="375" y="219"/>
                </a:cubicBezTo>
                <a:cubicBezTo>
                  <a:pt x="376" y="220"/>
                  <a:pt x="376" y="220"/>
                  <a:pt x="376" y="221"/>
                </a:cubicBezTo>
                <a:cubicBezTo>
                  <a:pt x="375" y="220"/>
                  <a:pt x="373" y="219"/>
                  <a:pt x="372" y="219"/>
                </a:cubicBezTo>
                <a:close/>
                <a:moveTo>
                  <a:pt x="375" y="266"/>
                </a:moveTo>
                <a:cubicBezTo>
                  <a:pt x="375" y="266"/>
                  <a:pt x="376" y="266"/>
                  <a:pt x="376" y="266"/>
                </a:cubicBezTo>
                <a:cubicBezTo>
                  <a:pt x="375" y="265"/>
                  <a:pt x="375" y="265"/>
                  <a:pt x="375" y="265"/>
                </a:cubicBezTo>
                <a:cubicBezTo>
                  <a:pt x="376" y="263"/>
                  <a:pt x="376" y="262"/>
                  <a:pt x="377" y="261"/>
                </a:cubicBezTo>
                <a:cubicBezTo>
                  <a:pt x="377" y="262"/>
                  <a:pt x="376" y="264"/>
                  <a:pt x="376" y="266"/>
                </a:cubicBezTo>
                <a:cubicBezTo>
                  <a:pt x="376" y="266"/>
                  <a:pt x="376" y="267"/>
                  <a:pt x="375" y="266"/>
                </a:cubicBezTo>
                <a:close/>
                <a:moveTo>
                  <a:pt x="377" y="221"/>
                </a:moveTo>
                <a:cubicBezTo>
                  <a:pt x="377" y="221"/>
                  <a:pt x="377" y="221"/>
                  <a:pt x="376" y="221"/>
                </a:cubicBezTo>
                <a:cubicBezTo>
                  <a:pt x="377" y="222"/>
                  <a:pt x="377" y="222"/>
                  <a:pt x="377" y="222"/>
                </a:cubicBezTo>
                <a:cubicBezTo>
                  <a:pt x="376" y="222"/>
                  <a:pt x="376" y="222"/>
                  <a:pt x="376" y="221"/>
                </a:cubicBezTo>
                <a:cubicBezTo>
                  <a:pt x="376" y="221"/>
                  <a:pt x="376" y="221"/>
                  <a:pt x="376" y="221"/>
                </a:cubicBezTo>
                <a:cubicBezTo>
                  <a:pt x="376" y="221"/>
                  <a:pt x="376" y="221"/>
                  <a:pt x="376" y="221"/>
                </a:cubicBezTo>
                <a:cubicBezTo>
                  <a:pt x="376" y="221"/>
                  <a:pt x="376" y="221"/>
                  <a:pt x="377" y="221"/>
                </a:cubicBezTo>
                <a:cubicBezTo>
                  <a:pt x="377" y="221"/>
                  <a:pt x="379" y="221"/>
                  <a:pt x="379" y="221"/>
                </a:cubicBezTo>
                <a:cubicBezTo>
                  <a:pt x="378" y="222"/>
                  <a:pt x="377" y="222"/>
                  <a:pt x="377" y="221"/>
                </a:cubicBezTo>
                <a:close/>
                <a:moveTo>
                  <a:pt x="383" y="183"/>
                </a:moveTo>
                <a:cubicBezTo>
                  <a:pt x="386" y="182"/>
                  <a:pt x="388" y="178"/>
                  <a:pt x="390" y="175"/>
                </a:cubicBezTo>
                <a:cubicBezTo>
                  <a:pt x="388" y="179"/>
                  <a:pt x="386" y="182"/>
                  <a:pt x="383" y="183"/>
                </a:cubicBezTo>
                <a:cubicBezTo>
                  <a:pt x="383" y="183"/>
                  <a:pt x="382" y="182"/>
                  <a:pt x="383" y="183"/>
                </a:cubicBezTo>
                <a:close/>
                <a:moveTo>
                  <a:pt x="393" y="199"/>
                </a:moveTo>
                <a:cubicBezTo>
                  <a:pt x="392" y="199"/>
                  <a:pt x="390" y="199"/>
                  <a:pt x="389" y="199"/>
                </a:cubicBezTo>
                <a:cubicBezTo>
                  <a:pt x="388" y="197"/>
                  <a:pt x="389" y="199"/>
                  <a:pt x="389" y="199"/>
                </a:cubicBezTo>
                <a:cubicBezTo>
                  <a:pt x="390" y="199"/>
                  <a:pt x="392" y="199"/>
                  <a:pt x="393" y="199"/>
                </a:cubicBezTo>
                <a:close/>
                <a:moveTo>
                  <a:pt x="390" y="240"/>
                </a:moveTo>
                <a:cubicBezTo>
                  <a:pt x="390" y="238"/>
                  <a:pt x="390" y="237"/>
                  <a:pt x="390" y="234"/>
                </a:cubicBezTo>
                <a:cubicBezTo>
                  <a:pt x="390" y="236"/>
                  <a:pt x="390" y="237"/>
                  <a:pt x="390" y="238"/>
                </a:cubicBezTo>
                <a:cubicBezTo>
                  <a:pt x="390" y="239"/>
                  <a:pt x="390" y="240"/>
                  <a:pt x="390" y="240"/>
                </a:cubicBezTo>
                <a:close/>
                <a:moveTo>
                  <a:pt x="385" y="218"/>
                </a:moveTo>
                <a:cubicBezTo>
                  <a:pt x="388" y="217"/>
                  <a:pt x="392" y="217"/>
                  <a:pt x="395" y="218"/>
                </a:cubicBezTo>
                <a:cubicBezTo>
                  <a:pt x="392" y="217"/>
                  <a:pt x="388" y="217"/>
                  <a:pt x="385" y="218"/>
                </a:cubicBezTo>
                <a:close/>
                <a:moveTo>
                  <a:pt x="397" y="198"/>
                </a:moveTo>
                <a:cubicBezTo>
                  <a:pt x="397" y="198"/>
                  <a:pt x="396" y="200"/>
                  <a:pt x="396" y="199"/>
                </a:cubicBezTo>
                <a:cubicBezTo>
                  <a:pt x="397" y="198"/>
                  <a:pt x="397" y="197"/>
                  <a:pt x="398" y="196"/>
                </a:cubicBezTo>
                <a:cubicBezTo>
                  <a:pt x="399" y="196"/>
                  <a:pt x="397" y="197"/>
                  <a:pt x="397" y="198"/>
                </a:cubicBezTo>
                <a:close/>
                <a:moveTo>
                  <a:pt x="406" y="203"/>
                </a:moveTo>
                <a:cubicBezTo>
                  <a:pt x="406" y="203"/>
                  <a:pt x="406" y="203"/>
                  <a:pt x="405" y="203"/>
                </a:cubicBezTo>
                <a:cubicBezTo>
                  <a:pt x="404" y="202"/>
                  <a:pt x="401" y="203"/>
                  <a:pt x="398" y="203"/>
                </a:cubicBezTo>
                <a:cubicBezTo>
                  <a:pt x="401" y="202"/>
                  <a:pt x="404" y="202"/>
                  <a:pt x="406" y="203"/>
                </a:cubicBezTo>
                <a:cubicBezTo>
                  <a:pt x="406" y="203"/>
                  <a:pt x="407" y="203"/>
                  <a:pt x="408" y="204"/>
                </a:cubicBezTo>
                <a:cubicBezTo>
                  <a:pt x="407" y="203"/>
                  <a:pt x="407" y="203"/>
                  <a:pt x="406" y="203"/>
                </a:cubicBezTo>
                <a:close/>
                <a:moveTo>
                  <a:pt x="407" y="199"/>
                </a:moveTo>
                <a:cubicBezTo>
                  <a:pt x="409" y="199"/>
                  <a:pt x="410" y="198"/>
                  <a:pt x="411" y="198"/>
                </a:cubicBezTo>
                <a:cubicBezTo>
                  <a:pt x="412" y="197"/>
                  <a:pt x="413" y="197"/>
                  <a:pt x="414" y="195"/>
                </a:cubicBezTo>
                <a:cubicBezTo>
                  <a:pt x="413" y="196"/>
                  <a:pt x="413" y="197"/>
                  <a:pt x="413" y="198"/>
                </a:cubicBezTo>
                <a:cubicBezTo>
                  <a:pt x="413" y="198"/>
                  <a:pt x="412" y="198"/>
                  <a:pt x="411" y="198"/>
                </a:cubicBezTo>
                <a:cubicBezTo>
                  <a:pt x="410" y="199"/>
                  <a:pt x="409" y="199"/>
                  <a:pt x="407" y="199"/>
                </a:cubicBezTo>
                <a:close/>
                <a:moveTo>
                  <a:pt x="413" y="200"/>
                </a:moveTo>
                <a:cubicBezTo>
                  <a:pt x="414" y="198"/>
                  <a:pt x="414" y="198"/>
                  <a:pt x="413" y="200"/>
                </a:cubicBezTo>
                <a:close/>
                <a:moveTo>
                  <a:pt x="412" y="201"/>
                </a:moveTo>
                <a:cubicBezTo>
                  <a:pt x="413" y="201"/>
                  <a:pt x="411" y="199"/>
                  <a:pt x="412" y="200"/>
                </a:cubicBezTo>
                <a:cubicBezTo>
                  <a:pt x="413" y="202"/>
                  <a:pt x="413" y="202"/>
                  <a:pt x="415" y="203"/>
                </a:cubicBezTo>
                <a:cubicBezTo>
                  <a:pt x="413" y="203"/>
                  <a:pt x="413" y="202"/>
                  <a:pt x="412" y="201"/>
                </a:cubicBezTo>
                <a:close/>
                <a:moveTo>
                  <a:pt x="411" y="193"/>
                </a:moveTo>
                <a:cubicBezTo>
                  <a:pt x="412" y="193"/>
                  <a:pt x="413" y="192"/>
                  <a:pt x="414" y="192"/>
                </a:cubicBezTo>
                <a:cubicBezTo>
                  <a:pt x="414" y="191"/>
                  <a:pt x="414" y="191"/>
                  <a:pt x="415" y="191"/>
                </a:cubicBezTo>
                <a:cubicBezTo>
                  <a:pt x="415" y="191"/>
                  <a:pt x="414" y="192"/>
                  <a:pt x="414" y="192"/>
                </a:cubicBezTo>
                <a:cubicBezTo>
                  <a:pt x="414" y="192"/>
                  <a:pt x="414" y="192"/>
                  <a:pt x="414" y="192"/>
                </a:cubicBezTo>
                <a:cubicBezTo>
                  <a:pt x="414" y="192"/>
                  <a:pt x="415" y="191"/>
                  <a:pt x="416" y="192"/>
                </a:cubicBezTo>
                <a:cubicBezTo>
                  <a:pt x="414" y="192"/>
                  <a:pt x="413" y="192"/>
                  <a:pt x="411" y="193"/>
                </a:cubicBezTo>
                <a:close/>
                <a:moveTo>
                  <a:pt x="418" y="203"/>
                </a:moveTo>
                <a:cubicBezTo>
                  <a:pt x="417" y="204"/>
                  <a:pt x="417" y="204"/>
                  <a:pt x="418" y="203"/>
                </a:cubicBezTo>
                <a:close/>
                <a:moveTo>
                  <a:pt x="458" y="268"/>
                </a:moveTo>
                <a:cubicBezTo>
                  <a:pt x="459" y="264"/>
                  <a:pt x="459" y="262"/>
                  <a:pt x="462" y="260"/>
                </a:cubicBezTo>
                <a:cubicBezTo>
                  <a:pt x="462" y="263"/>
                  <a:pt x="461" y="266"/>
                  <a:pt x="458" y="268"/>
                </a:cubicBezTo>
                <a:close/>
                <a:moveTo>
                  <a:pt x="462" y="257"/>
                </a:moveTo>
                <a:cubicBezTo>
                  <a:pt x="462" y="257"/>
                  <a:pt x="463" y="257"/>
                  <a:pt x="464" y="256"/>
                </a:cubicBezTo>
                <a:cubicBezTo>
                  <a:pt x="463" y="259"/>
                  <a:pt x="464" y="262"/>
                  <a:pt x="464" y="264"/>
                </a:cubicBezTo>
                <a:cubicBezTo>
                  <a:pt x="463" y="261"/>
                  <a:pt x="464" y="260"/>
                  <a:pt x="462" y="257"/>
                </a:cubicBezTo>
                <a:close/>
                <a:moveTo>
                  <a:pt x="467" y="237"/>
                </a:moveTo>
                <a:cubicBezTo>
                  <a:pt x="464" y="238"/>
                  <a:pt x="453" y="230"/>
                  <a:pt x="450" y="229"/>
                </a:cubicBezTo>
                <a:cubicBezTo>
                  <a:pt x="446" y="225"/>
                  <a:pt x="457" y="226"/>
                  <a:pt x="460" y="226"/>
                </a:cubicBezTo>
                <a:cubicBezTo>
                  <a:pt x="464" y="226"/>
                  <a:pt x="473" y="224"/>
                  <a:pt x="475" y="227"/>
                </a:cubicBezTo>
                <a:cubicBezTo>
                  <a:pt x="475" y="228"/>
                  <a:pt x="469" y="237"/>
                  <a:pt x="467" y="237"/>
                </a:cubicBezTo>
                <a:close/>
                <a:moveTo>
                  <a:pt x="540" y="463"/>
                </a:moveTo>
                <a:cubicBezTo>
                  <a:pt x="540" y="462"/>
                  <a:pt x="540" y="462"/>
                  <a:pt x="540" y="462"/>
                </a:cubicBezTo>
                <a:cubicBezTo>
                  <a:pt x="540" y="461"/>
                  <a:pt x="541" y="461"/>
                  <a:pt x="541" y="460"/>
                </a:cubicBezTo>
                <a:cubicBezTo>
                  <a:pt x="541" y="461"/>
                  <a:pt x="540" y="462"/>
                  <a:pt x="540" y="463"/>
                </a:cubicBezTo>
                <a:close/>
                <a:moveTo>
                  <a:pt x="595" y="471"/>
                </a:moveTo>
                <a:cubicBezTo>
                  <a:pt x="595" y="472"/>
                  <a:pt x="596" y="473"/>
                  <a:pt x="596" y="474"/>
                </a:cubicBezTo>
                <a:cubicBezTo>
                  <a:pt x="595" y="472"/>
                  <a:pt x="594" y="469"/>
                  <a:pt x="595" y="471"/>
                </a:cubicBezTo>
                <a:close/>
                <a:moveTo>
                  <a:pt x="610" y="353"/>
                </a:moveTo>
                <a:cubicBezTo>
                  <a:pt x="610" y="354"/>
                  <a:pt x="611" y="355"/>
                  <a:pt x="609" y="355"/>
                </a:cubicBezTo>
                <a:cubicBezTo>
                  <a:pt x="611" y="355"/>
                  <a:pt x="610" y="354"/>
                  <a:pt x="610" y="353"/>
                </a:cubicBezTo>
                <a:close/>
                <a:moveTo>
                  <a:pt x="592" y="369"/>
                </a:moveTo>
                <a:cubicBezTo>
                  <a:pt x="593" y="371"/>
                  <a:pt x="593" y="371"/>
                  <a:pt x="592" y="369"/>
                </a:cubicBezTo>
                <a:close/>
                <a:moveTo>
                  <a:pt x="550" y="486"/>
                </a:moveTo>
                <a:cubicBezTo>
                  <a:pt x="551" y="483"/>
                  <a:pt x="552" y="480"/>
                  <a:pt x="554" y="477"/>
                </a:cubicBezTo>
                <a:cubicBezTo>
                  <a:pt x="552" y="480"/>
                  <a:pt x="551" y="483"/>
                  <a:pt x="550" y="486"/>
                </a:cubicBezTo>
                <a:close/>
                <a:moveTo>
                  <a:pt x="560" y="472"/>
                </a:moveTo>
                <a:cubicBezTo>
                  <a:pt x="561" y="473"/>
                  <a:pt x="562" y="473"/>
                  <a:pt x="563" y="475"/>
                </a:cubicBezTo>
                <a:cubicBezTo>
                  <a:pt x="562" y="474"/>
                  <a:pt x="558" y="472"/>
                  <a:pt x="560" y="472"/>
                </a:cubicBezTo>
                <a:close/>
                <a:moveTo>
                  <a:pt x="586" y="426"/>
                </a:moveTo>
                <a:cubicBezTo>
                  <a:pt x="585" y="425"/>
                  <a:pt x="586" y="424"/>
                  <a:pt x="586" y="424"/>
                </a:cubicBezTo>
                <a:cubicBezTo>
                  <a:pt x="586" y="425"/>
                  <a:pt x="586" y="426"/>
                  <a:pt x="586" y="426"/>
                </a:cubicBezTo>
                <a:close/>
                <a:moveTo>
                  <a:pt x="585" y="420"/>
                </a:moveTo>
                <a:cubicBezTo>
                  <a:pt x="585" y="421"/>
                  <a:pt x="586" y="423"/>
                  <a:pt x="586" y="422"/>
                </a:cubicBezTo>
                <a:cubicBezTo>
                  <a:pt x="585" y="422"/>
                  <a:pt x="584" y="424"/>
                  <a:pt x="585" y="420"/>
                </a:cubicBezTo>
                <a:close/>
                <a:moveTo>
                  <a:pt x="582" y="413"/>
                </a:moveTo>
                <a:cubicBezTo>
                  <a:pt x="581" y="412"/>
                  <a:pt x="581" y="410"/>
                  <a:pt x="580" y="409"/>
                </a:cubicBezTo>
                <a:cubicBezTo>
                  <a:pt x="580" y="408"/>
                  <a:pt x="579" y="408"/>
                  <a:pt x="579" y="407"/>
                </a:cubicBezTo>
                <a:cubicBezTo>
                  <a:pt x="580" y="409"/>
                  <a:pt x="581" y="411"/>
                  <a:pt x="582" y="413"/>
                </a:cubicBezTo>
                <a:close/>
                <a:moveTo>
                  <a:pt x="581" y="415"/>
                </a:moveTo>
                <a:cubicBezTo>
                  <a:pt x="580" y="414"/>
                  <a:pt x="581" y="416"/>
                  <a:pt x="581" y="416"/>
                </a:cubicBezTo>
                <a:cubicBezTo>
                  <a:pt x="583" y="418"/>
                  <a:pt x="581" y="416"/>
                  <a:pt x="581" y="415"/>
                </a:cubicBezTo>
                <a:close/>
                <a:moveTo>
                  <a:pt x="580" y="421"/>
                </a:moveTo>
                <a:cubicBezTo>
                  <a:pt x="582" y="428"/>
                  <a:pt x="591" y="442"/>
                  <a:pt x="586" y="449"/>
                </a:cubicBezTo>
                <a:cubicBezTo>
                  <a:pt x="587" y="450"/>
                  <a:pt x="587" y="451"/>
                  <a:pt x="587" y="452"/>
                </a:cubicBezTo>
                <a:cubicBezTo>
                  <a:pt x="588" y="452"/>
                  <a:pt x="586" y="450"/>
                  <a:pt x="586" y="450"/>
                </a:cubicBezTo>
                <a:cubicBezTo>
                  <a:pt x="586" y="452"/>
                  <a:pt x="587" y="453"/>
                  <a:pt x="587" y="455"/>
                </a:cubicBezTo>
                <a:cubicBezTo>
                  <a:pt x="589" y="456"/>
                  <a:pt x="585" y="460"/>
                  <a:pt x="582" y="461"/>
                </a:cubicBezTo>
                <a:cubicBezTo>
                  <a:pt x="580" y="459"/>
                  <a:pt x="579" y="459"/>
                  <a:pt x="577" y="462"/>
                </a:cubicBezTo>
                <a:cubicBezTo>
                  <a:pt x="577" y="461"/>
                  <a:pt x="577" y="460"/>
                  <a:pt x="578" y="459"/>
                </a:cubicBezTo>
                <a:cubicBezTo>
                  <a:pt x="573" y="459"/>
                  <a:pt x="569" y="464"/>
                  <a:pt x="569" y="468"/>
                </a:cubicBezTo>
                <a:cubicBezTo>
                  <a:pt x="569" y="465"/>
                  <a:pt x="565" y="465"/>
                  <a:pt x="562" y="465"/>
                </a:cubicBezTo>
                <a:cubicBezTo>
                  <a:pt x="561" y="465"/>
                  <a:pt x="561" y="466"/>
                  <a:pt x="561" y="466"/>
                </a:cubicBezTo>
                <a:cubicBezTo>
                  <a:pt x="560" y="465"/>
                  <a:pt x="557" y="465"/>
                  <a:pt x="556" y="463"/>
                </a:cubicBezTo>
                <a:cubicBezTo>
                  <a:pt x="557" y="465"/>
                  <a:pt x="559" y="465"/>
                  <a:pt x="562" y="465"/>
                </a:cubicBezTo>
                <a:cubicBezTo>
                  <a:pt x="562" y="461"/>
                  <a:pt x="565" y="460"/>
                  <a:pt x="566" y="456"/>
                </a:cubicBezTo>
                <a:cubicBezTo>
                  <a:pt x="569" y="445"/>
                  <a:pt x="569" y="433"/>
                  <a:pt x="570" y="422"/>
                </a:cubicBezTo>
                <a:cubicBezTo>
                  <a:pt x="572" y="408"/>
                  <a:pt x="575" y="409"/>
                  <a:pt x="580" y="421"/>
                </a:cubicBezTo>
                <a:close/>
                <a:moveTo>
                  <a:pt x="569" y="365"/>
                </a:moveTo>
                <a:cubicBezTo>
                  <a:pt x="568" y="365"/>
                  <a:pt x="571" y="366"/>
                  <a:pt x="569" y="365"/>
                </a:cubicBezTo>
                <a:close/>
                <a:moveTo>
                  <a:pt x="571" y="349"/>
                </a:moveTo>
                <a:cubicBezTo>
                  <a:pt x="572" y="349"/>
                  <a:pt x="572" y="349"/>
                  <a:pt x="572" y="350"/>
                </a:cubicBezTo>
                <a:cubicBezTo>
                  <a:pt x="572" y="349"/>
                  <a:pt x="572" y="349"/>
                  <a:pt x="572" y="349"/>
                </a:cubicBezTo>
                <a:cubicBezTo>
                  <a:pt x="572" y="349"/>
                  <a:pt x="571" y="349"/>
                  <a:pt x="571" y="349"/>
                </a:cubicBezTo>
                <a:cubicBezTo>
                  <a:pt x="570" y="347"/>
                  <a:pt x="569" y="345"/>
                  <a:pt x="568" y="344"/>
                </a:cubicBezTo>
                <a:cubicBezTo>
                  <a:pt x="570" y="345"/>
                  <a:pt x="570" y="347"/>
                  <a:pt x="571" y="349"/>
                </a:cubicBezTo>
                <a:close/>
                <a:moveTo>
                  <a:pt x="566" y="397"/>
                </a:moveTo>
                <a:cubicBezTo>
                  <a:pt x="566" y="398"/>
                  <a:pt x="567" y="398"/>
                  <a:pt x="567" y="399"/>
                </a:cubicBezTo>
                <a:cubicBezTo>
                  <a:pt x="566" y="397"/>
                  <a:pt x="565" y="396"/>
                  <a:pt x="564" y="395"/>
                </a:cubicBezTo>
                <a:cubicBezTo>
                  <a:pt x="565" y="396"/>
                  <a:pt x="565" y="396"/>
                  <a:pt x="566" y="397"/>
                </a:cubicBezTo>
                <a:close/>
                <a:moveTo>
                  <a:pt x="563" y="345"/>
                </a:moveTo>
                <a:cubicBezTo>
                  <a:pt x="563" y="345"/>
                  <a:pt x="563" y="345"/>
                  <a:pt x="563" y="345"/>
                </a:cubicBezTo>
                <a:cubicBezTo>
                  <a:pt x="563" y="346"/>
                  <a:pt x="564" y="347"/>
                  <a:pt x="563" y="345"/>
                </a:cubicBezTo>
                <a:close/>
                <a:moveTo>
                  <a:pt x="568" y="405"/>
                </a:moveTo>
                <a:cubicBezTo>
                  <a:pt x="568" y="421"/>
                  <a:pt x="567" y="445"/>
                  <a:pt x="556" y="458"/>
                </a:cubicBezTo>
                <a:cubicBezTo>
                  <a:pt x="554" y="460"/>
                  <a:pt x="551" y="465"/>
                  <a:pt x="548" y="457"/>
                </a:cubicBezTo>
                <a:cubicBezTo>
                  <a:pt x="548" y="456"/>
                  <a:pt x="550" y="452"/>
                  <a:pt x="551" y="449"/>
                </a:cubicBezTo>
                <a:cubicBezTo>
                  <a:pt x="554" y="438"/>
                  <a:pt x="557" y="427"/>
                  <a:pt x="561" y="416"/>
                </a:cubicBezTo>
                <a:cubicBezTo>
                  <a:pt x="562" y="412"/>
                  <a:pt x="569" y="410"/>
                  <a:pt x="568" y="405"/>
                </a:cubicBezTo>
                <a:close/>
                <a:moveTo>
                  <a:pt x="557" y="364"/>
                </a:moveTo>
                <a:cubicBezTo>
                  <a:pt x="557" y="366"/>
                  <a:pt x="556" y="368"/>
                  <a:pt x="555" y="370"/>
                </a:cubicBezTo>
                <a:cubicBezTo>
                  <a:pt x="556" y="368"/>
                  <a:pt x="557" y="366"/>
                  <a:pt x="557" y="364"/>
                </a:cubicBezTo>
                <a:close/>
                <a:moveTo>
                  <a:pt x="550" y="356"/>
                </a:moveTo>
                <a:cubicBezTo>
                  <a:pt x="550" y="356"/>
                  <a:pt x="551" y="355"/>
                  <a:pt x="551" y="355"/>
                </a:cubicBezTo>
                <a:cubicBezTo>
                  <a:pt x="551" y="354"/>
                  <a:pt x="551" y="353"/>
                  <a:pt x="551" y="351"/>
                </a:cubicBezTo>
                <a:cubicBezTo>
                  <a:pt x="551" y="354"/>
                  <a:pt x="552" y="355"/>
                  <a:pt x="551" y="355"/>
                </a:cubicBezTo>
                <a:cubicBezTo>
                  <a:pt x="551" y="356"/>
                  <a:pt x="551" y="357"/>
                  <a:pt x="551" y="358"/>
                </a:cubicBezTo>
                <a:cubicBezTo>
                  <a:pt x="551" y="358"/>
                  <a:pt x="551" y="359"/>
                  <a:pt x="550" y="361"/>
                </a:cubicBezTo>
                <a:cubicBezTo>
                  <a:pt x="550" y="360"/>
                  <a:pt x="550" y="359"/>
                  <a:pt x="551" y="358"/>
                </a:cubicBezTo>
                <a:cubicBezTo>
                  <a:pt x="551" y="357"/>
                  <a:pt x="550" y="356"/>
                  <a:pt x="550" y="356"/>
                </a:cubicBezTo>
                <a:close/>
                <a:moveTo>
                  <a:pt x="550" y="386"/>
                </a:moveTo>
                <a:cubicBezTo>
                  <a:pt x="550" y="387"/>
                  <a:pt x="550" y="387"/>
                  <a:pt x="551" y="387"/>
                </a:cubicBezTo>
                <a:cubicBezTo>
                  <a:pt x="550" y="388"/>
                  <a:pt x="552" y="389"/>
                  <a:pt x="551" y="388"/>
                </a:cubicBezTo>
                <a:cubicBezTo>
                  <a:pt x="551" y="388"/>
                  <a:pt x="550" y="387"/>
                  <a:pt x="550" y="386"/>
                </a:cubicBezTo>
                <a:cubicBezTo>
                  <a:pt x="549" y="386"/>
                  <a:pt x="548" y="386"/>
                  <a:pt x="548" y="384"/>
                </a:cubicBezTo>
                <a:cubicBezTo>
                  <a:pt x="549" y="385"/>
                  <a:pt x="549" y="386"/>
                  <a:pt x="550" y="386"/>
                </a:cubicBezTo>
                <a:close/>
                <a:moveTo>
                  <a:pt x="501" y="184"/>
                </a:moveTo>
                <a:cubicBezTo>
                  <a:pt x="501" y="184"/>
                  <a:pt x="503" y="186"/>
                  <a:pt x="504" y="186"/>
                </a:cubicBezTo>
                <a:cubicBezTo>
                  <a:pt x="503" y="187"/>
                  <a:pt x="502" y="186"/>
                  <a:pt x="501" y="184"/>
                </a:cubicBezTo>
                <a:close/>
                <a:moveTo>
                  <a:pt x="506" y="169"/>
                </a:moveTo>
                <a:cubicBezTo>
                  <a:pt x="507" y="169"/>
                  <a:pt x="508" y="168"/>
                  <a:pt x="508" y="168"/>
                </a:cubicBezTo>
                <a:cubicBezTo>
                  <a:pt x="508" y="168"/>
                  <a:pt x="507" y="169"/>
                  <a:pt x="506" y="169"/>
                </a:cubicBezTo>
                <a:close/>
                <a:moveTo>
                  <a:pt x="510" y="244"/>
                </a:moveTo>
                <a:cubicBezTo>
                  <a:pt x="511" y="243"/>
                  <a:pt x="512" y="242"/>
                  <a:pt x="513" y="241"/>
                </a:cubicBezTo>
                <a:cubicBezTo>
                  <a:pt x="512" y="242"/>
                  <a:pt x="511" y="243"/>
                  <a:pt x="510" y="244"/>
                </a:cubicBezTo>
                <a:close/>
                <a:moveTo>
                  <a:pt x="527" y="226"/>
                </a:moveTo>
                <a:cubicBezTo>
                  <a:pt x="528" y="227"/>
                  <a:pt x="528" y="228"/>
                  <a:pt x="529" y="229"/>
                </a:cubicBezTo>
                <a:cubicBezTo>
                  <a:pt x="529" y="228"/>
                  <a:pt x="528" y="227"/>
                  <a:pt x="527" y="226"/>
                </a:cubicBezTo>
                <a:close/>
                <a:moveTo>
                  <a:pt x="528" y="176"/>
                </a:moveTo>
                <a:cubicBezTo>
                  <a:pt x="526" y="175"/>
                  <a:pt x="524" y="175"/>
                  <a:pt x="522" y="175"/>
                </a:cubicBezTo>
                <a:cubicBezTo>
                  <a:pt x="523" y="175"/>
                  <a:pt x="525" y="175"/>
                  <a:pt x="527" y="176"/>
                </a:cubicBezTo>
                <a:cubicBezTo>
                  <a:pt x="528" y="176"/>
                  <a:pt x="528" y="176"/>
                  <a:pt x="528" y="176"/>
                </a:cubicBezTo>
                <a:cubicBezTo>
                  <a:pt x="529" y="176"/>
                  <a:pt x="531" y="177"/>
                  <a:pt x="532" y="177"/>
                </a:cubicBezTo>
                <a:cubicBezTo>
                  <a:pt x="530" y="177"/>
                  <a:pt x="529" y="177"/>
                  <a:pt x="528" y="176"/>
                </a:cubicBezTo>
                <a:close/>
                <a:moveTo>
                  <a:pt x="536" y="230"/>
                </a:moveTo>
                <a:cubicBezTo>
                  <a:pt x="536" y="228"/>
                  <a:pt x="536" y="229"/>
                  <a:pt x="536" y="230"/>
                </a:cubicBezTo>
                <a:close/>
                <a:moveTo>
                  <a:pt x="559" y="169"/>
                </a:moveTo>
                <a:cubicBezTo>
                  <a:pt x="560" y="165"/>
                  <a:pt x="558" y="169"/>
                  <a:pt x="559" y="169"/>
                </a:cubicBezTo>
                <a:close/>
                <a:moveTo>
                  <a:pt x="558" y="148"/>
                </a:moveTo>
                <a:cubicBezTo>
                  <a:pt x="557" y="149"/>
                  <a:pt x="558" y="150"/>
                  <a:pt x="556" y="149"/>
                </a:cubicBezTo>
                <a:cubicBezTo>
                  <a:pt x="557" y="148"/>
                  <a:pt x="557" y="149"/>
                  <a:pt x="558" y="148"/>
                </a:cubicBezTo>
                <a:close/>
                <a:moveTo>
                  <a:pt x="551" y="146"/>
                </a:moveTo>
                <a:cubicBezTo>
                  <a:pt x="551" y="147"/>
                  <a:pt x="551" y="148"/>
                  <a:pt x="551" y="149"/>
                </a:cubicBezTo>
                <a:cubicBezTo>
                  <a:pt x="550" y="150"/>
                  <a:pt x="549" y="151"/>
                  <a:pt x="548" y="152"/>
                </a:cubicBezTo>
                <a:cubicBezTo>
                  <a:pt x="550" y="150"/>
                  <a:pt x="550" y="149"/>
                  <a:pt x="551" y="146"/>
                </a:cubicBezTo>
                <a:close/>
                <a:moveTo>
                  <a:pt x="539" y="165"/>
                </a:moveTo>
                <a:cubicBezTo>
                  <a:pt x="539" y="170"/>
                  <a:pt x="543" y="171"/>
                  <a:pt x="543" y="175"/>
                </a:cubicBezTo>
                <a:cubicBezTo>
                  <a:pt x="547" y="177"/>
                  <a:pt x="552" y="179"/>
                  <a:pt x="555" y="181"/>
                </a:cubicBezTo>
                <a:cubicBezTo>
                  <a:pt x="553" y="182"/>
                  <a:pt x="547" y="184"/>
                  <a:pt x="544" y="184"/>
                </a:cubicBezTo>
                <a:cubicBezTo>
                  <a:pt x="542" y="183"/>
                  <a:pt x="542" y="183"/>
                  <a:pt x="542" y="183"/>
                </a:cubicBezTo>
                <a:cubicBezTo>
                  <a:pt x="542" y="183"/>
                  <a:pt x="542" y="183"/>
                  <a:pt x="542" y="182"/>
                </a:cubicBezTo>
                <a:cubicBezTo>
                  <a:pt x="542" y="182"/>
                  <a:pt x="543" y="175"/>
                  <a:pt x="543" y="175"/>
                </a:cubicBezTo>
                <a:cubicBezTo>
                  <a:pt x="543" y="175"/>
                  <a:pt x="543" y="175"/>
                  <a:pt x="543" y="175"/>
                </a:cubicBezTo>
                <a:cubicBezTo>
                  <a:pt x="541" y="173"/>
                  <a:pt x="539" y="170"/>
                  <a:pt x="539" y="165"/>
                </a:cubicBezTo>
                <a:close/>
                <a:moveTo>
                  <a:pt x="541" y="195"/>
                </a:moveTo>
                <a:cubicBezTo>
                  <a:pt x="554" y="192"/>
                  <a:pt x="567" y="190"/>
                  <a:pt x="580" y="188"/>
                </a:cubicBezTo>
                <a:cubicBezTo>
                  <a:pt x="582" y="194"/>
                  <a:pt x="573" y="194"/>
                  <a:pt x="567" y="194"/>
                </a:cubicBezTo>
                <a:cubicBezTo>
                  <a:pt x="571" y="197"/>
                  <a:pt x="574" y="198"/>
                  <a:pt x="576" y="202"/>
                </a:cubicBezTo>
                <a:cubicBezTo>
                  <a:pt x="567" y="203"/>
                  <a:pt x="565" y="208"/>
                  <a:pt x="558" y="205"/>
                </a:cubicBezTo>
                <a:cubicBezTo>
                  <a:pt x="552" y="202"/>
                  <a:pt x="548" y="197"/>
                  <a:pt x="541" y="195"/>
                </a:cubicBezTo>
                <a:close/>
                <a:moveTo>
                  <a:pt x="583" y="232"/>
                </a:moveTo>
                <a:cubicBezTo>
                  <a:pt x="582" y="238"/>
                  <a:pt x="576" y="235"/>
                  <a:pt x="573" y="234"/>
                </a:cubicBezTo>
                <a:cubicBezTo>
                  <a:pt x="567" y="233"/>
                  <a:pt x="560" y="229"/>
                  <a:pt x="554" y="231"/>
                </a:cubicBezTo>
                <a:cubicBezTo>
                  <a:pt x="551" y="233"/>
                  <a:pt x="549" y="234"/>
                  <a:pt x="548" y="236"/>
                </a:cubicBezTo>
                <a:cubicBezTo>
                  <a:pt x="553" y="239"/>
                  <a:pt x="565" y="243"/>
                  <a:pt x="573" y="244"/>
                </a:cubicBezTo>
                <a:cubicBezTo>
                  <a:pt x="572" y="245"/>
                  <a:pt x="571" y="247"/>
                  <a:pt x="571" y="248"/>
                </a:cubicBezTo>
                <a:cubicBezTo>
                  <a:pt x="564" y="242"/>
                  <a:pt x="553" y="241"/>
                  <a:pt x="548" y="236"/>
                </a:cubicBezTo>
                <a:cubicBezTo>
                  <a:pt x="549" y="233"/>
                  <a:pt x="552" y="232"/>
                  <a:pt x="554" y="231"/>
                </a:cubicBezTo>
                <a:cubicBezTo>
                  <a:pt x="558" y="228"/>
                  <a:pt x="563" y="226"/>
                  <a:pt x="565" y="226"/>
                </a:cubicBezTo>
                <a:cubicBezTo>
                  <a:pt x="571" y="225"/>
                  <a:pt x="576" y="228"/>
                  <a:pt x="583" y="226"/>
                </a:cubicBezTo>
                <a:cubicBezTo>
                  <a:pt x="583" y="226"/>
                  <a:pt x="581" y="227"/>
                  <a:pt x="581" y="227"/>
                </a:cubicBezTo>
                <a:cubicBezTo>
                  <a:pt x="582" y="227"/>
                  <a:pt x="584" y="227"/>
                  <a:pt x="585" y="227"/>
                </a:cubicBezTo>
                <a:cubicBezTo>
                  <a:pt x="585" y="229"/>
                  <a:pt x="584" y="230"/>
                  <a:pt x="583" y="232"/>
                </a:cubicBezTo>
                <a:close/>
                <a:moveTo>
                  <a:pt x="581" y="220"/>
                </a:moveTo>
                <a:cubicBezTo>
                  <a:pt x="576" y="220"/>
                  <a:pt x="568" y="224"/>
                  <a:pt x="564" y="222"/>
                </a:cubicBezTo>
                <a:cubicBezTo>
                  <a:pt x="559" y="220"/>
                  <a:pt x="564" y="215"/>
                  <a:pt x="563" y="209"/>
                </a:cubicBezTo>
                <a:cubicBezTo>
                  <a:pt x="567" y="214"/>
                  <a:pt x="584" y="217"/>
                  <a:pt x="585" y="212"/>
                </a:cubicBezTo>
                <a:cubicBezTo>
                  <a:pt x="583" y="215"/>
                  <a:pt x="586" y="220"/>
                  <a:pt x="581" y="220"/>
                </a:cubicBezTo>
                <a:close/>
                <a:moveTo>
                  <a:pt x="622" y="220"/>
                </a:moveTo>
                <a:cubicBezTo>
                  <a:pt x="620" y="221"/>
                  <a:pt x="620" y="221"/>
                  <a:pt x="622" y="220"/>
                </a:cubicBezTo>
                <a:close/>
                <a:moveTo>
                  <a:pt x="608" y="216"/>
                </a:moveTo>
                <a:cubicBezTo>
                  <a:pt x="609" y="218"/>
                  <a:pt x="608" y="217"/>
                  <a:pt x="609" y="217"/>
                </a:cubicBezTo>
                <a:cubicBezTo>
                  <a:pt x="609" y="217"/>
                  <a:pt x="608" y="214"/>
                  <a:pt x="608" y="216"/>
                </a:cubicBezTo>
                <a:close/>
                <a:moveTo>
                  <a:pt x="591" y="220"/>
                </a:moveTo>
                <a:cubicBezTo>
                  <a:pt x="592" y="217"/>
                  <a:pt x="593" y="214"/>
                  <a:pt x="596" y="212"/>
                </a:cubicBezTo>
                <a:cubicBezTo>
                  <a:pt x="593" y="214"/>
                  <a:pt x="592" y="217"/>
                  <a:pt x="591" y="220"/>
                </a:cubicBezTo>
                <a:close/>
                <a:moveTo>
                  <a:pt x="595" y="228"/>
                </a:moveTo>
                <a:cubicBezTo>
                  <a:pt x="594" y="226"/>
                  <a:pt x="593" y="225"/>
                  <a:pt x="593" y="223"/>
                </a:cubicBezTo>
                <a:cubicBezTo>
                  <a:pt x="594" y="225"/>
                  <a:pt x="595" y="227"/>
                  <a:pt x="595" y="228"/>
                </a:cubicBezTo>
                <a:cubicBezTo>
                  <a:pt x="596" y="228"/>
                  <a:pt x="596" y="229"/>
                  <a:pt x="596" y="229"/>
                </a:cubicBezTo>
                <a:cubicBezTo>
                  <a:pt x="596" y="229"/>
                  <a:pt x="596" y="229"/>
                  <a:pt x="595" y="228"/>
                </a:cubicBezTo>
                <a:close/>
                <a:moveTo>
                  <a:pt x="594" y="222"/>
                </a:moveTo>
                <a:cubicBezTo>
                  <a:pt x="595" y="222"/>
                  <a:pt x="598" y="221"/>
                  <a:pt x="596" y="221"/>
                </a:cubicBezTo>
                <a:cubicBezTo>
                  <a:pt x="595" y="222"/>
                  <a:pt x="595" y="222"/>
                  <a:pt x="594" y="222"/>
                </a:cubicBezTo>
                <a:close/>
                <a:moveTo>
                  <a:pt x="597" y="248"/>
                </a:moveTo>
                <a:cubicBezTo>
                  <a:pt x="605" y="248"/>
                  <a:pt x="617" y="252"/>
                  <a:pt x="623" y="245"/>
                </a:cubicBezTo>
                <a:cubicBezTo>
                  <a:pt x="618" y="249"/>
                  <a:pt x="616" y="254"/>
                  <a:pt x="620" y="261"/>
                </a:cubicBezTo>
                <a:cubicBezTo>
                  <a:pt x="619" y="254"/>
                  <a:pt x="611" y="255"/>
                  <a:pt x="607" y="252"/>
                </a:cubicBezTo>
                <a:cubicBezTo>
                  <a:pt x="603" y="253"/>
                  <a:pt x="599" y="251"/>
                  <a:pt x="597" y="248"/>
                </a:cubicBezTo>
                <a:close/>
                <a:moveTo>
                  <a:pt x="682" y="312"/>
                </a:moveTo>
                <a:cubicBezTo>
                  <a:pt x="682" y="312"/>
                  <a:pt x="683" y="313"/>
                  <a:pt x="683" y="313"/>
                </a:cubicBezTo>
                <a:cubicBezTo>
                  <a:pt x="682" y="313"/>
                  <a:pt x="682" y="312"/>
                  <a:pt x="682" y="312"/>
                </a:cubicBezTo>
                <a:cubicBezTo>
                  <a:pt x="682" y="312"/>
                  <a:pt x="681" y="313"/>
                  <a:pt x="681" y="312"/>
                </a:cubicBezTo>
                <a:cubicBezTo>
                  <a:pt x="682" y="311"/>
                  <a:pt x="682" y="310"/>
                  <a:pt x="683" y="309"/>
                </a:cubicBezTo>
                <a:cubicBezTo>
                  <a:pt x="683" y="310"/>
                  <a:pt x="681" y="311"/>
                  <a:pt x="681" y="312"/>
                </a:cubicBezTo>
                <a:cubicBezTo>
                  <a:pt x="681" y="312"/>
                  <a:pt x="682" y="312"/>
                  <a:pt x="682" y="312"/>
                </a:cubicBezTo>
                <a:close/>
                <a:moveTo>
                  <a:pt x="675" y="383"/>
                </a:moveTo>
                <a:cubicBezTo>
                  <a:pt x="675" y="383"/>
                  <a:pt x="675" y="384"/>
                  <a:pt x="675" y="384"/>
                </a:cubicBezTo>
                <a:cubicBezTo>
                  <a:pt x="675" y="384"/>
                  <a:pt x="675" y="384"/>
                  <a:pt x="675" y="384"/>
                </a:cubicBezTo>
                <a:cubicBezTo>
                  <a:pt x="675" y="384"/>
                  <a:pt x="675" y="384"/>
                  <a:pt x="675" y="384"/>
                </a:cubicBezTo>
                <a:cubicBezTo>
                  <a:pt x="675" y="383"/>
                  <a:pt x="676" y="382"/>
                  <a:pt x="675" y="383"/>
                </a:cubicBezTo>
                <a:close/>
                <a:moveTo>
                  <a:pt x="691" y="319"/>
                </a:moveTo>
                <a:cubicBezTo>
                  <a:pt x="689" y="318"/>
                  <a:pt x="688" y="317"/>
                  <a:pt x="686" y="317"/>
                </a:cubicBezTo>
                <a:cubicBezTo>
                  <a:pt x="688" y="317"/>
                  <a:pt x="689" y="318"/>
                  <a:pt x="691" y="319"/>
                </a:cubicBezTo>
                <a:cubicBezTo>
                  <a:pt x="694" y="320"/>
                  <a:pt x="696" y="321"/>
                  <a:pt x="699" y="321"/>
                </a:cubicBezTo>
                <a:cubicBezTo>
                  <a:pt x="696" y="321"/>
                  <a:pt x="694" y="320"/>
                  <a:pt x="691" y="319"/>
                </a:cubicBezTo>
                <a:close/>
                <a:moveTo>
                  <a:pt x="704" y="353"/>
                </a:moveTo>
                <a:cubicBezTo>
                  <a:pt x="704" y="353"/>
                  <a:pt x="704" y="353"/>
                  <a:pt x="703" y="353"/>
                </a:cubicBezTo>
                <a:cubicBezTo>
                  <a:pt x="703" y="354"/>
                  <a:pt x="703" y="354"/>
                  <a:pt x="703" y="355"/>
                </a:cubicBezTo>
                <a:cubicBezTo>
                  <a:pt x="703" y="354"/>
                  <a:pt x="703" y="354"/>
                  <a:pt x="703" y="353"/>
                </a:cubicBezTo>
                <a:cubicBezTo>
                  <a:pt x="704" y="352"/>
                  <a:pt x="704" y="352"/>
                  <a:pt x="704" y="351"/>
                </a:cubicBezTo>
                <a:cubicBezTo>
                  <a:pt x="704" y="351"/>
                  <a:pt x="704" y="352"/>
                  <a:pt x="704" y="353"/>
                </a:cubicBezTo>
                <a:close/>
                <a:moveTo>
                  <a:pt x="712" y="334"/>
                </a:moveTo>
                <a:cubicBezTo>
                  <a:pt x="713" y="334"/>
                  <a:pt x="713" y="333"/>
                  <a:pt x="714" y="332"/>
                </a:cubicBezTo>
                <a:cubicBezTo>
                  <a:pt x="716" y="331"/>
                  <a:pt x="718" y="329"/>
                  <a:pt x="720" y="328"/>
                </a:cubicBezTo>
                <a:cubicBezTo>
                  <a:pt x="717" y="330"/>
                  <a:pt x="714" y="331"/>
                  <a:pt x="712" y="334"/>
                </a:cubicBezTo>
                <a:close/>
                <a:moveTo>
                  <a:pt x="744" y="330"/>
                </a:moveTo>
                <a:cubicBezTo>
                  <a:pt x="744" y="330"/>
                  <a:pt x="743" y="332"/>
                  <a:pt x="744" y="330"/>
                </a:cubicBezTo>
                <a:close/>
                <a:moveTo>
                  <a:pt x="736" y="327"/>
                </a:moveTo>
                <a:cubicBezTo>
                  <a:pt x="734" y="328"/>
                  <a:pt x="733" y="328"/>
                  <a:pt x="731" y="329"/>
                </a:cubicBezTo>
                <a:cubicBezTo>
                  <a:pt x="734" y="328"/>
                  <a:pt x="735" y="326"/>
                  <a:pt x="736" y="325"/>
                </a:cubicBezTo>
                <a:cubicBezTo>
                  <a:pt x="736" y="325"/>
                  <a:pt x="736" y="326"/>
                  <a:pt x="736" y="327"/>
                </a:cubicBezTo>
                <a:close/>
                <a:moveTo>
                  <a:pt x="738" y="371"/>
                </a:moveTo>
                <a:cubicBezTo>
                  <a:pt x="739" y="372"/>
                  <a:pt x="739" y="373"/>
                  <a:pt x="740" y="374"/>
                </a:cubicBezTo>
                <a:cubicBezTo>
                  <a:pt x="738" y="373"/>
                  <a:pt x="739" y="372"/>
                  <a:pt x="738" y="371"/>
                </a:cubicBezTo>
                <a:close/>
                <a:moveTo>
                  <a:pt x="740" y="346"/>
                </a:moveTo>
                <a:cubicBezTo>
                  <a:pt x="741" y="348"/>
                  <a:pt x="743" y="350"/>
                  <a:pt x="743" y="351"/>
                </a:cubicBezTo>
                <a:cubicBezTo>
                  <a:pt x="743" y="350"/>
                  <a:pt x="741" y="348"/>
                  <a:pt x="740" y="346"/>
                </a:cubicBezTo>
                <a:close/>
                <a:moveTo>
                  <a:pt x="749" y="352"/>
                </a:moveTo>
                <a:cubicBezTo>
                  <a:pt x="749" y="351"/>
                  <a:pt x="749" y="350"/>
                  <a:pt x="748" y="349"/>
                </a:cubicBezTo>
                <a:cubicBezTo>
                  <a:pt x="746" y="348"/>
                  <a:pt x="745" y="346"/>
                  <a:pt x="743" y="345"/>
                </a:cubicBezTo>
                <a:cubicBezTo>
                  <a:pt x="745" y="346"/>
                  <a:pt x="747" y="348"/>
                  <a:pt x="748" y="349"/>
                </a:cubicBezTo>
                <a:cubicBezTo>
                  <a:pt x="748" y="349"/>
                  <a:pt x="748" y="349"/>
                  <a:pt x="748" y="349"/>
                </a:cubicBezTo>
                <a:cubicBezTo>
                  <a:pt x="749" y="350"/>
                  <a:pt x="750" y="351"/>
                  <a:pt x="749" y="352"/>
                </a:cubicBezTo>
                <a:close/>
                <a:moveTo>
                  <a:pt x="751" y="362"/>
                </a:moveTo>
                <a:cubicBezTo>
                  <a:pt x="753" y="363"/>
                  <a:pt x="753" y="363"/>
                  <a:pt x="751" y="362"/>
                </a:cubicBezTo>
                <a:close/>
                <a:moveTo>
                  <a:pt x="757" y="350"/>
                </a:moveTo>
                <a:cubicBezTo>
                  <a:pt x="758" y="347"/>
                  <a:pt x="758" y="348"/>
                  <a:pt x="760" y="347"/>
                </a:cubicBezTo>
                <a:cubicBezTo>
                  <a:pt x="759" y="348"/>
                  <a:pt x="758" y="347"/>
                  <a:pt x="757" y="350"/>
                </a:cubicBezTo>
                <a:close/>
                <a:moveTo>
                  <a:pt x="768" y="351"/>
                </a:moveTo>
                <a:cubicBezTo>
                  <a:pt x="769" y="350"/>
                  <a:pt x="769" y="350"/>
                  <a:pt x="770" y="349"/>
                </a:cubicBezTo>
                <a:cubicBezTo>
                  <a:pt x="769" y="350"/>
                  <a:pt x="769" y="350"/>
                  <a:pt x="768" y="351"/>
                </a:cubicBezTo>
                <a:close/>
                <a:moveTo>
                  <a:pt x="771" y="349"/>
                </a:moveTo>
                <a:cubicBezTo>
                  <a:pt x="770" y="349"/>
                  <a:pt x="770" y="349"/>
                  <a:pt x="770" y="349"/>
                </a:cubicBezTo>
                <a:cubicBezTo>
                  <a:pt x="771" y="349"/>
                  <a:pt x="771" y="350"/>
                  <a:pt x="771" y="349"/>
                </a:cubicBezTo>
                <a:close/>
                <a:moveTo>
                  <a:pt x="769" y="345"/>
                </a:moveTo>
                <a:cubicBezTo>
                  <a:pt x="770" y="346"/>
                  <a:pt x="770" y="347"/>
                  <a:pt x="772" y="347"/>
                </a:cubicBezTo>
                <a:cubicBezTo>
                  <a:pt x="770" y="347"/>
                  <a:pt x="770" y="346"/>
                  <a:pt x="769" y="345"/>
                </a:cubicBezTo>
                <a:close/>
                <a:moveTo>
                  <a:pt x="766" y="469"/>
                </a:moveTo>
                <a:cubicBezTo>
                  <a:pt x="768" y="467"/>
                  <a:pt x="768" y="468"/>
                  <a:pt x="770" y="465"/>
                </a:cubicBezTo>
                <a:cubicBezTo>
                  <a:pt x="769" y="466"/>
                  <a:pt x="769" y="467"/>
                  <a:pt x="768" y="468"/>
                </a:cubicBezTo>
                <a:cubicBezTo>
                  <a:pt x="768" y="469"/>
                  <a:pt x="766" y="469"/>
                  <a:pt x="766" y="469"/>
                </a:cubicBezTo>
                <a:close/>
                <a:moveTo>
                  <a:pt x="767" y="475"/>
                </a:moveTo>
                <a:cubicBezTo>
                  <a:pt x="769" y="475"/>
                  <a:pt x="770" y="475"/>
                  <a:pt x="772" y="475"/>
                </a:cubicBezTo>
                <a:cubicBezTo>
                  <a:pt x="770" y="475"/>
                  <a:pt x="769" y="475"/>
                  <a:pt x="767" y="475"/>
                </a:cubicBezTo>
                <a:close/>
                <a:moveTo>
                  <a:pt x="780" y="474"/>
                </a:moveTo>
                <a:cubicBezTo>
                  <a:pt x="779" y="476"/>
                  <a:pt x="778" y="478"/>
                  <a:pt x="776" y="480"/>
                </a:cubicBezTo>
                <a:cubicBezTo>
                  <a:pt x="778" y="478"/>
                  <a:pt x="779" y="476"/>
                  <a:pt x="780" y="474"/>
                </a:cubicBezTo>
                <a:cubicBezTo>
                  <a:pt x="780" y="473"/>
                  <a:pt x="780" y="472"/>
                  <a:pt x="780" y="471"/>
                </a:cubicBezTo>
                <a:cubicBezTo>
                  <a:pt x="780" y="471"/>
                  <a:pt x="780" y="471"/>
                  <a:pt x="780" y="471"/>
                </a:cubicBezTo>
                <a:cubicBezTo>
                  <a:pt x="780" y="471"/>
                  <a:pt x="780" y="471"/>
                  <a:pt x="780" y="471"/>
                </a:cubicBezTo>
                <a:cubicBezTo>
                  <a:pt x="781" y="469"/>
                  <a:pt x="781" y="467"/>
                  <a:pt x="782" y="465"/>
                </a:cubicBezTo>
                <a:cubicBezTo>
                  <a:pt x="781" y="467"/>
                  <a:pt x="781" y="469"/>
                  <a:pt x="780" y="471"/>
                </a:cubicBezTo>
                <a:cubicBezTo>
                  <a:pt x="781" y="471"/>
                  <a:pt x="782" y="470"/>
                  <a:pt x="783" y="470"/>
                </a:cubicBezTo>
                <a:cubicBezTo>
                  <a:pt x="781" y="471"/>
                  <a:pt x="780" y="472"/>
                  <a:pt x="780" y="474"/>
                </a:cubicBezTo>
                <a:close/>
                <a:moveTo>
                  <a:pt x="782" y="464"/>
                </a:moveTo>
                <a:cubicBezTo>
                  <a:pt x="781" y="465"/>
                  <a:pt x="784" y="462"/>
                  <a:pt x="785" y="461"/>
                </a:cubicBezTo>
                <a:cubicBezTo>
                  <a:pt x="784" y="462"/>
                  <a:pt x="783" y="463"/>
                  <a:pt x="782" y="464"/>
                </a:cubicBezTo>
                <a:close/>
                <a:moveTo>
                  <a:pt x="786" y="458"/>
                </a:moveTo>
                <a:cubicBezTo>
                  <a:pt x="786" y="458"/>
                  <a:pt x="786" y="459"/>
                  <a:pt x="786" y="460"/>
                </a:cubicBezTo>
                <a:cubicBezTo>
                  <a:pt x="787" y="461"/>
                  <a:pt x="788" y="463"/>
                  <a:pt x="790" y="464"/>
                </a:cubicBezTo>
                <a:cubicBezTo>
                  <a:pt x="788" y="463"/>
                  <a:pt x="787" y="461"/>
                  <a:pt x="786" y="460"/>
                </a:cubicBezTo>
                <a:cubicBezTo>
                  <a:pt x="786" y="459"/>
                  <a:pt x="786" y="459"/>
                  <a:pt x="786" y="458"/>
                </a:cubicBezTo>
                <a:cubicBezTo>
                  <a:pt x="786" y="459"/>
                  <a:pt x="786" y="460"/>
                  <a:pt x="785" y="460"/>
                </a:cubicBezTo>
                <a:cubicBezTo>
                  <a:pt x="785" y="459"/>
                  <a:pt x="785" y="457"/>
                  <a:pt x="784" y="456"/>
                </a:cubicBezTo>
                <a:cubicBezTo>
                  <a:pt x="783" y="454"/>
                  <a:pt x="782" y="452"/>
                  <a:pt x="780" y="452"/>
                </a:cubicBezTo>
                <a:cubicBezTo>
                  <a:pt x="782" y="453"/>
                  <a:pt x="784" y="454"/>
                  <a:pt x="784" y="456"/>
                </a:cubicBezTo>
                <a:cubicBezTo>
                  <a:pt x="785" y="457"/>
                  <a:pt x="785" y="458"/>
                  <a:pt x="786" y="458"/>
                </a:cubicBezTo>
                <a:cubicBezTo>
                  <a:pt x="786" y="458"/>
                  <a:pt x="786" y="458"/>
                  <a:pt x="786" y="458"/>
                </a:cubicBezTo>
                <a:close/>
                <a:moveTo>
                  <a:pt x="819" y="388"/>
                </a:moveTo>
                <a:cubicBezTo>
                  <a:pt x="819" y="390"/>
                  <a:pt x="819" y="390"/>
                  <a:pt x="819" y="388"/>
                </a:cubicBezTo>
                <a:close/>
                <a:moveTo>
                  <a:pt x="866" y="408"/>
                </a:moveTo>
                <a:cubicBezTo>
                  <a:pt x="865" y="410"/>
                  <a:pt x="865" y="411"/>
                  <a:pt x="864" y="412"/>
                </a:cubicBezTo>
                <a:cubicBezTo>
                  <a:pt x="864" y="411"/>
                  <a:pt x="865" y="410"/>
                  <a:pt x="866" y="408"/>
                </a:cubicBezTo>
                <a:close/>
                <a:moveTo>
                  <a:pt x="861" y="362"/>
                </a:moveTo>
                <a:cubicBezTo>
                  <a:pt x="861" y="362"/>
                  <a:pt x="861" y="362"/>
                  <a:pt x="860" y="362"/>
                </a:cubicBezTo>
                <a:cubicBezTo>
                  <a:pt x="860" y="362"/>
                  <a:pt x="860" y="362"/>
                  <a:pt x="861" y="362"/>
                </a:cubicBezTo>
                <a:close/>
                <a:moveTo>
                  <a:pt x="855" y="374"/>
                </a:moveTo>
                <a:cubicBezTo>
                  <a:pt x="857" y="373"/>
                  <a:pt x="859" y="372"/>
                  <a:pt x="861" y="370"/>
                </a:cubicBezTo>
                <a:cubicBezTo>
                  <a:pt x="860" y="371"/>
                  <a:pt x="858" y="372"/>
                  <a:pt x="857" y="374"/>
                </a:cubicBezTo>
                <a:cubicBezTo>
                  <a:pt x="856" y="374"/>
                  <a:pt x="856" y="374"/>
                  <a:pt x="855" y="374"/>
                </a:cubicBezTo>
                <a:cubicBezTo>
                  <a:pt x="855" y="374"/>
                  <a:pt x="854" y="374"/>
                  <a:pt x="853" y="375"/>
                </a:cubicBezTo>
                <a:cubicBezTo>
                  <a:pt x="854" y="374"/>
                  <a:pt x="855" y="374"/>
                  <a:pt x="855" y="374"/>
                </a:cubicBezTo>
                <a:close/>
                <a:moveTo>
                  <a:pt x="838" y="382"/>
                </a:moveTo>
                <a:cubicBezTo>
                  <a:pt x="835" y="382"/>
                  <a:pt x="831" y="382"/>
                  <a:pt x="828" y="382"/>
                </a:cubicBezTo>
                <a:cubicBezTo>
                  <a:pt x="831" y="382"/>
                  <a:pt x="835" y="382"/>
                  <a:pt x="838" y="382"/>
                </a:cubicBezTo>
                <a:close/>
                <a:moveTo>
                  <a:pt x="826" y="462"/>
                </a:moveTo>
                <a:cubicBezTo>
                  <a:pt x="825" y="463"/>
                  <a:pt x="825" y="462"/>
                  <a:pt x="825" y="461"/>
                </a:cubicBezTo>
                <a:cubicBezTo>
                  <a:pt x="827" y="460"/>
                  <a:pt x="826" y="461"/>
                  <a:pt x="826" y="462"/>
                </a:cubicBezTo>
                <a:close/>
                <a:moveTo>
                  <a:pt x="825" y="459"/>
                </a:moveTo>
                <a:cubicBezTo>
                  <a:pt x="826" y="458"/>
                  <a:pt x="825" y="458"/>
                  <a:pt x="825" y="460"/>
                </a:cubicBezTo>
                <a:cubicBezTo>
                  <a:pt x="824" y="462"/>
                  <a:pt x="825" y="460"/>
                  <a:pt x="825" y="459"/>
                </a:cubicBezTo>
                <a:close/>
                <a:moveTo>
                  <a:pt x="844" y="450"/>
                </a:moveTo>
                <a:cubicBezTo>
                  <a:pt x="839" y="450"/>
                  <a:pt x="833" y="452"/>
                  <a:pt x="830" y="447"/>
                </a:cubicBezTo>
                <a:cubicBezTo>
                  <a:pt x="827" y="444"/>
                  <a:pt x="827" y="436"/>
                  <a:pt x="826" y="432"/>
                </a:cubicBezTo>
                <a:cubicBezTo>
                  <a:pt x="824" y="426"/>
                  <a:pt x="816" y="396"/>
                  <a:pt x="829" y="399"/>
                </a:cubicBezTo>
                <a:cubicBezTo>
                  <a:pt x="828" y="398"/>
                  <a:pt x="827" y="397"/>
                  <a:pt x="827" y="396"/>
                </a:cubicBezTo>
                <a:cubicBezTo>
                  <a:pt x="832" y="404"/>
                  <a:pt x="839" y="410"/>
                  <a:pt x="845" y="417"/>
                </a:cubicBezTo>
                <a:cubicBezTo>
                  <a:pt x="851" y="425"/>
                  <a:pt x="852" y="432"/>
                  <a:pt x="857" y="441"/>
                </a:cubicBezTo>
                <a:cubicBezTo>
                  <a:pt x="852" y="443"/>
                  <a:pt x="846" y="444"/>
                  <a:pt x="844" y="450"/>
                </a:cubicBezTo>
                <a:close/>
                <a:moveTo>
                  <a:pt x="869" y="449"/>
                </a:moveTo>
                <a:cubicBezTo>
                  <a:pt x="869" y="451"/>
                  <a:pt x="870" y="455"/>
                  <a:pt x="868" y="453"/>
                </a:cubicBezTo>
                <a:cubicBezTo>
                  <a:pt x="868" y="454"/>
                  <a:pt x="868" y="454"/>
                  <a:pt x="868" y="453"/>
                </a:cubicBezTo>
                <a:cubicBezTo>
                  <a:pt x="868" y="453"/>
                  <a:pt x="868" y="453"/>
                  <a:pt x="868" y="453"/>
                </a:cubicBezTo>
                <a:cubicBezTo>
                  <a:pt x="868" y="452"/>
                  <a:pt x="869" y="450"/>
                  <a:pt x="869" y="449"/>
                </a:cubicBezTo>
                <a:cubicBezTo>
                  <a:pt x="870" y="449"/>
                  <a:pt x="871" y="449"/>
                  <a:pt x="871" y="450"/>
                </a:cubicBezTo>
                <a:cubicBezTo>
                  <a:pt x="870" y="449"/>
                  <a:pt x="870" y="449"/>
                  <a:pt x="869" y="449"/>
                </a:cubicBezTo>
                <a:close/>
                <a:moveTo>
                  <a:pt x="876" y="467"/>
                </a:moveTo>
                <a:cubicBezTo>
                  <a:pt x="875" y="465"/>
                  <a:pt x="875" y="465"/>
                  <a:pt x="876" y="467"/>
                </a:cubicBezTo>
                <a:close/>
                <a:moveTo>
                  <a:pt x="864" y="438"/>
                </a:moveTo>
                <a:cubicBezTo>
                  <a:pt x="863" y="438"/>
                  <a:pt x="860" y="440"/>
                  <a:pt x="858" y="440"/>
                </a:cubicBezTo>
                <a:cubicBezTo>
                  <a:pt x="860" y="439"/>
                  <a:pt x="862" y="439"/>
                  <a:pt x="864" y="438"/>
                </a:cubicBezTo>
                <a:cubicBezTo>
                  <a:pt x="860" y="428"/>
                  <a:pt x="853" y="421"/>
                  <a:pt x="846" y="414"/>
                </a:cubicBezTo>
                <a:cubicBezTo>
                  <a:pt x="841" y="408"/>
                  <a:pt x="835" y="399"/>
                  <a:pt x="829" y="396"/>
                </a:cubicBezTo>
                <a:cubicBezTo>
                  <a:pt x="835" y="387"/>
                  <a:pt x="844" y="407"/>
                  <a:pt x="849" y="411"/>
                </a:cubicBezTo>
                <a:cubicBezTo>
                  <a:pt x="852" y="413"/>
                  <a:pt x="858" y="411"/>
                  <a:pt x="861" y="412"/>
                </a:cubicBezTo>
                <a:cubicBezTo>
                  <a:pt x="864" y="414"/>
                  <a:pt x="866" y="417"/>
                  <a:pt x="868" y="420"/>
                </a:cubicBezTo>
                <a:cubicBezTo>
                  <a:pt x="872" y="426"/>
                  <a:pt x="877" y="432"/>
                  <a:pt x="880" y="439"/>
                </a:cubicBezTo>
                <a:cubicBezTo>
                  <a:pt x="875" y="440"/>
                  <a:pt x="869" y="438"/>
                  <a:pt x="864" y="438"/>
                </a:cubicBezTo>
                <a:close/>
                <a:moveTo>
                  <a:pt x="881" y="443"/>
                </a:moveTo>
                <a:cubicBezTo>
                  <a:pt x="882" y="445"/>
                  <a:pt x="882" y="445"/>
                  <a:pt x="881" y="443"/>
                </a:cubicBezTo>
                <a:close/>
                <a:moveTo>
                  <a:pt x="892" y="439"/>
                </a:moveTo>
                <a:cubicBezTo>
                  <a:pt x="891" y="440"/>
                  <a:pt x="891" y="440"/>
                  <a:pt x="890" y="443"/>
                </a:cubicBezTo>
                <a:cubicBezTo>
                  <a:pt x="891" y="441"/>
                  <a:pt x="890" y="439"/>
                  <a:pt x="890" y="438"/>
                </a:cubicBezTo>
                <a:cubicBezTo>
                  <a:pt x="891" y="438"/>
                  <a:pt x="891" y="439"/>
                  <a:pt x="892" y="439"/>
                </a:cubicBezTo>
                <a:cubicBezTo>
                  <a:pt x="893" y="439"/>
                  <a:pt x="894" y="439"/>
                  <a:pt x="895" y="439"/>
                </a:cubicBezTo>
                <a:cubicBezTo>
                  <a:pt x="894" y="439"/>
                  <a:pt x="893" y="439"/>
                  <a:pt x="892" y="439"/>
                </a:cubicBezTo>
                <a:close/>
                <a:moveTo>
                  <a:pt x="883" y="528"/>
                </a:moveTo>
                <a:cubicBezTo>
                  <a:pt x="883" y="529"/>
                  <a:pt x="883" y="530"/>
                  <a:pt x="883" y="528"/>
                </a:cubicBezTo>
                <a:close/>
                <a:moveTo>
                  <a:pt x="899" y="438"/>
                </a:moveTo>
                <a:cubicBezTo>
                  <a:pt x="901" y="437"/>
                  <a:pt x="902" y="439"/>
                  <a:pt x="904" y="439"/>
                </a:cubicBezTo>
                <a:cubicBezTo>
                  <a:pt x="906" y="440"/>
                  <a:pt x="900" y="438"/>
                  <a:pt x="899" y="438"/>
                </a:cubicBezTo>
                <a:close/>
                <a:moveTo>
                  <a:pt x="905" y="523"/>
                </a:moveTo>
                <a:cubicBezTo>
                  <a:pt x="905" y="525"/>
                  <a:pt x="904" y="527"/>
                  <a:pt x="904" y="529"/>
                </a:cubicBezTo>
                <a:cubicBezTo>
                  <a:pt x="904" y="527"/>
                  <a:pt x="905" y="525"/>
                  <a:pt x="905" y="523"/>
                </a:cubicBezTo>
                <a:cubicBezTo>
                  <a:pt x="906" y="523"/>
                  <a:pt x="906" y="524"/>
                  <a:pt x="906" y="525"/>
                </a:cubicBezTo>
                <a:cubicBezTo>
                  <a:pt x="906" y="524"/>
                  <a:pt x="906" y="524"/>
                  <a:pt x="905" y="523"/>
                </a:cubicBezTo>
                <a:close/>
                <a:moveTo>
                  <a:pt x="913" y="526"/>
                </a:moveTo>
                <a:cubicBezTo>
                  <a:pt x="915" y="527"/>
                  <a:pt x="915" y="527"/>
                  <a:pt x="913" y="526"/>
                </a:cubicBezTo>
                <a:close/>
                <a:moveTo>
                  <a:pt x="929" y="583"/>
                </a:moveTo>
                <a:cubicBezTo>
                  <a:pt x="929" y="583"/>
                  <a:pt x="927" y="582"/>
                  <a:pt x="928" y="582"/>
                </a:cubicBezTo>
                <a:cubicBezTo>
                  <a:pt x="928" y="582"/>
                  <a:pt x="931" y="584"/>
                  <a:pt x="929" y="583"/>
                </a:cubicBezTo>
                <a:close/>
                <a:moveTo>
                  <a:pt x="979" y="487"/>
                </a:moveTo>
                <a:cubicBezTo>
                  <a:pt x="977" y="487"/>
                  <a:pt x="977" y="487"/>
                  <a:pt x="977" y="487"/>
                </a:cubicBezTo>
                <a:cubicBezTo>
                  <a:pt x="978" y="487"/>
                  <a:pt x="978" y="486"/>
                  <a:pt x="979" y="487"/>
                </a:cubicBezTo>
                <a:close/>
                <a:moveTo>
                  <a:pt x="978" y="483"/>
                </a:moveTo>
                <a:cubicBezTo>
                  <a:pt x="977" y="483"/>
                  <a:pt x="977" y="483"/>
                  <a:pt x="977" y="483"/>
                </a:cubicBezTo>
                <a:cubicBezTo>
                  <a:pt x="977" y="483"/>
                  <a:pt x="978" y="483"/>
                  <a:pt x="978" y="483"/>
                </a:cubicBezTo>
                <a:close/>
                <a:moveTo>
                  <a:pt x="976" y="481"/>
                </a:moveTo>
                <a:cubicBezTo>
                  <a:pt x="976" y="480"/>
                  <a:pt x="976" y="480"/>
                  <a:pt x="976" y="481"/>
                </a:cubicBezTo>
                <a:close/>
                <a:moveTo>
                  <a:pt x="968" y="496"/>
                </a:moveTo>
                <a:cubicBezTo>
                  <a:pt x="967" y="499"/>
                  <a:pt x="966" y="498"/>
                  <a:pt x="966" y="498"/>
                </a:cubicBezTo>
                <a:cubicBezTo>
                  <a:pt x="967" y="498"/>
                  <a:pt x="967" y="497"/>
                  <a:pt x="968" y="496"/>
                </a:cubicBezTo>
                <a:close/>
                <a:moveTo>
                  <a:pt x="965" y="469"/>
                </a:moveTo>
                <a:cubicBezTo>
                  <a:pt x="963" y="468"/>
                  <a:pt x="964" y="467"/>
                  <a:pt x="963" y="466"/>
                </a:cubicBezTo>
                <a:cubicBezTo>
                  <a:pt x="964" y="467"/>
                  <a:pt x="963" y="468"/>
                  <a:pt x="965" y="469"/>
                </a:cubicBezTo>
                <a:close/>
                <a:moveTo>
                  <a:pt x="962" y="490"/>
                </a:moveTo>
                <a:cubicBezTo>
                  <a:pt x="963" y="489"/>
                  <a:pt x="964" y="489"/>
                  <a:pt x="964" y="489"/>
                </a:cubicBezTo>
                <a:cubicBezTo>
                  <a:pt x="964" y="488"/>
                  <a:pt x="964" y="488"/>
                  <a:pt x="965" y="488"/>
                </a:cubicBezTo>
                <a:cubicBezTo>
                  <a:pt x="965" y="488"/>
                  <a:pt x="965" y="488"/>
                  <a:pt x="964" y="489"/>
                </a:cubicBezTo>
                <a:cubicBezTo>
                  <a:pt x="963" y="489"/>
                  <a:pt x="963" y="490"/>
                  <a:pt x="962" y="490"/>
                </a:cubicBezTo>
                <a:cubicBezTo>
                  <a:pt x="962" y="491"/>
                  <a:pt x="963" y="491"/>
                  <a:pt x="965" y="492"/>
                </a:cubicBezTo>
                <a:cubicBezTo>
                  <a:pt x="962" y="491"/>
                  <a:pt x="962" y="491"/>
                  <a:pt x="962" y="490"/>
                </a:cubicBezTo>
                <a:close/>
                <a:moveTo>
                  <a:pt x="961" y="501"/>
                </a:moveTo>
                <a:cubicBezTo>
                  <a:pt x="959" y="502"/>
                  <a:pt x="959" y="501"/>
                  <a:pt x="959" y="501"/>
                </a:cubicBezTo>
                <a:cubicBezTo>
                  <a:pt x="959" y="501"/>
                  <a:pt x="960" y="501"/>
                  <a:pt x="961" y="501"/>
                </a:cubicBezTo>
                <a:close/>
                <a:moveTo>
                  <a:pt x="949" y="458"/>
                </a:moveTo>
                <a:cubicBezTo>
                  <a:pt x="949" y="460"/>
                  <a:pt x="949" y="459"/>
                  <a:pt x="949" y="458"/>
                </a:cubicBezTo>
                <a:close/>
                <a:moveTo>
                  <a:pt x="950" y="469"/>
                </a:moveTo>
                <a:cubicBezTo>
                  <a:pt x="949" y="469"/>
                  <a:pt x="948" y="469"/>
                  <a:pt x="948" y="470"/>
                </a:cubicBezTo>
                <a:cubicBezTo>
                  <a:pt x="949" y="469"/>
                  <a:pt x="949" y="468"/>
                  <a:pt x="950" y="469"/>
                </a:cubicBezTo>
                <a:close/>
                <a:moveTo>
                  <a:pt x="944" y="495"/>
                </a:moveTo>
                <a:cubicBezTo>
                  <a:pt x="945" y="496"/>
                  <a:pt x="946" y="496"/>
                  <a:pt x="946" y="497"/>
                </a:cubicBezTo>
                <a:cubicBezTo>
                  <a:pt x="945" y="496"/>
                  <a:pt x="944" y="495"/>
                  <a:pt x="943" y="495"/>
                </a:cubicBezTo>
                <a:cubicBezTo>
                  <a:pt x="943" y="495"/>
                  <a:pt x="944" y="495"/>
                  <a:pt x="944" y="495"/>
                </a:cubicBezTo>
                <a:close/>
                <a:moveTo>
                  <a:pt x="920" y="445"/>
                </a:moveTo>
                <a:cubicBezTo>
                  <a:pt x="919" y="448"/>
                  <a:pt x="920" y="448"/>
                  <a:pt x="921" y="449"/>
                </a:cubicBezTo>
                <a:cubicBezTo>
                  <a:pt x="920" y="448"/>
                  <a:pt x="919" y="448"/>
                  <a:pt x="920" y="445"/>
                </a:cubicBezTo>
                <a:close/>
                <a:moveTo>
                  <a:pt x="920" y="465"/>
                </a:moveTo>
                <a:cubicBezTo>
                  <a:pt x="920" y="466"/>
                  <a:pt x="920" y="467"/>
                  <a:pt x="920" y="468"/>
                </a:cubicBezTo>
                <a:cubicBezTo>
                  <a:pt x="920" y="468"/>
                  <a:pt x="920" y="468"/>
                  <a:pt x="920" y="468"/>
                </a:cubicBezTo>
                <a:cubicBezTo>
                  <a:pt x="920" y="467"/>
                  <a:pt x="920" y="466"/>
                  <a:pt x="920" y="465"/>
                </a:cubicBezTo>
                <a:close/>
                <a:moveTo>
                  <a:pt x="919" y="499"/>
                </a:moveTo>
                <a:cubicBezTo>
                  <a:pt x="918" y="499"/>
                  <a:pt x="917" y="500"/>
                  <a:pt x="916" y="500"/>
                </a:cubicBezTo>
                <a:cubicBezTo>
                  <a:pt x="918" y="499"/>
                  <a:pt x="919" y="499"/>
                  <a:pt x="920" y="498"/>
                </a:cubicBezTo>
                <a:cubicBezTo>
                  <a:pt x="920" y="498"/>
                  <a:pt x="920" y="499"/>
                  <a:pt x="919" y="499"/>
                </a:cubicBezTo>
                <a:close/>
                <a:moveTo>
                  <a:pt x="920" y="499"/>
                </a:moveTo>
                <a:cubicBezTo>
                  <a:pt x="922" y="498"/>
                  <a:pt x="924" y="499"/>
                  <a:pt x="925" y="498"/>
                </a:cubicBezTo>
                <a:cubicBezTo>
                  <a:pt x="924" y="499"/>
                  <a:pt x="922" y="498"/>
                  <a:pt x="920" y="499"/>
                </a:cubicBezTo>
                <a:close/>
                <a:moveTo>
                  <a:pt x="930" y="518"/>
                </a:moveTo>
                <a:cubicBezTo>
                  <a:pt x="931" y="514"/>
                  <a:pt x="928" y="512"/>
                  <a:pt x="924" y="511"/>
                </a:cubicBezTo>
                <a:cubicBezTo>
                  <a:pt x="928" y="512"/>
                  <a:pt x="931" y="514"/>
                  <a:pt x="930" y="518"/>
                </a:cubicBezTo>
                <a:close/>
                <a:moveTo>
                  <a:pt x="930" y="461"/>
                </a:moveTo>
                <a:cubicBezTo>
                  <a:pt x="932" y="460"/>
                  <a:pt x="933" y="458"/>
                  <a:pt x="935" y="457"/>
                </a:cubicBezTo>
                <a:cubicBezTo>
                  <a:pt x="934" y="458"/>
                  <a:pt x="933" y="458"/>
                  <a:pt x="932" y="459"/>
                </a:cubicBezTo>
                <a:cubicBezTo>
                  <a:pt x="932" y="460"/>
                  <a:pt x="932" y="461"/>
                  <a:pt x="930" y="461"/>
                </a:cubicBezTo>
                <a:close/>
                <a:moveTo>
                  <a:pt x="942" y="580"/>
                </a:moveTo>
                <a:cubicBezTo>
                  <a:pt x="942" y="579"/>
                  <a:pt x="941" y="579"/>
                  <a:pt x="940" y="579"/>
                </a:cubicBezTo>
                <a:cubicBezTo>
                  <a:pt x="940" y="579"/>
                  <a:pt x="940" y="579"/>
                  <a:pt x="940" y="579"/>
                </a:cubicBezTo>
                <a:cubicBezTo>
                  <a:pt x="940" y="578"/>
                  <a:pt x="940" y="578"/>
                  <a:pt x="940" y="578"/>
                </a:cubicBezTo>
                <a:cubicBezTo>
                  <a:pt x="939" y="578"/>
                  <a:pt x="939" y="578"/>
                  <a:pt x="940" y="579"/>
                </a:cubicBezTo>
                <a:cubicBezTo>
                  <a:pt x="940" y="579"/>
                  <a:pt x="941" y="579"/>
                  <a:pt x="942" y="580"/>
                </a:cubicBezTo>
                <a:cubicBezTo>
                  <a:pt x="942" y="578"/>
                  <a:pt x="941" y="576"/>
                  <a:pt x="940" y="575"/>
                </a:cubicBezTo>
                <a:cubicBezTo>
                  <a:pt x="940" y="575"/>
                  <a:pt x="941" y="577"/>
                  <a:pt x="942" y="578"/>
                </a:cubicBezTo>
                <a:cubicBezTo>
                  <a:pt x="942" y="577"/>
                  <a:pt x="942" y="576"/>
                  <a:pt x="943" y="576"/>
                </a:cubicBezTo>
                <a:cubicBezTo>
                  <a:pt x="943" y="577"/>
                  <a:pt x="943" y="578"/>
                  <a:pt x="942" y="580"/>
                </a:cubicBezTo>
                <a:close/>
                <a:moveTo>
                  <a:pt x="940" y="567"/>
                </a:moveTo>
                <a:cubicBezTo>
                  <a:pt x="939" y="565"/>
                  <a:pt x="939" y="564"/>
                  <a:pt x="940" y="562"/>
                </a:cubicBezTo>
                <a:cubicBezTo>
                  <a:pt x="940" y="562"/>
                  <a:pt x="939" y="565"/>
                  <a:pt x="940" y="567"/>
                </a:cubicBezTo>
                <a:close/>
                <a:moveTo>
                  <a:pt x="954" y="562"/>
                </a:moveTo>
                <a:cubicBezTo>
                  <a:pt x="955" y="561"/>
                  <a:pt x="955" y="561"/>
                  <a:pt x="957" y="560"/>
                </a:cubicBezTo>
                <a:cubicBezTo>
                  <a:pt x="953" y="560"/>
                  <a:pt x="949" y="559"/>
                  <a:pt x="946" y="557"/>
                </a:cubicBezTo>
                <a:cubicBezTo>
                  <a:pt x="943" y="558"/>
                  <a:pt x="938" y="560"/>
                  <a:pt x="936" y="558"/>
                </a:cubicBezTo>
                <a:cubicBezTo>
                  <a:pt x="935" y="558"/>
                  <a:pt x="932" y="546"/>
                  <a:pt x="932" y="544"/>
                </a:cubicBezTo>
                <a:cubicBezTo>
                  <a:pt x="932" y="545"/>
                  <a:pt x="931" y="545"/>
                  <a:pt x="931" y="546"/>
                </a:cubicBezTo>
                <a:cubicBezTo>
                  <a:pt x="936" y="540"/>
                  <a:pt x="934" y="527"/>
                  <a:pt x="943" y="526"/>
                </a:cubicBezTo>
                <a:cubicBezTo>
                  <a:pt x="948" y="538"/>
                  <a:pt x="954" y="549"/>
                  <a:pt x="960" y="560"/>
                </a:cubicBezTo>
                <a:cubicBezTo>
                  <a:pt x="958" y="561"/>
                  <a:pt x="956" y="561"/>
                  <a:pt x="954" y="562"/>
                </a:cubicBezTo>
                <a:close/>
                <a:moveTo>
                  <a:pt x="965" y="583"/>
                </a:moveTo>
                <a:cubicBezTo>
                  <a:pt x="965" y="583"/>
                  <a:pt x="964" y="583"/>
                  <a:pt x="964" y="583"/>
                </a:cubicBezTo>
                <a:cubicBezTo>
                  <a:pt x="964" y="583"/>
                  <a:pt x="964" y="583"/>
                  <a:pt x="963" y="584"/>
                </a:cubicBezTo>
                <a:cubicBezTo>
                  <a:pt x="962" y="584"/>
                  <a:pt x="963" y="584"/>
                  <a:pt x="964" y="583"/>
                </a:cubicBezTo>
                <a:cubicBezTo>
                  <a:pt x="965" y="582"/>
                  <a:pt x="964" y="581"/>
                  <a:pt x="965" y="580"/>
                </a:cubicBezTo>
                <a:cubicBezTo>
                  <a:pt x="965" y="581"/>
                  <a:pt x="965" y="582"/>
                  <a:pt x="965" y="583"/>
                </a:cubicBezTo>
                <a:close/>
                <a:moveTo>
                  <a:pt x="967" y="561"/>
                </a:moveTo>
                <a:cubicBezTo>
                  <a:pt x="966" y="561"/>
                  <a:pt x="966" y="562"/>
                  <a:pt x="965" y="562"/>
                </a:cubicBezTo>
                <a:cubicBezTo>
                  <a:pt x="964" y="563"/>
                  <a:pt x="963" y="565"/>
                  <a:pt x="963" y="566"/>
                </a:cubicBezTo>
                <a:cubicBezTo>
                  <a:pt x="964" y="564"/>
                  <a:pt x="964" y="563"/>
                  <a:pt x="965" y="562"/>
                </a:cubicBezTo>
                <a:cubicBezTo>
                  <a:pt x="966" y="562"/>
                  <a:pt x="966" y="561"/>
                  <a:pt x="966" y="561"/>
                </a:cubicBezTo>
                <a:cubicBezTo>
                  <a:pt x="966" y="561"/>
                  <a:pt x="969" y="560"/>
                  <a:pt x="967" y="561"/>
                </a:cubicBezTo>
                <a:close/>
                <a:moveTo>
                  <a:pt x="957" y="546"/>
                </a:moveTo>
                <a:cubicBezTo>
                  <a:pt x="955" y="542"/>
                  <a:pt x="944" y="528"/>
                  <a:pt x="946" y="523"/>
                </a:cubicBezTo>
                <a:cubicBezTo>
                  <a:pt x="950" y="511"/>
                  <a:pt x="967" y="546"/>
                  <a:pt x="969" y="548"/>
                </a:cubicBezTo>
                <a:cubicBezTo>
                  <a:pt x="970" y="562"/>
                  <a:pt x="960" y="549"/>
                  <a:pt x="957" y="546"/>
                </a:cubicBezTo>
                <a:close/>
                <a:moveTo>
                  <a:pt x="975" y="580"/>
                </a:moveTo>
                <a:cubicBezTo>
                  <a:pt x="975" y="580"/>
                  <a:pt x="975" y="581"/>
                  <a:pt x="975" y="581"/>
                </a:cubicBezTo>
                <a:cubicBezTo>
                  <a:pt x="976" y="582"/>
                  <a:pt x="976" y="583"/>
                  <a:pt x="977" y="584"/>
                </a:cubicBezTo>
                <a:cubicBezTo>
                  <a:pt x="976" y="582"/>
                  <a:pt x="975" y="581"/>
                  <a:pt x="975" y="580"/>
                </a:cubicBezTo>
                <a:close/>
                <a:moveTo>
                  <a:pt x="977" y="538"/>
                </a:moveTo>
                <a:cubicBezTo>
                  <a:pt x="970" y="534"/>
                  <a:pt x="964" y="530"/>
                  <a:pt x="959" y="525"/>
                </a:cubicBezTo>
                <a:cubicBezTo>
                  <a:pt x="961" y="526"/>
                  <a:pt x="962" y="524"/>
                  <a:pt x="964" y="525"/>
                </a:cubicBezTo>
                <a:cubicBezTo>
                  <a:pt x="967" y="525"/>
                  <a:pt x="968" y="527"/>
                  <a:pt x="970" y="528"/>
                </a:cubicBezTo>
                <a:cubicBezTo>
                  <a:pt x="974" y="530"/>
                  <a:pt x="984" y="534"/>
                  <a:pt x="977" y="53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9600"/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E65E6D4-BBF2-F844-B8B3-C2378F0F4BA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CBBC38F-CDEA-1243-A56C-19757FE7291B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81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28EE4997-C883-474E-9BD1-FB4DC1C38428}"/>
              </a:ext>
            </a:extLst>
          </p:cNvPr>
          <p:cNvSpPr>
            <a:spLocks/>
          </p:cNvSpPr>
          <p:nvPr userDrawn="1"/>
        </p:nvSpPr>
        <p:spPr bwMode="auto">
          <a:xfrm>
            <a:off x="12470818" y="1003221"/>
            <a:ext cx="11094583" cy="8384392"/>
          </a:xfrm>
          <a:custGeom>
            <a:avLst/>
            <a:gdLst>
              <a:gd name="T0" fmla="*/ 1092 w 1196"/>
              <a:gd name="T1" fmla="*/ 307 h 905"/>
              <a:gd name="T2" fmla="*/ 1103 w 1196"/>
              <a:gd name="T3" fmla="*/ 224 h 905"/>
              <a:gd name="T4" fmla="*/ 878 w 1196"/>
              <a:gd name="T5" fmla="*/ 2 h 905"/>
              <a:gd name="T6" fmla="*/ 705 w 1196"/>
              <a:gd name="T7" fmla="*/ 70 h 905"/>
              <a:gd name="T8" fmla="*/ 558 w 1196"/>
              <a:gd name="T9" fmla="*/ 88 h 905"/>
              <a:gd name="T10" fmla="*/ 370 w 1196"/>
              <a:gd name="T11" fmla="*/ 35 h 905"/>
              <a:gd name="T12" fmla="*/ 3 w 1196"/>
              <a:gd name="T13" fmla="*/ 395 h 905"/>
              <a:gd name="T14" fmla="*/ 369 w 1196"/>
              <a:gd name="T15" fmla="*/ 766 h 905"/>
              <a:gd name="T16" fmla="*/ 521 w 1196"/>
              <a:gd name="T17" fmla="*/ 733 h 905"/>
              <a:gd name="T18" fmla="*/ 670 w 1196"/>
              <a:gd name="T19" fmla="*/ 776 h 905"/>
              <a:gd name="T20" fmla="*/ 912 w 1196"/>
              <a:gd name="T21" fmla="*/ 904 h 905"/>
              <a:gd name="T22" fmla="*/ 1195 w 1196"/>
              <a:gd name="T23" fmla="*/ 619 h 905"/>
              <a:gd name="T24" fmla="*/ 1119 w 1196"/>
              <a:gd name="T25" fmla="*/ 423 h 905"/>
              <a:gd name="T26" fmla="*/ 1092 w 1196"/>
              <a:gd name="T27" fmla="*/ 30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96" h="905">
                <a:moveTo>
                  <a:pt x="1092" y="307"/>
                </a:moveTo>
                <a:cubicBezTo>
                  <a:pt x="1100" y="281"/>
                  <a:pt x="1104" y="253"/>
                  <a:pt x="1103" y="224"/>
                </a:cubicBezTo>
                <a:cubicBezTo>
                  <a:pt x="1097" y="103"/>
                  <a:pt x="998" y="6"/>
                  <a:pt x="878" y="2"/>
                </a:cubicBezTo>
                <a:cubicBezTo>
                  <a:pt x="810" y="0"/>
                  <a:pt x="749" y="26"/>
                  <a:pt x="705" y="70"/>
                </a:cubicBezTo>
                <a:cubicBezTo>
                  <a:pt x="666" y="108"/>
                  <a:pt x="606" y="116"/>
                  <a:pt x="558" y="88"/>
                </a:cubicBezTo>
                <a:cubicBezTo>
                  <a:pt x="504" y="54"/>
                  <a:pt x="439" y="35"/>
                  <a:pt x="370" y="35"/>
                </a:cubicBezTo>
                <a:cubicBezTo>
                  <a:pt x="171" y="34"/>
                  <a:pt x="6" y="196"/>
                  <a:pt x="3" y="395"/>
                </a:cubicBezTo>
                <a:cubicBezTo>
                  <a:pt x="0" y="599"/>
                  <a:pt x="165" y="766"/>
                  <a:pt x="369" y="766"/>
                </a:cubicBezTo>
                <a:cubicBezTo>
                  <a:pt x="423" y="766"/>
                  <a:pt x="475" y="754"/>
                  <a:pt x="521" y="733"/>
                </a:cubicBezTo>
                <a:cubicBezTo>
                  <a:pt x="575" y="708"/>
                  <a:pt x="637" y="727"/>
                  <a:pt x="670" y="776"/>
                </a:cubicBezTo>
                <a:cubicBezTo>
                  <a:pt x="722" y="854"/>
                  <a:pt x="811" y="905"/>
                  <a:pt x="912" y="904"/>
                </a:cubicBezTo>
                <a:cubicBezTo>
                  <a:pt x="1068" y="902"/>
                  <a:pt x="1195" y="775"/>
                  <a:pt x="1195" y="619"/>
                </a:cubicBezTo>
                <a:cubicBezTo>
                  <a:pt x="1196" y="543"/>
                  <a:pt x="1167" y="474"/>
                  <a:pt x="1119" y="423"/>
                </a:cubicBezTo>
                <a:cubicBezTo>
                  <a:pt x="1090" y="392"/>
                  <a:pt x="1079" y="347"/>
                  <a:pt x="1092" y="307"/>
                </a:cubicBezTo>
                <a:close/>
              </a:path>
            </a:pathLst>
          </a:custGeom>
          <a:solidFill>
            <a:srgbClr val="F4D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77661278-F09C-C146-978C-183B8C1ED93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1185475" y="2610322"/>
            <a:ext cx="10851607" cy="10584894"/>
          </a:xfrm>
          <a:custGeom>
            <a:avLst/>
            <a:gdLst>
              <a:gd name="connsiteX0" fmla="*/ 5983681 w 9865097"/>
              <a:gd name="connsiteY0" fmla="*/ 260 h 9622631"/>
              <a:gd name="connsiteX1" fmla="*/ 9610705 w 9865097"/>
              <a:gd name="connsiteY1" fmla="*/ 2438079 h 9622631"/>
              <a:gd name="connsiteX2" fmla="*/ 7397351 w 9865097"/>
              <a:gd name="connsiteY2" fmla="*/ 7358861 h 9622631"/>
              <a:gd name="connsiteX3" fmla="*/ 4650073 w 9865097"/>
              <a:gd name="connsiteY3" fmla="*/ 7368471 h 9622631"/>
              <a:gd name="connsiteX4" fmla="*/ 4154981 w 9865097"/>
              <a:gd name="connsiteY4" fmla="*/ 7320417 h 9622631"/>
              <a:gd name="connsiteX5" fmla="*/ 3426905 w 9865097"/>
              <a:gd name="connsiteY5" fmla="*/ 8195009 h 9622631"/>
              <a:gd name="connsiteX6" fmla="*/ 3407489 w 9865097"/>
              <a:gd name="connsiteY6" fmla="*/ 8454504 h 9622631"/>
              <a:gd name="connsiteX7" fmla="*/ 1935067 w 9865097"/>
              <a:gd name="connsiteY7" fmla="*/ 9621721 h 9622631"/>
              <a:gd name="connsiteX8" fmla="*/ 1630981 w 9865097"/>
              <a:gd name="connsiteY8" fmla="*/ 9578979 h 9622631"/>
              <a:gd name="connsiteX9" fmla="*/ 563134 w 9865097"/>
              <a:gd name="connsiteY9" fmla="*/ 8041234 h 9622631"/>
              <a:gd name="connsiteX10" fmla="*/ 902903 w 9865097"/>
              <a:gd name="connsiteY10" fmla="*/ 7272362 h 9622631"/>
              <a:gd name="connsiteX11" fmla="*/ 1058226 w 9865097"/>
              <a:gd name="connsiteY11" fmla="*/ 6474658 h 9622631"/>
              <a:gd name="connsiteX12" fmla="*/ 621380 w 9865097"/>
              <a:gd name="connsiteY12" fmla="*/ 5984502 h 9622631"/>
              <a:gd name="connsiteX13" fmla="*/ 9795 w 9865097"/>
              <a:gd name="connsiteY13" fmla="*/ 5157964 h 9622631"/>
              <a:gd name="connsiteX14" fmla="*/ 708749 w 9865097"/>
              <a:gd name="connsiteY14" fmla="*/ 4004655 h 9622631"/>
              <a:gd name="connsiteX15" fmla="*/ 1961041 w 9865097"/>
              <a:gd name="connsiteY15" fmla="*/ 4369870 h 9622631"/>
              <a:gd name="connsiteX16" fmla="*/ 2116365 w 9865097"/>
              <a:gd name="connsiteY16" fmla="*/ 4417925 h 9622631"/>
              <a:gd name="connsiteX17" fmla="*/ 2203735 w 9865097"/>
              <a:gd name="connsiteY17" fmla="*/ 4283372 h 9622631"/>
              <a:gd name="connsiteX18" fmla="*/ 4669489 w 9865097"/>
              <a:gd name="connsiteY18" fmla="*/ 246793 h 9622631"/>
              <a:gd name="connsiteX19" fmla="*/ 5983681 w 9865097"/>
              <a:gd name="connsiteY19" fmla="*/ 260 h 962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865097" h="9622631">
                <a:moveTo>
                  <a:pt x="5983681" y="260"/>
                </a:moveTo>
                <a:cubicBezTo>
                  <a:pt x="7544739" y="-17910"/>
                  <a:pt x="9019143" y="913849"/>
                  <a:pt x="9610705" y="2438079"/>
                </a:cubicBezTo>
                <a:cubicBezTo>
                  <a:pt x="10367907" y="4389091"/>
                  <a:pt x="9377721" y="6609211"/>
                  <a:pt x="7397351" y="7358861"/>
                </a:cubicBezTo>
                <a:cubicBezTo>
                  <a:pt x="6475121" y="7714464"/>
                  <a:pt x="5504351" y="7685632"/>
                  <a:pt x="4650073" y="7368471"/>
                </a:cubicBezTo>
                <a:cubicBezTo>
                  <a:pt x="4494751" y="7310806"/>
                  <a:pt x="4320011" y="7291584"/>
                  <a:pt x="4154981" y="7320417"/>
                </a:cubicBezTo>
                <a:cubicBezTo>
                  <a:pt x="3737551" y="7406915"/>
                  <a:pt x="3426905" y="7772129"/>
                  <a:pt x="3426905" y="8195009"/>
                </a:cubicBezTo>
                <a:cubicBezTo>
                  <a:pt x="3426905" y="8281507"/>
                  <a:pt x="3417197" y="8368005"/>
                  <a:pt x="3407489" y="8454504"/>
                </a:cubicBezTo>
                <a:cubicBezTo>
                  <a:pt x="3271581" y="9160905"/>
                  <a:pt x="2637698" y="9646555"/>
                  <a:pt x="1935067" y="9621721"/>
                </a:cubicBezTo>
                <a:cubicBezTo>
                  <a:pt x="1834691" y="9618173"/>
                  <a:pt x="1732911" y="9604208"/>
                  <a:pt x="1630981" y="9578979"/>
                </a:cubicBezTo>
                <a:cubicBezTo>
                  <a:pt x="941734" y="9405982"/>
                  <a:pt x="485472" y="8742831"/>
                  <a:pt x="563134" y="8041234"/>
                </a:cubicBezTo>
                <a:cubicBezTo>
                  <a:pt x="601964" y="7743297"/>
                  <a:pt x="718457" y="7483802"/>
                  <a:pt x="902903" y="7272362"/>
                </a:cubicBezTo>
                <a:cubicBezTo>
                  <a:pt x="1087350" y="7051312"/>
                  <a:pt x="1155303" y="6753374"/>
                  <a:pt x="1058226" y="6474658"/>
                </a:cubicBezTo>
                <a:cubicBezTo>
                  <a:pt x="990272" y="6253607"/>
                  <a:pt x="834949" y="6080611"/>
                  <a:pt x="621380" y="5984502"/>
                </a:cubicBezTo>
                <a:cubicBezTo>
                  <a:pt x="310734" y="5830728"/>
                  <a:pt x="68041" y="5532789"/>
                  <a:pt x="9795" y="5157964"/>
                </a:cubicBezTo>
                <a:cubicBezTo>
                  <a:pt x="-58159" y="4658198"/>
                  <a:pt x="233073" y="4177652"/>
                  <a:pt x="708749" y="4004655"/>
                </a:cubicBezTo>
                <a:cubicBezTo>
                  <a:pt x="1184426" y="3831659"/>
                  <a:pt x="1689227" y="4004655"/>
                  <a:pt x="1961041" y="4369870"/>
                </a:cubicBezTo>
                <a:cubicBezTo>
                  <a:pt x="1999873" y="4417925"/>
                  <a:pt x="2058118" y="4437146"/>
                  <a:pt x="2116365" y="4417925"/>
                </a:cubicBezTo>
                <a:cubicBezTo>
                  <a:pt x="2174611" y="4398703"/>
                  <a:pt x="2213441" y="4341037"/>
                  <a:pt x="2203735" y="4283372"/>
                </a:cubicBezTo>
                <a:cubicBezTo>
                  <a:pt x="1990165" y="2572632"/>
                  <a:pt x="2970642" y="871501"/>
                  <a:pt x="4669489" y="246793"/>
                </a:cubicBezTo>
                <a:cubicBezTo>
                  <a:pt x="5102695" y="84910"/>
                  <a:pt x="5546585" y="5347"/>
                  <a:pt x="5983681" y="260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6FA4043-CBE4-8941-B530-C44AF37A3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08F59204-34CC-6F48-A3E6-7DE4F08771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1920" y="5202610"/>
            <a:ext cx="8431428" cy="590465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64716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 animBg="1"/>
          <p:bldP spid="11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8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68">
            <a:extLst>
              <a:ext uri="{FF2B5EF4-FFF2-40B4-BE49-F238E27FC236}">
                <a16:creationId xmlns:a16="http://schemas.microsoft.com/office/drawing/2014/main" id="{878F8E41-0AC8-9A4F-AE1E-2DA407B4BAAD}"/>
              </a:ext>
            </a:extLst>
          </p:cNvPr>
          <p:cNvSpPr>
            <a:spLocks noGrp="1" noEditPoints="1"/>
          </p:cNvSpPr>
          <p:nvPr>
            <p:ph type="pic" sz="quarter" idx="29"/>
          </p:nvPr>
        </p:nvSpPr>
        <p:spPr bwMode="auto">
          <a:xfrm>
            <a:off x="10825434" y="810122"/>
            <a:ext cx="13191533" cy="13285540"/>
          </a:xfrm>
          <a:custGeom>
            <a:avLst/>
            <a:gdLst>
              <a:gd name="T0" fmla="*/ 1091 w 1787"/>
              <a:gd name="T1" fmla="*/ 684 h 1929"/>
              <a:gd name="T2" fmla="*/ 860 w 1787"/>
              <a:gd name="T3" fmla="*/ 890 h 1929"/>
              <a:gd name="T4" fmla="*/ 600 w 1787"/>
              <a:gd name="T5" fmla="*/ 1121 h 1929"/>
              <a:gd name="T6" fmla="*/ 1413 w 1787"/>
              <a:gd name="T7" fmla="*/ 773 h 1929"/>
              <a:gd name="T8" fmla="*/ 1423 w 1787"/>
              <a:gd name="T9" fmla="*/ 1071 h 1929"/>
              <a:gd name="T10" fmla="*/ 976 w 1787"/>
              <a:gd name="T11" fmla="*/ 1360 h 1929"/>
              <a:gd name="T12" fmla="*/ 981 w 1787"/>
              <a:gd name="T13" fmla="*/ 1417 h 1929"/>
              <a:gd name="T14" fmla="*/ 886 w 1787"/>
              <a:gd name="T15" fmla="*/ 33 h 1929"/>
              <a:gd name="T16" fmla="*/ 775 w 1787"/>
              <a:gd name="T17" fmla="*/ 188 h 1929"/>
              <a:gd name="T18" fmla="*/ 398 w 1787"/>
              <a:gd name="T19" fmla="*/ 218 h 1929"/>
              <a:gd name="T20" fmla="*/ 303 w 1787"/>
              <a:gd name="T21" fmla="*/ 302 h 1929"/>
              <a:gd name="T22" fmla="*/ 493 w 1787"/>
              <a:gd name="T23" fmla="*/ 473 h 1929"/>
              <a:gd name="T24" fmla="*/ 330 w 1787"/>
              <a:gd name="T25" fmla="*/ 549 h 1929"/>
              <a:gd name="T26" fmla="*/ 445 w 1787"/>
              <a:gd name="T27" fmla="*/ 687 h 1929"/>
              <a:gd name="T28" fmla="*/ 156 w 1787"/>
              <a:gd name="T29" fmla="*/ 940 h 1929"/>
              <a:gd name="T30" fmla="*/ 169 w 1787"/>
              <a:gd name="T31" fmla="*/ 1186 h 1929"/>
              <a:gd name="T32" fmla="*/ 390 w 1787"/>
              <a:gd name="T33" fmla="*/ 1192 h 1929"/>
              <a:gd name="T34" fmla="*/ 530 w 1787"/>
              <a:gd name="T35" fmla="*/ 1174 h 1929"/>
              <a:gd name="T36" fmla="*/ 596 w 1787"/>
              <a:gd name="T37" fmla="*/ 1455 h 1929"/>
              <a:gd name="T38" fmla="*/ 745 w 1787"/>
              <a:gd name="T39" fmla="*/ 1474 h 1929"/>
              <a:gd name="T40" fmla="*/ 921 w 1787"/>
              <a:gd name="T41" fmla="*/ 1596 h 1929"/>
              <a:gd name="T42" fmla="*/ 1047 w 1787"/>
              <a:gd name="T43" fmla="*/ 1519 h 1929"/>
              <a:gd name="T44" fmla="*/ 1215 w 1787"/>
              <a:gd name="T45" fmla="*/ 1373 h 1929"/>
              <a:gd name="T46" fmla="*/ 1442 w 1787"/>
              <a:gd name="T47" fmla="*/ 1499 h 1929"/>
              <a:gd name="T48" fmla="*/ 1549 w 1787"/>
              <a:gd name="T49" fmla="*/ 1361 h 1929"/>
              <a:gd name="T50" fmla="*/ 1544 w 1787"/>
              <a:gd name="T51" fmla="*/ 1126 h 1929"/>
              <a:gd name="T52" fmla="*/ 1443 w 1787"/>
              <a:gd name="T53" fmla="*/ 897 h 1929"/>
              <a:gd name="T54" fmla="*/ 1696 w 1787"/>
              <a:gd name="T55" fmla="*/ 924 h 1929"/>
              <a:gd name="T56" fmla="*/ 1578 w 1787"/>
              <a:gd name="T57" fmla="*/ 696 h 1929"/>
              <a:gd name="T58" fmla="*/ 1668 w 1787"/>
              <a:gd name="T59" fmla="*/ 656 h 1929"/>
              <a:gd name="T60" fmla="*/ 1729 w 1787"/>
              <a:gd name="T61" fmla="*/ 532 h 1929"/>
              <a:gd name="T62" fmla="*/ 1467 w 1787"/>
              <a:gd name="T63" fmla="*/ 389 h 1929"/>
              <a:gd name="T64" fmla="*/ 1357 w 1787"/>
              <a:gd name="T65" fmla="*/ 234 h 1929"/>
              <a:gd name="T66" fmla="*/ 1163 w 1787"/>
              <a:gd name="T67" fmla="*/ 139 h 1929"/>
              <a:gd name="T68" fmla="*/ 1588 w 1787"/>
              <a:gd name="T69" fmla="*/ 359 h 1929"/>
              <a:gd name="T70" fmla="*/ 553 w 1787"/>
              <a:gd name="T71" fmla="*/ 1518 h 1929"/>
              <a:gd name="T72" fmla="*/ 896 w 1787"/>
              <a:gd name="T73" fmla="*/ 1828 h 1929"/>
              <a:gd name="T74" fmla="*/ 865 w 1787"/>
              <a:gd name="T75" fmla="*/ 1828 h 1929"/>
              <a:gd name="T76" fmla="*/ 997 w 1787"/>
              <a:gd name="T77" fmla="*/ 1684 h 1929"/>
              <a:gd name="T78" fmla="*/ 1594 w 1787"/>
              <a:gd name="T79" fmla="*/ 1225 h 1929"/>
              <a:gd name="T80" fmla="*/ 1624 w 1787"/>
              <a:gd name="T81" fmla="*/ 961 h 1929"/>
              <a:gd name="T82" fmla="*/ 1538 w 1787"/>
              <a:gd name="T83" fmla="*/ 1203 h 1929"/>
              <a:gd name="T84" fmla="*/ 1015 w 1787"/>
              <a:gd name="T85" fmla="*/ 1808 h 1929"/>
              <a:gd name="T86" fmla="*/ 984 w 1787"/>
              <a:gd name="T87" fmla="*/ 1735 h 1929"/>
              <a:gd name="T88" fmla="*/ 1033 w 1787"/>
              <a:gd name="T89" fmla="*/ 1817 h 1929"/>
              <a:gd name="T90" fmla="*/ 1644 w 1787"/>
              <a:gd name="T91" fmla="*/ 772 h 1929"/>
              <a:gd name="T92" fmla="*/ 515 w 1787"/>
              <a:gd name="T93" fmla="*/ 202 h 1929"/>
              <a:gd name="T94" fmla="*/ 311 w 1787"/>
              <a:gd name="T95" fmla="*/ 752 h 1929"/>
              <a:gd name="T96" fmla="*/ 567 w 1787"/>
              <a:gd name="T97" fmla="*/ 1195 h 1929"/>
              <a:gd name="T98" fmla="*/ 1469 w 1787"/>
              <a:gd name="T99" fmla="*/ 647 h 1929"/>
              <a:gd name="T100" fmla="*/ 1392 w 1787"/>
              <a:gd name="T101" fmla="*/ 766 h 1929"/>
              <a:gd name="T102" fmla="*/ 1212 w 1787"/>
              <a:gd name="T103" fmla="*/ 581 h 1929"/>
              <a:gd name="T104" fmla="*/ 1042 w 1787"/>
              <a:gd name="T105" fmla="*/ 994 h 1929"/>
              <a:gd name="T106" fmla="*/ 800 w 1787"/>
              <a:gd name="T107" fmla="*/ 224 h 1929"/>
              <a:gd name="T108" fmla="*/ 1024 w 1787"/>
              <a:gd name="T109" fmla="*/ 1048 h 1929"/>
              <a:gd name="T110" fmla="*/ 1126 w 1787"/>
              <a:gd name="T111" fmla="*/ 460 h 1929"/>
              <a:gd name="T112" fmla="*/ 925 w 1787"/>
              <a:gd name="T113" fmla="*/ 277 h 1929"/>
              <a:gd name="T114" fmla="*/ 720 w 1787"/>
              <a:gd name="T115" fmla="*/ 438 h 1929"/>
              <a:gd name="T116" fmla="*/ 580 w 1787"/>
              <a:gd name="T117" fmla="*/ 1130 h 1929"/>
              <a:gd name="T118" fmla="*/ 793 w 1787"/>
              <a:gd name="T119" fmla="*/ 1508 h 1929"/>
              <a:gd name="T120" fmla="*/ 932 w 1787"/>
              <a:gd name="T121" fmla="*/ 1454 h 1929"/>
              <a:gd name="T122" fmla="*/ 1202 w 1787"/>
              <a:gd name="T123" fmla="*/ 1210 h 1929"/>
              <a:gd name="T124" fmla="*/ 1291 w 1787"/>
              <a:gd name="T125" fmla="*/ 823 h 1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87" h="1929">
                <a:moveTo>
                  <a:pt x="1783" y="1144"/>
                </a:moveTo>
                <a:lnTo>
                  <a:pt x="1777" y="1127"/>
                </a:lnTo>
                <a:lnTo>
                  <a:pt x="1770" y="1110"/>
                </a:lnTo>
                <a:lnTo>
                  <a:pt x="1765" y="1102"/>
                </a:lnTo>
                <a:lnTo>
                  <a:pt x="1762" y="1094"/>
                </a:lnTo>
                <a:lnTo>
                  <a:pt x="1759" y="1090"/>
                </a:lnTo>
                <a:lnTo>
                  <a:pt x="1758" y="1087"/>
                </a:lnTo>
                <a:lnTo>
                  <a:pt x="1759" y="1084"/>
                </a:lnTo>
                <a:lnTo>
                  <a:pt x="1759" y="1080"/>
                </a:lnTo>
                <a:lnTo>
                  <a:pt x="1756" y="1076"/>
                </a:lnTo>
                <a:lnTo>
                  <a:pt x="1751" y="1071"/>
                </a:lnTo>
                <a:lnTo>
                  <a:pt x="1747" y="1066"/>
                </a:lnTo>
                <a:lnTo>
                  <a:pt x="1744" y="1061"/>
                </a:lnTo>
                <a:lnTo>
                  <a:pt x="1737" y="1048"/>
                </a:lnTo>
                <a:lnTo>
                  <a:pt x="1726" y="1039"/>
                </a:lnTo>
                <a:lnTo>
                  <a:pt x="1730" y="1038"/>
                </a:lnTo>
                <a:lnTo>
                  <a:pt x="1733" y="1037"/>
                </a:lnTo>
                <a:lnTo>
                  <a:pt x="1734" y="1032"/>
                </a:lnTo>
                <a:lnTo>
                  <a:pt x="1732" y="1028"/>
                </a:lnTo>
                <a:lnTo>
                  <a:pt x="1728" y="1023"/>
                </a:lnTo>
                <a:lnTo>
                  <a:pt x="1722" y="1019"/>
                </a:lnTo>
                <a:lnTo>
                  <a:pt x="1715" y="1014"/>
                </a:lnTo>
                <a:lnTo>
                  <a:pt x="1709" y="1007"/>
                </a:lnTo>
                <a:lnTo>
                  <a:pt x="1715" y="1008"/>
                </a:lnTo>
                <a:lnTo>
                  <a:pt x="1720" y="1008"/>
                </a:lnTo>
                <a:lnTo>
                  <a:pt x="1707" y="1003"/>
                </a:lnTo>
                <a:lnTo>
                  <a:pt x="1692" y="1001"/>
                </a:lnTo>
                <a:lnTo>
                  <a:pt x="1688" y="1004"/>
                </a:lnTo>
                <a:lnTo>
                  <a:pt x="1687" y="1008"/>
                </a:lnTo>
                <a:lnTo>
                  <a:pt x="1681" y="1008"/>
                </a:lnTo>
                <a:lnTo>
                  <a:pt x="1676" y="1003"/>
                </a:lnTo>
                <a:lnTo>
                  <a:pt x="1668" y="995"/>
                </a:lnTo>
                <a:lnTo>
                  <a:pt x="1660" y="987"/>
                </a:lnTo>
                <a:lnTo>
                  <a:pt x="1656" y="985"/>
                </a:lnTo>
                <a:lnTo>
                  <a:pt x="1652" y="982"/>
                </a:lnTo>
                <a:lnTo>
                  <a:pt x="1652" y="978"/>
                </a:lnTo>
                <a:lnTo>
                  <a:pt x="1654" y="973"/>
                </a:lnTo>
                <a:lnTo>
                  <a:pt x="1648" y="972"/>
                </a:lnTo>
                <a:lnTo>
                  <a:pt x="1643" y="979"/>
                </a:lnTo>
                <a:lnTo>
                  <a:pt x="1656" y="989"/>
                </a:lnTo>
                <a:lnTo>
                  <a:pt x="1664" y="1004"/>
                </a:lnTo>
                <a:lnTo>
                  <a:pt x="1673" y="1016"/>
                </a:lnTo>
                <a:lnTo>
                  <a:pt x="1683" y="1029"/>
                </a:lnTo>
                <a:lnTo>
                  <a:pt x="1687" y="1036"/>
                </a:lnTo>
                <a:lnTo>
                  <a:pt x="1690" y="1043"/>
                </a:lnTo>
                <a:lnTo>
                  <a:pt x="1696" y="1048"/>
                </a:lnTo>
                <a:lnTo>
                  <a:pt x="1701" y="1054"/>
                </a:lnTo>
                <a:lnTo>
                  <a:pt x="1705" y="1061"/>
                </a:lnTo>
                <a:lnTo>
                  <a:pt x="1708" y="1069"/>
                </a:lnTo>
                <a:lnTo>
                  <a:pt x="1709" y="1072"/>
                </a:lnTo>
                <a:lnTo>
                  <a:pt x="1711" y="1074"/>
                </a:lnTo>
                <a:lnTo>
                  <a:pt x="1713" y="1074"/>
                </a:lnTo>
                <a:lnTo>
                  <a:pt x="1715" y="1074"/>
                </a:lnTo>
                <a:lnTo>
                  <a:pt x="1721" y="1080"/>
                </a:lnTo>
                <a:lnTo>
                  <a:pt x="1726" y="1087"/>
                </a:lnTo>
                <a:lnTo>
                  <a:pt x="1732" y="1093"/>
                </a:lnTo>
                <a:lnTo>
                  <a:pt x="1737" y="1101"/>
                </a:lnTo>
                <a:lnTo>
                  <a:pt x="1738" y="1107"/>
                </a:lnTo>
                <a:lnTo>
                  <a:pt x="1739" y="1114"/>
                </a:lnTo>
                <a:lnTo>
                  <a:pt x="1744" y="1118"/>
                </a:lnTo>
                <a:lnTo>
                  <a:pt x="1747" y="1115"/>
                </a:lnTo>
                <a:lnTo>
                  <a:pt x="1747" y="1107"/>
                </a:lnTo>
                <a:lnTo>
                  <a:pt x="1745" y="1099"/>
                </a:lnTo>
                <a:lnTo>
                  <a:pt x="1741" y="1093"/>
                </a:lnTo>
                <a:lnTo>
                  <a:pt x="1737" y="1087"/>
                </a:lnTo>
                <a:lnTo>
                  <a:pt x="1736" y="1084"/>
                </a:lnTo>
                <a:lnTo>
                  <a:pt x="1734" y="1080"/>
                </a:lnTo>
                <a:lnTo>
                  <a:pt x="1731" y="1078"/>
                </a:lnTo>
                <a:lnTo>
                  <a:pt x="1729" y="1074"/>
                </a:lnTo>
                <a:lnTo>
                  <a:pt x="1725" y="1069"/>
                </a:lnTo>
                <a:lnTo>
                  <a:pt x="1726" y="1062"/>
                </a:lnTo>
                <a:lnTo>
                  <a:pt x="1737" y="1072"/>
                </a:lnTo>
                <a:lnTo>
                  <a:pt x="1742" y="1084"/>
                </a:lnTo>
                <a:lnTo>
                  <a:pt x="1750" y="1098"/>
                </a:lnTo>
                <a:lnTo>
                  <a:pt x="1756" y="1113"/>
                </a:lnTo>
                <a:lnTo>
                  <a:pt x="1767" y="1135"/>
                </a:lnTo>
                <a:lnTo>
                  <a:pt x="1787" y="1148"/>
                </a:lnTo>
                <a:lnTo>
                  <a:pt x="1786" y="1146"/>
                </a:lnTo>
                <a:lnTo>
                  <a:pt x="1783" y="1144"/>
                </a:lnTo>
                <a:lnTo>
                  <a:pt x="1781" y="1138"/>
                </a:lnTo>
                <a:lnTo>
                  <a:pt x="1783" y="1144"/>
                </a:lnTo>
                <a:close/>
                <a:moveTo>
                  <a:pt x="555" y="1178"/>
                </a:moveTo>
                <a:lnTo>
                  <a:pt x="554" y="1178"/>
                </a:lnTo>
                <a:lnTo>
                  <a:pt x="553" y="1178"/>
                </a:lnTo>
                <a:lnTo>
                  <a:pt x="554" y="1179"/>
                </a:lnTo>
                <a:lnTo>
                  <a:pt x="556" y="1178"/>
                </a:lnTo>
                <a:lnTo>
                  <a:pt x="555" y="1178"/>
                </a:lnTo>
                <a:lnTo>
                  <a:pt x="555" y="1178"/>
                </a:lnTo>
                <a:lnTo>
                  <a:pt x="555" y="1178"/>
                </a:lnTo>
                <a:lnTo>
                  <a:pt x="555" y="1178"/>
                </a:lnTo>
                <a:close/>
                <a:moveTo>
                  <a:pt x="518" y="215"/>
                </a:moveTo>
                <a:lnTo>
                  <a:pt x="519" y="216"/>
                </a:lnTo>
                <a:lnTo>
                  <a:pt x="519" y="217"/>
                </a:lnTo>
                <a:lnTo>
                  <a:pt x="519" y="215"/>
                </a:lnTo>
                <a:lnTo>
                  <a:pt x="518" y="215"/>
                </a:lnTo>
                <a:lnTo>
                  <a:pt x="518" y="216"/>
                </a:lnTo>
                <a:lnTo>
                  <a:pt x="518" y="215"/>
                </a:lnTo>
                <a:close/>
                <a:moveTo>
                  <a:pt x="1144" y="910"/>
                </a:moveTo>
                <a:lnTo>
                  <a:pt x="1144" y="908"/>
                </a:lnTo>
                <a:lnTo>
                  <a:pt x="1144" y="908"/>
                </a:lnTo>
                <a:lnTo>
                  <a:pt x="1143" y="910"/>
                </a:lnTo>
                <a:lnTo>
                  <a:pt x="1144" y="910"/>
                </a:lnTo>
                <a:lnTo>
                  <a:pt x="1144" y="910"/>
                </a:lnTo>
                <a:lnTo>
                  <a:pt x="1144" y="910"/>
                </a:lnTo>
                <a:close/>
                <a:moveTo>
                  <a:pt x="901" y="445"/>
                </a:moveTo>
                <a:lnTo>
                  <a:pt x="904" y="443"/>
                </a:lnTo>
                <a:lnTo>
                  <a:pt x="902" y="441"/>
                </a:lnTo>
                <a:lnTo>
                  <a:pt x="900" y="441"/>
                </a:lnTo>
                <a:lnTo>
                  <a:pt x="899" y="445"/>
                </a:lnTo>
                <a:lnTo>
                  <a:pt x="900" y="445"/>
                </a:lnTo>
                <a:lnTo>
                  <a:pt x="901" y="445"/>
                </a:lnTo>
                <a:lnTo>
                  <a:pt x="901" y="445"/>
                </a:lnTo>
                <a:lnTo>
                  <a:pt x="901" y="445"/>
                </a:lnTo>
                <a:close/>
                <a:moveTo>
                  <a:pt x="910" y="465"/>
                </a:moveTo>
                <a:lnTo>
                  <a:pt x="913" y="463"/>
                </a:lnTo>
                <a:lnTo>
                  <a:pt x="912" y="460"/>
                </a:lnTo>
                <a:lnTo>
                  <a:pt x="909" y="463"/>
                </a:lnTo>
                <a:lnTo>
                  <a:pt x="910" y="465"/>
                </a:lnTo>
                <a:lnTo>
                  <a:pt x="910" y="465"/>
                </a:lnTo>
                <a:lnTo>
                  <a:pt x="910" y="465"/>
                </a:lnTo>
                <a:close/>
                <a:moveTo>
                  <a:pt x="900" y="453"/>
                </a:moveTo>
                <a:lnTo>
                  <a:pt x="902" y="454"/>
                </a:lnTo>
                <a:lnTo>
                  <a:pt x="902" y="450"/>
                </a:lnTo>
                <a:lnTo>
                  <a:pt x="901" y="451"/>
                </a:lnTo>
                <a:lnTo>
                  <a:pt x="900" y="453"/>
                </a:lnTo>
                <a:lnTo>
                  <a:pt x="900" y="453"/>
                </a:lnTo>
                <a:lnTo>
                  <a:pt x="900" y="453"/>
                </a:lnTo>
                <a:close/>
                <a:moveTo>
                  <a:pt x="850" y="806"/>
                </a:moveTo>
                <a:lnTo>
                  <a:pt x="858" y="811"/>
                </a:lnTo>
                <a:lnTo>
                  <a:pt x="865" y="806"/>
                </a:lnTo>
                <a:lnTo>
                  <a:pt x="858" y="805"/>
                </a:lnTo>
                <a:lnTo>
                  <a:pt x="850" y="806"/>
                </a:lnTo>
                <a:close/>
                <a:moveTo>
                  <a:pt x="1378" y="496"/>
                </a:moveTo>
                <a:lnTo>
                  <a:pt x="1376" y="507"/>
                </a:lnTo>
                <a:lnTo>
                  <a:pt x="1378" y="517"/>
                </a:lnTo>
                <a:lnTo>
                  <a:pt x="1379" y="506"/>
                </a:lnTo>
                <a:lnTo>
                  <a:pt x="1378" y="496"/>
                </a:lnTo>
                <a:lnTo>
                  <a:pt x="1379" y="500"/>
                </a:lnTo>
                <a:lnTo>
                  <a:pt x="1378" y="496"/>
                </a:lnTo>
                <a:close/>
                <a:moveTo>
                  <a:pt x="1379" y="517"/>
                </a:moveTo>
                <a:lnTo>
                  <a:pt x="1378" y="517"/>
                </a:lnTo>
                <a:lnTo>
                  <a:pt x="1379" y="517"/>
                </a:lnTo>
                <a:lnTo>
                  <a:pt x="1379" y="517"/>
                </a:lnTo>
                <a:lnTo>
                  <a:pt x="1379" y="517"/>
                </a:lnTo>
                <a:lnTo>
                  <a:pt x="1379" y="517"/>
                </a:lnTo>
                <a:close/>
                <a:moveTo>
                  <a:pt x="917" y="1459"/>
                </a:moveTo>
                <a:lnTo>
                  <a:pt x="917" y="1459"/>
                </a:lnTo>
                <a:lnTo>
                  <a:pt x="917" y="1459"/>
                </a:lnTo>
                <a:lnTo>
                  <a:pt x="917" y="1459"/>
                </a:lnTo>
                <a:lnTo>
                  <a:pt x="917" y="1459"/>
                </a:lnTo>
                <a:close/>
                <a:moveTo>
                  <a:pt x="921" y="1458"/>
                </a:moveTo>
                <a:lnTo>
                  <a:pt x="920" y="1456"/>
                </a:lnTo>
                <a:lnTo>
                  <a:pt x="918" y="1458"/>
                </a:lnTo>
                <a:lnTo>
                  <a:pt x="918" y="1459"/>
                </a:lnTo>
                <a:lnTo>
                  <a:pt x="921" y="1458"/>
                </a:lnTo>
                <a:lnTo>
                  <a:pt x="921" y="1458"/>
                </a:lnTo>
                <a:lnTo>
                  <a:pt x="921" y="1458"/>
                </a:lnTo>
                <a:close/>
                <a:moveTo>
                  <a:pt x="1229" y="546"/>
                </a:moveTo>
                <a:lnTo>
                  <a:pt x="1230" y="546"/>
                </a:lnTo>
                <a:lnTo>
                  <a:pt x="1230" y="546"/>
                </a:lnTo>
                <a:lnTo>
                  <a:pt x="1229" y="546"/>
                </a:lnTo>
                <a:lnTo>
                  <a:pt x="1229" y="546"/>
                </a:lnTo>
                <a:close/>
                <a:moveTo>
                  <a:pt x="1227" y="537"/>
                </a:moveTo>
                <a:lnTo>
                  <a:pt x="1221" y="547"/>
                </a:lnTo>
                <a:lnTo>
                  <a:pt x="1217" y="556"/>
                </a:lnTo>
                <a:lnTo>
                  <a:pt x="1218" y="555"/>
                </a:lnTo>
                <a:lnTo>
                  <a:pt x="1218" y="554"/>
                </a:lnTo>
                <a:lnTo>
                  <a:pt x="1222" y="550"/>
                </a:lnTo>
                <a:lnTo>
                  <a:pt x="1229" y="546"/>
                </a:lnTo>
                <a:lnTo>
                  <a:pt x="1228" y="541"/>
                </a:lnTo>
                <a:lnTo>
                  <a:pt x="1227" y="537"/>
                </a:lnTo>
                <a:lnTo>
                  <a:pt x="1227" y="540"/>
                </a:lnTo>
                <a:lnTo>
                  <a:pt x="1227" y="537"/>
                </a:lnTo>
                <a:close/>
                <a:moveTo>
                  <a:pt x="1044" y="979"/>
                </a:moveTo>
                <a:lnTo>
                  <a:pt x="1045" y="980"/>
                </a:lnTo>
                <a:lnTo>
                  <a:pt x="1046" y="979"/>
                </a:lnTo>
                <a:lnTo>
                  <a:pt x="1045" y="978"/>
                </a:lnTo>
                <a:lnTo>
                  <a:pt x="1044" y="979"/>
                </a:lnTo>
                <a:lnTo>
                  <a:pt x="1044" y="979"/>
                </a:lnTo>
                <a:lnTo>
                  <a:pt x="1044" y="979"/>
                </a:lnTo>
                <a:close/>
                <a:moveTo>
                  <a:pt x="1073" y="639"/>
                </a:moveTo>
                <a:lnTo>
                  <a:pt x="1071" y="636"/>
                </a:lnTo>
                <a:lnTo>
                  <a:pt x="1067" y="637"/>
                </a:lnTo>
                <a:lnTo>
                  <a:pt x="1067" y="638"/>
                </a:lnTo>
                <a:lnTo>
                  <a:pt x="1067" y="638"/>
                </a:lnTo>
                <a:lnTo>
                  <a:pt x="1065" y="639"/>
                </a:lnTo>
                <a:lnTo>
                  <a:pt x="1063" y="640"/>
                </a:lnTo>
                <a:lnTo>
                  <a:pt x="1058" y="640"/>
                </a:lnTo>
                <a:lnTo>
                  <a:pt x="1054" y="640"/>
                </a:lnTo>
                <a:lnTo>
                  <a:pt x="1047" y="634"/>
                </a:lnTo>
                <a:lnTo>
                  <a:pt x="1044" y="626"/>
                </a:lnTo>
                <a:lnTo>
                  <a:pt x="1053" y="629"/>
                </a:lnTo>
                <a:lnTo>
                  <a:pt x="1058" y="636"/>
                </a:lnTo>
                <a:lnTo>
                  <a:pt x="1058" y="631"/>
                </a:lnTo>
                <a:lnTo>
                  <a:pt x="1058" y="636"/>
                </a:lnTo>
                <a:lnTo>
                  <a:pt x="1064" y="634"/>
                </a:lnTo>
                <a:lnTo>
                  <a:pt x="1072" y="636"/>
                </a:lnTo>
                <a:lnTo>
                  <a:pt x="1079" y="639"/>
                </a:lnTo>
                <a:lnTo>
                  <a:pt x="1087" y="642"/>
                </a:lnTo>
                <a:lnTo>
                  <a:pt x="1099" y="646"/>
                </a:lnTo>
                <a:lnTo>
                  <a:pt x="1111" y="655"/>
                </a:lnTo>
                <a:lnTo>
                  <a:pt x="1116" y="667"/>
                </a:lnTo>
                <a:lnTo>
                  <a:pt x="1119" y="681"/>
                </a:lnTo>
                <a:lnTo>
                  <a:pt x="1122" y="700"/>
                </a:lnTo>
                <a:lnTo>
                  <a:pt x="1131" y="717"/>
                </a:lnTo>
                <a:lnTo>
                  <a:pt x="1123" y="715"/>
                </a:lnTo>
                <a:lnTo>
                  <a:pt x="1119" y="708"/>
                </a:lnTo>
                <a:lnTo>
                  <a:pt x="1116" y="704"/>
                </a:lnTo>
                <a:lnTo>
                  <a:pt x="1114" y="699"/>
                </a:lnTo>
                <a:lnTo>
                  <a:pt x="1108" y="698"/>
                </a:lnTo>
                <a:lnTo>
                  <a:pt x="1103" y="697"/>
                </a:lnTo>
                <a:lnTo>
                  <a:pt x="1095" y="692"/>
                </a:lnTo>
                <a:lnTo>
                  <a:pt x="1091" y="684"/>
                </a:lnTo>
                <a:lnTo>
                  <a:pt x="1092" y="675"/>
                </a:lnTo>
                <a:lnTo>
                  <a:pt x="1086" y="672"/>
                </a:lnTo>
                <a:lnTo>
                  <a:pt x="1087" y="669"/>
                </a:lnTo>
                <a:lnTo>
                  <a:pt x="1090" y="667"/>
                </a:lnTo>
                <a:lnTo>
                  <a:pt x="1092" y="665"/>
                </a:lnTo>
                <a:lnTo>
                  <a:pt x="1090" y="664"/>
                </a:lnTo>
                <a:lnTo>
                  <a:pt x="1086" y="664"/>
                </a:lnTo>
                <a:lnTo>
                  <a:pt x="1081" y="663"/>
                </a:lnTo>
                <a:lnTo>
                  <a:pt x="1081" y="658"/>
                </a:lnTo>
                <a:lnTo>
                  <a:pt x="1086" y="658"/>
                </a:lnTo>
                <a:lnTo>
                  <a:pt x="1094" y="661"/>
                </a:lnTo>
                <a:lnTo>
                  <a:pt x="1102" y="657"/>
                </a:lnTo>
                <a:lnTo>
                  <a:pt x="1098" y="650"/>
                </a:lnTo>
                <a:lnTo>
                  <a:pt x="1089" y="648"/>
                </a:lnTo>
                <a:lnTo>
                  <a:pt x="1079" y="646"/>
                </a:lnTo>
                <a:lnTo>
                  <a:pt x="1070" y="648"/>
                </a:lnTo>
                <a:lnTo>
                  <a:pt x="1065" y="650"/>
                </a:lnTo>
                <a:lnTo>
                  <a:pt x="1063" y="647"/>
                </a:lnTo>
                <a:lnTo>
                  <a:pt x="1065" y="644"/>
                </a:lnTo>
                <a:lnTo>
                  <a:pt x="1069" y="641"/>
                </a:lnTo>
                <a:lnTo>
                  <a:pt x="1069" y="640"/>
                </a:lnTo>
                <a:lnTo>
                  <a:pt x="1069" y="640"/>
                </a:lnTo>
                <a:lnTo>
                  <a:pt x="1072" y="641"/>
                </a:lnTo>
                <a:lnTo>
                  <a:pt x="1073" y="639"/>
                </a:lnTo>
                <a:lnTo>
                  <a:pt x="1073" y="640"/>
                </a:lnTo>
                <a:lnTo>
                  <a:pt x="1073" y="639"/>
                </a:lnTo>
                <a:close/>
                <a:moveTo>
                  <a:pt x="537" y="657"/>
                </a:moveTo>
                <a:lnTo>
                  <a:pt x="543" y="656"/>
                </a:lnTo>
                <a:lnTo>
                  <a:pt x="550" y="650"/>
                </a:lnTo>
                <a:lnTo>
                  <a:pt x="542" y="653"/>
                </a:lnTo>
                <a:lnTo>
                  <a:pt x="537" y="657"/>
                </a:lnTo>
                <a:close/>
                <a:moveTo>
                  <a:pt x="1088" y="405"/>
                </a:moveTo>
                <a:lnTo>
                  <a:pt x="1092" y="399"/>
                </a:lnTo>
                <a:lnTo>
                  <a:pt x="1089" y="395"/>
                </a:lnTo>
                <a:lnTo>
                  <a:pt x="1085" y="400"/>
                </a:lnTo>
                <a:lnTo>
                  <a:pt x="1088" y="405"/>
                </a:lnTo>
                <a:lnTo>
                  <a:pt x="1088" y="405"/>
                </a:lnTo>
                <a:lnTo>
                  <a:pt x="1088" y="405"/>
                </a:lnTo>
                <a:close/>
                <a:moveTo>
                  <a:pt x="799" y="630"/>
                </a:moveTo>
                <a:lnTo>
                  <a:pt x="799" y="629"/>
                </a:lnTo>
                <a:lnTo>
                  <a:pt x="798" y="628"/>
                </a:lnTo>
                <a:lnTo>
                  <a:pt x="797" y="629"/>
                </a:lnTo>
                <a:lnTo>
                  <a:pt x="798" y="631"/>
                </a:lnTo>
                <a:lnTo>
                  <a:pt x="798" y="631"/>
                </a:lnTo>
                <a:lnTo>
                  <a:pt x="799" y="630"/>
                </a:lnTo>
                <a:lnTo>
                  <a:pt x="799" y="630"/>
                </a:lnTo>
                <a:lnTo>
                  <a:pt x="799" y="630"/>
                </a:lnTo>
                <a:close/>
                <a:moveTo>
                  <a:pt x="791" y="582"/>
                </a:moveTo>
                <a:lnTo>
                  <a:pt x="784" y="581"/>
                </a:lnTo>
                <a:lnTo>
                  <a:pt x="778" y="581"/>
                </a:lnTo>
                <a:lnTo>
                  <a:pt x="778" y="581"/>
                </a:lnTo>
                <a:lnTo>
                  <a:pt x="778" y="581"/>
                </a:lnTo>
                <a:lnTo>
                  <a:pt x="784" y="587"/>
                </a:lnTo>
                <a:lnTo>
                  <a:pt x="791" y="582"/>
                </a:lnTo>
                <a:close/>
                <a:moveTo>
                  <a:pt x="778" y="581"/>
                </a:moveTo>
                <a:lnTo>
                  <a:pt x="777" y="581"/>
                </a:lnTo>
                <a:lnTo>
                  <a:pt x="778" y="581"/>
                </a:lnTo>
                <a:close/>
                <a:moveTo>
                  <a:pt x="921" y="1182"/>
                </a:moveTo>
                <a:lnTo>
                  <a:pt x="924" y="1184"/>
                </a:lnTo>
                <a:lnTo>
                  <a:pt x="926" y="1182"/>
                </a:lnTo>
                <a:lnTo>
                  <a:pt x="924" y="1181"/>
                </a:lnTo>
                <a:lnTo>
                  <a:pt x="921" y="1182"/>
                </a:lnTo>
                <a:lnTo>
                  <a:pt x="922" y="1182"/>
                </a:lnTo>
                <a:lnTo>
                  <a:pt x="921" y="1182"/>
                </a:lnTo>
                <a:close/>
                <a:moveTo>
                  <a:pt x="1075" y="533"/>
                </a:moveTo>
                <a:lnTo>
                  <a:pt x="1078" y="533"/>
                </a:lnTo>
                <a:lnTo>
                  <a:pt x="1079" y="531"/>
                </a:lnTo>
                <a:lnTo>
                  <a:pt x="1074" y="531"/>
                </a:lnTo>
                <a:lnTo>
                  <a:pt x="1072" y="533"/>
                </a:lnTo>
                <a:lnTo>
                  <a:pt x="1073" y="536"/>
                </a:lnTo>
                <a:lnTo>
                  <a:pt x="1075" y="533"/>
                </a:lnTo>
                <a:lnTo>
                  <a:pt x="1075" y="533"/>
                </a:lnTo>
                <a:lnTo>
                  <a:pt x="1075" y="533"/>
                </a:lnTo>
                <a:close/>
                <a:moveTo>
                  <a:pt x="993" y="631"/>
                </a:moveTo>
                <a:lnTo>
                  <a:pt x="993" y="631"/>
                </a:lnTo>
                <a:lnTo>
                  <a:pt x="993" y="631"/>
                </a:lnTo>
                <a:lnTo>
                  <a:pt x="991" y="631"/>
                </a:lnTo>
                <a:lnTo>
                  <a:pt x="989" y="631"/>
                </a:lnTo>
                <a:lnTo>
                  <a:pt x="988" y="628"/>
                </a:lnTo>
                <a:lnTo>
                  <a:pt x="986" y="623"/>
                </a:lnTo>
                <a:lnTo>
                  <a:pt x="988" y="622"/>
                </a:lnTo>
                <a:lnTo>
                  <a:pt x="991" y="621"/>
                </a:lnTo>
                <a:lnTo>
                  <a:pt x="993" y="617"/>
                </a:lnTo>
                <a:lnTo>
                  <a:pt x="995" y="614"/>
                </a:lnTo>
                <a:lnTo>
                  <a:pt x="986" y="620"/>
                </a:lnTo>
                <a:lnTo>
                  <a:pt x="974" y="622"/>
                </a:lnTo>
                <a:lnTo>
                  <a:pt x="980" y="617"/>
                </a:lnTo>
                <a:lnTo>
                  <a:pt x="983" y="611"/>
                </a:lnTo>
                <a:lnTo>
                  <a:pt x="989" y="606"/>
                </a:lnTo>
                <a:lnTo>
                  <a:pt x="995" y="601"/>
                </a:lnTo>
                <a:lnTo>
                  <a:pt x="991" y="605"/>
                </a:lnTo>
                <a:lnTo>
                  <a:pt x="991" y="608"/>
                </a:lnTo>
                <a:lnTo>
                  <a:pt x="995" y="609"/>
                </a:lnTo>
                <a:lnTo>
                  <a:pt x="997" y="609"/>
                </a:lnTo>
                <a:lnTo>
                  <a:pt x="1000" y="607"/>
                </a:lnTo>
                <a:lnTo>
                  <a:pt x="1004" y="605"/>
                </a:lnTo>
                <a:lnTo>
                  <a:pt x="1007" y="603"/>
                </a:lnTo>
                <a:lnTo>
                  <a:pt x="1009" y="599"/>
                </a:lnTo>
                <a:lnTo>
                  <a:pt x="1009" y="597"/>
                </a:lnTo>
                <a:lnTo>
                  <a:pt x="1011" y="596"/>
                </a:lnTo>
                <a:lnTo>
                  <a:pt x="1012" y="593"/>
                </a:lnTo>
                <a:lnTo>
                  <a:pt x="1013" y="591"/>
                </a:lnTo>
                <a:lnTo>
                  <a:pt x="1016" y="588"/>
                </a:lnTo>
                <a:lnTo>
                  <a:pt x="1019" y="584"/>
                </a:lnTo>
                <a:lnTo>
                  <a:pt x="1020" y="574"/>
                </a:lnTo>
                <a:lnTo>
                  <a:pt x="1017" y="565"/>
                </a:lnTo>
                <a:lnTo>
                  <a:pt x="1022" y="568"/>
                </a:lnTo>
                <a:lnTo>
                  <a:pt x="1017" y="565"/>
                </a:lnTo>
                <a:lnTo>
                  <a:pt x="1025" y="568"/>
                </a:lnTo>
                <a:lnTo>
                  <a:pt x="1028" y="578"/>
                </a:lnTo>
                <a:lnTo>
                  <a:pt x="1028" y="595"/>
                </a:lnTo>
                <a:lnTo>
                  <a:pt x="1028" y="612"/>
                </a:lnTo>
                <a:lnTo>
                  <a:pt x="1026" y="647"/>
                </a:lnTo>
                <a:lnTo>
                  <a:pt x="1020" y="681"/>
                </a:lnTo>
                <a:lnTo>
                  <a:pt x="1019" y="684"/>
                </a:lnTo>
                <a:lnTo>
                  <a:pt x="1016" y="687"/>
                </a:lnTo>
                <a:lnTo>
                  <a:pt x="1012" y="687"/>
                </a:lnTo>
                <a:lnTo>
                  <a:pt x="1007" y="684"/>
                </a:lnTo>
                <a:lnTo>
                  <a:pt x="1006" y="676"/>
                </a:lnTo>
                <a:lnTo>
                  <a:pt x="1003" y="670"/>
                </a:lnTo>
                <a:lnTo>
                  <a:pt x="1000" y="670"/>
                </a:lnTo>
                <a:lnTo>
                  <a:pt x="998" y="669"/>
                </a:lnTo>
                <a:lnTo>
                  <a:pt x="997" y="666"/>
                </a:lnTo>
                <a:lnTo>
                  <a:pt x="997" y="662"/>
                </a:lnTo>
                <a:lnTo>
                  <a:pt x="996" y="655"/>
                </a:lnTo>
                <a:lnTo>
                  <a:pt x="996" y="648"/>
                </a:lnTo>
                <a:lnTo>
                  <a:pt x="996" y="644"/>
                </a:lnTo>
                <a:lnTo>
                  <a:pt x="995" y="639"/>
                </a:lnTo>
                <a:lnTo>
                  <a:pt x="993" y="638"/>
                </a:lnTo>
                <a:lnTo>
                  <a:pt x="992" y="638"/>
                </a:lnTo>
                <a:lnTo>
                  <a:pt x="991" y="638"/>
                </a:lnTo>
                <a:lnTo>
                  <a:pt x="991" y="638"/>
                </a:lnTo>
                <a:lnTo>
                  <a:pt x="990" y="636"/>
                </a:lnTo>
                <a:lnTo>
                  <a:pt x="988" y="634"/>
                </a:lnTo>
                <a:lnTo>
                  <a:pt x="991" y="634"/>
                </a:lnTo>
                <a:lnTo>
                  <a:pt x="993" y="631"/>
                </a:lnTo>
                <a:lnTo>
                  <a:pt x="993" y="631"/>
                </a:lnTo>
                <a:lnTo>
                  <a:pt x="993" y="631"/>
                </a:lnTo>
                <a:close/>
                <a:moveTo>
                  <a:pt x="1004" y="607"/>
                </a:moveTo>
                <a:lnTo>
                  <a:pt x="1003" y="608"/>
                </a:lnTo>
                <a:lnTo>
                  <a:pt x="1000" y="609"/>
                </a:lnTo>
                <a:lnTo>
                  <a:pt x="997" y="611"/>
                </a:lnTo>
                <a:lnTo>
                  <a:pt x="997" y="614"/>
                </a:lnTo>
                <a:lnTo>
                  <a:pt x="998" y="614"/>
                </a:lnTo>
                <a:lnTo>
                  <a:pt x="997" y="614"/>
                </a:lnTo>
                <a:lnTo>
                  <a:pt x="1000" y="613"/>
                </a:lnTo>
                <a:lnTo>
                  <a:pt x="1000" y="609"/>
                </a:lnTo>
                <a:lnTo>
                  <a:pt x="1004" y="611"/>
                </a:lnTo>
                <a:lnTo>
                  <a:pt x="1004" y="608"/>
                </a:lnTo>
                <a:lnTo>
                  <a:pt x="1007" y="607"/>
                </a:lnTo>
                <a:lnTo>
                  <a:pt x="1004" y="607"/>
                </a:lnTo>
                <a:close/>
                <a:moveTo>
                  <a:pt x="1000" y="624"/>
                </a:moveTo>
                <a:lnTo>
                  <a:pt x="998" y="626"/>
                </a:lnTo>
                <a:lnTo>
                  <a:pt x="999" y="629"/>
                </a:lnTo>
                <a:lnTo>
                  <a:pt x="1001" y="626"/>
                </a:lnTo>
                <a:lnTo>
                  <a:pt x="1000" y="624"/>
                </a:lnTo>
                <a:lnTo>
                  <a:pt x="999" y="624"/>
                </a:lnTo>
                <a:lnTo>
                  <a:pt x="1000" y="624"/>
                </a:lnTo>
                <a:close/>
                <a:moveTo>
                  <a:pt x="1000" y="640"/>
                </a:moveTo>
                <a:lnTo>
                  <a:pt x="998" y="644"/>
                </a:lnTo>
                <a:lnTo>
                  <a:pt x="999" y="645"/>
                </a:lnTo>
                <a:lnTo>
                  <a:pt x="1001" y="641"/>
                </a:lnTo>
                <a:lnTo>
                  <a:pt x="1000" y="640"/>
                </a:lnTo>
                <a:lnTo>
                  <a:pt x="1000" y="640"/>
                </a:lnTo>
                <a:lnTo>
                  <a:pt x="1000" y="640"/>
                </a:lnTo>
                <a:close/>
                <a:moveTo>
                  <a:pt x="847" y="924"/>
                </a:moveTo>
                <a:lnTo>
                  <a:pt x="849" y="925"/>
                </a:lnTo>
                <a:lnTo>
                  <a:pt x="850" y="924"/>
                </a:lnTo>
                <a:lnTo>
                  <a:pt x="849" y="924"/>
                </a:lnTo>
                <a:lnTo>
                  <a:pt x="847" y="924"/>
                </a:lnTo>
                <a:lnTo>
                  <a:pt x="848" y="924"/>
                </a:lnTo>
                <a:lnTo>
                  <a:pt x="847" y="924"/>
                </a:lnTo>
                <a:close/>
                <a:moveTo>
                  <a:pt x="875" y="939"/>
                </a:moveTo>
                <a:lnTo>
                  <a:pt x="873" y="936"/>
                </a:lnTo>
                <a:lnTo>
                  <a:pt x="868" y="938"/>
                </a:lnTo>
                <a:lnTo>
                  <a:pt x="868" y="944"/>
                </a:lnTo>
                <a:lnTo>
                  <a:pt x="871" y="949"/>
                </a:lnTo>
                <a:lnTo>
                  <a:pt x="873" y="953"/>
                </a:lnTo>
                <a:lnTo>
                  <a:pt x="876" y="955"/>
                </a:lnTo>
                <a:lnTo>
                  <a:pt x="876" y="955"/>
                </a:lnTo>
                <a:lnTo>
                  <a:pt x="876" y="956"/>
                </a:lnTo>
                <a:lnTo>
                  <a:pt x="876" y="957"/>
                </a:lnTo>
                <a:lnTo>
                  <a:pt x="877" y="960"/>
                </a:lnTo>
                <a:lnTo>
                  <a:pt x="880" y="962"/>
                </a:lnTo>
                <a:lnTo>
                  <a:pt x="881" y="964"/>
                </a:lnTo>
                <a:lnTo>
                  <a:pt x="875" y="968"/>
                </a:lnTo>
                <a:lnTo>
                  <a:pt x="867" y="965"/>
                </a:lnTo>
                <a:lnTo>
                  <a:pt x="867" y="970"/>
                </a:lnTo>
                <a:lnTo>
                  <a:pt x="865" y="974"/>
                </a:lnTo>
                <a:lnTo>
                  <a:pt x="861" y="969"/>
                </a:lnTo>
                <a:lnTo>
                  <a:pt x="857" y="964"/>
                </a:lnTo>
                <a:lnTo>
                  <a:pt x="853" y="961"/>
                </a:lnTo>
                <a:lnTo>
                  <a:pt x="856" y="957"/>
                </a:lnTo>
                <a:lnTo>
                  <a:pt x="859" y="954"/>
                </a:lnTo>
                <a:lnTo>
                  <a:pt x="855" y="951"/>
                </a:lnTo>
                <a:lnTo>
                  <a:pt x="852" y="949"/>
                </a:lnTo>
                <a:lnTo>
                  <a:pt x="850" y="947"/>
                </a:lnTo>
                <a:lnTo>
                  <a:pt x="850" y="944"/>
                </a:lnTo>
                <a:lnTo>
                  <a:pt x="852" y="940"/>
                </a:lnTo>
                <a:lnTo>
                  <a:pt x="850" y="935"/>
                </a:lnTo>
                <a:lnTo>
                  <a:pt x="846" y="930"/>
                </a:lnTo>
                <a:lnTo>
                  <a:pt x="843" y="923"/>
                </a:lnTo>
                <a:lnTo>
                  <a:pt x="842" y="914"/>
                </a:lnTo>
                <a:lnTo>
                  <a:pt x="843" y="908"/>
                </a:lnTo>
                <a:lnTo>
                  <a:pt x="844" y="904"/>
                </a:lnTo>
                <a:lnTo>
                  <a:pt x="843" y="903"/>
                </a:lnTo>
                <a:lnTo>
                  <a:pt x="843" y="902"/>
                </a:lnTo>
                <a:lnTo>
                  <a:pt x="844" y="899"/>
                </a:lnTo>
                <a:lnTo>
                  <a:pt x="846" y="897"/>
                </a:lnTo>
                <a:lnTo>
                  <a:pt x="849" y="894"/>
                </a:lnTo>
                <a:lnTo>
                  <a:pt x="852" y="894"/>
                </a:lnTo>
                <a:lnTo>
                  <a:pt x="858" y="894"/>
                </a:lnTo>
                <a:lnTo>
                  <a:pt x="860" y="890"/>
                </a:lnTo>
                <a:lnTo>
                  <a:pt x="859" y="886"/>
                </a:lnTo>
                <a:lnTo>
                  <a:pt x="853" y="887"/>
                </a:lnTo>
                <a:lnTo>
                  <a:pt x="849" y="885"/>
                </a:lnTo>
                <a:lnTo>
                  <a:pt x="850" y="880"/>
                </a:lnTo>
                <a:lnTo>
                  <a:pt x="851" y="879"/>
                </a:lnTo>
                <a:lnTo>
                  <a:pt x="853" y="878"/>
                </a:lnTo>
                <a:lnTo>
                  <a:pt x="851" y="877"/>
                </a:lnTo>
                <a:lnTo>
                  <a:pt x="849" y="874"/>
                </a:lnTo>
                <a:lnTo>
                  <a:pt x="848" y="869"/>
                </a:lnTo>
                <a:lnTo>
                  <a:pt x="849" y="864"/>
                </a:lnTo>
                <a:lnTo>
                  <a:pt x="850" y="858"/>
                </a:lnTo>
                <a:lnTo>
                  <a:pt x="855" y="856"/>
                </a:lnTo>
                <a:lnTo>
                  <a:pt x="861" y="855"/>
                </a:lnTo>
                <a:lnTo>
                  <a:pt x="868" y="854"/>
                </a:lnTo>
                <a:lnTo>
                  <a:pt x="873" y="847"/>
                </a:lnTo>
                <a:lnTo>
                  <a:pt x="876" y="839"/>
                </a:lnTo>
                <a:lnTo>
                  <a:pt x="876" y="828"/>
                </a:lnTo>
                <a:lnTo>
                  <a:pt x="876" y="816"/>
                </a:lnTo>
                <a:lnTo>
                  <a:pt x="879" y="806"/>
                </a:lnTo>
                <a:lnTo>
                  <a:pt x="882" y="796"/>
                </a:lnTo>
                <a:lnTo>
                  <a:pt x="886" y="787"/>
                </a:lnTo>
                <a:lnTo>
                  <a:pt x="886" y="779"/>
                </a:lnTo>
                <a:lnTo>
                  <a:pt x="885" y="780"/>
                </a:lnTo>
                <a:lnTo>
                  <a:pt x="883" y="781"/>
                </a:lnTo>
                <a:lnTo>
                  <a:pt x="886" y="778"/>
                </a:lnTo>
                <a:lnTo>
                  <a:pt x="884" y="774"/>
                </a:lnTo>
                <a:lnTo>
                  <a:pt x="891" y="775"/>
                </a:lnTo>
                <a:lnTo>
                  <a:pt x="894" y="770"/>
                </a:lnTo>
                <a:lnTo>
                  <a:pt x="894" y="767"/>
                </a:lnTo>
                <a:lnTo>
                  <a:pt x="896" y="766"/>
                </a:lnTo>
                <a:lnTo>
                  <a:pt x="898" y="766"/>
                </a:lnTo>
                <a:lnTo>
                  <a:pt x="900" y="769"/>
                </a:lnTo>
                <a:lnTo>
                  <a:pt x="898" y="777"/>
                </a:lnTo>
                <a:lnTo>
                  <a:pt x="894" y="786"/>
                </a:lnTo>
                <a:lnTo>
                  <a:pt x="890" y="797"/>
                </a:lnTo>
                <a:lnTo>
                  <a:pt x="888" y="810"/>
                </a:lnTo>
                <a:lnTo>
                  <a:pt x="879" y="855"/>
                </a:lnTo>
                <a:lnTo>
                  <a:pt x="873" y="902"/>
                </a:lnTo>
                <a:lnTo>
                  <a:pt x="871" y="911"/>
                </a:lnTo>
                <a:lnTo>
                  <a:pt x="872" y="921"/>
                </a:lnTo>
                <a:lnTo>
                  <a:pt x="873" y="924"/>
                </a:lnTo>
                <a:lnTo>
                  <a:pt x="875" y="927"/>
                </a:lnTo>
                <a:lnTo>
                  <a:pt x="875" y="931"/>
                </a:lnTo>
                <a:lnTo>
                  <a:pt x="876" y="933"/>
                </a:lnTo>
                <a:lnTo>
                  <a:pt x="880" y="931"/>
                </a:lnTo>
                <a:lnTo>
                  <a:pt x="876" y="927"/>
                </a:lnTo>
                <a:lnTo>
                  <a:pt x="877" y="920"/>
                </a:lnTo>
                <a:lnTo>
                  <a:pt x="879" y="913"/>
                </a:lnTo>
                <a:lnTo>
                  <a:pt x="877" y="911"/>
                </a:lnTo>
                <a:lnTo>
                  <a:pt x="880" y="910"/>
                </a:lnTo>
                <a:lnTo>
                  <a:pt x="883" y="910"/>
                </a:lnTo>
                <a:lnTo>
                  <a:pt x="886" y="911"/>
                </a:lnTo>
                <a:lnTo>
                  <a:pt x="892" y="914"/>
                </a:lnTo>
                <a:lnTo>
                  <a:pt x="894" y="920"/>
                </a:lnTo>
                <a:lnTo>
                  <a:pt x="897" y="923"/>
                </a:lnTo>
                <a:lnTo>
                  <a:pt x="898" y="927"/>
                </a:lnTo>
                <a:lnTo>
                  <a:pt x="899" y="929"/>
                </a:lnTo>
                <a:lnTo>
                  <a:pt x="896" y="930"/>
                </a:lnTo>
                <a:lnTo>
                  <a:pt x="894" y="935"/>
                </a:lnTo>
                <a:lnTo>
                  <a:pt x="898" y="939"/>
                </a:lnTo>
                <a:lnTo>
                  <a:pt x="890" y="939"/>
                </a:lnTo>
                <a:lnTo>
                  <a:pt x="883" y="937"/>
                </a:lnTo>
                <a:lnTo>
                  <a:pt x="885" y="938"/>
                </a:lnTo>
                <a:lnTo>
                  <a:pt x="883" y="937"/>
                </a:lnTo>
                <a:lnTo>
                  <a:pt x="885" y="943"/>
                </a:lnTo>
                <a:lnTo>
                  <a:pt x="884" y="949"/>
                </a:lnTo>
                <a:lnTo>
                  <a:pt x="883" y="953"/>
                </a:lnTo>
                <a:lnTo>
                  <a:pt x="880" y="955"/>
                </a:lnTo>
                <a:lnTo>
                  <a:pt x="877" y="954"/>
                </a:lnTo>
                <a:lnTo>
                  <a:pt x="876" y="955"/>
                </a:lnTo>
                <a:lnTo>
                  <a:pt x="876" y="947"/>
                </a:lnTo>
                <a:lnTo>
                  <a:pt x="875" y="939"/>
                </a:lnTo>
                <a:lnTo>
                  <a:pt x="875" y="940"/>
                </a:lnTo>
                <a:lnTo>
                  <a:pt x="875" y="939"/>
                </a:lnTo>
                <a:close/>
                <a:moveTo>
                  <a:pt x="1000" y="886"/>
                </a:moveTo>
                <a:lnTo>
                  <a:pt x="1001" y="885"/>
                </a:lnTo>
                <a:lnTo>
                  <a:pt x="999" y="883"/>
                </a:lnTo>
                <a:lnTo>
                  <a:pt x="999" y="883"/>
                </a:lnTo>
                <a:lnTo>
                  <a:pt x="999" y="883"/>
                </a:lnTo>
                <a:lnTo>
                  <a:pt x="999" y="885"/>
                </a:lnTo>
                <a:lnTo>
                  <a:pt x="1000" y="886"/>
                </a:lnTo>
                <a:lnTo>
                  <a:pt x="1000" y="886"/>
                </a:lnTo>
                <a:lnTo>
                  <a:pt x="1000" y="886"/>
                </a:lnTo>
                <a:close/>
                <a:moveTo>
                  <a:pt x="641" y="986"/>
                </a:moveTo>
                <a:lnTo>
                  <a:pt x="641" y="986"/>
                </a:lnTo>
                <a:lnTo>
                  <a:pt x="641" y="986"/>
                </a:lnTo>
                <a:close/>
                <a:moveTo>
                  <a:pt x="638" y="988"/>
                </a:moveTo>
                <a:lnTo>
                  <a:pt x="640" y="987"/>
                </a:lnTo>
                <a:lnTo>
                  <a:pt x="641" y="986"/>
                </a:lnTo>
                <a:lnTo>
                  <a:pt x="638" y="986"/>
                </a:lnTo>
                <a:lnTo>
                  <a:pt x="638" y="988"/>
                </a:lnTo>
                <a:lnTo>
                  <a:pt x="638" y="988"/>
                </a:lnTo>
                <a:lnTo>
                  <a:pt x="638" y="988"/>
                </a:lnTo>
                <a:close/>
                <a:moveTo>
                  <a:pt x="641" y="986"/>
                </a:moveTo>
                <a:lnTo>
                  <a:pt x="641" y="986"/>
                </a:lnTo>
                <a:lnTo>
                  <a:pt x="641" y="986"/>
                </a:lnTo>
                <a:lnTo>
                  <a:pt x="641" y="986"/>
                </a:lnTo>
                <a:lnTo>
                  <a:pt x="641" y="986"/>
                </a:lnTo>
                <a:close/>
                <a:moveTo>
                  <a:pt x="641" y="985"/>
                </a:moveTo>
                <a:lnTo>
                  <a:pt x="641" y="986"/>
                </a:lnTo>
                <a:lnTo>
                  <a:pt x="641" y="985"/>
                </a:lnTo>
                <a:lnTo>
                  <a:pt x="641" y="985"/>
                </a:lnTo>
                <a:lnTo>
                  <a:pt x="641" y="985"/>
                </a:lnTo>
                <a:close/>
                <a:moveTo>
                  <a:pt x="638" y="988"/>
                </a:moveTo>
                <a:lnTo>
                  <a:pt x="633" y="991"/>
                </a:lnTo>
                <a:lnTo>
                  <a:pt x="627" y="996"/>
                </a:lnTo>
                <a:lnTo>
                  <a:pt x="625" y="997"/>
                </a:lnTo>
                <a:lnTo>
                  <a:pt x="622" y="996"/>
                </a:lnTo>
                <a:lnTo>
                  <a:pt x="625" y="991"/>
                </a:lnTo>
                <a:lnTo>
                  <a:pt x="627" y="988"/>
                </a:lnTo>
                <a:lnTo>
                  <a:pt x="630" y="977"/>
                </a:lnTo>
                <a:lnTo>
                  <a:pt x="630" y="965"/>
                </a:lnTo>
                <a:lnTo>
                  <a:pt x="630" y="961"/>
                </a:lnTo>
                <a:lnTo>
                  <a:pt x="632" y="957"/>
                </a:lnTo>
                <a:lnTo>
                  <a:pt x="635" y="958"/>
                </a:lnTo>
                <a:lnTo>
                  <a:pt x="638" y="961"/>
                </a:lnTo>
                <a:lnTo>
                  <a:pt x="638" y="961"/>
                </a:lnTo>
                <a:lnTo>
                  <a:pt x="638" y="960"/>
                </a:lnTo>
                <a:lnTo>
                  <a:pt x="638" y="962"/>
                </a:lnTo>
                <a:lnTo>
                  <a:pt x="642" y="963"/>
                </a:lnTo>
                <a:lnTo>
                  <a:pt x="644" y="962"/>
                </a:lnTo>
                <a:lnTo>
                  <a:pt x="646" y="962"/>
                </a:lnTo>
                <a:lnTo>
                  <a:pt x="650" y="958"/>
                </a:lnTo>
                <a:lnTo>
                  <a:pt x="653" y="954"/>
                </a:lnTo>
                <a:lnTo>
                  <a:pt x="650" y="955"/>
                </a:lnTo>
                <a:lnTo>
                  <a:pt x="653" y="954"/>
                </a:lnTo>
                <a:lnTo>
                  <a:pt x="646" y="955"/>
                </a:lnTo>
                <a:lnTo>
                  <a:pt x="638" y="956"/>
                </a:lnTo>
                <a:lnTo>
                  <a:pt x="637" y="954"/>
                </a:lnTo>
                <a:lnTo>
                  <a:pt x="636" y="952"/>
                </a:lnTo>
                <a:lnTo>
                  <a:pt x="636" y="948"/>
                </a:lnTo>
                <a:lnTo>
                  <a:pt x="638" y="946"/>
                </a:lnTo>
                <a:lnTo>
                  <a:pt x="642" y="944"/>
                </a:lnTo>
                <a:lnTo>
                  <a:pt x="645" y="943"/>
                </a:lnTo>
                <a:lnTo>
                  <a:pt x="645" y="939"/>
                </a:lnTo>
                <a:lnTo>
                  <a:pt x="644" y="937"/>
                </a:lnTo>
                <a:lnTo>
                  <a:pt x="649" y="932"/>
                </a:lnTo>
                <a:lnTo>
                  <a:pt x="654" y="928"/>
                </a:lnTo>
                <a:lnTo>
                  <a:pt x="657" y="924"/>
                </a:lnTo>
                <a:lnTo>
                  <a:pt x="657" y="921"/>
                </a:lnTo>
                <a:lnTo>
                  <a:pt x="652" y="921"/>
                </a:lnTo>
                <a:lnTo>
                  <a:pt x="647" y="921"/>
                </a:lnTo>
                <a:lnTo>
                  <a:pt x="652" y="916"/>
                </a:lnTo>
                <a:lnTo>
                  <a:pt x="658" y="914"/>
                </a:lnTo>
                <a:lnTo>
                  <a:pt x="661" y="915"/>
                </a:lnTo>
                <a:lnTo>
                  <a:pt x="666" y="915"/>
                </a:lnTo>
                <a:lnTo>
                  <a:pt x="668" y="914"/>
                </a:lnTo>
                <a:lnTo>
                  <a:pt x="670" y="912"/>
                </a:lnTo>
                <a:lnTo>
                  <a:pt x="678" y="908"/>
                </a:lnTo>
                <a:lnTo>
                  <a:pt x="685" y="910"/>
                </a:lnTo>
                <a:lnTo>
                  <a:pt x="684" y="916"/>
                </a:lnTo>
                <a:lnTo>
                  <a:pt x="677" y="920"/>
                </a:lnTo>
                <a:lnTo>
                  <a:pt x="671" y="923"/>
                </a:lnTo>
                <a:lnTo>
                  <a:pt x="667" y="927"/>
                </a:lnTo>
                <a:lnTo>
                  <a:pt x="666" y="932"/>
                </a:lnTo>
                <a:lnTo>
                  <a:pt x="667" y="937"/>
                </a:lnTo>
                <a:lnTo>
                  <a:pt x="663" y="939"/>
                </a:lnTo>
                <a:lnTo>
                  <a:pt x="665" y="944"/>
                </a:lnTo>
                <a:lnTo>
                  <a:pt x="669" y="943"/>
                </a:lnTo>
                <a:lnTo>
                  <a:pt x="674" y="937"/>
                </a:lnTo>
                <a:lnTo>
                  <a:pt x="675" y="939"/>
                </a:lnTo>
                <a:lnTo>
                  <a:pt x="675" y="941"/>
                </a:lnTo>
                <a:lnTo>
                  <a:pt x="674" y="944"/>
                </a:lnTo>
                <a:lnTo>
                  <a:pt x="671" y="947"/>
                </a:lnTo>
                <a:lnTo>
                  <a:pt x="669" y="954"/>
                </a:lnTo>
                <a:lnTo>
                  <a:pt x="666" y="960"/>
                </a:lnTo>
                <a:lnTo>
                  <a:pt x="658" y="973"/>
                </a:lnTo>
                <a:lnTo>
                  <a:pt x="651" y="986"/>
                </a:lnTo>
                <a:lnTo>
                  <a:pt x="647" y="995"/>
                </a:lnTo>
                <a:lnTo>
                  <a:pt x="646" y="1004"/>
                </a:lnTo>
                <a:lnTo>
                  <a:pt x="652" y="1006"/>
                </a:lnTo>
                <a:lnTo>
                  <a:pt x="658" y="1005"/>
                </a:lnTo>
                <a:lnTo>
                  <a:pt x="660" y="1011"/>
                </a:lnTo>
                <a:lnTo>
                  <a:pt x="661" y="1018"/>
                </a:lnTo>
                <a:lnTo>
                  <a:pt x="659" y="1019"/>
                </a:lnTo>
                <a:lnTo>
                  <a:pt x="657" y="1021"/>
                </a:lnTo>
                <a:lnTo>
                  <a:pt x="655" y="1023"/>
                </a:lnTo>
                <a:lnTo>
                  <a:pt x="654" y="1027"/>
                </a:lnTo>
                <a:lnTo>
                  <a:pt x="650" y="1032"/>
                </a:lnTo>
                <a:lnTo>
                  <a:pt x="644" y="1034"/>
                </a:lnTo>
                <a:lnTo>
                  <a:pt x="643" y="1029"/>
                </a:lnTo>
                <a:lnTo>
                  <a:pt x="642" y="1024"/>
                </a:lnTo>
                <a:lnTo>
                  <a:pt x="640" y="1022"/>
                </a:lnTo>
                <a:lnTo>
                  <a:pt x="640" y="1020"/>
                </a:lnTo>
                <a:lnTo>
                  <a:pt x="645" y="1015"/>
                </a:lnTo>
                <a:lnTo>
                  <a:pt x="649" y="1011"/>
                </a:lnTo>
                <a:lnTo>
                  <a:pt x="646" y="1008"/>
                </a:lnTo>
                <a:lnTo>
                  <a:pt x="642" y="1008"/>
                </a:lnTo>
                <a:lnTo>
                  <a:pt x="641" y="1012"/>
                </a:lnTo>
                <a:lnTo>
                  <a:pt x="638" y="1015"/>
                </a:lnTo>
                <a:lnTo>
                  <a:pt x="629" y="1035"/>
                </a:lnTo>
                <a:lnTo>
                  <a:pt x="621" y="1055"/>
                </a:lnTo>
                <a:lnTo>
                  <a:pt x="626" y="1051"/>
                </a:lnTo>
                <a:lnTo>
                  <a:pt x="630" y="1045"/>
                </a:lnTo>
                <a:lnTo>
                  <a:pt x="635" y="1036"/>
                </a:lnTo>
                <a:lnTo>
                  <a:pt x="642" y="1034"/>
                </a:lnTo>
                <a:lnTo>
                  <a:pt x="643" y="1039"/>
                </a:lnTo>
                <a:lnTo>
                  <a:pt x="642" y="1046"/>
                </a:lnTo>
                <a:lnTo>
                  <a:pt x="638" y="1051"/>
                </a:lnTo>
                <a:lnTo>
                  <a:pt x="635" y="1055"/>
                </a:lnTo>
                <a:lnTo>
                  <a:pt x="634" y="1063"/>
                </a:lnTo>
                <a:lnTo>
                  <a:pt x="632" y="1071"/>
                </a:lnTo>
                <a:lnTo>
                  <a:pt x="625" y="1077"/>
                </a:lnTo>
                <a:lnTo>
                  <a:pt x="619" y="1084"/>
                </a:lnTo>
                <a:lnTo>
                  <a:pt x="619" y="1088"/>
                </a:lnTo>
                <a:lnTo>
                  <a:pt x="618" y="1093"/>
                </a:lnTo>
                <a:lnTo>
                  <a:pt x="614" y="1096"/>
                </a:lnTo>
                <a:lnTo>
                  <a:pt x="611" y="1099"/>
                </a:lnTo>
                <a:lnTo>
                  <a:pt x="607" y="1109"/>
                </a:lnTo>
                <a:lnTo>
                  <a:pt x="602" y="1118"/>
                </a:lnTo>
                <a:lnTo>
                  <a:pt x="603" y="1115"/>
                </a:lnTo>
                <a:lnTo>
                  <a:pt x="602" y="1118"/>
                </a:lnTo>
                <a:lnTo>
                  <a:pt x="600" y="1121"/>
                </a:lnTo>
                <a:lnTo>
                  <a:pt x="596" y="1120"/>
                </a:lnTo>
                <a:lnTo>
                  <a:pt x="595" y="1118"/>
                </a:lnTo>
                <a:lnTo>
                  <a:pt x="596" y="1114"/>
                </a:lnTo>
                <a:lnTo>
                  <a:pt x="597" y="1104"/>
                </a:lnTo>
                <a:lnTo>
                  <a:pt x="596" y="1095"/>
                </a:lnTo>
                <a:lnTo>
                  <a:pt x="594" y="1093"/>
                </a:lnTo>
                <a:lnTo>
                  <a:pt x="593" y="1090"/>
                </a:lnTo>
                <a:lnTo>
                  <a:pt x="593" y="1089"/>
                </a:lnTo>
                <a:lnTo>
                  <a:pt x="593" y="1087"/>
                </a:lnTo>
                <a:lnTo>
                  <a:pt x="594" y="1082"/>
                </a:lnTo>
                <a:lnTo>
                  <a:pt x="594" y="1078"/>
                </a:lnTo>
                <a:lnTo>
                  <a:pt x="593" y="1070"/>
                </a:lnTo>
                <a:lnTo>
                  <a:pt x="593" y="1062"/>
                </a:lnTo>
                <a:lnTo>
                  <a:pt x="595" y="1059"/>
                </a:lnTo>
                <a:lnTo>
                  <a:pt x="599" y="1055"/>
                </a:lnTo>
                <a:lnTo>
                  <a:pt x="599" y="1052"/>
                </a:lnTo>
                <a:lnTo>
                  <a:pt x="599" y="1047"/>
                </a:lnTo>
                <a:lnTo>
                  <a:pt x="604" y="1038"/>
                </a:lnTo>
                <a:lnTo>
                  <a:pt x="612" y="1030"/>
                </a:lnTo>
                <a:lnTo>
                  <a:pt x="614" y="1026"/>
                </a:lnTo>
                <a:lnTo>
                  <a:pt x="614" y="1020"/>
                </a:lnTo>
                <a:lnTo>
                  <a:pt x="614" y="1016"/>
                </a:lnTo>
                <a:lnTo>
                  <a:pt x="616" y="1015"/>
                </a:lnTo>
                <a:lnTo>
                  <a:pt x="619" y="1013"/>
                </a:lnTo>
                <a:lnTo>
                  <a:pt x="621" y="1010"/>
                </a:lnTo>
                <a:lnTo>
                  <a:pt x="618" y="1005"/>
                </a:lnTo>
                <a:lnTo>
                  <a:pt x="614" y="1003"/>
                </a:lnTo>
                <a:lnTo>
                  <a:pt x="622" y="1001"/>
                </a:lnTo>
                <a:lnTo>
                  <a:pt x="628" y="997"/>
                </a:lnTo>
                <a:lnTo>
                  <a:pt x="634" y="994"/>
                </a:lnTo>
                <a:lnTo>
                  <a:pt x="638" y="988"/>
                </a:lnTo>
                <a:lnTo>
                  <a:pt x="635" y="989"/>
                </a:lnTo>
                <a:lnTo>
                  <a:pt x="638" y="988"/>
                </a:lnTo>
                <a:close/>
                <a:moveTo>
                  <a:pt x="1030" y="365"/>
                </a:moveTo>
                <a:lnTo>
                  <a:pt x="1030" y="365"/>
                </a:lnTo>
                <a:lnTo>
                  <a:pt x="1029" y="364"/>
                </a:lnTo>
                <a:lnTo>
                  <a:pt x="1029" y="366"/>
                </a:lnTo>
                <a:lnTo>
                  <a:pt x="1030" y="365"/>
                </a:lnTo>
                <a:lnTo>
                  <a:pt x="1030" y="365"/>
                </a:lnTo>
                <a:lnTo>
                  <a:pt x="1030" y="365"/>
                </a:lnTo>
                <a:close/>
                <a:moveTo>
                  <a:pt x="1029" y="364"/>
                </a:moveTo>
                <a:lnTo>
                  <a:pt x="1029" y="364"/>
                </a:lnTo>
                <a:lnTo>
                  <a:pt x="1029" y="364"/>
                </a:lnTo>
                <a:lnTo>
                  <a:pt x="1029" y="364"/>
                </a:lnTo>
                <a:lnTo>
                  <a:pt x="1029" y="364"/>
                </a:lnTo>
                <a:close/>
                <a:moveTo>
                  <a:pt x="1014" y="379"/>
                </a:moveTo>
                <a:lnTo>
                  <a:pt x="1021" y="372"/>
                </a:lnTo>
                <a:lnTo>
                  <a:pt x="1019" y="363"/>
                </a:lnTo>
                <a:lnTo>
                  <a:pt x="1013" y="364"/>
                </a:lnTo>
                <a:lnTo>
                  <a:pt x="1007" y="366"/>
                </a:lnTo>
                <a:lnTo>
                  <a:pt x="1008" y="366"/>
                </a:lnTo>
                <a:lnTo>
                  <a:pt x="1007" y="366"/>
                </a:lnTo>
                <a:lnTo>
                  <a:pt x="1005" y="366"/>
                </a:lnTo>
                <a:lnTo>
                  <a:pt x="1004" y="364"/>
                </a:lnTo>
                <a:lnTo>
                  <a:pt x="1005" y="363"/>
                </a:lnTo>
                <a:lnTo>
                  <a:pt x="1007" y="363"/>
                </a:lnTo>
                <a:lnTo>
                  <a:pt x="1009" y="359"/>
                </a:lnTo>
                <a:lnTo>
                  <a:pt x="1013" y="356"/>
                </a:lnTo>
                <a:lnTo>
                  <a:pt x="1016" y="354"/>
                </a:lnTo>
                <a:lnTo>
                  <a:pt x="1020" y="356"/>
                </a:lnTo>
                <a:lnTo>
                  <a:pt x="1019" y="358"/>
                </a:lnTo>
                <a:lnTo>
                  <a:pt x="1019" y="363"/>
                </a:lnTo>
                <a:lnTo>
                  <a:pt x="1019" y="363"/>
                </a:lnTo>
                <a:lnTo>
                  <a:pt x="1014" y="379"/>
                </a:lnTo>
                <a:close/>
                <a:moveTo>
                  <a:pt x="1019" y="363"/>
                </a:moveTo>
                <a:lnTo>
                  <a:pt x="1015" y="371"/>
                </a:lnTo>
                <a:lnTo>
                  <a:pt x="1014" y="379"/>
                </a:lnTo>
                <a:lnTo>
                  <a:pt x="1019" y="363"/>
                </a:lnTo>
                <a:close/>
                <a:moveTo>
                  <a:pt x="1019" y="363"/>
                </a:move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lnTo>
                  <a:pt x="1019" y="363"/>
                </a:lnTo>
                <a:close/>
                <a:moveTo>
                  <a:pt x="1009" y="377"/>
                </a:moveTo>
                <a:lnTo>
                  <a:pt x="996" y="389"/>
                </a:lnTo>
                <a:lnTo>
                  <a:pt x="987" y="402"/>
                </a:lnTo>
                <a:lnTo>
                  <a:pt x="999" y="391"/>
                </a:lnTo>
                <a:lnTo>
                  <a:pt x="1009" y="377"/>
                </a:lnTo>
                <a:close/>
                <a:moveTo>
                  <a:pt x="1220" y="1039"/>
                </a:moveTo>
                <a:lnTo>
                  <a:pt x="1220" y="1037"/>
                </a:lnTo>
                <a:lnTo>
                  <a:pt x="1218" y="1035"/>
                </a:lnTo>
                <a:lnTo>
                  <a:pt x="1219" y="1030"/>
                </a:lnTo>
                <a:lnTo>
                  <a:pt x="1218" y="1027"/>
                </a:lnTo>
                <a:lnTo>
                  <a:pt x="1219" y="1027"/>
                </a:lnTo>
                <a:lnTo>
                  <a:pt x="1218" y="1027"/>
                </a:lnTo>
                <a:lnTo>
                  <a:pt x="1214" y="1028"/>
                </a:lnTo>
                <a:lnTo>
                  <a:pt x="1213" y="1031"/>
                </a:lnTo>
                <a:lnTo>
                  <a:pt x="1214" y="1034"/>
                </a:lnTo>
                <a:lnTo>
                  <a:pt x="1218" y="1035"/>
                </a:lnTo>
                <a:lnTo>
                  <a:pt x="1218" y="1037"/>
                </a:lnTo>
                <a:lnTo>
                  <a:pt x="1220" y="1039"/>
                </a:lnTo>
                <a:lnTo>
                  <a:pt x="1219" y="1038"/>
                </a:lnTo>
                <a:lnTo>
                  <a:pt x="1220" y="1039"/>
                </a:lnTo>
                <a:close/>
                <a:moveTo>
                  <a:pt x="1218" y="1035"/>
                </a:moveTo>
                <a:lnTo>
                  <a:pt x="1218" y="1035"/>
                </a:lnTo>
                <a:lnTo>
                  <a:pt x="1218" y="1035"/>
                </a:lnTo>
                <a:close/>
                <a:moveTo>
                  <a:pt x="1221" y="1054"/>
                </a:moveTo>
                <a:lnTo>
                  <a:pt x="1218" y="1062"/>
                </a:lnTo>
                <a:lnTo>
                  <a:pt x="1217" y="1071"/>
                </a:lnTo>
                <a:lnTo>
                  <a:pt x="1221" y="1062"/>
                </a:lnTo>
                <a:lnTo>
                  <a:pt x="1221" y="1054"/>
                </a:lnTo>
                <a:lnTo>
                  <a:pt x="1221" y="1054"/>
                </a:lnTo>
                <a:lnTo>
                  <a:pt x="1221" y="1054"/>
                </a:lnTo>
                <a:close/>
                <a:moveTo>
                  <a:pt x="1205" y="998"/>
                </a:moveTo>
                <a:lnTo>
                  <a:pt x="1198" y="1003"/>
                </a:lnTo>
                <a:lnTo>
                  <a:pt x="1202" y="1008"/>
                </a:lnTo>
                <a:lnTo>
                  <a:pt x="1209" y="1004"/>
                </a:lnTo>
                <a:lnTo>
                  <a:pt x="1205" y="998"/>
                </a:lnTo>
                <a:lnTo>
                  <a:pt x="1204" y="997"/>
                </a:lnTo>
                <a:lnTo>
                  <a:pt x="1205" y="998"/>
                </a:lnTo>
                <a:close/>
                <a:moveTo>
                  <a:pt x="1319" y="891"/>
                </a:moveTo>
                <a:lnTo>
                  <a:pt x="1319" y="893"/>
                </a:lnTo>
                <a:lnTo>
                  <a:pt x="1320" y="891"/>
                </a:lnTo>
                <a:lnTo>
                  <a:pt x="1319" y="891"/>
                </a:lnTo>
                <a:lnTo>
                  <a:pt x="1319" y="891"/>
                </a:lnTo>
                <a:close/>
                <a:moveTo>
                  <a:pt x="1338" y="871"/>
                </a:moveTo>
                <a:lnTo>
                  <a:pt x="1339" y="871"/>
                </a:lnTo>
                <a:lnTo>
                  <a:pt x="1339" y="871"/>
                </a:lnTo>
                <a:lnTo>
                  <a:pt x="1339" y="870"/>
                </a:lnTo>
                <a:lnTo>
                  <a:pt x="1338" y="871"/>
                </a:lnTo>
                <a:close/>
                <a:moveTo>
                  <a:pt x="1347" y="898"/>
                </a:moveTo>
                <a:lnTo>
                  <a:pt x="1346" y="898"/>
                </a:lnTo>
                <a:lnTo>
                  <a:pt x="1344" y="898"/>
                </a:lnTo>
                <a:lnTo>
                  <a:pt x="1344" y="898"/>
                </a:lnTo>
                <a:lnTo>
                  <a:pt x="1344" y="898"/>
                </a:lnTo>
                <a:lnTo>
                  <a:pt x="1345" y="899"/>
                </a:lnTo>
                <a:lnTo>
                  <a:pt x="1347" y="898"/>
                </a:lnTo>
                <a:lnTo>
                  <a:pt x="1346" y="899"/>
                </a:lnTo>
                <a:lnTo>
                  <a:pt x="1347" y="898"/>
                </a:lnTo>
                <a:close/>
                <a:moveTo>
                  <a:pt x="1343" y="902"/>
                </a:moveTo>
                <a:lnTo>
                  <a:pt x="1343" y="900"/>
                </a:lnTo>
                <a:lnTo>
                  <a:pt x="1344" y="898"/>
                </a:lnTo>
                <a:lnTo>
                  <a:pt x="1342" y="898"/>
                </a:lnTo>
                <a:lnTo>
                  <a:pt x="1341" y="898"/>
                </a:lnTo>
                <a:lnTo>
                  <a:pt x="1341" y="900"/>
                </a:lnTo>
                <a:lnTo>
                  <a:pt x="1343" y="902"/>
                </a:lnTo>
                <a:lnTo>
                  <a:pt x="1342" y="902"/>
                </a:lnTo>
                <a:lnTo>
                  <a:pt x="1343" y="902"/>
                </a:lnTo>
                <a:close/>
                <a:moveTo>
                  <a:pt x="1341" y="898"/>
                </a:moveTo>
                <a:lnTo>
                  <a:pt x="1341" y="895"/>
                </a:lnTo>
                <a:lnTo>
                  <a:pt x="1343" y="891"/>
                </a:lnTo>
                <a:lnTo>
                  <a:pt x="1344" y="888"/>
                </a:lnTo>
                <a:lnTo>
                  <a:pt x="1345" y="886"/>
                </a:lnTo>
                <a:lnTo>
                  <a:pt x="1344" y="887"/>
                </a:lnTo>
                <a:lnTo>
                  <a:pt x="1344" y="887"/>
                </a:lnTo>
                <a:lnTo>
                  <a:pt x="1336" y="893"/>
                </a:lnTo>
                <a:lnTo>
                  <a:pt x="1335" y="900"/>
                </a:lnTo>
                <a:lnTo>
                  <a:pt x="1337" y="899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41" y="898"/>
                </a:lnTo>
                <a:lnTo>
                  <a:pt x="1339" y="897"/>
                </a:lnTo>
                <a:lnTo>
                  <a:pt x="1341" y="898"/>
                </a:lnTo>
                <a:close/>
                <a:moveTo>
                  <a:pt x="1313" y="875"/>
                </a:moveTo>
                <a:lnTo>
                  <a:pt x="1310" y="879"/>
                </a:lnTo>
                <a:lnTo>
                  <a:pt x="1313" y="879"/>
                </a:lnTo>
                <a:lnTo>
                  <a:pt x="1316" y="877"/>
                </a:lnTo>
                <a:lnTo>
                  <a:pt x="1313" y="875"/>
                </a:lnTo>
                <a:lnTo>
                  <a:pt x="1313" y="875"/>
                </a:lnTo>
                <a:lnTo>
                  <a:pt x="1313" y="875"/>
                </a:lnTo>
                <a:close/>
                <a:moveTo>
                  <a:pt x="1410" y="1041"/>
                </a:moveTo>
                <a:lnTo>
                  <a:pt x="1413" y="1037"/>
                </a:lnTo>
                <a:lnTo>
                  <a:pt x="1413" y="1030"/>
                </a:lnTo>
                <a:lnTo>
                  <a:pt x="1410" y="1036"/>
                </a:lnTo>
                <a:lnTo>
                  <a:pt x="1410" y="1041"/>
                </a:lnTo>
                <a:close/>
                <a:moveTo>
                  <a:pt x="1327" y="882"/>
                </a:moveTo>
                <a:lnTo>
                  <a:pt x="1326" y="886"/>
                </a:lnTo>
                <a:lnTo>
                  <a:pt x="1329" y="885"/>
                </a:lnTo>
                <a:lnTo>
                  <a:pt x="1335" y="880"/>
                </a:lnTo>
                <a:lnTo>
                  <a:pt x="1337" y="873"/>
                </a:lnTo>
                <a:lnTo>
                  <a:pt x="1332" y="877"/>
                </a:lnTo>
                <a:lnTo>
                  <a:pt x="1327" y="882"/>
                </a:lnTo>
                <a:lnTo>
                  <a:pt x="1328" y="881"/>
                </a:lnTo>
                <a:lnTo>
                  <a:pt x="1327" y="882"/>
                </a:lnTo>
                <a:close/>
                <a:moveTo>
                  <a:pt x="1318" y="854"/>
                </a:moveTo>
                <a:lnTo>
                  <a:pt x="1316" y="852"/>
                </a:lnTo>
                <a:lnTo>
                  <a:pt x="1311" y="853"/>
                </a:lnTo>
                <a:lnTo>
                  <a:pt x="1309" y="856"/>
                </a:lnTo>
                <a:lnTo>
                  <a:pt x="1308" y="860"/>
                </a:lnTo>
                <a:lnTo>
                  <a:pt x="1313" y="858"/>
                </a:lnTo>
                <a:lnTo>
                  <a:pt x="1318" y="854"/>
                </a:lnTo>
                <a:lnTo>
                  <a:pt x="1317" y="855"/>
                </a:lnTo>
                <a:lnTo>
                  <a:pt x="1318" y="854"/>
                </a:lnTo>
                <a:close/>
                <a:moveTo>
                  <a:pt x="1368" y="923"/>
                </a:moveTo>
                <a:lnTo>
                  <a:pt x="1361" y="928"/>
                </a:lnTo>
                <a:lnTo>
                  <a:pt x="1360" y="933"/>
                </a:lnTo>
                <a:lnTo>
                  <a:pt x="1368" y="929"/>
                </a:lnTo>
                <a:lnTo>
                  <a:pt x="1368" y="923"/>
                </a:lnTo>
                <a:lnTo>
                  <a:pt x="1367" y="923"/>
                </a:lnTo>
                <a:lnTo>
                  <a:pt x="1368" y="923"/>
                </a:lnTo>
                <a:close/>
                <a:moveTo>
                  <a:pt x="1416" y="1066"/>
                </a:moveTo>
                <a:lnTo>
                  <a:pt x="1420" y="1051"/>
                </a:lnTo>
                <a:lnTo>
                  <a:pt x="1423" y="1034"/>
                </a:lnTo>
                <a:lnTo>
                  <a:pt x="1416" y="1049"/>
                </a:lnTo>
                <a:lnTo>
                  <a:pt x="1416" y="1066"/>
                </a:lnTo>
                <a:close/>
                <a:moveTo>
                  <a:pt x="1324" y="706"/>
                </a:moveTo>
                <a:lnTo>
                  <a:pt x="1325" y="705"/>
                </a:lnTo>
                <a:lnTo>
                  <a:pt x="1326" y="704"/>
                </a:lnTo>
                <a:lnTo>
                  <a:pt x="1320" y="705"/>
                </a:lnTo>
                <a:lnTo>
                  <a:pt x="1317" y="709"/>
                </a:lnTo>
                <a:lnTo>
                  <a:pt x="1320" y="708"/>
                </a:lnTo>
                <a:lnTo>
                  <a:pt x="1324" y="706"/>
                </a:lnTo>
                <a:close/>
                <a:moveTo>
                  <a:pt x="1410" y="773"/>
                </a:moveTo>
                <a:lnTo>
                  <a:pt x="1412" y="775"/>
                </a:lnTo>
                <a:lnTo>
                  <a:pt x="1413" y="773"/>
                </a:lnTo>
                <a:lnTo>
                  <a:pt x="1411" y="771"/>
                </a:lnTo>
                <a:lnTo>
                  <a:pt x="1410" y="773"/>
                </a:lnTo>
                <a:lnTo>
                  <a:pt x="1410" y="774"/>
                </a:lnTo>
                <a:lnTo>
                  <a:pt x="1410" y="773"/>
                </a:lnTo>
                <a:close/>
                <a:moveTo>
                  <a:pt x="1408" y="762"/>
                </a:moveTo>
                <a:lnTo>
                  <a:pt x="1404" y="765"/>
                </a:lnTo>
                <a:lnTo>
                  <a:pt x="1405" y="770"/>
                </a:lnTo>
                <a:lnTo>
                  <a:pt x="1410" y="766"/>
                </a:lnTo>
                <a:lnTo>
                  <a:pt x="1408" y="762"/>
                </a:lnTo>
                <a:lnTo>
                  <a:pt x="1407" y="762"/>
                </a:lnTo>
                <a:lnTo>
                  <a:pt x="1408" y="762"/>
                </a:lnTo>
                <a:close/>
                <a:moveTo>
                  <a:pt x="1396" y="738"/>
                </a:moveTo>
                <a:lnTo>
                  <a:pt x="1396" y="737"/>
                </a:lnTo>
                <a:lnTo>
                  <a:pt x="1396" y="738"/>
                </a:lnTo>
                <a:lnTo>
                  <a:pt x="1396" y="738"/>
                </a:lnTo>
                <a:lnTo>
                  <a:pt x="1396" y="738"/>
                </a:lnTo>
                <a:lnTo>
                  <a:pt x="1396" y="738"/>
                </a:lnTo>
                <a:close/>
                <a:moveTo>
                  <a:pt x="1391" y="738"/>
                </a:moveTo>
                <a:lnTo>
                  <a:pt x="1393" y="739"/>
                </a:lnTo>
                <a:lnTo>
                  <a:pt x="1396" y="738"/>
                </a:lnTo>
                <a:lnTo>
                  <a:pt x="1396" y="732"/>
                </a:lnTo>
                <a:lnTo>
                  <a:pt x="1395" y="727"/>
                </a:lnTo>
                <a:lnTo>
                  <a:pt x="1391" y="730"/>
                </a:lnTo>
                <a:lnTo>
                  <a:pt x="1391" y="738"/>
                </a:lnTo>
                <a:lnTo>
                  <a:pt x="1391" y="738"/>
                </a:lnTo>
                <a:lnTo>
                  <a:pt x="1391" y="738"/>
                </a:lnTo>
                <a:close/>
                <a:moveTo>
                  <a:pt x="1409" y="742"/>
                </a:moveTo>
                <a:lnTo>
                  <a:pt x="1410" y="739"/>
                </a:lnTo>
                <a:lnTo>
                  <a:pt x="1408" y="737"/>
                </a:lnTo>
                <a:lnTo>
                  <a:pt x="1405" y="736"/>
                </a:lnTo>
                <a:lnTo>
                  <a:pt x="1402" y="737"/>
                </a:lnTo>
                <a:lnTo>
                  <a:pt x="1399" y="738"/>
                </a:lnTo>
                <a:lnTo>
                  <a:pt x="1396" y="740"/>
                </a:lnTo>
                <a:lnTo>
                  <a:pt x="1394" y="744"/>
                </a:lnTo>
                <a:lnTo>
                  <a:pt x="1394" y="748"/>
                </a:lnTo>
                <a:lnTo>
                  <a:pt x="1394" y="750"/>
                </a:lnTo>
                <a:lnTo>
                  <a:pt x="1398" y="752"/>
                </a:lnTo>
                <a:lnTo>
                  <a:pt x="1400" y="752"/>
                </a:lnTo>
                <a:lnTo>
                  <a:pt x="1402" y="750"/>
                </a:lnTo>
                <a:lnTo>
                  <a:pt x="1405" y="747"/>
                </a:lnTo>
                <a:lnTo>
                  <a:pt x="1409" y="742"/>
                </a:lnTo>
                <a:lnTo>
                  <a:pt x="1408" y="744"/>
                </a:lnTo>
                <a:lnTo>
                  <a:pt x="1409" y="742"/>
                </a:lnTo>
                <a:close/>
                <a:moveTo>
                  <a:pt x="1396" y="738"/>
                </a:moveTo>
                <a:lnTo>
                  <a:pt x="1396" y="738"/>
                </a:lnTo>
                <a:lnTo>
                  <a:pt x="1396" y="738"/>
                </a:lnTo>
                <a:close/>
                <a:moveTo>
                  <a:pt x="1371" y="490"/>
                </a:moveTo>
                <a:lnTo>
                  <a:pt x="1371" y="491"/>
                </a:lnTo>
                <a:lnTo>
                  <a:pt x="1372" y="491"/>
                </a:lnTo>
                <a:lnTo>
                  <a:pt x="1371" y="488"/>
                </a:lnTo>
                <a:lnTo>
                  <a:pt x="1369" y="489"/>
                </a:lnTo>
                <a:lnTo>
                  <a:pt x="1367" y="490"/>
                </a:lnTo>
                <a:lnTo>
                  <a:pt x="1366" y="492"/>
                </a:lnTo>
                <a:lnTo>
                  <a:pt x="1365" y="499"/>
                </a:lnTo>
                <a:lnTo>
                  <a:pt x="1362" y="505"/>
                </a:lnTo>
                <a:lnTo>
                  <a:pt x="1360" y="500"/>
                </a:lnTo>
                <a:lnTo>
                  <a:pt x="1358" y="495"/>
                </a:lnTo>
                <a:lnTo>
                  <a:pt x="1354" y="495"/>
                </a:lnTo>
                <a:lnTo>
                  <a:pt x="1353" y="501"/>
                </a:lnTo>
                <a:lnTo>
                  <a:pt x="1347" y="493"/>
                </a:lnTo>
                <a:lnTo>
                  <a:pt x="1346" y="484"/>
                </a:lnTo>
                <a:lnTo>
                  <a:pt x="1352" y="483"/>
                </a:lnTo>
                <a:lnTo>
                  <a:pt x="1358" y="483"/>
                </a:lnTo>
                <a:lnTo>
                  <a:pt x="1362" y="483"/>
                </a:lnTo>
                <a:lnTo>
                  <a:pt x="1366" y="483"/>
                </a:lnTo>
                <a:lnTo>
                  <a:pt x="1368" y="483"/>
                </a:lnTo>
                <a:lnTo>
                  <a:pt x="1370" y="481"/>
                </a:lnTo>
                <a:lnTo>
                  <a:pt x="1369" y="482"/>
                </a:lnTo>
                <a:lnTo>
                  <a:pt x="1368" y="483"/>
                </a:lnTo>
                <a:lnTo>
                  <a:pt x="1374" y="484"/>
                </a:lnTo>
                <a:lnTo>
                  <a:pt x="1378" y="484"/>
                </a:lnTo>
                <a:lnTo>
                  <a:pt x="1376" y="482"/>
                </a:lnTo>
                <a:lnTo>
                  <a:pt x="1372" y="480"/>
                </a:lnTo>
                <a:lnTo>
                  <a:pt x="1386" y="480"/>
                </a:lnTo>
                <a:lnTo>
                  <a:pt x="1400" y="483"/>
                </a:lnTo>
                <a:lnTo>
                  <a:pt x="1392" y="485"/>
                </a:lnTo>
                <a:lnTo>
                  <a:pt x="1400" y="483"/>
                </a:lnTo>
                <a:lnTo>
                  <a:pt x="1391" y="493"/>
                </a:lnTo>
                <a:lnTo>
                  <a:pt x="1385" y="507"/>
                </a:lnTo>
                <a:lnTo>
                  <a:pt x="1384" y="512"/>
                </a:lnTo>
                <a:lnTo>
                  <a:pt x="1382" y="516"/>
                </a:lnTo>
                <a:lnTo>
                  <a:pt x="1379" y="517"/>
                </a:lnTo>
                <a:lnTo>
                  <a:pt x="1378" y="518"/>
                </a:lnTo>
                <a:lnTo>
                  <a:pt x="1377" y="523"/>
                </a:lnTo>
                <a:lnTo>
                  <a:pt x="1376" y="529"/>
                </a:lnTo>
                <a:lnTo>
                  <a:pt x="1371" y="520"/>
                </a:lnTo>
                <a:lnTo>
                  <a:pt x="1370" y="510"/>
                </a:lnTo>
                <a:lnTo>
                  <a:pt x="1371" y="503"/>
                </a:lnTo>
                <a:lnTo>
                  <a:pt x="1372" y="495"/>
                </a:lnTo>
                <a:lnTo>
                  <a:pt x="1372" y="492"/>
                </a:lnTo>
                <a:lnTo>
                  <a:pt x="1371" y="490"/>
                </a:lnTo>
                <a:close/>
                <a:moveTo>
                  <a:pt x="1049" y="885"/>
                </a:moveTo>
                <a:lnTo>
                  <a:pt x="1049" y="886"/>
                </a:lnTo>
                <a:lnTo>
                  <a:pt x="1049" y="887"/>
                </a:lnTo>
                <a:lnTo>
                  <a:pt x="1053" y="887"/>
                </a:lnTo>
                <a:lnTo>
                  <a:pt x="1053" y="883"/>
                </a:lnTo>
                <a:lnTo>
                  <a:pt x="1052" y="881"/>
                </a:lnTo>
                <a:lnTo>
                  <a:pt x="1050" y="879"/>
                </a:lnTo>
                <a:lnTo>
                  <a:pt x="1053" y="877"/>
                </a:lnTo>
                <a:lnTo>
                  <a:pt x="1052" y="872"/>
                </a:lnTo>
                <a:lnTo>
                  <a:pt x="1048" y="871"/>
                </a:lnTo>
                <a:lnTo>
                  <a:pt x="1048" y="869"/>
                </a:lnTo>
                <a:lnTo>
                  <a:pt x="1047" y="871"/>
                </a:lnTo>
                <a:lnTo>
                  <a:pt x="1049" y="872"/>
                </a:lnTo>
                <a:lnTo>
                  <a:pt x="1052" y="871"/>
                </a:lnTo>
                <a:lnTo>
                  <a:pt x="1053" y="869"/>
                </a:lnTo>
                <a:lnTo>
                  <a:pt x="1053" y="866"/>
                </a:lnTo>
                <a:lnTo>
                  <a:pt x="1049" y="865"/>
                </a:lnTo>
                <a:lnTo>
                  <a:pt x="1053" y="863"/>
                </a:lnTo>
                <a:lnTo>
                  <a:pt x="1055" y="861"/>
                </a:lnTo>
                <a:lnTo>
                  <a:pt x="1049" y="858"/>
                </a:lnTo>
                <a:lnTo>
                  <a:pt x="1047" y="853"/>
                </a:lnTo>
                <a:lnTo>
                  <a:pt x="1047" y="849"/>
                </a:lnTo>
                <a:lnTo>
                  <a:pt x="1047" y="845"/>
                </a:lnTo>
                <a:lnTo>
                  <a:pt x="1053" y="840"/>
                </a:lnTo>
                <a:lnTo>
                  <a:pt x="1058" y="844"/>
                </a:lnTo>
                <a:lnTo>
                  <a:pt x="1063" y="848"/>
                </a:lnTo>
                <a:lnTo>
                  <a:pt x="1063" y="854"/>
                </a:lnTo>
                <a:lnTo>
                  <a:pt x="1058" y="854"/>
                </a:lnTo>
                <a:lnTo>
                  <a:pt x="1055" y="854"/>
                </a:lnTo>
                <a:lnTo>
                  <a:pt x="1055" y="857"/>
                </a:lnTo>
                <a:lnTo>
                  <a:pt x="1055" y="861"/>
                </a:lnTo>
                <a:lnTo>
                  <a:pt x="1055" y="860"/>
                </a:lnTo>
                <a:lnTo>
                  <a:pt x="1055" y="861"/>
                </a:lnTo>
                <a:lnTo>
                  <a:pt x="1053" y="863"/>
                </a:lnTo>
                <a:lnTo>
                  <a:pt x="1054" y="866"/>
                </a:lnTo>
                <a:lnTo>
                  <a:pt x="1056" y="870"/>
                </a:lnTo>
                <a:lnTo>
                  <a:pt x="1058" y="873"/>
                </a:lnTo>
                <a:lnTo>
                  <a:pt x="1058" y="877"/>
                </a:lnTo>
                <a:lnTo>
                  <a:pt x="1058" y="881"/>
                </a:lnTo>
                <a:lnTo>
                  <a:pt x="1058" y="887"/>
                </a:lnTo>
                <a:lnTo>
                  <a:pt x="1059" y="891"/>
                </a:lnTo>
                <a:lnTo>
                  <a:pt x="1062" y="902"/>
                </a:lnTo>
                <a:lnTo>
                  <a:pt x="1057" y="907"/>
                </a:lnTo>
                <a:lnTo>
                  <a:pt x="1055" y="905"/>
                </a:lnTo>
                <a:lnTo>
                  <a:pt x="1055" y="903"/>
                </a:lnTo>
                <a:lnTo>
                  <a:pt x="1056" y="902"/>
                </a:lnTo>
                <a:lnTo>
                  <a:pt x="1057" y="900"/>
                </a:lnTo>
                <a:lnTo>
                  <a:pt x="1056" y="899"/>
                </a:lnTo>
                <a:lnTo>
                  <a:pt x="1055" y="898"/>
                </a:lnTo>
                <a:lnTo>
                  <a:pt x="1050" y="889"/>
                </a:lnTo>
                <a:lnTo>
                  <a:pt x="1041" y="883"/>
                </a:lnTo>
                <a:lnTo>
                  <a:pt x="1047" y="882"/>
                </a:lnTo>
                <a:lnTo>
                  <a:pt x="1053" y="883"/>
                </a:lnTo>
                <a:lnTo>
                  <a:pt x="1050" y="885"/>
                </a:lnTo>
                <a:lnTo>
                  <a:pt x="1049" y="885"/>
                </a:lnTo>
                <a:lnTo>
                  <a:pt x="1049" y="885"/>
                </a:lnTo>
                <a:lnTo>
                  <a:pt x="1049" y="885"/>
                </a:lnTo>
                <a:close/>
                <a:moveTo>
                  <a:pt x="1081" y="1198"/>
                </a:moveTo>
                <a:lnTo>
                  <a:pt x="1079" y="1197"/>
                </a:lnTo>
                <a:lnTo>
                  <a:pt x="1075" y="1197"/>
                </a:lnTo>
                <a:lnTo>
                  <a:pt x="1077" y="1197"/>
                </a:lnTo>
                <a:lnTo>
                  <a:pt x="1077" y="1198"/>
                </a:lnTo>
                <a:lnTo>
                  <a:pt x="1073" y="1196"/>
                </a:lnTo>
                <a:lnTo>
                  <a:pt x="1072" y="1192"/>
                </a:lnTo>
                <a:lnTo>
                  <a:pt x="1073" y="1184"/>
                </a:lnTo>
                <a:lnTo>
                  <a:pt x="1079" y="1180"/>
                </a:lnTo>
                <a:lnTo>
                  <a:pt x="1083" y="1184"/>
                </a:lnTo>
                <a:lnTo>
                  <a:pt x="1088" y="1187"/>
                </a:lnTo>
                <a:lnTo>
                  <a:pt x="1090" y="1184"/>
                </a:lnTo>
                <a:lnTo>
                  <a:pt x="1092" y="1178"/>
                </a:lnTo>
                <a:lnTo>
                  <a:pt x="1096" y="1190"/>
                </a:lnTo>
                <a:lnTo>
                  <a:pt x="1096" y="1204"/>
                </a:lnTo>
                <a:lnTo>
                  <a:pt x="1096" y="1201"/>
                </a:lnTo>
                <a:lnTo>
                  <a:pt x="1096" y="1204"/>
                </a:lnTo>
                <a:lnTo>
                  <a:pt x="1091" y="1206"/>
                </a:lnTo>
                <a:lnTo>
                  <a:pt x="1086" y="1211"/>
                </a:lnTo>
                <a:lnTo>
                  <a:pt x="1088" y="1218"/>
                </a:lnTo>
                <a:lnTo>
                  <a:pt x="1089" y="1223"/>
                </a:lnTo>
                <a:lnTo>
                  <a:pt x="1088" y="1230"/>
                </a:lnTo>
                <a:lnTo>
                  <a:pt x="1082" y="1231"/>
                </a:lnTo>
                <a:lnTo>
                  <a:pt x="1079" y="1230"/>
                </a:lnTo>
                <a:lnTo>
                  <a:pt x="1077" y="1228"/>
                </a:lnTo>
                <a:lnTo>
                  <a:pt x="1077" y="1223"/>
                </a:lnTo>
                <a:lnTo>
                  <a:pt x="1073" y="1221"/>
                </a:lnTo>
                <a:lnTo>
                  <a:pt x="1075" y="1222"/>
                </a:lnTo>
                <a:lnTo>
                  <a:pt x="1077" y="1220"/>
                </a:lnTo>
                <a:lnTo>
                  <a:pt x="1081" y="1218"/>
                </a:lnTo>
                <a:lnTo>
                  <a:pt x="1075" y="1210"/>
                </a:lnTo>
                <a:lnTo>
                  <a:pt x="1074" y="1206"/>
                </a:lnTo>
                <a:lnTo>
                  <a:pt x="1075" y="1204"/>
                </a:lnTo>
                <a:lnTo>
                  <a:pt x="1077" y="1202"/>
                </a:lnTo>
                <a:lnTo>
                  <a:pt x="1077" y="1201"/>
                </a:lnTo>
                <a:lnTo>
                  <a:pt x="1078" y="1201"/>
                </a:lnTo>
                <a:lnTo>
                  <a:pt x="1079" y="1201"/>
                </a:lnTo>
                <a:lnTo>
                  <a:pt x="1080" y="1201"/>
                </a:lnTo>
                <a:lnTo>
                  <a:pt x="1081" y="1198"/>
                </a:lnTo>
                <a:lnTo>
                  <a:pt x="1081" y="1198"/>
                </a:lnTo>
                <a:lnTo>
                  <a:pt x="1081" y="1198"/>
                </a:lnTo>
                <a:close/>
                <a:moveTo>
                  <a:pt x="1053" y="868"/>
                </a:moveTo>
                <a:lnTo>
                  <a:pt x="1054" y="868"/>
                </a:lnTo>
                <a:lnTo>
                  <a:pt x="1053" y="868"/>
                </a:lnTo>
                <a:close/>
                <a:moveTo>
                  <a:pt x="1431" y="1081"/>
                </a:moveTo>
                <a:lnTo>
                  <a:pt x="1427" y="1085"/>
                </a:lnTo>
                <a:lnTo>
                  <a:pt x="1426" y="1090"/>
                </a:lnTo>
                <a:lnTo>
                  <a:pt x="1428" y="1091"/>
                </a:lnTo>
                <a:lnTo>
                  <a:pt x="1431" y="1089"/>
                </a:lnTo>
                <a:lnTo>
                  <a:pt x="1429" y="1099"/>
                </a:lnTo>
                <a:lnTo>
                  <a:pt x="1434" y="1106"/>
                </a:lnTo>
                <a:lnTo>
                  <a:pt x="1420" y="1103"/>
                </a:lnTo>
                <a:lnTo>
                  <a:pt x="1416" y="1090"/>
                </a:lnTo>
                <a:lnTo>
                  <a:pt x="1419" y="1093"/>
                </a:lnTo>
                <a:lnTo>
                  <a:pt x="1423" y="1091"/>
                </a:lnTo>
                <a:lnTo>
                  <a:pt x="1424" y="1089"/>
                </a:lnTo>
                <a:lnTo>
                  <a:pt x="1423" y="1087"/>
                </a:lnTo>
                <a:lnTo>
                  <a:pt x="1425" y="1084"/>
                </a:lnTo>
                <a:lnTo>
                  <a:pt x="1428" y="1082"/>
                </a:lnTo>
                <a:lnTo>
                  <a:pt x="1432" y="1076"/>
                </a:lnTo>
                <a:lnTo>
                  <a:pt x="1432" y="1066"/>
                </a:lnTo>
                <a:lnTo>
                  <a:pt x="1433" y="1060"/>
                </a:lnTo>
                <a:lnTo>
                  <a:pt x="1427" y="1055"/>
                </a:lnTo>
                <a:lnTo>
                  <a:pt x="1426" y="1063"/>
                </a:lnTo>
                <a:lnTo>
                  <a:pt x="1423" y="1071"/>
                </a:lnTo>
                <a:lnTo>
                  <a:pt x="1420" y="1079"/>
                </a:lnTo>
                <a:lnTo>
                  <a:pt x="1416" y="1085"/>
                </a:lnTo>
                <a:lnTo>
                  <a:pt x="1408" y="1081"/>
                </a:lnTo>
                <a:lnTo>
                  <a:pt x="1401" y="1076"/>
                </a:lnTo>
                <a:lnTo>
                  <a:pt x="1392" y="1072"/>
                </a:lnTo>
                <a:lnTo>
                  <a:pt x="1384" y="1068"/>
                </a:lnTo>
                <a:lnTo>
                  <a:pt x="1380" y="1063"/>
                </a:lnTo>
                <a:lnTo>
                  <a:pt x="1386" y="1063"/>
                </a:lnTo>
                <a:lnTo>
                  <a:pt x="1394" y="1064"/>
                </a:lnTo>
                <a:lnTo>
                  <a:pt x="1401" y="1063"/>
                </a:lnTo>
                <a:lnTo>
                  <a:pt x="1407" y="1057"/>
                </a:lnTo>
                <a:lnTo>
                  <a:pt x="1408" y="1051"/>
                </a:lnTo>
                <a:lnTo>
                  <a:pt x="1408" y="1046"/>
                </a:lnTo>
                <a:lnTo>
                  <a:pt x="1405" y="1046"/>
                </a:lnTo>
                <a:lnTo>
                  <a:pt x="1402" y="1049"/>
                </a:lnTo>
                <a:lnTo>
                  <a:pt x="1400" y="1054"/>
                </a:lnTo>
                <a:lnTo>
                  <a:pt x="1402" y="1036"/>
                </a:lnTo>
                <a:lnTo>
                  <a:pt x="1402" y="1018"/>
                </a:lnTo>
                <a:lnTo>
                  <a:pt x="1396" y="1002"/>
                </a:lnTo>
                <a:lnTo>
                  <a:pt x="1391" y="986"/>
                </a:lnTo>
                <a:lnTo>
                  <a:pt x="1392" y="979"/>
                </a:lnTo>
                <a:lnTo>
                  <a:pt x="1392" y="972"/>
                </a:lnTo>
                <a:lnTo>
                  <a:pt x="1390" y="970"/>
                </a:lnTo>
                <a:lnTo>
                  <a:pt x="1388" y="973"/>
                </a:lnTo>
                <a:lnTo>
                  <a:pt x="1388" y="974"/>
                </a:lnTo>
                <a:lnTo>
                  <a:pt x="1390" y="977"/>
                </a:lnTo>
                <a:lnTo>
                  <a:pt x="1390" y="978"/>
                </a:lnTo>
                <a:lnTo>
                  <a:pt x="1388" y="980"/>
                </a:lnTo>
                <a:lnTo>
                  <a:pt x="1387" y="986"/>
                </a:lnTo>
                <a:lnTo>
                  <a:pt x="1386" y="991"/>
                </a:lnTo>
                <a:lnTo>
                  <a:pt x="1385" y="995"/>
                </a:lnTo>
                <a:lnTo>
                  <a:pt x="1382" y="995"/>
                </a:lnTo>
                <a:lnTo>
                  <a:pt x="1379" y="986"/>
                </a:lnTo>
                <a:lnTo>
                  <a:pt x="1374" y="979"/>
                </a:lnTo>
                <a:lnTo>
                  <a:pt x="1369" y="990"/>
                </a:lnTo>
                <a:lnTo>
                  <a:pt x="1363" y="1001"/>
                </a:lnTo>
                <a:lnTo>
                  <a:pt x="1360" y="993"/>
                </a:lnTo>
                <a:lnTo>
                  <a:pt x="1365" y="983"/>
                </a:lnTo>
                <a:lnTo>
                  <a:pt x="1369" y="972"/>
                </a:lnTo>
                <a:lnTo>
                  <a:pt x="1369" y="961"/>
                </a:lnTo>
                <a:lnTo>
                  <a:pt x="1362" y="973"/>
                </a:lnTo>
                <a:lnTo>
                  <a:pt x="1354" y="985"/>
                </a:lnTo>
                <a:lnTo>
                  <a:pt x="1357" y="972"/>
                </a:lnTo>
                <a:lnTo>
                  <a:pt x="1359" y="958"/>
                </a:lnTo>
                <a:lnTo>
                  <a:pt x="1358" y="954"/>
                </a:lnTo>
                <a:lnTo>
                  <a:pt x="1355" y="949"/>
                </a:lnTo>
                <a:lnTo>
                  <a:pt x="1352" y="948"/>
                </a:lnTo>
                <a:lnTo>
                  <a:pt x="1350" y="949"/>
                </a:lnTo>
                <a:lnTo>
                  <a:pt x="1350" y="953"/>
                </a:lnTo>
                <a:lnTo>
                  <a:pt x="1347" y="955"/>
                </a:lnTo>
                <a:lnTo>
                  <a:pt x="1345" y="954"/>
                </a:lnTo>
                <a:lnTo>
                  <a:pt x="1345" y="949"/>
                </a:lnTo>
                <a:lnTo>
                  <a:pt x="1346" y="946"/>
                </a:lnTo>
                <a:lnTo>
                  <a:pt x="1347" y="943"/>
                </a:lnTo>
                <a:lnTo>
                  <a:pt x="1345" y="939"/>
                </a:lnTo>
                <a:lnTo>
                  <a:pt x="1342" y="937"/>
                </a:lnTo>
                <a:lnTo>
                  <a:pt x="1343" y="935"/>
                </a:lnTo>
                <a:lnTo>
                  <a:pt x="1345" y="931"/>
                </a:lnTo>
                <a:lnTo>
                  <a:pt x="1344" y="929"/>
                </a:lnTo>
                <a:lnTo>
                  <a:pt x="1341" y="928"/>
                </a:lnTo>
                <a:lnTo>
                  <a:pt x="1338" y="924"/>
                </a:lnTo>
                <a:lnTo>
                  <a:pt x="1342" y="919"/>
                </a:lnTo>
                <a:lnTo>
                  <a:pt x="1339" y="915"/>
                </a:lnTo>
                <a:lnTo>
                  <a:pt x="1337" y="912"/>
                </a:lnTo>
                <a:lnTo>
                  <a:pt x="1336" y="906"/>
                </a:lnTo>
                <a:lnTo>
                  <a:pt x="1335" y="902"/>
                </a:lnTo>
                <a:lnTo>
                  <a:pt x="1329" y="904"/>
                </a:lnTo>
                <a:lnTo>
                  <a:pt x="1321" y="907"/>
                </a:lnTo>
                <a:lnTo>
                  <a:pt x="1321" y="903"/>
                </a:lnTo>
                <a:lnTo>
                  <a:pt x="1318" y="899"/>
                </a:lnTo>
                <a:lnTo>
                  <a:pt x="1317" y="894"/>
                </a:lnTo>
                <a:lnTo>
                  <a:pt x="1313" y="891"/>
                </a:lnTo>
                <a:lnTo>
                  <a:pt x="1309" y="893"/>
                </a:lnTo>
                <a:lnTo>
                  <a:pt x="1308" y="888"/>
                </a:lnTo>
                <a:lnTo>
                  <a:pt x="1309" y="885"/>
                </a:lnTo>
                <a:lnTo>
                  <a:pt x="1305" y="883"/>
                </a:lnTo>
                <a:lnTo>
                  <a:pt x="1301" y="886"/>
                </a:lnTo>
                <a:lnTo>
                  <a:pt x="1296" y="887"/>
                </a:lnTo>
                <a:lnTo>
                  <a:pt x="1298" y="880"/>
                </a:lnTo>
                <a:lnTo>
                  <a:pt x="1301" y="874"/>
                </a:lnTo>
                <a:lnTo>
                  <a:pt x="1305" y="869"/>
                </a:lnTo>
                <a:lnTo>
                  <a:pt x="1309" y="864"/>
                </a:lnTo>
                <a:lnTo>
                  <a:pt x="1306" y="861"/>
                </a:lnTo>
                <a:lnTo>
                  <a:pt x="1302" y="864"/>
                </a:lnTo>
                <a:lnTo>
                  <a:pt x="1296" y="871"/>
                </a:lnTo>
                <a:lnTo>
                  <a:pt x="1291" y="879"/>
                </a:lnTo>
                <a:lnTo>
                  <a:pt x="1286" y="865"/>
                </a:lnTo>
                <a:lnTo>
                  <a:pt x="1285" y="849"/>
                </a:lnTo>
                <a:lnTo>
                  <a:pt x="1291" y="838"/>
                </a:lnTo>
                <a:lnTo>
                  <a:pt x="1301" y="831"/>
                </a:lnTo>
                <a:lnTo>
                  <a:pt x="1296" y="841"/>
                </a:lnTo>
                <a:lnTo>
                  <a:pt x="1294" y="853"/>
                </a:lnTo>
                <a:lnTo>
                  <a:pt x="1298" y="846"/>
                </a:lnTo>
                <a:lnTo>
                  <a:pt x="1303" y="840"/>
                </a:lnTo>
                <a:lnTo>
                  <a:pt x="1306" y="839"/>
                </a:lnTo>
                <a:lnTo>
                  <a:pt x="1311" y="841"/>
                </a:lnTo>
                <a:lnTo>
                  <a:pt x="1319" y="844"/>
                </a:lnTo>
                <a:lnTo>
                  <a:pt x="1326" y="848"/>
                </a:lnTo>
                <a:lnTo>
                  <a:pt x="1328" y="855"/>
                </a:lnTo>
                <a:lnTo>
                  <a:pt x="1325" y="861"/>
                </a:lnTo>
                <a:lnTo>
                  <a:pt x="1319" y="868"/>
                </a:lnTo>
                <a:lnTo>
                  <a:pt x="1318" y="875"/>
                </a:lnTo>
                <a:lnTo>
                  <a:pt x="1321" y="879"/>
                </a:lnTo>
                <a:lnTo>
                  <a:pt x="1325" y="878"/>
                </a:lnTo>
                <a:lnTo>
                  <a:pt x="1328" y="872"/>
                </a:lnTo>
                <a:lnTo>
                  <a:pt x="1330" y="866"/>
                </a:lnTo>
                <a:lnTo>
                  <a:pt x="1336" y="863"/>
                </a:lnTo>
                <a:lnTo>
                  <a:pt x="1342" y="866"/>
                </a:lnTo>
                <a:lnTo>
                  <a:pt x="1346" y="873"/>
                </a:lnTo>
                <a:lnTo>
                  <a:pt x="1351" y="881"/>
                </a:lnTo>
                <a:lnTo>
                  <a:pt x="1357" y="889"/>
                </a:lnTo>
                <a:lnTo>
                  <a:pt x="1363" y="896"/>
                </a:lnTo>
                <a:lnTo>
                  <a:pt x="1374" y="906"/>
                </a:lnTo>
                <a:lnTo>
                  <a:pt x="1383" y="916"/>
                </a:lnTo>
                <a:lnTo>
                  <a:pt x="1394" y="931"/>
                </a:lnTo>
                <a:lnTo>
                  <a:pt x="1402" y="948"/>
                </a:lnTo>
                <a:lnTo>
                  <a:pt x="1407" y="957"/>
                </a:lnTo>
                <a:lnTo>
                  <a:pt x="1408" y="966"/>
                </a:lnTo>
                <a:lnTo>
                  <a:pt x="1404" y="968"/>
                </a:lnTo>
                <a:lnTo>
                  <a:pt x="1400" y="966"/>
                </a:lnTo>
                <a:lnTo>
                  <a:pt x="1400" y="961"/>
                </a:lnTo>
                <a:lnTo>
                  <a:pt x="1396" y="956"/>
                </a:lnTo>
                <a:lnTo>
                  <a:pt x="1392" y="957"/>
                </a:lnTo>
                <a:lnTo>
                  <a:pt x="1392" y="963"/>
                </a:lnTo>
                <a:lnTo>
                  <a:pt x="1388" y="963"/>
                </a:lnTo>
                <a:lnTo>
                  <a:pt x="1390" y="965"/>
                </a:lnTo>
                <a:lnTo>
                  <a:pt x="1391" y="964"/>
                </a:lnTo>
                <a:lnTo>
                  <a:pt x="1393" y="964"/>
                </a:lnTo>
                <a:lnTo>
                  <a:pt x="1394" y="965"/>
                </a:lnTo>
                <a:lnTo>
                  <a:pt x="1395" y="968"/>
                </a:lnTo>
                <a:lnTo>
                  <a:pt x="1396" y="970"/>
                </a:lnTo>
                <a:lnTo>
                  <a:pt x="1396" y="972"/>
                </a:lnTo>
                <a:lnTo>
                  <a:pt x="1396" y="974"/>
                </a:lnTo>
                <a:lnTo>
                  <a:pt x="1396" y="977"/>
                </a:lnTo>
                <a:lnTo>
                  <a:pt x="1396" y="982"/>
                </a:lnTo>
                <a:lnTo>
                  <a:pt x="1396" y="988"/>
                </a:lnTo>
                <a:lnTo>
                  <a:pt x="1401" y="981"/>
                </a:lnTo>
                <a:lnTo>
                  <a:pt x="1404" y="976"/>
                </a:lnTo>
                <a:lnTo>
                  <a:pt x="1403" y="972"/>
                </a:lnTo>
                <a:lnTo>
                  <a:pt x="1402" y="969"/>
                </a:lnTo>
                <a:lnTo>
                  <a:pt x="1408" y="979"/>
                </a:lnTo>
                <a:lnTo>
                  <a:pt x="1418" y="989"/>
                </a:lnTo>
                <a:lnTo>
                  <a:pt x="1425" y="999"/>
                </a:lnTo>
                <a:lnTo>
                  <a:pt x="1428" y="1012"/>
                </a:lnTo>
                <a:lnTo>
                  <a:pt x="1433" y="1024"/>
                </a:lnTo>
                <a:lnTo>
                  <a:pt x="1436" y="1036"/>
                </a:lnTo>
                <a:lnTo>
                  <a:pt x="1443" y="1048"/>
                </a:lnTo>
                <a:lnTo>
                  <a:pt x="1451" y="1055"/>
                </a:lnTo>
                <a:lnTo>
                  <a:pt x="1451" y="1057"/>
                </a:lnTo>
                <a:lnTo>
                  <a:pt x="1454" y="1060"/>
                </a:lnTo>
                <a:lnTo>
                  <a:pt x="1457" y="1060"/>
                </a:lnTo>
                <a:lnTo>
                  <a:pt x="1459" y="1061"/>
                </a:lnTo>
                <a:lnTo>
                  <a:pt x="1460" y="1065"/>
                </a:lnTo>
                <a:lnTo>
                  <a:pt x="1459" y="1070"/>
                </a:lnTo>
                <a:lnTo>
                  <a:pt x="1458" y="1074"/>
                </a:lnTo>
                <a:lnTo>
                  <a:pt x="1454" y="1074"/>
                </a:lnTo>
                <a:lnTo>
                  <a:pt x="1454" y="1074"/>
                </a:lnTo>
                <a:lnTo>
                  <a:pt x="1454" y="1074"/>
                </a:lnTo>
                <a:lnTo>
                  <a:pt x="1453" y="1069"/>
                </a:lnTo>
                <a:lnTo>
                  <a:pt x="1450" y="1063"/>
                </a:lnTo>
                <a:lnTo>
                  <a:pt x="1446" y="1066"/>
                </a:lnTo>
                <a:lnTo>
                  <a:pt x="1446" y="1073"/>
                </a:lnTo>
                <a:lnTo>
                  <a:pt x="1446" y="1070"/>
                </a:lnTo>
                <a:lnTo>
                  <a:pt x="1444" y="1068"/>
                </a:lnTo>
                <a:lnTo>
                  <a:pt x="1443" y="1068"/>
                </a:lnTo>
                <a:lnTo>
                  <a:pt x="1443" y="1066"/>
                </a:lnTo>
                <a:lnTo>
                  <a:pt x="1443" y="1065"/>
                </a:lnTo>
                <a:lnTo>
                  <a:pt x="1443" y="1064"/>
                </a:lnTo>
                <a:lnTo>
                  <a:pt x="1442" y="1059"/>
                </a:lnTo>
                <a:lnTo>
                  <a:pt x="1441" y="1053"/>
                </a:lnTo>
                <a:lnTo>
                  <a:pt x="1440" y="1074"/>
                </a:lnTo>
                <a:lnTo>
                  <a:pt x="1437" y="1096"/>
                </a:lnTo>
                <a:lnTo>
                  <a:pt x="1435" y="1090"/>
                </a:lnTo>
                <a:lnTo>
                  <a:pt x="1432" y="1084"/>
                </a:lnTo>
                <a:lnTo>
                  <a:pt x="1432" y="1082"/>
                </a:lnTo>
                <a:lnTo>
                  <a:pt x="1431" y="1081"/>
                </a:lnTo>
                <a:lnTo>
                  <a:pt x="1431" y="1081"/>
                </a:lnTo>
                <a:lnTo>
                  <a:pt x="1431" y="1081"/>
                </a:lnTo>
                <a:close/>
                <a:moveTo>
                  <a:pt x="986" y="1410"/>
                </a:moveTo>
                <a:lnTo>
                  <a:pt x="986" y="1401"/>
                </a:lnTo>
                <a:lnTo>
                  <a:pt x="980" y="1394"/>
                </a:lnTo>
                <a:lnTo>
                  <a:pt x="980" y="1395"/>
                </a:lnTo>
                <a:lnTo>
                  <a:pt x="979" y="1392"/>
                </a:lnTo>
                <a:lnTo>
                  <a:pt x="976" y="1388"/>
                </a:lnTo>
                <a:lnTo>
                  <a:pt x="970" y="1384"/>
                </a:lnTo>
                <a:lnTo>
                  <a:pt x="962" y="1384"/>
                </a:lnTo>
                <a:lnTo>
                  <a:pt x="964" y="1393"/>
                </a:lnTo>
                <a:lnTo>
                  <a:pt x="970" y="1401"/>
                </a:lnTo>
                <a:lnTo>
                  <a:pt x="968" y="1405"/>
                </a:lnTo>
                <a:lnTo>
                  <a:pt x="967" y="1408"/>
                </a:lnTo>
                <a:lnTo>
                  <a:pt x="971" y="1410"/>
                </a:lnTo>
                <a:lnTo>
                  <a:pt x="971" y="1413"/>
                </a:lnTo>
                <a:lnTo>
                  <a:pt x="964" y="1414"/>
                </a:lnTo>
                <a:lnTo>
                  <a:pt x="956" y="1413"/>
                </a:lnTo>
                <a:lnTo>
                  <a:pt x="949" y="1405"/>
                </a:lnTo>
                <a:lnTo>
                  <a:pt x="949" y="1395"/>
                </a:lnTo>
                <a:lnTo>
                  <a:pt x="951" y="1391"/>
                </a:lnTo>
                <a:lnTo>
                  <a:pt x="954" y="1386"/>
                </a:lnTo>
                <a:lnTo>
                  <a:pt x="956" y="1381"/>
                </a:lnTo>
                <a:lnTo>
                  <a:pt x="957" y="1377"/>
                </a:lnTo>
                <a:lnTo>
                  <a:pt x="954" y="1376"/>
                </a:lnTo>
                <a:lnTo>
                  <a:pt x="949" y="1378"/>
                </a:lnTo>
                <a:lnTo>
                  <a:pt x="943" y="1376"/>
                </a:lnTo>
                <a:lnTo>
                  <a:pt x="941" y="1371"/>
                </a:lnTo>
                <a:lnTo>
                  <a:pt x="943" y="1369"/>
                </a:lnTo>
                <a:lnTo>
                  <a:pt x="948" y="1371"/>
                </a:lnTo>
                <a:lnTo>
                  <a:pt x="956" y="1371"/>
                </a:lnTo>
                <a:lnTo>
                  <a:pt x="962" y="1369"/>
                </a:lnTo>
                <a:lnTo>
                  <a:pt x="967" y="1370"/>
                </a:lnTo>
                <a:lnTo>
                  <a:pt x="973" y="1370"/>
                </a:lnTo>
                <a:lnTo>
                  <a:pt x="976" y="1367"/>
                </a:lnTo>
                <a:lnTo>
                  <a:pt x="978" y="1363"/>
                </a:lnTo>
                <a:lnTo>
                  <a:pt x="976" y="1360"/>
                </a:lnTo>
                <a:lnTo>
                  <a:pt x="974" y="1356"/>
                </a:lnTo>
                <a:lnTo>
                  <a:pt x="972" y="1353"/>
                </a:lnTo>
                <a:lnTo>
                  <a:pt x="968" y="1354"/>
                </a:lnTo>
                <a:lnTo>
                  <a:pt x="960" y="1361"/>
                </a:lnTo>
                <a:lnTo>
                  <a:pt x="949" y="1361"/>
                </a:lnTo>
                <a:lnTo>
                  <a:pt x="945" y="1358"/>
                </a:lnTo>
                <a:lnTo>
                  <a:pt x="942" y="1352"/>
                </a:lnTo>
                <a:lnTo>
                  <a:pt x="938" y="1347"/>
                </a:lnTo>
                <a:lnTo>
                  <a:pt x="932" y="1344"/>
                </a:lnTo>
                <a:lnTo>
                  <a:pt x="940" y="1339"/>
                </a:lnTo>
                <a:lnTo>
                  <a:pt x="948" y="1338"/>
                </a:lnTo>
                <a:lnTo>
                  <a:pt x="958" y="1340"/>
                </a:lnTo>
                <a:lnTo>
                  <a:pt x="965" y="1338"/>
                </a:lnTo>
                <a:lnTo>
                  <a:pt x="960" y="1335"/>
                </a:lnTo>
                <a:lnTo>
                  <a:pt x="956" y="1333"/>
                </a:lnTo>
                <a:lnTo>
                  <a:pt x="953" y="1329"/>
                </a:lnTo>
                <a:lnTo>
                  <a:pt x="949" y="1327"/>
                </a:lnTo>
                <a:lnTo>
                  <a:pt x="946" y="1331"/>
                </a:lnTo>
                <a:lnTo>
                  <a:pt x="940" y="1336"/>
                </a:lnTo>
                <a:lnTo>
                  <a:pt x="937" y="1334"/>
                </a:lnTo>
                <a:lnTo>
                  <a:pt x="932" y="1331"/>
                </a:lnTo>
                <a:lnTo>
                  <a:pt x="927" y="1333"/>
                </a:lnTo>
                <a:lnTo>
                  <a:pt x="923" y="1335"/>
                </a:lnTo>
                <a:lnTo>
                  <a:pt x="912" y="1337"/>
                </a:lnTo>
                <a:lnTo>
                  <a:pt x="904" y="1331"/>
                </a:lnTo>
                <a:lnTo>
                  <a:pt x="905" y="1329"/>
                </a:lnTo>
                <a:lnTo>
                  <a:pt x="908" y="1328"/>
                </a:lnTo>
                <a:lnTo>
                  <a:pt x="912" y="1328"/>
                </a:lnTo>
                <a:lnTo>
                  <a:pt x="915" y="1326"/>
                </a:lnTo>
                <a:lnTo>
                  <a:pt x="921" y="1325"/>
                </a:lnTo>
                <a:lnTo>
                  <a:pt x="921" y="1329"/>
                </a:lnTo>
                <a:lnTo>
                  <a:pt x="929" y="1328"/>
                </a:lnTo>
                <a:lnTo>
                  <a:pt x="933" y="1323"/>
                </a:lnTo>
                <a:lnTo>
                  <a:pt x="935" y="1319"/>
                </a:lnTo>
                <a:lnTo>
                  <a:pt x="939" y="1315"/>
                </a:lnTo>
                <a:lnTo>
                  <a:pt x="951" y="1314"/>
                </a:lnTo>
                <a:lnTo>
                  <a:pt x="960" y="1310"/>
                </a:lnTo>
                <a:lnTo>
                  <a:pt x="951" y="1309"/>
                </a:lnTo>
                <a:lnTo>
                  <a:pt x="942" y="1305"/>
                </a:lnTo>
                <a:lnTo>
                  <a:pt x="955" y="1303"/>
                </a:lnTo>
                <a:lnTo>
                  <a:pt x="965" y="1309"/>
                </a:lnTo>
                <a:lnTo>
                  <a:pt x="964" y="1318"/>
                </a:lnTo>
                <a:lnTo>
                  <a:pt x="955" y="1322"/>
                </a:lnTo>
                <a:lnTo>
                  <a:pt x="960" y="1326"/>
                </a:lnTo>
                <a:lnTo>
                  <a:pt x="967" y="1325"/>
                </a:lnTo>
                <a:lnTo>
                  <a:pt x="973" y="1326"/>
                </a:lnTo>
                <a:lnTo>
                  <a:pt x="978" y="1329"/>
                </a:lnTo>
                <a:lnTo>
                  <a:pt x="978" y="1325"/>
                </a:lnTo>
                <a:lnTo>
                  <a:pt x="980" y="1320"/>
                </a:lnTo>
                <a:lnTo>
                  <a:pt x="981" y="1314"/>
                </a:lnTo>
                <a:lnTo>
                  <a:pt x="981" y="1309"/>
                </a:lnTo>
                <a:lnTo>
                  <a:pt x="978" y="1292"/>
                </a:lnTo>
                <a:lnTo>
                  <a:pt x="974" y="1276"/>
                </a:lnTo>
                <a:lnTo>
                  <a:pt x="972" y="1260"/>
                </a:lnTo>
                <a:lnTo>
                  <a:pt x="968" y="1245"/>
                </a:lnTo>
                <a:lnTo>
                  <a:pt x="964" y="1229"/>
                </a:lnTo>
                <a:lnTo>
                  <a:pt x="962" y="1214"/>
                </a:lnTo>
                <a:lnTo>
                  <a:pt x="966" y="1215"/>
                </a:lnTo>
                <a:lnTo>
                  <a:pt x="967" y="1219"/>
                </a:lnTo>
                <a:lnTo>
                  <a:pt x="965" y="1201"/>
                </a:lnTo>
                <a:lnTo>
                  <a:pt x="962" y="1184"/>
                </a:lnTo>
                <a:lnTo>
                  <a:pt x="963" y="1171"/>
                </a:lnTo>
                <a:lnTo>
                  <a:pt x="960" y="1159"/>
                </a:lnTo>
                <a:lnTo>
                  <a:pt x="958" y="1155"/>
                </a:lnTo>
                <a:lnTo>
                  <a:pt x="957" y="1152"/>
                </a:lnTo>
                <a:lnTo>
                  <a:pt x="957" y="1148"/>
                </a:lnTo>
                <a:lnTo>
                  <a:pt x="958" y="1146"/>
                </a:lnTo>
                <a:lnTo>
                  <a:pt x="956" y="1144"/>
                </a:lnTo>
                <a:lnTo>
                  <a:pt x="954" y="1142"/>
                </a:lnTo>
                <a:lnTo>
                  <a:pt x="953" y="1135"/>
                </a:lnTo>
                <a:lnTo>
                  <a:pt x="954" y="1129"/>
                </a:lnTo>
                <a:lnTo>
                  <a:pt x="955" y="1126"/>
                </a:lnTo>
                <a:lnTo>
                  <a:pt x="955" y="1122"/>
                </a:lnTo>
                <a:lnTo>
                  <a:pt x="954" y="1119"/>
                </a:lnTo>
                <a:lnTo>
                  <a:pt x="953" y="1119"/>
                </a:lnTo>
                <a:lnTo>
                  <a:pt x="953" y="1117"/>
                </a:lnTo>
                <a:lnTo>
                  <a:pt x="951" y="1113"/>
                </a:lnTo>
                <a:lnTo>
                  <a:pt x="953" y="1111"/>
                </a:lnTo>
                <a:lnTo>
                  <a:pt x="955" y="1109"/>
                </a:lnTo>
                <a:lnTo>
                  <a:pt x="956" y="1103"/>
                </a:lnTo>
                <a:lnTo>
                  <a:pt x="955" y="1096"/>
                </a:lnTo>
                <a:lnTo>
                  <a:pt x="955" y="1089"/>
                </a:lnTo>
                <a:lnTo>
                  <a:pt x="955" y="1082"/>
                </a:lnTo>
                <a:lnTo>
                  <a:pt x="954" y="1073"/>
                </a:lnTo>
                <a:lnTo>
                  <a:pt x="953" y="1064"/>
                </a:lnTo>
                <a:lnTo>
                  <a:pt x="959" y="1072"/>
                </a:lnTo>
                <a:lnTo>
                  <a:pt x="970" y="1073"/>
                </a:lnTo>
                <a:lnTo>
                  <a:pt x="972" y="1072"/>
                </a:lnTo>
                <a:lnTo>
                  <a:pt x="972" y="1070"/>
                </a:lnTo>
                <a:lnTo>
                  <a:pt x="970" y="1070"/>
                </a:lnTo>
                <a:lnTo>
                  <a:pt x="966" y="1070"/>
                </a:lnTo>
                <a:lnTo>
                  <a:pt x="962" y="1069"/>
                </a:lnTo>
                <a:lnTo>
                  <a:pt x="964" y="1065"/>
                </a:lnTo>
                <a:lnTo>
                  <a:pt x="974" y="1065"/>
                </a:lnTo>
                <a:lnTo>
                  <a:pt x="984" y="1070"/>
                </a:lnTo>
                <a:lnTo>
                  <a:pt x="983" y="1078"/>
                </a:lnTo>
                <a:lnTo>
                  <a:pt x="972" y="1084"/>
                </a:lnTo>
                <a:lnTo>
                  <a:pt x="975" y="1086"/>
                </a:lnTo>
                <a:lnTo>
                  <a:pt x="973" y="1089"/>
                </a:lnTo>
                <a:lnTo>
                  <a:pt x="963" y="1095"/>
                </a:lnTo>
                <a:lnTo>
                  <a:pt x="960" y="1104"/>
                </a:lnTo>
                <a:lnTo>
                  <a:pt x="968" y="1106"/>
                </a:lnTo>
                <a:lnTo>
                  <a:pt x="976" y="1107"/>
                </a:lnTo>
                <a:lnTo>
                  <a:pt x="981" y="1117"/>
                </a:lnTo>
                <a:lnTo>
                  <a:pt x="979" y="1127"/>
                </a:lnTo>
                <a:lnTo>
                  <a:pt x="974" y="1129"/>
                </a:lnTo>
                <a:lnTo>
                  <a:pt x="970" y="1129"/>
                </a:lnTo>
                <a:lnTo>
                  <a:pt x="967" y="1130"/>
                </a:lnTo>
                <a:lnTo>
                  <a:pt x="966" y="1134"/>
                </a:lnTo>
                <a:lnTo>
                  <a:pt x="965" y="1137"/>
                </a:lnTo>
                <a:lnTo>
                  <a:pt x="965" y="1140"/>
                </a:lnTo>
                <a:lnTo>
                  <a:pt x="968" y="1144"/>
                </a:lnTo>
                <a:lnTo>
                  <a:pt x="973" y="1144"/>
                </a:lnTo>
                <a:lnTo>
                  <a:pt x="976" y="1142"/>
                </a:lnTo>
                <a:lnTo>
                  <a:pt x="979" y="1145"/>
                </a:lnTo>
                <a:lnTo>
                  <a:pt x="976" y="1148"/>
                </a:lnTo>
                <a:lnTo>
                  <a:pt x="972" y="1151"/>
                </a:lnTo>
                <a:lnTo>
                  <a:pt x="972" y="1155"/>
                </a:lnTo>
                <a:lnTo>
                  <a:pt x="973" y="1159"/>
                </a:lnTo>
                <a:lnTo>
                  <a:pt x="975" y="1165"/>
                </a:lnTo>
                <a:lnTo>
                  <a:pt x="978" y="1173"/>
                </a:lnTo>
                <a:lnTo>
                  <a:pt x="980" y="1187"/>
                </a:lnTo>
                <a:lnTo>
                  <a:pt x="981" y="1201"/>
                </a:lnTo>
                <a:lnTo>
                  <a:pt x="981" y="1207"/>
                </a:lnTo>
                <a:lnTo>
                  <a:pt x="980" y="1214"/>
                </a:lnTo>
                <a:lnTo>
                  <a:pt x="979" y="1221"/>
                </a:lnTo>
                <a:lnTo>
                  <a:pt x="979" y="1229"/>
                </a:lnTo>
                <a:lnTo>
                  <a:pt x="982" y="1231"/>
                </a:lnTo>
                <a:lnTo>
                  <a:pt x="986" y="1234"/>
                </a:lnTo>
                <a:lnTo>
                  <a:pt x="984" y="1237"/>
                </a:lnTo>
                <a:lnTo>
                  <a:pt x="981" y="1240"/>
                </a:lnTo>
                <a:lnTo>
                  <a:pt x="979" y="1253"/>
                </a:lnTo>
                <a:lnTo>
                  <a:pt x="981" y="1265"/>
                </a:lnTo>
                <a:lnTo>
                  <a:pt x="982" y="1272"/>
                </a:lnTo>
                <a:lnTo>
                  <a:pt x="984" y="1278"/>
                </a:lnTo>
                <a:lnTo>
                  <a:pt x="988" y="1284"/>
                </a:lnTo>
                <a:lnTo>
                  <a:pt x="990" y="1289"/>
                </a:lnTo>
                <a:lnTo>
                  <a:pt x="991" y="1303"/>
                </a:lnTo>
                <a:lnTo>
                  <a:pt x="989" y="1318"/>
                </a:lnTo>
                <a:lnTo>
                  <a:pt x="989" y="1333"/>
                </a:lnTo>
                <a:lnTo>
                  <a:pt x="991" y="1347"/>
                </a:lnTo>
                <a:lnTo>
                  <a:pt x="991" y="1352"/>
                </a:lnTo>
                <a:lnTo>
                  <a:pt x="995" y="1353"/>
                </a:lnTo>
                <a:lnTo>
                  <a:pt x="996" y="1353"/>
                </a:lnTo>
                <a:lnTo>
                  <a:pt x="998" y="1353"/>
                </a:lnTo>
                <a:lnTo>
                  <a:pt x="999" y="1355"/>
                </a:lnTo>
                <a:lnTo>
                  <a:pt x="998" y="1358"/>
                </a:lnTo>
                <a:lnTo>
                  <a:pt x="993" y="1358"/>
                </a:lnTo>
                <a:lnTo>
                  <a:pt x="990" y="1361"/>
                </a:lnTo>
                <a:lnTo>
                  <a:pt x="990" y="1365"/>
                </a:lnTo>
                <a:lnTo>
                  <a:pt x="992" y="1370"/>
                </a:lnTo>
                <a:lnTo>
                  <a:pt x="1000" y="1371"/>
                </a:lnTo>
                <a:lnTo>
                  <a:pt x="1004" y="1378"/>
                </a:lnTo>
                <a:lnTo>
                  <a:pt x="997" y="1385"/>
                </a:lnTo>
                <a:lnTo>
                  <a:pt x="988" y="1391"/>
                </a:lnTo>
                <a:lnTo>
                  <a:pt x="989" y="1401"/>
                </a:lnTo>
                <a:lnTo>
                  <a:pt x="997" y="1410"/>
                </a:lnTo>
                <a:lnTo>
                  <a:pt x="995" y="1416"/>
                </a:lnTo>
                <a:lnTo>
                  <a:pt x="1000" y="1419"/>
                </a:lnTo>
                <a:lnTo>
                  <a:pt x="997" y="1421"/>
                </a:lnTo>
                <a:lnTo>
                  <a:pt x="991" y="1420"/>
                </a:lnTo>
                <a:lnTo>
                  <a:pt x="989" y="1420"/>
                </a:lnTo>
                <a:lnTo>
                  <a:pt x="989" y="1422"/>
                </a:lnTo>
                <a:lnTo>
                  <a:pt x="989" y="1423"/>
                </a:lnTo>
                <a:lnTo>
                  <a:pt x="989" y="1426"/>
                </a:lnTo>
                <a:lnTo>
                  <a:pt x="988" y="1428"/>
                </a:lnTo>
                <a:lnTo>
                  <a:pt x="988" y="1431"/>
                </a:lnTo>
                <a:lnTo>
                  <a:pt x="989" y="1435"/>
                </a:lnTo>
                <a:lnTo>
                  <a:pt x="991" y="1439"/>
                </a:lnTo>
                <a:lnTo>
                  <a:pt x="990" y="1444"/>
                </a:lnTo>
                <a:lnTo>
                  <a:pt x="993" y="1446"/>
                </a:lnTo>
                <a:lnTo>
                  <a:pt x="998" y="1450"/>
                </a:lnTo>
                <a:lnTo>
                  <a:pt x="1003" y="1452"/>
                </a:lnTo>
                <a:lnTo>
                  <a:pt x="996" y="1452"/>
                </a:lnTo>
                <a:lnTo>
                  <a:pt x="991" y="1455"/>
                </a:lnTo>
                <a:lnTo>
                  <a:pt x="991" y="1462"/>
                </a:lnTo>
                <a:lnTo>
                  <a:pt x="995" y="1468"/>
                </a:lnTo>
                <a:lnTo>
                  <a:pt x="992" y="1463"/>
                </a:lnTo>
                <a:lnTo>
                  <a:pt x="995" y="1468"/>
                </a:lnTo>
                <a:lnTo>
                  <a:pt x="993" y="1471"/>
                </a:lnTo>
                <a:lnTo>
                  <a:pt x="990" y="1475"/>
                </a:lnTo>
                <a:lnTo>
                  <a:pt x="984" y="1477"/>
                </a:lnTo>
                <a:lnTo>
                  <a:pt x="979" y="1475"/>
                </a:lnTo>
                <a:lnTo>
                  <a:pt x="982" y="1484"/>
                </a:lnTo>
                <a:lnTo>
                  <a:pt x="980" y="1493"/>
                </a:lnTo>
                <a:lnTo>
                  <a:pt x="972" y="1495"/>
                </a:lnTo>
                <a:lnTo>
                  <a:pt x="966" y="1488"/>
                </a:lnTo>
                <a:lnTo>
                  <a:pt x="966" y="1485"/>
                </a:lnTo>
                <a:lnTo>
                  <a:pt x="971" y="1481"/>
                </a:lnTo>
                <a:lnTo>
                  <a:pt x="975" y="1480"/>
                </a:lnTo>
                <a:lnTo>
                  <a:pt x="975" y="1476"/>
                </a:lnTo>
                <a:lnTo>
                  <a:pt x="967" y="1478"/>
                </a:lnTo>
                <a:lnTo>
                  <a:pt x="959" y="1475"/>
                </a:lnTo>
                <a:lnTo>
                  <a:pt x="964" y="1470"/>
                </a:lnTo>
                <a:lnTo>
                  <a:pt x="974" y="1471"/>
                </a:lnTo>
                <a:lnTo>
                  <a:pt x="975" y="1468"/>
                </a:lnTo>
                <a:lnTo>
                  <a:pt x="972" y="1467"/>
                </a:lnTo>
                <a:lnTo>
                  <a:pt x="975" y="1461"/>
                </a:lnTo>
                <a:lnTo>
                  <a:pt x="983" y="1462"/>
                </a:lnTo>
                <a:lnTo>
                  <a:pt x="982" y="1455"/>
                </a:lnTo>
                <a:lnTo>
                  <a:pt x="976" y="1451"/>
                </a:lnTo>
                <a:lnTo>
                  <a:pt x="965" y="1448"/>
                </a:lnTo>
                <a:lnTo>
                  <a:pt x="956" y="1442"/>
                </a:lnTo>
                <a:lnTo>
                  <a:pt x="958" y="1439"/>
                </a:lnTo>
                <a:lnTo>
                  <a:pt x="963" y="1437"/>
                </a:lnTo>
                <a:lnTo>
                  <a:pt x="957" y="1429"/>
                </a:lnTo>
                <a:lnTo>
                  <a:pt x="955" y="1421"/>
                </a:lnTo>
                <a:lnTo>
                  <a:pt x="960" y="1418"/>
                </a:lnTo>
                <a:lnTo>
                  <a:pt x="966" y="1422"/>
                </a:lnTo>
                <a:lnTo>
                  <a:pt x="968" y="1423"/>
                </a:lnTo>
                <a:lnTo>
                  <a:pt x="972" y="1422"/>
                </a:lnTo>
                <a:lnTo>
                  <a:pt x="979" y="1421"/>
                </a:lnTo>
                <a:lnTo>
                  <a:pt x="981" y="1417"/>
                </a:lnTo>
                <a:lnTo>
                  <a:pt x="975" y="1409"/>
                </a:lnTo>
                <a:lnTo>
                  <a:pt x="974" y="1401"/>
                </a:lnTo>
                <a:lnTo>
                  <a:pt x="978" y="1402"/>
                </a:lnTo>
                <a:lnTo>
                  <a:pt x="979" y="1400"/>
                </a:lnTo>
                <a:lnTo>
                  <a:pt x="980" y="1398"/>
                </a:lnTo>
                <a:lnTo>
                  <a:pt x="980" y="1397"/>
                </a:lnTo>
                <a:lnTo>
                  <a:pt x="981" y="1405"/>
                </a:lnTo>
                <a:lnTo>
                  <a:pt x="986" y="1410"/>
                </a:lnTo>
                <a:lnTo>
                  <a:pt x="983" y="1408"/>
                </a:lnTo>
                <a:lnTo>
                  <a:pt x="986" y="1410"/>
                </a:lnTo>
                <a:close/>
                <a:moveTo>
                  <a:pt x="1112" y="432"/>
                </a:moveTo>
                <a:lnTo>
                  <a:pt x="1116" y="429"/>
                </a:lnTo>
                <a:lnTo>
                  <a:pt x="1115" y="424"/>
                </a:lnTo>
                <a:lnTo>
                  <a:pt x="1111" y="423"/>
                </a:lnTo>
                <a:lnTo>
                  <a:pt x="1106" y="422"/>
                </a:lnTo>
                <a:lnTo>
                  <a:pt x="1103" y="423"/>
                </a:lnTo>
                <a:lnTo>
                  <a:pt x="1100" y="425"/>
                </a:lnTo>
                <a:lnTo>
                  <a:pt x="1103" y="428"/>
                </a:lnTo>
                <a:lnTo>
                  <a:pt x="1107" y="428"/>
                </a:lnTo>
                <a:lnTo>
                  <a:pt x="1106" y="430"/>
                </a:lnTo>
                <a:lnTo>
                  <a:pt x="1106" y="432"/>
                </a:lnTo>
                <a:lnTo>
                  <a:pt x="1106" y="432"/>
                </a:lnTo>
                <a:lnTo>
                  <a:pt x="1105" y="431"/>
                </a:lnTo>
                <a:lnTo>
                  <a:pt x="1105" y="431"/>
                </a:lnTo>
                <a:lnTo>
                  <a:pt x="1104" y="431"/>
                </a:lnTo>
                <a:lnTo>
                  <a:pt x="1096" y="428"/>
                </a:lnTo>
                <a:lnTo>
                  <a:pt x="1088" y="424"/>
                </a:lnTo>
                <a:lnTo>
                  <a:pt x="1083" y="421"/>
                </a:lnTo>
                <a:lnTo>
                  <a:pt x="1085" y="414"/>
                </a:lnTo>
                <a:lnTo>
                  <a:pt x="1082" y="408"/>
                </a:lnTo>
                <a:lnTo>
                  <a:pt x="1075" y="406"/>
                </a:lnTo>
                <a:lnTo>
                  <a:pt x="1070" y="405"/>
                </a:lnTo>
                <a:lnTo>
                  <a:pt x="1063" y="404"/>
                </a:lnTo>
                <a:lnTo>
                  <a:pt x="1057" y="404"/>
                </a:lnTo>
                <a:lnTo>
                  <a:pt x="1052" y="404"/>
                </a:lnTo>
                <a:lnTo>
                  <a:pt x="1050" y="395"/>
                </a:lnTo>
                <a:lnTo>
                  <a:pt x="1053" y="385"/>
                </a:lnTo>
                <a:lnTo>
                  <a:pt x="1048" y="379"/>
                </a:lnTo>
                <a:lnTo>
                  <a:pt x="1040" y="374"/>
                </a:lnTo>
                <a:lnTo>
                  <a:pt x="1040" y="367"/>
                </a:lnTo>
                <a:lnTo>
                  <a:pt x="1040" y="360"/>
                </a:lnTo>
                <a:lnTo>
                  <a:pt x="1044" y="359"/>
                </a:lnTo>
                <a:lnTo>
                  <a:pt x="1047" y="356"/>
                </a:lnTo>
                <a:lnTo>
                  <a:pt x="1052" y="354"/>
                </a:lnTo>
                <a:lnTo>
                  <a:pt x="1055" y="355"/>
                </a:lnTo>
                <a:lnTo>
                  <a:pt x="1049" y="349"/>
                </a:lnTo>
                <a:lnTo>
                  <a:pt x="1046" y="342"/>
                </a:lnTo>
                <a:lnTo>
                  <a:pt x="1046" y="340"/>
                </a:lnTo>
                <a:lnTo>
                  <a:pt x="1047" y="338"/>
                </a:lnTo>
                <a:lnTo>
                  <a:pt x="1049" y="337"/>
                </a:lnTo>
                <a:lnTo>
                  <a:pt x="1049" y="335"/>
                </a:lnTo>
                <a:lnTo>
                  <a:pt x="1052" y="334"/>
                </a:lnTo>
                <a:lnTo>
                  <a:pt x="1053" y="335"/>
                </a:lnTo>
                <a:lnTo>
                  <a:pt x="1052" y="325"/>
                </a:lnTo>
                <a:lnTo>
                  <a:pt x="1048" y="316"/>
                </a:lnTo>
                <a:lnTo>
                  <a:pt x="1040" y="323"/>
                </a:lnTo>
                <a:lnTo>
                  <a:pt x="1032" y="330"/>
                </a:lnTo>
                <a:lnTo>
                  <a:pt x="1026" y="333"/>
                </a:lnTo>
                <a:lnTo>
                  <a:pt x="1021" y="337"/>
                </a:lnTo>
                <a:lnTo>
                  <a:pt x="1016" y="340"/>
                </a:lnTo>
                <a:lnTo>
                  <a:pt x="1011" y="340"/>
                </a:lnTo>
                <a:lnTo>
                  <a:pt x="1023" y="323"/>
                </a:lnTo>
                <a:lnTo>
                  <a:pt x="1030" y="302"/>
                </a:lnTo>
                <a:lnTo>
                  <a:pt x="1025" y="306"/>
                </a:lnTo>
                <a:lnTo>
                  <a:pt x="1023" y="308"/>
                </a:lnTo>
                <a:lnTo>
                  <a:pt x="1021" y="313"/>
                </a:lnTo>
                <a:lnTo>
                  <a:pt x="1020" y="317"/>
                </a:lnTo>
                <a:lnTo>
                  <a:pt x="1016" y="321"/>
                </a:lnTo>
                <a:lnTo>
                  <a:pt x="1012" y="322"/>
                </a:lnTo>
                <a:lnTo>
                  <a:pt x="1011" y="321"/>
                </a:lnTo>
                <a:lnTo>
                  <a:pt x="1011" y="318"/>
                </a:lnTo>
                <a:lnTo>
                  <a:pt x="1011" y="315"/>
                </a:lnTo>
                <a:lnTo>
                  <a:pt x="1012" y="312"/>
                </a:lnTo>
                <a:lnTo>
                  <a:pt x="1015" y="309"/>
                </a:lnTo>
                <a:lnTo>
                  <a:pt x="1017" y="307"/>
                </a:lnTo>
                <a:lnTo>
                  <a:pt x="1015" y="299"/>
                </a:lnTo>
                <a:lnTo>
                  <a:pt x="1005" y="297"/>
                </a:lnTo>
                <a:lnTo>
                  <a:pt x="1012" y="291"/>
                </a:lnTo>
                <a:lnTo>
                  <a:pt x="1015" y="283"/>
                </a:lnTo>
                <a:lnTo>
                  <a:pt x="1015" y="276"/>
                </a:lnTo>
                <a:lnTo>
                  <a:pt x="1017" y="269"/>
                </a:lnTo>
                <a:lnTo>
                  <a:pt x="1021" y="263"/>
                </a:lnTo>
                <a:lnTo>
                  <a:pt x="1024" y="257"/>
                </a:lnTo>
                <a:lnTo>
                  <a:pt x="1029" y="250"/>
                </a:lnTo>
                <a:lnTo>
                  <a:pt x="1031" y="242"/>
                </a:lnTo>
                <a:lnTo>
                  <a:pt x="1029" y="244"/>
                </a:lnTo>
                <a:lnTo>
                  <a:pt x="1025" y="246"/>
                </a:lnTo>
                <a:lnTo>
                  <a:pt x="1024" y="244"/>
                </a:lnTo>
                <a:lnTo>
                  <a:pt x="1025" y="243"/>
                </a:lnTo>
                <a:lnTo>
                  <a:pt x="1029" y="240"/>
                </a:lnTo>
                <a:lnTo>
                  <a:pt x="1031" y="235"/>
                </a:lnTo>
                <a:lnTo>
                  <a:pt x="1030" y="232"/>
                </a:lnTo>
                <a:lnTo>
                  <a:pt x="1028" y="229"/>
                </a:lnTo>
                <a:lnTo>
                  <a:pt x="1028" y="224"/>
                </a:lnTo>
                <a:lnTo>
                  <a:pt x="1026" y="219"/>
                </a:lnTo>
                <a:lnTo>
                  <a:pt x="1026" y="219"/>
                </a:lnTo>
                <a:lnTo>
                  <a:pt x="1026" y="219"/>
                </a:lnTo>
                <a:lnTo>
                  <a:pt x="1031" y="221"/>
                </a:lnTo>
                <a:lnTo>
                  <a:pt x="1036" y="218"/>
                </a:lnTo>
                <a:lnTo>
                  <a:pt x="1036" y="214"/>
                </a:lnTo>
                <a:lnTo>
                  <a:pt x="1034" y="209"/>
                </a:lnTo>
                <a:lnTo>
                  <a:pt x="1028" y="205"/>
                </a:lnTo>
                <a:lnTo>
                  <a:pt x="1020" y="207"/>
                </a:lnTo>
                <a:lnTo>
                  <a:pt x="1028" y="196"/>
                </a:lnTo>
                <a:lnTo>
                  <a:pt x="1031" y="182"/>
                </a:lnTo>
                <a:lnTo>
                  <a:pt x="1028" y="185"/>
                </a:lnTo>
                <a:lnTo>
                  <a:pt x="1022" y="185"/>
                </a:lnTo>
                <a:lnTo>
                  <a:pt x="1025" y="180"/>
                </a:lnTo>
                <a:lnTo>
                  <a:pt x="1022" y="173"/>
                </a:lnTo>
                <a:lnTo>
                  <a:pt x="1020" y="169"/>
                </a:lnTo>
                <a:lnTo>
                  <a:pt x="1021" y="165"/>
                </a:lnTo>
                <a:lnTo>
                  <a:pt x="1025" y="149"/>
                </a:lnTo>
                <a:lnTo>
                  <a:pt x="1026" y="133"/>
                </a:lnTo>
                <a:lnTo>
                  <a:pt x="1026" y="125"/>
                </a:lnTo>
                <a:lnTo>
                  <a:pt x="1026" y="117"/>
                </a:lnTo>
                <a:lnTo>
                  <a:pt x="1024" y="114"/>
                </a:lnTo>
                <a:lnTo>
                  <a:pt x="1021" y="114"/>
                </a:lnTo>
                <a:lnTo>
                  <a:pt x="1021" y="111"/>
                </a:lnTo>
                <a:lnTo>
                  <a:pt x="1022" y="109"/>
                </a:lnTo>
                <a:lnTo>
                  <a:pt x="1024" y="100"/>
                </a:lnTo>
                <a:lnTo>
                  <a:pt x="1025" y="90"/>
                </a:lnTo>
                <a:lnTo>
                  <a:pt x="1025" y="81"/>
                </a:lnTo>
                <a:lnTo>
                  <a:pt x="1025" y="72"/>
                </a:lnTo>
                <a:lnTo>
                  <a:pt x="1025" y="68"/>
                </a:lnTo>
                <a:lnTo>
                  <a:pt x="1025" y="64"/>
                </a:lnTo>
                <a:lnTo>
                  <a:pt x="1026" y="59"/>
                </a:lnTo>
                <a:lnTo>
                  <a:pt x="1028" y="56"/>
                </a:lnTo>
                <a:lnTo>
                  <a:pt x="1025" y="50"/>
                </a:lnTo>
                <a:lnTo>
                  <a:pt x="1023" y="44"/>
                </a:lnTo>
                <a:lnTo>
                  <a:pt x="1024" y="38"/>
                </a:lnTo>
                <a:lnTo>
                  <a:pt x="1025" y="31"/>
                </a:lnTo>
                <a:lnTo>
                  <a:pt x="1024" y="27"/>
                </a:lnTo>
                <a:lnTo>
                  <a:pt x="1022" y="30"/>
                </a:lnTo>
                <a:lnTo>
                  <a:pt x="1019" y="28"/>
                </a:lnTo>
                <a:lnTo>
                  <a:pt x="1019" y="23"/>
                </a:lnTo>
                <a:lnTo>
                  <a:pt x="1014" y="11"/>
                </a:lnTo>
                <a:lnTo>
                  <a:pt x="1006" y="0"/>
                </a:lnTo>
                <a:lnTo>
                  <a:pt x="1003" y="7"/>
                </a:lnTo>
                <a:lnTo>
                  <a:pt x="998" y="13"/>
                </a:lnTo>
                <a:lnTo>
                  <a:pt x="996" y="17"/>
                </a:lnTo>
                <a:lnTo>
                  <a:pt x="992" y="19"/>
                </a:lnTo>
                <a:lnTo>
                  <a:pt x="990" y="20"/>
                </a:lnTo>
                <a:lnTo>
                  <a:pt x="988" y="19"/>
                </a:lnTo>
                <a:lnTo>
                  <a:pt x="983" y="17"/>
                </a:lnTo>
                <a:lnTo>
                  <a:pt x="981" y="16"/>
                </a:lnTo>
                <a:lnTo>
                  <a:pt x="981" y="13"/>
                </a:lnTo>
                <a:lnTo>
                  <a:pt x="978" y="10"/>
                </a:lnTo>
                <a:lnTo>
                  <a:pt x="979" y="11"/>
                </a:lnTo>
                <a:lnTo>
                  <a:pt x="978" y="10"/>
                </a:lnTo>
                <a:lnTo>
                  <a:pt x="978" y="15"/>
                </a:lnTo>
                <a:lnTo>
                  <a:pt x="981" y="16"/>
                </a:lnTo>
                <a:lnTo>
                  <a:pt x="981" y="17"/>
                </a:lnTo>
                <a:lnTo>
                  <a:pt x="981" y="20"/>
                </a:lnTo>
                <a:lnTo>
                  <a:pt x="975" y="24"/>
                </a:lnTo>
                <a:lnTo>
                  <a:pt x="975" y="33"/>
                </a:lnTo>
                <a:lnTo>
                  <a:pt x="973" y="38"/>
                </a:lnTo>
                <a:lnTo>
                  <a:pt x="970" y="42"/>
                </a:lnTo>
                <a:lnTo>
                  <a:pt x="967" y="47"/>
                </a:lnTo>
                <a:lnTo>
                  <a:pt x="965" y="52"/>
                </a:lnTo>
                <a:lnTo>
                  <a:pt x="966" y="59"/>
                </a:lnTo>
                <a:lnTo>
                  <a:pt x="970" y="66"/>
                </a:lnTo>
                <a:lnTo>
                  <a:pt x="970" y="70"/>
                </a:lnTo>
                <a:lnTo>
                  <a:pt x="963" y="68"/>
                </a:lnTo>
                <a:lnTo>
                  <a:pt x="963" y="75"/>
                </a:lnTo>
                <a:lnTo>
                  <a:pt x="957" y="77"/>
                </a:lnTo>
                <a:lnTo>
                  <a:pt x="954" y="78"/>
                </a:lnTo>
                <a:lnTo>
                  <a:pt x="955" y="81"/>
                </a:lnTo>
                <a:lnTo>
                  <a:pt x="955" y="82"/>
                </a:lnTo>
                <a:lnTo>
                  <a:pt x="956" y="84"/>
                </a:lnTo>
                <a:lnTo>
                  <a:pt x="955" y="88"/>
                </a:lnTo>
                <a:lnTo>
                  <a:pt x="954" y="91"/>
                </a:lnTo>
                <a:lnTo>
                  <a:pt x="946" y="105"/>
                </a:lnTo>
                <a:lnTo>
                  <a:pt x="938" y="117"/>
                </a:lnTo>
                <a:lnTo>
                  <a:pt x="933" y="124"/>
                </a:lnTo>
                <a:lnTo>
                  <a:pt x="929" y="131"/>
                </a:lnTo>
                <a:lnTo>
                  <a:pt x="926" y="133"/>
                </a:lnTo>
                <a:lnTo>
                  <a:pt x="924" y="136"/>
                </a:lnTo>
                <a:lnTo>
                  <a:pt x="922" y="138"/>
                </a:lnTo>
                <a:lnTo>
                  <a:pt x="920" y="140"/>
                </a:lnTo>
                <a:lnTo>
                  <a:pt x="917" y="136"/>
                </a:lnTo>
                <a:lnTo>
                  <a:pt x="918" y="133"/>
                </a:lnTo>
                <a:lnTo>
                  <a:pt x="920" y="131"/>
                </a:lnTo>
                <a:lnTo>
                  <a:pt x="920" y="130"/>
                </a:lnTo>
                <a:lnTo>
                  <a:pt x="918" y="127"/>
                </a:lnTo>
                <a:lnTo>
                  <a:pt x="916" y="125"/>
                </a:lnTo>
                <a:lnTo>
                  <a:pt x="918" y="123"/>
                </a:lnTo>
                <a:lnTo>
                  <a:pt x="921" y="121"/>
                </a:lnTo>
                <a:lnTo>
                  <a:pt x="925" y="110"/>
                </a:lnTo>
                <a:lnTo>
                  <a:pt x="922" y="98"/>
                </a:lnTo>
                <a:lnTo>
                  <a:pt x="921" y="99"/>
                </a:lnTo>
                <a:lnTo>
                  <a:pt x="918" y="98"/>
                </a:lnTo>
                <a:lnTo>
                  <a:pt x="921" y="93"/>
                </a:lnTo>
                <a:lnTo>
                  <a:pt x="922" y="88"/>
                </a:lnTo>
                <a:lnTo>
                  <a:pt x="920" y="84"/>
                </a:lnTo>
                <a:lnTo>
                  <a:pt x="917" y="80"/>
                </a:lnTo>
                <a:lnTo>
                  <a:pt x="918" y="76"/>
                </a:lnTo>
                <a:lnTo>
                  <a:pt x="917" y="72"/>
                </a:lnTo>
                <a:lnTo>
                  <a:pt x="917" y="70"/>
                </a:lnTo>
                <a:lnTo>
                  <a:pt x="916" y="68"/>
                </a:lnTo>
                <a:lnTo>
                  <a:pt x="914" y="67"/>
                </a:lnTo>
                <a:lnTo>
                  <a:pt x="913" y="66"/>
                </a:lnTo>
                <a:lnTo>
                  <a:pt x="913" y="63"/>
                </a:lnTo>
                <a:lnTo>
                  <a:pt x="913" y="59"/>
                </a:lnTo>
                <a:lnTo>
                  <a:pt x="910" y="57"/>
                </a:lnTo>
                <a:lnTo>
                  <a:pt x="908" y="55"/>
                </a:lnTo>
                <a:lnTo>
                  <a:pt x="906" y="48"/>
                </a:lnTo>
                <a:lnTo>
                  <a:pt x="899" y="44"/>
                </a:lnTo>
                <a:lnTo>
                  <a:pt x="897" y="34"/>
                </a:lnTo>
                <a:lnTo>
                  <a:pt x="890" y="25"/>
                </a:lnTo>
                <a:lnTo>
                  <a:pt x="883" y="18"/>
                </a:lnTo>
                <a:lnTo>
                  <a:pt x="873" y="14"/>
                </a:lnTo>
                <a:lnTo>
                  <a:pt x="877" y="26"/>
                </a:lnTo>
                <a:lnTo>
                  <a:pt x="886" y="33"/>
                </a:lnTo>
                <a:lnTo>
                  <a:pt x="883" y="35"/>
                </a:lnTo>
                <a:lnTo>
                  <a:pt x="877" y="36"/>
                </a:lnTo>
                <a:lnTo>
                  <a:pt x="875" y="41"/>
                </a:lnTo>
                <a:lnTo>
                  <a:pt x="876" y="45"/>
                </a:lnTo>
                <a:lnTo>
                  <a:pt x="880" y="63"/>
                </a:lnTo>
                <a:lnTo>
                  <a:pt x="882" y="78"/>
                </a:lnTo>
                <a:lnTo>
                  <a:pt x="884" y="88"/>
                </a:lnTo>
                <a:lnTo>
                  <a:pt x="885" y="96"/>
                </a:lnTo>
                <a:lnTo>
                  <a:pt x="885" y="105"/>
                </a:lnTo>
                <a:lnTo>
                  <a:pt x="886" y="114"/>
                </a:lnTo>
                <a:lnTo>
                  <a:pt x="890" y="134"/>
                </a:lnTo>
                <a:lnTo>
                  <a:pt x="893" y="155"/>
                </a:lnTo>
                <a:lnTo>
                  <a:pt x="894" y="164"/>
                </a:lnTo>
                <a:lnTo>
                  <a:pt x="897" y="174"/>
                </a:lnTo>
                <a:lnTo>
                  <a:pt x="898" y="179"/>
                </a:lnTo>
                <a:lnTo>
                  <a:pt x="899" y="183"/>
                </a:lnTo>
                <a:lnTo>
                  <a:pt x="899" y="188"/>
                </a:lnTo>
                <a:lnTo>
                  <a:pt x="898" y="191"/>
                </a:lnTo>
                <a:lnTo>
                  <a:pt x="900" y="207"/>
                </a:lnTo>
                <a:lnTo>
                  <a:pt x="908" y="222"/>
                </a:lnTo>
                <a:lnTo>
                  <a:pt x="910" y="224"/>
                </a:lnTo>
                <a:lnTo>
                  <a:pt x="913" y="226"/>
                </a:lnTo>
                <a:lnTo>
                  <a:pt x="917" y="226"/>
                </a:lnTo>
                <a:lnTo>
                  <a:pt x="921" y="227"/>
                </a:lnTo>
                <a:lnTo>
                  <a:pt x="923" y="234"/>
                </a:lnTo>
                <a:lnTo>
                  <a:pt x="925" y="242"/>
                </a:lnTo>
                <a:lnTo>
                  <a:pt x="929" y="247"/>
                </a:lnTo>
                <a:lnTo>
                  <a:pt x="933" y="249"/>
                </a:lnTo>
                <a:lnTo>
                  <a:pt x="939" y="251"/>
                </a:lnTo>
                <a:lnTo>
                  <a:pt x="940" y="255"/>
                </a:lnTo>
                <a:lnTo>
                  <a:pt x="934" y="257"/>
                </a:lnTo>
                <a:lnTo>
                  <a:pt x="927" y="258"/>
                </a:lnTo>
                <a:lnTo>
                  <a:pt x="923" y="263"/>
                </a:lnTo>
                <a:lnTo>
                  <a:pt x="920" y="269"/>
                </a:lnTo>
                <a:lnTo>
                  <a:pt x="918" y="276"/>
                </a:lnTo>
                <a:lnTo>
                  <a:pt x="916" y="283"/>
                </a:lnTo>
                <a:lnTo>
                  <a:pt x="908" y="282"/>
                </a:lnTo>
                <a:lnTo>
                  <a:pt x="900" y="280"/>
                </a:lnTo>
                <a:lnTo>
                  <a:pt x="904" y="284"/>
                </a:lnTo>
                <a:lnTo>
                  <a:pt x="907" y="289"/>
                </a:lnTo>
                <a:lnTo>
                  <a:pt x="907" y="290"/>
                </a:lnTo>
                <a:lnTo>
                  <a:pt x="906" y="291"/>
                </a:lnTo>
                <a:lnTo>
                  <a:pt x="906" y="292"/>
                </a:lnTo>
                <a:lnTo>
                  <a:pt x="905" y="293"/>
                </a:lnTo>
                <a:lnTo>
                  <a:pt x="906" y="294"/>
                </a:lnTo>
                <a:lnTo>
                  <a:pt x="907" y="294"/>
                </a:lnTo>
                <a:lnTo>
                  <a:pt x="913" y="299"/>
                </a:lnTo>
                <a:lnTo>
                  <a:pt x="917" y="302"/>
                </a:lnTo>
                <a:lnTo>
                  <a:pt x="916" y="307"/>
                </a:lnTo>
                <a:lnTo>
                  <a:pt x="914" y="312"/>
                </a:lnTo>
                <a:lnTo>
                  <a:pt x="917" y="314"/>
                </a:lnTo>
                <a:lnTo>
                  <a:pt x="922" y="313"/>
                </a:lnTo>
                <a:lnTo>
                  <a:pt x="925" y="313"/>
                </a:lnTo>
                <a:lnTo>
                  <a:pt x="929" y="315"/>
                </a:lnTo>
                <a:lnTo>
                  <a:pt x="924" y="317"/>
                </a:lnTo>
                <a:lnTo>
                  <a:pt x="926" y="323"/>
                </a:lnTo>
                <a:lnTo>
                  <a:pt x="926" y="324"/>
                </a:lnTo>
                <a:lnTo>
                  <a:pt x="927" y="325"/>
                </a:lnTo>
                <a:lnTo>
                  <a:pt x="927" y="325"/>
                </a:lnTo>
                <a:lnTo>
                  <a:pt x="929" y="325"/>
                </a:lnTo>
                <a:lnTo>
                  <a:pt x="932" y="326"/>
                </a:lnTo>
                <a:lnTo>
                  <a:pt x="935" y="325"/>
                </a:lnTo>
                <a:lnTo>
                  <a:pt x="931" y="327"/>
                </a:lnTo>
                <a:lnTo>
                  <a:pt x="927" y="325"/>
                </a:lnTo>
                <a:lnTo>
                  <a:pt x="915" y="322"/>
                </a:lnTo>
                <a:lnTo>
                  <a:pt x="904" y="312"/>
                </a:lnTo>
                <a:lnTo>
                  <a:pt x="901" y="308"/>
                </a:lnTo>
                <a:lnTo>
                  <a:pt x="900" y="305"/>
                </a:lnTo>
                <a:lnTo>
                  <a:pt x="901" y="302"/>
                </a:lnTo>
                <a:lnTo>
                  <a:pt x="902" y="301"/>
                </a:lnTo>
                <a:lnTo>
                  <a:pt x="898" y="300"/>
                </a:lnTo>
                <a:lnTo>
                  <a:pt x="893" y="304"/>
                </a:lnTo>
                <a:lnTo>
                  <a:pt x="892" y="299"/>
                </a:lnTo>
                <a:lnTo>
                  <a:pt x="897" y="292"/>
                </a:lnTo>
                <a:lnTo>
                  <a:pt x="899" y="288"/>
                </a:lnTo>
                <a:lnTo>
                  <a:pt x="894" y="283"/>
                </a:lnTo>
                <a:lnTo>
                  <a:pt x="890" y="277"/>
                </a:lnTo>
                <a:lnTo>
                  <a:pt x="888" y="269"/>
                </a:lnTo>
                <a:lnTo>
                  <a:pt x="888" y="266"/>
                </a:lnTo>
                <a:lnTo>
                  <a:pt x="886" y="263"/>
                </a:lnTo>
                <a:lnTo>
                  <a:pt x="885" y="263"/>
                </a:lnTo>
                <a:lnTo>
                  <a:pt x="883" y="264"/>
                </a:lnTo>
                <a:lnTo>
                  <a:pt x="882" y="263"/>
                </a:lnTo>
                <a:lnTo>
                  <a:pt x="880" y="259"/>
                </a:lnTo>
                <a:lnTo>
                  <a:pt x="876" y="257"/>
                </a:lnTo>
                <a:lnTo>
                  <a:pt x="873" y="254"/>
                </a:lnTo>
                <a:lnTo>
                  <a:pt x="865" y="247"/>
                </a:lnTo>
                <a:lnTo>
                  <a:pt x="857" y="240"/>
                </a:lnTo>
                <a:lnTo>
                  <a:pt x="852" y="233"/>
                </a:lnTo>
                <a:lnTo>
                  <a:pt x="851" y="225"/>
                </a:lnTo>
                <a:lnTo>
                  <a:pt x="852" y="223"/>
                </a:lnTo>
                <a:lnTo>
                  <a:pt x="855" y="225"/>
                </a:lnTo>
                <a:lnTo>
                  <a:pt x="855" y="226"/>
                </a:lnTo>
                <a:lnTo>
                  <a:pt x="856" y="226"/>
                </a:lnTo>
                <a:lnTo>
                  <a:pt x="857" y="226"/>
                </a:lnTo>
                <a:lnTo>
                  <a:pt x="858" y="225"/>
                </a:lnTo>
                <a:lnTo>
                  <a:pt x="864" y="226"/>
                </a:lnTo>
                <a:lnTo>
                  <a:pt x="867" y="232"/>
                </a:lnTo>
                <a:lnTo>
                  <a:pt x="868" y="239"/>
                </a:lnTo>
                <a:lnTo>
                  <a:pt x="874" y="242"/>
                </a:lnTo>
                <a:lnTo>
                  <a:pt x="879" y="235"/>
                </a:lnTo>
                <a:lnTo>
                  <a:pt x="880" y="226"/>
                </a:lnTo>
                <a:lnTo>
                  <a:pt x="883" y="215"/>
                </a:lnTo>
                <a:lnTo>
                  <a:pt x="884" y="204"/>
                </a:lnTo>
                <a:lnTo>
                  <a:pt x="881" y="209"/>
                </a:lnTo>
                <a:lnTo>
                  <a:pt x="876" y="214"/>
                </a:lnTo>
                <a:lnTo>
                  <a:pt x="876" y="200"/>
                </a:lnTo>
                <a:lnTo>
                  <a:pt x="869" y="189"/>
                </a:lnTo>
                <a:lnTo>
                  <a:pt x="868" y="192"/>
                </a:lnTo>
                <a:lnTo>
                  <a:pt x="864" y="196"/>
                </a:lnTo>
                <a:lnTo>
                  <a:pt x="863" y="184"/>
                </a:lnTo>
                <a:lnTo>
                  <a:pt x="858" y="173"/>
                </a:lnTo>
                <a:lnTo>
                  <a:pt x="857" y="169"/>
                </a:lnTo>
                <a:lnTo>
                  <a:pt x="856" y="173"/>
                </a:lnTo>
                <a:lnTo>
                  <a:pt x="852" y="168"/>
                </a:lnTo>
                <a:lnTo>
                  <a:pt x="850" y="163"/>
                </a:lnTo>
                <a:lnTo>
                  <a:pt x="848" y="163"/>
                </a:lnTo>
                <a:lnTo>
                  <a:pt x="847" y="165"/>
                </a:lnTo>
                <a:lnTo>
                  <a:pt x="842" y="164"/>
                </a:lnTo>
                <a:lnTo>
                  <a:pt x="839" y="160"/>
                </a:lnTo>
                <a:lnTo>
                  <a:pt x="836" y="150"/>
                </a:lnTo>
                <a:lnTo>
                  <a:pt x="833" y="141"/>
                </a:lnTo>
                <a:lnTo>
                  <a:pt x="832" y="146"/>
                </a:lnTo>
                <a:lnTo>
                  <a:pt x="831" y="149"/>
                </a:lnTo>
                <a:lnTo>
                  <a:pt x="830" y="142"/>
                </a:lnTo>
                <a:lnTo>
                  <a:pt x="826" y="136"/>
                </a:lnTo>
                <a:lnTo>
                  <a:pt x="822" y="131"/>
                </a:lnTo>
                <a:lnTo>
                  <a:pt x="818" y="124"/>
                </a:lnTo>
                <a:lnTo>
                  <a:pt x="816" y="117"/>
                </a:lnTo>
                <a:lnTo>
                  <a:pt x="814" y="110"/>
                </a:lnTo>
                <a:lnTo>
                  <a:pt x="813" y="107"/>
                </a:lnTo>
                <a:lnTo>
                  <a:pt x="811" y="103"/>
                </a:lnTo>
                <a:lnTo>
                  <a:pt x="811" y="101"/>
                </a:lnTo>
                <a:lnTo>
                  <a:pt x="809" y="100"/>
                </a:lnTo>
                <a:lnTo>
                  <a:pt x="805" y="97"/>
                </a:lnTo>
                <a:lnTo>
                  <a:pt x="801" y="92"/>
                </a:lnTo>
                <a:lnTo>
                  <a:pt x="800" y="86"/>
                </a:lnTo>
                <a:lnTo>
                  <a:pt x="797" y="83"/>
                </a:lnTo>
                <a:lnTo>
                  <a:pt x="793" y="85"/>
                </a:lnTo>
                <a:lnTo>
                  <a:pt x="791" y="84"/>
                </a:lnTo>
                <a:lnTo>
                  <a:pt x="789" y="78"/>
                </a:lnTo>
                <a:lnTo>
                  <a:pt x="786" y="73"/>
                </a:lnTo>
                <a:lnTo>
                  <a:pt x="781" y="78"/>
                </a:lnTo>
                <a:lnTo>
                  <a:pt x="774" y="73"/>
                </a:lnTo>
                <a:lnTo>
                  <a:pt x="772" y="68"/>
                </a:lnTo>
                <a:lnTo>
                  <a:pt x="768" y="69"/>
                </a:lnTo>
                <a:lnTo>
                  <a:pt x="768" y="76"/>
                </a:lnTo>
                <a:lnTo>
                  <a:pt x="766" y="83"/>
                </a:lnTo>
                <a:lnTo>
                  <a:pt x="766" y="75"/>
                </a:lnTo>
                <a:lnTo>
                  <a:pt x="764" y="67"/>
                </a:lnTo>
                <a:lnTo>
                  <a:pt x="758" y="68"/>
                </a:lnTo>
                <a:lnTo>
                  <a:pt x="756" y="75"/>
                </a:lnTo>
                <a:lnTo>
                  <a:pt x="753" y="72"/>
                </a:lnTo>
                <a:lnTo>
                  <a:pt x="752" y="68"/>
                </a:lnTo>
                <a:lnTo>
                  <a:pt x="749" y="67"/>
                </a:lnTo>
                <a:lnTo>
                  <a:pt x="745" y="68"/>
                </a:lnTo>
                <a:lnTo>
                  <a:pt x="740" y="68"/>
                </a:lnTo>
                <a:lnTo>
                  <a:pt x="735" y="67"/>
                </a:lnTo>
                <a:lnTo>
                  <a:pt x="732" y="72"/>
                </a:lnTo>
                <a:lnTo>
                  <a:pt x="726" y="72"/>
                </a:lnTo>
                <a:lnTo>
                  <a:pt x="724" y="73"/>
                </a:lnTo>
                <a:lnTo>
                  <a:pt x="721" y="74"/>
                </a:lnTo>
                <a:lnTo>
                  <a:pt x="718" y="74"/>
                </a:lnTo>
                <a:lnTo>
                  <a:pt x="716" y="74"/>
                </a:lnTo>
                <a:lnTo>
                  <a:pt x="715" y="75"/>
                </a:lnTo>
                <a:lnTo>
                  <a:pt x="714" y="76"/>
                </a:lnTo>
                <a:lnTo>
                  <a:pt x="711" y="77"/>
                </a:lnTo>
                <a:lnTo>
                  <a:pt x="709" y="78"/>
                </a:lnTo>
                <a:lnTo>
                  <a:pt x="709" y="84"/>
                </a:lnTo>
                <a:lnTo>
                  <a:pt x="704" y="88"/>
                </a:lnTo>
                <a:lnTo>
                  <a:pt x="692" y="92"/>
                </a:lnTo>
                <a:lnTo>
                  <a:pt x="679" y="99"/>
                </a:lnTo>
                <a:lnTo>
                  <a:pt x="687" y="103"/>
                </a:lnTo>
                <a:lnTo>
                  <a:pt x="696" y="106"/>
                </a:lnTo>
                <a:lnTo>
                  <a:pt x="703" y="107"/>
                </a:lnTo>
                <a:lnTo>
                  <a:pt x="708" y="109"/>
                </a:lnTo>
                <a:lnTo>
                  <a:pt x="709" y="114"/>
                </a:lnTo>
                <a:lnTo>
                  <a:pt x="712" y="115"/>
                </a:lnTo>
                <a:lnTo>
                  <a:pt x="719" y="115"/>
                </a:lnTo>
                <a:lnTo>
                  <a:pt x="726" y="116"/>
                </a:lnTo>
                <a:lnTo>
                  <a:pt x="721" y="117"/>
                </a:lnTo>
                <a:lnTo>
                  <a:pt x="717" y="119"/>
                </a:lnTo>
                <a:lnTo>
                  <a:pt x="714" y="122"/>
                </a:lnTo>
                <a:lnTo>
                  <a:pt x="715" y="125"/>
                </a:lnTo>
                <a:lnTo>
                  <a:pt x="718" y="126"/>
                </a:lnTo>
                <a:lnTo>
                  <a:pt x="721" y="127"/>
                </a:lnTo>
                <a:lnTo>
                  <a:pt x="720" y="130"/>
                </a:lnTo>
                <a:lnTo>
                  <a:pt x="717" y="131"/>
                </a:lnTo>
                <a:lnTo>
                  <a:pt x="726" y="133"/>
                </a:lnTo>
                <a:lnTo>
                  <a:pt x="735" y="134"/>
                </a:lnTo>
                <a:lnTo>
                  <a:pt x="732" y="138"/>
                </a:lnTo>
                <a:lnTo>
                  <a:pt x="731" y="141"/>
                </a:lnTo>
                <a:lnTo>
                  <a:pt x="733" y="141"/>
                </a:lnTo>
                <a:lnTo>
                  <a:pt x="734" y="141"/>
                </a:lnTo>
                <a:lnTo>
                  <a:pt x="735" y="143"/>
                </a:lnTo>
                <a:lnTo>
                  <a:pt x="735" y="144"/>
                </a:lnTo>
                <a:lnTo>
                  <a:pt x="735" y="148"/>
                </a:lnTo>
                <a:lnTo>
                  <a:pt x="737" y="148"/>
                </a:lnTo>
                <a:lnTo>
                  <a:pt x="743" y="147"/>
                </a:lnTo>
                <a:lnTo>
                  <a:pt x="749" y="147"/>
                </a:lnTo>
                <a:lnTo>
                  <a:pt x="747" y="155"/>
                </a:lnTo>
                <a:lnTo>
                  <a:pt x="750" y="160"/>
                </a:lnTo>
                <a:lnTo>
                  <a:pt x="753" y="161"/>
                </a:lnTo>
                <a:lnTo>
                  <a:pt x="756" y="163"/>
                </a:lnTo>
                <a:lnTo>
                  <a:pt x="756" y="166"/>
                </a:lnTo>
                <a:lnTo>
                  <a:pt x="752" y="169"/>
                </a:lnTo>
                <a:lnTo>
                  <a:pt x="756" y="172"/>
                </a:lnTo>
                <a:lnTo>
                  <a:pt x="760" y="173"/>
                </a:lnTo>
                <a:lnTo>
                  <a:pt x="762" y="177"/>
                </a:lnTo>
                <a:lnTo>
                  <a:pt x="764" y="183"/>
                </a:lnTo>
                <a:lnTo>
                  <a:pt x="768" y="185"/>
                </a:lnTo>
                <a:lnTo>
                  <a:pt x="774" y="186"/>
                </a:lnTo>
                <a:lnTo>
                  <a:pt x="775" y="188"/>
                </a:lnTo>
                <a:lnTo>
                  <a:pt x="776" y="189"/>
                </a:lnTo>
                <a:lnTo>
                  <a:pt x="776" y="190"/>
                </a:lnTo>
                <a:lnTo>
                  <a:pt x="776" y="192"/>
                </a:lnTo>
                <a:lnTo>
                  <a:pt x="778" y="192"/>
                </a:lnTo>
                <a:lnTo>
                  <a:pt x="782" y="192"/>
                </a:lnTo>
                <a:lnTo>
                  <a:pt x="776" y="193"/>
                </a:lnTo>
                <a:lnTo>
                  <a:pt x="769" y="192"/>
                </a:lnTo>
                <a:lnTo>
                  <a:pt x="764" y="190"/>
                </a:lnTo>
                <a:lnTo>
                  <a:pt x="759" y="188"/>
                </a:lnTo>
                <a:lnTo>
                  <a:pt x="753" y="184"/>
                </a:lnTo>
                <a:lnTo>
                  <a:pt x="749" y="179"/>
                </a:lnTo>
                <a:lnTo>
                  <a:pt x="743" y="179"/>
                </a:lnTo>
                <a:lnTo>
                  <a:pt x="737" y="184"/>
                </a:lnTo>
                <a:lnTo>
                  <a:pt x="735" y="169"/>
                </a:lnTo>
                <a:lnTo>
                  <a:pt x="728" y="158"/>
                </a:lnTo>
                <a:lnTo>
                  <a:pt x="719" y="158"/>
                </a:lnTo>
                <a:lnTo>
                  <a:pt x="714" y="157"/>
                </a:lnTo>
                <a:lnTo>
                  <a:pt x="714" y="151"/>
                </a:lnTo>
                <a:lnTo>
                  <a:pt x="711" y="147"/>
                </a:lnTo>
                <a:lnTo>
                  <a:pt x="709" y="147"/>
                </a:lnTo>
                <a:lnTo>
                  <a:pt x="707" y="146"/>
                </a:lnTo>
                <a:lnTo>
                  <a:pt x="703" y="143"/>
                </a:lnTo>
                <a:lnTo>
                  <a:pt x="701" y="142"/>
                </a:lnTo>
                <a:lnTo>
                  <a:pt x="691" y="134"/>
                </a:lnTo>
                <a:lnTo>
                  <a:pt x="680" y="128"/>
                </a:lnTo>
                <a:lnTo>
                  <a:pt x="675" y="128"/>
                </a:lnTo>
                <a:lnTo>
                  <a:pt x="670" y="126"/>
                </a:lnTo>
                <a:lnTo>
                  <a:pt x="668" y="122"/>
                </a:lnTo>
                <a:lnTo>
                  <a:pt x="665" y="118"/>
                </a:lnTo>
                <a:lnTo>
                  <a:pt x="654" y="115"/>
                </a:lnTo>
                <a:lnTo>
                  <a:pt x="645" y="110"/>
                </a:lnTo>
                <a:lnTo>
                  <a:pt x="633" y="105"/>
                </a:lnTo>
                <a:lnTo>
                  <a:pt x="619" y="99"/>
                </a:lnTo>
                <a:lnTo>
                  <a:pt x="608" y="92"/>
                </a:lnTo>
                <a:lnTo>
                  <a:pt x="593" y="92"/>
                </a:lnTo>
                <a:lnTo>
                  <a:pt x="609" y="100"/>
                </a:lnTo>
                <a:lnTo>
                  <a:pt x="624" y="111"/>
                </a:lnTo>
                <a:lnTo>
                  <a:pt x="632" y="117"/>
                </a:lnTo>
                <a:lnTo>
                  <a:pt x="640" y="122"/>
                </a:lnTo>
                <a:lnTo>
                  <a:pt x="646" y="126"/>
                </a:lnTo>
                <a:lnTo>
                  <a:pt x="652" y="133"/>
                </a:lnTo>
                <a:lnTo>
                  <a:pt x="658" y="139"/>
                </a:lnTo>
                <a:lnTo>
                  <a:pt x="665" y="143"/>
                </a:lnTo>
                <a:lnTo>
                  <a:pt x="668" y="149"/>
                </a:lnTo>
                <a:lnTo>
                  <a:pt x="671" y="155"/>
                </a:lnTo>
                <a:lnTo>
                  <a:pt x="677" y="159"/>
                </a:lnTo>
                <a:lnTo>
                  <a:pt x="683" y="164"/>
                </a:lnTo>
                <a:lnTo>
                  <a:pt x="690" y="172"/>
                </a:lnTo>
                <a:lnTo>
                  <a:pt x="696" y="179"/>
                </a:lnTo>
                <a:lnTo>
                  <a:pt x="687" y="181"/>
                </a:lnTo>
                <a:lnTo>
                  <a:pt x="677" y="180"/>
                </a:lnTo>
                <a:lnTo>
                  <a:pt x="676" y="175"/>
                </a:lnTo>
                <a:lnTo>
                  <a:pt x="671" y="171"/>
                </a:lnTo>
                <a:lnTo>
                  <a:pt x="670" y="167"/>
                </a:lnTo>
                <a:lnTo>
                  <a:pt x="668" y="166"/>
                </a:lnTo>
                <a:lnTo>
                  <a:pt x="666" y="169"/>
                </a:lnTo>
                <a:lnTo>
                  <a:pt x="663" y="172"/>
                </a:lnTo>
                <a:lnTo>
                  <a:pt x="663" y="168"/>
                </a:lnTo>
                <a:lnTo>
                  <a:pt x="661" y="164"/>
                </a:lnTo>
                <a:lnTo>
                  <a:pt x="658" y="163"/>
                </a:lnTo>
                <a:lnTo>
                  <a:pt x="654" y="160"/>
                </a:lnTo>
                <a:lnTo>
                  <a:pt x="653" y="153"/>
                </a:lnTo>
                <a:lnTo>
                  <a:pt x="650" y="148"/>
                </a:lnTo>
                <a:lnTo>
                  <a:pt x="645" y="155"/>
                </a:lnTo>
                <a:lnTo>
                  <a:pt x="641" y="163"/>
                </a:lnTo>
                <a:lnTo>
                  <a:pt x="642" y="153"/>
                </a:lnTo>
                <a:lnTo>
                  <a:pt x="638" y="144"/>
                </a:lnTo>
                <a:lnTo>
                  <a:pt x="636" y="149"/>
                </a:lnTo>
                <a:lnTo>
                  <a:pt x="633" y="155"/>
                </a:lnTo>
                <a:lnTo>
                  <a:pt x="625" y="143"/>
                </a:lnTo>
                <a:lnTo>
                  <a:pt x="611" y="135"/>
                </a:lnTo>
                <a:lnTo>
                  <a:pt x="603" y="132"/>
                </a:lnTo>
                <a:lnTo>
                  <a:pt x="596" y="127"/>
                </a:lnTo>
                <a:lnTo>
                  <a:pt x="593" y="123"/>
                </a:lnTo>
                <a:lnTo>
                  <a:pt x="588" y="119"/>
                </a:lnTo>
                <a:lnTo>
                  <a:pt x="574" y="110"/>
                </a:lnTo>
                <a:lnTo>
                  <a:pt x="556" y="106"/>
                </a:lnTo>
                <a:lnTo>
                  <a:pt x="550" y="107"/>
                </a:lnTo>
                <a:lnTo>
                  <a:pt x="543" y="111"/>
                </a:lnTo>
                <a:lnTo>
                  <a:pt x="537" y="114"/>
                </a:lnTo>
                <a:lnTo>
                  <a:pt x="530" y="116"/>
                </a:lnTo>
                <a:lnTo>
                  <a:pt x="521" y="133"/>
                </a:lnTo>
                <a:lnTo>
                  <a:pt x="539" y="151"/>
                </a:lnTo>
                <a:lnTo>
                  <a:pt x="544" y="153"/>
                </a:lnTo>
                <a:lnTo>
                  <a:pt x="548" y="155"/>
                </a:lnTo>
                <a:lnTo>
                  <a:pt x="553" y="160"/>
                </a:lnTo>
                <a:lnTo>
                  <a:pt x="556" y="167"/>
                </a:lnTo>
                <a:lnTo>
                  <a:pt x="560" y="169"/>
                </a:lnTo>
                <a:lnTo>
                  <a:pt x="562" y="171"/>
                </a:lnTo>
                <a:lnTo>
                  <a:pt x="566" y="173"/>
                </a:lnTo>
                <a:lnTo>
                  <a:pt x="567" y="176"/>
                </a:lnTo>
                <a:lnTo>
                  <a:pt x="570" y="180"/>
                </a:lnTo>
                <a:lnTo>
                  <a:pt x="577" y="181"/>
                </a:lnTo>
                <a:lnTo>
                  <a:pt x="578" y="188"/>
                </a:lnTo>
                <a:lnTo>
                  <a:pt x="579" y="197"/>
                </a:lnTo>
                <a:lnTo>
                  <a:pt x="576" y="204"/>
                </a:lnTo>
                <a:lnTo>
                  <a:pt x="570" y="207"/>
                </a:lnTo>
                <a:lnTo>
                  <a:pt x="569" y="199"/>
                </a:lnTo>
                <a:lnTo>
                  <a:pt x="564" y="192"/>
                </a:lnTo>
                <a:lnTo>
                  <a:pt x="567" y="209"/>
                </a:lnTo>
                <a:lnTo>
                  <a:pt x="566" y="225"/>
                </a:lnTo>
                <a:lnTo>
                  <a:pt x="560" y="207"/>
                </a:lnTo>
                <a:lnTo>
                  <a:pt x="552" y="191"/>
                </a:lnTo>
                <a:lnTo>
                  <a:pt x="555" y="206"/>
                </a:lnTo>
                <a:lnTo>
                  <a:pt x="556" y="222"/>
                </a:lnTo>
                <a:lnTo>
                  <a:pt x="548" y="207"/>
                </a:lnTo>
                <a:lnTo>
                  <a:pt x="541" y="194"/>
                </a:lnTo>
                <a:lnTo>
                  <a:pt x="544" y="208"/>
                </a:lnTo>
                <a:lnTo>
                  <a:pt x="546" y="223"/>
                </a:lnTo>
                <a:lnTo>
                  <a:pt x="541" y="211"/>
                </a:lnTo>
                <a:lnTo>
                  <a:pt x="535" y="200"/>
                </a:lnTo>
                <a:lnTo>
                  <a:pt x="529" y="193"/>
                </a:lnTo>
                <a:lnTo>
                  <a:pt x="522" y="188"/>
                </a:lnTo>
                <a:lnTo>
                  <a:pt x="520" y="189"/>
                </a:lnTo>
                <a:lnTo>
                  <a:pt x="520" y="192"/>
                </a:lnTo>
                <a:lnTo>
                  <a:pt x="517" y="193"/>
                </a:lnTo>
                <a:lnTo>
                  <a:pt x="514" y="190"/>
                </a:lnTo>
                <a:lnTo>
                  <a:pt x="506" y="182"/>
                </a:lnTo>
                <a:lnTo>
                  <a:pt x="497" y="177"/>
                </a:lnTo>
                <a:lnTo>
                  <a:pt x="496" y="175"/>
                </a:lnTo>
                <a:lnTo>
                  <a:pt x="494" y="177"/>
                </a:lnTo>
                <a:lnTo>
                  <a:pt x="490" y="177"/>
                </a:lnTo>
                <a:lnTo>
                  <a:pt x="487" y="180"/>
                </a:lnTo>
                <a:lnTo>
                  <a:pt x="479" y="172"/>
                </a:lnTo>
                <a:lnTo>
                  <a:pt x="471" y="172"/>
                </a:lnTo>
                <a:lnTo>
                  <a:pt x="473" y="174"/>
                </a:lnTo>
                <a:lnTo>
                  <a:pt x="474" y="177"/>
                </a:lnTo>
                <a:lnTo>
                  <a:pt x="472" y="180"/>
                </a:lnTo>
                <a:lnTo>
                  <a:pt x="469" y="179"/>
                </a:lnTo>
                <a:lnTo>
                  <a:pt x="465" y="175"/>
                </a:lnTo>
                <a:lnTo>
                  <a:pt x="462" y="172"/>
                </a:lnTo>
                <a:lnTo>
                  <a:pt x="459" y="171"/>
                </a:lnTo>
                <a:lnTo>
                  <a:pt x="455" y="172"/>
                </a:lnTo>
                <a:lnTo>
                  <a:pt x="452" y="171"/>
                </a:lnTo>
                <a:lnTo>
                  <a:pt x="448" y="168"/>
                </a:lnTo>
                <a:lnTo>
                  <a:pt x="443" y="167"/>
                </a:lnTo>
                <a:lnTo>
                  <a:pt x="438" y="165"/>
                </a:lnTo>
                <a:lnTo>
                  <a:pt x="441" y="173"/>
                </a:lnTo>
                <a:lnTo>
                  <a:pt x="448" y="179"/>
                </a:lnTo>
                <a:lnTo>
                  <a:pt x="453" y="180"/>
                </a:lnTo>
                <a:lnTo>
                  <a:pt x="456" y="182"/>
                </a:lnTo>
                <a:lnTo>
                  <a:pt x="457" y="185"/>
                </a:lnTo>
                <a:lnTo>
                  <a:pt x="459" y="189"/>
                </a:lnTo>
                <a:lnTo>
                  <a:pt x="465" y="191"/>
                </a:lnTo>
                <a:lnTo>
                  <a:pt x="471" y="191"/>
                </a:lnTo>
                <a:lnTo>
                  <a:pt x="479" y="198"/>
                </a:lnTo>
                <a:lnTo>
                  <a:pt x="486" y="202"/>
                </a:lnTo>
                <a:lnTo>
                  <a:pt x="486" y="198"/>
                </a:lnTo>
                <a:lnTo>
                  <a:pt x="486" y="193"/>
                </a:lnTo>
                <a:lnTo>
                  <a:pt x="495" y="205"/>
                </a:lnTo>
                <a:lnTo>
                  <a:pt x="502" y="216"/>
                </a:lnTo>
                <a:lnTo>
                  <a:pt x="490" y="210"/>
                </a:lnTo>
                <a:lnTo>
                  <a:pt x="478" y="206"/>
                </a:lnTo>
                <a:lnTo>
                  <a:pt x="464" y="200"/>
                </a:lnTo>
                <a:lnTo>
                  <a:pt x="451" y="194"/>
                </a:lnTo>
                <a:lnTo>
                  <a:pt x="437" y="191"/>
                </a:lnTo>
                <a:lnTo>
                  <a:pt x="422" y="189"/>
                </a:lnTo>
                <a:lnTo>
                  <a:pt x="413" y="186"/>
                </a:lnTo>
                <a:lnTo>
                  <a:pt x="406" y="181"/>
                </a:lnTo>
                <a:lnTo>
                  <a:pt x="405" y="175"/>
                </a:lnTo>
                <a:lnTo>
                  <a:pt x="403" y="171"/>
                </a:lnTo>
                <a:lnTo>
                  <a:pt x="399" y="169"/>
                </a:lnTo>
                <a:lnTo>
                  <a:pt x="399" y="173"/>
                </a:lnTo>
                <a:lnTo>
                  <a:pt x="401" y="176"/>
                </a:lnTo>
                <a:lnTo>
                  <a:pt x="401" y="180"/>
                </a:lnTo>
                <a:lnTo>
                  <a:pt x="396" y="182"/>
                </a:lnTo>
                <a:lnTo>
                  <a:pt x="390" y="180"/>
                </a:lnTo>
                <a:lnTo>
                  <a:pt x="387" y="179"/>
                </a:lnTo>
                <a:lnTo>
                  <a:pt x="386" y="175"/>
                </a:lnTo>
                <a:lnTo>
                  <a:pt x="389" y="172"/>
                </a:lnTo>
                <a:lnTo>
                  <a:pt x="393" y="172"/>
                </a:lnTo>
                <a:lnTo>
                  <a:pt x="391" y="164"/>
                </a:lnTo>
                <a:lnTo>
                  <a:pt x="385" y="159"/>
                </a:lnTo>
                <a:lnTo>
                  <a:pt x="383" y="156"/>
                </a:lnTo>
                <a:lnTo>
                  <a:pt x="382" y="158"/>
                </a:lnTo>
                <a:lnTo>
                  <a:pt x="374" y="153"/>
                </a:lnTo>
                <a:lnTo>
                  <a:pt x="365" y="150"/>
                </a:lnTo>
                <a:lnTo>
                  <a:pt x="373" y="158"/>
                </a:lnTo>
                <a:lnTo>
                  <a:pt x="377" y="166"/>
                </a:lnTo>
                <a:lnTo>
                  <a:pt x="372" y="166"/>
                </a:lnTo>
                <a:lnTo>
                  <a:pt x="368" y="161"/>
                </a:lnTo>
                <a:lnTo>
                  <a:pt x="363" y="157"/>
                </a:lnTo>
                <a:lnTo>
                  <a:pt x="357" y="155"/>
                </a:lnTo>
                <a:lnTo>
                  <a:pt x="358" y="159"/>
                </a:lnTo>
                <a:lnTo>
                  <a:pt x="361" y="164"/>
                </a:lnTo>
                <a:lnTo>
                  <a:pt x="363" y="166"/>
                </a:lnTo>
                <a:lnTo>
                  <a:pt x="366" y="169"/>
                </a:lnTo>
                <a:lnTo>
                  <a:pt x="374" y="172"/>
                </a:lnTo>
                <a:lnTo>
                  <a:pt x="379" y="176"/>
                </a:lnTo>
                <a:lnTo>
                  <a:pt x="370" y="175"/>
                </a:lnTo>
                <a:lnTo>
                  <a:pt x="361" y="175"/>
                </a:lnTo>
                <a:lnTo>
                  <a:pt x="350" y="176"/>
                </a:lnTo>
                <a:lnTo>
                  <a:pt x="341" y="176"/>
                </a:lnTo>
                <a:lnTo>
                  <a:pt x="321" y="173"/>
                </a:lnTo>
                <a:lnTo>
                  <a:pt x="302" y="168"/>
                </a:lnTo>
                <a:lnTo>
                  <a:pt x="300" y="176"/>
                </a:lnTo>
                <a:lnTo>
                  <a:pt x="292" y="183"/>
                </a:lnTo>
                <a:lnTo>
                  <a:pt x="299" y="183"/>
                </a:lnTo>
                <a:lnTo>
                  <a:pt x="307" y="181"/>
                </a:lnTo>
                <a:lnTo>
                  <a:pt x="313" y="179"/>
                </a:lnTo>
                <a:lnTo>
                  <a:pt x="320" y="177"/>
                </a:lnTo>
                <a:lnTo>
                  <a:pt x="315" y="184"/>
                </a:lnTo>
                <a:lnTo>
                  <a:pt x="306" y="190"/>
                </a:lnTo>
                <a:lnTo>
                  <a:pt x="323" y="193"/>
                </a:lnTo>
                <a:lnTo>
                  <a:pt x="340" y="197"/>
                </a:lnTo>
                <a:lnTo>
                  <a:pt x="355" y="201"/>
                </a:lnTo>
                <a:lnTo>
                  <a:pt x="370" y="202"/>
                </a:lnTo>
                <a:lnTo>
                  <a:pt x="377" y="205"/>
                </a:lnTo>
                <a:lnTo>
                  <a:pt x="383" y="208"/>
                </a:lnTo>
                <a:lnTo>
                  <a:pt x="387" y="210"/>
                </a:lnTo>
                <a:lnTo>
                  <a:pt x="389" y="213"/>
                </a:lnTo>
                <a:lnTo>
                  <a:pt x="394" y="217"/>
                </a:lnTo>
                <a:lnTo>
                  <a:pt x="398" y="218"/>
                </a:lnTo>
                <a:lnTo>
                  <a:pt x="406" y="221"/>
                </a:lnTo>
                <a:lnTo>
                  <a:pt x="414" y="224"/>
                </a:lnTo>
                <a:lnTo>
                  <a:pt x="422" y="226"/>
                </a:lnTo>
                <a:lnTo>
                  <a:pt x="430" y="227"/>
                </a:lnTo>
                <a:lnTo>
                  <a:pt x="435" y="229"/>
                </a:lnTo>
                <a:lnTo>
                  <a:pt x="439" y="231"/>
                </a:lnTo>
                <a:lnTo>
                  <a:pt x="443" y="236"/>
                </a:lnTo>
                <a:lnTo>
                  <a:pt x="447" y="240"/>
                </a:lnTo>
                <a:lnTo>
                  <a:pt x="455" y="241"/>
                </a:lnTo>
                <a:lnTo>
                  <a:pt x="463" y="241"/>
                </a:lnTo>
                <a:lnTo>
                  <a:pt x="472" y="247"/>
                </a:lnTo>
                <a:lnTo>
                  <a:pt x="480" y="254"/>
                </a:lnTo>
                <a:lnTo>
                  <a:pt x="488" y="257"/>
                </a:lnTo>
                <a:lnTo>
                  <a:pt x="495" y="262"/>
                </a:lnTo>
                <a:lnTo>
                  <a:pt x="498" y="265"/>
                </a:lnTo>
                <a:lnTo>
                  <a:pt x="504" y="266"/>
                </a:lnTo>
                <a:lnTo>
                  <a:pt x="510" y="265"/>
                </a:lnTo>
                <a:lnTo>
                  <a:pt x="514" y="267"/>
                </a:lnTo>
                <a:lnTo>
                  <a:pt x="510" y="271"/>
                </a:lnTo>
                <a:lnTo>
                  <a:pt x="508" y="274"/>
                </a:lnTo>
                <a:lnTo>
                  <a:pt x="513" y="275"/>
                </a:lnTo>
                <a:lnTo>
                  <a:pt x="518" y="274"/>
                </a:lnTo>
                <a:lnTo>
                  <a:pt x="520" y="277"/>
                </a:lnTo>
                <a:lnTo>
                  <a:pt x="517" y="280"/>
                </a:lnTo>
                <a:lnTo>
                  <a:pt x="518" y="283"/>
                </a:lnTo>
                <a:lnTo>
                  <a:pt x="520" y="284"/>
                </a:lnTo>
                <a:lnTo>
                  <a:pt x="525" y="284"/>
                </a:lnTo>
                <a:lnTo>
                  <a:pt x="529" y="285"/>
                </a:lnTo>
                <a:lnTo>
                  <a:pt x="530" y="287"/>
                </a:lnTo>
                <a:lnTo>
                  <a:pt x="530" y="288"/>
                </a:lnTo>
                <a:lnTo>
                  <a:pt x="534" y="290"/>
                </a:lnTo>
                <a:lnTo>
                  <a:pt x="536" y="291"/>
                </a:lnTo>
                <a:lnTo>
                  <a:pt x="541" y="293"/>
                </a:lnTo>
                <a:lnTo>
                  <a:pt x="545" y="294"/>
                </a:lnTo>
                <a:lnTo>
                  <a:pt x="551" y="293"/>
                </a:lnTo>
                <a:lnTo>
                  <a:pt x="556" y="293"/>
                </a:lnTo>
                <a:lnTo>
                  <a:pt x="558" y="292"/>
                </a:lnTo>
                <a:lnTo>
                  <a:pt x="559" y="292"/>
                </a:lnTo>
                <a:lnTo>
                  <a:pt x="561" y="296"/>
                </a:lnTo>
                <a:lnTo>
                  <a:pt x="562" y="299"/>
                </a:lnTo>
                <a:lnTo>
                  <a:pt x="552" y="299"/>
                </a:lnTo>
                <a:lnTo>
                  <a:pt x="542" y="302"/>
                </a:lnTo>
                <a:lnTo>
                  <a:pt x="546" y="305"/>
                </a:lnTo>
                <a:lnTo>
                  <a:pt x="554" y="305"/>
                </a:lnTo>
                <a:lnTo>
                  <a:pt x="553" y="309"/>
                </a:lnTo>
                <a:lnTo>
                  <a:pt x="550" y="313"/>
                </a:lnTo>
                <a:lnTo>
                  <a:pt x="546" y="313"/>
                </a:lnTo>
                <a:lnTo>
                  <a:pt x="543" y="315"/>
                </a:lnTo>
                <a:lnTo>
                  <a:pt x="551" y="315"/>
                </a:lnTo>
                <a:lnTo>
                  <a:pt x="559" y="316"/>
                </a:lnTo>
                <a:lnTo>
                  <a:pt x="564" y="316"/>
                </a:lnTo>
                <a:lnTo>
                  <a:pt x="569" y="319"/>
                </a:lnTo>
                <a:lnTo>
                  <a:pt x="584" y="322"/>
                </a:lnTo>
                <a:lnTo>
                  <a:pt x="597" y="318"/>
                </a:lnTo>
                <a:lnTo>
                  <a:pt x="588" y="326"/>
                </a:lnTo>
                <a:lnTo>
                  <a:pt x="576" y="329"/>
                </a:lnTo>
                <a:lnTo>
                  <a:pt x="580" y="331"/>
                </a:lnTo>
                <a:lnTo>
                  <a:pt x="584" y="337"/>
                </a:lnTo>
                <a:lnTo>
                  <a:pt x="586" y="337"/>
                </a:lnTo>
                <a:lnTo>
                  <a:pt x="588" y="337"/>
                </a:lnTo>
                <a:lnTo>
                  <a:pt x="579" y="337"/>
                </a:lnTo>
                <a:lnTo>
                  <a:pt x="570" y="339"/>
                </a:lnTo>
                <a:lnTo>
                  <a:pt x="597" y="342"/>
                </a:lnTo>
                <a:lnTo>
                  <a:pt x="625" y="350"/>
                </a:lnTo>
                <a:lnTo>
                  <a:pt x="614" y="350"/>
                </a:lnTo>
                <a:lnTo>
                  <a:pt x="604" y="350"/>
                </a:lnTo>
                <a:lnTo>
                  <a:pt x="627" y="357"/>
                </a:lnTo>
                <a:lnTo>
                  <a:pt x="647" y="365"/>
                </a:lnTo>
                <a:lnTo>
                  <a:pt x="632" y="365"/>
                </a:lnTo>
                <a:lnTo>
                  <a:pt x="616" y="365"/>
                </a:lnTo>
                <a:lnTo>
                  <a:pt x="619" y="367"/>
                </a:lnTo>
                <a:lnTo>
                  <a:pt x="622" y="370"/>
                </a:lnTo>
                <a:lnTo>
                  <a:pt x="624" y="372"/>
                </a:lnTo>
                <a:lnTo>
                  <a:pt x="624" y="373"/>
                </a:lnTo>
                <a:lnTo>
                  <a:pt x="626" y="375"/>
                </a:lnTo>
                <a:lnTo>
                  <a:pt x="627" y="376"/>
                </a:lnTo>
                <a:lnTo>
                  <a:pt x="633" y="376"/>
                </a:lnTo>
                <a:lnTo>
                  <a:pt x="638" y="376"/>
                </a:lnTo>
                <a:lnTo>
                  <a:pt x="642" y="376"/>
                </a:lnTo>
                <a:lnTo>
                  <a:pt x="645" y="377"/>
                </a:lnTo>
                <a:lnTo>
                  <a:pt x="647" y="379"/>
                </a:lnTo>
                <a:lnTo>
                  <a:pt x="647" y="381"/>
                </a:lnTo>
                <a:lnTo>
                  <a:pt x="647" y="384"/>
                </a:lnTo>
                <a:lnTo>
                  <a:pt x="650" y="387"/>
                </a:lnTo>
                <a:lnTo>
                  <a:pt x="653" y="388"/>
                </a:lnTo>
                <a:lnTo>
                  <a:pt x="657" y="389"/>
                </a:lnTo>
                <a:lnTo>
                  <a:pt x="665" y="392"/>
                </a:lnTo>
                <a:lnTo>
                  <a:pt x="666" y="401"/>
                </a:lnTo>
                <a:lnTo>
                  <a:pt x="661" y="401"/>
                </a:lnTo>
                <a:lnTo>
                  <a:pt x="657" y="401"/>
                </a:lnTo>
                <a:lnTo>
                  <a:pt x="654" y="397"/>
                </a:lnTo>
                <a:lnTo>
                  <a:pt x="653" y="391"/>
                </a:lnTo>
                <a:lnTo>
                  <a:pt x="645" y="393"/>
                </a:lnTo>
                <a:lnTo>
                  <a:pt x="641" y="387"/>
                </a:lnTo>
                <a:lnTo>
                  <a:pt x="644" y="387"/>
                </a:lnTo>
                <a:lnTo>
                  <a:pt x="645" y="383"/>
                </a:lnTo>
                <a:lnTo>
                  <a:pt x="643" y="381"/>
                </a:lnTo>
                <a:lnTo>
                  <a:pt x="638" y="382"/>
                </a:lnTo>
                <a:lnTo>
                  <a:pt x="632" y="381"/>
                </a:lnTo>
                <a:lnTo>
                  <a:pt x="627" y="384"/>
                </a:lnTo>
                <a:lnTo>
                  <a:pt x="627" y="387"/>
                </a:lnTo>
                <a:lnTo>
                  <a:pt x="625" y="389"/>
                </a:lnTo>
                <a:lnTo>
                  <a:pt x="621" y="389"/>
                </a:lnTo>
                <a:lnTo>
                  <a:pt x="618" y="388"/>
                </a:lnTo>
                <a:lnTo>
                  <a:pt x="611" y="387"/>
                </a:lnTo>
                <a:lnTo>
                  <a:pt x="605" y="391"/>
                </a:lnTo>
                <a:lnTo>
                  <a:pt x="603" y="387"/>
                </a:lnTo>
                <a:lnTo>
                  <a:pt x="601" y="381"/>
                </a:lnTo>
                <a:lnTo>
                  <a:pt x="589" y="385"/>
                </a:lnTo>
                <a:lnTo>
                  <a:pt x="579" y="379"/>
                </a:lnTo>
                <a:lnTo>
                  <a:pt x="574" y="384"/>
                </a:lnTo>
                <a:lnTo>
                  <a:pt x="567" y="384"/>
                </a:lnTo>
                <a:lnTo>
                  <a:pt x="564" y="382"/>
                </a:lnTo>
                <a:lnTo>
                  <a:pt x="566" y="379"/>
                </a:lnTo>
                <a:lnTo>
                  <a:pt x="567" y="377"/>
                </a:lnTo>
                <a:lnTo>
                  <a:pt x="568" y="375"/>
                </a:lnTo>
                <a:lnTo>
                  <a:pt x="567" y="374"/>
                </a:lnTo>
                <a:lnTo>
                  <a:pt x="567" y="372"/>
                </a:lnTo>
                <a:lnTo>
                  <a:pt x="567" y="366"/>
                </a:lnTo>
                <a:lnTo>
                  <a:pt x="566" y="363"/>
                </a:lnTo>
                <a:lnTo>
                  <a:pt x="563" y="362"/>
                </a:lnTo>
                <a:lnTo>
                  <a:pt x="561" y="363"/>
                </a:lnTo>
                <a:lnTo>
                  <a:pt x="560" y="364"/>
                </a:lnTo>
                <a:lnTo>
                  <a:pt x="559" y="364"/>
                </a:lnTo>
                <a:lnTo>
                  <a:pt x="556" y="364"/>
                </a:lnTo>
                <a:lnTo>
                  <a:pt x="556" y="362"/>
                </a:lnTo>
                <a:lnTo>
                  <a:pt x="556" y="356"/>
                </a:lnTo>
                <a:lnTo>
                  <a:pt x="555" y="351"/>
                </a:lnTo>
                <a:lnTo>
                  <a:pt x="551" y="357"/>
                </a:lnTo>
                <a:lnTo>
                  <a:pt x="550" y="366"/>
                </a:lnTo>
                <a:lnTo>
                  <a:pt x="547" y="376"/>
                </a:lnTo>
                <a:lnTo>
                  <a:pt x="543" y="384"/>
                </a:lnTo>
                <a:lnTo>
                  <a:pt x="538" y="380"/>
                </a:lnTo>
                <a:lnTo>
                  <a:pt x="541" y="370"/>
                </a:lnTo>
                <a:lnTo>
                  <a:pt x="542" y="359"/>
                </a:lnTo>
                <a:lnTo>
                  <a:pt x="541" y="349"/>
                </a:lnTo>
                <a:lnTo>
                  <a:pt x="536" y="367"/>
                </a:lnTo>
                <a:lnTo>
                  <a:pt x="530" y="385"/>
                </a:lnTo>
                <a:lnTo>
                  <a:pt x="527" y="373"/>
                </a:lnTo>
                <a:lnTo>
                  <a:pt x="528" y="359"/>
                </a:lnTo>
                <a:lnTo>
                  <a:pt x="528" y="348"/>
                </a:lnTo>
                <a:lnTo>
                  <a:pt x="522" y="341"/>
                </a:lnTo>
                <a:lnTo>
                  <a:pt x="520" y="343"/>
                </a:lnTo>
                <a:lnTo>
                  <a:pt x="517" y="342"/>
                </a:lnTo>
                <a:lnTo>
                  <a:pt x="517" y="339"/>
                </a:lnTo>
                <a:lnTo>
                  <a:pt x="514" y="337"/>
                </a:lnTo>
                <a:lnTo>
                  <a:pt x="510" y="339"/>
                </a:lnTo>
                <a:lnTo>
                  <a:pt x="506" y="341"/>
                </a:lnTo>
                <a:lnTo>
                  <a:pt x="504" y="338"/>
                </a:lnTo>
                <a:lnTo>
                  <a:pt x="501" y="333"/>
                </a:lnTo>
                <a:lnTo>
                  <a:pt x="497" y="345"/>
                </a:lnTo>
                <a:lnTo>
                  <a:pt x="497" y="356"/>
                </a:lnTo>
                <a:lnTo>
                  <a:pt x="498" y="360"/>
                </a:lnTo>
                <a:lnTo>
                  <a:pt x="497" y="365"/>
                </a:lnTo>
                <a:lnTo>
                  <a:pt x="494" y="366"/>
                </a:lnTo>
                <a:lnTo>
                  <a:pt x="490" y="364"/>
                </a:lnTo>
                <a:lnTo>
                  <a:pt x="488" y="357"/>
                </a:lnTo>
                <a:lnTo>
                  <a:pt x="489" y="349"/>
                </a:lnTo>
                <a:lnTo>
                  <a:pt x="489" y="338"/>
                </a:lnTo>
                <a:lnTo>
                  <a:pt x="486" y="326"/>
                </a:lnTo>
                <a:lnTo>
                  <a:pt x="484" y="342"/>
                </a:lnTo>
                <a:lnTo>
                  <a:pt x="482" y="358"/>
                </a:lnTo>
                <a:lnTo>
                  <a:pt x="479" y="356"/>
                </a:lnTo>
                <a:lnTo>
                  <a:pt x="476" y="354"/>
                </a:lnTo>
                <a:lnTo>
                  <a:pt x="470" y="352"/>
                </a:lnTo>
                <a:lnTo>
                  <a:pt x="465" y="351"/>
                </a:lnTo>
                <a:lnTo>
                  <a:pt x="461" y="341"/>
                </a:lnTo>
                <a:lnTo>
                  <a:pt x="460" y="331"/>
                </a:lnTo>
                <a:lnTo>
                  <a:pt x="460" y="326"/>
                </a:lnTo>
                <a:lnTo>
                  <a:pt x="456" y="326"/>
                </a:lnTo>
                <a:lnTo>
                  <a:pt x="453" y="327"/>
                </a:lnTo>
                <a:lnTo>
                  <a:pt x="449" y="327"/>
                </a:lnTo>
                <a:lnTo>
                  <a:pt x="447" y="326"/>
                </a:lnTo>
                <a:lnTo>
                  <a:pt x="446" y="325"/>
                </a:lnTo>
                <a:lnTo>
                  <a:pt x="440" y="326"/>
                </a:lnTo>
                <a:lnTo>
                  <a:pt x="439" y="335"/>
                </a:lnTo>
                <a:lnTo>
                  <a:pt x="437" y="331"/>
                </a:lnTo>
                <a:lnTo>
                  <a:pt x="434" y="326"/>
                </a:lnTo>
                <a:lnTo>
                  <a:pt x="432" y="330"/>
                </a:lnTo>
                <a:lnTo>
                  <a:pt x="432" y="334"/>
                </a:lnTo>
                <a:lnTo>
                  <a:pt x="424" y="326"/>
                </a:lnTo>
                <a:lnTo>
                  <a:pt x="419" y="317"/>
                </a:lnTo>
                <a:lnTo>
                  <a:pt x="419" y="314"/>
                </a:lnTo>
                <a:lnTo>
                  <a:pt x="416" y="310"/>
                </a:lnTo>
                <a:lnTo>
                  <a:pt x="413" y="312"/>
                </a:lnTo>
                <a:lnTo>
                  <a:pt x="408" y="313"/>
                </a:lnTo>
                <a:lnTo>
                  <a:pt x="401" y="309"/>
                </a:lnTo>
                <a:lnTo>
                  <a:pt x="394" y="306"/>
                </a:lnTo>
                <a:lnTo>
                  <a:pt x="394" y="309"/>
                </a:lnTo>
                <a:lnTo>
                  <a:pt x="391" y="310"/>
                </a:lnTo>
                <a:lnTo>
                  <a:pt x="388" y="307"/>
                </a:lnTo>
                <a:lnTo>
                  <a:pt x="385" y="304"/>
                </a:lnTo>
                <a:lnTo>
                  <a:pt x="385" y="308"/>
                </a:lnTo>
                <a:lnTo>
                  <a:pt x="385" y="313"/>
                </a:lnTo>
                <a:lnTo>
                  <a:pt x="380" y="308"/>
                </a:lnTo>
                <a:lnTo>
                  <a:pt x="374" y="304"/>
                </a:lnTo>
                <a:lnTo>
                  <a:pt x="370" y="301"/>
                </a:lnTo>
                <a:lnTo>
                  <a:pt x="363" y="299"/>
                </a:lnTo>
                <a:lnTo>
                  <a:pt x="345" y="296"/>
                </a:lnTo>
                <a:lnTo>
                  <a:pt x="327" y="292"/>
                </a:lnTo>
                <a:lnTo>
                  <a:pt x="322" y="290"/>
                </a:lnTo>
                <a:lnTo>
                  <a:pt x="319" y="289"/>
                </a:lnTo>
                <a:lnTo>
                  <a:pt x="316" y="291"/>
                </a:lnTo>
                <a:lnTo>
                  <a:pt x="314" y="293"/>
                </a:lnTo>
                <a:lnTo>
                  <a:pt x="312" y="289"/>
                </a:lnTo>
                <a:lnTo>
                  <a:pt x="307" y="284"/>
                </a:lnTo>
                <a:lnTo>
                  <a:pt x="305" y="284"/>
                </a:lnTo>
                <a:lnTo>
                  <a:pt x="303" y="287"/>
                </a:lnTo>
                <a:lnTo>
                  <a:pt x="299" y="289"/>
                </a:lnTo>
                <a:lnTo>
                  <a:pt x="296" y="288"/>
                </a:lnTo>
                <a:lnTo>
                  <a:pt x="289" y="288"/>
                </a:lnTo>
                <a:lnTo>
                  <a:pt x="282" y="290"/>
                </a:lnTo>
                <a:lnTo>
                  <a:pt x="303" y="302"/>
                </a:lnTo>
                <a:lnTo>
                  <a:pt x="324" y="310"/>
                </a:lnTo>
                <a:lnTo>
                  <a:pt x="347" y="321"/>
                </a:lnTo>
                <a:lnTo>
                  <a:pt x="370" y="331"/>
                </a:lnTo>
                <a:lnTo>
                  <a:pt x="380" y="335"/>
                </a:lnTo>
                <a:lnTo>
                  <a:pt x="389" y="342"/>
                </a:lnTo>
                <a:lnTo>
                  <a:pt x="399" y="346"/>
                </a:lnTo>
                <a:lnTo>
                  <a:pt x="411" y="346"/>
                </a:lnTo>
                <a:lnTo>
                  <a:pt x="413" y="349"/>
                </a:lnTo>
                <a:lnTo>
                  <a:pt x="411" y="352"/>
                </a:lnTo>
                <a:lnTo>
                  <a:pt x="415" y="355"/>
                </a:lnTo>
                <a:lnTo>
                  <a:pt x="421" y="356"/>
                </a:lnTo>
                <a:lnTo>
                  <a:pt x="426" y="359"/>
                </a:lnTo>
                <a:lnTo>
                  <a:pt x="432" y="360"/>
                </a:lnTo>
                <a:lnTo>
                  <a:pt x="429" y="363"/>
                </a:lnTo>
                <a:lnTo>
                  <a:pt x="426" y="364"/>
                </a:lnTo>
                <a:lnTo>
                  <a:pt x="430" y="366"/>
                </a:lnTo>
                <a:lnTo>
                  <a:pt x="431" y="371"/>
                </a:lnTo>
                <a:lnTo>
                  <a:pt x="428" y="375"/>
                </a:lnTo>
                <a:lnTo>
                  <a:pt x="422" y="375"/>
                </a:lnTo>
                <a:lnTo>
                  <a:pt x="419" y="376"/>
                </a:lnTo>
                <a:lnTo>
                  <a:pt x="415" y="376"/>
                </a:lnTo>
                <a:lnTo>
                  <a:pt x="413" y="375"/>
                </a:lnTo>
                <a:lnTo>
                  <a:pt x="410" y="375"/>
                </a:lnTo>
                <a:lnTo>
                  <a:pt x="408" y="375"/>
                </a:lnTo>
                <a:lnTo>
                  <a:pt x="408" y="375"/>
                </a:lnTo>
                <a:lnTo>
                  <a:pt x="408" y="377"/>
                </a:lnTo>
                <a:lnTo>
                  <a:pt x="406" y="381"/>
                </a:lnTo>
                <a:lnTo>
                  <a:pt x="404" y="375"/>
                </a:lnTo>
                <a:lnTo>
                  <a:pt x="399" y="372"/>
                </a:lnTo>
                <a:lnTo>
                  <a:pt x="398" y="375"/>
                </a:lnTo>
                <a:lnTo>
                  <a:pt x="396" y="379"/>
                </a:lnTo>
                <a:lnTo>
                  <a:pt x="389" y="380"/>
                </a:lnTo>
                <a:lnTo>
                  <a:pt x="382" y="379"/>
                </a:lnTo>
                <a:lnTo>
                  <a:pt x="375" y="376"/>
                </a:lnTo>
                <a:lnTo>
                  <a:pt x="370" y="374"/>
                </a:lnTo>
                <a:lnTo>
                  <a:pt x="365" y="372"/>
                </a:lnTo>
                <a:lnTo>
                  <a:pt x="362" y="371"/>
                </a:lnTo>
                <a:lnTo>
                  <a:pt x="360" y="372"/>
                </a:lnTo>
                <a:lnTo>
                  <a:pt x="358" y="375"/>
                </a:lnTo>
                <a:lnTo>
                  <a:pt x="355" y="375"/>
                </a:lnTo>
                <a:lnTo>
                  <a:pt x="350" y="375"/>
                </a:lnTo>
                <a:lnTo>
                  <a:pt x="349" y="375"/>
                </a:lnTo>
                <a:lnTo>
                  <a:pt x="347" y="375"/>
                </a:lnTo>
                <a:lnTo>
                  <a:pt x="346" y="374"/>
                </a:lnTo>
                <a:lnTo>
                  <a:pt x="344" y="373"/>
                </a:lnTo>
                <a:lnTo>
                  <a:pt x="337" y="371"/>
                </a:lnTo>
                <a:lnTo>
                  <a:pt x="331" y="368"/>
                </a:lnTo>
                <a:lnTo>
                  <a:pt x="331" y="372"/>
                </a:lnTo>
                <a:lnTo>
                  <a:pt x="331" y="374"/>
                </a:lnTo>
                <a:lnTo>
                  <a:pt x="329" y="375"/>
                </a:lnTo>
                <a:lnTo>
                  <a:pt x="324" y="374"/>
                </a:lnTo>
                <a:lnTo>
                  <a:pt x="316" y="370"/>
                </a:lnTo>
                <a:lnTo>
                  <a:pt x="308" y="368"/>
                </a:lnTo>
                <a:lnTo>
                  <a:pt x="307" y="371"/>
                </a:lnTo>
                <a:lnTo>
                  <a:pt x="305" y="373"/>
                </a:lnTo>
                <a:lnTo>
                  <a:pt x="302" y="373"/>
                </a:lnTo>
                <a:lnTo>
                  <a:pt x="299" y="372"/>
                </a:lnTo>
                <a:lnTo>
                  <a:pt x="290" y="371"/>
                </a:lnTo>
                <a:lnTo>
                  <a:pt x="282" y="368"/>
                </a:lnTo>
                <a:lnTo>
                  <a:pt x="282" y="372"/>
                </a:lnTo>
                <a:lnTo>
                  <a:pt x="283" y="374"/>
                </a:lnTo>
                <a:lnTo>
                  <a:pt x="282" y="375"/>
                </a:lnTo>
                <a:lnTo>
                  <a:pt x="280" y="374"/>
                </a:lnTo>
                <a:lnTo>
                  <a:pt x="278" y="373"/>
                </a:lnTo>
                <a:lnTo>
                  <a:pt x="276" y="373"/>
                </a:lnTo>
                <a:lnTo>
                  <a:pt x="274" y="375"/>
                </a:lnTo>
                <a:lnTo>
                  <a:pt x="272" y="376"/>
                </a:lnTo>
                <a:lnTo>
                  <a:pt x="266" y="374"/>
                </a:lnTo>
                <a:lnTo>
                  <a:pt x="261" y="372"/>
                </a:lnTo>
                <a:lnTo>
                  <a:pt x="255" y="372"/>
                </a:lnTo>
                <a:lnTo>
                  <a:pt x="249" y="372"/>
                </a:lnTo>
                <a:lnTo>
                  <a:pt x="237" y="374"/>
                </a:lnTo>
                <a:lnTo>
                  <a:pt x="224" y="376"/>
                </a:lnTo>
                <a:lnTo>
                  <a:pt x="200" y="380"/>
                </a:lnTo>
                <a:lnTo>
                  <a:pt x="174" y="382"/>
                </a:lnTo>
                <a:lnTo>
                  <a:pt x="169" y="383"/>
                </a:lnTo>
                <a:lnTo>
                  <a:pt x="165" y="388"/>
                </a:lnTo>
                <a:lnTo>
                  <a:pt x="162" y="389"/>
                </a:lnTo>
                <a:lnTo>
                  <a:pt x="157" y="389"/>
                </a:lnTo>
                <a:lnTo>
                  <a:pt x="152" y="392"/>
                </a:lnTo>
                <a:lnTo>
                  <a:pt x="148" y="395"/>
                </a:lnTo>
                <a:lnTo>
                  <a:pt x="163" y="399"/>
                </a:lnTo>
                <a:lnTo>
                  <a:pt x="177" y="399"/>
                </a:lnTo>
                <a:lnTo>
                  <a:pt x="163" y="402"/>
                </a:lnTo>
                <a:lnTo>
                  <a:pt x="152" y="408"/>
                </a:lnTo>
                <a:lnTo>
                  <a:pt x="160" y="415"/>
                </a:lnTo>
                <a:lnTo>
                  <a:pt x="171" y="412"/>
                </a:lnTo>
                <a:lnTo>
                  <a:pt x="175" y="408"/>
                </a:lnTo>
                <a:lnTo>
                  <a:pt x="181" y="406"/>
                </a:lnTo>
                <a:lnTo>
                  <a:pt x="182" y="408"/>
                </a:lnTo>
                <a:lnTo>
                  <a:pt x="184" y="412"/>
                </a:lnTo>
                <a:lnTo>
                  <a:pt x="188" y="413"/>
                </a:lnTo>
                <a:lnTo>
                  <a:pt x="191" y="413"/>
                </a:lnTo>
                <a:lnTo>
                  <a:pt x="201" y="412"/>
                </a:lnTo>
                <a:lnTo>
                  <a:pt x="210" y="408"/>
                </a:lnTo>
                <a:lnTo>
                  <a:pt x="214" y="406"/>
                </a:lnTo>
                <a:lnTo>
                  <a:pt x="216" y="405"/>
                </a:lnTo>
                <a:lnTo>
                  <a:pt x="218" y="405"/>
                </a:lnTo>
                <a:lnTo>
                  <a:pt x="220" y="405"/>
                </a:lnTo>
                <a:lnTo>
                  <a:pt x="220" y="408"/>
                </a:lnTo>
                <a:lnTo>
                  <a:pt x="218" y="410"/>
                </a:lnTo>
                <a:lnTo>
                  <a:pt x="222" y="412"/>
                </a:lnTo>
                <a:lnTo>
                  <a:pt x="225" y="410"/>
                </a:lnTo>
                <a:lnTo>
                  <a:pt x="229" y="410"/>
                </a:lnTo>
                <a:lnTo>
                  <a:pt x="233" y="412"/>
                </a:lnTo>
                <a:lnTo>
                  <a:pt x="240" y="412"/>
                </a:lnTo>
                <a:lnTo>
                  <a:pt x="247" y="412"/>
                </a:lnTo>
                <a:lnTo>
                  <a:pt x="254" y="412"/>
                </a:lnTo>
                <a:lnTo>
                  <a:pt x="261" y="410"/>
                </a:lnTo>
                <a:lnTo>
                  <a:pt x="263" y="409"/>
                </a:lnTo>
                <a:lnTo>
                  <a:pt x="265" y="412"/>
                </a:lnTo>
                <a:lnTo>
                  <a:pt x="268" y="413"/>
                </a:lnTo>
                <a:lnTo>
                  <a:pt x="272" y="413"/>
                </a:lnTo>
                <a:lnTo>
                  <a:pt x="278" y="409"/>
                </a:lnTo>
                <a:lnTo>
                  <a:pt x="284" y="407"/>
                </a:lnTo>
                <a:lnTo>
                  <a:pt x="287" y="408"/>
                </a:lnTo>
                <a:lnTo>
                  <a:pt x="284" y="414"/>
                </a:lnTo>
                <a:lnTo>
                  <a:pt x="294" y="414"/>
                </a:lnTo>
                <a:lnTo>
                  <a:pt x="302" y="415"/>
                </a:lnTo>
                <a:lnTo>
                  <a:pt x="300" y="417"/>
                </a:lnTo>
                <a:lnTo>
                  <a:pt x="298" y="420"/>
                </a:lnTo>
                <a:lnTo>
                  <a:pt x="313" y="420"/>
                </a:lnTo>
                <a:lnTo>
                  <a:pt x="325" y="421"/>
                </a:lnTo>
                <a:lnTo>
                  <a:pt x="329" y="422"/>
                </a:lnTo>
                <a:lnTo>
                  <a:pt x="328" y="425"/>
                </a:lnTo>
                <a:lnTo>
                  <a:pt x="324" y="429"/>
                </a:lnTo>
                <a:lnTo>
                  <a:pt x="324" y="433"/>
                </a:lnTo>
                <a:lnTo>
                  <a:pt x="335" y="428"/>
                </a:lnTo>
                <a:lnTo>
                  <a:pt x="346" y="428"/>
                </a:lnTo>
                <a:lnTo>
                  <a:pt x="347" y="433"/>
                </a:lnTo>
                <a:lnTo>
                  <a:pt x="350" y="437"/>
                </a:lnTo>
                <a:lnTo>
                  <a:pt x="364" y="432"/>
                </a:lnTo>
                <a:lnTo>
                  <a:pt x="377" y="428"/>
                </a:lnTo>
                <a:lnTo>
                  <a:pt x="389" y="423"/>
                </a:lnTo>
                <a:lnTo>
                  <a:pt x="402" y="424"/>
                </a:lnTo>
                <a:lnTo>
                  <a:pt x="395" y="428"/>
                </a:lnTo>
                <a:lnTo>
                  <a:pt x="389" y="432"/>
                </a:lnTo>
                <a:lnTo>
                  <a:pt x="393" y="433"/>
                </a:lnTo>
                <a:lnTo>
                  <a:pt x="398" y="432"/>
                </a:lnTo>
                <a:lnTo>
                  <a:pt x="399" y="432"/>
                </a:lnTo>
                <a:lnTo>
                  <a:pt x="399" y="434"/>
                </a:lnTo>
                <a:lnTo>
                  <a:pt x="399" y="434"/>
                </a:lnTo>
                <a:lnTo>
                  <a:pt x="399" y="434"/>
                </a:lnTo>
                <a:lnTo>
                  <a:pt x="402" y="433"/>
                </a:lnTo>
                <a:lnTo>
                  <a:pt x="403" y="432"/>
                </a:lnTo>
                <a:lnTo>
                  <a:pt x="406" y="433"/>
                </a:lnTo>
                <a:lnTo>
                  <a:pt x="408" y="434"/>
                </a:lnTo>
                <a:lnTo>
                  <a:pt x="412" y="438"/>
                </a:lnTo>
                <a:lnTo>
                  <a:pt x="415" y="440"/>
                </a:lnTo>
                <a:lnTo>
                  <a:pt x="408" y="442"/>
                </a:lnTo>
                <a:lnTo>
                  <a:pt x="402" y="445"/>
                </a:lnTo>
                <a:lnTo>
                  <a:pt x="407" y="448"/>
                </a:lnTo>
                <a:lnTo>
                  <a:pt x="413" y="451"/>
                </a:lnTo>
                <a:lnTo>
                  <a:pt x="402" y="456"/>
                </a:lnTo>
                <a:lnTo>
                  <a:pt x="390" y="460"/>
                </a:lnTo>
                <a:lnTo>
                  <a:pt x="394" y="463"/>
                </a:lnTo>
                <a:lnTo>
                  <a:pt x="397" y="466"/>
                </a:lnTo>
                <a:lnTo>
                  <a:pt x="391" y="470"/>
                </a:lnTo>
                <a:lnTo>
                  <a:pt x="389" y="475"/>
                </a:lnTo>
                <a:lnTo>
                  <a:pt x="387" y="478"/>
                </a:lnTo>
                <a:lnTo>
                  <a:pt x="385" y="479"/>
                </a:lnTo>
                <a:lnTo>
                  <a:pt x="386" y="481"/>
                </a:lnTo>
                <a:lnTo>
                  <a:pt x="387" y="484"/>
                </a:lnTo>
                <a:lnTo>
                  <a:pt x="382" y="488"/>
                </a:lnTo>
                <a:lnTo>
                  <a:pt x="378" y="490"/>
                </a:lnTo>
                <a:lnTo>
                  <a:pt x="378" y="495"/>
                </a:lnTo>
                <a:lnTo>
                  <a:pt x="381" y="498"/>
                </a:lnTo>
                <a:lnTo>
                  <a:pt x="385" y="496"/>
                </a:lnTo>
                <a:lnTo>
                  <a:pt x="387" y="493"/>
                </a:lnTo>
                <a:lnTo>
                  <a:pt x="386" y="504"/>
                </a:lnTo>
                <a:lnTo>
                  <a:pt x="386" y="513"/>
                </a:lnTo>
                <a:lnTo>
                  <a:pt x="390" y="506"/>
                </a:lnTo>
                <a:lnTo>
                  <a:pt x="395" y="499"/>
                </a:lnTo>
                <a:lnTo>
                  <a:pt x="398" y="499"/>
                </a:lnTo>
                <a:lnTo>
                  <a:pt x="399" y="503"/>
                </a:lnTo>
                <a:lnTo>
                  <a:pt x="405" y="501"/>
                </a:lnTo>
                <a:lnTo>
                  <a:pt x="407" y="495"/>
                </a:lnTo>
                <a:lnTo>
                  <a:pt x="410" y="484"/>
                </a:lnTo>
                <a:lnTo>
                  <a:pt x="413" y="475"/>
                </a:lnTo>
                <a:lnTo>
                  <a:pt x="412" y="484"/>
                </a:lnTo>
                <a:lnTo>
                  <a:pt x="410" y="495"/>
                </a:lnTo>
                <a:lnTo>
                  <a:pt x="410" y="499"/>
                </a:lnTo>
                <a:lnTo>
                  <a:pt x="413" y="501"/>
                </a:lnTo>
                <a:lnTo>
                  <a:pt x="415" y="498"/>
                </a:lnTo>
                <a:lnTo>
                  <a:pt x="416" y="492"/>
                </a:lnTo>
                <a:lnTo>
                  <a:pt x="421" y="490"/>
                </a:lnTo>
                <a:lnTo>
                  <a:pt x="426" y="492"/>
                </a:lnTo>
                <a:lnTo>
                  <a:pt x="429" y="491"/>
                </a:lnTo>
                <a:lnTo>
                  <a:pt x="431" y="488"/>
                </a:lnTo>
                <a:lnTo>
                  <a:pt x="432" y="484"/>
                </a:lnTo>
                <a:lnTo>
                  <a:pt x="434" y="482"/>
                </a:lnTo>
                <a:lnTo>
                  <a:pt x="437" y="483"/>
                </a:lnTo>
                <a:lnTo>
                  <a:pt x="439" y="484"/>
                </a:lnTo>
                <a:lnTo>
                  <a:pt x="443" y="481"/>
                </a:lnTo>
                <a:lnTo>
                  <a:pt x="445" y="476"/>
                </a:lnTo>
                <a:lnTo>
                  <a:pt x="447" y="471"/>
                </a:lnTo>
                <a:lnTo>
                  <a:pt x="452" y="466"/>
                </a:lnTo>
                <a:lnTo>
                  <a:pt x="452" y="467"/>
                </a:lnTo>
                <a:lnTo>
                  <a:pt x="452" y="466"/>
                </a:lnTo>
                <a:lnTo>
                  <a:pt x="452" y="464"/>
                </a:lnTo>
                <a:lnTo>
                  <a:pt x="453" y="460"/>
                </a:lnTo>
                <a:lnTo>
                  <a:pt x="454" y="464"/>
                </a:lnTo>
                <a:lnTo>
                  <a:pt x="453" y="467"/>
                </a:lnTo>
                <a:lnTo>
                  <a:pt x="452" y="470"/>
                </a:lnTo>
                <a:lnTo>
                  <a:pt x="452" y="473"/>
                </a:lnTo>
                <a:lnTo>
                  <a:pt x="448" y="481"/>
                </a:lnTo>
                <a:lnTo>
                  <a:pt x="449" y="489"/>
                </a:lnTo>
                <a:lnTo>
                  <a:pt x="455" y="483"/>
                </a:lnTo>
                <a:lnTo>
                  <a:pt x="463" y="479"/>
                </a:lnTo>
                <a:lnTo>
                  <a:pt x="471" y="475"/>
                </a:lnTo>
                <a:lnTo>
                  <a:pt x="479" y="472"/>
                </a:lnTo>
                <a:lnTo>
                  <a:pt x="486" y="472"/>
                </a:lnTo>
                <a:lnTo>
                  <a:pt x="493" y="473"/>
                </a:lnTo>
                <a:lnTo>
                  <a:pt x="494" y="479"/>
                </a:lnTo>
                <a:lnTo>
                  <a:pt x="494" y="485"/>
                </a:lnTo>
                <a:lnTo>
                  <a:pt x="508" y="475"/>
                </a:lnTo>
                <a:lnTo>
                  <a:pt x="523" y="470"/>
                </a:lnTo>
                <a:lnTo>
                  <a:pt x="521" y="475"/>
                </a:lnTo>
                <a:lnTo>
                  <a:pt x="520" y="480"/>
                </a:lnTo>
                <a:lnTo>
                  <a:pt x="529" y="474"/>
                </a:lnTo>
                <a:lnTo>
                  <a:pt x="539" y="472"/>
                </a:lnTo>
                <a:lnTo>
                  <a:pt x="539" y="478"/>
                </a:lnTo>
                <a:lnTo>
                  <a:pt x="534" y="483"/>
                </a:lnTo>
                <a:lnTo>
                  <a:pt x="531" y="487"/>
                </a:lnTo>
                <a:lnTo>
                  <a:pt x="530" y="490"/>
                </a:lnTo>
                <a:lnTo>
                  <a:pt x="530" y="493"/>
                </a:lnTo>
                <a:lnTo>
                  <a:pt x="534" y="492"/>
                </a:lnTo>
                <a:lnTo>
                  <a:pt x="535" y="492"/>
                </a:lnTo>
                <a:lnTo>
                  <a:pt x="537" y="491"/>
                </a:lnTo>
                <a:lnTo>
                  <a:pt x="538" y="492"/>
                </a:lnTo>
                <a:lnTo>
                  <a:pt x="541" y="493"/>
                </a:lnTo>
                <a:lnTo>
                  <a:pt x="543" y="493"/>
                </a:lnTo>
                <a:lnTo>
                  <a:pt x="544" y="493"/>
                </a:lnTo>
                <a:lnTo>
                  <a:pt x="545" y="493"/>
                </a:lnTo>
                <a:lnTo>
                  <a:pt x="546" y="492"/>
                </a:lnTo>
                <a:lnTo>
                  <a:pt x="547" y="492"/>
                </a:lnTo>
                <a:lnTo>
                  <a:pt x="548" y="493"/>
                </a:lnTo>
                <a:lnTo>
                  <a:pt x="556" y="492"/>
                </a:lnTo>
                <a:lnTo>
                  <a:pt x="566" y="488"/>
                </a:lnTo>
                <a:lnTo>
                  <a:pt x="570" y="487"/>
                </a:lnTo>
                <a:lnTo>
                  <a:pt x="572" y="490"/>
                </a:lnTo>
                <a:lnTo>
                  <a:pt x="570" y="492"/>
                </a:lnTo>
                <a:lnTo>
                  <a:pt x="568" y="495"/>
                </a:lnTo>
                <a:lnTo>
                  <a:pt x="569" y="498"/>
                </a:lnTo>
                <a:lnTo>
                  <a:pt x="570" y="498"/>
                </a:lnTo>
                <a:lnTo>
                  <a:pt x="571" y="497"/>
                </a:lnTo>
                <a:lnTo>
                  <a:pt x="572" y="496"/>
                </a:lnTo>
                <a:lnTo>
                  <a:pt x="575" y="496"/>
                </a:lnTo>
                <a:lnTo>
                  <a:pt x="577" y="496"/>
                </a:lnTo>
                <a:lnTo>
                  <a:pt x="587" y="493"/>
                </a:lnTo>
                <a:lnTo>
                  <a:pt x="599" y="491"/>
                </a:lnTo>
                <a:lnTo>
                  <a:pt x="596" y="497"/>
                </a:lnTo>
                <a:lnTo>
                  <a:pt x="595" y="504"/>
                </a:lnTo>
                <a:lnTo>
                  <a:pt x="595" y="504"/>
                </a:lnTo>
                <a:lnTo>
                  <a:pt x="595" y="504"/>
                </a:lnTo>
                <a:lnTo>
                  <a:pt x="602" y="506"/>
                </a:lnTo>
                <a:lnTo>
                  <a:pt x="609" y="506"/>
                </a:lnTo>
                <a:lnTo>
                  <a:pt x="619" y="506"/>
                </a:lnTo>
                <a:lnTo>
                  <a:pt x="630" y="507"/>
                </a:lnTo>
                <a:lnTo>
                  <a:pt x="638" y="513"/>
                </a:lnTo>
                <a:lnTo>
                  <a:pt x="643" y="521"/>
                </a:lnTo>
                <a:lnTo>
                  <a:pt x="643" y="523"/>
                </a:lnTo>
                <a:lnTo>
                  <a:pt x="642" y="525"/>
                </a:lnTo>
                <a:lnTo>
                  <a:pt x="641" y="526"/>
                </a:lnTo>
                <a:lnTo>
                  <a:pt x="641" y="528"/>
                </a:lnTo>
                <a:lnTo>
                  <a:pt x="642" y="531"/>
                </a:lnTo>
                <a:lnTo>
                  <a:pt x="645" y="534"/>
                </a:lnTo>
                <a:lnTo>
                  <a:pt x="646" y="529"/>
                </a:lnTo>
                <a:lnTo>
                  <a:pt x="644" y="523"/>
                </a:lnTo>
                <a:lnTo>
                  <a:pt x="649" y="523"/>
                </a:lnTo>
                <a:lnTo>
                  <a:pt x="653" y="521"/>
                </a:lnTo>
                <a:lnTo>
                  <a:pt x="652" y="510"/>
                </a:lnTo>
                <a:lnTo>
                  <a:pt x="647" y="499"/>
                </a:lnTo>
                <a:lnTo>
                  <a:pt x="651" y="503"/>
                </a:lnTo>
                <a:lnTo>
                  <a:pt x="654" y="506"/>
                </a:lnTo>
                <a:lnTo>
                  <a:pt x="657" y="510"/>
                </a:lnTo>
                <a:lnTo>
                  <a:pt x="660" y="513"/>
                </a:lnTo>
                <a:lnTo>
                  <a:pt x="662" y="513"/>
                </a:lnTo>
                <a:lnTo>
                  <a:pt x="665" y="510"/>
                </a:lnTo>
                <a:lnTo>
                  <a:pt x="668" y="508"/>
                </a:lnTo>
                <a:lnTo>
                  <a:pt x="668" y="505"/>
                </a:lnTo>
                <a:lnTo>
                  <a:pt x="674" y="495"/>
                </a:lnTo>
                <a:lnTo>
                  <a:pt x="685" y="492"/>
                </a:lnTo>
                <a:lnTo>
                  <a:pt x="682" y="496"/>
                </a:lnTo>
                <a:lnTo>
                  <a:pt x="680" y="500"/>
                </a:lnTo>
                <a:lnTo>
                  <a:pt x="680" y="504"/>
                </a:lnTo>
                <a:lnTo>
                  <a:pt x="680" y="506"/>
                </a:lnTo>
                <a:lnTo>
                  <a:pt x="679" y="508"/>
                </a:lnTo>
                <a:lnTo>
                  <a:pt x="680" y="509"/>
                </a:lnTo>
                <a:lnTo>
                  <a:pt x="676" y="514"/>
                </a:lnTo>
                <a:lnTo>
                  <a:pt x="674" y="520"/>
                </a:lnTo>
                <a:lnTo>
                  <a:pt x="670" y="521"/>
                </a:lnTo>
                <a:lnTo>
                  <a:pt x="669" y="524"/>
                </a:lnTo>
                <a:lnTo>
                  <a:pt x="668" y="530"/>
                </a:lnTo>
                <a:lnTo>
                  <a:pt x="666" y="533"/>
                </a:lnTo>
                <a:lnTo>
                  <a:pt x="674" y="532"/>
                </a:lnTo>
                <a:lnTo>
                  <a:pt x="678" y="525"/>
                </a:lnTo>
                <a:lnTo>
                  <a:pt x="678" y="529"/>
                </a:lnTo>
                <a:lnTo>
                  <a:pt x="679" y="532"/>
                </a:lnTo>
                <a:lnTo>
                  <a:pt x="683" y="533"/>
                </a:lnTo>
                <a:lnTo>
                  <a:pt x="686" y="532"/>
                </a:lnTo>
                <a:lnTo>
                  <a:pt x="690" y="537"/>
                </a:lnTo>
                <a:lnTo>
                  <a:pt x="690" y="543"/>
                </a:lnTo>
                <a:lnTo>
                  <a:pt x="688" y="550"/>
                </a:lnTo>
                <a:lnTo>
                  <a:pt x="688" y="556"/>
                </a:lnTo>
                <a:lnTo>
                  <a:pt x="687" y="559"/>
                </a:lnTo>
                <a:lnTo>
                  <a:pt x="684" y="558"/>
                </a:lnTo>
                <a:lnTo>
                  <a:pt x="683" y="556"/>
                </a:lnTo>
                <a:lnTo>
                  <a:pt x="680" y="553"/>
                </a:lnTo>
                <a:lnTo>
                  <a:pt x="676" y="554"/>
                </a:lnTo>
                <a:lnTo>
                  <a:pt x="670" y="554"/>
                </a:lnTo>
                <a:lnTo>
                  <a:pt x="667" y="558"/>
                </a:lnTo>
                <a:lnTo>
                  <a:pt x="661" y="556"/>
                </a:lnTo>
                <a:lnTo>
                  <a:pt x="661" y="550"/>
                </a:lnTo>
                <a:lnTo>
                  <a:pt x="659" y="548"/>
                </a:lnTo>
                <a:lnTo>
                  <a:pt x="653" y="555"/>
                </a:lnTo>
                <a:lnTo>
                  <a:pt x="650" y="562"/>
                </a:lnTo>
                <a:lnTo>
                  <a:pt x="649" y="571"/>
                </a:lnTo>
                <a:lnTo>
                  <a:pt x="647" y="579"/>
                </a:lnTo>
                <a:lnTo>
                  <a:pt x="643" y="575"/>
                </a:lnTo>
                <a:lnTo>
                  <a:pt x="641" y="572"/>
                </a:lnTo>
                <a:lnTo>
                  <a:pt x="640" y="567"/>
                </a:lnTo>
                <a:lnTo>
                  <a:pt x="641" y="563"/>
                </a:lnTo>
                <a:lnTo>
                  <a:pt x="637" y="558"/>
                </a:lnTo>
                <a:lnTo>
                  <a:pt x="635" y="555"/>
                </a:lnTo>
                <a:lnTo>
                  <a:pt x="635" y="550"/>
                </a:lnTo>
                <a:lnTo>
                  <a:pt x="635" y="545"/>
                </a:lnTo>
                <a:lnTo>
                  <a:pt x="635" y="538"/>
                </a:lnTo>
                <a:lnTo>
                  <a:pt x="634" y="531"/>
                </a:lnTo>
                <a:lnTo>
                  <a:pt x="630" y="530"/>
                </a:lnTo>
                <a:lnTo>
                  <a:pt x="628" y="533"/>
                </a:lnTo>
                <a:lnTo>
                  <a:pt x="629" y="540"/>
                </a:lnTo>
                <a:lnTo>
                  <a:pt x="630" y="546"/>
                </a:lnTo>
                <a:lnTo>
                  <a:pt x="630" y="555"/>
                </a:lnTo>
                <a:lnTo>
                  <a:pt x="628" y="562"/>
                </a:lnTo>
                <a:lnTo>
                  <a:pt x="624" y="546"/>
                </a:lnTo>
                <a:lnTo>
                  <a:pt x="616" y="530"/>
                </a:lnTo>
                <a:lnTo>
                  <a:pt x="619" y="547"/>
                </a:lnTo>
                <a:lnTo>
                  <a:pt x="612" y="555"/>
                </a:lnTo>
                <a:lnTo>
                  <a:pt x="607" y="548"/>
                </a:lnTo>
                <a:lnTo>
                  <a:pt x="603" y="539"/>
                </a:lnTo>
                <a:lnTo>
                  <a:pt x="601" y="531"/>
                </a:lnTo>
                <a:lnTo>
                  <a:pt x="597" y="524"/>
                </a:lnTo>
                <a:lnTo>
                  <a:pt x="594" y="525"/>
                </a:lnTo>
                <a:lnTo>
                  <a:pt x="595" y="530"/>
                </a:lnTo>
                <a:lnTo>
                  <a:pt x="594" y="532"/>
                </a:lnTo>
                <a:lnTo>
                  <a:pt x="592" y="532"/>
                </a:lnTo>
                <a:lnTo>
                  <a:pt x="589" y="531"/>
                </a:lnTo>
                <a:lnTo>
                  <a:pt x="589" y="530"/>
                </a:lnTo>
                <a:lnTo>
                  <a:pt x="589" y="545"/>
                </a:lnTo>
                <a:lnTo>
                  <a:pt x="592" y="562"/>
                </a:lnTo>
                <a:lnTo>
                  <a:pt x="584" y="549"/>
                </a:lnTo>
                <a:lnTo>
                  <a:pt x="579" y="534"/>
                </a:lnTo>
                <a:lnTo>
                  <a:pt x="577" y="524"/>
                </a:lnTo>
                <a:lnTo>
                  <a:pt x="570" y="516"/>
                </a:lnTo>
                <a:lnTo>
                  <a:pt x="572" y="525"/>
                </a:lnTo>
                <a:lnTo>
                  <a:pt x="572" y="533"/>
                </a:lnTo>
                <a:lnTo>
                  <a:pt x="569" y="526"/>
                </a:lnTo>
                <a:lnTo>
                  <a:pt x="564" y="521"/>
                </a:lnTo>
                <a:lnTo>
                  <a:pt x="566" y="532"/>
                </a:lnTo>
                <a:lnTo>
                  <a:pt x="566" y="543"/>
                </a:lnTo>
                <a:lnTo>
                  <a:pt x="559" y="533"/>
                </a:lnTo>
                <a:lnTo>
                  <a:pt x="551" y="525"/>
                </a:lnTo>
                <a:lnTo>
                  <a:pt x="551" y="533"/>
                </a:lnTo>
                <a:lnTo>
                  <a:pt x="546" y="537"/>
                </a:lnTo>
                <a:lnTo>
                  <a:pt x="542" y="531"/>
                </a:lnTo>
                <a:lnTo>
                  <a:pt x="536" y="525"/>
                </a:lnTo>
                <a:lnTo>
                  <a:pt x="535" y="538"/>
                </a:lnTo>
                <a:lnTo>
                  <a:pt x="529" y="548"/>
                </a:lnTo>
                <a:lnTo>
                  <a:pt x="527" y="542"/>
                </a:lnTo>
                <a:lnTo>
                  <a:pt x="528" y="533"/>
                </a:lnTo>
                <a:lnTo>
                  <a:pt x="521" y="528"/>
                </a:lnTo>
                <a:lnTo>
                  <a:pt x="514" y="523"/>
                </a:lnTo>
                <a:lnTo>
                  <a:pt x="504" y="520"/>
                </a:lnTo>
                <a:lnTo>
                  <a:pt x="494" y="523"/>
                </a:lnTo>
                <a:lnTo>
                  <a:pt x="493" y="518"/>
                </a:lnTo>
                <a:lnTo>
                  <a:pt x="492" y="515"/>
                </a:lnTo>
                <a:lnTo>
                  <a:pt x="489" y="518"/>
                </a:lnTo>
                <a:lnTo>
                  <a:pt x="487" y="521"/>
                </a:lnTo>
                <a:lnTo>
                  <a:pt x="482" y="521"/>
                </a:lnTo>
                <a:lnTo>
                  <a:pt x="478" y="521"/>
                </a:lnTo>
                <a:lnTo>
                  <a:pt x="469" y="522"/>
                </a:lnTo>
                <a:lnTo>
                  <a:pt x="462" y="517"/>
                </a:lnTo>
                <a:lnTo>
                  <a:pt x="461" y="523"/>
                </a:lnTo>
                <a:lnTo>
                  <a:pt x="455" y="524"/>
                </a:lnTo>
                <a:lnTo>
                  <a:pt x="452" y="523"/>
                </a:lnTo>
                <a:lnTo>
                  <a:pt x="447" y="524"/>
                </a:lnTo>
                <a:lnTo>
                  <a:pt x="446" y="524"/>
                </a:lnTo>
                <a:lnTo>
                  <a:pt x="444" y="524"/>
                </a:lnTo>
                <a:lnTo>
                  <a:pt x="441" y="524"/>
                </a:lnTo>
                <a:lnTo>
                  <a:pt x="439" y="523"/>
                </a:lnTo>
                <a:lnTo>
                  <a:pt x="436" y="525"/>
                </a:lnTo>
                <a:lnTo>
                  <a:pt x="432" y="526"/>
                </a:lnTo>
                <a:lnTo>
                  <a:pt x="429" y="522"/>
                </a:lnTo>
                <a:lnTo>
                  <a:pt x="423" y="520"/>
                </a:lnTo>
                <a:lnTo>
                  <a:pt x="427" y="526"/>
                </a:lnTo>
                <a:lnTo>
                  <a:pt x="428" y="533"/>
                </a:lnTo>
                <a:lnTo>
                  <a:pt x="419" y="525"/>
                </a:lnTo>
                <a:lnTo>
                  <a:pt x="408" y="522"/>
                </a:lnTo>
                <a:lnTo>
                  <a:pt x="406" y="524"/>
                </a:lnTo>
                <a:lnTo>
                  <a:pt x="405" y="526"/>
                </a:lnTo>
                <a:lnTo>
                  <a:pt x="402" y="526"/>
                </a:lnTo>
                <a:lnTo>
                  <a:pt x="398" y="525"/>
                </a:lnTo>
                <a:lnTo>
                  <a:pt x="402" y="533"/>
                </a:lnTo>
                <a:lnTo>
                  <a:pt x="405" y="540"/>
                </a:lnTo>
                <a:lnTo>
                  <a:pt x="397" y="536"/>
                </a:lnTo>
                <a:lnTo>
                  <a:pt x="388" y="532"/>
                </a:lnTo>
                <a:lnTo>
                  <a:pt x="382" y="529"/>
                </a:lnTo>
                <a:lnTo>
                  <a:pt x="375" y="525"/>
                </a:lnTo>
                <a:lnTo>
                  <a:pt x="370" y="525"/>
                </a:lnTo>
                <a:lnTo>
                  <a:pt x="369" y="530"/>
                </a:lnTo>
                <a:lnTo>
                  <a:pt x="364" y="533"/>
                </a:lnTo>
                <a:lnTo>
                  <a:pt x="360" y="537"/>
                </a:lnTo>
                <a:lnTo>
                  <a:pt x="355" y="537"/>
                </a:lnTo>
                <a:lnTo>
                  <a:pt x="352" y="538"/>
                </a:lnTo>
                <a:lnTo>
                  <a:pt x="349" y="541"/>
                </a:lnTo>
                <a:lnTo>
                  <a:pt x="347" y="545"/>
                </a:lnTo>
                <a:lnTo>
                  <a:pt x="342" y="543"/>
                </a:lnTo>
                <a:lnTo>
                  <a:pt x="338" y="540"/>
                </a:lnTo>
                <a:lnTo>
                  <a:pt x="333" y="541"/>
                </a:lnTo>
                <a:lnTo>
                  <a:pt x="335" y="546"/>
                </a:lnTo>
                <a:lnTo>
                  <a:pt x="340" y="548"/>
                </a:lnTo>
                <a:lnTo>
                  <a:pt x="341" y="554"/>
                </a:lnTo>
                <a:lnTo>
                  <a:pt x="337" y="553"/>
                </a:lnTo>
                <a:lnTo>
                  <a:pt x="331" y="551"/>
                </a:lnTo>
                <a:lnTo>
                  <a:pt x="330" y="549"/>
                </a:lnTo>
                <a:lnTo>
                  <a:pt x="328" y="546"/>
                </a:lnTo>
                <a:lnTo>
                  <a:pt x="325" y="543"/>
                </a:lnTo>
                <a:lnTo>
                  <a:pt x="322" y="542"/>
                </a:lnTo>
                <a:lnTo>
                  <a:pt x="322" y="542"/>
                </a:lnTo>
                <a:lnTo>
                  <a:pt x="322" y="542"/>
                </a:lnTo>
                <a:lnTo>
                  <a:pt x="323" y="543"/>
                </a:lnTo>
                <a:lnTo>
                  <a:pt x="324" y="545"/>
                </a:lnTo>
                <a:lnTo>
                  <a:pt x="324" y="549"/>
                </a:lnTo>
                <a:lnTo>
                  <a:pt x="322" y="554"/>
                </a:lnTo>
                <a:lnTo>
                  <a:pt x="317" y="555"/>
                </a:lnTo>
                <a:lnTo>
                  <a:pt x="311" y="554"/>
                </a:lnTo>
                <a:lnTo>
                  <a:pt x="304" y="553"/>
                </a:lnTo>
                <a:lnTo>
                  <a:pt x="298" y="555"/>
                </a:lnTo>
                <a:lnTo>
                  <a:pt x="299" y="561"/>
                </a:lnTo>
                <a:lnTo>
                  <a:pt x="303" y="565"/>
                </a:lnTo>
                <a:lnTo>
                  <a:pt x="294" y="562"/>
                </a:lnTo>
                <a:lnTo>
                  <a:pt x="284" y="561"/>
                </a:lnTo>
                <a:lnTo>
                  <a:pt x="278" y="561"/>
                </a:lnTo>
                <a:lnTo>
                  <a:pt x="273" y="564"/>
                </a:lnTo>
                <a:lnTo>
                  <a:pt x="275" y="567"/>
                </a:lnTo>
                <a:lnTo>
                  <a:pt x="278" y="571"/>
                </a:lnTo>
                <a:lnTo>
                  <a:pt x="270" y="570"/>
                </a:lnTo>
                <a:lnTo>
                  <a:pt x="262" y="567"/>
                </a:lnTo>
                <a:lnTo>
                  <a:pt x="268" y="575"/>
                </a:lnTo>
                <a:lnTo>
                  <a:pt x="263" y="581"/>
                </a:lnTo>
                <a:lnTo>
                  <a:pt x="258" y="581"/>
                </a:lnTo>
                <a:lnTo>
                  <a:pt x="253" y="579"/>
                </a:lnTo>
                <a:lnTo>
                  <a:pt x="248" y="579"/>
                </a:lnTo>
                <a:lnTo>
                  <a:pt x="246" y="582"/>
                </a:lnTo>
                <a:lnTo>
                  <a:pt x="243" y="584"/>
                </a:lnTo>
                <a:lnTo>
                  <a:pt x="242" y="587"/>
                </a:lnTo>
                <a:lnTo>
                  <a:pt x="241" y="588"/>
                </a:lnTo>
                <a:lnTo>
                  <a:pt x="239" y="589"/>
                </a:lnTo>
                <a:lnTo>
                  <a:pt x="237" y="591"/>
                </a:lnTo>
                <a:lnTo>
                  <a:pt x="237" y="593"/>
                </a:lnTo>
                <a:lnTo>
                  <a:pt x="234" y="598"/>
                </a:lnTo>
                <a:lnTo>
                  <a:pt x="230" y="600"/>
                </a:lnTo>
                <a:lnTo>
                  <a:pt x="224" y="601"/>
                </a:lnTo>
                <a:lnTo>
                  <a:pt x="218" y="604"/>
                </a:lnTo>
                <a:lnTo>
                  <a:pt x="207" y="608"/>
                </a:lnTo>
                <a:lnTo>
                  <a:pt x="197" y="616"/>
                </a:lnTo>
                <a:lnTo>
                  <a:pt x="188" y="628"/>
                </a:lnTo>
                <a:lnTo>
                  <a:pt x="177" y="637"/>
                </a:lnTo>
                <a:lnTo>
                  <a:pt x="168" y="648"/>
                </a:lnTo>
                <a:lnTo>
                  <a:pt x="159" y="658"/>
                </a:lnTo>
                <a:lnTo>
                  <a:pt x="148" y="667"/>
                </a:lnTo>
                <a:lnTo>
                  <a:pt x="136" y="678"/>
                </a:lnTo>
                <a:lnTo>
                  <a:pt x="143" y="676"/>
                </a:lnTo>
                <a:lnTo>
                  <a:pt x="148" y="679"/>
                </a:lnTo>
                <a:lnTo>
                  <a:pt x="146" y="683"/>
                </a:lnTo>
                <a:lnTo>
                  <a:pt x="144" y="688"/>
                </a:lnTo>
                <a:lnTo>
                  <a:pt x="148" y="689"/>
                </a:lnTo>
                <a:lnTo>
                  <a:pt x="152" y="687"/>
                </a:lnTo>
                <a:lnTo>
                  <a:pt x="167" y="671"/>
                </a:lnTo>
                <a:lnTo>
                  <a:pt x="184" y="656"/>
                </a:lnTo>
                <a:lnTo>
                  <a:pt x="196" y="650"/>
                </a:lnTo>
                <a:lnTo>
                  <a:pt x="205" y="642"/>
                </a:lnTo>
                <a:lnTo>
                  <a:pt x="213" y="634"/>
                </a:lnTo>
                <a:lnTo>
                  <a:pt x="223" y="630"/>
                </a:lnTo>
                <a:lnTo>
                  <a:pt x="237" y="625"/>
                </a:lnTo>
                <a:lnTo>
                  <a:pt x="251" y="622"/>
                </a:lnTo>
                <a:lnTo>
                  <a:pt x="262" y="621"/>
                </a:lnTo>
                <a:lnTo>
                  <a:pt x="264" y="613"/>
                </a:lnTo>
                <a:lnTo>
                  <a:pt x="272" y="615"/>
                </a:lnTo>
                <a:lnTo>
                  <a:pt x="276" y="621"/>
                </a:lnTo>
                <a:lnTo>
                  <a:pt x="274" y="624"/>
                </a:lnTo>
                <a:lnTo>
                  <a:pt x="271" y="626"/>
                </a:lnTo>
                <a:lnTo>
                  <a:pt x="279" y="628"/>
                </a:lnTo>
                <a:lnTo>
                  <a:pt x="286" y="631"/>
                </a:lnTo>
                <a:lnTo>
                  <a:pt x="271" y="632"/>
                </a:lnTo>
                <a:lnTo>
                  <a:pt x="262" y="637"/>
                </a:lnTo>
                <a:lnTo>
                  <a:pt x="265" y="639"/>
                </a:lnTo>
                <a:lnTo>
                  <a:pt x="267" y="642"/>
                </a:lnTo>
                <a:lnTo>
                  <a:pt x="261" y="642"/>
                </a:lnTo>
                <a:lnTo>
                  <a:pt x="253" y="644"/>
                </a:lnTo>
                <a:lnTo>
                  <a:pt x="256" y="646"/>
                </a:lnTo>
                <a:lnTo>
                  <a:pt x="257" y="649"/>
                </a:lnTo>
                <a:lnTo>
                  <a:pt x="253" y="651"/>
                </a:lnTo>
                <a:lnTo>
                  <a:pt x="247" y="653"/>
                </a:lnTo>
                <a:lnTo>
                  <a:pt x="243" y="656"/>
                </a:lnTo>
                <a:lnTo>
                  <a:pt x="239" y="659"/>
                </a:lnTo>
                <a:lnTo>
                  <a:pt x="234" y="662"/>
                </a:lnTo>
                <a:lnTo>
                  <a:pt x="230" y="664"/>
                </a:lnTo>
                <a:lnTo>
                  <a:pt x="225" y="669"/>
                </a:lnTo>
                <a:lnTo>
                  <a:pt x="221" y="673"/>
                </a:lnTo>
                <a:lnTo>
                  <a:pt x="216" y="679"/>
                </a:lnTo>
                <a:lnTo>
                  <a:pt x="210" y="683"/>
                </a:lnTo>
                <a:lnTo>
                  <a:pt x="202" y="694"/>
                </a:lnTo>
                <a:lnTo>
                  <a:pt x="197" y="705"/>
                </a:lnTo>
                <a:lnTo>
                  <a:pt x="207" y="700"/>
                </a:lnTo>
                <a:lnTo>
                  <a:pt x="217" y="694"/>
                </a:lnTo>
                <a:lnTo>
                  <a:pt x="228" y="688"/>
                </a:lnTo>
                <a:lnTo>
                  <a:pt x="237" y="680"/>
                </a:lnTo>
                <a:lnTo>
                  <a:pt x="262" y="663"/>
                </a:lnTo>
                <a:lnTo>
                  <a:pt x="289" y="649"/>
                </a:lnTo>
                <a:lnTo>
                  <a:pt x="298" y="645"/>
                </a:lnTo>
                <a:lnTo>
                  <a:pt x="308" y="640"/>
                </a:lnTo>
                <a:lnTo>
                  <a:pt x="314" y="640"/>
                </a:lnTo>
                <a:lnTo>
                  <a:pt x="321" y="639"/>
                </a:lnTo>
                <a:lnTo>
                  <a:pt x="325" y="637"/>
                </a:lnTo>
                <a:lnTo>
                  <a:pt x="331" y="634"/>
                </a:lnTo>
                <a:lnTo>
                  <a:pt x="337" y="633"/>
                </a:lnTo>
                <a:lnTo>
                  <a:pt x="342" y="631"/>
                </a:lnTo>
                <a:lnTo>
                  <a:pt x="349" y="629"/>
                </a:lnTo>
                <a:lnTo>
                  <a:pt x="356" y="628"/>
                </a:lnTo>
                <a:lnTo>
                  <a:pt x="361" y="628"/>
                </a:lnTo>
                <a:lnTo>
                  <a:pt x="364" y="626"/>
                </a:lnTo>
                <a:lnTo>
                  <a:pt x="365" y="625"/>
                </a:lnTo>
                <a:lnTo>
                  <a:pt x="366" y="624"/>
                </a:lnTo>
                <a:lnTo>
                  <a:pt x="369" y="623"/>
                </a:lnTo>
                <a:lnTo>
                  <a:pt x="370" y="623"/>
                </a:lnTo>
                <a:lnTo>
                  <a:pt x="374" y="621"/>
                </a:lnTo>
                <a:lnTo>
                  <a:pt x="379" y="620"/>
                </a:lnTo>
                <a:lnTo>
                  <a:pt x="382" y="623"/>
                </a:lnTo>
                <a:lnTo>
                  <a:pt x="387" y="626"/>
                </a:lnTo>
                <a:lnTo>
                  <a:pt x="379" y="630"/>
                </a:lnTo>
                <a:lnTo>
                  <a:pt x="372" y="633"/>
                </a:lnTo>
                <a:lnTo>
                  <a:pt x="364" y="634"/>
                </a:lnTo>
                <a:lnTo>
                  <a:pt x="358" y="637"/>
                </a:lnTo>
                <a:lnTo>
                  <a:pt x="355" y="640"/>
                </a:lnTo>
                <a:lnTo>
                  <a:pt x="352" y="645"/>
                </a:lnTo>
                <a:lnTo>
                  <a:pt x="348" y="648"/>
                </a:lnTo>
                <a:lnTo>
                  <a:pt x="344" y="651"/>
                </a:lnTo>
                <a:lnTo>
                  <a:pt x="329" y="658"/>
                </a:lnTo>
                <a:lnTo>
                  <a:pt x="315" y="665"/>
                </a:lnTo>
                <a:lnTo>
                  <a:pt x="308" y="670"/>
                </a:lnTo>
                <a:lnTo>
                  <a:pt x="302" y="673"/>
                </a:lnTo>
                <a:lnTo>
                  <a:pt x="296" y="676"/>
                </a:lnTo>
                <a:lnTo>
                  <a:pt x="291" y="681"/>
                </a:lnTo>
                <a:lnTo>
                  <a:pt x="294" y="683"/>
                </a:lnTo>
                <a:lnTo>
                  <a:pt x="291" y="686"/>
                </a:lnTo>
                <a:lnTo>
                  <a:pt x="287" y="687"/>
                </a:lnTo>
                <a:lnTo>
                  <a:pt x="286" y="690"/>
                </a:lnTo>
                <a:lnTo>
                  <a:pt x="290" y="692"/>
                </a:lnTo>
                <a:lnTo>
                  <a:pt x="295" y="690"/>
                </a:lnTo>
                <a:lnTo>
                  <a:pt x="300" y="690"/>
                </a:lnTo>
                <a:lnTo>
                  <a:pt x="305" y="690"/>
                </a:lnTo>
                <a:lnTo>
                  <a:pt x="309" y="688"/>
                </a:lnTo>
                <a:lnTo>
                  <a:pt x="312" y="689"/>
                </a:lnTo>
                <a:lnTo>
                  <a:pt x="313" y="692"/>
                </a:lnTo>
                <a:lnTo>
                  <a:pt x="314" y="696"/>
                </a:lnTo>
                <a:lnTo>
                  <a:pt x="321" y="692"/>
                </a:lnTo>
                <a:lnTo>
                  <a:pt x="324" y="682"/>
                </a:lnTo>
                <a:lnTo>
                  <a:pt x="327" y="688"/>
                </a:lnTo>
                <a:lnTo>
                  <a:pt x="332" y="684"/>
                </a:lnTo>
                <a:lnTo>
                  <a:pt x="341" y="678"/>
                </a:lnTo>
                <a:lnTo>
                  <a:pt x="352" y="672"/>
                </a:lnTo>
                <a:lnTo>
                  <a:pt x="362" y="667"/>
                </a:lnTo>
                <a:lnTo>
                  <a:pt x="372" y="662"/>
                </a:lnTo>
                <a:lnTo>
                  <a:pt x="380" y="663"/>
                </a:lnTo>
                <a:lnTo>
                  <a:pt x="387" y="667"/>
                </a:lnTo>
                <a:lnTo>
                  <a:pt x="391" y="665"/>
                </a:lnTo>
                <a:lnTo>
                  <a:pt x="396" y="663"/>
                </a:lnTo>
                <a:lnTo>
                  <a:pt x="402" y="661"/>
                </a:lnTo>
                <a:lnTo>
                  <a:pt x="406" y="659"/>
                </a:lnTo>
                <a:lnTo>
                  <a:pt x="412" y="656"/>
                </a:lnTo>
                <a:lnTo>
                  <a:pt x="416" y="654"/>
                </a:lnTo>
                <a:lnTo>
                  <a:pt x="420" y="654"/>
                </a:lnTo>
                <a:lnTo>
                  <a:pt x="424" y="655"/>
                </a:lnTo>
                <a:lnTo>
                  <a:pt x="439" y="647"/>
                </a:lnTo>
                <a:lnTo>
                  <a:pt x="449" y="650"/>
                </a:lnTo>
                <a:lnTo>
                  <a:pt x="455" y="642"/>
                </a:lnTo>
                <a:lnTo>
                  <a:pt x="463" y="637"/>
                </a:lnTo>
                <a:lnTo>
                  <a:pt x="463" y="634"/>
                </a:lnTo>
                <a:lnTo>
                  <a:pt x="465" y="634"/>
                </a:lnTo>
                <a:lnTo>
                  <a:pt x="469" y="636"/>
                </a:lnTo>
                <a:lnTo>
                  <a:pt x="471" y="637"/>
                </a:lnTo>
                <a:lnTo>
                  <a:pt x="477" y="637"/>
                </a:lnTo>
                <a:lnTo>
                  <a:pt x="481" y="637"/>
                </a:lnTo>
                <a:lnTo>
                  <a:pt x="480" y="639"/>
                </a:lnTo>
                <a:lnTo>
                  <a:pt x="481" y="642"/>
                </a:lnTo>
                <a:lnTo>
                  <a:pt x="484" y="645"/>
                </a:lnTo>
                <a:lnTo>
                  <a:pt x="486" y="646"/>
                </a:lnTo>
                <a:lnTo>
                  <a:pt x="494" y="641"/>
                </a:lnTo>
                <a:lnTo>
                  <a:pt x="502" y="634"/>
                </a:lnTo>
                <a:lnTo>
                  <a:pt x="503" y="640"/>
                </a:lnTo>
                <a:lnTo>
                  <a:pt x="504" y="645"/>
                </a:lnTo>
                <a:lnTo>
                  <a:pt x="511" y="640"/>
                </a:lnTo>
                <a:lnTo>
                  <a:pt x="520" y="640"/>
                </a:lnTo>
                <a:lnTo>
                  <a:pt x="523" y="638"/>
                </a:lnTo>
                <a:lnTo>
                  <a:pt x="529" y="637"/>
                </a:lnTo>
                <a:lnTo>
                  <a:pt x="535" y="639"/>
                </a:lnTo>
                <a:lnTo>
                  <a:pt x="541" y="639"/>
                </a:lnTo>
                <a:lnTo>
                  <a:pt x="530" y="642"/>
                </a:lnTo>
                <a:lnTo>
                  <a:pt x="520" y="646"/>
                </a:lnTo>
                <a:lnTo>
                  <a:pt x="521" y="645"/>
                </a:lnTo>
                <a:lnTo>
                  <a:pt x="517" y="646"/>
                </a:lnTo>
                <a:lnTo>
                  <a:pt x="513" y="646"/>
                </a:lnTo>
                <a:lnTo>
                  <a:pt x="510" y="647"/>
                </a:lnTo>
                <a:lnTo>
                  <a:pt x="502" y="647"/>
                </a:lnTo>
                <a:lnTo>
                  <a:pt x="495" y="647"/>
                </a:lnTo>
                <a:lnTo>
                  <a:pt x="490" y="649"/>
                </a:lnTo>
                <a:lnTo>
                  <a:pt x="487" y="649"/>
                </a:lnTo>
                <a:lnTo>
                  <a:pt x="487" y="647"/>
                </a:lnTo>
                <a:lnTo>
                  <a:pt x="484" y="646"/>
                </a:lnTo>
                <a:lnTo>
                  <a:pt x="482" y="650"/>
                </a:lnTo>
                <a:lnTo>
                  <a:pt x="482" y="654"/>
                </a:lnTo>
                <a:lnTo>
                  <a:pt x="488" y="656"/>
                </a:lnTo>
                <a:lnTo>
                  <a:pt x="490" y="658"/>
                </a:lnTo>
                <a:lnTo>
                  <a:pt x="492" y="665"/>
                </a:lnTo>
                <a:lnTo>
                  <a:pt x="488" y="671"/>
                </a:lnTo>
                <a:lnTo>
                  <a:pt x="485" y="672"/>
                </a:lnTo>
                <a:lnTo>
                  <a:pt x="481" y="671"/>
                </a:lnTo>
                <a:lnTo>
                  <a:pt x="478" y="669"/>
                </a:lnTo>
                <a:lnTo>
                  <a:pt x="477" y="665"/>
                </a:lnTo>
                <a:lnTo>
                  <a:pt x="481" y="664"/>
                </a:lnTo>
                <a:lnTo>
                  <a:pt x="485" y="659"/>
                </a:lnTo>
                <a:lnTo>
                  <a:pt x="462" y="666"/>
                </a:lnTo>
                <a:lnTo>
                  <a:pt x="441" y="679"/>
                </a:lnTo>
                <a:lnTo>
                  <a:pt x="440" y="681"/>
                </a:lnTo>
                <a:lnTo>
                  <a:pt x="443" y="682"/>
                </a:lnTo>
                <a:lnTo>
                  <a:pt x="444" y="683"/>
                </a:lnTo>
                <a:lnTo>
                  <a:pt x="445" y="687"/>
                </a:lnTo>
                <a:lnTo>
                  <a:pt x="444" y="689"/>
                </a:lnTo>
                <a:lnTo>
                  <a:pt x="445" y="691"/>
                </a:lnTo>
                <a:lnTo>
                  <a:pt x="449" y="695"/>
                </a:lnTo>
                <a:lnTo>
                  <a:pt x="452" y="699"/>
                </a:lnTo>
                <a:lnTo>
                  <a:pt x="448" y="698"/>
                </a:lnTo>
                <a:lnTo>
                  <a:pt x="445" y="696"/>
                </a:lnTo>
                <a:lnTo>
                  <a:pt x="443" y="694"/>
                </a:lnTo>
                <a:lnTo>
                  <a:pt x="441" y="692"/>
                </a:lnTo>
                <a:lnTo>
                  <a:pt x="439" y="692"/>
                </a:lnTo>
                <a:lnTo>
                  <a:pt x="437" y="694"/>
                </a:lnTo>
                <a:lnTo>
                  <a:pt x="431" y="692"/>
                </a:lnTo>
                <a:lnTo>
                  <a:pt x="430" y="697"/>
                </a:lnTo>
                <a:lnTo>
                  <a:pt x="424" y="698"/>
                </a:lnTo>
                <a:lnTo>
                  <a:pt x="418" y="698"/>
                </a:lnTo>
                <a:lnTo>
                  <a:pt x="415" y="698"/>
                </a:lnTo>
                <a:lnTo>
                  <a:pt x="413" y="699"/>
                </a:lnTo>
                <a:lnTo>
                  <a:pt x="411" y="698"/>
                </a:lnTo>
                <a:lnTo>
                  <a:pt x="410" y="699"/>
                </a:lnTo>
                <a:lnTo>
                  <a:pt x="406" y="699"/>
                </a:lnTo>
                <a:lnTo>
                  <a:pt x="402" y="703"/>
                </a:lnTo>
                <a:lnTo>
                  <a:pt x="401" y="705"/>
                </a:lnTo>
                <a:lnTo>
                  <a:pt x="399" y="706"/>
                </a:lnTo>
                <a:lnTo>
                  <a:pt x="396" y="705"/>
                </a:lnTo>
                <a:lnTo>
                  <a:pt x="394" y="703"/>
                </a:lnTo>
                <a:lnTo>
                  <a:pt x="390" y="703"/>
                </a:lnTo>
                <a:lnTo>
                  <a:pt x="388" y="706"/>
                </a:lnTo>
                <a:lnTo>
                  <a:pt x="387" y="708"/>
                </a:lnTo>
                <a:lnTo>
                  <a:pt x="385" y="709"/>
                </a:lnTo>
                <a:lnTo>
                  <a:pt x="381" y="708"/>
                </a:lnTo>
                <a:lnTo>
                  <a:pt x="379" y="708"/>
                </a:lnTo>
                <a:lnTo>
                  <a:pt x="377" y="714"/>
                </a:lnTo>
                <a:lnTo>
                  <a:pt x="377" y="720"/>
                </a:lnTo>
                <a:lnTo>
                  <a:pt x="362" y="719"/>
                </a:lnTo>
                <a:lnTo>
                  <a:pt x="349" y="714"/>
                </a:lnTo>
                <a:lnTo>
                  <a:pt x="354" y="719"/>
                </a:lnTo>
                <a:lnTo>
                  <a:pt x="352" y="724"/>
                </a:lnTo>
                <a:lnTo>
                  <a:pt x="357" y="725"/>
                </a:lnTo>
                <a:lnTo>
                  <a:pt x="363" y="728"/>
                </a:lnTo>
                <a:lnTo>
                  <a:pt x="356" y="728"/>
                </a:lnTo>
                <a:lnTo>
                  <a:pt x="349" y="728"/>
                </a:lnTo>
                <a:lnTo>
                  <a:pt x="347" y="731"/>
                </a:lnTo>
                <a:lnTo>
                  <a:pt x="346" y="734"/>
                </a:lnTo>
                <a:lnTo>
                  <a:pt x="342" y="732"/>
                </a:lnTo>
                <a:lnTo>
                  <a:pt x="340" y="729"/>
                </a:lnTo>
                <a:lnTo>
                  <a:pt x="335" y="728"/>
                </a:lnTo>
                <a:lnTo>
                  <a:pt x="329" y="729"/>
                </a:lnTo>
                <a:lnTo>
                  <a:pt x="332" y="732"/>
                </a:lnTo>
                <a:lnTo>
                  <a:pt x="335" y="734"/>
                </a:lnTo>
                <a:lnTo>
                  <a:pt x="328" y="734"/>
                </a:lnTo>
                <a:lnTo>
                  <a:pt x="321" y="736"/>
                </a:lnTo>
                <a:lnTo>
                  <a:pt x="327" y="738"/>
                </a:lnTo>
                <a:lnTo>
                  <a:pt x="331" y="740"/>
                </a:lnTo>
                <a:lnTo>
                  <a:pt x="320" y="740"/>
                </a:lnTo>
                <a:lnTo>
                  <a:pt x="308" y="741"/>
                </a:lnTo>
                <a:lnTo>
                  <a:pt x="312" y="744"/>
                </a:lnTo>
                <a:lnTo>
                  <a:pt x="313" y="746"/>
                </a:lnTo>
                <a:lnTo>
                  <a:pt x="309" y="749"/>
                </a:lnTo>
                <a:lnTo>
                  <a:pt x="305" y="750"/>
                </a:lnTo>
                <a:lnTo>
                  <a:pt x="292" y="749"/>
                </a:lnTo>
                <a:lnTo>
                  <a:pt x="281" y="745"/>
                </a:lnTo>
                <a:lnTo>
                  <a:pt x="283" y="748"/>
                </a:lnTo>
                <a:lnTo>
                  <a:pt x="288" y="752"/>
                </a:lnTo>
                <a:lnTo>
                  <a:pt x="291" y="753"/>
                </a:lnTo>
                <a:lnTo>
                  <a:pt x="295" y="755"/>
                </a:lnTo>
                <a:lnTo>
                  <a:pt x="294" y="758"/>
                </a:lnTo>
                <a:lnTo>
                  <a:pt x="289" y="761"/>
                </a:lnTo>
                <a:lnTo>
                  <a:pt x="284" y="763"/>
                </a:lnTo>
                <a:lnTo>
                  <a:pt x="280" y="766"/>
                </a:lnTo>
                <a:lnTo>
                  <a:pt x="264" y="764"/>
                </a:lnTo>
                <a:lnTo>
                  <a:pt x="249" y="753"/>
                </a:lnTo>
                <a:lnTo>
                  <a:pt x="253" y="759"/>
                </a:lnTo>
                <a:lnTo>
                  <a:pt x="257" y="765"/>
                </a:lnTo>
                <a:lnTo>
                  <a:pt x="262" y="769"/>
                </a:lnTo>
                <a:lnTo>
                  <a:pt x="264" y="773"/>
                </a:lnTo>
                <a:lnTo>
                  <a:pt x="259" y="774"/>
                </a:lnTo>
                <a:lnTo>
                  <a:pt x="254" y="772"/>
                </a:lnTo>
                <a:lnTo>
                  <a:pt x="247" y="769"/>
                </a:lnTo>
                <a:lnTo>
                  <a:pt x="239" y="766"/>
                </a:lnTo>
                <a:lnTo>
                  <a:pt x="243" y="771"/>
                </a:lnTo>
                <a:lnTo>
                  <a:pt x="249" y="773"/>
                </a:lnTo>
                <a:lnTo>
                  <a:pt x="254" y="774"/>
                </a:lnTo>
                <a:lnTo>
                  <a:pt x="257" y="778"/>
                </a:lnTo>
                <a:lnTo>
                  <a:pt x="249" y="786"/>
                </a:lnTo>
                <a:lnTo>
                  <a:pt x="241" y="796"/>
                </a:lnTo>
                <a:lnTo>
                  <a:pt x="245" y="795"/>
                </a:lnTo>
                <a:lnTo>
                  <a:pt x="247" y="795"/>
                </a:lnTo>
                <a:lnTo>
                  <a:pt x="246" y="798"/>
                </a:lnTo>
                <a:lnTo>
                  <a:pt x="246" y="802"/>
                </a:lnTo>
                <a:lnTo>
                  <a:pt x="241" y="799"/>
                </a:lnTo>
                <a:lnTo>
                  <a:pt x="241" y="792"/>
                </a:lnTo>
                <a:lnTo>
                  <a:pt x="234" y="794"/>
                </a:lnTo>
                <a:lnTo>
                  <a:pt x="229" y="790"/>
                </a:lnTo>
                <a:lnTo>
                  <a:pt x="226" y="788"/>
                </a:lnTo>
                <a:lnTo>
                  <a:pt x="225" y="786"/>
                </a:lnTo>
                <a:lnTo>
                  <a:pt x="225" y="783"/>
                </a:lnTo>
                <a:lnTo>
                  <a:pt x="225" y="781"/>
                </a:lnTo>
                <a:lnTo>
                  <a:pt x="218" y="779"/>
                </a:lnTo>
                <a:lnTo>
                  <a:pt x="215" y="783"/>
                </a:lnTo>
                <a:lnTo>
                  <a:pt x="215" y="786"/>
                </a:lnTo>
                <a:lnTo>
                  <a:pt x="214" y="788"/>
                </a:lnTo>
                <a:lnTo>
                  <a:pt x="212" y="790"/>
                </a:lnTo>
                <a:lnTo>
                  <a:pt x="210" y="792"/>
                </a:lnTo>
                <a:lnTo>
                  <a:pt x="216" y="792"/>
                </a:lnTo>
                <a:lnTo>
                  <a:pt x="223" y="792"/>
                </a:lnTo>
                <a:lnTo>
                  <a:pt x="223" y="799"/>
                </a:lnTo>
                <a:lnTo>
                  <a:pt x="223" y="806"/>
                </a:lnTo>
                <a:lnTo>
                  <a:pt x="220" y="806"/>
                </a:lnTo>
                <a:lnTo>
                  <a:pt x="216" y="805"/>
                </a:lnTo>
                <a:lnTo>
                  <a:pt x="213" y="803"/>
                </a:lnTo>
                <a:lnTo>
                  <a:pt x="209" y="803"/>
                </a:lnTo>
                <a:lnTo>
                  <a:pt x="205" y="807"/>
                </a:lnTo>
                <a:lnTo>
                  <a:pt x="206" y="813"/>
                </a:lnTo>
                <a:lnTo>
                  <a:pt x="195" y="815"/>
                </a:lnTo>
                <a:lnTo>
                  <a:pt x="184" y="819"/>
                </a:lnTo>
                <a:lnTo>
                  <a:pt x="179" y="822"/>
                </a:lnTo>
                <a:lnTo>
                  <a:pt x="182" y="827"/>
                </a:lnTo>
                <a:lnTo>
                  <a:pt x="175" y="828"/>
                </a:lnTo>
                <a:lnTo>
                  <a:pt x="168" y="828"/>
                </a:lnTo>
                <a:lnTo>
                  <a:pt x="163" y="825"/>
                </a:lnTo>
                <a:lnTo>
                  <a:pt x="158" y="822"/>
                </a:lnTo>
                <a:lnTo>
                  <a:pt x="156" y="821"/>
                </a:lnTo>
                <a:lnTo>
                  <a:pt x="152" y="820"/>
                </a:lnTo>
                <a:lnTo>
                  <a:pt x="150" y="821"/>
                </a:lnTo>
                <a:lnTo>
                  <a:pt x="149" y="823"/>
                </a:lnTo>
                <a:lnTo>
                  <a:pt x="146" y="825"/>
                </a:lnTo>
                <a:lnTo>
                  <a:pt x="141" y="825"/>
                </a:lnTo>
                <a:lnTo>
                  <a:pt x="134" y="830"/>
                </a:lnTo>
                <a:lnTo>
                  <a:pt x="127" y="836"/>
                </a:lnTo>
                <a:lnTo>
                  <a:pt x="119" y="837"/>
                </a:lnTo>
                <a:lnTo>
                  <a:pt x="114" y="839"/>
                </a:lnTo>
                <a:lnTo>
                  <a:pt x="121" y="846"/>
                </a:lnTo>
                <a:lnTo>
                  <a:pt x="132" y="849"/>
                </a:lnTo>
                <a:lnTo>
                  <a:pt x="121" y="854"/>
                </a:lnTo>
                <a:lnTo>
                  <a:pt x="109" y="858"/>
                </a:lnTo>
                <a:lnTo>
                  <a:pt x="100" y="865"/>
                </a:lnTo>
                <a:lnTo>
                  <a:pt x="89" y="872"/>
                </a:lnTo>
                <a:lnTo>
                  <a:pt x="81" y="880"/>
                </a:lnTo>
                <a:lnTo>
                  <a:pt x="73" y="888"/>
                </a:lnTo>
                <a:lnTo>
                  <a:pt x="62" y="895"/>
                </a:lnTo>
                <a:lnTo>
                  <a:pt x="52" y="904"/>
                </a:lnTo>
                <a:lnTo>
                  <a:pt x="45" y="912"/>
                </a:lnTo>
                <a:lnTo>
                  <a:pt x="37" y="920"/>
                </a:lnTo>
                <a:lnTo>
                  <a:pt x="27" y="925"/>
                </a:lnTo>
                <a:lnTo>
                  <a:pt x="18" y="932"/>
                </a:lnTo>
                <a:lnTo>
                  <a:pt x="11" y="941"/>
                </a:lnTo>
                <a:lnTo>
                  <a:pt x="6" y="952"/>
                </a:lnTo>
                <a:lnTo>
                  <a:pt x="1" y="962"/>
                </a:lnTo>
                <a:lnTo>
                  <a:pt x="0" y="972"/>
                </a:lnTo>
                <a:lnTo>
                  <a:pt x="17" y="957"/>
                </a:lnTo>
                <a:lnTo>
                  <a:pt x="33" y="943"/>
                </a:lnTo>
                <a:lnTo>
                  <a:pt x="47" y="932"/>
                </a:lnTo>
                <a:lnTo>
                  <a:pt x="60" y="921"/>
                </a:lnTo>
                <a:lnTo>
                  <a:pt x="65" y="915"/>
                </a:lnTo>
                <a:lnTo>
                  <a:pt x="72" y="912"/>
                </a:lnTo>
                <a:lnTo>
                  <a:pt x="78" y="910"/>
                </a:lnTo>
                <a:lnTo>
                  <a:pt x="85" y="906"/>
                </a:lnTo>
                <a:lnTo>
                  <a:pt x="97" y="898"/>
                </a:lnTo>
                <a:lnTo>
                  <a:pt x="110" y="893"/>
                </a:lnTo>
                <a:lnTo>
                  <a:pt x="116" y="889"/>
                </a:lnTo>
                <a:lnTo>
                  <a:pt x="122" y="885"/>
                </a:lnTo>
                <a:lnTo>
                  <a:pt x="126" y="882"/>
                </a:lnTo>
                <a:lnTo>
                  <a:pt x="132" y="882"/>
                </a:lnTo>
                <a:lnTo>
                  <a:pt x="135" y="879"/>
                </a:lnTo>
                <a:lnTo>
                  <a:pt x="139" y="874"/>
                </a:lnTo>
                <a:lnTo>
                  <a:pt x="146" y="871"/>
                </a:lnTo>
                <a:lnTo>
                  <a:pt x="154" y="869"/>
                </a:lnTo>
                <a:lnTo>
                  <a:pt x="160" y="868"/>
                </a:lnTo>
                <a:lnTo>
                  <a:pt x="166" y="864"/>
                </a:lnTo>
                <a:lnTo>
                  <a:pt x="172" y="857"/>
                </a:lnTo>
                <a:lnTo>
                  <a:pt x="177" y="852"/>
                </a:lnTo>
                <a:lnTo>
                  <a:pt x="180" y="849"/>
                </a:lnTo>
                <a:lnTo>
                  <a:pt x="184" y="849"/>
                </a:lnTo>
                <a:lnTo>
                  <a:pt x="184" y="852"/>
                </a:lnTo>
                <a:lnTo>
                  <a:pt x="184" y="853"/>
                </a:lnTo>
                <a:lnTo>
                  <a:pt x="184" y="855"/>
                </a:lnTo>
                <a:lnTo>
                  <a:pt x="185" y="856"/>
                </a:lnTo>
                <a:lnTo>
                  <a:pt x="190" y="854"/>
                </a:lnTo>
                <a:lnTo>
                  <a:pt x="193" y="849"/>
                </a:lnTo>
                <a:lnTo>
                  <a:pt x="213" y="838"/>
                </a:lnTo>
                <a:lnTo>
                  <a:pt x="232" y="828"/>
                </a:lnTo>
                <a:lnTo>
                  <a:pt x="238" y="825"/>
                </a:lnTo>
                <a:lnTo>
                  <a:pt x="243" y="823"/>
                </a:lnTo>
                <a:lnTo>
                  <a:pt x="248" y="822"/>
                </a:lnTo>
                <a:lnTo>
                  <a:pt x="250" y="825"/>
                </a:lnTo>
                <a:lnTo>
                  <a:pt x="246" y="833"/>
                </a:lnTo>
                <a:lnTo>
                  <a:pt x="238" y="839"/>
                </a:lnTo>
                <a:lnTo>
                  <a:pt x="246" y="842"/>
                </a:lnTo>
                <a:lnTo>
                  <a:pt x="253" y="846"/>
                </a:lnTo>
                <a:lnTo>
                  <a:pt x="234" y="855"/>
                </a:lnTo>
                <a:lnTo>
                  <a:pt x="216" y="865"/>
                </a:lnTo>
                <a:lnTo>
                  <a:pt x="228" y="865"/>
                </a:lnTo>
                <a:lnTo>
                  <a:pt x="238" y="865"/>
                </a:lnTo>
                <a:lnTo>
                  <a:pt x="233" y="868"/>
                </a:lnTo>
                <a:lnTo>
                  <a:pt x="231" y="870"/>
                </a:lnTo>
                <a:lnTo>
                  <a:pt x="228" y="872"/>
                </a:lnTo>
                <a:lnTo>
                  <a:pt x="223" y="873"/>
                </a:lnTo>
                <a:lnTo>
                  <a:pt x="215" y="877"/>
                </a:lnTo>
                <a:lnTo>
                  <a:pt x="209" y="882"/>
                </a:lnTo>
                <a:lnTo>
                  <a:pt x="198" y="895"/>
                </a:lnTo>
                <a:lnTo>
                  <a:pt x="187" y="907"/>
                </a:lnTo>
                <a:lnTo>
                  <a:pt x="182" y="914"/>
                </a:lnTo>
                <a:lnTo>
                  <a:pt x="176" y="919"/>
                </a:lnTo>
                <a:lnTo>
                  <a:pt x="168" y="921"/>
                </a:lnTo>
                <a:lnTo>
                  <a:pt x="163" y="925"/>
                </a:lnTo>
                <a:lnTo>
                  <a:pt x="159" y="928"/>
                </a:lnTo>
                <a:lnTo>
                  <a:pt x="156" y="930"/>
                </a:lnTo>
                <a:lnTo>
                  <a:pt x="152" y="932"/>
                </a:lnTo>
                <a:lnTo>
                  <a:pt x="148" y="935"/>
                </a:lnTo>
                <a:lnTo>
                  <a:pt x="140" y="941"/>
                </a:lnTo>
                <a:lnTo>
                  <a:pt x="135" y="949"/>
                </a:lnTo>
                <a:lnTo>
                  <a:pt x="143" y="945"/>
                </a:lnTo>
                <a:lnTo>
                  <a:pt x="151" y="941"/>
                </a:lnTo>
                <a:lnTo>
                  <a:pt x="156" y="940"/>
                </a:lnTo>
                <a:lnTo>
                  <a:pt x="160" y="939"/>
                </a:lnTo>
                <a:lnTo>
                  <a:pt x="164" y="936"/>
                </a:lnTo>
                <a:lnTo>
                  <a:pt x="168" y="935"/>
                </a:lnTo>
                <a:lnTo>
                  <a:pt x="173" y="935"/>
                </a:lnTo>
                <a:lnTo>
                  <a:pt x="177" y="932"/>
                </a:lnTo>
                <a:lnTo>
                  <a:pt x="181" y="929"/>
                </a:lnTo>
                <a:lnTo>
                  <a:pt x="184" y="924"/>
                </a:lnTo>
                <a:lnTo>
                  <a:pt x="191" y="920"/>
                </a:lnTo>
                <a:lnTo>
                  <a:pt x="198" y="925"/>
                </a:lnTo>
                <a:lnTo>
                  <a:pt x="199" y="915"/>
                </a:lnTo>
                <a:lnTo>
                  <a:pt x="204" y="908"/>
                </a:lnTo>
                <a:lnTo>
                  <a:pt x="208" y="908"/>
                </a:lnTo>
                <a:lnTo>
                  <a:pt x="210" y="911"/>
                </a:lnTo>
                <a:lnTo>
                  <a:pt x="209" y="914"/>
                </a:lnTo>
                <a:lnTo>
                  <a:pt x="207" y="916"/>
                </a:lnTo>
                <a:lnTo>
                  <a:pt x="204" y="924"/>
                </a:lnTo>
                <a:lnTo>
                  <a:pt x="198" y="930"/>
                </a:lnTo>
                <a:lnTo>
                  <a:pt x="192" y="937"/>
                </a:lnTo>
                <a:lnTo>
                  <a:pt x="189" y="946"/>
                </a:lnTo>
                <a:lnTo>
                  <a:pt x="188" y="949"/>
                </a:lnTo>
                <a:lnTo>
                  <a:pt x="185" y="953"/>
                </a:lnTo>
                <a:lnTo>
                  <a:pt x="182" y="956"/>
                </a:lnTo>
                <a:lnTo>
                  <a:pt x="179" y="960"/>
                </a:lnTo>
                <a:lnTo>
                  <a:pt x="179" y="965"/>
                </a:lnTo>
                <a:lnTo>
                  <a:pt x="183" y="971"/>
                </a:lnTo>
                <a:lnTo>
                  <a:pt x="182" y="977"/>
                </a:lnTo>
                <a:lnTo>
                  <a:pt x="175" y="978"/>
                </a:lnTo>
                <a:lnTo>
                  <a:pt x="173" y="982"/>
                </a:lnTo>
                <a:lnTo>
                  <a:pt x="174" y="987"/>
                </a:lnTo>
                <a:lnTo>
                  <a:pt x="195" y="960"/>
                </a:lnTo>
                <a:lnTo>
                  <a:pt x="205" y="928"/>
                </a:lnTo>
                <a:lnTo>
                  <a:pt x="205" y="940"/>
                </a:lnTo>
                <a:lnTo>
                  <a:pt x="205" y="953"/>
                </a:lnTo>
                <a:lnTo>
                  <a:pt x="208" y="947"/>
                </a:lnTo>
                <a:lnTo>
                  <a:pt x="210" y="941"/>
                </a:lnTo>
                <a:lnTo>
                  <a:pt x="212" y="945"/>
                </a:lnTo>
                <a:lnTo>
                  <a:pt x="213" y="948"/>
                </a:lnTo>
                <a:lnTo>
                  <a:pt x="220" y="943"/>
                </a:lnTo>
                <a:lnTo>
                  <a:pt x="224" y="933"/>
                </a:lnTo>
                <a:lnTo>
                  <a:pt x="226" y="938"/>
                </a:lnTo>
                <a:lnTo>
                  <a:pt x="230" y="943"/>
                </a:lnTo>
                <a:lnTo>
                  <a:pt x="233" y="937"/>
                </a:lnTo>
                <a:lnTo>
                  <a:pt x="238" y="931"/>
                </a:lnTo>
                <a:lnTo>
                  <a:pt x="238" y="930"/>
                </a:lnTo>
                <a:lnTo>
                  <a:pt x="238" y="928"/>
                </a:lnTo>
                <a:lnTo>
                  <a:pt x="240" y="928"/>
                </a:lnTo>
                <a:lnTo>
                  <a:pt x="242" y="927"/>
                </a:lnTo>
                <a:lnTo>
                  <a:pt x="245" y="925"/>
                </a:lnTo>
                <a:lnTo>
                  <a:pt x="247" y="922"/>
                </a:lnTo>
                <a:lnTo>
                  <a:pt x="248" y="916"/>
                </a:lnTo>
                <a:lnTo>
                  <a:pt x="249" y="911"/>
                </a:lnTo>
                <a:lnTo>
                  <a:pt x="255" y="910"/>
                </a:lnTo>
                <a:lnTo>
                  <a:pt x="262" y="907"/>
                </a:lnTo>
                <a:lnTo>
                  <a:pt x="264" y="902"/>
                </a:lnTo>
                <a:lnTo>
                  <a:pt x="268" y="897"/>
                </a:lnTo>
                <a:lnTo>
                  <a:pt x="273" y="895"/>
                </a:lnTo>
                <a:lnTo>
                  <a:pt x="275" y="896"/>
                </a:lnTo>
                <a:lnTo>
                  <a:pt x="278" y="899"/>
                </a:lnTo>
                <a:lnTo>
                  <a:pt x="281" y="897"/>
                </a:lnTo>
                <a:lnTo>
                  <a:pt x="282" y="895"/>
                </a:lnTo>
                <a:lnTo>
                  <a:pt x="283" y="891"/>
                </a:lnTo>
                <a:lnTo>
                  <a:pt x="286" y="889"/>
                </a:lnTo>
                <a:lnTo>
                  <a:pt x="288" y="887"/>
                </a:lnTo>
                <a:lnTo>
                  <a:pt x="289" y="893"/>
                </a:lnTo>
                <a:lnTo>
                  <a:pt x="289" y="897"/>
                </a:lnTo>
                <a:lnTo>
                  <a:pt x="296" y="889"/>
                </a:lnTo>
                <a:lnTo>
                  <a:pt x="304" y="883"/>
                </a:lnTo>
                <a:lnTo>
                  <a:pt x="312" y="880"/>
                </a:lnTo>
                <a:lnTo>
                  <a:pt x="321" y="877"/>
                </a:lnTo>
                <a:lnTo>
                  <a:pt x="323" y="873"/>
                </a:lnTo>
                <a:lnTo>
                  <a:pt x="327" y="870"/>
                </a:lnTo>
                <a:lnTo>
                  <a:pt x="328" y="864"/>
                </a:lnTo>
                <a:lnTo>
                  <a:pt x="329" y="858"/>
                </a:lnTo>
                <a:lnTo>
                  <a:pt x="335" y="856"/>
                </a:lnTo>
                <a:lnTo>
                  <a:pt x="339" y="861"/>
                </a:lnTo>
                <a:lnTo>
                  <a:pt x="344" y="856"/>
                </a:lnTo>
                <a:lnTo>
                  <a:pt x="347" y="852"/>
                </a:lnTo>
                <a:lnTo>
                  <a:pt x="354" y="849"/>
                </a:lnTo>
                <a:lnTo>
                  <a:pt x="362" y="847"/>
                </a:lnTo>
                <a:lnTo>
                  <a:pt x="365" y="845"/>
                </a:lnTo>
                <a:lnTo>
                  <a:pt x="368" y="842"/>
                </a:lnTo>
                <a:lnTo>
                  <a:pt x="370" y="840"/>
                </a:lnTo>
                <a:lnTo>
                  <a:pt x="371" y="838"/>
                </a:lnTo>
                <a:lnTo>
                  <a:pt x="379" y="840"/>
                </a:lnTo>
                <a:lnTo>
                  <a:pt x="387" y="845"/>
                </a:lnTo>
                <a:lnTo>
                  <a:pt x="385" y="847"/>
                </a:lnTo>
                <a:lnTo>
                  <a:pt x="382" y="847"/>
                </a:lnTo>
                <a:lnTo>
                  <a:pt x="380" y="849"/>
                </a:lnTo>
                <a:lnTo>
                  <a:pt x="377" y="850"/>
                </a:lnTo>
                <a:lnTo>
                  <a:pt x="372" y="854"/>
                </a:lnTo>
                <a:lnTo>
                  <a:pt x="369" y="858"/>
                </a:lnTo>
                <a:lnTo>
                  <a:pt x="366" y="863"/>
                </a:lnTo>
                <a:lnTo>
                  <a:pt x="364" y="868"/>
                </a:lnTo>
                <a:lnTo>
                  <a:pt x="357" y="874"/>
                </a:lnTo>
                <a:lnTo>
                  <a:pt x="349" y="880"/>
                </a:lnTo>
                <a:lnTo>
                  <a:pt x="346" y="882"/>
                </a:lnTo>
                <a:lnTo>
                  <a:pt x="342" y="885"/>
                </a:lnTo>
                <a:lnTo>
                  <a:pt x="340" y="886"/>
                </a:lnTo>
                <a:lnTo>
                  <a:pt x="339" y="889"/>
                </a:lnTo>
                <a:lnTo>
                  <a:pt x="336" y="895"/>
                </a:lnTo>
                <a:lnTo>
                  <a:pt x="331" y="900"/>
                </a:lnTo>
                <a:lnTo>
                  <a:pt x="317" y="913"/>
                </a:lnTo>
                <a:lnTo>
                  <a:pt x="304" y="928"/>
                </a:lnTo>
                <a:lnTo>
                  <a:pt x="309" y="925"/>
                </a:lnTo>
                <a:lnTo>
                  <a:pt x="315" y="923"/>
                </a:lnTo>
                <a:lnTo>
                  <a:pt x="322" y="918"/>
                </a:lnTo>
                <a:lnTo>
                  <a:pt x="328" y="911"/>
                </a:lnTo>
                <a:lnTo>
                  <a:pt x="340" y="900"/>
                </a:lnTo>
                <a:lnTo>
                  <a:pt x="353" y="891"/>
                </a:lnTo>
                <a:lnTo>
                  <a:pt x="380" y="870"/>
                </a:lnTo>
                <a:lnTo>
                  <a:pt x="410" y="853"/>
                </a:lnTo>
                <a:lnTo>
                  <a:pt x="415" y="852"/>
                </a:lnTo>
                <a:lnTo>
                  <a:pt x="422" y="854"/>
                </a:lnTo>
                <a:lnTo>
                  <a:pt x="424" y="855"/>
                </a:lnTo>
                <a:lnTo>
                  <a:pt x="426" y="858"/>
                </a:lnTo>
                <a:lnTo>
                  <a:pt x="426" y="861"/>
                </a:lnTo>
                <a:lnTo>
                  <a:pt x="424" y="863"/>
                </a:lnTo>
                <a:lnTo>
                  <a:pt x="420" y="865"/>
                </a:lnTo>
                <a:lnTo>
                  <a:pt x="418" y="869"/>
                </a:lnTo>
                <a:lnTo>
                  <a:pt x="420" y="873"/>
                </a:lnTo>
                <a:lnTo>
                  <a:pt x="422" y="875"/>
                </a:lnTo>
                <a:lnTo>
                  <a:pt x="420" y="880"/>
                </a:lnTo>
                <a:lnTo>
                  <a:pt x="419" y="885"/>
                </a:lnTo>
                <a:lnTo>
                  <a:pt x="421" y="888"/>
                </a:lnTo>
                <a:lnTo>
                  <a:pt x="424" y="890"/>
                </a:lnTo>
                <a:lnTo>
                  <a:pt x="429" y="893"/>
                </a:lnTo>
                <a:lnTo>
                  <a:pt x="435" y="893"/>
                </a:lnTo>
                <a:lnTo>
                  <a:pt x="441" y="894"/>
                </a:lnTo>
                <a:lnTo>
                  <a:pt x="448" y="897"/>
                </a:lnTo>
                <a:lnTo>
                  <a:pt x="440" y="897"/>
                </a:lnTo>
                <a:lnTo>
                  <a:pt x="431" y="895"/>
                </a:lnTo>
                <a:lnTo>
                  <a:pt x="426" y="893"/>
                </a:lnTo>
                <a:lnTo>
                  <a:pt x="419" y="893"/>
                </a:lnTo>
                <a:lnTo>
                  <a:pt x="416" y="899"/>
                </a:lnTo>
                <a:lnTo>
                  <a:pt x="424" y="907"/>
                </a:lnTo>
                <a:lnTo>
                  <a:pt x="412" y="905"/>
                </a:lnTo>
                <a:lnTo>
                  <a:pt x="402" y="908"/>
                </a:lnTo>
                <a:lnTo>
                  <a:pt x="395" y="914"/>
                </a:lnTo>
                <a:lnTo>
                  <a:pt x="386" y="916"/>
                </a:lnTo>
                <a:lnTo>
                  <a:pt x="383" y="922"/>
                </a:lnTo>
                <a:lnTo>
                  <a:pt x="385" y="927"/>
                </a:lnTo>
                <a:lnTo>
                  <a:pt x="394" y="927"/>
                </a:lnTo>
                <a:lnTo>
                  <a:pt x="403" y="924"/>
                </a:lnTo>
                <a:lnTo>
                  <a:pt x="418" y="914"/>
                </a:lnTo>
                <a:lnTo>
                  <a:pt x="432" y="906"/>
                </a:lnTo>
                <a:lnTo>
                  <a:pt x="432" y="911"/>
                </a:lnTo>
                <a:lnTo>
                  <a:pt x="429" y="914"/>
                </a:lnTo>
                <a:lnTo>
                  <a:pt x="426" y="918"/>
                </a:lnTo>
                <a:lnTo>
                  <a:pt x="422" y="921"/>
                </a:lnTo>
                <a:lnTo>
                  <a:pt x="418" y="928"/>
                </a:lnTo>
                <a:lnTo>
                  <a:pt x="413" y="933"/>
                </a:lnTo>
                <a:lnTo>
                  <a:pt x="401" y="945"/>
                </a:lnTo>
                <a:lnTo>
                  <a:pt x="404" y="956"/>
                </a:lnTo>
                <a:lnTo>
                  <a:pt x="395" y="958"/>
                </a:lnTo>
                <a:lnTo>
                  <a:pt x="387" y="963"/>
                </a:lnTo>
                <a:lnTo>
                  <a:pt x="378" y="966"/>
                </a:lnTo>
                <a:lnTo>
                  <a:pt x="368" y="966"/>
                </a:lnTo>
                <a:lnTo>
                  <a:pt x="357" y="969"/>
                </a:lnTo>
                <a:lnTo>
                  <a:pt x="347" y="976"/>
                </a:lnTo>
                <a:lnTo>
                  <a:pt x="345" y="978"/>
                </a:lnTo>
                <a:lnTo>
                  <a:pt x="344" y="979"/>
                </a:lnTo>
                <a:lnTo>
                  <a:pt x="342" y="980"/>
                </a:lnTo>
                <a:lnTo>
                  <a:pt x="341" y="982"/>
                </a:lnTo>
                <a:lnTo>
                  <a:pt x="337" y="983"/>
                </a:lnTo>
                <a:lnTo>
                  <a:pt x="333" y="986"/>
                </a:lnTo>
                <a:lnTo>
                  <a:pt x="330" y="989"/>
                </a:lnTo>
                <a:lnTo>
                  <a:pt x="328" y="991"/>
                </a:lnTo>
                <a:lnTo>
                  <a:pt x="323" y="993"/>
                </a:lnTo>
                <a:lnTo>
                  <a:pt x="321" y="995"/>
                </a:lnTo>
                <a:lnTo>
                  <a:pt x="328" y="998"/>
                </a:lnTo>
                <a:lnTo>
                  <a:pt x="337" y="999"/>
                </a:lnTo>
                <a:lnTo>
                  <a:pt x="339" y="1012"/>
                </a:lnTo>
                <a:lnTo>
                  <a:pt x="330" y="1027"/>
                </a:lnTo>
                <a:lnTo>
                  <a:pt x="328" y="1024"/>
                </a:lnTo>
                <a:lnTo>
                  <a:pt x="325" y="1022"/>
                </a:lnTo>
                <a:lnTo>
                  <a:pt x="323" y="1024"/>
                </a:lnTo>
                <a:lnTo>
                  <a:pt x="321" y="1027"/>
                </a:lnTo>
                <a:lnTo>
                  <a:pt x="317" y="1029"/>
                </a:lnTo>
                <a:lnTo>
                  <a:pt x="315" y="1031"/>
                </a:lnTo>
                <a:lnTo>
                  <a:pt x="309" y="1039"/>
                </a:lnTo>
                <a:lnTo>
                  <a:pt x="302" y="1046"/>
                </a:lnTo>
                <a:lnTo>
                  <a:pt x="297" y="1047"/>
                </a:lnTo>
                <a:lnTo>
                  <a:pt x="291" y="1047"/>
                </a:lnTo>
                <a:lnTo>
                  <a:pt x="288" y="1049"/>
                </a:lnTo>
                <a:lnTo>
                  <a:pt x="288" y="1054"/>
                </a:lnTo>
                <a:lnTo>
                  <a:pt x="283" y="1063"/>
                </a:lnTo>
                <a:lnTo>
                  <a:pt x="280" y="1072"/>
                </a:lnTo>
                <a:lnTo>
                  <a:pt x="275" y="1068"/>
                </a:lnTo>
                <a:lnTo>
                  <a:pt x="271" y="1064"/>
                </a:lnTo>
                <a:lnTo>
                  <a:pt x="271" y="1068"/>
                </a:lnTo>
                <a:lnTo>
                  <a:pt x="270" y="1071"/>
                </a:lnTo>
                <a:lnTo>
                  <a:pt x="266" y="1073"/>
                </a:lnTo>
                <a:lnTo>
                  <a:pt x="263" y="1074"/>
                </a:lnTo>
                <a:lnTo>
                  <a:pt x="261" y="1078"/>
                </a:lnTo>
                <a:lnTo>
                  <a:pt x="261" y="1082"/>
                </a:lnTo>
                <a:lnTo>
                  <a:pt x="258" y="1088"/>
                </a:lnTo>
                <a:lnTo>
                  <a:pt x="255" y="1093"/>
                </a:lnTo>
                <a:lnTo>
                  <a:pt x="247" y="1101"/>
                </a:lnTo>
                <a:lnTo>
                  <a:pt x="239" y="1109"/>
                </a:lnTo>
                <a:lnTo>
                  <a:pt x="231" y="1114"/>
                </a:lnTo>
                <a:lnTo>
                  <a:pt x="223" y="1121"/>
                </a:lnTo>
                <a:lnTo>
                  <a:pt x="218" y="1127"/>
                </a:lnTo>
                <a:lnTo>
                  <a:pt x="213" y="1132"/>
                </a:lnTo>
                <a:lnTo>
                  <a:pt x="209" y="1137"/>
                </a:lnTo>
                <a:lnTo>
                  <a:pt x="206" y="1139"/>
                </a:lnTo>
                <a:lnTo>
                  <a:pt x="204" y="1140"/>
                </a:lnTo>
                <a:lnTo>
                  <a:pt x="200" y="1142"/>
                </a:lnTo>
                <a:lnTo>
                  <a:pt x="199" y="1144"/>
                </a:lnTo>
                <a:lnTo>
                  <a:pt x="199" y="1147"/>
                </a:lnTo>
                <a:lnTo>
                  <a:pt x="185" y="1159"/>
                </a:lnTo>
                <a:lnTo>
                  <a:pt x="176" y="1171"/>
                </a:lnTo>
                <a:lnTo>
                  <a:pt x="172" y="1177"/>
                </a:lnTo>
                <a:lnTo>
                  <a:pt x="169" y="1186"/>
                </a:lnTo>
                <a:lnTo>
                  <a:pt x="168" y="1189"/>
                </a:lnTo>
                <a:lnTo>
                  <a:pt x="166" y="1190"/>
                </a:lnTo>
                <a:lnTo>
                  <a:pt x="164" y="1192"/>
                </a:lnTo>
                <a:lnTo>
                  <a:pt x="163" y="1194"/>
                </a:lnTo>
                <a:lnTo>
                  <a:pt x="166" y="1195"/>
                </a:lnTo>
                <a:lnTo>
                  <a:pt x="169" y="1195"/>
                </a:lnTo>
                <a:lnTo>
                  <a:pt x="164" y="1198"/>
                </a:lnTo>
                <a:lnTo>
                  <a:pt x="158" y="1202"/>
                </a:lnTo>
                <a:lnTo>
                  <a:pt x="156" y="1209"/>
                </a:lnTo>
                <a:lnTo>
                  <a:pt x="154" y="1217"/>
                </a:lnTo>
                <a:lnTo>
                  <a:pt x="148" y="1222"/>
                </a:lnTo>
                <a:lnTo>
                  <a:pt x="142" y="1228"/>
                </a:lnTo>
                <a:lnTo>
                  <a:pt x="142" y="1231"/>
                </a:lnTo>
                <a:lnTo>
                  <a:pt x="141" y="1236"/>
                </a:lnTo>
                <a:lnTo>
                  <a:pt x="138" y="1238"/>
                </a:lnTo>
                <a:lnTo>
                  <a:pt x="134" y="1240"/>
                </a:lnTo>
                <a:lnTo>
                  <a:pt x="130" y="1245"/>
                </a:lnTo>
                <a:lnTo>
                  <a:pt x="127" y="1252"/>
                </a:lnTo>
                <a:lnTo>
                  <a:pt x="130" y="1253"/>
                </a:lnTo>
                <a:lnTo>
                  <a:pt x="131" y="1255"/>
                </a:lnTo>
                <a:lnTo>
                  <a:pt x="129" y="1256"/>
                </a:lnTo>
                <a:lnTo>
                  <a:pt x="127" y="1257"/>
                </a:lnTo>
                <a:lnTo>
                  <a:pt x="118" y="1271"/>
                </a:lnTo>
                <a:lnTo>
                  <a:pt x="109" y="1284"/>
                </a:lnTo>
                <a:lnTo>
                  <a:pt x="110" y="1287"/>
                </a:lnTo>
                <a:lnTo>
                  <a:pt x="111" y="1292"/>
                </a:lnTo>
                <a:lnTo>
                  <a:pt x="116" y="1293"/>
                </a:lnTo>
                <a:lnTo>
                  <a:pt x="119" y="1289"/>
                </a:lnTo>
                <a:lnTo>
                  <a:pt x="118" y="1284"/>
                </a:lnTo>
                <a:lnTo>
                  <a:pt x="118" y="1280"/>
                </a:lnTo>
                <a:lnTo>
                  <a:pt x="122" y="1277"/>
                </a:lnTo>
                <a:lnTo>
                  <a:pt x="126" y="1273"/>
                </a:lnTo>
                <a:lnTo>
                  <a:pt x="129" y="1269"/>
                </a:lnTo>
                <a:lnTo>
                  <a:pt x="131" y="1265"/>
                </a:lnTo>
                <a:lnTo>
                  <a:pt x="131" y="1262"/>
                </a:lnTo>
                <a:lnTo>
                  <a:pt x="132" y="1260"/>
                </a:lnTo>
                <a:lnTo>
                  <a:pt x="133" y="1260"/>
                </a:lnTo>
                <a:lnTo>
                  <a:pt x="134" y="1259"/>
                </a:lnTo>
                <a:lnTo>
                  <a:pt x="139" y="1254"/>
                </a:lnTo>
                <a:lnTo>
                  <a:pt x="146" y="1255"/>
                </a:lnTo>
                <a:lnTo>
                  <a:pt x="147" y="1250"/>
                </a:lnTo>
                <a:lnTo>
                  <a:pt x="151" y="1246"/>
                </a:lnTo>
                <a:lnTo>
                  <a:pt x="157" y="1240"/>
                </a:lnTo>
                <a:lnTo>
                  <a:pt x="159" y="1232"/>
                </a:lnTo>
                <a:lnTo>
                  <a:pt x="160" y="1228"/>
                </a:lnTo>
                <a:lnTo>
                  <a:pt x="162" y="1223"/>
                </a:lnTo>
                <a:lnTo>
                  <a:pt x="162" y="1219"/>
                </a:lnTo>
                <a:lnTo>
                  <a:pt x="162" y="1214"/>
                </a:lnTo>
                <a:lnTo>
                  <a:pt x="167" y="1213"/>
                </a:lnTo>
                <a:lnTo>
                  <a:pt x="171" y="1218"/>
                </a:lnTo>
                <a:lnTo>
                  <a:pt x="177" y="1200"/>
                </a:lnTo>
                <a:lnTo>
                  <a:pt x="192" y="1188"/>
                </a:lnTo>
                <a:lnTo>
                  <a:pt x="192" y="1190"/>
                </a:lnTo>
                <a:lnTo>
                  <a:pt x="193" y="1194"/>
                </a:lnTo>
                <a:lnTo>
                  <a:pt x="197" y="1189"/>
                </a:lnTo>
                <a:lnTo>
                  <a:pt x="200" y="1188"/>
                </a:lnTo>
                <a:lnTo>
                  <a:pt x="202" y="1193"/>
                </a:lnTo>
                <a:lnTo>
                  <a:pt x="202" y="1197"/>
                </a:lnTo>
                <a:lnTo>
                  <a:pt x="204" y="1202"/>
                </a:lnTo>
                <a:lnTo>
                  <a:pt x="206" y="1200"/>
                </a:lnTo>
                <a:lnTo>
                  <a:pt x="208" y="1195"/>
                </a:lnTo>
                <a:lnTo>
                  <a:pt x="212" y="1193"/>
                </a:lnTo>
                <a:lnTo>
                  <a:pt x="216" y="1189"/>
                </a:lnTo>
                <a:lnTo>
                  <a:pt x="220" y="1186"/>
                </a:lnTo>
                <a:lnTo>
                  <a:pt x="224" y="1182"/>
                </a:lnTo>
                <a:lnTo>
                  <a:pt x="228" y="1178"/>
                </a:lnTo>
                <a:lnTo>
                  <a:pt x="228" y="1176"/>
                </a:lnTo>
                <a:lnTo>
                  <a:pt x="229" y="1172"/>
                </a:lnTo>
                <a:lnTo>
                  <a:pt x="231" y="1172"/>
                </a:lnTo>
                <a:lnTo>
                  <a:pt x="233" y="1172"/>
                </a:lnTo>
                <a:lnTo>
                  <a:pt x="238" y="1170"/>
                </a:lnTo>
                <a:lnTo>
                  <a:pt x="240" y="1165"/>
                </a:lnTo>
                <a:lnTo>
                  <a:pt x="241" y="1162"/>
                </a:lnTo>
                <a:lnTo>
                  <a:pt x="243" y="1159"/>
                </a:lnTo>
                <a:lnTo>
                  <a:pt x="248" y="1159"/>
                </a:lnTo>
                <a:lnTo>
                  <a:pt x="250" y="1155"/>
                </a:lnTo>
                <a:lnTo>
                  <a:pt x="251" y="1151"/>
                </a:lnTo>
                <a:lnTo>
                  <a:pt x="253" y="1146"/>
                </a:lnTo>
                <a:lnTo>
                  <a:pt x="255" y="1145"/>
                </a:lnTo>
                <a:lnTo>
                  <a:pt x="259" y="1146"/>
                </a:lnTo>
                <a:lnTo>
                  <a:pt x="264" y="1147"/>
                </a:lnTo>
                <a:lnTo>
                  <a:pt x="266" y="1144"/>
                </a:lnTo>
                <a:lnTo>
                  <a:pt x="266" y="1140"/>
                </a:lnTo>
                <a:lnTo>
                  <a:pt x="267" y="1137"/>
                </a:lnTo>
                <a:lnTo>
                  <a:pt x="270" y="1136"/>
                </a:lnTo>
                <a:lnTo>
                  <a:pt x="271" y="1138"/>
                </a:lnTo>
                <a:lnTo>
                  <a:pt x="271" y="1139"/>
                </a:lnTo>
                <a:lnTo>
                  <a:pt x="272" y="1139"/>
                </a:lnTo>
                <a:lnTo>
                  <a:pt x="274" y="1138"/>
                </a:lnTo>
                <a:lnTo>
                  <a:pt x="276" y="1136"/>
                </a:lnTo>
                <a:lnTo>
                  <a:pt x="279" y="1129"/>
                </a:lnTo>
                <a:lnTo>
                  <a:pt x="280" y="1122"/>
                </a:lnTo>
                <a:lnTo>
                  <a:pt x="281" y="1126"/>
                </a:lnTo>
                <a:lnTo>
                  <a:pt x="283" y="1128"/>
                </a:lnTo>
                <a:lnTo>
                  <a:pt x="287" y="1122"/>
                </a:lnTo>
                <a:lnTo>
                  <a:pt x="292" y="1119"/>
                </a:lnTo>
                <a:lnTo>
                  <a:pt x="295" y="1113"/>
                </a:lnTo>
                <a:lnTo>
                  <a:pt x="299" y="1109"/>
                </a:lnTo>
                <a:lnTo>
                  <a:pt x="306" y="1109"/>
                </a:lnTo>
                <a:lnTo>
                  <a:pt x="309" y="1105"/>
                </a:lnTo>
                <a:lnTo>
                  <a:pt x="311" y="1101"/>
                </a:lnTo>
                <a:lnTo>
                  <a:pt x="314" y="1099"/>
                </a:lnTo>
                <a:lnTo>
                  <a:pt x="314" y="1103"/>
                </a:lnTo>
                <a:lnTo>
                  <a:pt x="314" y="1105"/>
                </a:lnTo>
                <a:lnTo>
                  <a:pt x="320" y="1095"/>
                </a:lnTo>
                <a:lnTo>
                  <a:pt x="328" y="1086"/>
                </a:lnTo>
                <a:lnTo>
                  <a:pt x="332" y="1081"/>
                </a:lnTo>
                <a:lnTo>
                  <a:pt x="337" y="1078"/>
                </a:lnTo>
                <a:lnTo>
                  <a:pt x="341" y="1076"/>
                </a:lnTo>
                <a:lnTo>
                  <a:pt x="345" y="1072"/>
                </a:lnTo>
                <a:lnTo>
                  <a:pt x="347" y="1070"/>
                </a:lnTo>
                <a:lnTo>
                  <a:pt x="348" y="1068"/>
                </a:lnTo>
                <a:lnTo>
                  <a:pt x="350" y="1066"/>
                </a:lnTo>
                <a:lnTo>
                  <a:pt x="352" y="1066"/>
                </a:lnTo>
                <a:lnTo>
                  <a:pt x="355" y="1068"/>
                </a:lnTo>
                <a:lnTo>
                  <a:pt x="357" y="1066"/>
                </a:lnTo>
                <a:lnTo>
                  <a:pt x="358" y="1063"/>
                </a:lnTo>
                <a:lnTo>
                  <a:pt x="360" y="1061"/>
                </a:lnTo>
                <a:lnTo>
                  <a:pt x="363" y="1056"/>
                </a:lnTo>
                <a:lnTo>
                  <a:pt x="369" y="1054"/>
                </a:lnTo>
                <a:lnTo>
                  <a:pt x="377" y="1046"/>
                </a:lnTo>
                <a:lnTo>
                  <a:pt x="380" y="1037"/>
                </a:lnTo>
                <a:lnTo>
                  <a:pt x="381" y="1034"/>
                </a:lnTo>
                <a:lnTo>
                  <a:pt x="385" y="1034"/>
                </a:lnTo>
                <a:lnTo>
                  <a:pt x="390" y="1035"/>
                </a:lnTo>
                <a:lnTo>
                  <a:pt x="394" y="1032"/>
                </a:lnTo>
                <a:lnTo>
                  <a:pt x="396" y="1028"/>
                </a:lnTo>
                <a:lnTo>
                  <a:pt x="396" y="1023"/>
                </a:lnTo>
                <a:lnTo>
                  <a:pt x="399" y="1021"/>
                </a:lnTo>
                <a:lnTo>
                  <a:pt x="405" y="1021"/>
                </a:lnTo>
                <a:lnTo>
                  <a:pt x="414" y="1018"/>
                </a:lnTo>
                <a:lnTo>
                  <a:pt x="422" y="1011"/>
                </a:lnTo>
                <a:lnTo>
                  <a:pt x="423" y="1013"/>
                </a:lnTo>
                <a:lnTo>
                  <a:pt x="426" y="1015"/>
                </a:lnTo>
                <a:lnTo>
                  <a:pt x="428" y="1013"/>
                </a:lnTo>
                <a:lnTo>
                  <a:pt x="428" y="1010"/>
                </a:lnTo>
                <a:lnTo>
                  <a:pt x="431" y="1004"/>
                </a:lnTo>
                <a:lnTo>
                  <a:pt x="439" y="1003"/>
                </a:lnTo>
                <a:lnTo>
                  <a:pt x="444" y="1001"/>
                </a:lnTo>
                <a:lnTo>
                  <a:pt x="447" y="997"/>
                </a:lnTo>
                <a:lnTo>
                  <a:pt x="449" y="990"/>
                </a:lnTo>
                <a:lnTo>
                  <a:pt x="452" y="985"/>
                </a:lnTo>
                <a:lnTo>
                  <a:pt x="454" y="983"/>
                </a:lnTo>
                <a:lnTo>
                  <a:pt x="457" y="982"/>
                </a:lnTo>
                <a:lnTo>
                  <a:pt x="460" y="981"/>
                </a:lnTo>
                <a:lnTo>
                  <a:pt x="461" y="979"/>
                </a:lnTo>
                <a:lnTo>
                  <a:pt x="462" y="977"/>
                </a:lnTo>
                <a:lnTo>
                  <a:pt x="465" y="976"/>
                </a:lnTo>
                <a:lnTo>
                  <a:pt x="470" y="978"/>
                </a:lnTo>
                <a:lnTo>
                  <a:pt x="472" y="982"/>
                </a:lnTo>
                <a:lnTo>
                  <a:pt x="469" y="986"/>
                </a:lnTo>
                <a:lnTo>
                  <a:pt x="464" y="990"/>
                </a:lnTo>
                <a:lnTo>
                  <a:pt x="462" y="998"/>
                </a:lnTo>
                <a:lnTo>
                  <a:pt x="467" y="1004"/>
                </a:lnTo>
                <a:lnTo>
                  <a:pt x="459" y="1003"/>
                </a:lnTo>
                <a:lnTo>
                  <a:pt x="452" y="1005"/>
                </a:lnTo>
                <a:lnTo>
                  <a:pt x="451" y="1008"/>
                </a:lnTo>
                <a:lnTo>
                  <a:pt x="449" y="1013"/>
                </a:lnTo>
                <a:lnTo>
                  <a:pt x="445" y="1016"/>
                </a:lnTo>
                <a:lnTo>
                  <a:pt x="441" y="1019"/>
                </a:lnTo>
                <a:lnTo>
                  <a:pt x="439" y="1024"/>
                </a:lnTo>
                <a:lnTo>
                  <a:pt x="437" y="1029"/>
                </a:lnTo>
                <a:lnTo>
                  <a:pt x="434" y="1032"/>
                </a:lnTo>
                <a:lnTo>
                  <a:pt x="429" y="1036"/>
                </a:lnTo>
                <a:lnTo>
                  <a:pt x="424" y="1039"/>
                </a:lnTo>
                <a:lnTo>
                  <a:pt x="420" y="1043"/>
                </a:lnTo>
                <a:lnTo>
                  <a:pt x="421" y="1046"/>
                </a:lnTo>
                <a:lnTo>
                  <a:pt x="421" y="1048"/>
                </a:lnTo>
                <a:lnTo>
                  <a:pt x="418" y="1049"/>
                </a:lnTo>
                <a:lnTo>
                  <a:pt x="415" y="1051"/>
                </a:lnTo>
                <a:lnTo>
                  <a:pt x="413" y="1053"/>
                </a:lnTo>
                <a:lnTo>
                  <a:pt x="411" y="1054"/>
                </a:lnTo>
                <a:lnTo>
                  <a:pt x="408" y="1057"/>
                </a:lnTo>
                <a:lnTo>
                  <a:pt x="410" y="1061"/>
                </a:lnTo>
                <a:lnTo>
                  <a:pt x="408" y="1064"/>
                </a:lnTo>
                <a:lnTo>
                  <a:pt x="406" y="1068"/>
                </a:lnTo>
                <a:lnTo>
                  <a:pt x="389" y="1086"/>
                </a:lnTo>
                <a:lnTo>
                  <a:pt x="389" y="1109"/>
                </a:lnTo>
                <a:lnTo>
                  <a:pt x="383" y="1111"/>
                </a:lnTo>
                <a:lnTo>
                  <a:pt x="379" y="1114"/>
                </a:lnTo>
                <a:lnTo>
                  <a:pt x="377" y="1118"/>
                </a:lnTo>
                <a:lnTo>
                  <a:pt x="375" y="1122"/>
                </a:lnTo>
                <a:lnTo>
                  <a:pt x="371" y="1127"/>
                </a:lnTo>
                <a:lnTo>
                  <a:pt x="366" y="1132"/>
                </a:lnTo>
                <a:lnTo>
                  <a:pt x="371" y="1132"/>
                </a:lnTo>
                <a:lnTo>
                  <a:pt x="375" y="1132"/>
                </a:lnTo>
                <a:lnTo>
                  <a:pt x="368" y="1139"/>
                </a:lnTo>
                <a:lnTo>
                  <a:pt x="371" y="1145"/>
                </a:lnTo>
                <a:lnTo>
                  <a:pt x="362" y="1153"/>
                </a:lnTo>
                <a:lnTo>
                  <a:pt x="362" y="1164"/>
                </a:lnTo>
                <a:lnTo>
                  <a:pt x="364" y="1167"/>
                </a:lnTo>
                <a:lnTo>
                  <a:pt x="366" y="1167"/>
                </a:lnTo>
                <a:lnTo>
                  <a:pt x="369" y="1168"/>
                </a:lnTo>
                <a:lnTo>
                  <a:pt x="365" y="1170"/>
                </a:lnTo>
                <a:lnTo>
                  <a:pt x="361" y="1170"/>
                </a:lnTo>
                <a:lnTo>
                  <a:pt x="357" y="1171"/>
                </a:lnTo>
                <a:lnTo>
                  <a:pt x="357" y="1174"/>
                </a:lnTo>
                <a:lnTo>
                  <a:pt x="360" y="1178"/>
                </a:lnTo>
                <a:lnTo>
                  <a:pt x="358" y="1182"/>
                </a:lnTo>
                <a:lnTo>
                  <a:pt x="363" y="1184"/>
                </a:lnTo>
                <a:lnTo>
                  <a:pt x="368" y="1180"/>
                </a:lnTo>
                <a:lnTo>
                  <a:pt x="371" y="1176"/>
                </a:lnTo>
                <a:lnTo>
                  <a:pt x="378" y="1164"/>
                </a:lnTo>
                <a:lnTo>
                  <a:pt x="387" y="1157"/>
                </a:lnTo>
                <a:lnTo>
                  <a:pt x="391" y="1162"/>
                </a:lnTo>
                <a:lnTo>
                  <a:pt x="393" y="1169"/>
                </a:lnTo>
                <a:lnTo>
                  <a:pt x="391" y="1171"/>
                </a:lnTo>
                <a:lnTo>
                  <a:pt x="393" y="1174"/>
                </a:lnTo>
                <a:lnTo>
                  <a:pt x="394" y="1178"/>
                </a:lnTo>
                <a:lnTo>
                  <a:pt x="395" y="1181"/>
                </a:lnTo>
                <a:lnTo>
                  <a:pt x="394" y="1186"/>
                </a:lnTo>
                <a:lnTo>
                  <a:pt x="391" y="1189"/>
                </a:lnTo>
                <a:lnTo>
                  <a:pt x="390" y="1192"/>
                </a:lnTo>
                <a:lnTo>
                  <a:pt x="390" y="1194"/>
                </a:lnTo>
                <a:lnTo>
                  <a:pt x="389" y="1194"/>
                </a:lnTo>
                <a:lnTo>
                  <a:pt x="389" y="1194"/>
                </a:lnTo>
                <a:lnTo>
                  <a:pt x="388" y="1196"/>
                </a:lnTo>
                <a:lnTo>
                  <a:pt x="387" y="1198"/>
                </a:lnTo>
                <a:lnTo>
                  <a:pt x="394" y="1202"/>
                </a:lnTo>
                <a:lnTo>
                  <a:pt x="402" y="1202"/>
                </a:lnTo>
                <a:lnTo>
                  <a:pt x="398" y="1203"/>
                </a:lnTo>
                <a:lnTo>
                  <a:pt x="395" y="1204"/>
                </a:lnTo>
                <a:lnTo>
                  <a:pt x="391" y="1205"/>
                </a:lnTo>
                <a:lnTo>
                  <a:pt x="389" y="1205"/>
                </a:lnTo>
                <a:lnTo>
                  <a:pt x="386" y="1210"/>
                </a:lnTo>
                <a:lnTo>
                  <a:pt x="386" y="1214"/>
                </a:lnTo>
                <a:lnTo>
                  <a:pt x="393" y="1215"/>
                </a:lnTo>
                <a:lnTo>
                  <a:pt x="391" y="1219"/>
                </a:lnTo>
                <a:lnTo>
                  <a:pt x="389" y="1223"/>
                </a:lnTo>
                <a:lnTo>
                  <a:pt x="386" y="1226"/>
                </a:lnTo>
                <a:lnTo>
                  <a:pt x="380" y="1228"/>
                </a:lnTo>
                <a:lnTo>
                  <a:pt x="378" y="1232"/>
                </a:lnTo>
                <a:lnTo>
                  <a:pt x="378" y="1235"/>
                </a:lnTo>
                <a:lnTo>
                  <a:pt x="377" y="1237"/>
                </a:lnTo>
                <a:lnTo>
                  <a:pt x="380" y="1239"/>
                </a:lnTo>
                <a:lnTo>
                  <a:pt x="387" y="1239"/>
                </a:lnTo>
                <a:lnTo>
                  <a:pt x="379" y="1244"/>
                </a:lnTo>
                <a:lnTo>
                  <a:pt x="368" y="1248"/>
                </a:lnTo>
                <a:lnTo>
                  <a:pt x="368" y="1252"/>
                </a:lnTo>
                <a:lnTo>
                  <a:pt x="369" y="1255"/>
                </a:lnTo>
                <a:lnTo>
                  <a:pt x="366" y="1257"/>
                </a:lnTo>
                <a:lnTo>
                  <a:pt x="365" y="1259"/>
                </a:lnTo>
                <a:lnTo>
                  <a:pt x="366" y="1261"/>
                </a:lnTo>
                <a:lnTo>
                  <a:pt x="368" y="1263"/>
                </a:lnTo>
                <a:lnTo>
                  <a:pt x="366" y="1269"/>
                </a:lnTo>
                <a:lnTo>
                  <a:pt x="365" y="1276"/>
                </a:lnTo>
                <a:lnTo>
                  <a:pt x="364" y="1281"/>
                </a:lnTo>
                <a:lnTo>
                  <a:pt x="363" y="1288"/>
                </a:lnTo>
                <a:lnTo>
                  <a:pt x="362" y="1303"/>
                </a:lnTo>
                <a:lnTo>
                  <a:pt x="363" y="1318"/>
                </a:lnTo>
                <a:lnTo>
                  <a:pt x="365" y="1308"/>
                </a:lnTo>
                <a:lnTo>
                  <a:pt x="370" y="1301"/>
                </a:lnTo>
                <a:lnTo>
                  <a:pt x="371" y="1303"/>
                </a:lnTo>
                <a:lnTo>
                  <a:pt x="373" y="1304"/>
                </a:lnTo>
                <a:lnTo>
                  <a:pt x="377" y="1302"/>
                </a:lnTo>
                <a:lnTo>
                  <a:pt x="379" y="1298"/>
                </a:lnTo>
                <a:lnTo>
                  <a:pt x="379" y="1292"/>
                </a:lnTo>
                <a:lnTo>
                  <a:pt x="380" y="1286"/>
                </a:lnTo>
                <a:lnTo>
                  <a:pt x="383" y="1283"/>
                </a:lnTo>
                <a:lnTo>
                  <a:pt x="386" y="1285"/>
                </a:lnTo>
                <a:lnTo>
                  <a:pt x="386" y="1289"/>
                </a:lnTo>
                <a:lnTo>
                  <a:pt x="386" y="1295"/>
                </a:lnTo>
                <a:lnTo>
                  <a:pt x="387" y="1296"/>
                </a:lnTo>
                <a:lnTo>
                  <a:pt x="388" y="1298"/>
                </a:lnTo>
                <a:lnTo>
                  <a:pt x="389" y="1301"/>
                </a:lnTo>
                <a:lnTo>
                  <a:pt x="390" y="1304"/>
                </a:lnTo>
                <a:lnTo>
                  <a:pt x="391" y="1308"/>
                </a:lnTo>
                <a:lnTo>
                  <a:pt x="390" y="1312"/>
                </a:lnTo>
                <a:lnTo>
                  <a:pt x="388" y="1314"/>
                </a:lnTo>
                <a:lnTo>
                  <a:pt x="385" y="1318"/>
                </a:lnTo>
                <a:lnTo>
                  <a:pt x="377" y="1326"/>
                </a:lnTo>
                <a:lnTo>
                  <a:pt x="373" y="1336"/>
                </a:lnTo>
                <a:lnTo>
                  <a:pt x="372" y="1338"/>
                </a:lnTo>
                <a:lnTo>
                  <a:pt x="373" y="1339"/>
                </a:lnTo>
                <a:lnTo>
                  <a:pt x="374" y="1340"/>
                </a:lnTo>
                <a:lnTo>
                  <a:pt x="375" y="1340"/>
                </a:lnTo>
                <a:lnTo>
                  <a:pt x="374" y="1342"/>
                </a:lnTo>
                <a:lnTo>
                  <a:pt x="374" y="1343"/>
                </a:lnTo>
                <a:lnTo>
                  <a:pt x="374" y="1348"/>
                </a:lnTo>
                <a:lnTo>
                  <a:pt x="371" y="1354"/>
                </a:lnTo>
                <a:lnTo>
                  <a:pt x="368" y="1358"/>
                </a:lnTo>
                <a:lnTo>
                  <a:pt x="365" y="1361"/>
                </a:lnTo>
                <a:lnTo>
                  <a:pt x="369" y="1363"/>
                </a:lnTo>
                <a:lnTo>
                  <a:pt x="373" y="1361"/>
                </a:lnTo>
                <a:lnTo>
                  <a:pt x="372" y="1365"/>
                </a:lnTo>
                <a:lnTo>
                  <a:pt x="368" y="1368"/>
                </a:lnTo>
                <a:lnTo>
                  <a:pt x="364" y="1372"/>
                </a:lnTo>
                <a:lnTo>
                  <a:pt x="361" y="1377"/>
                </a:lnTo>
                <a:lnTo>
                  <a:pt x="355" y="1388"/>
                </a:lnTo>
                <a:lnTo>
                  <a:pt x="350" y="1400"/>
                </a:lnTo>
                <a:lnTo>
                  <a:pt x="357" y="1396"/>
                </a:lnTo>
                <a:lnTo>
                  <a:pt x="362" y="1391"/>
                </a:lnTo>
                <a:lnTo>
                  <a:pt x="365" y="1391"/>
                </a:lnTo>
                <a:lnTo>
                  <a:pt x="366" y="1393"/>
                </a:lnTo>
                <a:lnTo>
                  <a:pt x="365" y="1396"/>
                </a:lnTo>
                <a:lnTo>
                  <a:pt x="362" y="1397"/>
                </a:lnTo>
                <a:lnTo>
                  <a:pt x="370" y="1402"/>
                </a:lnTo>
                <a:lnTo>
                  <a:pt x="378" y="1404"/>
                </a:lnTo>
                <a:lnTo>
                  <a:pt x="378" y="1395"/>
                </a:lnTo>
                <a:lnTo>
                  <a:pt x="379" y="1385"/>
                </a:lnTo>
                <a:lnTo>
                  <a:pt x="382" y="1388"/>
                </a:lnTo>
                <a:lnTo>
                  <a:pt x="383" y="1393"/>
                </a:lnTo>
                <a:lnTo>
                  <a:pt x="385" y="1388"/>
                </a:lnTo>
                <a:lnTo>
                  <a:pt x="385" y="1383"/>
                </a:lnTo>
                <a:lnTo>
                  <a:pt x="388" y="1378"/>
                </a:lnTo>
                <a:lnTo>
                  <a:pt x="394" y="1377"/>
                </a:lnTo>
                <a:lnTo>
                  <a:pt x="397" y="1372"/>
                </a:lnTo>
                <a:lnTo>
                  <a:pt x="396" y="1367"/>
                </a:lnTo>
                <a:lnTo>
                  <a:pt x="397" y="1363"/>
                </a:lnTo>
                <a:lnTo>
                  <a:pt x="401" y="1363"/>
                </a:lnTo>
                <a:lnTo>
                  <a:pt x="404" y="1365"/>
                </a:lnTo>
                <a:lnTo>
                  <a:pt x="406" y="1369"/>
                </a:lnTo>
                <a:lnTo>
                  <a:pt x="407" y="1363"/>
                </a:lnTo>
                <a:lnTo>
                  <a:pt x="406" y="1359"/>
                </a:lnTo>
                <a:lnTo>
                  <a:pt x="403" y="1358"/>
                </a:lnTo>
                <a:lnTo>
                  <a:pt x="402" y="1358"/>
                </a:lnTo>
                <a:lnTo>
                  <a:pt x="399" y="1353"/>
                </a:lnTo>
                <a:lnTo>
                  <a:pt x="399" y="1347"/>
                </a:lnTo>
                <a:lnTo>
                  <a:pt x="402" y="1348"/>
                </a:lnTo>
                <a:lnTo>
                  <a:pt x="405" y="1350"/>
                </a:lnTo>
                <a:lnTo>
                  <a:pt x="406" y="1350"/>
                </a:lnTo>
                <a:lnTo>
                  <a:pt x="408" y="1351"/>
                </a:lnTo>
                <a:lnTo>
                  <a:pt x="411" y="1342"/>
                </a:lnTo>
                <a:lnTo>
                  <a:pt x="411" y="1334"/>
                </a:lnTo>
                <a:lnTo>
                  <a:pt x="412" y="1326"/>
                </a:lnTo>
                <a:lnTo>
                  <a:pt x="415" y="1319"/>
                </a:lnTo>
                <a:lnTo>
                  <a:pt x="420" y="1318"/>
                </a:lnTo>
                <a:lnTo>
                  <a:pt x="421" y="1315"/>
                </a:lnTo>
                <a:lnTo>
                  <a:pt x="421" y="1313"/>
                </a:lnTo>
                <a:lnTo>
                  <a:pt x="420" y="1312"/>
                </a:lnTo>
                <a:lnTo>
                  <a:pt x="420" y="1308"/>
                </a:lnTo>
                <a:lnTo>
                  <a:pt x="422" y="1306"/>
                </a:lnTo>
                <a:lnTo>
                  <a:pt x="429" y="1309"/>
                </a:lnTo>
                <a:lnTo>
                  <a:pt x="435" y="1309"/>
                </a:lnTo>
                <a:lnTo>
                  <a:pt x="438" y="1302"/>
                </a:lnTo>
                <a:lnTo>
                  <a:pt x="438" y="1293"/>
                </a:lnTo>
                <a:lnTo>
                  <a:pt x="441" y="1283"/>
                </a:lnTo>
                <a:lnTo>
                  <a:pt x="445" y="1273"/>
                </a:lnTo>
                <a:lnTo>
                  <a:pt x="447" y="1279"/>
                </a:lnTo>
                <a:lnTo>
                  <a:pt x="449" y="1285"/>
                </a:lnTo>
                <a:lnTo>
                  <a:pt x="452" y="1275"/>
                </a:lnTo>
                <a:lnTo>
                  <a:pt x="454" y="1265"/>
                </a:lnTo>
                <a:lnTo>
                  <a:pt x="459" y="1261"/>
                </a:lnTo>
                <a:lnTo>
                  <a:pt x="464" y="1259"/>
                </a:lnTo>
                <a:lnTo>
                  <a:pt x="468" y="1246"/>
                </a:lnTo>
                <a:lnTo>
                  <a:pt x="468" y="1234"/>
                </a:lnTo>
                <a:lnTo>
                  <a:pt x="474" y="1229"/>
                </a:lnTo>
                <a:lnTo>
                  <a:pt x="474" y="1219"/>
                </a:lnTo>
                <a:lnTo>
                  <a:pt x="477" y="1220"/>
                </a:lnTo>
                <a:lnTo>
                  <a:pt x="479" y="1221"/>
                </a:lnTo>
                <a:lnTo>
                  <a:pt x="479" y="1225"/>
                </a:lnTo>
                <a:lnTo>
                  <a:pt x="480" y="1227"/>
                </a:lnTo>
                <a:lnTo>
                  <a:pt x="481" y="1222"/>
                </a:lnTo>
                <a:lnTo>
                  <a:pt x="481" y="1217"/>
                </a:lnTo>
                <a:lnTo>
                  <a:pt x="488" y="1218"/>
                </a:lnTo>
                <a:lnTo>
                  <a:pt x="494" y="1218"/>
                </a:lnTo>
                <a:lnTo>
                  <a:pt x="496" y="1211"/>
                </a:lnTo>
                <a:lnTo>
                  <a:pt x="498" y="1206"/>
                </a:lnTo>
                <a:lnTo>
                  <a:pt x="501" y="1207"/>
                </a:lnTo>
                <a:lnTo>
                  <a:pt x="504" y="1207"/>
                </a:lnTo>
                <a:lnTo>
                  <a:pt x="505" y="1204"/>
                </a:lnTo>
                <a:lnTo>
                  <a:pt x="504" y="1200"/>
                </a:lnTo>
                <a:lnTo>
                  <a:pt x="503" y="1195"/>
                </a:lnTo>
                <a:lnTo>
                  <a:pt x="504" y="1192"/>
                </a:lnTo>
                <a:lnTo>
                  <a:pt x="506" y="1195"/>
                </a:lnTo>
                <a:lnTo>
                  <a:pt x="509" y="1196"/>
                </a:lnTo>
                <a:lnTo>
                  <a:pt x="506" y="1187"/>
                </a:lnTo>
                <a:lnTo>
                  <a:pt x="506" y="1178"/>
                </a:lnTo>
                <a:lnTo>
                  <a:pt x="513" y="1179"/>
                </a:lnTo>
                <a:lnTo>
                  <a:pt x="520" y="1179"/>
                </a:lnTo>
                <a:lnTo>
                  <a:pt x="520" y="1171"/>
                </a:lnTo>
                <a:lnTo>
                  <a:pt x="518" y="1164"/>
                </a:lnTo>
                <a:lnTo>
                  <a:pt x="522" y="1162"/>
                </a:lnTo>
                <a:lnTo>
                  <a:pt x="523" y="1159"/>
                </a:lnTo>
                <a:lnTo>
                  <a:pt x="530" y="1159"/>
                </a:lnTo>
                <a:lnTo>
                  <a:pt x="533" y="1154"/>
                </a:lnTo>
                <a:lnTo>
                  <a:pt x="531" y="1151"/>
                </a:lnTo>
                <a:lnTo>
                  <a:pt x="531" y="1147"/>
                </a:lnTo>
                <a:lnTo>
                  <a:pt x="535" y="1145"/>
                </a:lnTo>
                <a:lnTo>
                  <a:pt x="538" y="1145"/>
                </a:lnTo>
                <a:lnTo>
                  <a:pt x="544" y="1139"/>
                </a:lnTo>
                <a:lnTo>
                  <a:pt x="548" y="1132"/>
                </a:lnTo>
                <a:lnTo>
                  <a:pt x="554" y="1123"/>
                </a:lnTo>
                <a:lnTo>
                  <a:pt x="553" y="1112"/>
                </a:lnTo>
                <a:lnTo>
                  <a:pt x="560" y="1115"/>
                </a:lnTo>
                <a:lnTo>
                  <a:pt x="567" y="1112"/>
                </a:lnTo>
                <a:lnTo>
                  <a:pt x="567" y="1110"/>
                </a:lnTo>
                <a:lnTo>
                  <a:pt x="564" y="1110"/>
                </a:lnTo>
                <a:lnTo>
                  <a:pt x="563" y="1111"/>
                </a:lnTo>
                <a:lnTo>
                  <a:pt x="562" y="1110"/>
                </a:lnTo>
                <a:lnTo>
                  <a:pt x="561" y="1107"/>
                </a:lnTo>
                <a:lnTo>
                  <a:pt x="561" y="1106"/>
                </a:lnTo>
                <a:lnTo>
                  <a:pt x="562" y="1103"/>
                </a:lnTo>
                <a:lnTo>
                  <a:pt x="564" y="1101"/>
                </a:lnTo>
                <a:lnTo>
                  <a:pt x="568" y="1095"/>
                </a:lnTo>
                <a:lnTo>
                  <a:pt x="570" y="1090"/>
                </a:lnTo>
                <a:lnTo>
                  <a:pt x="572" y="1086"/>
                </a:lnTo>
                <a:lnTo>
                  <a:pt x="576" y="1082"/>
                </a:lnTo>
                <a:lnTo>
                  <a:pt x="577" y="1078"/>
                </a:lnTo>
                <a:lnTo>
                  <a:pt x="580" y="1074"/>
                </a:lnTo>
                <a:lnTo>
                  <a:pt x="585" y="1074"/>
                </a:lnTo>
                <a:lnTo>
                  <a:pt x="585" y="1080"/>
                </a:lnTo>
                <a:lnTo>
                  <a:pt x="584" y="1082"/>
                </a:lnTo>
                <a:lnTo>
                  <a:pt x="581" y="1085"/>
                </a:lnTo>
                <a:lnTo>
                  <a:pt x="579" y="1087"/>
                </a:lnTo>
                <a:lnTo>
                  <a:pt x="579" y="1090"/>
                </a:lnTo>
                <a:lnTo>
                  <a:pt x="581" y="1096"/>
                </a:lnTo>
                <a:lnTo>
                  <a:pt x="583" y="1101"/>
                </a:lnTo>
                <a:lnTo>
                  <a:pt x="579" y="1103"/>
                </a:lnTo>
                <a:lnTo>
                  <a:pt x="576" y="1105"/>
                </a:lnTo>
                <a:lnTo>
                  <a:pt x="572" y="1107"/>
                </a:lnTo>
                <a:lnTo>
                  <a:pt x="569" y="1110"/>
                </a:lnTo>
                <a:lnTo>
                  <a:pt x="562" y="1122"/>
                </a:lnTo>
                <a:lnTo>
                  <a:pt x="556" y="1135"/>
                </a:lnTo>
                <a:lnTo>
                  <a:pt x="555" y="1142"/>
                </a:lnTo>
                <a:lnTo>
                  <a:pt x="551" y="1146"/>
                </a:lnTo>
                <a:lnTo>
                  <a:pt x="547" y="1148"/>
                </a:lnTo>
                <a:lnTo>
                  <a:pt x="545" y="1149"/>
                </a:lnTo>
                <a:lnTo>
                  <a:pt x="545" y="1153"/>
                </a:lnTo>
                <a:lnTo>
                  <a:pt x="544" y="1156"/>
                </a:lnTo>
                <a:lnTo>
                  <a:pt x="541" y="1161"/>
                </a:lnTo>
                <a:lnTo>
                  <a:pt x="537" y="1164"/>
                </a:lnTo>
                <a:lnTo>
                  <a:pt x="535" y="1167"/>
                </a:lnTo>
                <a:lnTo>
                  <a:pt x="533" y="1169"/>
                </a:lnTo>
                <a:lnTo>
                  <a:pt x="531" y="1172"/>
                </a:lnTo>
                <a:lnTo>
                  <a:pt x="530" y="1174"/>
                </a:lnTo>
                <a:lnTo>
                  <a:pt x="528" y="1177"/>
                </a:lnTo>
                <a:lnTo>
                  <a:pt x="525" y="1178"/>
                </a:lnTo>
                <a:lnTo>
                  <a:pt x="523" y="1181"/>
                </a:lnTo>
                <a:lnTo>
                  <a:pt x="522" y="1185"/>
                </a:lnTo>
                <a:lnTo>
                  <a:pt x="520" y="1190"/>
                </a:lnTo>
                <a:lnTo>
                  <a:pt x="517" y="1196"/>
                </a:lnTo>
                <a:lnTo>
                  <a:pt x="523" y="1196"/>
                </a:lnTo>
                <a:lnTo>
                  <a:pt x="530" y="1196"/>
                </a:lnTo>
                <a:lnTo>
                  <a:pt x="518" y="1203"/>
                </a:lnTo>
                <a:lnTo>
                  <a:pt x="509" y="1214"/>
                </a:lnTo>
                <a:lnTo>
                  <a:pt x="505" y="1219"/>
                </a:lnTo>
                <a:lnTo>
                  <a:pt x="502" y="1225"/>
                </a:lnTo>
                <a:lnTo>
                  <a:pt x="498" y="1227"/>
                </a:lnTo>
                <a:lnTo>
                  <a:pt x="497" y="1230"/>
                </a:lnTo>
                <a:lnTo>
                  <a:pt x="497" y="1232"/>
                </a:lnTo>
                <a:lnTo>
                  <a:pt x="498" y="1235"/>
                </a:lnTo>
                <a:lnTo>
                  <a:pt x="496" y="1240"/>
                </a:lnTo>
                <a:lnTo>
                  <a:pt x="493" y="1246"/>
                </a:lnTo>
                <a:lnTo>
                  <a:pt x="490" y="1248"/>
                </a:lnTo>
                <a:lnTo>
                  <a:pt x="489" y="1251"/>
                </a:lnTo>
                <a:lnTo>
                  <a:pt x="487" y="1253"/>
                </a:lnTo>
                <a:lnTo>
                  <a:pt x="486" y="1253"/>
                </a:lnTo>
                <a:lnTo>
                  <a:pt x="487" y="1255"/>
                </a:lnTo>
                <a:lnTo>
                  <a:pt x="488" y="1256"/>
                </a:lnTo>
                <a:lnTo>
                  <a:pt x="487" y="1261"/>
                </a:lnTo>
                <a:lnTo>
                  <a:pt x="484" y="1263"/>
                </a:lnTo>
                <a:lnTo>
                  <a:pt x="479" y="1268"/>
                </a:lnTo>
                <a:lnTo>
                  <a:pt x="478" y="1273"/>
                </a:lnTo>
                <a:lnTo>
                  <a:pt x="478" y="1280"/>
                </a:lnTo>
                <a:lnTo>
                  <a:pt x="477" y="1287"/>
                </a:lnTo>
                <a:lnTo>
                  <a:pt x="472" y="1293"/>
                </a:lnTo>
                <a:lnTo>
                  <a:pt x="469" y="1298"/>
                </a:lnTo>
                <a:lnTo>
                  <a:pt x="469" y="1303"/>
                </a:lnTo>
                <a:lnTo>
                  <a:pt x="468" y="1309"/>
                </a:lnTo>
                <a:lnTo>
                  <a:pt x="463" y="1313"/>
                </a:lnTo>
                <a:lnTo>
                  <a:pt x="462" y="1319"/>
                </a:lnTo>
                <a:lnTo>
                  <a:pt x="460" y="1337"/>
                </a:lnTo>
                <a:lnTo>
                  <a:pt x="454" y="1354"/>
                </a:lnTo>
                <a:lnTo>
                  <a:pt x="451" y="1360"/>
                </a:lnTo>
                <a:lnTo>
                  <a:pt x="449" y="1368"/>
                </a:lnTo>
                <a:lnTo>
                  <a:pt x="449" y="1370"/>
                </a:lnTo>
                <a:lnTo>
                  <a:pt x="448" y="1372"/>
                </a:lnTo>
                <a:lnTo>
                  <a:pt x="447" y="1375"/>
                </a:lnTo>
                <a:lnTo>
                  <a:pt x="445" y="1377"/>
                </a:lnTo>
                <a:lnTo>
                  <a:pt x="446" y="1385"/>
                </a:lnTo>
                <a:lnTo>
                  <a:pt x="445" y="1392"/>
                </a:lnTo>
                <a:lnTo>
                  <a:pt x="441" y="1394"/>
                </a:lnTo>
                <a:lnTo>
                  <a:pt x="440" y="1396"/>
                </a:lnTo>
                <a:lnTo>
                  <a:pt x="443" y="1400"/>
                </a:lnTo>
                <a:lnTo>
                  <a:pt x="443" y="1402"/>
                </a:lnTo>
                <a:lnTo>
                  <a:pt x="443" y="1404"/>
                </a:lnTo>
                <a:lnTo>
                  <a:pt x="441" y="1406"/>
                </a:lnTo>
                <a:lnTo>
                  <a:pt x="440" y="1410"/>
                </a:lnTo>
                <a:lnTo>
                  <a:pt x="440" y="1412"/>
                </a:lnTo>
                <a:lnTo>
                  <a:pt x="436" y="1417"/>
                </a:lnTo>
                <a:lnTo>
                  <a:pt x="432" y="1422"/>
                </a:lnTo>
                <a:lnTo>
                  <a:pt x="441" y="1418"/>
                </a:lnTo>
                <a:lnTo>
                  <a:pt x="452" y="1412"/>
                </a:lnTo>
                <a:lnTo>
                  <a:pt x="457" y="1411"/>
                </a:lnTo>
                <a:lnTo>
                  <a:pt x="460" y="1417"/>
                </a:lnTo>
                <a:lnTo>
                  <a:pt x="464" y="1406"/>
                </a:lnTo>
                <a:lnTo>
                  <a:pt x="469" y="1396"/>
                </a:lnTo>
                <a:lnTo>
                  <a:pt x="473" y="1412"/>
                </a:lnTo>
                <a:lnTo>
                  <a:pt x="479" y="1428"/>
                </a:lnTo>
                <a:lnTo>
                  <a:pt x="480" y="1423"/>
                </a:lnTo>
                <a:lnTo>
                  <a:pt x="481" y="1419"/>
                </a:lnTo>
                <a:lnTo>
                  <a:pt x="485" y="1420"/>
                </a:lnTo>
                <a:lnTo>
                  <a:pt x="490" y="1420"/>
                </a:lnTo>
                <a:lnTo>
                  <a:pt x="494" y="1414"/>
                </a:lnTo>
                <a:lnTo>
                  <a:pt x="495" y="1405"/>
                </a:lnTo>
                <a:lnTo>
                  <a:pt x="500" y="1400"/>
                </a:lnTo>
                <a:lnTo>
                  <a:pt x="501" y="1393"/>
                </a:lnTo>
                <a:lnTo>
                  <a:pt x="501" y="1387"/>
                </a:lnTo>
                <a:lnTo>
                  <a:pt x="506" y="1386"/>
                </a:lnTo>
                <a:lnTo>
                  <a:pt x="508" y="1380"/>
                </a:lnTo>
                <a:lnTo>
                  <a:pt x="512" y="1377"/>
                </a:lnTo>
                <a:lnTo>
                  <a:pt x="514" y="1376"/>
                </a:lnTo>
                <a:lnTo>
                  <a:pt x="515" y="1373"/>
                </a:lnTo>
                <a:lnTo>
                  <a:pt x="517" y="1370"/>
                </a:lnTo>
                <a:lnTo>
                  <a:pt x="517" y="1368"/>
                </a:lnTo>
                <a:lnTo>
                  <a:pt x="517" y="1362"/>
                </a:lnTo>
                <a:lnTo>
                  <a:pt x="517" y="1358"/>
                </a:lnTo>
                <a:lnTo>
                  <a:pt x="520" y="1353"/>
                </a:lnTo>
                <a:lnTo>
                  <a:pt x="521" y="1350"/>
                </a:lnTo>
                <a:lnTo>
                  <a:pt x="522" y="1351"/>
                </a:lnTo>
                <a:lnTo>
                  <a:pt x="526" y="1351"/>
                </a:lnTo>
                <a:lnTo>
                  <a:pt x="526" y="1346"/>
                </a:lnTo>
                <a:lnTo>
                  <a:pt x="526" y="1342"/>
                </a:lnTo>
                <a:lnTo>
                  <a:pt x="533" y="1343"/>
                </a:lnTo>
                <a:lnTo>
                  <a:pt x="534" y="1333"/>
                </a:lnTo>
                <a:lnTo>
                  <a:pt x="538" y="1333"/>
                </a:lnTo>
                <a:lnTo>
                  <a:pt x="541" y="1329"/>
                </a:lnTo>
                <a:lnTo>
                  <a:pt x="541" y="1320"/>
                </a:lnTo>
                <a:lnTo>
                  <a:pt x="538" y="1311"/>
                </a:lnTo>
                <a:lnTo>
                  <a:pt x="542" y="1312"/>
                </a:lnTo>
                <a:lnTo>
                  <a:pt x="543" y="1314"/>
                </a:lnTo>
                <a:lnTo>
                  <a:pt x="543" y="1317"/>
                </a:lnTo>
                <a:lnTo>
                  <a:pt x="544" y="1318"/>
                </a:lnTo>
                <a:lnTo>
                  <a:pt x="546" y="1314"/>
                </a:lnTo>
                <a:lnTo>
                  <a:pt x="545" y="1309"/>
                </a:lnTo>
                <a:lnTo>
                  <a:pt x="545" y="1302"/>
                </a:lnTo>
                <a:lnTo>
                  <a:pt x="544" y="1295"/>
                </a:lnTo>
                <a:lnTo>
                  <a:pt x="544" y="1292"/>
                </a:lnTo>
                <a:lnTo>
                  <a:pt x="544" y="1288"/>
                </a:lnTo>
                <a:lnTo>
                  <a:pt x="546" y="1288"/>
                </a:lnTo>
                <a:lnTo>
                  <a:pt x="547" y="1288"/>
                </a:lnTo>
                <a:lnTo>
                  <a:pt x="547" y="1286"/>
                </a:lnTo>
                <a:lnTo>
                  <a:pt x="546" y="1284"/>
                </a:lnTo>
                <a:lnTo>
                  <a:pt x="548" y="1290"/>
                </a:lnTo>
                <a:lnTo>
                  <a:pt x="553" y="1292"/>
                </a:lnTo>
                <a:lnTo>
                  <a:pt x="559" y="1284"/>
                </a:lnTo>
                <a:lnTo>
                  <a:pt x="561" y="1272"/>
                </a:lnTo>
                <a:lnTo>
                  <a:pt x="561" y="1268"/>
                </a:lnTo>
                <a:lnTo>
                  <a:pt x="564" y="1267"/>
                </a:lnTo>
                <a:lnTo>
                  <a:pt x="567" y="1268"/>
                </a:lnTo>
                <a:lnTo>
                  <a:pt x="569" y="1271"/>
                </a:lnTo>
                <a:lnTo>
                  <a:pt x="570" y="1275"/>
                </a:lnTo>
                <a:lnTo>
                  <a:pt x="571" y="1278"/>
                </a:lnTo>
                <a:lnTo>
                  <a:pt x="574" y="1281"/>
                </a:lnTo>
                <a:lnTo>
                  <a:pt x="576" y="1286"/>
                </a:lnTo>
                <a:lnTo>
                  <a:pt x="586" y="1283"/>
                </a:lnTo>
                <a:lnTo>
                  <a:pt x="592" y="1273"/>
                </a:lnTo>
                <a:lnTo>
                  <a:pt x="594" y="1267"/>
                </a:lnTo>
                <a:lnTo>
                  <a:pt x="595" y="1261"/>
                </a:lnTo>
                <a:lnTo>
                  <a:pt x="597" y="1254"/>
                </a:lnTo>
                <a:lnTo>
                  <a:pt x="597" y="1247"/>
                </a:lnTo>
                <a:lnTo>
                  <a:pt x="597" y="1242"/>
                </a:lnTo>
                <a:lnTo>
                  <a:pt x="600" y="1235"/>
                </a:lnTo>
                <a:lnTo>
                  <a:pt x="601" y="1232"/>
                </a:lnTo>
                <a:lnTo>
                  <a:pt x="602" y="1230"/>
                </a:lnTo>
                <a:lnTo>
                  <a:pt x="601" y="1228"/>
                </a:lnTo>
                <a:lnTo>
                  <a:pt x="599" y="1226"/>
                </a:lnTo>
                <a:lnTo>
                  <a:pt x="602" y="1215"/>
                </a:lnTo>
                <a:lnTo>
                  <a:pt x="608" y="1204"/>
                </a:lnTo>
                <a:lnTo>
                  <a:pt x="610" y="1204"/>
                </a:lnTo>
                <a:lnTo>
                  <a:pt x="613" y="1204"/>
                </a:lnTo>
                <a:lnTo>
                  <a:pt x="612" y="1212"/>
                </a:lnTo>
                <a:lnTo>
                  <a:pt x="611" y="1220"/>
                </a:lnTo>
                <a:lnTo>
                  <a:pt x="610" y="1227"/>
                </a:lnTo>
                <a:lnTo>
                  <a:pt x="609" y="1234"/>
                </a:lnTo>
                <a:lnTo>
                  <a:pt x="617" y="1236"/>
                </a:lnTo>
                <a:lnTo>
                  <a:pt x="626" y="1237"/>
                </a:lnTo>
                <a:lnTo>
                  <a:pt x="617" y="1242"/>
                </a:lnTo>
                <a:lnTo>
                  <a:pt x="608" y="1239"/>
                </a:lnTo>
                <a:lnTo>
                  <a:pt x="604" y="1252"/>
                </a:lnTo>
                <a:lnTo>
                  <a:pt x="611" y="1259"/>
                </a:lnTo>
                <a:lnTo>
                  <a:pt x="612" y="1262"/>
                </a:lnTo>
                <a:lnTo>
                  <a:pt x="611" y="1264"/>
                </a:lnTo>
                <a:lnTo>
                  <a:pt x="610" y="1265"/>
                </a:lnTo>
                <a:lnTo>
                  <a:pt x="608" y="1268"/>
                </a:lnTo>
                <a:lnTo>
                  <a:pt x="608" y="1269"/>
                </a:lnTo>
                <a:lnTo>
                  <a:pt x="608" y="1271"/>
                </a:lnTo>
                <a:lnTo>
                  <a:pt x="605" y="1273"/>
                </a:lnTo>
                <a:lnTo>
                  <a:pt x="604" y="1276"/>
                </a:lnTo>
                <a:lnTo>
                  <a:pt x="605" y="1277"/>
                </a:lnTo>
                <a:lnTo>
                  <a:pt x="608" y="1280"/>
                </a:lnTo>
                <a:lnTo>
                  <a:pt x="605" y="1283"/>
                </a:lnTo>
                <a:lnTo>
                  <a:pt x="603" y="1284"/>
                </a:lnTo>
                <a:lnTo>
                  <a:pt x="605" y="1286"/>
                </a:lnTo>
                <a:lnTo>
                  <a:pt x="608" y="1289"/>
                </a:lnTo>
                <a:lnTo>
                  <a:pt x="601" y="1294"/>
                </a:lnTo>
                <a:lnTo>
                  <a:pt x="597" y="1302"/>
                </a:lnTo>
                <a:lnTo>
                  <a:pt x="597" y="1305"/>
                </a:lnTo>
                <a:lnTo>
                  <a:pt x="597" y="1308"/>
                </a:lnTo>
                <a:lnTo>
                  <a:pt x="596" y="1310"/>
                </a:lnTo>
                <a:lnTo>
                  <a:pt x="595" y="1311"/>
                </a:lnTo>
                <a:lnTo>
                  <a:pt x="596" y="1314"/>
                </a:lnTo>
                <a:lnTo>
                  <a:pt x="597" y="1317"/>
                </a:lnTo>
                <a:lnTo>
                  <a:pt x="595" y="1319"/>
                </a:lnTo>
                <a:lnTo>
                  <a:pt x="592" y="1322"/>
                </a:lnTo>
                <a:lnTo>
                  <a:pt x="592" y="1326"/>
                </a:lnTo>
                <a:lnTo>
                  <a:pt x="592" y="1328"/>
                </a:lnTo>
                <a:lnTo>
                  <a:pt x="594" y="1329"/>
                </a:lnTo>
                <a:lnTo>
                  <a:pt x="595" y="1331"/>
                </a:lnTo>
                <a:lnTo>
                  <a:pt x="595" y="1333"/>
                </a:lnTo>
                <a:lnTo>
                  <a:pt x="593" y="1335"/>
                </a:lnTo>
                <a:lnTo>
                  <a:pt x="592" y="1339"/>
                </a:lnTo>
                <a:lnTo>
                  <a:pt x="589" y="1344"/>
                </a:lnTo>
                <a:lnTo>
                  <a:pt x="589" y="1348"/>
                </a:lnTo>
                <a:lnTo>
                  <a:pt x="589" y="1354"/>
                </a:lnTo>
                <a:lnTo>
                  <a:pt x="589" y="1355"/>
                </a:lnTo>
                <a:lnTo>
                  <a:pt x="589" y="1356"/>
                </a:lnTo>
                <a:lnTo>
                  <a:pt x="589" y="1359"/>
                </a:lnTo>
                <a:lnTo>
                  <a:pt x="588" y="1361"/>
                </a:lnTo>
                <a:lnTo>
                  <a:pt x="587" y="1362"/>
                </a:lnTo>
                <a:lnTo>
                  <a:pt x="586" y="1363"/>
                </a:lnTo>
                <a:lnTo>
                  <a:pt x="585" y="1368"/>
                </a:lnTo>
                <a:lnTo>
                  <a:pt x="584" y="1372"/>
                </a:lnTo>
                <a:lnTo>
                  <a:pt x="586" y="1378"/>
                </a:lnTo>
                <a:lnTo>
                  <a:pt x="588" y="1384"/>
                </a:lnTo>
                <a:lnTo>
                  <a:pt x="588" y="1391"/>
                </a:lnTo>
                <a:lnTo>
                  <a:pt x="586" y="1398"/>
                </a:lnTo>
                <a:lnTo>
                  <a:pt x="581" y="1412"/>
                </a:lnTo>
                <a:lnTo>
                  <a:pt x="579" y="1426"/>
                </a:lnTo>
                <a:lnTo>
                  <a:pt x="579" y="1439"/>
                </a:lnTo>
                <a:lnTo>
                  <a:pt x="579" y="1455"/>
                </a:lnTo>
                <a:lnTo>
                  <a:pt x="576" y="1466"/>
                </a:lnTo>
                <a:lnTo>
                  <a:pt x="575" y="1478"/>
                </a:lnTo>
                <a:lnTo>
                  <a:pt x="576" y="1483"/>
                </a:lnTo>
                <a:lnTo>
                  <a:pt x="579" y="1487"/>
                </a:lnTo>
                <a:lnTo>
                  <a:pt x="583" y="1488"/>
                </a:lnTo>
                <a:lnTo>
                  <a:pt x="585" y="1486"/>
                </a:lnTo>
                <a:lnTo>
                  <a:pt x="587" y="1486"/>
                </a:lnTo>
                <a:lnTo>
                  <a:pt x="588" y="1487"/>
                </a:lnTo>
                <a:lnTo>
                  <a:pt x="592" y="1488"/>
                </a:lnTo>
                <a:lnTo>
                  <a:pt x="593" y="1485"/>
                </a:lnTo>
                <a:lnTo>
                  <a:pt x="591" y="1480"/>
                </a:lnTo>
                <a:lnTo>
                  <a:pt x="589" y="1475"/>
                </a:lnTo>
                <a:lnTo>
                  <a:pt x="589" y="1469"/>
                </a:lnTo>
                <a:lnTo>
                  <a:pt x="592" y="1463"/>
                </a:lnTo>
                <a:lnTo>
                  <a:pt x="592" y="1460"/>
                </a:lnTo>
                <a:lnTo>
                  <a:pt x="593" y="1456"/>
                </a:lnTo>
                <a:lnTo>
                  <a:pt x="596" y="1455"/>
                </a:lnTo>
                <a:lnTo>
                  <a:pt x="599" y="1454"/>
                </a:lnTo>
                <a:lnTo>
                  <a:pt x="597" y="1451"/>
                </a:lnTo>
                <a:lnTo>
                  <a:pt x="596" y="1448"/>
                </a:lnTo>
                <a:lnTo>
                  <a:pt x="597" y="1443"/>
                </a:lnTo>
                <a:lnTo>
                  <a:pt x="601" y="1437"/>
                </a:lnTo>
                <a:lnTo>
                  <a:pt x="603" y="1433"/>
                </a:lnTo>
                <a:lnTo>
                  <a:pt x="605" y="1429"/>
                </a:lnTo>
                <a:lnTo>
                  <a:pt x="605" y="1425"/>
                </a:lnTo>
                <a:lnTo>
                  <a:pt x="607" y="1421"/>
                </a:lnTo>
                <a:lnTo>
                  <a:pt x="612" y="1420"/>
                </a:lnTo>
                <a:lnTo>
                  <a:pt x="617" y="1418"/>
                </a:lnTo>
                <a:lnTo>
                  <a:pt x="616" y="1414"/>
                </a:lnTo>
                <a:lnTo>
                  <a:pt x="614" y="1411"/>
                </a:lnTo>
                <a:lnTo>
                  <a:pt x="618" y="1409"/>
                </a:lnTo>
                <a:lnTo>
                  <a:pt x="620" y="1405"/>
                </a:lnTo>
                <a:lnTo>
                  <a:pt x="619" y="1401"/>
                </a:lnTo>
                <a:lnTo>
                  <a:pt x="618" y="1396"/>
                </a:lnTo>
                <a:lnTo>
                  <a:pt x="618" y="1394"/>
                </a:lnTo>
                <a:lnTo>
                  <a:pt x="621" y="1392"/>
                </a:lnTo>
                <a:lnTo>
                  <a:pt x="624" y="1388"/>
                </a:lnTo>
                <a:lnTo>
                  <a:pt x="624" y="1385"/>
                </a:lnTo>
                <a:lnTo>
                  <a:pt x="624" y="1383"/>
                </a:lnTo>
                <a:lnTo>
                  <a:pt x="624" y="1381"/>
                </a:lnTo>
                <a:lnTo>
                  <a:pt x="625" y="1381"/>
                </a:lnTo>
                <a:lnTo>
                  <a:pt x="625" y="1381"/>
                </a:lnTo>
                <a:lnTo>
                  <a:pt x="627" y="1380"/>
                </a:lnTo>
                <a:lnTo>
                  <a:pt x="627" y="1378"/>
                </a:lnTo>
                <a:lnTo>
                  <a:pt x="628" y="1377"/>
                </a:lnTo>
                <a:lnTo>
                  <a:pt x="632" y="1378"/>
                </a:lnTo>
                <a:lnTo>
                  <a:pt x="633" y="1373"/>
                </a:lnTo>
                <a:lnTo>
                  <a:pt x="632" y="1368"/>
                </a:lnTo>
                <a:lnTo>
                  <a:pt x="636" y="1365"/>
                </a:lnTo>
                <a:lnTo>
                  <a:pt x="635" y="1361"/>
                </a:lnTo>
                <a:lnTo>
                  <a:pt x="634" y="1358"/>
                </a:lnTo>
                <a:lnTo>
                  <a:pt x="635" y="1354"/>
                </a:lnTo>
                <a:lnTo>
                  <a:pt x="640" y="1355"/>
                </a:lnTo>
                <a:lnTo>
                  <a:pt x="642" y="1358"/>
                </a:lnTo>
                <a:lnTo>
                  <a:pt x="645" y="1356"/>
                </a:lnTo>
                <a:lnTo>
                  <a:pt x="646" y="1353"/>
                </a:lnTo>
                <a:lnTo>
                  <a:pt x="647" y="1351"/>
                </a:lnTo>
                <a:lnTo>
                  <a:pt x="647" y="1347"/>
                </a:lnTo>
                <a:lnTo>
                  <a:pt x="650" y="1346"/>
                </a:lnTo>
                <a:lnTo>
                  <a:pt x="652" y="1344"/>
                </a:lnTo>
                <a:lnTo>
                  <a:pt x="655" y="1338"/>
                </a:lnTo>
                <a:lnTo>
                  <a:pt x="658" y="1331"/>
                </a:lnTo>
                <a:lnTo>
                  <a:pt x="658" y="1331"/>
                </a:lnTo>
                <a:lnTo>
                  <a:pt x="658" y="1330"/>
                </a:lnTo>
                <a:lnTo>
                  <a:pt x="661" y="1329"/>
                </a:lnTo>
                <a:lnTo>
                  <a:pt x="662" y="1325"/>
                </a:lnTo>
                <a:lnTo>
                  <a:pt x="661" y="1320"/>
                </a:lnTo>
                <a:lnTo>
                  <a:pt x="661" y="1315"/>
                </a:lnTo>
                <a:lnTo>
                  <a:pt x="673" y="1304"/>
                </a:lnTo>
                <a:lnTo>
                  <a:pt x="671" y="1283"/>
                </a:lnTo>
                <a:lnTo>
                  <a:pt x="675" y="1286"/>
                </a:lnTo>
                <a:lnTo>
                  <a:pt x="677" y="1289"/>
                </a:lnTo>
                <a:lnTo>
                  <a:pt x="679" y="1286"/>
                </a:lnTo>
                <a:lnTo>
                  <a:pt x="678" y="1280"/>
                </a:lnTo>
                <a:lnTo>
                  <a:pt x="682" y="1279"/>
                </a:lnTo>
                <a:lnTo>
                  <a:pt x="684" y="1283"/>
                </a:lnTo>
                <a:lnTo>
                  <a:pt x="685" y="1281"/>
                </a:lnTo>
                <a:lnTo>
                  <a:pt x="686" y="1279"/>
                </a:lnTo>
                <a:lnTo>
                  <a:pt x="686" y="1276"/>
                </a:lnTo>
                <a:lnTo>
                  <a:pt x="686" y="1271"/>
                </a:lnTo>
                <a:lnTo>
                  <a:pt x="688" y="1264"/>
                </a:lnTo>
                <a:lnTo>
                  <a:pt x="691" y="1257"/>
                </a:lnTo>
                <a:lnTo>
                  <a:pt x="691" y="1255"/>
                </a:lnTo>
                <a:lnTo>
                  <a:pt x="691" y="1252"/>
                </a:lnTo>
                <a:lnTo>
                  <a:pt x="692" y="1248"/>
                </a:lnTo>
                <a:lnTo>
                  <a:pt x="691" y="1245"/>
                </a:lnTo>
                <a:lnTo>
                  <a:pt x="690" y="1243"/>
                </a:lnTo>
                <a:lnTo>
                  <a:pt x="690" y="1239"/>
                </a:lnTo>
                <a:lnTo>
                  <a:pt x="692" y="1238"/>
                </a:lnTo>
                <a:lnTo>
                  <a:pt x="694" y="1240"/>
                </a:lnTo>
                <a:lnTo>
                  <a:pt x="696" y="1246"/>
                </a:lnTo>
                <a:lnTo>
                  <a:pt x="699" y="1251"/>
                </a:lnTo>
                <a:lnTo>
                  <a:pt x="703" y="1253"/>
                </a:lnTo>
                <a:lnTo>
                  <a:pt x="708" y="1256"/>
                </a:lnTo>
                <a:lnTo>
                  <a:pt x="706" y="1263"/>
                </a:lnTo>
                <a:lnTo>
                  <a:pt x="703" y="1270"/>
                </a:lnTo>
                <a:lnTo>
                  <a:pt x="709" y="1270"/>
                </a:lnTo>
                <a:lnTo>
                  <a:pt x="716" y="1269"/>
                </a:lnTo>
                <a:lnTo>
                  <a:pt x="715" y="1273"/>
                </a:lnTo>
                <a:lnTo>
                  <a:pt x="711" y="1278"/>
                </a:lnTo>
                <a:lnTo>
                  <a:pt x="707" y="1290"/>
                </a:lnTo>
                <a:lnTo>
                  <a:pt x="699" y="1303"/>
                </a:lnTo>
                <a:lnTo>
                  <a:pt x="707" y="1305"/>
                </a:lnTo>
                <a:lnTo>
                  <a:pt x="706" y="1312"/>
                </a:lnTo>
                <a:lnTo>
                  <a:pt x="702" y="1318"/>
                </a:lnTo>
                <a:lnTo>
                  <a:pt x="700" y="1325"/>
                </a:lnTo>
                <a:lnTo>
                  <a:pt x="699" y="1333"/>
                </a:lnTo>
                <a:lnTo>
                  <a:pt x="696" y="1339"/>
                </a:lnTo>
                <a:lnTo>
                  <a:pt x="700" y="1338"/>
                </a:lnTo>
                <a:lnTo>
                  <a:pt x="702" y="1337"/>
                </a:lnTo>
                <a:lnTo>
                  <a:pt x="701" y="1340"/>
                </a:lnTo>
                <a:lnTo>
                  <a:pt x="701" y="1343"/>
                </a:lnTo>
                <a:lnTo>
                  <a:pt x="704" y="1352"/>
                </a:lnTo>
                <a:lnTo>
                  <a:pt x="702" y="1365"/>
                </a:lnTo>
                <a:lnTo>
                  <a:pt x="706" y="1368"/>
                </a:lnTo>
                <a:lnTo>
                  <a:pt x="707" y="1370"/>
                </a:lnTo>
                <a:lnTo>
                  <a:pt x="706" y="1376"/>
                </a:lnTo>
                <a:lnTo>
                  <a:pt x="702" y="1380"/>
                </a:lnTo>
                <a:lnTo>
                  <a:pt x="700" y="1386"/>
                </a:lnTo>
                <a:lnTo>
                  <a:pt x="698" y="1393"/>
                </a:lnTo>
                <a:lnTo>
                  <a:pt x="699" y="1397"/>
                </a:lnTo>
                <a:lnTo>
                  <a:pt x="696" y="1403"/>
                </a:lnTo>
                <a:lnTo>
                  <a:pt x="701" y="1408"/>
                </a:lnTo>
                <a:lnTo>
                  <a:pt x="699" y="1412"/>
                </a:lnTo>
                <a:lnTo>
                  <a:pt x="693" y="1418"/>
                </a:lnTo>
                <a:lnTo>
                  <a:pt x="688" y="1423"/>
                </a:lnTo>
                <a:lnTo>
                  <a:pt x="686" y="1431"/>
                </a:lnTo>
                <a:lnTo>
                  <a:pt x="685" y="1439"/>
                </a:lnTo>
                <a:lnTo>
                  <a:pt x="684" y="1447"/>
                </a:lnTo>
                <a:lnTo>
                  <a:pt x="684" y="1455"/>
                </a:lnTo>
                <a:lnTo>
                  <a:pt x="686" y="1458"/>
                </a:lnTo>
                <a:lnTo>
                  <a:pt x="687" y="1461"/>
                </a:lnTo>
                <a:lnTo>
                  <a:pt x="685" y="1464"/>
                </a:lnTo>
                <a:lnTo>
                  <a:pt x="684" y="1469"/>
                </a:lnTo>
                <a:lnTo>
                  <a:pt x="683" y="1471"/>
                </a:lnTo>
                <a:lnTo>
                  <a:pt x="682" y="1475"/>
                </a:lnTo>
                <a:lnTo>
                  <a:pt x="680" y="1484"/>
                </a:lnTo>
                <a:lnTo>
                  <a:pt x="678" y="1492"/>
                </a:lnTo>
                <a:lnTo>
                  <a:pt x="675" y="1497"/>
                </a:lnTo>
                <a:lnTo>
                  <a:pt x="678" y="1501"/>
                </a:lnTo>
                <a:lnTo>
                  <a:pt x="676" y="1517"/>
                </a:lnTo>
                <a:lnTo>
                  <a:pt x="674" y="1534"/>
                </a:lnTo>
                <a:lnTo>
                  <a:pt x="679" y="1531"/>
                </a:lnTo>
                <a:lnTo>
                  <a:pt x="684" y="1530"/>
                </a:lnTo>
                <a:lnTo>
                  <a:pt x="676" y="1538"/>
                </a:lnTo>
                <a:lnTo>
                  <a:pt x="670" y="1549"/>
                </a:lnTo>
                <a:lnTo>
                  <a:pt x="680" y="1542"/>
                </a:lnTo>
                <a:lnTo>
                  <a:pt x="688" y="1533"/>
                </a:lnTo>
                <a:lnTo>
                  <a:pt x="686" y="1529"/>
                </a:lnTo>
                <a:lnTo>
                  <a:pt x="685" y="1526"/>
                </a:lnTo>
                <a:lnTo>
                  <a:pt x="691" y="1518"/>
                </a:lnTo>
                <a:lnTo>
                  <a:pt x="695" y="1521"/>
                </a:lnTo>
                <a:lnTo>
                  <a:pt x="694" y="1527"/>
                </a:lnTo>
                <a:lnTo>
                  <a:pt x="693" y="1533"/>
                </a:lnTo>
                <a:lnTo>
                  <a:pt x="696" y="1539"/>
                </a:lnTo>
                <a:lnTo>
                  <a:pt x="700" y="1546"/>
                </a:lnTo>
                <a:lnTo>
                  <a:pt x="696" y="1539"/>
                </a:lnTo>
                <a:lnTo>
                  <a:pt x="692" y="1539"/>
                </a:lnTo>
                <a:lnTo>
                  <a:pt x="693" y="1543"/>
                </a:lnTo>
                <a:lnTo>
                  <a:pt x="693" y="1546"/>
                </a:lnTo>
                <a:lnTo>
                  <a:pt x="692" y="1547"/>
                </a:lnTo>
                <a:lnTo>
                  <a:pt x="690" y="1549"/>
                </a:lnTo>
                <a:lnTo>
                  <a:pt x="688" y="1552"/>
                </a:lnTo>
                <a:lnTo>
                  <a:pt x="688" y="1554"/>
                </a:lnTo>
                <a:lnTo>
                  <a:pt x="685" y="1558"/>
                </a:lnTo>
                <a:lnTo>
                  <a:pt x="683" y="1554"/>
                </a:lnTo>
                <a:lnTo>
                  <a:pt x="684" y="1551"/>
                </a:lnTo>
                <a:lnTo>
                  <a:pt x="680" y="1550"/>
                </a:lnTo>
                <a:lnTo>
                  <a:pt x="676" y="1553"/>
                </a:lnTo>
                <a:lnTo>
                  <a:pt x="671" y="1558"/>
                </a:lnTo>
                <a:lnTo>
                  <a:pt x="669" y="1560"/>
                </a:lnTo>
                <a:lnTo>
                  <a:pt x="667" y="1563"/>
                </a:lnTo>
                <a:lnTo>
                  <a:pt x="669" y="1564"/>
                </a:lnTo>
                <a:lnTo>
                  <a:pt x="670" y="1567"/>
                </a:lnTo>
                <a:lnTo>
                  <a:pt x="670" y="1571"/>
                </a:lnTo>
                <a:lnTo>
                  <a:pt x="670" y="1575"/>
                </a:lnTo>
                <a:lnTo>
                  <a:pt x="679" y="1566"/>
                </a:lnTo>
                <a:lnTo>
                  <a:pt x="690" y="1558"/>
                </a:lnTo>
                <a:lnTo>
                  <a:pt x="692" y="1555"/>
                </a:lnTo>
                <a:lnTo>
                  <a:pt x="693" y="1553"/>
                </a:lnTo>
                <a:lnTo>
                  <a:pt x="693" y="1551"/>
                </a:lnTo>
                <a:lnTo>
                  <a:pt x="694" y="1549"/>
                </a:lnTo>
                <a:lnTo>
                  <a:pt x="696" y="1550"/>
                </a:lnTo>
                <a:lnTo>
                  <a:pt x="700" y="1550"/>
                </a:lnTo>
                <a:lnTo>
                  <a:pt x="702" y="1557"/>
                </a:lnTo>
                <a:lnTo>
                  <a:pt x="704" y="1563"/>
                </a:lnTo>
                <a:lnTo>
                  <a:pt x="699" y="1567"/>
                </a:lnTo>
                <a:lnTo>
                  <a:pt x="696" y="1576"/>
                </a:lnTo>
                <a:lnTo>
                  <a:pt x="698" y="1580"/>
                </a:lnTo>
                <a:lnTo>
                  <a:pt x="700" y="1584"/>
                </a:lnTo>
                <a:lnTo>
                  <a:pt x="703" y="1582"/>
                </a:lnTo>
                <a:lnTo>
                  <a:pt x="703" y="1578"/>
                </a:lnTo>
                <a:lnTo>
                  <a:pt x="702" y="1572"/>
                </a:lnTo>
                <a:lnTo>
                  <a:pt x="702" y="1567"/>
                </a:lnTo>
                <a:lnTo>
                  <a:pt x="706" y="1567"/>
                </a:lnTo>
                <a:lnTo>
                  <a:pt x="709" y="1567"/>
                </a:lnTo>
                <a:lnTo>
                  <a:pt x="708" y="1561"/>
                </a:lnTo>
                <a:lnTo>
                  <a:pt x="710" y="1558"/>
                </a:lnTo>
                <a:lnTo>
                  <a:pt x="710" y="1560"/>
                </a:lnTo>
                <a:lnTo>
                  <a:pt x="712" y="1560"/>
                </a:lnTo>
                <a:lnTo>
                  <a:pt x="715" y="1560"/>
                </a:lnTo>
                <a:lnTo>
                  <a:pt x="716" y="1559"/>
                </a:lnTo>
                <a:lnTo>
                  <a:pt x="717" y="1554"/>
                </a:lnTo>
                <a:lnTo>
                  <a:pt x="717" y="1550"/>
                </a:lnTo>
                <a:lnTo>
                  <a:pt x="715" y="1542"/>
                </a:lnTo>
                <a:lnTo>
                  <a:pt x="715" y="1535"/>
                </a:lnTo>
                <a:lnTo>
                  <a:pt x="718" y="1533"/>
                </a:lnTo>
                <a:lnTo>
                  <a:pt x="723" y="1534"/>
                </a:lnTo>
                <a:lnTo>
                  <a:pt x="724" y="1531"/>
                </a:lnTo>
                <a:lnTo>
                  <a:pt x="724" y="1529"/>
                </a:lnTo>
                <a:lnTo>
                  <a:pt x="726" y="1528"/>
                </a:lnTo>
                <a:lnTo>
                  <a:pt x="728" y="1527"/>
                </a:lnTo>
                <a:lnTo>
                  <a:pt x="733" y="1519"/>
                </a:lnTo>
                <a:lnTo>
                  <a:pt x="733" y="1511"/>
                </a:lnTo>
                <a:lnTo>
                  <a:pt x="732" y="1508"/>
                </a:lnTo>
                <a:lnTo>
                  <a:pt x="732" y="1504"/>
                </a:lnTo>
                <a:lnTo>
                  <a:pt x="733" y="1504"/>
                </a:lnTo>
                <a:lnTo>
                  <a:pt x="735" y="1504"/>
                </a:lnTo>
                <a:lnTo>
                  <a:pt x="737" y="1503"/>
                </a:lnTo>
                <a:lnTo>
                  <a:pt x="736" y="1500"/>
                </a:lnTo>
                <a:lnTo>
                  <a:pt x="736" y="1497"/>
                </a:lnTo>
                <a:lnTo>
                  <a:pt x="735" y="1495"/>
                </a:lnTo>
                <a:lnTo>
                  <a:pt x="737" y="1495"/>
                </a:lnTo>
                <a:lnTo>
                  <a:pt x="739" y="1497"/>
                </a:lnTo>
                <a:lnTo>
                  <a:pt x="744" y="1495"/>
                </a:lnTo>
                <a:lnTo>
                  <a:pt x="744" y="1486"/>
                </a:lnTo>
                <a:lnTo>
                  <a:pt x="744" y="1481"/>
                </a:lnTo>
                <a:lnTo>
                  <a:pt x="745" y="1477"/>
                </a:lnTo>
                <a:lnTo>
                  <a:pt x="745" y="1475"/>
                </a:lnTo>
                <a:lnTo>
                  <a:pt x="745" y="1474"/>
                </a:lnTo>
                <a:lnTo>
                  <a:pt x="747" y="1472"/>
                </a:lnTo>
                <a:lnTo>
                  <a:pt x="749" y="1471"/>
                </a:lnTo>
                <a:lnTo>
                  <a:pt x="751" y="1467"/>
                </a:lnTo>
                <a:lnTo>
                  <a:pt x="756" y="1468"/>
                </a:lnTo>
                <a:lnTo>
                  <a:pt x="756" y="1462"/>
                </a:lnTo>
                <a:lnTo>
                  <a:pt x="753" y="1458"/>
                </a:lnTo>
                <a:lnTo>
                  <a:pt x="756" y="1466"/>
                </a:lnTo>
                <a:lnTo>
                  <a:pt x="756" y="1474"/>
                </a:lnTo>
                <a:lnTo>
                  <a:pt x="753" y="1477"/>
                </a:lnTo>
                <a:lnTo>
                  <a:pt x="756" y="1479"/>
                </a:lnTo>
                <a:lnTo>
                  <a:pt x="758" y="1480"/>
                </a:lnTo>
                <a:lnTo>
                  <a:pt x="761" y="1481"/>
                </a:lnTo>
                <a:lnTo>
                  <a:pt x="764" y="1479"/>
                </a:lnTo>
                <a:lnTo>
                  <a:pt x="766" y="1477"/>
                </a:lnTo>
                <a:lnTo>
                  <a:pt x="768" y="1475"/>
                </a:lnTo>
                <a:lnTo>
                  <a:pt x="770" y="1471"/>
                </a:lnTo>
                <a:lnTo>
                  <a:pt x="770" y="1466"/>
                </a:lnTo>
                <a:lnTo>
                  <a:pt x="772" y="1459"/>
                </a:lnTo>
                <a:lnTo>
                  <a:pt x="775" y="1464"/>
                </a:lnTo>
                <a:lnTo>
                  <a:pt x="778" y="1470"/>
                </a:lnTo>
                <a:lnTo>
                  <a:pt x="775" y="1476"/>
                </a:lnTo>
                <a:lnTo>
                  <a:pt x="773" y="1480"/>
                </a:lnTo>
                <a:lnTo>
                  <a:pt x="776" y="1483"/>
                </a:lnTo>
                <a:lnTo>
                  <a:pt x="778" y="1484"/>
                </a:lnTo>
                <a:lnTo>
                  <a:pt x="780" y="1485"/>
                </a:lnTo>
                <a:lnTo>
                  <a:pt x="778" y="1487"/>
                </a:lnTo>
                <a:lnTo>
                  <a:pt x="778" y="1491"/>
                </a:lnTo>
                <a:lnTo>
                  <a:pt x="782" y="1489"/>
                </a:lnTo>
                <a:lnTo>
                  <a:pt x="785" y="1486"/>
                </a:lnTo>
                <a:lnTo>
                  <a:pt x="787" y="1488"/>
                </a:lnTo>
                <a:lnTo>
                  <a:pt x="784" y="1491"/>
                </a:lnTo>
                <a:lnTo>
                  <a:pt x="782" y="1493"/>
                </a:lnTo>
                <a:lnTo>
                  <a:pt x="780" y="1496"/>
                </a:lnTo>
                <a:lnTo>
                  <a:pt x="778" y="1499"/>
                </a:lnTo>
                <a:lnTo>
                  <a:pt x="778" y="1505"/>
                </a:lnTo>
                <a:lnTo>
                  <a:pt x="777" y="1511"/>
                </a:lnTo>
                <a:lnTo>
                  <a:pt x="776" y="1514"/>
                </a:lnTo>
                <a:lnTo>
                  <a:pt x="777" y="1518"/>
                </a:lnTo>
                <a:lnTo>
                  <a:pt x="780" y="1518"/>
                </a:lnTo>
                <a:lnTo>
                  <a:pt x="784" y="1518"/>
                </a:lnTo>
                <a:lnTo>
                  <a:pt x="782" y="1518"/>
                </a:lnTo>
                <a:lnTo>
                  <a:pt x="782" y="1520"/>
                </a:lnTo>
                <a:lnTo>
                  <a:pt x="780" y="1522"/>
                </a:lnTo>
                <a:lnTo>
                  <a:pt x="778" y="1524"/>
                </a:lnTo>
                <a:lnTo>
                  <a:pt x="777" y="1527"/>
                </a:lnTo>
                <a:lnTo>
                  <a:pt x="776" y="1530"/>
                </a:lnTo>
                <a:lnTo>
                  <a:pt x="776" y="1538"/>
                </a:lnTo>
                <a:lnTo>
                  <a:pt x="776" y="1546"/>
                </a:lnTo>
                <a:lnTo>
                  <a:pt x="783" y="1539"/>
                </a:lnTo>
                <a:lnTo>
                  <a:pt x="786" y="1531"/>
                </a:lnTo>
                <a:lnTo>
                  <a:pt x="786" y="1528"/>
                </a:lnTo>
                <a:lnTo>
                  <a:pt x="789" y="1527"/>
                </a:lnTo>
                <a:lnTo>
                  <a:pt x="791" y="1525"/>
                </a:lnTo>
                <a:lnTo>
                  <a:pt x="793" y="1522"/>
                </a:lnTo>
                <a:lnTo>
                  <a:pt x="792" y="1520"/>
                </a:lnTo>
                <a:lnTo>
                  <a:pt x="791" y="1518"/>
                </a:lnTo>
                <a:lnTo>
                  <a:pt x="794" y="1516"/>
                </a:lnTo>
                <a:lnTo>
                  <a:pt x="798" y="1518"/>
                </a:lnTo>
                <a:lnTo>
                  <a:pt x="798" y="1521"/>
                </a:lnTo>
                <a:lnTo>
                  <a:pt x="798" y="1525"/>
                </a:lnTo>
                <a:lnTo>
                  <a:pt x="797" y="1529"/>
                </a:lnTo>
                <a:lnTo>
                  <a:pt x="797" y="1534"/>
                </a:lnTo>
                <a:lnTo>
                  <a:pt x="795" y="1543"/>
                </a:lnTo>
                <a:lnTo>
                  <a:pt x="794" y="1552"/>
                </a:lnTo>
                <a:lnTo>
                  <a:pt x="795" y="1561"/>
                </a:lnTo>
                <a:lnTo>
                  <a:pt x="795" y="1570"/>
                </a:lnTo>
                <a:lnTo>
                  <a:pt x="793" y="1583"/>
                </a:lnTo>
                <a:lnTo>
                  <a:pt x="798" y="1594"/>
                </a:lnTo>
                <a:lnTo>
                  <a:pt x="794" y="1604"/>
                </a:lnTo>
                <a:lnTo>
                  <a:pt x="800" y="1616"/>
                </a:lnTo>
                <a:lnTo>
                  <a:pt x="793" y="1612"/>
                </a:lnTo>
                <a:lnTo>
                  <a:pt x="791" y="1618"/>
                </a:lnTo>
                <a:lnTo>
                  <a:pt x="793" y="1629"/>
                </a:lnTo>
                <a:lnTo>
                  <a:pt x="798" y="1641"/>
                </a:lnTo>
                <a:lnTo>
                  <a:pt x="800" y="1636"/>
                </a:lnTo>
                <a:lnTo>
                  <a:pt x="802" y="1632"/>
                </a:lnTo>
                <a:lnTo>
                  <a:pt x="805" y="1635"/>
                </a:lnTo>
                <a:lnTo>
                  <a:pt x="808" y="1635"/>
                </a:lnTo>
                <a:lnTo>
                  <a:pt x="805" y="1621"/>
                </a:lnTo>
                <a:lnTo>
                  <a:pt x="809" y="1609"/>
                </a:lnTo>
                <a:lnTo>
                  <a:pt x="813" y="1602"/>
                </a:lnTo>
                <a:lnTo>
                  <a:pt x="815" y="1595"/>
                </a:lnTo>
                <a:lnTo>
                  <a:pt x="816" y="1592"/>
                </a:lnTo>
                <a:lnTo>
                  <a:pt x="816" y="1588"/>
                </a:lnTo>
                <a:lnTo>
                  <a:pt x="815" y="1586"/>
                </a:lnTo>
                <a:lnTo>
                  <a:pt x="814" y="1584"/>
                </a:lnTo>
                <a:lnTo>
                  <a:pt x="819" y="1582"/>
                </a:lnTo>
                <a:lnTo>
                  <a:pt x="818" y="1570"/>
                </a:lnTo>
                <a:lnTo>
                  <a:pt x="819" y="1567"/>
                </a:lnTo>
                <a:lnTo>
                  <a:pt x="819" y="1564"/>
                </a:lnTo>
                <a:lnTo>
                  <a:pt x="820" y="1563"/>
                </a:lnTo>
                <a:lnTo>
                  <a:pt x="822" y="1562"/>
                </a:lnTo>
                <a:lnTo>
                  <a:pt x="820" y="1561"/>
                </a:lnTo>
                <a:lnTo>
                  <a:pt x="820" y="1558"/>
                </a:lnTo>
                <a:lnTo>
                  <a:pt x="823" y="1557"/>
                </a:lnTo>
                <a:lnTo>
                  <a:pt x="825" y="1557"/>
                </a:lnTo>
                <a:lnTo>
                  <a:pt x="830" y="1557"/>
                </a:lnTo>
                <a:lnTo>
                  <a:pt x="833" y="1555"/>
                </a:lnTo>
                <a:lnTo>
                  <a:pt x="832" y="1552"/>
                </a:lnTo>
                <a:lnTo>
                  <a:pt x="830" y="1550"/>
                </a:lnTo>
                <a:lnTo>
                  <a:pt x="830" y="1545"/>
                </a:lnTo>
                <a:lnTo>
                  <a:pt x="831" y="1541"/>
                </a:lnTo>
                <a:lnTo>
                  <a:pt x="828" y="1534"/>
                </a:lnTo>
                <a:lnTo>
                  <a:pt x="826" y="1527"/>
                </a:lnTo>
                <a:lnTo>
                  <a:pt x="832" y="1526"/>
                </a:lnTo>
                <a:lnTo>
                  <a:pt x="832" y="1520"/>
                </a:lnTo>
                <a:lnTo>
                  <a:pt x="832" y="1514"/>
                </a:lnTo>
                <a:lnTo>
                  <a:pt x="835" y="1509"/>
                </a:lnTo>
                <a:lnTo>
                  <a:pt x="836" y="1509"/>
                </a:lnTo>
                <a:lnTo>
                  <a:pt x="838" y="1508"/>
                </a:lnTo>
                <a:lnTo>
                  <a:pt x="838" y="1506"/>
                </a:lnTo>
                <a:lnTo>
                  <a:pt x="838" y="1505"/>
                </a:lnTo>
                <a:lnTo>
                  <a:pt x="838" y="1504"/>
                </a:lnTo>
                <a:lnTo>
                  <a:pt x="838" y="1501"/>
                </a:lnTo>
                <a:lnTo>
                  <a:pt x="839" y="1496"/>
                </a:lnTo>
                <a:lnTo>
                  <a:pt x="839" y="1492"/>
                </a:lnTo>
                <a:lnTo>
                  <a:pt x="838" y="1487"/>
                </a:lnTo>
                <a:lnTo>
                  <a:pt x="836" y="1484"/>
                </a:lnTo>
                <a:lnTo>
                  <a:pt x="839" y="1480"/>
                </a:lnTo>
                <a:lnTo>
                  <a:pt x="841" y="1477"/>
                </a:lnTo>
                <a:lnTo>
                  <a:pt x="840" y="1472"/>
                </a:lnTo>
                <a:lnTo>
                  <a:pt x="839" y="1469"/>
                </a:lnTo>
                <a:lnTo>
                  <a:pt x="839" y="1464"/>
                </a:lnTo>
                <a:lnTo>
                  <a:pt x="842" y="1462"/>
                </a:lnTo>
                <a:lnTo>
                  <a:pt x="846" y="1454"/>
                </a:lnTo>
                <a:lnTo>
                  <a:pt x="844" y="1445"/>
                </a:lnTo>
                <a:lnTo>
                  <a:pt x="843" y="1443"/>
                </a:lnTo>
                <a:lnTo>
                  <a:pt x="843" y="1442"/>
                </a:lnTo>
                <a:lnTo>
                  <a:pt x="844" y="1439"/>
                </a:lnTo>
                <a:lnTo>
                  <a:pt x="847" y="1439"/>
                </a:lnTo>
                <a:lnTo>
                  <a:pt x="849" y="1439"/>
                </a:lnTo>
                <a:lnTo>
                  <a:pt x="851" y="1438"/>
                </a:lnTo>
                <a:lnTo>
                  <a:pt x="851" y="1434"/>
                </a:lnTo>
                <a:lnTo>
                  <a:pt x="848" y="1431"/>
                </a:lnTo>
                <a:lnTo>
                  <a:pt x="847" y="1426"/>
                </a:lnTo>
                <a:lnTo>
                  <a:pt x="844" y="1421"/>
                </a:lnTo>
                <a:lnTo>
                  <a:pt x="846" y="1422"/>
                </a:lnTo>
                <a:lnTo>
                  <a:pt x="847" y="1425"/>
                </a:lnTo>
                <a:lnTo>
                  <a:pt x="857" y="1428"/>
                </a:lnTo>
                <a:lnTo>
                  <a:pt x="859" y="1445"/>
                </a:lnTo>
                <a:lnTo>
                  <a:pt x="858" y="1464"/>
                </a:lnTo>
                <a:lnTo>
                  <a:pt x="860" y="1484"/>
                </a:lnTo>
                <a:lnTo>
                  <a:pt x="865" y="1492"/>
                </a:lnTo>
                <a:lnTo>
                  <a:pt x="869" y="1501"/>
                </a:lnTo>
                <a:lnTo>
                  <a:pt x="872" y="1510"/>
                </a:lnTo>
                <a:lnTo>
                  <a:pt x="872" y="1519"/>
                </a:lnTo>
                <a:lnTo>
                  <a:pt x="869" y="1539"/>
                </a:lnTo>
                <a:lnTo>
                  <a:pt x="867" y="1560"/>
                </a:lnTo>
                <a:lnTo>
                  <a:pt x="869" y="1580"/>
                </a:lnTo>
                <a:lnTo>
                  <a:pt x="872" y="1601"/>
                </a:lnTo>
                <a:lnTo>
                  <a:pt x="873" y="1611"/>
                </a:lnTo>
                <a:lnTo>
                  <a:pt x="872" y="1621"/>
                </a:lnTo>
                <a:lnTo>
                  <a:pt x="869" y="1627"/>
                </a:lnTo>
                <a:lnTo>
                  <a:pt x="868" y="1632"/>
                </a:lnTo>
                <a:lnTo>
                  <a:pt x="869" y="1636"/>
                </a:lnTo>
                <a:lnTo>
                  <a:pt x="871" y="1641"/>
                </a:lnTo>
                <a:lnTo>
                  <a:pt x="869" y="1660"/>
                </a:lnTo>
                <a:lnTo>
                  <a:pt x="868" y="1680"/>
                </a:lnTo>
                <a:lnTo>
                  <a:pt x="869" y="1685"/>
                </a:lnTo>
                <a:lnTo>
                  <a:pt x="873" y="1687"/>
                </a:lnTo>
                <a:lnTo>
                  <a:pt x="880" y="1687"/>
                </a:lnTo>
                <a:lnTo>
                  <a:pt x="886" y="1684"/>
                </a:lnTo>
                <a:lnTo>
                  <a:pt x="881" y="1678"/>
                </a:lnTo>
                <a:lnTo>
                  <a:pt x="885" y="1676"/>
                </a:lnTo>
                <a:lnTo>
                  <a:pt x="890" y="1677"/>
                </a:lnTo>
                <a:lnTo>
                  <a:pt x="896" y="1677"/>
                </a:lnTo>
                <a:lnTo>
                  <a:pt x="900" y="1675"/>
                </a:lnTo>
                <a:lnTo>
                  <a:pt x="904" y="1670"/>
                </a:lnTo>
                <a:lnTo>
                  <a:pt x="905" y="1669"/>
                </a:lnTo>
                <a:lnTo>
                  <a:pt x="907" y="1669"/>
                </a:lnTo>
                <a:lnTo>
                  <a:pt x="909" y="1670"/>
                </a:lnTo>
                <a:lnTo>
                  <a:pt x="910" y="1671"/>
                </a:lnTo>
                <a:lnTo>
                  <a:pt x="914" y="1670"/>
                </a:lnTo>
                <a:lnTo>
                  <a:pt x="914" y="1667"/>
                </a:lnTo>
                <a:lnTo>
                  <a:pt x="913" y="1665"/>
                </a:lnTo>
                <a:lnTo>
                  <a:pt x="912" y="1661"/>
                </a:lnTo>
                <a:lnTo>
                  <a:pt x="908" y="1660"/>
                </a:lnTo>
                <a:lnTo>
                  <a:pt x="906" y="1658"/>
                </a:lnTo>
                <a:lnTo>
                  <a:pt x="906" y="1654"/>
                </a:lnTo>
                <a:lnTo>
                  <a:pt x="909" y="1652"/>
                </a:lnTo>
                <a:lnTo>
                  <a:pt x="913" y="1651"/>
                </a:lnTo>
                <a:lnTo>
                  <a:pt x="916" y="1650"/>
                </a:lnTo>
                <a:lnTo>
                  <a:pt x="921" y="1647"/>
                </a:lnTo>
                <a:lnTo>
                  <a:pt x="924" y="1646"/>
                </a:lnTo>
                <a:lnTo>
                  <a:pt x="923" y="1650"/>
                </a:lnTo>
                <a:lnTo>
                  <a:pt x="929" y="1653"/>
                </a:lnTo>
                <a:lnTo>
                  <a:pt x="937" y="1652"/>
                </a:lnTo>
                <a:lnTo>
                  <a:pt x="945" y="1649"/>
                </a:lnTo>
                <a:lnTo>
                  <a:pt x="935" y="1649"/>
                </a:lnTo>
                <a:lnTo>
                  <a:pt x="927" y="1646"/>
                </a:lnTo>
                <a:lnTo>
                  <a:pt x="930" y="1641"/>
                </a:lnTo>
                <a:lnTo>
                  <a:pt x="922" y="1641"/>
                </a:lnTo>
                <a:lnTo>
                  <a:pt x="915" y="1643"/>
                </a:lnTo>
                <a:lnTo>
                  <a:pt x="910" y="1638"/>
                </a:lnTo>
                <a:lnTo>
                  <a:pt x="910" y="1636"/>
                </a:lnTo>
                <a:lnTo>
                  <a:pt x="907" y="1635"/>
                </a:lnTo>
                <a:lnTo>
                  <a:pt x="907" y="1638"/>
                </a:lnTo>
                <a:lnTo>
                  <a:pt x="908" y="1642"/>
                </a:lnTo>
                <a:lnTo>
                  <a:pt x="898" y="1642"/>
                </a:lnTo>
                <a:lnTo>
                  <a:pt x="886" y="1638"/>
                </a:lnTo>
                <a:lnTo>
                  <a:pt x="898" y="1632"/>
                </a:lnTo>
                <a:lnTo>
                  <a:pt x="909" y="1628"/>
                </a:lnTo>
                <a:lnTo>
                  <a:pt x="901" y="1624"/>
                </a:lnTo>
                <a:lnTo>
                  <a:pt x="898" y="1616"/>
                </a:lnTo>
                <a:lnTo>
                  <a:pt x="901" y="1613"/>
                </a:lnTo>
                <a:lnTo>
                  <a:pt x="901" y="1609"/>
                </a:lnTo>
                <a:lnTo>
                  <a:pt x="906" y="1607"/>
                </a:lnTo>
                <a:lnTo>
                  <a:pt x="910" y="1605"/>
                </a:lnTo>
                <a:lnTo>
                  <a:pt x="914" y="1605"/>
                </a:lnTo>
                <a:lnTo>
                  <a:pt x="918" y="1604"/>
                </a:lnTo>
                <a:lnTo>
                  <a:pt x="921" y="1602"/>
                </a:lnTo>
                <a:lnTo>
                  <a:pt x="921" y="1599"/>
                </a:lnTo>
                <a:lnTo>
                  <a:pt x="921" y="1596"/>
                </a:lnTo>
                <a:lnTo>
                  <a:pt x="920" y="1595"/>
                </a:lnTo>
                <a:lnTo>
                  <a:pt x="916" y="1595"/>
                </a:lnTo>
                <a:lnTo>
                  <a:pt x="914" y="1596"/>
                </a:lnTo>
                <a:lnTo>
                  <a:pt x="912" y="1601"/>
                </a:lnTo>
                <a:lnTo>
                  <a:pt x="909" y="1604"/>
                </a:lnTo>
                <a:lnTo>
                  <a:pt x="907" y="1604"/>
                </a:lnTo>
                <a:lnTo>
                  <a:pt x="904" y="1604"/>
                </a:lnTo>
                <a:lnTo>
                  <a:pt x="898" y="1602"/>
                </a:lnTo>
                <a:lnTo>
                  <a:pt x="896" y="1596"/>
                </a:lnTo>
                <a:lnTo>
                  <a:pt x="899" y="1592"/>
                </a:lnTo>
                <a:lnTo>
                  <a:pt x="906" y="1593"/>
                </a:lnTo>
                <a:lnTo>
                  <a:pt x="910" y="1592"/>
                </a:lnTo>
                <a:lnTo>
                  <a:pt x="914" y="1587"/>
                </a:lnTo>
                <a:lnTo>
                  <a:pt x="905" y="1587"/>
                </a:lnTo>
                <a:lnTo>
                  <a:pt x="900" y="1583"/>
                </a:lnTo>
                <a:lnTo>
                  <a:pt x="904" y="1578"/>
                </a:lnTo>
                <a:lnTo>
                  <a:pt x="906" y="1572"/>
                </a:lnTo>
                <a:lnTo>
                  <a:pt x="909" y="1572"/>
                </a:lnTo>
                <a:lnTo>
                  <a:pt x="912" y="1570"/>
                </a:lnTo>
                <a:lnTo>
                  <a:pt x="915" y="1569"/>
                </a:lnTo>
                <a:lnTo>
                  <a:pt x="918" y="1570"/>
                </a:lnTo>
                <a:lnTo>
                  <a:pt x="933" y="1572"/>
                </a:lnTo>
                <a:lnTo>
                  <a:pt x="947" y="1570"/>
                </a:lnTo>
                <a:lnTo>
                  <a:pt x="959" y="1569"/>
                </a:lnTo>
                <a:lnTo>
                  <a:pt x="971" y="1570"/>
                </a:lnTo>
                <a:lnTo>
                  <a:pt x="980" y="1575"/>
                </a:lnTo>
                <a:lnTo>
                  <a:pt x="990" y="1575"/>
                </a:lnTo>
                <a:lnTo>
                  <a:pt x="984" y="1571"/>
                </a:lnTo>
                <a:lnTo>
                  <a:pt x="980" y="1567"/>
                </a:lnTo>
                <a:lnTo>
                  <a:pt x="976" y="1567"/>
                </a:lnTo>
                <a:lnTo>
                  <a:pt x="973" y="1567"/>
                </a:lnTo>
                <a:lnTo>
                  <a:pt x="967" y="1564"/>
                </a:lnTo>
                <a:lnTo>
                  <a:pt x="962" y="1562"/>
                </a:lnTo>
                <a:lnTo>
                  <a:pt x="967" y="1559"/>
                </a:lnTo>
                <a:lnTo>
                  <a:pt x="970" y="1553"/>
                </a:lnTo>
                <a:lnTo>
                  <a:pt x="967" y="1551"/>
                </a:lnTo>
                <a:lnTo>
                  <a:pt x="965" y="1549"/>
                </a:lnTo>
                <a:lnTo>
                  <a:pt x="963" y="1546"/>
                </a:lnTo>
                <a:lnTo>
                  <a:pt x="960" y="1543"/>
                </a:lnTo>
                <a:lnTo>
                  <a:pt x="955" y="1542"/>
                </a:lnTo>
                <a:lnTo>
                  <a:pt x="951" y="1545"/>
                </a:lnTo>
                <a:lnTo>
                  <a:pt x="954" y="1549"/>
                </a:lnTo>
                <a:lnTo>
                  <a:pt x="957" y="1552"/>
                </a:lnTo>
                <a:lnTo>
                  <a:pt x="960" y="1555"/>
                </a:lnTo>
                <a:lnTo>
                  <a:pt x="960" y="1560"/>
                </a:lnTo>
                <a:lnTo>
                  <a:pt x="950" y="1555"/>
                </a:lnTo>
                <a:lnTo>
                  <a:pt x="940" y="1563"/>
                </a:lnTo>
                <a:lnTo>
                  <a:pt x="939" y="1554"/>
                </a:lnTo>
                <a:lnTo>
                  <a:pt x="929" y="1555"/>
                </a:lnTo>
                <a:lnTo>
                  <a:pt x="932" y="1553"/>
                </a:lnTo>
                <a:lnTo>
                  <a:pt x="933" y="1550"/>
                </a:lnTo>
                <a:lnTo>
                  <a:pt x="931" y="1550"/>
                </a:lnTo>
                <a:lnTo>
                  <a:pt x="927" y="1550"/>
                </a:lnTo>
                <a:lnTo>
                  <a:pt x="923" y="1549"/>
                </a:lnTo>
                <a:lnTo>
                  <a:pt x="920" y="1549"/>
                </a:lnTo>
                <a:lnTo>
                  <a:pt x="917" y="1550"/>
                </a:lnTo>
                <a:lnTo>
                  <a:pt x="916" y="1553"/>
                </a:lnTo>
                <a:lnTo>
                  <a:pt x="916" y="1555"/>
                </a:lnTo>
                <a:lnTo>
                  <a:pt x="913" y="1557"/>
                </a:lnTo>
                <a:lnTo>
                  <a:pt x="910" y="1557"/>
                </a:lnTo>
                <a:lnTo>
                  <a:pt x="908" y="1554"/>
                </a:lnTo>
                <a:lnTo>
                  <a:pt x="900" y="1552"/>
                </a:lnTo>
                <a:lnTo>
                  <a:pt x="893" y="1550"/>
                </a:lnTo>
                <a:lnTo>
                  <a:pt x="898" y="1550"/>
                </a:lnTo>
                <a:lnTo>
                  <a:pt x="902" y="1547"/>
                </a:lnTo>
                <a:lnTo>
                  <a:pt x="899" y="1545"/>
                </a:lnTo>
                <a:lnTo>
                  <a:pt x="897" y="1542"/>
                </a:lnTo>
                <a:lnTo>
                  <a:pt x="904" y="1539"/>
                </a:lnTo>
                <a:lnTo>
                  <a:pt x="910" y="1537"/>
                </a:lnTo>
                <a:lnTo>
                  <a:pt x="914" y="1534"/>
                </a:lnTo>
                <a:lnTo>
                  <a:pt x="916" y="1530"/>
                </a:lnTo>
                <a:lnTo>
                  <a:pt x="931" y="1521"/>
                </a:lnTo>
                <a:lnTo>
                  <a:pt x="948" y="1521"/>
                </a:lnTo>
                <a:lnTo>
                  <a:pt x="953" y="1520"/>
                </a:lnTo>
                <a:lnTo>
                  <a:pt x="958" y="1518"/>
                </a:lnTo>
                <a:lnTo>
                  <a:pt x="959" y="1517"/>
                </a:lnTo>
                <a:lnTo>
                  <a:pt x="962" y="1516"/>
                </a:lnTo>
                <a:lnTo>
                  <a:pt x="967" y="1517"/>
                </a:lnTo>
                <a:lnTo>
                  <a:pt x="973" y="1516"/>
                </a:lnTo>
                <a:lnTo>
                  <a:pt x="975" y="1511"/>
                </a:lnTo>
                <a:lnTo>
                  <a:pt x="971" y="1509"/>
                </a:lnTo>
                <a:lnTo>
                  <a:pt x="967" y="1505"/>
                </a:lnTo>
                <a:lnTo>
                  <a:pt x="968" y="1501"/>
                </a:lnTo>
                <a:lnTo>
                  <a:pt x="973" y="1500"/>
                </a:lnTo>
                <a:lnTo>
                  <a:pt x="978" y="1503"/>
                </a:lnTo>
                <a:lnTo>
                  <a:pt x="983" y="1501"/>
                </a:lnTo>
                <a:lnTo>
                  <a:pt x="989" y="1501"/>
                </a:lnTo>
                <a:lnTo>
                  <a:pt x="990" y="1504"/>
                </a:lnTo>
                <a:lnTo>
                  <a:pt x="989" y="1508"/>
                </a:lnTo>
                <a:lnTo>
                  <a:pt x="990" y="1510"/>
                </a:lnTo>
                <a:lnTo>
                  <a:pt x="992" y="1512"/>
                </a:lnTo>
                <a:lnTo>
                  <a:pt x="992" y="1518"/>
                </a:lnTo>
                <a:lnTo>
                  <a:pt x="987" y="1520"/>
                </a:lnTo>
                <a:lnTo>
                  <a:pt x="978" y="1524"/>
                </a:lnTo>
                <a:lnTo>
                  <a:pt x="970" y="1524"/>
                </a:lnTo>
                <a:lnTo>
                  <a:pt x="960" y="1525"/>
                </a:lnTo>
                <a:lnTo>
                  <a:pt x="951" y="1527"/>
                </a:lnTo>
                <a:lnTo>
                  <a:pt x="958" y="1530"/>
                </a:lnTo>
                <a:lnTo>
                  <a:pt x="965" y="1536"/>
                </a:lnTo>
                <a:lnTo>
                  <a:pt x="967" y="1542"/>
                </a:lnTo>
                <a:lnTo>
                  <a:pt x="971" y="1546"/>
                </a:lnTo>
                <a:lnTo>
                  <a:pt x="976" y="1543"/>
                </a:lnTo>
                <a:lnTo>
                  <a:pt x="981" y="1541"/>
                </a:lnTo>
                <a:lnTo>
                  <a:pt x="982" y="1544"/>
                </a:lnTo>
                <a:lnTo>
                  <a:pt x="984" y="1544"/>
                </a:lnTo>
                <a:lnTo>
                  <a:pt x="984" y="1538"/>
                </a:lnTo>
                <a:lnTo>
                  <a:pt x="980" y="1533"/>
                </a:lnTo>
                <a:lnTo>
                  <a:pt x="982" y="1528"/>
                </a:lnTo>
                <a:lnTo>
                  <a:pt x="989" y="1530"/>
                </a:lnTo>
                <a:lnTo>
                  <a:pt x="992" y="1527"/>
                </a:lnTo>
                <a:lnTo>
                  <a:pt x="995" y="1522"/>
                </a:lnTo>
                <a:lnTo>
                  <a:pt x="997" y="1529"/>
                </a:lnTo>
                <a:lnTo>
                  <a:pt x="996" y="1536"/>
                </a:lnTo>
                <a:lnTo>
                  <a:pt x="990" y="1538"/>
                </a:lnTo>
                <a:lnTo>
                  <a:pt x="991" y="1543"/>
                </a:lnTo>
                <a:lnTo>
                  <a:pt x="995" y="1546"/>
                </a:lnTo>
                <a:lnTo>
                  <a:pt x="997" y="1550"/>
                </a:lnTo>
                <a:lnTo>
                  <a:pt x="990" y="1551"/>
                </a:lnTo>
                <a:lnTo>
                  <a:pt x="991" y="1560"/>
                </a:lnTo>
                <a:lnTo>
                  <a:pt x="991" y="1563"/>
                </a:lnTo>
                <a:lnTo>
                  <a:pt x="993" y="1567"/>
                </a:lnTo>
                <a:lnTo>
                  <a:pt x="999" y="1568"/>
                </a:lnTo>
                <a:lnTo>
                  <a:pt x="1005" y="1570"/>
                </a:lnTo>
                <a:lnTo>
                  <a:pt x="999" y="1571"/>
                </a:lnTo>
                <a:lnTo>
                  <a:pt x="995" y="1574"/>
                </a:lnTo>
                <a:lnTo>
                  <a:pt x="993" y="1578"/>
                </a:lnTo>
                <a:lnTo>
                  <a:pt x="997" y="1580"/>
                </a:lnTo>
                <a:lnTo>
                  <a:pt x="1000" y="1578"/>
                </a:lnTo>
                <a:lnTo>
                  <a:pt x="1004" y="1578"/>
                </a:lnTo>
                <a:lnTo>
                  <a:pt x="1005" y="1582"/>
                </a:lnTo>
                <a:lnTo>
                  <a:pt x="1004" y="1586"/>
                </a:lnTo>
                <a:lnTo>
                  <a:pt x="999" y="1586"/>
                </a:lnTo>
                <a:lnTo>
                  <a:pt x="996" y="1586"/>
                </a:lnTo>
                <a:lnTo>
                  <a:pt x="993" y="1588"/>
                </a:lnTo>
                <a:lnTo>
                  <a:pt x="992" y="1593"/>
                </a:lnTo>
                <a:lnTo>
                  <a:pt x="991" y="1595"/>
                </a:lnTo>
                <a:lnTo>
                  <a:pt x="990" y="1599"/>
                </a:lnTo>
                <a:lnTo>
                  <a:pt x="993" y="1603"/>
                </a:lnTo>
                <a:lnTo>
                  <a:pt x="997" y="1608"/>
                </a:lnTo>
                <a:lnTo>
                  <a:pt x="989" y="1608"/>
                </a:lnTo>
                <a:lnTo>
                  <a:pt x="982" y="1609"/>
                </a:lnTo>
                <a:lnTo>
                  <a:pt x="988" y="1613"/>
                </a:lnTo>
                <a:lnTo>
                  <a:pt x="995" y="1614"/>
                </a:lnTo>
                <a:lnTo>
                  <a:pt x="1000" y="1616"/>
                </a:lnTo>
                <a:lnTo>
                  <a:pt x="1004" y="1618"/>
                </a:lnTo>
                <a:lnTo>
                  <a:pt x="997" y="1620"/>
                </a:lnTo>
                <a:lnTo>
                  <a:pt x="989" y="1619"/>
                </a:lnTo>
                <a:lnTo>
                  <a:pt x="981" y="1619"/>
                </a:lnTo>
                <a:lnTo>
                  <a:pt x="973" y="1621"/>
                </a:lnTo>
                <a:lnTo>
                  <a:pt x="970" y="1622"/>
                </a:lnTo>
                <a:lnTo>
                  <a:pt x="971" y="1626"/>
                </a:lnTo>
                <a:lnTo>
                  <a:pt x="978" y="1627"/>
                </a:lnTo>
                <a:lnTo>
                  <a:pt x="984" y="1627"/>
                </a:lnTo>
                <a:lnTo>
                  <a:pt x="997" y="1634"/>
                </a:lnTo>
                <a:lnTo>
                  <a:pt x="1012" y="1638"/>
                </a:lnTo>
                <a:lnTo>
                  <a:pt x="1017" y="1638"/>
                </a:lnTo>
                <a:lnTo>
                  <a:pt x="1019" y="1643"/>
                </a:lnTo>
                <a:lnTo>
                  <a:pt x="1017" y="1647"/>
                </a:lnTo>
                <a:lnTo>
                  <a:pt x="1021" y="1651"/>
                </a:lnTo>
                <a:lnTo>
                  <a:pt x="1033" y="1645"/>
                </a:lnTo>
                <a:lnTo>
                  <a:pt x="1042" y="1635"/>
                </a:lnTo>
                <a:lnTo>
                  <a:pt x="1042" y="1632"/>
                </a:lnTo>
                <a:lnTo>
                  <a:pt x="1042" y="1630"/>
                </a:lnTo>
                <a:lnTo>
                  <a:pt x="1042" y="1629"/>
                </a:lnTo>
                <a:lnTo>
                  <a:pt x="1044" y="1628"/>
                </a:lnTo>
                <a:lnTo>
                  <a:pt x="1046" y="1628"/>
                </a:lnTo>
                <a:lnTo>
                  <a:pt x="1046" y="1625"/>
                </a:lnTo>
                <a:lnTo>
                  <a:pt x="1044" y="1619"/>
                </a:lnTo>
                <a:lnTo>
                  <a:pt x="1041" y="1614"/>
                </a:lnTo>
                <a:lnTo>
                  <a:pt x="1042" y="1608"/>
                </a:lnTo>
                <a:lnTo>
                  <a:pt x="1045" y="1603"/>
                </a:lnTo>
                <a:lnTo>
                  <a:pt x="1040" y="1600"/>
                </a:lnTo>
                <a:lnTo>
                  <a:pt x="1033" y="1599"/>
                </a:lnTo>
                <a:lnTo>
                  <a:pt x="1029" y="1594"/>
                </a:lnTo>
                <a:lnTo>
                  <a:pt x="1026" y="1589"/>
                </a:lnTo>
                <a:lnTo>
                  <a:pt x="1020" y="1587"/>
                </a:lnTo>
                <a:lnTo>
                  <a:pt x="1013" y="1585"/>
                </a:lnTo>
                <a:lnTo>
                  <a:pt x="1011" y="1583"/>
                </a:lnTo>
                <a:lnTo>
                  <a:pt x="1013" y="1580"/>
                </a:lnTo>
                <a:lnTo>
                  <a:pt x="1015" y="1575"/>
                </a:lnTo>
                <a:lnTo>
                  <a:pt x="1019" y="1570"/>
                </a:lnTo>
                <a:lnTo>
                  <a:pt x="1021" y="1580"/>
                </a:lnTo>
                <a:lnTo>
                  <a:pt x="1028" y="1584"/>
                </a:lnTo>
                <a:lnTo>
                  <a:pt x="1029" y="1582"/>
                </a:lnTo>
                <a:lnTo>
                  <a:pt x="1030" y="1579"/>
                </a:lnTo>
                <a:lnTo>
                  <a:pt x="1034" y="1586"/>
                </a:lnTo>
                <a:lnTo>
                  <a:pt x="1039" y="1595"/>
                </a:lnTo>
                <a:lnTo>
                  <a:pt x="1040" y="1589"/>
                </a:lnTo>
                <a:lnTo>
                  <a:pt x="1038" y="1583"/>
                </a:lnTo>
                <a:lnTo>
                  <a:pt x="1040" y="1578"/>
                </a:lnTo>
                <a:lnTo>
                  <a:pt x="1039" y="1575"/>
                </a:lnTo>
                <a:lnTo>
                  <a:pt x="1034" y="1576"/>
                </a:lnTo>
                <a:lnTo>
                  <a:pt x="1032" y="1575"/>
                </a:lnTo>
                <a:lnTo>
                  <a:pt x="1033" y="1571"/>
                </a:lnTo>
                <a:lnTo>
                  <a:pt x="1037" y="1569"/>
                </a:lnTo>
                <a:lnTo>
                  <a:pt x="1040" y="1563"/>
                </a:lnTo>
                <a:lnTo>
                  <a:pt x="1038" y="1558"/>
                </a:lnTo>
                <a:lnTo>
                  <a:pt x="1034" y="1553"/>
                </a:lnTo>
                <a:lnTo>
                  <a:pt x="1036" y="1549"/>
                </a:lnTo>
                <a:lnTo>
                  <a:pt x="1038" y="1547"/>
                </a:lnTo>
                <a:lnTo>
                  <a:pt x="1040" y="1545"/>
                </a:lnTo>
                <a:lnTo>
                  <a:pt x="1039" y="1543"/>
                </a:lnTo>
                <a:lnTo>
                  <a:pt x="1037" y="1539"/>
                </a:lnTo>
                <a:lnTo>
                  <a:pt x="1038" y="1536"/>
                </a:lnTo>
                <a:lnTo>
                  <a:pt x="1040" y="1534"/>
                </a:lnTo>
                <a:lnTo>
                  <a:pt x="1044" y="1536"/>
                </a:lnTo>
                <a:lnTo>
                  <a:pt x="1046" y="1538"/>
                </a:lnTo>
                <a:lnTo>
                  <a:pt x="1049" y="1537"/>
                </a:lnTo>
                <a:lnTo>
                  <a:pt x="1053" y="1535"/>
                </a:lnTo>
                <a:lnTo>
                  <a:pt x="1053" y="1530"/>
                </a:lnTo>
                <a:lnTo>
                  <a:pt x="1050" y="1527"/>
                </a:lnTo>
                <a:lnTo>
                  <a:pt x="1048" y="1524"/>
                </a:lnTo>
                <a:lnTo>
                  <a:pt x="1047" y="1519"/>
                </a:lnTo>
                <a:lnTo>
                  <a:pt x="1049" y="1518"/>
                </a:lnTo>
                <a:lnTo>
                  <a:pt x="1053" y="1518"/>
                </a:lnTo>
                <a:lnTo>
                  <a:pt x="1055" y="1517"/>
                </a:lnTo>
                <a:lnTo>
                  <a:pt x="1055" y="1512"/>
                </a:lnTo>
                <a:lnTo>
                  <a:pt x="1050" y="1504"/>
                </a:lnTo>
                <a:lnTo>
                  <a:pt x="1047" y="1497"/>
                </a:lnTo>
                <a:lnTo>
                  <a:pt x="1047" y="1495"/>
                </a:lnTo>
                <a:lnTo>
                  <a:pt x="1048" y="1493"/>
                </a:lnTo>
                <a:lnTo>
                  <a:pt x="1049" y="1492"/>
                </a:lnTo>
                <a:lnTo>
                  <a:pt x="1052" y="1491"/>
                </a:lnTo>
                <a:lnTo>
                  <a:pt x="1052" y="1489"/>
                </a:lnTo>
                <a:lnTo>
                  <a:pt x="1052" y="1488"/>
                </a:lnTo>
                <a:lnTo>
                  <a:pt x="1050" y="1476"/>
                </a:lnTo>
                <a:lnTo>
                  <a:pt x="1049" y="1464"/>
                </a:lnTo>
                <a:lnTo>
                  <a:pt x="1048" y="1459"/>
                </a:lnTo>
                <a:lnTo>
                  <a:pt x="1047" y="1453"/>
                </a:lnTo>
                <a:lnTo>
                  <a:pt x="1046" y="1450"/>
                </a:lnTo>
                <a:lnTo>
                  <a:pt x="1046" y="1445"/>
                </a:lnTo>
                <a:lnTo>
                  <a:pt x="1050" y="1444"/>
                </a:lnTo>
                <a:lnTo>
                  <a:pt x="1056" y="1443"/>
                </a:lnTo>
                <a:lnTo>
                  <a:pt x="1056" y="1438"/>
                </a:lnTo>
                <a:lnTo>
                  <a:pt x="1056" y="1434"/>
                </a:lnTo>
                <a:lnTo>
                  <a:pt x="1050" y="1438"/>
                </a:lnTo>
                <a:lnTo>
                  <a:pt x="1046" y="1436"/>
                </a:lnTo>
                <a:lnTo>
                  <a:pt x="1047" y="1434"/>
                </a:lnTo>
                <a:lnTo>
                  <a:pt x="1049" y="1433"/>
                </a:lnTo>
                <a:lnTo>
                  <a:pt x="1053" y="1431"/>
                </a:lnTo>
                <a:lnTo>
                  <a:pt x="1054" y="1430"/>
                </a:lnTo>
                <a:lnTo>
                  <a:pt x="1056" y="1431"/>
                </a:lnTo>
                <a:lnTo>
                  <a:pt x="1058" y="1430"/>
                </a:lnTo>
                <a:lnTo>
                  <a:pt x="1058" y="1427"/>
                </a:lnTo>
                <a:lnTo>
                  <a:pt x="1058" y="1423"/>
                </a:lnTo>
                <a:lnTo>
                  <a:pt x="1053" y="1420"/>
                </a:lnTo>
                <a:lnTo>
                  <a:pt x="1046" y="1418"/>
                </a:lnTo>
                <a:lnTo>
                  <a:pt x="1052" y="1412"/>
                </a:lnTo>
                <a:lnTo>
                  <a:pt x="1050" y="1403"/>
                </a:lnTo>
                <a:lnTo>
                  <a:pt x="1048" y="1397"/>
                </a:lnTo>
                <a:lnTo>
                  <a:pt x="1047" y="1392"/>
                </a:lnTo>
                <a:lnTo>
                  <a:pt x="1048" y="1387"/>
                </a:lnTo>
                <a:lnTo>
                  <a:pt x="1053" y="1384"/>
                </a:lnTo>
                <a:lnTo>
                  <a:pt x="1059" y="1376"/>
                </a:lnTo>
                <a:lnTo>
                  <a:pt x="1063" y="1364"/>
                </a:lnTo>
                <a:lnTo>
                  <a:pt x="1064" y="1358"/>
                </a:lnTo>
                <a:lnTo>
                  <a:pt x="1066" y="1351"/>
                </a:lnTo>
                <a:lnTo>
                  <a:pt x="1066" y="1346"/>
                </a:lnTo>
                <a:lnTo>
                  <a:pt x="1067" y="1342"/>
                </a:lnTo>
                <a:lnTo>
                  <a:pt x="1069" y="1338"/>
                </a:lnTo>
                <a:lnTo>
                  <a:pt x="1072" y="1338"/>
                </a:lnTo>
                <a:lnTo>
                  <a:pt x="1072" y="1344"/>
                </a:lnTo>
                <a:lnTo>
                  <a:pt x="1072" y="1348"/>
                </a:lnTo>
                <a:lnTo>
                  <a:pt x="1072" y="1350"/>
                </a:lnTo>
                <a:lnTo>
                  <a:pt x="1073" y="1351"/>
                </a:lnTo>
                <a:lnTo>
                  <a:pt x="1074" y="1354"/>
                </a:lnTo>
                <a:lnTo>
                  <a:pt x="1074" y="1358"/>
                </a:lnTo>
                <a:lnTo>
                  <a:pt x="1077" y="1360"/>
                </a:lnTo>
                <a:lnTo>
                  <a:pt x="1079" y="1361"/>
                </a:lnTo>
                <a:lnTo>
                  <a:pt x="1081" y="1364"/>
                </a:lnTo>
                <a:lnTo>
                  <a:pt x="1082" y="1369"/>
                </a:lnTo>
                <a:lnTo>
                  <a:pt x="1082" y="1373"/>
                </a:lnTo>
                <a:lnTo>
                  <a:pt x="1081" y="1378"/>
                </a:lnTo>
                <a:lnTo>
                  <a:pt x="1081" y="1384"/>
                </a:lnTo>
                <a:lnTo>
                  <a:pt x="1083" y="1389"/>
                </a:lnTo>
                <a:lnTo>
                  <a:pt x="1087" y="1397"/>
                </a:lnTo>
                <a:lnTo>
                  <a:pt x="1095" y="1397"/>
                </a:lnTo>
                <a:lnTo>
                  <a:pt x="1096" y="1441"/>
                </a:lnTo>
                <a:lnTo>
                  <a:pt x="1104" y="1483"/>
                </a:lnTo>
                <a:lnTo>
                  <a:pt x="1106" y="1478"/>
                </a:lnTo>
                <a:lnTo>
                  <a:pt x="1110" y="1476"/>
                </a:lnTo>
                <a:lnTo>
                  <a:pt x="1111" y="1511"/>
                </a:lnTo>
                <a:lnTo>
                  <a:pt x="1128" y="1543"/>
                </a:lnTo>
                <a:lnTo>
                  <a:pt x="1129" y="1538"/>
                </a:lnTo>
                <a:lnTo>
                  <a:pt x="1132" y="1534"/>
                </a:lnTo>
                <a:lnTo>
                  <a:pt x="1132" y="1538"/>
                </a:lnTo>
                <a:lnTo>
                  <a:pt x="1136" y="1542"/>
                </a:lnTo>
                <a:lnTo>
                  <a:pt x="1138" y="1546"/>
                </a:lnTo>
                <a:lnTo>
                  <a:pt x="1141" y="1550"/>
                </a:lnTo>
                <a:lnTo>
                  <a:pt x="1145" y="1549"/>
                </a:lnTo>
                <a:lnTo>
                  <a:pt x="1145" y="1545"/>
                </a:lnTo>
                <a:lnTo>
                  <a:pt x="1141" y="1541"/>
                </a:lnTo>
                <a:lnTo>
                  <a:pt x="1139" y="1534"/>
                </a:lnTo>
                <a:lnTo>
                  <a:pt x="1143" y="1537"/>
                </a:lnTo>
                <a:lnTo>
                  <a:pt x="1145" y="1541"/>
                </a:lnTo>
                <a:lnTo>
                  <a:pt x="1147" y="1533"/>
                </a:lnTo>
                <a:lnTo>
                  <a:pt x="1146" y="1526"/>
                </a:lnTo>
                <a:lnTo>
                  <a:pt x="1148" y="1519"/>
                </a:lnTo>
                <a:lnTo>
                  <a:pt x="1149" y="1512"/>
                </a:lnTo>
                <a:lnTo>
                  <a:pt x="1146" y="1509"/>
                </a:lnTo>
                <a:lnTo>
                  <a:pt x="1144" y="1504"/>
                </a:lnTo>
                <a:lnTo>
                  <a:pt x="1146" y="1501"/>
                </a:lnTo>
                <a:lnTo>
                  <a:pt x="1148" y="1499"/>
                </a:lnTo>
                <a:lnTo>
                  <a:pt x="1146" y="1493"/>
                </a:lnTo>
                <a:lnTo>
                  <a:pt x="1148" y="1488"/>
                </a:lnTo>
                <a:lnTo>
                  <a:pt x="1149" y="1489"/>
                </a:lnTo>
                <a:lnTo>
                  <a:pt x="1151" y="1491"/>
                </a:lnTo>
                <a:lnTo>
                  <a:pt x="1153" y="1488"/>
                </a:lnTo>
                <a:lnTo>
                  <a:pt x="1151" y="1485"/>
                </a:lnTo>
                <a:lnTo>
                  <a:pt x="1148" y="1476"/>
                </a:lnTo>
                <a:lnTo>
                  <a:pt x="1145" y="1467"/>
                </a:lnTo>
                <a:lnTo>
                  <a:pt x="1149" y="1468"/>
                </a:lnTo>
                <a:lnTo>
                  <a:pt x="1152" y="1466"/>
                </a:lnTo>
                <a:lnTo>
                  <a:pt x="1151" y="1461"/>
                </a:lnTo>
                <a:lnTo>
                  <a:pt x="1147" y="1458"/>
                </a:lnTo>
                <a:lnTo>
                  <a:pt x="1140" y="1443"/>
                </a:lnTo>
                <a:lnTo>
                  <a:pt x="1137" y="1428"/>
                </a:lnTo>
                <a:lnTo>
                  <a:pt x="1143" y="1431"/>
                </a:lnTo>
                <a:lnTo>
                  <a:pt x="1147" y="1429"/>
                </a:lnTo>
                <a:lnTo>
                  <a:pt x="1148" y="1425"/>
                </a:lnTo>
                <a:lnTo>
                  <a:pt x="1151" y="1419"/>
                </a:lnTo>
                <a:lnTo>
                  <a:pt x="1154" y="1417"/>
                </a:lnTo>
                <a:lnTo>
                  <a:pt x="1156" y="1419"/>
                </a:lnTo>
                <a:lnTo>
                  <a:pt x="1155" y="1423"/>
                </a:lnTo>
                <a:lnTo>
                  <a:pt x="1152" y="1428"/>
                </a:lnTo>
                <a:lnTo>
                  <a:pt x="1149" y="1433"/>
                </a:lnTo>
                <a:lnTo>
                  <a:pt x="1148" y="1437"/>
                </a:lnTo>
                <a:lnTo>
                  <a:pt x="1146" y="1441"/>
                </a:lnTo>
                <a:lnTo>
                  <a:pt x="1146" y="1445"/>
                </a:lnTo>
                <a:lnTo>
                  <a:pt x="1149" y="1445"/>
                </a:lnTo>
                <a:lnTo>
                  <a:pt x="1153" y="1445"/>
                </a:lnTo>
                <a:lnTo>
                  <a:pt x="1154" y="1448"/>
                </a:lnTo>
                <a:lnTo>
                  <a:pt x="1154" y="1453"/>
                </a:lnTo>
                <a:lnTo>
                  <a:pt x="1159" y="1466"/>
                </a:lnTo>
                <a:lnTo>
                  <a:pt x="1163" y="1478"/>
                </a:lnTo>
                <a:lnTo>
                  <a:pt x="1171" y="1505"/>
                </a:lnTo>
                <a:lnTo>
                  <a:pt x="1174" y="1533"/>
                </a:lnTo>
                <a:lnTo>
                  <a:pt x="1179" y="1531"/>
                </a:lnTo>
                <a:lnTo>
                  <a:pt x="1182" y="1527"/>
                </a:lnTo>
                <a:lnTo>
                  <a:pt x="1186" y="1528"/>
                </a:lnTo>
                <a:lnTo>
                  <a:pt x="1185" y="1533"/>
                </a:lnTo>
                <a:lnTo>
                  <a:pt x="1181" y="1550"/>
                </a:lnTo>
                <a:lnTo>
                  <a:pt x="1184" y="1567"/>
                </a:lnTo>
                <a:lnTo>
                  <a:pt x="1186" y="1572"/>
                </a:lnTo>
                <a:lnTo>
                  <a:pt x="1187" y="1578"/>
                </a:lnTo>
                <a:lnTo>
                  <a:pt x="1187" y="1585"/>
                </a:lnTo>
                <a:lnTo>
                  <a:pt x="1188" y="1593"/>
                </a:lnTo>
                <a:lnTo>
                  <a:pt x="1188" y="1599"/>
                </a:lnTo>
                <a:lnTo>
                  <a:pt x="1189" y="1605"/>
                </a:lnTo>
                <a:lnTo>
                  <a:pt x="1192" y="1608"/>
                </a:lnTo>
                <a:lnTo>
                  <a:pt x="1196" y="1608"/>
                </a:lnTo>
                <a:lnTo>
                  <a:pt x="1195" y="1617"/>
                </a:lnTo>
                <a:lnTo>
                  <a:pt x="1199" y="1625"/>
                </a:lnTo>
                <a:lnTo>
                  <a:pt x="1202" y="1628"/>
                </a:lnTo>
                <a:lnTo>
                  <a:pt x="1203" y="1633"/>
                </a:lnTo>
                <a:lnTo>
                  <a:pt x="1203" y="1637"/>
                </a:lnTo>
                <a:lnTo>
                  <a:pt x="1205" y="1642"/>
                </a:lnTo>
                <a:lnTo>
                  <a:pt x="1209" y="1643"/>
                </a:lnTo>
                <a:lnTo>
                  <a:pt x="1213" y="1643"/>
                </a:lnTo>
                <a:lnTo>
                  <a:pt x="1214" y="1640"/>
                </a:lnTo>
                <a:lnTo>
                  <a:pt x="1217" y="1637"/>
                </a:lnTo>
                <a:lnTo>
                  <a:pt x="1219" y="1638"/>
                </a:lnTo>
                <a:lnTo>
                  <a:pt x="1222" y="1641"/>
                </a:lnTo>
                <a:lnTo>
                  <a:pt x="1226" y="1643"/>
                </a:lnTo>
                <a:lnTo>
                  <a:pt x="1230" y="1644"/>
                </a:lnTo>
                <a:lnTo>
                  <a:pt x="1227" y="1637"/>
                </a:lnTo>
                <a:lnTo>
                  <a:pt x="1227" y="1628"/>
                </a:lnTo>
                <a:lnTo>
                  <a:pt x="1227" y="1624"/>
                </a:lnTo>
                <a:lnTo>
                  <a:pt x="1226" y="1620"/>
                </a:lnTo>
                <a:lnTo>
                  <a:pt x="1225" y="1617"/>
                </a:lnTo>
                <a:lnTo>
                  <a:pt x="1223" y="1614"/>
                </a:lnTo>
                <a:lnTo>
                  <a:pt x="1226" y="1612"/>
                </a:lnTo>
                <a:lnTo>
                  <a:pt x="1229" y="1610"/>
                </a:lnTo>
                <a:lnTo>
                  <a:pt x="1228" y="1603"/>
                </a:lnTo>
                <a:lnTo>
                  <a:pt x="1226" y="1595"/>
                </a:lnTo>
                <a:lnTo>
                  <a:pt x="1223" y="1586"/>
                </a:lnTo>
                <a:lnTo>
                  <a:pt x="1220" y="1577"/>
                </a:lnTo>
                <a:lnTo>
                  <a:pt x="1219" y="1574"/>
                </a:lnTo>
                <a:lnTo>
                  <a:pt x="1218" y="1570"/>
                </a:lnTo>
                <a:lnTo>
                  <a:pt x="1220" y="1570"/>
                </a:lnTo>
                <a:lnTo>
                  <a:pt x="1223" y="1569"/>
                </a:lnTo>
                <a:lnTo>
                  <a:pt x="1222" y="1567"/>
                </a:lnTo>
                <a:lnTo>
                  <a:pt x="1220" y="1564"/>
                </a:lnTo>
                <a:lnTo>
                  <a:pt x="1219" y="1562"/>
                </a:lnTo>
                <a:lnTo>
                  <a:pt x="1218" y="1559"/>
                </a:lnTo>
                <a:lnTo>
                  <a:pt x="1220" y="1557"/>
                </a:lnTo>
                <a:lnTo>
                  <a:pt x="1222" y="1553"/>
                </a:lnTo>
                <a:lnTo>
                  <a:pt x="1220" y="1545"/>
                </a:lnTo>
                <a:lnTo>
                  <a:pt x="1214" y="1538"/>
                </a:lnTo>
                <a:lnTo>
                  <a:pt x="1213" y="1536"/>
                </a:lnTo>
                <a:lnTo>
                  <a:pt x="1212" y="1534"/>
                </a:lnTo>
                <a:lnTo>
                  <a:pt x="1213" y="1533"/>
                </a:lnTo>
                <a:lnTo>
                  <a:pt x="1217" y="1531"/>
                </a:lnTo>
                <a:lnTo>
                  <a:pt x="1217" y="1526"/>
                </a:lnTo>
                <a:lnTo>
                  <a:pt x="1213" y="1519"/>
                </a:lnTo>
                <a:lnTo>
                  <a:pt x="1211" y="1510"/>
                </a:lnTo>
                <a:lnTo>
                  <a:pt x="1210" y="1501"/>
                </a:lnTo>
                <a:lnTo>
                  <a:pt x="1207" y="1489"/>
                </a:lnTo>
                <a:lnTo>
                  <a:pt x="1203" y="1479"/>
                </a:lnTo>
                <a:lnTo>
                  <a:pt x="1202" y="1476"/>
                </a:lnTo>
                <a:lnTo>
                  <a:pt x="1199" y="1472"/>
                </a:lnTo>
                <a:lnTo>
                  <a:pt x="1202" y="1471"/>
                </a:lnTo>
                <a:lnTo>
                  <a:pt x="1204" y="1470"/>
                </a:lnTo>
                <a:lnTo>
                  <a:pt x="1203" y="1466"/>
                </a:lnTo>
                <a:lnTo>
                  <a:pt x="1198" y="1461"/>
                </a:lnTo>
                <a:lnTo>
                  <a:pt x="1198" y="1453"/>
                </a:lnTo>
                <a:lnTo>
                  <a:pt x="1198" y="1445"/>
                </a:lnTo>
                <a:lnTo>
                  <a:pt x="1202" y="1446"/>
                </a:lnTo>
                <a:lnTo>
                  <a:pt x="1205" y="1445"/>
                </a:lnTo>
                <a:lnTo>
                  <a:pt x="1204" y="1442"/>
                </a:lnTo>
                <a:lnTo>
                  <a:pt x="1199" y="1439"/>
                </a:lnTo>
                <a:lnTo>
                  <a:pt x="1199" y="1431"/>
                </a:lnTo>
                <a:lnTo>
                  <a:pt x="1203" y="1422"/>
                </a:lnTo>
                <a:lnTo>
                  <a:pt x="1204" y="1418"/>
                </a:lnTo>
                <a:lnTo>
                  <a:pt x="1203" y="1412"/>
                </a:lnTo>
                <a:lnTo>
                  <a:pt x="1201" y="1409"/>
                </a:lnTo>
                <a:lnTo>
                  <a:pt x="1199" y="1403"/>
                </a:lnTo>
                <a:lnTo>
                  <a:pt x="1204" y="1397"/>
                </a:lnTo>
                <a:lnTo>
                  <a:pt x="1212" y="1395"/>
                </a:lnTo>
                <a:lnTo>
                  <a:pt x="1213" y="1391"/>
                </a:lnTo>
                <a:lnTo>
                  <a:pt x="1211" y="1386"/>
                </a:lnTo>
                <a:lnTo>
                  <a:pt x="1205" y="1380"/>
                </a:lnTo>
                <a:lnTo>
                  <a:pt x="1206" y="1373"/>
                </a:lnTo>
                <a:lnTo>
                  <a:pt x="1209" y="1372"/>
                </a:lnTo>
                <a:lnTo>
                  <a:pt x="1211" y="1372"/>
                </a:lnTo>
                <a:lnTo>
                  <a:pt x="1215" y="1373"/>
                </a:lnTo>
                <a:lnTo>
                  <a:pt x="1218" y="1371"/>
                </a:lnTo>
                <a:lnTo>
                  <a:pt x="1215" y="1361"/>
                </a:lnTo>
                <a:lnTo>
                  <a:pt x="1213" y="1352"/>
                </a:lnTo>
                <a:lnTo>
                  <a:pt x="1213" y="1353"/>
                </a:lnTo>
                <a:lnTo>
                  <a:pt x="1214" y="1354"/>
                </a:lnTo>
                <a:lnTo>
                  <a:pt x="1215" y="1352"/>
                </a:lnTo>
                <a:lnTo>
                  <a:pt x="1218" y="1351"/>
                </a:lnTo>
                <a:lnTo>
                  <a:pt x="1219" y="1348"/>
                </a:lnTo>
                <a:lnTo>
                  <a:pt x="1218" y="1345"/>
                </a:lnTo>
                <a:lnTo>
                  <a:pt x="1214" y="1340"/>
                </a:lnTo>
                <a:lnTo>
                  <a:pt x="1213" y="1336"/>
                </a:lnTo>
                <a:lnTo>
                  <a:pt x="1214" y="1335"/>
                </a:lnTo>
                <a:lnTo>
                  <a:pt x="1215" y="1334"/>
                </a:lnTo>
                <a:lnTo>
                  <a:pt x="1214" y="1331"/>
                </a:lnTo>
                <a:lnTo>
                  <a:pt x="1214" y="1328"/>
                </a:lnTo>
                <a:lnTo>
                  <a:pt x="1215" y="1323"/>
                </a:lnTo>
                <a:lnTo>
                  <a:pt x="1217" y="1318"/>
                </a:lnTo>
                <a:lnTo>
                  <a:pt x="1214" y="1306"/>
                </a:lnTo>
                <a:lnTo>
                  <a:pt x="1210" y="1295"/>
                </a:lnTo>
                <a:lnTo>
                  <a:pt x="1215" y="1295"/>
                </a:lnTo>
                <a:lnTo>
                  <a:pt x="1215" y="1290"/>
                </a:lnTo>
                <a:lnTo>
                  <a:pt x="1209" y="1285"/>
                </a:lnTo>
                <a:lnTo>
                  <a:pt x="1204" y="1277"/>
                </a:lnTo>
                <a:lnTo>
                  <a:pt x="1210" y="1279"/>
                </a:lnTo>
                <a:lnTo>
                  <a:pt x="1213" y="1277"/>
                </a:lnTo>
                <a:lnTo>
                  <a:pt x="1213" y="1275"/>
                </a:lnTo>
                <a:lnTo>
                  <a:pt x="1211" y="1272"/>
                </a:lnTo>
                <a:lnTo>
                  <a:pt x="1210" y="1268"/>
                </a:lnTo>
                <a:lnTo>
                  <a:pt x="1210" y="1264"/>
                </a:lnTo>
                <a:lnTo>
                  <a:pt x="1207" y="1264"/>
                </a:lnTo>
                <a:lnTo>
                  <a:pt x="1204" y="1264"/>
                </a:lnTo>
                <a:lnTo>
                  <a:pt x="1207" y="1264"/>
                </a:lnTo>
                <a:lnTo>
                  <a:pt x="1210" y="1264"/>
                </a:lnTo>
                <a:lnTo>
                  <a:pt x="1206" y="1260"/>
                </a:lnTo>
                <a:lnTo>
                  <a:pt x="1206" y="1256"/>
                </a:lnTo>
                <a:lnTo>
                  <a:pt x="1210" y="1254"/>
                </a:lnTo>
                <a:lnTo>
                  <a:pt x="1213" y="1252"/>
                </a:lnTo>
                <a:lnTo>
                  <a:pt x="1204" y="1238"/>
                </a:lnTo>
                <a:lnTo>
                  <a:pt x="1192" y="1228"/>
                </a:lnTo>
                <a:lnTo>
                  <a:pt x="1195" y="1231"/>
                </a:lnTo>
                <a:lnTo>
                  <a:pt x="1198" y="1235"/>
                </a:lnTo>
                <a:lnTo>
                  <a:pt x="1203" y="1238"/>
                </a:lnTo>
                <a:lnTo>
                  <a:pt x="1206" y="1237"/>
                </a:lnTo>
                <a:lnTo>
                  <a:pt x="1211" y="1229"/>
                </a:lnTo>
                <a:lnTo>
                  <a:pt x="1212" y="1220"/>
                </a:lnTo>
                <a:lnTo>
                  <a:pt x="1212" y="1213"/>
                </a:lnTo>
                <a:lnTo>
                  <a:pt x="1214" y="1206"/>
                </a:lnTo>
                <a:lnTo>
                  <a:pt x="1217" y="1205"/>
                </a:lnTo>
                <a:lnTo>
                  <a:pt x="1220" y="1204"/>
                </a:lnTo>
                <a:lnTo>
                  <a:pt x="1222" y="1205"/>
                </a:lnTo>
                <a:lnTo>
                  <a:pt x="1223" y="1205"/>
                </a:lnTo>
                <a:lnTo>
                  <a:pt x="1223" y="1207"/>
                </a:lnTo>
                <a:lnTo>
                  <a:pt x="1226" y="1209"/>
                </a:lnTo>
                <a:lnTo>
                  <a:pt x="1223" y="1187"/>
                </a:lnTo>
                <a:lnTo>
                  <a:pt x="1222" y="1164"/>
                </a:lnTo>
                <a:lnTo>
                  <a:pt x="1226" y="1168"/>
                </a:lnTo>
                <a:lnTo>
                  <a:pt x="1229" y="1174"/>
                </a:lnTo>
                <a:lnTo>
                  <a:pt x="1231" y="1177"/>
                </a:lnTo>
                <a:lnTo>
                  <a:pt x="1234" y="1180"/>
                </a:lnTo>
                <a:lnTo>
                  <a:pt x="1234" y="1184"/>
                </a:lnTo>
                <a:lnTo>
                  <a:pt x="1234" y="1187"/>
                </a:lnTo>
                <a:lnTo>
                  <a:pt x="1235" y="1185"/>
                </a:lnTo>
                <a:lnTo>
                  <a:pt x="1237" y="1184"/>
                </a:lnTo>
                <a:lnTo>
                  <a:pt x="1239" y="1187"/>
                </a:lnTo>
                <a:lnTo>
                  <a:pt x="1239" y="1190"/>
                </a:lnTo>
                <a:lnTo>
                  <a:pt x="1240" y="1194"/>
                </a:lnTo>
                <a:lnTo>
                  <a:pt x="1243" y="1196"/>
                </a:lnTo>
                <a:lnTo>
                  <a:pt x="1243" y="1201"/>
                </a:lnTo>
                <a:lnTo>
                  <a:pt x="1246" y="1204"/>
                </a:lnTo>
                <a:lnTo>
                  <a:pt x="1247" y="1204"/>
                </a:lnTo>
                <a:lnTo>
                  <a:pt x="1247" y="1210"/>
                </a:lnTo>
                <a:lnTo>
                  <a:pt x="1250" y="1212"/>
                </a:lnTo>
                <a:lnTo>
                  <a:pt x="1252" y="1213"/>
                </a:lnTo>
                <a:lnTo>
                  <a:pt x="1253" y="1215"/>
                </a:lnTo>
                <a:lnTo>
                  <a:pt x="1252" y="1218"/>
                </a:lnTo>
                <a:lnTo>
                  <a:pt x="1253" y="1223"/>
                </a:lnTo>
                <a:lnTo>
                  <a:pt x="1258" y="1226"/>
                </a:lnTo>
                <a:lnTo>
                  <a:pt x="1260" y="1231"/>
                </a:lnTo>
                <a:lnTo>
                  <a:pt x="1262" y="1237"/>
                </a:lnTo>
                <a:lnTo>
                  <a:pt x="1265" y="1240"/>
                </a:lnTo>
                <a:lnTo>
                  <a:pt x="1270" y="1245"/>
                </a:lnTo>
                <a:lnTo>
                  <a:pt x="1271" y="1251"/>
                </a:lnTo>
                <a:lnTo>
                  <a:pt x="1273" y="1256"/>
                </a:lnTo>
                <a:lnTo>
                  <a:pt x="1283" y="1259"/>
                </a:lnTo>
                <a:lnTo>
                  <a:pt x="1283" y="1264"/>
                </a:lnTo>
                <a:lnTo>
                  <a:pt x="1280" y="1268"/>
                </a:lnTo>
                <a:lnTo>
                  <a:pt x="1283" y="1273"/>
                </a:lnTo>
                <a:lnTo>
                  <a:pt x="1280" y="1279"/>
                </a:lnTo>
                <a:lnTo>
                  <a:pt x="1283" y="1283"/>
                </a:lnTo>
                <a:lnTo>
                  <a:pt x="1287" y="1281"/>
                </a:lnTo>
                <a:lnTo>
                  <a:pt x="1288" y="1285"/>
                </a:lnTo>
                <a:lnTo>
                  <a:pt x="1286" y="1289"/>
                </a:lnTo>
                <a:lnTo>
                  <a:pt x="1285" y="1294"/>
                </a:lnTo>
                <a:lnTo>
                  <a:pt x="1278" y="1334"/>
                </a:lnTo>
                <a:lnTo>
                  <a:pt x="1272" y="1375"/>
                </a:lnTo>
                <a:lnTo>
                  <a:pt x="1278" y="1364"/>
                </a:lnTo>
                <a:lnTo>
                  <a:pt x="1280" y="1353"/>
                </a:lnTo>
                <a:lnTo>
                  <a:pt x="1281" y="1347"/>
                </a:lnTo>
                <a:lnTo>
                  <a:pt x="1285" y="1344"/>
                </a:lnTo>
                <a:lnTo>
                  <a:pt x="1288" y="1344"/>
                </a:lnTo>
                <a:lnTo>
                  <a:pt x="1291" y="1342"/>
                </a:lnTo>
                <a:lnTo>
                  <a:pt x="1292" y="1339"/>
                </a:lnTo>
                <a:lnTo>
                  <a:pt x="1292" y="1336"/>
                </a:lnTo>
                <a:lnTo>
                  <a:pt x="1289" y="1334"/>
                </a:lnTo>
                <a:lnTo>
                  <a:pt x="1287" y="1330"/>
                </a:lnTo>
                <a:lnTo>
                  <a:pt x="1288" y="1323"/>
                </a:lnTo>
                <a:lnTo>
                  <a:pt x="1292" y="1315"/>
                </a:lnTo>
                <a:lnTo>
                  <a:pt x="1294" y="1308"/>
                </a:lnTo>
                <a:lnTo>
                  <a:pt x="1296" y="1300"/>
                </a:lnTo>
                <a:lnTo>
                  <a:pt x="1300" y="1287"/>
                </a:lnTo>
                <a:lnTo>
                  <a:pt x="1306" y="1281"/>
                </a:lnTo>
                <a:lnTo>
                  <a:pt x="1311" y="1285"/>
                </a:lnTo>
                <a:lnTo>
                  <a:pt x="1312" y="1289"/>
                </a:lnTo>
                <a:lnTo>
                  <a:pt x="1316" y="1296"/>
                </a:lnTo>
                <a:lnTo>
                  <a:pt x="1317" y="1303"/>
                </a:lnTo>
                <a:lnTo>
                  <a:pt x="1313" y="1306"/>
                </a:lnTo>
                <a:lnTo>
                  <a:pt x="1310" y="1306"/>
                </a:lnTo>
                <a:lnTo>
                  <a:pt x="1308" y="1302"/>
                </a:lnTo>
                <a:lnTo>
                  <a:pt x="1309" y="1297"/>
                </a:lnTo>
                <a:lnTo>
                  <a:pt x="1309" y="1290"/>
                </a:lnTo>
                <a:lnTo>
                  <a:pt x="1304" y="1288"/>
                </a:lnTo>
                <a:lnTo>
                  <a:pt x="1303" y="1294"/>
                </a:lnTo>
                <a:lnTo>
                  <a:pt x="1301" y="1298"/>
                </a:lnTo>
                <a:lnTo>
                  <a:pt x="1300" y="1303"/>
                </a:lnTo>
                <a:lnTo>
                  <a:pt x="1304" y="1303"/>
                </a:lnTo>
                <a:lnTo>
                  <a:pt x="1303" y="1306"/>
                </a:lnTo>
                <a:lnTo>
                  <a:pt x="1303" y="1310"/>
                </a:lnTo>
                <a:lnTo>
                  <a:pt x="1300" y="1312"/>
                </a:lnTo>
                <a:lnTo>
                  <a:pt x="1296" y="1313"/>
                </a:lnTo>
                <a:lnTo>
                  <a:pt x="1292" y="1319"/>
                </a:lnTo>
                <a:lnTo>
                  <a:pt x="1294" y="1326"/>
                </a:lnTo>
                <a:lnTo>
                  <a:pt x="1296" y="1326"/>
                </a:lnTo>
                <a:lnTo>
                  <a:pt x="1298" y="1323"/>
                </a:lnTo>
                <a:lnTo>
                  <a:pt x="1296" y="1320"/>
                </a:lnTo>
                <a:lnTo>
                  <a:pt x="1298" y="1317"/>
                </a:lnTo>
                <a:lnTo>
                  <a:pt x="1303" y="1319"/>
                </a:lnTo>
                <a:lnTo>
                  <a:pt x="1303" y="1323"/>
                </a:lnTo>
                <a:lnTo>
                  <a:pt x="1301" y="1323"/>
                </a:lnTo>
                <a:lnTo>
                  <a:pt x="1298" y="1323"/>
                </a:lnTo>
                <a:lnTo>
                  <a:pt x="1302" y="1325"/>
                </a:lnTo>
                <a:lnTo>
                  <a:pt x="1306" y="1323"/>
                </a:lnTo>
                <a:lnTo>
                  <a:pt x="1306" y="1327"/>
                </a:lnTo>
                <a:lnTo>
                  <a:pt x="1306" y="1330"/>
                </a:lnTo>
                <a:lnTo>
                  <a:pt x="1306" y="1334"/>
                </a:lnTo>
                <a:lnTo>
                  <a:pt x="1306" y="1337"/>
                </a:lnTo>
                <a:lnTo>
                  <a:pt x="1308" y="1344"/>
                </a:lnTo>
                <a:lnTo>
                  <a:pt x="1309" y="1351"/>
                </a:lnTo>
                <a:lnTo>
                  <a:pt x="1313" y="1358"/>
                </a:lnTo>
                <a:lnTo>
                  <a:pt x="1318" y="1363"/>
                </a:lnTo>
                <a:lnTo>
                  <a:pt x="1319" y="1367"/>
                </a:lnTo>
                <a:lnTo>
                  <a:pt x="1320" y="1369"/>
                </a:lnTo>
                <a:lnTo>
                  <a:pt x="1325" y="1367"/>
                </a:lnTo>
                <a:lnTo>
                  <a:pt x="1325" y="1362"/>
                </a:lnTo>
                <a:lnTo>
                  <a:pt x="1326" y="1359"/>
                </a:lnTo>
                <a:lnTo>
                  <a:pt x="1324" y="1355"/>
                </a:lnTo>
                <a:lnTo>
                  <a:pt x="1324" y="1351"/>
                </a:lnTo>
                <a:lnTo>
                  <a:pt x="1325" y="1346"/>
                </a:lnTo>
                <a:lnTo>
                  <a:pt x="1324" y="1339"/>
                </a:lnTo>
                <a:lnTo>
                  <a:pt x="1325" y="1333"/>
                </a:lnTo>
                <a:lnTo>
                  <a:pt x="1326" y="1336"/>
                </a:lnTo>
                <a:lnTo>
                  <a:pt x="1327" y="1340"/>
                </a:lnTo>
                <a:lnTo>
                  <a:pt x="1328" y="1344"/>
                </a:lnTo>
                <a:lnTo>
                  <a:pt x="1330" y="1347"/>
                </a:lnTo>
                <a:lnTo>
                  <a:pt x="1330" y="1353"/>
                </a:lnTo>
                <a:lnTo>
                  <a:pt x="1334" y="1356"/>
                </a:lnTo>
                <a:lnTo>
                  <a:pt x="1336" y="1353"/>
                </a:lnTo>
                <a:lnTo>
                  <a:pt x="1336" y="1347"/>
                </a:lnTo>
                <a:lnTo>
                  <a:pt x="1338" y="1345"/>
                </a:lnTo>
                <a:lnTo>
                  <a:pt x="1341" y="1346"/>
                </a:lnTo>
                <a:lnTo>
                  <a:pt x="1345" y="1346"/>
                </a:lnTo>
                <a:lnTo>
                  <a:pt x="1347" y="1347"/>
                </a:lnTo>
                <a:lnTo>
                  <a:pt x="1349" y="1352"/>
                </a:lnTo>
                <a:lnTo>
                  <a:pt x="1347" y="1356"/>
                </a:lnTo>
                <a:lnTo>
                  <a:pt x="1347" y="1361"/>
                </a:lnTo>
                <a:lnTo>
                  <a:pt x="1350" y="1364"/>
                </a:lnTo>
                <a:lnTo>
                  <a:pt x="1351" y="1363"/>
                </a:lnTo>
                <a:lnTo>
                  <a:pt x="1352" y="1361"/>
                </a:lnTo>
                <a:lnTo>
                  <a:pt x="1353" y="1360"/>
                </a:lnTo>
                <a:lnTo>
                  <a:pt x="1355" y="1361"/>
                </a:lnTo>
                <a:lnTo>
                  <a:pt x="1355" y="1365"/>
                </a:lnTo>
                <a:lnTo>
                  <a:pt x="1355" y="1370"/>
                </a:lnTo>
                <a:lnTo>
                  <a:pt x="1359" y="1373"/>
                </a:lnTo>
                <a:lnTo>
                  <a:pt x="1363" y="1370"/>
                </a:lnTo>
                <a:lnTo>
                  <a:pt x="1365" y="1378"/>
                </a:lnTo>
                <a:lnTo>
                  <a:pt x="1368" y="1387"/>
                </a:lnTo>
                <a:lnTo>
                  <a:pt x="1369" y="1395"/>
                </a:lnTo>
                <a:lnTo>
                  <a:pt x="1370" y="1403"/>
                </a:lnTo>
                <a:lnTo>
                  <a:pt x="1375" y="1406"/>
                </a:lnTo>
                <a:lnTo>
                  <a:pt x="1379" y="1408"/>
                </a:lnTo>
                <a:lnTo>
                  <a:pt x="1383" y="1413"/>
                </a:lnTo>
                <a:lnTo>
                  <a:pt x="1384" y="1419"/>
                </a:lnTo>
                <a:lnTo>
                  <a:pt x="1388" y="1435"/>
                </a:lnTo>
                <a:lnTo>
                  <a:pt x="1396" y="1448"/>
                </a:lnTo>
                <a:lnTo>
                  <a:pt x="1400" y="1455"/>
                </a:lnTo>
                <a:lnTo>
                  <a:pt x="1402" y="1462"/>
                </a:lnTo>
                <a:lnTo>
                  <a:pt x="1404" y="1470"/>
                </a:lnTo>
                <a:lnTo>
                  <a:pt x="1407" y="1478"/>
                </a:lnTo>
                <a:lnTo>
                  <a:pt x="1415" y="1491"/>
                </a:lnTo>
                <a:lnTo>
                  <a:pt x="1419" y="1505"/>
                </a:lnTo>
                <a:lnTo>
                  <a:pt x="1423" y="1521"/>
                </a:lnTo>
                <a:lnTo>
                  <a:pt x="1428" y="1536"/>
                </a:lnTo>
                <a:lnTo>
                  <a:pt x="1435" y="1550"/>
                </a:lnTo>
                <a:lnTo>
                  <a:pt x="1441" y="1563"/>
                </a:lnTo>
                <a:lnTo>
                  <a:pt x="1445" y="1570"/>
                </a:lnTo>
                <a:lnTo>
                  <a:pt x="1449" y="1576"/>
                </a:lnTo>
                <a:lnTo>
                  <a:pt x="1451" y="1584"/>
                </a:lnTo>
                <a:lnTo>
                  <a:pt x="1454" y="1592"/>
                </a:lnTo>
                <a:lnTo>
                  <a:pt x="1453" y="1578"/>
                </a:lnTo>
                <a:lnTo>
                  <a:pt x="1452" y="1563"/>
                </a:lnTo>
                <a:lnTo>
                  <a:pt x="1451" y="1545"/>
                </a:lnTo>
                <a:lnTo>
                  <a:pt x="1449" y="1528"/>
                </a:lnTo>
                <a:lnTo>
                  <a:pt x="1445" y="1513"/>
                </a:lnTo>
                <a:lnTo>
                  <a:pt x="1442" y="1499"/>
                </a:lnTo>
                <a:lnTo>
                  <a:pt x="1440" y="1492"/>
                </a:lnTo>
                <a:lnTo>
                  <a:pt x="1436" y="1485"/>
                </a:lnTo>
                <a:lnTo>
                  <a:pt x="1433" y="1478"/>
                </a:lnTo>
                <a:lnTo>
                  <a:pt x="1429" y="1470"/>
                </a:lnTo>
                <a:lnTo>
                  <a:pt x="1433" y="1471"/>
                </a:lnTo>
                <a:lnTo>
                  <a:pt x="1435" y="1470"/>
                </a:lnTo>
                <a:lnTo>
                  <a:pt x="1433" y="1467"/>
                </a:lnTo>
                <a:lnTo>
                  <a:pt x="1431" y="1462"/>
                </a:lnTo>
                <a:lnTo>
                  <a:pt x="1432" y="1458"/>
                </a:lnTo>
                <a:lnTo>
                  <a:pt x="1432" y="1452"/>
                </a:lnTo>
                <a:lnTo>
                  <a:pt x="1431" y="1446"/>
                </a:lnTo>
                <a:lnTo>
                  <a:pt x="1427" y="1441"/>
                </a:lnTo>
                <a:lnTo>
                  <a:pt x="1424" y="1430"/>
                </a:lnTo>
                <a:lnTo>
                  <a:pt x="1419" y="1419"/>
                </a:lnTo>
                <a:lnTo>
                  <a:pt x="1415" y="1412"/>
                </a:lnTo>
                <a:lnTo>
                  <a:pt x="1410" y="1406"/>
                </a:lnTo>
                <a:lnTo>
                  <a:pt x="1410" y="1391"/>
                </a:lnTo>
                <a:lnTo>
                  <a:pt x="1405" y="1376"/>
                </a:lnTo>
                <a:lnTo>
                  <a:pt x="1401" y="1369"/>
                </a:lnTo>
                <a:lnTo>
                  <a:pt x="1399" y="1363"/>
                </a:lnTo>
                <a:lnTo>
                  <a:pt x="1400" y="1363"/>
                </a:lnTo>
                <a:lnTo>
                  <a:pt x="1401" y="1364"/>
                </a:lnTo>
                <a:lnTo>
                  <a:pt x="1402" y="1365"/>
                </a:lnTo>
                <a:lnTo>
                  <a:pt x="1402" y="1367"/>
                </a:lnTo>
                <a:lnTo>
                  <a:pt x="1404" y="1368"/>
                </a:lnTo>
                <a:lnTo>
                  <a:pt x="1407" y="1368"/>
                </a:lnTo>
                <a:lnTo>
                  <a:pt x="1404" y="1361"/>
                </a:lnTo>
                <a:lnTo>
                  <a:pt x="1400" y="1354"/>
                </a:lnTo>
                <a:lnTo>
                  <a:pt x="1394" y="1350"/>
                </a:lnTo>
                <a:lnTo>
                  <a:pt x="1391" y="1344"/>
                </a:lnTo>
                <a:lnTo>
                  <a:pt x="1394" y="1346"/>
                </a:lnTo>
                <a:lnTo>
                  <a:pt x="1399" y="1348"/>
                </a:lnTo>
                <a:lnTo>
                  <a:pt x="1400" y="1345"/>
                </a:lnTo>
                <a:lnTo>
                  <a:pt x="1395" y="1342"/>
                </a:lnTo>
                <a:lnTo>
                  <a:pt x="1392" y="1333"/>
                </a:lnTo>
                <a:lnTo>
                  <a:pt x="1391" y="1321"/>
                </a:lnTo>
                <a:lnTo>
                  <a:pt x="1383" y="1312"/>
                </a:lnTo>
                <a:lnTo>
                  <a:pt x="1375" y="1302"/>
                </a:lnTo>
                <a:lnTo>
                  <a:pt x="1363" y="1290"/>
                </a:lnTo>
                <a:lnTo>
                  <a:pt x="1352" y="1278"/>
                </a:lnTo>
                <a:lnTo>
                  <a:pt x="1361" y="1283"/>
                </a:lnTo>
                <a:lnTo>
                  <a:pt x="1370" y="1289"/>
                </a:lnTo>
                <a:lnTo>
                  <a:pt x="1376" y="1297"/>
                </a:lnTo>
                <a:lnTo>
                  <a:pt x="1383" y="1303"/>
                </a:lnTo>
                <a:lnTo>
                  <a:pt x="1386" y="1303"/>
                </a:lnTo>
                <a:lnTo>
                  <a:pt x="1388" y="1303"/>
                </a:lnTo>
                <a:lnTo>
                  <a:pt x="1390" y="1302"/>
                </a:lnTo>
                <a:lnTo>
                  <a:pt x="1391" y="1301"/>
                </a:lnTo>
                <a:lnTo>
                  <a:pt x="1393" y="1302"/>
                </a:lnTo>
                <a:lnTo>
                  <a:pt x="1393" y="1302"/>
                </a:lnTo>
                <a:lnTo>
                  <a:pt x="1393" y="1304"/>
                </a:lnTo>
                <a:lnTo>
                  <a:pt x="1393" y="1305"/>
                </a:lnTo>
                <a:lnTo>
                  <a:pt x="1394" y="1305"/>
                </a:lnTo>
                <a:lnTo>
                  <a:pt x="1396" y="1305"/>
                </a:lnTo>
                <a:lnTo>
                  <a:pt x="1400" y="1308"/>
                </a:lnTo>
                <a:lnTo>
                  <a:pt x="1404" y="1309"/>
                </a:lnTo>
                <a:lnTo>
                  <a:pt x="1404" y="1322"/>
                </a:lnTo>
                <a:lnTo>
                  <a:pt x="1409" y="1334"/>
                </a:lnTo>
                <a:lnTo>
                  <a:pt x="1411" y="1329"/>
                </a:lnTo>
                <a:lnTo>
                  <a:pt x="1412" y="1325"/>
                </a:lnTo>
                <a:lnTo>
                  <a:pt x="1415" y="1330"/>
                </a:lnTo>
                <a:lnTo>
                  <a:pt x="1416" y="1336"/>
                </a:lnTo>
                <a:lnTo>
                  <a:pt x="1418" y="1334"/>
                </a:lnTo>
                <a:lnTo>
                  <a:pt x="1423" y="1331"/>
                </a:lnTo>
                <a:lnTo>
                  <a:pt x="1421" y="1343"/>
                </a:lnTo>
                <a:lnTo>
                  <a:pt x="1424" y="1354"/>
                </a:lnTo>
                <a:lnTo>
                  <a:pt x="1427" y="1365"/>
                </a:lnTo>
                <a:lnTo>
                  <a:pt x="1431" y="1376"/>
                </a:lnTo>
                <a:lnTo>
                  <a:pt x="1431" y="1378"/>
                </a:lnTo>
                <a:lnTo>
                  <a:pt x="1433" y="1379"/>
                </a:lnTo>
                <a:lnTo>
                  <a:pt x="1432" y="1379"/>
                </a:lnTo>
                <a:lnTo>
                  <a:pt x="1432" y="1379"/>
                </a:lnTo>
                <a:lnTo>
                  <a:pt x="1432" y="1381"/>
                </a:lnTo>
                <a:lnTo>
                  <a:pt x="1433" y="1381"/>
                </a:lnTo>
                <a:lnTo>
                  <a:pt x="1433" y="1381"/>
                </a:lnTo>
                <a:lnTo>
                  <a:pt x="1433" y="1381"/>
                </a:lnTo>
                <a:lnTo>
                  <a:pt x="1434" y="1380"/>
                </a:lnTo>
                <a:lnTo>
                  <a:pt x="1435" y="1379"/>
                </a:lnTo>
                <a:lnTo>
                  <a:pt x="1434" y="1379"/>
                </a:lnTo>
                <a:lnTo>
                  <a:pt x="1434" y="1379"/>
                </a:lnTo>
                <a:lnTo>
                  <a:pt x="1435" y="1379"/>
                </a:lnTo>
                <a:lnTo>
                  <a:pt x="1436" y="1378"/>
                </a:lnTo>
                <a:lnTo>
                  <a:pt x="1438" y="1380"/>
                </a:lnTo>
                <a:lnTo>
                  <a:pt x="1438" y="1384"/>
                </a:lnTo>
                <a:lnTo>
                  <a:pt x="1440" y="1388"/>
                </a:lnTo>
                <a:lnTo>
                  <a:pt x="1445" y="1388"/>
                </a:lnTo>
                <a:lnTo>
                  <a:pt x="1445" y="1395"/>
                </a:lnTo>
                <a:lnTo>
                  <a:pt x="1446" y="1401"/>
                </a:lnTo>
                <a:lnTo>
                  <a:pt x="1451" y="1388"/>
                </a:lnTo>
                <a:lnTo>
                  <a:pt x="1454" y="1375"/>
                </a:lnTo>
                <a:lnTo>
                  <a:pt x="1456" y="1389"/>
                </a:lnTo>
                <a:lnTo>
                  <a:pt x="1452" y="1404"/>
                </a:lnTo>
                <a:lnTo>
                  <a:pt x="1453" y="1409"/>
                </a:lnTo>
                <a:lnTo>
                  <a:pt x="1458" y="1408"/>
                </a:lnTo>
                <a:lnTo>
                  <a:pt x="1459" y="1400"/>
                </a:lnTo>
                <a:lnTo>
                  <a:pt x="1461" y="1392"/>
                </a:lnTo>
                <a:lnTo>
                  <a:pt x="1465" y="1400"/>
                </a:lnTo>
                <a:lnTo>
                  <a:pt x="1470" y="1406"/>
                </a:lnTo>
                <a:lnTo>
                  <a:pt x="1470" y="1408"/>
                </a:lnTo>
                <a:lnTo>
                  <a:pt x="1473" y="1409"/>
                </a:lnTo>
                <a:lnTo>
                  <a:pt x="1471" y="1409"/>
                </a:lnTo>
                <a:lnTo>
                  <a:pt x="1473" y="1409"/>
                </a:lnTo>
                <a:lnTo>
                  <a:pt x="1471" y="1408"/>
                </a:lnTo>
                <a:lnTo>
                  <a:pt x="1470" y="1406"/>
                </a:lnTo>
                <a:lnTo>
                  <a:pt x="1470" y="1402"/>
                </a:lnTo>
                <a:lnTo>
                  <a:pt x="1471" y="1400"/>
                </a:lnTo>
                <a:lnTo>
                  <a:pt x="1473" y="1396"/>
                </a:lnTo>
                <a:lnTo>
                  <a:pt x="1475" y="1394"/>
                </a:lnTo>
                <a:lnTo>
                  <a:pt x="1475" y="1389"/>
                </a:lnTo>
                <a:lnTo>
                  <a:pt x="1471" y="1385"/>
                </a:lnTo>
                <a:lnTo>
                  <a:pt x="1470" y="1385"/>
                </a:lnTo>
                <a:lnTo>
                  <a:pt x="1469" y="1384"/>
                </a:lnTo>
                <a:lnTo>
                  <a:pt x="1469" y="1381"/>
                </a:lnTo>
                <a:lnTo>
                  <a:pt x="1468" y="1381"/>
                </a:lnTo>
                <a:lnTo>
                  <a:pt x="1468" y="1380"/>
                </a:lnTo>
                <a:lnTo>
                  <a:pt x="1469" y="1380"/>
                </a:lnTo>
                <a:lnTo>
                  <a:pt x="1471" y="1381"/>
                </a:lnTo>
                <a:lnTo>
                  <a:pt x="1471" y="1385"/>
                </a:lnTo>
                <a:lnTo>
                  <a:pt x="1475" y="1383"/>
                </a:lnTo>
                <a:lnTo>
                  <a:pt x="1475" y="1377"/>
                </a:lnTo>
                <a:lnTo>
                  <a:pt x="1476" y="1372"/>
                </a:lnTo>
                <a:lnTo>
                  <a:pt x="1478" y="1368"/>
                </a:lnTo>
                <a:lnTo>
                  <a:pt x="1479" y="1367"/>
                </a:lnTo>
                <a:lnTo>
                  <a:pt x="1481" y="1367"/>
                </a:lnTo>
                <a:lnTo>
                  <a:pt x="1484" y="1367"/>
                </a:lnTo>
                <a:lnTo>
                  <a:pt x="1484" y="1370"/>
                </a:lnTo>
                <a:lnTo>
                  <a:pt x="1485" y="1373"/>
                </a:lnTo>
                <a:lnTo>
                  <a:pt x="1485" y="1377"/>
                </a:lnTo>
                <a:lnTo>
                  <a:pt x="1486" y="1379"/>
                </a:lnTo>
                <a:lnTo>
                  <a:pt x="1487" y="1380"/>
                </a:lnTo>
                <a:lnTo>
                  <a:pt x="1489" y="1379"/>
                </a:lnTo>
                <a:lnTo>
                  <a:pt x="1491" y="1379"/>
                </a:lnTo>
                <a:lnTo>
                  <a:pt x="1490" y="1384"/>
                </a:lnTo>
                <a:lnTo>
                  <a:pt x="1489" y="1391"/>
                </a:lnTo>
                <a:lnTo>
                  <a:pt x="1491" y="1395"/>
                </a:lnTo>
                <a:lnTo>
                  <a:pt x="1494" y="1398"/>
                </a:lnTo>
                <a:lnTo>
                  <a:pt x="1498" y="1396"/>
                </a:lnTo>
                <a:lnTo>
                  <a:pt x="1501" y="1397"/>
                </a:lnTo>
                <a:lnTo>
                  <a:pt x="1500" y="1405"/>
                </a:lnTo>
                <a:lnTo>
                  <a:pt x="1499" y="1412"/>
                </a:lnTo>
                <a:lnTo>
                  <a:pt x="1502" y="1419"/>
                </a:lnTo>
                <a:lnTo>
                  <a:pt x="1507" y="1426"/>
                </a:lnTo>
                <a:lnTo>
                  <a:pt x="1510" y="1433"/>
                </a:lnTo>
                <a:lnTo>
                  <a:pt x="1512" y="1441"/>
                </a:lnTo>
                <a:lnTo>
                  <a:pt x="1514" y="1447"/>
                </a:lnTo>
                <a:lnTo>
                  <a:pt x="1517" y="1454"/>
                </a:lnTo>
                <a:lnTo>
                  <a:pt x="1520" y="1455"/>
                </a:lnTo>
                <a:lnTo>
                  <a:pt x="1523" y="1459"/>
                </a:lnTo>
                <a:lnTo>
                  <a:pt x="1523" y="1464"/>
                </a:lnTo>
                <a:lnTo>
                  <a:pt x="1523" y="1469"/>
                </a:lnTo>
                <a:lnTo>
                  <a:pt x="1524" y="1477"/>
                </a:lnTo>
                <a:lnTo>
                  <a:pt x="1527" y="1485"/>
                </a:lnTo>
                <a:lnTo>
                  <a:pt x="1528" y="1492"/>
                </a:lnTo>
                <a:lnTo>
                  <a:pt x="1530" y="1497"/>
                </a:lnTo>
                <a:lnTo>
                  <a:pt x="1534" y="1506"/>
                </a:lnTo>
                <a:lnTo>
                  <a:pt x="1538" y="1514"/>
                </a:lnTo>
                <a:lnTo>
                  <a:pt x="1539" y="1512"/>
                </a:lnTo>
                <a:lnTo>
                  <a:pt x="1540" y="1511"/>
                </a:lnTo>
                <a:lnTo>
                  <a:pt x="1540" y="1510"/>
                </a:lnTo>
                <a:lnTo>
                  <a:pt x="1542" y="1511"/>
                </a:lnTo>
                <a:lnTo>
                  <a:pt x="1543" y="1510"/>
                </a:lnTo>
                <a:lnTo>
                  <a:pt x="1545" y="1509"/>
                </a:lnTo>
                <a:lnTo>
                  <a:pt x="1545" y="1503"/>
                </a:lnTo>
                <a:lnTo>
                  <a:pt x="1544" y="1497"/>
                </a:lnTo>
                <a:lnTo>
                  <a:pt x="1543" y="1476"/>
                </a:lnTo>
                <a:lnTo>
                  <a:pt x="1540" y="1455"/>
                </a:lnTo>
                <a:lnTo>
                  <a:pt x="1530" y="1416"/>
                </a:lnTo>
                <a:lnTo>
                  <a:pt x="1516" y="1377"/>
                </a:lnTo>
                <a:lnTo>
                  <a:pt x="1510" y="1360"/>
                </a:lnTo>
                <a:lnTo>
                  <a:pt x="1501" y="1344"/>
                </a:lnTo>
                <a:lnTo>
                  <a:pt x="1498" y="1338"/>
                </a:lnTo>
                <a:lnTo>
                  <a:pt x="1495" y="1333"/>
                </a:lnTo>
                <a:lnTo>
                  <a:pt x="1495" y="1326"/>
                </a:lnTo>
                <a:lnTo>
                  <a:pt x="1494" y="1318"/>
                </a:lnTo>
                <a:lnTo>
                  <a:pt x="1486" y="1305"/>
                </a:lnTo>
                <a:lnTo>
                  <a:pt x="1478" y="1293"/>
                </a:lnTo>
                <a:lnTo>
                  <a:pt x="1474" y="1285"/>
                </a:lnTo>
                <a:lnTo>
                  <a:pt x="1468" y="1276"/>
                </a:lnTo>
                <a:lnTo>
                  <a:pt x="1466" y="1272"/>
                </a:lnTo>
                <a:lnTo>
                  <a:pt x="1464" y="1267"/>
                </a:lnTo>
                <a:lnTo>
                  <a:pt x="1462" y="1263"/>
                </a:lnTo>
                <a:lnTo>
                  <a:pt x="1460" y="1259"/>
                </a:lnTo>
                <a:lnTo>
                  <a:pt x="1461" y="1257"/>
                </a:lnTo>
                <a:lnTo>
                  <a:pt x="1462" y="1257"/>
                </a:lnTo>
                <a:lnTo>
                  <a:pt x="1461" y="1255"/>
                </a:lnTo>
                <a:lnTo>
                  <a:pt x="1459" y="1253"/>
                </a:lnTo>
                <a:lnTo>
                  <a:pt x="1453" y="1248"/>
                </a:lnTo>
                <a:lnTo>
                  <a:pt x="1449" y="1243"/>
                </a:lnTo>
                <a:lnTo>
                  <a:pt x="1441" y="1231"/>
                </a:lnTo>
                <a:lnTo>
                  <a:pt x="1434" y="1220"/>
                </a:lnTo>
                <a:lnTo>
                  <a:pt x="1423" y="1194"/>
                </a:lnTo>
                <a:lnTo>
                  <a:pt x="1423" y="1167"/>
                </a:lnTo>
                <a:lnTo>
                  <a:pt x="1440" y="1210"/>
                </a:lnTo>
                <a:lnTo>
                  <a:pt x="1465" y="1250"/>
                </a:lnTo>
                <a:lnTo>
                  <a:pt x="1466" y="1245"/>
                </a:lnTo>
                <a:lnTo>
                  <a:pt x="1468" y="1240"/>
                </a:lnTo>
                <a:lnTo>
                  <a:pt x="1499" y="1294"/>
                </a:lnTo>
                <a:lnTo>
                  <a:pt x="1526" y="1350"/>
                </a:lnTo>
                <a:lnTo>
                  <a:pt x="1552" y="1400"/>
                </a:lnTo>
                <a:lnTo>
                  <a:pt x="1576" y="1452"/>
                </a:lnTo>
                <a:lnTo>
                  <a:pt x="1578" y="1438"/>
                </a:lnTo>
                <a:lnTo>
                  <a:pt x="1574" y="1423"/>
                </a:lnTo>
                <a:lnTo>
                  <a:pt x="1573" y="1417"/>
                </a:lnTo>
                <a:lnTo>
                  <a:pt x="1572" y="1410"/>
                </a:lnTo>
                <a:lnTo>
                  <a:pt x="1568" y="1411"/>
                </a:lnTo>
                <a:lnTo>
                  <a:pt x="1564" y="1411"/>
                </a:lnTo>
                <a:lnTo>
                  <a:pt x="1561" y="1405"/>
                </a:lnTo>
                <a:lnTo>
                  <a:pt x="1561" y="1400"/>
                </a:lnTo>
                <a:lnTo>
                  <a:pt x="1558" y="1392"/>
                </a:lnTo>
                <a:lnTo>
                  <a:pt x="1555" y="1384"/>
                </a:lnTo>
                <a:lnTo>
                  <a:pt x="1552" y="1376"/>
                </a:lnTo>
                <a:lnTo>
                  <a:pt x="1550" y="1368"/>
                </a:lnTo>
                <a:lnTo>
                  <a:pt x="1549" y="1361"/>
                </a:lnTo>
                <a:lnTo>
                  <a:pt x="1545" y="1354"/>
                </a:lnTo>
                <a:lnTo>
                  <a:pt x="1538" y="1340"/>
                </a:lnTo>
                <a:lnTo>
                  <a:pt x="1532" y="1326"/>
                </a:lnTo>
                <a:lnTo>
                  <a:pt x="1526" y="1310"/>
                </a:lnTo>
                <a:lnTo>
                  <a:pt x="1520" y="1293"/>
                </a:lnTo>
                <a:lnTo>
                  <a:pt x="1516" y="1279"/>
                </a:lnTo>
                <a:lnTo>
                  <a:pt x="1510" y="1264"/>
                </a:lnTo>
                <a:lnTo>
                  <a:pt x="1507" y="1259"/>
                </a:lnTo>
                <a:lnTo>
                  <a:pt x="1502" y="1253"/>
                </a:lnTo>
                <a:lnTo>
                  <a:pt x="1497" y="1248"/>
                </a:lnTo>
                <a:lnTo>
                  <a:pt x="1493" y="1242"/>
                </a:lnTo>
                <a:lnTo>
                  <a:pt x="1498" y="1243"/>
                </a:lnTo>
                <a:lnTo>
                  <a:pt x="1503" y="1244"/>
                </a:lnTo>
                <a:lnTo>
                  <a:pt x="1497" y="1236"/>
                </a:lnTo>
                <a:lnTo>
                  <a:pt x="1489" y="1228"/>
                </a:lnTo>
                <a:lnTo>
                  <a:pt x="1484" y="1226"/>
                </a:lnTo>
                <a:lnTo>
                  <a:pt x="1481" y="1222"/>
                </a:lnTo>
                <a:lnTo>
                  <a:pt x="1478" y="1221"/>
                </a:lnTo>
                <a:lnTo>
                  <a:pt x="1478" y="1219"/>
                </a:lnTo>
                <a:lnTo>
                  <a:pt x="1478" y="1215"/>
                </a:lnTo>
                <a:lnTo>
                  <a:pt x="1478" y="1212"/>
                </a:lnTo>
                <a:lnTo>
                  <a:pt x="1486" y="1214"/>
                </a:lnTo>
                <a:lnTo>
                  <a:pt x="1494" y="1214"/>
                </a:lnTo>
                <a:lnTo>
                  <a:pt x="1486" y="1209"/>
                </a:lnTo>
                <a:lnTo>
                  <a:pt x="1478" y="1205"/>
                </a:lnTo>
                <a:lnTo>
                  <a:pt x="1471" y="1203"/>
                </a:lnTo>
                <a:lnTo>
                  <a:pt x="1467" y="1197"/>
                </a:lnTo>
                <a:lnTo>
                  <a:pt x="1465" y="1194"/>
                </a:lnTo>
                <a:lnTo>
                  <a:pt x="1464" y="1192"/>
                </a:lnTo>
                <a:lnTo>
                  <a:pt x="1467" y="1190"/>
                </a:lnTo>
                <a:lnTo>
                  <a:pt x="1469" y="1193"/>
                </a:lnTo>
                <a:lnTo>
                  <a:pt x="1478" y="1196"/>
                </a:lnTo>
                <a:lnTo>
                  <a:pt x="1487" y="1198"/>
                </a:lnTo>
                <a:lnTo>
                  <a:pt x="1465" y="1187"/>
                </a:lnTo>
                <a:lnTo>
                  <a:pt x="1444" y="1174"/>
                </a:lnTo>
                <a:lnTo>
                  <a:pt x="1452" y="1177"/>
                </a:lnTo>
                <a:lnTo>
                  <a:pt x="1461" y="1178"/>
                </a:lnTo>
                <a:lnTo>
                  <a:pt x="1458" y="1176"/>
                </a:lnTo>
                <a:lnTo>
                  <a:pt x="1454" y="1172"/>
                </a:lnTo>
                <a:lnTo>
                  <a:pt x="1460" y="1172"/>
                </a:lnTo>
                <a:lnTo>
                  <a:pt x="1465" y="1170"/>
                </a:lnTo>
                <a:lnTo>
                  <a:pt x="1446" y="1153"/>
                </a:lnTo>
                <a:lnTo>
                  <a:pt x="1428" y="1135"/>
                </a:lnTo>
                <a:lnTo>
                  <a:pt x="1441" y="1139"/>
                </a:lnTo>
                <a:lnTo>
                  <a:pt x="1452" y="1142"/>
                </a:lnTo>
                <a:lnTo>
                  <a:pt x="1448" y="1138"/>
                </a:lnTo>
                <a:lnTo>
                  <a:pt x="1444" y="1135"/>
                </a:lnTo>
                <a:lnTo>
                  <a:pt x="1438" y="1130"/>
                </a:lnTo>
                <a:lnTo>
                  <a:pt x="1433" y="1127"/>
                </a:lnTo>
                <a:lnTo>
                  <a:pt x="1421" y="1120"/>
                </a:lnTo>
                <a:lnTo>
                  <a:pt x="1413" y="1110"/>
                </a:lnTo>
                <a:lnTo>
                  <a:pt x="1427" y="1112"/>
                </a:lnTo>
                <a:lnTo>
                  <a:pt x="1441" y="1112"/>
                </a:lnTo>
                <a:lnTo>
                  <a:pt x="1438" y="1120"/>
                </a:lnTo>
                <a:lnTo>
                  <a:pt x="1443" y="1128"/>
                </a:lnTo>
                <a:lnTo>
                  <a:pt x="1445" y="1123"/>
                </a:lnTo>
                <a:lnTo>
                  <a:pt x="1448" y="1119"/>
                </a:lnTo>
                <a:lnTo>
                  <a:pt x="1449" y="1118"/>
                </a:lnTo>
                <a:lnTo>
                  <a:pt x="1450" y="1117"/>
                </a:lnTo>
                <a:lnTo>
                  <a:pt x="1450" y="1113"/>
                </a:lnTo>
                <a:lnTo>
                  <a:pt x="1450" y="1110"/>
                </a:lnTo>
                <a:lnTo>
                  <a:pt x="1451" y="1118"/>
                </a:lnTo>
                <a:lnTo>
                  <a:pt x="1454" y="1126"/>
                </a:lnTo>
                <a:lnTo>
                  <a:pt x="1454" y="1129"/>
                </a:lnTo>
                <a:lnTo>
                  <a:pt x="1456" y="1132"/>
                </a:lnTo>
                <a:lnTo>
                  <a:pt x="1456" y="1135"/>
                </a:lnTo>
                <a:lnTo>
                  <a:pt x="1454" y="1137"/>
                </a:lnTo>
                <a:lnTo>
                  <a:pt x="1458" y="1138"/>
                </a:lnTo>
                <a:lnTo>
                  <a:pt x="1461" y="1140"/>
                </a:lnTo>
                <a:lnTo>
                  <a:pt x="1460" y="1148"/>
                </a:lnTo>
                <a:lnTo>
                  <a:pt x="1461" y="1155"/>
                </a:lnTo>
                <a:lnTo>
                  <a:pt x="1462" y="1154"/>
                </a:lnTo>
                <a:lnTo>
                  <a:pt x="1465" y="1152"/>
                </a:lnTo>
                <a:lnTo>
                  <a:pt x="1467" y="1157"/>
                </a:lnTo>
                <a:lnTo>
                  <a:pt x="1469" y="1163"/>
                </a:lnTo>
                <a:lnTo>
                  <a:pt x="1470" y="1162"/>
                </a:lnTo>
                <a:lnTo>
                  <a:pt x="1471" y="1162"/>
                </a:lnTo>
                <a:lnTo>
                  <a:pt x="1474" y="1162"/>
                </a:lnTo>
                <a:lnTo>
                  <a:pt x="1475" y="1163"/>
                </a:lnTo>
                <a:lnTo>
                  <a:pt x="1478" y="1163"/>
                </a:lnTo>
                <a:lnTo>
                  <a:pt x="1481" y="1160"/>
                </a:lnTo>
                <a:lnTo>
                  <a:pt x="1487" y="1157"/>
                </a:lnTo>
                <a:lnTo>
                  <a:pt x="1492" y="1149"/>
                </a:lnTo>
                <a:lnTo>
                  <a:pt x="1493" y="1152"/>
                </a:lnTo>
                <a:lnTo>
                  <a:pt x="1494" y="1154"/>
                </a:lnTo>
                <a:lnTo>
                  <a:pt x="1497" y="1154"/>
                </a:lnTo>
                <a:lnTo>
                  <a:pt x="1499" y="1152"/>
                </a:lnTo>
                <a:lnTo>
                  <a:pt x="1502" y="1154"/>
                </a:lnTo>
                <a:lnTo>
                  <a:pt x="1499" y="1157"/>
                </a:lnTo>
                <a:lnTo>
                  <a:pt x="1497" y="1161"/>
                </a:lnTo>
                <a:lnTo>
                  <a:pt x="1494" y="1164"/>
                </a:lnTo>
                <a:lnTo>
                  <a:pt x="1492" y="1169"/>
                </a:lnTo>
                <a:lnTo>
                  <a:pt x="1490" y="1173"/>
                </a:lnTo>
                <a:lnTo>
                  <a:pt x="1487" y="1177"/>
                </a:lnTo>
                <a:lnTo>
                  <a:pt x="1486" y="1180"/>
                </a:lnTo>
                <a:lnTo>
                  <a:pt x="1489" y="1182"/>
                </a:lnTo>
                <a:lnTo>
                  <a:pt x="1491" y="1180"/>
                </a:lnTo>
                <a:lnTo>
                  <a:pt x="1493" y="1177"/>
                </a:lnTo>
                <a:lnTo>
                  <a:pt x="1498" y="1177"/>
                </a:lnTo>
                <a:lnTo>
                  <a:pt x="1495" y="1182"/>
                </a:lnTo>
                <a:lnTo>
                  <a:pt x="1495" y="1187"/>
                </a:lnTo>
                <a:lnTo>
                  <a:pt x="1499" y="1184"/>
                </a:lnTo>
                <a:lnTo>
                  <a:pt x="1502" y="1178"/>
                </a:lnTo>
                <a:lnTo>
                  <a:pt x="1501" y="1185"/>
                </a:lnTo>
                <a:lnTo>
                  <a:pt x="1500" y="1192"/>
                </a:lnTo>
                <a:lnTo>
                  <a:pt x="1500" y="1193"/>
                </a:lnTo>
                <a:lnTo>
                  <a:pt x="1501" y="1194"/>
                </a:lnTo>
                <a:lnTo>
                  <a:pt x="1503" y="1194"/>
                </a:lnTo>
                <a:lnTo>
                  <a:pt x="1507" y="1194"/>
                </a:lnTo>
                <a:lnTo>
                  <a:pt x="1512" y="1190"/>
                </a:lnTo>
                <a:lnTo>
                  <a:pt x="1517" y="1190"/>
                </a:lnTo>
                <a:lnTo>
                  <a:pt x="1519" y="1194"/>
                </a:lnTo>
                <a:lnTo>
                  <a:pt x="1522" y="1198"/>
                </a:lnTo>
                <a:lnTo>
                  <a:pt x="1526" y="1200"/>
                </a:lnTo>
                <a:lnTo>
                  <a:pt x="1527" y="1194"/>
                </a:lnTo>
                <a:lnTo>
                  <a:pt x="1530" y="1190"/>
                </a:lnTo>
                <a:lnTo>
                  <a:pt x="1533" y="1188"/>
                </a:lnTo>
                <a:lnTo>
                  <a:pt x="1535" y="1184"/>
                </a:lnTo>
                <a:lnTo>
                  <a:pt x="1534" y="1180"/>
                </a:lnTo>
                <a:lnTo>
                  <a:pt x="1536" y="1180"/>
                </a:lnTo>
                <a:lnTo>
                  <a:pt x="1538" y="1179"/>
                </a:lnTo>
                <a:lnTo>
                  <a:pt x="1533" y="1169"/>
                </a:lnTo>
                <a:lnTo>
                  <a:pt x="1528" y="1159"/>
                </a:lnTo>
                <a:lnTo>
                  <a:pt x="1536" y="1177"/>
                </a:lnTo>
                <a:lnTo>
                  <a:pt x="1544" y="1194"/>
                </a:lnTo>
                <a:lnTo>
                  <a:pt x="1553" y="1211"/>
                </a:lnTo>
                <a:lnTo>
                  <a:pt x="1557" y="1229"/>
                </a:lnTo>
                <a:lnTo>
                  <a:pt x="1552" y="1230"/>
                </a:lnTo>
                <a:lnTo>
                  <a:pt x="1550" y="1236"/>
                </a:lnTo>
                <a:lnTo>
                  <a:pt x="1548" y="1243"/>
                </a:lnTo>
                <a:lnTo>
                  <a:pt x="1545" y="1250"/>
                </a:lnTo>
                <a:lnTo>
                  <a:pt x="1545" y="1255"/>
                </a:lnTo>
                <a:lnTo>
                  <a:pt x="1550" y="1251"/>
                </a:lnTo>
                <a:lnTo>
                  <a:pt x="1549" y="1257"/>
                </a:lnTo>
                <a:lnTo>
                  <a:pt x="1552" y="1260"/>
                </a:lnTo>
                <a:lnTo>
                  <a:pt x="1556" y="1256"/>
                </a:lnTo>
                <a:lnTo>
                  <a:pt x="1558" y="1252"/>
                </a:lnTo>
                <a:lnTo>
                  <a:pt x="1559" y="1248"/>
                </a:lnTo>
                <a:lnTo>
                  <a:pt x="1560" y="1246"/>
                </a:lnTo>
                <a:lnTo>
                  <a:pt x="1560" y="1245"/>
                </a:lnTo>
                <a:lnTo>
                  <a:pt x="1558" y="1244"/>
                </a:lnTo>
                <a:lnTo>
                  <a:pt x="1560" y="1244"/>
                </a:lnTo>
                <a:lnTo>
                  <a:pt x="1561" y="1242"/>
                </a:lnTo>
                <a:lnTo>
                  <a:pt x="1563" y="1238"/>
                </a:lnTo>
                <a:lnTo>
                  <a:pt x="1561" y="1234"/>
                </a:lnTo>
                <a:lnTo>
                  <a:pt x="1567" y="1251"/>
                </a:lnTo>
                <a:lnTo>
                  <a:pt x="1571" y="1267"/>
                </a:lnTo>
                <a:lnTo>
                  <a:pt x="1573" y="1269"/>
                </a:lnTo>
                <a:lnTo>
                  <a:pt x="1574" y="1272"/>
                </a:lnTo>
                <a:lnTo>
                  <a:pt x="1574" y="1277"/>
                </a:lnTo>
                <a:lnTo>
                  <a:pt x="1569" y="1280"/>
                </a:lnTo>
                <a:lnTo>
                  <a:pt x="1569" y="1287"/>
                </a:lnTo>
                <a:lnTo>
                  <a:pt x="1571" y="1294"/>
                </a:lnTo>
                <a:lnTo>
                  <a:pt x="1572" y="1294"/>
                </a:lnTo>
                <a:lnTo>
                  <a:pt x="1573" y="1294"/>
                </a:lnTo>
                <a:lnTo>
                  <a:pt x="1572" y="1303"/>
                </a:lnTo>
                <a:lnTo>
                  <a:pt x="1573" y="1311"/>
                </a:lnTo>
                <a:lnTo>
                  <a:pt x="1578" y="1319"/>
                </a:lnTo>
                <a:lnTo>
                  <a:pt x="1581" y="1327"/>
                </a:lnTo>
                <a:lnTo>
                  <a:pt x="1591" y="1325"/>
                </a:lnTo>
                <a:lnTo>
                  <a:pt x="1602" y="1330"/>
                </a:lnTo>
                <a:lnTo>
                  <a:pt x="1599" y="1321"/>
                </a:lnTo>
                <a:lnTo>
                  <a:pt x="1596" y="1311"/>
                </a:lnTo>
                <a:lnTo>
                  <a:pt x="1594" y="1305"/>
                </a:lnTo>
                <a:lnTo>
                  <a:pt x="1592" y="1298"/>
                </a:lnTo>
                <a:lnTo>
                  <a:pt x="1596" y="1293"/>
                </a:lnTo>
                <a:lnTo>
                  <a:pt x="1599" y="1289"/>
                </a:lnTo>
                <a:lnTo>
                  <a:pt x="1593" y="1285"/>
                </a:lnTo>
                <a:lnTo>
                  <a:pt x="1589" y="1281"/>
                </a:lnTo>
                <a:lnTo>
                  <a:pt x="1592" y="1280"/>
                </a:lnTo>
                <a:lnTo>
                  <a:pt x="1592" y="1278"/>
                </a:lnTo>
                <a:lnTo>
                  <a:pt x="1589" y="1276"/>
                </a:lnTo>
                <a:lnTo>
                  <a:pt x="1586" y="1273"/>
                </a:lnTo>
                <a:lnTo>
                  <a:pt x="1588" y="1270"/>
                </a:lnTo>
                <a:lnTo>
                  <a:pt x="1590" y="1267"/>
                </a:lnTo>
                <a:lnTo>
                  <a:pt x="1588" y="1264"/>
                </a:lnTo>
                <a:lnTo>
                  <a:pt x="1584" y="1262"/>
                </a:lnTo>
                <a:lnTo>
                  <a:pt x="1583" y="1260"/>
                </a:lnTo>
                <a:lnTo>
                  <a:pt x="1582" y="1256"/>
                </a:lnTo>
                <a:lnTo>
                  <a:pt x="1583" y="1251"/>
                </a:lnTo>
                <a:lnTo>
                  <a:pt x="1583" y="1244"/>
                </a:lnTo>
                <a:lnTo>
                  <a:pt x="1580" y="1236"/>
                </a:lnTo>
                <a:lnTo>
                  <a:pt x="1576" y="1229"/>
                </a:lnTo>
                <a:lnTo>
                  <a:pt x="1574" y="1226"/>
                </a:lnTo>
                <a:lnTo>
                  <a:pt x="1573" y="1223"/>
                </a:lnTo>
                <a:lnTo>
                  <a:pt x="1575" y="1223"/>
                </a:lnTo>
                <a:lnTo>
                  <a:pt x="1578" y="1225"/>
                </a:lnTo>
                <a:lnTo>
                  <a:pt x="1578" y="1222"/>
                </a:lnTo>
                <a:lnTo>
                  <a:pt x="1577" y="1219"/>
                </a:lnTo>
                <a:lnTo>
                  <a:pt x="1568" y="1206"/>
                </a:lnTo>
                <a:lnTo>
                  <a:pt x="1566" y="1195"/>
                </a:lnTo>
                <a:lnTo>
                  <a:pt x="1572" y="1196"/>
                </a:lnTo>
                <a:lnTo>
                  <a:pt x="1569" y="1192"/>
                </a:lnTo>
                <a:lnTo>
                  <a:pt x="1563" y="1186"/>
                </a:lnTo>
                <a:lnTo>
                  <a:pt x="1553" y="1182"/>
                </a:lnTo>
                <a:lnTo>
                  <a:pt x="1559" y="1186"/>
                </a:lnTo>
                <a:lnTo>
                  <a:pt x="1565" y="1188"/>
                </a:lnTo>
                <a:lnTo>
                  <a:pt x="1568" y="1185"/>
                </a:lnTo>
                <a:lnTo>
                  <a:pt x="1566" y="1181"/>
                </a:lnTo>
                <a:lnTo>
                  <a:pt x="1564" y="1178"/>
                </a:lnTo>
                <a:lnTo>
                  <a:pt x="1563" y="1174"/>
                </a:lnTo>
                <a:lnTo>
                  <a:pt x="1565" y="1171"/>
                </a:lnTo>
                <a:lnTo>
                  <a:pt x="1564" y="1167"/>
                </a:lnTo>
                <a:lnTo>
                  <a:pt x="1561" y="1163"/>
                </a:lnTo>
                <a:lnTo>
                  <a:pt x="1558" y="1160"/>
                </a:lnTo>
                <a:lnTo>
                  <a:pt x="1556" y="1155"/>
                </a:lnTo>
                <a:lnTo>
                  <a:pt x="1553" y="1152"/>
                </a:lnTo>
                <a:lnTo>
                  <a:pt x="1549" y="1143"/>
                </a:lnTo>
                <a:lnTo>
                  <a:pt x="1544" y="1136"/>
                </a:lnTo>
                <a:lnTo>
                  <a:pt x="1548" y="1137"/>
                </a:lnTo>
                <a:lnTo>
                  <a:pt x="1551" y="1136"/>
                </a:lnTo>
                <a:lnTo>
                  <a:pt x="1548" y="1131"/>
                </a:lnTo>
                <a:lnTo>
                  <a:pt x="1544" y="1126"/>
                </a:lnTo>
                <a:lnTo>
                  <a:pt x="1555" y="1129"/>
                </a:lnTo>
                <a:lnTo>
                  <a:pt x="1560" y="1139"/>
                </a:lnTo>
                <a:lnTo>
                  <a:pt x="1567" y="1153"/>
                </a:lnTo>
                <a:lnTo>
                  <a:pt x="1574" y="1167"/>
                </a:lnTo>
                <a:lnTo>
                  <a:pt x="1588" y="1194"/>
                </a:lnTo>
                <a:lnTo>
                  <a:pt x="1601" y="1221"/>
                </a:lnTo>
                <a:lnTo>
                  <a:pt x="1625" y="1278"/>
                </a:lnTo>
                <a:lnTo>
                  <a:pt x="1642" y="1338"/>
                </a:lnTo>
                <a:lnTo>
                  <a:pt x="1646" y="1353"/>
                </a:lnTo>
                <a:lnTo>
                  <a:pt x="1648" y="1368"/>
                </a:lnTo>
                <a:lnTo>
                  <a:pt x="1650" y="1376"/>
                </a:lnTo>
                <a:lnTo>
                  <a:pt x="1651" y="1383"/>
                </a:lnTo>
                <a:lnTo>
                  <a:pt x="1651" y="1388"/>
                </a:lnTo>
                <a:lnTo>
                  <a:pt x="1655" y="1393"/>
                </a:lnTo>
                <a:lnTo>
                  <a:pt x="1662" y="1391"/>
                </a:lnTo>
                <a:lnTo>
                  <a:pt x="1662" y="1384"/>
                </a:lnTo>
                <a:lnTo>
                  <a:pt x="1657" y="1375"/>
                </a:lnTo>
                <a:lnTo>
                  <a:pt x="1663" y="1368"/>
                </a:lnTo>
                <a:lnTo>
                  <a:pt x="1665" y="1367"/>
                </a:lnTo>
                <a:lnTo>
                  <a:pt x="1667" y="1365"/>
                </a:lnTo>
                <a:lnTo>
                  <a:pt x="1665" y="1360"/>
                </a:lnTo>
                <a:lnTo>
                  <a:pt x="1662" y="1353"/>
                </a:lnTo>
                <a:lnTo>
                  <a:pt x="1657" y="1339"/>
                </a:lnTo>
                <a:lnTo>
                  <a:pt x="1654" y="1326"/>
                </a:lnTo>
                <a:lnTo>
                  <a:pt x="1651" y="1313"/>
                </a:lnTo>
                <a:lnTo>
                  <a:pt x="1648" y="1301"/>
                </a:lnTo>
                <a:lnTo>
                  <a:pt x="1643" y="1287"/>
                </a:lnTo>
                <a:lnTo>
                  <a:pt x="1643" y="1272"/>
                </a:lnTo>
                <a:lnTo>
                  <a:pt x="1648" y="1264"/>
                </a:lnTo>
                <a:lnTo>
                  <a:pt x="1655" y="1264"/>
                </a:lnTo>
                <a:lnTo>
                  <a:pt x="1655" y="1270"/>
                </a:lnTo>
                <a:lnTo>
                  <a:pt x="1654" y="1276"/>
                </a:lnTo>
                <a:lnTo>
                  <a:pt x="1657" y="1280"/>
                </a:lnTo>
                <a:lnTo>
                  <a:pt x="1660" y="1284"/>
                </a:lnTo>
                <a:lnTo>
                  <a:pt x="1666" y="1294"/>
                </a:lnTo>
                <a:lnTo>
                  <a:pt x="1671" y="1304"/>
                </a:lnTo>
                <a:lnTo>
                  <a:pt x="1681" y="1315"/>
                </a:lnTo>
                <a:lnTo>
                  <a:pt x="1692" y="1327"/>
                </a:lnTo>
                <a:lnTo>
                  <a:pt x="1689" y="1312"/>
                </a:lnTo>
                <a:lnTo>
                  <a:pt x="1681" y="1300"/>
                </a:lnTo>
                <a:lnTo>
                  <a:pt x="1681" y="1302"/>
                </a:lnTo>
                <a:lnTo>
                  <a:pt x="1680" y="1303"/>
                </a:lnTo>
                <a:lnTo>
                  <a:pt x="1677" y="1302"/>
                </a:lnTo>
                <a:lnTo>
                  <a:pt x="1679" y="1300"/>
                </a:lnTo>
                <a:lnTo>
                  <a:pt x="1681" y="1294"/>
                </a:lnTo>
                <a:lnTo>
                  <a:pt x="1682" y="1289"/>
                </a:lnTo>
                <a:lnTo>
                  <a:pt x="1680" y="1287"/>
                </a:lnTo>
                <a:lnTo>
                  <a:pt x="1677" y="1286"/>
                </a:lnTo>
                <a:lnTo>
                  <a:pt x="1675" y="1285"/>
                </a:lnTo>
                <a:lnTo>
                  <a:pt x="1674" y="1283"/>
                </a:lnTo>
                <a:lnTo>
                  <a:pt x="1672" y="1278"/>
                </a:lnTo>
                <a:lnTo>
                  <a:pt x="1668" y="1276"/>
                </a:lnTo>
                <a:lnTo>
                  <a:pt x="1667" y="1271"/>
                </a:lnTo>
                <a:lnTo>
                  <a:pt x="1667" y="1268"/>
                </a:lnTo>
                <a:lnTo>
                  <a:pt x="1664" y="1264"/>
                </a:lnTo>
                <a:lnTo>
                  <a:pt x="1660" y="1261"/>
                </a:lnTo>
                <a:lnTo>
                  <a:pt x="1655" y="1247"/>
                </a:lnTo>
                <a:lnTo>
                  <a:pt x="1651" y="1234"/>
                </a:lnTo>
                <a:lnTo>
                  <a:pt x="1650" y="1242"/>
                </a:lnTo>
                <a:lnTo>
                  <a:pt x="1644" y="1244"/>
                </a:lnTo>
                <a:lnTo>
                  <a:pt x="1642" y="1242"/>
                </a:lnTo>
                <a:lnTo>
                  <a:pt x="1643" y="1239"/>
                </a:lnTo>
                <a:lnTo>
                  <a:pt x="1644" y="1231"/>
                </a:lnTo>
                <a:lnTo>
                  <a:pt x="1642" y="1223"/>
                </a:lnTo>
                <a:lnTo>
                  <a:pt x="1642" y="1228"/>
                </a:lnTo>
                <a:lnTo>
                  <a:pt x="1641" y="1230"/>
                </a:lnTo>
                <a:lnTo>
                  <a:pt x="1637" y="1229"/>
                </a:lnTo>
                <a:lnTo>
                  <a:pt x="1634" y="1226"/>
                </a:lnTo>
                <a:lnTo>
                  <a:pt x="1631" y="1218"/>
                </a:lnTo>
                <a:lnTo>
                  <a:pt x="1631" y="1210"/>
                </a:lnTo>
                <a:lnTo>
                  <a:pt x="1629" y="1215"/>
                </a:lnTo>
                <a:lnTo>
                  <a:pt x="1625" y="1219"/>
                </a:lnTo>
                <a:lnTo>
                  <a:pt x="1622" y="1215"/>
                </a:lnTo>
                <a:lnTo>
                  <a:pt x="1623" y="1211"/>
                </a:lnTo>
                <a:lnTo>
                  <a:pt x="1622" y="1203"/>
                </a:lnTo>
                <a:lnTo>
                  <a:pt x="1619" y="1196"/>
                </a:lnTo>
                <a:lnTo>
                  <a:pt x="1617" y="1193"/>
                </a:lnTo>
                <a:lnTo>
                  <a:pt x="1616" y="1189"/>
                </a:lnTo>
                <a:lnTo>
                  <a:pt x="1616" y="1185"/>
                </a:lnTo>
                <a:lnTo>
                  <a:pt x="1616" y="1181"/>
                </a:lnTo>
                <a:lnTo>
                  <a:pt x="1619" y="1182"/>
                </a:lnTo>
                <a:lnTo>
                  <a:pt x="1621" y="1179"/>
                </a:lnTo>
                <a:lnTo>
                  <a:pt x="1617" y="1176"/>
                </a:lnTo>
                <a:lnTo>
                  <a:pt x="1614" y="1173"/>
                </a:lnTo>
                <a:lnTo>
                  <a:pt x="1610" y="1174"/>
                </a:lnTo>
                <a:lnTo>
                  <a:pt x="1610" y="1178"/>
                </a:lnTo>
                <a:lnTo>
                  <a:pt x="1610" y="1184"/>
                </a:lnTo>
                <a:lnTo>
                  <a:pt x="1608" y="1189"/>
                </a:lnTo>
                <a:lnTo>
                  <a:pt x="1607" y="1181"/>
                </a:lnTo>
                <a:lnTo>
                  <a:pt x="1605" y="1174"/>
                </a:lnTo>
                <a:lnTo>
                  <a:pt x="1601" y="1169"/>
                </a:lnTo>
                <a:lnTo>
                  <a:pt x="1604" y="1163"/>
                </a:lnTo>
                <a:lnTo>
                  <a:pt x="1607" y="1167"/>
                </a:lnTo>
                <a:lnTo>
                  <a:pt x="1607" y="1163"/>
                </a:lnTo>
                <a:lnTo>
                  <a:pt x="1611" y="1162"/>
                </a:lnTo>
                <a:lnTo>
                  <a:pt x="1616" y="1163"/>
                </a:lnTo>
                <a:lnTo>
                  <a:pt x="1621" y="1169"/>
                </a:lnTo>
                <a:lnTo>
                  <a:pt x="1623" y="1174"/>
                </a:lnTo>
                <a:lnTo>
                  <a:pt x="1630" y="1186"/>
                </a:lnTo>
                <a:lnTo>
                  <a:pt x="1635" y="1197"/>
                </a:lnTo>
                <a:lnTo>
                  <a:pt x="1649" y="1219"/>
                </a:lnTo>
                <a:lnTo>
                  <a:pt x="1663" y="1243"/>
                </a:lnTo>
                <a:lnTo>
                  <a:pt x="1688" y="1288"/>
                </a:lnTo>
                <a:lnTo>
                  <a:pt x="1711" y="1335"/>
                </a:lnTo>
                <a:lnTo>
                  <a:pt x="1711" y="1322"/>
                </a:lnTo>
                <a:lnTo>
                  <a:pt x="1706" y="1311"/>
                </a:lnTo>
                <a:lnTo>
                  <a:pt x="1708" y="1312"/>
                </a:lnTo>
                <a:lnTo>
                  <a:pt x="1706" y="1311"/>
                </a:lnTo>
                <a:lnTo>
                  <a:pt x="1699" y="1298"/>
                </a:lnTo>
                <a:lnTo>
                  <a:pt x="1697" y="1286"/>
                </a:lnTo>
                <a:lnTo>
                  <a:pt x="1692" y="1273"/>
                </a:lnTo>
                <a:lnTo>
                  <a:pt x="1682" y="1264"/>
                </a:lnTo>
                <a:lnTo>
                  <a:pt x="1687" y="1262"/>
                </a:lnTo>
                <a:lnTo>
                  <a:pt x="1688" y="1260"/>
                </a:lnTo>
                <a:lnTo>
                  <a:pt x="1684" y="1251"/>
                </a:lnTo>
                <a:lnTo>
                  <a:pt x="1679" y="1243"/>
                </a:lnTo>
                <a:lnTo>
                  <a:pt x="1675" y="1236"/>
                </a:lnTo>
                <a:lnTo>
                  <a:pt x="1671" y="1229"/>
                </a:lnTo>
                <a:lnTo>
                  <a:pt x="1668" y="1227"/>
                </a:lnTo>
                <a:lnTo>
                  <a:pt x="1667" y="1223"/>
                </a:lnTo>
                <a:lnTo>
                  <a:pt x="1666" y="1219"/>
                </a:lnTo>
                <a:lnTo>
                  <a:pt x="1664" y="1214"/>
                </a:lnTo>
                <a:lnTo>
                  <a:pt x="1660" y="1207"/>
                </a:lnTo>
                <a:lnTo>
                  <a:pt x="1658" y="1200"/>
                </a:lnTo>
                <a:lnTo>
                  <a:pt x="1655" y="1194"/>
                </a:lnTo>
                <a:lnTo>
                  <a:pt x="1648" y="1192"/>
                </a:lnTo>
                <a:lnTo>
                  <a:pt x="1646" y="1190"/>
                </a:lnTo>
                <a:lnTo>
                  <a:pt x="1644" y="1188"/>
                </a:lnTo>
                <a:lnTo>
                  <a:pt x="1644" y="1185"/>
                </a:lnTo>
                <a:lnTo>
                  <a:pt x="1647" y="1182"/>
                </a:lnTo>
                <a:lnTo>
                  <a:pt x="1646" y="1180"/>
                </a:lnTo>
                <a:lnTo>
                  <a:pt x="1644" y="1178"/>
                </a:lnTo>
                <a:lnTo>
                  <a:pt x="1643" y="1174"/>
                </a:lnTo>
                <a:lnTo>
                  <a:pt x="1646" y="1172"/>
                </a:lnTo>
                <a:lnTo>
                  <a:pt x="1648" y="1171"/>
                </a:lnTo>
                <a:lnTo>
                  <a:pt x="1648" y="1169"/>
                </a:lnTo>
                <a:lnTo>
                  <a:pt x="1648" y="1165"/>
                </a:lnTo>
                <a:lnTo>
                  <a:pt x="1646" y="1162"/>
                </a:lnTo>
                <a:lnTo>
                  <a:pt x="1643" y="1159"/>
                </a:lnTo>
                <a:lnTo>
                  <a:pt x="1641" y="1155"/>
                </a:lnTo>
                <a:lnTo>
                  <a:pt x="1639" y="1154"/>
                </a:lnTo>
                <a:lnTo>
                  <a:pt x="1639" y="1152"/>
                </a:lnTo>
                <a:lnTo>
                  <a:pt x="1638" y="1151"/>
                </a:lnTo>
                <a:lnTo>
                  <a:pt x="1637" y="1148"/>
                </a:lnTo>
                <a:lnTo>
                  <a:pt x="1632" y="1143"/>
                </a:lnTo>
                <a:lnTo>
                  <a:pt x="1631" y="1136"/>
                </a:lnTo>
                <a:lnTo>
                  <a:pt x="1627" y="1126"/>
                </a:lnTo>
                <a:lnTo>
                  <a:pt x="1623" y="1117"/>
                </a:lnTo>
                <a:lnTo>
                  <a:pt x="1623" y="1112"/>
                </a:lnTo>
                <a:lnTo>
                  <a:pt x="1625" y="1107"/>
                </a:lnTo>
                <a:lnTo>
                  <a:pt x="1623" y="1104"/>
                </a:lnTo>
                <a:lnTo>
                  <a:pt x="1619" y="1101"/>
                </a:lnTo>
                <a:lnTo>
                  <a:pt x="1616" y="1096"/>
                </a:lnTo>
                <a:lnTo>
                  <a:pt x="1614" y="1090"/>
                </a:lnTo>
                <a:lnTo>
                  <a:pt x="1608" y="1082"/>
                </a:lnTo>
                <a:lnTo>
                  <a:pt x="1601" y="1074"/>
                </a:lnTo>
                <a:lnTo>
                  <a:pt x="1598" y="1071"/>
                </a:lnTo>
                <a:lnTo>
                  <a:pt x="1596" y="1066"/>
                </a:lnTo>
                <a:lnTo>
                  <a:pt x="1594" y="1062"/>
                </a:lnTo>
                <a:lnTo>
                  <a:pt x="1594" y="1056"/>
                </a:lnTo>
                <a:lnTo>
                  <a:pt x="1589" y="1051"/>
                </a:lnTo>
                <a:lnTo>
                  <a:pt x="1581" y="1046"/>
                </a:lnTo>
                <a:lnTo>
                  <a:pt x="1578" y="1044"/>
                </a:lnTo>
                <a:lnTo>
                  <a:pt x="1577" y="1040"/>
                </a:lnTo>
                <a:lnTo>
                  <a:pt x="1578" y="1037"/>
                </a:lnTo>
                <a:lnTo>
                  <a:pt x="1580" y="1032"/>
                </a:lnTo>
                <a:lnTo>
                  <a:pt x="1577" y="1028"/>
                </a:lnTo>
                <a:lnTo>
                  <a:pt x="1574" y="1024"/>
                </a:lnTo>
                <a:lnTo>
                  <a:pt x="1571" y="1020"/>
                </a:lnTo>
                <a:lnTo>
                  <a:pt x="1568" y="1015"/>
                </a:lnTo>
                <a:lnTo>
                  <a:pt x="1565" y="1011"/>
                </a:lnTo>
                <a:lnTo>
                  <a:pt x="1561" y="1007"/>
                </a:lnTo>
                <a:lnTo>
                  <a:pt x="1556" y="1006"/>
                </a:lnTo>
                <a:lnTo>
                  <a:pt x="1550" y="1004"/>
                </a:lnTo>
                <a:lnTo>
                  <a:pt x="1555" y="999"/>
                </a:lnTo>
                <a:lnTo>
                  <a:pt x="1551" y="995"/>
                </a:lnTo>
                <a:lnTo>
                  <a:pt x="1548" y="994"/>
                </a:lnTo>
                <a:lnTo>
                  <a:pt x="1543" y="991"/>
                </a:lnTo>
                <a:lnTo>
                  <a:pt x="1543" y="990"/>
                </a:lnTo>
                <a:lnTo>
                  <a:pt x="1542" y="989"/>
                </a:lnTo>
                <a:lnTo>
                  <a:pt x="1540" y="989"/>
                </a:lnTo>
                <a:lnTo>
                  <a:pt x="1539" y="987"/>
                </a:lnTo>
                <a:lnTo>
                  <a:pt x="1536" y="985"/>
                </a:lnTo>
                <a:lnTo>
                  <a:pt x="1535" y="982"/>
                </a:lnTo>
                <a:lnTo>
                  <a:pt x="1533" y="980"/>
                </a:lnTo>
                <a:lnTo>
                  <a:pt x="1530" y="978"/>
                </a:lnTo>
                <a:lnTo>
                  <a:pt x="1523" y="972"/>
                </a:lnTo>
                <a:lnTo>
                  <a:pt x="1516" y="968"/>
                </a:lnTo>
                <a:lnTo>
                  <a:pt x="1509" y="966"/>
                </a:lnTo>
                <a:lnTo>
                  <a:pt x="1506" y="962"/>
                </a:lnTo>
                <a:lnTo>
                  <a:pt x="1506" y="960"/>
                </a:lnTo>
                <a:lnTo>
                  <a:pt x="1507" y="956"/>
                </a:lnTo>
                <a:lnTo>
                  <a:pt x="1506" y="953"/>
                </a:lnTo>
                <a:lnTo>
                  <a:pt x="1503" y="949"/>
                </a:lnTo>
                <a:lnTo>
                  <a:pt x="1499" y="944"/>
                </a:lnTo>
                <a:lnTo>
                  <a:pt x="1492" y="938"/>
                </a:lnTo>
                <a:lnTo>
                  <a:pt x="1490" y="937"/>
                </a:lnTo>
                <a:lnTo>
                  <a:pt x="1486" y="936"/>
                </a:lnTo>
                <a:lnTo>
                  <a:pt x="1482" y="935"/>
                </a:lnTo>
                <a:lnTo>
                  <a:pt x="1477" y="938"/>
                </a:lnTo>
                <a:lnTo>
                  <a:pt x="1474" y="933"/>
                </a:lnTo>
                <a:lnTo>
                  <a:pt x="1471" y="929"/>
                </a:lnTo>
                <a:lnTo>
                  <a:pt x="1473" y="927"/>
                </a:lnTo>
                <a:lnTo>
                  <a:pt x="1473" y="925"/>
                </a:lnTo>
                <a:lnTo>
                  <a:pt x="1470" y="924"/>
                </a:lnTo>
                <a:lnTo>
                  <a:pt x="1466" y="923"/>
                </a:lnTo>
                <a:lnTo>
                  <a:pt x="1465" y="922"/>
                </a:lnTo>
                <a:lnTo>
                  <a:pt x="1464" y="920"/>
                </a:lnTo>
                <a:lnTo>
                  <a:pt x="1461" y="920"/>
                </a:lnTo>
                <a:lnTo>
                  <a:pt x="1459" y="920"/>
                </a:lnTo>
                <a:lnTo>
                  <a:pt x="1453" y="913"/>
                </a:lnTo>
                <a:lnTo>
                  <a:pt x="1450" y="905"/>
                </a:lnTo>
                <a:lnTo>
                  <a:pt x="1443" y="897"/>
                </a:lnTo>
                <a:lnTo>
                  <a:pt x="1436" y="890"/>
                </a:lnTo>
                <a:lnTo>
                  <a:pt x="1442" y="889"/>
                </a:lnTo>
                <a:lnTo>
                  <a:pt x="1448" y="889"/>
                </a:lnTo>
                <a:lnTo>
                  <a:pt x="1449" y="893"/>
                </a:lnTo>
                <a:lnTo>
                  <a:pt x="1449" y="896"/>
                </a:lnTo>
                <a:lnTo>
                  <a:pt x="1450" y="898"/>
                </a:lnTo>
                <a:lnTo>
                  <a:pt x="1452" y="898"/>
                </a:lnTo>
                <a:lnTo>
                  <a:pt x="1453" y="897"/>
                </a:lnTo>
                <a:lnTo>
                  <a:pt x="1452" y="895"/>
                </a:lnTo>
                <a:lnTo>
                  <a:pt x="1457" y="895"/>
                </a:lnTo>
                <a:lnTo>
                  <a:pt x="1457" y="893"/>
                </a:lnTo>
                <a:lnTo>
                  <a:pt x="1460" y="898"/>
                </a:lnTo>
                <a:lnTo>
                  <a:pt x="1465" y="903"/>
                </a:lnTo>
                <a:lnTo>
                  <a:pt x="1470" y="905"/>
                </a:lnTo>
                <a:lnTo>
                  <a:pt x="1475" y="905"/>
                </a:lnTo>
                <a:lnTo>
                  <a:pt x="1485" y="911"/>
                </a:lnTo>
                <a:lnTo>
                  <a:pt x="1492" y="919"/>
                </a:lnTo>
                <a:lnTo>
                  <a:pt x="1495" y="924"/>
                </a:lnTo>
                <a:lnTo>
                  <a:pt x="1500" y="929"/>
                </a:lnTo>
                <a:lnTo>
                  <a:pt x="1502" y="928"/>
                </a:lnTo>
                <a:lnTo>
                  <a:pt x="1506" y="927"/>
                </a:lnTo>
                <a:lnTo>
                  <a:pt x="1509" y="930"/>
                </a:lnTo>
                <a:lnTo>
                  <a:pt x="1512" y="933"/>
                </a:lnTo>
                <a:lnTo>
                  <a:pt x="1516" y="939"/>
                </a:lnTo>
                <a:lnTo>
                  <a:pt x="1515" y="946"/>
                </a:lnTo>
                <a:lnTo>
                  <a:pt x="1528" y="947"/>
                </a:lnTo>
                <a:lnTo>
                  <a:pt x="1539" y="960"/>
                </a:lnTo>
                <a:lnTo>
                  <a:pt x="1543" y="965"/>
                </a:lnTo>
                <a:lnTo>
                  <a:pt x="1547" y="971"/>
                </a:lnTo>
                <a:lnTo>
                  <a:pt x="1552" y="976"/>
                </a:lnTo>
                <a:lnTo>
                  <a:pt x="1559" y="979"/>
                </a:lnTo>
                <a:lnTo>
                  <a:pt x="1573" y="990"/>
                </a:lnTo>
                <a:lnTo>
                  <a:pt x="1584" y="1004"/>
                </a:lnTo>
                <a:lnTo>
                  <a:pt x="1597" y="1019"/>
                </a:lnTo>
                <a:lnTo>
                  <a:pt x="1608" y="1034"/>
                </a:lnTo>
                <a:lnTo>
                  <a:pt x="1631" y="1066"/>
                </a:lnTo>
                <a:lnTo>
                  <a:pt x="1657" y="1097"/>
                </a:lnTo>
                <a:lnTo>
                  <a:pt x="1658" y="1099"/>
                </a:lnTo>
                <a:lnTo>
                  <a:pt x="1660" y="1101"/>
                </a:lnTo>
                <a:lnTo>
                  <a:pt x="1664" y="1102"/>
                </a:lnTo>
                <a:lnTo>
                  <a:pt x="1667" y="1103"/>
                </a:lnTo>
                <a:lnTo>
                  <a:pt x="1671" y="1105"/>
                </a:lnTo>
                <a:lnTo>
                  <a:pt x="1673" y="1111"/>
                </a:lnTo>
                <a:lnTo>
                  <a:pt x="1683" y="1122"/>
                </a:lnTo>
                <a:lnTo>
                  <a:pt x="1693" y="1132"/>
                </a:lnTo>
                <a:lnTo>
                  <a:pt x="1693" y="1129"/>
                </a:lnTo>
                <a:lnTo>
                  <a:pt x="1693" y="1126"/>
                </a:lnTo>
                <a:lnTo>
                  <a:pt x="1699" y="1129"/>
                </a:lnTo>
                <a:lnTo>
                  <a:pt x="1704" y="1128"/>
                </a:lnTo>
                <a:lnTo>
                  <a:pt x="1703" y="1119"/>
                </a:lnTo>
                <a:lnTo>
                  <a:pt x="1699" y="1111"/>
                </a:lnTo>
                <a:lnTo>
                  <a:pt x="1690" y="1090"/>
                </a:lnTo>
                <a:lnTo>
                  <a:pt x="1680" y="1072"/>
                </a:lnTo>
                <a:lnTo>
                  <a:pt x="1674" y="1064"/>
                </a:lnTo>
                <a:lnTo>
                  <a:pt x="1670" y="1056"/>
                </a:lnTo>
                <a:lnTo>
                  <a:pt x="1665" y="1046"/>
                </a:lnTo>
                <a:lnTo>
                  <a:pt x="1663" y="1036"/>
                </a:lnTo>
                <a:lnTo>
                  <a:pt x="1657" y="1029"/>
                </a:lnTo>
                <a:lnTo>
                  <a:pt x="1649" y="1024"/>
                </a:lnTo>
                <a:lnTo>
                  <a:pt x="1641" y="1016"/>
                </a:lnTo>
                <a:lnTo>
                  <a:pt x="1634" y="1008"/>
                </a:lnTo>
                <a:lnTo>
                  <a:pt x="1621" y="994"/>
                </a:lnTo>
                <a:lnTo>
                  <a:pt x="1608" y="980"/>
                </a:lnTo>
                <a:lnTo>
                  <a:pt x="1604" y="974"/>
                </a:lnTo>
                <a:lnTo>
                  <a:pt x="1599" y="969"/>
                </a:lnTo>
                <a:lnTo>
                  <a:pt x="1593" y="964"/>
                </a:lnTo>
                <a:lnTo>
                  <a:pt x="1585" y="961"/>
                </a:lnTo>
                <a:lnTo>
                  <a:pt x="1583" y="957"/>
                </a:lnTo>
                <a:lnTo>
                  <a:pt x="1582" y="953"/>
                </a:lnTo>
                <a:lnTo>
                  <a:pt x="1576" y="952"/>
                </a:lnTo>
                <a:lnTo>
                  <a:pt x="1572" y="949"/>
                </a:lnTo>
                <a:lnTo>
                  <a:pt x="1571" y="947"/>
                </a:lnTo>
                <a:lnTo>
                  <a:pt x="1569" y="944"/>
                </a:lnTo>
                <a:lnTo>
                  <a:pt x="1567" y="943"/>
                </a:lnTo>
                <a:lnTo>
                  <a:pt x="1564" y="941"/>
                </a:lnTo>
                <a:lnTo>
                  <a:pt x="1555" y="937"/>
                </a:lnTo>
                <a:lnTo>
                  <a:pt x="1547" y="930"/>
                </a:lnTo>
                <a:lnTo>
                  <a:pt x="1539" y="923"/>
                </a:lnTo>
                <a:lnTo>
                  <a:pt x="1531" y="916"/>
                </a:lnTo>
                <a:lnTo>
                  <a:pt x="1527" y="914"/>
                </a:lnTo>
                <a:lnTo>
                  <a:pt x="1526" y="912"/>
                </a:lnTo>
                <a:lnTo>
                  <a:pt x="1525" y="908"/>
                </a:lnTo>
                <a:lnTo>
                  <a:pt x="1524" y="906"/>
                </a:lnTo>
                <a:lnTo>
                  <a:pt x="1518" y="905"/>
                </a:lnTo>
                <a:lnTo>
                  <a:pt x="1511" y="904"/>
                </a:lnTo>
                <a:lnTo>
                  <a:pt x="1510" y="900"/>
                </a:lnTo>
                <a:lnTo>
                  <a:pt x="1510" y="897"/>
                </a:lnTo>
                <a:lnTo>
                  <a:pt x="1514" y="895"/>
                </a:lnTo>
                <a:lnTo>
                  <a:pt x="1517" y="894"/>
                </a:lnTo>
                <a:lnTo>
                  <a:pt x="1512" y="891"/>
                </a:lnTo>
                <a:lnTo>
                  <a:pt x="1506" y="891"/>
                </a:lnTo>
                <a:lnTo>
                  <a:pt x="1501" y="890"/>
                </a:lnTo>
                <a:lnTo>
                  <a:pt x="1497" y="886"/>
                </a:lnTo>
                <a:lnTo>
                  <a:pt x="1484" y="880"/>
                </a:lnTo>
                <a:lnTo>
                  <a:pt x="1469" y="877"/>
                </a:lnTo>
                <a:lnTo>
                  <a:pt x="1479" y="875"/>
                </a:lnTo>
                <a:lnTo>
                  <a:pt x="1489" y="875"/>
                </a:lnTo>
                <a:lnTo>
                  <a:pt x="1492" y="875"/>
                </a:lnTo>
                <a:lnTo>
                  <a:pt x="1494" y="872"/>
                </a:lnTo>
                <a:lnTo>
                  <a:pt x="1493" y="869"/>
                </a:lnTo>
                <a:lnTo>
                  <a:pt x="1494" y="866"/>
                </a:lnTo>
                <a:lnTo>
                  <a:pt x="1498" y="869"/>
                </a:lnTo>
                <a:lnTo>
                  <a:pt x="1500" y="871"/>
                </a:lnTo>
                <a:lnTo>
                  <a:pt x="1506" y="874"/>
                </a:lnTo>
                <a:lnTo>
                  <a:pt x="1511" y="877"/>
                </a:lnTo>
                <a:lnTo>
                  <a:pt x="1519" y="888"/>
                </a:lnTo>
                <a:lnTo>
                  <a:pt x="1527" y="897"/>
                </a:lnTo>
                <a:lnTo>
                  <a:pt x="1532" y="896"/>
                </a:lnTo>
                <a:lnTo>
                  <a:pt x="1534" y="899"/>
                </a:lnTo>
                <a:lnTo>
                  <a:pt x="1536" y="904"/>
                </a:lnTo>
                <a:lnTo>
                  <a:pt x="1540" y="907"/>
                </a:lnTo>
                <a:lnTo>
                  <a:pt x="1540" y="904"/>
                </a:lnTo>
                <a:lnTo>
                  <a:pt x="1539" y="900"/>
                </a:lnTo>
                <a:lnTo>
                  <a:pt x="1538" y="898"/>
                </a:lnTo>
                <a:lnTo>
                  <a:pt x="1536" y="895"/>
                </a:lnTo>
                <a:lnTo>
                  <a:pt x="1540" y="893"/>
                </a:lnTo>
                <a:lnTo>
                  <a:pt x="1543" y="895"/>
                </a:lnTo>
                <a:lnTo>
                  <a:pt x="1545" y="902"/>
                </a:lnTo>
                <a:lnTo>
                  <a:pt x="1547" y="908"/>
                </a:lnTo>
                <a:lnTo>
                  <a:pt x="1550" y="916"/>
                </a:lnTo>
                <a:lnTo>
                  <a:pt x="1555" y="923"/>
                </a:lnTo>
                <a:lnTo>
                  <a:pt x="1553" y="915"/>
                </a:lnTo>
                <a:lnTo>
                  <a:pt x="1550" y="907"/>
                </a:lnTo>
                <a:lnTo>
                  <a:pt x="1548" y="903"/>
                </a:lnTo>
                <a:lnTo>
                  <a:pt x="1548" y="897"/>
                </a:lnTo>
                <a:lnTo>
                  <a:pt x="1555" y="898"/>
                </a:lnTo>
                <a:lnTo>
                  <a:pt x="1557" y="894"/>
                </a:lnTo>
                <a:lnTo>
                  <a:pt x="1563" y="895"/>
                </a:lnTo>
                <a:lnTo>
                  <a:pt x="1568" y="898"/>
                </a:lnTo>
                <a:lnTo>
                  <a:pt x="1574" y="903"/>
                </a:lnTo>
                <a:lnTo>
                  <a:pt x="1580" y="906"/>
                </a:lnTo>
                <a:lnTo>
                  <a:pt x="1578" y="903"/>
                </a:lnTo>
                <a:lnTo>
                  <a:pt x="1580" y="898"/>
                </a:lnTo>
                <a:lnTo>
                  <a:pt x="1582" y="898"/>
                </a:lnTo>
                <a:lnTo>
                  <a:pt x="1584" y="898"/>
                </a:lnTo>
                <a:lnTo>
                  <a:pt x="1588" y="899"/>
                </a:lnTo>
                <a:lnTo>
                  <a:pt x="1591" y="903"/>
                </a:lnTo>
                <a:lnTo>
                  <a:pt x="1585" y="907"/>
                </a:lnTo>
                <a:lnTo>
                  <a:pt x="1576" y="906"/>
                </a:lnTo>
                <a:lnTo>
                  <a:pt x="1585" y="913"/>
                </a:lnTo>
                <a:lnTo>
                  <a:pt x="1596" y="918"/>
                </a:lnTo>
                <a:lnTo>
                  <a:pt x="1594" y="908"/>
                </a:lnTo>
                <a:lnTo>
                  <a:pt x="1591" y="900"/>
                </a:lnTo>
                <a:lnTo>
                  <a:pt x="1586" y="893"/>
                </a:lnTo>
                <a:lnTo>
                  <a:pt x="1585" y="885"/>
                </a:lnTo>
                <a:lnTo>
                  <a:pt x="1588" y="885"/>
                </a:lnTo>
                <a:lnTo>
                  <a:pt x="1591" y="885"/>
                </a:lnTo>
                <a:lnTo>
                  <a:pt x="1593" y="887"/>
                </a:lnTo>
                <a:lnTo>
                  <a:pt x="1596" y="890"/>
                </a:lnTo>
                <a:lnTo>
                  <a:pt x="1602" y="895"/>
                </a:lnTo>
                <a:lnTo>
                  <a:pt x="1608" y="900"/>
                </a:lnTo>
                <a:lnTo>
                  <a:pt x="1618" y="911"/>
                </a:lnTo>
                <a:lnTo>
                  <a:pt x="1629" y="921"/>
                </a:lnTo>
                <a:lnTo>
                  <a:pt x="1647" y="945"/>
                </a:lnTo>
                <a:lnTo>
                  <a:pt x="1663" y="969"/>
                </a:lnTo>
                <a:lnTo>
                  <a:pt x="1667" y="979"/>
                </a:lnTo>
                <a:lnTo>
                  <a:pt x="1674" y="989"/>
                </a:lnTo>
                <a:lnTo>
                  <a:pt x="1681" y="994"/>
                </a:lnTo>
                <a:lnTo>
                  <a:pt x="1688" y="991"/>
                </a:lnTo>
                <a:lnTo>
                  <a:pt x="1684" y="985"/>
                </a:lnTo>
                <a:lnTo>
                  <a:pt x="1679" y="978"/>
                </a:lnTo>
                <a:lnTo>
                  <a:pt x="1681" y="973"/>
                </a:lnTo>
                <a:lnTo>
                  <a:pt x="1685" y="973"/>
                </a:lnTo>
                <a:lnTo>
                  <a:pt x="1691" y="977"/>
                </a:lnTo>
                <a:lnTo>
                  <a:pt x="1698" y="974"/>
                </a:lnTo>
                <a:lnTo>
                  <a:pt x="1691" y="971"/>
                </a:lnTo>
                <a:lnTo>
                  <a:pt x="1683" y="970"/>
                </a:lnTo>
                <a:lnTo>
                  <a:pt x="1676" y="965"/>
                </a:lnTo>
                <a:lnTo>
                  <a:pt x="1671" y="958"/>
                </a:lnTo>
                <a:lnTo>
                  <a:pt x="1668" y="954"/>
                </a:lnTo>
                <a:lnTo>
                  <a:pt x="1667" y="949"/>
                </a:lnTo>
                <a:lnTo>
                  <a:pt x="1667" y="948"/>
                </a:lnTo>
                <a:lnTo>
                  <a:pt x="1666" y="946"/>
                </a:lnTo>
                <a:lnTo>
                  <a:pt x="1665" y="945"/>
                </a:lnTo>
                <a:lnTo>
                  <a:pt x="1664" y="944"/>
                </a:lnTo>
                <a:lnTo>
                  <a:pt x="1665" y="941"/>
                </a:lnTo>
                <a:lnTo>
                  <a:pt x="1667" y="940"/>
                </a:lnTo>
                <a:lnTo>
                  <a:pt x="1664" y="937"/>
                </a:lnTo>
                <a:lnTo>
                  <a:pt x="1660" y="935"/>
                </a:lnTo>
                <a:lnTo>
                  <a:pt x="1659" y="932"/>
                </a:lnTo>
                <a:lnTo>
                  <a:pt x="1658" y="929"/>
                </a:lnTo>
                <a:lnTo>
                  <a:pt x="1658" y="925"/>
                </a:lnTo>
                <a:lnTo>
                  <a:pt x="1658" y="922"/>
                </a:lnTo>
                <a:lnTo>
                  <a:pt x="1658" y="921"/>
                </a:lnTo>
                <a:lnTo>
                  <a:pt x="1657" y="920"/>
                </a:lnTo>
                <a:lnTo>
                  <a:pt x="1656" y="919"/>
                </a:lnTo>
                <a:lnTo>
                  <a:pt x="1656" y="916"/>
                </a:lnTo>
                <a:lnTo>
                  <a:pt x="1654" y="914"/>
                </a:lnTo>
                <a:lnTo>
                  <a:pt x="1651" y="912"/>
                </a:lnTo>
                <a:lnTo>
                  <a:pt x="1641" y="907"/>
                </a:lnTo>
                <a:lnTo>
                  <a:pt x="1630" y="905"/>
                </a:lnTo>
                <a:lnTo>
                  <a:pt x="1625" y="904"/>
                </a:lnTo>
                <a:lnTo>
                  <a:pt x="1625" y="900"/>
                </a:lnTo>
                <a:lnTo>
                  <a:pt x="1631" y="900"/>
                </a:lnTo>
                <a:lnTo>
                  <a:pt x="1638" y="900"/>
                </a:lnTo>
                <a:lnTo>
                  <a:pt x="1627" y="897"/>
                </a:lnTo>
                <a:lnTo>
                  <a:pt x="1615" y="894"/>
                </a:lnTo>
                <a:lnTo>
                  <a:pt x="1618" y="895"/>
                </a:lnTo>
                <a:lnTo>
                  <a:pt x="1621" y="895"/>
                </a:lnTo>
                <a:lnTo>
                  <a:pt x="1621" y="893"/>
                </a:lnTo>
                <a:lnTo>
                  <a:pt x="1622" y="890"/>
                </a:lnTo>
                <a:lnTo>
                  <a:pt x="1627" y="891"/>
                </a:lnTo>
                <a:lnTo>
                  <a:pt x="1633" y="891"/>
                </a:lnTo>
                <a:lnTo>
                  <a:pt x="1627" y="888"/>
                </a:lnTo>
                <a:lnTo>
                  <a:pt x="1622" y="885"/>
                </a:lnTo>
                <a:lnTo>
                  <a:pt x="1621" y="881"/>
                </a:lnTo>
                <a:lnTo>
                  <a:pt x="1622" y="879"/>
                </a:lnTo>
                <a:lnTo>
                  <a:pt x="1623" y="877"/>
                </a:lnTo>
                <a:lnTo>
                  <a:pt x="1627" y="878"/>
                </a:lnTo>
                <a:lnTo>
                  <a:pt x="1643" y="888"/>
                </a:lnTo>
                <a:lnTo>
                  <a:pt x="1659" y="900"/>
                </a:lnTo>
                <a:lnTo>
                  <a:pt x="1677" y="912"/>
                </a:lnTo>
                <a:lnTo>
                  <a:pt x="1696" y="924"/>
                </a:lnTo>
                <a:lnTo>
                  <a:pt x="1703" y="931"/>
                </a:lnTo>
                <a:lnTo>
                  <a:pt x="1709" y="939"/>
                </a:lnTo>
                <a:lnTo>
                  <a:pt x="1716" y="944"/>
                </a:lnTo>
                <a:lnTo>
                  <a:pt x="1725" y="948"/>
                </a:lnTo>
                <a:lnTo>
                  <a:pt x="1731" y="954"/>
                </a:lnTo>
                <a:lnTo>
                  <a:pt x="1737" y="960"/>
                </a:lnTo>
                <a:lnTo>
                  <a:pt x="1746" y="966"/>
                </a:lnTo>
                <a:lnTo>
                  <a:pt x="1755" y="972"/>
                </a:lnTo>
                <a:lnTo>
                  <a:pt x="1762" y="977"/>
                </a:lnTo>
                <a:lnTo>
                  <a:pt x="1767" y="982"/>
                </a:lnTo>
                <a:lnTo>
                  <a:pt x="1771" y="985"/>
                </a:lnTo>
                <a:lnTo>
                  <a:pt x="1774" y="987"/>
                </a:lnTo>
                <a:lnTo>
                  <a:pt x="1778" y="985"/>
                </a:lnTo>
                <a:lnTo>
                  <a:pt x="1778" y="980"/>
                </a:lnTo>
                <a:lnTo>
                  <a:pt x="1769" y="969"/>
                </a:lnTo>
                <a:lnTo>
                  <a:pt x="1759" y="956"/>
                </a:lnTo>
                <a:lnTo>
                  <a:pt x="1758" y="951"/>
                </a:lnTo>
                <a:lnTo>
                  <a:pt x="1754" y="945"/>
                </a:lnTo>
                <a:lnTo>
                  <a:pt x="1746" y="939"/>
                </a:lnTo>
                <a:lnTo>
                  <a:pt x="1739" y="932"/>
                </a:lnTo>
                <a:lnTo>
                  <a:pt x="1732" y="924"/>
                </a:lnTo>
                <a:lnTo>
                  <a:pt x="1723" y="916"/>
                </a:lnTo>
                <a:lnTo>
                  <a:pt x="1715" y="910"/>
                </a:lnTo>
                <a:lnTo>
                  <a:pt x="1706" y="904"/>
                </a:lnTo>
                <a:lnTo>
                  <a:pt x="1699" y="898"/>
                </a:lnTo>
                <a:lnTo>
                  <a:pt x="1692" y="897"/>
                </a:lnTo>
                <a:lnTo>
                  <a:pt x="1688" y="899"/>
                </a:lnTo>
                <a:lnTo>
                  <a:pt x="1683" y="900"/>
                </a:lnTo>
                <a:lnTo>
                  <a:pt x="1684" y="895"/>
                </a:lnTo>
                <a:lnTo>
                  <a:pt x="1690" y="891"/>
                </a:lnTo>
                <a:lnTo>
                  <a:pt x="1682" y="890"/>
                </a:lnTo>
                <a:lnTo>
                  <a:pt x="1675" y="890"/>
                </a:lnTo>
                <a:lnTo>
                  <a:pt x="1671" y="883"/>
                </a:lnTo>
                <a:lnTo>
                  <a:pt x="1662" y="879"/>
                </a:lnTo>
                <a:lnTo>
                  <a:pt x="1662" y="878"/>
                </a:lnTo>
                <a:lnTo>
                  <a:pt x="1660" y="877"/>
                </a:lnTo>
                <a:lnTo>
                  <a:pt x="1657" y="875"/>
                </a:lnTo>
                <a:lnTo>
                  <a:pt x="1655" y="874"/>
                </a:lnTo>
                <a:lnTo>
                  <a:pt x="1650" y="870"/>
                </a:lnTo>
                <a:lnTo>
                  <a:pt x="1646" y="865"/>
                </a:lnTo>
                <a:lnTo>
                  <a:pt x="1640" y="863"/>
                </a:lnTo>
                <a:lnTo>
                  <a:pt x="1635" y="862"/>
                </a:lnTo>
                <a:lnTo>
                  <a:pt x="1631" y="860"/>
                </a:lnTo>
                <a:lnTo>
                  <a:pt x="1626" y="855"/>
                </a:lnTo>
                <a:lnTo>
                  <a:pt x="1622" y="853"/>
                </a:lnTo>
                <a:lnTo>
                  <a:pt x="1617" y="850"/>
                </a:lnTo>
                <a:lnTo>
                  <a:pt x="1608" y="846"/>
                </a:lnTo>
                <a:lnTo>
                  <a:pt x="1600" y="842"/>
                </a:lnTo>
                <a:lnTo>
                  <a:pt x="1590" y="839"/>
                </a:lnTo>
                <a:lnTo>
                  <a:pt x="1580" y="836"/>
                </a:lnTo>
                <a:lnTo>
                  <a:pt x="1578" y="831"/>
                </a:lnTo>
                <a:lnTo>
                  <a:pt x="1581" y="828"/>
                </a:lnTo>
                <a:lnTo>
                  <a:pt x="1573" y="824"/>
                </a:lnTo>
                <a:lnTo>
                  <a:pt x="1563" y="822"/>
                </a:lnTo>
                <a:lnTo>
                  <a:pt x="1555" y="821"/>
                </a:lnTo>
                <a:lnTo>
                  <a:pt x="1548" y="819"/>
                </a:lnTo>
                <a:lnTo>
                  <a:pt x="1543" y="815"/>
                </a:lnTo>
                <a:lnTo>
                  <a:pt x="1539" y="811"/>
                </a:lnTo>
                <a:lnTo>
                  <a:pt x="1532" y="808"/>
                </a:lnTo>
                <a:lnTo>
                  <a:pt x="1524" y="808"/>
                </a:lnTo>
                <a:lnTo>
                  <a:pt x="1520" y="804"/>
                </a:lnTo>
                <a:lnTo>
                  <a:pt x="1516" y="799"/>
                </a:lnTo>
                <a:lnTo>
                  <a:pt x="1514" y="797"/>
                </a:lnTo>
                <a:lnTo>
                  <a:pt x="1511" y="796"/>
                </a:lnTo>
                <a:lnTo>
                  <a:pt x="1515" y="794"/>
                </a:lnTo>
                <a:lnTo>
                  <a:pt x="1517" y="796"/>
                </a:lnTo>
                <a:lnTo>
                  <a:pt x="1522" y="796"/>
                </a:lnTo>
                <a:lnTo>
                  <a:pt x="1524" y="791"/>
                </a:lnTo>
                <a:lnTo>
                  <a:pt x="1525" y="791"/>
                </a:lnTo>
                <a:lnTo>
                  <a:pt x="1526" y="791"/>
                </a:lnTo>
                <a:lnTo>
                  <a:pt x="1524" y="790"/>
                </a:lnTo>
                <a:lnTo>
                  <a:pt x="1524" y="791"/>
                </a:lnTo>
                <a:lnTo>
                  <a:pt x="1503" y="786"/>
                </a:lnTo>
                <a:lnTo>
                  <a:pt x="1483" y="778"/>
                </a:lnTo>
                <a:lnTo>
                  <a:pt x="1487" y="783"/>
                </a:lnTo>
                <a:lnTo>
                  <a:pt x="1490" y="790"/>
                </a:lnTo>
                <a:lnTo>
                  <a:pt x="1489" y="796"/>
                </a:lnTo>
                <a:lnTo>
                  <a:pt x="1491" y="802"/>
                </a:lnTo>
                <a:lnTo>
                  <a:pt x="1495" y="806"/>
                </a:lnTo>
                <a:lnTo>
                  <a:pt x="1502" y="811"/>
                </a:lnTo>
                <a:lnTo>
                  <a:pt x="1510" y="817"/>
                </a:lnTo>
                <a:lnTo>
                  <a:pt x="1518" y="823"/>
                </a:lnTo>
                <a:lnTo>
                  <a:pt x="1535" y="837"/>
                </a:lnTo>
                <a:lnTo>
                  <a:pt x="1552" y="850"/>
                </a:lnTo>
                <a:lnTo>
                  <a:pt x="1560" y="857"/>
                </a:lnTo>
                <a:lnTo>
                  <a:pt x="1567" y="864"/>
                </a:lnTo>
                <a:lnTo>
                  <a:pt x="1572" y="868"/>
                </a:lnTo>
                <a:lnTo>
                  <a:pt x="1576" y="871"/>
                </a:lnTo>
                <a:lnTo>
                  <a:pt x="1580" y="873"/>
                </a:lnTo>
                <a:lnTo>
                  <a:pt x="1582" y="877"/>
                </a:lnTo>
                <a:lnTo>
                  <a:pt x="1580" y="880"/>
                </a:lnTo>
                <a:lnTo>
                  <a:pt x="1574" y="878"/>
                </a:lnTo>
                <a:lnTo>
                  <a:pt x="1572" y="875"/>
                </a:lnTo>
                <a:lnTo>
                  <a:pt x="1569" y="873"/>
                </a:lnTo>
                <a:lnTo>
                  <a:pt x="1566" y="872"/>
                </a:lnTo>
                <a:lnTo>
                  <a:pt x="1563" y="871"/>
                </a:lnTo>
                <a:lnTo>
                  <a:pt x="1558" y="868"/>
                </a:lnTo>
                <a:lnTo>
                  <a:pt x="1555" y="862"/>
                </a:lnTo>
                <a:lnTo>
                  <a:pt x="1553" y="861"/>
                </a:lnTo>
                <a:lnTo>
                  <a:pt x="1552" y="860"/>
                </a:lnTo>
                <a:lnTo>
                  <a:pt x="1550" y="860"/>
                </a:lnTo>
                <a:lnTo>
                  <a:pt x="1547" y="858"/>
                </a:lnTo>
                <a:lnTo>
                  <a:pt x="1543" y="854"/>
                </a:lnTo>
                <a:lnTo>
                  <a:pt x="1540" y="854"/>
                </a:lnTo>
                <a:lnTo>
                  <a:pt x="1535" y="858"/>
                </a:lnTo>
                <a:lnTo>
                  <a:pt x="1535" y="865"/>
                </a:lnTo>
                <a:lnTo>
                  <a:pt x="1538" y="871"/>
                </a:lnTo>
                <a:lnTo>
                  <a:pt x="1535" y="877"/>
                </a:lnTo>
                <a:lnTo>
                  <a:pt x="1531" y="877"/>
                </a:lnTo>
                <a:lnTo>
                  <a:pt x="1528" y="873"/>
                </a:lnTo>
                <a:lnTo>
                  <a:pt x="1527" y="868"/>
                </a:lnTo>
                <a:lnTo>
                  <a:pt x="1530" y="861"/>
                </a:lnTo>
                <a:lnTo>
                  <a:pt x="1528" y="854"/>
                </a:lnTo>
                <a:lnTo>
                  <a:pt x="1524" y="847"/>
                </a:lnTo>
                <a:lnTo>
                  <a:pt x="1518" y="839"/>
                </a:lnTo>
                <a:lnTo>
                  <a:pt x="1511" y="831"/>
                </a:lnTo>
                <a:lnTo>
                  <a:pt x="1508" y="828"/>
                </a:lnTo>
                <a:lnTo>
                  <a:pt x="1505" y="824"/>
                </a:lnTo>
                <a:lnTo>
                  <a:pt x="1502" y="823"/>
                </a:lnTo>
                <a:lnTo>
                  <a:pt x="1501" y="825"/>
                </a:lnTo>
                <a:lnTo>
                  <a:pt x="1499" y="822"/>
                </a:lnTo>
                <a:lnTo>
                  <a:pt x="1498" y="819"/>
                </a:lnTo>
                <a:lnTo>
                  <a:pt x="1494" y="815"/>
                </a:lnTo>
                <a:lnTo>
                  <a:pt x="1493" y="813"/>
                </a:lnTo>
                <a:lnTo>
                  <a:pt x="1491" y="816"/>
                </a:lnTo>
                <a:lnTo>
                  <a:pt x="1490" y="819"/>
                </a:lnTo>
                <a:lnTo>
                  <a:pt x="1490" y="822"/>
                </a:lnTo>
                <a:lnTo>
                  <a:pt x="1491" y="825"/>
                </a:lnTo>
                <a:lnTo>
                  <a:pt x="1490" y="828"/>
                </a:lnTo>
                <a:lnTo>
                  <a:pt x="1486" y="827"/>
                </a:lnTo>
                <a:lnTo>
                  <a:pt x="1485" y="821"/>
                </a:lnTo>
                <a:lnTo>
                  <a:pt x="1485" y="814"/>
                </a:lnTo>
                <a:lnTo>
                  <a:pt x="1483" y="806"/>
                </a:lnTo>
                <a:lnTo>
                  <a:pt x="1478" y="800"/>
                </a:lnTo>
                <a:lnTo>
                  <a:pt x="1478" y="813"/>
                </a:lnTo>
                <a:lnTo>
                  <a:pt x="1481" y="827"/>
                </a:lnTo>
                <a:lnTo>
                  <a:pt x="1482" y="830"/>
                </a:lnTo>
                <a:lnTo>
                  <a:pt x="1481" y="835"/>
                </a:lnTo>
                <a:lnTo>
                  <a:pt x="1476" y="833"/>
                </a:lnTo>
                <a:lnTo>
                  <a:pt x="1475" y="829"/>
                </a:lnTo>
                <a:lnTo>
                  <a:pt x="1467" y="815"/>
                </a:lnTo>
                <a:lnTo>
                  <a:pt x="1461" y="802"/>
                </a:lnTo>
                <a:lnTo>
                  <a:pt x="1456" y="791"/>
                </a:lnTo>
                <a:lnTo>
                  <a:pt x="1458" y="785"/>
                </a:lnTo>
                <a:lnTo>
                  <a:pt x="1465" y="788"/>
                </a:lnTo>
                <a:lnTo>
                  <a:pt x="1471" y="792"/>
                </a:lnTo>
                <a:lnTo>
                  <a:pt x="1476" y="794"/>
                </a:lnTo>
                <a:lnTo>
                  <a:pt x="1477" y="790"/>
                </a:lnTo>
                <a:lnTo>
                  <a:pt x="1474" y="786"/>
                </a:lnTo>
                <a:lnTo>
                  <a:pt x="1470" y="783"/>
                </a:lnTo>
                <a:lnTo>
                  <a:pt x="1465" y="779"/>
                </a:lnTo>
                <a:lnTo>
                  <a:pt x="1461" y="774"/>
                </a:lnTo>
                <a:lnTo>
                  <a:pt x="1456" y="771"/>
                </a:lnTo>
                <a:lnTo>
                  <a:pt x="1452" y="766"/>
                </a:lnTo>
                <a:lnTo>
                  <a:pt x="1452" y="762"/>
                </a:lnTo>
                <a:lnTo>
                  <a:pt x="1452" y="757"/>
                </a:lnTo>
                <a:lnTo>
                  <a:pt x="1451" y="752"/>
                </a:lnTo>
                <a:lnTo>
                  <a:pt x="1449" y="746"/>
                </a:lnTo>
                <a:lnTo>
                  <a:pt x="1462" y="749"/>
                </a:lnTo>
                <a:lnTo>
                  <a:pt x="1477" y="747"/>
                </a:lnTo>
                <a:lnTo>
                  <a:pt x="1460" y="746"/>
                </a:lnTo>
                <a:lnTo>
                  <a:pt x="1445" y="738"/>
                </a:lnTo>
                <a:lnTo>
                  <a:pt x="1453" y="738"/>
                </a:lnTo>
                <a:lnTo>
                  <a:pt x="1460" y="737"/>
                </a:lnTo>
                <a:lnTo>
                  <a:pt x="1451" y="734"/>
                </a:lnTo>
                <a:lnTo>
                  <a:pt x="1443" y="731"/>
                </a:lnTo>
                <a:lnTo>
                  <a:pt x="1445" y="725"/>
                </a:lnTo>
                <a:lnTo>
                  <a:pt x="1444" y="719"/>
                </a:lnTo>
                <a:lnTo>
                  <a:pt x="1445" y="714"/>
                </a:lnTo>
                <a:lnTo>
                  <a:pt x="1442" y="709"/>
                </a:lnTo>
                <a:lnTo>
                  <a:pt x="1433" y="707"/>
                </a:lnTo>
                <a:lnTo>
                  <a:pt x="1425" y="704"/>
                </a:lnTo>
                <a:lnTo>
                  <a:pt x="1424" y="700"/>
                </a:lnTo>
                <a:lnTo>
                  <a:pt x="1426" y="698"/>
                </a:lnTo>
                <a:lnTo>
                  <a:pt x="1429" y="698"/>
                </a:lnTo>
                <a:lnTo>
                  <a:pt x="1433" y="699"/>
                </a:lnTo>
                <a:lnTo>
                  <a:pt x="1438" y="699"/>
                </a:lnTo>
                <a:lnTo>
                  <a:pt x="1440" y="694"/>
                </a:lnTo>
                <a:lnTo>
                  <a:pt x="1449" y="691"/>
                </a:lnTo>
                <a:lnTo>
                  <a:pt x="1459" y="695"/>
                </a:lnTo>
                <a:lnTo>
                  <a:pt x="1470" y="697"/>
                </a:lnTo>
                <a:lnTo>
                  <a:pt x="1482" y="699"/>
                </a:lnTo>
                <a:lnTo>
                  <a:pt x="1492" y="703"/>
                </a:lnTo>
                <a:lnTo>
                  <a:pt x="1503" y="705"/>
                </a:lnTo>
                <a:lnTo>
                  <a:pt x="1519" y="713"/>
                </a:lnTo>
                <a:lnTo>
                  <a:pt x="1536" y="716"/>
                </a:lnTo>
                <a:lnTo>
                  <a:pt x="1540" y="715"/>
                </a:lnTo>
                <a:lnTo>
                  <a:pt x="1543" y="715"/>
                </a:lnTo>
                <a:lnTo>
                  <a:pt x="1544" y="719"/>
                </a:lnTo>
                <a:lnTo>
                  <a:pt x="1545" y="722"/>
                </a:lnTo>
                <a:lnTo>
                  <a:pt x="1551" y="727"/>
                </a:lnTo>
                <a:lnTo>
                  <a:pt x="1558" y="731"/>
                </a:lnTo>
                <a:lnTo>
                  <a:pt x="1563" y="736"/>
                </a:lnTo>
                <a:lnTo>
                  <a:pt x="1569" y="736"/>
                </a:lnTo>
                <a:lnTo>
                  <a:pt x="1572" y="736"/>
                </a:lnTo>
                <a:lnTo>
                  <a:pt x="1573" y="732"/>
                </a:lnTo>
                <a:lnTo>
                  <a:pt x="1571" y="732"/>
                </a:lnTo>
                <a:lnTo>
                  <a:pt x="1568" y="732"/>
                </a:lnTo>
                <a:lnTo>
                  <a:pt x="1566" y="728"/>
                </a:lnTo>
                <a:lnTo>
                  <a:pt x="1565" y="722"/>
                </a:lnTo>
                <a:lnTo>
                  <a:pt x="1561" y="716"/>
                </a:lnTo>
                <a:lnTo>
                  <a:pt x="1557" y="712"/>
                </a:lnTo>
                <a:lnTo>
                  <a:pt x="1548" y="709"/>
                </a:lnTo>
                <a:lnTo>
                  <a:pt x="1543" y="705"/>
                </a:lnTo>
                <a:lnTo>
                  <a:pt x="1548" y="705"/>
                </a:lnTo>
                <a:lnTo>
                  <a:pt x="1553" y="705"/>
                </a:lnTo>
                <a:lnTo>
                  <a:pt x="1557" y="699"/>
                </a:lnTo>
                <a:lnTo>
                  <a:pt x="1563" y="696"/>
                </a:lnTo>
                <a:lnTo>
                  <a:pt x="1568" y="703"/>
                </a:lnTo>
                <a:lnTo>
                  <a:pt x="1573" y="711"/>
                </a:lnTo>
                <a:lnTo>
                  <a:pt x="1573" y="700"/>
                </a:lnTo>
                <a:lnTo>
                  <a:pt x="1573" y="691"/>
                </a:lnTo>
                <a:lnTo>
                  <a:pt x="1578" y="696"/>
                </a:lnTo>
                <a:lnTo>
                  <a:pt x="1584" y="700"/>
                </a:lnTo>
                <a:lnTo>
                  <a:pt x="1588" y="702"/>
                </a:lnTo>
                <a:lnTo>
                  <a:pt x="1589" y="704"/>
                </a:lnTo>
                <a:lnTo>
                  <a:pt x="1588" y="706"/>
                </a:lnTo>
                <a:lnTo>
                  <a:pt x="1585" y="706"/>
                </a:lnTo>
                <a:lnTo>
                  <a:pt x="1581" y="704"/>
                </a:lnTo>
                <a:lnTo>
                  <a:pt x="1577" y="703"/>
                </a:lnTo>
                <a:lnTo>
                  <a:pt x="1576" y="706"/>
                </a:lnTo>
                <a:lnTo>
                  <a:pt x="1576" y="709"/>
                </a:lnTo>
                <a:lnTo>
                  <a:pt x="1577" y="713"/>
                </a:lnTo>
                <a:lnTo>
                  <a:pt x="1581" y="714"/>
                </a:lnTo>
                <a:lnTo>
                  <a:pt x="1577" y="713"/>
                </a:lnTo>
                <a:lnTo>
                  <a:pt x="1574" y="714"/>
                </a:lnTo>
                <a:lnTo>
                  <a:pt x="1572" y="715"/>
                </a:lnTo>
                <a:lnTo>
                  <a:pt x="1571" y="717"/>
                </a:lnTo>
                <a:lnTo>
                  <a:pt x="1572" y="722"/>
                </a:lnTo>
                <a:lnTo>
                  <a:pt x="1573" y="728"/>
                </a:lnTo>
                <a:lnTo>
                  <a:pt x="1576" y="734"/>
                </a:lnTo>
                <a:lnTo>
                  <a:pt x="1580" y="741"/>
                </a:lnTo>
                <a:lnTo>
                  <a:pt x="1580" y="731"/>
                </a:lnTo>
                <a:lnTo>
                  <a:pt x="1585" y="728"/>
                </a:lnTo>
                <a:lnTo>
                  <a:pt x="1586" y="732"/>
                </a:lnTo>
                <a:lnTo>
                  <a:pt x="1585" y="737"/>
                </a:lnTo>
                <a:lnTo>
                  <a:pt x="1586" y="742"/>
                </a:lnTo>
                <a:lnTo>
                  <a:pt x="1584" y="746"/>
                </a:lnTo>
                <a:lnTo>
                  <a:pt x="1591" y="746"/>
                </a:lnTo>
                <a:lnTo>
                  <a:pt x="1596" y="740"/>
                </a:lnTo>
                <a:lnTo>
                  <a:pt x="1597" y="747"/>
                </a:lnTo>
                <a:lnTo>
                  <a:pt x="1600" y="753"/>
                </a:lnTo>
                <a:lnTo>
                  <a:pt x="1609" y="759"/>
                </a:lnTo>
                <a:lnTo>
                  <a:pt x="1618" y="765"/>
                </a:lnTo>
                <a:lnTo>
                  <a:pt x="1626" y="770"/>
                </a:lnTo>
                <a:lnTo>
                  <a:pt x="1633" y="774"/>
                </a:lnTo>
                <a:lnTo>
                  <a:pt x="1634" y="780"/>
                </a:lnTo>
                <a:lnTo>
                  <a:pt x="1633" y="786"/>
                </a:lnTo>
                <a:lnTo>
                  <a:pt x="1632" y="792"/>
                </a:lnTo>
                <a:lnTo>
                  <a:pt x="1633" y="799"/>
                </a:lnTo>
                <a:lnTo>
                  <a:pt x="1637" y="789"/>
                </a:lnTo>
                <a:lnTo>
                  <a:pt x="1637" y="779"/>
                </a:lnTo>
                <a:lnTo>
                  <a:pt x="1641" y="782"/>
                </a:lnTo>
                <a:lnTo>
                  <a:pt x="1646" y="786"/>
                </a:lnTo>
                <a:lnTo>
                  <a:pt x="1648" y="791"/>
                </a:lnTo>
                <a:lnTo>
                  <a:pt x="1650" y="796"/>
                </a:lnTo>
                <a:lnTo>
                  <a:pt x="1651" y="796"/>
                </a:lnTo>
                <a:lnTo>
                  <a:pt x="1655" y="797"/>
                </a:lnTo>
                <a:lnTo>
                  <a:pt x="1657" y="798"/>
                </a:lnTo>
                <a:lnTo>
                  <a:pt x="1659" y="800"/>
                </a:lnTo>
                <a:lnTo>
                  <a:pt x="1662" y="802"/>
                </a:lnTo>
                <a:lnTo>
                  <a:pt x="1664" y="803"/>
                </a:lnTo>
                <a:lnTo>
                  <a:pt x="1665" y="803"/>
                </a:lnTo>
                <a:lnTo>
                  <a:pt x="1666" y="803"/>
                </a:lnTo>
                <a:lnTo>
                  <a:pt x="1667" y="805"/>
                </a:lnTo>
                <a:lnTo>
                  <a:pt x="1668" y="808"/>
                </a:lnTo>
                <a:lnTo>
                  <a:pt x="1674" y="822"/>
                </a:lnTo>
                <a:lnTo>
                  <a:pt x="1680" y="836"/>
                </a:lnTo>
                <a:lnTo>
                  <a:pt x="1682" y="841"/>
                </a:lnTo>
                <a:lnTo>
                  <a:pt x="1685" y="847"/>
                </a:lnTo>
                <a:lnTo>
                  <a:pt x="1691" y="852"/>
                </a:lnTo>
                <a:lnTo>
                  <a:pt x="1697" y="856"/>
                </a:lnTo>
                <a:lnTo>
                  <a:pt x="1698" y="862"/>
                </a:lnTo>
                <a:lnTo>
                  <a:pt x="1699" y="866"/>
                </a:lnTo>
                <a:lnTo>
                  <a:pt x="1703" y="865"/>
                </a:lnTo>
                <a:lnTo>
                  <a:pt x="1701" y="860"/>
                </a:lnTo>
                <a:lnTo>
                  <a:pt x="1692" y="849"/>
                </a:lnTo>
                <a:lnTo>
                  <a:pt x="1684" y="839"/>
                </a:lnTo>
                <a:lnTo>
                  <a:pt x="1685" y="835"/>
                </a:lnTo>
                <a:lnTo>
                  <a:pt x="1690" y="833"/>
                </a:lnTo>
                <a:lnTo>
                  <a:pt x="1693" y="839"/>
                </a:lnTo>
                <a:lnTo>
                  <a:pt x="1700" y="842"/>
                </a:lnTo>
                <a:lnTo>
                  <a:pt x="1701" y="841"/>
                </a:lnTo>
                <a:lnTo>
                  <a:pt x="1701" y="839"/>
                </a:lnTo>
                <a:lnTo>
                  <a:pt x="1700" y="837"/>
                </a:lnTo>
                <a:lnTo>
                  <a:pt x="1698" y="837"/>
                </a:lnTo>
                <a:lnTo>
                  <a:pt x="1695" y="835"/>
                </a:lnTo>
                <a:lnTo>
                  <a:pt x="1693" y="831"/>
                </a:lnTo>
                <a:lnTo>
                  <a:pt x="1699" y="827"/>
                </a:lnTo>
                <a:lnTo>
                  <a:pt x="1705" y="829"/>
                </a:lnTo>
                <a:lnTo>
                  <a:pt x="1709" y="836"/>
                </a:lnTo>
                <a:lnTo>
                  <a:pt x="1713" y="844"/>
                </a:lnTo>
                <a:lnTo>
                  <a:pt x="1722" y="857"/>
                </a:lnTo>
                <a:lnTo>
                  <a:pt x="1737" y="868"/>
                </a:lnTo>
                <a:lnTo>
                  <a:pt x="1734" y="860"/>
                </a:lnTo>
                <a:lnTo>
                  <a:pt x="1732" y="852"/>
                </a:lnTo>
                <a:lnTo>
                  <a:pt x="1737" y="852"/>
                </a:lnTo>
                <a:lnTo>
                  <a:pt x="1742" y="853"/>
                </a:lnTo>
                <a:lnTo>
                  <a:pt x="1733" y="840"/>
                </a:lnTo>
                <a:lnTo>
                  <a:pt x="1724" y="828"/>
                </a:lnTo>
                <a:lnTo>
                  <a:pt x="1721" y="820"/>
                </a:lnTo>
                <a:lnTo>
                  <a:pt x="1718" y="814"/>
                </a:lnTo>
                <a:lnTo>
                  <a:pt x="1715" y="813"/>
                </a:lnTo>
                <a:lnTo>
                  <a:pt x="1712" y="811"/>
                </a:lnTo>
                <a:lnTo>
                  <a:pt x="1709" y="808"/>
                </a:lnTo>
                <a:lnTo>
                  <a:pt x="1708" y="806"/>
                </a:lnTo>
                <a:lnTo>
                  <a:pt x="1706" y="800"/>
                </a:lnTo>
                <a:lnTo>
                  <a:pt x="1703" y="795"/>
                </a:lnTo>
                <a:lnTo>
                  <a:pt x="1699" y="794"/>
                </a:lnTo>
                <a:lnTo>
                  <a:pt x="1697" y="792"/>
                </a:lnTo>
                <a:lnTo>
                  <a:pt x="1695" y="791"/>
                </a:lnTo>
                <a:lnTo>
                  <a:pt x="1692" y="792"/>
                </a:lnTo>
                <a:lnTo>
                  <a:pt x="1691" y="791"/>
                </a:lnTo>
                <a:lnTo>
                  <a:pt x="1690" y="790"/>
                </a:lnTo>
                <a:lnTo>
                  <a:pt x="1687" y="786"/>
                </a:lnTo>
                <a:lnTo>
                  <a:pt x="1683" y="781"/>
                </a:lnTo>
                <a:lnTo>
                  <a:pt x="1684" y="778"/>
                </a:lnTo>
                <a:lnTo>
                  <a:pt x="1684" y="774"/>
                </a:lnTo>
                <a:lnTo>
                  <a:pt x="1683" y="771"/>
                </a:lnTo>
                <a:lnTo>
                  <a:pt x="1681" y="769"/>
                </a:lnTo>
                <a:lnTo>
                  <a:pt x="1671" y="758"/>
                </a:lnTo>
                <a:lnTo>
                  <a:pt x="1657" y="750"/>
                </a:lnTo>
                <a:lnTo>
                  <a:pt x="1654" y="746"/>
                </a:lnTo>
                <a:lnTo>
                  <a:pt x="1657" y="744"/>
                </a:lnTo>
                <a:lnTo>
                  <a:pt x="1659" y="745"/>
                </a:lnTo>
                <a:lnTo>
                  <a:pt x="1662" y="745"/>
                </a:lnTo>
                <a:lnTo>
                  <a:pt x="1659" y="742"/>
                </a:lnTo>
                <a:lnTo>
                  <a:pt x="1657" y="740"/>
                </a:lnTo>
                <a:lnTo>
                  <a:pt x="1654" y="739"/>
                </a:lnTo>
                <a:lnTo>
                  <a:pt x="1652" y="737"/>
                </a:lnTo>
                <a:lnTo>
                  <a:pt x="1654" y="736"/>
                </a:lnTo>
                <a:lnTo>
                  <a:pt x="1655" y="733"/>
                </a:lnTo>
                <a:lnTo>
                  <a:pt x="1651" y="731"/>
                </a:lnTo>
                <a:lnTo>
                  <a:pt x="1650" y="727"/>
                </a:lnTo>
                <a:lnTo>
                  <a:pt x="1652" y="725"/>
                </a:lnTo>
                <a:lnTo>
                  <a:pt x="1652" y="724"/>
                </a:lnTo>
                <a:lnTo>
                  <a:pt x="1650" y="722"/>
                </a:lnTo>
                <a:lnTo>
                  <a:pt x="1648" y="721"/>
                </a:lnTo>
                <a:lnTo>
                  <a:pt x="1642" y="720"/>
                </a:lnTo>
                <a:lnTo>
                  <a:pt x="1638" y="717"/>
                </a:lnTo>
                <a:lnTo>
                  <a:pt x="1635" y="716"/>
                </a:lnTo>
                <a:lnTo>
                  <a:pt x="1637" y="715"/>
                </a:lnTo>
                <a:lnTo>
                  <a:pt x="1639" y="714"/>
                </a:lnTo>
                <a:lnTo>
                  <a:pt x="1640" y="712"/>
                </a:lnTo>
                <a:lnTo>
                  <a:pt x="1635" y="709"/>
                </a:lnTo>
                <a:lnTo>
                  <a:pt x="1630" y="709"/>
                </a:lnTo>
                <a:lnTo>
                  <a:pt x="1621" y="709"/>
                </a:lnTo>
                <a:lnTo>
                  <a:pt x="1611" y="708"/>
                </a:lnTo>
                <a:lnTo>
                  <a:pt x="1607" y="705"/>
                </a:lnTo>
                <a:lnTo>
                  <a:pt x="1611" y="702"/>
                </a:lnTo>
                <a:lnTo>
                  <a:pt x="1621" y="703"/>
                </a:lnTo>
                <a:lnTo>
                  <a:pt x="1631" y="702"/>
                </a:lnTo>
                <a:lnTo>
                  <a:pt x="1618" y="698"/>
                </a:lnTo>
                <a:lnTo>
                  <a:pt x="1608" y="695"/>
                </a:lnTo>
                <a:lnTo>
                  <a:pt x="1613" y="695"/>
                </a:lnTo>
                <a:lnTo>
                  <a:pt x="1614" y="691"/>
                </a:lnTo>
                <a:lnTo>
                  <a:pt x="1611" y="691"/>
                </a:lnTo>
                <a:lnTo>
                  <a:pt x="1609" y="689"/>
                </a:lnTo>
                <a:lnTo>
                  <a:pt x="1610" y="688"/>
                </a:lnTo>
                <a:lnTo>
                  <a:pt x="1613" y="688"/>
                </a:lnTo>
                <a:lnTo>
                  <a:pt x="1616" y="686"/>
                </a:lnTo>
                <a:lnTo>
                  <a:pt x="1614" y="682"/>
                </a:lnTo>
                <a:lnTo>
                  <a:pt x="1608" y="680"/>
                </a:lnTo>
                <a:lnTo>
                  <a:pt x="1602" y="680"/>
                </a:lnTo>
                <a:lnTo>
                  <a:pt x="1586" y="680"/>
                </a:lnTo>
                <a:lnTo>
                  <a:pt x="1577" y="674"/>
                </a:lnTo>
                <a:lnTo>
                  <a:pt x="1582" y="673"/>
                </a:lnTo>
                <a:lnTo>
                  <a:pt x="1586" y="673"/>
                </a:lnTo>
                <a:lnTo>
                  <a:pt x="1594" y="671"/>
                </a:lnTo>
                <a:lnTo>
                  <a:pt x="1602" y="671"/>
                </a:lnTo>
                <a:lnTo>
                  <a:pt x="1616" y="674"/>
                </a:lnTo>
                <a:lnTo>
                  <a:pt x="1629" y="680"/>
                </a:lnTo>
                <a:lnTo>
                  <a:pt x="1633" y="682"/>
                </a:lnTo>
                <a:lnTo>
                  <a:pt x="1637" y="686"/>
                </a:lnTo>
                <a:lnTo>
                  <a:pt x="1637" y="686"/>
                </a:lnTo>
                <a:lnTo>
                  <a:pt x="1637" y="687"/>
                </a:lnTo>
                <a:lnTo>
                  <a:pt x="1639" y="686"/>
                </a:lnTo>
                <a:lnTo>
                  <a:pt x="1641" y="684"/>
                </a:lnTo>
                <a:lnTo>
                  <a:pt x="1644" y="684"/>
                </a:lnTo>
                <a:lnTo>
                  <a:pt x="1648" y="684"/>
                </a:lnTo>
                <a:lnTo>
                  <a:pt x="1652" y="688"/>
                </a:lnTo>
                <a:lnTo>
                  <a:pt x="1657" y="690"/>
                </a:lnTo>
                <a:lnTo>
                  <a:pt x="1659" y="689"/>
                </a:lnTo>
                <a:lnTo>
                  <a:pt x="1663" y="688"/>
                </a:lnTo>
                <a:lnTo>
                  <a:pt x="1664" y="689"/>
                </a:lnTo>
                <a:lnTo>
                  <a:pt x="1666" y="690"/>
                </a:lnTo>
                <a:lnTo>
                  <a:pt x="1674" y="697"/>
                </a:lnTo>
                <a:lnTo>
                  <a:pt x="1680" y="692"/>
                </a:lnTo>
                <a:lnTo>
                  <a:pt x="1683" y="697"/>
                </a:lnTo>
                <a:lnTo>
                  <a:pt x="1689" y="697"/>
                </a:lnTo>
                <a:lnTo>
                  <a:pt x="1692" y="697"/>
                </a:lnTo>
                <a:lnTo>
                  <a:pt x="1695" y="697"/>
                </a:lnTo>
                <a:lnTo>
                  <a:pt x="1697" y="700"/>
                </a:lnTo>
                <a:lnTo>
                  <a:pt x="1700" y="704"/>
                </a:lnTo>
                <a:lnTo>
                  <a:pt x="1712" y="707"/>
                </a:lnTo>
                <a:lnTo>
                  <a:pt x="1725" y="708"/>
                </a:lnTo>
                <a:lnTo>
                  <a:pt x="1731" y="712"/>
                </a:lnTo>
                <a:lnTo>
                  <a:pt x="1734" y="712"/>
                </a:lnTo>
                <a:lnTo>
                  <a:pt x="1734" y="707"/>
                </a:lnTo>
                <a:lnTo>
                  <a:pt x="1738" y="708"/>
                </a:lnTo>
                <a:lnTo>
                  <a:pt x="1754" y="712"/>
                </a:lnTo>
                <a:lnTo>
                  <a:pt x="1769" y="707"/>
                </a:lnTo>
                <a:lnTo>
                  <a:pt x="1759" y="704"/>
                </a:lnTo>
                <a:lnTo>
                  <a:pt x="1753" y="698"/>
                </a:lnTo>
                <a:lnTo>
                  <a:pt x="1748" y="694"/>
                </a:lnTo>
                <a:lnTo>
                  <a:pt x="1742" y="689"/>
                </a:lnTo>
                <a:lnTo>
                  <a:pt x="1738" y="688"/>
                </a:lnTo>
                <a:lnTo>
                  <a:pt x="1732" y="686"/>
                </a:lnTo>
                <a:lnTo>
                  <a:pt x="1731" y="681"/>
                </a:lnTo>
                <a:lnTo>
                  <a:pt x="1726" y="676"/>
                </a:lnTo>
                <a:lnTo>
                  <a:pt x="1721" y="674"/>
                </a:lnTo>
                <a:lnTo>
                  <a:pt x="1714" y="671"/>
                </a:lnTo>
                <a:lnTo>
                  <a:pt x="1707" y="671"/>
                </a:lnTo>
                <a:lnTo>
                  <a:pt x="1700" y="672"/>
                </a:lnTo>
                <a:lnTo>
                  <a:pt x="1697" y="670"/>
                </a:lnTo>
                <a:lnTo>
                  <a:pt x="1693" y="667"/>
                </a:lnTo>
                <a:lnTo>
                  <a:pt x="1691" y="666"/>
                </a:lnTo>
                <a:lnTo>
                  <a:pt x="1692" y="664"/>
                </a:lnTo>
                <a:lnTo>
                  <a:pt x="1693" y="662"/>
                </a:lnTo>
                <a:lnTo>
                  <a:pt x="1692" y="659"/>
                </a:lnTo>
                <a:lnTo>
                  <a:pt x="1689" y="661"/>
                </a:lnTo>
                <a:lnTo>
                  <a:pt x="1687" y="663"/>
                </a:lnTo>
                <a:lnTo>
                  <a:pt x="1684" y="661"/>
                </a:lnTo>
                <a:lnTo>
                  <a:pt x="1680" y="662"/>
                </a:lnTo>
                <a:lnTo>
                  <a:pt x="1674" y="658"/>
                </a:lnTo>
                <a:lnTo>
                  <a:pt x="1668" y="656"/>
                </a:lnTo>
                <a:lnTo>
                  <a:pt x="1663" y="654"/>
                </a:lnTo>
                <a:lnTo>
                  <a:pt x="1657" y="653"/>
                </a:lnTo>
                <a:lnTo>
                  <a:pt x="1651" y="649"/>
                </a:lnTo>
                <a:lnTo>
                  <a:pt x="1647" y="647"/>
                </a:lnTo>
                <a:lnTo>
                  <a:pt x="1641" y="647"/>
                </a:lnTo>
                <a:lnTo>
                  <a:pt x="1635" y="646"/>
                </a:lnTo>
                <a:lnTo>
                  <a:pt x="1630" y="645"/>
                </a:lnTo>
                <a:lnTo>
                  <a:pt x="1624" y="642"/>
                </a:lnTo>
                <a:lnTo>
                  <a:pt x="1619" y="641"/>
                </a:lnTo>
                <a:lnTo>
                  <a:pt x="1614" y="640"/>
                </a:lnTo>
                <a:lnTo>
                  <a:pt x="1610" y="639"/>
                </a:lnTo>
                <a:lnTo>
                  <a:pt x="1607" y="640"/>
                </a:lnTo>
                <a:lnTo>
                  <a:pt x="1606" y="638"/>
                </a:lnTo>
                <a:lnTo>
                  <a:pt x="1604" y="638"/>
                </a:lnTo>
                <a:lnTo>
                  <a:pt x="1606" y="638"/>
                </a:lnTo>
                <a:lnTo>
                  <a:pt x="1607" y="640"/>
                </a:lnTo>
                <a:lnTo>
                  <a:pt x="1607" y="634"/>
                </a:lnTo>
                <a:lnTo>
                  <a:pt x="1606" y="630"/>
                </a:lnTo>
                <a:lnTo>
                  <a:pt x="1601" y="634"/>
                </a:lnTo>
                <a:lnTo>
                  <a:pt x="1596" y="637"/>
                </a:lnTo>
                <a:lnTo>
                  <a:pt x="1592" y="637"/>
                </a:lnTo>
                <a:lnTo>
                  <a:pt x="1589" y="637"/>
                </a:lnTo>
                <a:lnTo>
                  <a:pt x="1584" y="636"/>
                </a:lnTo>
                <a:lnTo>
                  <a:pt x="1578" y="636"/>
                </a:lnTo>
                <a:lnTo>
                  <a:pt x="1577" y="636"/>
                </a:lnTo>
                <a:lnTo>
                  <a:pt x="1577" y="636"/>
                </a:lnTo>
                <a:lnTo>
                  <a:pt x="1584" y="636"/>
                </a:lnTo>
                <a:lnTo>
                  <a:pt x="1592" y="637"/>
                </a:lnTo>
                <a:lnTo>
                  <a:pt x="1592" y="634"/>
                </a:lnTo>
                <a:lnTo>
                  <a:pt x="1592" y="632"/>
                </a:lnTo>
                <a:lnTo>
                  <a:pt x="1591" y="632"/>
                </a:lnTo>
                <a:lnTo>
                  <a:pt x="1592" y="632"/>
                </a:lnTo>
                <a:lnTo>
                  <a:pt x="1589" y="631"/>
                </a:lnTo>
                <a:lnTo>
                  <a:pt x="1585" y="631"/>
                </a:lnTo>
                <a:lnTo>
                  <a:pt x="1593" y="632"/>
                </a:lnTo>
                <a:lnTo>
                  <a:pt x="1602" y="633"/>
                </a:lnTo>
                <a:lnTo>
                  <a:pt x="1605" y="631"/>
                </a:lnTo>
                <a:lnTo>
                  <a:pt x="1605" y="628"/>
                </a:lnTo>
                <a:lnTo>
                  <a:pt x="1602" y="628"/>
                </a:lnTo>
                <a:lnTo>
                  <a:pt x="1601" y="628"/>
                </a:lnTo>
                <a:lnTo>
                  <a:pt x="1591" y="629"/>
                </a:lnTo>
                <a:lnTo>
                  <a:pt x="1581" y="629"/>
                </a:lnTo>
                <a:lnTo>
                  <a:pt x="1575" y="629"/>
                </a:lnTo>
                <a:lnTo>
                  <a:pt x="1573" y="634"/>
                </a:lnTo>
                <a:lnTo>
                  <a:pt x="1568" y="634"/>
                </a:lnTo>
                <a:lnTo>
                  <a:pt x="1565" y="637"/>
                </a:lnTo>
                <a:lnTo>
                  <a:pt x="1563" y="640"/>
                </a:lnTo>
                <a:lnTo>
                  <a:pt x="1560" y="641"/>
                </a:lnTo>
                <a:lnTo>
                  <a:pt x="1557" y="640"/>
                </a:lnTo>
                <a:lnTo>
                  <a:pt x="1553" y="638"/>
                </a:lnTo>
                <a:lnTo>
                  <a:pt x="1563" y="631"/>
                </a:lnTo>
                <a:lnTo>
                  <a:pt x="1571" y="624"/>
                </a:lnTo>
                <a:lnTo>
                  <a:pt x="1563" y="625"/>
                </a:lnTo>
                <a:lnTo>
                  <a:pt x="1555" y="630"/>
                </a:lnTo>
                <a:lnTo>
                  <a:pt x="1552" y="633"/>
                </a:lnTo>
                <a:lnTo>
                  <a:pt x="1551" y="637"/>
                </a:lnTo>
                <a:lnTo>
                  <a:pt x="1544" y="638"/>
                </a:lnTo>
                <a:lnTo>
                  <a:pt x="1536" y="637"/>
                </a:lnTo>
                <a:lnTo>
                  <a:pt x="1539" y="633"/>
                </a:lnTo>
                <a:lnTo>
                  <a:pt x="1542" y="630"/>
                </a:lnTo>
                <a:lnTo>
                  <a:pt x="1545" y="626"/>
                </a:lnTo>
                <a:lnTo>
                  <a:pt x="1550" y="623"/>
                </a:lnTo>
                <a:lnTo>
                  <a:pt x="1544" y="623"/>
                </a:lnTo>
                <a:lnTo>
                  <a:pt x="1539" y="624"/>
                </a:lnTo>
                <a:lnTo>
                  <a:pt x="1536" y="625"/>
                </a:lnTo>
                <a:lnTo>
                  <a:pt x="1533" y="625"/>
                </a:lnTo>
                <a:lnTo>
                  <a:pt x="1532" y="624"/>
                </a:lnTo>
                <a:lnTo>
                  <a:pt x="1528" y="624"/>
                </a:lnTo>
                <a:lnTo>
                  <a:pt x="1538" y="620"/>
                </a:lnTo>
                <a:lnTo>
                  <a:pt x="1547" y="614"/>
                </a:lnTo>
                <a:lnTo>
                  <a:pt x="1531" y="620"/>
                </a:lnTo>
                <a:lnTo>
                  <a:pt x="1515" y="624"/>
                </a:lnTo>
                <a:lnTo>
                  <a:pt x="1520" y="619"/>
                </a:lnTo>
                <a:lnTo>
                  <a:pt x="1525" y="612"/>
                </a:lnTo>
                <a:lnTo>
                  <a:pt x="1518" y="614"/>
                </a:lnTo>
                <a:lnTo>
                  <a:pt x="1511" y="619"/>
                </a:lnTo>
                <a:lnTo>
                  <a:pt x="1507" y="619"/>
                </a:lnTo>
                <a:lnTo>
                  <a:pt x="1507" y="614"/>
                </a:lnTo>
                <a:lnTo>
                  <a:pt x="1512" y="609"/>
                </a:lnTo>
                <a:lnTo>
                  <a:pt x="1515" y="603"/>
                </a:lnTo>
                <a:lnTo>
                  <a:pt x="1509" y="607"/>
                </a:lnTo>
                <a:lnTo>
                  <a:pt x="1503" y="611"/>
                </a:lnTo>
                <a:lnTo>
                  <a:pt x="1500" y="611"/>
                </a:lnTo>
                <a:lnTo>
                  <a:pt x="1497" y="607"/>
                </a:lnTo>
                <a:lnTo>
                  <a:pt x="1487" y="611"/>
                </a:lnTo>
                <a:lnTo>
                  <a:pt x="1479" y="611"/>
                </a:lnTo>
                <a:lnTo>
                  <a:pt x="1479" y="603"/>
                </a:lnTo>
                <a:lnTo>
                  <a:pt x="1475" y="600"/>
                </a:lnTo>
                <a:lnTo>
                  <a:pt x="1470" y="604"/>
                </a:lnTo>
                <a:lnTo>
                  <a:pt x="1465" y="607"/>
                </a:lnTo>
                <a:lnTo>
                  <a:pt x="1464" y="608"/>
                </a:lnTo>
                <a:lnTo>
                  <a:pt x="1462" y="607"/>
                </a:lnTo>
                <a:lnTo>
                  <a:pt x="1462" y="606"/>
                </a:lnTo>
                <a:lnTo>
                  <a:pt x="1461" y="605"/>
                </a:lnTo>
                <a:lnTo>
                  <a:pt x="1466" y="601"/>
                </a:lnTo>
                <a:lnTo>
                  <a:pt x="1469" y="597"/>
                </a:lnTo>
                <a:lnTo>
                  <a:pt x="1458" y="600"/>
                </a:lnTo>
                <a:lnTo>
                  <a:pt x="1446" y="600"/>
                </a:lnTo>
                <a:lnTo>
                  <a:pt x="1441" y="597"/>
                </a:lnTo>
                <a:lnTo>
                  <a:pt x="1434" y="595"/>
                </a:lnTo>
                <a:lnTo>
                  <a:pt x="1431" y="596"/>
                </a:lnTo>
                <a:lnTo>
                  <a:pt x="1426" y="598"/>
                </a:lnTo>
                <a:lnTo>
                  <a:pt x="1423" y="599"/>
                </a:lnTo>
                <a:lnTo>
                  <a:pt x="1419" y="600"/>
                </a:lnTo>
                <a:lnTo>
                  <a:pt x="1410" y="603"/>
                </a:lnTo>
                <a:lnTo>
                  <a:pt x="1402" y="605"/>
                </a:lnTo>
                <a:lnTo>
                  <a:pt x="1396" y="608"/>
                </a:lnTo>
                <a:lnTo>
                  <a:pt x="1391" y="609"/>
                </a:lnTo>
                <a:lnTo>
                  <a:pt x="1388" y="605"/>
                </a:lnTo>
                <a:lnTo>
                  <a:pt x="1385" y="601"/>
                </a:lnTo>
                <a:lnTo>
                  <a:pt x="1379" y="600"/>
                </a:lnTo>
                <a:lnTo>
                  <a:pt x="1375" y="599"/>
                </a:lnTo>
                <a:lnTo>
                  <a:pt x="1383" y="596"/>
                </a:lnTo>
                <a:lnTo>
                  <a:pt x="1390" y="590"/>
                </a:lnTo>
                <a:lnTo>
                  <a:pt x="1388" y="584"/>
                </a:lnTo>
                <a:lnTo>
                  <a:pt x="1380" y="588"/>
                </a:lnTo>
                <a:lnTo>
                  <a:pt x="1372" y="592"/>
                </a:lnTo>
                <a:lnTo>
                  <a:pt x="1367" y="591"/>
                </a:lnTo>
                <a:lnTo>
                  <a:pt x="1371" y="584"/>
                </a:lnTo>
                <a:lnTo>
                  <a:pt x="1375" y="578"/>
                </a:lnTo>
                <a:lnTo>
                  <a:pt x="1372" y="580"/>
                </a:lnTo>
                <a:lnTo>
                  <a:pt x="1369" y="581"/>
                </a:lnTo>
                <a:lnTo>
                  <a:pt x="1368" y="582"/>
                </a:lnTo>
                <a:lnTo>
                  <a:pt x="1367" y="581"/>
                </a:lnTo>
                <a:lnTo>
                  <a:pt x="1362" y="581"/>
                </a:lnTo>
                <a:lnTo>
                  <a:pt x="1360" y="582"/>
                </a:lnTo>
                <a:lnTo>
                  <a:pt x="1353" y="587"/>
                </a:lnTo>
                <a:lnTo>
                  <a:pt x="1350" y="583"/>
                </a:lnTo>
                <a:lnTo>
                  <a:pt x="1337" y="584"/>
                </a:lnTo>
                <a:lnTo>
                  <a:pt x="1325" y="584"/>
                </a:lnTo>
                <a:lnTo>
                  <a:pt x="1319" y="584"/>
                </a:lnTo>
                <a:lnTo>
                  <a:pt x="1313" y="583"/>
                </a:lnTo>
                <a:lnTo>
                  <a:pt x="1306" y="583"/>
                </a:lnTo>
                <a:lnTo>
                  <a:pt x="1301" y="581"/>
                </a:lnTo>
                <a:lnTo>
                  <a:pt x="1301" y="574"/>
                </a:lnTo>
                <a:lnTo>
                  <a:pt x="1300" y="568"/>
                </a:lnTo>
                <a:lnTo>
                  <a:pt x="1295" y="568"/>
                </a:lnTo>
                <a:lnTo>
                  <a:pt x="1289" y="568"/>
                </a:lnTo>
                <a:lnTo>
                  <a:pt x="1284" y="568"/>
                </a:lnTo>
                <a:lnTo>
                  <a:pt x="1278" y="568"/>
                </a:lnTo>
                <a:lnTo>
                  <a:pt x="1285" y="564"/>
                </a:lnTo>
                <a:lnTo>
                  <a:pt x="1293" y="562"/>
                </a:lnTo>
                <a:lnTo>
                  <a:pt x="1300" y="565"/>
                </a:lnTo>
                <a:lnTo>
                  <a:pt x="1304" y="567"/>
                </a:lnTo>
                <a:lnTo>
                  <a:pt x="1311" y="566"/>
                </a:lnTo>
                <a:lnTo>
                  <a:pt x="1317" y="563"/>
                </a:lnTo>
                <a:lnTo>
                  <a:pt x="1321" y="561"/>
                </a:lnTo>
                <a:lnTo>
                  <a:pt x="1319" y="558"/>
                </a:lnTo>
                <a:lnTo>
                  <a:pt x="1329" y="556"/>
                </a:lnTo>
                <a:lnTo>
                  <a:pt x="1341" y="556"/>
                </a:lnTo>
                <a:lnTo>
                  <a:pt x="1344" y="555"/>
                </a:lnTo>
                <a:lnTo>
                  <a:pt x="1347" y="556"/>
                </a:lnTo>
                <a:lnTo>
                  <a:pt x="1350" y="558"/>
                </a:lnTo>
                <a:lnTo>
                  <a:pt x="1352" y="562"/>
                </a:lnTo>
                <a:lnTo>
                  <a:pt x="1363" y="557"/>
                </a:lnTo>
                <a:lnTo>
                  <a:pt x="1377" y="558"/>
                </a:lnTo>
                <a:lnTo>
                  <a:pt x="1366" y="554"/>
                </a:lnTo>
                <a:lnTo>
                  <a:pt x="1354" y="549"/>
                </a:lnTo>
                <a:lnTo>
                  <a:pt x="1352" y="543"/>
                </a:lnTo>
                <a:lnTo>
                  <a:pt x="1359" y="541"/>
                </a:lnTo>
                <a:lnTo>
                  <a:pt x="1368" y="543"/>
                </a:lnTo>
                <a:lnTo>
                  <a:pt x="1375" y="549"/>
                </a:lnTo>
                <a:lnTo>
                  <a:pt x="1380" y="555"/>
                </a:lnTo>
                <a:lnTo>
                  <a:pt x="1388" y="558"/>
                </a:lnTo>
                <a:lnTo>
                  <a:pt x="1382" y="547"/>
                </a:lnTo>
                <a:lnTo>
                  <a:pt x="1374" y="538"/>
                </a:lnTo>
                <a:lnTo>
                  <a:pt x="1395" y="545"/>
                </a:lnTo>
                <a:lnTo>
                  <a:pt x="1416" y="556"/>
                </a:lnTo>
                <a:lnTo>
                  <a:pt x="1412" y="550"/>
                </a:lnTo>
                <a:lnTo>
                  <a:pt x="1408" y="546"/>
                </a:lnTo>
                <a:lnTo>
                  <a:pt x="1404" y="541"/>
                </a:lnTo>
                <a:lnTo>
                  <a:pt x="1402" y="537"/>
                </a:lnTo>
                <a:lnTo>
                  <a:pt x="1417" y="543"/>
                </a:lnTo>
                <a:lnTo>
                  <a:pt x="1433" y="551"/>
                </a:lnTo>
                <a:lnTo>
                  <a:pt x="1427" y="545"/>
                </a:lnTo>
                <a:lnTo>
                  <a:pt x="1427" y="538"/>
                </a:lnTo>
                <a:lnTo>
                  <a:pt x="1437" y="539"/>
                </a:lnTo>
                <a:lnTo>
                  <a:pt x="1449" y="540"/>
                </a:lnTo>
                <a:lnTo>
                  <a:pt x="1451" y="538"/>
                </a:lnTo>
                <a:lnTo>
                  <a:pt x="1453" y="534"/>
                </a:lnTo>
                <a:lnTo>
                  <a:pt x="1457" y="532"/>
                </a:lnTo>
                <a:lnTo>
                  <a:pt x="1460" y="531"/>
                </a:lnTo>
                <a:lnTo>
                  <a:pt x="1465" y="529"/>
                </a:lnTo>
                <a:lnTo>
                  <a:pt x="1470" y="529"/>
                </a:lnTo>
                <a:lnTo>
                  <a:pt x="1477" y="524"/>
                </a:lnTo>
                <a:lnTo>
                  <a:pt x="1484" y="520"/>
                </a:lnTo>
                <a:lnTo>
                  <a:pt x="1491" y="518"/>
                </a:lnTo>
                <a:lnTo>
                  <a:pt x="1498" y="521"/>
                </a:lnTo>
                <a:lnTo>
                  <a:pt x="1506" y="522"/>
                </a:lnTo>
                <a:lnTo>
                  <a:pt x="1514" y="521"/>
                </a:lnTo>
                <a:lnTo>
                  <a:pt x="1530" y="521"/>
                </a:lnTo>
                <a:lnTo>
                  <a:pt x="1547" y="523"/>
                </a:lnTo>
                <a:lnTo>
                  <a:pt x="1561" y="524"/>
                </a:lnTo>
                <a:lnTo>
                  <a:pt x="1576" y="525"/>
                </a:lnTo>
                <a:lnTo>
                  <a:pt x="1584" y="525"/>
                </a:lnTo>
                <a:lnTo>
                  <a:pt x="1592" y="525"/>
                </a:lnTo>
                <a:lnTo>
                  <a:pt x="1601" y="526"/>
                </a:lnTo>
                <a:lnTo>
                  <a:pt x="1609" y="529"/>
                </a:lnTo>
                <a:lnTo>
                  <a:pt x="1640" y="534"/>
                </a:lnTo>
                <a:lnTo>
                  <a:pt x="1672" y="538"/>
                </a:lnTo>
                <a:lnTo>
                  <a:pt x="1685" y="542"/>
                </a:lnTo>
                <a:lnTo>
                  <a:pt x="1700" y="548"/>
                </a:lnTo>
                <a:lnTo>
                  <a:pt x="1715" y="550"/>
                </a:lnTo>
                <a:lnTo>
                  <a:pt x="1731" y="551"/>
                </a:lnTo>
                <a:lnTo>
                  <a:pt x="1733" y="550"/>
                </a:lnTo>
                <a:lnTo>
                  <a:pt x="1736" y="548"/>
                </a:lnTo>
                <a:lnTo>
                  <a:pt x="1736" y="545"/>
                </a:lnTo>
                <a:lnTo>
                  <a:pt x="1736" y="541"/>
                </a:lnTo>
                <a:lnTo>
                  <a:pt x="1739" y="540"/>
                </a:lnTo>
                <a:lnTo>
                  <a:pt x="1740" y="539"/>
                </a:lnTo>
                <a:lnTo>
                  <a:pt x="1738" y="534"/>
                </a:lnTo>
                <a:lnTo>
                  <a:pt x="1734" y="532"/>
                </a:lnTo>
                <a:lnTo>
                  <a:pt x="1729" y="532"/>
                </a:lnTo>
                <a:lnTo>
                  <a:pt x="1725" y="533"/>
                </a:lnTo>
                <a:lnTo>
                  <a:pt x="1721" y="531"/>
                </a:lnTo>
                <a:lnTo>
                  <a:pt x="1716" y="526"/>
                </a:lnTo>
                <a:lnTo>
                  <a:pt x="1713" y="524"/>
                </a:lnTo>
                <a:lnTo>
                  <a:pt x="1708" y="522"/>
                </a:lnTo>
                <a:lnTo>
                  <a:pt x="1704" y="522"/>
                </a:lnTo>
                <a:lnTo>
                  <a:pt x="1699" y="522"/>
                </a:lnTo>
                <a:lnTo>
                  <a:pt x="1699" y="518"/>
                </a:lnTo>
                <a:lnTo>
                  <a:pt x="1698" y="516"/>
                </a:lnTo>
                <a:lnTo>
                  <a:pt x="1696" y="515"/>
                </a:lnTo>
                <a:lnTo>
                  <a:pt x="1693" y="516"/>
                </a:lnTo>
                <a:lnTo>
                  <a:pt x="1689" y="517"/>
                </a:lnTo>
                <a:lnTo>
                  <a:pt x="1684" y="516"/>
                </a:lnTo>
                <a:lnTo>
                  <a:pt x="1679" y="513"/>
                </a:lnTo>
                <a:lnTo>
                  <a:pt x="1674" y="509"/>
                </a:lnTo>
                <a:lnTo>
                  <a:pt x="1672" y="509"/>
                </a:lnTo>
                <a:lnTo>
                  <a:pt x="1671" y="509"/>
                </a:lnTo>
                <a:lnTo>
                  <a:pt x="1670" y="509"/>
                </a:lnTo>
                <a:lnTo>
                  <a:pt x="1668" y="507"/>
                </a:lnTo>
                <a:lnTo>
                  <a:pt x="1667" y="506"/>
                </a:lnTo>
                <a:lnTo>
                  <a:pt x="1666" y="506"/>
                </a:lnTo>
                <a:lnTo>
                  <a:pt x="1664" y="507"/>
                </a:lnTo>
                <a:lnTo>
                  <a:pt x="1660" y="507"/>
                </a:lnTo>
                <a:lnTo>
                  <a:pt x="1657" y="507"/>
                </a:lnTo>
                <a:lnTo>
                  <a:pt x="1652" y="506"/>
                </a:lnTo>
                <a:lnTo>
                  <a:pt x="1647" y="505"/>
                </a:lnTo>
                <a:lnTo>
                  <a:pt x="1641" y="504"/>
                </a:lnTo>
                <a:lnTo>
                  <a:pt x="1629" y="499"/>
                </a:lnTo>
                <a:lnTo>
                  <a:pt x="1616" y="503"/>
                </a:lnTo>
                <a:lnTo>
                  <a:pt x="1619" y="497"/>
                </a:lnTo>
                <a:lnTo>
                  <a:pt x="1616" y="493"/>
                </a:lnTo>
                <a:lnTo>
                  <a:pt x="1608" y="496"/>
                </a:lnTo>
                <a:lnTo>
                  <a:pt x="1599" y="493"/>
                </a:lnTo>
                <a:lnTo>
                  <a:pt x="1593" y="489"/>
                </a:lnTo>
                <a:lnTo>
                  <a:pt x="1586" y="492"/>
                </a:lnTo>
                <a:lnTo>
                  <a:pt x="1583" y="496"/>
                </a:lnTo>
                <a:lnTo>
                  <a:pt x="1582" y="491"/>
                </a:lnTo>
                <a:lnTo>
                  <a:pt x="1576" y="495"/>
                </a:lnTo>
                <a:lnTo>
                  <a:pt x="1569" y="498"/>
                </a:lnTo>
                <a:lnTo>
                  <a:pt x="1569" y="496"/>
                </a:lnTo>
                <a:lnTo>
                  <a:pt x="1572" y="492"/>
                </a:lnTo>
                <a:lnTo>
                  <a:pt x="1566" y="489"/>
                </a:lnTo>
                <a:lnTo>
                  <a:pt x="1557" y="490"/>
                </a:lnTo>
                <a:lnTo>
                  <a:pt x="1559" y="490"/>
                </a:lnTo>
                <a:lnTo>
                  <a:pt x="1559" y="488"/>
                </a:lnTo>
                <a:lnTo>
                  <a:pt x="1557" y="488"/>
                </a:lnTo>
                <a:lnTo>
                  <a:pt x="1556" y="489"/>
                </a:lnTo>
                <a:lnTo>
                  <a:pt x="1555" y="488"/>
                </a:lnTo>
                <a:lnTo>
                  <a:pt x="1553" y="488"/>
                </a:lnTo>
                <a:lnTo>
                  <a:pt x="1550" y="488"/>
                </a:lnTo>
                <a:lnTo>
                  <a:pt x="1547" y="489"/>
                </a:lnTo>
                <a:lnTo>
                  <a:pt x="1543" y="493"/>
                </a:lnTo>
                <a:lnTo>
                  <a:pt x="1538" y="496"/>
                </a:lnTo>
                <a:lnTo>
                  <a:pt x="1540" y="490"/>
                </a:lnTo>
                <a:lnTo>
                  <a:pt x="1541" y="484"/>
                </a:lnTo>
                <a:lnTo>
                  <a:pt x="1538" y="487"/>
                </a:lnTo>
                <a:lnTo>
                  <a:pt x="1534" y="490"/>
                </a:lnTo>
                <a:lnTo>
                  <a:pt x="1530" y="487"/>
                </a:lnTo>
                <a:lnTo>
                  <a:pt x="1524" y="489"/>
                </a:lnTo>
                <a:lnTo>
                  <a:pt x="1522" y="491"/>
                </a:lnTo>
                <a:lnTo>
                  <a:pt x="1518" y="492"/>
                </a:lnTo>
                <a:lnTo>
                  <a:pt x="1518" y="490"/>
                </a:lnTo>
                <a:lnTo>
                  <a:pt x="1520" y="488"/>
                </a:lnTo>
                <a:lnTo>
                  <a:pt x="1514" y="485"/>
                </a:lnTo>
                <a:lnTo>
                  <a:pt x="1506" y="489"/>
                </a:lnTo>
                <a:lnTo>
                  <a:pt x="1500" y="493"/>
                </a:lnTo>
                <a:lnTo>
                  <a:pt x="1495" y="497"/>
                </a:lnTo>
                <a:lnTo>
                  <a:pt x="1497" y="496"/>
                </a:lnTo>
                <a:lnTo>
                  <a:pt x="1497" y="492"/>
                </a:lnTo>
                <a:lnTo>
                  <a:pt x="1495" y="490"/>
                </a:lnTo>
                <a:lnTo>
                  <a:pt x="1493" y="488"/>
                </a:lnTo>
                <a:lnTo>
                  <a:pt x="1490" y="483"/>
                </a:lnTo>
                <a:lnTo>
                  <a:pt x="1484" y="483"/>
                </a:lnTo>
                <a:lnTo>
                  <a:pt x="1482" y="484"/>
                </a:lnTo>
                <a:lnTo>
                  <a:pt x="1479" y="483"/>
                </a:lnTo>
                <a:lnTo>
                  <a:pt x="1477" y="482"/>
                </a:lnTo>
                <a:lnTo>
                  <a:pt x="1476" y="480"/>
                </a:lnTo>
                <a:lnTo>
                  <a:pt x="1475" y="479"/>
                </a:lnTo>
                <a:lnTo>
                  <a:pt x="1474" y="478"/>
                </a:lnTo>
                <a:lnTo>
                  <a:pt x="1471" y="480"/>
                </a:lnTo>
                <a:lnTo>
                  <a:pt x="1468" y="482"/>
                </a:lnTo>
                <a:lnTo>
                  <a:pt x="1465" y="480"/>
                </a:lnTo>
                <a:lnTo>
                  <a:pt x="1462" y="476"/>
                </a:lnTo>
                <a:lnTo>
                  <a:pt x="1458" y="479"/>
                </a:lnTo>
                <a:lnTo>
                  <a:pt x="1451" y="481"/>
                </a:lnTo>
                <a:lnTo>
                  <a:pt x="1445" y="488"/>
                </a:lnTo>
                <a:lnTo>
                  <a:pt x="1443" y="495"/>
                </a:lnTo>
                <a:lnTo>
                  <a:pt x="1441" y="487"/>
                </a:lnTo>
                <a:lnTo>
                  <a:pt x="1442" y="479"/>
                </a:lnTo>
                <a:lnTo>
                  <a:pt x="1434" y="485"/>
                </a:lnTo>
                <a:lnTo>
                  <a:pt x="1428" y="492"/>
                </a:lnTo>
                <a:lnTo>
                  <a:pt x="1427" y="488"/>
                </a:lnTo>
                <a:lnTo>
                  <a:pt x="1426" y="483"/>
                </a:lnTo>
                <a:lnTo>
                  <a:pt x="1424" y="488"/>
                </a:lnTo>
                <a:lnTo>
                  <a:pt x="1420" y="489"/>
                </a:lnTo>
                <a:lnTo>
                  <a:pt x="1418" y="487"/>
                </a:lnTo>
                <a:lnTo>
                  <a:pt x="1416" y="483"/>
                </a:lnTo>
                <a:lnTo>
                  <a:pt x="1413" y="483"/>
                </a:lnTo>
                <a:lnTo>
                  <a:pt x="1411" y="483"/>
                </a:lnTo>
                <a:lnTo>
                  <a:pt x="1404" y="478"/>
                </a:lnTo>
                <a:lnTo>
                  <a:pt x="1398" y="473"/>
                </a:lnTo>
                <a:lnTo>
                  <a:pt x="1417" y="470"/>
                </a:lnTo>
                <a:lnTo>
                  <a:pt x="1435" y="467"/>
                </a:lnTo>
                <a:lnTo>
                  <a:pt x="1443" y="467"/>
                </a:lnTo>
                <a:lnTo>
                  <a:pt x="1449" y="465"/>
                </a:lnTo>
                <a:lnTo>
                  <a:pt x="1452" y="464"/>
                </a:lnTo>
                <a:lnTo>
                  <a:pt x="1454" y="463"/>
                </a:lnTo>
                <a:lnTo>
                  <a:pt x="1459" y="463"/>
                </a:lnTo>
                <a:lnTo>
                  <a:pt x="1464" y="463"/>
                </a:lnTo>
                <a:lnTo>
                  <a:pt x="1458" y="459"/>
                </a:lnTo>
                <a:lnTo>
                  <a:pt x="1453" y="456"/>
                </a:lnTo>
                <a:lnTo>
                  <a:pt x="1474" y="454"/>
                </a:lnTo>
                <a:lnTo>
                  <a:pt x="1493" y="450"/>
                </a:lnTo>
                <a:lnTo>
                  <a:pt x="1503" y="448"/>
                </a:lnTo>
                <a:lnTo>
                  <a:pt x="1514" y="447"/>
                </a:lnTo>
                <a:lnTo>
                  <a:pt x="1523" y="449"/>
                </a:lnTo>
                <a:lnTo>
                  <a:pt x="1533" y="454"/>
                </a:lnTo>
                <a:lnTo>
                  <a:pt x="1550" y="463"/>
                </a:lnTo>
                <a:lnTo>
                  <a:pt x="1568" y="471"/>
                </a:lnTo>
                <a:lnTo>
                  <a:pt x="1589" y="479"/>
                </a:lnTo>
                <a:lnTo>
                  <a:pt x="1608" y="487"/>
                </a:lnTo>
                <a:lnTo>
                  <a:pt x="1596" y="472"/>
                </a:lnTo>
                <a:lnTo>
                  <a:pt x="1577" y="463"/>
                </a:lnTo>
                <a:lnTo>
                  <a:pt x="1567" y="457"/>
                </a:lnTo>
                <a:lnTo>
                  <a:pt x="1558" y="451"/>
                </a:lnTo>
                <a:lnTo>
                  <a:pt x="1543" y="447"/>
                </a:lnTo>
                <a:lnTo>
                  <a:pt x="1528" y="441"/>
                </a:lnTo>
                <a:lnTo>
                  <a:pt x="1646" y="433"/>
                </a:lnTo>
                <a:lnTo>
                  <a:pt x="1761" y="447"/>
                </a:lnTo>
                <a:lnTo>
                  <a:pt x="1748" y="439"/>
                </a:lnTo>
                <a:lnTo>
                  <a:pt x="1736" y="433"/>
                </a:lnTo>
                <a:lnTo>
                  <a:pt x="1730" y="432"/>
                </a:lnTo>
                <a:lnTo>
                  <a:pt x="1725" y="431"/>
                </a:lnTo>
                <a:lnTo>
                  <a:pt x="1724" y="429"/>
                </a:lnTo>
                <a:lnTo>
                  <a:pt x="1723" y="425"/>
                </a:lnTo>
                <a:lnTo>
                  <a:pt x="1715" y="424"/>
                </a:lnTo>
                <a:lnTo>
                  <a:pt x="1706" y="426"/>
                </a:lnTo>
                <a:lnTo>
                  <a:pt x="1701" y="423"/>
                </a:lnTo>
                <a:lnTo>
                  <a:pt x="1697" y="421"/>
                </a:lnTo>
                <a:lnTo>
                  <a:pt x="1684" y="424"/>
                </a:lnTo>
                <a:lnTo>
                  <a:pt x="1671" y="424"/>
                </a:lnTo>
                <a:lnTo>
                  <a:pt x="1674" y="422"/>
                </a:lnTo>
                <a:lnTo>
                  <a:pt x="1677" y="418"/>
                </a:lnTo>
                <a:lnTo>
                  <a:pt x="1652" y="420"/>
                </a:lnTo>
                <a:lnTo>
                  <a:pt x="1627" y="417"/>
                </a:lnTo>
                <a:lnTo>
                  <a:pt x="1617" y="415"/>
                </a:lnTo>
                <a:lnTo>
                  <a:pt x="1607" y="415"/>
                </a:lnTo>
                <a:lnTo>
                  <a:pt x="1597" y="416"/>
                </a:lnTo>
                <a:lnTo>
                  <a:pt x="1588" y="413"/>
                </a:lnTo>
                <a:lnTo>
                  <a:pt x="1580" y="412"/>
                </a:lnTo>
                <a:lnTo>
                  <a:pt x="1571" y="414"/>
                </a:lnTo>
                <a:lnTo>
                  <a:pt x="1566" y="416"/>
                </a:lnTo>
                <a:lnTo>
                  <a:pt x="1563" y="417"/>
                </a:lnTo>
                <a:lnTo>
                  <a:pt x="1557" y="418"/>
                </a:lnTo>
                <a:lnTo>
                  <a:pt x="1552" y="418"/>
                </a:lnTo>
                <a:lnTo>
                  <a:pt x="1552" y="418"/>
                </a:lnTo>
                <a:lnTo>
                  <a:pt x="1552" y="417"/>
                </a:lnTo>
                <a:lnTo>
                  <a:pt x="1551" y="418"/>
                </a:lnTo>
                <a:lnTo>
                  <a:pt x="1552" y="418"/>
                </a:lnTo>
                <a:lnTo>
                  <a:pt x="1549" y="422"/>
                </a:lnTo>
                <a:lnTo>
                  <a:pt x="1544" y="421"/>
                </a:lnTo>
                <a:lnTo>
                  <a:pt x="1545" y="418"/>
                </a:lnTo>
                <a:lnTo>
                  <a:pt x="1549" y="417"/>
                </a:lnTo>
                <a:lnTo>
                  <a:pt x="1550" y="417"/>
                </a:lnTo>
                <a:lnTo>
                  <a:pt x="1552" y="417"/>
                </a:lnTo>
                <a:lnTo>
                  <a:pt x="1553" y="416"/>
                </a:lnTo>
                <a:lnTo>
                  <a:pt x="1555" y="414"/>
                </a:lnTo>
                <a:lnTo>
                  <a:pt x="1557" y="412"/>
                </a:lnTo>
                <a:lnTo>
                  <a:pt x="1557" y="407"/>
                </a:lnTo>
                <a:lnTo>
                  <a:pt x="1551" y="412"/>
                </a:lnTo>
                <a:lnTo>
                  <a:pt x="1544" y="414"/>
                </a:lnTo>
                <a:lnTo>
                  <a:pt x="1543" y="410"/>
                </a:lnTo>
                <a:lnTo>
                  <a:pt x="1545" y="406"/>
                </a:lnTo>
                <a:lnTo>
                  <a:pt x="1544" y="404"/>
                </a:lnTo>
                <a:lnTo>
                  <a:pt x="1540" y="405"/>
                </a:lnTo>
                <a:lnTo>
                  <a:pt x="1536" y="407"/>
                </a:lnTo>
                <a:lnTo>
                  <a:pt x="1533" y="407"/>
                </a:lnTo>
                <a:lnTo>
                  <a:pt x="1531" y="405"/>
                </a:lnTo>
                <a:lnTo>
                  <a:pt x="1527" y="404"/>
                </a:lnTo>
                <a:lnTo>
                  <a:pt x="1525" y="405"/>
                </a:lnTo>
                <a:lnTo>
                  <a:pt x="1523" y="407"/>
                </a:lnTo>
                <a:lnTo>
                  <a:pt x="1512" y="410"/>
                </a:lnTo>
                <a:lnTo>
                  <a:pt x="1503" y="415"/>
                </a:lnTo>
                <a:lnTo>
                  <a:pt x="1502" y="413"/>
                </a:lnTo>
                <a:lnTo>
                  <a:pt x="1500" y="413"/>
                </a:lnTo>
                <a:lnTo>
                  <a:pt x="1501" y="409"/>
                </a:lnTo>
                <a:lnTo>
                  <a:pt x="1501" y="405"/>
                </a:lnTo>
                <a:lnTo>
                  <a:pt x="1490" y="415"/>
                </a:lnTo>
                <a:lnTo>
                  <a:pt x="1477" y="420"/>
                </a:lnTo>
                <a:lnTo>
                  <a:pt x="1481" y="414"/>
                </a:lnTo>
                <a:lnTo>
                  <a:pt x="1483" y="408"/>
                </a:lnTo>
                <a:lnTo>
                  <a:pt x="1474" y="413"/>
                </a:lnTo>
                <a:lnTo>
                  <a:pt x="1465" y="417"/>
                </a:lnTo>
                <a:lnTo>
                  <a:pt x="1466" y="414"/>
                </a:lnTo>
                <a:lnTo>
                  <a:pt x="1467" y="412"/>
                </a:lnTo>
                <a:lnTo>
                  <a:pt x="1466" y="412"/>
                </a:lnTo>
                <a:lnTo>
                  <a:pt x="1466" y="413"/>
                </a:lnTo>
                <a:lnTo>
                  <a:pt x="1454" y="414"/>
                </a:lnTo>
                <a:lnTo>
                  <a:pt x="1442" y="417"/>
                </a:lnTo>
                <a:lnTo>
                  <a:pt x="1436" y="418"/>
                </a:lnTo>
                <a:lnTo>
                  <a:pt x="1431" y="420"/>
                </a:lnTo>
                <a:lnTo>
                  <a:pt x="1426" y="420"/>
                </a:lnTo>
                <a:lnTo>
                  <a:pt x="1421" y="421"/>
                </a:lnTo>
                <a:lnTo>
                  <a:pt x="1420" y="416"/>
                </a:lnTo>
                <a:lnTo>
                  <a:pt x="1417" y="413"/>
                </a:lnTo>
                <a:lnTo>
                  <a:pt x="1428" y="407"/>
                </a:lnTo>
                <a:lnTo>
                  <a:pt x="1441" y="402"/>
                </a:lnTo>
                <a:lnTo>
                  <a:pt x="1450" y="398"/>
                </a:lnTo>
                <a:lnTo>
                  <a:pt x="1453" y="389"/>
                </a:lnTo>
                <a:lnTo>
                  <a:pt x="1457" y="392"/>
                </a:lnTo>
                <a:lnTo>
                  <a:pt x="1461" y="395"/>
                </a:lnTo>
                <a:lnTo>
                  <a:pt x="1465" y="392"/>
                </a:lnTo>
                <a:lnTo>
                  <a:pt x="1467" y="389"/>
                </a:lnTo>
                <a:lnTo>
                  <a:pt x="1471" y="388"/>
                </a:lnTo>
                <a:lnTo>
                  <a:pt x="1475" y="385"/>
                </a:lnTo>
                <a:lnTo>
                  <a:pt x="1474" y="384"/>
                </a:lnTo>
                <a:lnTo>
                  <a:pt x="1471" y="383"/>
                </a:lnTo>
                <a:lnTo>
                  <a:pt x="1470" y="381"/>
                </a:lnTo>
                <a:lnTo>
                  <a:pt x="1470" y="379"/>
                </a:lnTo>
                <a:lnTo>
                  <a:pt x="1482" y="379"/>
                </a:lnTo>
                <a:lnTo>
                  <a:pt x="1482" y="370"/>
                </a:lnTo>
                <a:lnTo>
                  <a:pt x="1477" y="364"/>
                </a:lnTo>
                <a:lnTo>
                  <a:pt x="1471" y="359"/>
                </a:lnTo>
                <a:lnTo>
                  <a:pt x="1468" y="356"/>
                </a:lnTo>
                <a:lnTo>
                  <a:pt x="1464" y="357"/>
                </a:lnTo>
                <a:lnTo>
                  <a:pt x="1457" y="357"/>
                </a:lnTo>
                <a:lnTo>
                  <a:pt x="1450" y="358"/>
                </a:lnTo>
                <a:lnTo>
                  <a:pt x="1448" y="359"/>
                </a:lnTo>
                <a:lnTo>
                  <a:pt x="1445" y="360"/>
                </a:lnTo>
                <a:lnTo>
                  <a:pt x="1444" y="360"/>
                </a:lnTo>
                <a:lnTo>
                  <a:pt x="1442" y="359"/>
                </a:lnTo>
                <a:lnTo>
                  <a:pt x="1434" y="362"/>
                </a:lnTo>
                <a:lnTo>
                  <a:pt x="1429" y="368"/>
                </a:lnTo>
                <a:lnTo>
                  <a:pt x="1431" y="359"/>
                </a:lnTo>
                <a:lnTo>
                  <a:pt x="1432" y="351"/>
                </a:lnTo>
                <a:lnTo>
                  <a:pt x="1429" y="356"/>
                </a:lnTo>
                <a:lnTo>
                  <a:pt x="1426" y="359"/>
                </a:lnTo>
                <a:lnTo>
                  <a:pt x="1424" y="360"/>
                </a:lnTo>
                <a:lnTo>
                  <a:pt x="1423" y="363"/>
                </a:lnTo>
                <a:lnTo>
                  <a:pt x="1421" y="365"/>
                </a:lnTo>
                <a:lnTo>
                  <a:pt x="1420" y="367"/>
                </a:lnTo>
                <a:lnTo>
                  <a:pt x="1416" y="367"/>
                </a:lnTo>
                <a:lnTo>
                  <a:pt x="1411" y="363"/>
                </a:lnTo>
                <a:lnTo>
                  <a:pt x="1407" y="364"/>
                </a:lnTo>
                <a:lnTo>
                  <a:pt x="1404" y="366"/>
                </a:lnTo>
                <a:lnTo>
                  <a:pt x="1404" y="371"/>
                </a:lnTo>
                <a:lnTo>
                  <a:pt x="1404" y="374"/>
                </a:lnTo>
                <a:lnTo>
                  <a:pt x="1400" y="374"/>
                </a:lnTo>
                <a:lnTo>
                  <a:pt x="1396" y="366"/>
                </a:lnTo>
                <a:lnTo>
                  <a:pt x="1396" y="375"/>
                </a:lnTo>
                <a:lnTo>
                  <a:pt x="1398" y="383"/>
                </a:lnTo>
                <a:lnTo>
                  <a:pt x="1385" y="379"/>
                </a:lnTo>
                <a:lnTo>
                  <a:pt x="1371" y="381"/>
                </a:lnTo>
                <a:lnTo>
                  <a:pt x="1366" y="383"/>
                </a:lnTo>
                <a:lnTo>
                  <a:pt x="1360" y="385"/>
                </a:lnTo>
                <a:lnTo>
                  <a:pt x="1355" y="385"/>
                </a:lnTo>
                <a:lnTo>
                  <a:pt x="1351" y="385"/>
                </a:lnTo>
                <a:lnTo>
                  <a:pt x="1343" y="391"/>
                </a:lnTo>
                <a:lnTo>
                  <a:pt x="1334" y="395"/>
                </a:lnTo>
                <a:lnTo>
                  <a:pt x="1329" y="392"/>
                </a:lnTo>
                <a:lnTo>
                  <a:pt x="1325" y="389"/>
                </a:lnTo>
                <a:lnTo>
                  <a:pt x="1322" y="387"/>
                </a:lnTo>
                <a:lnTo>
                  <a:pt x="1320" y="389"/>
                </a:lnTo>
                <a:lnTo>
                  <a:pt x="1321" y="389"/>
                </a:lnTo>
                <a:lnTo>
                  <a:pt x="1319" y="395"/>
                </a:lnTo>
                <a:lnTo>
                  <a:pt x="1319" y="401"/>
                </a:lnTo>
                <a:lnTo>
                  <a:pt x="1313" y="395"/>
                </a:lnTo>
                <a:lnTo>
                  <a:pt x="1309" y="384"/>
                </a:lnTo>
                <a:lnTo>
                  <a:pt x="1309" y="390"/>
                </a:lnTo>
                <a:lnTo>
                  <a:pt x="1309" y="397"/>
                </a:lnTo>
                <a:lnTo>
                  <a:pt x="1305" y="393"/>
                </a:lnTo>
                <a:lnTo>
                  <a:pt x="1302" y="391"/>
                </a:lnTo>
                <a:lnTo>
                  <a:pt x="1298" y="395"/>
                </a:lnTo>
                <a:lnTo>
                  <a:pt x="1298" y="399"/>
                </a:lnTo>
                <a:lnTo>
                  <a:pt x="1301" y="404"/>
                </a:lnTo>
                <a:lnTo>
                  <a:pt x="1301" y="408"/>
                </a:lnTo>
                <a:lnTo>
                  <a:pt x="1297" y="409"/>
                </a:lnTo>
                <a:lnTo>
                  <a:pt x="1295" y="407"/>
                </a:lnTo>
                <a:lnTo>
                  <a:pt x="1291" y="398"/>
                </a:lnTo>
                <a:lnTo>
                  <a:pt x="1284" y="395"/>
                </a:lnTo>
                <a:lnTo>
                  <a:pt x="1281" y="398"/>
                </a:lnTo>
                <a:lnTo>
                  <a:pt x="1279" y="401"/>
                </a:lnTo>
                <a:lnTo>
                  <a:pt x="1276" y="404"/>
                </a:lnTo>
                <a:lnTo>
                  <a:pt x="1272" y="406"/>
                </a:lnTo>
                <a:lnTo>
                  <a:pt x="1271" y="407"/>
                </a:lnTo>
                <a:lnTo>
                  <a:pt x="1270" y="408"/>
                </a:lnTo>
                <a:lnTo>
                  <a:pt x="1270" y="408"/>
                </a:lnTo>
                <a:lnTo>
                  <a:pt x="1269" y="408"/>
                </a:lnTo>
                <a:lnTo>
                  <a:pt x="1267" y="407"/>
                </a:lnTo>
                <a:lnTo>
                  <a:pt x="1264" y="408"/>
                </a:lnTo>
                <a:lnTo>
                  <a:pt x="1262" y="410"/>
                </a:lnTo>
                <a:lnTo>
                  <a:pt x="1259" y="408"/>
                </a:lnTo>
                <a:lnTo>
                  <a:pt x="1256" y="406"/>
                </a:lnTo>
                <a:lnTo>
                  <a:pt x="1253" y="406"/>
                </a:lnTo>
                <a:lnTo>
                  <a:pt x="1253" y="410"/>
                </a:lnTo>
                <a:lnTo>
                  <a:pt x="1252" y="415"/>
                </a:lnTo>
                <a:lnTo>
                  <a:pt x="1250" y="414"/>
                </a:lnTo>
                <a:lnTo>
                  <a:pt x="1247" y="412"/>
                </a:lnTo>
                <a:lnTo>
                  <a:pt x="1243" y="414"/>
                </a:lnTo>
                <a:lnTo>
                  <a:pt x="1244" y="422"/>
                </a:lnTo>
                <a:lnTo>
                  <a:pt x="1228" y="415"/>
                </a:lnTo>
                <a:lnTo>
                  <a:pt x="1211" y="420"/>
                </a:lnTo>
                <a:lnTo>
                  <a:pt x="1194" y="428"/>
                </a:lnTo>
                <a:lnTo>
                  <a:pt x="1177" y="433"/>
                </a:lnTo>
                <a:lnTo>
                  <a:pt x="1171" y="432"/>
                </a:lnTo>
                <a:lnTo>
                  <a:pt x="1166" y="430"/>
                </a:lnTo>
                <a:lnTo>
                  <a:pt x="1161" y="433"/>
                </a:lnTo>
                <a:lnTo>
                  <a:pt x="1156" y="438"/>
                </a:lnTo>
                <a:lnTo>
                  <a:pt x="1152" y="440"/>
                </a:lnTo>
                <a:lnTo>
                  <a:pt x="1148" y="442"/>
                </a:lnTo>
                <a:lnTo>
                  <a:pt x="1146" y="443"/>
                </a:lnTo>
                <a:lnTo>
                  <a:pt x="1145" y="443"/>
                </a:lnTo>
                <a:lnTo>
                  <a:pt x="1144" y="443"/>
                </a:lnTo>
                <a:lnTo>
                  <a:pt x="1144" y="442"/>
                </a:lnTo>
                <a:lnTo>
                  <a:pt x="1140" y="445"/>
                </a:lnTo>
                <a:lnTo>
                  <a:pt x="1138" y="446"/>
                </a:lnTo>
                <a:lnTo>
                  <a:pt x="1135" y="445"/>
                </a:lnTo>
                <a:lnTo>
                  <a:pt x="1130" y="443"/>
                </a:lnTo>
                <a:lnTo>
                  <a:pt x="1132" y="443"/>
                </a:lnTo>
                <a:lnTo>
                  <a:pt x="1135" y="443"/>
                </a:lnTo>
                <a:lnTo>
                  <a:pt x="1136" y="438"/>
                </a:lnTo>
                <a:lnTo>
                  <a:pt x="1143" y="438"/>
                </a:lnTo>
                <a:lnTo>
                  <a:pt x="1143" y="432"/>
                </a:lnTo>
                <a:lnTo>
                  <a:pt x="1140" y="428"/>
                </a:lnTo>
                <a:lnTo>
                  <a:pt x="1145" y="418"/>
                </a:lnTo>
                <a:lnTo>
                  <a:pt x="1151" y="412"/>
                </a:lnTo>
                <a:lnTo>
                  <a:pt x="1151" y="407"/>
                </a:lnTo>
                <a:lnTo>
                  <a:pt x="1152" y="405"/>
                </a:lnTo>
                <a:lnTo>
                  <a:pt x="1157" y="400"/>
                </a:lnTo>
                <a:lnTo>
                  <a:pt x="1163" y="398"/>
                </a:lnTo>
                <a:lnTo>
                  <a:pt x="1173" y="393"/>
                </a:lnTo>
                <a:lnTo>
                  <a:pt x="1186" y="392"/>
                </a:lnTo>
                <a:lnTo>
                  <a:pt x="1196" y="391"/>
                </a:lnTo>
                <a:lnTo>
                  <a:pt x="1203" y="385"/>
                </a:lnTo>
                <a:lnTo>
                  <a:pt x="1204" y="377"/>
                </a:lnTo>
                <a:lnTo>
                  <a:pt x="1211" y="376"/>
                </a:lnTo>
                <a:lnTo>
                  <a:pt x="1214" y="377"/>
                </a:lnTo>
                <a:lnTo>
                  <a:pt x="1217" y="379"/>
                </a:lnTo>
                <a:lnTo>
                  <a:pt x="1219" y="379"/>
                </a:lnTo>
                <a:lnTo>
                  <a:pt x="1220" y="379"/>
                </a:lnTo>
                <a:lnTo>
                  <a:pt x="1220" y="380"/>
                </a:lnTo>
                <a:lnTo>
                  <a:pt x="1221" y="381"/>
                </a:lnTo>
                <a:lnTo>
                  <a:pt x="1225" y="379"/>
                </a:lnTo>
                <a:lnTo>
                  <a:pt x="1225" y="374"/>
                </a:lnTo>
                <a:lnTo>
                  <a:pt x="1229" y="377"/>
                </a:lnTo>
                <a:lnTo>
                  <a:pt x="1234" y="379"/>
                </a:lnTo>
                <a:lnTo>
                  <a:pt x="1234" y="374"/>
                </a:lnTo>
                <a:lnTo>
                  <a:pt x="1230" y="371"/>
                </a:lnTo>
                <a:lnTo>
                  <a:pt x="1229" y="367"/>
                </a:lnTo>
                <a:lnTo>
                  <a:pt x="1226" y="364"/>
                </a:lnTo>
                <a:lnTo>
                  <a:pt x="1223" y="362"/>
                </a:lnTo>
                <a:lnTo>
                  <a:pt x="1221" y="359"/>
                </a:lnTo>
                <a:lnTo>
                  <a:pt x="1213" y="356"/>
                </a:lnTo>
                <a:lnTo>
                  <a:pt x="1204" y="351"/>
                </a:lnTo>
                <a:lnTo>
                  <a:pt x="1214" y="346"/>
                </a:lnTo>
                <a:lnTo>
                  <a:pt x="1222" y="339"/>
                </a:lnTo>
                <a:lnTo>
                  <a:pt x="1223" y="334"/>
                </a:lnTo>
                <a:lnTo>
                  <a:pt x="1223" y="330"/>
                </a:lnTo>
                <a:lnTo>
                  <a:pt x="1231" y="326"/>
                </a:lnTo>
                <a:lnTo>
                  <a:pt x="1240" y="323"/>
                </a:lnTo>
                <a:lnTo>
                  <a:pt x="1247" y="319"/>
                </a:lnTo>
                <a:lnTo>
                  <a:pt x="1254" y="315"/>
                </a:lnTo>
                <a:lnTo>
                  <a:pt x="1258" y="313"/>
                </a:lnTo>
                <a:lnTo>
                  <a:pt x="1261" y="309"/>
                </a:lnTo>
                <a:lnTo>
                  <a:pt x="1262" y="308"/>
                </a:lnTo>
                <a:lnTo>
                  <a:pt x="1263" y="307"/>
                </a:lnTo>
                <a:lnTo>
                  <a:pt x="1264" y="306"/>
                </a:lnTo>
                <a:lnTo>
                  <a:pt x="1267" y="307"/>
                </a:lnTo>
                <a:lnTo>
                  <a:pt x="1268" y="307"/>
                </a:lnTo>
                <a:lnTo>
                  <a:pt x="1270" y="307"/>
                </a:lnTo>
                <a:lnTo>
                  <a:pt x="1272" y="305"/>
                </a:lnTo>
                <a:lnTo>
                  <a:pt x="1273" y="302"/>
                </a:lnTo>
                <a:lnTo>
                  <a:pt x="1280" y="302"/>
                </a:lnTo>
                <a:lnTo>
                  <a:pt x="1287" y="304"/>
                </a:lnTo>
                <a:lnTo>
                  <a:pt x="1283" y="299"/>
                </a:lnTo>
                <a:lnTo>
                  <a:pt x="1284" y="294"/>
                </a:lnTo>
                <a:lnTo>
                  <a:pt x="1287" y="294"/>
                </a:lnTo>
                <a:lnTo>
                  <a:pt x="1289" y="293"/>
                </a:lnTo>
                <a:lnTo>
                  <a:pt x="1295" y="292"/>
                </a:lnTo>
                <a:lnTo>
                  <a:pt x="1302" y="291"/>
                </a:lnTo>
                <a:lnTo>
                  <a:pt x="1304" y="291"/>
                </a:lnTo>
                <a:lnTo>
                  <a:pt x="1308" y="290"/>
                </a:lnTo>
                <a:lnTo>
                  <a:pt x="1310" y="290"/>
                </a:lnTo>
                <a:lnTo>
                  <a:pt x="1311" y="288"/>
                </a:lnTo>
                <a:lnTo>
                  <a:pt x="1311" y="287"/>
                </a:lnTo>
                <a:lnTo>
                  <a:pt x="1311" y="284"/>
                </a:lnTo>
                <a:lnTo>
                  <a:pt x="1312" y="285"/>
                </a:lnTo>
                <a:lnTo>
                  <a:pt x="1313" y="285"/>
                </a:lnTo>
                <a:lnTo>
                  <a:pt x="1316" y="284"/>
                </a:lnTo>
                <a:lnTo>
                  <a:pt x="1319" y="282"/>
                </a:lnTo>
                <a:lnTo>
                  <a:pt x="1324" y="279"/>
                </a:lnTo>
                <a:lnTo>
                  <a:pt x="1330" y="277"/>
                </a:lnTo>
                <a:lnTo>
                  <a:pt x="1334" y="277"/>
                </a:lnTo>
                <a:lnTo>
                  <a:pt x="1337" y="274"/>
                </a:lnTo>
                <a:lnTo>
                  <a:pt x="1339" y="272"/>
                </a:lnTo>
                <a:lnTo>
                  <a:pt x="1343" y="271"/>
                </a:lnTo>
                <a:lnTo>
                  <a:pt x="1349" y="273"/>
                </a:lnTo>
                <a:lnTo>
                  <a:pt x="1354" y="276"/>
                </a:lnTo>
                <a:lnTo>
                  <a:pt x="1358" y="274"/>
                </a:lnTo>
                <a:lnTo>
                  <a:pt x="1357" y="269"/>
                </a:lnTo>
                <a:lnTo>
                  <a:pt x="1362" y="273"/>
                </a:lnTo>
                <a:lnTo>
                  <a:pt x="1363" y="268"/>
                </a:lnTo>
                <a:lnTo>
                  <a:pt x="1357" y="265"/>
                </a:lnTo>
                <a:lnTo>
                  <a:pt x="1351" y="259"/>
                </a:lnTo>
                <a:lnTo>
                  <a:pt x="1365" y="263"/>
                </a:lnTo>
                <a:lnTo>
                  <a:pt x="1379" y="265"/>
                </a:lnTo>
                <a:lnTo>
                  <a:pt x="1377" y="264"/>
                </a:lnTo>
                <a:lnTo>
                  <a:pt x="1375" y="262"/>
                </a:lnTo>
                <a:lnTo>
                  <a:pt x="1388" y="259"/>
                </a:lnTo>
                <a:lnTo>
                  <a:pt x="1403" y="259"/>
                </a:lnTo>
                <a:lnTo>
                  <a:pt x="1396" y="255"/>
                </a:lnTo>
                <a:lnTo>
                  <a:pt x="1392" y="249"/>
                </a:lnTo>
                <a:lnTo>
                  <a:pt x="1398" y="247"/>
                </a:lnTo>
                <a:lnTo>
                  <a:pt x="1404" y="247"/>
                </a:lnTo>
                <a:lnTo>
                  <a:pt x="1412" y="244"/>
                </a:lnTo>
                <a:lnTo>
                  <a:pt x="1420" y="241"/>
                </a:lnTo>
                <a:lnTo>
                  <a:pt x="1415" y="240"/>
                </a:lnTo>
                <a:lnTo>
                  <a:pt x="1409" y="241"/>
                </a:lnTo>
                <a:lnTo>
                  <a:pt x="1407" y="235"/>
                </a:lnTo>
                <a:lnTo>
                  <a:pt x="1401" y="234"/>
                </a:lnTo>
                <a:lnTo>
                  <a:pt x="1395" y="236"/>
                </a:lnTo>
                <a:lnTo>
                  <a:pt x="1390" y="239"/>
                </a:lnTo>
                <a:lnTo>
                  <a:pt x="1385" y="233"/>
                </a:lnTo>
                <a:lnTo>
                  <a:pt x="1382" y="229"/>
                </a:lnTo>
                <a:lnTo>
                  <a:pt x="1368" y="229"/>
                </a:lnTo>
                <a:lnTo>
                  <a:pt x="1357" y="234"/>
                </a:lnTo>
                <a:lnTo>
                  <a:pt x="1351" y="239"/>
                </a:lnTo>
                <a:lnTo>
                  <a:pt x="1344" y="241"/>
                </a:lnTo>
                <a:lnTo>
                  <a:pt x="1344" y="238"/>
                </a:lnTo>
                <a:lnTo>
                  <a:pt x="1346" y="232"/>
                </a:lnTo>
                <a:lnTo>
                  <a:pt x="1336" y="238"/>
                </a:lnTo>
                <a:lnTo>
                  <a:pt x="1326" y="241"/>
                </a:lnTo>
                <a:lnTo>
                  <a:pt x="1321" y="244"/>
                </a:lnTo>
                <a:lnTo>
                  <a:pt x="1317" y="247"/>
                </a:lnTo>
                <a:lnTo>
                  <a:pt x="1314" y="249"/>
                </a:lnTo>
                <a:lnTo>
                  <a:pt x="1312" y="249"/>
                </a:lnTo>
                <a:lnTo>
                  <a:pt x="1310" y="248"/>
                </a:lnTo>
                <a:lnTo>
                  <a:pt x="1308" y="247"/>
                </a:lnTo>
                <a:lnTo>
                  <a:pt x="1303" y="246"/>
                </a:lnTo>
                <a:lnTo>
                  <a:pt x="1300" y="249"/>
                </a:lnTo>
                <a:lnTo>
                  <a:pt x="1297" y="254"/>
                </a:lnTo>
                <a:lnTo>
                  <a:pt x="1293" y="258"/>
                </a:lnTo>
                <a:lnTo>
                  <a:pt x="1288" y="262"/>
                </a:lnTo>
                <a:lnTo>
                  <a:pt x="1284" y="264"/>
                </a:lnTo>
                <a:lnTo>
                  <a:pt x="1287" y="262"/>
                </a:lnTo>
                <a:lnTo>
                  <a:pt x="1288" y="258"/>
                </a:lnTo>
                <a:lnTo>
                  <a:pt x="1287" y="255"/>
                </a:lnTo>
                <a:lnTo>
                  <a:pt x="1284" y="254"/>
                </a:lnTo>
                <a:lnTo>
                  <a:pt x="1289" y="247"/>
                </a:lnTo>
                <a:lnTo>
                  <a:pt x="1297" y="242"/>
                </a:lnTo>
                <a:lnTo>
                  <a:pt x="1306" y="234"/>
                </a:lnTo>
                <a:lnTo>
                  <a:pt x="1313" y="226"/>
                </a:lnTo>
                <a:lnTo>
                  <a:pt x="1318" y="222"/>
                </a:lnTo>
                <a:lnTo>
                  <a:pt x="1321" y="218"/>
                </a:lnTo>
                <a:lnTo>
                  <a:pt x="1324" y="216"/>
                </a:lnTo>
                <a:lnTo>
                  <a:pt x="1322" y="214"/>
                </a:lnTo>
                <a:lnTo>
                  <a:pt x="1321" y="211"/>
                </a:lnTo>
                <a:lnTo>
                  <a:pt x="1321" y="209"/>
                </a:lnTo>
                <a:lnTo>
                  <a:pt x="1317" y="210"/>
                </a:lnTo>
                <a:lnTo>
                  <a:pt x="1317" y="214"/>
                </a:lnTo>
                <a:lnTo>
                  <a:pt x="1312" y="217"/>
                </a:lnTo>
                <a:lnTo>
                  <a:pt x="1305" y="214"/>
                </a:lnTo>
                <a:lnTo>
                  <a:pt x="1296" y="214"/>
                </a:lnTo>
                <a:lnTo>
                  <a:pt x="1288" y="221"/>
                </a:lnTo>
                <a:lnTo>
                  <a:pt x="1285" y="224"/>
                </a:lnTo>
                <a:lnTo>
                  <a:pt x="1281" y="229"/>
                </a:lnTo>
                <a:lnTo>
                  <a:pt x="1281" y="233"/>
                </a:lnTo>
                <a:lnTo>
                  <a:pt x="1279" y="235"/>
                </a:lnTo>
                <a:lnTo>
                  <a:pt x="1277" y="235"/>
                </a:lnTo>
                <a:lnTo>
                  <a:pt x="1273" y="236"/>
                </a:lnTo>
                <a:lnTo>
                  <a:pt x="1271" y="239"/>
                </a:lnTo>
                <a:lnTo>
                  <a:pt x="1269" y="241"/>
                </a:lnTo>
                <a:lnTo>
                  <a:pt x="1269" y="234"/>
                </a:lnTo>
                <a:lnTo>
                  <a:pt x="1272" y="227"/>
                </a:lnTo>
                <a:lnTo>
                  <a:pt x="1277" y="224"/>
                </a:lnTo>
                <a:lnTo>
                  <a:pt x="1279" y="219"/>
                </a:lnTo>
                <a:lnTo>
                  <a:pt x="1279" y="215"/>
                </a:lnTo>
                <a:lnTo>
                  <a:pt x="1276" y="213"/>
                </a:lnTo>
                <a:lnTo>
                  <a:pt x="1267" y="210"/>
                </a:lnTo>
                <a:lnTo>
                  <a:pt x="1259" y="209"/>
                </a:lnTo>
                <a:lnTo>
                  <a:pt x="1275" y="193"/>
                </a:lnTo>
                <a:lnTo>
                  <a:pt x="1297" y="189"/>
                </a:lnTo>
                <a:lnTo>
                  <a:pt x="1309" y="190"/>
                </a:lnTo>
                <a:lnTo>
                  <a:pt x="1320" y="193"/>
                </a:lnTo>
                <a:lnTo>
                  <a:pt x="1324" y="197"/>
                </a:lnTo>
                <a:lnTo>
                  <a:pt x="1327" y="200"/>
                </a:lnTo>
                <a:lnTo>
                  <a:pt x="1329" y="204"/>
                </a:lnTo>
                <a:lnTo>
                  <a:pt x="1327" y="207"/>
                </a:lnTo>
                <a:lnTo>
                  <a:pt x="1329" y="210"/>
                </a:lnTo>
                <a:lnTo>
                  <a:pt x="1335" y="206"/>
                </a:lnTo>
                <a:lnTo>
                  <a:pt x="1337" y="204"/>
                </a:lnTo>
                <a:lnTo>
                  <a:pt x="1339" y="200"/>
                </a:lnTo>
                <a:lnTo>
                  <a:pt x="1341" y="197"/>
                </a:lnTo>
                <a:lnTo>
                  <a:pt x="1343" y="193"/>
                </a:lnTo>
                <a:lnTo>
                  <a:pt x="1347" y="194"/>
                </a:lnTo>
                <a:lnTo>
                  <a:pt x="1353" y="194"/>
                </a:lnTo>
                <a:lnTo>
                  <a:pt x="1358" y="190"/>
                </a:lnTo>
                <a:lnTo>
                  <a:pt x="1363" y="190"/>
                </a:lnTo>
                <a:lnTo>
                  <a:pt x="1371" y="184"/>
                </a:lnTo>
                <a:lnTo>
                  <a:pt x="1382" y="180"/>
                </a:lnTo>
                <a:lnTo>
                  <a:pt x="1378" y="181"/>
                </a:lnTo>
                <a:lnTo>
                  <a:pt x="1379" y="176"/>
                </a:lnTo>
                <a:lnTo>
                  <a:pt x="1387" y="172"/>
                </a:lnTo>
                <a:lnTo>
                  <a:pt x="1396" y="169"/>
                </a:lnTo>
                <a:lnTo>
                  <a:pt x="1411" y="161"/>
                </a:lnTo>
                <a:lnTo>
                  <a:pt x="1426" y="164"/>
                </a:lnTo>
                <a:lnTo>
                  <a:pt x="1425" y="157"/>
                </a:lnTo>
                <a:lnTo>
                  <a:pt x="1432" y="155"/>
                </a:lnTo>
                <a:lnTo>
                  <a:pt x="1445" y="151"/>
                </a:lnTo>
                <a:lnTo>
                  <a:pt x="1458" y="148"/>
                </a:lnTo>
                <a:lnTo>
                  <a:pt x="1469" y="148"/>
                </a:lnTo>
                <a:lnTo>
                  <a:pt x="1478" y="146"/>
                </a:lnTo>
                <a:lnTo>
                  <a:pt x="1482" y="142"/>
                </a:lnTo>
                <a:lnTo>
                  <a:pt x="1484" y="139"/>
                </a:lnTo>
                <a:lnTo>
                  <a:pt x="1491" y="135"/>
                </a:lnTo>
                <a:lnTo>
                  <a:pt x="1498" y="133"/>
                </a:lnTo>
                <a:lnTo>
                  <a:pt x="1502" y="130"/>
                </a:lnTo>
                <a:lnTo>
                  <a:pt x="1503" y="126"/>
                </a:lnTo>
                <a:lnTo>
                  <a:pt x="1501" y="124"/>
                </a:lnTo>
                <a:lnTo>
                  <a:pt x="1497" y="124"/>
                </a:lnTo>
                <a:lnTo>
                  <a:pt x="1482" y="124"/>
                </a:lnTo>
                <a:lnTo>
                  <a:pt x="1467" y="127"/>
                </a:lnTo>
                <a:lnTo>
                  <a:pt x="1454" y="133"/>
                </a:lnTo>
                <a:lnTo>
                  <a:pt x="1442" y="138"/>
                </a:lnTo>
                <a:lnTo>
                  <a:pt x="1428" y="141"/>
                </a:lnTo>
                <a:lnTo>
                  <a:pt x="1413" y="144"/>
                </a:lnTo>
                <a:lnTo>
                  <a:pt x="1401" y="151"/>
                </a:lnTo>
                <a:lnTo>
                  <a:pt x="1388" y="159"/>
                </a:lnTo>
                <a:lnTo>
                  <a:pt x="1375" y="167"/>
                </a:lnTo>
                <a:lnTo>
                  <a:pt x="1361" y="176"/>
                </a:lnTo>
                <a:lnTo>
                  <a:pt x="1350" y="183"/>
                </a:lnTo>
                <a:lnTo>
                  <a:pt x="1337" y="185"/>
                </a:lnTo>
                <a:lnTo>
                  <a:pt x="1335" y="181"/>
                </a:lnTo>
                <a:lnTo>
                  <a:pt x="1334" y="176"/>
                </a:lnTo>
                <a:lnTo>
                  <a:pt x="1330" y="169"/>
                </a:lnTo>
                <a:lnTo>
                  <a:pt x="1326" y="164"/>
                </a:lnTo>
                <a:lnTo>
                  <a:pt x="1302" y="163"/>
                </a:lnTo>
                <a:lnTo>
                  <a:pt x="1280" y="175"/>
                </a:lnTo>
                <a:lnTo>
                  <a:pt x="1273" y="179"/>
                </a:lnTo>
                <a:lnTo>
                  <a:pt x="1268" y="183"/>
                </a:lnTo>
                <a:lnTo>
                  <a:pt x="1261" y="185"/>
                </a:lnTo>
                <a:lnTo>
                  <a:pt x="1255" y="190"/>
                </a:lnTo>
                <a:lnTo>
                  <a:pt x="1254" y="193"/>
                </a:lnTo>
                <a:lnTo>
                  <a:pt x="1253" y="197"/>
                </a:lnTo>
                <a:lnTo>
                  <a:pt x="1247" y="198"/>
                </a:lnTo>
                <a:lnTo>
                  <a:pt x="1243" y="199"/>
                </a:lnTo>
                <a:lnTo>
                  <a:pt x="1230" y="205"/>
                </a:lnTo>
                <a:lnTo>
                  <a:pt x="1218" y="210"/>
                </a:lnTo>
                <a:lnTo>
                  <a:pt x="1211" y="213"/>
                </a:lnTo>
                <a:lnTo>
                  <a:pt x="1205" y="215"/>
                </a:lnTo>
                <a:lnTo>
                  <a:pt x="1202" y="221"/>
                </a:lnTo>
                <a:lnTo>
                  <a:pt x="1199" y="225"/>
                </a:lnTo>
                <a:lnTo>
                  <a:pt x="1192" y="234"/>
                </a:lnTo>
                <a:lnTo>
                  <a:pt x="1184" y="242"/>
                </a:lnTo>
                <a:lnTo>
                  <a:pt x="1184" y="244"/>
                </a:lnTo>
                <a:lnTo>
                  <a:pt x="1182" y="247"/>
                </a:lnTo>
                <a:lnTo>
                  <a:pt x="1179" y="248"/>
                </a:lnTo>
                <a:lnTo>
                  <a:pt x="1176" y="249"/>
                </a:lnTo>
                <a:lnTo>
                  <a:pt x="1173" y="252"/>
                </a:lnTo>
                <a:lnTo>
                  <a:pt x="1177" y="257"/>
                </a:lnTo>
                <a:lnTo>
                  <a:pt x="1168" y="258"/>
                </a:lnTo>
                <a:lnTo>
                  <a:pt x="1160" y="262"/>
                </a:lnTo>
                <a:lnTo>
                  <a:pt x="1152" y="266"/>
                </a:lnTo>
                <a:lnTo>
                  <a:pt x="1147" y="274"/>
                </a:lnTo>
                <a:lnTo>
                  <a:pt x="1141" y="281"/>
                </a:lnTo>
                <a:lnTo>
                  <a:pt x="1135" y="288"/>
                </a:lnTo>
                <a:lnTo>
                  <a:pt x="1133" y="290"/>
                </a:lnTo>
                <a:lnTo>
                  <a:pt x="1130" y="290"/>
                </a:lnTo>
                <a:lnTo>
                  <a:pt x="1127" y="290"/>
                </a:lnTo>
                <a:lnTo>
                  <a:pt x="1124" y="287"/>
                </a:lnTo>
                <a:lnTo>
                  <a:pt x="1122" y="284"/>
                </a:lnTo>
                <a:lnTo>
                  <a:pt x="1119" y="284"/>
                </a:lnTo>
                <a:lnTo>
                  <a:pt x="1119" y="288"/>
                </a:lnTo>
                <a:lnTo>
                  <a:pt x="1118" y="290"/>
                </a:lnTo>
                <a:lnTo>
                  <a:pt x="1107" y="290"/>
                </a:lnTo>
                <a:lnTo>
                  <a:pt x="1105" y="282"/>
                </a:lnTo>
                <a:lnTo>
                  <a:pt x="1107" y="280"/>
                </a:lnTo>
                <a:lnTo>
                  <a:pt x="1108" y="276"/>
                </a:lnTo>
                <a:lnTo>
                  <a:pt x="1108" y="273"/>
                </a:lnTo>
                <a:lnTo>
                  <a:pt x="1110" y="271"/>
                </a:lnTo>
                <a:lnTo>
                  <a:pt x="1114" y="263"/>
                </a:lnTo>
                <a:lnTo>
                  <a:pt x="1119" y="256"/>
                </a:lnTo>
                <a:lnTo>
                  <a:pt x="1115" y="257"/>
                </a:lnTo>
                <a:lnTo>
                  <a:pt x="1112" y="258"/>
                </a:lnTo>
                <a:lnTo>
                  <a:pt x="1108" y="256"/>
                </a:lnTo>
                <a:lnTo>
                  <a:pt x="1106" y="251"/>
                </a:lnTo>
                <a:lnTo>
                  <a:pt x="1112" y="246"/>
                </a:lnTo>
                <a:lnTo>
                  <a:pt x="1118" y="239"/>
                </a:lnTo>
                <a:lnTo>
                  <a:pt x="1135" y="222"/>
                </a:lnTo>
                <a:lnTo>
                  <a:pt x="1145" y="200"/>
                </a:lnTo>
                <a:lnTo>
                  <a:pt x="1141" y="204"/>
                </a:lnTo>
                <a:lnTo>
                  <a:pt x="1137" y="201"/>
                </a:lnTo>
                <a:lnTo>
                  <a:pt x="1139" y="197"/>
                </a:lnTo>
                <a:lnTo>
                  <a:pt x="1144" y="192"/>
                </a:lnTo>
                <a:lnTo>
                  <a:pt x="1153" y="189"/>
                </a:lnTo>
                <a:lnTo>
                  <a:pt x="1161" y="182"/>
                </a:lnTo>
                <a:lnTo>
                  <a:pt x="1161" y="180"/>
                </a:lnTo>
                <a:lnTo>
                  <a:pt x="1162" y="177"/>
                </a:lnTo>
                <a:lnTo>
                  <a:pt x="1163" y="177"/>
                </a:lnTo>
                <a:lnTo>
                  <a:pt x="1164" y="176"/>
                </a:lnTo>
                <a:lnTo>
                  <a:pt x="1163" y="173"/>
                </a:lnTo>
                <a:lnTo>
                  <a:pt x="1157" y="174"/>
                </a:lnTo>
                <a:lnTo>
                  <a:pt x="1152" y="171"/>
                </a:lnTo>
                <a:lnTo>
                  <a:pt x="1153" y="164"/>
                </a:lnTo>
                <a:lnTo>
                  <a:pt x="1160" y="160"/>
                </a:lnTo>
                <a:lnTo>
                  <a:pt x="1168" y="159"/>
                </a:lnTo>
                <a:lnTo>
                  <a:pt x="1174" y="157"/>
                </a:lnTo>
                <a:lnTo>
                  <a:pt x="1181" y="152"/>
                </a:lnTo>
                <a:lnTo>
                  <a:pt x="1186" y="150"/>
                </a:lnTo>
                <a:lnTo>
                  <a:pt x="1185" y="147"/>
                </a:lnTo>
                <a:lnTo>
                  <a:pt x="1180" y="149"/>
                </a:lnTo>
                <a:lnTo>
                  <a:pt x="1177" y="150"/>
                </a:lnTo>
                <a:lnTo>
                  <a:pt x="1176" y="147"/>
                </a:lnTo>
                <a:lnTo>
                  <a:pt x="1179" y="144"/>
                </a:lnTo>
                <a:lnTo>
                  <a:pt x="1184" y="142"/>
                </a:lnTo>
                <a:lnTo>
                  <a:pt x="1187" y="138"/>
                </a:lnTo>
                <a:lnTo>
                  <a:pt x="1197" y="131"/>
                </a:lnTo>
                <a:lnTo>
                  <a:pt x="1210" y="128"/>
                </a:lnTo>
                <a:lnTo>
                  <a:pt x="1201" y="124"/>
                </a:lnTo>
                <a:lnTo>
                  <a:pt x="1190" y="127"/>
                </a:lnTo>
                <a:lnTo>
                  <a:pt x="1194" y="126"/>
                </a:lnTo>
                <a:lnTo>
                  <a:pt x="1197" y="124"/>
                </a:lnTo>
                <a:lnTo>
                  <a:pt x="1197" y="123"/>
                </a:lnTo>
                <a:lnTo>
                  <a:pt x="1197" y="121"/>
                </a:lnTo>
                <a:lnTo>
                  <a:pt x="1198" y="121"/>
                </a:lnTo>
                <a:lnTo>
                  <a:pt x="1199" y="121"/>
                </a:lnTo>
                <a:lnTo>
                  <a:pt x="1205" y="119"/>
                </a:lnTo>
                <a:lnTo>
                  <a:pt x="1210" y="116"/>
                </a:lnTo>
                <a:lnTo>
                  <a:pt x="1206" y="113"/>
                </a:lnTo>
                <a:lnTo>
                  <a:pt x="1202" y="111"/>
                </a:lnTo>
                <a:lnTo>
                  <a:pt x="1194" y="113"/>
                </a:lnTo>
                <a:lnTo>
                  <a:pt x="1187" y="117"/>
                </a:lnTo>
                <a:lnTo>
                  <a:pt x="1182" y="121"/>
                </a:lnTo>
                <a:lnTo>
                  <a:pt x="1178" y="124"/>
                </a:lnTo>
                <a:lnTo>
                  <a:pt x="1180" y="126"/>
                </a:lnTo>
                <a:lnTo>
                  <a:pt x="1180" y="130"/>
                </a:lnTo>
                <a:lnTo>
                  <a:pt x="1178" y="131"/>
                </a:lnTo>
                <a:lnTo>
                  <a:pt x="1174" y="132"/>
                </a:lnTo>
                <a:lnTo>
                  <a:pt x="1163" y="139"/>
                </a:lnTo>
                <a:lnTo>
                  <a:pt x="1156" y="151"/>
                </a:lnTo>
                <a:lnTo>
                  <a:pt x="1153" y="157"/>
                </a:lnTo>
                <a:lnTo>
                  <a:pt x="1148" y="164"/>
                </a:lnTo>
                <a:lnTo>
                  <a:pt x="1145" y="169"/>
                </a:lnTo>
                <a:lnTo>
                  <a:pt x="1145" y="176"/>
                </a:lnTo>
                <a:lnTo>
                  <a:pt x="1141" y="185"/>
                </a:lnTo>
                <a:lnTo>
                  <a:pt x="1132" y="191"/>
                </a:lnTo>
                <a:lnTo>
                  <a:pt x="1130" y="196"/>
                </a:lnTo>
                <a:lnTo>
                  <a:pt x="1128" y="199"/>
                </a:lnTo>
                <a:lnTo>
                  <a:pt x="1126" y="204"/>
                </a:lnTo>
                <a:lnTo>
                  <a:pt x="1122" y="207"/>
                </a:lnTo>
                <a:lnTo>
                  <a:pt x="1120" y="213"/>
                </a:lnTo>
                <a:lnTo>
                  <a:pt x="1118" y="218"/>
                </a:lnTo>
                <a:lnTo>
                  <a:pt x="1114" y="224"/>
                </a:lnTo>
                <a:lnTo>
                  <a:pt x="1110" y="230"/>
                </a:lnTo>
                <a:lnTo>
                  <a:pt x="1102" y="247"/>
                </a:lnTo>
                <a:lnTo>
                  <a:pt x="1096" y="264"/>
                </a:lnTo>
                <a:lnTo>
                  <a:pt x="1091" y="273"/>
                </a:lnTo>
                <a:lnTo>
                  <a:pt x="1088" y="281"/>
                </a:lnTo>
                <a:lnTo>
                  <a:pt x="1088" y="285"/>
                </a:lnTo>
                <a:lnTo>
                  <a:pt x="1092" y="285"/>
                </a:lnTo>
                <a:lnTo>
                  <a:pt x="1091" y="289"/>
                </a:lnTo>
                <a:lnTo>
                  <a:pt x="1096" y="291"/>
                </a:lnTo>
                <a:lnTo>
                  <a:pt x="1091" y="294"/>
                </a:lnTo>
                <a:lnTo>
                  <a:pt x="1086" y="297"/>
                </a:lnTo>
                <a:lnTo>
                  <a:pt x="1085" y="299"/>
                </a:lnTo>
                <a:lnTo>
                  <a:pt x="1083" y="302"/>
                </a:lnTo>
                <a:lnTo>
                  <a:pt x="1083" y="306"/>
                </a:lnTo>
                <a:lnTo>
                  <a:pt x="1082" y="308"/>
                </a:lnTo>
                <a:lnTo>
                  <a:pt x="1083" y="309"/>
                </a:lnTo>
                <a:lnTo>
                  <a:pt x="1085" y="312"/>
                </a:lnTo>
                <a:lnTo>
                  <a:pt x="1083" y="314"/>
                </a:lnTo>
                <a:lnTo>
                  <a:pt x="1082" y="316"/>
                </a:lnTo>
                <a:lnTo>
                  <a:pt x="1083" y="319"/>
                </a:lnTo>
                <a:lnTo>
                  <a:pt x="1085" y="324"/>
                </a:lnTo>
                <a:lnTo>
                  <a:pt x="1082" y="331"/>
                </a:lnTo>
                <a:lnTo>
                  <a:pt x="1077" y="334"/>
                </a:lnTo>
                <a:lnTo>
                  <a:pt x="1071" y="331"/>
                </a:lnTo>
                <a:lnTo>
                  <a:pt x="1067" y="332"/>
                </a:lnTo>
                <a:lnTo>
                  <a:pt x="1072" y="337"/>
                </a:lnTo>
                <a:lnTo>
                  <a:pt x="1078" y="340"/>
                </a:lnTo>
                <a:lnTo>
                  <a:pt x="1072" y="341"/>
                </a:lnTo>
                <a:lnTo>
                  <a:pt x="1067" y="341"/>
                </a:lnTo>
                <a:lnTo>
                  <a:pt x="1069" y="345"/>
                </a:lnTo>
                <a:lnTo>
                  <a:pt x="1072" y="348"/>
                </a:lnTo>
                <a:lnTo>
                  <a:pt x="1070" y="351"/>
                </a:lnTo>
                <a:lnTo>
                  <a:pt x="1062" y="350"/>
                </a:lnTo>
                <a:lnTo>
                  <a:pt x="1065" y="354"/>
                </a:lnTo>
                <a:lnTo>
                  <a:pt x="1069" y="356"/>
                </a:lnTo>
                <a:lnTo>
                  <a:pt x="1063" y="357"/>
                </a:lnTo>
                <a:lnTo>
                  <a:pt x="1055" y="355"/>
                </a:lnTo>
                <a:lnTo>
                  <a:pt x="1054" y="357"/>
                </a:lnTo>
                <a:lnTo>
                  <a:pt x="1056" y="360"/>
                </a:lnTo>
                <a:lnTo>
                  <a:pt x="1058" y="362"/>
                </a:lnTo>
                <a:lnTo>
                  <a:pt x="1063" y="362"/>
                </a:lnTo>
                <a:lnTo>
                  <a:pt x="1069" y="365"/>
                </a:lnTo>
                <a:lnTo>
                  <a:pt x="1072" y="371"/>
                </a:lnTo>
                <a:lnTo>
                  <a:pt x="1069" y="365"/>
                </a:lnTo>
                <a:lnTo>
                  <a:pt x="1063" y="362"/>
                </a:lnTo>
                <a:lnTo>
                  <a:pt x="1056" y="364"/>
                </a:lnTo>
                <a:lnTo>
                  <a:pt x="1057" y="373"/>
                </a:lnTo>
                <a:lnTo>
                  <a:pt x="1054" y="377"/>
                </a:lnTo>
                <a:lnTo>
                  <a:pt x="1063" y="385"/>
                </a:lnTo>
                <a:lnTo>
                  <a:pt x="1067" y="389"/>
                </a:lnTo>
                <a:lnTo>
                  <a:pt x="1072" y="391"/>
                </a:lnTo>
                <a:lnTo>
                  <a:pt x="1077" y="392"/>
                </a:lnTo>
                <a:lnTo>
                  <a:pt x="1081" y="391"/>
                </a:lnTo>
                <a:lnTo>
                  <a:pt x="1097" y="388"/>
                </a:lnTo>
                <a:lnTo>
                  <a:pt x="1113" y="391"/>
                </a:lnTo>
                <a:lnTo>
                  <a:pt x="1122" y="405"/>
                </a:lnTo>
                <a:lnTo>
                  <a:pt x="1126" y="421"/>
                </a:lnTo>
                <a:lnTo>
                  <a:pt x="1128" y="426"/>
                </a:lnTo>
                <a:lnTo>
                  <a:pt x="1128" y="432"/>
                </a:lnTo>
                <a:lnTo>
                  <a:pt x="1126" y="438"/>
                </a:lnTo>
                <a:lnTo>
                  <a:pt x="1120" y="442"/>
                </a:lnTo>
                <a:lnTo>
                  <a:pt x="1113" y="448"/>
                </a:lnTo>
                <a:lnTo>
                  <a:pt x="1108" y="442"/>
                </a:lnTo>
                <a:lnTo>
                  <a:pt x="1108" y="442"/>
                </a:lnTo>
                <a:lnTo>
                  <a:pt x="1106" y="437"/>
                </a:lnTo>
                <a:lnTo>
                  <a:pt x="1106" y="435"/>
                </a:lnTo>
                <a:lnTo>
                  <a:pt x="1106" y="434"/>
                </a:lnTo>
                <a:lnTo>
                  <a:pt x="1110" y="433"/>
                </a:lnTo>
                <a:lnTo>
                  <a:pt x="1112" y="432"/>
                </a:lnTo>
                <a:lnTo>
                  <a:pt x="1113" y="432"/>
                </a:lnTo>
                <a:lnTo>
                  <a:pt x="1112" y="432"/>
                </a:lnTo>
                <a:close/>
                <a:moveTo>
                  <a:pt x="1107" y="428"/>
                </a:moveTo>
                <a:lnTo>
                  <a:pt x="1108" y="428"/>
                </a:lnTo>
                <a:lnTo>
                  <a:pt x="1108" y="426"/>
                </a:lnTo>
                <a:lnTo>
                  <a:pt x="1108" y="428"/>
                </a:lnTo>
                <a:lnTo>
                  <a:pt x="1107" y="428"/>
                </a:lnTo>
                <a:close/>
                <a:moveTo>
                  <a:pt x="1351" y="581"/>
                </a:moveTo>
                <a:lnTo>
                  <a:pt x="1350" y="582"/>
                </a:lnTo>
                <a:lnTo>
                  <a:pt x="1350" y="583"/>
                </a:lnTo>
                <a:lnTo>
                  <a:pt x="1350" y="583"/>
                </a:lnTo>
                <a:lnTo>
                  <a:pt x="1350" y="583"/>
                </a:lnTo>
                <a:lnTo>
                  <a:pt x="1352" y="581"/>
                </a:lnTo>
                <a:lnTo>
                  <a:pt x="1351" y="581"/>
                </a:lnTo>
                <a:lnTo>
                  <a:pt x="1351" y="581"/>
                </a:lnTo>
                <a:lnTo>
                  <a:pt x="1351" y="581"/>
                </a:lnTo>
                <a:close/>
                <a:moveTo>
                  <a:pt x="321" y="541"/>
                </a:moveTo>
                <a:lnTo>
                  <a:pt x="321" y="542"/>
                </a:lnTo>
                <a:lnTo>
                  <a:pt x="322" y="542"/>
                </a:lnTo>
                <a:lnTo>
                  <a:pt x="321" y="541"/>
                </a:lnTo>
                <a:lnTo>
                  <a:pt x="321" y="541"/>
                </a:lnTo>
                <a:lnTo>
                  <a:pt x="321" y="542"/>
                </a:lnTo>
                <a:lnTo>
                  <a:pt x="321" y="541"/>
                </a:lnTo>
                <a:close/>
                <a:moveTo>
                  <a:pt x="657" y="548"/>
                </a:moveTo>
                <a:lnTo>
                  <a:pt x="655" y="549"/>
                </a:lnTo>
                <a:lnTo>
                  <a:pt x="657" y="549"/>
                </a:lnTo>
                <a:lnTo>
                  <a:pt x="657" y="549"/>
                </a:lnTo>
                <a:lnTo>
                  <a:pt x="657" y="548"/>
                </a:lnTo>
                <a:close/>
                <a:moveTo>
                  <a:pt x="1032" y="242"/>
                </a:moveTo>
                <a:lnTo>
                  <a:pt x="1031" y="242"/>
                </a:lnTo>
                <a:lnTo>
                  <a:pt x="1032" y="242"/>
                </a:lnTo>
                <a:lnTo>
                  <a:pt x="1033" y="242"/>
                </a:lnTo>
                <a:lnTo>
                  <a:pt x="1033" y="241"/>
                </a:lnTo>
                <a:lnTo>
                  <a:pt x="1033" y="242"/>
                </a:lnTo>
                <a:lnTo>
                  <a:pt x="1033" y="241"/>
                </a:lnTo>
                <a:lnTo>
                  <a:pt x="1033" y="241"/>
                </a:lnTo>
                <a:lnTo>
                  <a:pt x="1032" y="242"/>
                </a:lnTo>
                <a:close/>
                <a:moveTo>
                  <a:pt x="438" y="691"/>
                </a:moveTo>
                <a:lnTo>
                  <a:pt x="438" y="691"/>
                </a:lnTo>
                <a:lnTo>
                  <a:pt x="438" y="691"/>
                </a:lnTo>
                <a:lnTo>
                  <a:pt x="438" y="690"/>
                </a:lnTo>
                <a:lnTo>
                  <a:pt x="437" y="690"/>
                </a:lnTo>
                <a:lnTo>
                  <a:pt x="438" y="691"/>
                </a:lnTo>
                <a:lnTo>
                  <a:pt x="438" y="691"/>
                </a:lnTo>
                <a:close/>
                <a:moveTo>
                  <a:pt x="438" y="691"/>
                </a:moveTo>
                <a:lnTo>
                  <a:pt x="438" y="691"/>
                </a:lnTo>
                <a:lnTo>
                  <a:pt x="438" y="691"/>
                </a:lnTo>
                <a:close/>
                <a:moveTo>
                  <a:pt x="1050" y="1775"/>
                </a:moveTo>
                <a:lnTo>
                  <a:pt x="1050" y="1776"/>
                </a:lnTo>
                <a:lnTo>
                  <a:pt x="1050" y="1776"/>
                </a:lnTo>
                <a:lnTo>
                  <a:pt x="1048" y="1763"/>
                </a:lnTo>
                <a:lnTo>
                  <a:pt x="1046" y="1757"/>
                </a:lnTo>
                <a:lnTo>
                  <a:pt x="1042" y="1757"/>
                </a:lnTo>
                <a:lnTo>
                  <a:pt x="1046" y="1757"/>
                </a:lnTo>
                <a:lnTo>
                  <a:pt x="1034" y="1754"/>
                </a:lnTo>
                <a:lnTo>
                  <a:pt x="1024" y="1749"/>
                </a:lnTo>
                <a:lnTo>
                  <a:pt x="1020" y="1748"/>
                </a:lnTo>
                <a:lnTo>
                  <a:pt x="1017" y="1752"/>
                </a:lnTo>
                <a:lnTo>
                  <a:pt x="1019" y="1757"/>
                </a:lnTo>
                <a:lnTo>
                  <a:pt x="1023" y="1759"/>
                </a:lnTo>
                <a:lnTo>
                  <a:pt x="1036" y="1761"/>
                </a:lnTo>
                <a:lnTo>
                  <a:pt x="1041" y="1767"/>
                </a:lnTo>
                <a:lnTo>
                  <a:pt x="1036" y="1768"/>
                </a:lnTo>
                <a:lnTo>
                  <a:pt x="1030" y="1765"/>
                </a:lnTo>
                <a:lnTo>
                  <a:pt x="1023" y="1763"/>
                </a:lnTo>
                <a:lnTo>
                  <a:pt x="1016" y="1766"/>
                </a:lnTo>
                <a:lnTo>
                  <a:pt x="1031" y="1768"/>
                </a:lnTo>
                <a:lnTo>
                  <a:pt x="1044" y="1777"/>
                </a:lnTo>
                <a:lnTo>
                  <a:pt x="1031" y="1776"/>
                </a:lnTo>
                <a:lnTo>
                  <a:pt x="1020" y="1778"/>
                </a:lnTo>
                <a:lnTo>
                  <a:pt x="1025" y="1784"/>
                </a:lnTo>
                <a:lnTo>
                  <a:pt x="1032" y="1788"/>
                </a:lnTo>
                <a:lnTo>
                  <a:pt x="1039" y="1791"/>
                </a:lnTo>
                <a:lnTo>
                  <a:pt x="1045" y="1792"/>
                </a:lnTo>
                <a:lnTo>
                  <a:pt x="1044" y="1796"/>
                </a:lnTo>
                <a:lnTo>
                  <a:pt x="1039" y="1798"/>
                </a:lnTo>
                <a:lnTo>
                  <a:pt x="1038" y="1801"/>
                </a:lnTo>
                <a:lnTo>
                  <a:pt x="1042" y="1802"/>
                </a:lnTo>
                <a:lnTo>
                  <a:pt x="1050" y="1794"/>
                </a:lnTo>
                <a:lnTo>
                  <a:pt x="1050" y="1779"/>
                </a:lnTo>
                <a:lnTo>
                  <a:pt x="1050" y="1779"/>
                </a:lnTo>
                <a:lnTo>
                  <a:pt x="1050" y="1778"/>
                </a:lnTo>
                <a:lnTo>
                  <a:pt x="1050" y="1778"/>
                </a:lnTo>
                <a:lnTo>
                  <a:pt x="1050" y="1778"/>
                </a:lnTo>
                <a:lnTo>
                  <a:pt x="1050" y="1777"/>
                </a:lnTo>
                <a:lnTo>
                  <a:pt x="1050" y="1775"/>
                </a:lnTo>
                <a:lnTo>
                  <a:pt x="1050" y="1776"/>
                </a:lnTo>
                <a:lnTo>
                  <a:pt x="1050" y="1775"/>
                </a:lnTo>
                <a:close/>
                <a:moveTo>
                  <a:pt x="1053" y="335"/>
                </a:moveTo>
                <a:lnTo>
                  <a:pt x="1053" y="335"/>
                </a:lnTo>
                <a:lnTo>
                  <a:pt x="1053" y="335"/>
                </a:lnTo>
                <a:close/>
                <a:moveTo>
                  <a:pt x="1505" y="359"/>
                </a:moveTo>
                <a:lnTo>
                  <a:pt x="1499" y="359"/>
                </a:lnTo>
                <a:lnTo>
                  <a:pt x="1494" y="363"/>
                </a:lnTo>
                <a:lnTo>
                  <a:pt x="1492" y="365"/>
                </a:lnTo>
                <a:lnTo>
                  <a:pt x="1493" y="366"/>
                </a:lnTo>
                <a:lnTo>
                  <a:pt x="1493" y="368"/>
                </a:lnTo>
                <a:lnTo>
                  <a:pt x="1494" y="370"/>
                </a:lnTo>
                <a:lnTo>
                  <a:pt x="1498" y="370"/>
                </a:lnTo>
                <a:lnTo>
                  <a:pt x="1501" y="371"/>
                </a:lnTo>
                <a:lnTo>
                  <a:pt x="1498" y="376"/>
                </a:lnTo>
                <a:lnTo>
                  <a:pt x="1491" y="380"/>
                </a:lnTo>
                <a:lnTo>
                  <a:pt x="1486" y="381"/>
                </a:lnTo>
                <a:lnTo>
                  <a:pt x="1486" y="384"/>
                </a:lnTo>
                <a:lnTo>
                  <a:pt x="1490" y="385"/>
                </a:lnTo>
                <a:lnTo>
                  <a:pt x="1494" y="384"/>
                </a:lnTo>
                <a:lnTo>
                  <a:pt x="1502" y="381"/>
                </a:lnTo>
                <a:lnTo>
                  <a:pt x="1510" y="379"/>
                </a:lnTo>
                <a:lnTo>
                  <a:pt x="1515" y="377"/>
                </a:lnTo>
                <a:lnTo>
                  <a:pt x="1518" y="376"/>
                </a:lnTo>
                <a:lnTo>
                  <a:pt x="1523" y="375"/>
                </a:lnTo>
                <a:lnTo>
                  <a:pt x="1524" y="370"/>
                </a:lnTo>
                <a:lnTo>
                  <a:pt x="1531" y="366"/>
                </a:lnTo>
                <a:lnTo>
                  <a:pt x="1536" y="363"/>
                </a:lnTo>
                <a:lnTo>
                  <a:pt x="1534" y="367"/>
                </a:lnTo>
                <a:lnTo>
                  <a:pt x="1527" y="368"/>
                </a:lnTo>
                <a:lnTo>
                  <a:pt x="1524" y="372"/>
                </a:lnTo>
                <a:lnTo>
                  <a:pt x="1525" y="376"/>
                </a:lnTo>
                <a:lnTo>
                  <a:pt x="1530" y="376"/>
                </a:lnTo>
                <a:lnTo>
                  <a:pt x="1533" y="374"/>
                </a:lnTo>
                <a:lnTo>
                  <a:pt x="1542" y="370"/>
                </a:lnTo>
                <a:lnTo>
                  <a:pt x="1552" y="368"/>
                </a:lnTo>
                <a:lnTo>
                  <a:pt x="1566" y="367"/>
                </a:lnTo>
                <a:lnTo>
                  <a:pt x="1578" y="367"/>
                </a:lnTo>
                <a:lnTo>
                  <a:pt x="1580" y="368"/>
                </a:lnTo>
                <a:lnTo>
                  <a:pt x="1582" y="368"/>
                </a:lnTo>
                <a:lnTo>
                  <a:pt x="1581" y="367"/>
                </a:lnTo>
                <a:lnTo>
                  <a:pt x="1578" y="367"/>
                </a:lnTo>
                <a:lnTo>
                  <a:pt x="1582" y="363"/>
                </a:lnTo>
                <a:lnTo>
                  <a:pt x="1588" y="359"/>
                </a:lnTo>
                <a:lnTo>
                  <a:pt x="1592" y="362"/>
                </a:lnTo>
                <a:lnTo>
                  <a:pt x="1597" y="362"/>
                </a:lnTo>
                <a:lnTo>
                  <a:pt x="1600" y="359"/>
                </a:lnTo>
                <a:lnTo>
                  <a:pt x="1604" y="357"/>
                </a:lnTo>
                <a:lnTo>
                  <a:pt x="1613" y="354"/>
                </a:lnTo>
                <a:lnTo>
                  <a:pt x="1622" y="356"/>
                </a:lnTo>
                <a:lnTo>
                  <a:pt x="1625" y="357"/>
                </a:lnTo>
                <a:lnTo>
                  <a:pt x="1629" y="358"/>
                </a:lnTo>
                <a:lnTo>
                  <a:pt x="1634" y="357"/>
                </a:lnTo>
                <a:lnTo>
                  <a:pt x="1640" y="356"/>
                </a:lnTo>
                <a:lnTo>
                  <a:pt x="1651" y="356"/>
                </a:lnTo>
                <a:lnTo>
                  <a:pt x="1663" y="357"/>
                </a:lnTo>
                <a:lnTo>
                  <a:pt x="1674" y="360"/>
                </a:lnTo>
                <a:lnTo>
                  <a:pt x="1685" y="362"/>
                </a:lnTo>
                <a:lnTo>
                  <a:pt x="1689" y="357"/>
                </a:lnTo>
                <a:lnTo>
                  <a:pt x="1683" y="351"/>
                </a:lnTo>
                <a:lnTo>
                  <a:pt x="1673" y="349"/>
                </a:lnTo>
                <a:lnTo>
                  <a:pt x="1663" y="348"/>
                </a:lnTo>
                <a:lnTo>
                  <a:pt x="1639" y="346"/>
                </a:lnTo>
                <a:lnTo>
                  <a:pt x="1615" y="343"/>
                </a:lnTo>
                <a:lnTo>
                  <a:pt x="1611" y="343"/>
                </a:lnTo>
                <a:lnTo>
                  <a:pt x="1608" y="343"/>
                </a:lnTo>
                <a:lnTo>
                  <a:pt x="1606" y="345"/>
                </a:lnTo>
                <a:lnTo>
                  <a:pt x="1605" y="342"/>
                </a:lnTo>
                <a:lnTo>
                  <a:pt x="1600" y="342"/>
                </a:lnTo>
                <a:lnTo>
                  <a:pt x="1596" y="342"/>
                </a:lnTo>
                <a:lnTo>
                  <a:pt x="1586" y="346"/>
                </a:lnTo>
                <a:lnTo>
                  <a:pt x="1576" y="349"/>
                </a:lnTo>
                <a:lnTo>
                  <a:pt x="1567" y="354"/>
                </a:lnTo>
                <a:lnTo>
                  <a:pt x="1558" y="359"/>
                </a:lnTo>
                <a:lnTo>
                  <a:pt x="1555" y="362"/>
                </a:lnTo>
                <a:lnTo>
                  <a:pt x="1550" y="359"/>
                </a:lnTo>
                <a:lnTo>
                  <a:pt x="1551" y="357"/>
                </a:lnTo>
                <a:lnTo>
                  <a:pt x="1551" y="354"/>
                </a:lnTo>
                <a:lnTo>
                  <a:pt x="1541" y="349"/>
                </a:lnTo>
                <a:lnTo>
                  <a:pt x="1526" y="355"/>
                </a:lnTo>
                <a:lnTo>
                  <a:pt x="1528" y="357"/>
                </a:lnTo>
                <a:lnTo>
                  <a:pt x="1525" y="359"/>
                </a:lnTo>
                <a:lnTo>
                  <a:pt x="1525" y="357"/>
                </a:lnTo>
                <a:lnTo>
                  <a:pt x="1525" y="355"/>
                </a:lnTo>
                <a:lnTo>
                  <a:pt x="1519" y="357"/>
                </a:lnTo>
                <a:lnTo>
                  <a:pt x="1514" y="359"/>
                </a:lnTo>
                <a:lnTo>
                  <a:pt x="1510" y="362"/>
                </a:lnTo>
                <a:lnTo>
                  <a:pt x="1506" y="363"/>
                </a:lnTo>
                <a:lnTo>
                  <a:pt x="1503" y="362"/>
                </a:lnTo>
                <a:lnTo>
                  <a:pt x="1505" y="359"/>
                </a:lnTo>
                <a:close/>
                <a:moveTo>
                  <a:pt x="1497" y="367"/>
                </a:moveTo>
                <a:lnTo>
                  <a:pt x="1495" y="367"/>
                </a:lnTo>
                <a:lnTo>
                  <a:pt x="1495" y="367"/>
                </a:lnTo>
                <a:lnTo>
                  <a:pt x="1497" y="367"/>
                </a:lnTo>
                <a:lnTo>
                  <a:pt x="1497" y="367"/>
                </a:lnTo>
                <a:lnTo>
                  <a:pt x="1497" y="367"/>
                </a:lnTo>
                <a:lnTo>
                  <a:pt x="1497" y="367"/>
                </a:lnTo>
                <a:close/>
                <a:moveTo>
                  <a:pt x="1500" y="366"/>
                </a:moveTo>
                <a:lnTo>
                  <a:pt x="1499" y="365"/>
                </a:lnTo>
                <a:lnTo>
                  <a:pt x="1500" y="364"/>
                </a:lnTo>
                <a:lnTo>
                  <a:pt x="1500" y="365"/>
                </a:lnTo>
                <a:lnTo>
                  <a:pt x="1500" y="366"/>
                </a:lnTo>
                <a:lnTo>
                  <a:pt x="1500" y="366"/>
                </a:lnTo>
                <a:lnTo>
                  <a:pt x="1500" y="366"/>
                </a:lnTo>
                <a:close/>
                <a:moveTo>
                  <a:pt x="1590" y="357"/>
                </a:moveTo>
                <a:lnTo>
                  <a:pt x="1594" y="356"/>
                </a:lnTo>
                <a:lnTo>
                  <a:pt x="1598" y="357"/>
                </a:lnTo>
                <a:lnTo>
                  <a:pt x="1594" y="358"/>
                </a:lnTo>
                <a:lnTo>
                  <a:pt x="1590" y="357"/>
                </a:lnTo>
                <a:close/>
                <a:moveTo>
                  <a:pt x="1558" y="360"/>
                </a:moveTo>
                <a:lnTo>
                  <a:pt x="1559" y="362"/>
                </a:lnTo>
                <a:lnTo>
                  <a:pt x="1558" y="363"/>
                </a:lnTo>
                <a:lnTo>
                  <a:pt x="1558" y="362"/>
                </a:lnTo>
                <a:lnTo>
                  <a:pt x="1558" y="360"/>
                </a:lnTo>
                <a:lnTo>
                  <a:pt x="1558" y="360"/>
                </a:lnTo>
                <a:lnTo>
                  <a:pt x="1558" y="360"/>
                </a:lnTo>
                <a:close/>
                <a:moveTo>
                  <a:pt x="1548" y="363"/>
                </a:moveTo>
                <a:lnTo>
                  <a:pt x="1549" y="365"/>
                </a:lnTo>
                <a:lnTo>
                  <a:pt x="1547" y="365"/>
                </a:lnTo>
                <a:lnTo>
                  <a:pt x="1549" y="360"/>
                </a:lnTo>
                <a:lnTo>
                  <a:pt x="1548" y="358"/>
                </a:lnTo>
                <a:lnTo>
                  <a:pt x="1550" y="360"/>
                </a:lnTo>
                <a:lnTo>
                  <a:pt x="1548" y="363"/>
                </a:lnTo>
                <a:lnTo>
                  <a:pt x="1550" y="362"/>
                </a:lnTo>
                <a:lnTo>
                  <a:pt x="1548" y="363"/>
                </a:lnTo>
                <a:close/>
                <a:moveTo>
                  <a:pt x="1565" y="1287"/>
                </a:moveTo>
                <a:lnTo>
                  <a:pt x="1566" y="1287"/>
                </a:lnTo>
                <a:lnTo>
                  <a:pt x="1566" y="1287"/>
                </a:lnTo>
                <a:lnTo>
                  <a:pt x="1566" y="1286"/>
                </a:lnTo>
                <a:lnTo>
                  <a:pt x="1565" y="1287"/>
                </a:lnTo>
                <a:lnTo>
                  <a:pt x="1565" y="1287"/>
                </a:lnTo>
                <a:lnTo>
                  <a:pt x="1565" y="1287"/>
                </a:lnTo>
                <a:close/>
                <a:moveTo>
                  <a:pt x="934" y="1640"/>
                </a:moveTo>
                <a:lnTo>
                  <a:pt x="933" y="1640"/>
                </a:lnTo>
                <a:lnTo>
                  <a:pt x="934" y="1640"/>
                </a:lnTo>
                <a:close/>
                <a:moveTo>
                  <a:pt x="917" y="1641"/>
                </a:moveTo>
                <a:lnTo>
                  <a:pt x="917" y="1641"/>
                </a:lnTo>
                <a:lnTo>
                  <a:pt x="917" y="1641"/>
                </a:lnTo>
                <a:close/>
                <a:moveTo>
                  <a:pt x="916" y="1640"/>
                </a:moveTo>
                <a:lnTo>
                  <a:pt x="917" y="1640"/>
                </a:lnTo>
                <a:lnTo>
                  <a:pt x="917" y="1641"/>
                </a:lnTo>
                <a:lnTo>
                  <a:pt x="917" y="1640"/>
                </a:lnTo>
                <a:lnTo>
                  <a:pt x="916" y="1640"/>
                </a:lnTo>
                <a:lnTo>
                  <a:pt x="916" y="1640"/>
                </a:lnTo>
                <a:lnTo>
                  <a:pt x="916" y="1640"/>
                </a:lnTo>
                <a:close/>
                <a:moveTo>
                  <a:pt x="1641" y="1223"/>
                </a:move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lnTo>
                  <a:pt x="1641" y="1223"/>
                </a:lnTo>
                <a:close/>
                <a:moveTo>
                  <a:pt x="1642" y="1223"/>
                </a:move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lnTo>
                  <a:pt x="1642" y="1223"/>
                </a:lnTo>
                <a:close/>
                <a:moveTo>
                  <a:pt x="398" y="435"/>
                </a:moveTo>
                <a:lnTo>
                  <a:pt x="399" y="434"/>
                </a:lnTo>
                <a:lnTo>
                  <a:pt x="399" y="434"/>
                </a:lnTo>
                <a:lnTo>
                  <a:pt x="398" y="434"/>
                </a:lnTo>
                <a:lnTo>
                  <a:pt x="398" y="435"/>
                </a:lnTo>
                <a:close/>
                <a:moveTo>
                  <a:pt x="399" y="434"/>
                </a:moveTo>
                <a:lnTo>
                  <a:pt x="399" y="434"/>
                </a:lnTo>
                <a:lnTo>
                  <a:pt x="399" y="434"/>
                </a:lnTo>
                <a:lnTo>
                  <a:pt x="399" y="433"/>
                </a:lnTo>
                <a:lnTo>
                  <a:pt x="399" y="434"/>
                </a:lnTo>
                <a:close/>
                <a:moveTo>
                  <a:pt x="1345" y="275"/>
                </a:moveTo>
                <a:lnTo>
                  <a:pt x="1347" y="276"/>
                </a:lnTo>
                <a:lnTo>
                  <a:pt x="1349" y="276"/>
                </a:lnTo>
                <a:lnTo>
                  <a:pt x="1346" y="275"/>
                </a:lnTo>
                <a:lnTo>
                  <a:pt x="1345" y="274"/>
                </a:lnTo>
                <a:lnTo>
                  <a:pt x="1343" y="274"/>
                </a:lnTo>
                <a:lnTo>
                  <a:pt x="1345" y="275"/>
                </a:lnTo>
                <a:close/>
                <a:moveTo>
                  <a:pt x="1064" y="339"/>
                </a:moveTo>
                <a:lnTo>
                  <a:pt x="1066" y="340"/>
                </a:lnTo>
                <a:lnTo>
                  <a:pt x="1067" y="339"/>
                </a:lnTo>
                <a:lnTo>
                  <a:pt x="1065" y="338"/>
                </a:lnTo>
                <a:lnTo>
                  <a:pt x="1064" y="339"/>
                </a:lnTo>
                <a:lnTo>
                  <a:pt x="1064" y="339"/>
                </a:lnTo>
                <a:lnTo>
                  <a:pt x="1064" y="339"/>
                </a:lnTo>
                <a:close/>
                <a:moveTo>
                  <a:pt x="1049" y="337"/>
                </a:moveTo>
                <a:lnTo>
                  <a:pt x="1049" y="337"/>
                </a:lnTo>
                <a:lnTo>
                  <a:pt x="1049" y="337"/>
                </a:lnTo>
                <a:lnTo>
                  <a:pt x="1048" y="339"/>
                </a:lnTo>
                <a:lnTo>
                  <a:pt x="1049" y="340"/>
                </a:lnTo>
                <a:lnTo>
                  <a:pt x="1049" y="340"/>
                </a:lnTo>
                <a:lnTo>
                  <a:pt x="1049" y="340"/>
                </a:lnTo>
                <a:lnTo>
                  <a:pt x="1050" y="339"/>
                </a:lnTo>
                <a:lnTo>
                  <a:pt x="1049" y="337"/>
                </a:lnTo>
                <a:close/>
                <a:moveTo>
                  <a:pt x="1412" y="1404"/>
                </a:moveTo>
                <a:lnTo>
                  <a:pt x="1411" y="1404"/>
                </a:lnTo>
                <a:lnTo>
                  <a:pt x="1412" y="1404"/>
                </a:lnTo>
                <a:close/>
                <a:moveTo>
                  <a:pt x="1415" y="1405"/>
                </a:moveTo>
                <a:lnTo>
                  <a:pt x="1413" y="1404"/>
                </a:lnTo>
                <a:lnTo>
                  <a:pt x="1412" y="1405"/>
                </a:lnTo>
                <a:lnTo>
                  <a:pt x="1413" y="1406"/>
                </a:lnTo>
                <a:lnTo>
                  <a:pt x="1415" y="1405"/>
                </a:lnTo>
                <a:lnTo>
                  <a:pt x="1415" y="1405"/>
                </a:lnTo>
                <a:lnTo>
                  <a:pt x="1415" y="1405"/>
                </a:lnTo>
                <a:close/>
                <a:moveTo>
                  <a:pt x="190" y="927"/>
                </a:moveTo>
                <a:lnTo>
                  <a:pt x="191" y="928"/>
                </a:lnTo>
                <a:lnTo>
                  <a:pt x="193" y="927"/>
                </a:lnTo>
                <a:lnTo>
                  <a:pt x="191" y="927"/>
                </a:lnTo>
                <a:lnTo>
                  <a:pt x="190" y="927"/>
                </a:lnTo>
                <a:close/>
                <a:moveTo>
                  <a:pt x="879" y="1778"/>
                </a:moveTo>
                <a:lnTo>
                  <a:pt x="876" y="1779"/>
                </a:lnTo>
                <a:lnTo>
                  <a:pt x="876" y="1782"/>
                </a:lnTo>
                <a:lnTo>
                  <a:pt x="876" y="1782"/>
                </a:lnTo>
                <a:lnTo>
                  <a:pt x="876" y="1782"/>
                </a:lnTo>
                <a:lnTo>
                  <a:pt x="877" y="1782"/>
                </a:lnTo>
                <a:lnTo>
                  <a:pt x="879" y="1782"/>
                </a:lnTo>
                <a:lnTo>
                  <a:pt x="880" y="1779"/>
                </a:lnTo>
                <a:lnTo>
                  <a:pt x="879" y="1778"/>
                </a:lnTo>
                <a:lnTo>
                  <a:pt x="879" y="1778"/>
                </a:lnTo>
                <a:lnTo>
                  <a:pt x="879" y="1778"/>
                </a:lnTo>
                <a:close/>
                <a:moveTo>
                  <a:pt x="1561" y="485"/>
                </a:moveTo>
                <a:lnTo>
                  <a:pt x="1560" y="485"/>
                </a:lnTo>
                <a:lnTo>
                  <a:pt x="1559" y="488"/>
                </a:lnTo>
                <a:lnTo>
                  <a:pt x="1561" y="487"/>
                </a:lnTo>
                <a:lnTo>
                  <a:pt x="1561" y="485"/>
                </a:lnTo>
                <a:lnTo>
                  <a:pt x="1561" y="485"/>
                </a:lnTo>
                <a:lnTo>
                  <a:pt x="1561" y="485"/>
                </a:lnTo>
                <a:close/>
                <a:moveTo>
                  <a:pt x="548" y="1522"/>
                </a:moveTo>
                <a:lnTo>
                  <a:pt x="548" y="1524"/>
                </a:lnTo>
                <a:lnTo>
                  <a:pt x="550" y="1524"/>
                </a:lnTo>
                <a:lnTo>
                  <a:pt x="551" y="1521"/>
                </a:lnTo>
                <a:lnTo>
                  <a:pt x="548" y="1522"/>
                </a:lnTo>
                <a:lnTo>
                  <a:pt x="548" y="1522"/>
                </a:lnTo>
                <a:lnTo>
                  <a:pt x="548" y="1522"/>
                </a:lnTo>
                <a:close/>
                <a:moveTo>
                  <a:pt x="551" y="1522"/>
                </a:moveTo>
                <a:lnTo>
                  <a:pt x="551" y="1522"/>
                </a:lnTo>
                <a:lnTo>
                  <a:pt x="551" y="1522"/>
                </a:lnTo>
                <a:lnTo>
                  <a:pt x="559" y="1513"/>
                </a:lnTo>
                <a:lnTo>
                  <a:pt x="564" y="1503"/>
                </a:lnTo>
                <a:lnTo>
                  <a:pt x="568" y="1488"/>
                </a:lnTo>
                <a:lnTo>
                  <a:pt x="569" y="1474"/>
                </a:lnTo>
                <a:lnTo>
                  <a:pt x="572" y="1442"/>
                </a:lnTo>
                <a:lnTo>
                  <a:pt x="578" y="1410"/>
                </a:lnTo>
                <a:lnTo>
                  <a:pt x="576" y="1420"/>
                </a:lnTo>
                <a:lnTo>
                  <a:pt x="578" y="1410"/>
                </a:lnTo>
                <a:lnTo>
                  <a:pt x="576" y="1409"/>
                </a:lnTo>
                <a:lnTo>
                  <a:pt x="572" y="1410"/>
                </a:lnTo>
                <a:lnTo>
                  <a:pt x="570" y="1413"/>
                </a:lnTo>
                <a:lnTo>
                  <a:pt x="569" y="1418"/>
                </a:lnTo>
                <a:lnTo>
                  <a:pt x="569" y="1428"/>
                </a:lnTo>
                <a:lnTo>
                  <a:pt x="566" y="1437"/>
                </a:lnTo>
                <a:lnTo>
                  <a:pt x="562" y="1447"/>
                </a:lnTo>
                <a:lnTo>
                  <a:pt x="560" y="1458"/>
                </a:lnTo>
                <a:lnTo>
                  <a:pt x="559" y="1468"/>
                </a:lnTo>
                <a:lnTo>
                  <a:pt x="556" y="1479"/>
                </a:lnTo>
                <a:lnTo>
                  <a:pt x="558" y="1484"/>
                </a:lnTo>
                <a:lnTo>
                  <a:pt x="563" y="1486"/>
                </a:lnTo>
                <a:lnTo>
                  <a:pt x="561" y="1493"/>
                </a:lnTo>
                <a:lnTo>
                  <a:pt x="555" y="1501"/>
                </a:lnTo>
                <a:lnTo>
                  <a:pt x="552" y="1508"/>
                </a:lnTo>
                <a:lnTo>
                  <a:pt x="550" y="1513"/>
                </a:lnTo>
                <a:lnTo>
                  <a:pt x="552" y="1514"/>
                </a:lnTo>
                <a:lnTo>
                  <a:pt x="553" y="1518"/>
                </a:lnTo>
                <a:lnTo>
                  <a:pt x="552" y="1520"/>
                </a:lnTo>
                <a:lnTo>
                  <a:pt x="551" y="1522"/>
                </a:lnTo>
                <a:close/>
                <a:moveTo>
                  <a:pt x="551" y="1522"/>
                </a:moveTo>
                <a:lnTo>
                  <a:pt x="551" y="1522"/>
                </a:lnTo>
                <a:lnTo>
                  <a:pt x="551" y="1522"/>
                </a:lnTo>
                <a:close/>
                <a:moveTo>
                  <a:pt x="434" y="688"/>
                </a:moveTo>
                <a:lnTo>
                  <a:pt x="435" y="686"/>
                </a:lnTo>
                <a:lnTo>
                  <a:pt x="431" y="684"/>
                </a:lnTo>
                <a:lnTo>
                  <a:pt x="431" y="687"/>
                </a:lnTo>
                <a:lnTo>
                  <a:pt x="434" y="688"/>
                </a:lnTo>
                <a:close/>
                <a:moveTo>
                  <a:pt x="1470" y="1406"/>
                </a:moveTo>
                <a:lnTo>
                  <a:pt x="1470" y="1406"/>
                </a:lnTo>
                <a:lnTo>
                  <a:pt x="1470" y="1406"/>
                </a:lnTo>
                <a:close/>
                <a:moveTo>
                  <a:pt x="1354" y="574"/>
                </a:moveTo>
                <a:lnTo>
                  <a:pt x="1352" y="578"/>
                </a:lnTo>
                <a:lnTo>
                  <a:pt x="1352" y="581"/>
                </a:lnTo>
                <a:lnTo>
                  <a:pt x="1354" y="579"/>
                </a:lnTo>
                <a:lnTo>
                  <a:pt x="1354" y="574"/>
                </a:lnTo>
                <a:close/>
                <a:moveTo>
                  <a:pt x="1352" y="581"/>
                </a:moveTo>
                <a:lnTo>
                  <a:pt x="1352" y="581"/>
                </a:lnTo>
                <a:lnTo>
                  <a:pt x="1352" y="581"/>
                </a:lnTo>
                <a:close/>
                <a:moveTo>
                  <a:pt x="1024" y="1918"/>
                </a:moveTo>
                <a:lnTo>
                  <a:pt x="1023" y="1917"/>
                </a:lnTo>
                <a:lnTo>
                  <a:pt x="1021" y="1917"/>
                </a:lnTo>
                <a:lnTo>
                  <a:pt x="1021" y="1919"/>
                </a:lnTo>
                <a:lnTo>
                  <a:pt x="1021" y="1921"/>
                </a:lnTo>
                <a:lnTo>
                  <a:pt x="1019" y="1921"/>
                </a:lnTo>
                <a:lnTo>
                  <a:pt x="1017" y="1921"/>
                </a:lnTo>
                <a:lnTo>
                  <a:pt x="1016" y="1917"/>
                </a:lnTo>
                <a:lnTo>
                  <a:pt x="1014" y="1914"/>
                </a:lnTo>
                <a:lnTo>
                  <a:pt x="1016" y="1911"/>
                </a:lnTo>
                <a:lnTo>
                  <a:pt x="1021" y="1911"/>
                </a:lnTo>
                <a:lnTo>
                  <a:pt x="1022" y="1908"/>
                </a:lnTo>
                <a:lnTo>
                  <a:pt x="1024" y="1904"/>
                </a:lnTo>
                <a:lnTo>
                  <a:pt x="1033" y="1904"/>
                </a:lnTo>
                <a:lnTo>
                  <a:pt x="1037" y="1912"/>
                </a:lnTo>
                <a:lnTo>
                  <a:pt x="1034" y="1915"/>
                </a:lnTo>
                <a:lnTo>
                  <a:pt x="1033" y="1918"/>
                </a:lnTo>
                <a:lnTo>
                  <a:pt x="1037" y="1920"/>
                </a:lnTo>
                <a:lnTo>
                  <a:pt x="1041" y="1920"/>
                </a:lnTo>
                <a:lnTo>
                  <a:pt x="1047" y="1914"/>
                </a:lnTo>
                <a:lnTo>
                  <a:pt x="1050" y="1904"/>
                </a:lnTo>
                <a:lnTo>
                  <a:pt x="1055" y="1894"/>
                </a:lnTo>
                <a:lnTo>
                  <a:pt x="1053" y="1885"/>
                </a:lnTo>
                <a:lnTo>
                  <a:pt x="1049" y="1881"/>
                </a:lnTo>
                <a:lnTo>
                  <a:pt x="1052" y="1878"/>
                </a:lnTo>
                <a:lnTo>
                  <a:pt x="1055" y="1881"/>
                </a:lnTo>
                <a:lnTo>
                  <a:pt x="1058" y="1883"/>
                </a:lnTo>
                <a:lnTo>
                  <a:pt x="1065" y="1876"/>
                </a:lnTo>
                <a:lnTo>
                  <a:pt x="1063" y="1866"/>
                </a:lnTo>
                <a:lnTo>
                  <a:pt x="1054" y="1866"/>
                </a:lnTo>
                <a:lnTo>
                  <a:pt x="1048" y="1860"/>
                </a:lnTo>
                <a:lnTo>
                  <a:pt x="1055" y="1861"/>
                </a:lnTo>
                <a:lnTo>
                  <a:pt x="1062" y="1861"/>
                </a:lnTo>
                <a:lnTo>
                  <a:pt x="1061" y="1851"/>
                </a:lnTo>
                <a:lnTo>
                  <a:pt x="1065" y="1844"/>
                </a:lnTo>
                <a:lnTo>
                  <a:pt x="1066" y="1845"/>
                </a:lnTo>
                <a:lnTo>
                  <a:pt x="1067" y="1846"/>
                </a:lnTo>
                <a:lnTo>
                  <a:pt x="1066" y="1845"/>
                </a:lnTo>
                <a:lnTo>
                  <a:pt x="1065" y="1844"/>
                </a:lnTo>
                <a:lnTo>
                  <a:pt x="1059" y="1836"/>
                </a:lnTo>
                <a:lnTo>
                  <a:pt x="1055" y="1826"/>
                </a:lnTo>
                <a:lnTo>
                  <a:pt x="1055" y="1820"/>
                </a:lnTo>
                <a:lnTo>
                  <a:pt x="1052" y="1817"/>
                </a:lnTo>
                <a:lnTo>
                  <a:pt x="1047" y="1818"/>
                </a:lnTo>
                <a:lnTo>
                  <a:pt x="1044" y="1819"/>
                </a:lnTo>
                <a:lnTo>
                  <a:pt x="1042" y="1818"/>
                </a:lnTo>
                <a:lnTo>
                  <a:pt x="1041" y="1818"/>
                </a:lnTo>
                <a:lnTo>
                  <a:pt x="1036" y="1813"/>
                </a:lnTo>
                <a:lnTo>
                  <a:pt x="1029" y="1816"/>
                </a:lnTo>
                <a:lnTo>
                  <a:pt x="1026" y="1818"/>
                </a:lnTo>
                <a:lnTo>
                  <a:pt x="1020" y="1818"/>
                </a:lnTo>
                <a:lnTo>
                  <a:pt x="1030" y="1823"/>
                </a:lnTo>
                <a:lnTo>
                  <a:pt x="1039" y="1828"/>
                </a:lnTo>
                <a:lnTo>
                  <a:pt x="1031" y="1826"/>
                </a:lnTo>
                <a:lnTo>
                  <a:pt x="1023" y="1824"/>
                </a:lnTo>
                <a:lnTo>
                  <a:pt x="1022" y="1827"/>
                </a:lnTo>
                <a:lnTo>
                  <a:pt x="1021" y="1831"/>
                </a:lnTo>
                <a:lnTo>
                  <a:pt x="1020" y="1829"/>
                </a:lnTo>
                <a:lnTo>
                  <a:pt x="1017" y="1829"/>
                </a:lnTo>
                <a:lnTo>
                  <a:pt x="1015" y="1828"/>
                </a:lnTo>
                <a:lnTo>
                  <a:pt x="1015" y="1831"/>
                </a:lnTo>
                <a:lnTo>
                  <a:pt x="1020" y="1834"/>
                </a:lnTo>
                <a:lnTo>
                  <a:pt x="1025" y="1835"/>
                </a:lnTo>
                <a:lnTo>
                  <a:pt x="1031" y="1837"/>
                </a:lnTo>
                <a:lnTo>
                  <a:pt x="1033" y="1841"/>
                </a:lnTo>
                <a:lnTo>
                  <a:pt x="1036" y="1848"/>
                </a:lnTo>
                <a:lnTo>
                  <a:pt x="1036" y="1854"/>
                </a:lnTo>
                <a:lnTo>
                  <a:pt x="1028" y="1851"/>
                </a:lnTo>
                <a:lnTo>
                  <a:pt x="1022" y="1843"/>
                </a:lnTo>
                <a:lnTo>
                  <a:pt x="1017" y="1837"/>
                </a:lnTo>
                <a:lnTo>
                  <a:pt x="1011" y="1834"/>
                </a:lnTo>
                <a:lnTo>
                  <a:pt x="1015" y="1832"/>
                </a:lnTo>
                <a:lnTo>
                  <a:pt x="1014" y="1828"/>
                </a:lnTo>
                <a:lnTo>
                  <a:pt x="1012" y="1827"/>
                </a:lnTo>
                <a:lnTo>
                  <a:pt x="1009" y="1827"/>
                </a:lnTo>
                <a:lnTo>
                  <a:pt x="1006" y="1828"/>
                </a:lnTo>
                <a:lnTo>
                  <a:pt x="1005" y="1833"/>
                </a:lnTo>
                <a:lnTo>
                  <a:pt x="998" y="1829"/>
                </a:lnTo>
                <a:lnTo>
                  <a:pt x="990" y="1827"/>
                </a:lnTo>
                <a:lnTo>
                  <a:pt x="989" y="1821"/>
                </a:lnTo>
                <a:lnTo>
                  <a:pt x="983" y="1821"/>
                </a:lnTo>
                <a:lnTo>
                  <a:pt x="979" y="1823"/>
                </a:lnTo>
                <a:lnTo>
                  <a:pt x="974" y="1821"/>
                </a:lnTo>
                <a:lnTo>
                  <a:pt x="968" y="1823"/>
                </a:lnTo>
                <a:lnTo>
                  <a:pt x="962" y="1823"/>
                </a:lnTo>
                <a:lnTo>
                  <a:pt x="959" y="1817"/>
                </a:lnTo>
                <a:lnTo>
                  <a:pt x="955" y="1815"/>
                </a:lnTo>
                <a:lnTo>
                  <a:pt x="947" y="1815"/>
                </a:lnTo>
                <a:lnTo>
                  <a:pt x="940" y="1811"/>
                </a:lnTo>
                <a:lnTo>
                  <a:pt x="956" y="1810"/>
                </a:lnTo>
                <a:lnTo>
                  <a:pt x="965" y="1801"/>
                </a:lnTo>
                <a:lnTo>
                  <a:pt x="954" y="1803"/>
                </a:lnTo>
                <a:lnTo>
                  <a:pt x="942" y="1799"/>
                </a:lnTo>
                <a:lnTo>
                  <a:pt x="939" y="1793"/>
                </a:lnTo>
                <a:lnTo>
                  <a:pt x="946" y="1788"/>
                </a:lnTo>
                <a:lnTo>
                  <a:pt x="922" y="1786"/>
                </a:lnTo>
                <a:lnTo>
                  <a:pt x="899" y="1795"/>
                </a:lnTo>
                <a:lnTo>
                  <a:pt x="915" y="1795"/>
                </a:lnTo>
                <a:lnTo>
                  <a:pt x="930" y="1788"/>
                </a:lnTo>
                <a:lnTo>
                  <a:pt x="933" y="1799"/>
                </a:lnTo>
                <a:lnTo>
                  <a:pt x="943" y="1803"/>
                </a:lnTo>
                <a:lnTo>
                  <a:pt x="938" y="1806"/>
                </a:lnTo>
                <a:lnTo>
                  <a:pt x="937" y="1810"/>
                </a:lnTo>
                <a:lnTo>
                  <a:pt x="939" y="1812"/>
                </a:lnTo>
                <a:lnTo>
                  <a:pt x="937" y="1815"/>
                </a:lnTo>
                <a:lnTo>
                  <a:pt x="934" y="1816"/>
                </a:lnTo>
                <a:lnTo>
                  <a:pt x="932" y="1818"/>
                </a:lnTo>
                <a:lnTo>
                  <a:pt x="932" y="1823"/>
                </a:lnTo>
                <a:lnTo>
                  <a:pt x="935" y="1827"/>
                </a:lnTo>
                <a:lnTo>
                  <a:pt x="941" y="1828"/>
                </a:lnTo>
                <a:lnTo>
                  <a:pt x="947" y="1826"/>
                </a:lnTo>
                <a:lnTo>
                  <a:pt x="942" y="1824"/>
                </a:lnTo>
                <a:lnTo>
                  <a:pt x="939" y="1818"/>
                </a:lnTo>
                <a:lnTo>
                  <a:pt x="945" y="1819"/>
                </a:lnTo>
                <a:lnTo>
                  <a:pt x="950" y="1820"/>
                </a:lnTo>
                <a:lnTo>
                  <a:pt x="956" y="1825"/>
                </a:lnTo>
                <a:lnTo>
                  <a:pt x="959" y="1828"/>
                </a:lnTo>
                <a:lnTo>
                  <a:pt x="964" y="1831"/>
                </a:lnTo>
                <a:lnTo>
                  <a:pt x="968" y="1831"/>
                </a:lnTo>
                <a:lnTo>
                  <a:pt x="973" y="1829"/>
                </a:lnTo>
                <a:lnTo>
                  <a:pt x="976" y="1834"/>
                </a:lnTo>
                <a:lnTo>
                  <a:pt x="971" y="1835"/>
                </a:lnTo>
                <a:lnTo>
                  <a:pt x="966" y="1837"/>
                </a:lnTo>
                <a:lnTo>
                  <a:pt x="970" y="1840"/>
                </a:lnTo>
                <a:lnTo>
                  <a:pt x="971" y="1843"/>
                </a:lnTo>
                <a:lnTo>
                  <a:pt x="954" y="1842"/>
                </a:lnTo>
                <a:lnTo>
                  <a:pt x="938" y="1837"/>
                </a:lnTo>
                <a:lnTo>
                  <a:pt x="943" y="1844"/>
                </a:lnTo>
                <a:lnTo>
                  <a:pt x="951" y="1848"/>
                </a:lnTo>
                <a:lnTo>
                  <a:pt x="957" y="1848"/>
                </a:lnTo>
                <a:lnTo>
                  <a:pt x="963" y="1846"/>
                </a:lnTo>
                <a:lnTo>
                  <a:pt x="970" y="1846"/>
                </a:lnTo>
                <a:lnTo>
                  <a:pt x="978" y="1846"/>
                </a:lnTo>
                <a:lnTo>
                  <a:pt x="974" y="1851"/>
                </a:lnTo>
                <a:lnTo>
                  <a:pt x="975" y="1856"/>
                </a:lnTo>
                <a:lnTo>
                  <a:pt x="981" y="1858"/>
                </a:lnTo>
                <a:lnTo>
                  <a:pt x="986" y="1853"/>
                </a:lnTo>
                <a:lnTo>
                  <a:pt x="989" y="1856"/>
                </a:lnTo>
                <a:lnTo>
                  <a:pt x="992" y="1857"/>
                </a:lnTo>
                <a:lnTo>
                  <a:pt x="995" y="1852"/>
                </a:lnTo>
                <a:lnTo>
                  <a:pt x="993" y="1848"/>
                </a:lnTo>
                <a:lnTo>
                  <a:pt x="991" y="1846"/>
                </a:lnTo>
                <a:lnTo>
                  <a:pt x="989" y="1845"/>
                </a:lnTo>
                <a:lnTo>
                  <a:pt x="991" y="1844"/>
                </a:lnTo>
                <a:lnTo>
                  <a:pt x="995" y="1844"/>
                </a:lnTo>
                <a:lnTo>
                  <a:pt x="999" y="1843"/>
                </a:lnTo>
                <a:lnTo>
                  <a:pt x="1003" y="1840"/>
                </a:lnTo>
                <a:lnTo>
                  <a:pt x="1007" y="1844"/>
                </a:lnTo>
                <a:lnTo>
                  <a:pt x="1011" y="1844"/>
                </a:lnTo>
                <a:lnTo>
                  <a:pt x="1008" y="1841"/>
                </a:lnTo>
                <a:lnTo>
                  <a:pt x="1011" y="1838"/>
                </a:lnTo>
                <a:lnTo>
                  <a:pt x="1015" y="1840"/>
                </a:lnTo>
                <a:lnTo>
                  <a:pt x="1017" y="1844"/>
                </a:lnTo>
                <a:lnTo>
                  <a:pt x="1020" y="1845"/>
                </a:lnTo>
                <a:lnTo>
                  <a:pt x="1020" y="1848"/>
                </a:lnTo>
                <a:lnTo>
                  <a:pt x="1017" y="1850"/>
                </a:lnTo>
                <a:lnTo>
                  <a:pt x="1015" y="1852"/>
                </a:lnTo>
                <a:lnTo>
                  <a:pt x="1017" y="1853"/>
                </a:lnTo>
                <a:lnTo>
                  <a:pt x="1017" y="1857"/>
                </a:lnTo>
                <a:lnTo>
                  <a:pt x="1014" y="1860"/>
                </a:lnTo>
                <a:lnTo>
                  <a:pt x="1009" y="1862"/>
                </a:lnTo>
                <a:lnTo>
                  <a:pt x="997" y="1862"/>
                </a:lnTo>
                <a:lnTo>
                  <a:pt x="986" y="1860"/>
                </a:lnTo>
                <a:lnTo>
                  <a:pt x="960" y="1862"/>
                </a:lnTo>
                <a:lnTo>
                  <a:pt x="935" y="1867"/>
                </a:lnTo>
                <a:lnTo>
                  <a:pt x="945" y="1862"/>
                </a:lnTo>
                <a:lnTo>
                  <a:pt x="953" y="1859"/>
                </a:lnTo>
                <a:lnTo>
                  <a:pt x="954" y="1856"/>
                </a:lnTo>
                <a:lnTo>
                  <a:pt x="954" y="1853"/>
                </a:lnTo>
                <a:lnTo>
                  <a:pt x="950" y="1853"/>
                </a:lnTo>
                <a:lnTo>
                  <a:pt x="948" y="1857"/>
                </a:lnTo>
                <a:lnTo>
                  <a:pt x="938" y="1860"/>
                </a:lnTo>
                <a:lnTo>
                  <a:pt x="927" y="1860"/>
                </a:lnTo>
                <a:lnTo>
                  <a:pt x="914" y="1860"/>
                </a:lnTo>
                <a:lnTo>
                  <a:pt x="900" y="1860"/>
                </a:lnTo>
                <a:lnTo>
                  <a:pt x="901" y="1853"/>
                </a:lnTo>
                <a:lnTo>
                  <a:pt x="908" y="1850"/>
                </a:lnTo>
                <a:lnTo>
                  <a:pt x="915" y="1850"/>
                </a:lnTo>
                <a:lnTo>
                  <a:pt x="923" y="1850"/>
                </a:lnTo>
                <a:lnTo>
                  <a:pt x="918" y="1849"/>
                </a:lnTo>
                <a:lnTo>
                  <a:pt x="914" y="1846"/>
                </a:lnTo>
                <a:lnTo>
                  <a:pt x="917" y="1844"/>
                </a:lnTo>
                <a:lnTo>
                  <a:pt x="921" y="1843"/>
                </a:lnTo>
                <a:lnTo>
                  <a:pt x="909" y="1841"/>
                </a:lnTo>
                <a:lnTo>
                  <a:pt x="899" y="1845"/>
                </a:lnTo>
                <a:lnTo>
                  <a:pt x="888" y="1849"/>
                </a:lnTo>
                <a:lnTo>
                  <a:pt x="884" y="1841"/>
                </a:lnTo>
                <a:lnTo>
                  <a:pt x="886" y="1836"/>
                </a:lnTo>
                <a:lnTo>
                  <a:pt x="890" y="1835"/>
                </a:lnTo>
                <a:lnTo>
                  <a:pt x="894" y="1837"/>
                </a:lnTo>
                <a:lnTo>
                  <a:pt x="896" y="1834"/>
                </a:lnTo>
                <a:lnTo>
                  <a:pt x="896" y="1828"/>
                </a:lnTo>
                <a:lnTo>
                  <a:pt x="890" y="1827"/>
                </a:lnTo>
                <a:lnTo>
                  <a:pt x="900" y="1821"/>
                </a:lnTo>
                <a:lnTo>
                  <a:pt x="902" y="1811"/>
                </a:lnTo>
                <a:lnTo>
                  <a:pt x="899" y="1807"/>
                </a:lnTo>
                <a:lnTo>
                  <a:pt x="893" y="1810"/>
                </a:lnTo>
                <a:lnTo>
                  <a:pt x="885" y="1815"/>
                </a:lnTo>
                <a:lnTo>
                  <a:pt x="879" y="1820"/>
                </a:lnTo>
                <a:lnTo>
                  <a:pt x="876" y="1813"/>
                </a:lnTo>
                <a:lnTo>
                  <a:pt x="877" y="1808"/>
                </a:lnTo>
                <a:lnTo>
                  <a:pt x="882" y="1804"/>
                </a:lnTo>
                <a:lnTo>
                  <a:pt x="886" y="1804"/>
                </a:lnTo>
                <a:lnTo>
                  <a:pt x="891" y="1796"/>
                </a:lnTo>
                <a:lnTo>
                  <a:pt x="892" y="1788"/>
                </a:lnTo>
                <a:lnTo>
                  <a:pt x="889" y="1791"/>
                </a:lnTo>
                <a:lnTo>
                  <a:pt x="885" y="1793"/>
                </a:lnTo>
                <a:lnTo>
                  <a:pt x="884" y="1794"/>
                </a:lnTo>
                <a:lnTo>
                  <a:pt x="883" y="1795"/>
                </a:lnTo>
                <a:lnTo>
                  <a:pt x="881" y="1796"/>
                </a:lnTo>
                <a:lnTo>
                  <a:pt x="879" y="1796"/>
                </a:lnTo>
                <a:lnTo>
                  <a:pt x="874" y="1799"/>
                </a:lnTo>
                <a:lnTo>
                  <a:pt x="869" y="1799"/>
                </a:lnTo>
                <a:lnTo>
                  <a:pt x="867" y="1795"/>
                </a:lnTo>
                <a:lnTo>
                  <a:pt x="868" y="1792"/>
                </a:lnTo>
                <a:lnTo>
                  <a:pt x="873" y="1791"/>
                </a:lnTo>
                <a:lnTo>
                  <a:pt x="877" y="1792"/>
                </a:lnTo>
                <a:lnTo>
                  <a:pt x="881" y="1790"/>
                </a:lnTo>
                <a:lnTo>
                  <a:pt x="885" y="1787"/>
                </a:lnTo>
                <a:lnTo>
                  <a:pt x="891" y="1782"/>
                </a:lnTo>
                <a:lnTo>
                  <a:pt x="898" y="1779"/>
                </a:lnTo>
                <a:lnTo>
                  <a:pt x="899" y="1782"/>
                </a:lnTo>
                <a:lnTo>
                  <a:pt x="902" y="1783"/>
                </a:lnTo>
                <a:lnTo>
                  <a:pt x="906" y="1783"/>
                </a:lnTo>
                <a:lnTo>
                  <a:pt x="909" y="1780"/>
                </a:lnTo>
                <a:lnTo>
                  <a:pt x="920" y="1779"/>
                </a:lnTo>
                <a:lnTo>
                  <a:pt x="932" y="1779"/>
                </a:lnTo>
                <a:lnTo>
                  <a:pt x="941" y="1778"/>
                </a:lnTo>
                <a:lnTo>
                  <a:pt x="948" y="1784"/>
                </a:lnTo>
                <a:lnTo>
                  <a:pt x="951" y="1786"/>
                </a:lnTo>
                <a:lnTo>
                  <a:pt x="955" y="1788"/>
                </a:lnTo>
                <a:lnTo>
                  <a:pt x="959" y="1788"/>
                </a:lnTo>
                <a:lnTo>
                  <a:pt x="963" y="1790"/>
                </a:lnTo>
                <a:lnTo>
                  <a:pt x="965" y="1786"/>
                </a:lnTo>
                <a:lnTo>
                  <a:pt x="967" y="1783"/>
                </a:lnTo>
                <a:lnTo>
                  <a:pt x="968" y="1782"/>
                </a:lnTo>
                <a:lnTo>
                  <a:pt x="967" y="1779"/>
                </a:lnTo>
                <a:lnTo>
                  <a:pt x="966" y="1779"/>
                </a:lnTo>
                <a:lnTo>
                  <a:pt x="964" y="1779"/>
                </a:lnTo>
                <a:lnTo>
                  <a:pt x="956" y="1775"/>
                </a:lnTo>
                <a:lnTo>
                  <a:pt x="947" y="1771"/>
                </a:lnTo>
                <a:lnTo>
                  <a:pt x="937" y="1771"/>
                </a:lnTo>
                <a:lnTo>
                  <a:pt x="926" y="1771"/>
                </a:lnTo>
                <a:lnTo>
                  <a:pt x="925" y="1768"/>
                </a:lnTo>
                <a:lnTo>
                  <a:pt x="929" y="1765"/>
                </a:lnTo>
                <a:lnTo>
                  <a:pt x="935" y="1765"/>
                </a:lnTo>
                <a:lnTo>
                  <a:pt x="942" y="1766"/>
                </a:lnTo>
                <a:lnTo>
                  <a:pt x="941" y="1760"/>
                </a:lnTo>
                <a:lnTo>
                  <a:pt x="945" y="1758"/>
                </a:lnTo>
                <a:lnTo>
                  <a:pt x="956" y="1760"/>
                </a:lnTo>
                <a:lnTo>
                  <a:pt x="967" y="1766"/>
                </a:lnTo>
                <a:lnTo>
                  <a:pt x="967" y="1761"/>
                </a:lnTo>
                <a:lnTo>
                  <a:pt x="966" y="1755"/>
                </a:lnTo>
                <a:lnTo>
                  <a:pt x="972" y="1755"/>
                </a:lnTo>
                <a:lnTo>
                  <a:pt x="975" y="1752"/>
                </a:lnTo>
                <a:lnTo>
                  <a:pt x="978" y="1749"/>
                </a:lnTo>
                <a:lnTo>
                  <a:pt x="973" y="1748"/>
                </a:lnTo>
                <a:lnTo>
                  <a:pt x="967" y="1748"/>
                </a:lnTo>
                <a:lnTo>
                  <a:pt x="963" y="1749"/>
                </a:lnTo>
                <a:lnTo>
                  <a:pt x="959" y="1750"/>
                </a:lnTo>
                <a:lnTo>
                  <a:pt x="958" y="1748"/>
                </a:lnTo>
                <a:lnTo>
                  <a:pt x="954" y="1742"/>
                </a:lnTo>
                <a:lnTo>
                  <a:pt x="947" y="1740"/>
                </a:lnTo>
                <a:lnTo>
                  <a:pt x="943" y="1741"/>
                </a:lnTo>
                <a:lnTo>
                  <a:pt x="941" y="1743"/>
                </a:lnTo>
                <a:lnTo>
                  <a:pt x="934" y="1744"/>
                </a:lnTo>
                <a:lnTo>
                  <a:pt x="927" y="1746"/>
                </a:lnTo>
                <a:lnTo>
                  <a:pt x="938" y="1749"/>
                </a:lnTo>
                <a:lnTo>
                  <a:pt x="948" y="1749"/>
                </a:lnTo>
                <a:lnTo>
                  <a:pt x="954" y="1750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6" y="1754"/>
                </a:lnTo>
                <a:lnTo>
                  <a:pt x="959" y="1754"/>
                </a:lnTo>
                <a:lnTo>
                  <a:pt x="962" y="1757"/>
                </a:lnTo>
                <a:lnTo>
                  <a:pt x="959" y="1759"/>
                </a:lnTo>
                <a:lnTo>
                  <a:pt x="958" y="1759"/>
                </a:lnTo>
                <a:lnTo>
                  <a:pt x="957" y="1757"/>
                </a:lnTo>
                <a:lnTo>
                  <a:pt x="955" y="1754"/>
                </a:lnTo>
                <a:lnTo>
                  <a:pt x="948" y="1754"/>
                </a:lnTo>
                <a:lnTo>
                  <a:pt x="942" y="1754"/>
                </a:lnTo>
                <a:lnTo>
                  <a:pt x="934" y="1755"/>
                </a:lnTo>
                <a:lnTo>
                  <a:pt x="929" y="1759"/>
                </a:lnTo>
                <a:lnTo>
                  <a:pt x="925" y="1765"/>
                </a:lnTo>
                <a:lnTo>
                  <a:pt x="921" y="1767"/>
                </a:lnTo>
                <a:lnTo>
                  <a:pt x="917" y="1762"/>
                </a:lnTo>
                <a:lnTo>
                  <a:pt x="913" y="1762"/>
                </a:lnTo>
                <a:lnTo>
                  <a:pt x="915" y="1755"/>
                </a:lnTo>
                <a:lnTo>
                  <a:pt x="921" y="1750"/>
                </a:lnTo>
                <a:lnTo>
                  <a:pt x="912" y="1752"/>
                </a:lnTo>
                <a:lnTo>
                  <a:pt x="905" y="1758"/>
                </a:lnTo>
                <a:lnTo>
                  <a:pt x="907" y="1762"/>
                </a:lnTo>
                <a:lnTo>
                  <a:pt x="906" y="1767"/>
                </a:lnTo>
                <a:lnTo>
                  <a:pt x="899" y="1771"/>
                </a:lnTo>
                <a:lnTo>
                  <a:pt x="892" y="1775"/>
                </a:lnTo>
                <a:lnTo>
                  <a:pt x="889" y="1778"/>
                </a:lnTo>
                <a:lnTo>
                  <a:pt x="885" y="1782"/>
                </a:lnTo>
                <a:lnTo>
                  <a:pt x="881" y="1783"/>
                </a:lnTo>
                <a:lnTo>
                  <a:pt x="877" y="1783"/>
                </a:lnTo>
                <a:lnTo>
                  <a:pt x="875" y="1783"/>
                </a:lnTo>
                <a:lnTo>
                  <a:pt x="873" y="1782"/>
                </a:lnTo>
                <a:lnTo>
                  <a:pt x="869" y="1784"/>
                </a:lnTo>
                <a:lnTo>
                  <a:pt x="866" y="1785"/>
                </a:lnTo>
                <a:lnTo>
                  <a:pt x="861" y="1784"/>
                </a:lnTo>
                <a:lnTo>
                  <a:pt x="858" y="1782"/>
                </a:lnTo>
                <a:lnTo>
                  <a:pt x="855" y="1783"/>
                </a:lnTo>
                <a:lnTo>
                  <a:pt x="851" y="1784"/>
                </a:lnTo>
                <a:lnTo>
                  <a:pt x="848" y="1782"/>
                </a:lnTo>
                <a:lnTo>
                  <a:pt x="847" y="1777"/>
                </a:lnTo>
                <a:lnTo>
                  <a:pt x="847" y="1774"/>
                </a:lnTo>
                <a:lnTo>
                  <a:pt x="850" y="1771"/>
                </a:lnTo>
                <a:lnTo>
                  <a:pt x="859" y="1763"/>
                </a:lnTo>
                <a:lnTo>
                  <a:pt x="869" y="1758"/>
                </a:lnTo>
                <a:lnTo>
                  <a:pt x="872" y="1763"/>
                </a:lnTo>
                <a:lnTo>
                  <a:pt x="879" y="1765"/>
                </a:lnTo>
                <a:lnTo>
                  <a:pt x="883" y="1763"/>
                </a:lnTo>
                <a:lnTo>
                  <a:pt x="885" y="1759"/>
                </a:lnTo>
                <a:lnTo>
                  <a:pt x="882" y="1758"/>
                </a:lnTo>
                <a:lnTo>
                  <a:pt x="879" y="1757"/>
                </a:lnTo>
                <a:lnTo>
                  <a:pt x="876" y="1748"/>
                </a:lnTo>
                <a:lnTo>
                  <a:pt x="882" y="1742"/>
                </a:lnTo>
                <a:lnTo>
                  <a:pt x="890" y="1748"/>
                </a:lnTo>
                <a:lnTo>
                  <a:pt x="896" y="1745"/>
                </a:lnTo>
                <a:lnTo>
                  <a:pt x="891" y="1743"/>
                </a:lnTo>
                <a:lnTo>
                  <a:pt x="886" y="1741"/>
                </a:lnTo>
                <a:lnTo>
                  <a:pt x="883" y="1741"/>
                </a:lnTo>
                <a:lnTo>
                  <a:pt x="880" y="1738"/>
                </a:lnTo>
                <a:lnTo>
                  <a:pt x="881" y="1734"/>
                </a:lnTo>
                <a:lnTo>
                  <a:pt x="885" y="1733"/>
                </a:lnTo>
                <a:lnTo>
                  <a:pt x="890" y="1729"/>
                </a:lnTo>
                <a:lnTo>
                  <a:pt x="894" y="1725"/>
                </a:lnTo>
                <a:lnTo>
                  <a:pt x="882" y="1726"/>
                </a:lnTo>
                <a:lnTo>
                  <a:pt x="875" y="1717"/>
                </a:lnTo>
                <a:lnTo>
                  <a:pt x="871" y="1721"/>
                </a:lnTo>
                <a:lnTo>
                  <a:pt x="865" y="1725"/>
                </a:lnTo>
                <a:lnTo>
                  <a:pt x="869" y="1715"/>
                </a:lnTo>
                <a:lnTo>
                  <a:pt x="873" y="1704"/>
                </a:lnTo>
                <a:lnTo>
                  <a:pt x="885" y="1707"/>
                </a:lnTo>
                <a:lnTo>
                  <a:pt x="894" y="1715"/>
                </a:lnTo>
                <a:lnTo>
                  <a:pt x="898" y="1719"/>
                </a:lnTo>
                <a:lnTo>
                  <a:pt x="900" y="1724"/>
                </a:lnTo>
                <a:lnTo>
                  <a:pt x="900" y="1729"/>
                </a:lnTo>
                <a:lnTo>
                  <a:pt x="902" y="1734"/>
                </a:lnTo>
                <a:lnTo>
                  <a:pt x="906" y="1734"/>
                </a:lnTo>
                <a:lnTo>
                  <a:pt x="910" y="1734"/>
                </a:lnTo>
                <a:lnTo>
                  <a:pt x="914" y="1736"/>
                </a:lnTo>
                <a:lnTo>
                  <a:pt x="920" y="1736"/>
                </a:lnTo>
                <a:lnTo>
                  <a:pt x="922" y="1734"/>
                </a:lnTo>
                <a:lnTo>
                  <a:pt x="923" y="1730"/>
                </a:lnTo>
                <a:lnTo>
                  <a:pt x="920" y="1729"/>
                </a:lnTo>
                <a:lnTo>
                  <a:pt x="917" y="1727"/>
                </a:lnTo>
                <a:lnTo>
                  <a:pt x="922" y="1726"/>
                </a:lnTo>
                <a:lnTo>
                  <a:pt x="925" y="1725"/>
                </a:lnTo>
                <a:lnTo>
                  <a:pt x="926" y="1725"/>
                </a:lnTo>
                <a:lnTo>
                  <a:pt x="926" y="1726"/>
                </a:lnTo>
                <a:lnTo>
                  <a:pt x="926" y="1725"/>
                </a:lnTo>
                <a:lnTo>
                  <a:pt x="925" y="1725"/>
                </a:lnTo>
                <a:lnTo>
                  <a:pt x="925" y="1721"/>
                </a:lnTo>
                <a:lnTo>
                  <a:pt x="926" y="1719"/>
                </a:lnTo>
                <a:lnTo>
                  <a:pt x="924" y="1718"/>
                </a:lnTo>
                <a:lnTo>
                  <a:pt x="920" y="1719"/>
                </a:lnTo>
                <a:lnTo>
                  <a:pt x="916" y="1723"/>
                </a:lnTo>
                <a:lnTo>
                  <a:pt x="912" y="1725"/>
                </a:lnTo>
                <a:lnTo>
                  <a:pt x="908" y="1724"/>
                </a:lnTo>
                <a:lnTo>
                  <a:pt x="907" y="1720"/>
                </a:lnTo>
                <a:lnTo>
                  <a:pt x="902" y="1713"/>
                </a:lnTo>
                <a:lnTo>
                  <a:pt x="904" y="1707"/>
                </a:lnTo>
                <a:lnTo>
                  <a:pt x="908" y="1707"/>
                </a:lnTo>
                <a:lnTo>
                  <a:pt x="912" y="1709"/>
                </a:lnTo>
                <a:lnTo>
                  <a:pt x="916" y="1707"/>
                </a:lnTo>
                <a:lnTo>
                  <a:pt x="920" y="1704"/>
                </a:lnTo>
                <a:lnTo>
                  <a:pt x="921" y="1705"/>
                </a:lnTo>
                <a:lnTo>
                  <a:pt x="923" y="1707"/>
                </a:lnTo>
                <a:lnTo>
                  <a:pt x="922" y="1704"/>
                </a:lnTo>
                <a:lnTo>
                  <a:pt x="920" y="1704"/>
                </a:lnTo>
                <a:lnTo>
                  <a:pt x="912" y="1703"/>
                </a:lnTo>
                <a:lnTo>
                  <a:pt x="905" y="1703"/>
                </a:lnTo>
                <a:lnTo>
                  <a:pt x="898" y="1701"/>
                </a:lnTo>
                <a:lnTo>
                  <a:pt x="893" y="1694"/>
                </a:lnTo>
                <a:lnTo>
                  <a:pt x="890" y="1690"/>
                </a:lnTo>
                <a:lnTo>
                  <a:pt x="884" y="1691"/>
                </a:lnTo>
                <a:lnTo>
                  <a:pt x="877" y="1695"/>
                </a:lnTo>
                <a:lnTo>
                  <a:pt x="871" y="1700"/>
                </a:lnTo>
                <a:lnTo>
                  <a:pt x="866" y="1705"/>
                </a:lnTo>
                <a:lnTo>
                  <a:pt x="863" y="1711"/>
                </a:lnTo>
                <a:lnTo>
                  <a:pt x="858" y="1718"/>
                </a:lnTo>
                <a:lnTo>
                  <a:pt x="855" y="1724"/>
                </a:lnTo>
                <a:lnTo>
                  <a:pt x="857" y="1727"/>
                </a:lnTo>
                <a:lnTo>
                  <a:pt x="858" y="1729"/>
                </a:lnTo>
                <a:lnTo>
                  <a:pt x="858" y="1732"/>
                </a:lnTo>
                <a:lnTo>
                  <a:pt x="856" y="1734"/>
                </a:lnTo>
                <a:lnTo>
                  <a:pt x="850" y="1740"/>
                </a:lnTo>
                <a:lnTo>
                  <a:pt x="843" y="1743"/>
                </a:lnTo>
                <a:lnTo>
                  <a:pt x="832" y="1748"/>
                </a:lnTo>
                <a:lnTo>
                  <a:pt x="827" y="1759"/>
                </a:lnTo>
                <a:lnTo>
                  <a:pt x="831" y="1766"/>
                </a:lnTo>
                <a:lnTo>
                  <a:pt x="832" y="1775"/>
                </a:lnTo>
                <a:lnTo>
                  <a:pt x="828" y="1779"/>
                </a:lnTo>
                <a:lnTo>
                  <a:pt x="825" y="1785"/>
                </a:lnTo>
                <a:lnTo>
                  <a:pt x="833" y="1798"/>
                </a:lnTo>
                <a:lnTo>
                  <a:pt x="848" y="1806"/>
                </a:lnTo>
                <a:lnTo>
                  <a:pt x="858" y="1815"/>
                </a:lnTo>
                <a:lnTo>
                  <a:pt x="865" y="1828"/>
                </a:lnTo>
                <a:lnTo>
                  <a:pt x="867" y="1850"/>
                </a:lnTo>
                <a:lnTo>
                  <a:pt x="867" y="1871"/>
                </a:lnTo>
                <a:lnTo>
                  <a:pt x="867" y="1882"/>
                </a:lnTo>
                <a:lnTo>
                  <a:pt x="869" y="1893"/>
                </a:lnTo>
                <a:lnTo>
                  <a:pt x="871" y="1899"/>
                </a:lnTo>
                <a:lnTo>
                  <a:pt x="872" y="1904"/>
                </a:lnTo>
                <a:lnTo>
                  <a:pt x="873" y="1910"/>
                </a:lnTo>
                <a:lnTo>
                  <a:pt x="874" y="1916"/>
                </a:lnTo>
                <a:lnTo>
                  <a:pt x="886" y="1924"/>
                </a:lnTo>
                <a:lnTo>
                  <a:pt x="882" y="1926"/>
                </a:lnTo>
                <a:lnTo>
                  <a:pt x="877" y="1927"/>
                </a:lnTo>
                <a:lnTo>
                  <a:pt x="879" y="1923"/>
                </a:lnTo>
                <a:lnTo>
                  <a:pt x="881" y="1918"/>
                </a:lnTo>
                <a:lnTo>
                  <a:pt x="881" y="1909"/>
                </a:lnTo>
                <a:lnTo>
                  <a:pt x="888" y="1906"/>
                </a:lnTo>
                <a:lnTo>
                  <a:pt x="888" y="1906"/>
                </a:lnTo>
                <a:lnTo>
                  <a:pt x="889" y="1906"/>
                </a:lnTo>
                <a:lnTo>
                  <a:pt x="890" y="1906"/>
                </a:lnTo>
                <a:lnTo>
                  <a:pt x="890" y="1908"/>
                </a:lnTo>
                <a:lnTo>
                  <a:pt x="892" y="1909"/>
                </a:lnTo>
                <a:lnTo>
                  <a:pt x="894" y="1909"/>
                </a:lnTo>
                <a:lnTo>
                  <a:pt x="902" y="1909"/>
                </a:lnTo>
                <a:lnTo>
                  <a:pt x="910" y="1908"/>
                </a:lnTo>
                <a:lnTo>
                  <a:pt x="927" y="1907"/>
                </a:lnTo>
                <a:lnTo>
                  <a:pt x="942" y="1902"/>
                </a:lnTo>
                <a:lnTo>
                  <a:pt x="937" y="1896"/>
                </a:lnTo>
                <a:lnTo>
                  <a:pt x="930" y="1893"/>
                </a:lnTo>
                <a:lnTo>
                  <a:pt x="925" y="1891"/>
                </a:lnTo>
                <a:lnTo>
                  <a:pt x="925" y="1886"/>
                </a:lnTo>
                <a:lnTo>
                  <a:pt x="924" y="1883"/>
                </a:lnTo>
                <a:lnTo>
                  <a:pt x="921" y="1885"/>
                </a:lnTo>
                <a:lnTo>
                  <a:pt x="914" y="1887"/>
                </a:lnTo>
                <a:lnTo>
                  <a:pt x="909" y="1884"/>
                </a:lnTo>
                <a:lnTo>
                  <a:pt x="915" y="1881"/>
                </a:lnTo>
                <a:lnTo>
                  <a:pt x="922" y="1878"/>
                </a:lnTo>
                <a:lnTo>
                  <a:pt x="943" y="1870"/>
                </a:lnTo>
                <a:lnTo>
                  <a:pt x="966" y="1868"/>
                </a:lnTo>
                <a:lnTo>
                  <a:pt x="971" y="1869"/>
                </a:lnTo>
                <a:lnTo>
                  <a:pt x="975" y="1869"/>
                </a:lnTo>
                <a:lnTo>
                  <a:pt x="981" y="1868"/>
                </a:lnTo>
                <a:lnTo>
                  <a:pt x="986" y="1867"/>
                </a:lnTo>
                <a:lnTo>
                  <a:pt x="996" y="1866"/>
                </a:lnTo>
                <a:lnTo>
                  <a:pt x="1006" y="1867"/>
                </a:lnTo>
                <a:lnTo>
                  <a:pt x="1011" y="1868"/>
                </a:lnTo>
                <a:lnTo>
                  <a:pt x="1015" y="1869"/>
                </a:lnTo>
                <a:lnTo>
                  <a:pt x="1017" y="1871"/>
                </a:lnTo>
                <a:lnTo>
                  <a:pt x="1019" y="1873"/>
                </a:lnTo>
                <a:lnTo>
                  <a:pt x="1024" y="1876"/>
                </a:lnTo>
                <a:lnTo>
                  <a:pt x="1026" y="1882"/>
                </a:lnTo>
                <a:lnTo>
                  <a:pt x="1026" y="1886"/>
                </a:lnTo>
                <a:lnTo>
                  <a:pt x="1026" y="1891"/>
                </a:lnTo>
                <a:lnTo>
                  <a:pt x="1028" y="1895"/>
                </a:lnTo>
                <a:lnTo>
                  <a:pt x="1024" y="1899"/>
                </a:lnTo>
                <a:lnTo>
                  <a:pt x="1020" y="1899"/>
                </a:lnTo>
                <a:lnTo>
                  <a:pt x="1015" y="1900"/>
                </a:lnTo>
                <a:lnTo>
                  <a:pt x="1012" y="1902"/>
                </a:lnTo>
                <a:lnTo>
                  <a:pt x="1008" y="1904"/>
                </a:lnTo>
                <a:lnTo>
                  <a:pt x="1001" y="1909"/>
                </a:lnTo>
                <a:lnTo>
                  <a:pt x="999" y="1916"/>
                </a:lnTo>
                <a:lnTo>
                  <a:pt x="1004" y="1921"/>
                </a:lnTo>
                <a:lnTo>
                  <a:pt x="1011" y="1926"/>
                </a:lnTo>
                <a:lnTo>
                  <a:pt x="1019" y="1928"/>
                </a:lnTo>
                <a:lnTo>
                  <a:pt x="1028" y="1928"/>
                </a:lnTo>
                <a:lnTo>
                  <a:pt x="1036" y="1929"/>
                </a:lnTo>
                <a:lnTo>
                  <a:pt x="1040" y="1926"/>
                </a:lnTo>
                <a:lnTo>
                  <a:pt x="1036" y="1924"/>
                </a:lnTo>
                <a:lnTo>
                  <a:pt x="1029" y="1925"/>
                </a:lnTo>
                <a:lnTo>
                  <a:pt x="1025" y="1925"/>
                </a:lnTo>
                <a:lnTo>
                  <a:pt x="1022" y="1925"/>
                </a:lnTo>
                <a:lnTo>
                  <a:pt x="1021" y="1923"/>
                </a:lnTo>
                <a:lnTo>
                  <a:pt x="1021" y="1921"/>
                </a:lnTo>
                <a:lnTo>
                  <a:pt x="1023" y="1920"/>
                </a:lnTo>
                <a:lnTo>
                  <a:pt x="1024" y="1918"/>
                </a:lnTo>
                <a:lnTo>
                  <a:pt x="1024" y="1919"/>
                </a:lnTo>
                <a:lnTo>
                  <a:pt x="1024" y="1918"/>
                </a:lnTo>
                <a:close/>
                <a:moveTo>
                  <a:pt x="816" y="1586"/>
                </a:moveTo>
                <a:lnTo>
                  <a:pt x="816" y="1586"/>
                </a:lnTo>
                <a:lnTo>
                  <a:pt x="816" y="1586"/>
                </a:lnTo>
                <a:close/>
                <a:moveTo>
                  <a:pt x="947" y="1721"/>
                </a:moveTo>
                <a:lnTo>
                  <a:pt x="954" y="1721"/>
                </a:lnTo>
                <a:lnTo>
                  <a:pt x="955" y="1717"/>
                </a:lnTo>
                <a:lnTo>
                  <a:pt x="951" y="1716"/>
                </a:lnTo>
                <a:lnTo>
                  <a:pt x="946" y="1716"/>
                </a:lnTo>
                <a:lnTo>
                  <a:pt x="941" y="1716"/>
                </a:lnTo>
                <a:lnTo>
                  <a:pt x="937" y="1717"/>
                </a:lnTo>
                <a:lnTo>
                  <a:pt x="934" y="1720"/>
                </a:lnTo>
                <a:lnTo>
                  <a:pt x="939" y="1723"/>
                </a:lnTo>
                <a:lnTo>
                  <a:pt x="939" y="1725"/>
                </a:lnTo>
                <a:lnTo>
                  <a:pt x="942" y="1726"/>
                </a:lnTo>
                <a:lnTo>
                  <a:pt x="934" y="1726"/>
                </a:lnTo>
                <a:lnTo>
                  <a:pt x="927" y="1726"/>
                </a:lnTo>
                <a:lnTo>
                  <a:pt x="926" y="1725"/>
                </a:lnTo>
                <a:lnTo>
                  <a:pt x="927" y="1726"/>
                </a:lnTo>
                <a:lnTo>
                  <a:pt x="930" y="1732"/>
                </a:lnTo>
                <a:lnTo>
                  <a:pt x="934" y="1735"/>
                </a:lnTo>
                <a:lnTo>
                  <a:pt x="940" y="1733"/>
                </a:lnTo>
                <a:lnTo>
                  <a:pt x="946" y="1727"/>
                </a:lnTo>
                <a:lnTo>
                  <a:pt x="941" y="1732"/>
                </a:lnTo>
                <a:lnTo>
                  <a:pt x="946" y="1727"/>
                </a:lnTo>
                <a:lnTo>
                  <a:pt x="946" y="1727"/>
                </a:lnTo>
                <a:lnTo>
                  <a:pt x="946" y="1726"/>
                </a:lnTo>
                <a:lnTo>
                  <a:pt x="946" y="1726"/>
                </a:lnTo>
                <a:lnTo>
                  <a:pt x="945" y="1726"/>
                </a:lnTo>
                <a:lnTo>
                  <a:pt x="946" y="1725"/>
                </a:lnTo>
                <a:lnTo>
                  <a:pt x="947" y="1721"/>
                </a:lnTo>
                <a:lnTo>
                  <a:pt x="947" y="1721"/>
                </a:lnTo>
                <a:lnTo>
                  <a:pt x="947" y="1721"/>
                </a:lnTo>
                <a:close/>
                <a:moveTo>
                  <a:pt x="866" y="1776"/>
                </a:moveTo>
                <a:lnTo>
                  <a:pt x="871" y="1775"/>
                </a:lnTo>
                <a:lnTo>
                  <a:pt x="876" y="1773"/>
                </a:lnTo>
                <a:lnTo>
                  <a:pt x="877" y="1773"/>
                </a:lnTo>
                <a:lnTo>
                  <a:pt x="880" y="1774"/>
                </a:lnTo>
                <a:lnTo>
                  <a:pt x="881" y="1775"/>
                </a:lnTo>
                <a:lnTo>
                  <a:pt x="882" y="1775"/>
                </a:lnTo>
                <a:lnTo>
                  <a:pt x="888" y="1773"/>
                </a:lnTo>
                <a:lnTo>
                  <a:pt x="891" y="1768"/>
                </a:lnTo>
                <a:lnTo>
                  <a:pt x="876" y="1768"/>
                </a:lnTo>
                <a:lnTo>
                  <a:pt x="866" y="1776"/>
                </a:lnTo>
                <a:lnTo>
                  <a:pt x="868" y="1774"/>
                </a:lnTo>
                <a:lnTo>
                  <a:pt x="866" y="1776"/>
                </a:lnTo>
                <a:close/>
                <a:moveTo>
                  <a:pt x="956" y="1683"/>
                </a:moveTo>
                <a:lnTo>
                  <a:pt x="963" y="1679"/>
                </a:lnTo>
                <a:lnTo>
                  <a:pt x="970" y="1676"/>
                </a:lnTo>
                <a:lnTo>
                  <a:pt x="970" y="1674"/>
                </a:lnTo>
                <a:lnTo>
                  <a:pt x="972" y="1672"/>
                </a:lnTo>
                <a:lnTo>
                  <a:pt x="979" y="1670"/>
                </a:lnTo>
                <a:lnTo>
                  <a:pt x="987" y="1668"/>
                </a:lnTo>
                <a:lnTo>
                  <a:pt x="973" y="1666"/>
                </a:lnTo>
                <a:lnTo>
                  <a:pt x="960" y="1666"/>
                </a:lnTo>
                <a:lnTo>
                  <a:pt x="955" y="1667"/>
                </a:lnTo>
                <a:lnTo>
                  <a:pt x="949" y="1665"/>
                </a:lnTo>
                <a:lnTo>
                  <a:pt x="946" y="1662"/>
                </a:lnTo>
                <a:lnTo>
                  <a:pt x="941" y="1662"/>
                </a:lnTo>
                <a:lnTo>
                  <a:pt x="942" y="1662"/>
                </a:lnTo>
                <a:lnTo>
                  <a:pt x="941" y="1662"/>
                </a:lnTo>
                <a:lnTo>
                  <a:pt x="935" y="1661"/>
                </a:lnTo>
                <a:lnTo>
                  <a:pt x="929" y="1658"/>
                </a:lnTo>
                <a:lnTo>
                  <a:pt x="921" y="1658"/>
                </a:lnTo>
                <a:lnTo>
                  <a:pt x="913" y="1658"/>
                </a:lnTo>
                <a:lnTo>
                  <a:pt x="915" y="1662"/>
                </a:lnTo>
                <a:lnTo>
                  <a:pt x="920" y="1666"/>
                </a:lnTo>
                <a:lnTo>
                  <a:pt x="923" y="1665"/>
                </a:lnTo>
                <a:lnTo>
                  <a:pt x="927" y="1663"/>
                </a:lnTo>
                <a:lnTo>
                  <a:pt x="933" y="1667"/>
                </a:lnTo>
                <a:lnTo>
                  <a:pt x="938" y="1671"/>
                </a:lnTo>
                <a:lnTo>
                  <a:pt x="926" y="1672"/>
                </a:lnTo>
                <a:lnTo>
                  <a:pt x="917" y="1680"/>
                </a:lnTo>
                <a:lnTo>
                  <a:pt x="924" y="1679"/>
                </a:lnTo>
                <a:lnTo>
                  <a:pt x="931" y="1676"/>
                </a:lnTo>
                <a:lnTo>
                  <a:pt x="935" y="1675"/>
                </a:lnTo>
                <a:lnTo>
                  <a:pt x="938" y="1678"/>
                </a:lnTo>
                <a:lnTo>
                  <a:pt x="945" y="1683"/>
                </a:lnTo>
                <a:lnTo>
                  <a:pt x="946" y="1690"/>
                </a:lnTo>
                <a:lnTo>
                  <a:pt x="955" y="1692"/>
                </a:lnTo>
                <a:lnTo>
                  <a:pt x="965" y="1700"/>
                </a:lnTo>
                <a:lnTo>
                  <a:pt x="964" y="1704"/>
                </a:lnTo>
                <a:lnTo>
                  <a:pt x="964" y="1709"/>
                </a:lnTo>
                <a:lnTo>
                  <a:pt x="960" y="1713"/>
                </a:lnTo>
                <a:lnTo>
                  <a:pt x="960" y="1717"/>
                </a:lnTo>
                <a:lnTo>
                  <a:pt x="966" y="1717"/>
                </a:lnTo>
                <a:lnTo>
                  <a:pt x="968" y="1710"/>
                </a:lnTo>
                <a:lnTo>
                  <a:pt x="972" y="1707"/>
                </a:lnTo>
                <a:lnTo>
                  <a:pt x="978" y="1705"/>
                </a:lnTo>
                <a:lnTo>
                  <a:pt x="981" y="1704"/>
                </a:lnTo>
                <a:lnTo>
                  <a:pt x="983" y="1705"/>
                </a:lnTo>
                <a:lnTo>
                  <a:pt x="988" y="1708"/>
                </a:lnTo>
                <a:lnTo>
                  <a:pt x="992" y="1710"/>
                </a:lnTo>
                <a:lnTo>
                  <a:pt x="999" y="1710"/>
                </a:lnTo>
                <a:lnTo>
                  <a:pt x="1007" y="1710"/>
                </a:lnTo>
                <a:lnTo>
                  <a:pt x="1016" y="1707"/>
                </a:lnTo>
                <a:lnTo>
                  <a:pt x="1024" y="1707"/>
                </a:lnTo>
                <a:lnTo>
                  <a:pt x="1033" y="1710"/>
                </a:lnTo>
                <a:lnTo>
                  <a:pt x="1041" y="1713"/>
                </a:lnTo>
                <a:lnTo>
                  <a:pt x="1040" y="1707"/>
                </a:lnTo>
                <a:lnTo>
                  <a:pt x="1034" y="1705"/>
                </a:lnTo>
                <a:lnTo>
                  <a:pt x="1031" y="1704"/>
                </a:lnTo>
                <a:lnTo>
                  <a:pt x="1030" y="1703"/>
                </a:lnTo>
                <a:lnTo>
                  <a:pt x="1028" y="1701"/>
                </a:lnTo>
                <a:lnTo>
                  <a:pt x="1028" y="1697"/>
                </a:lnTo>
                <a:lnTo>
                  <a:pt x="1021" y="1694"/>
                </a:lnTo>
                <a:lnTo>
                  <a:pt x="1017" y="1697"/>
                </a:lnTo>
                <a:lnTo>
                  <a:pt x="1020" y="1699"/>
                </a:lnTo>
                <a:lnTo>
                  <a:pt x="1023" y="1700"/>
                </a:lnTo>
                <a:lnTo>
                  <a:pt x="1022" y="1702"/>
                </a:lnTo>
                <a:lnTo>
                  <a:pt x="1017" y="1702"/>
                </a:lnTo>
                <a:lnTo>
                  <a:pt x="1006" y="1701"/>
                </a:lnTo>
                <a:lnTo>
                  <a:pt x="996" y="1702"/>
                </a:lnTo>
                <a:lnTo>
                  <a:pt x="989" y="1703"/>
                </a:lnTo>
                <a:lnTo>
                  <a:pt x="984" y="1696"/>
                </a:lnTo>
                <a:lnTo>
                  <a:pt x="983" y="1696"/>
                </a:lnTo>
                <a:lnTo>
                  <a:pt x="983" y="1694"/>
                </a:lnTo>
                <a:lnTo>
                  <a:pt x="984" y="1693"/>
                </a:lnTo>
                <a:lnTo>
                  <a:pt x="986" y="1692"/>
                </a:lnTo>
                <a:lnTo>
                  <a:pt x="988" y="1691"/>
                </a:lnTo>
                <a:lnTo>
                  <a:pt x="991" y="1691"/>
                </a:lnTo>
                <a:lnTo>
                  <a:pt x="1003" y="1693"/>
                </a:lnTo>
                <a:lnTo>
                  <a:pt x="1013" y="1696"/>
                </a:lnTo>
                <a:lnTo>
                  <a:pt x="1003" y="1691"/>
                </a:lnTo>
                <a:lnTo>
                  <a:pt x="992" y="1688"/>
                </a:lnTo>
                <a:lnTo>
                  <a:pt x="988" y="1688"/>
                </a:lnTo>
                <a:lnTo>
                  <a:pt x="982" y="1690"/>
                </a:lnTo>
                <a:lnTo>
                  <a:pt x="980" y="1692"/>
                </a:lnTo>
                <a:lnTo>
                  <a:pt x="981" y="1696"/>
                </a:lnTo>
                <a:lnTo>
                  <a:pt x="975" y="1697"/>
                </a:lnTo>
                <a:lnTo>
                  <a:pt x="970" y="1696"/>
                </a:lnTo>
                <a:lnTo>
                  <a:pt x="967" y="1695"/>
                </a:lnTo>
                <a:lnTo>
                  <a:pt x="968" y="1693"/>
                </a:lnTo>
                <a:lnTo>
                  <a:pt x="975" y="1687"/>
                </a:lnTo>
                <a:lnTo>
                  <a:pt x="982" y="1683"/>
                </a:lnTo>
                <a:lnTo>
                  <a:pt x="986" y="1680"/>
                </a:lnTo>
                <a:lnTo>
                  <a:pt x="989" y="1678"/>
                </a:lnTo>
                <a:lnTo>
                  <a:pt x="993" y="1680"/>
                </a:lnTo>
                <a:lnTo>
                  <a:pt x="997" y="1684"/>
                </a:lnTo>
                <a:lnTo>
                  <a:pt x="1005" y="1683"/>
                </a:lnTo>
                <a:lnTo>
                  <a:pt x="1012" y="1680"/>
                </a:lnTo>
                <a:lnTo>
                  <a:pt x="996" y="1675"/>
                </a:lnTo>
                <a:lnTo>
                  <a:pt x="981" y="1677"/>
                </a:lnTo>
                <a:lnTo>
                  <a:pt x="980" y="1679"/>
                </a:lnTo>
                <a:lnTo>
                  <a:pt x="979" y="1683"/>
                </a:lnTo>
                <a:lnTo>
                  <a:pt x="976" y="1683"/>
                </a:lnTo>
                <a:lnTo>
                  <a:pt x="973" y="1683"/>
                </a:lnTo>
                <a:lnTo>
                  <a:pt x="966" y="1683"/>
                </a:lnTo>
                <a:lnTo>
                  <a:pt x="960" y="1686"/>
                </a:lnTo>
                <a:lnTo>
                  <a:pt x="965" y="1687"/>
                </a:lnTo>
                <a:lnTo>
                  <a:pt x="970" y="1690"/>
                </a:lnTo>
                <a:lnTo>
                  <a:pt x="960" y="1691"/>
                </a:lnTo>
                <a:lnTo>
                  <a:pt x="954" y="1688"/>
                </a:lnTo>
                <a:lnTo>
                  <a:pt x="951" y="1682"/>
                </a:lnTo>
                <a:lnTo>
                  <a:pt x="953" y="1674"/>
                </a:lnTo>
                <a:lnTo>
                  <a:pt x="945" y="1676"/>
                </a:lnTo>
                <a:lnTo>
                  <a:pt x="940" y="1670"/>
                </a:lnTo>
                <a:lnTo>
                  <a:pt x="943" y="1668"/>
                </a:lnTo>
                <a:lnTo>
                  <a:pt x="948" y="1669"/>
                </a:lnTo>
                <a:lnTo>
                  <a:pt x="951" y="1669"/>
                </a:lnTo>
                <a:lnTo>
                  <a:pt x="955" y="1670"/>
                </a:lnTo>
                <a:lnTo>
                  <a:pt x="957" y="1671"/>
                </a:lnTo>
                <a:lnTo>
                  <a:pt x="958" y="1670"/>
                </a:lnTo>
                <a:lnTo>
                  <a:pt x="957" y="1670"/>
                </a:lnTo>
                <a:lnTo>
                  <a:pt x="956" y="1671"/>
                </a:lnTo>
                <a:lnTo>
                  <a:pt x="958" y="1674"/>
                </a:lnTo>
                <a:lnTo>
                  <a:pt x="962" y="1675"/>
                </a:lnTo>
                <a:lnTo>
                  <a:pt x="960" y="1675"/>
                </a:lnTo>
                <a:lnTo>
                  <a:pt x="959" y="1675"/>
                </a:lnTo>
                <a:lnTo>
                  <a:pt x="958" y="1678"/>
                </a:lnTo>
                <a:lnTo>
                  <a:pt x="956" y="1683"/>
                </a:lnTo>
                <a:lnTo>
                  <a:pt x="957" y="1678"/>
                </a:lnTo>
                <a:lnTo>
                  <a:pt x="956" y="1683"/>
                </a:lnTo>
                <a:close/>
                <a:moveTo>
                  <a:pt x="981" y="1811"/>
                </a:moveTo>
                <a:lnTo>
                  <a:pt x="983" y="1815"/>
                </a:lnTo>
                <a:lnTo>
                  <a:pt x="989" y="1816"/>
                </a:lnTo>
                <a:lnTo>
                  <a:pt x="990" y="1812"/>
                </a:lnTo>
                <a:lnTo>
                  <a:pt x="984" y="1811"/>
                </a:lnTo>
                <a:lnTo>
                  <a:pt x="987" y="1810"/>
                </a:lnTo>
                <a:lnTo>
                  <a:pt x="988" y="1806"/>
                </a:lnTo>
                <a:lnTo>
                  <a:pt x="989" y="1802"/>
                </a:lnTo>
                <a:lnTo>
                  <a:pt x="991" y="1801"/>
                </a:lnTo>
                <a:lnTo>
                  <a:pt x="995" y="1801"/>
                </a:lnTo>
                <a:lnTo>
                  <a:pt x="998" y="1800"/>
                </a:lnTo>
                <a:lnTo>
                  <a:pt x="997" y="1796"/>
                </a:lnTo>
                <a:lnTo>
                  <a:pt x="995" y="1793"/>
                </a:lnTo>
                <a:lnTo>
                  <a:pt x="992" y="1790"/>
                </a:lnTo>
                <a:lnTo>
                  <a:pt x="991" y="1786"/>
                </a:lnTo>
                <a:lnTo>
                  <a:pt x="990" y="1784"/>
                </a:lnTo>
                <a:lnTo>
                  <a:pt x="989" y="1780"/>
                </a:lnTo>
                <a:lnTo>
                  <a:pt x="984" y="1778"/>
                </a:lnTo>
                <a:lnTo>
                  <a:pt x="979" y="1778"/>
                </a:lnTo>
                <a:lnTo>
                  <a:pt x="983" y="1780"/>
                </a:lnTo>
                <a:lnTo>
                  <a:pt x="988" y="1783"/>
                </a:lnTo>
                <a:lnTo>
                  <a:pt x="988" y="1787"/>
                </a:lnTo>
                <a:lnTo>
                  <a:pt x="984" y="1791"/>
                </a:lnTo>
                <a:lnTo>
                  <a:pt x="980" y="1793"/>
                </a:lnTo>
                <a:lnTo>
                  <a:pt x="974" y="1795"/>
                </a:lnTo>
                <a:lnTo>
                  <a:pt x="972" y="1795"/>
                </a:lnTo>
                <a:lnTo>
                  <a:pt x="971" y="1798"/>
                </a:lnTo>
                <a:lnTo>
                  <a:pt x="971" y="1799"/>
                </a:lnTo>
                <a:lnTo>
                  <a:pt x="972" y="1801"/>
                </a:lnTo>
                <a:lnTo>
                  <a:pt x="967" y="1801"/>
                </a:lnTo>
                <a:lnTo>
                  <a:pt x="965" y="1804"/>
                </a:lnTo>
                <a:lnTo>
                  <a:pt x="966" y="1807"/>
                </a:lnTo>
                <a:lnTo>
                  <a:pt x="970" y="1807"/>
                </a:lnTo>
                <a:lnTo>
                  <a:pt x="976" y="1807"/>
                </a:lnTo>
                <a:lnTo>
                  <a:pt x="981" y="1811"/>
                </a:lnTo>
                <a:lnTo>
                  <a:pt x="981" y="1808"/>
                </a:lnTo>
                <a:lnTo>
                  <a:pt x="981" y="1811"/>
                </a:lnTo>
                <a:lnTo>
                  <a:pt x="982" y="1811"/>
                </a:lnTo>
                <a:lnTo>
                  <a:pt x="981" y="1811"/>
                </a:lnTo>
                <a:lnTo>
                  <a:pt x="981" y="1811"/>
                </a:lnTo>
                <a:lnTo>
                  <a:pt x="981" y="1811"/>
                </a:lnTo>
                <a:lnTo>
                  <a:pt x="981" y="1811"/>
                </a:lnTo>
                <a:close/>
                <a:moveTo>
                  <a:pt x="1019" y="289"/>
                </a:moveTo>
                <a:lnTo>
                  <a:pt x="1024" y="283"/>
                </a:lnTo>
                <a:lnTo>
                  <a:pt x="1026" y="274"/>
                </a:lnTo>
                <a:lnTo>
                  <a:pt x="1020" y="280"/>
                </a:lnTo>
                <a:lnTo>
                  <a:pt x="1019" y="289"/>
                </a:lnTo>
                <a:close/>
                <a:moveTo>
                  <a:pt x="1272" y="207"/>
                </a:moveTo>
                <a:lnTo>
                  <a:pt x="1278" y="209"/>
                </a:lnTo>
                <a:lnTo>
                  <a:pt x="1284" y="208"/>
                </a:lnTo>
                <a:lnTo>
                  <a:pt x="1279" y="205"/>
                </a:lnTo>
                <a:lnTo>
                  <a:pt x="1277" y="201"/>
                </a:lnTo>
                <a:lnTo>
                  <a:pt x="1272" y="202"/>
                </a:lnTo>
                <a:lnTo>
                  <a:pt x="1272" y="207"/>
                </a:lnTo>
                <a:lnTo>
                  <a:pt x="1273" y="207"/>
                </a:lnTo>
                <a:lnTo>
                  <a:pt x="1272" y="207"/>
                </a:lnTo>
                <a:close/>
                <a:moveTo>
                  <a:pt x="1357" y="381"/>
                </a:moveTo>
                <a:lnTo>
                  <a:pt x="1352" y="374"/>
                </a:lnTo>
                <a:lnTo>
                  <a:pt x="1344" y="368"/>
                </a:lnTo>
                <a:lnTo>
                  <a:pt x="1349" y="376"/>
                </a:lnTo>
                <a:lnTo>
                  <a:pt x="1357" y="381"/>
                </a:lnTo>
                <a:close/>
                <a:moveTo>
                  <a:pt x="1553" y="1269"/>
                </a:moveTo>
                <a:lnTo>
                  <a:pt x="1560" y="1263"/>
                </a:lnTo>
                <a:lnTo>
                  <a:pt x="1563" y="1254"/>
                </a:lnTo>
                <a:lnTo>
                  <a:pt x="1556" y="1260"/>
                </a:lnTo>
                <a:lnTo>
                  <a:pt x="1553" y="1269"/>
                </a:lnTo>
                <a:lnTo>
                  <a:pt x="1555" y="1267"/>
                </a:lnTo>
                <a:lnTo>
                  <a:pt x="1553" y="1269"/>
                </a:lnTo>
                <a:close/>
                <a:moveTo>
                  <a:pt x="1011" y="1853"/>
                </a:moveTo>
                <a:lnTo>
                  <a:pt x="1008" y="1850"/>
                </a:lnTo>
                <a:lnTo>
                  <a:pt x="1005" y="1848"/>
                </a:lnTo>
                <a:lnTo>
                  <a:pt x="1001" y="1850"/>
                </a:lnTo>
                <a:lnTo>
                  <a:pt x="1000" y="1853"/>
                </a:lnTo>
                <a:lnTo>
                  <a:pt x="1003" y="1857"/>
                </a:lnTo>
                <a:lnTo>
                  <a:pt x="1006" y="1858"/>
                </a:lnTo>
                <a:lnTo>
                  <a:pt x="1008" y="1857"/>
                </a:lnTo>
                <a:lnTo>
                  <a:pt x="1011" y="1853"/>
                </a:lnTo>
                <a:lnTo>
                  <a:pt x="1008" y="1853"/>
                </a:lnTo>
                <a:lnTo>
                  <a:pt x="1011" y="1853"/>
                </a:lnTo>
                <a:close/>
                <a:moveTo>
                  <a:pt x="957" y="1829"/>
                </a:moveTo>
                <a:lnTo>
                  <a:pt x="948" y="1831"/>
                </a:lnTo>
                <a:lnTo>
                  <a:pt x="942" y="1834"/>
                </a:lnTo>
                <a:lnTo>
                  <a:pt x="949" y="1835"/>
                </a:lnTo>
                <a:lnTo>
                  <a:pt x="957" y="1829"/>
                </a:lnTo>
                <a:close/>
                <a:moveTo>
                  <a:pt x="971" y="1586"/>
                </a:moveTo>
                <a:lnTo>
                  <a:pt x="976" y="1591"/>
                </a:lnTo>
                <a:lnTo>
                  <a:pt x="983" y="1592"/>
                </a:lnTo>
                <a:lnTo>
                  <a:pt x="981" y="1585"/>
                </a:lnTo>
                <a:lnTo>
                  <a:pt x="978" y="1578"/>
                </a:lnTo>
                <a:lnTo>
                  <a:pt x="976" y="1584"/>
                </a:lnTo>
                <a:lnTo>
                  <a:pt x="971" y="1586"/>
                </a:lnTo>
                <a:lnTo>
                  <a:pt x="975" y="1588"/>
                </a:lnTo>
                <a:lnTo>
                  <a:pt x="971" y="1586"/>
                </a:lnTo>
                <a:close/>
                <a:moveTo>
                  <a:pt x="1028" y="1679"/>
                </a:moveTo>
                <a:lnTo>
                  <a:pt x="1026" y="1679"/>
                </a:lnTo>
                <a:lnTo>
                  <a:pt x="1024" y="1679"/>
                </a:lnTo>
                <a:lnTo>
                  <a:pt x="1025" y="1683"/>
                </a:lnTo>
                <a:lnTo>
                  <a:pt x="1026" y="1685"/>
                </a:lnTo>
                <a:lnTo>
                  <a:pt x="1026" y="1687"/>
                </a:lnTo>
                <a:lnTo>
                  <a:pt x="1029" y="1688"/>
                </a:lnTo>
                <a:lnTo>
                  <a:pt x="1031" y="1684"/>
                </a:lnTo>
                <a:lnTo>
                  <a:pt x="1028" y="1679"/>
                </a:lnTo>
                <a:lnTo>
                  <a:pt x="1029" y="1679"/>
                </a:lnTo>
                <a:lnTo>
                  <a:pt x="1028" y="1679"/>
                </a:lnTo>
                <a:close/>
                <a:moveTo>
                  <a:pt x="1194" y="65"/>
                </a:moveTo>
                <a:lnTo>
                  <a:pt x="1192" y="75"/>
                </a:lnTo>
                <a:lnTo>
                  <a:pt x="1194" y="84"/>
                </a:lnTo>
                <a:lnTo>
                  <a:pt x="1196" y="75"/>
                </a:lnTo>
                <a:lnTo>
                  <a:pt x="1194" y="65"/>
                </a:lnTo>
                <a:close/>
                <a:moveTo>
                  <a:pt x="1054" y="283"/>
                </a:moveTo>
                <a:lnTo>
                  <a:pt x="1054" y="277"/>
                </a:lnTo>
                <a:lnTo>
                  <a:pt x="1055" y="273"/>
                </a:lnTo>
                <a:lnTo>
                  <a:pt x="1049" y="277"/>
                </a:lnTo>
                <a:lnTo>
                  <a:pt x="1052" y="287"/>
                </a:lnTo>
                <a:lnTo>
                  <a:pt x="1053" y="284"/>
                </a:lnTo>
                <a:lnTo>
                  <a:pt x="1054" y="283"/>
                </a:lnTo>
                <a:lnTo>
                  <a:pt x="1054" y="282"/>
                </a:lnTo>
                <a:lnTo>
                  <a:pt x="1054" y="283"/>
                </a:lnTo>
                <a:close/>
                <a:moveTo>
                  <a:pt x="246" y="780"/>
                </a:moveTo>
                <a:lnTo>
                  <a:pt x="239" y="778"/>
                </a:lnTo>
                <a:lnTo>
                  <a:pt x="232" y="780"/>
                </a:lnTo>
                <a:lnTo>
                  <a:pt x="239" y="783"/>
                </a:lnTo>
                <a:lnTo>
                  <a:pt x="246" y="780"/>
                </a:lnTo>
                <a:close/>
                <a:moveTo>
                  <a:pt x="282" y="758"/>
                </a:moveTo>
                <a:lnTo>
                  <a:pt x="275" y="755"/>
                </a:lnTo>
                <a:lnTo>
                  <a:pt x="265" y="754"/>
                </a:lnTo>
                <a:lnTo>
                  <a:pt x="274" y="758"/>
                </a:lnTo>
                <a:lnTo>
                  <a:pt x="282" y="758"/>
                </a:lnTo>
                <a:close/>
                <a:moveTo>
                  <a:pt x="1536" y="1192"/>
                </a:moveTo>
                <a:lnTo>
                  <a:pt x="1533" y="1201"/>
                </a:lnTo>
                <a:lnTo>
                  <a:pt x="1530" y="1209"/>
                </a:lnTo>
                <a:lnTo>
                  <a:pt x="1538" y="1202"/>
                </a:lnTo>
                <a:lnTo>
                  <a:pt x="1536" y="1192"/>
                </a:lnTo>
                <a:lnTo>
                  <a:pt x="1536" y="1195"/>
                </a:lnTo>
                <a:lnTo>
                  <a:pt x="1536" y="1192"/>
                </a:lnTo>
                <a:close/>
                <a:moveTo>
                  <a:pt x="422" y="171"/>
                </a:moveTo>
                <a:lnTo>
                  <a:pt x="420" y="161"/>
                </a:lnTo>
                <a:lnTo>
                  <a:pt x="413" y="156"/>
                </a:lnTo>
                <a:lnTo>
                  <a:pt x="415" y="164"/>
                </a:lnTo>
                <a:lnTo>
                  <a:pt x="422" y="171"/>
                </a:lnTo>
                <a:close/>
                <a:moveTo>
                  <a:pt x="1571" y="911"/>
                </a:moveTo>
                <a:lnTo>
                  <a:pt x="1569" y="914"/>
                </a:lnTo>
                <a:lnTo>
                  <a:pt x="1571" y="919"/>
                </a:lnTo>
                <a:lnTo>
                  <a:pt x="1575" y="921"/>
                </a:lnTo>
                <a:lnTo>
                  <a:pt x="1581" y="922"/>
                </a:lnTo>
                <a:lnTo>
                  <a:pt x="1576" y="916"/>
                </a:lnTo>
                <a:lnTo>
                  <a:pt x="1571" y="911"/>
                </a:lnTo>
                <a:lnTo>
                  <a:pt x="1573" y="912"/>
                </a:lnTo>
                <a:lnTo>
                  <a:pt x="1571" y="911"/>
                </a:lnTo>
                <a:close/>
                <a:moveTo>
                  <a:pt x="791" y="1542"/>
                </a:moveTo>
                <a:lnTo>
                  <a:pt x="784" y="1547"/>
                </a:lnTo>
                <a:lnTo>
                  <a:pt x="778" y="1557"/>
                </a:lnTo>
                <a:lnTo>
                  <a:pt x="787" y="1551"/>
                </a:lnTo>
                <a:lnTo>
                  <a:pt x="791" y="1542"/>
                </a:lnTo>
                <a:close/>
                <a:moveTo>
                  <a:pt x="905" y="257"/>
                </a:moveTo>
                <a:lnTo>
                  <a:pt x="913" y="254"/>
                </a:lnTo>
                <a:lnTo>
                  <a:pt x="915" y="243"/>
                </a:lnTo>
                <a:lnTo>
                  <a:pt x="908" y="248"/>
                </a:lnTo>
                <a:lnTo>
                  <a:pt x="905" y="257"/>
                </a:lnTo>
                <a:lnTo>
                  <a:pt x="905" y="257"/>
                </a:lnTo>
                <a:lnTo>
                  <a:pt x="905" y="257"/>
                </a:lnTo>
                <a:close/>
                <a:moveTo>
                  <a:pt x="443" y="1469"/>
                </a:moveTo>
                <a:lnTo>
                  <a:pt x="451" y="1461"/>
                </a:lnTo>
                <a:lnTo>
                  <a:pt x="451" y="1452"/>
                </a:lnTo>
                <a:lnTo>
                  <a:pt x="446" y="1459"/>
                </a:lnTo>
                <a:lnTo>
                  <a:pt x="443" y="1469"/>
                </a:lnTo>
                <a:close/>
                <a:moveTo>
                  <a:pt x="915" y="1743"/>
                </a:moveTo>
                <a:lnTo>
                  <a:pt x="905" y="1741"/>
                </a:lnTo>
                <a:lnTo>
                  <a:pt x="896" y="1745"/>
                </a:lnTo>
                <a:lnTo>
                  <a:pt x="906" y="1745"/>
                </a:lnTo>
                <a:lnTo>
                  <a:pt x="915" y="1743"/>
                </a:lnTo>
                <a:close/>
                <a:moveTo>
                  <a:pt x="1586" y="1212"/>
                </a:moveTo>
                <a:lnTo>
                  <a:pt x="1585" y="1218"/>
                </a:lnTo>
                <a:lnTo>
                  <a:pt x="1588" y="1226"/>
                </a:lnTo>
                <a:lnTo>
                  <a:pt x="1590" y="1232"/>
                </a:lnTo>
                <a:lnTo>
                  <a:pt x="1593" y="1237"/>
                </a:lnTo>
                <a:lnTo>
                  <a:pt x="1592" y="1232"/>
                </a:lnTo>
                <a:lnTo>
                  <a:pt x="1592" y="1227"/>
                </a:lnTo>
                <a:lnTo>
                  <a:pt x="1594" y="1225"/>
                </a:lnTo>
                <a:lnTo>
                  <a:pt x="1596" y="1220"/>
                </a:lnTo>
                <a:lnTo>
                  <a:pt x="1592" y="1214"/>
                </a:lnTo>
                <a:lnTo>
                  <a:pt x="1586" y="1212"/>
                </a:lnTo>
                <a:lnTo>
                  <a:pt x="1590" y="1213"/>
                </a:lnTo>
                <a:lnTo>
                  <a:pt x="1586" y="1212"/>
                </a:lnTo>
                <a:close/>
                <a:moveTo>
                  <a:pt x="360" y="163"/>
                </a:moveTo>
                <a:lnTo>
                  <a:pt x="360" y="163"/>
                </a:lnTo>
                <a:lnTo>
                  <a:pt x="360" y="163"/>
                </a:lnTo>
                <a:lnTo>
                  <a:pt x="360" y="163"/>
                </a:lnTo>
                <a:lnTo>
                  <a:pt x="360" y="163"/>
                </a:lnTo>
                <a:close/>
                <a:moveTo>
                  <a:pt x="350" y="160"/>
                </a:moveTo>
                <a:lnTo>
                  <a:pt x="346" y="158"/>
                </a:lnTo>
                <a:lnTo>
                  <a:pt x="340" y="158"/>
                </a:lnTo>
                <a:lnTo>
                  <a:pt x="349" y="165"/>
                </a:lnTo>
                <a:lnTo>
                  <a:pt x="360" y="164"/>
                </a:lnTo>
                <a:lnTo>
                  <a:pt x="355" y="164"/>
                </a:lnTo>
                <a:lnTo>
                  <a:pt x="350" y="160"/>
                </a:lnTo>
                <a:lnTo>
                  <a:pt x="350" y="160"/>
                </a:lnTo>
                <a:lnTo>
                  <a:pt x="350" y="160"/>
                </a:lnTo>
                <a:close/>
                <a:moveTo>
                  <a:pt x="192" y="1209"/>
                </a:moveTo>
                <a:lnTo>
                  <a:pt x="192" y="1214"/>
                </a:lnTo>
                <a:lnTo>
                  <a:pt x="195" y="1219"/>
                </a:lnTo>
                <a:lnTo>
                  <a:pt x="198" y="1214"/>
                </a:lnTo>
                <a:lnTo>
                  <a:pt x="198" y="1210"/>
                </a:lnTo>
                <a:lnTo>
                  <a:pt x="196" y="1207"/>
                </a:lnTo>
                <a:lnTo>
                  <a:pt x="192" y="1209"/>
                </a:lnTo>
                <a:lnTo>
                  <a:pt x="191" y="1210"/>
                </a:lnTo>
                <a:lnTo>
                  <a:pt x="192" y="1209"/>
                </a:lnTo>
                <a:close/>
                <a:moveTo>
                  <a:pt x="902" y="234"/>
                </a:moveTo>
                <a:lnTo>
                  <a:pt x="902" y="234"/>
                </a:lnTo>
                <a:lnTo>
                  <a:pt x="902" y="234"/>
                </a:lnTo>
                <a:close/>
                <a:moveTo>
                  <a:pt x="893" y="230"/>
                </a:moveTo>
                <a:lnTo>
                  <a:pt x="891" y="229"/>
                </a:lnTo>
                <a:lnTo>
                  <a:pt x="886" y="229"/>
                </a:lnTo>
                <a:lnTo>
                  <a:pt x="885" y="231"/>
                </a:lnTo>
                <a:lnTo>
                  <a:pt x="885" y="233"/>
                </a:lnTo>
                <a:lnTo>
                  <a:pt x="883" y="241"/>
                </a:lnTo>
                <a:lnTo>
                  <a:pt x="885" y="246"/>
                </a:lnTo>
                <a:lnTo>
                  <a:pt x="893" y="240"/>
                </a:lnTo>
                <a:lnTo>
                  <a:pt x="901" y="235"/>
                </a:lnTo>
                <a:lnTo>
                  <a:pt x="899" y="232"/>
                </a:lnTo>
                <a:lnTo>
                  <a:pt x="893" y="230"/>
                </a:lnTo>
                <a:lnTo>
                  <a:pt x="898" y="227"/>
                </a:lnTo>
                <a:lnTo>
                  <a:pt x="900" y="232"/>
                </a:lnTo>
                <a:lnTo>
                  <a:pt x="900" y="232"/>
                </a:lnTo>
                <a:lnTo>
                  <a:pt x="900" y="232"/>
                </a:lnTo>
                <a:lnTo>
                  <a:pt x="904" y="235"/>
                </a:lnTo>
                <a:lnTo>
                  <a:pt x="907" y="238"/>
                </a:lnTo>
                <a:lnTo>
                  <a:pt x="909" y="232"/>
                </a:lnTo>
                <a:lnTo>
                  <a:pt x="906" y="227"/>
                </a:lnTo>
                <a:lnTo>
                  <a:pt x="906" y="227"/>
                </a:lnTo>
                <a:lnTo>
                  <a:pt x="906" y="227"/>
                </a:lnTo>
                <a:lnTo>
                  <a:pt x="900" y="224"/>
                </a:lnTo>
                <a:lnTo>
                  <a:pt x="894" y="218"/>
                </a:lnTo>
                <a:lnTo>
                  <a:pt x="892" y="224"/>
                </a:lnTo>
                <a:lnTo>
                  <a:pt x="893" y="230"/>
                </a:lnTo>
                <a:lnTo>
                  <a:pt x="894" y="231"/>
                </a:lnTo>
                <a:lnTo>
                  <a:pt x="893" y="230"/>
                </a:lnTo>
                <a:close/>
                <a:moveTo>
                  <a:pt x="965" y="1646"/>
                </a:moveTo>
                <a:lnTo>
                  <a:pt x="955" y="1647"/>
                </a:lnTo>
                <a:lnTo>
                  <a:pt x="947" y="1655"/>
                </a:lnTo>
                <a:lnTo>
                  <a:pt x="957" y="1653"/>
                </a:lnTo>
                <a:lnTo>
                  <a:pt x="965" y="1646"/>
                </a:lnTo>
                <a:close/>
                <a:moveTo>
                  <a:pt x="1206" y="97"/>
                </a:moveTo>
                <a:lnTo>
                  <a:pt x="1218" y="97"/>
                </a:lnTo>
                <a:lnTo>
                  <a:pt x="1230" y="93"/>
                </a:lnTo>
                <a:lnTo>
                  <a:pt x="1215" y="91"/>
                </a:lnTo>
                <a:lnTo>
                  <a:pt x="1206" y="97"/>
                </a:lnTo>
                <a:close/>
                <a:moveTo>
                  <a:pt x="1558" y="1275"/>
                </a:moveTo>
                <a:lnTo>
                  <a:pt x="1558" y="1278"/>
                </a:lnTo>
                <a:lnTo>
                  <a:pt x="1563" y="1279"/>
                </a:lnTo>
                <a:lnTo>
                  <a:pt x="1568" y="1273"/>
                </a:lnTo>
                <a:lnTo>
                  <a:pt x="1571" y="1267"/>
                </a:lnTo>
                <a:lnTo>
                  <a:pt x="1564" y="1270"/>
                </a:lnTo>
                <a:lnTo>
                  <a:pt x="1558" y="1275"/>
                </a:lnTo>
                <a:lnTo>
                  <a:pt x="1559" y="1273"/>
                </a:lnTo>
                <a:lnTo>
                  <a:pt x="1558" y="1275"/>
                </a:lnTo>
                <a:close/>
                <a:moveTo>
                  <a:pt x="255" y="1052"/>
                </a:moveTo>
                <a:lnTo>
                  <a:pt x="261" y="1051"/>
                </a:lnTo>
                <a:lnTo>
                  <a:pt x="267" y="1051"/>
                </a:lnTo>
                <a:lnTo>
                  <a:pt x="270" y="1053"/>
                </a:lnTo>
                <a:lnTo>
                  <a:pt x="272" y="1053"/>
                </a:lnTo>
                <a:lnTo>
                  <a:pt x="275" y="1052"/>
                </a:lnTo>
                <a:lnTo>
                  <a:pt x="278" y="1048"/>
                </a:lnTo>
                <a:lnTo>
                  <a:pt x="265" y="1046"/>
                </a:lnTo>
                <a:lnTo>
                  <a:pt x="255" y="1052"/>
                </a:lnTo>
                <a:lnTo>
                  <a:pt x="258" y="1047"/>
                </a:lnTo>
                <a:lnTo>
                  <a:pt x="255" y="1052"/>
                </a:lnTo>
                <a:close/>
                <a:moveTo>
                  <a:pt x="1029" y="1745"/>
                </a:moveTo>
                <a:lnTo>
                  <a:pt x="1034" y="1745"/>
                </a:lnTo>
                <a:lnTo>
                  <a:pt x="1041" y="1745"/>
                </a:lnTo>
                <a:lnTo>
                  <a:pt x="1040" y="1742"/>
                </a:lnTo>
                <a:lnTo>
                  <a:pt x="1033" y="1740"/>
                </a:lnTo>
                <a:lnTo>
                  <a:pt x="1028" y="1737"/>
                </a:lnTo>
                <a:lnTo>
                  <a:pt x="1023" y="1741"/>
                </a:lnTo>
                <a:lnTo>
                  <a:pt x="1024" y="1744"/>
                </a:lnTo>
                <a:lnTo>
                  <a:pt x="1029" y="1745"/>
                </a:lnTo>
                <a:lnTo>
                  <a:pt x="1028" y="1745"/>
                </a:lnTo>
                <a:lnTo>
                  <a:pt x="1029" y="1745"/>
                </a:lnTo>
                <a:close/>
                <a:moveTo>
                  <a:pt x="1606" y="1278"/>
                </a:moveTo>
                <a:lnTo>
                  <a:pt x="1606" y="1275"/>
                </a:lnTo>
                <a:lnTo>
                  <a:pt x="1606" y="1273"/>
                </a:lnTo>
                <a:lnTo>
                  <a:pt x="1607" y="1264"/>
                </a:lnTo>
                <a:lnTo>
                  <a:pt x="1602" y="1256"/>
                </a:lnTo>
                <a:lnTo>
                  <a:pt x="1602" y="1265"/>
                </a:lnTo>
                <a:lnTo>
                  <a:pt x="1606" y="1273"/>
                </a:lnTo>
                <a:lnTo>
                  <a:pt x="1606" y="1276"/>
                </a:lnTo>
                <a:lnTo>
                  <a:pt x="1606" y="1278"/>
                </a:lnTo>
                <a:close/>
                <a:moveTo>
                  <a:pt x="1489" y="766"/>
                </a:moveTo>
                <a:lnTo>
                  <a:pt x="1477" y="763"/>
                </a:lnTo>
                <a:lnTo>
                  <a:pt x="1462" y="758"/>
                </a:lnTo>
                <a:lnTo>
                  <a:pt x="1476" y="767"/>
                </a:lnTo>
                <a:lnTo>
                  <a:pt x="1489" y="766"/>
                </a:lnTo>
                <a:close/>
                <a:moveTo>
                  <a:pt x="997" y="1752"/>
                </a:moveTo>
                <a:lnTo>
                  <a:pt x="999" y="1754"/>
                </a:lnTo>
                <a:lnTo>
                  <a:pt x="1003" y="1754"/>
                </a:lnTo>
                <a:lnTo>
                  <a:pt x="1005" y="1752"/>
                </a:lnTo>
                <a:lnTo>
                  <a:pt x="1005" y="1750"/>
                </a:lnTo>
                <a:lnTo>
                  <a:pt x="1009" y="1750"/>
                </a:lnTo>
                <a:lnTo>
                  <a:pt x="1014" y="1749"/>
                </a:lnTo>
                <a:lnTo>
                  <a:pt x="1008" y="1745"/>
                </a:lnTo>
                <a:lnTo>
                  <a:pt x="1000" y="1745"/>
                </a:lnTo>
                <a:lnTo>
                  <a:pt x="997" y="1749"/>
                </a:lnTo>
                <a:lnTo>
                  <a:pt x="997" y="1752"/>
                </a:lnTo>
                <a:lnTo>
                  <a:pt x="996" y="1752"/>
                </a:lnTo>
                <a:lnTo>
                  <a:pt x="997" y="1752"/>
                </a:lnTo>
                <a:close/>
                <a:moveTo>
                  <a:pt x="893" y="1914"/>
                </a:moveTo>
                <a:lnTo>
                  <a:pt x="892" y="1918"/>
                </a:lnTo>
                <a:lnTo>
                  <a:pt x="893" y="1921"/>
                </a:lnTo>
                <a:lnTo>
                  <a:pt x="901" y="1918"/>
                </a:lnTo>
                <a:lnTo>
                  <a:pt x="909" y="1916"/>
                </a:lnTo>
                <a:lnTo>
                  <a:pt x="901" y="1912"/>
                </a:lnTo>
                <a:lnTo>
                  <a:pt x="893" y="1914"/>
                </a:lnTo>
                <a:lnTo>
                  <a:pt x="894" y="1914"/>
                </a:lnTo>
                <a:lnTo>
                  <a:pt x="893" y="1914"/>
                </a:lnTo>
                <a:close/>
                <a:moveTo>
                  <a:pt x="784" y="1594"/>
                </a:moveTo>
                <a:lnTo>
                  <a:pt x="780" y="1601"/>
                </a:lnTo>
                <a:lnTo>
                  <a:pt x="777" y="1608"/>
                </a:lnTo>
                <a:lnTo>
                  <a:pt x="783" y="1604"/>
                </a:lnTo>
                <a:lnTo>
                  <a:pt x="787" y="1599"/>
                </a:lnTo>
                <a:lnTo>
                  <a:pt x="789" y="1594"/>
                </a:lnTo>
                <a:lnTo>
                  <a:pt x="784" y="1594"/>
                </a:lnTo>
                <a:lnTo>
                  <a:pt x="783" y="1595"/>
                </a:lnTo>
                <a:lnTo>
                  <a:pt x="784" y="1594"/>
                </a:lnTo>
                <a:close/>
                <a:moveTo>
                  <a:pt x="335" y="167"/>
                </a:moveTo>
                <a:lnTo>
                  <a:pt x="330" y="161"/>
                </a:lnTo>
                <a:lnTo>
                  <a:pt x="323" y="153"/>
                </a:lnTo>
                <a:lnTo>
                  <a:pt x="328" y="165"/>
                </a:lnTo>
                <a:lnTo>
                  <a:pt x="335" y="167"/>
                </a:lnTo>
                <a:close/>
                <a:moveTo>
                  <a:pt x="925" y="1825"/>
                </a:moveTo>
                <a:lnTo>
                  <a:pt x="915" y="1825"/>
                </a:lnTo>
                <a:lnTo>
                  <a:pt x="906" y="1829"/>
                </a:lnTo>
                <a:lnTo>
                  <a:pt x="916" y="1828"/>
                </a:lnTo>
                <a:lnTo>
                  <a:pt x="925" y="1825"/>
                </a:lnTo>
                <a:close/>
                <a:moveTo>
                  <a:pt x="164" y="982"/>
                </a:moveTo>
                <a:lnTo>
                  <a:pt x="160" y="990"/>
                </a:lnTo>
                <a:lnTo>
                  <a:pt x="160" y="1001"/>
                </a:lnTo>
                <a:lnTo>
                  <a:pt x="166" y="990"/>
                </a:lnTo>
                <a:lnTo>
                  <a:pt x="164" y="982"/>
                </a:lnTo>
                <a:close/>
                <a:moveTo>
                  <a:pt x="249" y="1061"/>
                </a:moveTo>
                <a:lnTo>
                  <a:pt x="239" y="1068"/>
                </a:lnTo>
                <a:lnTo>
                  <a:pt x="233" y="1079"/>
                </a:lnTo>
                <a:lnTo>
                  <a:pt x="229" y="1084"/>
                </a:lnTo>
                <a:lnTo>
                  <a:pt x="225" y="1087"/>
                </a:lnTo>
                <a:lnTo>
                  <a:pt x="225" y="1093"/>
                </a:lnTo>
                <a:lnTo>
                  <a:pt x="226" y="1098"/>
                </a:lnTo>
                <a:lnTo>
                  <a:pt x="237" y="1089"/>
                </a:lnTo>
                <a:lnTo>
                  <a:pt x="247" y="1080"/>
                </a:lnTo>
                <a:lnTo>
                  <a:pt x="253" y="1073"/>
                </a:lnTo>
                <a:lnTo>
                  <a:pt x="249" y="1065"/>
                </a:lnTo>
                <a:lnTo>
                  <a:pt x="258" y="1063"/>
                </a:lnTo>
                <a:lnTo>
                  <a:pt x="266" y="1057"/>
                </a:lnTo>
                <a:lnTo>
                  <a:pt x="256" y="1055"/>
                </a:lnTo>
                <a:lnTo>
                  <a:pt x="249" y="1061"/>
                </a:lnTo>
                <a:lnTo>
                  <a:pt x="248" y="1057"/>
                </a:lnTo>
                <a:lnTo>
                  <a:pt x="249" y="1061"/>
                </a:lnTo>
                <a:close/>
                <a:moveTo>
                  <a:pt x="242" y="1077"/>
                </a:moveTo>
                <a:lnTo>
                  <a:pt x="243" y="1077"/>
                </a:lnTo>
                <a:lnTo>
                  <a:pt x="243" y="1078"/>
                </a:lnTo>
                <a:lnTo>
                  <a:pt x="243" y="1077"/>
                </a:lnTo>
                <a:lnTo>
                  <a:pt x="242" y="1077"/>
                </a:lnTo>
                <a:close/>
                <a:moveTo>
                  <a:pt x="241" y="1073"/>
                </a:moveTo>
                <a:lnTo>
                  <a:pt x="241" y="1074"/>
                </a:lnTo>
                <a:lnTo>
                  <a:pt x="242" y="1076"/>
                </a:lnTo>
                <a:lnTo>
                  <a:pt x="241" y="1074"/>
                </a:lnTo>
                <a:lnTo>
                  <a:pt x="241" y="1073"/>
                </a:lnTo>
                <a:close/>
                <a:moveTo>
                  <a:pt x="1646" y="964"/>
                </a:moveTo>
                <a:lnTo>
                  <a:pt x="1646" y="963"/>
                </a:lnTo>
                <a:lnTo>
                  <a:pt x="1646" y="962"/>
                </a:lnTo>
                <a:lnTo>
                  <a:pt x="1643" y="964"/>
                </a:lnTo>
                <a:lnTo>
                  <a:pt x="1641" y="963"/>
                </a:lnTo>
                <a:lnTo>
                  <a:pt x="1641" y="958"/>
                </a:lnTo>
                <a:lnTo>
                  <a:pt x="1644" y="955"/>
                </a:lnTo>
                <a:lnTo>
                  <a:pt x="1643" y="951"/>
                </a:lnTo>
                <a:lnTo>
                  <a:pt x="1639" y="947"/>
                </a:lnTo>
                <a:lnTo>
                  <a:pt x="1634" y="948"/>
                </a:lnTo>
                <a:lnTo>
                  <a:pt x="1631" y="951"/>
                </a:lnTo>
                <a:lnTo>
                  <a:pt x="1637" y="947"/>
                </a:lnTo>
                <a:lnTo>
                  <a:pt x="1638" y="943"/>
                </a:lnTo>
                <a:lnTo>
                  <a:pt x="1634" y="940"/>
                </a:lnTo>
                <a:lnTo>
                  <a:pt x="1630" y="939"/>
                </a:lnTo>
                <a:lnTo>
                  <a:pt x="1630" y="935"/>
                </a:lnTo>
                <a:lnTo>
                  <a:pt x="1625" y="935"/>
                </a:lnTo>
                <a:lnTo>
                  <a:pt x="1618" y="933"/>
                </a:lnTo>
                <a:lnTo>
                  <a:pt x="1615" y="928"/>
                </a:lnTo>
                <a:lnTo>
                  <a:pt x="1609" y="941"/>
                </a:lnTo>
                <a:lnTo>
                  <a:pt x="1611" y="956"/>
                </a:lnTo>
                <a:lnTo>
                  <a:pt x="1610" y="949"/>
                </a:lnTo>
                <a:lnTo>
                  <a:pt x="1615" y="946"/>
                </a:lnTo>
                <a:lnTo>
                  <a:pt x="1621" y="949"/>
                </a:lnTo>
                <a:lnTo>
                  <a:pt x="1621" y="957"/>
                </a:lnTo>
                <a:lnTo>
                  <a:pt x="1622" y="960"/>
                </a:lnTo>
                <a:lnTo>
                  <a:pt x="1624" y="961"/>
                </a:lnTo>
                <a:lnTo>
                  <a:pt x="1625" y="961"/>
                </a:lnTo>
                <a:lnTo>
                  <a:pt x="1626" y="962"/>
                </a:lnTo>
                <a:lnTo>
                  <a:pt x="1626" y="964"/>
                </a:lnTo>
                <a:lnTo>
                  <a:pt x="1627" y="966"/>
                </a:lnTo>
                <a:lnTo>
                  <a:pt x="1631" y="971"/>
                </a:lnTo>
                <a:lnTo>
                  <a:pt x="1634" y="976"/>
                </a:lnTo>
                <a:lnTo>
                  <a:pt x="1639" y="976"/>
                </a:lnTo>
                <a:lnTo>
                  <a:pt x="1641" y="972"/>
                </a:lnTo>
                <a:lnTo>
                  <a:pt x="1639" y="970"/>
                </a:lnTo>
                <a:lnTo>
                  <a:pt x="1637" y="966"/>
                </a:lnTo>
                <a:lnTo>
                  <a:pt x="1641" y="968"/>
                </a:lnTo>
                <a:lnTo>
                  <a:pt x="1646" y="964"/>
                </a:lnTo>
                <a:lnTo>
                  <a:pt x="1644" y="965"/>
                </a:lnTo>
                <a:lnTo>
                  <a:pt x="1646" y="964"/>
                </a:lnTo>
                <a:close/>
                <a:moveTo>
                  <a:pt x="1032" y="1715"/>
                </a:moveTo>
                <a:lnTo>
                  <a:pt x="1025" y="1713"/>
                </a:lnTo>
                <a:lnTo>
                  <a:pt x="1019" y="1718"/>
                </a:lnTo>
                <a:lnTo>
                  <a:pt x="1026" y="1723"/>
                </a:lnTo>
                <a:lnTo>
                  <a:pt x="1033" y="1727"/>
                </a:lnTo>
                <a:lnTo>
                  <a:pt x="1034" y="1720"/>
                </a:lnTo>
                <a:lnTo>
                  <a:pt x="1032" y="1715"/>
                </a:lnTo>
                <a:lnTo>
                  <a:pt x="1032" y="1715"/>
                </a:lnTo>
                <a:lnTo>
                  <a:pt x="1032" y="1715"/>
                </a:lnTo>
                <a:close/>
                <a:moveTo>
                  <a:pt x="1025" y="1718"/>
                </a:moveTo>
                <a:lnTo>
                  <a:pt x="1024" y="1717"/>
                </a:lnTo>
                <a:lnTo>
                  <a:pt x="1025" y="1717"/>
                </a:lnTo>
                <a:lnTo>
                  <a:pt x="1025" y="1717"/>
                </a:lnTo>
                <a:lnTo>
                  <a:pt x="1025" y="1718"/>
                </a:lnTo>
                <a:lnTo>
                  <a:pt x="1025" y="1717"/>
                </a:lnTo>
                <a:lnTo>
                  <a:pt x="1025" y="1718"/>
                </a:lnTo>
                <a:close/>
                <a:moveTo>
                  <a:pt x="907" y="1802"/>
                </a:moveTo>
                <a:lnTo>
                  <a:pt x="917" y="1806"/>
                </a:lnTo>
                <a:lnTo>
                  <a:pt x="929" y="1802"/>
                </a:lnTo>
                <a:lnTo>
                  <a:pt x="917" y="1800"/>
                </a:lnTo>
                <a:lnTo>
                  <a:pt x="907" y="1802"/>
                </a:lnTo>
                <a:close/>
                <a:moveTo>
                  <a:pt x="1593" y="951"/>
                </a:moveTo>
                <a:lnTo>
                  <a:pt x="1593" y="939"/>
                </a:lnTo>
                <a:lnTo>
                  <a:pt x="1583" y="932"/>
                </a:lnTo>
                <a:lnTo>
                  <a:pt x="1591" y="940"/>
                </a:lnTo>
                <a:lnTo>
                  <a:pt x="1593" y="951"/>
                </a:lnTo>
                <a:close/>
                <a:moveTo>
                  <a:pt x="354" y="1295"/>
                </a:moveTo>
                <a:lnTo>
                  <a:pt x="354" y="1292"/>
                </a:lnTo>
                <a:lnTo>
                  <a:pt x="354" y="1288"/>
                </a:lnTo>
                <a:lnTo>
                  <a:pt x="357" y="1280"/>
                </a:lnTo>
                <a:lnTo>
                  <a:pt x="356" y="1269"/>
                </a:lnTo>
                <a:lnTo>
                  <a:pt x="354" y="1279"/>
                </a:lnTo>
                <a:lnTo>
                  <a:pt x="354" y="1288"/>
                </a:lnTo>
                <a:lnTo>
                  <a:pt x="353" y="1292"/>
                </a:lnTo>
                <a:lnTo>
                  <a:pt x="354" y="1295"/>
                </a:lnTo>
                <a:close/>
                <a:moveTo>
                  <a:pt x="1017" y="1729"/>
                </a:moveTo>
                <a:lnTo>
                  <a:pt x="1009" y="1724"/>
                </a:lnTo>
                <a:lnTo>
                  <a:pt x="1001" y="1730"/>
                </a:lnTo>
                <a:lnTo>
                  <a:pt x="1008" y="1732"/>
                </a:lnTo>
                <a:lnTo>
                  <a:pt x="1014" y="1733"/>
                </a:lnTo>
                <a:lnTo>
                  <a:pt x="1021" y="1736"/>
                </a:lnTo>
                <a:lnTo>
                  <a:pt x="1026" y="1737"/>
                </a:lnTo>
                <a:lnTo>
                  <a:pt x="1022" y="1733"/>
                </a:lnTo>
                <a:lnTo>
                  <a:pt x="1017" y="1729"/>
                </a:lnTo>
                <a:lnTo>
                  <a:pt x="1015" y="1726"/>
                </a:lnTo>
                <a:lnTo>
                  <a:pt x="1017" y="1729"/>
                </a:lnTo>
                <a:close/>
                <a:moveTo>
                  <a:pt x="1625" y="1309"/>
                </a:moveTo>
                <a:lnTo>
                  <a:pt x="1624" y="1304"/>
                </a:lnTo>
                <a:lnTo>
                  <a:pt x="1619" y="1300"/>
                </a:lnTo>
                <a:lnTo>
                  <a:pt x="1617" y="1298"/>
                </a:lnTo>
                <a:lnTo>
                  <a:pt x="1615" y="1298"/>
                </a:lnTo>
                <a:lnTo>
                  <a:pt x="1613" y="1301"/>
                </a:lnTo>
                <a:lnTo>
                  <a:pt x="1614" y="1304"/>
                </a:lnTo>
                <a:lnTo>
                  <a:pt x="1617" y="1305"/>
                </a:lnTo>
                <a:lnTo>
                  <a:pt x="1621" y="1306"/>
                </a:lnTo>
                <a:lnTo>
                  <a:pt x="1622" y="1312"/>
                </a:lnTo>
                <a:lnTo>
                  <a:pt x="1624" y="1319"/>
                </a:lnTo>
                <a:lnTo>
                  <a:pt x="1625" y="1314"/>
                </a:lnTo>
                <a:lnTo>
                  <a:pt x="1625" y="1309"/>
                </a:lnTo>
                <a:lnTo>
                  <a:pt x="1625" y="1308"/>
                </a:lnTo>
                <a:lnTo>
                  <a:pt x="1625" y="1309"/>
                </a:lnTo>
                <a:close/>
                <a:moveTo>
                  <a:pt x="471" y="338"/>
                </a:moveTo>
                <a:lnTo>
                  <a:pt x="473" y="335"/>
                </a:lnTo>
                <a:lnTo>
                  <a:pt x="472" y="333"/>
                </a:lnTo>
                <a:lnTo>
                  <a:pt x="471" y="331"/>
                </a:lnTo>
                <a:lnTo>
                  <a:pt x="468" y="331"/>
                </a:lnTo>
                <a:lnTo>
                  <a:pt x="465" y="330"/>
                </a:lnTo>
                <a:lnTo>
                  <a:pt x="464" y="332"/>
                </a:lnTo>
                <a:lnTo>
                  <a:pt x="463" y="339"/>
                </a:lnTo>
                <a:lnTo>
                  <a:pt x="465" y="345"/>
                </a:lnTo>
                <a:lnTo>
                  <a:pt x="468" y="340"/>
                </a:lnTo>
                <a:lnTo>
                  <a:pt x="471" y="338"/>
                </a:lnTo>
                <a:lnTo>
                  <a:pt x="471" y="338"/>
                </a:lnTo>
                <a:lnTo>
                  <a:pt x="471" y="338"/>
                </a:lnTo>
                <a:close/>
                <a:moveTo>
                  <a:pt x="932" y="1543"/>
                </a:moveTo>
                <a:lnTo>
                  <a:pt x="938" y="1543"/>
                </a:lnTo>
                <a:lnTo>
                  <a:pt x="942" y="1542"/>
                </a:lnTo>
                <a:lnTo>
                  <a:pt x="945" y="1535"/>
                </a:lnTo>
                <a:lnTo>
                  <a:pt x="939" y="1531"/>
                </a:lnTo>
                <a:lnTo>
                  <a:pt x="933" y="1530"/>
                </a:lnTo>
                <a:lnTo>
                  <a:pt x="929" y="1535"/>
                </a:lnTo>
                <a:lnTo>
                  <a:pt x="929" y="1541"/>
                </a:lnTo>
                <a:lnTo>
                  <a:pt x="932" y="1543"/>
                </a:lnTo>
                <a:lnTo>
                  <a:pt x="932" y="1543"/>
                </a:lnTo>
                <a:lnTo>
                  <a:pt x="932" y="1543"/>
                </a:lnTo>
                <a:close/>
                <a:moveTo>
                  <a:pt x="781" y="1586"/>
                </a:moveTo>
                <a:lnTo>
                  <a:pt x="784" y="1587"/>
                </a:lnTo>
                <a:lnTo>
                  <a:pt x="789" y="1586"/>
                </a:lnTo>
                <a:lnTo>
                  <a:pt x="787" y="1579"/>
                </a:lnTo>
                <a:lnTo>
                  <a:pt x="789" y="1569"/>
                </a:lnTo>
                <a:lnTo>
                  <a:pt x="783" y="1575"/>
                </a:lnTo>
                <a:lnTo>
                  <a:pt x="778" y="1580"/>
                </a:lnTo>
                <a:lnTo>
                  <a:pt x="778" y="1585"/>
                </a:lnTo>
                <a:lnTo>
                  <a:pt x="781" y="1586"/>
                </a:lnTo>
                <a:lnTo>
                  <a:pt x="781" y="1587"/>
                </a:lnTo>
                <a:lnTo>
                  <a:pt x="781" y="1586"/>
                </a:lnTo>
                <a:close/>
                <a:moveTo>
                  <a:pt x="1538" y="1239"/>
                </a:moveTo>
                <a:lnTo>
                  <a:pt x="1543" y="1242"/>
                </a:lnTo>
                <a:lnTo>
                  <a:pt x="1545" y="1236"/>
                </a:lnTo>
                <a:lnTo>
                  <a:pt x="1548" y="1230"/>
                </a:lnTo>
                <a:lnTo>
                  <a:pt x="1550" y="1225"/>
                </a:lnTo>
                <a:lnTo>
                  <a:pt x="1549" y="1221"/>
                </a:lnTo>
                <a:lnTo>
                  <a:pt x="1544" y="1223"/>
                </a:lnTo>
                <a:lnTo>
                  <a:pt x="1547" y="1217"/>
                </a:lnTo>
                <a:lnTo>
                  <a:pt x="1547" y="1211"/>
                </a:lnTo>
                <a:lnTo>
                  <a:pt x="1541" y="1219"/>
                </a:lnTo>
                <a:lnTo>
                  <a:pt x="1539" y="1229"/>
                </a:lnTo>
                <a:lnTo>
                  <a:pt x="1534" y="1236"/>
                </a:lnTo>
                <a:lnTo>
                  <a:pt x="1538" y="1239"/>
                </a:lnTo>
                <a:lnTo>
                  <a:pt x="1540" y="1243"/>
                </a:lnTo>
                <a:lnTo>
                  <a:pt x="1538" y="1239"/>
                </a:lnTo>
                <a:close/>
                <a:moveTo>
                  <a:pt x="954" y="1591"/>
                </a:moveTo>
                <a:lnTo>
                  <a:pt x="943" y="1591"/>
                </a:lnTo>
                <a:lnTo>
                  <a:pt x="934" y="1593"/>
                </a:lnTo>
                <a:lnTo>
                  <a:pt x="935" y="1594"/>
                </a:lnTo>
                <a:lnTo>
                  <a:pt x="938" y="1595"/>
                </a:lnTo>
                <a:lnTo>
                  <a:pt x="939" y="1595"/>
                </a:lnTo>
                <a:lnTo>
                  <a:pt x="941" y="1595"/>
                </a:lnTo>
                <a:lnTo>
                  <a:pt x="941" y="1596"/>
                </a:lnTo>
                <a:lnTo>
                  <a:pt x="942" y="1597"/>
                </a:lnTo>
                <a:lnTo>
                  <a:pt x="948" y="1599"/>
                </a:lnTo>
                <a:lnTo>
                  <a:pt x="954" y="1600"/>
                </a:lnTo>
                <a:lnTo>
                  <a:pt x="970" y="1601"/>
                </a:lnTo>
                <a:lnTo>
                  <a:pt x="987" y="1602"/>
                </a:lnTo>
                <a:lnTo>
                  <a:pt x="981" y="1600"/>
                </a:lnTo>
                <a:lnTo>
                  <a:pt x="975" y="1599"/>
                </a:lnTo>
                <a:lnTo>
                  <a:pt x="973" y="1597"/>
                </a:lnTo>
                <a:lnTo>
                  <a:pt x="971" y="1596"/>
                </a:lnTo>
                <a:lnTo>
                  <a:pt x="971" y="1594"/>
                </a:lnTo>
                <a:lnTo>
                  <a:pt x="970" y="1592"/>
                </a:lnTo>
                <a:lnTo>
                  <a:pt x="962" y="1589"/>
                </a:lnTo>
                <a:lnTo>
                  <a:pt x="954" y="1591"/>
                </a:lnTo>
                <a:lnTo>
                  <a:pt x="954" y="1589"/>
                </a:lnTo>
                <a:lnTo>
                  <a:pt x="954" y="1591"/>
                </a:lnTo>
                <a:close/>
                <a:moveTo>
                  <a:pt x="965" y="1634"/>
                </a:moveTo>
                <a:lnTo>
                  <a:pt x="955" y="1634"/>
                </a:lnTo>
                <a:lnTo>
                  <a:pt x="943" y="1634"/>
                </a:lnTo>
                <a:lnTo>
                  <a:pt x="937" y="1626"/>
                </a:lnTo>
                <a:lnTo>
                  <a:pt x="927" y="1625"/>
                </a:lnTo>
                <a:lnTo>
                  <a:pt x="927" y="1626"/>
                </a:lnTo>
                <a:lnTo>
                  <a:pt x="926" y="1627"/>
                </a:lnTo>
                <a:lnTo>
                  <a:pt x="925" y="1628"/>
                </a:lnTo>
                <a:lnTo>
                  <a:pt x="924" y="1628"/>
                </a:lnTo>
                <a:lnTo>
                  <a:pt x="922" y="1630"/>
                </a:lnTo>
                <a:lnTo>
                  <a:pt x="922" y="1634"/>
                </a:lnTo>
                <a:lnTo>
                  <a:pt x="927" y="1636"/>
                </a:lnTo>
                <a:lnTo>
                  <a:pt x="934" y="1635"/>
                </a:lnTo>
                <a:lnTo>
                  <a:pt x="940" y="1637"/>
                </a:lnTo>
                <a:lnTo>
                  <a:pt x="946" y="1638"/>
                </a:lnTo>
                <a:lnTo>
                  <a:pt x="956" y="1636"/>
                </a:lnTo>
                <a:lnTo>
                  <a:pt x="965" y="1634"/>
                </a:lnTo>
                <a:lnTo>
                  <a:pt x="958" y="1634"/>
                </a:lnTo>
                <a:lnTo>
                  <a:pt x="965" y="1634"/>
                </a:lnTo>
                <a:close/>
                <a:moveTo>
                  <a:pt x="1527" y="1237"/>
                </a:moveTo>
                <a:lnTo>
                  <a:pt x="1535" y="1225"/>
                </a:lnTo>
                <a:lnTo>
                  <a:pt x="1541" y="1212"/>
                </a:lnTo>
                <a:lnTo>
                  <a:pt x="1542" y="1207"/>
                </a:lnTo>
                <a:lnTo>
                  <a:pt x="1542" y="1203"/>
                </a:lnTo>
                <a:lnTo>
                  <a:pt x="1540" y="1202"/>
                </a:lnTo>
                <a:lnTo>
                  <a:pt x="1538" y="1204"/>
                </a:lnTo>
                <a:lnTo>
                  <a:pt x="1536" y="1209"/>
                </a:lnTo>
                <a:lnTo>
                  <a:pt x="1535" y="1212"/>
                </a:lnTo>
                <a:lnTo>
                  <a:pt x="1534" y="1215"/>
                </a:lnTo>
                <a:lnTo>
                  <a:pt x="1532" y="1219"/>
                </a:lnTo>
                <a:lnTo>
                  <a:pt x="1527" y="1228"/>
                </a:lnTo>
                <a:lnTo>
                  <a:pt x="1527" y="1237"/>
                </a:lnTo>
                <a:lnTo>
                  <a:pt x="1528" y="1228"/>
                </a:lnTo>
                <a:lnTo>
                  <a:pt x="1527" y="1237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close/>
                <a:moveTo>
                  <a:pt x="1538" y="1203"/>
                </a:move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lnTo>
                  <a:pt x="1538" y="1203"/>
                </a:lnTo>
                <a:close/>
                <a:moveTo>
                  <a:pt x="1248" y="1583"/>
                </a:moveTo>
                <a:lnTo>
                  <a:pt x="1248" y="1566"/>
                </a:lnTo>
                <a:lnTo>
                  <a:pt x="1248" y="1550"/>
                </a:lnTo>
                <a:lnTo>
                  <a:pt x="1244" y="1566"/>
                </a:lnTo>
                <a:lnTo>
                  <a:pt x="1248" y="1583"/>
                </a:lnTo>
                <a:close/>
                <a:moveTo>
                  <a:pt x="917" y="1605"/>
                </a:moveTo>
                <a:lnTo>
                  <a:pt x="917" y="1605"/>
                </a:lnTo>
                <a:lnTo>
                  <a:pt x="917" y="1605"/>
                </a:lnTo>
                <a:lnTo>
                  <a:pt x="917" y="1605"/>
                </a:lnTo>
                <a:lnTo>
                  <a:pt x="917" y="1605"/>
                </a:lnTo>
                <a:close/>
                <a:moveTo>
                  <a:pt x="913" y="1612"/>
                </a:moveTo>
                <a:lnTo>
                  <a:pt x="921" y="1610"/>
                </a:lnTo>
                <a:lnTo>
                  <a:pt x="929" y="1611"/>
                </a:lnTo>
                <a:lnTo>
                  <a:pt x="935" y="1610"/>
                </a:lnTo>
                <a:lnTo>
                  <a:pt x="943" y="1609"/>
                </a:lnTo>
                <a:lnTo>
                  <a:pt x="946" y="1607"/>
                </a:lnTo>
                <a:lnTo>
                  <a:pt x="948" y="1609"/>
                </a:lnTo>
                <a:lnTo>
                  <a:pt x="949" y="1609"/>
                </a:lnTo>
                <a:lnTo>
                  <a:pt x="950" y="1610"/>
                </a:lnTo>
                <a:lnTo>
                  <a:pt x="955" y="1612"/>
                </a:lnTo>
                <a:lnTo>
                  <a:pt x="959" y="1612"/>
                </a:lnTo>
                <a:lnTo>
                  <a:pt x="965" y="1612"/>
                </a:lnTo>
                <a:lnTo>
                  <a:pt x="971" y="1609"/>
                </a:lnTo>
                <a:lnTo>
                  <a:pt x="960" y="1608"/>
                </a:lnTo>
                <a:lnTo>
                  <a:pt x="950" y="1605"/>
                </a:lnTo>
                <a:lnTo>
                  <a:pt x="948" y="1605"/>
                </a:lnTo>
                <a:lnTo>
                  <a:pt x="946" y="1607"/>
                </a:lnTo>
                <a:lnTo>
                  <a:pt x="945" y="1607"/>
                </a:lnTo>
                <a:lnTo>
                  <a:pt x="945" y="1604"/>
                </a:lnTo>
                <a:lnTo>
                  <a:pt x="942" y="1603"/>
                </a:lnTo>
                <a:lnTo>
                  <a:pt x="940" y="1602"/>
                </a:lnTo>
                <a:lnTo>
                  <a:pt x="931" y="1602"/>
                </a:lnTo>
                <a:lnTo>
                  <a:pt x="923" y="1604"/>
                </a:lnTo>
                <a:lnTo>
                  <a:pt x="916" y="1607"/>
                </a:lnTo>
                <a:lnTo>
                  <a:pt x="913" y="1612"/>
                </a:lnTo>
                <a:lnTo>
                  <a:pt x="916" y="1608"/>
                </a:lnTo>
                <a:lnTo>
                  <a:pt x="913" y="1612"/>
                </a:lnTo>
                <a:close/>
                <a:moveTo>
                  <a:pt x="587" y="499"/>
                </a:moveTo>
                <a:lnTo>
                  <a:pt x="585" y="503"/>
                </a:lnTo>
                <a:lnTo>
                  <a:pt x="585" y="508"/>
                </a:lnTo>
                <a:lnTo>
                  <a:pt x="583" y="514"/>
                </a:lnTo>
                <a:lnTo>
                  <a:pt x="584" y="520"/>
                </a:lnTo>
                <a:lnTo>
                  <a:pt x="591" y="516"/>
                </a:lnTo>
                <a:lnTo>
                  <a:pt x="595" y="509"/>
                </a:lnTo>
                <a:lnTo>
                  <a:pt x="595" y="505"/>
                </a:lnTo>
                <a:lnTo>
                  <a:pt x="594" y="503"/>
                </a:lnTo>
                <a:lnTo>
                  <a:pt x="591" y="500"/>
                </a:lnTo>
                <a:lnTo>
                  <a:pt x="587" y="499"/>
                </a:lnTo>
                <a:lnTo>
                  <a:pt x="588" y="499"/>
                </a:lnTo>
                <a:lnTo>
                  <a:pt x="587" y="499"/>
                </a:lnTo>
                <a:close/>
                <a:moveTo>
                  <a:pt x="1192" y="108"/>
                </a:moveTo>
                <a:lnTo>
                  <a:pt x="1209" y="106"/>
                </a:lnTo>
                <a:lnTo>
                  <a:pt x="1226" y="102"/>
                </a:lnTo>
                <a:lnTo>
                  <a:pt x="1218" y="99"/>
                </a:lnTo>
                <a:lnTo>
                  <a:pt x="1209" y="100"/>
                </a:lnTo>
                <a:lnTo>
                  <a:pt x="1199" y="103"/>
                </a:lnTo>
                <a:lnTo>
                  <a:pt x="1192" y="108"/>
                </a:lnTo>
                <a:lnTo>
                  <a:pt x="1199" y="105"/>
                </a:lnTo>
                <a:lnTo>
                  <a:pt x="1192" y="108"/>
                </a:lnTo>
                <a:close/>
                <a:moveTo>
                  <a:pt x="156" y="954"/>
                </a:moveTo>
                <a:lnTo>
                  <a:pt x="173" y="947"/>
                </a:lnTo>
                <a:lnTo>
                  <a:pt x="189" y="935"/>
                </a:lnTo>
                <a:lnTo>
                  <a:pt x="169" y="941"/>
                </a:lnTo>
                <a:lnTo>
                  <a:pt x="156" y="954"/>
                </a:lnTo>
                <a:close/>
                <a:moveTo>
                  <a:pt x="973" y="1719"/>
                </a:moveTo>
                <a:lnTo>
                  <a:pt x="975" y="1719"/>
                </a:lnTo>
                <a:lnTo>
                  <a:pt x="976" y="1717"/>
                </a:lnTo>
                <a:lnTo>
                  <a:pt x="983" y="1718"/>
                </a:lnTo>
                <a:lnTo>
                  <a:pt x="988" y="1721"/>
                </a:lnTo>
                <a:lnTo>
                  <a:pt x="987" y="1721"/>
                </a:lnTo>
                <a:lnTo>
                  <a:pt x="988" y="1721"/>
                </a:lnTo>
                <a:lnTo>
                  <a:pt x="997" y="1724"/>
                </a:lnTo>
                <a:lnTo>
                  <a:pt x="997" y="1717"/>
                </a:lnTo>
                <a:lnTo>
                  <a:pt x="987" y="1713"/>
                </a:lnTo>
                <a:lnTo>
                  <a:pt x="976" y="1717"/>
                </a:lnTo>
                <a:lnTo>
                  <a:pt x="975" y="1718"/>
                </a:lnTo>
                <a:lnTo>
                  <a:pt x="973" y="1719"/>
                </a:lnTo>
                <a:lnTo>
                  <a:pt x="974" y="1720"/>
                </a:lnTo>
                <a:lnTo>
                  <a:pt x="973" y="1719"/>
                </a:lnTo>
                <a:lnTo>
                  <a:pt x="973" y="1719"/>
                </a:lnTo>
                <a:close/>
                <a:moveTo>
                  <a:pt x="1243" y="1545"/>
                </a:moveTo>
                <a:lnTo>
                  <a:pt x="1246" y="1543"/>
                </a:lnTo>
                <a:lnTo>
                  <a:pt x="1248" y="1537"/>
                </a:lnTo>
                <a:lnTo>
                  <a:pt x="1248" y="1534"/>
                </a:lnTo>
                <a:lnTo>
                  <a:pt x="1250" y="1530"/>
                </a:lnTo>
                <a:lnTo>
                  <a:pt x="1251" y="1520"/>
                </a:lnTo>
                <a:lnTo>
                  <a:pt x="1247" y="1511"/>
                </a:lnTo>
                <a:lnTo>
                  <a:pt x="1245" y="1528"/>
                </a:lnTo>
                <a:lnTo>
                  <a:pt x="1243" y="1545"/>
                </a:lnTo>
                <a:lnTo>
                  <a:pt x="1244" y="1541"/>
                </a:lnTo>
                <a:lnTo>
                  <a:pt x="1243" y="1545"/>
                </a:lnTo>
                <a:close/>
                <a:moveTo>
                  <a:pt x="900" y="1680"/>
                </a:moveTo>
                <a:lnTo>
                  <a:pt x="902" y="1685"/>
                </a:lnTo>
                <a:lnTo>
                  <a:pt x="906" y="1688"/>
                </a:lnTo>
                <a:lnTo>
                  <a:pt x="912" y="1688"/>
                </a:lnTo>
                <a:lnTo>
                  <a:pt x="916" y="1688"/>
                </a:lnTo>
                <a:lnTo>
                  <a:pt x="918" y="1692"/>
                </a:lnTo>
                <a:lnTo>
                  <a:pt x="921" y="1696"/>
                </a:lnTo>
                <a:lnTo>
                  <a:pt x="925" y="1696"/>
                </a:lnTo>
                <a:lnTo>
                  <a:pt x="929" y="1696"/>
                </a:lnTo>
                <a:lnTo>
                  <a:pt x="933" y="1697"/>
                </a:lnTo>
                <a:lnTo>
                  <a:pt x="934" y="1694"/>
                </a:lnTo>
                <a:lnTo>
                  <a:pt x="932" y="1690"/>
                </a:lnTo>
                <a:lnTo>
                  <a:pt x="929" y="1686"/>
                </a:lnTo>
                <a:lnTo>
                  <a:pt x="921" y="1684"/>
                </a:lnTo>
                <a:lnTo>
                  <a:pt x="913" y="1682"/>
                </a:lnTo>
                <a:lnTo>
                  <a:pt x="907" y="1679"/>
                </a:lnTo>
                <a:lnTo>
                  <a:pt x="900" y="1680"/>
                </a:lnTo>
                <a:lnTo>
                  <a:pt x="900" y="1680"/>
                </a:lnTo>
                <a:lnTo>
                  <a:pt x="900" y="1680"/>
                </a:lnTo>
                <a:close/>
                <a:moveTo>
                  <a:pt x="991" y="1881"/>
                </a:moveTo>
                <a:lnTo>
                  <a:pt x="966" y="1875"/>
                </a:lnTo>
                <a:lnTo>
                  <a:pt x="943" y="1879"/>
                </a:lnTo>
                <a:lnTo>
                  <a:pt x="966" y="1879"/>
                </a:lnTo>
                <a:lnTo>
                  <a:pt x="991" y="1881"/>
                </a:lnTo>
                <a:close/>
                <a:moveTo>
                  <a:pt x="1556" y="1261"/>
                </a:moveTo>
                <a:lnTo>
                  <a:pt x="1555" y="1260"/>
                </a:lnTo>
                <a:lnTo>
                  <a:pt x="1553" y="1259"/>
                </a:lnTo>
                <a:lnTo>
                  <a:pt x="1553" y="1260"/>
                </a:lnTo>
                <a:lnTo>
                  <a:pt x="1556" y="1261"/>
                </a:lnTo>
                <a:close/>
                <a:moveTo>
                  <a:pt x="183" y="810"/>
                </a:moveTo>
                <a:lnTo>
                  <a:pt x="168" y="805"/>
                </a:lnTo>
                <a:lnTo>
                  <a:pt x="155" y="813"/>
                </a:lnTo>
                <a:lnTo>
                  <a:pt x="168" y="817"/>
                </a:lnTo>
                <a:lnTo>
                  <a:pt x="183" y="810"/>
                </a:lnTo>
                <a:close/>
                <a:moveTo>
                  <a:pt x="1015" y="1808"/>
                </a:moveTo>
                <a:lnTo>
                  <a:pt x="1022" y="1809"/>
                </a:lnTo>
                <a:lnTo>
                  <a:pt x="1030" y="1808"/>
                </a:lnTo>
                <a:lnTo>
                  <a:pt x="1024" y="1798"/>
                </a:lnTo>
                <a:lnTo>
                  <a:pt x="1016" y="1793"/>
                </a:lnTo>
                <a:lnTo>
                  <a:pt x="1019" y="1795"/>
                </a:lnTo>
                <a:lnTo>
                  <a:pt x="1021" y="1798"/>
                </a:lnTo>
                <a:lnTo>
                  <a:pt x="1014" y="1798"/>
                </a:lnTo>
                <a:lnTo>
                  <a:pt x="1007" y="1801"/>
                </a:lnTo>
                <a:lnTo>
                  <a:pt x="1009" y="1807"/>
                </a:lnTo>
                <a:lnTo>
                  <a:pt x="1015" y="1808"/>
                </a:lnTo>
                <a:lnTo>
                  <a:pt x="1015" y="1808"/>
                </a:lnTo>
                <a:lnTo>
                  <a:pt x="1015" y="1808"/>
                </a:lnTo>
                <a:close/>
                <a:moveTo>
                  <a:pt x="358" y="951"/>
                </a:moveTo>
                <a:lnTo>
                  <a:pt x="366" y="945"/>
                </a:lnTo>
                <a:lnTo>
                  <a:pt x="374" y="941"/>
                </a:lnTo>
                <a:lnTo>
                  <a:pt x="383" y="938"/>
                </a:lnTo>
                <a:lnTo>
                  <a:pt x="391" y="931"/>
                </a:lnTo>
                <a:lnTo>
                  <a:pt x="378" y="935"/>
                </a:lnTo>
                <a:lnTo>
                  <a:pt x="364" y="940"/>
                </a:lnTo>
                <a:lnTo>
                  <a:pt x="358" y="943"/>
                </a:lnTo>
                <a:lnTo>
                  <a:pt x="354" y="946"/>
                </a:lnTo>
                <a:lnTo>
                  <a:pt x="353" y="951"/>
                </a:lnTo>
                <a:lnTo>
                  <a:pt x="358" y="951"/>
                </a:lnTo>
                <a:lnTo>
                  <a:pt x="361" y="949"/>
                </a:lnTo>
                <a:lnTo>
                  <a:pt x="358" y="951"/>
                </a:lnTo>
                <a:close/>
                <a:moveTo>
                  <a:pt x="1206" y="80"/>
                </a:moveTo>
                <a:lnTo>
                  <a:pt x="1207" y="81"/>
                </a:lnTo>
                <a:lnTo>
                  <a:pt x="1210" y="83"/>
                </a:lnTo>
                <a:lnTo>
                  <a:pt x="1212" y="78"/>
                </a:lnTo>
                <a:lnTo>
                  <a:pt x="1217" y="74"/>
                </a:lnTo>
                <a:lnTo>
                  <a:pt x="1219" y="73"/>
                </a:lnTo>
                <a:lnTo>
                  <a:pt x="1222" y="73"/>
                </a:lnTo>
                <a:lnTo>
                  <a:pt x="1223" y="75"/>
                </a:lnTo>
                <a:lnTo>
                  <a:pt x="1227" y="77"/>
                </a:lnTo>
                <a:lnTo>
                  <a:pt x="1231" y="76"/>
                </a:lnTo>
                <a:lnTo>
                  <a:pt x="1237" y="75"/>
                </a:lnTo>
                <a:lnTo>
                  <a:pt x="1239" y="74"/>
                </a:lnTo>
                <a:lnTo>
                  <a:pt x="1242" y="75"/>
                </a:lnTo>
                <a:lnTo>
                  <a:pt x="1242" y="76"/>
                </a:lnTo>
                <a:lnTo>
                  <a:pt x="1240" y="78"/>
                </a:lnTo>
                <a:lnTo>
                  <a:pt x="1243" y="80"/>
                </a:lnTo>
                <a:lnTo>
                  <a:pt x="1246" y="78"/>
                </a:lnTo>
                <a:lnTo>
                  <a:pt x="1248" y="76"/>
                </a:lnTo>
                <a:lnTo>
                  <a:pt x="1247" y="72"/>
                </a:lnTo>
                <a:lnTo>
                  <a:pt x="1250" y="72"/>
                </a:lnTo>
                <a:lnTo>
                  <a:pt x="1251" y="72"/>
                </a:lnTo>
                <a:lnTo>
                  <a:pt x="1247" y="69"/>
                </a:lnTo>
                <a:lnTo>
                  <a:pt x="1243" y="69"/>
                </a:lnTo>
                <a:lnTo>
                  <a:pt x="1232" y="72"/>
                </a:lnTo>
                <a:lnTo>
                  <a:pt x="1222" y="73"/>
                </a:lnTo>
                <a:lnTo>
                  <a:pt x="1226" y="65"/>
                </a:lnTo>
                <a:lnTo>
                  <a:pt x="1231" y="57"/>
                </a:lnTo>
                <a:lnTo>
                  <a:pt x="1220" y="59"/>
                </a:lnTo>
                <a:lnTo>
                  <a:pt x="1211" y="68"/>
                </a:lnTo>
                <a:lnTo>
                  <a:pt x="1206" y="72"/>
                </a:lnTo>
                <a:lnTo>
                  <a:pt x="1203" y="75"/>
                </a:lnTo>
                <a:lnTo>
                  <a:pt x="1203" y="78"/>
                </a:lnTo>
                <a:lnTo>
                  <a:pt x="1206" y="80"/>
                </a:lnTo>
                <a:lnTo>
                  <a:pt x="1204" y="80"/>
                </a:lnTo>
                <a:lnTo>
                  <a:pt x="1206" y="80"/>
                </a:lnTo>
                <a:close/>
                <a:moveTo>
                  <a:pt x="1066" y="277"/>
                </a:moveTo>
                <a:lnTo>
                  <a:pt x="1065" y="284"/>
                </a:lnTo>
                <a:lnTo>
                  <a:pt x="1059" y="284"/>
                </a:lnTo>
                <a:lnTo>
                  <a:pt x="1056" y="283"/>
                </a:lnTo>
                <a:lnTo>
                  <a:pt x="1053" y="284"/>
                </a:lnTo>
                <a:lnTo>
                  <a:pt x="1053" y="289"/>
                </a:lnTo>
                <a:lnTo>
                  <a:pt x="1056" y="290"/>
                </a:lnTo>
                <a:lnTo>
                  <a:pt x="1056" y="296"/>
                </a:lnTo>
                <a:lnTo>
                  <a:pt x="1055" y="300"/>
                </a:lnTo>
                <a:lnTo>
                  <a:pt x="1050" y="300"/>
                </a:lnTo>
                <a:lnTo>
                  <a:pt x="1049" y="302"/>
                </a:lnTo>
                <a:lnTo>
                  <a:pt x="1049" y="308"/>
                </a:lnTo>
                <a:lnTo>
                  <a:pt x="1050" y="314"/>
                </a:lnTo>
                <a:lnTo>
                  <a:pt x="1054" y="322"/>
                </a:lnTo>
                <a:lnTo>
                  <a:pt x="1058" y="330"/>
                </a:lnTo>
                <a:lnTo>
                  <a:pt x="1070" y="299"/>
                </a:lnTo>
                <a:lnTo>
                  <a:pt x="1074" y="267"/>
                </a:lnTo>
                <a:lnTo>
                  <a:pt x="1077" y="273"/>
                </a:lnTo>
                <a:lnTo>
                  <a:pt x="1082" y="277"/>
                </a:lnTo>
                <a:lnTo>
                  <a:pt x="1087" y="263"/>
                </a:lnTo>
                <a:lnTo>
                  <a:pt x="1090" y="248"/>
                </a:lnTo>
                <a:lnTo>
                  <a:pt x="1092" y="248"/>
                </a:lnTo>
                <a:lnTo>
                  <a:pt x="1095" y="248"/>
                </a:lnTo>
                <a:lnTo>
                  <a:pt x="1096" y="246"/>
                </a:lnTo>
                <a:lnTo>
                  <a:pt x="1096" y="241"/>
                </a:lnTo>
                <a:lnTo>
                  <a:pt x="1099" y="234"/>
                </a:lnTo>
                <a:lnTo>
                  <a:pt x="1104" y="227"/>
                </a:lnTo>
                <a:lnTo>
                  <a:pt x="1111" y="211"/>
                </a:lnTo>
                <a:lnTo>
                  <a:pt x="1119" y="196"/>
                </a:lnTo>
                <a:lnTo>
                  <a:pt x="1123" y="189"/>
                </a:lnTo>
                <a:lnTo>
                  <a:pt x="1129" y="182"/>
                </a:lnTo>
                <a:lnTo>
                  <a:pt x="1132" y="177"/>
                </a:lnTo>
                <a:lnTo>
                  <a:pt x="1135" y="172"/>
                </a:lnTo>
                <a:lnTo>
                  <a:pt x="1130" y="169"/>
                </a:lnTo>
                <a:lnTo>
                  <a:pt x="1127" y="166"/>
                </a:lnTo>
                <a:lnTo>
                  <a:pt x="1131" y="163"/>
                </a:lnTo>
                <a:lnTo>
                  <a:pt x="1138" y="161"/>
                </a:lnTo>
                <a:lnTo>
                  <a:pt x="1133" y="149"/>
                </a:lnTo>
                <a:lnTo>
                  <a:pt x="1130" y="136"/>
                </a:lnTo>
                <a:lnTo>
                  <a:pt x="1129" y="143"/>
                </a:lnTo>
                <a:lnTo>
                  <a:pt x="1128" y="150"/>
                </a:lnTo>
                <a:lnTo>
                  <a:pt x="1126" y="146"/>
                </a:lnTo>
                <a:lnTo>
                  <a:pt x="1122" y="148"/>
                </a:lnTo>
                <a:lnTo>
                  <a:pt x="1121" y="157"/>
                </a:lnTo>
                <a:lnTo>
                  <a:pt x="1116" y="161"/>
                </a:lnTo>
                <a:lnTo>
                  <a:pt x="1116" y="159"/>
                </a:lnTo>
                <a:lnTo>
                  <a:pt x="1115" y="157"/>
                </a:lnTo>
                <a:lnTo>
                  <a:pt x="1113" y="158"/>
                </a:lnTo>
                <a:lnTo>
                  <a:pt x="1112" y="160"/>
                </a:lnTo>
                <a:lnTo>
                  <a:pt x="1110" y="167"/>
                </a:lnTo>
                <a:lnTo>
                  <a:pt x="1106" y="172"/>
                </a:lnTo>
                <a:lnTo>
                  <a:pt x="1100" y="176"/>
                </a:lnTo>
                <a:lnTo>
                  <a:pt x="1097" y="183"/>
                </a:lnTo>
                <a:lnTo>
                  <a:pt x="1096" y="191"/>
                </a:lnTo>
                <a:lnTo>
                  <a:pt x="1094" y="200"/>
                </a:lnTo>
                <a:lnTo>
                  <a:pt x="1088" y="207"/>
                </a:lnTo>
                <a:lnTo>
                  <a:pt x="1082" y="215"/>
                </a:lnTo>
                <a:lnTo>
                  <a:pt x="1078" y="224"/>
                </a:lnTo>
                <a:lnTo>
                  <a:pt x="1075" y="234"/>
                </a:lnTo>
                <a:lnTo>
                  <a:pt x="1073" y="230"/>
                </a:lnTo>
                <a:lnTo>
                  <a:pt x="1071" y="232"/>
                </a:lnTo>
                <a:lnTo>
                  <a:pt x="1071" y="240"/>
                </a:lnTo>
                <a:lnTo>
                  <a:pt x="1071" y="248"/>
                </a:lnTo>
                <a:lnTo>
                  <a:pt x="1065" y="246"/>
                </a:lnTo>
                <a:lnTo>
                  <a:pt x="1062" y="250"/>
                </a:lnTo>
                <a:lnTo>
                  <a:pt x="1062" y="254"/>
                </a:lnTo>
                <a:lnTo>
                  <a:pt x="1061" y="257"/>
                </a:lnTo>
                <a:lnTo>
                  <a:pt x="1061" y="259"/>
                </a:lnTo>
                <a:lnTo>
                  <a:pt x="1058" y="260"/>
                </a:lnTo>
                <a:lnTo>
                  <a:pt x="1057" y="260"/>
                </a:lnTo>
                <a:lnTo>
                  <a:pt x="1056" y="262"/>
                </a:lnTo>
                <a:lnTo>
                  <a:pt x="1055" y="266"/>
                </a:lnTo>
                <a:lnTo>
                  <a:pt x="1055" y="271"/>
                </a:lnTo>
                <a:lnTo>
                  <a:pt x="1059" y="276"/>
                </a:lnTo>
                <a:lnTo>
                  <a:pt x="1066" y="277"/>
                </a:lnTo>
                <a:lnTo>
                  <a:pt x="1065" y="281"/>
                </a:lnTo>
                <a:lnTo>
                  <a:pt x="1066" y="277"/>
                </a:lnTo>
                <a:close/>
                <a:moveTo>
                  <a:pt x="1089" y="247"/>
                </a:moveTo>
                <a:lnTo>
                  <a:pt x="1089" y="247"/>
                </a:lnTo>
                <a:lnTo>
                  <a:pt x="1089" y="248"/>
                </a:lnTo>
                <a:lnTo>
                  <a:pt x="1089" y="248"/>
                </a:lnTo>
                <a:lnTo>
                  <a:pt x="1089" y="247"/>
                </a:lnTo>
                <a:lnTo>
                  <a:pt x="1089" y="247"/>
                </a:lnTo>
                <a:lnTo>
                  <a:pt x="1089" y="247"/>
                </a:lnTo>
                <a:close/>
                <a:moveTo>
                  <a:pt x="1055" y="272"/>
                </a:moveTo>
                <a:lnTo>
                  <a:pt x="1055" y="273"/>
                </a:lnTo>
                <a:lnTo>
                  <a:pt x="1055" y="272"/>
                </a:lnTo>
                <a:lnTo>
                  <a:pt x="1055" y="272"/>
                </a:lnTo>
                <a:lnTo>
                  <a:pt x="1055" y="272"/>
                </a:lnTo>
                <a:close/>
                <a:moveTo>
                  <a:pt x="993" y="1899"/>
                </a:moveTo>
                <a:lnTo>
                  <a:pt x="988" y="1896"/>
                </a:lnTo>
                <a:lnTo>
                  <a:pt x="982" y="1895"/>
                </a:lnTo>
                <a:lnTo>
                  <a:pt x="979" y="1893"/>
                </a:lnTo>
                <a:lnTo>
                  <a:pt x="974" y="1893"/>
                </a:lnTo>
                <a:lnTo>
                  <a:pt x="965" y="1898"/>
                </a:lnTo>
                <a:lnTo>
                  <a:pt x="955" y="1893"/>
                </a:lnTo>
                <a:lnTo>
                  <a:pt x="959" y="1892"/>
                </a:lnTo>
                <a:lnTo>
                  <a:pt x="965" y="1890"/>
                </a:lnTo>
                <a:lnTo>
                  <a:pt x="955" y="1890"/>
                </a:lnTo>
                <a:lnTo>
                  <a:pt x="948" y="1893"/>
                </a:lnTo>
                <a:lnTo>
                  <a:pt x="950" y="1898"/>
                </a:lnTo>
                <a:lnTo>
                  <a:pt x="958" y="1900"/>
                </a:lnTo>
                <a:lnTo>
                  <a:pt x="970" y="1901"/>
                </a:lnTo>
                <a:lnTo>
                  <a:pt x="981" y="1901"/>
                </a:lnTo>
                <a:lnTo>
                  <a:pt x="987" y="1902"/>
                </a:lnTo>
                <a:lnTo>
                  <a:pt x="992" y="1902"/>
                </a:lnTo>
                <a:lnTo>
                  <a:pt x="995" y="1901"/>
                </a:lnTo>
                <a:lnTo>
                  <a:pt x="993" y="1899"/>
                </a:lnTo>
                <a:lnTo>
                  <a:pt x="991" y="1898"/>
                </a:lnTo>
                <a:lnTo>
                  <a:pt x="993" y="1899"/>
                </a:lnTo>
                <a:close/>
                <a:moveTo>
                  <a:pt x="1146" y="155"/>
                </a:moveTo>
                <a:lnTo>
                  <a:pt x="1152" y="135"/>
                </a:lnTo>
                <a:lnTo>
                  <a:pt x="1155" y="114"/>
                </a:lnTo>
                <a:lnTo>
                  <a:pt x="1149" y="124"/>
                </a:lnTo>
                <a:lnTo>
                  <a:pt x="1146" y="134"/>
                </a:lnTo>
                <a:lnTo>
                  <a:pt x="1145" y="127"/>
                </a:lnTo>
                <a:lnTo>
                  <a:pt x="1140" y="124"/>
                </a:lnTo>
                <a:lnTo>
                  <a:pt x="1137" y="127"/>
                </a:lnTo>
                <a:lnTo>
                  <a:pt x="1137" y="133"/>
                </a:lnTo>
                <a:lnTo>
                  <a:pt x="1137" y="146"/>
                </a:lnTo>
                <a:lnTo>
                  <a:pt x="1146" y="155"/>
                </a:lnTo>
                <a:lnTo>
                  <a:pt x="1141" y="149"/>
                </a:lnTo>
                <a:lnTo>
                  <a:pt x="1146" y="155"/>
                </a:lnTo>
                <a:close/>
                <a:moveTo>
                  <a:pt x="1146" y="134"/>
                </a:moveTo>
                <a:lnTo>
                  <a:pt x="1146" y="139"/>
                </a:lnTo>
                <a:lnTo>
                  <a:pt x="1145" y="142"/>
                </a:lnTo>
                <a:lnTo>
                  <a:pt x="1145" y="139"/>
                </a:lnTo>
                <a:lnTo>
                  <a:pt x="1146" y="134"/>
                </a:lnTo>
                <a:close/>
                <a:moveTo>
                  <a:pt x="568" y="1543"/>
                </a:moveTo>
                <a:lnTo>
                  <a:pt x="579" y="1518"/>
                </a:lnTo>
                <a:lnTo>
                  <a:pt x="574" y="1491"/>
                </a:lnTo>
                <a:lnTo>
                  <a:pt x="570" y="1517"/>
                </a:lnTo>
                <a:lnTo>
                  <a:pt x="568" y="1543"/>
                </a:lnTo>
                <a:close/>
                <a:moveTo>
                  <a:pt x="1599" y="1348"/>
                </a:moveTo>
                <a:lnTo>
                  <a:pt x="1593" y="1343"/>
                </a:lnTo>
                <a:lnTo>
                  <a:pt x="1590" y="1335"/>
                </a:lnTo>
                <a:lnTo>
                  <a:pt x="1589" y="1334"/>
                </a:lnTo>
                <a:lnTo>
                  <a:pt x="1589" y="1331"/>
                </a:lnTo>
                <a:lnTo>
                  <a:pt x="1585" y="1333"/>
                </a:lnTo>
                <a:lnTo>
                  <a:pt x="1586" y="1335"/>
                </a:lnTo>
                <a:lnTo>
                  <a:pt x="1586" y="1339"/>
                </a:lnTo>
                <a:lnTo>
                  <a:pt x="1589" y="1344"/>
                </a:lnTo>
                <a:lnTo>
                  <a:pt x="1597" y="1364"/>
                </a:lnTo>
                <a:lnTo>
                  <a:pt x="1606" y="1384"/>
                </a:lnTo>
                <a:lnTo>
                  <a:pt x="1609" y="1380"/>
                </a:lnTo>
                <a:lnTo>
                  <a:pt x="1611" y="1377"/>
                </a:lnTo>
                <a:lnTo>
                  <a:pt x="1610" y="1373"/>
                </a:lnTo>
                <a:lnTo>
                  <a:pt x="1608" y="1369"/>
                </a:lnTo>
                <a:lnTo>
                  <a:pt x="1606" y="1358"/>
                </a:lnTo>
                <a:lnTo>
                  <a:pt x="1599" y="1348"/>
                </a:lnTo>
                <a:lnTo>
                  <a:pt x="1601" y="1350"/>
                </a:lnTo>
                <a:lnTo>
                  <a:pt x="1599" y="1348"/>
                </a:lnTo>
                <a:close/>
                <a:moveTo>
                  <a:pt x="984" y="1737"/>
                </a:moveTo>
                <a:lnTo>
                  <a:pt x="991" y="1741"/>
                </a:lnTo>
                <a:lnTo>
                  <a:pt x="1001" y="1740"/>
                </a:lnTo>
                <a:lnTo>
                  <a:pt x="1007" y="1741"/>
                </a:lnTo>
                <a:lnTo>
                  <a:pt x="1013" y="1742"/>
                </a:lnTo>
                <a:lnTo>
                  <a:pt x="1017" y="1742"/>
                </a:lnTo>
                <a:lnTo>
                  <a:pt x="1021" y="1740"/>
                </a:lnTo>
                <a:lnTo>
                  <a:pt x="1012" y="1737"/>
                </a:lnTo>
                <a:lnTo>
                  <a:pt x="1001" y="1736"/>
                </a:lnTo>
                <a:lnTo>
                  <a:pt x="992" y="1738"/>
                </a:lnTo>
                <a:lnTo>
                  <a:pt x="984" y="1735"/>
                </a:lnTo>
                <a:lnTo>
                  <a:pt x="984" y="1735"/>
                </a:lnTo>
                <a:lnTo>
                  <a:pt x="983" y="1734"/>
                </a:lnTo>
                <a:lnTo>
                  <a:pt x="981" y="1732"/>
                </a:lnTo>
                <a:lnTo>
                  <a:pt x="978" y="1729"/>
                </a:lnTo>
                <a:lnTo>
                  <a:pt x="979" y="1729"/>
                </a:lnTo>
                <a:lnTo>
                  <a:pt x="978" y="1729"/>
                </a:lnTo>
                <a:lnTo>
                  <a:pt x="979" y="1727"/>
                </a:lnTo>
                <a:lnTo>
                  <a:pt x="981" y="1726"/>
                </a:lnTo>
                <a:lnTo>
                  <a:pt x="979" y="1724"/>
                </a:lnTo>
                <a:lnTo>
                  <a:pt x="974" y="1723"/>
                </a:lnTo>
                <a:lnTo>
                  <a:pt x="974" y="1721"/>
                </a:lnTo>
                <a:lnTo>
                  <a:pt x="971" y="1720"/>
                </a:lnTo>
                <a:lnTo>
                  <a:pt x="970" y="1721"/>
                </a:lnTo>
                <a:lnTo>
                  <a:pt x="967" y="1723"/>
                </a:lnTo>
                <a:lnTo>
                  <a:pt x="962" y="1724"/>
                </a:lnTo>
                <a:lnTo>
                  <a:pt x="957" y="1726"/>
                </a:lnTo>
                <a:lnTo>
                  <a:pt x="955" y="1728"/>
                </a:lnTo>
                <a:lnTo>
                  <a:pt x="954" y="1730"/>
                </a:lnTo>
                <a:lnTo>
                  <a:pt x="956" y="1734"/>
                </a:lnTo>
                <a:lnTo>
                  <a:pt x="959" y="1735"/>
                </a:lnTo>
                <a:lnTo>
                  <a:pt x="963" y="1734"/>
                </a:lnTo>
                <a:lnTo>
                  <a:pt x="965" y="1733"/>
                </a:lnTo>
                <a:lnTo>
                  <a:pt x="968" y="1733"/>
                </a:lnTo>
                <a:lnTo>
                  <a:pt x="972" y="1733"/>
                </a:lnTo>
                <a:lnTo>
                  <a:pt x="978" y="1733"/>
                </a:lnTo>
                <a:lnTo>
                  <a:pt x="983" y="1734"/>
                </a:lnTo>
                <a:lnTo>
                  <a:pt x="984" y="1735"/>
                </a:lnTo>
                <a:lnTo>
                  <a:pt x="984" y="1735"/>
                </a:lnTo>
                <a:lnTo>
                  <a:pt x="984" y="1736"/>
                </a:lnTo>
                <a:lnTo>
                  <a:pt x="984" y="1737"/>
                </a:lnTo>
                <a:lnTo>
                  <a:pt x="983" y="1738"/>
                </a:lnTo>
                <a:lnTo>
                  <a:pt x="984" y="1737"/>
                </a:lnTo>
                <a:close/>
                <a:moveTo>
                  <a:pt x="973" y="1719"/>
                </a:moveTo>
                <a:lnTo>
                  <a:pt x="973" y="1719"/>
                </a:lnTo>
                <a:lnTo>
                  <a:pt x="973" y="1719"/>
                </a:lnTo>
                <a:lnTo>
                  <a:pt x="973" y="1719"/>
                </a:lnTo>
                <a:close/>
                <a:moveTo>
                  <a:pt x="280" y="1031"/>
                </a:moveTo>
                <a:lnTo>
                  <a:pt x="286" y="1028"/>
                </a:lnTo>
                <a:lnTo>
                  <a:pt x="292" y="1024"/>
                </a:lnTo>
                <a:lnTo>
                  <a:pt x="298" y="1026"/>
                </a:lnTo>
                <a:lnTo>
                  <a:pt x="304" y="1026"/>
                </a:lnTo>
                <a:lnTo>
                  <a:pt x="313" y="1020"/>
                </a:lnTo>
                <a:lnTo>
                  <a:pt x="321" y="1014"/>
                </a:lnTo>
                <a:lnTo>
                  <a:pt x="313" y="1014"/>
                </a:lnTo>
                <a:lnTo>
                  <a:pt x="305" y="1018"/>
                </a:lnTo>
                <a:lnTo>
                  <a:pt x="302" y="1021"/>
                </a:lnTo>
                <a:lnTo>
                  <a:pt x="297" y="1022"/>
                </a:lnTo>
                <a:lnTo>
                  <a:pt x="291" y="1022"/>
                </a:lnTo>
                <a:lnTo>
                  <a:pt x="287" y="1021"/>
                </a:lnTo>
                <a:lnTo>
                  <a:pt x="279" y="1023"/>
                </a:lnTo>
                <a:lnTo>
                  <a:pt x="273" y="1030"/>
                </a:lnTo>
                <a:lnTo>
                  <a:pt x="266" y="1035"/>
                </a:lnTo>
                <a:lnTo>
                  <a:pt x="268" y="1040"/>
                </a:lnTo>
                <a:lnTo>
                  <a:pt x="275" y="1043"/>
                </a:lnTo>
                <a:lnTo>
                  <a:pt x="284" y="1041"/>
                </a:lnTo>
                <a:lnTo>
                  <a:pt x="288" y="1040"/>
                </a:lnTo>
                <a:lnTo>
                  <a:pt x="292" y="1037"/>
                </a:lnTo>
                <a:lnTo>
                  <a:pt x="295" y="1035"/>
                </a:lnTo>
                <a:lnTo>
                  <a:pt x="298" y="1034"/>
                </a:lnTo>
                <a:lnTo>
                  <a:pt x="297" y="1030"/>
                </a:lnTo>
                <a:lnTo>
                  <a:pt x="295" y="1029"/>
                </a:lnTo>
                <a:lnTo>
                  <a:pt x="290" y="1031"/>
                </a:lnTo>
                <a:lnTo>
                  <a:pt x="287" y="1035"/>
                </a:lnTo>
                <a:lnTo>
                  <a:pt x="284" y="1038"/>
                </a:lnTo>
                <a:lnTo>
                  <a:pt x="281" y="1038"/>
                </a:lnTo>
                <a:lnTo>
                  <a:pt x="279" y="1035"/>
                </a:lnTo>
                <a:lnTo>
                  <a:pt x="280" y="1031"/>
                </a:lnTo>
                <a:lnTo>
                  <a:pt x="281" y="1031"/>
                </a:lnTo>
                <a:lnTo>
                  <a:pt x="280" y="1031"/>
                </a:lnTo>
                <a:close/>
                <a:moveTo>
                  <a:pt x="1163" y="128"/>
                </a:moveTo>
                <a:lnTo>
                  <a:pt x="1169" y="124"/>
                </a:lnTo>
                <a:lnTo>
                  <a:pt x="1173" y="118"/>
                </a:lnTo>
                <a:lnTo>
                  <a:pt x="1174" y="115"/>
                </a:lnTo>
                <a:lnTo>
                  <a:pt x="1173" y="111"/>
                </a:lnTo>
                <a:lnTo>
                  <a:pt x="1174" y="105"/>
                </a:lnTo>
                <a:lnTo>
                  <a:pt x="1177" y="99"/>
                </a:lnTo>
                <a:lnTo>
                  <a:pt x="1178" y="103"/>
                </a:lnTo>
                <a:lnTo>
                  <a:pt x="1180" y="108"/>
                </a:lnTo>
                <a:lnTo>
                  <a:pt x="1185" y="90"/>
                </a:lnTo>
                <a:lnTo>
                  <a:pt x="1186" y="72"/>
                </a:lnTo>
                <a:lnTo>
                  <a:pt x="1182" y="76"/>
                </a:lnTo>
                <a:lnTo>
                  <a:pt x="1181" y="82"/>
                </a:lnTo>
                <a:lnTo>
                  <a:pt x="1180" y="83"/>
                </a:lnTo>
                <a:lnTo>
                  <a:pt x="1179" y="85"/>
                </a:lnTo>
                <a:lnTo>
                  <a:pt x="1178" y="89"/>
                </a:lnTo>
                <a:lnTo>
                  <a:pt x="1177" y="92"/>
                </a:lnTo>
                <a:lnTo>
                  <a:pt x="1172" y="97"/>
                </a:lnTo>
                <a:lnTo>
                  <a:pt x="1164" y="94"/>
                </a:lnTo>
                <a:lnTo>
                  <a:pt x="1162" y="106"/>
                </a:lnTo>
                <a:lnTo>
                  <a:pt x="1157" y="117"/>
                </a:lnTo>
                <a:lnTo>
                  <a:pt x="1157" y="126"/>
                </a:lnTo>
                <a:lnTo>
                  <a:pt x="1163" y="128"/>
                </a:lnTo>
                <a:lnTo>
                  <a:pt x="1164" y="127"/>
                </a:lnTo>
                <a:lnTo>
                  <a:pt x="1163" y="128"/>
                </a:lnTo>
                <a:close/>
                <a:moveTo>
                  <a:pt x="1251" y="1497"/>
                </a:moveTo>
                <a:lnTo>
                  <a:pt x="1263" y="1446"/>
                </a:lnTo>
                <a:lnTo>
                  <a:pt x="1271" y="1393"/>
                </a:lnTo>
                <a:lnTo>
                  <a:pt x="1258" y="1445"/>
                </a:lnTo>
                <a:lnTo>
                  <a:pt x="1251" y="1497"/>
                </a:lnTo>
                <a:close/>
                <a:moveTo>
                  <a:pt x="1526" y="355"/>
                </a:moveTo>
                <a:lnTo>
                  <a:pt x="1526" y="355"/>
                </a:lnTo>
                <a:lnTo>
                  <a:pt x="1526" y="355"/>
                </a:lnTo>
                <a:lnTo>
                  <a:pt x="1526" y="355"/>
                </a:lnTo>
                <a:lnTo>
                  <a:pt x="1526" y="355"/>
                </a:lnTo>
                <a:close/>
                <a:moveTo>
                  <a:pt x="315" y="1312"/>
                </a:moveTo>
                <a:lnTo>
                  <a:pt x="319" y="1312"/>
                </a:lnTo>
                <a:lnTo>
                  <a:pt x="322" y="1312"/>
                </a:lnTo>
                <a:lnTo>
                  <a:pt x="327" y="1311"/>
                </a:lnTo>
                <a:lnTo>
                  <a:pt x="329" y="1315"/>
                </a:lnTo>
                <a:lnTo>
                  <a:pt x="324" y="1321"/>
                </a:lnTo>
                <a:lnTo>
                  <a:pt x="317" y="1327"/>
                </a:lnTo>
                <a:lnTo>
                  <a:pt x="315" y="1329"/>
                </a:lnTo>
                <a:lnTo>
                  <a:pt x="314" y="1331"/>
                </a:lnTo>
                <a:lnTo>
                  <a:pt x="314" y="1335"/>
                </a:lnTo>
                <a:lnTo>
                  <a:pt x="314" y="1337"/>
                </a:lnTo>
                <a:lnTo>
                  <a:pt x="311" y="1339"/>
                </a:lnTo>
                <a:lnTo>
                  <a:pt x="306" y="1342"/>
                </a:lnTo>
                <a:lnTo>
                  <a:pt x="312" y="1340"/>
                </a:lnTo>
                <a:lnTo>
                  <a:pt x="316" y="1342"/>
                </a:lnTo>
                <a:lnTo>
                  <a:pt x="314" y="1346"/>
                </a:lnTo>
                <a:lnTo>
                  <a:pt x="308" y="1347"/>
                </a:lnTo>
                <a:lnTo>
                  <a:pt x="299" y="1358"/>
                </a:lnTo>
                <a:lnTo>
                  <a:pt x="294" y="1370"/>
                </a:lnTo>
                <a:lnTo>
                  <a:pt x="286" y="1385"/>
                </a:lnTo>
                <a:lnTo>
                  <a:pt x="279" y="1400"/>
                </a:lnTo>
                <a:lnTo>
                  <a:pt x="275" y="1406"/>
                </a:lnTo>
                <a:lnTo>
                  <a:pt x="271" y="1413"/>
                </a:lnTo>
                <a:lnTo>
                  <a:pt x="268" y="1421"/>
                </a:lnTo>
                <a:lnTo>
                  <a:pt x="267" y="1429"/>
                </a:lnTo>
                <a:lnTo>
                  <a:pt x="263" y="1446"/>
                </a:lnTo>
                <a:lnTo>
                  <a:pt x="258" y="1462"/>
                </a:lnTo>
                <a:lnTo>
                  <a:pt x="254" y="1474"/>
                </a:lnTo>
                <a:lnTo>
                  <a:pt x="254" y="1485"/>
                </a:lnTo>
                <a:lnTo>
                  <a:pt x="262" y="1486"/>
                </a:lnTo>
                <a:lnTo>
                  <a:pt x="267" y="1475"/>
                </a:lnTo>
                <a:lnTo>
                  <a:pt x="274" y="1459"/>
                </a:lnTo>
                <a:lnTo>
                  <a:pt x="279" y="1441"/>
                </a:lnTo>
                <a:lnTo>
                  <a:pt x="281" y="1443"/>
                </a:lnTo>
                <a:lnTo>
                  <a:pt x="283" y="1446"/>
                </a:lnTo>
                <a:lnTo>
                  <a:pt x="289" y="1435"/>
                </a:lnTo>
                <a:lnTo>
                  <a:pt x="298" y="1423"/>
                </a:lnTo>
                <a:lnTo>
                  <a:pt x="300" y="1413"/>
                </a:lnTo>
                <a:lnTo>
                  <a:pt x="304" y="1402"/>
                </a:lnTo>
                <a:lnTo>
                  <a:pt x="311" y="1394"/>
                </a:lnTo>
                <a:lnTo>
                  <a:pt x="317" y="1386"/>
                </a:lnTo>
                <a:lnTo>
                  <a:pt x="324" y="1375"/>
                </a:lnTo>
                <a:lnTo>
                  <a:pt x="329" y="1363"/>
                </a:lnTo>
                <a:lnTo>
                  <a:pt x="332" y="1367"/>
                </a:lnTo>
                <a:lnTo>
                  <a:pt x="335" y="1370"/>
                </a:lnTo>
                <a:lnTo>
                  <a:pt x="338" y="1359"/>
                </a:lnTo>
                <a:lnTo>
                  <a:pt x="340" y="1347"/>
                </a:lnTo>
                <a:lnTo>
                  <a:pt x="339" y="1337"/>
                </a:lnTo>
                <a:lnTo>
                  <a:pt x="338" y="1327"/>
                </a:lnTo>
                <a:lnTo>
                  <a:pt x="338" y="1317"/>
                </a:lnTo>
                <a:lnTo>
                  <a:pt x="338" y="1306"/>
                </a:lnTo>
                <a:lnTo>
                  <a:pt x="338" y="1296"/>
                </a:lnTo>
                <a:lnTo>
                  <a:pt x="341" y="1286"/>
                </a:lnTo>
                <a:lnTo>
                  <a:pt x="327" y="1297"/>
                </a:lnTo>
                <a:lnTo>
                  <a:pt x="315" y="1312"/>
                </a:lnTo>
                <a:lnTo>
                  <a:pt x="321" y="1311"/>
                </a:lnTo>
                <a:lnTo>
                  <a:pt x="315" y="1312"/>
                </a:lnTo>
                <a:close/>
                <a:moveTo>
                  <a:pt x="924" y="1709"/>
                </a:moveTo>
                <a:lnTo>
                  <a:pt x="924" y="1708"/>
                </a:lnTo>
                <a:lnTo>
                  <a:pt x="923" y="1707"/>
                </a:lnTo>
                <a:lnTo>
                  <a:pt x="923" y="1705"/>
                </a:lnTo>
                <a:lnTo>
                  <a:pt x="923" y="1707"/>
                </a:lnTo>
                <a:lnTo>
                  <a:pt x="924" y="1708"/>
                </a:lnTo>
                <a:lnTo>
                  <a:pt x="924" y="1709"/>
                </a:lnTo>
                <a:lnTo>
                  <a:pt x="924" y="1709"/>
                </a:lnTo>
                <a:lnTo>
                  <a:pt x="923" y="1709"/>
                </a:lnTo>
                <a:lnTo>
                  <a:pt x="924" y="1709"/>
                </a:lnTo>
                <a:lnTo>
                  <a:pt x="924" y="1709"/>
                </a:lnTo>
                <a:close/>
                <a:moveTo>
                  <a:pt x="924" y="1709"/>
                </a:moveTo>
                <a:lnTo>
                  <a:pt x="924" y="1708"/>
                </a:lnTo>
                <a:lnTo>
                  <a:pt x="924" y="1709"/>
                </a:lnTo>
                <a:close/>
                <a:moveTo>
                  <a:pt x="1015" y="1875"/>
                </a:moveTo>
                <a:lnTo>
                  <a:pt x="1017" y="1875"/>
                </a:lnTo>
                <a:lnTo>
                  <a:pt x="1019" y="1873"/>
                </a:lnTo>
                <a:lnTo>
                  <a:pt x="1016" y="1873"/>
                </a:lnTo>
                <a:lnTo>
                  <a:pt x="1015" y="1875"/>
                </a:lnTo>
                <a:lnTo>
                  <a:pt x="1006" y="1874"/>
                </a:lnTo>
                <a:lnTo>
                  <a:pt x="997" y="1875"/>
                </a:lnTo>
                <a:lnTo>
                  <a:pt x="997" y="1875"/>
                </a:lnTo>
                <a:lnTo>
                  <a:pt x="997" y="1875"/>
                </a:lnTo>
                <a:lnTo>
                  <a:pt x="999" y="1879"/>
                </a:lnTo>
                <a:lnTo>
                  <a:pt x="1005" y="1883"/>
                </a:lnTo>
                <a:lnTo>
                  <a:pt x="1000" y="1884"/>
                </a:lnTo>
                <a:lnTo>
                  <a:pt x="996" y="1886"/>
                </a:lnTo>
                <a:lnTo>
                  <a:pt x="1004" y="1890"/>
                </a:lnTo>
                <a:lnTo>
                  <a:pt x="1012" y="1890"/>
                </a:lnTo>
                <a:lnTo>
                  <a:pt x="1013" y="1887"/>
                </a:lnTo>
                <a:lnTo>
                  <a:pt x="1015" y="1885"/>
                </a:lnTo>
                <a:lnTo>
                  <a:pt x="1015" y="1879"/>
                </a:lnTo>
                <a:lnTo>
                  <a:pt x="1015" y="1875"/>
                </a:lnTo>
                <a:close/>
                <a:moveTo>
                  <a:pt x="1015" y="1875"/>
                </a:moveTo>
                <a:lnTo>
                  <a:pt x="1015" y="1874"/>
                </a:lnTo>
                <a:lnTo>
                  <a:pt x="1015" y="1875"/>
                </a:lnTo>
                <a:close/>
                <a:moveTo>
                  <a:pt x="1067" y="1849"/>
                </a:moveTo>
                <a:lnTo>
                  <a:pt x="1067" y="1848"/>
                </a:lnTo>
                <a:lnTo>
                  <a:pt x="1067" y="1846"/>
                </a:lnTo>
                <a:lnTo>
                  <a:pt x="1067" y="1848"/>
                </a:lnTo>
                <a:lnTo>
                  <a:pt x="1067" y="1849"/>
                </a:lnTo>
                <a:lnTo>
                  <a:pt x="1067" y="1849"/>
                </a:lnTo>
                <a:lnTo>
                  <a:pt x="1067" y="1849"/>
                </a:lnTo>
                <a:close/>
                <a:moveTo>
                  <a:pt x="1067" y="1846"/>
                </a:moveTo>
                <a:lnTo>
                  <a:pt x="1067" y="1846"/>
                </a:lnTo>
                <a:lnTo>
                  <a:pt x="1067" y="1846"/>
                </a:lnTo>
                <a:close/>
                <a:moveTo>
                  <a:pt x="1065" y="1844"/>
                </a:moveTo>
                <a:lnTo>
                  <a:pt x="1066" y="1845"/>
                </a:lnTo>
                <a:lnTo>
                  <a:pt x="1065" y="1844"/>
                </a:lnTo>
                <a:close/>
                <a:moveTo>
                  <a:pt x="1033" y="1820"/>
                </a:moveTo>
                <a:lnTo>
                  <a:pt x="1031" y="1818"/>
                </a:lnTo>
                <a:lnTo>
                  <a:pt x="1033" y="1817"/>
                </a:lnTo>
                <a:lnTo>
                  <a:pt x="1036" y="1819"/>
                </a:lnTo>
                <a:lnTo>
                  <a:pt x="1033" y="1820"/>
                </a:lnTo>
                <a:lnTo>
                  <a:pt x="1033" y="1820"/>
                </a:lnTo>
                <a:lnTo>
                  <a:pt x="1033" y="1820"/>
                </a:lnTo>
                <a:close/>
                <a:moveTo>
                  <a:pt x="987" y="1827"/>
                </a:moveTo>
                <a:lnTo>
                  <a:pt x="983" y="1828"/>
                </a:lnTo>
                <a:lnTo>
                  <a:pt x="980" y="1828"/>
                </a:lnTo>
                <a:lnTo>
                  <a:pt x="983" y="1826"/>
                </a:lnTo>
                <a:lnTo>
                  <a:pt x="987" y="1827"/>
                </a:lnTo>
                <a:close/>
                <a:moveTo>
                  <a:pt x="962" y="1784"/>
                </a:moveTo>
                <a:lnTo>
                  <a:pt x="964" y="1784"/>
                </a:lnTo>
                <a:lnTo>
                  <a:pt x="964" y="1785"/>
                </a:lnTo>
                <a:lnTo>
                  <a:pt x="962" y="1786"/>
                </a:lnTo>
                <a:lnTo>
                  <a:pt x="962" y="1784"/>
                </a:lnTo>
                <a:lnTo>
                  <a:pt x="962" y="1784"/>
                </a:lnTo>
                <a:lnTo>
                  <a:pt x="962" y="1784"/>
                </a:lnTo>
                <a:close/>
                <a:moveTo>
                  <a:pt x="900" y="1777"/>
                </a:moveTo>
                <a:lnTo>
                  <a:pt x="899" y="1778"/>
                </a:lnTo>
                <a:lnTo>
                  <a:pt x="898" y="1779"/>
                </a:lnTo>
                <a:lnTo>
                  <a:pt x="898" y="1777"/>
                </a:lnTo>
                <a:lnTo>
                  <a:pt x="900" y="1777"/>
                </a:lnTo>
                <a:lnTo>
                  <a:pt x="899" y="1777"/>
                </a:lnTo>
                <a:lnTo>
                  <a:pt x="900" y="1777"/>
                </a:lnTo>
                <a:close/>
                <a:moveTo>
                  <a:pt x="899" y="1704"/>
                </a:moveTo>
                <a:lnTo>
                  <a:pt x="899" y="1705"/>
                </a:lnTo>
                <a:lnTo>
                  <a:pt x="898" y="1705"/>
                </a:lnTo>
                <a:lnTo>
                  <a:pt x="899" y="1705"/>
                </a:lnTo>
                <a:lnTo>
                  <a:pt x="899" y="1704"/>
                </a:lnTo>
                <a:lnTo>
                  <a:pt x="899" y="1704"/>
                </a:lnTo>
                <a:lnTo>
                  <a:pt x="899" y="1704"/>
                </a:lnTo>
                <a:close/>
                <a:moveTo>
                  <a:pt x="838" y="1766"/>
                </a:moveTo>
                <a:lnTo>
                  <a:pt x="838" y="1760"/>
                </a:lnTo>
                <a:lnTo>
                  <a:pt x="843" y="1755"/>
                </a:lnTo>
                <a:lnTo>
                  <a:pt x="842" y="1749"/>
                </a:lnTo>
                <a:lnTo>
                  <a:pt x="855" y="1742"/>
                </a:lnTo>
                <a:lnTo>
                  <a:pt x="853" y="1745"/>
                </a:lnTo>
                <a:lnTo>
                  <a:pt x="855" y="1749"/>
                </a:lnTo>
                <a:lnTo>
                  <a:pt x="858" y="1749"/>
                </a:lnTo>
                <a:lnTo>
                  <a:pt x="861" y="1748"/>
                </a:lnTo>
                <a:lnTo>
                  <a:pt x="865" y="1750"/>
                </a:lnTo>
                <a:lnTo>
                  <a:pt x="865" y="1752"/>
                </a:lnTo>
                <a:lnTo>
                  <a:pt x="861" y="1753"/>
                </a:lnTo>
                <a:lnTo>
                  <a:pt x="857" y="1754"/>
                </a:lnTo>
                <a:lnTo>
                  <a:pt x="852" y="1759"/>
                </a:lnTo>
                <a:lnTo>
                  <a:pt x="847" y="1763"/>
                </a:lnTo>
                <a:lnTo>
                  <a:pt x="844" y="1765"/>
                </a:lnTo>
                <a:lnTo>
                  <a:pt x="841" y="1766"/>
                </a:lnTo>
                <a:lnTo>
                  <a:pt x="840" y="1768"/>
                </a:lnTo>
                <a:lnTo>
                  <a:pt x="838" y="1766"/>
                </a:lnTo>
                <a:lnTo>
                  <a:pt x="838" y="1767"/>
                </a:lnTo>
                <a:lnTo>
                  <a:pt x="838" y="1766"/>
                </a:lnTo>
                <a:close/>
                <a:moveTo>
                  <a:pt x="890" y="1906"/>
                </a:moveTo>
                <a:lnTo>
                  <a:pt x="891" y="1904"/>
                </a:lnTo>
                <a:lnTo>
                  <a:pt x="893" y="1906"/>
                </a:lnTo>
                <a:lnTo>
                  <a:pt x="891" y="1906"/>
                </a:lnTo>
                <a:lnTo>
                  <a:pt x="890" y="1906"/>
                </a:lnTo>
                <a:lnTo>
                  <a:pt x="890" y="1904"/>
                </a:lnTo>
                <a:lnTo>
                  <a:pt x="890" y="1906"/>
                </a:lnTo>
                <a:close/>
                <a:moveTo>
                  <a:pt x="908" y="1879"/>
                </a:moveTo>
                <a:lnTo>
                  <a:pt x="902" y="1878"/>
                </a:lnTo>
                <a:lnTo>
                  <a:pt x="897" y="1875"/>
                </a:lnTo>
                <a:lnTo>
                  <a:pt x="913" y="1870"/>
                </a:lnTo>
                <a:lnTo>
                  <a:pt x="930" y="1869"/>
                </a:lnTo>
                <a:lnTo>
                  <a:pt x="920" y="1874"/>
                </a:lnTo>
                <a:lnTo>
                  <a:pt x="908" y="1879"/>
                </a:lnTo>
                <a:lnTo>
                  <a:pt x="910" y="1878"/>
                </a:lnTo>
                <a:lnTo>
                  <a:pt x="908" y="1879"/>
                </a:lnTo>
                <a:close/>
                <a:moveTo>
                  <a:pt x="1047" y="1820"/>
                </a:moveTo>
                <a:lnTo>
                  <a:pt x="1049" y="1821"/>
                </a:lnTo>
                <a:lnTo>
                  <a:pt x="1050" y="1824"/>
                </a:lnTo>
                <a:lnTo>
                  <a:pt x="1047" y="1823"/>
                </a:lnTo>
                <a:lnTo>
                  <a:pt x="1047" y="1820"/>
                </a:lnTo>
                <a:lnTo>
                  <a:pt x="1047" y="1820"/>
                </a:lnTo>
                <a:lnTo>
                  <a:pt x="1047" y="1820"/>
                </a:lnTo>
                <a:close/>
                <a:moveTo>
                  <a:pt x="1033" y="1837"/>
                </a:moveTo>
                <a:lnTo>
                  <a:pt x="1032" y="1835"/>
                </a:lnTo>
                <a:lnTo>
                  <a:pt x="1031" y="1832"/>
                </a:lnTo>
                <a:lnTo>
                  <a:pt x="1034" y="1829"/>
                </a:lnTo>
                <a:lnTo>
                  <a:pt x="1039" y="1829"/>
                </a:lnTo>
                <a:lnTo>
                  <a:pt x="1048" y="1835"/>
                </a:lnTo>
                <a:lnTo>
                  <a:pt x="1054" y="1843"/>
                </a:lnTo>
                <a:lnTo>
                  <a:pt x="1044" y="1840"/>
                </a:lnTo>
                <a:lnTo>
                  <a:pt x="1033" y="1837"/>
                </a:lnTo>
                <a:lnTo>
                  <a:pt x="1037" y="1836"/>
                </a:lnTo>
                <a:lnTo>
                  <a:pt x="1033" y="1837"/>
                </a:lnTo>
                <a:close/>
                <a:moveTo>
                  <a:pt x="927" y="1726"/>
                </a:moveTo>
                <a:lnTo>
                  <a:pt x="927" y="1726"/>
                </a:lnTo>
                <a:lnTo>
                  <a:pt x="927" y="1726"/>
                </a:lnTo>
                <a:close/>
                <a:moveTo>
                  <a:pt x="879" y="1782"/>
                </a:moveTo>
                <a:lnTo>
                  <a:pt x="879" y="1782"/>
                </a:lnTo>
                <a:lnTo>
                  <a:pt x="879" y="1782"/>
                </a:lnTo>
                <a:close/>
                <a:moveTo>
                  <a:pt x="1288" y="262"/>
                </a:moveTo>
                <a:lnTo>
                  <a:pt x="1287" y="262"/>
                </a:lnTo>
                <a:lnTo>
                  <a:pt x="1288" y="262"/>
                </a:lnTo>
                <a:close/>
                <a:moveTo>
                  <a:pt x="1462" y="607"/>
                </a:moveTo>
                <a:lnTo>
                  <a:pt x="1462" y="608"/>
                </a:lnTo>
                <a:lnTo>
                  <a:pt x="1461" y="609"/>
                </a:lnTo>
                <a:lnTo>
                  <a:pt x="1459" y="611"/>
                </a:lnTo>
                <a:lnTo>
                  <a:pt x="1456" y="611"/>
                </a:lnTo>
                <a:lnTo>
                  <a:pt x="1457" y="608"/>
                </a:lnTo>
                <a:lnTo>
                  <a:pt x="1458" y="606"/>
                </a:lnTo>
                <a:lnTo>
                  <a:pt x="1459" y="606"/>
                </a:lnTo>
                <a:lnTo>
                  <a:pt x="1461" y="605"/>
                </a:lnTo>
                <a:lnTo>
                  <a:pt x="1461" y="606"/>
                </a:lnTo>
                <a:lnTo>
                  <a:pt x="1461" y="607"/>
                </a:lnTo>
                <a:lnTo>
                  <a:pt x="1461" y="607"/>
                </a:lnTo>
                <a:lnTo>
                  <a:pt x="1461" y="607"/>
                </a:lnTo>
                <a:lnTo>
                  <a:pt x="1462" y="607"/>
                </a:lnTo>
                <a:lnTo>
                  <a:pt x="1462" y="607"/>
                </a:lnTo>
                <a:close/>
                <a:moveTo>
                  <a:pt x="1641" y="924"/>
                </a:moveTo>
                <a:lnTo>
                  <a:pt x="1640" y="924"/>
                </a:lnTo>
                <a:lnTo>
                  <a:pt x="1640" y="924"/>
                </a:lnTo>
                <a:lnTo>
                  <a:pt x="1640" y="925"/>
                </a:lnTo>
                <a:lnTo>
                  <a:pt x="1641" y="924"/>
                </a:lnTo>
                <a:lnTo>
                  <a:pt x="1640" y="924"/>
                </a:lnTo>
                <a:lnTo>
                  <a:pt x="1641" y="924"/>
                </a:lnTo>
                <a:close/>
                <a:moveTo>
                  <a:pt x="1649" y="938"/>
                </a:moveTo>
                <a:lnTo>
                  <a:pt x="1649" y="938"/>
                </a:lnTo>
                <a:lnTo>
                  <a:pt x="1649" y="938"/>
                </a:lnTo>
                <a:lnTo>
                  <a:pt x="1649" y="938"/>
                </a:lnTo>
                <a:lnTo>
                  <a:pt x="1649" y="938"/>
                </a:lnTo>
                <a:close/>
                <a:moveTo>
                  <a:pt x="1651" y="928"/>
                </a:moveTo>
                <a:lnTo>
                  <a:pt x="1651" y="928"/>
                </a:lnTo>
                <a:lnTo>
                  <a:pt x="1651" y="928"/>
                </a:lnTo>
                <a:lnTo>
                  <a:pt x="1651" y="928"/>
                </a:lnTo>
                <a:lnTo>
                  <a:pt x="1651" y="928"/>
                </a:lnTo>
                <a:close/>
                <a:moveTo>
                  <a:pt x="1656" y="920"/>
                </a:moveTo>
                <a:lnTo>
                  <a:pt x="1655" y="921"/>
                </a:lnTo>
                <a:lnTo>
                  <a:pt x="1655" y="922"/>
                </a:lnTo>
                <a:lnTo>
                  <a:pt x="1654" y="920"/>
                </a:lnTo>
                <a:lnTo>
                  <a:pt x="1656" y="920"/>
                </a:lnTo>
                <a:lnTo>
                  <a:pt x="1656" y="920"/>
                </a:lnTo>
                <a:lnTo>
                  <a:pt x="1656" y="920"/>
                </a:lnTo>
                <a:close/>
                <a:moveTo>
                  <a:pt x="1557" y="894"/>
                </a:moveTo>
                <a:lnTo>
                  <a:pt x="1557" y="894"/>
                </a:lnTo>
                <a:lnTo>
                  <a:pt x="1557" y="894"/>
                </a:lnTo>
                <a:close/>
                <a:moveTo>
                  <a:pt x="1545" y="883"/>
                </a:moveTo>
                <a:lnTo>
                  <a:pt x="1547" y="878"/>
                </a:lnTo>
                <a:lnTo>
                  <a:pt x="1553" y="879"/>
                </a:lnTo>
                <a:lnTo>
                  <a:pt x="1553" y="875"/>
                </a:lnTo>
                <a:lnTo>
                  <a:pt x="1555" y="874"/>
                </a:lnTo>
                <a:lnTo>
                  <a:pt x="1555" y="878"/>
                </a:lnTo>
                <a:lnTo>
                  <a:pt x="1553" y="881"/>
                </a:lnTo>
                <a:lnTo>
                  <a:pt x="1555" y="882"/>
                </a:lnTo>
                <a:lnTo>
                  <a:pt x="1556" y="883"/>
                </a:lnTo>
                <a:lnTo>
                  <a:pt x="1557" y="887"/>
                </a:lnTo>
                <a:lnTo>
                  <a:pt x="1557" y="890"/>
                </a:lnTo>
                <a:lnTo>
                  <a:pt x="1557" y="893"/>
                </a:lnTo>
                <a:lnTo>
                  <a:pt x="1555" y="893"/>
                </a:lnTo>
                <a:lnTo>
                  <a:pt x="1552" y="891"/>
                </a:lnTo>
                <a:lnTo>
                  <a:pt x="1550" y="890"/>
                </a:lnTo>
                <a:lnTo>
                  <a:pt x="1548" y="890"/>
                </a:lnTo>
                <a:lnTo>
                  <a:pt x="1545" y="891"/>
                </a:lnTo>
                <a:lnTo>
                  <a:pt x="1543" y="888"/>
                </a:lnTo>
                <a:lnTo>
                  <a:pt x="1545" y="883"/>
                </a:lnTo>
                <a:lnTo>
                  <a:pt x="1545" y="880"/>
                </a:lnTo>
                <a:lnTo>
                  <a:pt x="1545" y="883"/>
                </a:lnTo>
                <a:close/>
                <a:moveTo>
                  <a:pt x="1539" y="861"/>
                </a:moveTo>
                <a:lnTo>
                  <a:pt x="1540" y="857"/>
                </a:lnTo>
                <a:lnTo>
                  <a:pt x="1542" y="856"/>
                </a:lnTo>
                <a:lnTo>
                  <a:pt x="1543" y="858"/>
                </a:lnTo>
                <a:lnTo>
                  <a:pt x="1543" y="861"/>
                </a:lnTo>
                <a:lnTo>
                  <a:pt x="1540" y="864"/>
                </a:lnTo>
                <a:lnTo>
                  <a:pt x="1539" y="861"/>
                </a:lnTo>
                <a:lnTo>
                  <a:pt x="1539" y="861"/>
                </a:lnTo>
                <a:lnTo>
                  <a:pt x="1539" y="861"/>
                </a:lnTo>
                <a:close/>
                <a:moveTo>
                  <a:pt x="1501" y="850"/>
                </a:moveTo>
                <a:lnTo>
                  <a:pt x="1503" y="852"/>
                </a:lnTo>
                <a:lnTo>
                  <a:pt x="1506" y="852"/>
                </a:lnTo>
                <a:lnTo>
                  <a:pt x="1507" y="849"/>
                </a:lnTo>
                <a:lnTo>
                  <a:pt x="1508" y="849"/>
                </a:lnTo>
                <a:lnTo>
                  <a:pt x="1510" y="849"/>
                </a:lnTo>
                <a:lnTo>
                  <a:pt x="1511" y="849"/>
                </a:lnTo>
                <a:lnTo>
                  <a:pt x="1517" y="853"/>
                </a:lnTo>
                <a:lnTo>
                  <a:pt x="1520" y="858"/>
                </a:lnTo>
                <a:lnTo>
                  <a:pt x="1523" y="863"/>
                </a:lnTo>
                <a:lnTo>
                  <a:pt x="1518" y="866"/>
                </a:lnTo>
                <a:lnTo>
                  <a:pt x="1514" y="870"/>
                </a:lnTo>
                <a:lnTo>
                  <a:pt x="1507" y="868"/>
                </a:lnTo>
                <a:lnTo>
                  <a:pt x="1509" y="866"/>
                </a:lnTo>
                <a:lnTo>
                  <a:pt x="1512" y="865"/>
                </a:lnTo>
                <a:lnTo>
                  <a:pt x="1515" y="862"/>
                </a:lnTo>
                <a:lnTo>
                  <a:pt x="1511" y="860"/>
                </a:lnTo>
                <a:lnTo>
                  <a:pt x="1508" y="861"/>
                </a:lnTo>
                <a:lnTo>
                  <a:pt x="1502" y="861"/>
                </a:lnTo>
                <a:lnTo>
                  <a:pt x="1499" y="856"/>
                </a:lnTo>
                <a:lnTo>
                  <a:pt x="1501" y="850"/>
                </a:lnTo>
                <a:lnTo>
                  <a:pt x="1501" y="852"/>
                </a:lnTo>
                <a:lnTo>
                  <a:pt x="1501" y="850"/>
                </a:lnTo>
                <a:close/>
                <a:moveTo>
                  <a:pt x="1695" y="803"/>
                </a:moveTo>
                <a:lnTo>
                  <a:pt x="1695" y="803"/>
                </a:lnTo>
                <a:lnTo>
                  <a:pt x="1695" y="802"/>
                </a:lnTo>
                <a:lnTo>
                  <a:pt x="1696" y="803"/>
                </a:lnTo>
                <a:lnTo>
                  <a:pt x="1695" y="803"/>
                </a:lnTo>
                <a:lnTo>
                  <a:pt x="1695" y="803"/>
                </a:lnTo>
                <a:lnTo>
                  <a:pt x="1695" y="803"/>
                </a:lnTo>
                <a:close/>
                <a:moveTo>
                  <a:pt x="1692" y="792"/>
                </a:moveTo>
                <a:lnTo>
                  <a:pt x="1693" y="797"/>
                </a:lnTo>
                <a:lnTo>
                  <a:pt x="1695" y="802"/>
                </a:lnTo>
                <a:lnTo>
                  <a:pt x="1690" y="799"/>
                </a:lnTo>
                <a:lnTo>
                  <a:pt x="1688" y="795"/>
                </a:lnTo>
                <a:lnTo>
                  <a:pt x="1689" y="792"/>
                </a:lnTo>
                <a:lnTo>
                  <a:pt x="1692" y="792"/>
                </a:lnTo>
                <a:lnTo>
                  <a:pt x="1692" y="794"/>
                </a:lnTo>
                <a:lnTo>
                  <a:pt x="1692" y="792"/>
                </a:lnTo>
                <a:close/>
                <a:moveTo>
                  <a:pt x="1601" y="749"/>
                </a:moveTo>
                <a:lnTo>
                  <a:pt x="1599" y="746"/>
                </a:lnTo>
                <a:lnTo>
                  <a:pt x="1601" y="744"/>
                </a:lnTo>
                <a:lnTo>
                  <a:pt x="1602" y="746"/>
                </a:lnTo>
                <a:lnTo>
                  <a:pt x="1601" y="749"/>
                </a:lnTo>
                <a:lnTo>
                  <a:pt x="1601" y="748"/>
                </a:lnTo>
                <a:lnTo>
                  <a:pt x="1601" y="749"/>
                </a:lnTo>
                <a:close/>
                <a:moveTo>
                  <a:pt x="1644" y="772"/>
                </a:moveTo>
                <a:lnTo>
                  <a:pt x="1644" y="773"/>
                </a:lnTo>
                <a:lnTo>
                  <a:pt x="1644" y="774"/>
                </a:lnTo>
                <a:lnTo>
                  <a:pt x="1644" y="773"/>
                </a:lnTo>
                <a:lnTo>
                  <a:pt x="1644" y="772"/>
                </a:lnTo>
                <a:close/>
                <a:moveTo>
                  <a:pt x="1642" y="763"/>
                </a:moveTo>
                <a:lnTo>
                  <a:pt x="1642" y="767"/>
                </a:lnTo>
                <a:lnTo>
                  <a:pt x="1644" y="771"/>
                </a:lnTo>
                <a:lnTo>
                  <a:pt x="1642" y="767"/>
                </a:lnTo>
                <a:lnTo>
                  <a:pt x="1640" y="765"/>
                </a:lnTo>
                <a:lnTo>
                  <a:pt x="1635" y="764"/>
                </a:lnTo>
                <a:lnTo>
                  <a:pt x="1632" y="763"/>
                </a:lnTo>
                <a:lnTo>
                  <a:pt x="1626" y="757"/>
                </a:lnTo>
                <a:lnTo>
                  <a:pt x="1625" y="748"/>
                </a:lnTo>
                <a:lnTo>
                  <a:pt x="1622" y="750"/>
                </a:lnTo>
                <a:lnTo>
                  <a:pt x="1618" y="752"/>
                </a:lnTo>
                <a:lnTo>
                  <a:pt x="1617" y="748"/>
                </a:lnTo>
                <a:lnTo>
                  <a:pt x="1619" y="744"/>
                </a:lnTo>
                <a:lnTo>
                  <a:pt x="1616" y="736"/>
                </a:lnTo>
                <a:lnTo>
                  <a:pt x="1609" y="730"/>
                </a:lnTo>
                <a:lnTo>
                  <a:pt x="1606" y="728"/>
                </a:lnTo>
                <a:lnTo>
                  <a:pt x="1602" y="727"/>
                </a:lnTo>
                <a:lnTo>
                  <a:pt x="1599" y="727"/>
                </a:lnTo>
                <a:lnTo>
                  <a:pt x="1599" y="723"/>
                </a:lnTo>
                <a:lnTo>
                  <a:pt x="1594" y="715"/>
                </a:lnTo>
                <a:lnTo>
                  <a:pt x="1590" y="707"/>
                </a:lnTo>
                <a:lnTo>
                  <a:pt x="1618" y="732"/>
                </a:lnTo>
                <a:lnTo>
                  <a:pt x="1642" y="763"/>
                </a:lnTo>
                <a:lnTo>
                  <a:pt x="1637" y="756"/>
                </a:lnTo>
                <a:lnTo>
                  <a:pt x="1642" y="763"/>
                </a:lnTo>
                <a:close/>
                <a:moveTo>
                  <a:pt x="1670" y="509"/>
                </a:moveTo>
                <a:lnTo>
                  <a:pt x="1670" y="510"/>
                </a:lnTo>
                <a:lnTo>
                  <a:pt x="1668" y="510"/>
                </a:lnTo>
                <a:lnTo>
                  <a:pt x="1668" y="510"/>
                </a:lnTo>
                <a:lnTo>
                  <a:pt x="1670" y="509"/>
                </a:lnTo>
                <a:lnTo>
                  <a:pt x="1670" y="509"/>
                </a:lnTo>
                <a:lnTo>
                  <a:pt x="1670" y="509"/>
                </a:lnTo>
                <a:close/>
                <a:moveTo>
                  <a:pt x="1630" y="501"/>
                </a:moveTo>
                <a:lnTo>
                  <a:pt x="1631" y="503"/>
                </a:lnTo>
                <a:lnTo>
                  <a:pt x="1630" y="503"/>
                </a:lnTo>
                <a:lnTo>
                  <a:pt x="1630" y="503"/>
                </a:lnTo>
                <a:lnTo>
                  <a:pt x="1630" y="501"/>
                </a:lnTo>
                <a:close/>
                <a:moveTo>
                  <a:pt x="1534" y="490"/>
                </a:moveTo>
                <a:lnTo>
                  <a:pt x="1533" y="491"/>
                </a:lnTo>
                <a:lnTo>
                  <a:pt x="1532" y="492"/>
                </a:lnTo>
                <a:lnTo>
                  <a:pt x="1532" y="490"/>
                </a:lnTo>
                <a:lnTo>
                  <a:pt x="1534" y="490"/>
                </a:lnTo>
                <a:close/>
                <a:moveTo>
                  <a:pt x="1532" y="492"/>
                </a:moveTo>
                <a:lnTo>
                  <a:pt x="1532" y="492"/>
                </a:lnTo>
                <a:lnTo>
                  <a:pt x="1531" y="493"/>
                </a:lnTo>
                <a:lnTo>
                  <a:pt x="1531" y="492"/>
                </a:lnTo>
                <a:lnTo>
                  <a:pt x="1532" y="492"/>
                </a:lnTo>
                <a:lnTo>
                  <a:pt x="1532" y="492"/>
                </a:lnTo>
                <a:lnTo>
                  <a:pt x="1532" y="492"/>
                </a:lnTo>
                <a:close/>
                <a:moveTo>
                  <a:pt x="1457" y="525"/>
                </a:moveTo>
                <a:lnTo>
                  <a:pt x="1458" y="526"/>
                </a:lnTo>
                <a:lnTo>
                  <a:pt x="1459" y="528"/>
                </a:lnTo>
                <a:lnTo>
                  <a:pt x="1453" y="528"/>
                </a:lnTo>
                <a:lnTo>
                  <a:pt x="1457" y="525"/>
                </a:lnTo>
                <a:lnTo>
                  <a:pt x="1457" y="525"/>
                </a:lnTo>
                <a:lnTo>
                  <a:pt x="1457" y="525"/>
                </a:lnTo>
                <a:close/>
                <a:moveTo>
                  <a:pt x="1576" y="416"/>
                </a:moveTo>
                <a:lnTo>
                  <a:pt x="1576" y="416"/>
                </a:lnTo>
                <a:lnTo>
                  <a:pt x="1576" y="416"/>
                </a:lnTo>
                <a:lnTo>
                  <a:pt x="1576" y="416"/>
                </a:lnTo>
                <a:close/>
                <a:moveTo>
                  <a:pt x="1532" y="407"/>
                </a:moveTo>
                <a:lnTo>
                  <a:pt x="1533" y="408"/>
                </a:lnTo>
                <a:lnTo>
                  <a:pt x="1533" y="409"/>
                </a:lnTo>
                <a:lnTo>
                  <a:pt x="1531" y="408"/>
                </a:lnTo>
                <a:lnTo>
                  <a:pt x="1532" y="407"/>
                </a:lnTo>
                <a:close/>
                <a:moveTo>
                  <a:pt x="1325" y="506"/>
                </a:moveTo>
                <a:lnTo>
                  <a:pt x="1321" y="509"/>
                </a:lnTo>
                <a:lnTo>
                  <a:pt x="1318" y="513"/>
                </a:lnTo>
                <a:lnTo>
                  <a:pt x="1316" y="518"/>
                </a:lnTo>
                <a:lnTo>
                  <a:pt x="1314" y="523"/>
                </a:lnTo>
                <a:lnTo>
                  <a:pt x="1311" y="523"/>
                </a:lnTo>
                <a:lnTo>
                  <a:pt x="1311" y="517"/>
                </a:lnTo>
                <a:lnTo>
                  <a:pt x="1312" y="512"/>
                </a:lnTo>
                <a:lnTo>
                  <a:pt x="1313" y="506"/>
                </a:lnTo>
                <a:lnTo>
                  <a:pt x="1311" y="506"/>
                </a:lnTo>
                <a:lnTo>
                  <a:pt x="1310" y="505"/>
                </a:lnTo>
                <a:lnTo>
                  <a:pt x="1313" y="505"/>
                </a:lnTo>
                <a:lnTo>
                  <a:pt x="1314" y="501"/>
                </a:lnTo>
                <a:lnTo>
                  <a:pt x="1316" y="497"/>
                </a:lnTo>
                <a:lnTo>
                  <a:pt x="1320" y="495"/>
                </a:lnTo>
                <a:lnTo>
                  <a:pt x="1327" y="497"/>
                </a:lnTo>
                <a:lnTo>
                  <a:pt x="1325" y="506"/>
                </a:lnTo>
                <a:lnTo>
                  <a:pt x="1324" y="506"/>
                </a:lnTo>
                <a:lnTo>
                  <a:pt x="1325" y="506"/>
                </a:lnTo>
                <a:close/>
                <a:moveTo>
                  <a:pt x="1341" y="492"/>
                </a:moveTo>
                <a:lnTo>
                  <a:pt x="1339" y="500"/>
                </a:lnTo>
                <a:lnTo>
                  <a:pt x="1337" y="507"/>
                </a:lnTo>
                <a:lnTo>
                  <a:pt x="1334" y="498"/>
                </a:lnTo>
                <a:lnTo>
                  <a:pt x="1335" y="489"/>
                </a:lnTo>
                <a:lnTo>
                  <a:pt x="1339" y="488"/>
                </a:lnTo>
                <a:lnTo>
                  <a:pt x="1341" y="492"/>
                </a:lnTo>
                <a:lnTo>
                  <a:pt x="1341" y="493"/>
                </a:lnTo>
                <a:lnTo>
                  <a:pt x="1341" y="492"/>
                </a:lnTo>
                <a:close/>
                <a:moveTo>
                  <a:pt x="1400" y="442"/>
                </a:moveTo>
                <a:lnTo>
                  <a:pt x="1388" y="451"/>
                </a:lnTo>
                <a:lnTo>
                  <a:pt x="1375" y="459"/>
                </a:lnTo>
                <a:lnTo>
                  <a:pt x="1384" y="447"/>
                </a:lnTo>
                <a:lnTo>
                  <a:pt x="1400" y="442"/>
                </a:lnTo>
                <a:close/>
                <a:moveTo>
                  <a:pt x="1324" y="456"/>
                </a:moveTo>
                <a:lnTo>
                  <a:pt x="1330" y="455"/>
                </a:lnTo>
                <a:lnTo>
                  <a:pt x="1337" y="457"/>
                </a:lnTo>
                <a:lnTo>
                  <a:pt x="1336" y="462"/>
                </a:lnTo>
                <a:lnTo>
                  <a:pt x="1339" y="465"/>
                </a:lnTo>
                <a:lnTo>
                  <a:pt x="1336" y="464"/>
                </a:lnTo>
                <a:lnTo>
                  <a:pt x="1334" y="466"/>
                </a:lnTo>
                <a:lnTo>
                  <a:pt x="1328" y="468"/>
                </a:lnTo>
                <a:lnTo>
                  <a:pt x="1324" y="472"/>
                </a:lnTo>
                <a:lnTo>
                  <a:pt x="1313" y="478"/>
                </a:lnTo>
                <a:lnTo>
                  <a:pt x="1303" y="483"/>
                </a:lnTo>
                <a:lnTo>
                  <a:pt x="1313" y="470"/>
                </a:lnTo>
                <a:lnTo>
                  <a:pt x="1324" y="456"/>
                </a:lnTo>
                <a:lnTo>
                  <a:pt x="1321" y="458"/>
                </a:lnTo>
                <a:lnTo>
                  <a:pt x="1324" y="456"/>
                </a:lnTo>
                <a:close/>
                <a:moveTo>
                  <a:pt x="1265" y="256"/>
                </a:moveTo>
                <a:lnTo>
                  <a:pt x="1269" y="263"/>
                </a:lnTo>
                <a:lnTo>
                  <a:pt x="1272" y="268"/>
                </a:lnTo>
                <a:lnTo>
                  <a:pt x="1273" y="274"/>
                </a:lnTo>
                <a:lnTo>
                  <a:pt x="1272" y="277"/>
                </a:lnTo>
                <a:lnTo>
                  <a:pt x="1268" y="275"/>
                </a:lnTo>
                <a:lnTo>
                  <a:pt x="1265" y="269"/>
                </a:lnTo>
                <a:lnTo>
                  <a:pt x="1267" y="263"/>
                </a:lnTo>
                <a:lnTo>
                  <a:pt x="1265" y="256"/>
                </a:lnTo>
                <a:lnTo>
                  <a:pt x="1268" y="262"/>
                </a:lnTo>
                <a:lnTo>
                  <a:pt x="1265" y="256"/>
                </a:lnTo>
                <a:close/>
                <a:moveTo>
                  <a:pt x="1202" y="385"/>
                </a:moveTo>
                <a:lnTo>
                  <a:pt x="1194" y="387"/>
                </a:lnTo>
                <a:lnTo>
                  <a:pt x="1184" y="389"/>
                </a:lnTo>
                <a:lnTo>
                  <a:pt x="1195" y="381"/>
                </a:lnTo>
                <a:lnTo>
                  <a:pt x="1202" y="385"/>
                </a:lnTo>
                <a:close/>
                <a:moveTo>
                  <a:pt x="1156" y="183"/>
                </a:moveTo>
                <a:lnTo>
                  <a:pt x="1155" y="183"/>
                </a:lnTo>
                <a:lnTo>
                  <a:pt x="1154" y="184"/>
                </a:lnTo>
                <a:lnTo>
                  <a:pt x="1155" y="183"/>
                </a:lnTo>
                <a:lnTo>
                  <a:pt x="1156" y="183"/>
                </a:lnTo>
                <a:close/>
                <a:moveTo>
                  <a:pt x="1154" y="184"/>
                </a:moveTo>
                <a:lnTo>
                  <a:pt x="1153" y="184"/>
                </a:lnTo>
                <a:lnTo>
                  <a:pt x="1152" y="184"/>
                </a:lnTo>
                <a:lnTo>
                  <a:pt x="1153" y="184"/>
                </a:lnTo>
                <a:lnTo>
                  <a:pt x="1154" y="184"/>
                </a:lnTo>
                <a:close/>
                <a:moveTo>
                  <a:pt x="1094" y="298"/>
                </a:moveTo>
                <a:lnTo>
                  <a:pt x="1094" y="298"/>
                </a:lnTo>
                <a:lnTo>
                  <a:pt x="1097" y="298"/>
                </a:lnTo>
                <a:lnTo>
                  <a:pt x="1094" y="299"/>
                </a:lnTo>
                <a:lnTo>
                  <a:pt x="1092" y="300"/>
                </a:lnTo>
                <a:lnTo>
                  <a:pt x="1094" y="299"/>
                </a:lnTo>
                <a:lnTo>
                  <a:pt x="1094" y="298"/>
                </a:lnTo>
                <a:lnTo>
                  <a:pt x="1094" y="298"/>
                </a:lnTo>
                <a:lnTo>
                  <a:pt x="1094" y="298"/>
                </a:lnTo>
                <a:close/>
                <a:moveTo>
                  <a:pt x="1105" y="256"/>
                </a:moveTo>
                <a:lnTo>
                  <a:pt x="1106" y="259"/>
                </a:lnTo>
                <a:lnTo>
                  <a:pt x="1103" y="258"/>
                </a:lnTo>
                <a:lnTo>
                  <a:pt x="1104" y="257"/>
                </a:lnTo>
                <a:lnTo>
                  <a:pt x="1105" y="256"/>
                </a:lnTo>
                <a:lnTo>
                  <a:pt x="1105" y="256"/>
                </a:lnTo>
                <a:lnTo>
                  <a:pt x="1105" y="256"/>
                </a:lnTo>
                <a:close/>
                <a:moveTo>
                  <a:pt x="971" y="52"/>
                </a:moveTo>
                <a:lnTo>
                  <a:pt x="970" y="51"/>
                </a:lnTo>
                <a:lnTo>
                  <a:pt x="971" y="51"/>
                </a:lnTo>
                <a:lnTo>
                  <a:pt x="971" y="51"/>
                </a:lnTo>
                <a:lnTo>
                  <a:pt x="971" y="52"/>
                </a:lnTo>
                <a:lnTo>
                  <a:pt x="970" y="52"/>
                </a:lnTo>
                <a:lnTo>
                  <a:pt x="971" y="52"/>
                </a:lnTo>
                <a:close/>
                <a:moveTo>
                  <a:pt x="917" y="200"/>
                </a:moveTo>
                <a:lnTo>
                  <a:pt x="916" y="198"/>
                </a:lnTo>
                <a:lnTo>
                  <a:pt x="915" y="196"/>
                </a:lnTo>
                <a:lnTo>
                  <a:pt x="913" y="197"/>
                </a:lnTo>
                <a:lnTo>
                  <a:pt x="909" y="197"/>
                </a:lnTo>
                <a:lnTo>
                  <a:pt x="913" y="197"/>
                </a:lnTo>
                <a:lnTo>
                  <a:pt x="915" y="196"/>
                </a:lnTo>
                <a:lnTo>
                  <a:pt x="913" y="192"/>
                </a:lnTo>
                <a:lnTo>
                  <a:pt x="912" y="189"/>
                </a:lnTo>
                <a:lnTo>
                  <a:pt x="913" y="185"/>
                </a:lnTo>
                <a:lnTo>
                  <a:pt x="916" y="183"/>
                </a:lnTo>
                <a:lnTo>
                  <a:pt x="916" y="179"/>
                </a:lnTo>
                <a:lnTo>
                  <a:pt x="915" y="174"/>
                </a:lnTo>
                <a:lnTo>
                  <a:pt x="916" y="169"/>
                </a:lnTo>
                <a:lnTo>
                  <a:pt x="916" y="164"/>
                </a:lnTo>
                <a:lnTo>
                  <a:pt x="916" y="168"/>
                </a:lnTo>
                <a:lnTo>
                  <a:pt x="915" y="173"/>
                </a:lnTo>
                <a:lnTo>
                  <a:pt x="916" y="175"/>
                </a:lnTo>
                <a:lnTo>
                  <a:pt x="917" y="176"/>
                </a:lnTo>
                <a:lnTo>
                  <a:pt x="918" y="176"/>
                </a:lnTo>
                <a:lnTo>
                  <a:pt x="921" y="179"/>
                </a:lnTo>
                <a:lnTo>
                  <a:pt x="922" y="190"/>
                </a:lnTo>
                <a:lnTo>
                  <a:pt x="917" y="200"/>
                </a:lnTo>
                <a:lnTo>
                  <a:pt x="920" y="197"/>
                </a:lnTo>
                <a:lnTo>
                  <a:pt x="917" y="200"/>
                </a:lnTo>
                <a:close/>
                <a:moveTo>
                  <a:pt x="873" y="194"/>
                </a:moveTo>
                <a:lnTo>
                  <a:pt x="873" y="201"/>
                </a:lnTo>
                <a:lnTo>
                  <a:pt x="871" y="208"/>
                </a:lnTo>
                <a:lnTo>
                  <a:pt x="869" y="200"/>
                </a:lnTo>
                <a:lnTo>
                  <a:pt x="873" y="194"/>
                </a:lnTo>
                <a:close/>
                <a:moveTo>
                  <a:pt x="498" y="186"/>
                </a:moveTo>
                <a:lnTo>
                  <a:pt x="498" y="186"/>
                </a:lnTo>
                <a:lnTo>
                  <a:pt x="498" y="186"/>
                </a:lnTo>
                <a:close/>
                <a:moveTo>
                  <a:pt x="562" y="251"/>
                </a:moveTo>
                <a:lnTo>
                  <a:pt x="566" y="251"/>
                </a:lnTo>
                <a:lnTo>
                  <a:pt x="567" y="254"/>
                </a:lnTo>
                <a:lnTo>
                  <a:pt x="563" y="254"/>
                </a:lnTo>
                <a:lnTo>
                  <a:pt x="562" y="251"/>
                </a:lnTo>
                <a:close/>
                <a:moveTo>
                  <a:pt x="520" y="206"/>
                </a:moveTo>
                <a:lnTo>
                  <a:pt x="520" y="205"/>
                </a:lnTo>
                <a:lnTo>
                  <a:pt x="520" y="202"/>
                </a:lnTo>
                <a:lnTo>
                  <a:pt x="520" y="205"/>
                </a:lnTo>
                <a:lnTo>
                  <a:pt x="520" y="206"/>
                </a:lnTo>
                <a:close/>
                <a:moveTo>
                  <a:pt x="515" y="202"/>
                </a:moveTo>
                <a:lnTo>
                  <a:pt x="515" y="202"/>
                </a:lnTo>
                <a:lnTo>
                  <a:pt x="515" y="202"/>
                </a:lnTo>
                <a:lnTo>
                  <a:pt x="515" y="202"/>
                </a:lnTo>
                <a:lnTo>
                  <a:pt x="515" y="202"/>
                </a:lnTo>
                <a:close/>
                <a:moveTo>
                  <a:pt x="514" y="225"/>
                </a:moveTo>
                <a:lnTo>
                  <a:pt x="509" y="218"/>
                </a:lnTo>
                <a:lnTo>
                  <a:pt x="504" y="209"/>
                </a:lnTo>
                <a:lnTo>
                  <a:pt x="511" y="213"/>
                </a:lnTo>
                <a:lnTo>
                  <a:pt x="517" y="215"/>
                </a:lnTo>
                <a:lnTo>
                  <a:pt x="518" y="209"/>
                </a:lnTo>
                <a:lnTo>
                  <a:pt x="517" y="204"/>
                </a:lnTo>
                <a:lnTo>
                  <a:pt x="520" y="208"/>
                </a:lnTo>
                <a:lnTo>
                  <a:pt x="523" y="215"/>
                </a:lnTo>
                <a:lnTo>
                  <a:pt x="525" y="215"/>
                </a:lnTo>
                <a:lnTo>
                  <a:pt x="526" y="217"/>
                </a:lnTo>
                <a:lnTo>
                  <a:pt x="526" y="221"/>
                </a:lnTo>
                <a:lnTo>
                  <a:pt x="527" y="223"/>
                </a:lnTo>
                <a:lnTo>
                  <a:pt x="533" y="226"/>
                </a:lnTo>
                <a:lnTo>
                  <a:pt x="538" y="229"/>
                </a:lnTo>
                <a:lnTo>
                  <a:pt x="541" y="232"/>
                </a:lnTo>
                <a:lnTo>
                  <a:pt x="542" y="235"/>
                </a:lnTo>
                <a:lnTo>
                  <a:pt x="545" y="239"/>
                </a:lnTo>
                <a:lnTo>
                  <a:pt x="550" y="241"/>
                </a:lnTo>
                <a:lnTo>
                  <a:pt x="545" y="239"/>
                </a:lnTo>
                <a:lnTo>
                  <a:pt x="542" y="235"/>
                </a:lnTo>
                <a:lnTo>
                  <a:pt x="542" y="238"/>
                </a:lnTo>
                <a:lnTo>
                  <a:pt x="542" y="239"/>
                </a:lnTo>
                <a:lnTo>
                  <a:pt x="528" y="232"/>
                </a:lnTo>
                <a:lnTo>
                  <a:pt x="514" y="225"/>
                </a:lnTo>
                <a:lnTo>
                  <a:pt x="515" y="225"/>
                </a:lnTo>
                <a:lnTo>
                  <a:pt x="514" y="225"/>
                </a:lnTo>
                <a:close/>
                <a:moveTo>
                  <a:pt x="586" y="333"/>
                </a:moveTo>
                <a:lnTo>
                  <a:pt x="586" y="333"/>
                </a:lnTo>
                <a:lnTo>
                  <a:pt x="587" y="333"/>
                </a:lnTo>
                <a:lnTo>
                  <a:pt x="586" y="333"/>
                </a:lnTo>
                <a:lnTo>
                  <a:pt x="586" y="333"/>
                </a:lnTo>
                <a:close/>
                <a:moveTo>
                  <a:pt x="591" y="337"/>
                </a:moveTo>
                <a:lnTo>
                  <a:pt x="591" y="337"/>
                </a:lnTo>
                <a:lnTo>
                  <a:pt x="592" y="337"/>
                </a:lnTo>
                <a:lnTo>
                  <a:pt x="591" y="337"/>
                </a:lnTo>
                <a:lnTo>
                  <a:pt x="591" y="337"/>
                </a:lnTo>
                <a:close/>
                <a:moveTo>
                  <a:pt x="571" y="258"/>
                </a:moveTo>
                <a:lnTo>
                  <a:pt x="569" y="257"/>
                </a:lnTo>
                <a:lnTo>
                  <a:pt x="568" y="254"/>
                </a:lnTo>
                <a:lnTo>
                  <a:pt x="570" y="254"/>
                </a:lnTo>
                <a:lnTo>
                  <a:pt x="571" y="255"/>
                </a:lnTo>
                <a:lnTo>
                  <a:pt x="580" y="259"/>
                </a:lnTo>
                <a:lnTo>
                  <a:pt x="588" y="266"/>
                </a:lnTo>
                <a:lnTo>
                  <a:pt x="605" y="279"/>
                </a:lnTo>
                <a:lnTo>
                  <a:pt x="621" y="291"/>
                </a:lnTo>
                <a:lnTo>
                  <a:pt x="629" y="298"/>
                </a:lnTo>
                <a:lnTo>
                  <a:pt x="637" y="305"/>
                </a:lnTo>
                <a:lnTo>
                  <a:pt x="643" y="310"/>
                </a:lnTo>
                <a:lnTo>
                  <a:pt x="649" y="316"/>
                </a:lnTo>
                <a:lnTo>
                  <a:pt x="655" y="315"/>
                </a:lnTo>
                <a:lnTo>
                  <a:pt x="660" y="316"/>
                </a:lnTo>
                <a:lnTo>
                  <a:pt x="660" y="318"/>
                </a:lnTo>
                <a:lnTo>
                  <a:pt x="658" y="319"/>
                </a:lnTo>
                <a:lnTo>
                  <a:pt x="658" y="323"/>
                </a:lnTo>
                <a:lnTo>
                  <a:pt x="657" y="325"/>
                </a:lnTo>
                <a:lnTo>
                  <a:pt x="613" y="292"/>
                </a:lnTo>
                <a:lnTo>
                  <a:pt x="571" y="258"/>
                </a:lnTo>
                <a:lnTo>
                  <a:pt x="581" y="267"/>
                </a:lnTo>
                <a:lnTo>
                  <a:pt x="571" y="258"/>
                </a:lnTo>
                <a:close/>
                <a:moveTo>
                  <a:pt x="187" y="401"/>
                </a:moveTo>
                <a:lnTo>
                  <a:pt x="183" y="405"/>
                </a:lnTo>
                <a:lnTo>
                  <a:pt x="183" y="401"/>
                </a:lnTo>
                <a:lnTo>
                  <a:pt x="188" y="399"/>
                </a:lnTo>
                <a:lnTo>
                  <a:pt x="187" y="401"/>
                </a:lnTo>
                <a:lnTo>
                  <a:pt x="187" y="401"/>
                </a:lnTo>
                <a:lnTo>
                  <a:pt x="187" y="401"/>
                </a:lnTo>
                <a:close/>
                <a:moveTo>
                  <a:pt x="276" y="377"/>
                </a:moveTo>
                <a:lnTo>
                  <a:pt x="275" y="376"/>
                </a:lnTo>
                <a:lnTo>
                  <a:pt x="276" y="376"/>
                </a:lnTo>
                <a:lnTo>
                  <a:pt x="276" y="376"/>
                </a:lnTo>
                <a:lnTo>
                  <a:pt x="276" y="377"/>
                </a:lnTo>
                <a:lnTo>
                  <a:pt x="276" y="377"/>
                </a:lnTo>
                <a:lnTo>
                  <a:pt x="276" y="377"/>
                </a:lnTo>
                <a:close/>
                <a:moveTo>
                  <a:pt x="290" y="406"/>
                </a:moveTo>
                <a:lnTo>
                  <a:pt x="290" y="406"/>
                </a:lnTo>
                <a:lnTo>
                  <a:pt x="290" y="406"/>
                </a:lnTo>
                <a:close/>
                <a:moveTo>
                  <a:pt x="327" y="414"/>
                </a:moveTo>
                <a:lnTo>
                  <a:pt x="323" y="416"/>
                </a:lnTo>
                <a:lnTo>
                  <a:pt x="319" y="417"/>
                </a:lnTo>
                <a:lnTo>
                  <a:pt x="324" y="412"/>
                </a:lnTo>
                <a:lnTo>
                  <a:pt x="333" y="412"/>
                </a:lnTo>
                <a:lnTo>
                  <a:pt x="330" y="413"/>
                </a:lnTo>
                <a:lnTo>
                  <a:pt x="327" y="414"/>
                </a:lnTo>
                <a:lnTo>
                  <a:pt x="327" y="414"/>
                </a:lnTo>
                <a:lnTo>
                  <a:pt x="327" y="414"/>
                </a:lnTo>
                <a:close/>
                <a:moveTo>
                  <a:pt x="358" y="424"/>
                </a:moveTo>
                <a:lnTo>
                  <a:pt x="357" y="428"/>
                </a:lnTo>
                <a:lnTo>
                  <a:pt x="356" y="430"/>
                </a:lnTo>
                <a:lnTo>
                  <a:pt x="352" y="431"/>
                </a:lnTo>
                <a:lnTo>
                  <a:pt x="350" y="428"/>
                </a:lnTo>
                <a:lnTo>
                  <a:pt x="354" y="423"/>
                </a:lnTo>
                <a:lnTo>
                  <a:pt x="358" y="421"/>
                </a:lnTo>
                <a:lnTo>
                  <a:pt x="361" y="421"/>
                </a:lnTo>
                <a:lnTo>
                  <a:pt x="358" y="424"/>
                </a:lnTo>
                <a:lnTo>
                  <a:pt x="358" y="424"/>
                </a:lnTo>
                <a:lnTo>
                  <a:pt x="358" y="424"/>
                </a:lnTo>
                <a:close/>
                <a:moveTo>
                  <a:pt x="363" y="421"/>
                </a:moveTo>
                <a:lnTo>
                  <a:pt x="363" y="420"/>
                </a:lnTo>
                <a:lnTo>
                  <a:pt x="364" y="420"/>
                </a:lnTo>
                <a:lnTo>
                  <a:pt x="364" y="420"/>
                </a:lnTo>
                <a:lnTo>
                  <a:pt x="363" y="421"/>
                </a:lnTo>
                <a:lnTo>
                  <a:pt x="364" y="421"/>
                </a:lnTo>
                <a:lnTo>
                  <a:pt x="363" y="421"/>
                </a:lnTo>
                <a:close/>
                <a:moveTo>
                  <a:pt x="395" y="498"/>
                </a:moveTo>
                <a:lnTo>
                  <a:pt x="395" y="497"/>
                </a:lnTo>
                <a:lnTo>
                  <a:pt x="395" y="496"/>
                </a:lnTo>
                <a:lnTo>
                  <a:pt x="395" y="497"/>
                </a:lnTo>
                <a:lnTo>
                  <a:pt x="395" y="498"/>
                </a:lnTo>
                <a:lnTo>
                  <a:pt x="395" y="498"/>
                </a:lnTo>
                <a:lnTo>
                  <a:pt x="395" y="498"/>
                </a:lnTo>
                <a:close/>
                <a:moveTo>
                  <a:pt x="438" y="368"/>
                </a:moveTo>
                <a:lnTo>
                  <a:pt x="444" y="368"/>
                </a:lnTo>
                <a:lnTo>
                  <a:pt x="448" y="372"/>
                </a:lnTo>
                <a:lnTo>
                  <a:pt x="451" y="374"/>
                </a:lnTo>
                <a:lnTo>
                  <a:pt x="452" y="377"/>
                </a:lnTo>
                <a:lnTo>
                  <a:pt x="454" y="380"/>
                </a:lnTo>
                <a:lnTo>
                  <a:pt x="457" y="380"/>
                </a:lnTo>
                <a:lnTo>
                  <a:pt x="454" y="384"/>
                </a:lnTo>
                <a:lnTo>
                  <a:pt x="457" y="391"/>
                </a:lnTo>
                <a:lnTo>
                  <a:pt x="456" y="395"/>
                </a:lnTo>
                <a:lnTo>
                  <a:pt x="451" y="387"/>
                </a:lnTo>
                <a:lnTo>
                  <a:pt x="446" y="381"/>
                </a:lnTo>
                <a:lnTo>
                  <a:pt x="441" y="377"/>
                </a:lnTo>
                <a:lnTo>
                  <a:pt x="439" y="376"/>
                </a:lnTo>
                <a:lnTo>
                  <a:pt x="437" y="374"/>
                </a:lnTo>
                <a:lnTo>
                  <a:pt x="436" y="371"/>
                </a:lnTo>
                <a:lnTo>
                  <a:pt x="438" y="368"/>
                </a:lnTo>
                <a:lnTo>
                  <a:pt x="439" y="368"/>
                </a:lnTo>
                <a:lnTo>
                  <a:pt x="438" y="368"/>
                </a:lnTo>
                <a:close/>
                <a:moveTo>
                  <a:pt x="430" y="429"/>
                </a:moveTo>
                <a:lnTo>
                  <a:pt x="432" y="415"/>
                </a:lnTo>
                <a:lnTo>
                  <a:pt x="448" y="409"/>
                </a:lnTo>
                <a:lnTo>
                  <a:pt x="457" y="405"/>
                </a:lnTo>
                <a:lnTo>
                  <a:pt x="468" y="399"/>
                </a:lnTo>
                <a:lnTo>
                  <a:pt x="478" y="395"/>
                </a:lnTo>
                <a:lnTo>
                  <a:pt x="489" y="395"/>
                </a:lnTo>
                <a:lnTo>
                  <a:pt x="459" y="409"/>
                </a:lnTo>
                <a:lnTo>
                  <a:pt x="430" y="429"/>
                </a:lnTo>
                <a:lnTo>
                  <a:pt x="434" y="418"/>
                </a:lnTo>
                <a:lnTo>
                  <a:pt x="430" y="429"/>
                </a:lnTo>
                <a:close/>
                <a:moveTo>
                  <a:pt x="520" y="363"/>
                </a:moveTo>
                <a:lnTo>
                  <a:pt x="521" y="371"/>
                </a:lnTo>
                <a:lnTo>
                  <a:pt x="522" y="379"/>
                </a:lnTo>
                <a:lnTo>
                  <a:pt x="518" y="374"/>
                </a:lnTo>
                <a:lnTo>
                  <a:pt x="514" y="373"/>
                </a:lnTo>
                <a:lnTo>
                  <a:pt x="514" y="372"/>
                </a:lnTo>
                <a:lnTo>
                  <a:pt x="514" y="370"/>
                </a:lnTo>
                <a:lnTo>
                  <a:pt x="512" y="371"/>
                </a:lnTo>
                <a:lnTo>
                  <a:pt x="511" y="372"/>
                </a:lnTo>
                <a:lnTo>
                  <a:pt x="515" y="367"/>
                </a:lnTo>
                <a:lnTo>
                  <a:pt x="520" y="363"/>
                </a:lnTo>
                <a:lnTo>
                  <a:pt x="519" y="365"/>
                </a:lnTo>
                <a:lnTo>
                  <a:pt x="520" y="363"/>
                </a:lnTo>
                <a:close/>
                <a:moveTo>
                  <a:pt x="616" y="487"/>
                </a:moveTo>
                <a:lnTo>
                  <a:pt x="617" y="482"/>
                </a:lnTo>
                <a:lnTo>
                  <a:pt x="620" y="484"/>
                </a:lnTo>
                <a:lnTo>
                  <a:pt x="621" y="488"/>
                </a:lnTo>
                <a:lnTo>
                  <a:pt x="621" y="492"/>
                </a:lnTo>
                <a:lnTo>
                  <a:pt x="616" y="491"/>
                </a:lnTo>
                <a:lnTo>
                  <a:pt x="616" y="487"/>
                </a:lnTo>
                <a:lnTo>
                  <a:pt x="614" y="488"/>
                </a:lnTo>
                <a:lnTo>
                  <a:pt x="616" y="487"/>
                </a:lnTo>
                <a:close/>
                <a:moveTo>
                  <a:pt x="162" y="669"/>
                </a:moveTo>
                <a:lnTo>
                  <a:pt x="162" y="671"/>
                </a:lnTo>
                <a:lnTo>
                  <a:pt x="159" y="673"/>
                </a:lnTo>
                <a:lnTo>
                  <a:pt x="156" y="672"/>
                </a:lnTo>
                <a:lnTo>
                  <a:pt x="156" y="669"/>
                </a:lnTo>
                <a:lnTo>
                  <a:pt x="159" y="665"/>
                </a:lnTo>
                <a:lnTo>
                  <a:pt x="162" y="669"/>
                </a:lnTo>
                <a:lnTo>
                  <a:pt x="162" y="667"/>
                </a:lnTo>
                <a:lnTo>
                  <a:pt x="162" y="669"/>
                </a:lnTo>
                <a:close/>
                <a:moveTo>
                  <a:pt x="382" y="540"/>
                </a:moveTo>
                <a:lnTo>
                  <a:pt x="382" y="540"/>
                </a:lnTo>
                <a:lnTo>
                  <a:pt x="381" y="541"/>
                </a:lnTo>
                <a:lnTo>
                  <a:pt x="382" y="540"/>
                </a:lnTo>
                <a:lnTo>
                  <a:pt x="382" y="540"/>
                </a:lnTo>
                <a:close/>
                <a:moveTo>
                  <a:pt x="140" y="833"/>
                </a:moveTo>
                <a:lnTo>
                  <a:pt x="138" y="832"/>
                </a:lnTo>
                <a:lnTo>
                  <a:pt x="136" y="831"/>
                </a:lnTo>
                <a:lnTo>
                  <a:pt x="143" y="832"/>
                </a:lnTo>
                <a:lnTo>
                  <a:pt x="140" y="833"/>
                </a:lnTo>
                <a:lnTo>
                  <a:pt x="140" y="833"/>
                </a:lnTo>
                <a:lnTo>
                  <a:pt x="140" y="833"/>
                </a:lnTo>
                <a:close/>
                <a:moveTo>
                  <a:pt x="157" y="832"/>
                </a:moveTo>
                <a:lnTo>
                  <a:pt x="156" y="831"/>
                </a:lnTo>
                <a:lnTo>
                  <a:pt x="155" y="831"/>
                </a:lnTo>
                <a:lnTo>
                  <a:pt x="157" y="829"/>
                </a:lnTo>
                <a:lnTo>
                  <a:pt x="159" y="830"/>
                </a:lnTo>
                <a:lnTo>
                  <a:pt x="158" y="831"/>
                </a:lnTo>
                <a:lnTo>
                  <a:pt x="157" y="832"/>
                </a:lnTo>
                <a:lnTo>
                  <a:pt x="157" y="832"/>
                </a:lnTo>
                <a:lnTo>
                  <a:pt x="157" y="832"/>
                </a:lnTo>
                <a:close/>
                <a:moveTo>
                  <a:pt x="166" y="929"/>
                </a:moveTo>
                <a:lnTo>
                  <a:pt x="165" y="930"/>
                </a:lnTo>
                <a:lnTo>
                  <a:pt x="163" y="932"/>
                </a:lnTo>
                <a:lnTo>
                  <a:pt x="166" y="930"/>
                </a:lnTo>
                <a:lnTo>
                  <a:pt x="171" y="927"/>
                </a:lnTo>
                <a:lnTo>
                  <a:pt x="168" y="928"/>
                </a:lnTo>
                <a:lnTo>
                  <a:pt x="166" y="929"/>
                </a:lnTo>
                <a:lnTo>
                  <a:pt x="166" y="929"/>
                </a:lnTo>
                <a:lnTo>
                  <a:pt x="166" y="929"/>
                </a:lnTo>
                <a:close/>
                <a:moveTo>
                  <a:pt x="317" y="815"/>
                </a:moveTo>
                <a:lnTo>
                  <a:pt x="309" y="817"/>
                </a:lnTo>
                <a:lnTo>
                  <a:pt x="305" y="814"/>
                </a:lnTo>
                <a:lnTo>
                  <a:pt x="311" y="813"/>
                </a:lnTo>
                <a:lnTo>
                  <a:pt x="317" y="815"/>
                </a:lnTo>
                <a:lnTo>
                  <a:pt x="313" y="815"/>
                </a:lnTo>
                <a:lnTo>
                  <a:pt x="317" y="815"/>
                </a:lnTo>
                <a:close/>
                <a:moveTo>
                  <a:pt x="311" y="752"/>
                </a:moveTo>
                <a:lnTo>
                  <a:pt x="311" y="752"/>
                </a:lnTo>
                <a:lnTo>
                  <a:pt x="311" y="752"/>
                </a:lnTo>
                <a:lnTo>
                  <a:pt x="311" y="752"/>
                </a:lnTo>
                <a:lnTo>
                  <a:pt x="311" y="752"/>
                </a:lnTo>
                <a:close/>
                <a:moveTo>
                  <a:pt x="311" y="754"/>
                </a:moveTo>
                <a:lnTo>
                  <a:pt x="311" y="753"/>
                </a:lnTo>
                <a:lnTo>
                  <a:pt x="311" y="753"/>
                </a:lnTo>
                <a:lnTo>
                  <a:pt x="311" y="754"/>
                </a:lnTo>
                <a:lnTo>
                  <a:pt x="309" y="754"/>
                </a:lnTo>
                <a:lnTo>
                  <a:pt x="309" y="754"/>
                </a:lnTo>
                <a:lnTo>
                  <a:pt x="311" y="754"/>
                </a:lnTo>
                <a:close/>
                <a:moveTo>
                  <a:pt x="280" y="775"/>
                </a:moveTo>
                <a:lnTo>
                  <a:pt x="307" y="767"/>
                </a:lnTo>
                <a:lnTo>
                  <a:pt x="333" y="763"/>
                </a:lnTo>
                <a:lnTo>
                  <a:pt x="330" y="766"/>
                </a:lnTo>
                <a:lnTo>
                  <a:pt x="325" y="769"/>
                </a:lnTo>
                <a:lnTo>
                  <a:pt x="319" y="769"/>
                </a:lnTo>
                <a:lnTo>
                  <a:pt x="312" y="773"/>
                </a:lnTo>
                <a:lnTo>
                  <a:pt x="303" y="777"/>
                </a:lnTo>
                <a:lnTo>
                  <a:pt x="292" y="779"/>
                </a:lnTo>
                <a:lnTo>
                  <a:pt x="288" y="781"/>
                </a:lnTo>
                <a:lnTo>
                  <a:pt x="282" y="781"/>
                </a:lnTo>
                <a:lnTo>
                  <a:pt x="279" y="779"/>
                </a:lnTo>
                <a:lnTo>
                  <a:pt x="280" y="775"/>
                </a:lnTo>
                <a:lnTo>
                  <a:pt x="286" y="775"/>
                </a:lnTo>
                <a:lnTo>
                  <a:pt x="280" y="775"/>
                </a:lnTo>
                <a:close/>
                <a:moveTo>
                  <a:pt x="311" y="825"/>
                </a:moveTo>
                <a:lnTo>
                  <a:pt x="305" y="828"/>
                </a:lnTo>
                <a:lnTo>
                  <a:pt x="299" y="825"/>
                </a:lnTo>
                <a:lnTo>
                  <a:pt x="292" y="827"/>
                </a:lnTo>
                <a:lnTo>
                  <a:pt x="286" y="823"/>
                </a:lnTo>
                <a:lnTo>
                  <a:pt x="292" y="820"/>
                </a:lnTo>
                <a:lnTo>
                  <a:pt x="300" y="820"/>
                </a:lnTo>
                <a:lnTo>
                  <a:pt x="307" y="822"/>
                </a:lnTo>
                <a:lnTo>
                  <a:pt x="311" y="825"/>
                </a:lnTo>
                <a:lnTo>
                  <a:pt x="311" y="825"/>
                </a:lnTo>
                <a:lnTo>
                  <a:pt x="311" y="825"/>
                </a:lnTo>
                <a:close/>
                <a:moveTo>
                  <a:pt x="408" y="700"/>
                </a:moveTo>
                <a:lnTo>
                  <a:pt x="407" y="703"/>
                </a:lnTo>
                <a:lnTo>
                  <a:pt x="406" y="704"/>
                </a:lnTo>
                <a:lnTo>
                  <a:pt x="407" y="703"/>
                </a:lnTo>
                <a:lnTo>
                  <a:pt x="408" y="700"/>
                </a:lnTo>
                <a:close/>
                <a:moveTo>
                  <a:pt x="216" y="1173"/>
                </a:moveTo>
                <a:lnTo>
                  <a:pt x="213" y="1182"/>
                </a:lnTo>
                <a:lnTo>
                  <a:pt x="205" y="1186"/>
                </a:lnTo>
                <a:lnTo>
                  <a:pt x="201" y="1182"/>
                </a:lnTo>
                <a:lnTo>
                  <a:pt x="204" y="1178"/>
                </a:lnTo>
                <a:lnTo>
                  <a:pt x="208" y="1170"/>
                </a:lnTo>
                <a:lnTo>
                  <a:pt x="210" y="1161"/>
                </a:lnTo>
                <a:lnTo>
                  <a:pt x="218" y="1165"/>
                </a:lnTo>
                <a:lnTo>
                  <a:pt x="216" y="1173"/>
                </a:lnTo>
                <a:lnTo>
                  <a:pt x="218" y="1170"/>
                </a:lnTo>
                <a:lnTo>
                  <a:pt x="216" y="1173"/>
                </a:lnTo>
                <a:close/>
                <a:moveTo>
                  <a:pt x="261" y="1123"/>
                </a:moveTo>
                <a:lnTo>
                  <a:pt x="254" y="1128"/>
                </a:lnTo>
                <a:lnTo>
                  <a:pt x="249" y="1135"/>
                </a:lnTo>
                <a:lnTo>
                  <a:pt x="246" y="1138"/>
                </a:lnTo>
                <a:lnTo>
                  <a:pt x="241" y="1140"/>
                </a:lnTo>
                <a:lnTo>
                  <a:pt x="237" y="1149"/>
                </a:lnTo>
                <a:lnTo>
                  <a:pt x="237" y="1161"/>
                </a:lnTo>
                <a:lnTo>
                  <a:pt x="234" y="1155"/>
                </a:lnTo>
                <a:lnTo>
                  <a:pt x="232" y="1151"/>
                </a:lnTo>
                <a:lnTo>
                  <a:pt x="230" y="1147"/>
                </a:lnTo>
                <a:lnTo>
                  <a:pt x="230" y="1144"/>
                </a:lnTo>
                <a:lnTo>
                  <a:pt x="232" y="1140"/>
                </a:lnTo>
                <a:lnTo>
                  <a:pt x="235" y="1138"/>
                </a:lnTo>
                <a:lnTo>
                  <a:pt x="238" y="1134"/>
                </a:lnTo>
                <a:lnTo>
                  <a:pt x="239" y="1129"/>
                </a:lnTo>
                <a:lnTo>
                  <a:pt x="243" y="1122"/>
                </a:lnTo>
                <a:lnTo>
                  <a:pt x="249" y="1119"/>
                </a:lnTo>
                <a:lnTo>
                  <a:pt x="251" y="1120"/>
                </a:lnTo>
                <a:lnTo>
                  <a:pt x="253" y="1120"/>
                </a:lnTo>
                <a:lnTo>
                  <a:pt x="254" y="1119"/>
                </a:lnTo>
                <a:lnTo>
                  <a:pt x="255" y="1117"/>
                </a:lnTo>
                <a:lnTo>
                  <a:pt x="259" y="1112"/>
                </a:lnTo>
                <a:lnTo>
                  <a:pt x="265" y="1110"/>
                </a:lnTo>
                <a:lnTo>
                  <a:pt x="265" y="1118"/>
                </a:lnTo>
                <a:lnTo>
                  <a:pt x="261" y="1123"/>
                </a:lnTo>
                <a:lnTo>
                  <a:pt x="259" y="1123"/>
                </a:lnTo>
                <a:lnTo>
                  <a:pt x="261" y="1123"/>
                </a:lnTo>
                <a:close/>
                <a:moveTo>
                  <a:pt x="374" y="981"/>
                </a:moveTo>
                <a:lnTo>
                  <a:pt x="371" y="983"/>
                </a:lnTo>
                <a:lnTo>
                  <a:pt x="366" y="982"/>
                </a:lnTo>
                <a:lnTo>
                  <a:pt x="361" y="982"/>
                </a:lnTo>
                <a:lnTo>
                  <a:pt x="357" y="979"/>
                </a:lnTo>
                <a:lnTo>
                  <a:pt x="355" y="977"/>
                </a:lnTo>
                <a:lnTo>
                  <a:pt x="355" y="974"/>
                </a:lnTo>
                <a:lnTo>
                  <a:pt x="360" y="974"/>
                </a:lnTo>
                <a:lnTo>
                  <a:pt x="364" y="976"/>
                </a:lnTo>
                <a:lnTo>
                  <a:pt x="371" y="976"/>
                </a:lnTo>
                <a:lnTo>
                  <a:pt x="374" y="981"/>
                </a:lnTo>
                <a:lnTo>
                  <a:pt x="374" y="981"/>
                </a:lnTo>
                <a:lnTo>
                  <a:pt x="374" y="981"/>
                </a:lnTo>
                <a:close/>
                <a:moveTo>
                  <a:pt x="391" y="1222"/>
                </a:moveTo>
                <a:lnTo>
                  <a:pt x="393" y="1222"/>
                </a:lnTo>
                <a:lnTo>
                  <a:pt x="393" y="1223"/>
                </a:lnTo>
                <a:lnTo>
                  <a:pt x="393" y="1225"/>
                </a:lnTo>
                <a:lnTo>
                  <a:pt x="390" y="1223"/>
                </a:lnTo>
                <a:lnTo>
                  <a:pt x="391" y="1223"/>
                </a:lnTo>
                <a:lnTo>
                  <a:pt x="391" y="1222"/>
                </a:lnTo>
                <a:lnTo>
                  <a:pt x="391" y="1222"/>
                </a:lnTo>
                <a:lnTo>
                  <a:pt x="391" y="1222"/>
                </a:lnTo>
                <a:close/>
                <a:moveTo>
                  <a:pt x="387" y="1320"/>
                </a:moveTo>
                <a:lnTo>
                  <a:pt x="385" y="1319"/>
                </a:lnTo>
                <a:lnTo>
                  <a:pt x="388" y="1315"/>
                </a:lnTo>
                <a:lnTo>
                  <a:pt x="393" y="1313"/>
                </a:lnTo>
                <a:lnTo>
                  <a:pt x="397" y="1314"/>
                </a:lnTo>
                <a:lnTo>
                  <a:pt x="393" y="1318"/>
                </a:lnTo>
                <a:lnTo>
                  <a:pt x="387" y="1320"/>
                </a:lnTo>
                <a:lnTo>
                  <a:pt x="388" y="1320"/>
                </a:lnTo>
                <a:lnTo>
                  <a:pt x="387" y="1320"/>
                </a:lnTo>
                <a:close/>
                <a:moveTo>
                  <a:pt x="486" y="1268"/>
                </a:moveTo>
                <a:lnTo>
                  <a:pt x="490" y="1267"/>
                </a:lnTo>
                <a:lnTo>
                  <a:pt x="488" y="1269"/>
                </a:lnTo>
                <a:lnTo>
                  <a:pt x="485" y="1270"/>
                </a:lnTo>
                <a:lnTo>
                  <a:pt x="486" y="1268"/>
                </a:lnTo>
                <a:lnTo>
                  <a:pt x="486" y="1268"/>
                </a:lnTo>
                <a:lnTo>
                  <a:pt x="486" y="1268"/>
                </a:lnTo>
                <a:close/>
                <a:moveTo>
                  <a:pt x="482" y="1271"/>
                </a:moveTo>
                <a:lnTo>
                  <a:pt x="482" y="1271"/>
                </a:lnTo>
                <a:lnTo>
                  <a:pt x="482" y="1272"/>
                </a:lnTo>
                <a:lnTo>
                  <a:pt x="481" y="1271"/>
                </a:lnTo>
                <a:lnTo>
                  <a:pt x="482" y="1271"/>
                </a:lnTo>
                <a:lnTo>
                  <a:pt x="482" y="1271"/>
                </a:lnTo>
                <a:lnTo>
                  <a:pt x="482" y="1271"/>
                </a:lnTo>
                <a:close/>
                <a:moveTo>
                  <a:pt x="488" y="1333"/>
                </a:moveTo>
                <a:lnTo>
                  <a:pt x="481" y="1340"/>
                </a:lnTo>
                <a:lnTo>
                  <a:pt x="478" y="1351"/>
                </a:lnTo>
                <a:lnTo>
                  <a:pt x="474" y="1363"/>
                </a:lnTo>
                <a:lnTo>
                  <a:pt x="471" y="1376"/>
                </a:lnTo>
                <a:lnTo>
                  <a:pt x="468" y="1387"/>
                </a:lnTo>
                <a:lnTo>
                  <a:pt x="463" y="1397"/>
                </a:lnTo>
                <a:lnTo>
                  <a:pt x="457" y="1400"/>
                </a:lnTo>
                <a:lnTo>
                  <a:pt x="451" y="1400"/>
                </a:lnTo>
                <a:lnTo>
                  <a:pt x="454" y="1394"/>
                </a:lnTo>
                <a:lnTo>
                  <a:pt x="456" y="1391"/>
                </a:lnTo>
                <a:lnTo>
                  <a:pt x="453" y="1392"/>
                </a:lnTo>
                <a:lnTo>
                  <a:pt x="449" y="1393"/>
                </a:lnTo>
                <a:lnTo>
                  <a:pt x="451" y="1387"/>
                </a:lnTo>
                <a:lnTo>
                  <a:pt x="453" y="1384"/>
                </a:lnTo>
                <a:lnTo>
                  <a:pt x="457" y="1380"/>
                </a:lnTo>
                <a:lnTo>
                  <a:pt x="461" y="1378"/>
                </a:lnTo>
                <a:lnTo>
                  <a:pt x="463" y="1373"/>
                </a:lnTo>
                <a:lnTo>
                  <a:pt x="464" y="1369"/>
                </a:lnTo>
                <a:lnTo>
                  <a:pt x="468" y="1364"/>
                </a:lnTo>
                <a:lnTo>
                  <a:pt x="470" y="1361"/>
                </a:lnTo>
                <a:lnTo>
                  <a:pt x="468" y="1360"/>
                </a:lnTo>
                <a:lnTo>
                  <a:pt x="464" y="1359"/>
                </a:lnTo>
                <a:lnTo>
                  <a:pt x="467" y="1351"/>
                </a:lnTo>
                <a:lnTo>
                  <a:pt x="472" y="1344"/>
                </a:lnTo>
                <a:lnTo>
                  <a:pt x="474" y="1339"/>
                </a:lnTo>
                <a:lnTo>
                  <a:pt x="477" y="1335"/>
                </a:lnTo>
                <a:lnTo>
                  <a:pt x="480" y="1331"/>
                </a:lnTo>
                <a:lnTo>
                  <a:pt x="482" y="1327"/>
                </a:lnTo>
                <a:lnTo>
                  <a:pt x="486" y="1319"/>
                </a:lnTo>
                <a:lnTo>
                  <a:pt x="492" y="1317"/>
                </a:lnTo>
                <a:lnTo>
                  <a:pt x="493" y="1321"/>
                </a:lnTo>
                <a:lnTo>
                  <a:pt x="494" y="1323"/>
                </a:lnTo>
                <a:lnTo>
                  <a:pt x="493" y="1329"/>
                </a:lnTo>
                <a:lnTo>
                  <a:pt x="488" y="1333"/>
                </a:lnTo>
                <a:lnTo>
                  <a:pt x="488" y="1333"/>
                </a:lnTo>
                <a:lnTo>
                  <a:pt x="488" y="1333"/>
                </a:lnTo>
                <a:close/>
                <a:moveTo>
                  <a:pt x="500" y="1383"/>
                </a:moveTo>
                <a:lnTo>
                  <a:pt x="500" y="1381"/>
                </a:lnTo>
                <a:lnTo>
                  <a:pt x="500" y="1380"/>
                </a:lnTo>
                <a:lnTo>
                  <a:pt x="501" y="1381"/>
                </a:lnTo>
                <a:lnTo>
                  <a:pt x="500" y="1383"/>
                </a:lnTo>
                <a:lnTo>
                  <a:pt x="500" y="1383"/>
                </a:lnTo>
                <a:lnTo>
                  <a:pt x="500" y="1383"/>
                </a:lnTo>
                <a:close/>
                <a:moveTo>
                  <a:pt x="543" y="1263"/>
                </a:moveTo>
                <a:lnTo>
                  <a:pt x="547" y="1265"/>
                </a:lnTo>
                <a:lnTo>
                  <a:pt x="548" y="1269"/>
                </a:lnTo>
                <a:lnTo>
                  <a:pt x="546" y="1265"/>
                </a:lnTo>
                <a:lnTo>
                  <a:pt x="543" y="1263"/>
                </a:lnTo>
                <a:close/>
                <a:moveTo>
                  <a:pt x="556" y="1192"/>
                </a:moveTo>
                <a:lnTo>
                  <a:pt x="558" y="1194"/>
                </a:lnTo>
                <a:lnTo>
                  <a:pt x="559" y="1195"/>
                </a:lnTo>
                <a:lnTo>
                  <a:pt x="558" y="1194"/>
                </a:lnTo>
                <a:lnTo>
                  <a:pt x="556" y="1192"/>
                </a:lnTo>
                <a:close/>
                <a:moveTo>
                  <a:pt x="560" y="1198"/>
                </a:moveTo>
                <a:lnTo>
                  <a:pt x="561" y="1201"/>
                </a:lnTo>
                <a:lnTo>
                  <a:pt x="561" y="1203"/>
                </a:lnTo>
                <a:lnTo>
                  <a:pt x="561" y="1201"/>
                </a:lnTo>
                <a:lnTo>
                  <a:pt x="560" y="1198"/>
                </a:lnTo>
                <a:close/>
                <a:moveTo>
                  <a:pt x="561" y="1176"/>
                </a:moveTo>
                <a:lnTo>
                  <a:pt x="560" y="1177"/>
                </a:lnTo>
                <a:lnTo>
                  <a:pt x="561" y="1178"/>
                </a:lnTo>
                <a:lnTo>
                  <a:pt x="561" y="1179"/>
                </a:lnTo>
                <a:lnTo>
                  <a:pt x="560" y="1181"/>
                </a:lnTo>
                <a:lnTo>
                  <a:pt x="560" y="1184"/>
                </a:lnTo>
                <a:lnTo>
                  <a:pt x="559" y="1186"/>
                </a:lnTo>
                <a:lnTo>
                  <a:pt x="555" y="1188"/>
                </a:lnTo>
                <a:lnTo>
                  <a:pt x="555" y="1190"/>
                </a:lnTo>
                <a:lnTo>
                  <a:pt x="552" y="1189"/>
                </a:lnTo>
                <a:lnTo>
                  <a:pt x="550" y="1188"/>
                </a:lnTo>
                <a:lnTo>
                  <a:pt x="550" y="1186"/>
                </a:lnTo>
                <a:lnTo>
                  <a:pt x="548" y="1184"/>
                </a:lnTo>
                <a:lnTo>
                  <a:pt x="545" y="1182"/>
                </a:lnTo>
                <a:lnTo>
                  <a:pt x="544" y="1180"/>
                </a:lnTo>
                <a:lnTo>
                  <a:pt x="547" y="1177"/>
                </a:lnTo>
                <a:lnTo>
                  <a:pt x="551" y="1176"/>
                </a:lnTo>
                <a:lnTo>
                  <a:pt x="554" y="1174"/>
                </a:lnTo>
                <a:lnTo>
                  <a:pt x="556" y="1171"/>
                </a:lnTo>
                <a:lnTo>
                  <a:pt x="555" y="1168"/>
                </a:lnTo>
                <a:lnTo>
                  <a:pt x="553" y="1165"/>
                </a:lnTo>
                <a:lnTo>
                  <a:pt x="563" y="1161"/>
                </a:lnTo>
                <a:lnTo>
                  <a:pt x="575" y="1159"/>
                </a:lnTo>
                <a:lnTo>
                  <a:pt x="569" y="1169"/>
                </a:lnTo>
                <a:lnTo>
                  <a:pt x="561" y="1176"/>
                </a:lnTo>
                <a:lnTo>
                  <a:pt x="562" y="1176"/>
                </a:lnTo>
                <a:lnTo>
                  <a:pt x="561" y="1176"/>
                </a:lnTo>
                <a:close/>
                <a:moveTo>
                  <a:pt x="566" y="1184"/>
                </a:moveTo>
                <a:lnTo>
                  <a:pt x="570" y="1194"/>
                </a:lnTo>
                <a:lnTo>
                  <a:pt x="571" y="1207"/>
                </a:lnTo>
                <a:lnTo>
                  <a:pt x="567" y="1195"/>
                </a:lnTo>
                <a:lnTo>
                  <a:pt x="566" y="1184"/>
                </a:lnTo>
                <a:close/>
                <a:moveTo>
                  <a:pt x="701" y="1330"/>
                </a:moveTo>
                <a:lnTo>
                  <a:pt x="701" y="1330"/>
                </a:lnTo>
                <a:lnTo>
                  <a:pt x="701" y="1329"/>
                </a:lnTo>
                <a:lnTo>
                  <a:pt x="702" y="1330"/>
                </a:lnTo>
                <a:lnTo>
                  <a:pt x="701" y="1330"/>
                </a:lnTo>
                <a:close/>
                <a:moveTo>
                  <a:pt x="1215" y="1567"/>
                </a:moveTo>
                <a:lnTo>
                  <a:pt x="1215" y="1568"/>
                </a:lnTo>
                <a:lnTo>
                  <a:pt x="1215" y="1569"/>
                </a:lnTo>
                <a:lnTo>
                  <a:pt x="1214" y="1568"/>
                </a:lnTo>
                <a:lnTo>
                  <a:pt x="1215" y="1567"/>
                </a:lnTo>
                <a:lnTo>
                  <a:pt x="1215" y="1567"/>
                </a:lnTo>
                <a:lnTo>
                  <a:pt x="1215" y="1567"/>
                </a:lnTo>
                <a:close/>
                <a:moveTo>
                  <a:pt x="1461" y="1352"/>
                </a:moveTo>
                <a:lnTo>
                  <a:pt x="1462" y="1352"/>
                </a:lnTo>
                <a:lnTo>
                  <a:pt x="1464" y="1351"/>
                </a:lnTo>
                <a:lnTo>
                  <a:pt x="1462" y="1352"/>
                </a:lnTo>
                <a:lnTo>
                  <a:pt x="1461" y="1352"/>
                </a:lnTo>
                <a:close/>
                <a:moveTo>
                  <a:pt x="1467" y="1348"/>
                </a:moveTo>
                <a:lnTo>
                  <a:pt x="1468" y="1350"/>
                </a:lnTo>
                <a:lnTo>
                  <a:pt x="1469" y="1350"/>
                </a:lnTo>
                <a:lnTo>
                  <a:pt x="1468" y="1350"/>
                </a:lnTo>
                <a:lnTo>
                  <a:pt x="1467" y="1348"/>
                </a:lnTo>
                <a:close/>
                <a:moveTo>
                  <a:pt x="1469" y="1347"/>
                </a:moveTo>
                <a:lnTo>
                  <a:pt x="1469" y="1347"/>
                </a:lnTo>
                <a:lnTo>
                  <a:pt x="1469" y="1347"/>
                </a:lnTo>
                <a:lnTo>
                  <a:pt x="1469" y="1347"/>
                </a:lnTo>
                <a:lnTo>
                  <a:pt x="1469" y="1347"/>
                </a:lnTo>
                <a:close/>
                <a:moveTo>
                  <a:pt x="1460" y="1257"/>
                </a:moveTo>
                <a:lnTo>
                  <a:pt x="1460" y="1257"/>
                </a:lnTo>
                <a:lnTo>
                  <a:pt x="1460" y="1259"/>
                </a:lnTo>
                <a:lnTo>
                  <a:pt x="1459" y="1259"/>
                </a:lnTo>
                <a:lnTo>
                  <a:pt x="1460" y="1257"/>
                </a:lnTo>
                <a:lnTo>
                  <a:pt x="1460" y="1257"/>
                </a:lnTo>
                <a:lnTo>
                  <a:pt x="1460" y="1257"/>
                </a:lnTo>
                <a:close/>
                <a:moveTo>
                  <a:pt x="1668" y="1283"/>
                </a:moveTo>
                <a:lnTo>
                  <a:pt x="1671" y="1284"/>
                </a:lnTo>
                <a:lnTo>
                  <a:pt x="1668" y="1287"/>
                </a:lnTo>
                <a:lnTo>
                  <a:pt x="1667" y="1285"/>
                </a:lnTo>
                <a:lnTo>
                  <a:pt x="1668" y="1283"/>
                </a:lnTo>
                <a:lnTo>
                  <a:pt x="1670" y="1283"/>
                </a:lnTo>
                <a:lnTo>
                  <a:pt x="1668" y="1283"/>
                </a:lnTo>
                <a:close/>
                <a:moveTo>
                  <a:pt x="1665" y="1276"/>
                </a:moveTo>
                <a:lnTo>
                  <a:pt x="1666" y="1278"/>
                </a:lnTo>
                <a:lnTo>
                  <a:pt x="1665" y="1279"/>
                </a:lnTo>
                <a:lnTo>
                  <a:pt x="1664" y="1278"/>
                </a:lnTo>
                <a:lnTo>
                  <a:pt x="1665" y="1276"/>
                </a:lnTo>
                <a:lnTo>
                  <a:pt x="1665" y="1276"/>
                </a:lnTo>
                <a:lnTo>
                  <a:pt x="1665" y="1276"/>
                </a:lnTo>
                <a:close/>
                <a:moveTo>
                  <a:pt x="1639" y="1252"/>
                </a:moveTo>
                <a:lnTo>
                  <a:pt x="1642" y="1256"/>
                </a:lnTo>
                <a:lnTo>
                  <a:pt x="1644" y="1263"/>
                </a:lnTo>
                <a:lnTo>
                  <a:pt x="1637" y="1261"/>
                </a:lnTo>
                <a:lnTo>
                  <a:pt x="1639" y="1252"/>
                </a:lnTo>
                <a:close/>
                <a:moveTo>
                  <a:pt x="1627" y="1240"/>
                </a:moveTo>
                <a:lnTo>
                  <a:pt x="1631" y="1240"/>
                </a:lnTo>
                <a:lnTo>
                  <a:pt x="1631" y="1246"/>
                </a:lnTo>
                <a:lnTo>
                  <a:pt x="1627" y="1244"/>
                </a:lnTo>
                <a:lnTo>
                  <a:pt x="1627" y="1240"/>
                </a:lnTo>
                <a:lnTo>
                  <a:pt x="1627" y="1240"/>
                </a:lnTo>
                <a:lnTo>
                  <a:pt x="1627" y="1240"/>
                </a:lnTo>
                <a:close/>
                <a:moveTo>
                  <a:pt x="1533" y="1044"/>
                </a:moveTo>
                <a:lnTo>
                  <a:pt x="1534" y="1045"/>
                </a:lnTo>
                <a:lnTo>
                  <a:pt x="1534" y="1045"/>
                </a:lnTo>
                <a:lnTo>
                  <a:pt x="1534" y="1045"/>
                </a:lnTo>
                <a:lnTo>
                  <a:pt x="1533" y="1044"/>
                </a:lnTo>
                <a:close/>
                <a:moveTo>
                  <a:pt x="1536" y="989"/>
                </a:moveTo>
                <a:lnTo>
                  <a:pt x="1535" y="988"/>
                </a:lnTo>
                <a:lnTo>
                  <a:pt x="1534" y="988"/>
                </a:lnTo>
                <a:lnTo>
                  <a:pt x="1535" y="988"/>
                </a:lnTo>
                <a:lnTo>
                  <a:pt x="1536" y="989"/>
                </a:lnTo>
                <a:close/>
                <a:moveTo>
                  <a:pt x="1533" y="987"/>
                </a:moveTo>
                <a:lnTo>
                  <a:pt x="1531" y="986"/>
                </a:lnTo>
                <a:lnTo>
                  <a:pt x="1528" y="986"/>
                </a:lnTo>
                <a:lnTo>
                  <a:pt x="1531" y="986"/>
                </a:lnTo>
                <a:lnTo>
                  <a:pt x="1533" y="987"/>
                </a:lnTo>
                <a:lnTo>
                  <a:pt x="1532" y="987"/>
                </a:lnTo>
                <a:lnTo>
                  <a:pt x="1533" y="987"/>
                </a:lnTo>
                <a:close/>
                <a:moveTo>
                  <a:pt x="1449" y="943"/>
                </a:moveTo>
                <a:lnTo>
                  <a:pt x="1464" y="945"/>
                </a:lnTo>
                <a:lnTo>
                  <a:pt x="1476" y="954"/>
                </a:lnTo>
                <a:lnTo>
                  <a:pt x="1486" y="965"/>
                </a:lnTo>
                <a:lnTo>
                  <a:pt x="1498" y="977"/>
                </a:lnTo>
                <a:lnTo>
                  <a:pt x="1517" y="1001"/>
                </a:lnTo>
                <a:lnTo>
                  <a:pt x="1532" y="1027"/>
                </a:lnTo>
                <a:lnTo>
                  <a:pt x="1534" y="1032"/>
                </a:lnTo>
                <a:lnTo>
                  <a:pt x="1531" y="1036"/>
                </a:lnTo>
                <a:lnTo>
                  <a:pt x="1524" y="1034"/>
                </a:lnTo>
                <a:lnTo>
                  <a:pt x="1519" y="1029"/>
                </a:lnTo>
                <a:lnTo>
                  <a:pt x="1507" y="1018"/>
                </a:lnTo>
                <a:lnTo>
                  <a:pt x="1495" y="1005"/>
                </a:lnTo>
                <a:lnTo>
                  <a:pt x="1487" y="994"/>
                </a:lnTo>
                <a:lnTo>
                  <a:pt x="1478" y="982"/>
                </a:lnTo>
                <a:lnTo>
                  <a:pt x="1471" y="977"/>
                </a:lnTo>
                <a:lnTo>
                  <a:pt x="1467" y="970"/>
                </a:lnTo>
                <a:lnTo>
                  <a:pt x="1469" y="969"/>
                </a:lnTo>
                <a:lnTo>
                  <a:pt x="1474" y="966"/>
                </a:lnTo>
                <a:lnTo>
                  <a:pt x="1464" y="962"/>
                </a:lnTo>
                <a:lnTo>
                  <a:pt x="1452" y="956"/>
                </a:lnTo>
                <a:lnTo>
                  <a:pt x="1457" y="955"/>
                </a:lnTo>
                <a:lnTo>
                  <a:pt x="1461" y="955"/>
                </a:lnTo>
                <a:lnTo>
                  <a:pt x="1457" y="952"/>
                </a:lnTo>
                <a:lnTo>
                  <a:pt x="1452" y="949"/>
                </a:lnTo>
                <a:lnTo>
                  <a:pt x="1446" y="946"/>
                </a:lnTo>
                <a:lnTo>
                  <a:pt x="1449" y="943"/>
                </a:lnTo>
                <a:lnTo>
                  <a:pt x="1450" y="943"/>
                </a:lnTo>
                <a:lnTo>
                  <a:pt x="1449" y="943"/>
                </a:lnTo>
                <a:close/>
                <a:moveTo>
                  <a:pt x="1479" y="1076"/>
                </a:moveTo>
                <a:lnTo>
                  <a:pt x="1478" y="1076"/>
                </a:lnTo>
                <a:lnTo>
                  <a:pt x="1478" y="1074"/>
                </a:lnTo>
                <a:lnTo>
                  <a:pt x="1478" y="1076"/>
                </a:lnTo>
                <a:lnTo>
                  <a:pt x="1479" y="1076"/>
                </a:lnTo>
                <a:close/>
                <a:moveTo>
                  <a:pt x="1477" y="1073"/>
                </a:moveTo>
                <a:lnTo>
                  <a:pt x="1476" y="1073"/>
                </a:lnTo>
                <a:lnTo>
                  <a:pt x="1476" y="1073"/>
                </a:lnTo>
                <a:lnTo>
                  <a:pt x="1476" y="1073"/>
                </a:lnTo>
                <a:lnTo>
                  <a:pt x="1477" y="1073"/>
                </a:lnTo>
                <a:close/>
                <a:moveTo>
                  <a:pt x="1503" y="1064"/>
                </a:moveTo>
                <a:lnTo>
                  <a:pt x="1493" y="1046"/>
                </a:lnTo>
                <a:lnTo>
                  <a:pt x="1482" y="1028"/>
                </a:lnTo>
                <a:lnTo>
                  <a:pt x="1495" y="1038"/>
                </a:lnTo>
                <a:lnTo>
                  <a:pt x="1507" y="1054"/>
                </a:lnTo>
                <a:lnTo>
                  <a:pt x="1512" y="1059"/>
                </a:lnTo>
                <a:lnTo>
                  <a:pt x="1518" y="1063"/>
                </a:lnTo>
                <a:lnTo>
                  <a:pt x="1520" y="1071"/>
                </a:lnTo>
                <a:lnTo>
                  <a:pt x="1519" y="1079"/>
                </a:lnTo>
                <a:lnTo>
                  <a:pt x="1516" y="1073"/>
                </a:lnTo>
                <a:lnTo>
                  <a:pt x="1511" y="1069"/>
                </a:lnTo>
                <a:lnTo>
                  <a:pt x="1507" y="1066"/>
                </a:lnTo>
                <a:lnTo>
                  <a:pt x="1503" y="1064"/>
                </a:lnTo>
                <a:lnTo>
                  <a:pt x="1501" y="1060"/>
                </a:lnTo>
                <a:lnTo>
                  <a:pt x="1503" y="1064"/>
                </a:lnTo>
                <a:close/>
                <a:moveTo>
                  <a:pt x="1440" y="947"/>
                </a:moveTo>
                <a:lnTo>
                  <a:pt x="1434" y="951"/>
                </a:lnTo>
                <a:lnTo>
                  <a:pt x="1432" y="956"/>
                </a:lnTo>
                <a:lnTo>
                  <a:pt x="1427" y="949"/>
                </a:lnTo>
                <a:lnTo>
                  <a:pt x="1426" y="941"/>
                </a:lnTo>
                <a:lnTo>
                  <a:pt x="1434" y="944"/>
                </a:lnTo>
                <a:lnTo>
                  <a:pt x="1440" y="947"/>
                </a:lnTo>
                <a:lnTo>
                  <a:pt x="1436" y="945"/>
                </a:lnTo>
                <a:lnTo>
                  <a:pt x="1440" y="947"/>
                </a:lnTo>
                <a:close/>
                <a:moveTo>
                  <a:pt x="1425" y="708"/>
                </a:moveTo>
                <a:lnTo>
                  <a:pt x="1432" y="709"/>
                </a:lnTo>
                <a:lnTo>
                  <a:pt x="1437" y="714"/>
                </a:lnTo>
                <a:lnTo>
                  <a:pt x="1431" y="716"/>
                </a:lnTo>
                <a:lnTo>
                  <a:pt x="1424" y="714"/>
                </a:lnTo>
                <a:lnTo>
                  <a:pt x="1421" y="713"/>
                </a:lnTo>
                <a:lnTo>
                  <a:pt x="1421" y="711"/>
                </a:lnTo>
                <a:lnTo>
                  <a:pt x="1423" y="708"/>
                </a:lnTo>
                <a:lnTo>
                  <a:pt x="1425" y="708"/>
                </a:lnTo>
                <a:lnTo>
                  <a:pt x="1426" y="708"/>
                </a:lnTo>
                <a:lnTo>
                  <a:pt x="1425" y="708"/>
                </a:lnTo>
                <a:close/>
                <a:moveTo>
                  <a:pt x="1520" y="688"/>
                </a:moveTo>
                <a:lnTo>
                  <a:pt x="1519" y="688"/>
                </a:lnTo>
                <a:lnTo>
                  <a:pt x="1519" y="689"/>
                </a:lnTo>
                <a:lnTo>
                  <a:pt x="1519" y="688"/>
                </a:lnTo>
                <a:lnTo>
                  <a:pt x="1520" y="688"/>
                </a:lnTo>
                <a:close/>
                <a:moveTo>
                  <a:pt x="1528" y="675"/>
                </a:moveTo>
                <a:lnTo>
                  <a:pt x="1527" y="674"/>
                </a:lnTo>
                <a:lnTo>
                  <a:pt x="1526" y="674"/>
                </a:lnTo>
                <a:lnTo>
                  <a:pt x="1530" y="678"/>
                </a:lnTo>
                <a:lnTo>
                  <a:pt x="1532" y="682"/>
                </a:lnTo>
                <a:lnTo>
                  <a:pt x="1530" y="679"/>
                </a:lnTo>
                <a:lnTo>
                  <a:pt x="1528" y="675"/>
                </a:lnTo>
                <a:lnTo>
                  <a:pt x="1528" y="675"/>
                </a:lnTo>
                <a:lnTo>
                  <a:pt x="1528" y="675"/>
                </a:lnTo>
                <a:close/>
                <a:moveTo>
                  <a:pt x="1589" y="648"/>
                </a:moveTo>
                <a:lnTo>
                  <a:pt x="1588" y="650"/>
                </a:lnTo>
                <a:lnTo>
                  <a:pt x="1585" y="653"/>
                </a:lnTo>
                <a:lnTo>
                  <a:pt x="1586" y="655"/>
                </a:lnTo>
                <a:lnTo>
                  <a:pt x="1591" y="655"/>
                </a:lnTo>
                <a:lnTo>
                  <a:pt x="1592" y="658"/>
                </a:lnTo>
                <a:lnTo>
                  <a:pt x="1585" y="662"/>
                </a:lnTo>
                <a:lnTo>
                  <a:pt x="1592" y="662"/>
                </a:lnTo>
                <a:lnTo>
                  <a:pt x="1600" y="662"/>
                </a:lnTo>
                <a:lnTo>
                  <a:pt x="1583" y="667"/>
                </a:lnTo>
                <a:lnTo>
                  <a:pt x="1565" y="667"/>
                </a:lnTo>
                <a:lnTo>
                  <a:pt x="1571" y="665"/>
                </a:lnTo>
                <a:lnTo>
                  <a:pt x="1576" y="663"/>
                </a:lnTo>
                <a:lnTo>
                  <a:pt x="1556" y="662"/>
                </a:lnTo>
                <a:lnTo>
                  <a:pt x="1536" y="656"/>
                </a:lnTo>
                <a:lnTo>
                  <a:pt x="1561" y="649"/>
                </a:lnTo>
                <a:lnTo>
                  <a:pt x="1589" y="648"/>
                </a:lnTo>
                <a:lnTo>
                  <a:pt x="1582" y="649"/>
                </a:lnTo>
                <a:lnTo>
                  <a:pt x="1589" y="648"/>
                </a:lnTo>
                <a:close/>
                <a:moveTo>
                  <a:pt x="1538" y="630"/>
                </a:moveTo>
                <a:lnTo>
                  <a:pt x="1539" y="630"/>
                </a:lnTo>
                <a:lnTo>
                  <a:pt x="1538" y="631"/>
                </a:lnTo>
                <a:lnTo>
                  <a:pt x="1538" y="630"/>
                </a:lnTo>
                <a:lnTo>
                  <a:pt x="1538" y="630"/>
                </a:lnTo>
                <a:lnTo>
                  <a:pt x="1538" y="630"/>
                </a:lnTo>
                <a:lnTo>
                  <a:pt x="1538" y="630"/>
                </a:lnTo>
                <a:close/>
                <a:moveTo>
                  <a:pt x="1490" y="637"/>
                </a:moveTo>
                <a:lnTo>
                  <a:pt x="1487" y="637"/>
                </a:lnTo>
                <a:lnTo>
                  <a:pt x="1484" y="637"/>
                </a:lnTo>
                <a:lnTo>
                  <a:pt x="1487" y="637"/>
                </a:lnTo>
                <a:lnTo>
                  <a:pt x="1490" y="637"/>
                </a:lnTo>
                <a:close/>
                <a:moveTo>
                  <a:pt x="1433" y="651"/>
                </a:moveTo>
                <a:lnTo>
                  <a:pt x="1434" y="648"/>
                </a:lnTo>
                <a:lnTo>
                  <a:pt x="1433" y="645"/>
                </a:lnTo>
                <a:lnTo>
                  <a:pt x="1437" y="642"/>
                </a:lnTo>
                <a:lnTo>
                  <a:pt x="1442" y="644"/>
                </a:lnTo>
                <a:lnTo>
                  <a:pt x="1448" y="647"/>
                </a:lnTo>
                <a:lnTo>
                  <a:pt x="1450" y="653"/>
                </a:lnTo>
                <a:lnTo>
                  <a:pt x="1451" y="656"/>
                </a:lnTo>
                <a:lnTo>
                  <a:pt x="1453" y="657"/>
                </a:lnTo>
                <a:lnTo>
                  <a:pt x="1456" y="657"/>
                </a:lnTo>
                <a:lnTo>
                  <a:pt x="1454" y="656"/>
                </a:lnTo>
                <a:lnTo>
                  <a:pt x="1454" y="653"/>
                </a:lnTo>
                <a:lnTo>
                  <a:pt x="1451" y="648"/>
                </a:lnTo>
                <a:lnTo>
                  <a:pt x="1462" y="648"/>
                </a:lnTo>
                <a:lnTo>
                  <a:pt x="1469" y="657"/>
                </a:lnTo>
                <a:lnTo>
                  <a:pt x="1469" y="647"/>
                </a:lnTo>
                <a:lnTo>
                  <a:pt x="1460" y="640"/>
                </a:lnTo>
                <a:lnTo>
                  <a:pt x="1450" y="636"/>
                </a:lnTo>
                <a:lnTo>
                  <a:pt x="1446" y="625"/>
                </a:lnTo>
                <a:lnTo>
                  <a:pt x="1452" y="630"/>
                </a:lnTo>
                <a:lnTo>
                  <a:pt x="1458" y="633"/>
                </a:lnTo>
                <a:lnTo>
                  <a:pt x="1460" y="633"/>
                </a:lnTo>
                <a:lnTo>
                  <a:pt x="1464" y="633"/>
                </a:lnTo>
                <a:lnTo>
                  <a:pt x="1466" y="634"/>
                </a:lnTo>
                <a:lnTo>
                  <a:pt x="1466" y="638"/>
                </a:lnTo>
                <a:lnTo>
                  <a:pt x="1470" y="637"/>
                </a:lnTo>
                <a:lnTo>
                  <a:pt x="1474" y="637"/>
                </a:lnTo>
                <a:lnTo>
                  <a:pt x="1470" y="637"/>
                </a:lnTo>
                <a:lnTo>
                  <a:pt x="1466" y="638"/>
                </a:lnTo>
                <a:lnTo>
                  <a:pt x="1470" y="644"/>
                </a:lnTo>
                <a:lnTo>
                  <a:pt x="1476" y="645"/>
                </a:lnTo>
                <a:lnTo>
                  <a:pt x="1483" y="642"/>
                </a:lnTo>
                <a:lnTo>
                  <a:pt x="1486" y="647"/>
                </a:lnTo>
                <a:lnTo>
                  <a:pt x="1487" y="651"/>
                </a:lnTo>
                <a:lnTo>
                  <a:pt x="1489" y="655"/>
                </a:lnTo>
                <a:lnTo>
                  <a:pt x="1492" y="657"/>
                </a:lnTo>
                <a:lnTo>
                  <a:pt x="1495" y="659"/>
                </a:lnTo>
                <a:lnTo>
                  <a:pt x="1498" y="663"/>
                </a:lnTo>
                <a:lnTo>
                  <a:pt x="1500" y="665"/>
                </a:lnTo>
                <a:lnTo>
                  <a:pt x="1505" y="666"/>
                </a:lnTo>
                <a:lnTo>
                  <a:pt x="1510" y="664"/>
                </a:lnTo>
                <a:lnTo>
                  <a:pt x="1503" y="658"/>
                </a:lnTo>
                <a:lnTo>
                  <a:pt x="1501" y="649"/>
                </a:lnTo>
                <a:lnTo>
                  <a:pt x="1518" y="657"/>
                </a:lnTo>
                <a:lnTo>
                  <a:pt x="1534" y="666"/>
                </a:lnTo>
                <a:lnTo>
                  <a:pt x="1532" y="669"/>
                </a:lnTo>
                <a:lnTo>
                  <a:pt x="1530" y="669"/>
                </a:lnTo>
                <a:lnTo>
                  <a:pt x="1528" y="669"/>
                </a:lnTo>
                <a:lnTo>
                  <a:pt x="1527" y="670"/>
                </a:lnTo>
                <a:lnTo>
                  <a:pt x="1525" y="670"/>
                </a:lnTo>
                <a:lnTo>
                  <a:pt x="1524" y="669"/>
                </a:lnTo>
                <a:lnTo>
                  <a:pt x="1519" y="664"/>
                </a:lnTo>
                <a:lnTo>
                  <a:pt x="1515" y="662"/>
                </a:lnTo>
                <a:lnTo>
                  <a:pt x="1518" y="669"/>
                </a:lnTo>
                <a:lnTo>
                  <a:pt x="1523" y="673"/>
                </a:lnTo>
                <a:lnTo>
                  <a:pt x="1525" y="675"/>
                </a:lnTo>
                <a:lnTo>
                  <a:pt x="1526" y="679"/>
                </a:lnTo>
                <a:lnTo>
                  <a:pt x="1524" y="684"/>
                </a:lnTo>
                <a:lnTo>
                  <a:pt x="1525" y="689"/>
                </a:lnTo>
                <a:lnTo>
                  <a:pt x="1519" y="687"/>
                </a:lnTo>
                <a:lnTo>
                  <a:pt x="1512" y="688"/>
                </a:lnTo>
                <a:lnTo>
                  <a:pt x="1509" y="689"/>
                </a:lnTo>
                <a:lnTo>
                  <a:pt x="1505" y="689"/>
                </a:lnTo>
                <a:lnTo>
                  <a:pt x="1505" y="686"/>
                </a:lnTo>
                <a:lnTo>
                  <a:pt x="1501" y="683"/>
                </a:lnTo>
                <a:lnTo>
                  <a:pt x="1492" y="684"/>
                </a:lnTo>
                <a:lnTo>
                  <a:pt x="1484" y="686"/>
                </a:lnTo>
                <a:lnTo>
                  <a:pt x="1490" y="681"/>
                </a:lnTo>
                <a:lnTo>
                  <a:pt x="1494" y="678"/>
                </a:lnTo>
                <a:lnTo>
                  <a:pt x="1493" y="675"/>
                </a:lnTo>
                <a:lnTo>
                  <a:pt x="1491" y="673"/>
                </a:lnTo>
                <a:lnTo>
                  <a:pt x="1492" y="671"/>
                </a:lnTo>
                <a:lnTo>
                  <a:pt x="1495" y="670"/>
                </a:lnTo>
                <a:lnTo>
                  <a:pt x="1492" y="663"/>
                </a:lnTo>
                <a:lnTo>
                  <a:pt x="1483" y="657"/>
                </a:lnTo>
                <a:lnTo>
                  <a:pt x="1476" y="659"/>
                </a:lnTo>
                <a:lnTo>
                  <a:pt x="1476" y="666"/>
                </a:lnTo>
                <a:lnTo>
                  <a:pt x="1481" y="664"/>
                </a:lnTo>
                <a:lnTo>
                  <a:pt x="1484" y="663"/>
                </a:lnTo>
                <a:lnTo>
                  <a:pt x="1487" y="669"/>
                </a:lnTo>
                <a:lnTo>
                  <a:pt x="1489" y="675"/>
                </a:lnTo>
                <a:lnTo>
                  <a:pt x="1484" y="678"/>
                </a:lnTo>
                <a:lnTo>
                  <a:pt x="1479" y="680"/>
                </a:lnTo>
                <a:lnTo>
                  <a:pt x="1479" y="686"/>
                </a:lnTo>
                <a:lnTo>
                  <a:pt x="1477" y="689"/>
                </a:lnTo>
                <a:lnTo>
                  <a:pt x="1475" y="682"/>
                </a:lnTo>
                <a:lnTo>
                  <a:pt x="1477" y="675"/>
                </a:lnTo>
                <a:lnTo>
                  <a:pt x="1473" y="674"/>
                </a:lnTo>
                <a:lnTo>
                  <a:pt x="1469" y="672"/>
                </a:lnTo>
                <a:lnTo>
                  <a:pt x="1470" y="667"/>
                </a:lnTo>
                <a:lnTo>
                  <a:pt x="1469" y="665"/>
                </a:lnTo>
                <a:lnTo>
                  <a:pt x="1461" y="672"/>
                </a:lnTo>
                <a:lnTo>
                  <a:pt x="1451" y="675"/>
                </a:lnTo>
                <a:lnTo>
                  <a:pt x="1442" y="679"/>
                </a:lnTo>
                <a:lnTo>
                  <a:pt x="1444" y="686"/>
                </a:lnTo>
                <a:lnTo>
                  <a:pt x="1442" y="688"/>
                </a:lnTo>
                <a:lnTo>
                  <a:pt x="1438" y="690"/>
                </a:lnTo>
                <a:lnTo>
                  <a:pt x="1440" y="689"/>
                </a:lnTo>
                <a:lnTo>
                  <a:pt x="1441" y="688"/>
                </a:lnTo>
                <a:lnTo>
                  <a:pt x="1436" y="683"/>
                </a:lnTo>
                <a:lnTo>
                  <a:pt x="1434" y="679"/>
                </a:lnTo>
                <a:lnTo>
                  <a:pt x="1429" y="675"/>
                </a:lnTo>
                <a:lnTo>
                  <a:pt x="1426" y="673"/>
                </a:lnTo>
                <a:lnTo>
                  <a:pt x="1427" y="670"/>
                </a:lnTo>
                <a:lnTo>
                  <a:pt x="1434" y="669"/>
                </a:lnTo>
                <a:lnTo>
                  <a:pt x="1438" y="663"/>
                </a:lnTo>
                <a:lnTo>
                  <a:pt x="1443" y="657"/>
                </a:lnTo>
                <a:lnTo>
                  <a:pt x="1436" y="657"/>
                </a:lnTo>
                <a:lnTo>
                  <a:pt x="1432" y="662"/>
                </a:lnTo>
                <a:lnTo>
                  <a:pt x="1434" y="663"/>
                </a:lnTo>
                <a:lnTo>
                  <a:pt x="1431" y="664"/>
                </a:lnTo>
                <a:lnTo>
                  <a:pt x="1425" y="662"/>
                </a:lnTo>
                <a:lnTo>
                  <a:pt x="1419" y="657"/>
                </a:lnTo>
                <a:lnTo>
                  <a:pt x="1424" y="653"/>
                </a:lnTo>
                <a:lnTo>
                  <a:pt x="1418" y="648"/>
                </a:lnTo>
                <a:lnTo>
                  <a:pt x="1426" y="645"/>
                </a:lnTo>
                <a:lnTo>
                  <a:pt x="1433" y="651"/>
                </a:lnTo>
                <a:lnTo>
                  <a:pt x="1434" y="648"/>
                </a:lnTo>
                <a:lnTo>
                  <a:pt x="1433" y="651"/>
                </a:lnTo>
                <a:close/>
                <a:moveTo>
                  <a:pt x="1428" y="624"/>
                </a:moveTo>
                <a:lnTo>
                  <a:pt x="1415" y="626"/>
                </a:lnTo>
                <a:lnTo>
                  <a:pt x="1410" y="619"/>
                </a:lnTo>
                <a:lnTo>
                  <a:pt x="1419" y="623"/>
                </a:lnTo>
                <a:lnTo>
                  <a:pt x="1428" y="624"/>
                </a:lnTo>
                <a:close/>
                <a:moveTo>
                  <a:pt x="1272" y="628"/>
                </a:moveTo>
                <a:lnTo>
                  <a:pt x="1275" y="634"/>
                </a:lnTo>
                <a:lnTo>
                  <a:pt x="1277" y="642"/>
                </a:lnTo>
                <a:lnTo>
                  <a:pt x="1280" y="641"/>
                </a:lnTo>
                <a:lnTo>
                  <a:pt x="1283" y="638"/>
                </a:lnTo>
                <a:lnTo>
                  <a:pt x="1287" y="637"/>
                </a:lnTo>
                <a:lnTo>
                  <a:pt x="1291" y="639"/>
                </a:lnTo>
                <a:lnTo>
                  <a:pt x="1306" y="656"/>
                </a:lnTo>
                <a:lnTo>
                  <a:pt x="1321" y="675"/>
                </a:lnTo>
                <a:lnTo>
                  <a:pt x="1329" y="684"/>
                </a:lnTo>
                <a:lnTo>
                  <a:pt x="1337" y="687"/>
                </a:lnTo>
                <a:lnTo>
                  <a:pt x="1336" y="680"/>
                </a:lnTo>
                <a:lnTo>
                  <a:pt x="1328" y="676"/>
                </a:lnTo>
                <a:lnTo>
                  <a:pt x="1326" y="671"/>
                </a:lnTo>
                <a:lnTo>
                  <a:pt x="1325" y="664"/>
                </a:lnTo>
                <a:lnTo>
                  <a:pt x="1328" y="662"/>
                </a:lnTo>
                <a:lnTo>
                  <a:pt x="1333" y="662"/>
                </a:lnTo>
                <a:lnTo>
                  <a:pt x="1330" y="656"/>
                </a:lnTo>
                <a:lnTo>
                  <a:pt x="1328" y="651"/>
                </a:lnTo>
                <a:lnTo>
                  <a:pt x="1324" y="649"/>
                </a:lnTo>
                <a:lnTo>
                  <a:pt x="1319" y="648"/>
                </a:lnTo>
                <a:lnTo>
                  <a:pt x="1316" y="646"/>
                </a:lnTo>
                <a:lnTo>
                  <a:pt x="1316" y="641"/>
                </a:lnTo>
                <a:lnTo>
                  <a:pt x="1311" y="640"/>
                </a:lnTo>
                <a:lnTo>
                  <a:pt x="1308" y="638"/>
                </a:lnTo>
                <a:lnTo>
                  <a:pt x="1313" y="637"/>
                </a:lnTo>
                <a:lnTo>
                  <a:pt x="1318" y="637"/>
                </a:lnTo>
                <a:lnTo>
                  <a:pt x="1313" y="634"/>
                </a:lnTo>
                <a:lnTo>
                  <a:pt x="1309" y="631"/>
                </a:lnTo>
                <a:lnTo>
                  <a:pt x="1309" y="625"/>
                </a:lnTo>
                <a:lnTo>
                  <a:pt x="1311" y="619"/>
                </a:lnTo>
                <a:lnTo>
                  <a:pt x="1300" y="621"/>
                </a:lnTo>
                <a:lnTo>
                  <a:pt x="1288" y="620"/>
                </a:lnTo>
                <a:lnTo>
                  <a:pt x="1294" y="617"/>
                </a:lnTo>
                <a:lnTo>
                  <a:pt x="1297" y="614"/>
                </a:lnTo>
                <a:lnTo>
                  <a:pt x="1297" y="607"/>
                </a:lnTo>
                <a:lnTo>
                  <a:pt x="1302" y="605"/>
                </a:lnTo>
                <a:lnTo>
                  <a:pt x="1311" y="608"/>
                </a:lnTo>
                <a:lnTo>
                  <a:pt x="1320" y="612"/>
                </a:lnTo>
                <a:lnTo>
                  <a:pt x="1330" y="616"/>
                </a:lnTo>
                <a:lnTo>
                  <a:pt x="1341" y="621"/>
                </a:lnTo>
                <a:lnTo>
                  <a:pt x="1371" y="646"/>
                </a:lnTo>
                <a:lnTo>
                  <a:pt x="1395" y="676"/>
                </a:lnTo>
                <a:lnTo>
                  <a:pt x="1416" y="715"/>
                </a:lnTo>
                <a:lnTo>
                  <a:pt x="1431" y="756"/>
                </a:lnTo>
                <a:lnTo>
                  <a:pt x="1434" y="766"/>
                </a:lnTo>
                <a:lnTo>
                  <a:pt x="1436" y="777"/>
                </a:lnTo>
                <a:lnTo>
                  <a:pt x="1440" y="785"/>
                </a:lnTo>
                <a:lnTo>
                  <a:pt x="1438" y="794"/>
                </a:lnTo>
                <a:lnTo>
                  <a:pt x="1433" y="798"/>
                </a:lnTo>
                <a:lnTo>
                  <a:pt x="1428" y="803"/>
                </a:lnTo>
                <a:lnTo>
                  <a:pt x="1427" y="807"/>
                </a:lnTo>
                <a:lnTo>
                  <a:pt x="1428" y="811"/>
                </a:lnTo>
                <a:lnTo>
                  <a:pt x="1429" y="812"/>
                </a:lnTo>
                <a:lnTo>
                  <a:pt x="1431" y="813"/>
                </a:lnTo>
                <a:lnTo>
                  <a:pt x="1429" y="815"/>
                </a:lnTo>
                <a:lnTo>
                  <a:pt x="1429" y="817"/>
                </a:lnTo>
                <a:lnTo>
                  <a:pt x="1432" y="823"/>
                </a:lnTo>
                <a:lnTo>
                  <a:pt x="1436" y="828"/>
                </a:lnTo>
                <a:lnTo>
                  <a:pt x="1438" y="830"/>
                </a:lnTo>
                <a:lnTo>
                  <a:pt x="1441" y="832"/>
                </a:lnTo>
                <a:lnTo>
                  <a:pt x="1442" y="836"/>
                </a:lnTo>
                <a:lnTo>
                  <a:pt x="1442" y="839"/>
                </a:lnTo>
                <a:lnTo>
                  <a:pt x="1446" y="838"/>
                </a:lnTo>
                <a:lnTo>
                  <a:pt x="1451" y="837"/>
                </a:lnTo>
                <a:lnTo>
                  <a:pt x="1454" y="831"/>
                </a:lnTo>
                <a:lnTo>
                  <a:pt x="1456" y="823"/>
                </a:lnTo>
                <a:lnTo>
                  <a:pt x="1458" y="830"/>
                </a:lnTo>
                <a:lnTo>
                  <a:pt x="1458" y="838"/>
                </a:lnTo>
                <a:lnTo>
                  <a:pt x="1457" y="846"/>
                </a:lnTo>
                <a:lnTo>
                  <a:pt x="1461" y="852"/>
                </a:lnTo>
                <a:lnTo>
                  <a:pt x="1464" y="854"/>
                </a:lnTo>
                <a:lnTo>
                  <a:pt x="1464" y="857"/>
                </a:lnTo>
                <a:lnTo>
                  <a:pt x="1461" y="860"/>
                </a:lnTo>
                <a:lnTo>
                  <a:pt x="1458" y="862"/>
                </a:lnTo>
                <a:lnTo>
                  <a:pt x="1450" y="860"/>
                </a:lnTo>
                <a:lnTo>
                  <a:pt x="1442" y="855"/>
                </a:lnTo>
                <a:lnTo>
                  <a:pt x="1435" y="848"/>
                </a:lnTo>
                <a:lnTo>
                  <a:pt x="1426" y="842"/>
                </a:lnTo>
                <a:lnTo>
                  <a:pt x="1421" y="842"/>
                </a:lnTo>
                <a:lnTo>
                  <a:pt x="1417" y="840"/>
                </a:lnTo>
                <a:lnTo>
                  <a:pt x="1417" y="838"/>
                </a:lnTo>
                <a:lnTo>
                  <a:pt x="1419" y="836"/>
                </a:lnTo>
                <a:lnTo>
                  <a:pt x="1417" y="832"/>
                </a:lnTo>
                <a:lnTo>
                  <a:pt x="1413" y="829"/>
                </a:lnTo>
                <a:lnTo>
                  <a:pt x="1409" y="819"/>
                </a:lnTo>
                <a:lnTo>
                  <a:pt x="1404" y="810"/>
                </a:lnTo>
                <a:lnTo>
                  <a:pt x="1416" y="811"/>
                </a:lnTo>
                <a:lnTo>
                  <a:pt x="1425" y="803"/>
                </a:lnTo>
                <a:lnTo>
                  <a:pt x="1425" y="800"/>
                </a:lnTo>
                <a:lnTo>
                  <a:pt x="1424" y="800"/>
                </a:lnTo>
                <a:lnTo>
                  <a:pt x="1421" y="800"/>
                </a:lnTo>
                <a:lnTo>
                  <a:pt x="1417" y="799"/>
                </a:lnTo>
                <a:lnTo>
                  <a:pt x="1412" y="795"/>
                </a:lnTo>
                <a:lnTo>
                  <a:pt x="1409" y="790"/>
                </a:lnTo>
                <a:lnTo>
                  <a:pt x="1405" y="785"/>
                </a:lnTo>
                <a:lnTo>
                  <a:pt x="1402" y="780"/>
                </a:lnTo>
                <a:lnTo>
                  <a:pt x="1399" y="773"/>
                </a:lnTo>
                <a:lnTo>
                  <a:pt x="1400" y="765"/>
                </a:lnTo>
                <a:lnTo>
                  <a:pt x="1398" y="761"/>
                </a:lnTo>
                <a:lnTo>
                  <a:pt x="1393" y="762"/>
                </a:lnTo>
                <a:lnTo>
                  <a:pt x="1394" y="767"/>
                </a:lnTo>
                <a:lnTo>
                  <a:pt x="1395" y="773"/>
                </a:lnTo>
                <a:lnTo>
                  <a:pt x="1394" y="769"/>
                </a:lnTo>
                <a:lnTo>
                  <a:pt x="1392" y="766"/>
                </a:lnTo>
                <a:lnTo>
                  <a:pt x="1390" y="766"/>
                </a:lnTo>
                <a:lnTo>
                  <a:pt x="1388" y="769"/>
                </a:lnTo>
                <a:lnTo>
                  <a:pt x="1387" y="774"/>
                </a:lnTo>
                <a:lnTo>
                  <a:pt x="1388" y="780"/>
                </a:lnTo>
                <a:lnTo>
                  <a:pt x="1384" y="770"/>
                </a:lnTo>
                <a:lnTo>
                  <a:pt x="1385" y="754"/>
                </a:lnTo>
                <a:lnTo>
                  <a:pt x="1380" y="752"/>
                </a:lnTo>
                <a:lnTo>
                  <a:pt x="1376" y="748"/>
                </a:lnTo>
                <a:lnTo>
                  <a:pt x="1374" y="744"/>
                </a:lnTo>
                <a:lnTo>
                  <a:pt x="1374" y="738"/>
                </a:lnTo>
                <a:lnTo>
                  <a:pt x="1376" y="736"/>
                </a:lnTo>
                <a:lnTo>
                  <a:pt x="1380" y="738"/>
                </a:lnTo>
                <a:lnTo>
                  <a:pt x="1383" y="736"/>
                </a:lnTo>
                <a:lnTo>
                  <a:pt x="1384" y="731"/>
                </a:lnTo>
                <a:lnTo>
                  <a:pt x="1391" y="716"/>
                </a:lnTo>
                <a:lnTo>
                  <a:pt x="1387" y="702"/>
                </a:lnTo>
                <a:lnTo>
                  <a:pt x="1383" y="711"/>
                </a:lnTo>
                <a:lnTo>
                  <a:pt x="1377" y="720"/>
                </a:lnTo>
                <a:lnTo>
                  <a:pt x="1376" y="704"/>
                </a:lnTo>
                <a:lnTo>
                  <a:pt x="1378" y="689"/>
                </a:lnTo>
                <a:lnTo>
                  <a:pt x="1371" y="692"/>
                </a:lnTo>
                <a:lnTo>
                  <a:pt x="1366" y="698"/>
                </a:lnTo>
                <a:lnTo>
                  <a:pt x="1366" y="692"/>
                </a:lnTo>
                <a:lnTo>
                  <a:pt x="1368" y="687"/>
                </a:lnTo>
                <a:lnTo>
                  <a:pt x="1368" y="682"/>
                </a:lnTo>
                <a:lnTo>
                  <a:pt x="1363" y="680"/>
                </a:lnTo>
                <a:lnTo>
                  <a:pt x="1357" y="681"/>
                </a:lnTo>
                <a:lnTo>
                  <a:pt x="1351" y="684"/>
                </a:lnTo>
                <a:lnTo>
                  <a:pt x="1349" y="688"/>
                </a:lnTo>
                <a:lnTo>
                  <a:pt x="1346" y="691"/>
                </a:lnTo>
                <a:lnTo>
                  <a:pt x="1344" y="692"/>
                </a:lnTo>
                <a:lnTo>
                  <a:pt x="1342" y="695"/>
                </a:lnTo>
                <a:lnTo>
                  <a:pt x="1344" y="699"/>
                </a:lnTo>
                <a:lnTo>
                  <a:pt x="1346" y="706"/>
                </a:lnTo>
                <a:lnTo>
                  <a:pt x="1343" y="707"/>
                </a:lnTo>
                <a:lnTo>
                  <a:pt x="1338" y="707"/>
                </a:lnTo>
                <a:lnTo>
                  <a:pt x="1334" y="708"/>
                </a:lnTo>
                <a:lnTo>
                  <a:pt x="1330" y="712"/>
                </a:lnTo>
                <a:lnTo>
                  <a:pt x="1326" y="714"/>
                </a:lnTo>
                <a:lnTo>
                  <a:pt x="1321" y="715"/>
                </a:lnTo>
                <a:lnTo>
                  <a:pt x="1317" y="716"/>
                </a:lnTo>
                <a:lnTo>
                  <a:pt x="1314" y="714"/>
                </a:lnTo>
                <a:lnTo>
                  <a:pt x="1311" y="711"/>
                </a:lnTo>
                <a:lnTo>
                  <a:pt x="1309" y="706"/>
                </a:lnTo>
                <a:lnTo>
                  <a:pt x="1311" y="702"/>
                </a:lnTo>
                <a:lnTo>
                  <a:pt x="1313" y="697"/>
                </a:lnTo>
                <a:lnTo>
                  <a:pt x="1314" y="692"/>
                </a:lnTo>
                <a:lnTo>
                  <a:pt x="1311" y="689"/>
                </a:lnTo>
                <a:lnTo>
                  <a:pt x="1306" y="692"/>
                </a:lnTo>
                <a:lnTo>
                  <a:pt x="1302" y="696"/>
                </a:lnTo>
                <a:lnTo>
                  <a:pt x="1303" y="690"/>
                </a:lnTo>
                <a:lnTo>
                  <a:pt x="1308" y="688"/>
                </a:lnTo>
                <a:lnTo>
                  <a:pt x="1312" y="683"/>
                </a:lnTo>
                <a:lnTo>
                  <a:pt x="1309" y="681"/>
                </a:lnTo>
                <a:lnTo>
                  <a:pt x="1306" y="682"/>
                </a:lnTo>
                <a:lnTo>
                  <a:pt x="1303" y="682"/>
                </a:lnTo>
                <a:lnTo>
                  <a:pt x="1301" y="679"/>
                </a:lnTo>
                <a:lnTo>
                  <a:pt x="1298" y="675"/>
                </a:lnTo>
                <a:lnTo>
                  <a:pt x="1292" y="669"/>
                </a:lnTo>
                <a:lnTo>
                  <a:pt x="1284" y="665"/>
                </a:lnTo>
                <a:lnTo>
                  <a:pt x="1280" y="663"/>
                </a:lnTo>
                <a:lnTo>
                  <a:pt x="1278" y="659"/>
                </a:lnTo>
                <a:lnTo>
                  <a:pt x="1279" y="656"/>
                </a:lnTo>
                <a:lnTo>
                  <a:pt x="1280" y="654"/>
                </a:lnTo>
                <a:lnTo>
                  <a:pt x="1276" y="649"/>
                </a:lnTo>
                <a:lnTo>
                  <a:pt x="1268" y="650"/>
                </a:lnTo>
                <a:lnTo>
                  <a:pt x="1255" y="648"/>
                </a:lnTo>
                <a:lnTo>
                  <a:pt x="1250" y="634"/>
                </a:lnTo>
                <a:lnTo>
                  <a:pt x="1259" y="638"/>
                </a:lnTo>
                <a:lnTo>
                  <a:pt x="1269" y="636"/>
                </a:lnTo>
                <a:lnTo>
                  <a:pt x="1261" y="632"/>
                </a:lnTo>
                <a:lnTo>
                  <a:pt x="1252" y="633"/>
                </a:lnTo>
                <a:lnTo>
                  <a:pt x="1251" y="633"/>
                </a:lnTo>
                <a:lnTo>
                  <a:pt x="1250" y="633"/>
                </a:lnTo>
                <a:lnTo>
                  <a:pt x="1248" y="630"/>
                </a:lnTo>
                <a:lnTo>
                  <a:pt x="1247" y="628"/>
                </a:lnTo>
                <a:lnTo>
                  <a:pt x="1244" y="630"/>
                </a:lnTo>
                <a:lnTo>
                  <a:pt x="1240" y="631"/>
                </a:lnTo>
                <a:lnTo>
                  <a:pt x="1240" y="624"/>
                </a:lnTo>
                <a:lnTo>
                  <a:pt x="1248" y="620"/>
                </a:lnTo>
                <a:lnTo>
                  <a:pt x="1260" y="623"/>
                </a:lnTo>
                <a:lnTo>
                  <a:pt x="1272" y="628"/>
                </a:lnTo>
                <a:lnTo>
                  <a:pt x="1269" y="628"/>
                </a:lnTo>
                <a:lnTo>
                  <a:pt x="1272" y="628"/>
                </a:lnTo>
                <a:close/>
                <a:moveTo>
                  <a:pt x="1402" y="819"/>
                </a:moveTo>
                <a:lnTo>
                  <a:pt x="1399" y="822"/>
                </a:lnTo>
                <a:lnTo>
                  <a:pt x="1393" y="821"/>
                </a:lnTo>
                <a:lnTo>
                  <a:pt x="1390" y="816"/>
                </a:lnTo>
                <a:lnTo>
                  <a:pt x="1387" y="812"/>
                </a:lnTo>
                <a:lnTo>
                  <a:pt x="1385" y="810"/>
                </a:lnTo>
                <a:lnTo>
                  <a:pt x="1380" y="810"/>
                </a:lnTo>
                <a:lnTo>
                  <a:pt x="1377" y="811"/>
                </a:lnTo>
                <a:lnTo>
                  <a:pt x="1374" y="812"/>
                </a:lnTo>
                <a:lnTo>
                  <a:pt x="1374" y="810"/>
                </a:lnTo>
                <a:lnTo>
                  <a:pt x="1374" y="808"/>
                </a:lnTo>
                <a:lnTo>
                  <a:pt x="1374" y="806"/>
                </a:lnTo>
                <a:lnTo>
                  <a:pt x="1374" y="804"/>
                </a:lnTo>
                <a:lnTo>
                  <a:pt x="1371" y="804"/>
                </a:lnTo>
                <a:lnTo>
                  <a:pt x="1369" y="805"/>
                </a:lnTo>
                <a:lnTo>
                  <a:pt x="1369" y="807"/>
                </a:lnTo>
                <a:lnTo>
                  <a:pt x="1367" y="810"/>
                </a:lnTo>
                <a:lnTo>
                  <a:pt x="1366" y="807"/>
                </a:lnTo>
                <a:lnTo>
                  <a:pt x="1366" y="805"/>
                </a:lnTo>
                <a:lnTo>
                  <a:pt x="1367" y="803"/>
                </a:lnTo>
                <a:lnTo>
                  <a:pt x="1367" y="800"/>
                </a:lnTo>
                <a:lnTo>
                  <a:pt x="1365" y="798"/>
                </a:lnTo>
                <a:lnTo>
                  <a:pt x="1360" y="798"/>
                </a:lnTo>
                <a:lnTo>
                  <a:pt x="1351" y="798"/>
                </a:lnTo>
                <a:lnTo>
                  <a:pt x="1343" y="796"/>
                </a:lnTo>
                <a:lnTo>
                  <a:pt x="1362" y="791"/>
                </a:lnTo>
                <a:lnTo>
                  <a:pt x="1383" y="797"/>
                </a:lnTo>
                <a:lnTo>
                  <a:pt x="1393" y="800"/>
                </a:lnTo>
                <a:lnTo>
                  <a:pt x="1401" y="805"/>
                </a:lnTo>
                <a:lnTo>
                  <a:pt x="1403" y="812"/>
                </a:lnTo>
                <a:lnTo>
                  <a:pt x="1402" y="819"/>
                </a:lnTo>
                <a:lnTo>
                  <a:pt x="1402" y="817"/>
                </a:lnTo>
                <a:lnTo>
                  <a:pt x="1402" y="819"/>
                </a:lnTo>
                <a:close/>
                <a:moveTo>
                  <a:pt x="1347" y="691"/>
                </a:moveTo>
                <a:lnTo>
                  <a:pt x="1349" y="694"/>
                </a:lnTo>
                <a:lnTo>
                  <a:pt x="1347" y="691"/>
                </a:lnTo>
                <a:lnTo>
                  <a:pt x="1347" y="691"/>
                </a:lnTo>
                <a:lnTo>
                  <a:pt x="1347" y="691"/>
                </a:lnTo>
                <a:close/>
                <a:moveTo>
                  <a:pt x="1360" y="713"/>
                </a:moveTo>
                <a:lnTo>
                  <a:pt x="1363" y="715"/>
                </a:lnTo>
                <a:lnTo>
                  <a:pt x="1367" y="716"/>
                </a:lnTo>
                <a:lnTo>
                  <a:pt x="1366" y="719"/>
                </a:lnTo>
                <a:lnTo>
                  <a:pt x="1363" y="720"/>
                </a:lnTo>
                <a:lnTo>
                  <a:pt x="1361" y="721"/>
                </a:lnTo>
                <a:lnTo>
                  <a:pt x="1358" y="721"/>
                </a:lnTo>
                <a:lnTo>
                  <a:pt x="1355" y="720"/>
                </a:lnTo>
                <a:lnTo>
                  <a:pt x="1354" y="717"/>
                </a:lnTo>
                <a:lnTo>
                  <a:pt x="1351" y="714"/>
                </a:lnTo>
                <a:lnTo>
                  <a:pt x="1349" y="709"/>
                </a:lnTo>
                <a:lnTo>
                  <a:pt x="1352" y="706"/>
                </a:lnTo>
                <a:lnTo>
                  <a:pt x="1357" y="704"/>
                </a:lnTo>
                <a:lnTo>
                  <a:pt x="1361" y="700"/>
                </a:lnTo>
                <a:lnTo>
                  <a:pt x="1366" y="698"/>
                </a:lnTo>
                <a:lnTo>
                  <a:pt x="1365" y="707"/>
                </a:lnTo>
                <a:lnTo>
                  <a:pt x="1360" y="713"/>
                </a:lnTo>
                <a:lnTo>
                  <a:pt x="1363" y="713"/>
                </a:lnTo>
                <a:lnTo>
                  <a:pt x="1360" y="713"/>
                </a:lnTo>
                <a:close/>
                <a:moveTo>
                  <a:pt x="1362" y="731"/>
                </a:moveTo>
                <a:lnTo>
                  <a:pt x="1369" y="725"/>
                </a:lnTo>
                <a:lnTo>
                  <a:pt x="1376" y="728"/>
                </a:lnTo>
                <a:lnTo>
                  <a:pt x="1371" y="732"/>
                </a:lnTo>
                <a:lnTo>
                  <a:pt x="1362" y="731"/>
                </a:lnTo>
                <a:lnTo>
                  <a:pt x="1366" y="730"/>
                </a:lnTo>
                <a:lnTo>
                  <a:pt x="1362" y="731"/>
                </a:lnTo>
                <a:close/>
                <a:moveTo>
                  <a:pt x="1267" y="1063"/>
                </a:moveTo>
                <a:lnTo>
                  <a:pt x="1261" y="1065"/>
                </a:lnTo>
                <a:lnTo>
                  <a:pt x="1263" y="1073"/>
                </a:lnTo>
                <a:lnTo>
                  <a:pt x="1265" y="1080"/>
                </a:lnTo>
                <a:lnTo>
                  <a:pt x="1267" y="1085"/>
                </a:lnTo>
                <a:lnTo>
                  <a:pt x="1268" y="1087"/>
                </a:lnTo>
                <a:lnTo>
                  <a:pt x="1268" y="1090"/>
                </a:lnTo>
                <a:lnTo>
                  <a:pt x="1267" y="1090"/>
                </a:lnTo>
                <a:lnTo>
                  <a:pt x="1267" y="1090"/>
                </a:lnTo>
                <a:lnTo>
                  <a:pt x="1267" y="1093"/>
                </a:lnTo>
                <a:lnTo>
                  <a:pt x="1268" y="1095"/>
                </a:lnTo>
                <a:lnTo>
                  <a:pt x="1256" y="1085"/>
                </a:lnTo>
                <a:lnTo>
                  <a:pt x="1250" y="1073"/>
                </a:lnTo>
                <a:lnTo>
                  <a:pt x="1252" y="1070"/>
                </a:lnTo>
                <a:lnTo>
                  <a:pt x="1253" y="1066"/>
                </a:lnTo>
                <a:lnTo>
                  <a:pt x="1252" y="1063"/>
                </a:lnTo>
                <a:lnTo>
                  <a:pt x="1251" y="1059"/>
                </a:lnTo>
                <a:lnTo>
                  <a:pt x="1248" y="1055"/>
                </a:lnTo>
                <a:lnTo>
                  <a:pt x="1246" y="1051"/>
                </a:lnTo>
                <a:lnTo>
                  <a:pt x="1244" y="1049"/>
                </a:lnTo>
                <a:lnTo>
                  <a:pt x="1242" y="1046"/>
                </a:lnTo>
                <a:lnTo>
                  <a:pt x="1250" y="1048"/>
                </a:lnTo>
                <a:lnTo>
                  <a:pt x="1254" y="1045"/>
                </a:lnTo>
                <a:lnTo>
                  <a:pt x="1252" y="1040"/>
                </a:lnTo>
                <a:lnTo>
                  <a:pt x="1248" y="1038"/>
                </a:lnTo>
                <a:lnTo>
                  <a:pt x="1245" y="1035"/>
                </a:lnTo>
                <a:lnTo>
                  <a:pt x="1247" y="1032"/>
                </a:lnTo>
                <a:lnTo>
                  <a:pt x="1250" y="1031"/>
                </a:lnTo>
                <a:lnTo>
                  <a:pt x="1250" y="1029"/>
                </a:lnTo>
                <a:lnTo>
                  <a:pt x="1248" y="1027"/>
                </a:lnTo>
                <a:lnTo>
                  <a:pt x="1247" y="1024"/>
                </a:lnTo>
                <a:lnTo>
                  <a:pt x="1246" y="1023"/>
                </a:lnTo>
                <a:lnTo>
                  <a:pt x="1248" y="1021"/>
                </a:lnTo>
                <a:lnTo>
                  <a:pt x="1251" y="1021"/>
                </a:lnTo>
                <a:lnTo>
                  <a:pt x="1253" y="1021"/>
                </a:lnTo>
                <a:lnTo>
                  <a:pt x="1259" y="1026"/>
                </a:lnTo>
                <a:lnTo>
                  <a:pt x="1259" y="1032"/>
                </a:lnTo>
                <a:lnTo>
                  <a:pt x="1260" y="1040"/>
                </a:lnTo>
                <a:lnTo>
                  <a:pt x="1261" y="1049"/>
                </a:lnTo>
                <a:lnTo>
                  <a:pt x="1262" y="1057"/>
                </a:lnTo>
                <a:lnTo>
                  <a:pt x="1267" y="1063"/>
                </a:lnTo>
                <a:lnTo>
                  <a:pt x="1262" y="1061"/>
                </a:lnTo>
                <a:lnTo>
                  <a:pt x="1267" y="1063"/>
                </a:lnTo>
                <a:close/>
                <a:moveTo>
                  <a:pt x="1265" y="1103"/>
                </a:moveTo>
                <a:lnTo>
                  <a:pt x="1267" y="1101"/>
                </a:lnTo>
                <a:lnTo>
                  <a:pt x="1267" y="1099"/>
                </a:lnTo>
                <a:lnTo>
                  <a:pt x="1267" y="1101"/>
                </a:lnTo>
                <a:lnTo>
                  <a:pt x="1265" y="1103"/>
                </a:lnTo>
                <a:close/>
                <a:moveTo>
                  <a:pt x="1197" y="605"/>
                </a:moveTo>
                <a:lnTo>
                  <a:pt x="1214" y="608"/>
                </a:lnTo>
                <a:lnTo>
                  <a:pt x="1232" y="605"/>
                </a:lnTo>
                <a:lnTo>
                  <a:pt x="1229" y="609"/>
                </a:lnTo>
                <a:lnTo>
                  <a:pt x="1227" y="613"/>
                </a:lnTo>
                <a:lnTo>
                  <a:pt x="1232" y="615"/>
                </a:lnTo>
                <a:lnTo>
                  <a:pt x="1239" y="619"/>
                </a:lnTo>
                <a:lnTo>
                  <a:pt x="1217" y="617"/>
                </a:lnTo>
                <a:lnTo>
                  <a:pt x="1197" y="605"/>
                </a:lnTo>
                <a:lnTo>
                  <a:pt x="1205" y="612"/>
                </a:lnTo>
                <a:lnTo>
                  <a:pt x="1197" y="605"/>
                </a:lnTo>
                <a:close/>
                <a:moveTo>
                  <a:pt x="1210" y="578"/>
                </a:moveTo>
                <a:lnTo>
                  <a:pt x="1217" y="570"/>
                </a:lnTo>
                <a:lnTo>
                  <a:pt x="1221" y="574"/>
                </a:lnTo>
                <a:lnTo>
                  <a:pt x="1220" y="579"/>
                </a:lnTo>
                <a:lnTo>
                  <a:pt x="1217" y="581"/>
                </a:lnTo>
                <a:lnTo>
                  <a:pt x="1212" y="581"/>
                </a:lnTo>
                <a:lnTo>
                  <a:pt x="1210" y="578"/>
                </a:lnTo>
                <a:lnTo>
                  <a:pt x="1210" y="578"/>
                </a:lnTo>
                <a:lnTo>
                  <a:pt x="1210" y="578"/>
                </a:lnTo>
                <a:close/>
                <a:moveTo>
                  <a:pt x="1243" y="550"/>
                </a:moveTo>
                <a:lnTo>
                  <a:pt x="1242" y="549"/>
                </a:lnTo>
                <a:lnTo>
                  <a:pt x="1240" y="548"/>
                </a:lnTo>
                <a:lnTo>
                  <a:pt x="1242" y="549"/>
                </a:lnTo>
                <a:lnTo>
                  <a:pt x="1243" y="550"/>
                </a:lnTo>
                <a:close/>
                <a:moveTo>
                  <a:pt x="1242" y="534"/>
                </a:moveTo>
                <a:lnTo>
                  <a:pt x="1240" y="534"/>
                </a:lnTo>
                <a:lnTo>
                  <a:pt x="1239" y="536"/>
                </a:lnTo>
                <a:lnTo>
                  <a:pt x="1240" y="534"/>
                </a:lnTo>
                <a:lnTo>
                  <a:pt x="1242" y="534"/>
                </a:lnTo>
                <a:close/>
                <a:moveTo>
                  <a:pt x="1235" y="774"/>
                </a:moveTo>
                <a:lnTo>
                  <a:pt x="1235" y="774"/>
                </a:lnTo>
                <a:lnTo>
                  <a:pt x="1234" y="774"/>
                </a:lnTo>
                <a:lnTo>
                  <a:pt x="1235" y="774"/>
                </a:lnTo>
                <a:lnTo>
                  <a:pt x="1235" y="774"/>
                </a:lnTo>
                <a:close/>
                <a:moveTo>
                  <a:pt x="1228" y="774"/>
                </a:moveTo>
                <a:lnTo>
                  <a:pt x="1228" y="775"/>
                </a:lnTo>
                <a:lnTo>
                  <a:pt x="1229" y="775"/>
                </a:lnTo>
                <a:lnTo>
                  <a:pt x="1228" y="775"/>
                </a:lnTo>
                <a:lnTo>
                  <a:pt x="1228" y="774"/>
                </a:lnTo>
                <a:close/>
                <a:moveTo>
                  <a:pt x="1226" y="779"/>
                </a:moveTo>
                <a:lnTo>
                  <a:pt x="1226" y="779"/>
                </a:lnTo>
                <a:lnTo>
                  <a:pt x="1226" y="779"/>
                </a:lnTo>
                <a:lnTo>
                  <a:pt x="1226" y="779"/>
                </a:lnTo>
                <a:lnTo>
                  <a:pt x="1226" y="779"/>
                </a:lnTo>
                <a:close/>
                <a:moveTo>
                  <a:pt x="1237" y="802"/>
                </a:moveTo>
                <a:lnTo>
                  <a:pt x="1230" y="810"/>
                </a:lnTo>
                <a:lnTo>
                  <a:pt x="1222" y="815"/>
                </a:lnTo>
                <a:lnTo>
                  <a:pt x="1226" y="805"/>
                </a:lnTo>
                <a:lnTo>
                  <a:pt x="1231" y="796"/>
                </a:lnTo>
                <a:lnTo>
                  <a:pt x="1234" y="794"/>
                </a:lnTo>
                <a:lnTo>
                  <a:pt x="1237" y="795"/>
                </a:lnTo>
                <a:lnTo>
                  <a:pt x="1238" y="798"/>
                </a:lnTo>
                <a:lnTo>
                  <a:pt x="1237" y="802"/>
                </a:lnTo>
                <a:lnTo>
                  <a:pt x="1235" y="803"/>
                </a:lnTo>
                <a:lnTo>
                  <a:pt x="1237" y="802"/>
                </a:lnTo>
                <a:close/>
                <a:moveTo>
                  <a:pt x="1217" y="764"/>
                </a:moveTo>
                <a:lnTo>
                  <a:pt x="1226" y="763"/>
                </a:lnTo>
                <a:lnTo>
                  <a:pt x="1232" y="766"/>
                </a:lnTo>
                <a:lnTo>
                  <a:pt x="1229" y="772"/>
                </a:lnTo>
                <a:lnTo>
                  <a:pt x="1226" y="777"/>
                </a:lnTo>
                <a:lnTo>
                  <a:pt x="1223" y="777"/>
                </a:lnTo>
                <a:lnTo>
                  <a:pt x="1222" y="779"/>
                </a:lnTo>
                <a:lnTo>
                  <a:pt x="1221" y="781"/>
                </a:lnTo>
                <a:lnTo>
                  <a:pt x="1220" y="782"/>
                </a:lnTo>
                <a:lnTo>
                  <a:pt x="1218" y="782"/>
                </a:lnTo>
                <a:lnTo>
                  <a:pt x="1217" y="780"/>
                </a:lnTo>
                <a:lnTo>
                  <a:pt x="1215" y="777"/>
                </a:lnTo>
                <a:lnTo>
                  <a:pt x="1215" y="772"/>
                </a:lnTo>
                <a:lnTo>
                  <a:pt x="1213" y="767"/>
                </a:lnTo>
                <a:lnTo>
                  <a:pt x="1217" y="764"/>
                </a:lnTo>
                <a:lnTo>
                  <a:pt x="1219" y="764"/>
                </a:lnTo>
                <a:lnTo>
                  <a:pt x="1217" y="764"/>
                </a:lnTo>
                <a:close/>
                <a:moveTo>
                  <a:pt x="1239" y="810"/>
                </a:moveTo>
                <a:lnTo>
                  <a:pt x="1238" y="806"/>
                </a:lnTo>
                <a:lnTo>
                  <a:pt x="1237" y="802"/>
                </a:lnTo>
                <a:lnTo>
                  <a:pt x="1246" y="798"/>
                </a:lnTo>
                <a:lnTo>
                  <a:pt x="1254" y="792"/>
                </a:lnTo>
                <a:lnTo>
                  <a:pt x="1250" y="792"/>
                </a:lnTo>
                <a:lnTo>
                  <a:pt x="1244" y="791"/>
                </a:lnTo>
                <a:lnTo>
                  <a:pt x="1248" y="787"/>
                </a:lnTo>
                <a:lnTo>
                  <a:pt x="1246" y="780"/>
                </a:lnTo>
                <a:lnTo>
                  <a:pt x="1255" y="785"/>
                </a:lnTo>
                <a:lnTo>
                  <a:pt x="1259" y="792"/>
                </a:lnTo>
                <a:lnTo>
                  <a:pt x="1255" y="798"/>
                </a:lnTo>
                <a:lnTo>
                  <a:pt x="1250" y="802"/>
                </a:lnTo>
                <a:lnTo>
                  <a:pt x="1245" y="806"/>
                </a:lnTo>
                <a:lnTo>
                  <a:pt x="1239" y="810"/>
                </a:lnTo>
                <a:lnTo>
                  <a:pt x="1240" y="807"/>
                </a:lnTo>
                <a:lnTo>
                  <a:pt x="1239" y="810"/>
                </a:lnTo>
                <a:close/>
                <a:moveTo>
                  <a:pt x="1242" y="792"/>
                </a:moveTo>
                <a:lnTo>
                  <a:pt x="1242" y="792"/>
                </a:lnTo>
                <a:lnTo>
                  <a:pt x="1243" y="792"/>
                </a:lnTo>
                <a:lnTo>
                  <a:pt x="1242" y="794"/>
                </a:lnTo>
                <a:lnTo>
                  <a:pt x="1242" y="792"/>
                </a:lnTo>
                <a:lnTo>
                  <a:pt x="1242" y="794"/>
                </a:lnTo>
                <a:lnTo>
                  <a:pt x="1242" y="792"/>
                </a:lnTo>
                <a:close/>
                <a:moveTo>
                  <a:pt x="1210" y="424"/>
                </a:moveTo>
                <a:lnTo>
                  <a:pt x="1211" y="425"/>
                </a:lnTo>
                <a:lnTo>
                  <a:pt x="1211" y="425"/>
                </a:lnTo>
                <a:lnTo>
                  <a:pt x="1210" y="426"/>
                </a:lnTo>
                <a:lnTo>
                  <a:pt x="1209" y="425"/>
                </a:lnTo>
                <a:lnTo>
                  <a:pt x="1210" y="425"/>
                </a:lnTo>
                <a:lnTo>
                  <a:pt x="1210" y="424"/>
                </a:lnTo>
                <a:lnTo>
                  <a:pt x="1210" y="424"/>
                </a:lnTo>
                <a:lnTo>
                  <a:pt x="1210" y="424"/>
                </a:lnTo>
                <a:close/>
                <a:moveTo>
                  <a:pt x="1206" y="536"/>
                </a:moveTo>
                <a:lnTo>
                  <a:pt x="1206" y="536"/>
                </a:lnTo>
                <a:lnTo>
                  <a:pt x="1206" y="537"/>
                </a:lnTo>
                <a:lnTo>
                  <a:pt x="1206" y="536"/>
                </a:lnTo>
                <a:lnTo>
                  <a:pt x="1206" y="536"/>
                </a:lnTo>
                <a:lnTo>
                  <a:pt x="1206" y="536"/>
                </a:lnTo>
                <a:lnTo>
                  <a:pt x="1206" y="536"/>
                </a:lnTo>
                <a:close/>
                <a:moveTo>
                  <a:pt x="1195" y="558"/>
                </a:moveTo>
                <a:lnTo>
                  <a:pt x="1197" y="554"/>
                </a:lnTo>
                <a:lnTo>
                  <a:pt x="1197" y="548"/>
                </a:lnTo>
                <a:lnTo>
                  <a:pt x="1196" y="543"/>
                </a:lnTo>
                <a:lnTo>
                  <a:pt x="1197" y="539"/>
                </a:lnTo>
                <a:lnTo>
                  <a:pt x="1199" y="538"/>
                </a:lnTo>
                <a:lnTo>
                  <a:pt x="1202" y="537"/>
                </a:lnTo>
                <a:lnTo>
                  <a:pt x="1205" y="537"/>
                </a:lnTo>
                <a:lnTo>
                  <a:pt x="1207" y="539"/>
                </a:lnTo>
                <a:lnTo>
                  <a:pt x="1209" y="547"/>
                </a:lnTo>
                <a:lnTo>
                  <a:pt x="1207" y="556"/>
                </a:lnTo>
                <a:lnTo>
                  <a:pt x="1213" y="549"/>
                </a:lnTo>
                <a:lnTo>
                  <a:pt x="1215" y="540"/>
                </a:lnTo>
                <a:lnTo>
                  <a:pt x="1213" y="537"/>
                </a:lnTo>
                <a:lnTo>
                  <a:pt x="1213" y="532"/>
                </a:lnTo>
                <a:lnTo>
                  <a:pt x="1214" y="530"/>
                </a:lnTo>
                <a:lnTo>
                  <a:pt x="1217" y="532"/>
                </a:lnTo>
                <a:lnTo>
                  <a:pt x="1222" y="532"/>
                </a:lnTo>
                <a:lnTo>
                  <a:pt x="1227" y="529"/>
                </a:lnTo>
                <a:lnTo>
                  <a:pt x="1231" y="520"/>
                </a:lnTo>
                <a:lnTo>
                  <a:pt x="1238" y="513"/>
                </a:lnTo>
                <a:lnTo>
                  <a:pt x="1237" y="517"/>
                </a:lnTo>
                <a:lnTo>
                  <a:pt x="1237" y="522"/>
                </a:lnTo>
                <a:lnTo>
                  <a:pt x="1234" y="526"/>
                </a:lnTo>
                <a:lnTo>
                  <a:pt x="1231" y="530"/>
                </a:lnTo>
                <a:lnTo>
                  <a:pt x="1232" y="536"/>
                </a:lnTo>
                <a:lnTo>
                  <a:pt x="1234" y="541"/>
                </a:lnTo>
                <a:lnTo>
                  <a:pt x="1230" y="547"/>
                </a:lnTo>
                <a:lnTo>
                  <a:pt x="1227" y="551"/>
                </a:lnTo>
                <a:lnTo>
                  <a:pt x="1225" y="557"/>
                </a:lnTo>
                <a:lnTo>
                  <a:pt x="1222" y="562"/>
                </a:lnTo>
                <a:lnTo>
                  <a:pt x="1217" y="564"/>
                </a:lnTo>
                <a:lnTo>
                  <a:pt x="1211" y="564"/>
                </a:lnTo>
                <a:lnTo>
                  <a:pt x="1206" y="565"/>
                </a:lnTo>
                <a:lnTo>
                  <a:pt x="1202" y="565"/>
                </a:lnTo>
                <a:lnTo>
                  <a:pt x="1201" y="566"/>
                </a:lnTo>
                <a:lnTo>
                  <a:pt x="1199" y="567"/>
                </a:lnTo>
                <a:lnTo>
                  <a:pt x="1195" y="564"/>
                </a:lnTo>
                <a:lnTo>
                  <a:pt x="1195" y="558"/>
                </a:lnTo>
                <a:lnTo>
                  <a:pt x="1196" y="558"/>
                </a:lnTo>
                <a:lnTo>
                  <a:pt x="1195" y="558"/>
                </a:lnTo>
                <a:close/>
                <a:moveTo>
                  <a:pt x="1194" y="614"/>
                </a:moveTo>
                <a:lnTo>
                  <a:pt x="1181" y="617"/>
                </a:lnTo>
                <a:lnTo>
                  <a:pt x="1171" y="624"/>
                </a:lnTo>
                <a:lnTo>
                  <a:pt x="1174" y="617"/>
                </a:lnTo>
                <a:lnTo>
                  <a:pt x="1172" y="614"/>
                </a:lnTo>
                <a:lnTo>
                  <a:pt x="1170" y="614"/>
                </a:lnTo>
                <a:lnTo>
                  <a:pt x="1168" y="615"/>
                </a:lnTo>
                <a:lnTo>
                  <a:pt x="1166" y="615"/>
                </a:lnTo>
                <a:lnTo>
                  <a:pt x="1165" y="614"/>
                </a:lnTo>
                <a:lnTo>
                  <a:pt x="1165" y="616"/>
                </a:lnTo>
                <a:lnTo>
                  <a:pt x="1164" y="617"/>
                </a:lnTo>
                <a:lnTo>
                  <a:pt x="1162" y="620"/>
                </a:lnTo>
                <a:lnTo>
                  <a:pt x="1159" y="620"/>
                </a:lnTo>
                <a:lnTo>
                  <a:pt x="1163" y="620"/>
                </a:lnTo>
                <a:lnTo>
                  <a:pt x="1165" y="616"/>
                </a:lnTo>
                <a:lnTo>
                  <a:pt x="1162" y="612"/>
                </a:lnTo>
                <a:lnTo>
                  <a:pt x="1155" y="607"/>
                </a:lnTo>
                <a:lnTo>
                  <a:pt x="1148" y="604"/>
                </a:lnTo>
                <a:lnTo>
                  <a:pt x="1141" y="599"/>
                </a:lnTo>
                <a:lnTo>
                  <a:pt x="1141" y="598"/>
                </a:lnTo>
                <a:lnTo>
                  <a:pt x="1143" y="596"/>
                </a:lnTo>
                <a:lnTo>
                  <a:pt x="1144" y="593"/>
                </a:lnTo>
                <a:lnTo>
                  <a:pt x="1146" y="595"/>
                </a:lnTo>
                <a:lnTo>
                  <a:pt x="1152" y="597"/>
                </a:lnTo>
                <a:lnTo>
                  <a:pt x="1156" y="601"/>
                </a:lnTo>
                <a:lnTo>
                  <a:pt x="1162" y="605"/>
                </a:lnTo>
                <a:lnTo>
                  <a:pt x="1169" y="607"/>
                </a:lnTo>
                <a:lnTo>
                  <a:pt x="1182" y="609"/>
                </a:lnTo>
                <a:lnTo>
                  <a:pt x="1194" y="614"/>
                </a:lnTo>
                <a:lnTo>
                  <a:pt x="1189" y="614"/>
                </a:lnTo>
                <a:lnTo>
                  <a:pt x="1194" y="614"/>
                </a:lnTo>
                <a:close/>
                <a:moveTo>
                  <a:pt x="1130" y="904"/>
                </a:moveTo>
                <a:lnTo>
                  <a:pt x="1123" y="905"/>
                </a:lnTo>
                <a:lnTo>
                  <a:pt x="1118" y="904"/>
                </a:lnTo>
                <a:lnTo>
                  <a:pt x="1112" y="903"/>
                </a:lnTo>
                <a:lnTo>
                  <a:pt x="1111" y="899"/>
                </a:lnTo>
                <a:lnTo>
                  <a:pt x="1115" y="898"/>
                </a:lnTo>
                <a:lnTo>
                  <a:pt x="1120" y="897"/>
                </a:lnTo>
                <a:lnTo>
                  <a:pt x="1124" y="891"/>
                </a:lnTo>
                <a:lnTo>
                  <a:pt x="1128" y="887"/>
                </a:lnTo>
                <a:lnTo>
                  <a:pt x="1123" y="891"/>
                </a:lnTo>
                <a:lnTo>
                  <a:pt x="1128" y="894"/>
                </a:lnTo>
                <a:lnTo>
                  <a:pt x="1133" y="893"/>
                </a:lnTo>
                <a:lnTo>
                  <a:pt x="1140" y="890"/>
                </a:lnTo>
                <a:lnTo>
                  <a:pt x="1133" y="897"/>
                </a:lnTo>
                <a:lnTo>
                  <a:pt x="1130" y="904"/>
                </a:lnTo>
                <a:lnTo>
                  <a:pt x="1127" y="903"/>
                </a:lnTo>
                <a:lnTo>
                  <a:pt x="1130" y="904"/>
                </a:lnTo>
                <a:close/>
                <a:moveTo>
                  <a:pt x="1066" y="1124"/>
                </a:moveTo>
                <a:lnTo>
                  <a:pt x="1056" y="1123"/>
                </a:lnTo>
                <a:lnTo>
                  <a:pt x="1049" y="1117"/>
                </a:lnTo>
                <a:lnTo>
                  <a:pt x="1053" y="1111"/>
                </a:lnTo>
                <a:lnTo>
                  <a:pt x="1057" y="1106"/>
                </a:lnTo>
                <a:lnTo>
                  <a:pt x="1059" y="1112"/>
                </a:lnTo>
                <a:lnTo>
                  <a:pt x="1062" y="1117"/>
                </a:lnTo>
                <a:lnTo>
                  <a:pt x="1069" y="1115"/>
                </a:lnTo>
                <a:lnTo>
                  <a:pt x="1067" y="1107"/>
                </a:lnTo>
                <a:lnTo>
                  <a:pt x="1073" y="1110"/>
                </a:lnTo>
                <a:lnTo>
                  <a:pt x="1078" y="1114"/>
                </a:lnTo>
                <a:lnTo>
                  <a:pt x="1074" y="1121"/>
                </a:lnTo>
                <a:lnTo>
                  <a:pt x="1066" y="1124"/>
                </a:lnTo>
                <a:lnTo>
                  <a:pt x="1066" y="1124"/>
                </a:lnTo>
                <a:lnTo>
                  <a:pt x="1066" y="1124"/>
                </a:lnTo>
                <a:close/>
                <a:moveTo>
                  <a:pt x="1040" y="1048"/>
                </a:moveTo>
                <a:lnTo>
                  <a:pt x="1039" y="1049"/>
                </a:lnTo>
                <a:lnTo>
                  <a:pt x="1038" y="1049"/>
                </a:lnTo>
                <a:lnTo>
                  <a:pt x="1037" y="1044"/>
                </a:lnTo>
                <a:lnTo>
                  <a:pt x="1038" y="1038"/>
                </a:lnTo>
                <a:lnTo>
                  <a:pt x="1041" y="1034"/>
                </a:lnTo>
                <a:lnTo>
                  <a:pt x="1042" y="1028"/>
                </a:lnTo>
                <a:lnTo>
                  <a:pt x="1042" y="1021"/>
                </a:lnTo>
                <a:lnTo>
                  <a:pt x="1041" y="1014"/>
                </a:lnTo>
                <a:lnTo>
                  <a:pt x="1042" y="1007"/>
                </a:lnTo>
                <a:lnTo>
                  <a:pt x="1042" y="1001"/>
                </a:lnTo>
                <a:lnTo>
                  <a:pt x="1042" y="997"/>
                </a:lnTo>
                <a:lnTo>
                  <a:pt x="1042" y="994"/>
                </a:lnTo>
                <a:lnTo>
                  <a:pt x="1040" y="987"/>
                </a:lnTo>
                <a:lnTo>
                  <a:pt x="1040" y="980"/>
                </a:lnTo>
                <a:lnTo>
                  <a:pt x="1041" y="976"/>
                </a:lnTo>
                <a:lnTo>
                  <a:pt x="1044" y="971"/>
                </a:lnTo>
                <a:lnTo>
                  <a:pt x="1041" y="966"/>
                </a:lnTo>
                <a:lnTo>
                  <a:pt x="1037" y="964"/>
                </a:lnTo>
                <a:lnTo>
                  <a:pt x="1046" y="948"/>
                </a:lnTo>
                <a:lnTo>
                  <a:pt x="1045" y="929"/>
                </a:lnTo>
                <a:lnTo>
                  <a:pt x="1044" y="924"/>
                </a:lnTo>
                <a:lnTo>
                  <a:pt x="1045" y="921"/>
                </a:lnTo>
                <a:lnTo>
                  <a:pt x="1047" y="920"/>
                </a:lnTo>
                <a:lnTo>
                  <a:pt x="1048" y="920"/>
                </a:lnTo>
                <a:lnTo>
                  <a:pt x="1050" y="920"/>
                </a:lnTo>
                <a:lnTo>
                  <a:pt x="1052" y="919"/>
                </a:lnTo>
                <a:lnTo>
                  <a:pt x="1049" y="915"/>
                </a:lnTo>
                <a:lnTo>
                  <a:pt x="1046" y="913"/>
                </a:lnTo>
                <a:lnTo>
                  <a:pt x="1053" y="911"/>
                </a:lnTo>
                <a:lnTo>
                  <a:pt x="1055" y="916"/>
                </a:lnTo>
                <a:lnTo>
                  <a:pt x="1054" y="919"/>
                </a:lnTo>
                <a:lnTo>
                  <a:pt x="1053" y="923"/>
                </a:lnTo>
                <a:lnTo>
                  <a:pt x="1054" y="925"/>
                </a:lnTo>
                <a:lnTo>
                  <a:pt x="1055" y="928"/>
                </a:lnTo>
                <a:lnTo>
                  <a:pt x="1058" y="933"/>
                </a:lnTo>
                <a:lnTo>
                  <a:pt x="1059" y="940"/>
                </a:lnTo>
                <a:lnTo>
                  <a:pt x="1056" y="947"/>
                </a:lnTo>
                <a:lnTo>
                  <a:pt x="1056" y="954"/>
                </a:lnTo>
                <a:lnTo>
                  <a:pt x="1059" y="961"/>
                </a:lnTo>
                <a:lnTo>
                  <a:pt x="1059" y="966"/>
                </a:lnTo>
                <a:lnTo>
                  <a:pt x="1056" y="968"/>
                </a:lnTo>
                <a:lnTo>
                  <a:pt x="1054" y="970"/>
                </a:lnTo>
                <a:lnTo>
                  <a:pt x="1055" y="973"/>
                </a:lnTo>
                <a:lnTo>
                  <a:pt x="1056" y="976"/>
                </a:lnTo>
                <a:lnTo>
                  <a:pt x="1056" y="979"/>
                </a:lnTo>
                <a:lnTo>
                  <a:pt x="1056" y="982"/>
                </a:lnTo>
                <a:lnTo>
                  <a:pt x="1057" y="985"/>
                </a:lnTo>
                <a:lnTo>
                  <a:pt x="1058" y="988"/>
                </a:lnTo>
                <a:lnTo>
                  <a:pt x="1057" y="990"/>
                </a:lnTo>
                <a:lnTo>
                  <a:pt x="1056" y="991"/>
                </a:lnTo>
                <a:lnTo>
                  <a:pt x="1055" y="997"/>
                </a:lnTo>
                <a:lnTo>
                  <a:pt x="1058" y="1002"/>
                </a:lnTo>
                <a:lnTo>
                  <a:pt x="1059" y="1004"/>
                </a:lnTo>
                <a:lnTo>
                  <a:pt x="1059" y="1006"/>
                </a:lnTo>
                <a:lnTo>
                  <a:pt x="1058" y="1007"/>
                </a:lnTo>
                <a:lnTo>
                  <a:pt x="1056" y="1007"/>
                </a:lnTo>
                <a:lnTo>
                  <a:pt x="1055" y="1006"/>
                </a:lnTo>
                <a:lnTo>
                  <a:pt x="1053" y="1006"/>
                </a:lnTo>
                <a:lnTo>
                  <a:pt x="1054" y="1010"/>
                </a:lnTo>
                <a:lnTo>
                  <a:pt x="1054" y="1012"/>
                </a:lnTo>
                <a:lnTo>
                  <a:pt x="1055" y="1016"/>
                </a:lnTo>
                <a:lnTo>
                  <a:pt x="1054" y="1021"/>
                </a:lnTo>
                <a:lnTo>
                  <a:pt x="1052" y="1023"/>
                </a:lnTo>
                <a:lnTo>
                  <a:pt x="1050" y="1024"/>
                </a:lnTo>
                <a:lnTo>
                  <a:pt x="1048" y="1026"/>
                </a:lnTo>
                <a:lnTo>
                  <a:pt x="1048" y="1028"/>
                </a:lnTo>
                <a:lnTo>
                  <a:pt x="1048" y="1028"/>
                </a:lnTo>
                <a:lnTo>
                  <a:pt x="1048" y="1029"/>
                </a:lnTo>
                <a:lnTo>
                  <a:pt x="1044" y="1038"/>
                </a:lnTo>
                <a:lnTo>
                  <a:pt x="1040" y="1048"/>
                </a:lnTo>
                <a:lnTo>
                  <a:pt x="1040" y="1045"/>
                </a:lnTo>
                <a:lnTo>
                  <a:pt x="1040" y="1048"/>
                </a:lnTo>
                <a:close/>
                <a:moveTo>
                  <a:pt x="993" y="1113"/>
                </a:moveTo>
                <a:lnTo>
                  <a:pt x="982" y="1105"/>
                </a:lnTo>
                <a:lnTo>
                  <a:pt x="973" y="1094"/>
                </a:lnTo>
                <a:lnTo>
                  <a:pt x="982" y="1097"/>
                </a:lnTo>
                <a:lnTo>
                  <a:pt x="991" y="1099"/>
                </a:lnTo>
                <a:lnTo>
                  <a:pt x="995" y="1105"/>
                </a:lnTo>
                <a:lnTo>
                  <a:pt x="1003" y="1109"/>
                </a:lnTo>
                <a:lnTo>
                  <a:pt x="1003" y="1112"/>
                </a:lnTo>
                <a:lnTo>
                  <a:pt x="1000" y="1115"/>
                </a:lnTo>
                <a:lnTo>
                  <a:pt x="997" y="1114"/>
                </a:lnTo>
                <a:lnTo>
                  <a:pt x="993" y="1113"/>
                </a:lnTo>
                <a:lnTo>
                  <a:pt x="991" y="1112"/>
                </a:lnTo>
                <a:lnTo>
                  <a:pt x="993" y="1113"/>
                </a:lnTo>
                <a:close/>
                <a:moveTo>
                  <a:pt x="951" y="1165"/>
                </a:moveTo>
                <a:lnTo>
                  <a:pt x="950" y="1169"/>
                </a:lnTo>
                <a:lnTo>
                  <a:pt x="950" y="1174"/>
                </a:lnTo>
                <a:lnTo>
                  <a:pt x="954" y="1178"/>
                </a:lnTo>
                <a:lnTo>
                  <a:pt x="956" y="1181"/>
                </a:lnTo>
                <a:lnTo>
                  <a:pt x="954" y="1187"/>
                </a:lnTo>
                <a:lnTo>
                  <a:pt x="948" y="1188"/>
                </a:lnTo>
                <a:lnTo>
                  <a:pt x="948" y="1189"/>
                </a:lnTo>
                <a:lnTo>
                  <a:pt x="950" y="1192"/>
                </a:lnTo>
                <a:lnTo>
                  <a:pt x="950" y="1194"/>
                </a:lnTo>
                <a:lnTo>
                  <a:pt x="949" y="1197"/>
                </a:lnTo>
                <a:lnTo>
                  <a:pt x="953" y="1200"/>
                </a:lnTo>
                <a:lnTo>
                  <a:pt x="955" y="1203"/>
                </a:lnTo>
                <a:lnTo>
                  <a:pt x="953" y="1206"/>
                </a:lnTo>
                <a:lnTo>
                  <a:pt x="948" y="1209"/>
                </a:lnTo>
                <a:lnTo>
                  <a:pt x="955" y="1211"/>
                </a:lnTo>
                <a:lnTo>
                  <a:pt x="956" y="1218"/>
                </a:lnTo>
                <a:lnTo>
                  <a:pt x="954" y="1222"/>
                </a:lnTo>
                <a:lnTo>
                  <a:pt x="951" y="1226"/>
                </a:lnTo>
                <a:lnTo>
                  <a:pt x="951" y="1231"/>
                </a:lnTo>
                <a:lnTo>
                  <a:pt x="951" y="1237"/>
                </a:lnTo>
                <a:lnTo>
                  <a:pt x="947" y="1238"/>
                </a:lnTo>
                <a:lnTo>
                  <a:pt x="942" y="1234"/>
                </a:lnTo>
                <a:lnTo>
                  <a:pt x="939" y="1231"/>
                </a:lnTo>
                <a:lnTo>
                  <a:pt x="934" y="1230"/>
                </a:lnTo>
                <a:lnTo>
                  <a:pt x="924" y="1232"/>
                </a:lnTo>
                <a:lnTo>
                  <a:pt x="915" y="1230"/>
                </a:lnTo>
                <a:lnTo>
                  <a:pt x="921" y="1227"/>
                </a:lnTo>
                <a:lnTo>
                  <a:pt x="929" y="1225"/>
                </a:lnTo>
                <a:lnTo>
                  <a:pt x="934" y="1225"/>
                </a:lnTo>
                <a:lnTo>
                  <a:pt x="935" y="1221"/>
                </a:lnTo>
                <a:lnTo>
                  <a:pt x="930" y="1221"/>
                </a:lnTo>
                <a:lnTo>
                  <a:pt x="923" y="1222"/>
                </a:lnTo>
                <a:lnTo>
                  <a:pt x="915" y="1221"/>
                </a:lnTo>
                <a:lnTo>
                  <a:pt x="909" y="1217"/>
                </a:lnTo>
                <a:lnTo>
                  <a:pt x="917" y="1218"/>
                </a:lnTo>
                <a:lnTo>
                  <a:pt x="925" y="1217"/>
                </a:lnTo>
                <a:lnTo>
                  <a:pt x="926" y="1213"/>
                </a:lnTo>
                <a:lnTo>
                  <a:pt x="930" y="1212"/>
                </a:lnTo>
                <a:lnTo>
                  <a:pt x="933" y="1212"/>
                </a:lnTo>
                <a:lnTo>
                  <a:pt x="937" y="1211"/>
                </a:lnTo>
                <a:lnTo>
                  <a:pt x="937" y="1209"/>
                </a:lnTo>
                <a:lnTo>
                  <a:pt x="934" y="1205"/>
                </a:lnTo>
                <a:lnTo>
                  <a:pt x="933" y="1201"/>
                </a:lnTo>
                <a:lnTo>
                  <a:pt x="932" y="1196"/>
                </a:lnTo>
                <a:lnTo>
                  <a:pt x="929" y="1193"/>
                </a:lnTo>
                <a:lnTo>
                  <a:pt x="921" y="1192"/>
                </a:lnTo>
                <a:lnTo>
                  <a:pt x="917" y="1185"/>
                </a:lnTo>
                <a:lnTo>
                  <a:pt x="916" y="1178"/>
                </a:lnTo>
                <a:lnTo>
                  <a:pt x="920" y="1173"/>
                </a:lnTo>
                <a:lnTo>
                  <a:pt x="925" y="1174"/>
                </a:lnTo>
                <a:lnTo>
                  <a:pt x="933" y="1179"/>
                </a:lnTo>
                <a:lnTo>
                  <a:pt x="937" y="1174"/>
                </a:lnTo>
                <a:lnTo>
                  <a:pt x="937" y="1171"/>
                </a:lnTo>
                <a:lnTo>
                  <a:pt x="935" y="1169"/>
                </a:lnTo>
                <a:lnTo>
                  <a:pt x="933" y="1169"/>
                </a:lnTo>
                <a:lnTo>
                  <a:pt x="932" y="1169"/>
                </a:lnTo>
                <a:lnTo>
                  <a:pt x="929" y="1171"/>
                </a:lnTo>
                <a:lnTo>
                  <a:pt x="925" y="1171"/>
                </a:lnTo>
                <a:lnTo>
                  <a:pt x="929" y="1165"/>
                </a:lnTo>
                <a:lnTo>
                  <a:pt x="926" y="1159"/>
                </a:lnTo>
                <a:lnTo>
                  <a:pt x="933" y="1149"/>
                </a:lnTo>
                <a:lnTo>
                  <a:pt x="943" y="1142"/>
                </a:lnTo>
                <a:lnTo>
                  <a:pt x="946" y="1146"/>
                </a:lnTo>
                <a:lnTo>
                  <a:pt x="948" y="1151"/>
                </a:lnTo>
                <a:lnTo>
                  <a:pt x="947" y="1144"/>
                </a:lnTo>
                <a:lnTo>
                  <a:pt x="942" y="1140"/>
                </a:lnTo>
                <a:lnTo>
                  <a:pt x="938" y="1140"/>
                </a:lnTo>
                <a:lnTo>
                  <a:pt x="934" y="1139"/>
                </a:lnTo>
                <a:lnTo>
                  <a:pt x="932" y="1136"/>
                </a:lnTo>
                <a:lnTo>
                  <a:pt x="930" y="1132"/>
                </a:lnTo>
                <a:lnTo>
                  <a:pt x="931" y="1126"/>
                </a:lnTo>
                <a:lnTo>
                  <a:pt x="932" y="1119"/>
                </a:lnTo>
                <a:lnTo>
                  <a:pt x="940" y="1118"/>
                </a:lnTo>
                <a:lnTo>
                  <a:pt x="947" y="1122"/>
                </a:lnTo>
                <a:lnTo>
                  <a:pt x="949" y="1132"/>
                </a:lnTo>
                <a:lnTo>
                  <a:pt x="950" y="1143"/>
                </a:lnTo>
                <a:lnTo>
                  <a:pt x="951" y="1154"/>
                </a:lnTo>
                <a:lnTo>
                  <a:pt x="951" y="1165"/>
                </a:lnTo>
                <a:lnTo>
                  <a:pt x="951" y="1162"/>
                </a:lnTo>
                <a:lnTo>
                  <a:pt x="951" y="1165"/>
                </a:lnTo>
                <a:close/>
                <a:moveTo>
                  <a:pt x="962" y="1298"/>
                </a:moveTo>
                <a:lnTo>
                  <a:pt x="957" y="1300"/>
                </a:lnTo>
                <a:lnTo>
                  <a:pt x="951" y="1297"/>
                </a:lnTo>
                <a:lnTo>
                  <a:pt x="946" y="1296"/>
                </a:lnTo>
                <a:lnTo>
                  <a:pt x="940" y="1298"/>
                </a:lnTo>
                <a:lnTo>
                  <a:pt x="937" y="1301"/>
                </a:lnTo>
                <a:lnTo>
                  <a:pt x="932" y="1300"/>
                </a:lnTo>
                <a:lnTo>
                  <a:pt x="927" y="1296"/>
                </a:lnTo>
                <a:lnTo>
                  <a:pt x="923" y="1293"/>
                </a:lnTo>
                <a:lnTo>
                  <a:pt x="935" y="1289"/>
                </a:lnTo>
                <a:lnTo>
                  <a:pt x="948" y="1287"/>
                </a:lnTo>
                <a:lnTo>
                  <a:pt x="954" y="1285"/>
                </a:lnTo>
                <a:lnTo>
                  <a:pt x="958" y="1285"/>
                </a:lnTo>
                <a:lnTo>
                  <a:pt x="965" y="1287"/>
                </a:lnTo>
                <a:lnTo>
                  <a:pt x="970" y="1292"/>
                </a:lnTo>
                <a:lnTo>
                  <a:pt x="964" y="1294"/>
                </a:lnTo>
                <a:lnTo>
                  <a:pt x="962" y="1298"/>
                </a:lnTo>
                <a:lnTo>
                  <a:pt x="962" y="1296"/>
                </a:lnTo>
                <a:lnTo>
                  <a:pt x="962" y="1298"/>
                </a:lnTo>
                <a:close/>
                <a:moveTo>
                  <a:pt x="824" y="1522"/>
                </a:moveTo>
                <a:lnTo>
                  <a:pt x="822" y="1519"/>
                </a:lnTo>
                <a:lnTo>
                  <a:pt x="822" y="1516"/>
                </a:lnTo>
                <a:lnTo>
                  <a:pt x="825" y="1519"/>
                </a:lnTo>
                <a:lnTo>
                  <a:pt x="825" y="1524"/>
                </a:lnTo>
                <a:lnTo>
                  <a:pt x="825" y="1524"/>
                </a:lnTo>
                <a:lnTo>
                  <a:pt x="824" y="1522"/>
                </a:lnTo>
                <a:lnTo>
                  <a:pt x="824" y="1522"/>
                </a:lnTo>
                <a:lnTo>
                  <a:pt x="824" y="1522"/>
                </a:lnTo>
                <a:close/>
                <a:moveTo>
                  <a:pt x="792" y="1504"/>
                </a:moveTo>
                <a:lnTo>
                  <a:pt x="792" y="1504"/>
                </a:lnTo>
                <a:lnTo>
                  <a:pt x="791" y="1504"/>
                </a:lnTo>
                <a:lnTo>
                  <a:pt x="792" y="1504"/>
                </a:lnTo>
                <a:lnTo>
                  <a:pt x="792" y="1504"/>
                </a:lnTo>
                <a:close/>
                <a:moveTo>
                  <a:pt x="787" y="258"/>
                </a:moveTo>
                <a:lnTo>
                  <a:pt x="795" y="263"/>
                </a:lnTo>
                <a:lnTo>
                  <a:pt x="801" y="268"/>
                </a:lnTo>
                <a:lnTo>
                  <a:pt x="791" y="267"/>
                </a:lnTo>
                <a:lnTo>
                  <a:pt x="787" y="258"/>
                </a:lnTo>
                <a:close/>
                <a:moveTo>
                  <a:pt x="777" y="213"/>
                </a:moveTo>
                <a:lnTo>
                  <a:pt x="778" y="211"/>
                </a:lnTo>
                <a:lnTo>
                  <a:pt x="781" y="211"/>
                </a:lnTo>
                <a:lnTo>
                  <a:pt x="778" y="211"/>
                </a:lnTo>
                <a:lnTo>
                  <a:pt x="777" y="213"/>
                </a:lnTo>
                <a:close/>
                <a:moveTo>
                  <a:pt x="784" y="211"/>
                </a:moveTo>
                <a:lnTo>
                  <a:pt x="782" y="211"/>
                </a:lnTo>
                <a:lnTo>
                  <a:pt x="781" y="211"/>
                </a:lnTo>
                <a:lnTo>
                  <a:pt x="782" y="211"/>
                </a:lnTo>
                <a:lnTo>
                  <a:pt x="784" y="211"/>
                </a:lnTo>
                <a:close/>
                <a:moveTo>
                  <a:pt x="800" y="224"/>
                </a:moveTo>
                <a:lnTo>
                  <a:pt x="801" y="222"/>
                </a:lnTo>
                <a:lnTo>
                  <a:pt x="805" y="222"/>
                </a:lnTo>
                <a:lnTo>
                  <a:pt x="806" y="219"/>
                </a:lnTo>
                <a:lnTo>
                  <a:pt x="807" y="218"/>
                </a:lnTo>
                <a:lnTo>
                  <a:pt x="815" y="219"/>
                </a:lnTo>
                <a:lnTo>
                  <a:pt x="822" y="222"/>
                </a:lnTo>
                <a:lnTo>
                  <a:pt x="810" y="224"/>
                </a:lnTo>
                <a:lnTo>
                  <a:pt x="800" y="224"/>
                </a:lnTo>
                <a:lnTo>
                  <a:pt x="802" y="223"/>
                </a:lnTo>
                <a:lnTo>
                  <a:pt x="800" y="224"/>
                </a:lnTo>
                <a:close/>
                <a:moveTo>
                  <a:pt x="871" y="807"/>
                </a:moveTo>
                <a:lnTo>
                  <a:pt x="868" y="811"/>
                </a:lnTo>
                <a:lnTo>
                  <a:pt x="864" y="814"/>
                </a:lnTo>
                <a:lnTo>
                  <a:pt x="866" y="815"/>
                </a:lnTo>
                <a:lnTo>
                  <a:pt x="868" y="815"/>
                </a:lnTo>
                <a:lnTo>
                  <a:pt x="864" y="819"/>
                </a:lnTo>
                <a:lnTo>
                  <a:pt x="859" y="821"/>
                </a:lnTo>
                <a:lnTo>
                  <a:pt x="860" y="823"/>
                </a:lnTo>
                <a:lnTo>
                  <a:pt x="866" y="825"/>
                </a:lnTo>
                <a:lnTo>
                  <a:pt x="863" y="830"/>
                </a:lnTo>
                <a:lnTo>
                  <a:pt x="860" y="835"/>
                </a:lnTo>
                <a:lnTo>
                  <a:pt x="857" y="836"/>
                </a:lnTo>
                <a:lnTo>
                  <a:pt x="853" y="839"/>
                </a:lnTo>
                <a:lnTo>
                  <a:pt x="856" y="840"/>
                </a:lnTo>
                <a:lnTo>
                  <a:pt x="859" y="839"/>
                </a:lnTo>
                <a:lnTo>
                  <a:pt x="849" y="832"/>
                </a:lnTo>
                <a:lnTo>
                  <a:pt x="844" y="816"/>
                </a:lnTo>
                <a:lnTo>
                  <a:pt x="846" y="808"/>
                </a:lnTo>
                <a:lnTo>
                  <a:pt x="844" y="803"/>
                </a:lnTo>
                <a:lnTo>
                  <a:pt x="841" y="804"/>
                </a:lnTo>
                <a:lnTo>
                  <a:pt x="838" y="806"/>
                </a:lnTo>
                <a:lnTo>
                  <a:pt x="842" y="797"/>
                </a:lnTo>
                <a:lnTo>
                  <a:pt x="853" y="796"/>
                </a:lnTo>
                <a:lnTo>
                  <a:pt x="858" y="795"/>
                </a:lnTo>
                <a:lnTo>
                  <a:pt x="863" y="795"/>
                </a:lnTo>
                <a:lnTo>
                  <a:pt x="867" y="795"/>
                </a:lnTo>
                <a:lnTo>
                  <a:pt x="871" y="796"/>
                </a:lnTo>
                <a:lnTo>
                  <a:pt x="871" y="802"/>
                </a:lnTo>
                <a:lnTo>
                  <a:pt x="871" y="807"/>
                </a:lnTo>
                <a:lnTo>
                  <a:pt x="871" y="807"/>
                </a:lnTo>
                <a:lnTo>
                  <a:pt x="871" y="807"/>
                </a:lnTo>
                <a:close/>
                <a:moveTo>
                  <a:pt x="860" y="846"/>
                </a:moveTo>
                <a:lnTo>
                  <a:pt x="865" y="841"/>
                </a:lnTo>
                <a:lnTo>
                  <a:pt x="866" y="838"/>
                </a:lnTo>
                <a:lnTo>
                  <a:pt x="865" y="841"/>
                </a:lnTo>
                <a:lnTo>
                  <a:pt x="860" y="846"/>
                </a:lnTo>
                <a:close/>
                <a:moveTo>
                  <a:pt x="848" y="790"/>
                </a:moveTo>
                <a:lnTo>
                  <a:pt x="847" y="789"/>
                </a:lnTo>
                <a:lnTo>
                  <a:pt x="844" y="787"/>
                </a:lnTo>
                <a:lnTo>
                  <a:pt x="847" y="789"/>
                </a:lnTo>
                <a:lnTo>
                  <a:pt x="848" y="790"/>
                </a:lnTo>
                <a:close/>
                <a:moveTo>
                  <a:pt x="881" y="752"/>
                </a:moveTo>
                <a:lnTo>
                  <a:pt x="873" y="750"/>
                </a:lnTo>
                <a:lnTo>
                  <a:pt x="864" y="746"/>
                </a:lnTo>
                <a:lnTo>
                  <a:pt x="856" y="745"/>
                </a:lnTo>
                <a:lnTo>
                  <a:pt x="853" y="739"/>
                </a:lnTo>
                <a:lnTo>
                  <a:pt x="872" y="739"/>
                </a:lnTo>
                <a:lnTo>
                  <a:pt x="881" y="752"/>
                </a:lnTo>
                <a:lnTo>
                  <a:pt x="881" y="752"/>
                </a:lnTo>
                <a:lnTo>
                  <a:pt x="881" y="752"/>
                </a:lnTo>
                <a:close/>
                <a:moveTo>
                  <a:pt x="855" y="551"/>
                </a:moveTo>
                <a:lnTo>
                  <a:pt x="849" y="545"/>
                </a:lnTo>
                <a:lnTo>
                  <a:pt x="844" y="538"/>
                </a:lnTo>
                <a:lnTo>
                  <a:pt x="840" y="534"/>
                </a:lnTo>
                <a:lnTo>
                  <a:pt x="834" y="537"/>
                </a:lnTo>
                <a:lnTo>
                  <a:pt x="835" y="532"/>
                </a:lnTo>
                <a:lnTo>
                  <a:pt x="838" y="528"/>
                </a:lnTo>
                <a:lnTo>
                  <a:pt x="836" y="522"/>
                </a:lnTo>
                <a:lnTo>
                  <a:pt x="836" y="518"/>
                </a:lnTo>
                <a:lnTo>
                  <a:pt x="839" y="516"/>
                </a:lnTo>
                <a:lnTo>
                  <a:pt x="841" y="518"/>
                </a:lnTo>
                <a:lnTo>
                  <a:pt x="846" y="520"/>
                </a:lnTo>
                <a:lnTo>
                  <a:pt x="849" y="520"/>
                </a:lnTo>
                <a:lnTo>
                  <a:pt x="853" y="524"/>
                </a:lnTo>
                <a:lnTo>
                  <a:pt x="858" y="523"/>
                </a:lnTo>
                <a:lnTo>
                  <a:pt x="860" y="521"/>
                </a:lnTo>
                <a:lnTo>
                  <a:pt x="863" y="520"/>
                </a:lnTo>
                <a:lnTo>
                  <a:pt x="865" y="521"/>
                </a:lnTo>
                <a:lnTo>
                  <a:pt x="867" y="522"/>
                </a:lnTo>
                <a:lnTo>
                  <a:pt x="871" y="521"/>
                </a:lnTo>
                <a:lnTo>
                  <a:pt x="873" y="518"/>
                </a:lnTo>
                <a:lnTo>
                  <a:pt x="864" y="536"/>
                </a:lnTo>
                <a:lnTo>
                  <a:pt x="855" y="551"/>
                </a:lnTo>
                <a:lnTo>
                  <a:pt x="855" y="546"/>
                </a:lnTo>
                <a:lnTo>
                  <a:pt x="855" y="551"/>
                </a:lnTo>
                <a:close/>
                <a:moveTo>
                  <a:pt x="843" y="514"/>
                </a:moveTo>
                <a:lnTo>
                  <a:pt x="843" y="514"/>
                </a:lnTo>
                <a:lnTo>
                  <a:pt x="842" y="514"/>
                </a:lnTo>
                <a:lnTo>
                  <a:pt x="843" y="514"/>
                </a:lnTo>
                <a:lnTo>
                  <a:pt x="843" y="514"/>
                </a:lnTo>
                <a:close/>
                <a:moveTo>
                  <a:pt x="825" y="402"/>
                </a:moveTo>
                <a:lnTo>
                  <a:pt x="827" y="412"/>
                </a:lnTo>
                <a:lnTo>
                  <a:pt x="835" y="415"/>
                </a:lnTo>
                <a:lnTo>
                  <a:pt x="831" y="416"/>
                </a:lnTo>
                <a:lnTo>
                  <a:pt x="825" y="416"/>
                </a:lnTo>
                <a:lnTo>
                  <a:pt x="823" y="417"/>
                </a:lnTo>
                <a:lnTo>
                  <a:pt x="820" y="417"/>
                </a:lnTo>
                <a:lnTo>
                  <a:pt x="819" y="420"/>
                </a:lnTo>
                <a:lnTo>
                  <a:pt x="819" y="421"/>
                </a:lnTo>
                <a:lnTo>
                  <a:pt x="813" y="418"/>
                </a:lnTo>
                <a:lnTo>
                  <a:pt x="808" y="414"/>
                </a:lnTo>
                <a:lnTo>
                  <a:pt x="809" y="404"/>
                </a:lnTo>
                <a:lnTo>
                  <a:pt x="817" y="397"/>
                </a:lnTo>
                <a:lnTo>
                  <a:pt x="824" y="396"/>
                </a:lnTo>
                <a:lnTo>
                  <a:pt x="825" y="402"/>
                </a:lnTo>
                <a:lnTo>
                  <a:pt x="825" y="400"/>
                </a:lnTo>
                <a:lnTo>
                  <a:pt x="825" y="402"/>
                </a:lnTo>
                <a:close/>
                <a:moveTo>
                  <a:pt x="806" y="1403"/>
                </a:moveTo>
                <a:lnTo>
                  <a:pt x="808" y="1402"/>
                </a:lnTo>
                <a:lnTo>
                  <a:pt x="809" y="1400"/>
                </a:lnTo>
                <a:lnTo>
                  <a:pt x="808" y="1402"/>
                </a:lnTo>
                <a:lnTo>
                  <a:pt x="806" y="1403"/>
                </a:lnTo>
                <a:close/>
                <a:moveTo>
                  <a:pt x="799" y="1448"/>
                </a:moveTo>
                <a:lnTo>
                  <a:pt x="802" y="1450"/>
                </a:lnTo>
                <a:lnTo>
                  <a:pt x="805" y="1452"/>
                </a:lnTo>
                <a:lnTo>
                  <a:pt x="802" y="1450"/>
                </a:lnTo>
                <a:lnTo>
                  <a:pt x="799" y="1448"/>
                </a:lnTo>
                <a:lnTo>
                  <a:pt x="800" y="1448"/>
                </a:lnTo>
                <a:lnTo>
                  <a:pt x="799" y="1448"/>
                </a:lnTo>
                <a:close/>
                <a:moveTo>
                  <a:pt x="799" y="1448"/>
                </a:moveTo>
                <a:lnTo>
                  <a:pt x="800" y="1447"/>
                </a:lnTo>
                <a:lnTo>
                  <a:pt x="801" y="1446"/>
                </a:lnTo>
                <a:lnTo>
                  <a:pt x="800" y="1447"/>
                </a:lnTo>
                <a:lnTo>
                  <a:pt x="799" y="1448"/>
                </a:lnTo>
                <a:close/>
                <a:moveTo>
                  <a:pt x="802" y="1445"/>
                </a:moveTo>
                <a:lnTo>
                  <a:pt x="802" y="1444"/>
                </a:lnTo>
                <a:lnTo>
                  <a:pt x="803" y="1444"/>
                </a:lnTo>
                <a:lnTo>
                  <a:pt x="802" y="1444"/>
                </a:lnTo>
                <a:lnTo>
                  <a:pt x="802" y="1445"/>
                </a:lnTo>
                <a:close/>
                <a:moveTo>
                  <a:pt x="807" y="1439"/>
                </a:moveTo>
                <a:lnTo>
                  <a:pt x="807" y="1441"/>
                </a:lnTo>
                <a:lnTo>
                  <a:pt x="806" y="1442"/>
                </a:lnTo>
                <a:lnTo>
                  <a:pt x="807" y="1441"/>
                </a:lnTo>
                <a:lnTo>
                  <a:pt x="807" y="1439"/>
                </a:lnTo>
                <a:close/>
                <a:moveTo>
                  <a:pt x="827" y="1172"/>
                </a:moveTo>
                <a:lnTo>
                  <a:pt x="832" y="1168"/>
                </a:lnTo>
                <a:lnTo>
                  <a:pt x="838" y="1163"/>
                </a:lnTo>
                <a:lnTo>
                  <a:pt x="836" y="1172"/>
                </a:lnTo>
                <a:lnTo>
                  <a:pt x="831" y="1180"/>
                </a:lnTo>
                <a:lnTo>
                  <a:pt x="824" y="1178"/>
                </a:lnTo>
                <a:lnTo>
                  <a:pt x="827" y="1172"/>
                </a:lnTo>
                <a:lnTo>
                  <a:pt x="827" y="1172"/>
                </a:lnTo>
                <a:lnTo>
                  <a:pt x="827" y="1172"/>
                </a:lnTo>
                <a:close/>
                <a:moveTo>
                  <a:pt x="929" y="1142"/>
                </a:moveTo>
                <a:lnTo>
                  <a:pt x="918" y="1147"/>
                </a:lnTo>
                <a:lnTo>
                  <a:pt x="909" y="1137"/>
                </a:lnTo>
                <a:lnTo>
                  <a:pt x="914" y="1132"/>
                </a:lnTo>
                <a:lnTo>
                  <a:pt x="920" y="1132"/>
                </a:lnTo>
                <a:lnTo>
                  <a:pt x="925" y="1136"/>
                </a:lnTo>
                <a:lnTo>
                  <a:pt x="929" y="1142"/>
                </a:lnTo>
                <a:lnTo>
                  <a:pt x="927" y="1140"/>
                </a:lnTo>
                <a:lnTo>
                  <a:pt x="929" y="1142"/>
                </a:lnTo>
                <a:close/>
                <a:moveTo>
                  <a:pt x="906" y="862"/>
                </a:moveTo>
                <a:lnTo>
                  <a:pt x="905" y="862"/>
                </a:lnTo>
                <a:lnTo>
                  <a:pt x="905" y="862"/>
                </a:lnTo>
                <a:lnTo>
                  <a:pt x="905" y="862"/>
                </a:lnTo>
                <a:lnTo>
                  <a:pt x="906" y="862"/>
                </a:lnTo>
                <a:close/>
                <a:moveTo>
                  <a:pt x="900" y="886"/>
                </a:moveTo>
                <a:lnTo>
                  <a:pt x="901" y="893"/>
                </a:lnTo>
                <a:lnTo>
                  <a:pt x="901" y="899"/>
                </a:lnTo>
                <a:lnTo>
                  <a:pt x="900" y="903"/>
                </a:lnTo>
                <a:lnTo>
                  <a:pt x="900" y="907"/>
                </a:lnTo>
                <a:lnTo>
                  <a:pt x="893" y="908"/>
                </a:lnTo>
                <a:lnTo>
                  <a:pt x="886" y="904"/>
                </a:lnTo>
                <a:lnTo>
                  <a:pt x="884" y="897"/>
                </a:lnTo>
                <a:lnTo>
                  <a:pt x="891" y="894"/>
                </a:lnTo>
                <a:lnTo>
                  <a:pt x="898" y="891"/>
                </a:lnTo>
                <a:lnTo>
                  <a:pt x="900" y="886"/>
                </a:lnTo>
                <a:lnTo>
                  <a:pt x="901" y="893"/>
                </a:lnTo>
                <a:lnTo>
                  <a:pt x="900" y="886"/>
                </a:lnTo>
                <a:close/>
                <a:moveTo>
                  <a:pt x="897" y="875"/>
                </a:moveTo>
                <a:lnTo>
                  <a:pt x="898" y="870"/>
                </a:lnTo>
                <a:lnTo>
                  <a:pt x="902" y="866"/>
                </a:lnTo>
                <a:lnTo>
                  <a:pt x="899" y="861"/>
                </a:lnTo>
                <a:lnTo>
                  <a:pt x="902" y="856"/>
                </a:lnTo>
                <a:lnTo>
                  <a:pt x="899" y="858"/>
                </a:lnTo>
                <a:lnTo>
                  <a:pt x="899" y="862"/>
                </a:lnTo>
                <a:lnTo>
                  <a:pt x="904" y="865"/>
                </a:lnTo>
                <a:lnTo>
                  <a:pt x="909" y="864"/>
                </a:lnTo>
                <a:lnTo>
                  <a:pt x="910" y="870"/>
                </a:lnTo>
                <a:lnTo>
                  <a:pt x="908" y="875"/>
                </a:lnTo>
                <a:lnTo>
                  <a:pt x="902" y="879"/>
                </a:lnTo>
                <a:lnTo>
                  <a:pt x="897" y="875"/>
                </a:lnTo>
                <a:lnTo>
                  <a:pt x="897" y="874"/>
                </a:lnTo>
                <a:lnTo>
                  <a:pt x="897" y="875"/>
                </a:lnTo>
                <a:close/>
                <a:moveTo>
                  <a:pt x="955" y="1285"/>
                </a:moveTo>
                <a:lnTo>
                  <a:pt x="953" y="1283"/>
                </a:lnTo>
                <a:lnTo>
                  <a:pt x="950" y="1279"/>
                </a:lnTo>
                <a:lnTo>
                  <a:pt x="953" y="1283"/>
                </a:lnTo>
                <a:lnTo>
                  <a:pt x="955" y="1285"/>
                </a:lnTo>
                <a:close/>
                <a:moveTo>
                  <a:pt x="951" y="595"/>
                </a:moveTo>
                <a:lnTo>
                  <a:pt x="951" y="595"/>
                </a:lnTo>
                <a:lnTo>
                  <a:pt x="951" y="595"/>
                </a:lnTo>
                <a:lnTo>
                  <a:pt x="951" y="595"/>
                </a:lnTo>
                <a:lnTo>
                  <a:pt x="951" y="595"/>
                </a:lnTo>
                <a:close/>
                <a:moveTo>
                  <a:pt x="953" y="595"/>
                </a:moveTo>
                <a:lnTo>
                  <a:pt x="954" y="595"/>
                </a:lnTo>
                <a:lnTo>
                  <a:pt x="954" y="596"/>
                </a:lnTo>
                <a:lnTo>
                  <a:pt x="954" y="595"/>
                </a:lnTo>
                <a:lnTo>
                  <a:pt x="953" y="595"/>
                </a:lnTo>
                <a:close/>
                <a:moveTo>
                  <a:pt x="955" y="598"/>
                </a:moveTo>
                <a:lnTo>
                  <a:pt x="965" y="588"/>
                </a:lnTo>
                <a:lnTo>
                  <a:pt x="979" y="583"/>
                </a:lnTo>
                <a:lnTo>
                  <a:pt x="972" y="591"/>
                </a:lnTo>
                <a:lnTo>
                  <a:pt x="963" y="600"/>
                </a:lnTo>
                <a:lnTo>
                  <a:pt x="962" y="603"/>
                </a:lnTo>
                <a:lnTo>
                  <a:pt x="958" y="603"/>
                </a:lnTo>
                <a:lnTo>
                  <a:pt x="956" y="600"/>
                </a:lnTo>
                <a:lnTo>
                  <a:pt x="955" y="598"/>
                </a:lnTo>
                <a:lnTo>
                  <a:pt x="956" y="595"/>
                </a:lnTo>
                <a:lnTo>
                  <a:pt x="955" y="598"/>
                </a:lnTo>
                <a:close/>
                <a:moveTo>
                  <a:pt x="1033" y="1032"/>
                </a:moveTo>
                <a:lnTo>
                  <a:pt x="1033" y="1044"/>
                </a:lnTo>
                <a:lnTo>
                  <a:pt x="1033" y="1054"/>
                </a:lnTo>
                <a:lnTo>
                  <a:pt x="1033" y="1059"/>
                </a:lnTo>
                <a:lnTo>
                  <a:pt x="1031" y="1062"/>
                </a:lnTo>
                <a:lnTo>
                  <a:pt x="1028" y="1064"/>
                </a:lnTo>
                <a:lnTo>
                  <a:pt x="1025" y="1061"/>
                </a:lnTo>
                <a:lnTo>
                  <a:pt x="1025" y="1056"/>
                </a:lnTo>
                <a:lnTo>
                  <a:pt x="1026" y="1051"/>
                </a:lnTo>
                <a:lnTo>
                  <a:pt x="1026" y="1051"/>
                </a:lnTo>
                <a:lnTo>
                  <a:pt x="1026" y="1048"/>
                </a:lnTo>
                <a:lnTo>
                  <a:pt x="1024" y="1048"/>
                </a:lnTo>
                <a:lnTo>
                  <a:pt x="1021" y="1048"/>
                </a:lnTo>
                <a:lnTo>
                  <a:pt x="1022" y="1043"/>
                </a:lnTo>
                <a:lnTo>
                  <a:pt x="1022" y="1037"/>
                </a:lnTo>
                <a:lnTo>
                  <a:pt x="1020" y="1035"/>
                </a:lnTo>
                <a:lnTo>
                  <a:pt x="1016" y="1032"/>
                </a:lnTo>
                <a:lnTo>
                  <a:pt x="1014" y="1030"/>
                </a:lnTo>
                <a:lnTo>
                  <a:pt x="1014" y="1027"/>
                </a:lnTo>
                <a:lnTo>
                  <a:pt x="1013" y="1020"/>
                </a:lnTo>
                <a:lnTo>
                  <a:pt x="1013" y="1012"/>
                </a:lnTo>
                <a:lnTo>
                  <a:pt x="1015" y="1005"/>
                </a:lnTo>
                <a:lnTo>
                  <a:pt x="1017" y="998"/>
                </a:lnTo>
                <a:lnTo>
                  <a:pt x="1014" y="994"/>
                </a:lnTo>
                <a:lnTo>
                  <a:pt x="1007" y="990"/>
                </a:lnTo>
                <a:lnTo>
                  <a:pt x="1003" y="986"/>
                </a:lnTo>
                <a:lnTo>
                  <a:pt x="999" y="979"/>
                </a:lnTo>
                <a:lnTo>
                  <a:pt x="996" y="971"/>
                </a:lnTo>
                <a:lnTo>
                  <a:pt x="995" y="963"/>
                </a:lnTo>
                <a:lnTo>
                  <a:pt x="996" y="954"/>
                </a:lnTo>
                <a:lnTo>
                  <a:pt x="995" y="945"/>
                </a:lnTo>
                <a:lnTo>
                  <a:pt x="992" y="937"/>
                </a:lnTo>
                <a:lnTo>
                  <a:pt x="991" y="928"/>
                </a:lnTo>
                <a:lnTo>
                  <a:pt x="991" y="923"/>
                </a:lnTo>
                <a:lnTo>
                  <a:pt x="991" y="920"/>
                </a:lnTo>
                <a:lnTo>
                  <a:pt x="993" y="918"/>
                </a:lnTo>
                <a:lnTo>
                  <a:pt x="996" y="916"/>
                </a:lnTo>
                <a:lnTo>
                  <a:pt x="1005" y="905"/>
                </a:lnTo>
                <a:lnTo>
                  <a:pt x="1009" y="893"/>
                </a:lnTo>
                <a:lnTo>
                  <a:pt x="1004" y="895"/>
                </a:lnTo>
                <a:lnTo>
                  <a:pt x="1001" y="900"/>
                </a:lnTo>
                <a:lnTo>
                  <a:pt x="998" y="906"/>
                </a:lnTo>
                <a:lnTo>
                  <a:pt x="992" y="907"/>
                </a:lnTo>
                <a:lnTo>
                  <a:pt x="992" y="903"/>
                </a:lnTo>
                <a:lnTo>
                  <a:pt x="991" y="896"/>
                </a:lnTo>
                <a:lnTo>
                  <a:pt x="990" y="893"/>
                </a:lnTo>
                <a:lnTo>
                  <a:pt x="991" y="889"/>
                </a:lnTo>
                <a:lnTo>
                  <a:pt x="992" y="887"/>
                </a:lnTo>
                <a:lnTo>
                  <a:pt x="995" y="886"/>
                </a:lnTo>
                <a:lnTo>
                  <a:pt x="993" y="882"/>
                </a:lnTo>
                <a:lnTo>
                  <a:pt x="993" y="879"/>
                </a:lnTo>
                <a:lnTo>
                  <a:pt x="993" y="882"/>
                </a:lnTo>
                <a:lnTo>
                  <a:pt x="995" y="886"/>
                </a:lnTo>
                <a:lnTo>
                  <a:pt x="997" y="885"/>
                </a:lnTo>
                <a:lnTo>
                  <a:pt x="998" y="881"/>
                </a:lnTo>
                <a:lnTo>
                  <a:pt x="997" y="880"/>
                </a:lnTo>
                <a:lnTo>
                  <a:pt x="995" y="879"/>
                </a:lnTo>
                <a:lnTo>
                  <a:pt x="996" y="875"/>
                </a:lnTo>
                <a:lnTo>
                  <a:pt x="999" y="873"/>
                </a:lnTo>
                <a:lnTo>
                  <a:pt x="1003" y="875"/>
                </a:lnTo>
                <a:lnTo>
                  <a:pt x="1005" y="880"/>
                </a:lnTo>
                <a:lnTo>
                  <a:pt x="1011" y="880"/>
                </a:lnTo>
                <a:lnTo>
                  <a:pt x="1016" y="877"/>
                </a:lnTo>
                <a:lnTo>
                  <a:pt x="1017" y="871"/>
                </a:lnTo>
                <a:lnTo>
                  <a:pt x="1016" y="864"/>
                </a:lnTo>
                <a:lnTo>
                  <a:pt x="1016" y="848"/>
                </a:lnTo>
                <a:lnTo>
                  <a:pt x="1014" y="833"/>
                </a:lnTo>
                <a:lnTo>
                  <a:pt x="1012" y="829"/>
                </a:lnTo>
                <a:lnTo>
                  <a:pt x="1011" y="823"/>
                </a:lnTo>
                <a:lnTo>
                  <a:pt x="1009" y="817"/>
                </a:lnTo>
                <a:lnTo>
                  <a:pt x="1008" y="813"/>
                </a:lnTo>
                <a:lnTo>
                  <a:pt x="1013" y="814"/>
                </a:lnTo>
                <a:lnTo>
                  <a:pt x="1013" y="810"/>
                </a:lnTo>
                <a:lnTo>
                  <a:pt x="1011" y="808"/>
                </a:lnTo>
                <a:lnTo>
                  <a:pt x="1009" y="807"/>
                </a:lnTo>
                <a:lnTo>
                  <a:pt x="1011" y="803"/>
                </a:lnTo>
                <a:lnTo>
                  <a:pt x="1009" y="799"/>
                </a:lnTo>
                <a:lnTo>
                  <a:pt x="1012" y="799"/>
                </a:lnTo>
                <a:lnTo>
                  <a:pt x="1014" y="799"/>
                </a:lnTo>
                <a:lnTo>
                  <a:pt x="1015" y="804"/>
                </a:lnTo>
                <a:lnTo>
                  <a:pt x="1016" y="807"/>
                </a:lnTo>
                <a:lnTo>
                  <a:pt x="1017" y="816"/>
                </a:lnTo>
                <a:lnTo>
                  <a:pt x="1020" y="824"/>
                </a:lnTo>
                <a:lnTo>
                  <a:pt x="1021" y="840"/>
                </a:lnTo>
                <a:lnTo>
                  <a:pt x="1023" y="857"/>
                </a:lnTo>
                <a:lnTo>
                  <a:pt x="1025" y="891"/>
                </a:lnTo>
                <a:lnTo>
                  <a:pt x="1026" y="925"/>
                </a:lnTo>
                <a:lnTo>
                  <a:pt x="1026" y="958"/>
                </a:lnTo>
                <a:lnTo>
                  <a:pt x="1026" y="991"/>
                </a:lnTo>
                <a:lnTo>
                  <a:pt x="1026" y="1001"/>
                </a:lnTo>
                <a:lnTo>
                  <a:pt x="1028" y="1010"/>
                </a:lnTo>
                <a:lnTo>
                  <a:pt x="1029" y="1014"/>
                </a:lnTo>
                <a:lnTo>
                  <a:pt x="1033" y="1018"/>
                </a:lnTo>
                <a:lnTo>
                  <a:pt x="1036" y="1024"/>
                </a:lnTo>
                <a:lnTo>
                  <a:pt x="1033" y="1032"/>
                </a:lnTo>
                <a:lnTo>
                  <a:pt x="1033" y="1034"/>
                </a:lnTo>
                <a:lnTo>
                  <a:pt x="1033" y="1032"/>
                </a:lnTo>
                <a:close/>
                <a:moveTo>
                  <a:pt x="1004" y="869"/>
                </a:moveTo>
                <a:lnTo>
                  <a:pt x="1004" y="870"/>
                </a:lnTo>
                <a:lnTo>
                  <a:pt x="1004" y="869"/>
                </a:lnTo>
                <a:close/>
                <a:moveTo>
                  <a:pt x="1007" y="869"/>
                </a:moveTo>
                <a:lnTo>
                  <a:pt x="1009" y="868"/>
                </a:lnTo>
                <a:lnTo>
                  <a:pt x="1011" y="866"/>
                </a:lnTo>
                <a:lnTo>
                  <a:pt x="1008" y="869"/>
                </a:lnTo>
                <a:lnTo>
                  <a:pt x="1006" y="870"/>
                </a:lnTo>
                <a:lnTo>
                  <a:pt x="1007" y="870"/>
                </a:lnTo>
                <a:lnTo>
                  <a:pt x="1007" y="869"/>
                </a:lnTo>
                <a:lnTo>
                  <a:pt x="1008" y="869"/>
                </a:lnTo>
                <a:lnTo>
                  <a:pt x="1007" y="869"/>
                </a:lnTo>
                <a:close/>
                <a:moveTo>
                  <a:pt x="1007" y="811"/>
                </a:moveTo>
                <a:lnTo>
                  <a:pt x="1007" y="812"/>
                </a:lnTo>
                <a:lnTo>
                  <a:pt x="1008" y="812"/>
                </a:lnTo>
                <a:lnTo>
                  <a:pt x="1007" y="812"/>
                </a:lnTo>
                <a:lnTo>
                  <a:pt x="1007" y="811"/>
                </a:lnTo>
                <a:close/>
                <a:moveTo>
                  <a:pt x="1007" y="794"/>
                </a:moveTo>
                <a:lnTo>
                  <a:pt x="1007" y="796"/>
                </a:lnTo>
                <a:lnTo>
                  <a:pt x="1008" y="797"/>
                </a:lnTo>
                <a:lnTo>
                  <a:pt x="1007" y="796"/>
                </a:lnTo>
                <a:lnTo>
                  <a:pt x="1007" y="794"/>
                </a:lnTo>
                <a:close/>
                <a:moveTo>
                  <a:pt x="971" y="790"/>
                </a:moveTo>
                <a:lnTo>
                  <a:pt x="982" y="787"/>
                </a:lnTo>
                <a:lnTo>
                  <a:pt x="991" y="790"/>
                </a:lnTo>
                <a:lnTo>
                  <a:pt x="984" y="794"/>
                </a:lnTo>
                <a:lnTo>
                  <a:pt x="976" y="794"/>
                </a:lnTo>
                <a:lnTo>
                  <a:pt x="971" y="796"/>
                </a:lnTo>
                <a:lnTo>
                  <a:pt x="968" y="802"/>
                </a:lnTo>
                <a:lnTo>
                  <a:pt x="970" y="797"/>
                </a:lnTo>
                <a:lnTo>
                  <a:pt x="973" y="794"/>
                </a:lnTo>
                <a:lnTo>
                  <a:pt x="972" y="792"/>
                </a:lnTo>
                <a:lnTo>
                  <a:pt x="971" y="790"/>
                </a:lnTo>
                <a:lnTo>
                  <a:pt x="973" y="789"/>
                </a:lnTo>
                <a:lnTo>
                  <a:pt x="971" y="790"/>
                </a:lnTo>
                <a:close/>
                <a:moveTo>
                  <a:pt x="971" y="857"/>
                </a:moveTo>
                <a:lnTo>
                  <a:pt x="974" y="852"/>
                </a:lnTo>
                <a:lnTo>
                  <a:pt x="978" y="847"/>
                </a:lnTo>
                <a:lnTo>
                  <a:pt x="982" y="842"/>
                </a:lnTo>
                <a:lnTo>
                  <a:pt x="988" y="841"/>
                </a:lnTo>
                <a:lnTo>
                  <a:pt x="991" y="844"/>
                </a:lnTo>
                <a:lnTo>
                  <a:pt x="989" y="847"/>
                </a:lnTo>
                <a:lnTo>
                  <a:pt x="984" y="849"/>
                </a:lnTo>
                <a:lnTo>
                  <a:pt x="982" y="854"/>
                </a:lnTo>
                <a:lnTo>
                  <a:pt x="991" y="855"/>
                </a:lnTo>
                <a:lnTo>
                  <a:pt x="1000" y="856"/>
                </a:lnTo>
                <a:lnTo>
                  <a:pt x="991" y="866"/>
                </a:lnTo>
                <a:lnTo>
                  <a:pt x="992" y="879"/>
                </a:lnTo>
                <a:lnTo>
                  <a:pt x="988" y="880"/>
                </a:lnTo>
                <a:lnTo>
                  <a:pt x="983" y="878"/>
                </a:lnTo>
                <a:lnTo>
                  <a:pt x="983" y="872"/>
                </a:lnTo>
                <a:lnTo>
                  <a:pt x="983" y="866"/>
                </a:lnTo>
                <a:lnTo>
                  <a:pt x="974" y="862"/>
                </a:lnTo>
                <a:lnTo>
                  <a:pt x="971" y="857"/>
                </a:lnTo>
                <a:lnTo>
                  <a:pt x="972" y="856"/>
                </a:lnTo>
                <a:lnTo>
                  <a:pt x="971" y="857"/>
                </a:lnTo>
                <a:close/>
                <a:moveTo>
                  <a:pt x="997" y="1207"/>
                </a:moveTo>
                <a:lnTo>
                  <a:pt x="998" y="1203"/>
                </a:lnTo>
                <a:lnTo>
                  <a:pt x="998" y="1197"/>
                </a:lnTo>
                <a:lnTo>
                  <a:pt x="1005" y="1196"/>
                </a:lnTo>
                <a:lnTo>
                  <a:pt x="1012" y="1197"/>
                </a:lnTo>
                <a:lnTo>
                  <a:pt x="1014" y="1203"/>
                </a:lnTo>
                <a:lnTo>
                  <a:pt x="1009" y="1207"/>
                </a:lnTo>
                <a:lnTo>
                  <a:pt x="1006" y="1209"/>
                </a:lnTo>
                <a:lnTo>
                  <a:pt x="1003" y="1210"/>
                </a:lnTo>
                <a:lnTo>
                  <a:pt x="998" y="1210"/>
                </a:lnTo>
                <a:lnTo>
                  <a:pt x="997" y="1207"/>
                </a:lnTo>
                <a:lnTo>
                  <a:pt x="998" y="1207"/>
                </a:lnTo>
                <a:lnTo>
                  <a:pt x="997" y="1207"/>
                </a:lnTo>
                <a:close/>
                <a:moveTo>
                  <a:pt x="1039" y="1174"/>
                </a:moveTo>
                <a:lnTo>
                  <a:pt x="1040" y="1176"/>
                </a:lnTo>
                <a:lnTo>
                  <a:pt x="1041" y="1176"/>
                </a:lnTo>
                <a:lnTo>
                  <a:pt x="1040" y="1176"/>
                </a:lnTo>
                <a:lnTo>
                  <a:pt x="1039" y="1174"/>
                </a:lnTo>
                <a:close/>
                <a:moveTo>
                  <a:pt x="1071" y="541"/>
                </a:moveTo>
                <a:lnTo>
                  <a:pt x="1077" y="545"/>
                </a:lnTo>
                <a:lnTo>
                  <a:pt x="1079" y="551"/>
                </a:lnTo>
                <a:lnTo>
                  <a:pt x="1074" y="551"/>
                </a:lnTo>
                <a:lnTo>
                  <a:pt x="1070" y="548"/>
                </a:lnTo>
                <a:lnTo>
                  <a:pt x="1069" y="545"/>
                </a:lnTo>
                <a:lnTo>
                  <a:pt x="1071" y="541"/>
                </a:lnTo>
                <a:lnTo>
                  <a:pt x="1072" y="541"/>
                </a:lnTo>
                <a:lnTo>
                  <a:pt x="1071" y="541"/>
                </a:lnTo>
                <a:close/>
                <a:moveTo>
                  <a:pt x="1062" y="581"/>
                </a:moveTo>
                <a:lnTo>
                  <a:pt x="1063" y="581"/>
                </a:lnTo>
                <a:lnTo>
                  <a:pt x="1065" y="581"/>
                </a:lnTo>
                <a:lnTo>
                  <a:pt x="1063" y="581"/>
                </a:lnTo>
                <a:lnTo>
                  <a:pt x="1062" y="581"/>
                </a:lnTo>
                <a:close/>
                <a:moveTo>
                  <a:pt x="1081" y="1077"/>
                </a:moveTo>
                <a:lnTo>
                  <a:pt x="1083" y="1079"/>
                </a:lnTo>
                <a:lnTo>
                  <a:pt x="1086" y="1080"/>
                </a:lnTo>
                <a:lnTo>
                  <a:pt x="1082" y="1078"/>
                </a:lnTo>
                <a:lnTo>
                  <a:pt x="1080" y="1073"/>
                </a:lnTo>
                <a:lnTo>
                  <a:pt x="1081" y="1074"/>
                </a:lnTo>
                <a:lnTo>
                  <a:pt x="1081" y="1077"/>
                </a:lnTo>
                <a:lnTo>
                  <a:pt x="1081" y="1077"/>
                </a:lnTo>
                <a:lnTo>
                  <a:pt x="1081" y="1077"/>
                </a:lnTo>
                <a:close/>
                <a:moveTo>
                  <a:pt x="1086" y="1080"/>
                </a:moveTo>
                <a:lnTo>
                  <a:pt x="1087" y="1081"/>
                </a:lnTo>
                <a:lnTo>
                  <a:pt x="1086" y="1080"/>
                </a:lnTo>
                <a:lnTo>
                  <a:pt x="1087" y="1081"/>
                </a:lnTo>
                <a:lnTo>
                  <a:pt x="1086" y="1080"/>
                </a:lnTo>
                <a:close/>
                <a:moveTo>
                  <a:pt x="1098" y="862"/>
                </a:moveTo>
                <a:lnTo>
                  <a:pt x="1097" y="863"/>
                </a:lnTo>
                <a:lnTo>
                  <a:pt x="1096" y="864"/>
                </a:lnTo>
                <a:lnTo>
                  <a:pt x="1097" y="863"/>
                </a:lnTo>
                <a:lnTo>
                  <a:pt x="1098" y="862"/>
                </a:lnTo>
                <a:close/>
                <a:moveTo>
                  <a:pt x="1108" y="862"/>
                </a:moveTo>
                <a:lnTo>
                  <a:pt x="1108" y="862"/>
                </a:lnTo>
                <a:lnTo>
                  <a:pt x="1108" y="862"/>
                </a:lnTo>
                <a:lnTo>
                  <a:pt x="1108" y="862"/>
                </a:lnTo>
                <a:lnTo>
                  <a:pt x="1108" y="862"/>
                </a:lnTo>
                <a:close/>
                <a:moveTo>
                  <a:pt x="1049" y="879"/>
                </a:moveTo>
                <a:lnTo>
                  <a:pt x="1049" y="879"/>
                </a:lnTo>
                <a:lnTo>
                  <a:pt x="1048" y="879"/>
                </a:lnTo>
                <a:lnTo>
                  <a:pt x="1049" y="879"/>
                </a:lnTo>
                <a:lnTo>
                  <a:pt x="1049" y="879"/>
                </a:lnTo>
                <a:close/>
                <a:moveTo>
                  <a:pt x="1130" y="443"/>
                </a:moveTo>
                <a:lnTo>
                  <a:pt x="1129" y="442"/>
                </a:lnTo>
                <a:lnTo>
                  <a:pt x="1129" y="442"/>
                </a:lnTo>
                <a:lnTo>
                  <a:pt x="1129" y="442"/>
                </a:lnTo>
                <a:lnTo>
                  <a:pt x="1130" y="443"/>
                </a:lnTo>
                <a:close/>
                <a:moveTo>
                  <a:pt x="1075" y="520"/>
                </a:moveTo>
                <a:lnTo>
                  <a:pt x="1087" y="506"/>
                </a:lnTo>
                <a:lnTo>
                  <a:pt x="1099" y="492"/>
                </a:lnTo>
                <a:lnTo>
                  <a:pt x="1111" y="479"/>
                </a:lnTo>
                <a:lnTo>
                  <a:pt x="1121" y="465"/>
                </a:lnTo>
                <a:lnTo>
                  <a:pt x="1126" y="460"/>
                </a:lnTo>
                <a:lnTo>
                  <a:pt x="1132" y="457"/>
                </a:lnTo>
                <a:lnTo>
                  <a:pt x="1139" y="456"/>
                </a:lnTo>
                <a:lnTo>
                  <a:pt x="1145" y="455"/>
                </a:lnTo>
                <a:lnTo>
                  <a:pt x="1147" y="451"/>
                </a:lnTo>
                <a:lnTo>
                  <a:pt x="1148" y="447"/>
                </a:lnTo>
                <a:lnTo>
                  <a:pt x="1153" y="443"/>
                </a:lnTo>
                <a:lnTo>
                  <a:pt x="1157" y="443"/>
                </a:lnTo>
                <a:lnTo>
                  <a:pt x="1171" y="440"/>
                </a:lnTo>
                <a:lnTo>
                  <a:pt x="1184" y="441"/>
                </a:lnTo>
                <a:lnTo>
                  <a:pt x="1186" y="446"/>
                </a:lnTo>
                <a:lnTo>
                  <a:pt x="1181" y="450"/>
                </a:lnTo>
                <a:lnTo>
                  <a:pt x="1179" y="455"/>
                </a:lnTo>
                <a:lnTo>
                  <a:pt x="1180" y="460"/>
                </a:lnTo>
                <a:lnTo>
                  <a:pt x="1182" y="466"/>
                </a:lnTo>
                <a:lnTo>
                  <a:pt x="1178" y="467"/>
                </a:lnTo>
                <a:lnTo>
                  <a:pt x="1174" y="463"/>
                </a:lnTo>
                <a:lnTo>
                  <a:pt x="1173" y="457"/>
                </a:lnTo>
                <a:lnTo>
                  <a:pt x="1172" y="453"/>
                </a:lnTo>
                <a:lnTo>
                  <a:pt x="1169" y="450"/>
                </a:lnTo>
                <a:lnTo>
                  <a:pt x="1165" y="450"/>
                </a:lnTo>
                <a:lnTo>
                  <a:pt x="1162" y="451"/>
                </a:lnTo>
                <a:lnTo>
                  <a:pt x="1156" y="451"/>
                </a:lnTo>
                <a:lnTo>
                  <a:pt x="1151" y="450"/>
                </a:lnTo>
                <a:lnTo>
                  <a:pt x="1153" y="454"/>
                </a:lnTo>
                <a:lnTo>
                  <a:pt x="1156" y="455"/>
                </a:lnTo>
                <a:lnTo>
                  <a:pt x="1159" y="459"/>
                </a:lnTo>
                <a:lnTo>
                  <a:pt x="1160" y="466"/>
                </a:lnTo>
                <a:lnTo>
                  <a:pt x="1155" y="465"/>
                </a:lnTo>
                <a:lnTo>
                  <a:pt x="1151" y="464"/>
                </a:lnTo>
                <a:lnTo>
                  <a:pt x="1151" y="473"/>
                </a:lnTo>
                <a:lnTo>
                  <a:pt x="1149" y="482"/>
                </a:lnTo>
                <a:lnTo>
                  <a:pt x="1143" y="478"/>
                </a:lnTo>
                <a:lnTo>
                  <a:pt x="1138" y="470"/>
                </a:lnTo>
                <a:lnTo>
                  <a:pt x="1137" y="480"/>
                </a:lnTo>
                <a:lnTo>
                  <a:pt x="1138" y="490"/>
                </a:lnTo>
                <a:lnTo>
                  <a:pt x="1135" y="493"/>
                </a:lnTo>
                <a:lnTo>
                  <a:pt x="1131" y="493"/>
                </a:lnTo>
                <a:lnTo>
                  <a:pt x="1128" y="491"/>
                </a:lnTo>
                <a:lnTo>
                  <a:pt x="1127" y="487"/>
                </a:lnTo>
                <a:lnTo>
                  <a:pt x="1128" y="499"/>
                </a:lnTo>
                <a:lnTo>
                  <a:pt x="1124" y="509"/>
                </a:lnTo>
                <a:lnTo>
                  <a:pt x="1121" y="510"/>
                </a:lnTo>
                <a:lnTo>
                  <a:pt x="1122" y="515"/>
                </a:lnTo>
                <a:lnTo>
                  <a:pt x="1122" y="522"/>
                </a:lnTo>
                <a:lnTo>
                  <a:pt x="1121" y="529"/>
                </a:lnTo>
                <a:lnTo>
                  <a:pt x="1120" y="515"/>
                </a:lnTo>
                <a:lnTo>
                  <a:pt x="1116" y="503"/>
                </a:lnTo>
                <a:lnTo>
                  <a:pt x="1115" y="507"/>
                </a:lnTo>
                <a:lnTo>
                  <a:pt x="1114" y="512"/>
                </a:lnTo>
                <a:lnTo>
                  <a:pt x="1112" y="510"/>
                </a:lnTo>
                <a:lnTo>
                  <a:pt x="1110" y="509"/>
                </a:lnTo>
                <a:lnTo>
                  <a:pt x="1107" y="521"/>
                </a:lnTo>
                <a:lnTo>
                  <a:pt x="1102" y="524"/>
                </a:lnTo>
                <a:lnTo>
                  <a:pt x="1104" y="520"/>
                </a:lnTo>
                <a:lnTo>
                  <a:pt x="1102" y="514"/>
                </a:lnTo>
                <a:lnTo>
                  <a:pt x="1097" y="515"/>
                </a:lnTo>
                <a:lnTo>
                  <a:pt x="1096" y="520"/>
                </a:lnTo>
                <a:lnTo>
                  <a:pt x="1096" y="525"/>
                </a:lnTo>
                <a:lnTo>
                  <a:pt x="1094" y="531"/>
                </a:lnTo>
                <a:lnTo>
                  <a:pt x="1089" y="533"/>
                </a:lnTo>
                <a:lnTo>
                  <a:pt x="1083" y="536"/>
                </a:lnTo>
                <a:lnTo>
                  <a:pt x="1080" y="538"/>
                </a:lnTo>
                <a:lnTo>
                  <a:pt x="1075" y="539"/>
                </a:lnTo>
                <a:lnTo>
                  <a:pt x="1073" y="536"/>
                </a:lnTo>
                <a:lnTo>
                  <a:pt x="1070" y="534"/>
                </a:lnTo>
                <a:lnTo>
                  <a:pt x="1067" y="536"/>
                </a:lnTo>
                <a:lnTo>
                  <a:pt x="1063" y="536"/>
                </a:lnTo>
                <a:lnTo>
                  <a:pt x="1069" y="528"/>
                </a:lnTo>
                <a:lnTo>
                  <a:pt x="1075" y="520"/>
                </a:lnTo>
                <a:lnTo>
                  <a:pt x="1078" y="517"/>
                </a:lnTo>
                <a:lnTo>
                  <a:pt x="1075" y="520"/>
                </a:lnTo>
                <a:close/>
                <a:moveTo>
                  <a:pt x="1003" y="302"/>
                </a:moveTo>
                <a:lnTo>
                  <a:pt x="1004" y="300"/>
                </a:lnTo>
                <a:lnTo>
                  <a:pt x="1004" y="299"/>
                </a:lnTo>
                <a:lnTo>
                  <a:pt x="1004" y="300"/>
                </a:lnTo>
                <a:lnTo>
                  <a:pt x="1003" y="302"/>
                </a:lnTo>
                <a:close/>
                <a:moveTo>
                  <a:pt x="984" y="23"/>
                </a:moveTo>
                <a:lnTo>
                  <a:pt x="984" y="23"/>
                </a:lnTo>
                <a:lnTo>
                  <a:pt x="986" y="24"/>
                </a:lnTo>
                <a:lnTo>
                  <a:pt x="984" y="24"/>
                </a:lnTo>
                <a:lnTo>
                  <a:pt x="983" y="23"/>
                </a:lnTo>
                <a:lnTo>
                  <a:pt x="983" y="23"/>
                </a:lnTo>
                <a:lnTo>
                  <a:pt x="984" y="23"/>
                </a:lnTo>
                <a:lnTo>
                  <a:pt x="984" y="23"/>
                </a:lnTo>
                <a:lnTo>
                  <a:pt x="984" y="23"/>
                </a:lnTo>
                <a:close/>
                <a:moveTo>
                  <a:pt x="974" y="467"/>
                </a:moveTo>
                <a:lnTo>
                  <a:pt x="974" y="459"/>
                </a:lnTo>
                <a:lnTo>
                  <a:pt x="973" y="451"/>
                </a:lnTo>
                <a:lnTo>
                  <a:pt x="973" y="441"/>
                </a:lnTo>
                <a:lnTo>
                  <a:pt x="974" y="431"/>
                </a:lnTo>
                <a:lnTo>
                  <a:pt x="975" y="412"/>
                </a:lnTo>
                <a:lnTo>
                  <a:pt x="976" y="391"/>
                </a:lnTo>
                <a:lnTo>
                  <a:pt x="978" y="372"/>
                </a:lnTo>
                <a:lnTo>
                  <a:pt x="983" y="356"/>
                </a:lnTo>
                <a:lnTo>
                  <a:pt x="990" y="360"/>
                </a:lnTo>
                <a:lnTo>
                  <a:pt x="992" y="368"/>
                </a:lnTo>
                <a:lnTo>
                  <a:pt x="1001" y="359"/>
                </a:lnTo>
                <a:lnTo>
                  <a:pt x="1011" y="349"/>
                </a:lnTo>
                <a:lnTo>
                  <a:pt x="1021" y="341"/>
                </a:lnTo>
                <a:lnTo>
                  <a:pt x="1030" y="334"/>
                </a:lnTo>
                <a:lnTo>
                  <a:pt x="1029" y="338"/>
                </a:lnTo>
                <a:lnTo>
                  <a:pt x="1028" y="341"/>
                </a:lnTo>
                <a:lnTo>
                  <a:pt x="1025" y="343"/>
                </a:lnTo>
                <a:lnTo>
                  <a:pt x="1024" y="347"/>
                </a:lnTo>
                <a:lnTo>
                  <a:pt x="1031" y="347"/>
                </a:lnTo>
                <a:lnTo>
                  <a:pt x="1034" y="349"/>
                </a:lnTo>
                <a:lnTo>
                  <a:pt x="1033" y="350"/>
                </a:lnTo>
                <a:lnTo>
                  <a:pt x="1030" y="351"/>
                </a:lnTo>
                <a:lnTo>
                  <a:pt x="1029" y="354"/>
                </a:lnTo>
                <a:lnTo>
                  <a:pt x="1029" y="357"/>
                </a:lnTo>
                <a:lnTo>
                  <a:pt x="1029" y="359"/>
                </a:lnTo>
                <a:lnTo>
                  <a:pt x="1029" y="363"/>
                </a:lnTo>
                <a:lnTo>
                  <a:pt x="1031" y="364"/>
                </a:lnTo>
                <a:lnTo>
                  <a:pt x="1033" y="365"/>
                </a:lnTo>
                <a:lnTo>
                  <a:pt x="1034" y="370"/>
                </a:lnTo>
                <a:lnTo>
                  <a:pt x="1036" y="375"/>
                </a:lnTo>
                <a:lnTo>
                  <a:pt x="1040" y="381"/>
                </a:lnTo>
                <a:lnTo>
                  <a:pt x="1046" y="385"/>
                </a:lnTo>
                <a:lnTo>
                  <a:pt x="1048" y="387"/>
                </a:lnTo>
                <a:lnTo>
                  <a:pt x="1049" y="389"/>
                </a:lnTo>
                <a:lnTo>
                  <a:pt x="1047" y="390"/>
                </a:lnTo>
                <a:lnTo>
                  <a:pt x="1045" y="390"/>
                </a:lnTo>
                <a:lnTo>
                  <a:pt x="1038" y="385"/>
                </a:lnTo>
                <a:lnTo>
                  <a:pt x="1032" y="380"/>
                </a:lnTo>
                <a:lnTo>
                  <a:pt x="1036" y="388"/>
                </a:lnTo>
                <a:lnTo>
                  <a:pt x="1039" y="397"/>
                </a:lnTo>
                <a:lnTo>
                  <a:pt x="1034" y="397"/>
                </a:lnTo>
                <a:lnTo>
                  <a:pt x="1038" y="402"/>
                </a:lnTo>
                <a:lnTo>
                  <a:pt x="1037" y="400"/>
                </a:lnTo>
                <a:lnTo>
                  <a:pt x="1036" y="402"/>
                </a:lnTo>
                <a:lnTo>
                  <a:pt x="1034" y="404"/>
                </a:lnTo>
                <a:lnTo>
                  <a:pt x="1033" y="404"/>
                </a:lnTo>
                <a:lnTo>
                  <a:pt x="1032" y="405"/>
                </a:lnTo>
                <a:lnTo>
                  <a:pt x="1032" y="407"/>
                </a:lnTo>
                <a:lnTo>
                  <a:pt x="1034" y="410"/>
                </a:lnTo>
                <a:lnTo>
                  <a:pt x="1038" y="409"/>
                </a:lnTo>
                <a:lnTo>
                  <a:pt x="1039" y="412"/>
                </a:lnTo>
                <a:lnTo>
                  <a:pt x="1037" y="415"/>
                </a:lnTo>
                <a:lnTo>
                  <a:pt x="1038" y="418"/>
                </a:lnTo>
                <a:lnTo>
                  <a:pt x="1036" y="421"/>
                </a:lnTo>
                <a:lnTo>
                  <a:pt x="1033" y="420"/>
                </a:lnTo>
                <a:lnTo>
                  <a:pt x="1030" y="420"/>
                </a:lnTo>
                <a:lnTo>
                  <a:pt x="1028" y="420"/>
                </a:lnTo>
                <a:lnTo>
                  <a:pt x="1024" y="421"/>
                </a:lnTo>
                <a:lnTo>
                  <a:pt x="1021" y="422"/>
                </a:lnTo>
                <a:lnTo>
                  <a:pt x="1022" y="425"/>
                </a:lnTo>
                <a:lnTo>
                  <a:pt x="1022" y="430"/>
                </a:lnTo>
                <a:lnTo>
                  <a:pt x="1025" y="432"/>
                </a:lnTo>
                <a:lnTo>
                  <a:pt x="1029" y="434"/>
                </a:lnTo>
                <a:lnTo>
                  <a:pt x="1025" y="437"/>
                </a:lnTo>
                <a:lnTo>
                  <a:pt x="1021" y="435"/>
                </a:lnTo>
                <a:lnTo>
                  <a:pt x="1016" y="434"/>
                </a:lnTo>
                <a:lnTo>
                  <a:pt x="1011" y="437"/>
                </a:lnTo>
                <a:lnTo>
                  <a:pt x="1007" y="440"/>
                </a:lnTo>
                <a:lnTo>
                  <a:pt x="1003" y="446"/>
                </a:lnTo>
                <a:lnTo>
                  <a:pt x="999" y="450"/>
                </a:lnTo>
                <a:lnTo>
                  <a:pt x="997" y="455"/>
                </a:lnTo>
                <a:lnTo>
                  <a:pt x="996" y="458"/>
                </a:lnTo>
                <a:lnTo>
                  <a:pt x="993" y="459"/>
                </a:lnTo>
                <a:lnTo>
                  <a:pt x="993" y="463"/>
                </a:lnTo>
                <a:lnTo>
                  <a:pt x="993" y="464"/>
                </a:lnTo>
                <a:lnTo>
                  <a:pt x="995" y="466"/>
                </a:lnTo>
                <a:lnTo>
                  <a:pt x="992" y="467"/>
                </a:lnTo>
                <a:lnTo>
                  <a:pt x="990" y="468"/>
                </a:lnTo>
                <a:lnTo>
                  <a:pt x="984" y="478"/>
                </a:lnTo>
                <a:lnTo>
                  <a:pt x="991" y="489"/>
                </a:lnTo>
                <a:lnTo>
                  <a:pt x="982" y="489"/>
                </a:lnTo>
                <a:lnTo>
                  <a:pt x="979" y="495"/>
                </a:lnTo>
                <a:lnTo>
                  <a:pt x="981" y="498"/>
                </a:lnTo>
                <a:lnTo>
                  <a:pt x="979" y="501"/>
                </a:lnTo>
                <a:lnTo>
                  <a:pt x="974" y="503"/>
                </a:lnTo>
                <a:lnTo>
                  <a:pt x="970" y="501"/>
                </a:lnTo>
                <a:lnTo>
                  <a:pt x="970" y="498"/>
                </a:lnTo>
                <a:lnTo>
                  <a:pt x="970" y="495"/>
                </a:lnTo>
                <a:lnTo>
                  <a:pt x="970" y="490"/>
                </a:lnTo>
                <a:lnTo>
                  <a:pt x="968" y="485"/>
                </a:lnTo>
                <a:lnTo>
                  <a:pt x="968" y="475"/>
                </a:lnTo>
                <a:lnTo>
                  <a:pt x="974" y="467"/>
                </a:lnTo>
                <a:lnTo>
                  <a:pt x="970" y="470"/>
                </a:lnTo>
                <a:lnTo>
                  <a:pt x="974" y="467"/>
                </a:lnTo>
                <a:close/>
                <a:moveTo>
                  <a:pt x="942" y="377"/>
                </a:moveTo>
                <a:lnTo>
                  <a:pt x="938" y="382"/>
                </a:lnTo>
                <a:lnTo>
                  <a:pt x="934" y="376"/>
                </a:lnTo>
                <a:lnTo>
                  <a:pt x="935" y="373"/>
                </a:lnTo>
                <a:lnTo>
                  <a:pt x="939" y="372"/>
                </a:lnTo>
                <a:lnTo>
                  <a:pt x="942" y="374"/>
                </a:lnTo>
                <a:lnTo>
                  <a:pt x="942" y="377"/>
                </a:lnTo>
                <a:lnTo>
                  <a:pt x="943" y="376"/>
                </a:lnTo>
                <a:lnTo>
                  <a:pt x="942" y="377"/>
                </a:lnTo>
                <a:close/>
                <a:moveTo>
                  <a:pt x="922" y="376"/>
                </a:moveTo>
                <a:lnTo>
                  <a:pt x="927" y="373"/>
                </a:lnTo>
                <a:lnTo>
                  <a:pt x="935" y="372"/>
                </a:lnTo>
                <a:lnTo>
                  <a:pt x="927" y="373"/>
                </a:lnTo>
                <a:lnTo>
                  <a:pt x="922" y="376"/>
                </a:lnTo>
                <a:lnTo>
                  <a:pt x="925" y="373"/>
                </a:lnTo>
                <a:lnTo>
                  <a:pt x="922" y="376"/>
                </a:lnTo>
                <a:close/>
                <a:moveTo>
                  <a:pt x="945" y="474"/>
                </a:moveTo>
                <a:lnTo>
                  <a:pt x="945" y="475"/>
                </a:lnTo>
                <a:lnTo>
                  <a:pt x="946" y="475"/>
                </a:lnTo>
                <a:lnTo>
                  <a:pt x="945" y="475"/>
                </a:lnTo>
                <a:lnTo>
                  <a:pt x="945" y="474"/>
                </a:lnTo>
                <a:close/>
                <a:moveTo>
                  <a:pt x="932" y="273"/>
                </a:moveTo>
                <a:lnTo>
                  <a:pt x="932" y="273"/>
                </a:lnTo>
                <a:lnTo>
                  <a:pt x="932" y="272"/>
                </a:lnTo>
                <a:lnTo>
                  <a:pt x="932" y="273"/>
                </a:lnTo>
                <a:lnTo>
                  <a:pt x="932" y="273"/>
                </a:lnTo>
                <a:close/>
                <a:moveTo>
                  <a:pt x="922" y="282"/>
                </a:moveTo>
                <a:lnTo>
                  <a:pt x="923" y="282"/>
                </a:lnTo>
                <a:lnTo>
                  <a:pt x="923" y="282"/>
                </a:lnTo>
                <a:lnTo>
                  <a:pt x="923" y="282"/>
                </a:lnTo>
                <a:lnTo>
                  <a:pt x="922" y="282"/>
                </a:lnTo>
                <a:close/>
                <a:moveTo>
                  <a:pt x="921" y="279"/>
                </a:moveTo>
                <a:lnTo>
                  <a:pt x="925" y="277"/>
                </a:lnTo>
                <a:lnTo>
                  <a:pt x="929" y="275"/>
                </a:lnTo>
                <a:lnTo>
                  <a:pt x="925" y="276"/>
                </a:lnTo>
                <a:lnTo>
                  <a:pt x="922" y="279"/>
                </a:lnTo>
                <a:lnTo>
                  <a:pt x="921" y="281"/>
                </a:lnTo>
                <a:lnTo>
                  <a:pt x="917" y="283"/>
                </a:lnTo>
                <a:lnTo>
                  <a:pt x="918" y="280"/>
                </a:lnTo>
                <a:lnTo>
                  <a:pt x="921" y="279"/>
                </a:lnTo>
                <a:lnTo>
                  <a:pt x="921" y="279"/>
                </a:lnTo>
                <a:lnTo>
                  <a:pt x="921" y="279"/>
                </a:lnTo>
                <a:close/>
                <a:moveTo>
                  <a:pt x="937" y="322"/>
                </a:moveTo>
                <a:lnTo>
                  <a:pt x="937" y="322"/>
                </a:lnTo>
                <a:lnTo>
                  <a:pt x="937" y="323"/>
                </a:lnTo>
                <a:lnTo>
                  <a:pt x="937" y="322"/>
                </a:lnTo>
                <a:lnTo>
                  <a:pt x="937" y="322"/>
                </a:lnTo>
                <a:close/>
                <a:moveTo>
                  <a:pt x="891" y="431"/>
                </a:moveTo>
                <a:lnTo>
                  <a:pt x="893" y="435"/>
                </a:lnTo>
                <a:lnTo>
                  <a:pt x="896" y="439"/>
                </a:lnTo>
                <a:lnTo>
                  <a:pt x="900" y="438"/>
                </a:lnTo>
                <a:lnTo>
                  <a:pt x="905" y="440"/>
                </a:lnTo>
                <a:lnTo>
                  <a:pt x="906" y="445"/>
                </a:lnTo>
                <a:lnTo>
                  <a:pt x="906" y="450"/>
                </a:lnTo>
                <a:lnTo>
                  <a:pt x="912" y="451"/>
                </a:lnTo>
                <a:lnTo>
                  <a:pt x="914" y="455"/>
                </a:lnTo>
                <a:lnTo>
                  <a:pt x="913" y="457"/>
                </a:lnTo>
                <a:lnTo>
                  <a:pt x="912" y="458"/>
                </a:lnTo>
                <a:lnTo>
                  <a:pt x="913" y="460"/>
                </a:lnTo>
                <a:lnTo>
                  <a:pt x="915" y="462"/>
                </a:lnTo>
                <a:lnTo>
                  <a:pt x="915" y="464"/>
                </a:lnTo>
                <a:lnTo>
                  <a:pt x="915" y="466"/>
                </a:lnTo>
                <a:lnTo>
                  <a:pt x="910" y="470"/>
                </a:lnTo>
                <a:lnTo>
                  <a:pt x="907" y="473"/>
                </a:lnTo>
                <a:lnTo>
                  <a:pt x="906" y="476"/>
                </a:lnTo>
                <a:lnTo>
                  <a:pt x="907" y="480"/>
                </a:lnTo>
                <a:lnTo>
                  <a:pt x="909" y="481"/>
                </a:lnTo>
                <a:lnTo>
                  <a:pt x="913" y="481"/>
                </a:lnTo>
                <a:lnTo>
                  <a:pt x="915" y="481"/>
                </a:lnTo>
                <a:lnTo>
                  <a:pt x="915" y="484"/>
                </a:lnTo>
                <a:lnTo>
                  <a:pt x="913" y="488"/>
                </a:lnTo>
                <a:lnTo>
                  <a:pt x="912" y="492"/>
                </a:lnTo>
                <a:lnTo>
                  <a:pt x="918" y="487"/>
                </a:lnTo>
                <a:lnTo>
                  <a:pt x="924" y="479"/>
                </a:lnTo>
                <a:lnTo>
                  <a:pt x="925" y="482"/>
                </a:lnTo>
                <a:lnTo>
                  <a:pt x="924" y="487"/>
                </a:lnTo>
                <a:lnTo>
                  <a:pt x="917" y="491"/>
                </a:lnTo>
                <a:lnTo>
                  <a:pt x="912" y="497"/>
                </a:lnTo>
                <a:lnTo>
                  <a:pt x="913" y="496"/>
                </a:lnTo>
                <a:lnTo>
                  <a:pt x="914" y="493"/>
                </a:lnTo>
                <a:lnTo>
                  <a:pt x="912" y="492"/>
                </a:lnTo>
                <a:lnTo>
                  <a:pt x="909" y="493"/>
                </a:lnTo>
                <a:lnTo>
                  <a:pt x="909" y="500"/>
                </a:lnTo>
                <a:lnTo>
                  <a:pt x="910" y="506"/>
                </a:lnTo>
                <a:lnTo>
                  <a:pt x="912" y="504"/>
                </a:lnTo>
                <a:lnTo>
                  <a:pt x="914" y="504"/>
                </a:lnTo>
                <a:lnTo>
                  <a:pt x="916" y="504"/>
                </a:lnTo>
                <a:lnTo>
                  <a:pt x="915" y="505"/>
                </a:lnTo>
                <a:lnTo>
                  <a:pt x="916" y="508"/>
                </a:lnTo>
                <a:lnTo>
                  <a:pt x="917" y="513"/>
                </a:lnTo>
                <a:lnTo>
                  <a:pt x="922" y="516"/>
                </a:lnTo>
                <a:lnTo>
                  <a:pt x="926" y="520"/>
                </a:lnTo>
                <a:lnTo>
                  <a:pt x="932" y="530"/>
                </a:lnTo>
                <a:lnTo>
                  <a:pt x="942" y="531"/>
                </a:lnTo>
                <a:lnTo>
                  <a:pt x="950" y="530"/>
                </a:lnTo>
                <a:lnTo>
                  <a:pt x="958" y="529"/>
                </a:lnTo>
                <a:lnTo>
                  <a:pt x="962" y="529"/>
                </a:lnTo>
                <a:lnTo>
                  <a:pt x="965" y="529"/>
                </a:lnTo>
                <a:lnTo>
                  <a:pt x="965" y="531"/>
                </a:lnTo>
                <a:lnTo>
                  <a:pt x="965" y="533"/>
                </a:lnTo>
                <a:lnTo>
                  <a:pt x="966" y="536"/>
                </a:lnTo>
                <a:lnTo>
                  <a:pt x="968" y="534"/>
                </a:lnTo>
                <a:lnTo>
                  <a:pt x="973" y="533"/>
                </a:lnTo>
                <a:lnTo>
                  <a:pt x="978" y="532"/>
                </a:lnTo>
                <a:lnTo>
                  <a:pt x="972" y="539"/>
                </a:lnTo>
                <a:lnTo>
                  <a:pt x="967" y="545"/>
                </a:lnTo>
                <a:lnTo>
                  <a:pt x="972" y="554"/>
                </a:lnTo>
                <a:lnTo>
                  <a:pt x="980" y="562"/>
                </a:lnTo>
                <a:lnTo>
                  <a:pt x="970" y="559"/>
                </a:lnTo>
                <a:lnTo>
                  <a:pt x="963" y="564"/>
                </a:lnTo>
                <a:lnTo>
                  <a:pt x="963" y="566"/>
                </a:lnTo>
                <a:lnTo>
                  <a:pt x="963" y="570"/>
                </a:lnTo>
                <a:lnTo>
                  <a:pt x="959" y="570"/>
                </a:lnTo>
                <a:lnTo>
                  <a:pt x="955" y="568"/>
                </a:lnTo>
                <a:lnTo>
                  <a:pt x="947" y="566"/>
                </a:lnTo>
                <a:lnTo>
                  <a:pt x="940" y="561"/>
                </a:lnTo>
                <a:lnTo>
                  <a:pt x="943" y="559"/>
                </a:lnTo>
                <a:lnTo>
                  <a:pt x="947" y="558"/>
                </a:lnTo>
                <a:lnTo>
                  <a:pt x="940" y="554"/>
                </a:lnTo>
                <a:lnTo>
                  <a:pt x="932" y="551"/>
                </a:lnTo>
                <a:lnTo>
                  <a:pt x="931" y="553"/>
                </a:lnTo>
                <a:lnTo>
                  <a:pt x="930" y="555"/>
                </a:lnTo>
                <a:lnTo>
                  <a:pt x="929" y="556"/>
                </a:lnTo>
                <a:lnTo>
                  <a:pt x="927" y="555"/>
                </a:lnTo>
                <a:lnTo>
                  <a:pt x="923" y="555"/>
                </a:lnTo>
                <a:lnTo>
                  <a:pt x="920" y="554"/>
                </a:lnTo>
                <a:lnTo>
                  <a:pt x="916" y="546"/>
                </a:lnTo>
                <a:lnTo>
                  <a:pt x="915" y="537"/>
                </a:lnTo>
                <a:lnTo>
                  <a:pt x="914" y="528"/>
                </a:lnTo>
                <a:lnTo>
                  <a:pt x="913" y="518"/>
                </a:lnTo>
                <a:lnTo>
                  <a:pt x="900" y="472"/>
                </a:lnTo>
                <a:lnTo>
                  <a:pt x="886" y="426"/>
                </a:lnTo>
                <a:lnTo>
                  <a:pt x="890" y="428"/>
                </a:lnTo>
                <a:lnTo>
                  <a:pt x="891" y="431"/>
                </a:lnTo>
                <a:lnTo>
                  <a:pt x="891" y="432"/>
                </a:lnTo>
                <a:lnTo>
                  <a:pt x="891" y="431"/>
                </a:lnTo>
                <a:close/>
                <a:moveTo>
                  <a:pt x="912" y="503"/>
                </a:moveTo>
                <a:lnTo>
                  <a:pt x="912" y="503"/>
                </a:lnTo>
                <a:lnTo>
                  <a:pt x="912" y="503"/>
                </a:lnTo>
                <a:lnTo>
                  <a:pt x="912" y="503"/>
                </a:lnTo>
                <a:lnTo>
                  <a:pt x="912" y="503"/>
                </a:lnTo>
                <a:close/>
                <a:moveTo>
                  <a:pt x="912" y="499"/>
                </a:moveTo>
                <a:lnTo>
                  <a:pt x="912" y="499"/>
                </a:lnTo>
                <a:lnTo>
                  <a:pt x="912" y="499"/>
                </a:lnTo>
                <a:lnTo>
                  <a:pt x="912" y="499"/>
                </a:lnTo>
                <a:lnTo>
                  <a:pt x="912" y="499"/>
                </a:lnTo>
                <a:close/>
                <a:moveTo>
                  <a:pt x="882" y="537"/>
                </a:moveTo>
                <a:lnTo>
                  <a:pt x="882" y="545"/>
                </a:lnTo>
                <a:lnTo>
                  <a:pt x="880" y="553"/>
                </a:lnTo>
                <a:lnTo>
                  <a:pt x="876" y="553"/>
                </a:lnTo>
                <a:lnTo>
                  <a:pt x="873" y="550"/>
                </a:lnTo>
                <a:lnTo>
                  <a:pt x="868" y="550"/>
                </a:lnTo>
                <a:lnTo>
                  <a:pt x="864" y="553"/>
                </a:lnTo>
                <a:lnTo>
                  <a:pt x="873" y="545"/>
                </a:lnTo>
                <a:lnTo>
                  <a:pt x="882" y="537"/>
                </a:lnTo>
                <a:lnTo>
                  <a:pt x="880" y="540"/>
                </a:lnTo>
                <a:lnTo>
                  <a:pt x="882" y="537"/>
                </a:lnTo>
                <a:close/>
                <a:moveTo>
                  <a:pt x="740" y="186"/>
                </a:moveTo>
                <a:lnTo>
                  <a:pt x="741" y="188"/>
                </a:lnTo>
                <a:lnTo>
                  <a:pt x="740" y="189"/>
                </a:lnTo>
                <a:lnTo>
                  <a:pt x="740" y="188"/>
                </a:lnTo>
                <a:lnTo>
                  <a:pt x="740" y="186"/>
                </a:lnTo>
                <a:lnTo>
                  <a:pt x="740" y="188"/>
                </a:lnTo>
                <a:lnTo>
                  <a:pt x="740" y="186"/>
                </a:lnTo>
                <a:close/>
                <a:moveTo>
                  <a:pt x="749" y="329"/>
                </a:moveTo>
                <a:lnTo>
                  <a:pt x="751" y="334"/>
                </a:lnTo>
                <a:lnTo>
                  <a:pt x="756" y="334"/>
                </a:lnTo>
                <a:lnTo>
                  <a:pt x="757" y="330"/>
                </a:lnTo>
                <a:lnTo>
                  <a:pt x="759" y="324"/>
                </a:lnTo>
                <a:lnTo>
                  <a:pt x="761" y="332"/>
                </a:lnTo>
                <a:lnTo>
                  <a:pt x="759" y="341"/>
                </a:lnTo>
                <a:lnTo>
                  <a:pt x="764" y="350"/>
                </a:lnTo>
                <a:lnTo>
                  <a:pt x="770" y="359"/>
                </a:lnTo>
                <a:lnTo>
                  <a:pt x="774" y="367"/>
                </a:lnTo>
                <a:lnTo>
                  <a:pt x="780" y="372"/>
                </a:lnTo>
                <a:lnTo>
                  <a:pt x="783" y="370"/>
                </a:lnTo>
                <a:lnTo>
                  <a:pt x="785" y="373"/>
                </a:lnTo>
                <a:lnTo>
                  <a:pt x="783" y="375"/>
                </a:lnTo>
                <a:lnTo>
                  <a:pt x="782" y="376"/>
                </a:lnTo>
                <a:lnTo>
                  <a:pt x="782" y="380"/>
                </a:lnTo>
                <a:lnTo>
                  <a:pt x="784" y="382"/>
                </a:lnTo>
                <a:lnTo>
                  <a:pt x="787" y="389"/>
                </a:lnTo>
                <a:lnTo>
                  <a:pt x="794" y="391"/>
                </a:lnTo>
                <a:lnTo>
                  <a:pt x="798" y="384"/>
                </a:lnTo>
                <a:lnTo>
                  <a:pt x="800" y="376"/>
                </a:lnTo>
                <a:lnTo>
                  <a:pt x="801" y="375"/>
                </a:lnTo>
                <a:lnTo>
                  <a:pt x="803" y="375"/>
                </a:lnTo>
                <a:lnTo>
                  <a:pt x="805" y="376"/>
                </a:lnTo>
                <a:lnTo>
                  <a:pt x="806" y="379"/>
                </a:lnTo>
                <a:lnTo>
                  <a:pt x="809" y="379"/>
                </a:lnTo>
                <a:lnTo>
                  <a:pt x="813" y="377"/>
                </a:lnTo>
                <a:lnTo>
                  <a:pt x="806" y="383"/>
                </a:lnTo>
                <a:lnTo>
                  <a:pt x="800" y="390"/>
                </a:lnTo>
                <a:lnTo>
                  <a:pt x="797" y="398"/>
                </a:lnTo>
                <a:lnTo>
                  <a:pt x="798" y="407"/>
                </a:lnTo>
                <a:lnTo>
                  <a:pt x="801" y="409"/>
                </a:lnTo>
                <a:lnTo>
                  <a:pt x="801" y="413"/>
                </a:lnTo>
                <a:lnTo>
                  <a:pt x="799" y="413"/>
                </a:lnTo>
                <a:lnTo>
                  <a:pt x="798" y="412"/>
                </a:lnTo>
                <a:lnTo>
                  <a:pt x="791" y="404"/>
                </a:lnTo>
                <a:lnTo>
                  <a:pt x="785" y="395"/>
                </a:lnTo>
                <a:lnTo>
                  <a:pt x="760" y="355"/>
                </a:lnTo>
                <a:lnTo>
                  <a:pt x="736" y="315"/>
                </a:lnTo>
                <a:lnTo>
                  <a:pt x="743" y="321"/>
                </a:lnTo>
                <a:lnTo>
                  <a:pt x="749" y="329"/>
                </a:lnTo>
                <a:lnTo>
                  <a:pt x="748" y="327"/>
                </a:lnTo>
                <a:lnTo>
                  <a:pt x="749" y="329"/>
                </a:lnTo>
                <a:close/>
                <a:moveTo>
                  <a:pt x="696" y="673"/>
                </a:moveTo>
                <a:lnTo>
                  <a:pt x="698" y="669"/>
                </a:lnTo>
                <a:lnTo>
                  <a:pt x="703" y="669"/>
                </a:lnTo>
                <a:lnTo>
                  <a:pt x="706" y="674"/>
                </a:lnTo>
                <a:lnTo>
                  <a:pt x="707" y="679"/>
                </a:lnTo>
                <a:lnTo>
                  <a:pt x="717" y="680"/>
                </a:lnTo>
                <a:lnTo>
                  <a:pt x="728" y="676"/>
                </a:lnTo>
                <a:lnTo>
                  <a:pt x="717" y="684"/>
                </a:lnTo>
                <a:lnTo>
                  <a:pt x="703" y="687"/>
                </a:lnTo>
                <a:lnTo>
                  <a:pt x="696" y="682"/>
                </a:lnTo>
                <a:lnTo>
                  <a:pt x="696" y="673"/>
                </a:lnTo>
                <a:lnTo>
                  <a:pt x="696" y="674"/>
                </a:lnTo>
                <a:lnTo>
                  <a:pt x="696" y="673"/>
                </a:lnTo>
                <a:close/>
                <a:moveTo>
                  <a:pt x="711" y="549"/>
                </a:moveTo>
                <a:lnTo>
                  <a:pt x="711" y="554"/>
                </a:lnTo>
                <a:lnTo>
                  <a:pt x="710" y="558"/>
                </a:lnTo>
                <a:lnTo>
                  <a:pt x="710" y="563"/>
                </a:lnTo>
                <a:lnTo>
                  <a:pt x="712" y="566"/>
                </a:lnTo>
                <a:lnTo>
                  <a:pt x="698" y="557"/>
                </a:lnTo>
                <a:lnTo>
                  <a:pt x="691" y="541"/>
                </a:lnTo>
                <a:lnTo>
                  <a:pt x="701" y="543"/>
                </a:lnTo>
                <a:lnTo>
                  <a:pt x="711" y="549"/>
                </a:lnTo>
                <a:lnTo>
                  <a:pt x="709" y="548"/>
                </a:lnTo>
                <a:lnTo>
                  <a:pt x="711" y="549"/>
                </a:lnTo>
                <a:close/>
                <a:moveTo>
                  <a:pt x="734" y="293"/>
                </a:moveTo>
                <a:lnTo>
                  <a:pt x="733" y="294"/>
                </a:lnTo>
                <a:lnTo>
                  <a:pt x="732" y="294"/>
                </a:lnTo>
                <a:lnTo>
                  <a:pt x="733" y="294"/>
                </a:lnTo>
                <a:lnTo>
                  <a:pt x="734" y="293"/>
                </a:lnTo>
                <a:close/>
                <a:moveTo>
                  <a:pt x="731" y="294"/>
                </a:moveTo>
                <a:lnTo>
                  <a:pt x="729" y="298"/>
                </a:lnTo>
                <a:lnTo>
                  <a:pt x="731" y="301"/>
                </a:lnTo>
                <a:lnTo>
                  <a:pt x="729" y="298"/>
                </a:lnTo>
                <a:lnTo>
                  <a:pt x="731" y="294"/>
                </a:lnTo>
                <a:close/>
                <a:moveTo>
                  <a:pt x="720" y="438"/>
                </a:moveTo>
                <a:lnTo>
                  <a:pt x="717" y="434"/>
                </a:lnTo>
                <a:lnTo>
                  <a:pt x="721" y="431"/>
                </a:lnTo>
                <a:lnTo>
                  <a:pt x="725" y="434"/>
                </a:lnTo>
                <a:lnTo>
                  <a:pt x="720" y="438"/>
                </a:lnTo>
                <a:lnTo>
                  <a:pt x="720" y="438"/>
                </a:lnTo>
                <a:lnTo>
                  <a:pt x="720" y="438"/>
                </a:lnTo>
                <a:close/>
                <a:moveTo>
                  <a:pt x="670" y="175"/>
                </a:moveTo>
                <a:lnTo>
                  <a:pt x="671" y="176"/>
                </a:lnTo>
                <a:lnTo>
                  <a:pt x="670" y="177"/>
                </a:lnTo>
                <a:lnTo>
                  <a:pt x="669" y="175"/>
                </a:lnTo>
                <a:lnTo>
                  <a:pt x="670" y="175"/>
                </a:lnTo>
                <a:lnTo>
                  <a:pt x="670" y="175"/>
                </a:lnTo>
                <a:lnTo>
                  <a:pt x="670" y="175"/>
                </a:lnTo>
                <a:close/>
                <a:moveTo>
                  <a:pt x="691" y="679"/>
                </a:moveTo>
                <a:lnTo>
                  <a:pt x="686" y="683"/>
                </a:lnTo>
                <a:lnTo>
                  <a:pt x="680" y="681"/>
                </a:lnTo>
                <a:lnTo>
                  <a:pt x="678" y="674"/>
                </a:lnTo>
                <a:lnTo>
                  <a:pt x="677" y="667"/>
                </a:lnTo>
                <a:lnTo>
                  <a:pt x="687" y="670"/>
                </a:lnTo>
                <a:lnTo>
                  <a:pt x="691" y="679"/>
                </a:lnTo>
                <a:lnTo>
                  <a:pt x="691" y="679"/>
                </a:lnTo>
                <a:lnTo>
                  <a:pt x="691" y="679"/>
                </a:lnTo>
                <a:close/>
                <a:moveTo>
                  <a:pt x="676" y="675"/>
                </a:moveTo>
                <a:lnTo>
                  <a:pt x="676" y="676"/>
                </a:lnTo>
                <a:lnTo>
                  <a:pt x="675" y="678"/>
                </a:lnTo>
                <a:lnTo>
                  <a:pt x="676" y="676"/>
                </a:lnTo>
                <a:lnTo>
                  <a:pt x="676" y="675"/>
                </a:lnTo>
                <a:close/>
                <a:moveTo>
                  <a:pt x="646" y="764"/>
                </a:moveTo>
                <a:lnTo>
                  <a:pt x="649" y="758"/>
                </a:lnTo>
                <a:lnTo>
                  <a:pt x="650" y="752"/>
                </a:lnTo>
                <a:lnTo>
                  <a:pt x="652" y="745"/>
                </a:lnTo>
                <a:lnTo>
                  <a:pt x="657" y="739"/>
                </a:lnTo>
                <a:lnTo>
                  <a:pt x="665" y="728"/>
                </a:lnTo>
                <a:lnTo>
                  <a:pt x="671" y="716"/>
                </a:lnTo>
                <a:lnTo>
                  <a:pt x="679" y="707"/>
                </a:lnTo>
                <a:lnTo>
                  <a:pt x="690" y="703"/>
                </a:lnTo>
                <a:lnTo>
                  <a:pt x="703" y="695"/>
                </a:lnTo>
                <a:lnTo>
                  <a:pt x="717" y="690"/>
                </a:lnTo>
                <a:lnTo>
                  <a:pt x="709" y="703"/>
                </a:lnTo>
                <a:lnTo>
                  <a:pt x="699" y="715"/>
                </a:lnTo>
                <a:lnTo>
                  <a:pt x="690" y="728"/>
                </a:lnTo>
                <a:lnTo>
                  <a:pt x="680" y="741"/>
                </a:lnTo>
                <a:lnTo>
                  <a:pt x="676" y="747"/>
                </a:lnTo>
                <a:lnTo>
                  <a:pt x="671" y="754"/>
                </a:lnTo>
                <a:lnTo>
                  <a:pt x="667" y="759"/>
                </a:lnTo>
                <a:lnTo>
                  <a:pt x="665" y="766"/>
                </a:lnTo>
                <a:lnTo>
                  <a:pt x="667" y="771"/>
                </a:lnTo>
                <a:lnTo>
                  <a:pt x="675" y="770"/>
                </a:lnTo>
                <a:lnTo>
                  <a:pt x="668" y="785"/>
                </a:lnTo>
                <a:lnTo>
                  <a:pt x="663" y="798"/>
                </a:lnTo>
                <a:lnTo>
                  <a:pt x="660" y="802"/>
                </a:lnTo>
                <a:lnTo>
                  <a:pt x="655" y="806"/>
                </a:lnTo>
                <a:lnTo>
                  <a:pt x="651" y="804"/>
                </a:lnTo>
                <a:lnTo>
                  <a:pt x="650" y="799"/>
                </a:lnTo>
                <a:lnTo>
                  <a:pt x="640" y="820"/>
                </a:lnTo>
                <a:lnTo>
                  <a:pt x="644" y="841"/>
                </a:lnTo>
                <a:lnTo>
                  <a:pt x="638" y="842"/>
                </a:lnTo>
                <a:lnTo>
                  <a:pt x="635" y="845"/>
                </a:lnTo>
                <a:lnTo>
                  <a:pt x="636" y="833"/>
                </a:lnTo>
                <a:lnTo>
                  <a:pt x="635" y="822"/>
                </a:lnTo>
                <a:lnTo>
                  <a:pt x="629" y="820"/>
                </a:lnTo>
                <a:lnTo>
                  <a:pt x="628" y="827"/>
                </a:lnTo>
                <a:lnTo>
                  <a:pt x="622" y="831"/>
                </a:lnTo>
                <a:lnTo>
                  <a:pt x="620" y="838"/>
                </a:lnTo>
                <a:lnTo>
                  <a:pt x="616" y="848"/>
                </a:lnTo>
                <a:lnTo>
                  <a:pt x="609" y="856"/>
                </a:lnTo>
                <a:lnTo>
                  <a:pt x="610" y="845"/>
                </a:lnTo>
                <a:lnTo>
                  <a:pt x="616" y="833"/>
                </a:lnTo>
                <a:lnTo>
                  <a:pt x="619" y="829"/>
                </a:lnTo>
                <a:lnTo>
                  <a:pt x="621" y="823"/>
                </a:lnTo>
                <a:lnTo>
                  <a:pt x="621" y="817"/>
                </a:lnTo>
                <a:lnTo>
                  <a:pt x="622" y="813"/>
                </a:lnTo>
                <a:lnTo>
                  <a:pt x="626" y="808"/>
                </a:lnTo>
                <a:lnTo>
                  <a:pt x="629" y="804"/>
                </a:lnTo>
                <a:lnTo>
                  <a:pt x="633" y="797"/>
                </a:lnTo>
                <a:lnTo>
                  <a:pt x="635" y="789"/>
                </a:lnTo>
                <a:lnTo>
                  <a:pt x="638" y="775"/>
                </a:lnTo>
                <a:lnTo>
                  <a:pt x="646" y="764"/>
                </a:lnTo>
                <a:lnTo>
                  <a:pt x="644" y="766"/>
                </a:lnTo>
                <a:lnTo>
                  <a:pt x="646" y="764"/>
                </a:lnTo>
                <a:close/>
                <a:moveTo>
                  <a:pt x="699" y="870"/>
                </a:moveTo>
                <a:lnTo>
                  <a:pt x="702" y="863"/>
                </a:lnTo>
                <a:lnTo>
                  <a:pt x="709" y="863"/>
                </a:lnTo>
                <a:lnTo>
                  <a:pt x="707" y="869"/>
                </a:lnTo>
                <a:lnTo>
                  <a:pt x="699" y="870"/>
                </a:lnTo>
                <a:lnTo>
                  <a:pt x="701" y="869"/>
                </a:lnTo>
                <a:lnTo>
                  <a:pt x="699" y="870"/>
                </a:lnTo>
                <a:close/>
                <a:moveTo>
                  <a:pt x="629" y="827"/>
                </a:moveTo>
                <a:lnTo>
                  <a:pt x="630" y="828"/>
                </a:lnTo>
                <a:lnTo>
                  <a:pt x="633" y="830"/>
                </a:lnTo>
                <a:lnTo>
                  <a:pt x="633" y="832"/>
                </a:lnTo>
                <a:lnTo>
                  <a:pt x="633" y="835"/>
                </a:lnTo>
                <a:lnTo>
                  <a:pt x="633" y="830"/>
                </a:lnTo>
                <a:lnTo>
                  <a:pt x="629" y="827"/>
                </a:lnTo>
                <a:lnTo>
                  <a:pt x="630" y="828"/>
                </a:lnTo>
                <a:lnTo>
                  <a:pt x="629" y="827"/>
                </a:lnTo>
                <a:close/>
                <a:moveTo>
                  <a:pt x="451" y="681"/>
                </a:moveTo>
                <a:lnTo>
                  <a:pt x="456" y="674"/>
                </a:lnTo>
                <a:lnTo>
                  <a:pt x="467" y="671"/>
                </a:lnTo>
                <a:lnTo>
                  <a:pt x="464" y="674"/>
                </a:lnTo>
                <a:lnTo>
                  <a:pt x="462" y="676"/>
                </a:lnTo>
                <a:lnTo>
                  <a:pt x="461" y="681"/>
                </a:lnTo>
                <a:lnTo>
                  <a:pt x="461" y="684"/>
                </a:lnTo>
                <a:lnTo>
                  <a:pt x="455" y="686"/>
                </a:lnTo>
                <a:lnTo>
                  <a:pt x="451" y="681"/>
                </a:lnTo>
                <a:lnTo>
                  <a:pt x="451" y="681"/>
                </a:lnTo>
                <a:lnTo>
                  <a:pt x="451" y="681"/>
                </a:lnTo>
                <a:close/>
                <a:moveTo>
                  <a:pt x="505" y="904"/>
                </a:moveTo>
                <a:lnTo>
                  <a:pt x="503" y="900"/>
                </a:lnTo>
                <a:lnTo>
                  <a:pt x="502" y="895"/>
                </a:lnTo>
                <a:lnTo>
                  <a:pt x="505" y="894"/>
                </a:lnTo>
                <a:lnTo>
                  <a:pt x="511" y="894"/>
                </a:lnTo>
                <a:lnTo>
                  <a:pt x="512" y="894"/>
                </a:lnTo>
                <a:lnTo>
                  <a:pt x="513" y="893"/>
                </a:lnTo>
                <a:lnTo>
                  <a:pt x="517" y="895"/>
                </a:lnTo>
                <a:lnTo>
                  <a:pt x="515" y="898"/>
                </a:lnTo>
                <a:lnTo>
                  <a:pt x="510" y="900"/>
                </a:lnTo>
                <a:lnTo>
                  <a:pt x="505" y="904"/>
                </a:lnTo>
                <a:lnTo>
                  <a:pt x="505" y="902"/>
                </a:lnTo>
                <a:lnTo>
                  <a:pt x="505" y="904"/>
                </a:lnTo>
                <a:close/>
                <a:moveTo>
                  <a:pt x="511" y="889"/>
                </a:moveTo>
                <a:lnTo>
                  <a:pt x="511" y="888"/>
                </a:lnTo>
                <a:lnTo>
                  <a:pt x="511" y="886"/>
                </a:lnTo>
                <a:lnTo>
                  <a:pt x="510" y="889"/>
                </a:lnTo>
                <a:lnTo>
                  <a:pt x="511" y="893"/>
                </a:lnTo>
                <a:lnTo>
                  <a:pt x="511" y="891"/>
                </a:lnTo>
                <a:lnTo>
                  <a:pt x="511" y="889"/>
                </a:lnTo>
                <a:lnTo>
                  <a:pt x="511" y="889"/>
                </a:lnTo>
                <a:lnTo>
                  <a:pt x="511" y="889"/>
                </a:lnTo>
                <a:close/>
                <a:moveTo>
                  <a:pt x="511" y="885"/>
                </a:moveTo>
                <a:lnTo>
                  <a:pt x="511" y="883"/>
                </a:lnTo>
                <a:lnTo>
                  <a:pt x="512" y="882"/>
                </a:lnTo>
                <a:lnTo>
                  <a:pt x="511" y="883"/>
                </a:lnTo>
                <a:lnTo>
                  <a:pt x="511" y="885"/>
                </a:lnTo>
                <a:close/>
                <a:moveTo>
                  <a:pt x="502" y="845"/>
                </a:moveTo>
                <a:lnTo>
                  <a:pt x="504" y="839"/>
                </a:lnTo>
                <a:lnTo>
                  <a:pt x="510" y="838"/>
                </a:lnTo>
                <a:lnTo>
                  <a:pt x="513" y="844"/>
                </a:lnTo>
                <a:lnTo>
                  <a:pt x="514" y="850"/>
                </a:lnTo>
                <a:lnTo>
                  <a:pt x="508" y="849"/>
                </a:lnTo>
                <a:lnTo>
                  <a:pt x="502" y="845"/>
                </a:lnTo>
                <a:lnTo>
                  <a:pt x="502" y="847"/>
                </a:lnTo>
                <a:lnTo>
                  <a:pt x="502" y="845"/>
                </a:lnTo>
                <a:close/>
                <a:moveTo>
                  <a:pt x="512" y="700"/>
                </a:moveTo>
                <a:lnTo>
                  <a:pt x="506" y="702"/>
                </a:lnTo>
                <a:lnTo>
                  <a:pt x="502" y="698"/>
                </a:lnTo>
                <a:lnTo>
                  <a:pt x="502" y="694"/>
                </a:lnTo>
                <a:lnTo>
                  <a:pt x="504" y="688"/>
                </a:lnTo>
                <a:lnTo>
                  <a:pt x="498" y="679"/>
                </a:lnTo>
                <a:lnTo>
                  <a:pt x="494" y="669"/>
                </a:lnTo>
                <a:lnTo>
                  <a:pt x="497" y="672"/>
                </a:lnTo>
                <a:lnTo>
                  <a:pt x="501" y="675"/>
                </a:lnTo>
                <a:lnTo>
                  <a:pt x="505" y="675"/>
                </a:lnTo>
                <a:lnTo>
                  <a:pt x="506" y="672"/>
                </a:lnTo>
                <a:lnTo>
                  <a:pt x="503" y="669"/>
                </a:lnTo>
                <a:lnTo>
                  <a:pt x="500" y="664"/>
                </a:lnTo>
                <a:lnTo>
                  <a:pt x="504" y="661"/>
                </a:lnTo>
                <a:lnTo>
                  <a:pt x="510" y="662"/>
                </a:lnTo>
                <a:lnTo>
                  <a:pt x="515" y="662"/>
                </a:lnTo>
                <a:lnTo>
                  <a:pt x="519" y="658"/>
                </a:lnTo>
                <a:lnTo>
                  <a:pt x="525" y="655"/>
                </a:lnTo>
                <a:lnTo>
                  <a:pt x="530" y="651"/>
                </a:lnTo>
                <a:lnTo>
                  <a:pt x="536" y="648"/>
                </a:lnTo>
                <a:lnTo>
                  <a:pt x="543" y="646"/>
                </a:lnTo>
                <a:lnTo>
                  <a:pt x="547" y="641"/>
                </a:lnTo>
                <a:lnTo>
                  <a:pt x="548" y="636"/>
                </a:lnTo>
                <a:lnTo>
                  <a:pt x="555" y="640"/>
                </a:lnTo>
                <a:lnTo>
                  <a:pt x="563" y="637"/>
                </a:lnTo>
                <a:lnTo>
                  <a:pt x="572" y="632"/>
                </a:lnTo>
                <a:lnTo>
                  <a:pt x="583" y="632"/>
                </a:lnTo>
                <a:lnTo>
                  <a:pt x="564" y="650"/>
                </a:lnTo>
                <a:lnTo>
                  <a:pt x="544" y="665"/>
                </a:lnTo>
                <a:lnTo>
                  <a:pt x="535" y="674"/>
                </a:lnTo>
                <a:lnTo>
                  <a:pt x="528" y="683"/>
                </a:lnTo>
                <a:lnTo>
                  <a:pt x="525" y="689"/>
                </a:lnTo>
                <a:lnTo>
                  <a:pt x="521" y="695"/>
                </a:lnTo>
                <a:lnTo>
                  <a:pt x="517" y="698"/>
                </a:lnTo>
                <a:lnTo>
                  <a:pt x="512" y="700"/>
                </a:lnTo>
                <a:lnTo>
                  <a:pt x="512" y="700"/>
                </a:lnTo>
                <a:lnTo>
                  <a:pt x="512" y="700"/>
                </a:lnTo>
                <a:close/>
                <a:moveTo>
                  <a:pt x="543" y="813"/>
                </a:moveTo>
                <a:lnTo>
                  <a:pt x="544" y="813"/>
                </a:lnTo>
                <a:lnTo>
                  <a:pt x="545" y="813"/>
                </a:lnTo>
                <a:lnTo>
                  <a:pt x="544" y="813"/>
                </a:lnTo>
                <a:lnTo>
                  <a:pt x="543" y="813"/>
                </a:lnTo>
                <a:close/>
                <a:moveTo>
                  <a:pt x="556" y="673"/>
                </a:moveTo>
                <a:lnTo>
                  <a:pt x="558" y="667"/>
                </a:lnTo>
                <a:lnTo>
                  <a:pt x="558" y="662"/>
                </a:lnTo>
                <a:lnTo>
                  <a:pt x="563" y="666"/>
                </a:lnTo>
                <a:lnTo>
                  <a:pt x="564" y="674"/>
                </a:lnTo>
                <a:lnTo>
                  <a:pt x="558" y="676"/>
                </a:lnTo>
                <a:lnTo>
                  <a:pt x="556" y="673"/>
                </a:lnTo>
                <a:lnTo>
                  <a:pt x="556" y="672"/>
                </a:lnTo>
                <a:lnTo>
                  <a:pt x="556" y="673"/>
                </a:lnTo>
                <a:close/>
                <a:moveTo>
                  <a:pt x="542" y="1129"/>
                </a:moveTo>
                <a:lnTo>
                  <a:pt x="542" y="1122"/>
                </a:lnTo>
                <a:lnTo>
                  <a:pt x="542" y="1114"/>
                </a:lnTo>
                <a:lnTo>
                  <a:pt x="542" y="1122"/>
                </a:lnTo>
                <a:lnTo>
                  <a:pt x="542" y="1129"/>
                </a:lnTo>
                <a:close/>
                <a:moveTo>
                  <a:pt x="564" y="811"/>
                </a:moveTo>
                <a:lnTo>
                  <a:pt x="560" y="806"/>
                </a:lnTo>
                <a:lnTo>
                  <a:pt x="558" y="800"/>
                </a:lnTo>
                <a:lnTo>
                  <a:pt x="561" y="799"/>
                </a:lnTo>
                <a:lnTo>
                  <a:pt x="564" y="796"/>
                </a:lnTo>
                <a:lnTo>
                  <a:pt x="564" y="799"/>
                </a:lnTo>
                <a:lnTo>
                  <a:pt x="566" y="803"/>
                </a:lnTo>
                <a:lnTo>
                  <a:pt x="568" y="804"/>
                </a:lnTo>
                <a:lnTo>
                  <a:pt x="569" y="806"/>
                </a:lnTo>
                <a:lnTo>
                  <a:pt x="569" y="811"/>
                </a:lnTo>
                <a:lnTo>
                  <a:pt x="564" y="811"/>
                </a:lnTo>
                <a:lnTo>
                  <a:pt x="566" y="811"/>
                </a:lnTo>
                <a:lnTo>
                  <a:pt x="564" y="811"/>
                </a:lnTo>
                <a:close/>
                <a:moveTo>
                  <a:pt x="580" y="1130"/>
                </a:moveTo>
                <a:lnTo>
                  <a:pt x="587" y="1128"/>
                </a:lnTo>
                <a:lnTo>
                  <a:pt x="595" y="1126"/>
                </a:lnTo>
                <a:lnTo>
                  <a:pt x="586" y="1135"/>
                </a:lnTo>
                <a:lnTo>
                  <a:pt x="580" y="1130"/>
                </a:lnTo>
                <a:close/>
                <a:moveTo>
                  <a:pt x="677" y="938"/>
                </a:moveTo>
                <a:lnTo>
                  <a:pt x="676" y="939"/>
                </a:lnTo>
                <a:lnTo>
                  <a:pt x="676" y="940"/>
                </a:lnTo>
                <a:lnTo>
                  <a:pt x="676" y="939"/>
                </a:lnTo>
                <a:lnTo>
                  <a:pt x="677" y="938"/>
                </a:lnTo>
                <a:close/>
                <a:moveTo>
                  <a:pt x="635" y="1297"/>
                </a:moveTo>
                <a:lnTo>
                  <a:pt x="635" y="1296"/>
                </a:lnTo>
                <a:lnTo>
                  <a:pt x="635" y="1295"/>
                </a:lnTo>
                <a:lnTo>
                  <a:pt x="635" y="1296"/>
                </a:lnTo>
                <a:lnTo>
                  <a:pt x="635" y="1297"/>
                </a:lnTo>
                <a:close/>
                <a:moveTo>
                  <a:pt x="658" y="1003"/>
                </a:moveTo>
                <a:lnTo>
                  <a:pt x="658" y="1002"/>
                </a:lnTo>
                <a:lnTo>
                  <a:pt x="658" y="1002"/>
                </a:lnTo>
                <a:lnTo>
                  <a:pt x="658" y="1002"/>
                </a:lnTo>
                <a:lnTo>
                  <a:pt x="658" y="1003"/>
                </a:lnTo>
                <a:close/>
                <a:moveTo>
                  <a:pt x="609" y="1192"/>
                </a:moveTo>
                <a:lnTo>
                  <a:pt x="610" y="1193"/>
                </a:lnTo>
                <a:lnTo>
                  <a:pt x="611" y="1194"/>
                </a:lnTo>
                <a:lnTo>
                  <a:pt x="610" y="1193"/>
                </a:lnTo>
                <a:lnTo>
                  <a:pt x="609" y="1192"/>
                </a:lnTo>
                <a:lnTo>
                  <a:pt x="608" y="1195"/>
                </a:lnTo>
                <a:lnTo>
                  <a:pt x="605" y="1196"/>
                </a:lnTo>
                <a:lnTo>
                  <a:pt x="607" y="1188"/>
                </a:lnTo>
                <a:lnTo>
                  <a:pt x="610" y="1179"/>
                </a:lnTo>
                <a:lnTo>
                  <a:pt x="614" y="1170"/>
                </a:lnTo>
                <a:lnTo>
                  <a:pt x="618" y="1161"/>
                </a:lnTo>
                <a:lnTo>
                  <a:pt x="620" y="1151"/>
                </a:lnTo>
                <a:lnTo>
                  <a:pt x="622" y="1140"/>
                </a:lnTo>
                <a:lnTo>
                  <a:pt x="624" y="1137"/>
                </a:lnTo>
                <a:lnTo>
                  <a:pt x="626" y="1132"/>
                </a:lnTo>
                <a:lnTo>
                  <a:pt x="627" y="1129"/>
                </a:lnTo>
                <a:lnTo>
                  <a:pt x="627" y="1124"/>
                </a:lnTo>
                <a:lnTo>
                  <a:pt x="627" y="1129"/>
                </a:lnTo>
                <a:lnTo>
                  <a:pt x="630" y="1129"/>
                </a:lnTo>
                <a:lnTo>
                  <a:pt x="626" y="1146"/>
                </a:lnTo>
                <a:lnTo>
                  <a:pt x="622" y="1162"/>
                </a:lnTo>
                <a:lnTo>
                  <a:pt x="618" y="1178"/>
                </a:lnTo>
                <a:lnTo>
                  <a:pt x="614" y="1195"/>
                </a:lnTo>
                <a:lnTo>
                  <a:pt x="612" y="1192"/>
                </a:lnTo>
                <a:lnTo>
                  <a:pt x="609" y="1192"/>
                </a:lnTo>
                <a:lnTo>
                  <a:pt x="611" y="1190"/>
                </a:lnTo>
                <a:lnTo>
                  <a:pt x="609" y="1192"/>
                </a:lnTo>
                <a:close/>
                <a:moveTo>
                  <a:pt x="638" y="1230"/>
                </a:moveTo>
                <a:lnTo>
                  <a:pt x="647" y="1225"/>
                </a:lnTo>
                <a:lnTo>
                  <a:pt x="661" y="1225"/>
                </a:lnTo>
                <a:lnTo>
                  <a:pt x="650" y="1229"/>
                </a:lnTo>
                <a:lnTo>
                  <a:pt x="638" y="1230"/>
                </a:lnTo>
                <a:close/>
                <a:moveTo>
                  <a:pt x="660" y="1243"/>
                </a:moveTo>
                <a:lnTo>
                  <a:pt x="660" y="1244"/>
                </a:lnTo>
                <a:lnTo>
                  <a:pt x="659" y="1244"/>
                </a:lnTo>
                <a:lnTo>
                  <a:pt x="660" y="1244"/>
                </a:lnTo>
                <a:lnTo>
                  <a:pt x="660" y="1243"/>
                </a:lnTo>
                <a:close/>
                <a:moveTo>
                  <a:pt x="690" y="1238"/>
                </a:moveTo>
                <a:lnTo>
                  <a:pt x="688" y="1236"/>
                </a:lnTo>
                <a:lnTo>
                  <a:pt x="691" y="1234"/>
                </a:lnTo>
                <a:lnTo>
                  <a:pt x="691" y="1236"/>
                </a:lnTo>
                <a:lnTo>
                  <a:pt x="690" y="1238"/>
                </a:lnTo>
                <a:lnTo>
                  <a:pt x="690" y="1237"/>
                </a:lnTo>
                <a:lnTo>
                  <a:pt x="690" y="1238"/>
                </a:lnTo>
                <a:close/>
                <a:moveTo>
                  <a:pt x="707" y="1445"/>
                </a:moveTo>
                <a:lnTo>
                  <a:pt x="703" y="1450"/>
                </a:lnTo>
                <a:lnTo>
                  <a:pt x="699" y="1452"/>
                </a:lnTo>
                <a:lnTo>
                  <a:pt x="696" y="1452"/>
                </a:lnTo>
                <a:lnTo>
                  <a:pt x="698" y="1450"/>
                </a:lnTo>
                <a:lnTo>
                  <a:pt x="700" y="1446"/>
                </a:lnTo>
                <a:lnTo>
                  <a:pt x="704" y="1444"/>
                </a:lnTo>
                <a:lnTo>
                  <a:pt x="708" y="1444"/>
                </a:lnTo>
                <a:lnTo>
                  <a:pt x="707" y="1445"/>
                </a:lnTo>
                <a:lnTo>
                  <a:pt x="707" y="1446"/>
                </a:lnTo>
                <a:lnTo>
                  <a:pt x="707" y="1445"/>
                </a:lnTo>
                <a:close/>
                <a:moveTo>
                  <a:pt x="703" y="1401"/>
                </a:moveTo>
                <a:lnTo>
                  <a:pt x="704" y="1401"/>
                </a:lnTo>
                <a:lnTo>
                  <a:pt x="706" y="1402"/>
                </a:lnTo>
                <a:lnTo>
                  <a:pt x="703" y="1402"/>
                </a:lnTo>
                <a:lnTo>
                  <a:pt x="702" y="1402"/>
                </a:lnTo>
                <a:lnTo>
                  <a:pt x="703" y="1401"/>
                </a:lnTo>
                <a:lnTo>
                  <a:pt x="703" y="1401"/>
                </a:lnTo>
                <a:close/>
                <a:moveTo>
                  <a:pt x="680" y="1501"/>
                </a:moveTo>
                <a:lnTo>
                  <a:pt x="679" y="1501"/>
                </a:lnTo>
                <a:lnTo>
                  <a:pt x="679" y="1501"/>
                </a:lnTo>
                <a:lnTo>
                  <a:pt x="680" y="1500"/>
                </a:lnTo>
                <a:lnTo>
                  <a:pt x="680" y="1501"/>
                </a:lnTo>
                <a:close/>
                <a:moveTo>
                  <a:pt x="723" y="1030"/>
                </a:moveTo>
                <a:lnTo>
                  <a:pt x="698" y="1052"/>
                </a:lnTo>
                <a:lnTo>
                  <a:pt x="671" y="1073"/>
                </a:lnTo>
                <a:lnTo>
                  <a:pt x="699" y="1039"/>
                </a:lnTo>
                <a:lnTo>
                  <a:pt x="732" y="1008"/>
                </a:lnTo>
                <a:lnTo>
                  <a:pt x="731" y="1021"/>
                </a:lnTo>
                <a:lnTo>
                  <a:pt x="723" y="1030"/>
                </a:lnTo>
                <a:lnTo>
                  <a:pt x="718" y="1034"/>
                </a:lnTo>
                <a:lnTo>
                  <a:pt x="723" y="1030"/>
                </a:lnTo>
                <a:close/>
                <a:moveTo>
                  <a:pt x="734" y="404"/>
                </a:moveTo>
                <a:lnTo>
                  <a:pt x="744" y="407"/>
                </a:lnTo>
                <a:lnTo>
                  <a:pt x="752" y="414"/>
                </a:lnTo>
                <a:lnTo>
                  <a:pt x="749" y="416"/>
                </a:lnTo>
                <a:lnTo>
                  <a:pt x="743" y="414"/>
                </a:lnTo>
                <a:lnTo>
                  <a:pt x="739" y="409"/>
                </a:lnTo>
                <a:lnTo>
                  <a:pt x="734" y="404"/>
                </a:lnTo>
                <a:lnTo>
                  <a:pt x="737" y="406"/>
                </a:lnTo>
                <a:lnTo>
                  <a:pt x="734" y="404"/>
                </a:lnTo>
                <a:close/>
                <a:moveTo>
                  <a:pt x="772" y="623"/>
                </a:moveTo>
                <a:lnTo>
                  <a:pt x="768" y="620"/>
                </a:lnTo>
                <a:lnTo>
                  <a:pt x="767" y="614"/>
                </a:lnTo>
                <a:lnTo>
                  <a:pt x="770" y="609"/>
                </a:lnTo>
                <a:lnTo>
                  <a:pt x="768" y="607"/>
                </a:lnTo>
                <a:lnTo>
                  <a:pt x="765" y="607"/>
                </a:lnTo>
                <a:lnTo>
                  <a:pt x="761" y="608"/>
                </a:lnTo>
                <a:lnTo>
                  <a:pt x="758" y="604"/>
                </a:lnTo>
                <a:lnTo>
                  <a:pt x="760" y="599"/>
                </a:lnTo>
                <a:lnTo>
                  <a:pt x="761" y="598"/>
                </a:lnTo>
                <a:lnTo>
                  <a:pt x="764" y="597"/>
                </a:lnTo>
                <a:lnTo>
                  <a:pt x="764" y="595"/>
                </a:lnTo>
                <a:lnTo>
                  <a:pt x="764" y="592"/>
                </a:lnTo>
                <a:lnTo>
                  <a:pt x="765" y="588"/>
                </a:lnTo>
                <a:lnTo>
                  <a:pt x="768" y="586"/>
                </a:lnTo>
                <a:lnTo>
                  <a:pt x="773" y="584"/>
                </a:lnTo>
                <a:lnTo>
                  <a:pt x="776" y="582"/>
                </a:lnTo>
                <a:lnTo>
                  <a:pt x="777" y="578"/>
                </a:lnTo>
                <a:lnTo>
                  <a:pt x="776" y="573"/>
                </a:lnTo>
                <a:lnTo>
                  <a:pt x="780" y="573"/>
                </a:lnTo>
                <a:lnTo>
                  <a:pt x="783" y="571"/>
                </a:lnTo>
                <a:lnTo>
                  <a:pt x="782" y="566"/>
                </a:lnTo>
                <a:lnTo>
                  <a:pt x="782" y="563"/>
                </a:lnTo>
                <a:lnTo>
                  <a:pt x="790" y="561"/>
                </a:lnTo>
                <a:lnTo>
                  <a:pt x="799" y="561"/>
                </a:lnTo>
                <a:lnTo>
                  <a:pt x="808" y="561"/>
                </a:lnTo>
                <a:lnTo>
                  <a:pt x="817" y="563"/>
                </a:lnTo>
                <a:lnTo>
                  <a:pt x="822" y="564"/>
                </a:lnTo>
                <a:lnTo>
                  <a:pt x="825" y="566"/>
                </a:lnTo>
                <a:lnTo>
                  <a:pt x="825" y="571"/>
                </a:lnTo>
                <a:lnTo>
                  <a:pt x="822" y="574"/>
                </a:lnTo>
                <a:lnTo>
                  <a:pt x="816" y="574"/>
                </a:lnTo>
                <a:lnTo>
                  <a:pt x="809" y="574"/>
                </a:lnTo>
                <a:lnTo>
                  <a:pt x="799" y="574"/>
                </a:lnTo>
                <a:lnTo>
                  <a:pt x="787" y="574"/>
                </a:lnTo>
                <a:lnTo>
                  <a:pt x="800" y="579"/>
                </a:lnTo>
                <a:lnTo>
                  <a:pt x="814" y="580"/>
                </a:lnTo>
                <a:lnTo>
                  <a:pt x="803" y="589"/>
                </a:lnTo>
                <a:lnTo>
                  <a:pt x="792" y="597"/>
                </a:lnTo>
                <a:lnTo>
                  <a:pt x="787" y="601"/>
                </a:lnTo>
                <a:lnTo>
                  <a:pt x="784" y="607"/>
                </a:lnTo>
                <a:lnTo>
                  <a:pt x="781" y="613"/>
                </a:lnTo>
                <a:lnTo>
                  <a:pt x="780" y="617"/>
                </a:lnTo>
                <a:lnTo>
                  <a:pt x="789" y="619"/>
                </a:lnTo>
                <a:lnTo>
                  <a:pt x="797" y="608"/>
                </a:lnTo>
                <a:lnTo>
                  <a:pt x="801" y="605"/>
                </a:lnTo>
                <a:lnTo>
                  <a:pt x="806" y="611"/>
                </a:lnTo>
                <a:lnTo>
                  <a:pt x="813" y="601"/>
                </a:lnTo>
                <a:lnTo>
                  <a:pt x="822" y="597"/>
                </a:lnTo>
                <a:lnTo>
                  <a:pt x="824" y="599"/>
                </a:lnTo>
                <a:lnTo>
                  <a:pt x="826" y="599"/>
                </a:lnTo>
                <a:lnTo>
                  <a:pt x="824" y="596"/>
                </a:lnTo>
                <a:lnTo>
                  <a:pt x="823" y="591"/>
                </a:lnTo>
                <a:lnTo>
                  <a:pt x="825" y="591"/>
                </a:lnTo>
                <a:lnTo>
                  <a:pt x="827" y="593"/>
                </a:lnTo>
                <a:lnTo>
                  <a:pt x="832" y="598"/>
                </a:lnTo>
                <a:lnTo>
                  <a:pt x="833" y="604"/>
                </a:lnTo>
                <a:lnTo>
                  <a:pt x="826" y="606"/>
                </a:lnTo>
                <a:lnTo>
                  <a:pt x="819" y="607"/>
                </a:lnTo>
                <a:lnTo>
                  <a:pt x="818" y="611"/>
                </a:lnTo>
                <a:lnTo>
                  <a:pt x="818" y="614"/>
                </a:lnTo>
                <a:lnTo>
                  <a:pt x="814" y="614"/>
                </a:lnTo>
                <a:lnTo>
                  <a:pt x="808" y="615"/>
                </a:lnTo>
                <a:lnTo>
                  <a:pt x="805" y="619"/>
                </a:lnTo>
                <a:lnTo>
                  <a:pt x="802" y="622"/>
                </a:lnTo>
                <a:lnTo>
                  <a:pt x="803" y="624"/>
                </a:lnTo>
                <a:lnTo>
                  <a:pt x="805" y="625"/>
                </a:lnTo>
                <a:lnTo>
                  <a:pt x="805" y="629"/>
                </a:lnTo>
                <a:lnTo>
                  <a:pt x="803" y="632"/>
                </a:lnTo>
                <a:lnTo>
                  <a:pt x="801" y="634"/>
                </a:lnTo>
                <a:lnTo>
                  <a:pt x="798" y="634"/>
                </a:lnTo>
                <a:lnTo>
                  <a:pt x="793" y="636"/>
                </a:lnTo>
                <a:lnTo>
                  <a:pt x="789" y="636"/>
                </a:lnTo>
                <a:lnTo>
                  <a:pt x="784" y="634"/>
                </a:lnTo>
                <a:lnTo>
                  <a:pt x="781" y="631"/>
                </a:lnTo>
                <a:lnTo>
                  <a:pt x="776" y="626"/>
                </a:lnTo>
                <a:lnTo>
                  <a:pt x="772" y="623"/>
                </a:lnTo>
                <a:lnTo>
                  <a:pt x="770" y="623"/>
                </a:lnTo>
                <a:lnTo>
                  <a:pt x="772" y="623"/>
                </a:lnTo>
                <a:close/>
                <a:moveTo>
                  <a:pt x="780" y="1441"/>
                </a:moveTo>
                <a:lnTo>
                  <a:pt x="773" y="1438"/>
                </a:lnTo>
                <a:lnTo>
                  <a:pt x="775" y="1425"/>
                </a:lnTo>
                <a:lnTo>
                  <a:pt x="780" y="1433"/>
                </a:lnTo>
                <a:lnTo>
                  <a:pt x="780" y="1441"/>
                </a:lnTo>
                <a:close/>
                <a:moveTo>
                  <a:pt x="778" y="874"/>
                </a:moveTo>
                <a:lnTo>
                  <a:pt x="775" y="873"/>
                </a:lnTo>
                <a:lnTo>
                  <a:pt x="775" y="870"/>
                </a:lnTo>
                <a:lnTo>
                  <a:pt x="777" y="870"/>
                </a:lnTo>
                <a:lnTo>
                  <a:pt x="780" y="869"/>
                </a:lnTo>
                <a:lnTo>
                  <a:pt x="782" y="868"/>
                </a:lnTo>
                <a:lnTo>
                  <a:pt x="783" y="866"/>
                </a:lnTo>
                <a:lnTo>
                  <a:pt x="792" y="865"/>
                </a:lnTo>
                <a:lnTo>
                  <a:pt x="803" y="865"/>
                </a:lnTo>
                <a:lnTo>
                  <a:pt x="797" y="875"/>
                </a:lnTo>
                <a:lnTo>
                  <a:pt x="789" y="885"/>
                </a:lnTo>
                <a:lnTo>
                  <a:pt x="787" y="875"/>
                </a:lnTo>
                <a:lnTo>
                  <a:pt x="778" y="874"/>
                </a:lnTo>
                <a:lnTo>
                  <a:pt x="781" y="874"/>
                </a:lnTo>
                <a:lnTo>
                  <a:pt x="778" y="874"/>
                </a:lnTo>
                <a:close/>
                <a:moveTo>
                  <a:pt x="785" y="1531"/>
                </a:moveTo>
                <a:lnTo>
                  <a:pt x="782" y="1536"/>
                </a:lnTo>
                <a:lnTo>
                  <a:pt x="778" y="1537"/>
                </a:lnTo>
                <a:lnTo>
                  <a:pt x="780" y="1534"/>
                </a:lnTo>
                <a:lnTo>
                  <a:pt x="785" y="1531"/>
                </a:lnTo>
                <a:lnTo>
                  <a:pt x="784" y="1531"/>
                </a:lnTo>
                <a:lnTo>
                  <a:pt x="785" y="1531"/>
                </a:lnTo>
                <a:close/>
                <a:moveTo>
                  <a:pt x="794" y="1510"/>
                </a:moveTo>
                <a:lnTo>
                  <a:pt x="787" y="1511"/>
                </a:lnTo>
                <a:lnTo>
                  <a:pt x="784" y="1518"/>
                </a:lnTo>
                <a:lnTo>
                  <a:pt x="784" y="1514"/>
                </a:lnTo>
                <a:lnTo>
                  <a:pt x="787" y="1512"/>
                </a:lnTo>
                <a:lnTo>
                  <a:pt x="790" y="1510"/>
                </a:lnTo>
                <a:lnTo>
                  <a:pt x="793" y="1508"/>
                </a:lnTo>
                <a:lnTo>
                  <a:pt x="793" y="1509"/>
                </a:lnTo>
                <a:lnTo>
                  <a:pt x="794" y="1510"/>
                </a:lnTo>
                <a:lnTo>
                  <a:pt x="795" y="1509"/>
                </a:lnTo>
                <a:lnTo>
                  <a:pt x="798" y="1508"/>
                </a:lnTo>
                <a:lnTo>
                  <a:pt x="795" y="1509"/>
                </a:lnTo>
                <a:lnTo>
                  <a:pt x="794" y="1510"/>
                </a:lnTo>
                <a:lnTo>
                  <a:pt x="794" y="1509"/>
                </a:lnTo>
                <a:lnTo>
                  <a:pt x="794" y="1510"/>
                </a:lnTo>
                <a:close/>
                <a:moveTo>
                  <a:pt x="808" y="1608"/>
                </a:moveTo>
                <a:lnTo>
                  <a:pt x="806" y="1608"/>
                </a:lnTo>
                <a:lnTo>
                  <a:pt x="802" y="1605"/>
                </a:lnTo>
                <a:lnTo>
                  <a:pt x="802" y="1603"/>
                </a:lnTo>
                <a:lnTo>
                  <a:pt x="802" y="1599"/>
                </a:lnTo>
                <a:lnTo>
                  <a:pt x="807" y="1602"/>
                </a:lnTo>
                <a:lnTo>
                  <a:pt x="808" y="1608"/>
                </a:lnTo>
                <a:lnTo>
                  <a:pt x="808" y="1607"/>
                </a:lnTo>
                <a:lnTo>
                  <a:pt x="808" y="1608"/>
                </a:lnTo>
                <a:close/>
                <a:moveTo>
                  <a:pt x="816" y="1444"/>
                </a:moveTo>
                <a:lnTo>
                  <a:pt x="824" y="1458"/>
                </a:lnTo>
                <a:lnTo>
                  <a:pt x="832" y="1471"/>
                </a:lnTo>
                <a:lnTo>
                  <a:pt x="820" y="1460"/>
                </a:lnTo>
                <a:lnTo>
                  <a:pt x="816" y="1444"/>
                </a:lnTo>
                <a:close/>
                <a:moveTo>
                  <a:pt x="838" y="1406"/>
                </a:moveTo>
                <a:lnTo>
                  <a:pt x="839" y="1410"/>
                </a:lnTo>
                <a:lnTo>
                  <a:pt x="840" y="1413"/>
                </a:lnTo>
                <a:lnTo>
                  <a:pt x="839" y="1410"/>
                </a:lnTo>
                <a:lnTo>
                  <a:pt x="838" y="1406"/>
                </a:lnTo>
                <a:close/>
                <a:moveTo>
                  <a:pt x="857" y="1406"/>
                </a:moveTo>
                <a:lnTo>
                  <a:pt x="850" y="1402"/>
                </a:lnTo>
                <a:lnTo>
                  <a:pt x="847" y="1393"/>
                </a:lnTo>
                <a:lnTo>
                  <a:pt x="839" y="1383"/>
                </a:lnTo>
                <a:lnTo>
                  <a:pt x="831" y="1372"/>
                </a:lnTo>
                <a:lnTo>
                  <a:pt x="833" y="1383"/>
                </a:lnTo>
                <a:lnTo>
                  <a:pt x="832" y="1391"/>
                </a:lnTo>
                <a:lnTo>
                  <a:pt x="830" y="1389"/>
                </a:lnTo>
                <a:lnTo>
                  <a:pt x="827" y="1388"/>
                </a:lnTo>
                <a:lnTo>
                  <a:pt x="826" y="1392"/>
                </a:lnTo>
                <a:lnTo>
                  <a:pt x="830" y="1396"/>
                </a:lnTo>
                <a:lnTo>
                  <a:pt x="824" y="1393"/>
                </a:lnTo>
                <a:lnTo>
                  <a:pt x="819" y="1386"/>
                </a:lnTo>
                <a:lnTo>
                  <a:pt x="818" y="1379"/>
                </a:lnTo>
                <a:lnTo>
                  <a:pt x="820" y="1371"/>
                </a:lnTo>
                <a:lnTo>
                  <a:pt x="822" y="1363"/>
                </a:lnTo>
                <a:lnTo>
                  <a:pt x="823" y="1355"/>
                </a:lnTo>
                <a:lnTo>
                  <a:pt x="828" y="1354"/>
                </a:lnTo>
                <a:lnTo>
                  <a:pt x="834" y="1360"/>
                </a:lnTo>
                <a:lnTo>
                  <a:pt x="838" y="1369"/>
                </a:lnTo>
                <a:lnTo>
                  <a:pt x="841" y="1377"/>
                </a:lnTo>
                <a:lnTo>
                  <a:pt x="846" y="1385"/>
                </a:lnTo>
                <a:lnTo>
                  <a:pt x="851" y="1393"/>
                </a:lnTo>
                <a:lnTo>
                  <a:pt x="852" y="1394"/>
                </a:lnTo>
                <a:lnTo>
                  <a:pt x="853" y="1396"/>
                </a:lnTo>
                <a:lnTo>
                  <a:pt x="857" y="1396"/>
                </a:lnTo>
                <a:lnTo>
                  <a:pt x="860" y="1396"/>
                </a:lnTo>
                <a:lnTo>
                  <a:pt x="861" y="1402"/>
                </a:lnTo>
                <a:lnTo>
                  <a:pt x="857" y="1406"/>
                </a:lnTo>
                <a:lnTo>
                  <a:pt x="857" y="1408"/>
                </a:lnTo>
                <a:lnTo>
                  <a:pt x="857" y="1406"/>
                </a:lnTo>
                <a:close/>
                <a:moveTo>
                  <a:pt x="906" y="1658"/>
                </a:moveTo>
                <a:lnTo>
                  <a:pt x="905" y="1660"/>
                </a:lnTo>
                <a:lnTo>
                  <a:pt x="905" y="1662"/>
                </a:lnTo>
                <a:lnTo>
                  <a:pt x="900" y="1661"/>
                </a:lnTo>
                <a:lnTo>
                  <a:pt x="894" y="1660"/>
                </a:lnTo>
                <a:lnTo>
                  <a:pt x="899" y="1654"/>
                </a:lnTo>
                <a:lnTo>
                  <a:pt x="906" y="1658"/>
                </a:lnTo>
                <a:lnTo>
                  <a:pt x="902" y="1655"/>
                </a:lnTo>
                <a:lnTo>
                  <a:pt x="906" y="1658"/>
                </a:lnTo>
                <a:close/>
                <a:moveTo>
                  <a:pt x="892" y="1645"/>
                </a:moveTo>
                <a:lnTo>
                  <a:pt x="896" y="1647"/>
                </a:lnTo>
                <a:lnTo>
                  <a:pt x="893" y="1653"/>
                </a:lnTo>
                <a:lnTo>
                  <a:pt x="890" y="1657"/>
                </a:lnTo>
                <a:lnTo>
                  <a:pt x="885" y="1658"/>
                </a:lnTo>
                <a:lnTo>
                  <a:pt x="881" y="1657"/>
                </a:lnTo>
                <a:lnTo>
                  <a:pt x="881" y="1652"/>
                </a:lnTo>
                <a:lnTo>
                  <a:pt x="886" y="1647"/>
                </a:lnTo>
                <a:lnTo>
                  <a:pt x="892" y="1645"/>
                </a:lnTo>
                <a:lnTo>
                  <a:pt x="891" y="1646"/>
                </a:lnTo>
                <a:lnTo>
                  <a:pt x="892" y="1645"/>
                </a:lnTo>
                <a:close/>
                <a:moveTo>
                  <a:pt x="886" y="1636"/>
                </a:moveTo>
                <a:lnTo>
                  <a:pt x="883" y="1637"/>
                </a:lnTo>
                <a:lnTo>
                  <a:pt x="881" y="1636"/>
                </a:lnTo>
                <a:lnTo>
                  <a:pt x="880" y="1633"/>
                </a:lnTo>
                <a:lnTo>
                  <a:pt x="879" y="1629"/>
                </a:lnTo>
                <a:lnTo>
                  <a:pt x="879" y="1627"/>
                </a:lnTo>
                <a:lnTo>
                  <a:pt x="882" y="1625"/>
                </a:lnTo>
                <a:lnTo>
                  <a:pt x="885" y="1626"/>
                </a:lnTo>
                <a:lnTo>
                  <a:pt x="886" y="1628"/>
                </a:lnTo>
                <a:lnTo>
                  <a:pt x="886" y="1628"/>
                </a:lnTo>
                <a:lnTo>
                  <a:pt x="886" y="1629"/>
                </a:lnTo>
                <a:lnTo>
                  <a:pt x="890" y="1626"/>
                </a:lnTo>
                <a:lnTo>
                  <a:pt x="894" y="1628"/>
                </a:lnTo>
                <a:lnTo>
                  <a:pt x="891" y="1633"/>
                </a:lnTo>
                <a:lnTo>
                  <a:pt x="886" y="1636"/>
                </a:lnTo>
                <a:lnTo>
                  <a:pt x="886" y="1636"/>
                </a:lnTo>
                <a:lnTo>
                  <a:pt x="886" y="1636"/>
                </a:lnTo>
                <a:close/>
                <a:moveTo>
                  <a:pt x="899" y="1400"/>
                </a:moveTo>
                <a:lnTo>
                  <a:pt x="899" y="1401"/>
                </a:lnTo>
                <a:lnTo>
                  <a:pt x="899" y="1400"/>
                </a:lnTo>
                <a:close/>
                <a:moveTo>
                  <a:pt x="898" y="1421"/>
                </a:moveTo>
                <a:lnTo>
                  <a:pt x="904" y="1411"/>
                </a:lnTo>
                <a:lnTo>
                  <a:pt x="915" y="1406"/>
                </a:lnTo>
                <a:lnTo>
                  <a:pt x="908" y="1403"/>
                </a:lnTo>
                <a:lnTo>
                  <a:pt x="901" y="1400"/>
                </a:lnTo>
                <a:lnTo>
                  <a:pt x="898" y="1398"/>
                </a:lnTo>
                <a:lnTo>
                  <a:pt x="894" y="1395"/>
                </a:lnTo>
                <a:lnTo>
                  <a:pt x="907" y="1394"/>
                </a:lnTo>
                <a:lnTo>
                  <a:pt x="920" y="1396"/>
                </a:lnTo>
                <a:lnTo>
                  <a:pt x="913" y="1391"/>
                </a:lnTo>
                <a:lnTo>
                  <a:pt x="905" y="1387"/>
                </a:lnTo>
                <a:lnTo>
                  <a:pt x="904" y="1385"/>
                </a:lnTo>
                <a:lnTo>
                  <a:pt x="902" y="1387"/>
                </a:lnTo>
                <a:lnTo>
                  <a:pt x="899" y="1389"/>
                </a:lnTo>
                <a:lnTo>
                  <a:pt x="897" y="1391"/>
                </a:lnTo>
                <a:lnTo>
                  <a:pt x="884" y="1396"/>
                </a:lnTo>
                <a:lnTo>
                  <a:pt x="879" y="1408"/>
                </a:lnTo>
                <a:lnTo>
                  <a:pt x="874" y="1403"/>
                </a:lnTo>
                <a:lnTo>
                  <a:pt x="875" y="1396"/>
                </a:lnTo>
                <a:lnTo>
                  <a:pt x="876" y="1392"/>
                </a:lnTo>
                <a:lnTo>
                  <a:pt x="876" y="1387"/>
                </a:lnTo>
                <a:lnTo>
                  <a:pt x="883" y="1389"/>
                </a:lnTo>
                <a:lnTo>
                  <a:pt x="893" y="1387"/>
                </a:lnTo>
                <a:lnTo>
                  <a:pt x="897" y="1384"/>
                </a:lnTo>
                <a:lnTo>
                  <a:pt x="899" y="1380"/>
                </a:lnTo>
                <a:lnTo>
                  <a:pt x="904" y="1379"/>
                </a:lnTo>
                <a:lnTo>
                  <a:pt x="909" y="1377"/>
                </a:lnTo>
                <a:lnTo>
                  <a:pt x="897" y="1377"/>
                </a:lnTo>
                <a:lnTo>
                  <a:pt x="894" y="1370"/>
                </a:lnTo>
                <a:lnTo>
                  <a:pt x="900" y="1368"/>
                </a:lnTo>
                <a:lnTo>
                  <a:pt x="899" y="1362"/>
                </a:lnTo>
                <a:lnTo>
                  <a:pt x="894" y="1359"/>
                </a:lnTo>
                <a:lnTo>
                  <a:pt x="890" y="1361"/>
                </a:lnTo>
                <a:lnTo>
                  <a:pt x="888" y="1362"/>
                </a:lnTo>
                <a:lnTo>
                  <a:pt x="884" y="1363"/>
                </a:lnTo>
                <a:lnTo>
                  <a:pt x="883" y="1362"/>
                </a:lnTo>
                <a:lnTo>
                  <a:pt x="883" y="1361"/>
                </a:lnTo>
                <a:lnTo>
                  <a:pt x="883" y="1360"/>
                </a:lnTo>
                <a:lnTo>
                  <a:pt x="882" y="1358"/>
                </a:lnTo>
                <a:lnTo>
                  <a:pt x="880" y="1359"/>
                </a:lnTo>
                <a:lnTo>
                  <a:pt x="876" y="1360"/>
                </a:lnTo>
                <a:lnTo>
                  <a:pt x="872" y="1363"/>
                </a:lnTo>
                <a:lnTo>
                  <a:pt x="865" y="1364"/>
                </a:lnTo>
                <a:lnTo>
                  <a:pt x="868" y="1355"/>
                </a:lnTo>
                <a:lnTo>
                  <a:pt x="876" y="1351"/>
                </a:lnTo>
                <a:lnTo>
                  <a:pt x="891" y="1350"/>
                </a:lnTo>
                <a:lnTo>
                  <a:pt x="905" y="1353"/>
                </a:lnTo>
                <a:lnTo>
                  <a:pt x="907" y="1355"/>
                </a:lnTo>
                <a:lnTo>
                  <a:pt x="906" y="1359"/>
                </a:lnTo>
                <a:lnTo>
                  <a:pt x="905" y="1361"/>
                </a:lnTo>
                <a:lnTo>
                  <a:pt x="906" y="1363"/>
                </a:lnTo>
                <a:lnTo>
                  <a:pt x="908" y="1364"/>
                </a:lnTo>
                <a:lnTo>
                  <a:pt x="912" y="1365"/>
                </a:lnTo>
                <a:lnTo>
                  <a:pt x="916" y="1363"/>
                </a:lnTo>
                <a:lnTo>
                  <a:pt x="922" y="1361"/>
                </a:lnTo>
                <a:lnTo>
                  <a:pt x="927" y="1363"/>
                </a:lnTo>
                <a:lnTo>
                  <a:pt x="933" y="1365"/>
                </a:lnTo>
                <a:lnTo>
                  <a:pt x="926" y="1368"/>
                </a:lnTo>
                <a:lnTo>
                  <a:pt x="923" y="1373"/>
                </a:lnTo>
                <a:lnTo>
                  <a:pt x="929" y="1381"/>
                </a:lnTo>
                <a:lnTo>
                  <a:pt x="935" y="1389"/>
                </a:lnTo>
                <a:lnTo>
                  <a:pt x="931" y="1391"/>
                </a:lnTo>
                <a:lnTo>
                  <a:pt x="926" y="1393"/>
                </a:lnTo>
                <a:lnTo>
                  <a:pt x="933" y="1394"/>
                </a:lnTo>
                <a:lnTo>
                  <a:pt x="939" y="1397"/>
                </a:lnTo>
                <a:lnTo>
                  <a:pt x="929" y="1401"/>
                </a:lnTo>
                <a:lnTo>
                  <a:pt x="920" y="1406"/>
                </a:lnTo>
                <a:lnTo>
                  <a:pt x="925" y="1408"/>
                </a:lnTo>
                <a:lnTo>
                  <a:pt x="931" y="1405"/>
                </a:lnTo>
                <a:lnTo>
                  <a:pt x="935" y="1403"/>
                </a:lnTo>
                <a:lnTo>
                  <a:pt x="940" y="1406"/>
                </a:lnTo>
                <a:lnTo>
                  <a:pt x="938" y="1410"/>
                </a:lnTo>
                <a:lnTo>
                  <a:pt x="938" y="1416"/>
                </a:lnTo>
                <a:lnTo>
                  <a:pt x="941" y="1419"/>
                </a:lnTo>
                <a:lnTo>
                  <a:pt x="945" y="1423"/>
                </a:lnTo>
                <a:lnTo>
                  <a:pt x="934" y="1428"/>
                </a:lnTo>
                <a:lnTo>
                  <a:pt x="923" y="1426"/>
                </a:lnTo>
                <a:lnTo>
                  <a:pt x="909" y="1425"/>
                </a:lnTo>
                <a:lnTo>
                  <a:pt x="898" y="1421"/>
                </a:lnTo>
                <a:lnTo>
                  <a:pt x="898" y="1421"/>
                </a:lnTo>
                <a:lnTo>
                  <a:pt x="898" y="1421"/>
                </a:lnTo>
                <a:close/>
                <a:moveTo>
                  <a:pt x="883" y="1380"/>
                </a:moveTo>
                <a:lnTo>
                  <a:pt x="882" y="1380"/>
                </a:lnTo>
                <a:lnTo>
                  <a:pt x="882" y="1381"/>
                </a:lnTo>
                <a:lnTo>
                  <a:pt x="882" y="1380"/>
                </a:lnTo>
                <a:lnTo>
                  <a:pt x="883" y="1380"/>
                </a:lnTo>
                <a:close/>
                <a:moveTo>
                  <a:pt x="948" y="1470"/>
                </a:moveTo>
                <a:lnTo>
                  <a:pt x="942" y="1472"/>
                </a:lnTo>
                <a:lnTo>
                  <a:pt x="937" y="1472"/>
                </a:lnTo>
                <a:lnTo>
                  <a:pt x="935" y="1475"/>
                </a:lnTo>
                <a:lnTo>
                  <a:pt x="934" y="1477"/>
                </a:lnTo>
                <a:lnTo>
                  <a:pt x="932" y="1478"/>
                </a:lnTo>
                <a:lnTo>
                  <a:pt x="930" y="1478"/>
                </a:lnTo>
                <a:lnTo>
                  <a:pt x="924" y="1479"/>
                </a:lnTo>
                <a:lnTo>
                  <a:pt x="917" y="1478"/>
                </a:lnTo>
                <a:lnTo>
                  <a:pt x="916" y="1475"/>
                </a:lnTo>
                <a:lnTo>
                  <a:pt x="917" y="1471"/>
                </a:lnTo>
                <a:lnTo>
                  <a:pt x="918" y="1467"/>
                </a:lnTo>
                <a:lnTo>
                  <a:pt x="917" y="1462"/>
                </a:lnTo>
                <a:lnTo>
                  <a:pt x="917" y="1460"/>
                </a:lnTo>
                <a:lnTo>
                  <a:pt x="916" y="1459"/>
                </a:lnTo>
                <a:lnTo>
                  <a:pt x="914" y="1458"/>
                </a:lnTo>
                <a:lnTo>
                  <a:pt x="912" y="1459"/>
                </a:lnTo>
                <a:lnTo>
                  <a:pt x="907" y="1458"/>
                </a:lnTo>
                <a:lnTo>
                  <a:pt x="906" y="1455"/>
                </a:lnTo>
                <a:lnTo>
                  <a:pt x="910" y="1453"/>
                </a:lnTo>
                <a:lnTo>
                  <a:pt x="916" y="1452"/>
                </a:lnTo>
                <a:lnTo>
                  <a:pt x="918" y="1446"/>
                </a:lnTo>
                <a:lnTo>
                  <a:pt x="922" y="1444"/>
                </a:lnTo>
                <a:lnTo>
                  <a:pt x="923" y="1446"/>
                </a:lnTo>
                <a:lnTo>
                  <a:pt x="923" y="1448"/>
                </a:lnTo>
                <a:lnTo>
                  <a:pt x="925" y="1453"/>
                </a:lnTo>
                <a:lnTo>
                  <a:pt x="925" y="1458"/>
                </a:lnTo>
                <a:lnTo>
                  <a:pt x="929" y="1456"/>
                </a:lnTo>
                <a:lnTo>
                  <a:pt x="932" y="1454"/>
                </a:lnTo>
                <a:lnTo>
                  <a:pt x="935" y="1453"/>
                </a:lnTo>
                <a:lnTo>
                  <a:pt x="937" y="1451"/>
                </a:lnTo>
                <a:lnTo>
                  <a:pt x="934" y="1448"/>
                </a:lnTo>
                <a:lnTo>
                  <a:pt x="932" y="1446"/>
                </a:lnTo>
                <a:lnTo>
                  <a:pt x="935" y="1444"/>
                </a:lnTo>
                <a:lnTo>
                  <a:pt x="941" y="1445"/>
                </a:lnTo>
                <a:lnTo>
                  <a:pt x="949" y="1451"/>
                </a:lnTo>
                <a:lnTo>
                  <a:pt x="950" y="1460"/>
                </a:lnTo>
                <a:lnTo>
                  <a:pt x="947" y="1462"/>
                </a:lnTo>
                <a:lnTo>
                  <a:pt x="945" y="1464"/>
                </a:lnTo>
                <a:lnTo>
                  <a:pt x="947" y="1467"/>
                </a:lnTo>
                <a:lnTo>
                  <a:pt x="948" y="1470"/>
                </a:lnTo>
                <a:lnTo>
                  <a:pt x="948" y="1469"/>
                </a:lnTo>
                <a:lnTo>
                  <a:pt x="948" y="1470"/>
                </a:lnTo>
                <a:close/>
                <a:moveTo>
                  <a:pt x="908" y="1492"/>
                </a:moveTo>
                <a:lnTo>
                  <a:pt x="905" y="1491"/>
                </a:lnTo>
                <a:lnTo>
                  <a:pt x="906" y="1486"/>
                </a:lnTo>
                <a:lnTo>
                  <a:pt x="913" y="1484"/>
                </a:lnTo>
                <a:lnTo>
                  <a:pt x="921" y="1485"/>
                </a:lnTo>
                <a:lnTo>
                  <a:pt x="915" y="1488"/>
                </a:lnTo>
                <a:lnTo>
                  <a:pt x="908" y="1492"/>
                </a:lnTo>
                <a:lnTo>
                  <a:pt x="909" y="1491"/>
                </a:lnTo>
                <a:lnTo>
                  <a:pt x="908" y="1492"/>
                </a:lnTo>
                <a:close/>
                <a:moveTo>
                  <a:pt x="923" y="1442"/>
                </a:moveTo>
                <a:lnTo>
                  <a:pt x="924" y="1441"/>
                </a:lnTo>
                <a:lnTo>
                  <a:pt x="924" y="1442"/>
                </a:lnTo>
                <a:lnTo>
                  <a:pt x="924" y="1442"/>
                </a:lnTo>
                <a:lnTo>
                  <a:pt x="923" y="1442"/>
                </a:lnTo>
                <a:lnTo>
                  <a:pt x="924" y="1442"/>
                </a:lnTo>
                <a:lnTo>
                  <a:pt x="923" y="1442"/>
                </a:lnTo>
                <a:close/>
                <a:moveTo>
                  <a:pt x="900" y="1522"/>
                </a:moveTo>
                <a:lnTo>
                  <a:pt x="907" y="1517"/>
                </a:lnTo>
                <a:lnTo>
                  <a:pt x="918" y="1518"/>
                </a:lnTo>
                <a:lnTo>
                  <a:pt x="909" y="1521"/>
                </a:lnTo>
                <a:lnTo>
                  <a:pt x="900" y="1522"/>
                </a:lnTo>
                <a:close/>
                <a:moveTo>
                  <a:pt x="950" y="1517"/>
                </a:moveTo>
                <a:lnTo>
                  <a:pt x="941" y="1517"/>
                </a:lnTo>
                <a:lnTo>
                  <a:pt x="932" y="1518"/>
                </a:lnTo>
                <a:lnTo>
                  <a:pt x="925" y="1516"/>
                </a:lnTo>
                <a:lnTo>
                  <a:pt x="925" y="1509"/>
                </a:lnTo>
                <a:lnTo>
                  <a:pt x="933" y="1508"/>
                </a:lnTo>
                <a:lnTo>
                  <a:pt x="942" y="1509"/>
                </a:lnTo>
                <a:lnTo>
                  <a:pt x="946" y="1510"/>
                </a:lnTo>
                <a:lnTo>
                  <a:pt x="950" y="1512"/>
                </a:lnTo>
                <a:lnTo>
                  <a:pt x="951" y="1516"/>
                </a:lnTo>
                <a:lnTo>
                  <a:pt x="950" y="1517"/>
                </a:lnTo>
                <a:lnTo>
                  <a:pt x="949" y="1516"/>
                </a:lnTo>
                <a:lnTo>
                  <a:pt x="950" y="1517"/>
                </a:lnTo>
                <a:close/>
                <a:moveTo>
                  <a:pt x="958" y="1496"/>
                </a:moveTo>
                <a:lnTo>
                  <a:pt x="945" y="1500"/>
                </a:lnTo>
                <a:lnTo>
                  <a:pt x="930" y="1497"/>
                </a:lnTo>
                <a:lnTo>
                  <a:pt x="925" y="1497"/>
                </a:lnTo>
                <a:lnTo>
                  <a:pt x="923" y="1494"/>
                </a:lnTo>
                <a:lnTo>
                  <a:pt x="924" y="1491"/>
                </a:lnTo>
                <a:lnTo>
                  <a:pt x="926" y="1488"/>
                </a:lnTo>
                <a:lnTo>
                  <a:pt x="926" y="1486"/>
                </a:lnTo>
                <a:lnTo>
                  <a:pt x="926" y="1485"/>
                </a:lnTo>
                <a:lnTo>
                  <a:pt x="926" y="1483"/>
                </a:lnTo>
                <a:lnTo>
                  <a:pt x="926" y="1481"/>
                </a:lnTo>
                <a:lnTo>
                  <a:pt x="930" y="1480"/>
                </a:lnTo>
                <a:lnTo>
                  <a:pt x="933" y="1481"/>
                </a:lnTo>
                <a:lnTo>
                  <a:pt x="940" y="1480"/>
                </a:lnTo>
                <a:lnTo>
                  <a:pt x="948" y="1479"/>
                </a:lnTo>
                <a:lnTo>
                  <a:pt x="960" y="1486"/>
                </a:lnTo>
                <a:lnTo>
                  <a:pt x="958" y="1496"/>
                </a:lnTo>
                <a:lnTo>
                  <a:pt x="958" y="1496"/>
                </a:lnTo>
                <a:lnTo>
                  <a:pt x="958" y="1496"/>
                </a:lnTo>
                <a:close/>
                <a:moveTo>
                  <a:pt x="1028" y="1625"/>
                </a:moveTo>
                <a:lnTo>
                  <a:pt x="1026" y="1624"/>
                </a:lnTo>
                <a:lnTo>
                  <a:pt x="1026" y="1624"/>
                </a:lnTo>
                <a:lnTo>
                  <a:pt x="1028" y="1624"/>
                </a:lnTo>
                <a:lnTo>
                  <a:pt x="1028" y="1625"/>
                </a:lnTo>
                <a:close/>
                <a:moveTo>
                  <a:pt x="1021" y="1626"/>
                </a:moveTo>
                <a:lnTo>
                  <a:pt x="1028" y="1626"/>
                </a:lnTo>
                <a:lnTo>
                  <a:pt x="1033" y="1627"/>
                </a:lnTo>
                <a:lnTo>
                  <a:pt x="1037" y="1633"/>
                </a:lnTo>
                <a:lnTo>
                  <a:pt x="1034" y="1638"/>
                </a:lnTo>
                <a:lnTo>
                  <a:pt x="1028" y="1640"/>
                </a:lnTo>
                <a:lnTo>
                  <a:pt x="1021" y="1637"/>
                </a:lnTo>
                <a:lnTo>
                  <a:pt x="1016" y="1630"/>
                </a:lnTo>
                <a:lnTo>
                  <a:pt x="1021" y="1626"/>
                </a:lnTo>
                <a:lnTo>
                  <a:pt x="1021" y="1626"/>
                </a:lnTo>
                <a:lnTo>
                  <a:pt x="1021" y="1626"/>
                </a:lnTo>
                <a:close/>
                <a:moveTo>
                  <a:pt x="1034" y="1494"/>
                </a:moveTo>
                <a:lnTo>
                  <a:pt x="1021" y="1491"/>
                </a:lnTo>
                <a:lnTo>
                  <a:pt x="1007" y="1480"/>
                </a:lnTo>
                <a:lnTo>
                  <a:pt x="1015" y="1479"/>
                </a:lnTo>
                <a:lnTo>
                  <a:pt x="1022" y="1484"/>
                </a:lnTo>
                <a:lnTo>
                  <a:pt x="1030" y="1488"/>
                </a:lnTo>
                <a:lnTo>
                  <a:pt x="1034" y="1494"/>
                </a:lnTo>
                <a:lnTo>
                  <a:pt x="1034" y="1493"/>
                </a:lnTo>
                <a:lnTo>
                  <a:pt x="1034" y="1494"/>
                </a:lnTo>
                <a:close/>
                <a:moveTo>
                  <a:pt x="1047" y="1488"/>
                </a:moveTo>
                <a:lnTo>
                  <a:pt x="1047" y="1492"/>
                </a:lnTo>
                <a:lnTo>
                  <a:pt x="1044" y="1492"/>
                </a:lnTo>
                <a:lnTo>
                  <a:pt x="1040" y="1491"/>
                </a:lnTo>
                <a:lnTo>
                  <a:pt x="1038" y="1487"/>
                </a:lnTo>
                <a:lnTo>
                  <a:pt x="1044" y="1486"/>
                </a:lnTo>
                <a:lnTo>
                  <a:pt x="1047" y="1488"/>
                </a:lnTo>
                <a:lnTo>
                  <a:pt x="1046" y="1488"/>
                </a:lnTo>
                <a:lnTo>
                  <a:pt x="1047" y="1488"/>
                </a:lnTo>
                <a:close/>
                <a:moveTo>
                  <a:pt x="1044" y="1181"/>
                </a:moveTo>
                <a:lnTo>
                  <a:pt x="1040" y="1179"/>
                </a:lnTo>
                <a:lnTo>
                  <a:pt x="1044" y="1176"/>
                </a:lnTo>
                <a:lnTo>
                  <a:pt x="1049" y="1176"/>
                </a:lnTo>
                <a:lnTo>
                  <a:pt x="1056" y="1176"/>
                </a:lnTo>
                <a:lnTo>
                  <a:pt x="1050" y="1181"/>
                </a:lnTo>
                <a:lnTo>
                  <a:pt x="1044" y="1181"/>
                </a:lnTo>
                <a:lnTo>
                  <a:pt x="1045" y="1181"/>
                </a:lnTo>
                <a:lnTo>
                  <a:pt x="1044" y="1181"/>
                </a:lnTo>
                <a:close/>
                <a:moveTo>
                  <a:pt x="1062" y="1170"/>
                </a:moveTo>
                <a:lnTo>
                  <a:pt x="1070" y="1170"/>
                </a:lnTo>
                <a:lnTo>
                  <a:pt x="1073" y="1167"/>
                </a:lnTo>
                <a:lnTo>
                  <a:pt x="1069" y="1165"/>
                </a:lnTo>
                <a:lnTo>
                  <a:pt x="1063" y="1165"/>
                </a:lnTo>
                <a:lnTo>
                  <a:pt x="1069" y="1160"/>
                </a:lnTo>
                <a:lnTo>
                  <a:pt x="1078" y="1157"/>
                </a:lnTo>
                <a:lnTo>
                  <a:pt x="1075" y="1155"/>
                </a:lnTo>
                <a:lnTo>
                  <a:pt x="1073" y="1152"/>
                </a:lnTo>
                <a:lnTo>
                  <a:pt x="1077" y="1148"/>
                </a:lnTo>
                <a:lnTo>
                  <a:pt x="1081" y="1147"/>
                </a:lnTo>
                <a:lnTo>
                  <a:pt x="1090" y="1149"/>
                </a:lnTo>
                <a:lnTo>
                  <a:pt x="1095" y="1156"/>
                </a:lnTo>
                <a:lnTo>
                  <a:pt x="1091" y="1161"/>
                </a:lnTo>
                <a:lnTo>
                  <a:pt x="1087" y="1165"/>
                </a:lnTo>
                <a:lnTo>
                  <a:pt x="1087" y="1169"/>
                </a:lnTo>
                <a:lnTo>
                  <a:pt x="1083" y="1171"/>
                </a:lnTo>
                <a:lnTo>
                  <a:pt x="1071" y="1172"/>
                </a:lnTo>
                <a:lnTo>
                  <a:pt x="1062" y="1170"/>
                </a:lnTo>
                <a:lnTo>
                  <a:pt x="1062" y="1170"/>
                </a:lnTo>
                <a:lnTo>
                  <a:pt x="1062" y="1170"/>
                </a:lnTo>
                <a:close/>
                <a:moveTo>
                  <a:pt x="1097" y="881"/>
                </a:moveTo>
                <a:lnTo>
                  <a:pt x="1107" y="878"/>
                </a:lnTo>
                <a:lnTo>
                  <a:pt x="1116" y="873"/>
                </a:lnTo>
                <a:lnTo>
                  <a:pt x="1121" y="871"/>
                </a:lnTo>
                <a:lnTo>
                  <a:pt x="1122" y="868"/>
                </a:lnTo>
                <a:lnTo>
                  <a:pt x="1118" y="866"/>
                </a:lnTo>
                <a:lnTo>
                  <a:pt x="1113" y="866"/>
                </a:lnTo>
                <a:lnTo>
                  <a:pt x="1118" y="866"/>
                </a:lnTo>
                <a:lnTo>
                  <a:pt x="1121" y="866"/>
                </a:lnTo>
                <a:lnTo>
                  <a:pt x="1123" y="865"/>
                </a:lnTo>
                <a:lnTo>
                  <a:pt x="1127" y="865"/>
                </a:lnTo>
                <a:lnTo>
                  <a:pt x="1133" y="866"/>
                </a:lnTo>
                <a:lnTo>
                  <a:pt x="1138" y="871"/>
                </a:lnTo>
                <a:lnTo>
                  <a:pt x="1118" y="879"/>
                </a:lnTo>
                <a:lnTo>
                  <a:pt x="1097" y="881"/>
                </a:lnTo>
                <a:lnTo>
                  <a:pt x="1106" y="882"/>
                </a:lnTo>
                <a:lnTo>
                  <a:pt x="1097" y="881"/>
                </a:lnTo>
                <a:close/>
                <a:moveTo>
                  <a:pt x="1121" y="919"/>
                </a:moveTo>
                <a:lnTo>
                  <a:pt x="1124" y="914"/>
                </a:lnTo>
                <a:lnTo>
                  <a:pt x="1131" y="914"/>
                </a:lnTo>
                <a:lnTo>
                  <a:pt x="1131" y="910"/>
                </a:lnTo>
                <a:lnTo>
                  <a:pt x="1131" y="905"/>
                </a:lnTo>
                <a:lnTo>
                  <a:pt x="1133" y="907"/>
                </a:lnTo>
                <a:lnTo>
                  <a:pt x="1136" y="907"/>
                </a:lnTo>
                <a:lnTo>
                  <a:pt x="1138" y="905"/>
                </a:lnTo>
                <a:lnTo>
                  <a:pt x="1136" y="903"/>
                </a:lnTo>
                <a:lnTo>
                  <a:pt x="1139" y="902"/>
                </a:lnTo>
                <a:lnTo>
                  <a:pt x="1143" y="900"/>
                </a:lnTo>
                <a:lnTo>
                  <a:pt x="1145" y="903"/>
                </a:lnTo>
                <a:lnTo>
                  <a:pt x="1146" y="906"/>
                </a:lnTo>
                <a:lnTo>
                  <a:pt x="1149" y="908"/>
                </a:lnTo>
                <a:lnTo>
                  <a:pt x="1151" y="914"/>
                </a:lnTo>
                <a:lnTo>
                  <a:pt x="1155" y="911"/>
                </a:lnTo>
                <a:lnTo>
                  <a:pt x="1161" y="911"/>
                </a:lnTo>
                <a:lnTo>
                  <a:pt x="1162" y="914"/>
                </a:lnTo>
                <a:lnTo>
                  <a:pt x="1162" y="918"/>
                </a:lnTo>
                <a:lnTo>
                  <a:pt x="1157" y="919"/>
                </a:lnTo>
                <a:lnTo>
                  <a:pt x="1152" y="919"/>
                </a:lnTo>
                <a:lnTo>
                  <a:pt x="1143" y="923"/>
                </a:lnTo>
                <a:lnTo>
                  <a:pt x="1133" y="924"/>
                </a:lnTo>
                <a:lnTo>
                  <a:pt x="1129" y="923"/>
                </a:lnTo>
                <a:lnTo>
                  <a:pt x="1124" y="923"/>
                </a:lnTo>
                <a:lnTo>
                  <a:pt x="1121" y="922"/>
                </a:lnTo>
                <a:lnTo>
                  <a:pt x="1121" y="919"/>
                </a:lnTo>
                <a:lnTo>
                  <a:pt x="1120" y="919"/>
                </a:lnTo>
                <a:lnTo>
                  <a:pt x="1121" y="919"/>
                </a:lnTo>
                <a:close/>
                <a:moveTo>
                  <a:pt x="1145" y="1511"/>
                </a:moveTo>
                <a:lnTo>
                  <a:pt x="1143" y="1510"/>
                </a:lnTo>
                <a:lnTo>
                  <a:pt x="1141" y="1509"/>
                </a:lnTo>
                <a:lnTo>
                  <a:pt x="1143" y="1510"/>
                </a:lnTo>
                <a:lnTo>
                  <a:pt x="1145" y="1511"/>
                </a:lnTo>
                <a:close/>
                <a:moveTo>
                  <a:pt x="1199" y="1161"/>
                </a:moveTo>
                <a:lnTo>
                  <a:pt x="1194" y="1157"/>
                </a:lnTo>
                <a:lnTo>
                  <a:pt x="1188" y="1152"/>
                </a:lnTo>
                <a:lnTo>
                  <a:pt x="1189" y="1148"/>
                </a:lnTo>
                <a:lnTo>
                  <a:pt x="1193" y="1145"/>
                </a:lnTo>
                <a:lnTo>
                  <a:pt x="1197" y="1146"/>
                </a:lnTo>
                <a:lnTo>
                  <a:pt x="1201" y="1149"/>
                </a:lnTo>
                <a:lnTo>
                  <a:pt x="1202" y="1155"/>
                </a:lnTo>
                <a:lnTo>
                  <a:pt x="1199" y="1161"/>
                </a:lnTo>
                <a:lnTo>
                  <a:pt x="1198" y="1160"/>
                </a:lnTo>
                <a:lnTo>
                  <a:pt x="1199" y="1161"/>
                </a:lnTo>
                <a:close/>
                <a:moveTo>
                  <a:pt x="1172" y="985"/>
                </a:moveTo>
                <a:lnTo>
                  <a:pt x="1177" y="978"/>
                </a:lnTo>
                <a:lnTo>
                  <a:pt x="1180" y="971"/>
                </a:lnTo>
                <a:lnTo>
                  <a:pt x="1181" y="965"/>
                </a:lnTo>
                <a:lnTo>
                  <a:pt x="1186" y="963"/>
                </a:lnTo>
                <a:lnTo>
                  <a:pt x="1185" y="974"/>
                </a:lnTo>
                <a:lnTo>
                  <a:pt x="1172" y="985"/>
                </a:lnTo>
                <a:lnTo>
                  <a:pt x="1177" y="980"/>
                </a:lnTo>
                <a:lnTo>
                  <a:pt x="1172" y="985"/>
                </a:lnTo>
                <a:close/>
                <a:moveTo>
                  <a:pt x="1207" y="1372"/>
                </a:moveTo>
                <a:lnTo>
                  <a:pt x="1206" y="1371"/>
                </a:lnTo>
                <a:lnTo>
                  <a:pt x="1205" y="1370"/>
                </a:lnTo>
                <a:lnTo>
                  <a:pt x="1206" y="1369"/>
                </a:lnTo>
                <a:lnTo>
                  <a:pt x="1209" y="1370"/>
                </a:lnTo>
                <a:lnTo>
                  <a:pt x="1207" y="1371"/>
                </a:lnTo>
                <a:lnTo>
                  <a:pt x="1207" y="1372"/>
                </a:lnTo>
                <a:lnTo>
                  <a:pt x="1207" y="1372"/>
                </a:lnTo>
                <a:lnTo>
                  <a:pt x="1207" y="1372"/>
                </a:lnTo>
                <a:close/>
                <a:moveTo>
                  <a:pt x="1202" y="1214"/>
                </a:moveTo>
                <a:lnTo>
                  <a:pt x="1202" y="1210"/>
                </a:lnTo>
                <a:lnTo>
                  <a:pt x="1204" y="1204"/>
                </a:lnTo>
                <a:lnTo>
                  <a:pt x="1206" y="1210"/>
                </a:lnTo>
                <a:lnTo>
                  <a:pt x="1202" y="1214"/>
                </a:lnTo>
                <a:lnTo>
                  <a:pt x="1204" y="1213"/>
                </a:lnTo>
                <a:lnTo>
                  <a:pt x="1202" y="1214"/>
                </a:lnTo>
                <a:close/>
                <a:moveTo>
                  <a:pt x="1250" y="1203"/>
                </a:moveTo>
                <a:lnTo>
                  <a:pt x="1250" y="1202"/>
                </a:lnTo>
                <a:lnTo>
                  <a:pt x="1250" y="1203"/>
                </a:lnTo>
                <a:lnTo>
                  <a:pt x="1250" y="1202"/>
                </a:lnTo>
                <a:lnTo>
                  <a:pt x="1250" y="1203"/>
                </a:lnTo>
                <a:close/>
                <a:moveTo>
                  <a:pt x="1252" y="1163"/>
                </a:moveTo>
                <a:lnTo>
                  <a:pt x="1250" y="1163"/>
                </a:lnTo>
                <a:lnTo>
                  <a:pt x="1248" y="1161"/>
                </a:lnTo>
                <a:lnTo>
                  <a:pt x="1246" y="1162"/>
                </a:lnTo>
                <a:lnTo>
                  <a:pt x="1246" y="1167"/>
                </a:lnTo>
                <a:lnTo>
                  <a:pt x="1245" y="1170"/>
                </a:lnTo>
                <a:lnTo>
                  <a:pt x="1240" y="1170"/>
                </a:lnTo>
                <a:lnTo>
                  <a:pt x="1236" y="1164"/>
                </a:lnTo>
                <a:lnTo>
                  <a:pt x="1235" y="1157"/>
                </a:lnTo>
                <a:lnTo>
                  <a:pt x="1232" y="1153"/>
                </a:lnTo>
                <a:lnTo>
                  <a:pt x="1228" y="1149"/>
                </a:lnTo>
                <a:lnTo>
                  <a:pt x="1228" y="1146"/>
                </a:lnTo>
                <a:lnTo>
                  <a:pt x="1228" y="1144"/>
                </a:lnTo>
                <a:lnTo>
                  <a:pt x="1228" y="1140"/>
                </a:lnTo>
                <a:lnTo>
                  <a:pt x="1227" y="1137"/>
                </a:lnTo>
                <a:lnTo>
                  <a:pt x="1226" y="1130"/>
                </a:lnTo>
                <a:lnTo>
                  <a:pt x="1227" y="1124"/>
                </a:lnTo>
                <a:lnTo>
                  <a:pt x="1228" y="1123"/>
                </a:lnTo>
                <a:lnTo>
                  <a:pt x="1227" y="1122"/>
                </a:lnTo>
                <a:lnTo>
                  <a:pt x="1226" y="1121"/>
                </a:lnTo>
                <a:lnTo>
                  <a:pt x="1226" y="1122"/>
                </a:lnTo>
                <a:lnTo>
                  <a:pt x="1223" y="1121"/>
                </a:lnTo>
                <a:lnTo>
                  <a:pt x="1221" y="1120"/>
                </a:lnTo>
                <a:lnTo>
                  <a:pt x="1220" y="1114"/>
                </a:lnTo>
                <a:lnTo>
                  <a:pt x="1219" y="1110"/>
                </a:lnTo>
                <a:lnTo>
                  <a:pt x="1215" y="1106"/>
                </a:lnTo>
                <a:lnTo>
                  <a:pt x="1214" y="1103"/>
                </a:lnTo>
                <a:lnTo>
                  <a:pt x="1215" y="1097"/>
                </a:lnTo>
                <a:lnTo>
                  <a:pt x="1219" y="1090"/>
                </a:lnTo>
                <a:lnTo>
                  <a:pt x="1222" y="1088"/>
                </a:lnTo>
                <a:lnTo>
                  <a:pt x="1228" y="1087"/>
                </a:lnTo>
                <a:lnTo>
                  <a:pt x="1230" y="1082"/>
                </a:lnTo>
                <a:lnTo>
                  <a:pt x="1228" y="1080"/>
                </a:lnTo>
                <a:lnTo>
                  <a:pt x="1223" y="1082"/>
                </a:lnTo>
                <a:lnTo>
                  <a:pt x="1219" y="1087"/>
                </a:lnTo>
                <a:lnTo>
                  <a:pt x="1214" y="1089"/>
                </a:lnTo>
                <a:lnTo>
                  <a:pt x="1211" y="1087"/>
                </a:lnTo>
                <a:lnTo>
                  <a:pt x="1210" y="1085"/>
                </a:lnTo>
                <a:lnTo>
                  <a:pt x="1209" y="1084"/>
                </a:lnTo>
                <a:lnTo>
                  <a:pt x="1205" y="1084"/>
                </a:lnTo>
                <a:lnTo>
                  <a:pt x="1202" y="1082"/>
                </a:lnTo>
                <a:lnTo>
                  <a:pt x="1206" y="1077"/>
                </a:lnTo>
                <a:lnTo>
                  <a:pt x="1206" y="1070"/>
                </a:lnTo>
                <a:lnTo>
                  <a:pt x="1204" y="1065"/>
                </a:lnTo>
                <a:lnTo>
                  <a:pt x="1203" y="1061"/>
                </a:lnTo>
                <a:lnTo>
                  <a:pt x="1204" y="1056"/>
                </a:lnTo>
                <a:lnTo>
                  <a:pt x="1204" y="1053"/>
                </a:lnTo>
                <a:lnTo>
                  <a:pt x="1199" y="1049"/>
                </a:lnTo>
                <a:lnTo>
                  <a:pt x="1196" y="1047"/>
                </a:lnTo>
                <a:lnTo>
                  <a:pt x="1196" y="1041"/>
                </a:lnTo>
                <a:lnTo>
                  <a:pt x="1198" y="1037"/>
                </a:lnTo>
                <a:lnTo>
                  <a:pt x="1193" y="1038"/>
                </a:lnTo>
                <a:lnTo>
                  <a:pt x="1188" y="1036"/>
                </a:lnTo>
                <a:lnTo>
                  <a:pt x="1187" y="1030"/>
                </a:lnTo>
                <a:lnTo>
                  <a:pt x="1189" y="1024"/>
                </a:lnTo>
                <a:lnTo>
                  <a:pt x="1190" y="1020"/>
                </a:lnTo>
                <a:lnTo>
                  <a:pt x="1188" y="1018"/>
                </a:lnTo>
                <a:lnTo>
                  <a:pt x="1187" y="1018"/>
                </a:lnTo>
                <a:lnTo>
                  <a:pt x="1185" y="1019"/>
                </a:lnTo>
                <a:lnTo>
                  <a:pt x="1184" y="1015"/>
                </a:lnTo>
                <a:lnTo>
                  <a:pt x="1188" y="1012"/>
                </a:lnTo>
                <a:lnTo>
                  <a:pt x="1188" y="1007"/>
                </a:lnTo>
                <a:lnTo>
                  <a:pt x="1188" y="1002"/>
                </a:lnTo>
                <a:lnTo>
                  <a:pt x="1192" y="997"/>
                </a:lnTo>
                <a:lnTo>
                  <a:pt x="1197" y="995"/>
                </a:lnTo>
                <a:lnTo>
                  <a:pt x="1202" y="994"/>
                </a:lnTo>
                <a:lnTo>
                  <a:pt x="1205" y="990"/>
                </a:lnTo>
                <a:lnTo>
                  <a:pt x="1203" y="985"/>
                </a:lnTo>
                <a:lnTo>
                  <a:pt x="1197" y="982"/>
                </a:lnTo>
                <a:lnTo>
                  <a:pt x="1195" y="990"/>
                </a:lnTo>
                <a:lnTo>
                  <a:pt x="1187" y="993"/>
                </a:lnTo>
                <a:lnTo>
                  <a:pt x="1189" y="989"/>
                </a:lnTo>
                <a:lnTo>
                  <a:pt x="1190" y="986"/>
                </a:lnTo>
                <a:lnTo>
                  <a:pt x="1187" y="986"/>
                </a:lnTo>
                <a:lnTo>
                  <a:pt x="1184" y="985"/>
                </a:lnTo>
                <a:lnTo>
                  <a:pt x="1190" y="983"/>
                </a:lnTo>
                <a:lnTo>
                  <a:pt x="1197" y="979"/>
                </a:lnTo>
                <a:lnTo>
                  <a:pt x="1196" y="974"/>
                </a:lnTo>
                <a:lnTo>
                  <a:pt x="1196" y="968"/>
                </a:lnTo>
                <a:lnTo>
                  <a:pt x="1196" y="964"/>
                </a:lnTo>
                <a:lnTo>
                  <a:pt x="1196" y="961"/>
                </a:lnTo>
                <a:lnTo>
                  <a:pt x="1194" y="960"/>
                </a:lnTo>
                <a:lnTo>
                  <a:pt x="1193" y="960"/>
                </a:lnTo>
                <a:lnTo>
                  <a:pt x="1189" y="957"/>
                </a:lnTo>
                <a:lnTo>
                  <a:pt x="1190" y="955"/>
                </a:lnTo>
                <a:lnTo>
                  <a:pt x="1186" y="954"/>
                </a:lnTo>
                <a:lnTo>
                  <a:pt x="1178" y="958"/>
                </a:lnTo>
                <a:lnTo>
                  <a:pt x="1166" y="958"/>
                </a:lnTo>
                <a:lnTo>
                  <a:pt x="1160" y="949"/>
                </a:lnTo>
                <a:lnTo>
                  <a:pt x="1162" y="949"/>
                </a:lnTo>
                <a:lnTo>
                  <a:pt x="1163" y="947"/>
                </a:lnTo>
                <a:lnTo>
                  <a:pt x="1162" y="946"/>
                </a:lnTo>
                <a:lnTo>
                  <a:pt x="1160" y="947"/>
                </a:lnTo>
                <a:lnTo>
                  <a:pt x="1153" y="948"/>
                </a:lnTo>
                <a:lnTo>
                  <a:pt x="1146" y="951"/>
                </a:lnTo>
                <a:lnTo>
                  <a:pt x="1138" y="947"/>
                </a:lnTo>
                <a:lnTo>
                  <a:pt x="1137" y="939"/>
                </a:lnTo>
                <a:lnTo>
                  <a:pt x="1140" y="936"/>
                </a:lnTo>
                <a:lnTo>
                  <a:pt x="1145" y="933"/>
                </a:lnTo>
                <a:lnTo>
                  <a:pt x="1145" y="937"/>
                </a:lnTo>
                <a:lnTo>
                  <a:pt x="1148" y="939"/>
                </a:lnTo>
                <a:lnTo>
                  <a:pt x="1152" y="935"/>
                </a:lnTo>
                <a:lnTo>
                  <a:pt x="1155" y="930"/>
                </a:lnTo>
                <a:lnTo>
                  <a:pt x="1162" y="928"/>
                </a:lnTo>
                <a:lnTo>
                  <a:pt x="1169" y="928"/>
                </a:lnTo>
                <a:lnTo>
                  <a:pt x="1160" y="935"/>
                </a:lnTo>
                <a:lnTo>
                  <a:pt x="1154" y="944"/>
                </a:lnTo>
                <a:lnTo>
                  <a:pt x="1165" y="938"/>
                </a:lnTo>
                <a:lnTo>
                  <a:pt x="1178" y="937"/>
                </a:lnTo>
                <a:lnTo>
                  <a:pt x="1173" y="941"/>
                </a:lnTo>
                <a:lnTo>
                  <a:pt x="1168" y="946"/>
                </a:lnTo>
                <a:lnTo>
                  <a:pt x="1174" y="946"/>
                </a:lnTo>
                <a:lnTo>
                  <a:pt x="1180" y="944"/>
                </a:lnTo>
                <a:lnTo>
                  <a:pt x="1184" y="948"/>
                </a:lnTo>
                <a:lnTo>
                  <a:pt x="1187" y="948"/>
                </a:lnTo>
                <a:lnTo>
                  <a:pt x="1188" y="945"/>
                </a:lnTo>
                <a:lnTo>
                  <a:pt x="1192" y="941"/>
                </a:lnTo>
                <a:lnTo>
                  <a:pt x="1197" y="946"/>
                </a:lnTo>
                <a:lnTo>
                  <a:pt x="1202" y="954"/>
                </a:lnTo>
                <a:lnTo>
                  <a:pt x="1207" y="971"/>
                </a:lnTo>
                <a:lnTo>
                  <a:pt x="1212" y="988"/>
                </a:lnTo>
                <a:lnTo>
                  <a:pt x="1219" y="1007"/>
                </a:lnTo>
                <a:lnTo>
                  <a:pt x="1225" y="1028"/>
                </a:lnTo>
                <a:lnTo>
                  <a:pt x="1235" y="1068"/>
                </a:lnTo>
                <a:lnTo>
                  <a:pt x="1244" y="1109"/>
                </a:lnTo>
                <a:lnTo>
                  <a:pt x="1247" y="1127"/>
                </a:lnTo>
                <a:lnTo>
                  <a:pt x="1250" y="1144"/>
                </a:lnTo>
                <a:lnTo>
                  <a:pt x="1250" y="1148"/>
                </a:lnTo>
                <a:lnTo>
                  <a:pt x="1251" y="1152"/>
                </a:lnTo>
                <a:lnTo>
                  <a:pt x="1253" y="1155"/>
                </a:lnTo>
                <a:lnTo>
                  <a:pt x="1255" y="1159"/>
                </a:lnTo>
                <a:lnTo>
                  <a:pt x="1256" y="1162"/>
                </a:lnTo>
                <a:lnTo>
                  <a:pt x="1252" y="1163"/>
                </a:lnTo>
                <a:lnTo>
                  <a:pt x="1252" y="1164"/>
                </a:lnTo>
                <a:lnTo>
                  <a:pt x="1252" y="1163"/>
                </a:lnTo>
                <a:close/>
                <a:moveTo>
                  <a:pt x="1265" y="1181"/>
                </a:moveTo>
                <a:lnTo>
                  <a:pt x="1261" y="1178"/>
                </a:lnTo>
                <a:lnTo>
                  <a:pt x="1260" y="1172"/>
                </a:lnTo>
                <a:lnTo>
                  <a:pt x="1263" y="1172"/>
                </a:lnTo>
                <a:lnTo>
                  <a:pt x="1265" y="1172"/>
                </a:lnTo>
                <a:lnTo>
                  <a:pt x="1267" y="1173"/>
                </a:lnTo>
                <a:lnTo>
                  <a:pt x="1268" y="1173"/>
                </a:lnTo>
                <a:lnTo>
                  <a:pt x="1268" y="1179"/>
                </a:lnTo>
                <a:lnTo>
                  <a:pt x="1265" y="1181"/>
                </a:lnTo>
                <a:lnTo>
                  <a:pt x="1265" y="1181"/>
                </a:lnTo>
                <a:lnTo>
                  <a:pt x="1265" y="1181"/>
                </a:lnTo>
                <a:close/>
                <a:moveTo>
                  <a:pt x="1273" y="1164"/>
                </a:moveTo>
                <a:lnTo>
                  <a:pt x="1272" y="1170"/>
                </a:lnTo>
                <a:lnTo>
                  <a:pt x="1269" y="1173"/>
                </a:lnTo>
                <a:lnTo>
                  <a:pt x="1264" y="1167"/>
                </a:lnTo>
                <a:lnTo>
                  <a:pt x="1262" y="1159"/>
                </a:lnTo>
                <a:lnTo>
                  <a:pt x="1261" y="1154"/>
                </a:lnTo>
                <a:lnTo>
                  <a:pt x="1261" y="1148"/>
                </a:lnTo>
                <a:lnTo>
                  <a:pt x="1263" y="1146"/>
                </a:lnTo>
                <a:lnTo>
                  <a:pt x="1264" y="1144"/>
                </a:lnTo>
                <a:lnTo>
                  <a:pt x="1259" y="1139"/>
                </a:lnTo>
                <a:lnTo>
                  <a:pt x="1253" y="1136"/>
                </a:lnTo>
                <a:lnTo>
                  <a:pt x="1253" y="1132"/>
                </a:lnTo>
                <a:lnTo>
                  <a:pt x="1255" y="1131"/>
                </a:lnTo>
                <a:lnTo>
                  <a:pt x="1258" y="1128"/>
                </a:lnTo>
                <a:lnTo>
                  <a:pt x="1260" y="1124"/>
                </a:lnTo>
                <a:lnTo>
                  <a:pt x="1262" y="1119"/>
                </a:lnTo>
                <a:lnTo>
                  <a:pt x="1268" y="1119"/>
                </a:lnTo>
                <a:lnTo>
                  <a:pt x="1272" y="1129"/>
                </a:lnTo>
                <a:lnTo>
                  <a:pt x="1273" y="1139"/>
                </a:lnTo>
                <a:lnTo>
                  <a:pt x="1273" y="1152"/>
                </a:lnTo>
                <a:lnTo>
                  <a:pt x="1273" y="1164"/>
                </a:lnTo>
                <a:lnTo>
                  <a:pt x="1273" y="1161"/>
                </a:lnTo>
                <a:lnTo>
                  <a:pt x="1273" y="1164"/>
                </a:lnTo>
                <a:close/>
                <a:moveTo>
                  <a:pt x="1284" y="844"/>
                </a:moveTo>
                <a:lnTo>
                  <a:pt x="1281" y="850"/>
                </a:lnTo>
                <a:lnTo>
                  <a:pt x="1275" y="854"/>
                </a:lnTo>
                <a:lnTo>
                  <a:pt x="1272" y="850"/>
                </a:lnTo>
                <a:lnTo>
                  <a:pt x="1273" y="847"/>
                </a:lnTo>
                <a:lnTo>
                  <a:pt x="1275" y="841"/>
                </a:lnTo>
                <a:lnTo>
                  <a:pt x="1273" y="836"/>
                </a:lnTo>
                <a:lnTo>
                  <a:pt x="1269" y="844"/>
                </a:lnTo>
                <a:lnTo>
                  <a:pt x="1264" y="852"/>
                </a:lnTo>
                <a:lnTo>
                  <a:pt x="1265" y="841"/>
                </a:lnTo>
                <a:lnTo>
                  <a:pt x="1265" y="832"/>
                </a:lnTo>
                <a:lnTo>
                  <a:pt x="1260" y="836"/>
                </a:lnTo>
                <a:lnTo>
                  <a:pt x="1252" y="840"/>
                </a:lnTo>
                <a:lnTo>
                  <a:pt x="1252" y="832"/>
                </a:lnTo>
                <a:lnTo>
                  <a:pt x="1256" y="824"/>
                </a:lnTo>
                <a:lnTo>
                  <a:pt x="1255" y="817"/>
                </a:lnTo>
                <a:lnTo>
                  <a:pt x="1246" y="822"/>
                </a:lnTo>
                <a:lnTo>
                  <a:pt x="1253" y="805"/>
                </a:lnTo>
                <a:lnTo>
                  <a:pt x="1267" y="796"/>
                </a:lnTo>
                <a:lnTo>
                  <a:pt x="1270" y="803"/>
                </a:lnTo>
                <a:lnTo>
                  <a:pt x="1273" y="805"/>
                </a:lnTo>
                <a:lnTo>
                  <a:pt x="1268" y="807"/>
                </a:lnTo>
                <a:lnTo>
                  <a:pt x="1264" y="813"/>
                </a:lnTo>
                <a:lnTo>
                  <a:pt x="1263" y="820"/>
                </a:lnTo>
                <a:lnTo>
                  <a:pt x="1267" y="824"/>
                </a:lnTo>
                <a:lnTo>
                  <a:pt x="1270" y="822"/>
                </a:lnTo>
                <a:lnTo>
                  <a:pt x="1273" y="821"/>
                </a:lnTo>
                <a:lnTo>
                  <a:pt x="1276" y="820"/>
                </a:lnTo>
                <a:lnTo>
                  <a:pt x="1278" y="819"/>
                </a:lnTo>
                <a:lnTo>
                  <a:pt x="1283" y="814"/>
                </a:lnTo>
                <a:lnTo>
                  <a:pt x="1287" y="813"/>
                </a:lnTo>
                <a:lnTo>
                  <a:pt x="1291" y="815"/>
                </a:lnTo>
                <a:lnTo>
                  <a:pt x="1293" y="819"/>
                </a:lnTo>
                <a:lnTo>
                  <a:pt x="1291" y="823"/>
                </a:lnTo>
                <a:lnTo>
                  <a:pt x="1291" y="828"/>
                </a:lnTo>
                <a:lnTo>
                  <a:pt x="1293" y="830"/>
                </a:lnTo>
                <a:lnTo>
                  <a:pt x="1291" y="833"/>
                </a:lnTo>
                <a:lnTo>
                  <a:pt x="1285" y="837"/>
                </a:lnTo>
                <a:lnTo>
                  <a:pt x="1284" y="844"/>
                </a:lnTo>
                <a:lnTo>
                  <a:pt x="1284" y="842"/>
                </a:lnTo>
                <a:lnTo>
                  <a:pt x="1284" y="844"/>
                </a:lnTo>
                <a:close/>
                <a:moveTo>
                  <a:pt x="1361" y="1253"/>
                </a:moveTo>
                <a:lnTo>
                  <a:pt x="1361" y="1253"/>
                </a:lnTo>
                <a:lnTo>
                  <a:pt x="1361" y="1253"/>
                </a:lnTo>
                <a:close/>
                <a:moveTo>
                  <a:pt x="1369" y="1267"/>
                </a:moveTo>
                <a:lnTo>
                  <a:pt x="1368" y="1264"/>
                </a:lnTo>
                <a:lnTo>
                  <a:pt x="1366" y="1264"/>
                </a:lnTo>
                <a:lnTo>
                  <a:pt x="1365" y="1259"/>
                </a:lnTo>
                <a:lnTo>
                  <a:pt x="1361" y="1253"/>
                </a:lnTo>
                <a:lnTo>
                  <a:pt x="1370" y="1254"/>
                </a:lnTo>
                <a:lnTo>
                  <a:pt x="1376" y="1261"/>
                </a:lnTo>
                <a:lnTo>
                  <a:pt x="1377" y="1265"/>
                </a:lnTo>
                <a:lnTo>
                  <a:pt x="1376" y="1269"/>
                </a:lnTo>
                <a:lnTo>
                  <a:pt x="1372" y="1268"/>
                </a:lnTo>
                <a:lnTo>
                  <a:pt x="1369" y="1267"/>
                </a:lnTo>
                <a:lnTo>
                  <a:pt x="1370" y="1265"/>
                </a:lnTo>
                <a:lnTo>
                  <a:pt x="1369" y="1267"/>
                </a:lnTo>
                <a:close/>
                <a:moveTo>
                  <a:pt x="1379" y="1265"/>
                </a:moveTo>
                <a:lnTo>
                  <a:pt x="1378" y="1267"/>
                </a:lnTo>
                <a:lnTo>
                  <a:pt x="1377" y="1269"/>
                </a:lnTo>
                <a:lnTo>
                  <a:pt x="1378" y="1267"/>
                </a:lnTo>
                <a:lnTo>
                  <a:pt x="1379" y="1265"/>
                </a:lnTo>
                <a:close/>
                <a:moveTo>
                  <a:pt x="1409" y="1168"/>
                </a:moveTo>
                <a:lnTo>
                  <a:pt x="1401" y="1169"/>
                </a:lnTo>
                <a:lnTo>
                  <a:pt x="1398" y="1164"/>
                </a:lnTo>
                <a:lnTo>
                  <a:pt x="1396" y="1159"/>
                </a:lnTo>
                <a:lnTo>
                  <a:pt x="1393" y="1155"/>
                </a:lnTo>
                <a:lnTo>
                  <a:pt x="1391" y="1153"/>
                </a:lnTo>
                <a:lnTo>
                  <a:pt x="1390" y="1151"/>
                </a:lnTo>
                <a:lnTo>
                  <a:pt x="1391" y="1149"/>
                </a:lnTo>
                <a:lnTo>
                  <a:pt x="1393" y="1151"/>
                </a:lnTo>
                <a:lnTo>
                  <a:pt x="1392" y="1143"/>
                </a:lnTo>
                <a:lnTo>
                  <a:pt x="1386" y="1138"/>
                </a:lnTo>
                <a:lnTo>
                  <a:pt x="1382" y="1132"/>
                </a:lnTo>
                <a:lnTo>
                  <a:pt x="1378" y="1127"/>
                </a:lnTo>
                <a:lnTo>
                  <a:pt x="1374" y="1122"/>
                </a:lnTo>
                <a:lnTo>
                  <a:pt x="1369" y="1119"/>
                </a:lnTo>
                <a:lnTo>
                  <a:pt x="1371" y="1114"/>
                </a:lnTo>
                <a:lnTo>
                  <a:pt x="1377" y="1117"/>
                </a:lnTo>
                <a:lnTo>
                  <a:pt x="1383" y="1114"/>
                </a:lnTo>
                <a:lnTo>
                  <a:pt x="1387" y="1117"/>
                </a:lnTo>
                <a:lnTo>
                  <a:pt x="1391" y="1124"/>
                </a:lnTo>
                <a:lnTo>
                  <a:pt x="1394" y="1132"/>
                </a:lnTo>
                <a:lnTo>
                  <a:pt x="1399" y="1142"/>
                </a:lnTo>
                <a:lnTo>
                  <a:pt x="1402" y="1151"/>
                </a:lnTo>
                <a:lnTo>
                  <a:pt x="1407" y="1159"/>
                </a:lnTo>
                <a:lnTo>
                  <a:pt x="1409" y="1168"/>
                </a:lnTo>
                <a:lnTo>
                  <a:pt x="1407" y="1167"/>
                </a:lnTo>
                <a:lnTo>
                  <a:pt x="1409" y="1168"/>
                </a:lnTo>
                <a:close/>
                <a:moveTo>
                  <a:pt x="1416" y="1320"/>
                </a:moveTo>
                <a:lnTo>
                  <a:pt x="1415" y="1322"/>
                </a:lnTo>
                <a:lnTo>
                  <a:pt x="1413" y="1323"/>
                </a:lnTo>
                <a:lnTo>
                  <a:pt x="1413" y="1320"/>
                </a:lnTo>
                <a:lnTo>
                  <a:pt x="1413" y="1318"/>
                </a:lnTo>
                <a:lnTo>
                  <a:pt x="1415" y="1319"/>
                </a:lnTo>
                <a:lnTo>
                  <a:pt x="1416" y="1320"/>
                </a:lnTo>
                <a:lnTo>
                  <a:pt x="1416" y="1320"/>
                </a:lnTo>
                <a:lnTo>
                  <a:pt x="1416" y="1320"/>
                </a:lnTo>
                <a:close/>
                <a:moveTo>
                  <a:pt x="1442" y="1110"/>
                </a:moveTo>
                <a:lnTo>
                  <a:pt x="1441" y="1109"/>
                </a:lnTo>
                <a:lnTo>
                  <a:pt x="1442" y="1109"/>
                </a:lnTo>
                <a:lnTo>
                  <a:pt x="1442" y="1109"/>
                </a:lnTo>
                <a:lnTo>
                  <a:pt x="1442" y="1110"/>
                </a:lnTo>
                <a:lnTo>
                  <a:pt x="1442" y="1110"/>
                </a:lnTo>
                <a:lnTo>
                  <a:pt x="1442" y="1110"/>
                </a:lnTo>
                <a:close/>
                <a:moveTo>
                  <a:pt x="1446" y="1073"/>
                </a:moveTo>
                <a:lnTo>
                  <a:pt x="1446" y="1076"/>
                </a:lnTo>
                <a:lnTo>
                  <a:pt x="1446" y="1077"/>
                </a:lnTo>
                <a:lnTo>
                  <a:pt x="1446" y="1076"/>
                </a:lnTo>
                <a:lnTo>
                  <a:pt x="1446" y="1073"/>
                </a:lnTo>
                <a:close/>
                <a:moveTo>
                  <a:pt x="1322" y="872"/>
                </a:moveTo>
                <a:lnTo>
                  <a:pt x="1321" y="873"/>
                </a:lnTo>
                <a:lnTo>
                  <a:pt x="1321" y="872"/>
                </a:lnTo>
                <a:lnTo>
                  <a:pt x="1321" y="872"/>
                </a:lnTo>
                <a:lnTo>
                  <a:pt x="1322" y="872"/>
                </a:lnTo>
                <a:lnTo>
                  <a:pt x="1322" y="872"/>
                </a:lnTo>
                <a:lnTo>
                  <a:pt x="1322" y="872"/>
                </a:lnTo>
                <a:close/>
                <a:moveTo>
                  <a:pt x="1466" y="1099"/>
                </a:moveTo>
                <a:lnTo>
                  <a:pt x="1469" y="1091"/>
                </a:lnTo>
                <a:lnTo>
                  <a:pt x="1471" y="1082"/>
                </a:lnTo>
                <a:lnTo>
                  <a:pt x="1471" y="1094"/>
                </a:lnTo>
                <a:lnTo>
                  <a:pt x="1470" y="1105"/>
                </a:lnTo>
                <a:lnTo>
                  <a:pt x="1474" y="1102"/>
                </a:lnTo>
                <a:lnTo>
                  <a:pt x="1476" y="1098"/>
                </a:lnTo>
                <a:lnTo>
                  <a:pt x="1476" y="1109"/>
                </a:lnTo>
                <a:lnTo>
                  <a:pt x="1469" y="1117"/>
                </a:lnTo>
                <a:lnTo>
                  <a:pt x="1467" y="1110"/>
                </a:lnTo>
                <a:lnTo>
                  <a:pt x="1466" y="1099"/>
                </a:lnTo>
                <a:lnTo>
                  <a:pt x="1467" y="1102"/>
                </a:lnTo>
                <a:lnTo>
                  <a:pt x="1466" y="1099"/>
                </a:lnTo>
                <a:close/>
                <a:moveTo>
                  <a:pt x="1561" y="1172"/>
                </a:moveTo>
                <a:lnTo>
                  <a:pt x="1558" y="1171"/>
                </a:lnTo>
                <a:lnTo>
                  <a:pt x="1557" y="1167"/>
                </a:lnTo>
                <a:lnTo>
                  <a:pt x="1560" y="1169"/>
                </a:lnTo>
                <a:lnTo>
                  <a:pt x="1561" y="1172"/>
                </a:lnTo>
                <a:close/>
                <a:moveTo>
                  <a:pt x="1541" y="1107"/>
                </a:moveTo>
                <a:lnTo>
                  <a:pt x="1538" y="1102"/>
                </a:lnTo>
                <a:lnTo>
                  <a:pt x="1543" y="1096"/>
                </a:lnTo>
                <a:lnTo>
                  <a:pt x="1547" y="1103"/>
                </a:lnTo>
                <a:lnTo>
                  <a:pt x="1541" y="1107"/>
                </a:lnTo>
                <a:lnTo>
                  <a:pt x="1541" y="1107"/>
                </a:lnTo>
                <a:lnTo>
                  <a:pt x="1541" y="1107"/>
                </a:lnTo>
                <a:close/>
                <a:moveTo>
                  <a:pt x="1571" y="1084"/>
                </a:moveTo>
                <a:lnTo>
                  <a:pt x="1566" y="1085"/>
                </a:lnTo>
                <a:lnTo>
                  <a:pt x="1559" y="1082"/>
                </a:lnTo>
                <a:lnTo>
                  <a:pt x="1555" y="1078"/>
                </a:lnTo>
                <a:lnTo>
                  <a:pt x="1551" y="1072"/>
                </a:lnTo>
                <a:lnTo>
                  <a:pt x="1547" y="1065"/>
                </a:lnTo>
                <a:lnTo>
                  <a:pt x="1540" y="1060"/>
                </a:lnTo>
                <a:lnTo>
                  <a:pt x="1538" y="1057"/>
                </a:lnTo>
                <a:lnTo>
                  <a:pt x="1535" y="1055"/>
                </a:lnTo>
                <a:lnTo>
                  <a:pt x="1535" y="1052"/>
                </a:lnTo>
                <a:lnTo>
                  <a:pt x="1535" y="1047"/>
                </a:lnTo>
                <a:lnTo>
                  <a:pt x="1541" y="1051"/>
                </a:lnTo>
                <a:lnTo>
                  <a:pt x="1549" y="1049"/>
                </a:lnTo>
                <a:lnTo>
                  <a:pt x="1555" y="1055"/>
                </a:lnTo>
                <a:lnTo>
                  <a:pt x="1559" y="1063"/>
                </a:lnTo>
                <a:lnTo>
                  <a:pt x="1561" y="1070"/>
                </a:lnTo>
                <a:lnTo>
                  <a:pt x="1565" y="1077"/>
                </a:lnTo>
                <a:lnTo>
                  <a:pt x="1569" y="1079"/>
                </a:lnTo>
                <a:lnTo>
                  <a:pt x="1571" y="1084"/>
                </a:lnTo>
                <a:lnTo>
                  <a:pt x="1571" y="1085"/>
                </a:lnTo>
                <a:lnTo>
                  <a:pt x="1571" y="1084"/>
                </a:lnTo>
                <a:close/>
                <a:moveTo>
                  <a:pt x="1680" y="1270"/>
                </a:moveTo>
                <a:lnTo>
                  <a:pt x="1680" y="1269"/>
                </a:lnTo>
                <a:lnTo>
                  <a:pt x="1680" y="1269"/>
                </a:lnTo>
                <a:lnTo>
                  <a:pt x="1681" y="1270"/>
                </a:lnTo>
                <a:lnTo>
                  <a:pt x="1680" y="1270"/>
                </a:lnTo>
                <a:lnTo>
                  <a:pt x="1680" y="1270"/>
                </a:lnTo>
                <a:lnTo>
                  <a:pt x="1680" y="1270"/>
                </a:lnTo>
                <a:close/>
                <a:moveTo>
                  <a:pt x="368" y="1363"/>
                </a:moveTo>
                <a:lnTo>
                  <a:pt x="368" y="1365"/>
                </a:lnTo>
                <a:lnTo>
                  <a:pt x="369" y="1367"/>
                </a:lnTo>
                <a:lnTo>
                  <a:pt x="369" y="1364"/>
                </a:lnTo>
                <a:lnTo>
                  <a:pt x="368" y="1363"/>
                </a:lnTo>
                <a:lnTo>
                  <a:pt x="369" y="1364"/>
                </a:lnTo>
                <a:lnTo>
                  <a:pt x="368" y="1363"/>
                </a:lnTo>
                <a:close/>
                <a:moveTo>
                  <a:pt x="1379" y="517"/>
                </a:moveTo>
                <a:lnTo>
                  <a:pt x="1379" y="517"/>
                </a:lnTo>
                <a:lnTo>
                  <a:pt x="1379" y="517"/>
                </a:lnTo>
                <a:close/>
                <a:moveTo>
                  <a:pt x="1552" y="418"/>
                </a:moveTo>
                <a:lnTo>
                  <a:pt x="1552" y="418"/>
                </a:lnTo>
                <a:lnTo>
                  <a:pt x="1552" y="418"/>
                </a:lnTo>
                <a:close/>
                <a:moveTo>
                  <a:pt x="1469" y="1381"/>
                </a:moveTo>
                <a:lnTo>
                  <a:pt x="1469" y="1381"/>
                </a:lnTo>
                <a:lnTo>
                  <a:pt x="1469" y="1381"/>
                </a:lnTo>
                <a:close/>
                <a:moveTo>
                  <a:pt x="1411" y="1406"/>
                </a:moveTo>
                <a:lnTo>
                  <a:pt x="1411" y="1406"/>
                </a:lnTo>
                <a:lnTo>
                  <a:pt x="1411" y="1406"/>
                </a:lnTo>
                <a:close/>
                <a:moveTo>
                  <a:pt x="239" y="584"/>
                </a:moveTo>
                <a:lnTo>
                  <a:pt x="241" y="586"/>
                </a:lnTo>
                <a:lnTo>
                  <a:pt x="242" y="586"/>
                </a:lnTo>
                <a:lnTo>
                  <a:pt x="241" y="583"/>
                </a:lnTo>
                <a:lnTo>
                  <a:pt x="239" y="584"/>
                </a:lnTo>
                <a:close/>
                <a:moveTo>
                  <a:pt x="1690" y="1019"/>
                </a:moveTo>
                <a:lnTo>
                  <a:pt x="1687" y="1015"/>
                </a:lnTo>
                <a:lnTo>
                  <a:pt x="1684" y="1011"/>
                </a:lnTo>
                <a:lnTo>
                  <a:pt x="1689" y="1013"/>
                </a:lnTo>
                <a:lnTo>
                  <a:pt x="1690" y="1019"/>
                </a:lnTo>
                <a:lnTo>
                  <a:pt x="1690" y="1019"/>
                </a:lnTo>
                <a:lnTo>
                  <a:pt x="1690" y="1019"/>
                </a:lnTo>
                <a:close/>
                <a:moveTo>
                  <a:pt x="1725" y="1056"/>
                </a:moveTo>
                <a:lnTo>
                  <a:pt x="1724" y="1054"/>
                </a:lnTo>
                <a:lnTo>
                  <a:pt x="1723" y="1054"/>
                </a:lnTo>
                <a:lnTo>
                  <a:pt x="1724" y="1054"/>
                </a:lnTo>
                <a:lnTo>
                  <a:pt x="1725" y="1056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endParaRPr lang="en-US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17E14A6-3480-0F4F-8B5E-97DDBB99DC86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68FE8740-251C-CC42-AE01-EC7B147CD97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13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71351CB9-42B5-5644-B66D-BC2E0C93CE6C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>
            <a:off x="2760539" y="738114"/>
            <a:ext cx="8280920" cy="12457384"/>
          </a:xfrm>
          <a:custGeom>
            <a:avLst/>
            <a:gdLst>
              <a:gd name="T0" fmla="*/ 4813 w 21688"/>
              <a:gd name="T1" fmla="*/ 11563 h 39531"/>
              <a:gd name="T2" fmla="*/ 5844 w 21688"/>
              <a:gd name="T3" fmla="*/ 29219 h 39531"/>
              <a:gd name="T4" fmla="*/ 5063 w 21688"/>
              <a:gd name="T5" fmla="*/ 30031 h 39531"/>
              <a:gd name="T6" fmla="*/ 5344 w 21688"/>
              <a:gd name="T7" fmla="*/ 34938 h 39531"/>
              <a:gd name="T8" fmla="*/ 17625 w 21688"/>
              <a:gd name="T9" fmla="*/ 30313 h 39531"/>
              <a:gd name="T10" fmla="*/ 16469 w 21688"/>
              <a:gd name="T11" fmla="*/ 31438 h 39531"/>
              <a:gd name="T12" fmla="*/ 17625 w 21688"/>
              <a:gd name="T13" fmla="*/ 33938 h 39531"/>
              <a:gd name="T14" fmla="*/ 15594 w 21688"/>
              <a:gd name="T15" fmla="*/ 37563 h 39531"/>
              <a:gd name="T16" fmla="*/ 9719 w 21688"/>
              <a:gd name="T17" fmla="*/ 39344 h 39531"/>
              <a:gd name="T18" fmla="*/ 6938 w 21688"/>
              <a:gd name="T19" fmla="*/ 36438 h 39531"/>
              <a:gd name="T20" fmla="*/ 6000 w 21688"/>
              <a:gd name="T21" fmla="*/ 34719 h 39531"/>
              <a:gd name="T22" fmla="*/ 6625 w 21688"/>
              <a:gd name="T23" fmla="*/ 32188 h 39531"/>
              <a:gd name="T24" fmla="*/ 5875 w 21688"/>
              <a:gd name="T25" fmla="*/ 31500 h 39531"/>
              <a:gd name="T26" fmla="*/ 5406 w 21688"/>
              <a:gd name="T27" fmla="*/ 32688 h 39531"/>
              <a:gd name="T28" fmla="*/ 5750 w 21688"/>
              <a:gd name="T29" fmla="*/ 29750 h 39531"/>
              <a:gd name="T30" fmla="*/ 6688 w 21688"/>
              <a:gd name="T31" fmla="*/ 28563 h 39531"/>
              <a:gd name="T32" fmla="*/ 5625 w 21688"/>
              <a:gd name="T33" fmla="*/ 25938 h 39531"/>
              <a:gd name="T34" fmla="*/ 7063 w 21688"/>
              <a:gd name="T35" fmla="*/ 24281 h 39531"/>
              <a:gd name="T36" fmla="*/ 8188 w 21688"/>
              <a:gd name="T37" fmla="*/ 20938 h 39531"/>
              <a:gd name="T38" fmla="*/ 6938 w 21688"/>
              <a:gd name="T39" fmla="*/ 20938 h 39531"/>
              <a:gd name="T40" fmla="*/ 6969 w 21688"/>
              <a:gd name="T41" fmla="*/ 20375 h 39531"/>
              <a:gd name="T42" fmla="*/ 6750 w 21688"/>
              <a:gd name="T43" fmla="*/ 19063 h 39531"/>
              <a:gd name="T44" fmla="*/ 7313 w 21688"/>
              <a:gd name="T45" fmla="*/ 17656 h 39531"/>
              <a:gd name="T46" fmla="*/ 4344 w 21688"/>
              <a:gd name="T47" fmla="*/ 14938 h 39531"/>
              <a:gd name="T48" fmla="*/ 5781 w 21688"/>
              <a:gd name="T49" fmla="*/ 14250 h 39531"/>
              <a:gd name="T50" fmla="*/ 5906 w 21688"/>
              <a:gd name="T51" fmla="*/ 12813 h 39531"/>
              <a:gd name="T52" fmla="*/ 8281 w 21688"/>
              <a:gd name="T53" fmla="*/ 13063 h 39531"/>
              <a:gd name="T54" fmla="*/ 4594 w 21688"/>
              <a:gd name="T55" fmla="*/ 9844 h 39531"/>
              <a:gd name="T56" fmla="*/ 4563 w 21688"/>
              <a:gd name="T57" fmla="*/ 7844 h 39531"/>
              <a:gd name="T58" fmla="*/ 1781 w 21688"/>
              <a:gd name="T59" fmla="*/ 5156 h 39531"/>
              <a:gd name="T60" fmla="*/ 6625 w 21688"/>
              <a:gd name="T61" fmla="*/ 8125 h 39531"/>
              <a:gd name="T62" fmla="*/ 4906 w 21688"/>
              <a:gd name="T63" fmla="*/ 4938 h 39531"/>
              <a:gd name="T64" fmla="*/ 7313 w 21688"/>
              <a:gd name="T65" fmla="*/ 6625 h 39531"/>
              <a:gd name="T66" fmla="*/ 5594 w 21688"/>
              <a:gd name="T67" fmla="*/ 2750 h 39531"/>
              <a:gd name="T68" fmla="*/ 9094 w 21688"/>
              <a:gd name="T69" fmla="*/ 3875 h 39531"/>
              <a:gd name="T70" fmla="*/ 11750 w 21688"/>
              <a:gd name="T71" fmla="*/ 4781 h 39531"/>
              <a:gd name="T72" fmla="*/ 14375 w 21688"/>
              <a:gd name="T73" fmla="*/ 1125 h 39531"/>
              <a:gd name="T74" fmla="*/ 16625 w 21688"/>
              <a:gd name="T75" fmla="*/ 1531 h 39531"/>
              <a:gd name="T76" fmla="*/ 20906 w 21688"/>
              <a:gd name="T77" fmla="*/ 844 h 39531"/>
              <a:gd name="T78" fmla="*/ 16531 w 21688"/>
              <a:gd name="T79" fmla="*/ 7281 h 39531"/>
              <a:gd name="T80" fmla="*/ 17250 w 21688"/>
              <a:gd name="T81" fmla="*/ 8813 h 39531"/>
              <a:gd name="T82" fmla="*/ 16844 w 21688"/>
              <a:gd name="T83" fmla="*/ 10969 h 39531"/>
              <a:gd name="T84" fmla="*/ 15531 w 21688"/>
              <a:gd name="T85" fmla="*/ 12969 h 39531"/>
              <a:gd name="T86" fmla="*/ 20219 w 21688"/>
              <a:gd name="T87" fmla="*/ 11813 h 39531"/>
              <a:gd name="T88" fmla="*/ 15375 w 21688"/>
              <a:gd name="T89" fmla="*/ 16594 h 39531"/>
              <a:gd name="T90" fmla="*/ 14438 w 21688"/>
              <a:gd name="T91" fmla="*/ 18344 h 39531"/>
              <a:gd name="T92" fmla="*/ 15500 w 21688"/>
              <a:gd name="T93" fmla="*/ 19188 h 39531"/>
              <a:gd name="T94" fmla="*/ 14031 w 21688"/>
              <a:gd name="T95" fmla="*/ 19406 h 39531"/>
              <a:gd name="T96" fmla="*/ 16375 w 21688"/>
              <a:gd name="T97" fmla="*/ 20906 h 39531"/>
              <a:gd name="T98" fmla="*/ 16625 w 21688"/>
              <a:gd name="T99" fmla="*/ 22438 h 39531"/>
              <a:gd name="T100" fmla="*/ 15781 w 21688"/>
              <a:gd name="T101" fmla="*/ 23375 h 39531"/>
              <a:gd name="T102" fmla="*/ 14969 w 21688"/>
              <a:gd name="T103" fmla="*/ 24406 h 39531"/>
              <a:gd name="T104" fmla="*/ 16938 w 21688"/>
              <a:gd name="T105" fmla="*/ 25188 h 39531"/>
              <a:gd name="T106" fmla="*/ 16969 w 21688"/>
              <a:gd name="T107" fmla="*/ 26781 h 39531"/>
              <a:gd name="T108" fmla="*/ 17063 w 21688"/>
              <a:gd name="T109" fmla="*/ 27781 h 39531"/>
              <a:gd name="T110" fmla="*/ 17438 w 21688"/>
              <a:gd name="T111" fmla="*/ 30656 h 39531"/>
              <a:gd name="T112" fmla="*/ 5375 w 21688"/>
              <a:gd name="T113" fmla="*/ 26094 h 39531"/>
              <a:gd name="T114" fmla="*/ 6063 w 21688"/>
              <a:gd name="T115" fmla="*/ 35500 h 39531"/>
              <a:gd name="T116" fmla="*/ 17531 w 21688"/>
              <a:gd name="T117" fmla="*/ 27531 h 39531"/>
              <a:gd name="T118" fmla="*/ 18188 w 21688"/>
              <a:gd name="T119" fmla="*/ 13875 h 39531"/>
              <a:gd name="T120" fmla="*/ 4906 w 21688"/>
              <a:gd name="T121" fmla="*/ 2094 h 39531"/>
              <a:gd name="T122" fmla="*/ 15719 w 21688"/>
              <a:gd name="T123" fmla="*/ 1563 h 39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688" h="39531">
                <a:moveTo>
                  <a:pt x="5844" y="24594"/>
                </a:moveTo>
                <a:cubicBezTo>
                  <a:pt x="5813" y="24625"/>
                  <a:pt x="5813" y="24625"/>
                  <a:pt x="5813" y="24625"/>
                </a:cubicBezTo>
                <a:cubicBezTo>
                  <a:pt x="5750" y="24688"/>
                  <a:pt x="5781" y="24781"/>
                  <a:pt x="5781" y="24781"/>
                </a:cubicBezTo>
                <a:cubicBezTo>
                  <a:pt x="5875" y="24813"/>
                  <a:pt x="5938" y="24906"/>
                  <a:pt x="6031" y="24875"/>
                </a:cubicBezTo>
                <a:cubicBezTo>
                  <a:pt x="6094" y="24813"/>
                  <a:pt x="6188" y="24750"/>
                  <a:pt x="6156" y="24594"/>
                </a:cubicBezTo>
                <a:cubicBezTo>
                  <a:pt x="6156" y="24625"/>
                  <a:pt x="6125" y="24625"/>
                  <a:pt x="6094" y="24656"/>
                </a:cubicBezTo>
                <a:cubicBezTo>
                  <a:pt x="6063" y="24656"/>
                  <a:pt x="6031" y="24750"/>
                  <a:pt x="6000" y="24688"/>
                </a:cubicBezTo>
                <a:cubicBezTo>
                  <a:pt x="5969" y="24656"/>
                  <a:pt x="5969" y="24625"/>
                  <a:pt x="6000" y="24563"/>
                </a:cubicBezTo>
                <a:cubicBezTo>
                  <a:pt x="6063" y="24531"/>
                  <a:pt x="5969" y="24563"/>
                  <a:pt x="5969" y="24531"/>
                </a:cubicBezTo>
                <a:cubicBezTo>
                  <a:pt x="5969" y="24531"/>
                  <a:pt x="5969" y="24531"/>
                  <a:pt x="5969" y="24500"/>
                </a:cubicBezTo>
                <a:cubicBezTo>
                  <a:pt x="5969" y="24469"/>
                  <a:pt x="5969" y="24438"/>
                  <a:pt x="6000" y="24406"/>
                </a:cubicBezTo>
                <a:cubicBezTo>
                  <a:pt x="6063" y="24406"/>
                  <a:pt x="6094" y="24469"/>
                  <a:pt x="6156" y="24469"/>
                </a:cubicBezTo>
                <a:cubicBezTo>
                  <a:pt x="6156" y="24469"/>
                  <a:pt x="6156" y="24469"/>
                  <a:pt x="6156" y="24469"/>
                </a:cubicBezTo>
                <a:cubicBezTo>
                  <a:pt x="6188" y="24438"/>
                  <a:pt x="6188" y="24438"/>
                  <a:pt x="6188" y="24406"/>
                </a:cubicBezTo>
                <a:cubicBezTo>
                  <a:pt x="6281" y="24250"/>
                  <a:pt x="6313" y="24125"/>
                  <a:pt x="6219" y="23969"/>
                </a:cubicBezTo>
                <a:cubicBezTo>
                  <a:pt x="6219" y="23969"/>
                  <a:pt x="6219" y="23938"/>
                  <a:pt x="6219" y="23938"/>
                </a:cubicBezTo>
                <a:cubicBezTo>
                  <a:pt x="6219" y="23875"/>
                  <a:pt x="6313" y="23844"/>
                  <a:pt x="6344" y="23781"/>
                </a:cubicBezTo>
                <a:lnTo>
                  <a:pt x="6344" y="23781"/>
                </a:lnTo>
                <a:cubicBezTo>
                  <a:pt x="6188" y="23719"/>
                  <a:pt x="6188" y="23875"/>
                  <a:pt x="6063" y="23938"/>
                </a:cubicBezTo>
                <a:cubicBezTo>
                  <a:pt x="6156" y="23938"/>
                  <a:pt x="6188" y="23938"/>
                  <a:pt x="6219" y="23938"/>
                </a:cubicBezTo>
                <a:cubicBezTo>
                  <a:pt x="6219" y="23969"/>
                  <a:pt x="6219" y="23969"/>
                  <a:pt x="6219" y="23969"/>
                </a:cubicBezTo>
                <a:cubicBezTo>
                  <a:pt x="6219" y="24000"/>
                  <a:pt x="6219" y="24063"/>
                  <a:pt x="6219" y="24125"/>
                </a:cubicBezTo>
                <a:cubicBezTo>
                  <a:pt x="6156" y="24125"/>
                  <a:pt x="6125" y="24000"/>
                  <a:pt x="6094" y="24094"/>
                </a:cubicBezTo>
                <a:cubicBezTo>
                  <a:pt x="6063" y="24156"/>
                  <a:pt x="6031" y="24219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50"/>
                  <a:pt x="5969" y="24250"/>
                  <a:pt x="5969" y="24250"/>
                </a:cubicBezTo>
                <a:cubicBezTo>
                  <a:pt x="5969" y="24281"/>
                  <a:pt x="5969" y="24281"/>
                  <a:pt x="5969" y="24313"/>
                </a:cubicBezTo>
                <a:cubicBezTo>
                  <a:pt x="5844" y="24281"/>
                  <a:pt x="5813" y="24344"/>
                  <a:pt x="5844" y="24469"/>
                </a:cubicBezTo>
                <a:cubicBezTo>
                  <a:pt x="5844" y="24469"/>
                  <a:pt x="5844" y="24469"/>
                  <a:pt x="5844" y="24500"/>
                </a:cubicBezTo>
                <a:cubicBezTo>
                  <a:pt x="5844" y="24531"/>
                  <a:pt x="5844" y="24563"/>
                  <a:pt x="5844" y="24594"/>
                </a:cubicBezTo>
                <a:close/>
                <a:moveTo>
                  <a:pt x="15063" y="4344"/>
                </a:moveTo>
                <a:lnTo>
                  <a:pt x="15063" y="4313"/>
                </a:lnTo>
                <a:lnTo>
                  <a:pt x="15063" y="4344"/>
                </a:lnTo>
                <a:close/>
                <a:moveTo>
                  <a:pt x="4813" y="11563"/>
                </a:moveTo>
                <a:cubicBezTo>
                  <a:pt x="4813" y="11531"/>
                  <a:pt x="4781" y="11531"/>
                  <a:pt x="4781" y="11531"/>
                </a:cubicBezTo>
                <a:cubicBezTo>
                  <a:pt x="4781" y="11531"/>
                  <a:pt x="4750" y="11531"/>
                  <a:pt x="4750" y="11500"/>
                </a:cubicBezTo>
                <a:cubicBezTo>
                  <a:pt x="4750" y="11500"/>
                  <a:pt x="4750" y="11531"/>
                  <a:pt x="4750" y="11531"/>
                </a:cubicBezTo>
                <a:cubicBezTo>
                  <a:pt x="4750" y="11531"/>
                  <a:pt x="4781" y="11531"/>
                  <a:pt x="4781" y="11531"/>
                </a:cubicBezTo>
                <a:cubicBezTo>
                  <a:pt x="4781" y="11531"/>
                  <a:pt x="4813" y="11563"/>
                  <a:pt x="4813" y="11563"/>
                </a:cubicBezTo>
                <a:cubicBezTo>
                  <a:pt x="4813" y="11563"/>
                  <a:pt x="4813" y="11563"/>
                  <a:pt x="4813" y="11563"/>
                </a:cubicBezTo>
                <a:close/>
                <a:moveTo>
                  <a:pt x="5000" y="29875"/>
                </a:moveTo>
                <a:cubicBezTo>
                  <a:pt x="5000" y="29844"/>
                  <a:pt x="5000" y="29813"/>
                  <a:pt x="5000" y="29781"/>
                </a:cubicBezTo>
                <a:cubicBezTo>
                  <a:pt x="4969" y="29813"/>
                  <a:pt x="4938" y="29844"/>
                  <a:pt x="5000" y="29875"/>
                </a:cubicBezTo>
                <a:close/>
                <a:moveTo>
                  <a:pt x="13094" y="1781"/>
                </a:moveTo>
                <a:cubicBezTo>
                  <a:pt x="13094" y="1813"/>
                  <a:pt x="13094" y="1844"/>
                  <a:pt x="13094" y="1875"/>
                </a:cubicBezTo>
                <a:cubicBezTo>
                  <a:pt x="13125" y="1844"/>
                  <a:pt x="13125" y="1813"/>
                  <a:pt x="13094" y="1781"/>
                </a:cubicBezTo>
                <a:close/>
                <a:moveTo>
                  <a:pt x="5281" y="33375"/>
                </a:moveTo>
                <a:cubicBezTo>
                  <a:pt x="5281" y="33375"/>
                  <a:pt x="5313" y="33375"/>
                  <a:pt x="5313" y="33344"/>
                </a:cubicBezTo>
                <a:cubicBezTo>
                  <a:pt x="5313" y="33344"/>
                  <a:pt x="5313" y="33313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344" y="33281"/>
                  <a:pt x="5313" y="33250"/>
                </a:cubicBezTo>
                <a:cubicBezTo>
                  <a:pt x="5313" y="33281"/>
                  <a:pt x="5313" y="33281"/>
                  <a:pt x="5313" y="33281"/>
                </a:cubicBezTo>
                <a:cubicBezTo>
                  <a:pt x="5313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281"/>
                  <a:pt x="5281" y="33281"/>
                  <a:pt x="5281" y="33281"/>
                </a:cubicBezTo>
                <a:cubicBezTo>
                  <a:pt x="5281" y="33313"/>
                  <a:pt x="5250" y="33344"/>
                  <a:pt x="5281" y="33375"/>
                </a:cubicBezTo>
                <a:close/>
                <a:moveTo>
                  <a:pt x="15938" y="24688"/>
                </a:moveTo>
                <a:cubicBezTo>
                  <a:pt x="15938" y="24688"/>
                  <a:pt x="15906" y="24688"/>
                  <a:pt x="15906" y="24656"/>
                </a:cubicBezTo>
                <a:cubicBezTo>
                  <a:pt x="15906" y="24688"/>
                  <a:pt x="15906" y="24688"/>
                  <a:pt x="15875" y="24688"/>
                </a:cubicBezTo>
                <a:cubicBezTo>
                  <a:pt x="15875" y="24688"/>
                  <a:pt x="15906" y="24719"/>
                  <a:pt x="15906" y="24750"/>
                </a:cubicBezTo>
                <a:cubicBezTo>
                  <a:pt x="15906" y="24719"/>
                  <a:pt x="15938" y="24719"/>
                  <a:pt x="15938" y="24688"/>
                </a:cubicBezTo>
                <a:close/>
                <a:moveTo>
                  <a:pt x="12188" y="2313"/>
                </a:moveTo>
                <a:cubicBezTo>
                  <a:pt x="12156" y="2375"/>
                  <a:pt x="12156" y="2406"/>
                  <a:pt x="12188" y="2438"/>
                </a:cubicBezTo>
                <a:cubicBezTo>
                  <a:pt x="12219" y="2406"/>
                  <a:pt x="12219" y="2375"/>
                  <a:pt x="12188" y="2313"/>
                </a:cubicBezTo>
                <a:close/>
                <a:moveTo>
                  <a:pt x="5813" y="29250"/>
                </a:moveTo>
                <a:cubicBezTo>
                  <a:pt x="5844" y="29250"/>
                  <a:pt x="5844" y="29250"/>
                  <a:pt x="5844" y="29219"/>
                </a:cubicBezTo>
                <a:cubicBezTo>
                  <a:pt x="5813" y="29188"/>
                  <a:pt x="5781" y="29156"/>
                  <a:pt x="5719" y="29125"/>
                </a:cubicBezTo>
                <a:cubicBezTo>
                  <a:pt x="5688" y="29125"/>
                  <a:pt x="5688" y="29156"/>
                  <a:pt x="5688" y="29188"/>
                </a:cubicBezTo>
                <a:cubicBezTo>
                  <a:pt x="5719" y="29219"/>
                  <a:pt x="5750" y="29250"/>
                  <a:pt x="5813" y="29250"/>
                </a:cubicBezTo>
                <a:close/>
                <a:moveTo>
                  <a:pt x="17656" y="28219"/>
                </a:moveTo>
                <a:cubicBezTo>
                  <a:pt x="17594" y="28250"/>
                  <a:pt x="17656" y="28313"/>
                  <a:pt x="17656" y="28375"/>
                </a:cubicBezTo>
                <a:cubicBezTo>
                  <a:pt x="17625" y="28281"/>
                  <a:pt x="17781" y="28344"/>
                  <a:pt x="17750" y="28250"/>
                </a:cubicBezTo>
                <a:cubicBezTo>
                  <a:pt x="17719" y="28219"/>
                  <a:pt x="17688" y="28219"/>
                  <a:pt x="17656" y="28219"/>
                </a:cubicBezTo>
                <a:close/>
                <a:moveTo>
                  <a:pt x="16688" y="26438"/>
                </a:moveTo>
                <a:cubicBezTo>
                  <a:pt x="16688" y="26469"/>
                  <a:pt x="16719" y="26500"/>
                  <a:pt x="16750" y="26500"/>
                </a:cubicBezTo>
                <a:cubicBezTo>
                  <a:pt x="16781" y="26500"/>
                  <a:pt x="16844" y="26500"/>
                  <a:pt x="16875" y="26438"/>
                </a:cubicBezTo>
                <a:cubicBezTo>
                  <a:pt x="16875" y="26406"/>
                  <a:pt x="16844" y="26375"/>
                  <a:pt x="16813" y="26375"/>
                </a:cubicBezTo>
                <a:cubicBezTo>
                  <a:pt x="16750" y="26375"/>
                  <a:pt x="16688" y="26375"/>
                  <a:pt x="16688" y="26438"/>
                </a:cubicBezTo>
                <a:close/>
                <a:moveTo>
                  <a:pt x="5344" y="35844"/>
                </a:moveTo>
                <a:cubicBezTo>
                  <a:pt x="5313" y="35844"/>
                  <a:pt x="5250" y="35844"/>
                  <a:pt x="5281" y="35875"/>
                </a:cubicBezTo>
                <a:cubicBezTo>
                  <a:pt x="5281" y="35938"/>
                  <a:pt x="5281" y="35969"/>
                  <a:pt x="5344" y="35969"/>
                </a:cubicBezTo>
                <a:cubicBezTo>
                  <a:pt x="5375" y="35969"/>
                  <a:pt x="5406" y="35969"/>
                  <a:pt x="5406" y="35938"/>
                </a:cubicBezTo>
                <a:cubicBezTo>
                  <a:pt x="5375" y="35906"/>
                  <a:pt x="5406" y="35844"/>
                  <a:pt x="5344" y="35844"/>
                </a:cubicBezTo>
                <a:close/>
                <a:moveTo>
                  <a:pt x="16625" y="24469"/>
                </a:moveTo>
                <a:cubicBezTo>
                  <a:pt x="16625" y="24469"/>
                  <a:pt x="16594" y="24438"/>
                  <a:pt x="16563" y="24438"/>
                </a:cubicBezTo>
                <a:cubicBezTo>
                  <a:pt x="16531" y="24438"/>
                  <a:pt x="16531" y="24500"/>
                  <a:pt x="16500" y="24500"/>
                </a:cubicBezTo>
                <a:cubicBezTo>
                  <a:pt x="16500" y="24531"/>
                  <a:pt x="16500" y="24563"/>
                  <a:pt x="16531" y="24563"/>
                </a:cubicBezTo>
                <a:cubicBezTo>
                  <a:pt x="16594" y="24563"/>
                  <a:pt x="16594" y="24531"/>
                  <a:pt x="16625" y="24469"/>
                </a:cubicBezTo>
                <a:close/>
                <a:moveTo>
                  <a:pt x="6125" y="6375"/>
                </a:moveTo>
                <a:cubicBezTo>
                  <a:pt x="6094" y="6313"/>
                  <a:pt x="6063" y="6281"/>
                  <a:pt x="6031" y="6281"/>
                </a:cubicBezTo>
                <a:cubicBezTo>
                  <a:pt x="6000" y="6281"/>
                  <a:pt x="5969" y="6313"/>
                  <a:pt x="5969" y="6344"/>
                </a:cubicBezTo>
                <a:cubicBezTo>
                  <a:pt x="5969" y="6375"/>
                  <a:pt x="6000" y="6438"/>
                  <a:pt x="6031" y="6438"/>
                </a:cubicBezTo>
                <a:cubicBezTo>
                  <a:pt x="6094" y="6438"/>
                  <a:pt x="6094" y="6406"/>
                  <a:pt x="6125" y="6375"/>
                </a:cubicBezTo>
                <a:close/>
                <a:moveTo>
                  <a:pt x="4875" y="28094"/>
                </a:moveTo>
                <a:cubicBezTo>
                  <a:pt x="4875" y="28156"/>
                  <a:pt x="4875" y="28250"/>
                  <a:pt x="4906" y="28313"/>
                </a:cubicBezTo>
                <a:cubicBezTo>
                  <a:pt x="4969" y="28219"/>
                  <a:pt x="5000" y="28156"/>
                  <a:pt x="4875" y="28094"/>
                </a:cubicBezTo>
                <a:close/>
                <a:moveTo>
                  <a:pt x="4531" y="33750"/>
                </a:moveTo>
                <a:cubicBezTo>
                  <a:pt x="4531" y="33781"/>
                  <a:pt x="4563" y="33813"/>
                  <a:pt x="4594" y="33813"/>
                </a:cubicBezTo>
                <a:cubicBezTo>
                  <a:pt x="4656" y="33844"/>
                  <a:pt x="4688" y="33781"/>
                  <a:pt x="4719" y="33719"/>
                </a:cubicBezTo>
                <a:cubicBezTo>
                  <a:pt x="4656" y="33719"/>
                  <a:pt x="4594" y="33688"/>
                  <a:pt x="4531" y="33750"/>
                </a:cubicBezTo>
                <a:close/>
                <a:moveTo>
                  <a:pt x="4969" y="30188"/>
                </a:moveTo>
                <a:cubicBezTo>
                  <a:pt x="5031" y="30125"/>
                  <a:pt x="5031" y="30094"/>
                  <a:pt x="5063" y="30031"/>
                </a:cubicBezTo>
                <a:cubicBezTo>
                  <a:pt x="5063" y="30000"/>
                  <a:pt x="5063" y="29969"/>
                  <a:pt x="5031" y="29938"/>
                </a:cubicBezTo>
                <a:cubicBezTo>
                  <a:pt x="4969" y="29938"/>
                  <a:pt x="4969" y="29969"/>
                  <a:pt x="4969" y="30000"/>
                </a:cubicBezTo>
                <a:cubicBezTo>
                  <a:pt x="4969" y="30063"/>
                  <a:pt x="4969" y="30125"/>
                  <a:pt x="4969" y="30188"/>
                </a:cubicBezTo>
                <a:close/>
                <a:moveTo>
                  <a:pt x="16188" y="24844"/>
                </a:moveTo>
                <a:cubicBezTo>
                  <a:pt x="16188" y="24875"/>
                  <a:pt x="16188" y="24906"/>
                  <a:pt x="16250" y="24938"/>
                </a:cubicBezTo>
                <a:cubicBezTo>
                  <a:pt x="16281" y="24938"/>
                  <a:pt x="16281" y="24906"/>
                  <a:pt x="16313" y="24875"/>
                </a:cubicBezTo>
                <a:cubicBezTo>
                  <a:pt x="16281" y="24813"/>
                  <a:pt x="16281" y="24781"/>
                  <a:pt x="16219" y="24781"/>
                </a:cubicBezTo>
                <a:cubicBezTo>
                  <a:pt x="16188" y="24781"/>
                  <a:pt x="16188" y="24813"/>
                  <a:pt x="16188" y="24844"/>
                </a:cubicBezTo>
                <a:close/>
                <a:moveTo>
                  <a:pt x="4906" y="33625"/>
                </a:moveTo>
                <a:cubicBezTo>
                  <a:pt x="4906" y="33750"/>
                  <a:pt x="4906" y="33844"/>
                  <a:pt x="5000" y="33969"/>
                </a:cubicBezTo>
                <a:cubicBezTo>
                  <a:pt x="5000" y="33844"/>
                  <a:pt x="5000" y="33750"/>
                  <a:pt x="4906" y="33625"/>
                </a:cubicBezTo>
                <a:close/>
                <a:moveTo>
                  <a:pt x="5813" y="36406"/>
                </a:moveTo>
                <a:cubicBezTo>
                  <a:pt x="5844" y="36250"/>
                  <a:pt x="5781" y="36188"/>
                  <a:pt x="5656" y="36125"/>
                </a:cubicBezTo>
                <a:cubicBezTo>
                  <a:pt x="5625" y="36281"/>
                  <a:pt x="5781" y="36281"/>
                  <a:pt x="5813" y="36406"/>
                </a:cubicBezTo>
                <a:close/>
                <a:moveTo>
                  <a:pt x="4750" y="29219"/>
                </a:moveTo>
                <a:cubicBezTo>
                  <a:pt x="4688" y="29250"/>
                  <a:pt x="4688" y="29313"/>
                  <a:pt x="4656" y="29344"/>
                </a:cubicBezTo>
                <a:cubicBezTo>
                  <a:pt x="4656" y="29375"/>
                  <a:pt x="4656" y="29406"/>
                  <a:pt x="4656" y="29469"/>
                </a:cubicBezTo>
                <a:cubicBezTo>
                  <a:pt x="4688" y="29438"/>
                  <a:pt x="4719" y="29406"/>
                  <a:pt x="4719" y="29406"/>
                </a:cubicBezTo>
                <a:cubicBezTo>
                  <a:pt x="4781" y="29375"/>
                  <a:pt x="4781" y="29313"/>
                  <a:pt x="4781" y="29250"/>
                </a:cubicBezTo>
                <a:cubicBezTo>
                  <a:pt x="4781" y="29219"/>
                  <a:pt x="4750" y="29219"/>
                  <a:pt x="4750" y="29219"/>
                </a:cubicBezTo>
                <a:close/>
                <a:moveTo>
                  <a:pt x="15781" y="24250"/>
                </a:moveTo>
                <a:cubicBezTo>
                  <a:pt x="15844" y="24313"/>
                  <a:pt x="15750" y="24438"/>
                  <a:pt x="15906" y="24531"/>
                </a:cubicBezTo>
                <a:cubicBezTo>
                  <a:pt x="15875" y="24406"/>
                  <a:pt x="15875" y="24313"/>
                  <a:pt x="15781" y="24250"/>
                </a:cubicBezTo>
                <a:close/>
                <a:moveTo>
                  <a:pt x="5063" y="29688"/>
                </a:moveTo>
                <a:cubicBezTo>
                  <a:pt x="5063" y="29688"/>
                  <a:pt x="5063" y="29688"/>
                  <a:pt x="5063" y="29719"/>
                </a:cubicBezTo>
                <a:cubicBezTo>
                  <a:pt x="5063" y="29781"/>
                  <a:pt x="5094" y="29813"/>
                  <a:pt x="5156" y="29844"/>
                </a:cubicBezTo>
                <a:cubicBezTo>
                  <a:pt x="5219" y="29844"/>
                  <a:pt x="5250" y="29844"/>
                  <a:pt x="5281" y="29813"/>
                </a:cubicBezTo>
                <a:cubicBezTo>
                  <a:pt x="5313" y="29688"/>
                  <a:pt x="5188" y="29781"/>
                  <a:pt x="5188" y="29719"/>
                </a:cubicBezTo>
                <a:cubicBezTo>
                  <a:pt x="5188" y="29719"/>
                  <a:pt x="5188" y="29719"/>
                  <a:pt x="5188" y="29688"/>
                </a:cubicBezTo>
                <a:cubicBezTo>
                  <a:pt x="5281" y="29688"/>
                  <a:pt x="5281" y="29625"/>
                  <a:pt x="5250" y="29563"/>
                </a:cubicBezTo>
                <a:cubicBezTo>
                  <a:pt x="5250" y="29500"/>
                  <a:pt x="5188" y="29500"/>
                  <a:pt x="5156" y="29500"/>
                </a:cubicBezTo>
                <a:cubicBezTo>
                  <a:pt x="5125" y="29531"/>
                  <a:pt x="5094" y="29531"/>
                  <a:pt x="5094" y="29563"/>
                </a:cubicBezTo>
                <a:cubicBezTo>
                  <a:pt x="5094" y="29594"/>
                  <a:pt x="5094" y="29594"/>
                  <a:pt x="5094" y="29594"/>
                </a:cubicBezTo>
                <a:cubicBezTo>
                  <a:pt x="5094" y="29656"/>
                  <a:pt x="5125" y="29656"/>
                  <a:pt x="5156" y="29688"/>
                </a:cubicBezTo>
                <a:cubicBezTo>
                  <a:pt x="5156" y="29719"/>
                  <a:pt x="5094" y="29656"/>
                  <a:pt x="5063" y="29688"/>
                </a:cubicBezTo>
                <a:close/>
                <a:moveTo>
                  <a:pt x="5344" y="34938"/>
                </a:moveTo>
                <a:cubicBezTo>
                  <a:pt x="5344" y="34938"/>
                  <a:pt x="5313" y="34938"/>
                  <a:pt x="5313" y="34938"/>
                </a:cubicBezTo>
                <a:cubicBezTo>
                  <a:pt x="5281" y="34969"/>
                  <a:pt x="5281" y="34969"/>
                  <a:pt x="5313" y="35000"/>
                </a:cubicBezTo>
                <a:cubicBezTo>
                  <a:pt x="5375" y="35094"/>
                  <a:pt x="5469" y="35125"/>
                  <a:pt x="5594" y="35094"/>
                </a:cubicBezTo>
                <a:cubicBezTo>
                  <a:pt x="5500" y="35031"/>
                  <a:pt x="5406" y="35031"/>
                  <a:pt x="5344" y="34938"/>
                </a:cubicBezTo>
                <a:close/>
                <a:moveTo>
                  <a:pt x="6156" y="36875"/>
                </a:moveTo>
                <a:cubicBezTo>
                  <a:pt x="6094" y="36906"/>
                  <a:pt x="6000" y="36906"/>
                  <a:pt x="6000" y="36969"/>
                </a:cubicBezTo>
                <a:cubicBezTo>
                  <a:pt x="5969" y="37031"/>
                  <a:pt x="6063" y="37000"/>
                  <a:pt x="6094" y="37000"/>
                </a:cubicBezTo>
                <a:cubicBezTo>
                  <a:pt x="6156" y="37000"/>
                  <a:pt x="6250" y="37031"/>
                  <a:pt x="6250" y="36938"/>
                </a:cubicBezTo>
                <a:cubicBezTo>
                  <a:pt x="6250" y="36906"/>
                  <a:pt x="6188" y="36875"/>
                  <a:pt x="6156" y="36875"/>
                </a:cubicBezTo>
                <a:close/>
                <a:moveTo>
                  <a:pt x="6625" y="36719"/>
                </a:moveTo>
                <a:cubicBezTo>
                  <a:pt x="6625" y="36688"/>
                  <a:pt x="6594" y="36656"/>
                  <a:pt x="6531" y="36656"/>
                </a:cubicBezTo>
                <a:cubicBezTo>
                  <a:pt x="6500" y="36656"/>
                  <a:pt x="6469" y="36656"/>
                  <a:pt x="6406" y="36625"/>
                </a:cubicBezTo>
                <a:cubicBezTo>
                  <a:pt x="6375" y="36625"/>
                  <a:pt x="6313" y="36625"/>
                  <a:pt x="6313" y="36688"/>
                </a:cubicBezTo>
                <a:cubicBezTo>
                  <a:pt x="6313" y="36719"/>
                  <a:pt x="6344" y="36719"/>
                  <a:pt x="6375" y="36750"/>
                </a:cubicBezTo>
                <a:cubicBezTo>
                  <a:pt x="6438" y="36750"/>
                  <a:pt x="6469" y="36781"/>
                  <a:pt x="6531" y="36781"/>
                </a:cubicBezTo>
                <a:cubicBezTo>
                  <a:pt x="6563" y="36813"/>
                  <a:pt x="6625" y="36781"/>
                  <a:pt x="6625" y="36719"/>
                </a:cubicBezTo>
                <a:close/>
                <a:moveTo>
                  <a:pt x="6156" y="36438"/>
                </a:moveTo>
                <a:cubicBezTo>
                  <a:pt x="6125" y="36438"/>
                  <a:pt x="6094" y="36438"/>
                  <a:pt x="6063" y="36438"/>
                </a:cubicBezTo>
                <a:cubicBezTo>
                  <a:pt x="6031" y="36438"/>
                  <a:pt x="6031" y="36438"/>
                  <a:pt x="6000" y="36469"/>
                </a:cubicBezTo>
                <a:cubicBezTo>
                  <a:pt x="6000" y="36469"/>
                  <a:pt x="6000" y="36469"/>
                  <a:pt x="6000" y="36469"/>
                </a:cubicBezTo>
                <a:cubicBezTo>
                  <a:pt x="6000" y="36469"/>
                  <a:pt x="6000" y="36469"/>
                  <a:pt x="6000" y="36469"/>
                </a:cubicBezTo>
                <a:cubicBezTo>
                  <a:pt x="6000" y="36563"/>
                  <a:pt x="6094" y="36594"/>
                  <a:pt x="6156" y="36625"/>
                </a:cubicBezTo>
                <a:cubicBezTo>
                  <a:pt x="6219" y="36625"/>
                  <a:pt x="6250" y="36625"/>
                  <a:pt x="6219" y="36531"/>
                </a:cubicBezTo>
                <a:cubicBezTo>
                  <a:pt x="6219" y="36500"/>
                  <a:pt x="6188" y="36469"/>
                  <a:pt x="6156" y="36438"/>
                </a:cubicBezTo>
                <a:close/>
                <a:moveTo>
                  <a:pt x="4938" y="36406"/>
                </a:moveTo>
                <a:cubicBezTo>
                  <a:pt x="5063" y="36344"/>
                  <a:pt x="5156" y="36281"/>
                  <a:pt x="5313" y="36188"/>
                </a:cubicBezTo>
                <a:cubicBezTo>
                  <a:pt x="5125" y="36219"/>
                  <a:pt x="5031" y="36281"/>
                  <a:pt x="4938" y="36406"/>
                </a:cubicBezTo>
                <a:close/>
                <a:moveTo>
                  <a:pt x="1188" y="8563"/>
                </a:moveTo>
                <a:cubicBezTo>
                  <a:pt x="1063" y="8469"/>
                  <a:pt x="938" y="8406"/>
                  <a:pt x="813" y="8375"/>
                </a:cubicBezTo>
                <a:cubicBezTo>
                  <a:pt x="938" y="8438"/>
                  <a:pt x="1031" y="8563"/>
                  <a:pt x="1188" y="8563"/>
                </a:cubicBezTo>
                <a:close/>
                <a:moveTo>
                  <a:pt x="5406" y="35594"/>
                </a:moveTo>
                <a:cubicBezTo>
                  <a:pt x="5344" y="35594"/>
                  <a:pt x="5281" y="35656"/>
                  <a:pt x="5281" y="35719"/>
                </a:cubicBezTo>
                <a:cubicBezTo>
                  <a:pt x="5250" y="35781"/>
                  <a:pt x="5313" y="35781"/>
                  <a:pt x="5375" y="35813"/>
                </a:cubicBezTo>
                <a:cubicBezTo>
                  <a:pt x="5469" y="35813"/>
                  <a:pt x="5469" y="35750"/>
                  <a:pt x="5469" y="35688"/>
                </a:cubicBezTo>
                <a:cubicBezTo>
                  <a:pt x="5469" y="35625"/>
                  <a:pt x="5469" y="35594"/>
                  <a:pt x="5406" y="35594"/>
                </a:cubicBezTo>
                <a:close/>
                <a:moveTo>
                  <a:pt x="17625" y="30313"/>
                </a:moveTo>
                <a:cubicBezTo>
                  <a:pt x="17625" y="30281"/>
                  <a:pt x="17625" y="30250"/>
                  <a:pt x="17563" y="30250"/>
                </a:cubicBezTo>
                <a:cubicBezTo>
                  <a:pt x="17563" y="30281"/>
                  <a:pt x="17500" y="30250"/>
                  <a:pt x="17500" y="30313"/>
                </a:cubicBezTo>
                <a:cubicBezTo>
                  <a:pt x="17469" y="30344"/>
                  <a:pt x="17563" y="30531"/>
                  <a:pt x="17625" y="30531"/>
                </a:cubicBezTo>
                <a:cubicBezTo>
                  <a:pt x="17656" y="30594"/>
                  <a:pt x="17688" y="30656"/>
                  <a:pt x="17688" y="30688"/>
                </a:cubicBezTo>
                <a:cubicBezTo>
                  <a:pt x="17688" y="30719"/>
                  <a:pt x="17719" y="30719"/>
                  <a:pt x="17719" y="30719"/>
                </a:cubicBezTo>
                <a:cubicBezTo>
                  <a:pt x="17719" y="30719"/>
                  <a:pt x="17719" y="30750"/>
                  <a:pt x="17719" y="30750"/>
                </a:cubicBezTo>
                <a:cubicBezTo>
                  <a:pt x="17719" y="30750"/>
                  <a:pt x="17719" y="30750"/>
                  <a:pt x="17719" y="30750"/>
                </a:cubicBezTo>
                <a:cubicBezTo>
                  <a:pt x="17688" y="30781"/>
                  <a:pt x="17688" y="30844"/>
                  <a:pt x="17625" y="30875"/>
                </a:cubicBezTo>
                <a:cubicBezTo>
                  <a:pt x="17594" y="30906"/>
                  <a:pt x="17719" y="31250"/>
                  <a:pt x="17781" y="31313"/>
                </a:cubicBezTo>
                <a:cubicBezTo>
                  <a:pt x="17813" y="31344"/>
                  <a:pt x="17813" y="31313"/>
                  <a:pt x="17844" y="31313"/>
                </a:cubicBezTo>
                <a:cubicBezTo>
                  <a:pt x="17906" y="31281"/>
                  <a:pt x="17938" y="31344"/>
                  <a:pt x="17906" y="31375"/>
                </a:cubicBezTo>
                <a:cubicBezTo>
                  <a:pt x="17844" y="31469"/>
                  <a:pt x="17906" y="31625"/>
                  <a:pt x="17844" y="31719"/>
                </a:cubicBezTo>
                <a:cubicBezTo>
                  <a:pt x="17813" y="31750"/>
                  <a:pt x="17844" y="31844"/>
                  <a:pt x="17781" y="31844"/>
                </a:cubicBezTo>
                <a:cubicBezTo>
                  <a:pt x="17719" y="31813"/>
                  <a:pt x="17750" y="31750"/>
                  <a:pt x="17750" y="31719"/>
                </a:cubicBezTo>
                <a:cubicBezTo>
                  <a:pt x="17750" y="31719"/>
                  <a:pt x="17750" y="31688"/>
                  <a:pt x="17750" y="31656"/>
                </a:cubicBezTo>
                <a:cubicBezTo>
                  <a:pt x="17688" y="31625"/>
                  <a:pt x="17688" y="31719"/>
                  <a:pt x="17625" y="31719"/>
                </a:cubicBezTo>
                <a:cubicBezTo>
                  <a:pt x="17625" y="31656"/>
                  <a:pt x="17594" y="31563"/>
                  <a:pt x="17656" y="31500"/>
                </a:cubicBezTo>
                <a:cubicBezTo>
                  <a:pt x="17750" y="31406"/>
                  <a:pt x="17688" y="31375"/>
                  <a:pt x="17625" y="31313"/>
                </a:cubicBezTo>
                <a:cubicBezTo>
                  <a:pt x="17531" y="31281"/>
                  <a:pt x="17531" y="31188"/>
                  <a:pt x="17563" y="31125"/>
                </a:cubicBezTo>
                <a:cubicBezTo>
                  <a:pt x="17594" y="31063"/>
                  <a:pt x="17531" y="31031"/>
                  <a:pt x="17500" y="30969"/>
                </a:cubicBezTo>
                <a:cubicBezTo>
                  <a:pt x="17500" y="30969"/>
                  <a:pt x="17469" y="30938"/>
                  <a:pt x="17438" y="30938"/>
                </a:cubicBezTo>
                <a:cubicBezTo>
                  <a:pt x="17406" y="30969"/>
                  <a:pt x="17438" y="31000"/>
                  <a:pt x="17438" y="31031"/>
                </a:cubicBezTo>
                <a:cubicBezTo>
                  <a:pt x="17469" y="31250"/>
                  <a:pt x="17344" y="31469"/>
                  <a:pt x="17156" y="31563"/>
                </a:cubicBezTo>
                <a:cubicBezTo>
                  <a:pt x="17063" y="31625"/>
                  <a:pt x="17031" y="31563"/>
                  <a:pt x="17063" y="31500"/>
                </a:cubicBezTo>
                <a:cubicBezTo>
                  <a:pt x="17094" y="31375"/>
                  <a:pt x="17063" y="31219"/>
                  <a:pt x="17188" y="31094"/>
                </a:cubicBezTo>
                <a:cubicBezTo>
                  <a:pt x="17219" y="31094"/>
                  <a:pt x="17250" y="31063"/>
                  <a:pt x="17188" y="31031"/>
                </a:cubicBezTo>
                <a:cubicBezTo>
                  <a:pt x="17156" y="31000"/>
                  <a:pt x="17125" y="30969"/>
                  <a:pt x="17156" y="30906"/>
                </a:cubicBezTo>
                <a:cubicBezTo>
                  <a:pt x="17063" y="30906"/>
                  <a:pt x="16938" y="31063"/>
                  <a:pt x="16875" y="30875"/>
                </a:cubicBezTo>
                <a:cubicBezTo>
                  <a:pt x="16813" y="30906"/>
                  <a:pt x="16781" y="30938"/>
                  <a:pt x="16813" y="30969"/>
                </a:cubicBezTo>
                <a:cubicBezTo>
                  <a:pt x="16875" y="31063"/>
                  <a:pt x="16781" y="31094"/>
                  <a:pt x="16750" y="31094"/>
                </a:cubicBezTo>
                <a:cubicBezTo>
                  <a:pt x="16656" y="31125"/>
                  <a:pt x="16625" y="31188"/>
                  <a:pt x="16594" y="31281"/>
                </a:cubicBezTo>
                <a:cubicBezTo>
                  <a:pt x="16500" y="31406"/>
                  <a:pt x="16375" y="31469"/>
                  <a:pt x="16219" y="31500"/>
                </a:cubicBezTo>
                <a:cubicBezTo>
                  <a:pt x="16188" y="31500"/>
                  <a:pt x="16156" y="31500"/>
                  <a:pt x="16125" y="31500"/>
                </a:cubicBezTo>
                <a:cubicBezTo>
                  <a:pt x="16031" y="31500"/>
                  <a:pt x="15938" y="31469"/>
                  <a:pt x="15844" y="31469"/>
                </a:cubicBezTo>
                <a:cubicBezTo>
                  <a:pt x="15813" y="31469"/>
                  <a:pt x="15813" y="31500"/>
                  <a:pt x="15781" y="31500"/>
                </a:cubicBezTo>
                <a:cubicBezTo>
                  <a:pt x="16000" y="31625"/>
                  <a:pt x="16313" y="31625"/>
                  <a:pt x="16469" y="31438"/>
                </a:cubicBezTo>
                <a:cubicBezTo>
                  <a:pt x="16531" y="31375"/>
                  <a:pt x="16594" y="31406"/>
                  <a:pt x="16688" y="31375"/>
                </a:cubicBezTo>
                <a:cubicBezTo>
                  <a:pt x="16781" y="31344"/>
                  <a:pt x="16781" y="31469"/>
                  <a:pt x="16781" y="31531"/>
                </a:cubicBezTo>
                <a:cubicBezTo>
                  <a:pt x="16813" y="31563"/>
                  <a:pt x="16813" y="31563"/>
                  <a:pt x="16813" y="31563"/>
                </a:cubicBezTo>
                <a:cubicBezTo>
                  <a:pt x="16813" y="31594"/>
                  <a:pt x="16844" y="31625"/>
                  <a:pt x="16844" y="31625"/>
                </a:cubicBezTo>
                <a:cubicBezTo>
                  <a:pt x="16875" y="31688"/>
                  <a:pt x="16938" y="31781"/>
                  <a:pt x="16938" y="31844"/>
                </a:cubicBezTo>
                <a:cubicBezTo>
                  <a:pt x="17000" y="31813"/>
                  <a:pt x="17000" y="31781"/>
                  <a:pt x="17031" y="31750"/>
                </a:cubicBezTo>
                <a:cubicBezTo>
                  <a:pt x="17031" y="31750"/>
                  <a:pt x="17031" y="31750"/>
                  <a:pt x="17031" y="31750"/>
                </a:cubicBezTo>
                <a:cubicBezTo>
                  <a:pt x="17063" y="31781"/>
                  <a:pt x="17063" y="31844"/>
                  <a:pt x="17125" y="31875"/>
                </a:cubicBezTo>
                <a:cubicBezTo>
                  <a:pt x="17156" y="31875"/>
                  <a:pt x="17156" y="31875"/>
                  <a:pt x="17156" y="31875"/>
                </a:cubicBezTo>
                <a:cubicBezTo>
                  <a:pt x="17219" y="31719"/>
                  <a:pt x="17250" y="31531"/>
                  <a:pt x="17438" y="31750"/>
                </a:cubicBezTo>
                <a:cubicBezTo>
                  <a:pt x="17438" y="31781"/>
                  <a:pt x="17469" y="31781"/>
                  <a:pt x="17469" y="31781"/>
                </a:cubicBezTo>
                <a:cubicBezTo>
                  <a:pt x="17625" y="31813"/>
                  <a:pt x="17656" y="31906"/>
                  <a:pt x="17563" y="32031"/>
                </a:cubicBezTo>
                <a:cubicBezTo>
                  <a:pt x="17500" y="32125"/>
                  <a:pt x="17469" y="32219"/>
                  <a:pt x="17438" y="32344"/>
                </a:cubicBezTo>
                <a:cubicBezTo>
                  <a:pt x="17406" y="32438"/>
                  <a:pt x="17281" y="32469"/>
                  <a:pt x="17188" y="32469"/>
                </a:cubicBezTo>
                <a:cubicBezTo>
                  <a:pt x="17156" y="32500"/>
                  <a:pt x="17094" y="32500"/>
                  <a:pt x="17063" y="32500"/>
                </a:cubicBezTo>
                <a:cubicBezTo>
                  <a:pt x="16969" y="32531"/>
                  <a:pt x="16969" y="32594"/>
                  <a:pt x="17000" y="32625"/>
                </a:cubicBezTo>
                <a:cubicBezTo>
                  <a:pt x="17063" y="32750"/>
                  <a:pt x="17094" y="32906"/>
                  <a:pt x="17250" y="32906"/>
                </a:cubicBezTo>
                <a:cubicBezTo>
                  <a:pt x="17406" y="32906"/>
                  <a:pt x="17375" y="32969"/>
                  <a:pt x="17375" y="33094"/>
                </a:cubicBezTo>
                <a:cubicBezTo>
                  <a:pt x="17375" y="33125"/>
                  <a:pt x="17313" y="33219"/>
                  <a:pt x="17438" y="33188"/>
                </a:cubicBezTo>
                <a:cubicBezTo>
                  <a:pt x="17531" y="33188"/>
                  <a:pt x="17656" y="33250"/>
                  <a:pt x="17656" y="33063"/>
                </a:cubicBezTo>
                <a:cubicBezTo>
                  <a:pt x="17656" y="32938"/>
                  <a:pt x="17625" y="32813"/>
                  <a:pt x="17625" y="32688"/>
                </a:cubicBezTo>
                <a:cubicBezTo>
                  <a:pt x="17656" y="32781"/>
                  <a:pt x="17688" y="32875"/>
                  <a:pt x="17719" y="32969"/>
                </a:cubicBezTo>
                <a:cubicBezTo>
                  <a:pt x="17781" y="33094"/>
                  <a:pt x="17719" y="33250"/>
                  <a:pt x="17563" y="33281"/>
                </a:cubicBezTo>
                <a:cubicBezTo>
                  <a:pt x="17406" y="33313"/>
                  <a:pt x="17375" y="33438"/>
                  <a:pt x="17344" y="33531"/>
                </a:cubicBezTo>
                <a:cubicBezTo>
                  <a:pt x="17281" y="33656"/>
                  <a:pt x="17219" y="33750"/>
                  <a:pt x="17125" y="33844"/>
                </a:cubicBezTo>
                <a:cubicBezTo>
                  <a:pt x="16969" y="33969"/>
                  <a:pt x="16813" y="34125"/>
                  <a:pt x="16844" y="34375"/>
                </a:cubicBezTo>
                <a:cubicBezTo>
                  <a:pt x="16875" y="34531"/>
                  <a:pt x="16844" y="34688"/>
                  <a:pt x="16813" y="34844"/>
                </a:cubicBezTo>
                <a:cubicBezTo>
                  <a:pt x="16906" y="34844"/>
                  <a:pt x="16906" y="34844"/>
                  <a:pt x="17188" y="34500"/>
                </a:cubicBezTo>
                <a:cubicBezTo>
                  <a:pt x="17156" y="34469"/>
                  <a:pt x="17063" y="34500"/>
                  <a:pt x="17094" y="34406"/>
                </a:cubicBezTo>
                <a:cubicBezTo>
                  <a:pt x="17125" y="34313"/>
                  <a:pt x="17063" y="34188"/>
                  <a:pt x="17156" y="34125"/>
                </a:cubicBezTo>
                <a:cubicBezTo>
                  <a:pt x="17188" y="34094"/>
                  <a:pt x="17250" y="34125"/>
                  <a:pt x="17281" y="34156"/>
                </a:cubicBezTo>
                <a:cubicBezTo>
                  <a:pt x="17313" y="34188"/>
                  <a:pt x="17375" y="34219"/>
                  <a:pt x="17438" y="34219"/>
                </a:cubicBezTo>
                <a:cubicBezTo>
                  <a:pt x="17531" y="34219"/>
                  <a:pt x="17563" y="34156"/>
                  <a:pt x="17531" y="34094"/>
                </a:cubicBezTo>
                <a:cubicBezTo>
                  <a:pt x="17500" y="34031"/>
                  <a:pt x="17469" y="34031"/>
                  <a:pt x="17469" y="33969"/>
                </a:cubicBezTo>
                <a:cubicBezTo>
                  <a:pt x="17469" y="33938"/>
                  <a:pt x="17438" y="33844"/>
                  <a:pt x="17500" y="33844"/>
                </a:cubicBezTo>
                <a:cubicBezTo>
                  <a:pt x="17563" y="33844"/>
                  <a:pt x="17594" y="33875"/>
                  <a:pt x="17625" y="33938"/>
                </a:cubicBezTo>
                <a:cubicBezTo>
                  <a:pt x="17625" y="33969"/>
                  <a:pt x="17656" y="34000"/>
                  <a:pt x="17656" y="34031"/>
                </a:cubicBezTo>
                <a:cubicBezTo>
                  <a:pt x="17688" y="34125"/>
                  <a:pt x="17719" y="34125"/>
                  <a:pt x="17781" y="34031"/>
                </a:cubicBezTo>
                <a:cubicBezTo>
                  <a:pt x="17813" y="34125"/>
                  <a:pt x="17781" y="34156"/>
                  <a:pt x="17719" y="34188"/>
                </a:cubicBezTo>
                <a:cubicBezTo>
                  <a:pt x="17500" y="34281"/>
                  <a:pt x="17375" y="34438"/>
                  <a:pt x="17250" y="34625"/>
                </a:cubicBezTo>
                <a:cubicBezTo>
                  <a:pt x="17219" y="34688"/>
                  <a:pt x="17156" y="34781"/>
                  <a:pt x="17125" y="34844"/>
                </a:cubicBezTo>
                <a:cubicBezTo>
                  <a:pt x="17063" y="34969"/>
                  <a:pt x="16938" y="35000"/>
                  <a:pt x="16813" y="35000"/>
                </a:cubicBezTo>
                <a:cubicBezTo>
                  <a:pt x="16750" y="34969"/>
                  <a:pt x="16719" y="34938"/>
                  <a:pt x="16625" y="35000"/>
                </a:cubicBezTo>
                <a:cubicBezTo>
                  <a:pt x="16719" y="35031"/>
                  <a:pt x="16781" y="35031"/>
                  <a:pt x="16844" y="35094"/>
                </a:cubicBezTo>
                <a:cubicBezTo>
                  <a:pt x="16844" y="35094"/>
                  <a:pt x="16906" y="35094"/>
                  <a:pt x="16938" y="35094"/>
                </a:cubicBezTo>
                <a:cubicBezTo>
                  <a:pt x="16969" y="35063"/>
                  <a:pt x="17000" y="34969"/>
                  <a:pt x="17063" y="35063"/>
                </a:cubicBezTo>
                <a:cubicBezTo>
                  <a:pt x="17125" y="35125"/>
                  <a:pt x="17125" y="35219"/>
                  <a:pt x="17094" y="35281"/>
                </a:cubicBezTo>
                <a:cubicBezTo>
                  <a:pt x="17063" y="35406"/>
                  <a:pt x="17000" y="35531"/>
                  <a:pt x="16938" y="35625"/>
                </a:cubicBezTo>
                <a:cubicBezTo>
                  <a:pt x="16813" y="35750"/>
                  <a:pt x="16844" y="35906"/>
                  <a:pt x="16781" y="36063"/>
                </a:cubicBezTo>
                <a:cubicBezTo>
                  <a:pt x="16875" y="35969"/>
                  <a:pt x="17031" y="35906"/>
                  <a:pt x="17031" y="35719"/>
                </a:cubicBezTo>
                <a:cubicBezTo>
                  <a:pt x="17063" y="35594"/>
                  <a:pt x="17125" y="35563"/>
                  <a:pt x="17250" y="35656"/>
                </a:cubicBezTo>
                <a:cubicBezTo>
                  <a:pt x="17313" y="35719"/>
                  <a:pt x="17375" y="35719"/>
                  <a:pt x="17438" y="35719"/>
                </a:cubicBezTo>
                <a:cubicBezTo>
                  <a:pt x="17344" y="35906"/>
                  <a:pt x="17188" y="36031"/>
                  <a:pt x="17000" y="36031"/>
                </a:cubicBezTo>
                <a:cubicBezTo>
                  <a:pt x="16938" y="36031"/>
                  <a:pt x="16906" y="36063"/>
                  <a:pt x="16906" y="36094"/>
                </a:cubicBezTo>
                <a:cubicBezTo>
                  <a:pt x="16875" y="36281"/>
                  <a:pt x="16719" y="36313"/>
                  <a:pt x="16594" y="36406"/>
                </a:cubicBezTo>
                <a:cubicBezTo>
                  <a:pt x="16563" y="36406"/>
                  <a:pt x="16563" y="36406"/>
                  <a:pt x="16531" y="36406"/>
                </a:cubicBezTo>
                <a:cubicBezTo>
                  <a:pt x="16500" y="36469"/>
                  <a:pt x="16375" y="36531"/>
                  <a:pt x="16438" y="36563"/>
                </a:cubicBezTo>
                <a:cubicBezTo>
                  <a:pt x="16500" y="36656"/>
                  <a:pt x="16531" y="36531"/>
                  <a:pt x="16563" y="36500"/>
                </a:cubicBezTo>
                <a:cubicBezTo>
                  <a:pt x="16625" y="36438"/>
                  <a:pt x="16719" y="36469"/>
                  <a:pt x="16781" y="36406"/>
                </a:cubicBezTo>
                <a:cubicBezTo>
                  <a:pt x="16781" y="36406"/>
                  <a:pt x="16844" y="36406"/>
                  <a:pt x="16813" y="36469"/>
                </a:cubicBezTo>
                <a:cubicBezTo>
                  <a:pt x="16781" y="36563"/>
                  <a:pt x="16750" y="36688"/>
                  <a:pt x="16656" y="36750"/>
                </a:cubicBezTo>
                <a:cubicBezTo>
                  <a:pt x="16594" y="36781"/>
                  <a:pt x="16563" y="36875"/>
                  <a:pt x="16531" y="36938"/>
                </a:cubicBezTo>
                <a:cubicBezTo>
                  <a:pt x="16500" y="36969"/>
                  <a:pt x="16469" y="37000"/>
                  <a:pt x="16500" y="37000"/>
                </a:cubicBezTo>
                <a:cubicBezTo>
                  <a:pt x="16531" y="37031"/>
                  <a:pt x="16563" y="37031"/>
                  <a:pt x="16594" y="37000"/>
                </a:cubicBezTo>
                <a:cubicBezTo>
                  <a:pt x="16656" y="36969"/>
                  <a:pt x="16719" y="36906"/>
                  <a:pt x="16781" y="36906"/>
                </a:cubicBezTo>
                <a:cubicBezTo>
                  <a:pt x="16656" y="37063"/>
                  <a:pt x="16531" y="37188"/>
                  <a:pt x="16313" y="37281"/>
                </a:cubicBezTo>
                <a:cubicBezTo>
                  <a:pt x="16219" y="37344"/>
                  <a:pt x="16031" y="37375"/>
                  <a:pt x="16031" y="37563"/>
                </a:cubicBezTo>
                <a:cubicBezTo>
                  <a:pt x="16000" y="37656"/>
                  <a:pt x="15938" y="37688"/>
                  <a:pt x="15875" y="37625"/>
                </a:cubicBezTo>
                <a:cubicBezTo>
                  <a:pt x="15844" y="37594"/>
                  <a:pt x="15844" y="37594"/>
                  <a:pt x="15813" y="37594"/>
                </a:cubicBezTo>
                <a:cubicBezTo>
                  <a:pt x="15781" y="37594"/>
                  <a:pt x="15719" y="37625"/>
                  <a:pt x="15688" y="37594"/>
                </a:cubicBezTo>
                <a:cubicBezTo>
                  <a:pt x="15688" y="37594"/>
                  <a:pt x="15656" y="37594"/>
                  <a:pt x="15656" y="37563"/>
                </a:cubicBezTo>
                <a:cubicBezTo>
                  <a:pt x="15625" y="37563"/>
                  <a:pt x="15625" y="37563"/>
                  <a:pt x="15594" y="37563"/>
                </a:cubicBezTo>
                <a:cubicBezTo>
                  <a:pt x="15594" y="37594"/>
                  <a:pt x="15563" y="37625"/>
                  <a:pt x="15531" y="37594"/>
                </a:cubicBezTo>
                <a:cubicBezTo>
                  <a:pt x="15500" y="37594"/>
                  <a:pt x="15500" y="37625"/>
                  <a:pt x="15500" y="37625"/>
                </a:cubicBezTo>
                <a:cubicBezTo>
                  <a:pt x="15500" y="37625"/>
                  <a:pt x="15500" y="37625"/>
                  <a:pt x="15500" y="37625"/>
                </a:cubicBezTo>
                <a:cubicBezTo>
                  <a:pt x="15500" y="37625"/>
                  <a:pt x="15500" y="37625"/>
                  <a:pt x="15469" y="37625"/>
                </a:cubicBezTo>
                <a:cubicBezTo>
                  <a:pt x="15500" y="37656"/>
                  <a:pt x="15500" y="37688"/>
                  <a:pt x="15500" y="37688"/>
                </a:cubicBezTo>
                <a:cubicBezTo>
                  <a:pt x="15500" y="37750"/>
                  <a:pt x="15469" y="37781"/>
                  <a:pt x="15469" y="37813"/>
                </a:cubicBezTo>
                <a:cubicBezTo>
                  <a:pt x="15438" y="37813"/>
                  <a:pt x="15438" y="37844"/>
                  <a:pt x="15438" y="37844"/>
                </a:cubicBezTo>
                <a:cubicBezTo>
                  <a:pt x="15438" y="37875"/>
                  <a:pt x="15375" y="37969"/>
                  <a:pt x="15469" y="37906"/>
                </a:cubicBezTo>
                <a:cubicBezTo>
                  <a:pt x="15531" y="37844"/>
                  <a:pt x="15625" y="37844"/>
                  <a:pt x="15719" y="37781"/>
                </a:cubicBezTo>
                <a:cubicBezTo>
                  <a:pt x="15750" y="37781"/>
                  <a:pt x="15781" y="37750"/>
                  <a:pt x="15875" y="37844"/>
                </a:cubicBezTo>
                <a:cubicBezTo>
                  <a:pt x="15719" y="37875"/>
                  <a:pt x="15594" y="37969"/>
                  <a:pt x="15500" y="38031"/>
                </a:cubicBezTo>
                <a:cubicBezTo>
                  <a:pt x="15344" y="38188"/>
                  <a:pt x="15188" y="38375"/>
                  <a:pt x="14938" y="38438"/>
                </a:cubicBezTo>
                <a:cubicBezTo>
                  <a:pt x="14938" y="38469"/>
                  <a:pt x="14906" y="38469"/>
                  <a:pt x="14906" y="38469"/>
                </a:cubicBezTo>
                <a:cubicBezTo>
                  <a:pt x="14875" y="38469"/>
                  <a:pt x="14875" y="38469"/>
                  <a:pt x="14875" y="38469"/>
                </a:cubicBezTo>
                <a:cubicBezTo>
                  <a:pt x="14813" y="38469"/>
                  <a:pt x="14781" y="38469"/>
                  <a:pt x="14781" y="38531"/>
                </a:cubicBezTo>
                <a:cubicBezTo>
                  <a:pt x="14781" y="38594"/>
                  <a:pt x="14844" y="38531"/>
                  <a:pt x="14875" y="38563"/>
                </a:cubicBezTo>
                <a:cubicBezTo>
                  <a:pt x="14688" y="38625"/>
                  <a:pt x="14500" y="38688"/>
                  <a:pt x="14313" y="38750"/>
                </a:cubicBezTo>
                <a:cubicBezTo>
                  <a:pt x="14250" y="38750"/>
                  <a:pt x="14219" y="38781"/>
                  <a:pt x="14188" y="38813"/>
                </a:cubicBezTo>
                <a:cubicBezTo>
                  <a:pt x="14188" y="38844"/>
                  <a:pt x="14156" y="38844"/>
                  <a:pt x="14125" y="38875"/>
                </a:cubicBezTo>
                <a:cubicBezTo>
                  <a:pt x="14063" y="38938"/>
                  <a:pt x="13969" y="38969"/>
                  <a:pt x="13875" y="39000"/>
                </a:cubicBezTo>
                <a:cubicBezTo>
                  <a:pt x="13875" y="39000"/>
                  <a:pt x="13875" y="39000"/>
                  <a:pt x="13875" y="39000"/>
                </a:cubicBezTo>
                <a:cubicBezTo>
                  <a:pt x="13844" y="39000"/>
                  <a:pt x="13813" y="39031"/>
                  <a:pt x="13781" y="39031"/>
                </a:cubicBezTo>
                <a:cubicBezTo>
                  <a:pt x="13750" y="39063"/>
                  <a:pt x="13750" y="39063"/>
                  <a:pt x="13719" y="39094"/>
                </a:cubicBezTo>
                <a:cubicBezTo>
                  <a:pt x="13688" y="39094"/>
                  <a:pt x="13625" y="39125"/>
                  <a:pt x="13594" y="39125"/>
                </a:cubicBezTo>
                <a:cubicBezTo>
                  <a:pt x="13375" y="39156"/>
                  <a:pt x="13188" y="39281"/>
                  <a:pt x="12969" y="39281"/>
                </a:cubicBezTo>
                <a:cubicBezTo>
                  <a:pt x="12781" y="39313"/>
                  <a:pt x="12594" y="39344"/>
                  <a:pt x="12406" y="39406"/>
                </a:cubicBezTo>
                <a:cubicBezTo>
                  <a:pt x="12281" y="39438"/>
                  <a:pt x="12156" y="39531"/>
                  <a:pt x="12031" y="39469"/>
                </a:cubicBezTo>
                <a:cubicBezTo>
                  <a:pt x="11969" y="39469"/>
                  <a:pt x="11906" y="39469"/>
                  <a:pt x="11844" y="39469"/>
                </a:cubicBezTo>
                <a:cubicBezTo>
                  <a:pt x="11844" y="39500"/>
                  <a:pt x="11813" y="39500"/>
                  <a:pt x="11813" y="39500"/>
                </a:cubicBezTo>
                <a:cubicBezTo>
                  <a:pt x="11750" y="39531"/>
                  <a:pt x="11688" y="39531"/>
                  <a:pt x="11625" y="39500"/>
                </a:cubicBezTo>
                <a:cubicBezTo>
                  <a:pt x="11625" y="39500"/>
                  <a:pt x="11625" y="39500"/>
                  <a:pt x="11594" y="39500"/>
                </a:cubicBezTo>
                <a:cubicBezTo>
                  <a:pt x="11594" y="39500"/>
                  <a:pt x="11594" y="39500"/>
                  <a:pt x="11594" y="39500"/>
                </a:cubicBezTo>
                <a:cubicBezTo>
                  <a:pt x="11469" y="39469"/>
                  <a:pt x="11313" y="39469"/>
                  <a:pt x="11188" y="39469"/>
                </a:cubicBezTo>
                <a:cubicBezTo>
                  <a:pt x="11031" y="39469"/>
                  <a:pt x="10906" y="39469"/>
                  <a:pt x="10750" y="39469"/>
                </a:cubicBezTo>
                <a:cubicBezTo>
                  <a:pt x="10563" y="39438"/>
                  <a:pt x="10375" y="39438"/>
                  <a:pt x="10188" y="39469"/>
                </a:cubicBezTo>
                <a:cubicBezTo>
                  <a:pt x="10031" y="39469"/>
                  <a:pt x="9875" y="39375"/>
                  <a:pt x="9719" y="39344"/>
                </a:cubicBezTo>
                <a:cubicBezTo>
                  <a:pt x="9344" y="39344"/>
                  <a:pt x="9000" y="39219"/>
                  <a:pt x="8625" y="39188"/>
                </a:cubicBezTo>
                <a:cubicBezTo>
                  <a:pt x="8594" y="39188"/>
                  <a:pt x="8563" y="39188"/>
                  <a:pt x="8531" y="39156"/>
                </a:cubicBezTo>
                <a:cubicBezTo>
                  <a:pt x="8469" y="39125"/>
                  <a:pt x="8406" y="39063"/>
                  <a:pt x="8313" y="39094"/>
                </a:cubicBezTo>
                <a:cubicBezTo>
                  <a:pt x="8219" y="39094"/>
                  <a:pt x="8188" y="39063"/>
                  <a:pt x="8125" y="39031"/>
                </a:cubicBezTo>
                <a:cubicBezTo>
                  <a:pt x="8094" y="39000"/>
                  <a:pt x="8063" y="39000"/>
                  <a:pt x="8031" y="38969"/>
                </a:cubicBezTo>
                <a:cubicBezTo>
                  <a:pt x="8000" y="38969"/>
                  <a:pt x="8000" y="38875"/>
                  <a:pt x="8031" y="38844"/>
                </a:cubicBezTo>
                <a:cubicBezTo>
                  <a:pt x="8063" y="38813"/>
                  <a:pt x="8094" y="38781"/>
                  <a:pt x="8031" y="38750"/>
                </a:cubicBezTo>
                <a:cubicBezTo>
                  <a:pt x="8000" y="38719"/>
                  <a:pt x="7938" y="38625"/>
                  <a:pt x="7906" y="38656"/>
                </a:cubicBezTo>
                <a:cubicBezTo>
                  <a:pt x="7750" y="38781"/>
                  <a:pt x="7594" y="38688"/>
                  <a:pt x="7500" y="38625"/>
                </a:cubicBezTo>
                <a:cubicBezTo>
                  <a:pt x="7375" y="38594"/>
                  <a:pt x="7250" y="38563"/>
                  <a:pt x="7156" y="38500"/>
                </a:cubicBezTo>
                <a:cubicBezTo>
                  <a:pt x="7094" y="38469"/>
                  <a:pt x="6969" y="38438"/>
                  <a:pt x="7031" y="38313"/>
                </a:cubicBezTo>
                <a:cubicBezTo>
                  <a:pt x="7031" y="38313"/>
                  <a:pt x="7031" y="38281"/>
                  <a:pt x="7000" y="38250"/>
                </a:cubicBezTo>
                <a:cubicBezTo>
                  <a:pt x="6844" y="38188"/>
                  <a:pt x="6750" y="38063"/>
                  <a:pt x="6594" y="37938"/>
                </a:cubicBezTo>
                <a:cubicBezTo>
                  <a:pt x="6531" y="37906"/>
                  <a:pt x="6594" y="37813"/>
                  <a:pt x="6563" y="37719"/>
                </a:cubicBezTo>
                <a:cubicBezTo>
                  <a:pt x="6531" y="37656"/>
                  <a:pt x="6500" y="37594"/>
                  <a:pt x="6625" y="37563"/>
                </a:cubicBezTo>
                <a:cubicBezTo>
                  <a:pt x="6625" y="37563"/>
                  <a:pt x="6625" y="37531"/>
                  <a:pt x="6656" y="37500"/>
                </a:cubicBezTo>
                <a:cubicBezTo>
                  <a:pt x="6656" y="37438"/>
                  <a:pt x="6656" y="37406"/>
                  <a:pt x="6719" y="37406"/>
                </a:cubicBezTo>
                <a:cubicBezTo>
                  <a:pt x="6719" y="37406"/>
                  <a:pt x="6719" y="37406"/>
                  <a:pt x="6719" y="37406"/>
                </a:cubicBezTo>
                <a:cubicBezTo>
                  <a:pt x="6719" y="37406"/>
                  <a:pt x="6719" y="37406"/>
                  <a:pt x="6719" y="37406"/>
                </a:cubicBezTo>
                <a:cubicBezTo>
                  <a:pt x="6719" y="37375"/>
                  <a:pt x="6719" y="37375"/>
                  <a:pt x="6688" y="37375"/>
                </a:cubicBezTo>
                <a:cubicBezTo>
                  <a:pt x="6688" y="37344"/>
                  <a:pt x="6625" y="37344"/>
                  <a:pt x="6625" y="37313"/>
                </a:cubicBezTo>
                <a:cubicBezTo>
                  <a:pt x="6594" y="37250"/>
                  <a:pt x="6531" y="37250"/>
                  <a:pt x="6625" y="37188"/>
                </a:cubicBezTo>
                <a:cubicBezTo>
                  <a:pt x="6688" y="37156"/>
                  <a:pt x="6656" y="37125"/>
                  <a:pt x="6594" y="37094"/>
                </a:cubicBezTo>
                <a:cubicBezTo>
                  <a:pt x="6531" y="37094"/>
                  <a:pt x="6500" y="37031"/>
                  <a:pt x="6469" y="37000"/>
                </a:cubicBezTo>
                <a:cubicBezTo>
                  <a:pt x="6406" y="36969"/>
                  <a:pt x="6438" y="36906"/>
                  <a:pt x="6469" y="36844"/>
                </a:cubicBezTo>
                <a:cubicBezTo>
                  <a:pt x="6469" y="36813"/>
                  <a:pt x="6531" y="36844"/>
                  <a:pt x="6563" y="36844"/>
                </a:cubicBezTo>
                <a:cubicBezTo>
                  <a:pt x="6625" y="36844"/>
                  <a:pt x="6688" y="36906"/>
                  <a:pt x="6688" y="36781"/>
                </a:cubicBezTo>
                <a:cubicBezTo>
                  <a:pt x="6688" y="36750"/>
                  <a:pt x="6750" y="36781"/>
                  <a:pt x="6750" y="36781"/>
                </a:cubicBezTo>
                <a:cubicBezTo>
                  <a:pt x="6844" y="36844"/>
                  <a:pt x="6906" y="36750"/>
                  <a:pt x="6938" y="36719"/>
                </a:cubicBezTo>
                <a:cubicBezTo>
                  <a:pt x="6969" y="36656"/>
                  <a:pt x="6875" y="36656"/>
                  <a:pt x="6875" y="36625"/>
                </a:cubicBezTo>
                <a:cubicBezTo>
                  <a:pt x="6844" y="36625"/>
                  <a:pt x="6844" y="36594"/>
                  <a:pt x="6844" y="36594"/>
                </a:cubicBezTo>
                <a:cubicBezTo>
                  <a:pt x="6813" y="36531"/>
                  <a:pt x="6844" y="36469"/>
                  <a:pt x="6750" y="36469"/>
                </a:cubicBezTo>
                <a:cubicBezTo>
                  <a:pt x="6688" y="36469"/>
                  <a:pt x="6750" y="36563"/>
                  <a:pt x="6688" y="36625"/>
                </a:cubicBezTo>
                <a:cubicBezTo>
                  <a:pt x="6594" y="36531"/>
                  <a:pt x="6625" y="36406"/>
                  <a:pt x="6625" y="36313"/>
                </a:cubicBezTo>
                <a:cubicBezTo>
                  <a:pt x="6656" y="36375"/>
                  <a:pt x="6719" y="36375"/>
                  <a:pt x="6750" y="36375"/>
                </a:cubicBezTo>
                <a:cubicBezTo>
                  <a:pt x="6813" y="36375"/>
                  <a:pt x="6875" y="36375"/>
                  <a:pt x="6938" y="36438"/>
                </a:cubicBezTo>
                <a:cubicBezTo>
                  <a:pt x="7000" y="36500"/>
                  <a:pt x="7094" y="36406"/>
                  <a:pt x="7125" y="36344"/>
                </a:cubicBezTo>
                <a:cubicBezTo>
                  <a:pt x="7188" y="36281"/>
                  <a:pt x="7281" y="36219"/>
                  <a:pt x="7375" y="36250"/>
                </a:cubicBezTo>
                <a:cubicBezTo>
                  <a:pt x="7406" y="36281"/>
                  <a:pt x="7438" y="36313"/>
                  <a:pt x="7469" y="36281"/>
                </a:cubicBezTo>
                <a:cubicBezTo>
                  <a:pt x="7531" y="36219"/>
                  <a:pt x="7469" y="36219"/>
                  <a:pt x="7438" y="36188"/>
                </a:cubicBezTo>
                <a:cubicBezTo>
                  <a:pt x="7406" y="36094"/>
                  <a:pt x="7469" y="36063"/>
                  <a:pt x="7563" y="36063"/>
                </a:cubicBezTo>
                <a:cubicBezTo>
                  <a:pt x="7594" y="36063"/>
                  <a:pt x="7688" y="36156"/>
                  <a:pt x="7688" y="36031"/>
                </a:cubicBezTo>
                <a:cubicBezTo>
                  <a:pt x="7688" y="35969"/>
                  <a:pt x="7719" y="35844"/>
                  <a:pt x="7656" y="35813"/>
                </a:cubicBezTo>
                <a:cubicBezTo>
                  <a:pt x="7625" y="35781"/>
                  <a:pt x="7594" y="35781"/>
                  <a:pt x="7563" y="35781"/>
                </a:cubicBezTo>
                <a:cubicBezTo>
                  <a:pt x="7563" y="35781"/>
                  <a:pt x="7563" y="35781"/>
                  <a:pt x="7563" y="35781"/>
                </a:cubicBezTo>
                <a:cubicBezTo>
                  <a:pt x="7563" y="35781"/>
                  <a:pt x="7563" y="35781"/>
                  <a:pt x="7563" y="35781"/>
                </a:cubicBezTo>
                <a:cubicBezTo>
                  <a:pt x="7563" y="35813"/>
                  <a:pt x="7531" y="35813"/>
                  <a:pt x="7500" y="35813"/>
                </a:cubicBezTo>
                <a:cubicBezTo>
                  <a:pt x="7500" y="35813"/>
                  <a:pt x="7500" y="35813"/>
                  <a:pt x="7500" y="35813"/>
                </a:cubicBezTo>
                <a:cubicBezTo>
                  <a:pt x="7500" y="35813"/>
                  <a:pt x="7500" y="35813"/>
                  <a:pt x="7469" y="35813"/>
                </a:cubicBezTo>
                <a:cubicBezTo>
                  <a:pt x="7469" y="35813"/>
                  <a:pt x="7438" y="35813"/>
                  <a:pt x="7406" y="35813"/>
                </a:cubicBezTo>
                <a:cubicBezTo>
                  <a:pt x="7281" y="35813"/>
                  <a:pt x="7250" y="35875"/>
                  <a:pt x="7313" y="36000"/>
                </a:cubicBezTo>
                <a:cubicBezTo>
                  <a:pt x="7313" y="36031"/>
                  <a:pt x="7344" y="36063"/>
                  <a:pt x="7313" y="36094"/>
                </a:cubicBezTo>
                <a:cubicBezTo>
                  <a:pt x="7281" y="36125"/>
                  <a:pt x="7250" y="36094"/>
                  <a:pt x="7219" y="36063"/>
                </a:cubicBezTo>
                <a:cubicBezTo>
                  <a:pt x="7188" y="36063"/>
                  <a:pt x="7156" y="36031"/>
                  <a:pt x="7094" y="36000"/>
                </a:cubicBezTo>
                <a:cubicBezTo>
                  <a:pt x="7000" y="36000"/>
                  <a:pt x="6969" y="35938"/>
                  <a:pt x="7000" y="35844"/>
                </a:cubicBezTo>
                <a:cubicBezTo>
                  <a:pt x="7031" y="35781"/>
                  <a:pt x="7000" y="35719"/>
                  <a:pt x="6938" y="35750"/>
                </a:cubicBezTo>
                <a:cubicBezTo>
                  <a:pt x="6781" y="35813"/>
                  <a:pt x="6719" y="35688"/>
                  <a:pt x="6656" y="35594"/>
                </a:cubicBezTo>
                <a:cubicBezTo>
                  <a:pt x="6594" y="35531"/>
                  <a:pt x="6563" y="35438"/>
                  <a:pt x="6438" y="35500"/>
                </a:cubicBezTo>
                <a:cubicBezTo>
                  <a:pt x="6406" y="35500"/>
                  <a:pt x="6406" y="35469"/>
                  <a:pt x="6375" y="35438"/>
                </a:cubicBezTo>
                <a:cubicBezTo>
                  <a:pt x="6375" y="35406"/>
                  <a:pt x="6375" y="35375"/>
                  <a:pt x="6313" y="35344"/>
                </a:cubicBezTo>
                <a:cubicBezTo>
                  <a:pt x="6188" y="35313"/>
                  <a:pt x="6188" y="35219"/>
                  <a:pt x="6281" y="35125"/>
                </a:cubicBezTo>
                <a:cubicBezTo>
                  <a:pt x="6375" y="35031"/>
                  <a:pt x="6500" y="35094"/>
                  <a:pt x="6625" y="35031"/>
                </a:cubicBezTo>
                <a:cubicBezTo>
                  <a:pt x="6688" y="35000"/>
                  <a:pt x="6719" y="35000"/>
                  <a:pt x="6719" y="34906"/>
                </a:cubicBezTo>
                <a:cubicBezTo>
                  <a:pt x="6719" y="34844"/>
                  <a:pt x="6781" y="34813"/>
                  <a:pt x="6781" y="34750"/>
                </a:cubicBezTo>
                <a:cubicBezTo>
                  <a:pt x="6813" y="34719"/>
                  <a:pt x="6875" y="34750"/>
                  <a:pt x="6844" y="34688"/>
                </a:cubicBezTo>
                <a:cubicBezTo>
                  <a:pt x="6844" y="34656"/>
                  <a:pt x="6813" y="34656"/>
                  <a:pt x="6750" y="34656"/>
                </a:cubicBezTo>
                <a:cubicBezTo>
                  <a:pt x="6563" y="34594"/>
                  <a:pt x="6438" y="34625"/>
                  <a:pt x="6344" y="34813"/>
                </a:cubicBezTo>
                <a:cubicBezTo>
                  <a:pt x="6281" y="34875"/>
                  <a:pt x="6188" y="34969"/>
                  <a:pt x="6094" y="35000"/>
                </a:cubicBezTo>
                <a:cubicBezTo>
                  <a:pt x="5969" y="35031"/>
                  <a:pt x="5969" y="35125"/>
                  <a:pt x="5969" y="35219"/>
                </a:cubicBezTo>
                <a:cubicBezTo>
                  <a:pt x="5969" y="35281"/>
                  <a:pt x="6031" y="35375"/>
                  <a:pt x="5906" y="35375"/>
                </a:cubicBezTo>
                <a:cubicBezTo>
                  <a:pt x="5813" y="35406"/>
                  <a:pt x="5781" y="35375"/>
                  <a:pt x="5750" y="35250"/>
                </a:cubicBezTo>
                <a:cubicBezTo>
                  <a:pt x="5719" y="34906"/>
                  <a:pt x="5719" y="34906"/>
                  <a:pt x="6000" y="34719"/>
                </a:cubicBezTo>
                <a:cubicBezTo>
                  <a:pt x="6063" y="34656"/>
                  <a:pt x="6219" y="34656"/>
                  <a:pt x="6156" y="34469"/>
                </a:cubicBezTo>
                <a:cubicBezTo>
                  <a:pt x="6156" y="34469"/>
                  <a:pt x="6188" y="34469"/>
                  <a:pt x="6219" y="34469"/>
                </a:cubicBezTo>
                <a:cubicBezTo>
                  <a:pt x="6094" y="34375"/>
                  <a:pt x="5969" y="34375"/>
                  <a:pt x="5844" y="34375"/>
                </a:cubicBezTo>
                <a:cubicBezTo>
                  <a:pt x="5719" y="34344"/>
                  <a:pt x="5625" y="34250"/>
                  <a:pt x="5531" y="34156"/>
                </a:cubicBezTo>
                <a:cubicBezTo>
                  <a:pt x="5719" y="34125"/>
                  <a:pt x="5813" y="34031"/>
                  <a:pt x="5781" y="33875"/>
                </a:cubicBezTo>
                <a:cubicBezTo>
                  <a:pt x="5750" y="33719"/>
                  <a:pt x="5750" y="33594"/>
                  <a:pt x="5625" y="33469"/>
                </a:cubicBezTo>
                <a:cubicBezTo>
                  <a:pt x="5563" y="33406"/>
                  <a:pt x="5594" y="33219"/>
                  <a:pt x="5406" y="33250"/>
                </a:cubicBezTo>
                <a:cubicBezTo>
                  <a:pt x="5438" y="33156"/>
                  <a:pt x="5625" y="33188"/>
                  <a:pt x="5563" y="33063"/>
                </a:cubicBezTo>
                <a:cubicBezTo>
                  <a:pt x="5531" y="33000"/>
                  <a:pt x="5469" y="32938"/>
                  <a:pt x="5406" y="32813"/>
                </a:cubicBezTo>
                <a:cubicBezTo>
                  <a:pt x="5406" y="32844"/>
                  <a:pt x="5375" y="32875"/>
                  <a:pt x="5375" y="32906"/>
                </a:cubicBezTo>
                <a:cubicBezTo>
                  <a:pt x="5344" y="32969"/>
                  <a:pt x="5313" y="33031"/>
                  <a:pt x="5250" y="33094"/>
                </a:cubicBezTo>
                <a:cubicBezTo>
                  <a:pt x="5188" y="33125"/>
                  <a:pt x="5125" y="33156"/>
                  <a:pt x="5031" y="33125"/>
                </a:cubicBezTo>
                <a:cubicBezTo>
                  <a:pt x="4969" y="33188"/>
                  <a:pt x="5000" y="33250"/>
                  <a:pt x="5000" y="33344"/>
                </a:cubicBezTo>
                <a:cubicBezTo>
                  <a:pt x="5000" y="33344"/>
                  <a:pt x="5000" y="33344"/>
                  <a:pt x="5000" y="33375"/>
                </a:cubicBezTo>
                <a:cubicBezTo>
                  <a:pt x="4969" y="33500"/>
                  <a:pt x="5094" y="33563"/>
                  <a:pt x="5125" y="33688"/>
                </a:cubicBezTo>
                <a:cubicBezTo>
                  <a:pt x="5000" y="33594"/>
                  <a:pt x="4875" y="33563"/>
                  <a:pt x="4906" y="33406"/>
                </a:cubicBezTo>
                <a:cubicBezTo>
                  <a:pt x="4875" y="33406"/>
                  <a:pt x="4875" y="33406"/>
                  <a:pt x="4875" y="33375"/>
                </a:cubicBezTo>
                <a:cubicBezTo>
                  <a:pt x="4781" y="33344"/>
                  <a:pt x="4719" y="33313"/>
                  <a:pt x="4688" y="33281"/>
                </a:cubicBezTo>
                <a:cubicBezTo>
                  <a:pt x="4688" y="33250"/>
                  <a:pt x="4688" y="33250"/>
                  <a:pt x="4688" y="33250"/>
                </a:cubicBezTo>
                <a:cubicBezTo>
                  <a:pt x="4656" y="33250"/>
                  <a:pt x="4656" y="33219"/>
                  <a:pt x="4656" y="33219"/>
                </a:cubicBezTo>
                <a:cubicBezTo>
                  <a:pt x="4656" y="33188"/>
                  <a:pt x="4656" y="33156"/>
                  <a:pt x="4656" y="33094"/>
                </a:cubicBezTo>
                <a:cubicBezTo>
                  <a:pt x="4719" y="33125"/>
                  <a:pt x="4781" y="33156"/>
                  <a:pt x="4813" y="33219"/>
                </a:cubicBezTo>
                <a:cubicBezTo>
                  <a:pt x="4906" y="33156"/>
                  <a:pt x="4844" y="33031"/>
                  <a:pt x="4906" y="33000"/>
                </a:cubicBezTo>
                <a:cubicBezTo>
                  <a:pt x="4906" y="32938"/>
                  <a:pt x="4969" y="32938"/>
                  <a:pt x="5000" y="32938"/>
                </a:cubicBezTo>
                <a:cubicBezTo>
                  <a:pt x="5094" y="32875"/>
                  <a:pt x="5188" y="32875"/>
                  <a:pt x="5281" y="32781"/>
                </a:cubicBezTo>
                <a:cubicBezTo>
                  <a:pt x="5375" y="32656"/>
                  <a:pt x="5688" y="32750"/>
                  <a:pt x="5750" y="32875"/>
                </a:cubicBezTo>
                <a:cubicBezTo>
                  <a:pt x="5781" y="32938"/>
                  <a:pt x="5781" y="33000"/>
                  <a:pt x="5875" y="33000"/>
                </a:cubicBezTo>
                <a:cubicBezTo>
                  <a:pt x="5813" y="32906"/>
                  <a:pt x="5844" y="32813"/>
                  <a:pt x="5875" y="32719"/>
                </a:cubicBezTo>
                <a:cubicBezTo>
                  <a:pt x="5875" y="32688"/>
                  <a:pt x="5875" y="32594"/>
                  <a:pt x="5781" y="32656"/>
                </a:cubicBezTo>
                <a:cubicBezTo>
                  <a:pt x="5719" y="32719"/>
                  <a:pt x="5719" y="32594"/>
                  <a:pt x="5688" y="32625"/>
                </a:cubicBezTo>
                <a:cubicBezTo>
                  <a:pt x="5656" y="32500"/>
                  <a:pt x="5531" y="32406"/>
                  <a:pt x="5688" y="32250"/>
                </a:cubicBezTo>
                <a:cubicBezTo>
                  <a:pt x="5688" y="32375"/>
                  <a:pt x="5688" y="32438"/>
                  <a:pt x="5688" y="32563"/>
                </a:cubicBezTo>
                <a:cubicBezTo>
                  <a:pt x="5781" y="32469"/>
                  <a:pt x="5813" y="32313"/>
                  <a:pt x="5969" y="32406"/>
                </a:cubicBezTo>
                <a:cubicBezTo>
                  <a:pt x="5875" y="32469"/>
                  <a:pt x="6000" y="32531"/>
                  <a:pt x="6000" y="32594"/>
                </a:cubicBezTo>
                <a:cubicBezTo>
                  <a:pt x="6031" y="32656"/>
                  <a:pt x="6094" y="32594"/>
                  <a:pt x="6125" y="32594"/>
                </a:cubicBezTo>
                <a:cubicBezTo>
                  <a:pt x="6313" y="32500"/>
                  <a:pt x="6563" y="32438"/>
                  <a:pt x="6625" y="32188"/>
                </a:cubicBezTo>
                <a:cubicBezTo>
                  <a:pt x="6625" y="32156"/>
                  <a:pt x="6656" y="32125"/>
                  <a:pt x="6688" y="32156"/>
                </a:cubicBezTo>
                <a:cubicBezTo>
                  <a:pt x="6781" y="32219"/>
                  <a:pt x="6875" y="32250"/>
                  <a:pt x="6969" y="32281"/>
                </a:cubicBezTo>
                <a:cubicBezTo>
                  <a:pt x="7219" y="32406"/>
                  <a:pt x="7375" y="32594"/>
                  <a:pt x="7594" y="32781"/>
                </a:cubicBezTo>
                <a:cubicBezTo>
                  <a:pt x="7563" y="32625"/>
                  <a:pt x="7531" y="32500"/>
                  <a:pt x="7625" y="32375"/>
                </a:cubicBezTo>
                <a:cubicBezTo>
                  <a:pt x="7563" y="32313"/>
                  <a:pt x="7375" y="32344"/>
                  <a:pt x="7500" y="32156"/>
                </a:cubicBezTo>
                <a:cubicBezTo>
                  <a:pt x="7500" y="32125"/>
                  <a:pt x="7531" y="32125"/>
                  <a:pt x="7563" y="32125"/>
                </a:cubicBezTo>
                <a:cubicBezTo>
                  <a:pt x="7688" y="32156"/>
                  <a:pt x="7781" y="32094"/>
                  <a:pt x="7813" y="32031"/>
                </a:cubicBezTo>
                <a:cubicBezTo>
                  <a:pt x="7875" y="31906"/>
                  <a:pt x="7969" y="31938"/>
                  <a:pt x="8031" y="31938"/>
                </a:cubicBezTo>
                <a:cubicBezTo>
                  <a:pt x="8125" y="31938"/>
                  <a:pt x="8219" y="31875"/>
                  <a:pt x="8313" y="31875"/>
                </a:cubicBezTo>
                <a:cubicBezTo>
                  <a:pt x="8094" y="31813"/>
                  <a:pt x="7875" y="31781"/>
                  <a:pt x="7656" y="31688"/>
                </a:cubicBezTo>
                <a:cubicBezTo>
                  <a:pt x="7500" y="31594"/>
                  <a:pt x="7438" y="31531"/>
                  <a:pt x="7438" y="31344"/>
                </a:cubicBezTo>
                <a:cubicBezTo>
                  <a:pt x="7438" y="31281"/>
                  <a:pt x="7438" y="31219"/>
                  <a:pt x="7438" y="31156"/>
                </a:cubicBezTo>
                <a:cubicBezTo>
                  <a:pt x="7438" y="31094"/>
                  <a:pt x="7406" y="31031"/>
                  <a:pt x="7531" y="31031"/>
                </a:cubicBezTo>
                <a:cubicBezTo>
                  <a:pt x="7594" y="31031"/>
                  <a:pt x="7563" y="30969"/>
                  <a:pt x="7531" y="30938"/>
                </a:cubicBezTo>
                <a:cubicBezTo>
                  <a:pt x="7438" y="30844"/>
                  <a:pt x="7344" y="30719"/>
                  <a:pt x="7156" y="30844"/>
                </a:cubicBezTo>
                <a:cubicBezTo>
                  <a:pt x="7156" y="30844"/>
                  <a:pt x="7156" y="30844"/>
                  <a:pt x="7125" y="30844"/>
                </a:cubicBezTo>
                <a:cubicBezTo>
                  <a:pt x="7156" y="30781"/>
                  <a:pt x="7219" y="30750"/>
                  <a:pt x="7250" y="30719"/>
                </a:cubicBezTo>
                <a:cubicBezTo>
                  <a:pt x="7313" y="30719"/>
                  <a:pt x="7344" y="30688"/>
                  <a:pt x="7313" y="30625"/>
                </a:cubicBezTo>
                <a:cubicBezTo>
                  <a:pt x="7313" y="30563"/>
                  <a:pt x="7250" y="30594"/>
                  <a:pt x="7219" y="30594"/>
                </a:cubicBezTo>
                <a:cubicBezTo>
                  <a:pt x="7000" y="30625"/>
                  <a:pt x="6813" y="30719"/>
                  <a:pt x="6625" y="30781"/>
                </a:cubicBezTo>
                <a:cubicBezTo>
                  <a:pt x="6531" y="30781"/>
                  <a:pt x="6531" y="31031"/>
                  <a:pt x="6594" y="31063"/>
                </a:cubicBezTo>
                <a:cubicBezTo>
                  <a:pt x="6656" y="31094"/>
                  <a:pt x="6719" y="31250"/>
                  <a:pt x="6813" y="31094"/>
                </a:cubicBezTo>
                <a:cubicBezTo>
                  <a:pt x="6844" y="31063"/>
                  <a:pt x="6938" y="31094"/>
                  <a:pt x="6969" y="31156"/>
                </a:cubicBezTo>
                <a:cubicBezTo>
                  <a:pt x="7031" y="31219"/>
                  <a:pt x="7031" y="31313"/>
                  <a:pt x="7000" y="31375"/>
                </a:cubicBezTo>
                <a:cubicBezTo>
                  <a:pt x="6938" y="31406"/>
                  <a:pt x="6906" y="31375"/>
                  <a:pt x="6844" y="31344"/>
                </a:cubicBezTo>
                <a:cubicBezTo>
                  <a:pt x="6750" y="31281"/>
                  <a:pt x="6656" y="31219"/>
                  <a:pt x="6531" y="31156"/>
                </a:cubicBezTo>
                <a:cubicBezTo>
                  <a:pt x="6594" y="31375"/>
                  <a:pt x="6656" y="31531"/>
                  <a:pt x="6625" y="31719"/>
                </a:cubicBezTo>
                <a:cubicBezTo>
                  <a:pt x="6625" y="31813"/>
                  <a:pt x="6625" y="31875"/>
                  <a:pt x="6625" y="31938"/>
                </a:cubicBezTo>
                <a:cubicBezTo>
                  <a:pt x="6625" y="32094"/>
                  <a:pt x="6563" y="32125"/>
                  <a:pt x="6438" y="32094"/>
                </a:cubicBezTo>
                <a:cubicBezTo>
                  <a:pt x="6344" y="32094"/>
                  <a:pt x="6250" y="32063"/>
                  <a:pt x="6188" y="32063"/>
                </a:cubicBezTo>
                <a:cubicBezTo>
                  <a:pt x="6063" y="32031"/>
                  <a:pt x="5969" y="31938"/>
                  <a:pt x="5875" y="31875"/>
                </a:cubicBezTo>
                <a:cubicBezTo>
                  <a:pt x="5781" y="31844"/>
                  <a:pt x="5813" y="31719"/>
                  <a:pt x="5906" y="31656"/>
                </a:cubicBezTo>
                <a:cubicBezTo>
                  <a:pt x="5938" y="31656"/>
                  <a:pt x="5969" y="31625"/>
                  <a:pt x="6000" y="31594"/>
                </a:cubicBezTo>
                <a:cubicBezTo>
                  <a:pt x="5969" y="31563"/>
                  <a:pt x="5906" y="31563"/>
                  <a:pt x="5875" y="31563"/>
                </a:cubicBezTo>
                <a:cubicBezTo>
                  <a:pt x="5875" y="31531"/>
                  <a:pt x="5875" y="31531"/>
                  <a:pt x="5875" y="31531"/>
                </a:cubicBezTo>
                <a:cubicBezTo>
                  <a:pt x="5875" y="31531"/>
                  <a:pt x="5875" y="31531"/>
                  <a:pt x="5875" y="31500"/>
                </a:cubicBezTo>
                <a:cubicBezTo>
                  <a:pt x="5906" y="31469"/>
                  <a:pt x="5969" y="31500"/>
                  <a:pt x="6031" y="31500"/>
                </a:cubicBezTo>
                <a:cubicBezTo>
                  <a:pt x="6094" y="31500"/>
                  <a:pt x="6125" y="31563"/>
                  <a:pt x="6188" y="31500"/>
                </a:cubicBezTo>
                <a:cubicBezTo>
                  <a:pt x="6219" y="31469"/>
                  <a:pt x="6219" y="31438"/>
                  <a:pt x="6188" y="31438"/>
                </a:cubicBezTo>
                <a:cubicBezTo>
                  <a:pt x="6125" y="31375"/>
                  <a:pt x="6063" y="31406"/>
                  <a:pt x="6000" y="31406"/>
                </a:cubicBezTo>
                <a:cubicBezTo>
                  <a:pt x="5906" y="31438"/>
                  <a:pt x="5844" y="31469"/>
                  <a:pt x="5781" y="31406"/>
                </a:cubicBezTo>
                <a:cubicBezTo>
                  <a:pt x="5781" y="31344"/>
                  <a:pt x="5844" y="31344"/>
                  <a:pt x="5875" y="31344"/>
                </a:cubicBezTo>
                <a:cubicBezTo>
                  <a:pt x="5938" y="31313"/>
                  <a:pt x="6031" y="31313"/>
                  <a:pt x="6000" y="31188"/>
                </a:cubicBezTo>
                <a:cubicBezTo>
                  <a:pt x="6000" y="31156"/>
                  <a:pt x="6031" y="31063"/>
                  <a:pt x="6063" y="31125"/>
                </a:cubicBezTo>
                <a:cubicBezTo>
                  <a:pt x="6188" y="31188"/>
                  <a:pt x="6125" y="31063"/>
                  <a:pt x="6156" y="31031"/>
                </a:cubicBezTo>
                <a:cubicBezTo>
                  <a:pt x="6250" y="31031"/>
                  <a:pt x="6250" y="31156"/>
                  <a:pt x="6344" y="31094"/>
                </a:cubicBezTo>
                <a:cubicBezTo>
                  <a:pt x="6313" y="31063"/>
                  <a:pt x="6281" y="31000"/>
                  <a:pt x="6250" y="30969"/>
                </a:cubicBezTo>
                <a:cubicBezTo>
                  <a:pt x="6250" y="30938"/>
                  <a:pt x="6219" y="30906"/>
                  <a:pt x="6188" y="30906"/>
                </a:cubicBezTo>
                <a:cubicBezTo>
                  <a:pt x="6063" y="30969"/>
                  <a:pt x="5906" y="30875"/>
                  <a:pt x="5750" y="30938"/>
                </a:cubicBezTo>
                <a:cubicBezTo>
                  <a:pt x="5625" y="31000"/>
                  <a:pt x="5500" y="31063"/>
                  <a:pt x="5406" y="31188"/>
                </a:cubicBezTo>
                <a:cubicBezTo>
                  <a:pt x="5344" y="31281"/>
                  <a:pt x="5375" y="31375"/>
                  <a:pt x="5406" y="31438"/>
                </a:cubicBezTo>
                <a:cubicBezTo>
                  <a:pt x="5438" y="31500"/>
                  <a:pt x="5438" y="31594"/>
                  <a:pt x="5563" y="31563"/>
                </a:cubicBezTo>
                <a:cubicBezTo>
                  <a:pt x="5594" y="31531"/>
                  <a:pt x="5625" y="31563"/>
                  <a:pt x="5656" y="31594"/>
                </a:cubicBezTo>
                <a:cubicBezTo>
                  <a:pt x="5656" y="31625"/>
                  <a:pt x="5656" y="31656"/>
                  <a:pt x="5656" y="31688"/>
                </a:cubicBezTo>
                <a:cubicBezTo>
                  <a:pt x="5625" y="31719"/>
                  <a:pt x="5563" y="31719"/>
                  <a:pt x="5531" y="31719"/>
                </a:cubicBezTo>
                <a:cubicBezTo>
                  <a:pt x="5469" y="31719"/>
                  <a:pt x="5469" y="31656"/>
                  <a:pt x="5438" y="31625"/>
                </a:cubicBezTo>
                <a:cubicBezTo>
                  <a:pt x="5375" y="31563"/>
                  <a:pt x="5344" y="31531"/>
                  <a:pt x="5313" y="31719"/>
                </a:cubicBezTo>
                <a:cubicBezTo>
                  <a:pt x="5281" y="31531"/>
                  <a:pt x="5375" y="31406"/>
                  <a:pt x="5250" y="31344"/>
                </a:cubicBezTo>
                <a:cubicBezTo>
                  <a:pt x="5219" y="31313"/>
                  <a:pt x="5219" y="31250"/>
                  <a:pt x="5156" y="31250"/>
                </a:cubicBezTo>
                <a:cubicBezTo>
                  <a:pt x="5063" y="31250"/>
                  <a:pt x="5063" y="31188"/>
                  <a:pt x="5094" y="31125"/>
                </a:cubicBezTo>
                <a:cubicBezTo>
                  <a:pt x="4969" y="31125"/>
                  <a:pt x="4938" y="31219"/>
                  <a:pt x="4969" y="31313"/>
                </a:cubicBezTo>
                <a:cubicBezTo>
                  <a:pt x="5000" y="31406"/>
                  <a:pt x="4969" y="31469"/>
                  <a:pt x="4875" y="31500"/>
                </a:cubicBezTo>
                <a:cubicBezTo>
                  <a:pt x="4813" y="31563"/>
                  <a:pt x="4813" y="31625"/>
                  <a:pt x="4719" y="31688"/>
                </a:cubicBezTo>
                <a:cubicBezTo>
                  <a:pt x="4844" y="31688"/>
                  <a:pt x="4938" y="31688"/>
                  <a:pt x="4906" y="31844"/>
                </a:cubicBezTo>
                <a:cubicBezTo>
                  <a:pt x="4906" y="31844"/>
                  <a:pt x="4906" y="31875"/>
                  <a:pt x="4938" y="31875"/>
                </a:cubicBezTo>
                <a:cubicBezTo>
                  <a:pt x="5063" y="31938"/>
                  <a:pt x="4969" y="32094"/>
                  <a:pt x="5094" y="32188"/>
                </a:cubicBezTo>
                <a:cubicBezTo>
                  <a:pt x="5094" y="32188"/>
                  <a:pt x="5094" y="32219"/>
                  <a:pt x="5094" y="32219"/>
                </a:cubicBezTo>
                <a:cubicBezTo>
                  <a:pt x="5000" y="32438"/>
                  <a:pt x="5188" y="32438"/>
                  <a:pt x="5281" y="32469"/>
                </a:cubicBezTo>
                <a:cubicBezTo>
                  <a:pt x="5375" y="32500"/>
                  <a:pt x="5438" y="32563"/>
                  <a:pt x="5531" y="32656"/>
                </a:cubicBezTo>
                <a:cubicBezTo>
                  <a:pt x="5531" y="32656"/>
                  <a:pt x="5563" y="32656"/>
                  <a:pt x="5563" y="32688"/>
                </a:cubicBezTo>
                <a:cubicBezTo>
                  <a:pt x="5531" y="32719"/>
                  <a:pt x="5500" y="32719"/>
                  <a:pt x="5469" y="32719"/>
                </a:cubicBezTo>
                <a:cubicBezTo>
                  <a:pt x="5438" y="32719"/>
                  <a:pt x="5406" y="32719"/>
                  <a:pt x="5406" y="32688"/>
                </a:cubicBezTo>
                <a:cubicBezTo>
                  <a:pt x="5156" y="32531"/>
                  <a:pt x="4906" y="32375"/>
                  <a:pt x="4875" y="32031"/>
                </a:cubicBezTo>
                <a:cubicBezTo>
                  <a:pt x="4875" y="31938"/>
                  <a:pt x="4813" y="31875"/>
                  <a:pt x="4750" y="31813"/>
                </a:cubicBezTo>
                <a:cubicBezTo>
                  <a:pt x="4500" y="31625"/>
                  <a:pt x="4469" y="31375"/>
                  <a:pt x="4500" y="31094"/>
                </a:cubicBezTo>
                <a:cubicBezTo>
                  <a:pt x="4500" y="31031"/>
                  <a:pt x="4531" y="30969"/>
                  <a:pt x="4531" y="30875"/>
                </a:cubicBezTo>
                <a:cubicBezTo>
                  <a:pt x="4594" y="30875"/>
                  <a:pt x="4563" y="30938"/>
                  <a:pt x="4594" y="30969"/>
                </a:cubicBezTo>
                <a:cubicBezTo>
                  <a:pt x="4594" y="31125"/>
                  <a:pt x="4625" y="31156"/>
                  <a:pt x="4781" y="31125"/>
                </a:cubicBezTo>
                <a:cubicBezTo>
                  <a:pt x="5000" y="31063"/>
                  <a:pt x="5031" y="31063"/>
                  <a:pt x="4906" y="30844"/>
                </a:cubicBezTo>
                <a:cubicBezTo>
                  <a:pt x="4813" y="30688"/>
                  <a:pt x="4719" y="30531"/>
                  <a:pt x="4625" y="30406"/>
                </a:cubicBezTo>
                <a:cubicBezTo>
                  <a:pt x="4594" y="30344"/>
                  <a:pt x="4594" y="30313"/>
                  <a:pt x="4625" y="30250"/>
                </a:cubicBezTo>
                <a:cubicBezTo>
                  <a:pt x="4688" y="30156"/>
                  <a:pt x="4719" y="30063"/>
                  <a:pt x="4688" y="29938"/>
                </a:cubicBezTo>
                <a:cubicBezTo>
                  <a:pt x="4688" y="29906"/>
                  <a:pt x="4688" y="29844"/>
                  <a:pt x="4750" y="29844"/>
                </a:cubicBezTo>
                <a:cubicBezTo>
                  <a:pt x="4813" y="29844"/>
                  <a:pt x="4813" y="29875"/>
                  <a:pt x="4844" y="29938"/>
                </a:cubicBezTo>
                <a:cubicBezTo>
                  <a:pt x="4844" y="30094"/>
                  <a:pt x="4781" y="30250"/>
                  <a:pt x="4813" y="30406"/>
                </a:cubicBezTo>
                <a:cubicBezTo>
                  <a:pt x="4844" y="30563"/>
                  <a:pt x="4875" y="30719"/>
                  <a:pt x="5063" y="30750"/>
                </a:cubicBezTo>
                <a:cubicBezTo>
                  <a:pt x="5094" y="30781"/>
                  <a:pt x="5094" y="30781"/>
                  <a:pt x="5125" y="30813"/>
                </a:cubicBezTo>
                <a:cubicBezTo>
                  <a:pt x="5188" y="30844"/>
                  <a:pt x="5219" y="30938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19" y="31031"/>
                  <a:pt x="5219" y="31031"/>
                </a:cubicBezTo>
                <a:cubicBezTo>
                  <a:pt x="5219" y="31031"/>
                  <a:pt x="5250" y="31031"/>
                  <a:pt x="5281" y="31031"/>
                </a:cubicBezTo>
                <a:cubicBezTo>
                  <a:pt x="5281" y="31031"/>
                  <a:pt x="5281" y="31000"/>
                  <a:pt x="5281" y="31000"/>
                </a:cubicBezTo>
                <a:cubicBezTo>
                  <a:pt x="5281" y="31000"/>
                  <a:pt x="5281" y="31000"/>
                  <a:pt x="5281" y="31000"/>
                </a:cubicBezTo>
                <a:cubicBezTo>
                  <a:pt x="5281" y="31000"/>
                  <a:pt x="5313" y="31000"/>
                  <a:pt x="5313" y="31000"/>
                </a:cubicBezTo>
                <a:cubicBezTo>
                  <a:pt x="5313" y="30969"/>
                  <a:pt x="5344" y="30906"/>
                  <a:pt x="5375" y="30906"/>
                </a:cubicBezTo>
                <a:cubicBezTo>
                  <a:pt x="5563" y="30781"/>
                  <a:pt x="5781" y="30781"/>
                  <a:pt x="5969" y="30719"/>
                </a:cubicBezTo>
                <a:cubicBezTo>
                  <a:pt x="6063" y="30656"/>
                  <a:pt x="6094" y="30719"/>
                  <a:pt x="6156" y="30781"/>
                </a:cubicBezTo>
                <a:cubicBezTo>
                  <a:pt x="6188" y="30844"/>
                  <a:pt x="6219" y="30844"/>
                  <a:pt x="6250" y="30781"/>
                </a:cubicBezTo>
                <a:cubicBezTo>
                  <a:pt x="6281" y="30719"/>
                  <a:pt x="6438" y="30719"/>
                  <a:pt x="6344" y="30625"/>
                </a:cubicBezTo>
                <a:cubicBezTo>
                  <a:pt x="6313" y="30563"/>
                  <a:pt x="6250" y="30469"/>
                  <a:pt x="6156" y="30469"/>
                </a:cubicBezTo>
                <a:cubicBezTo>
                  <a:pt x="6156" y="30469"/>
                  <a:pt x="6125" y="30469"/>
                  <a:pt x="6125" y="30469"/>
                </a:cubicBezTo>
                <a:cubicBezTo>
                  <a:pt x="6063" y="30438"/>
                  <a:pt x="6063" y="30375"/>
                  <a:pt x="6063" y="30313"/>
                </a:cubicBezTo>
                <a:cubicBezTo>
                  <a:pt x="6063" y="30313"/>
                  <a:pt x="6063" y="30313"/>
                  <a:pt x="6031" y="30281"/>
                </a:cubicBezTo>
                <a:cubicBezTo>
                  <a:pt x="5938" y="30406"/>
                  <a:pt x="5875" y="30375"/>
                  <a:pt x="5781" y="30281"/>
                </a:cubicBezTo>
                <a:cubicBezTo>
                  <a:pt x="5625" y="30188"/>
                  <a:pt x="5531" y="30094"/>
                  <a:pt x="5531" y="29938"/>
                </a:cubicBezTo>
                <a:cubicBezTo>
                  <a:pt x="5500" y="29875"/>
                  <a:pt x="5563" y="29781"/>
                  <a:pt x="5594" y="29719"/>
                </a:cubicBezTo>
                <a:cubicBezTo>
                  <a:pt x="5656" y="29656"/>
                  <a:pt x="5719" y="29750"/>
                  <a:pt x="5750" y="29750"/>
                </a:cubicBezTo>
                <a:cubicBezTo>
                  <a:pt x="5781" y="29813"/>
                  <a:pt x="5844" y="29844"/>
                  <a:pt x="5875" y="29781"/>
                </a:cubicBezTo>
                <a:cubicBezTo>
                  <a:pt x="5938" y="29719"/>
                  <a:pt x="5875" y="29656"/>
                  <a:pt x="5875" y="29594"/>
                </a:cubicBezTo>
                <a:cubicBezTo>
                  <a:pt x="5844" y="29500"/>
                  <a:pt x="5781" y="29625"/>
                  <a:pt x="5750" y="29594"/>
                </a:cubicBezTo>
                <a:cubicBezTo>
                  <a:pt x="5750" y="29594"/>
                  <a:pt x="5750" y="29625"/>
                  <a:pt x="5750" y="29625"/>
                </a:cubicBezTo>
                <a:cubicBezTo>
                  <a:pt x="5719" y="29688"/>
                  <a:pt x="5656" y="29688"/>
                  <a:pt x="5594" y="29656"/>
                </a:cubicBezTo>
                <a:cubicBezTo>
                  <a:pt x="5563" y="29625"/>
                  <a:pt x="5563" y="29594"/>
                  <a:pt x="5594" y="29563"/>
                </a:cubicBezTo>
                <a:cubicBezTo>
                  <a:pt x="5594" y="29563"/>
                  <a:pt x="5625" y="29563"/>
                  <a:pt x="5625" y="29563"/>
                </a:cubicBezTo>
                <a:cubicBezTo>
                  <a:pt x="5656" y="29531"/>
                  <a:pt x="5688" y="29500"/>
                  <a:pt x="5750" y="29563"/>
                </a:cubicBezTo>
                <a:cubicBezTo>
                  <a:pt x="5719" y="29531"/>
                  <a:pt x="5719" y="29438"/>
                  <a:pt x="5750" y="29406"/>
                </a:cubicBezTo>
                <a:cubicBezTo>
                  <a:pt x="5750" y="29406"/>
                  <a:pt x="5750" y="29406"/>
                  <a:pt x="5750" y="29375"/>
                </a:cubicBezTo>
                <a:cubicBezTo>
                  <a:pt x="5750" y="29375"/>
                  <a:pt x="5750" y="29375"/>
                  <a:pt x="5781" y="29375"/>
                </a:cubicBezTo>
                <a:cubicBezTo>
                  <a:pt x="5875" y="29406"/>
                  <a:pt x="5875" y="29281"/>
                  <a:pt x="5938" y="29313"/>
                </a:cubicBezTo>
                <a:cubicBezTo>
                  <a:pt x="5969" y="29313"/>
                  <a:pt x="6000" y="29313"/>
                  <a:pt x="6000" y="29250"/>
                </a:cubicBezTo>
                <a:cubicBezTo>
                  <a:pt x="6000" y="29219"/>
                  <a:pt x="5813" y="29031"/>
                  <a:pt x="5781" y="29031"/>
                </a:cubicBezTo>
                <a:cubicBezTo>
                  <a:pt x="5656" y="29094"/>
                  <a:pt x="5563" y="29125"/>
                  <a:pt x="5469" y="29188"/>
                </a:cubicBezTo>
                <a:cubicBezTo>
                  <a:pt x="5438" y="29219"/>
                  <a:pt x="5469" y="29250"/>
                  <a:pt x="5469" y="29281"/>
                </a:cubicBezTo>
                <a:cubicBezTo>
                  <a:pt x="5500" y="29313"/>
                  <a:pt x="5469" y="29344"/>
                  <a:pt x="5469" y="29344"/>
                </a:cubicBezTo>
                <a:cubicBezTo>
                  <a:pt x="5469" y="29344"/>
                  <a:pt x="5438" y="29344"/>
                  <a:pt x="5406" y="29344"/>
                </a:cubicBezTo>
                <a:cubicBezTo>
                  <a:pt x="5375" y="29313"/>
                  <a:pt x="5375" y="29219"/>
                  <a:pt x="5281" y="29281"/>
                </a:cubicBezTo>
                <a:cubicBezTo>
                  <a:pt x="5219" y="29344"/>
                  <a:pt x="5094" y="29344"/>
                  <a:pt x="5063" y="29469"/>
                </a:cubicBezTo>
                <a:cubicBezTo>
                  <a:pt x="5063" y="29500"/>
                  <a:pt x="5094" y="29563"/>
                  <a:pt x="5000" y="29563"/>
                </a:cubicBezTo>
                <a:cubicBezTo>
                  <a:pt x="4938" y="29563"/>
                  <a:pt x="4969" y="29500"/>
                  <a:pt x="4969" y="29469"/>
                </a:cubicBezTo>
                <a:cubicBezTo>
                  <a:pt x="4844" y="29281"/>
                  <a:pt x="4969" y="29063"/>
                  <a:pt x="5188" y="29031"/>
                </a:cubicBezTo>
                <a:cubicBezTo>
                  <a:pt x="5344" y="29000"/>
                  <a:pt x="5438" y="28906"/>
                  <a:pt x="5563" y="28844"/>
                </a:cubicBezTo>
                <a:cubicBezTo>
                  <a:pt x="5594" y="28813"/>
                  <a:pt x="5594" y="28781"/>
                  <a:pt x="5531" y="28750"/>
                </a:cubicBezTo>
                <a:cubicBezTo>
                  <a:pt x="5469" y="28750"/>
                  <a:pt x="5469" y="28719"/>
                  <a:pt x="5438" y="28656"/>
                </a:cubicBezTo>
                <a:cubicBezTo>
                  <a:pt x="5625" y="28656"/>
                  <a:pt x="5719" y="28719"/>
                  <a:pt x="5781" y="28844"/>
                </a:cubicBezTo>
                <a:cubicBezTo>
                  <a:pt x="5813" y="28906"/>
                  <a:pt x="5844" y="28969"/>
                  <a:pt x="5875" y="29000"/>
                </a:cubicBezTo>
                <a:cubicBezTo>
                  <a:pt x="5938" y="29031"/>
                  <a:pt x="6000" y="29094"/>
                  <a:pt x="6031" y="29094"/>
                </a:cubicBezTo>
                <a:cubicBezTo>
                  <a:pt x="6094" y="29094"/>
                  <a:pt x="6063" y="29000"/>
                  <a:pt x="6094" y="28938"/>
                </a:cubicBezTo>
                <a:cubicBezTo>
                  <a:pt x="6094" y="28906"/>
                  <a:pt x="6094" y="28844"/>
                  <a:pt x="6156" y="28844"/>
                </a:cubicBezTo>
                <a:cubicBezTo>
                  <a:pt x="6375" y="28875"/>
                  <a:pt x="6563" y="28781"/>
                  <a:pt x="6688" y="28594"/>
                </a:cubicBezTo>
                <a:cubicBezTo>
                  <a:pt x="6656" y="28594"/>
                  <a:pt x="6625" y="28594"/>
                  <a:pt x="6656" y="28563"/>
                </a:cubicBezTo>
                <a:cubicBezTo>
                  <a:pt x="6656" y="28563"/>
                  <a:pt x="6656" y="28563"/>
                  <a:pt x="6656" y="28563"/>
                </a:cubicBezTo>
                <a:cubicBezTo>
                  <a:pt x="6656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688" y="28563"/>
                  <a:pt x="6688" y="28563"/>
                  <a:pt x="6688" y="28563"/>
                </a:cubicBezTo>
                <a:cubicBezTo>
                  <a:pt x="6719" y="28563"/>
                  <a:pt x="6750" y="28563"/>
                  <a:pt x="6750" y="28531"/>
                </a:cubicBezTo>
                <a:cubicBezTo>
                  <a:pt x="6750" y="28531"/>
                  <a:pt x="6781" y="28531"/>
                  <a:pt x="6781" y="28531"/>
                </a:cubicBezTo>
                <a:cubicBezTo>
                  <a:pt x="6781" y="28531"/>
                  <a:pt x="6781" y="28500"/>
                  <a:pt x="6781" y="28500"/>
                </a:cubicBezTo>
                <a:cubicBezTo>
                  <a:pt x="6594" y="28438"/>
                  <a:pt x="6438" y="28344"/>
                  <a:pt x="6250" y="28281"/>
                </a:cubicBezTo>
                <a:cubicBezTo>
                  <a:pt x="5969" y="28219"/>
                  <a:pt x="5875" y="27875"/>
                  <a:pt x="6094" y="27625"/>
                </a:cubicBezTo>
                <a:cubicBezTo>
                  <a:pt x="6156" y="27563"/>
                  <a:pt x="6125" y="27469"/>
                  <a:pt x="6156" y="27375"/>
                </a:cubicBezTo>
                <a:cubicBezTo>
                  <a:pt x="6188" y="27375"/>
                  <a:pt x="6188" y="27406"/>
                  <a:pt x="6188" y="27438"/>
                </a:cubicBezTo>
                <a:cubicBezTo>
                  <a:pt x="6219" y="27500"/>
                  <a:pt x="6281" y="27531"/>
                  <a:pt x="6344" y="27531"/>
                </a:cubicBezTo>
                <a:cubicBezTo>
                  <a:pt x="6406" y="27531"/>
                  <a:pt x="6438" y="27469"/>
                  <a:pt x="6469" y="27406"/>
                </a:cubicBezTo>
                <a:cubicBezTo>
                  <a:pt x="6500" y="27344"/>
                  <a:pt x="6438" y="27313"/>
                  <a:pt x="6375" y="27281"/>
                </a:cubicBezTo>
                <a:cubicBezTo>
                  <a:pt x="6313" y="27219"/>
                  <a:pt x="6250" y="27219"/>
                  <a:pt x="6156" y="27250"/>
                </a:cubicBezTo>
                <a:cubicBezTo>
                  <a:pt x="6063" y="27281"/>
                  <a:pt x="5969" y="27344"/>
                  <a:pt x="5844" y="27344"/>
                </a:cubicBezTo>
                <a:cubicBezTo>
                  <a:pt x="5719" y="27344"/>
                  <a:pt x="5688" y="27438"/>
                  <a:pt x="5750" y="27531"/>
                </a:cubicBezTo>
                <a:cubicBezTo>
                  <a:pt x="5781" y="27594"/>
                  <a:pt x="5781" y="27656"/>
                  <a:pt x="5750" y="27688"/>
                </a:cubicBezTo>
                <a:cubicBezTo>
                  <a:pt x="5719" y="27750"/>
                  <a:pt x="5688" y="27781"/>
                  <a:pt x="5688" y="27844"/>
                </a:cubicBezTo>
                <a:cubicBezTo>
                  <a:pt x="5688" y="27844"/>
                  <a:pt x="5656" y="27844"/>
                  <a:pt x="5656" y="27844"/>
                </a:cubicBezTo>
                <a:cubicBezTo>
                  <a:pt x="5594" y="27813"/>
                  <a:pt x="5563" y="27688"/>
                  <a:pt x="5500" y="27750"/>
                </a:cubicBezTo>
                <a:cubicBezTo>
                  <a:pt x="5438" y="27781"/>
                  <a:pt x="5563" y="27844"/>
                  <a:pt x="5531" y="27906"/>
                </a:cubicBezTo>
                <a:cubicBezTo>
                  <a:pt x="5531" y="28031"/>
                  <a:pt x="5625" y="28156"/>
                  <a:pt x="5469" y="28250"/>
                </a:cubicBezTo>
                <a:cubicBezTo>
                  <a:pt x="5438" y="28281"/>
                  <a:pt x="5406" y="28313"/>
                  <a:pt x="5406" y="28344"/>
                </a:cubicBezTo>
                <a:cubicBezTo>
                  <a:pt x="5469" y="28438"/>
                  <a:pt x="5406" y="28500"/>
                  <a:pt x="5438" y="28594"/>
                </a:cubicBezTo>
                <a:cubicBezTo>
                  <a:pt x="5281" y="28563"/>
                  <a:pt x="5219" y="28469"/>
                  <a:pt x="5188" y="28344"/>
                </a:cubicBezTo>
                <a:cubicBezTo>
                  <a:pt x="5188" y="28250"/>
                  <a:pt x="5156" y="28188"/>
                  <a:pt x="5125" y="28094"/>
                </a:cubicBezTo>
                <a:cubicBezTo>
                  <a:pt x="5063" y="27969"/>
                  <a:pt x="5063" y="27781"/>
                  <a:pt x="5063" y="27625"/>
                </a:cubicBezTo>
                <a:cubicBezTo>
                  <a:pt x="5063" y="27563"/>
                  <a:pt x="5063" y="27531"/>
                  <a:pt x="5031" y="27500"/>
                </a:cubicBezTo>
                <a:cubicBezTo>
                  <a:pt x="4969" y="27438"/>
                  <a:pt x="4969" y="27375"/>
                  <a:pt x="5000" y="27281"/>
                </a:cubicBezTo>
                <a:cubicBezTo>
                  <a:pt x="5000" y="27219"/>
                  <a:pt x="5031" y="27125"/>
                  <a:pt x="5125" y="27250"/>
                </a:cubicBezTo>
                <a:cubicBezTo>
                  <a:pt x="5125" y="27313"/>
                  <a:pt x="5219" y="27313"/>
                  <a:pt x="5250" y="27281"/>
                </a:cubicBezTo>
                <a:cubicBezTo>
                  <a:pt x="5313" y="27250"/>
                  <a:pt x="5281" y="27219"/>
                  <a:pt x="5313" y="27188"/>
                </a:cubicBezTo>
                <a:cubicBezTo>
                  <a:pt x="5313" y="27000"/>
                  <a:pt x="5406" y="26844"/>
                  <a:pt x="5531" y="26688"/>
                </a:cubicBezTo>
                <a:cubicBezTo>
                  <a:pt x="5656" y="26563"/>
                  <a:pt x="5781" y="26438"/>
                  <a:pt x="5719" y="26250"/>
                </a:cubicBezTo>
                <a:cubicBezTo>
                  <a:pt x="5719" y="26188"/>
                  <a:pt x="5750" y="26188"/>
                  <a:pt x="5781" y="26156"/>
                </a:cubicBezTo>
                <a:cubicBezTo>
                  <a:pt x="5875" y="26063"/>
                  <a:pt x="5844" y="25938"/>
                  <a:pt x="5719" y="25875"/>
                </a:cubicBezTo>
                <a:cubicBezTo>
                  <a:pt x="5625" y="25844"/>
                  <a:pt x="5625" y="25906"/>
                  <a:pt x="5625" y="25938"/>
                </a:cubicBezTo>
                <a:cubicBezTo>
                  <a:pt x="5594" y="25969"/>
                  <a:pt x="5594" y="26031"/>
                  <a:pt x="5594" y="26063"/>
                </a:cubicBezTo>
                <a:cubicBezTo>
                  <a:pt x="5594" y="26094"/>
                  <a:pt x="5563" y="26125"/>
                  <a:pt x="5531" y="26125"/>
                </a:cubicBezTo>
                <a:cubicBezTo>
                  <a:pt x="5469" y="26125"/>
                  <a:pt x="5500" y="26063"/>
                  <a:pt x="5469" y="26031"/>
                </a:cubicBezTo>
                <a:cubicBezTo>
                  <a:pt x="5469" y="26000"/>
                  <a:pt x="5469" y="25938"/>
                  <a:pt x="5469" y="25875"/>
                </a:cubicBezTo>
                <a:cubicBezTo>
                  <a:pt x="5469" y="25750"/>
                  <a:pt x="5563" y="25625"/>
                  <a:pt x="5656" y="25500"/>
                </a:cubicBezTo>
                <a:cubicBezTo>
                  <a:pt x="5563" y="25500"/>
                  <a:pt x="5563" y="25406"/>
                  <a:pt x="5469" y="25375"/>
                </a:cubicBezTo>
                <a:cubicBezTo>
                  <a:pt x="5406" y="25375"/>
                  <a:pt x="5469" y="25188"/>
                  <a:pt x="5563" y="25188"/>
                </a:cubicBezTo>
                <a:cubicBezTo>
                  <a:pt x="5688" y="25188"/>
                  <a:pt x="5781" y="25125"/>
                  <a:pt x="5844" y="25063"/>
                </a:cubicBezTo>
                <a:cubicBezTo>
                  <a:pt x="5906" y="25000"/>
                  <a:pt x="5969" y="25000"/>
                  <a:pt x="6031" y="25063"/>
                </a:cubicBezTo>
                <a:cubicBezTo>
                  <a:pt x="6094" y="25094"/>
                  <a:pt x="6125" y="25156"/>
                  <a:pt x="6094" y="25250"/>
                </a:cubicBezTo>
                <a:cubicBezTo>
                  <a:pt x="6094" y="25250"/>
                  <a:pt x="6063" y="25313"/>
                  <a:pt x="6063" y="25313"/>
                </a:cubicBezTo>
                <a:cubicBezTo>
                  <a:pt x="5938" y="25281"/>
                  <a:pt x="5875" y="25344"/>
                  <a:pt x="5875" y="25469"/>
                </a:cubicBezTo>
                <a:cubicBezTo>
                  <a:pt x="5875" y="25594"/>
                  <a:pt x="5875" y="25688"/>
                  <a:pt x="5969" y="25750"/>
                </a:cubicBezTo>
                <a:cubicBezTo>
                  <a:pt x="5969" y="25750"/>
                  <a:pt x="5969" y="25719"/>
                  <a:pt x="6000" y="25719"/>
                </a:cubicBezTo>
                <a:cubicBezTo>
                  <a:pt x="6000" y="25656"/>
                  <a:pt x="5938" y="25625"/>
                  <a:pt x="6000" y="25594"/>
                </a:cubicBezTo>
                <a:cubicBezTo>
                  <a:pt x="6063" y="25563"/>
                  <a:pt x="6063" y="25625"/>
                  <a:pt x="6063" y="25656"/>
                </a:cubicBezTo>
                <a:cubicBezTo>
                  <a:pt x="6094" y="25688"/>
                  <a:pt x="6094" y="25719"/>
                  <a:pt x="6156" y="25719"/>
                </a:cubicBezTo>
                <a:cubicBezTo>
                  <a:pt x="6188" y="25719"/>
                  <a:pt x="6188" y="25656"/>
                  <a:pt x="6156" y="25656"/>
                </a:cubicBezTo>
                <a:cubicBezTo>
                  <a:pt x="6031" y="25469"/>
                  <a:pt x="6156" y="25344"/>
                  <a:pt x="6250" y="25250"/>
                </a:cubicBezTo>
                <a:cubicBezTo>
                  <a:pt x="6406" y="25125"/>
                  <a:pt x="6563" y="24938"/>
                  <a:pt x="6813" y="24906"/>
                </a:cubicBezTo>
                <a:cubicBezTo>
                  <a:pt x="6813" y="24906"/>
                  <a:pt x="6813" y="24906"/>
                  <a:pt x="6844" y="24906"/>
                </a:cubicBezTo>
                <a:cubicBezTo>
                  <a:pt x="6844" y="24906"/>
                  <a:pt x="6875" y="24875"/>
                  <a:pt x="6875" y="24875"/>
                </a:cubicBezTo>
                <a:cubicBezTo>
                  <a:pt x="6906" y="24813"/>
                  <a:pt x="6938" y="24781"/>
                  <a:pt x="6906" y="24750"/>
                </a:cubicBezTo>
                <a:cubicBezTo>
                  <a:pt x="6906" y="24719"/>
                  <a:pt x="6906" y="24719"/>
                  <a:pt x="6906" y="24688"/>
                </a:cubicBezTo>
                <a:cubicBezTo>
                  <a:pt x="6906" y="24688"/>
                  <a:pt x="6906" y="24688"/>
                  <a:pt x="6906" y="24688"/>
                </a:cubicBezTo>
                <a:cubicBezTo>
                  <a:pt x="6906" y="24688"/>
                  <a:pt x="6906" y="24688"/>
                  <a:pt x="6906" y="24688"/>
                </a:cubicBezTo>
                <a:cubicBezTo>
                  <a:pt x="6938" y="24656"/>
                  <a:pt x="6969" y="24656"/>
                  <a:pt x="7000" y="24656"/>
                </a:cubicBezTo>
                <a:cubicBezTo>
                  <a:pt x="7031" y="24656"/>
                  <a:pt x="7031" y="24656"/>
                  <a:pt x="7031" y="24656"/>
                </a:cubicBezTo>
                <a:cubicBezTo>
                  <a:pt x="7000" y="24594"/>
                  <a:pt x="6938" y="24531"/>
                  <a:pt x="7000" y="24438"/>
                </a:cubicBezTo>
                <a:cubicBezTo>
                  <a:pt x="7063" y="24375"/>
                  <a:pt x="7063" y="24344"/>
                  <a:pt x="7156" y="24406"/>
                </a:cubicBezTo>
                <a:cubicBezTo>
                  <a:pt x="7188" y="24438"/>
                  <a:pt x="7250" y="24406"/>
                  <a:pt x="7250" y="24344"/>
                </a:cubicBezTo>
                <a:cubicBezTo>
                  <a:pt x="7281" y="24250"/>
                  <a:pt x="7250" y="24188"/>
                  <a:pt x="7313" y="24125"/>
                </a:cubicBezTo>
                <a:cubicBezTo>
                  <a:pt x="7313" y="24094"/>
                  <a:pt x="7313" y="24063"/>
                  <a:pt x="7281" y="24063"/>
                </a:cubicBezTo>
                <a:cubicBezTo>
                  <a:pt x="7281" y="24063"/>
                  <a:pt x="7250" y="24063"/>
                  <a:pt x="7250" y="24094"/>
                </a:cubicBezTo>
                <a:cubicBezTo>
                  <a:pt x="7188" y="24125"/>
                  <a:pt x="7156" y="24188"/>
                  <a:pt x="7125" y="24219"/>
                </a:cubicBezTo>
                <a:cubicBezTo>
                  <a:pt x="7094" y="24250"/>
                  <a:pt x="7063" y="24281"/>
                  <a:pt x="7063" y="24281"/>
                </a:cubicBezTo>
                <a:cubicBezTo>
                  <a:pt x="6906" y="24188"/>
                  <a:pt x="6906" y="24375"/>
                  <a:pt x="6875" y="24406"/>
                </a:cubicBezTo>
                <a:cubicBezTo>
                  <a:pt x="6844" y="24500"/>
                  <a:pt x="6813" y="24563"/>
                  <a:pt x="6750" y="24563"/>
                </a:cubicBezTo>
                <a:cubicBezTo>
                  <a:pt x="6719" y="24563"/>
                  <a:pt x="6688" y="24531"/>
                  <a:pt x="6625" y="24531"/>
                </a:cubicBezTo>
                <a:cubicBezTo>
                  <a:pt x="6531" y="24469"/>
                  <a:pt x="6563" y="24406"/>
                  <a:pt x="6563" y="24344"/>
                </a:cubicBezTo>
                <a:cubicBezTo>
                  <a:pt x="6594" y="24313"/>
                  <a:pt x="6594" y="24313"/>
                  <a:pt x="6594" y="24313"/>
                </a:cubicBezTo>
                <a:cubicBezTo>
                  <a:pt x="6625" y="24219"/>
                  <a:pt x="6688" y="24125"/>
                  <a:pt x="6719" y="24063"/>
                </a:cubicBezTo>
                <a:cubicBezTo>
                  <a:pt x="6750" y="23844"/>
                  <a:pt x="6625" y="23719"/>
                  <a:pt x="6469" y="23594"/>
                </a:cubicBezTo>
                <a:cubicBezTo>
                  <a:pt x="6375" y="23531"/>
                  <a:pt x="6438" y="23438"/>
                  <a:pt x="6438" y="23375"/>
                </a:cubicBezTo>
                <a:cubicBezTo>
                  <a:pt x="6469" y="23313"/>
                  <a:pt x="6531" y="23281"/>
                  <a:pt x="6563" y="23313"/>
                </a:cubicBezTo>
                <a:cubicBezTo>
                  <a:pt x="6594" y="23344"/>
                  <a:pt x="6625" y="23344"/>
                  <a:pt x="6625" y="23313"/>
                </a:cubicBezTo>
                <a:cubicBezTo>
                  <a:pt x="6688" y="23188"/>
                  <a:pt x="6813" y="23156"/>
                  <a:pt x="6906" y="23063"/>
                </a:cubicBezTo>
                <a:cubicBezTo>
                  <a:pt x="6938" y="23031"/>
                  <a:pt x="6969" y="23000"/>
                  <a:pt x="7000" y="23031"/>
                </a:cubicBezTo>
                <a:cubicBezTo>
                  <a:pt x="7031" y="23063"/>
                  <a:pt x="7031" y="23094"/>
                  <a:pt x="7031" y="23125"/>
                </a:cubicBezTo>
                <a:cubicBezTo>
                  <a:pt x="7031" y="23188"/>
                  <a:pt x="7000" y="23219"/>
                  <a:pt x="7000" y="23281"/>
                </a:cubicBezTo>
                <a:cubicBezTo>
                  <a:pt x="7063" y="23219"/>
                  <a:pt x="7125" y="23219"/>
                  <a:pt x="7188" y="23250"/>
                </a:cubicBezTo>
                <a:cubicBezTo>
                  <a:pt x="7219" y="23281"/>
                  <a:pt x="7250" y="23313"/>
                  <a:pt x="7313" y="23281"/>
                </a:cubicBezTo>
                <a:cubicBezTo>
                  <a:pt x="7344" y="23219"/>
                  <a:pt x="7344" y="23188"/>
                  <a:pt x="7344" y="23125"/>
                </a:cubicBezTo>
                <a:cubicBezTo>
                  <a:pt x="7313" y="23000"/>
                  <a:pt x="7250" y="22875"/>
                  <a:pt x="7281" y="22750"/>
                </a:cubicBezTo>
                <a:cubicBezTo>
                  <a:pt x="7281" y="22750"/>
                  <a:pt x="7250" y="22719"/>
                  <a:pt x="7281" y="22688"/>
                </a:cubicBezTo>
                <a:cubicBezTo>
                  <a:pt x="7281" y="22688"/>
                  <a:pt x="7313" y="22656"/>
                  <a:pt x="7344" y="22656"/>
                </a:cubicBezTo>
                <a:cubicBezTo>
                  <a:pt x="7344" y="22625"/>
                  <a:pt x="7375" y="22594"/>
                  <a:pt x="7375" y="22563"/>
                </a:cubicBezTo>
                <a:cubicBezTo>
                  <a:pt x="7375" y="22563"/>
                  <a:pt x="7406" y="22531"/>
                  <a:pt x="7406" y="22531"/>
                </a:cubicBezTo>
                <a:cubicBezTo>
                  <a:pt x="7469" y="22406"/>
                  <a:pt x="7500" y="22250"/>
                  <a:pt x="7625" y="22156"/>
                </a:cubicBezTo>
                <a:cubicBezTo>
                  <a:pt x="7625" y="22156"/>
                  <a:pt x="7625" y="22156"/>
                  <a:pt x="7625" y="22156"/>
                </a:cubicBezTo>
                <a:cubicBezTo>
                  <a:pt x="7688" y="22063"/>
                  <a:pt x="7750" y="21938"/>
                  <a:pt x="7844" y="21875"/>
                </a:cubicBezTo>
                <a:cubicBezTo>
                  <a:pt x="7844" y="21875"/>
                  <a:pt x="7844" y="21875"/>
                  <a:pt x="7844" y="21875"/>
                </a:cubicBezTo>
                <a:cubicBezTo>
                  <a:pt x="7875" y="21844"/>
                  <a:pt x="7906" y="21813"/>
                  <a:pt x="7938" y="21813"/>
                </a:cubicBezTo>
                <a:cubicBezTo>
                  <a:pt x="8000" y="21781"/>
                  <a:pt x="7969" y="21719"/>
                  <a:pt x="7906" y="21719"/>
                </a:cubicBezTo>
                <a:cubicBezTo>
                  <a:pt x="7781" y="21656"/>
                  <a:pt x="7625" y="21594"/>
                  <a:pt x="7500" y="21594"/>
                </a:cubicBezTo>
                <a:cubicBezTo>
                  <a:pt x="7469" y="21594"/>
                  <a:pt x="7406" y="21594"/>
                  <a:pt x="7406" y="21563"/>
                </a:cubicBezTo>
                <a:cubicBezTo>
                  <a:pt x="7406" y="21531"/>
                  <a:pt x="7438" y="21500"/>
                  <a:pt x="7469" y="21500"/>
                </a:cubicBezTo>
                <a:cubicBezTo>
                  <a:pt x="7719" y="21438"/>
                  <a:pt x="7875" y="21219"/>
                  <a:pt x="8094" y="21094"/>
                </a:cubicBezTo>
                <a:cubicBezTo>
                  <a:pt x="8094" y="21094"/>
                  <a:pt x="8125" y="21094"/>
                  <a:pt x="8156" y="21094"/>
                </a:cubicBezTo>
                <a:cubicBezTo>
                  <a:pt x="8188" y="21063"/>
                  <a:pt x="8250" y="21000"/>
                  <a:pt x="8281" y="20969"/>
                </a:cubicBezTo>
                <a:cubicBezTo>
                  <a:pt x="8250" y="20938"/>
                  <a:pt x="8219" y="20938"/>
                  <a:pt x="8219" y="20938"/>
                </a:cubicBezTo>
                <a:cubicBezTo>
                  <a:pt x="8219" y="20938"/>
                  <a:pt x="8219" y="20938"/>
                  <a:pt x="8188" y="20938"/>
                </a:cubicBezTo>
                <a:cubicBezTo>
                  <a:pt x="8188" y="20938"/>
                  <a:pt x="8188" y="20969"/>
                  <a:pt x="8156" y="20969"/>
                </a:cubicBezTo>
                <a:cubicBezTo>
                  <a:pt x="8156" y="20969"/>
                  <a:pt x="8156" y="20969"/>
                  <a:pt x="8125" y="21000"/>
                </a:cubicBezTo>
                <a:cubicBezTo>
                  <a:pt x="8063" y="21063"/>
                  <a:pt x="7969" y="21063"/>
                  <a:pt x="7875" y="21031"/>
                </a:cubicBezTo>
                <a:cubicBezTo>
                  <a:pt x="7813" y="21031"/>
                  <a:pt x="7719" y="21094"/>
                  <a:pt x="7688" y="21156"/>
                </a:cubicBezTo>
                <a:cubicBezTo>
                  <a:pt x="7531" y="21281"/>
                  <a:pt x="7344" y="21375"/>
                  <a:pt x="7188" y="21469"/>
                </a:cubicBezTo>
                <a:cubicBezTo>
                  <a:pt x="7031" y="21531"/>
                  <a:pt x="6969" y="21563"/>
                  <a:pt x="6938" y="21719"/>
                </a:cubicBezTo>
                <a:cubicBezTo>
                  <a:pt x="6906" y="21844"/>
                  <a:pt x="6844" y="21688"/>
                  <a:pt x="6813" y="21719"/>
                </a:cubicBezTo>
                <a:cubicBezTo>
                  <a:pt x="6531" y="21844"/>
                  <a:pt x="6281" y="22000"/>
                  <a:pt x="6031" y="22188"/>
                </a:cubicBezTo>
                <a:cubicBezTo>
                  <a:pt x="6031" y="22219"/>
                  <a:pt x="6000" y="22250"/>
                  <a:pt x="5969" y="22250"/>
                </a:cubicBezTo>
                <a:cubicBezTo>
                  <a:pt x="5938" y="22313"/>
                  <a:pt x="5875" y="22344"/>
                  <a:pt x="5813" y="22375"/>
                </a:cubicBezTo>
                <a:cubicBezTo>
                  <a:pt x="5813" y="22406"/>
                  <a:pt x="5781" y="22406"/>
                  <a:pt x="5781" y="22438"/>
                </a:cubicBezTo>
                <a:cubicBezTo>
                  <a:pt x="5750" y="22313"/>
                  <a:pt x="5813" y="22281"/>
                  <a:pt x="5875" y="22250"/>
                </a:cubicBezTo>
                <a:cubicBezTo>
                  <a:pt x="5875" y="22250"/>
                  <a:pt x="5875" y="22250"/>
                  <a:pt x="5875" y="22250"/>
                </a:cubicBezTo>
                <a:cubicBezTo>
                  <a:pt x="5875" y="22219"/>
                  <a:pt x="5875" y="22219"/>
                  <a:pt x="5875" y="22219"/>
                </a:cubicBezTo>
                <a:cubicBezTo>
                  <a:pt x="5906" y="22188"/>
                  <a:pt x="5938" y="22188"/>
                  <a:pt x="5969" y="22188"/>
                </a:cubicBezTo>
                <a:cubicBezTo>
                  <a:pt x="5969" y="22156"/>
                  <a:pt x="6000" y="22125"/>
                  <a:pt x="6000" y="22094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6000" y="22063"/>
                  <a:pt x="6000" y="22063"/>
                  <a:pt x="6000" y="22063"/>
                </a:cubicBezTo>
                <a:cubicBezTo>
                  <a:pt x="5938" y="22000"/>
                  <a:pt x="5875" y="22000"/>
                  <a:pt x="5844" y="22031"/>
                </a:cubicBezTo>
                <a:cubicBezTo>
                  <a:pt x="5813" y="22031"/>
                  <a:pt x="5781" y="22094"/>
                  <a:pt x="5750" y="22125"/>
                </a:cubicBezTo>
                <a:cubicBezTo>
                  <a:pt x="5688" y="22156"/>
                  <a:pt x="5688" y="22219"/>
                  <a:pt x="5594" y="22250"/>
                </a:cubicBezTo>
                <a:cubicBezTo>
                  <a:pt x="5563" y="22219"/>
                  <a:pt x="5625" y="22125"/>
                  <a:pt x="5563" y="22125"/>
                </a:cubicBezTo>
                <a:cubicBezTo>
                  <a:pt x="5500" y="22094"/>
                  <a:pt x="5438" y="22125"/>
                  <a:pt x="5375" y="22125"/>
                </a:cubicBezTo>
                <a:cubicBezTo>
                  <a:pt x="5000" y="22281"/>
                  <a:pt x="4625" y="22438"/>
                  <a:pt x="4281" y="22656"/>
                </a:cubicBezTo>
                <a:cubicBezTo>
                  <a:pt x="4250" y="22688"/>
                  <a:pt x="4188" y="22719"/>
                  <a:pt x="4125" y="22781"/>
                </a:cubicBezTo>
                <a:cubicBezTo>
                  <a:pt x="4156" y="22656"/>
                  <a:pt x="4250" y="22594"/>
                  <a:pt x="4313" y="22531"/>
                </a:cubicBezTo>
                <a:cubicBezTo>
                  <a:pt x="4531" y="22375"/>
                  <a:pt x="4781" y="22219"/>
                  <a:pt x="5063" y="22094"/>
                </a:cubicBezTo>
                <a:cubicBezTo>
                  <a:pt x="5125" y="22063"/>
                  <a:pt x="5156" y="22063"/>
                  <a:pt x="5219" y="22063"/>
                </a:cubicBezTo>
                <a:cubicBezTo>
                  <a:pt x="5438" y="21906"/>
                  <a:pt x="5656" y="21813"/>
                  <a:pt x="5875" y="21719"/>
                </a:cubicBezTo>
                <a:cubicBezTo>
                  <a:pt x="5938" y="21688"/>
                  <a:pt x="5969" y="21656"/>
                  <a:pt x="5969" y="21625"/>
                </a:cubicBezTo>
                <a:cubicBezTo>
                  <a:pt x="6063" y="21469"/>
                  <a:pt x="6188" y="21438"/>
                  <a:pt x="6344" y="21375"/>
                </a:cubicBezTo>
                <a:cubicBezTo>
                  <a:pt x="6406" y="21344"/>
                  <a:pt x="6469" y="21313"/>
                  <a:pt x="6531" y="21313"/>
                </a:cubicBezTo>
                <a:cubicBezTo>
                  <a:pt x="6625" y="21250"/>
                  <a:pt x="6750" y="21188"/>
                  <a:pt x="6875" y="21188"/>
                </a:cubicBezTo>
                <a:cubicBezTo>
                  <a:pt x="6875" y="21156"/>
                  <a:pt x="6906" y="21156"/>
                  <a:pt x="6906" y="21125"/>
                </a:cubicBezTo>
                <a:cubicBezTo>
                  <a:pt x="6969" y="21063"/>
                  <a:pt x="7000" y="21000"/>
                  <a:pt x="6938" y="20938"/>
                </a:cubicBezTo>
                <a:cubicBezTo>
                  <a:pt x="6625" y="21000"/>
                  <a:pt x="6313" y="21094"/>
                  <a:pt x="6000" y="21188"/>
                </a:cubicBezTo>
                <a:cubicBezTo>
                  <a:pt x="5969" y="21188"/>
                  <a:pt x="5969" y="21188"/>
                  <a:pt x="5938" y="21219"/>
                </a:cubicBezTo>
                <a:cubicBezTo>
                  <a:pt x="5875" y="21219"/>
                  <a:pt x="5844" y="21219"/>
                  <a:pt x="5781" y="21250"/>
                </a:cubicBezTo>
                <a:cubicBezTo>
                  <a:pt x="5719" y="21281"/>
                  <a:pt x="5656" y="21281"/>
                  <a:pt x="5625" y="21313"/>
                </a:cubicBezTo>
                <a:cubicBezTo>
                  <a:pt x="5594" y="21313"/>
                  <a:pt x="5563" y="21344"/>
                  <a:pt x="5563" y="21344"/>
                </a:cubicBezTo>
                <a:cubicBezTo>
                  <a:pt x="5531" y="21344"/>
                  <a:pt x="5531" y="21344"/>
                  <a:pt x="5531" y="21344"/>
                </a:cubicBezTo>
                <a:cubicBezTo>
                  <a:pt x="5500" y="21344"/>
                  <a:pt x="5438" y="21344"/>
                  <a:pt x="5406" y="21375"/>
                </a:cubicBezTo>
                <a:cubicBezTo>
                  <a:pt x="5375" y="21375"/>
                  <a:pt x="5375" y="21375"/>
                  <a:pt x="5344" y="21375"/>
                </a:cubicBezTo>
                <a:cubicBezTo>
                  <a:pt x="5313" y="21375"/>
                  <a:pt x="5281" y="21375"/>
                  <a:pt x="5281" y="21406"/>
                </a:cubicBezTo>
                <a:cubicBezTo>
                  <a:pt x="4813" y="21500"/>
                  <a:pt x="4344" y="21594"/>
                  <a:pt x="3938" y="21844"/>
                </a:cubicBezTo>
                <a:cubicBezTo>
                  <a:pt x="3938" y="21875"/>
                  <a:pt x="3906" y="21844"/>
                  <a:pt x="3875" y="21844"/>
                </a:cubicBezTo>
                <a:cubicBezTo>
                  <a:pt x="4281" y="21469"/>
                  <a:pt x="4781" y="21313"/>
                  <a:pt x="5250" y="21125"/>
                </a:cubicBezTo>
                <a:cubicBezTo>
                  <a:pt x="5281" y="21094"/>
                  <a:pt x="5281" y="21094"/>
                  <a:pt x="5281" y="21094"/>
                </a:cubicBezTo>
                <a:cubicBezTo>
                  <a:pt x="5313" y="21063"/>
                  <a:pt x="5344" y="21063"/>
                  <a:pt x="5375" y="21063"/>
                </a:cubicBezTo>
                <a:cubicBezTo>
                  <a:pt x="5406" y="21031"/>
                  <a:pt x="5438" y="21031"/>
                  <a:pt x="5469" y="21031"/>
                </a:cubicBezTo>
                <a:cubicBezTo>
                  <a:pt x="5594" y="21000"/>
                  <a:pt x="5688" y="20969"/>
                  <a:pt x="5781" y="20906"/>
                </a:cubicBezTo>
                <a:cubicBezTo>
                  <a:pt x="5750" y="20875"/>
                  <a:pt x="5719" y="20875"/>
                  <a:pt x="5688" y="20875"/>
                </a:cubicBezTo>
                <a:cubicBezTo>
                  <a:pt x="5656" y="20875"/>
                  <a:pt x="5625" y="20875"/>
                  <a:pt x="5625" y="20875"/>
                </a:cubicBezTo>
                <a:cubicBezTo>
                  <a:pt x="5594" y="20875"/>
                  <a:pt x="5594" y="20875"/>
                  <a:pt x="5594" y="20875"/>
                </a:cubicBezTo>
                <a:cubicBezTo>
                  <a:pt x="5625" y="20781"/>
                  <a:pt x="5781" y="20813"/>
                  <a:pt x="5813" y="20688"/>
                </a:cubicBezTo>
                <a:cubicBezTo>
                  <a:pt x="5813" y="20688"/>
                  <a:pt x="5813" y="20688"/>
                  <a:pt x="5813" y="20688"/>
                </a:cubicBezTo>
                <a:cubicBezTo>
                  <a:pt x="5813" y="20688"/>
                  <a:pt x="5813" y="20688"/>
                  <a:pt x="5813" y="20688"/>
                </a:cubicBezTo>
                <a:cubicBezTo>
                  <a:pt x="5656" y="20719"/>
                  <a:pt x="5656" y="20594"/>
                  <a:pt x="5625" y="20500"/>
                </a:cubicBezTo>
                <a:cubicBezTo>
                  <a:pt x="5813" y="20500"/>
                  <a:pt x="6000" y="20438"/>
                  <a:pt x="6156" y="20469"/>
                </a:cubicBezTo>
                <a:cubicBezTo>
                  <a:pt x="6188" y="20500"/>
                  <a:pt x="6188" y="20500"/>
                  <a:pt x="6219" y="20500"/>
                </a:cubicBezTo>
                <a:cubicBezTo>
                  <a:pt x="6219" y="20500"/>
                  <a:pt x="6219" y="20531"/>
                  <a:pt x="6219" y="20531"/>
                </a:cubicBezTo>
                <a:cubicBezTo>
                  <a:pt x="6219" y="20531"/>
                  <a:pt x="6219" y="20531"/>
                  <a:pt x="6250" y="20531"/>
                </a:cubicBezTo>
                <a:cubicBezTo>
                  <a:pt x="6250" y="20531"/>
                  <a:pt x="6250" y="20531"/>
                  <a:pt x="6250" y="20531"/>
                </a:cubicBezTo>
                <a:cubicBezTo>
                  <a:pt x="6250" y="20531"/>
                  <a:pt x="6281" y="20531"/>
                  <a:pt x="6281" y="20531"/>
                </a:cubicBezTo>
                <a:cubicBezTo>
                  <a:pt x="6281" y="20531"/>
                  <a:pt x="6281" y="20531"/>
                  <a:pt x="6281" y="20531"/>
                </a:cubicBezTo>
                <a:cubicBezTo>
                  <a:pt x="6313" y="20531"/>
                  <a:pt x="6344" y="20531"/>
                  <a:pt x="6375" y="20531"/>
                </a:cubicBezTo>
                <a:cubicBezTo>
                  <a:pt x="6406" y="20531"/>
                  <a:pt x="6469" y="20531"/>
                  <a:pt x="6500" y="20500"/>
                </a:cubicBezTo>
                <a:cubicBezTo>
                  <a:pt x="6531" y="20500"/>
                  <a:pt x="6594" y="20469"/>
                  <a:pt x="6625" y="20469"/>
                </a:cubicBezTo>
                <a:cubicBezTo>
                  <a:pt x="6656" y="20469"/>
                  <a:pt x="6656" y="20438"/>
                  <a:pt x="6688" y="20438"/>
                </a:cubicBezTo>
                <a:cubicBezTo>
                  <a:pt x="6750" y="20438"/>
                  <a:pt x="6781" y="20406"/>
                  <a:pt x="6844" y="20406"/>
                </a:cubicBezTo>
                <a:cubicBezTo>
                  <a:pt x="6906" y="20375"/>
                  <a:pt x="6938" y="20344"/>
                  <a:pt x="6969" y="20375"/>
                </a:cubicBezTo>
                <a:cubicBezTo>
                  <a:pt x="6969" y="20375"/>
                  <a:pt x="7000" y="20375"/>
                  <a:pt x="7000" y="20375"/>
                </a:cubicBezTo>
                <a:cubicBezTo>
                  <a:pt x="7031" y="20406"/>
                  <a:pt x="7063" y="20469"/>
                  <a:pt x="7094" y="20500"/>
                </a:cubicBezTo>
                <a:cubicBezTo>
                  <a:pt x="7281" y="20469"/>
                  <a:pt x="7438" y="20438"/>
                  <a:pt x="7625" y="20469"/>
                </a:cubicBezTo>
                <a:cubicBezTo>
                  <a:pt x="7688" y="20500"/>
                  <a:pt x="7719" y="20406"/>
                  <a:pt x="7781" y="20438"/>
                </a:cubicBezTo>
                <a:cubicBezTo>
                  <a:pt x="7750" y="20375"/>
                  <a:pt x="7719" y="20344"/>
                  <a:pt x="7656" y="20313"/>
                </a:cubicBezTo>
                <a:cubicBezTo>
                  <a:pt x="7531" y="20250"/>
                  <a:pt x="7375" y="20219"/>
                  <a:pt x="7281" y="20063"/>
                </a:cubicBezTo>
                <a:cubicBezTo>
                  <a:pt x="7344" y="20063"/>
                  <a:pt x="7406" y="20063"/>
                  <a:pt x="7469" y="20063"/>
                </a:cubicBezTo>
                <a:cubicBezTo>
                  <a:pt x="7719" y="20063"/>
                  <a:pt x="7906" y="20250"/>
                  <a:pt x="8125" y="20313"/>
                </a:cubicBezTo>
                <a:cubicBezTo>
                  <a:pt x="8125" y="20219"/>
                  <a:pt x="8094" y="20156"/>
                  <a:pt x="7969" y="20094"/>
                </a:cubicBezTo>
                <a:cubicBezTo>
                  <a:pt x="7938" y="20094"/>
                  <a:pt x="7938" y="20094"/>
                  <a:pt x="7906" y="20094"/>
                </a:cubicBezTo>
                <a:cubicBezTo>
                  <a:pt x="7844" y="20063"/>
                  <a:pt x="7813" y="20031"/>
                  <a:pt x="7750" y="20031"/>
                </a:cubicBezTo>
                <a:cubicBezTo>
                  <a:pt x="7688" y="20000"/>
                  <a:pt x="7594" y="19969"/>
                  <a:pt x="7531" y="19938"/>
                </a:cubicBezTo>
                <a:cubicBezTo>
                  <a:pt x="7250" y="19844"/>
                  <a:pt x="6938" y="19781"/>
                  <a:pt x="6656" y="19750"/>
                </a:cubicBezTo>
                <a:cubicBezTo>
                  <a:pt x="6594" y="19750"/>
                  <a:pt x="6531" y="19750"/>
                  <a:pt x="6500" y="19750"/>
                </a:cubicBezTo>
                <a:cubicBezTo>
                  <a:pt x="6469" y="19750"/>
                  <a:pt x="6469" y="19750"/>
                  <a:pt x="6469" y="19750"/>
                </a:cubicBezTo>
                <a:cubicBezTo>
                  <a:pt x="6438" y="19719"/>
                  <a:pt x="6438" y="19719"/>
                  <a:pt x="6438" y="19719"/>
                </a:cubicBezTo>
                <a:cubicBezTo>
                  <a:pt x="6406" y="19719"/>
                  <a:pt x="6375" y="19719"/>
                  <a:pt x="6344" y="19719"/>
                </a:cubicBezTo>
                <a:cubicBezTo>
                  <a:pt x="5938" y="19719"/>
                  <a:pt x="5531" y="19750"/>
                  <a:pt x="5094" y="19750"/>
                </a:cubicBezTo>
                <a:cubicBezTo>
                  <a:pt x="5031" y="19750"/>
                  <a:pt x="4938" y="19750"/>
                  <a:pt x="4844" y="19750"/>
                </a:cubicBezTo>
                <a:cubicBezTo>
                  <a:pt x="4688" y="19750"/>
                  <a:pt x="4531" y="19719"/>
                  <a:pt x="4344" y="19688"/>
                </a:cubicBezTo>
                <a:cubicBezTo>
                  <a:pt x="4125" y="19656"/>
                  <a:pt x="3875" y="19625"/>
                  <a:pt x="3656" y="19750"/>
                </a:cubicBezTo>
                <a:cubicBezTo>
                  <a:pt x="3938" y="19531"/>
                  <a:pt x="4281" y="19406"/>
                  <a:pt x="4625" y="19344"/>
                </a:cubicBezTo>
                <a:cubicBezTo>
                  <a:pt x="4781" y="19344"/>
                  <a:pt x="4938" y="19313"/>
                  <a:pt x="5094" y="19313"/>
                </a:cubicBezTo>
                <a:cubicBezTo>
                  <a:pt x="5344" y="19281"/>
                  <a:pt x="5594" y="19281"/>
                  <a:pt x="5844" y="19250"/>
                </a:cubicBezTo>
                <a:cubicBezTo>
                  <a:pt x="5875" y="19250"/>
                  <a:pt x="5938" y="19250"/>
                  <a:pt x="5969" y="19250"/>
                </a:cubicBezTo>
                <a:cubicBezTo>
                  <a:pt x="5969" y="19219"/>
                  <a:pt x="6000" y="19219"/>
                  <a:pt x="6000" y="19219"/>
                </a:cubicBezTo>
                <a:cubicBezTo>
                  <a:pt x="6031" y="19219"/>
                  <a:pt x="6031" y="19219"/>
                  <a:pt x="6031" y="19219"/>
                </a:cubicBezTo>
                <a:cubicBezTo>
                  <a:pt x="6031" y="19219"/>
                  <a:pt x="6031" y="19219"/>
                  <a:pt x="6031" y="19219"/>
                </a:cubicBezTo>
                <a:cubicBezTo>
                  <a:pt x="6063" y="19219"/>
                  <a:pt x="6063" y="19219"/>
                  <a:pt x="6063" y="19219"/>
                </a:cubicBezTo>
                <a:cubicBezTo>
                  <a:pt x="6063" y="19219"/>
                  <a:pt x="6094" y="19219"/>
                  <a:pt x="6094" y="19219"/>
                </a:cubicBezTo>
                <a:cubicBezTo>
                  <a:pt x="6125" y="19219"/>
                  <a:pt x="6156" y="19188"/>
                  <a:pt x="6188" y="19188"/>
                </a:cubicBezTo>
                <a:cubicBezTo>
                  <a:pt x="6188" y="19188"/>
                  <a:pt x="6219" y="19188"/>
                  <a:pt x="6219" y="19188"/>
                </a:cubicBezTo>
                <a:cubicBezTo>
                  <a:pt x="6219" y="19188"/>
                  <a:pt x="6250" y="19188"/>
                  <a:pt x="6250" y="19188"/>
                </a:cubicBezTo>
                <a:cubicBezTo>
                  <a:pt x="6250" y="19188"/>
                  <a:pt x="6250" y="19188"/>
                  <a:pt x="6250" y="19188"/>
                </a:cubicBezTo>
                <a:cubicBezTo>
                  <a:pt x="6438" y="19094"/>
                  <a:pt x="6625" y="19063"/>
                  <a:pt x="6844" y="19094"/>
                </a:cubicBezTo>
                <a:cubicBezTo>
                  <a:pt x="6813" y="19063"/>
                  <a:pt x="6781" y="19063"/>
                  <a:pt x="6750" y="19063"/>
                </a:cubicBezTo>
                <a:cubicBezTo>
                  <a:pt x="6531" y="18969"/>
                  <a:pt x="6313" y="18906"/>
                  <a:pt x="6094" y="18875"/>
                </a:cubicBezTo>
                <a:cubicBezTo>
                  <a:pt x="5875" y="18813"/>
                  <a:pt x="5625" y="18781"/>
                  <a:pt x="5375" y="18750"/>
                </a:cubicBezTo>
                <a:cubicBezTo>
                  <a:pt x="5313" y="18719"/>
                  <a:pt x="5250" y="18719"/>
                  <a:pt x="5188" y="18719"/>
                </a:cubicBezTo>
                <a:cubicBezTo>
                  <a:pt x="5156" y="18688"/>
                  <a:pt x="5094" y="18688"/>
                  <a:pt x="5063" y="18656"/>
                </a:cubicBezTo>
                <a:cubicBezTo>
                  <a:pt x="4875" y="18625"/>
                  <a:pt x="4719" y="18594"/>
                  <a:pt x="4531" y="18594"/>
                </a:cubicBezTo>
                <a:cubicBezTo>
                  <a:pt x="4500" y="18594"/>
                  <a:pt x="4406" y="18625"/>
                  <a:pt x="4406" y="18563"/>
                </a:cubicBezTo>
                <a:cubicBezTo>
                  <a:pt x="4438" y="18500"/>
                  <a:pt x="4500" y="18531"/>
                  <a:pt x="4531" y="18531"/>
                </a:cubicBezTo>
                <a:cubicBezTo>
                  <a:pt x="4844" y="18531"/>
                  <a:pt x="5156" y="18500"/>
                  <a:pt x="5469" y="18531"/>
                </a:cubicBezTo>
                <a:cubicBezTo>
                  <a:pt x="5500" y="18531"/>
                  <a:pt x="5531" y="18531"/>
                  <a:pt x="5563" y="18531"/>
                </a:cubicBezTo>
                <a:cubicBezTo>
                  <a:pt x="5594" y="18500"/>
                  <a:pt x="5656" y="18500"/>
                  <a:pt x="5594" y="18438"/>
                </a:cubicBezTo>
                <a:cubicBezTo>
                  <a:pt x="5594" y="18438"/>
                  <a:pt x="5594" y="18438"/>
                  <a:pt x="5563" y="18438"/>
                </a:cubicBezTo>
                <a:cubicBezTo>
                  <a:pt x="5531" y="18438"/>
                  <a:pt x="5500" y="18438"/>
                  <a:pt x="5469" y="18438"/>
                </a:cubicBezTo>
                <a:cubicBezTo>
                  <a:pt x="5438" y="18469"/>
                  <a:pt x="5406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75" y="18469"/>
                  <a:pt x="5375" y="18469"/>
                  <a:pt x="5375" y="18469"/>
                </a:cubicBezTo>
                <a:cubicBezTo>
                  <a:pt x="5344" y="18469"/>
                  <a:pt x="5344" y="18469"/>
                  <a:pt x="5313" y="18469"/>
                </a:cubicBezTo>
                <a:cubicBezTo>
                  <a:pt x="5313" y="18469"/>
                  <a:pt x="5313" y="18438"/>
                  <a:pt x="5313" y="18438"/>
                </a:cubicBezTo>
                <a:cubicBezTo>
                  <a:pt x="5219" y="18438"/>
                  <a:pt x="5125" y="18438"/>
                  <a:pt x="5063" y="18438"/>
                </a:cubicBezTo>
                <a:cubicBezTo>
                  <a:pt x="4656" y="18438"/>
                  <a:pt x="4219" y="18469"/>
                  <a:pt x="3813" y="18438"/>
                </a:cubicBezTo>
                <a:cubicBezTo>
                  <a:pt x="3625" y="18438"/>
                  <a:pt x="3406" y="18469"/>
                  <a:pt x="3219" y="18375"/>
                </a:cubicBezTo>
                <a:cubicBezTo>
                  <a:pt x="3156" y="18344"/>
                  <a:pt x="3125" y="18375"/>
                  <a:pt x="3094" y="18406"/>
                </a:cubicBezTo>
                <a:cubicBezTo>
                  <a:pt x="3000" y="18500"/>
                  <a:pt x="2844" y="18531"/>
                  <a:pt x="2688" y="18531"/>
                </a:cubicBezTo>
                <a:cubicBezTo>
                  <a:pt x="2750" y="18500"/>
                  <a:pt x="2813" y="18500"/>
                  <a:pt x="2844" y="18438"/>
                </a:cubicBezTo>
                <a:cubicBezTo>
                  <a:pt x="2688" y="18313"/>
                  <a:pt x="2531" y="18500"/>
                  <a:pt x="2344" y="18469"/>
                </a:cubicBezTo>
                <a:cubicBezTo>
                  <a:pt x="2563" y="18344"/>
                  <a:pt x="2813" y="18313"/>
                  <a:pt x="3031" y="18281"/>
                </a:cubicBezTo>
                <a:cubicBezTo>
                  <a:pt x="3625" y="18219"/>
                  <a:pt x="4188" y="18125"/>
                  <a:pt x="4750" y="18125"/>
                </a:cubicBezTo>
                <a:cubicBezTo>
                  <a:pt x="5188" y="18094"/>
                  <a:pt x="5594" y="18188"/>
                  <a:pt x="6000" y="18281"/>
                </a:cubicBezTo>
                <a:cubicBezTo>
                  <a:pt x="6000" y="18313"/>
                  <a:pt x="6031" y="18313"/>
                  <a:pt x="6063" y="18313"/>
                </a:cubicBezTo>
                <a:cubicBezTo>
                  <a:pt x="6375" y="18375"/>
                  <a:pt x="6375" y="18375"/>
                  <a:pt x="6500" y="18063"/>
                </a:cubicBezTo>
                <a:cubicBezTo>
                  <a:pt x="6500" y="18063"/>
                  <a:pt x="6500" y="18063"/>
                  <a:pt x="6500" y="18031"/>
                </a:cubicBezTo>
                <a:cubicBezTo>
                  <a:pt x="6500" y="18031"/>
                  <a:pt x="6531" y="18000"/>
                  <a:pt x="6531" y="18000"/>
                </a:cubicBezTo>
                <a:cubicBezTo>
                  <a:pt x="6656" y="17781"/>
                  <a:pt x="6844" y="17688"/>
                  <a:pt x="7063" y="17656"/>
                </a:cubicBezTo>
                <a:cubicBezTo>
                  <a:pt x="7094" y="17656"/>
                  <a:pt x="7125" y="17656"/>
                  <a:pt x="7156" y="17656"/>
                </a:cubicBezTo>
                <a:cubicBezTo>
                  <a:pt x="7188" y="17656"/>
                  <a:pt x="7188" y="17656"/>
                  <a:pt x="7219" y="17656"/>
                </a:cubicBezTo>
                <a:cubicBezTo>
                  <a:pt x="7250" y="17656"/>
                  <a:pt x="7281" y="17656"/>
                  <a:pt x="7313" y="17656"/>
                </a:cubicBezTo>
                <a:cubicBezTo>
                  <a:pt x="7281" y="17594"/>
                  <a:pt x="7250" y="17531"/>
                  <a:pt x="7188" y="17469"/>
                </a:cubicBezTo>
                <a:cubicBezTo>
                  <a:pt x="7188" y="17469"/>
                  <a:pt x="7156" y="17438"/>
                  <a:pt x="7156" y="17438"/>
                </a:cubicBezTo>
                <a:cubicBezTo>
                  <a:pt x="7094" y="17375"/>
                  <a:pt x="7094" y="17344"/>
                  <a:pt x="7156" y="17313"/>
                </a:cubicBezTo>
                <a:cubicBezTo>
                  <a:pt x="7094" y="17281"/>
                  <a:pt x="7063" y="17188"/>
                  <a:pt x="7000" y="17125"/>
                </a:cubicBezTo>
                <a:cubicBezTo>
                  <a:pt x="6813" y="16938"/>
                  <a:pt x="6625" y="16750"/>
                  <a:pt x="6438" y="16563"/>
                </a:cubicBezTo>
                <a:cubicBezTo>
                  <a:pt x="6438" y="16563"/>
                  <a:pt x="6406" y="16563"/>
                  <a:pt x="6406" y="16563"/>
                </a:cubicBezTo>
                <a:cubicBezTo>
                  <a:pt x="6406" y="16563"/>
                  <a:pt x="6406" y="16531"/>
                  <a:pt x="6406" y="16531"/>
                </a:cubicBezTo>
                <a:cubicBezTo>
                  <a:pt x="6406" y="16531"/>
                  <a:pt x="6375" y="16531"/>
                  <a:pt x="6375" y="16500"/>
                </a:cubicBezTo>
                <a:cubicBezTo>
                  <a:pt x="6250" y="16438"/>
                  <a:pt x="6125" y="16344"/>
                  <a:pt x="6000" y="16250"/>
                </a:cubicBezTo>
                <a:cubicBezTo>
                  <a:pt x="5938" y="16250"/>
                  <a:pt x="5906" y="16219"/>
                  <a:pt x="5844" y="16188"/>
                </a:cubicBezTo>
                <a:cubicBezTo>
                  <a:pt x="5813" y="16188"/>
                  <a:pt x="5781" y="16125"/>
                  <a:pt x="5813" y="16063"/>
                </a:cubicBezTo>
                <a:cubicBezTo>
                  <a:pt x="5813" y="16031"/>
                  <a:pt x="5813" y="16000"/>
                  <a:pt x="5750" y="15969"/>
                </a:cubicBezTo>
                <a:cubicBezTo>
                  <a:pt x="5719" y="15969"/>
                  <a:pt x="5688" y="15969"/>
                  <a:pt x="5688" y="16031"/>
                </a:cubicBezTo>
                <a:cubicBezTo>
                  <a:pt x="5656" y="16063"/>
                  <a:pt x="5656" y="16063"/>
                  <a:pt x="5625" y="16063"/>
                </a:cubicBezTo>
                <a:cubicBezTo>
                  <a:pt x="5500" y="16063"/>
                  <a:pt x="5313" y="15875"/>
                  <a:pt x="5313" y="15750"/>
                </a:cubicBezTo>
                <a:cubicBezTo>
                  <a:pt x="5313" y="15656"/>
                  <a:pt x="5375" y="15625"/>
                  <a:pt x="5438" y="15625"/>
                </a:cubicBezTo>
                <a:cubicBezTo>
                  <a:pt x="5563" y="15656"/>
                  <a:pt x="5594" y="15594"/>
                  <a:pt x="5594" y="15500"/>
                </a:cubicBezTo>
                <a:cubicBezTo>
                  <a:pt x="5531" y="15500"/>
                  <a:pt x="5469" y="15469"/>
                  <a:pt x="5406" y="15438"/>
                </a:cubicBezTo>
                <a:cubicBezTo>
                  <a:pt x="5438" y="15469"/>
                  <a:pt x="5438" y="15500"/>
                  <a:pt x="5406" y="15500"/>
                </a:cubicBezTo>
                <a:cubicBezTo>
                  <a:pt x="5406" y="15500"/>
                  <a:pt x="5406" y="15500"/>
                  <a:pt x="5375" y="15500"/>
                </a:cubicBezTo>
                <a:cubicBezTo>
                  <a:pt x="5313" y="15531"/>
                  <a:pt x="5250" y="15563"/>
                  <a:pt x="5219" y="15625"/>
                </a:cubicBezTo>
                <a:cubicBezTo>
                  <a:pt x="5156" y="15719"/>
                  <a:pt x="5125" y="15719"/>
                  <a:pt x="5063" y="15688"/>
                </a:cubicBezTo>
                <a:cubicBezTo>
                  <a:pt x="4906" y="15625"/>
                  <a:pt x="4750" y="15625"/>
                  <a:pt x="4656" y="15500"/>
                </a:cubicBezTo>
                <a:cubicBezTo>
                  <a:pt x="4406" y="15250"/>
                  <a:pt x="4094" y="15250"/>
                  <a:pt x="3813" y="15094"/>
                </a:cubicBezTo>
                <a:cubicBezTo>
                  <a:pt x="3813" y="15094"/>
                  <a:pt x="3813" y="15094"/>
                  <a:pt x="3813" y="15063"/>
                </a:cubicBezTo>
                <a:cubicBezTo>
                  <a:pt x="3625" y="15000"/>
                  <a:pt x="3469" y="15000"/>
                  <a:pt x="3281" y="14969"/>
                </a:cubicBezTo>
                <a:cubicBezTo>
                  <a:pt x="3250" y="14969"/>
                  <a:pt x="3250" y="14969"/>
                  <a:pt x="3219" y="14969"/>
                </a:cubicBezTo>
                <a:cubicBezTo>
                  <a:pt x="3188" y="14969"/>
                  <a:pt x="3156" y="14969"/>
                  <a:pt x="3125" y="14969"/>
                </a:cubicBezTo>
                <a:cubicBezTo>
                  <a:pt x="3094" y="14969"/>
                  <a:pt x="3031" y="14969"/>
                  <a:pt x="3031" y="14906"/>
                </a:cubicBezTo>
                <a:cubicBezTo>
                  <a:pt x="3031" y="14844"/>
                  <a:pt x="3094" y="14875"/>
                  <a:pt x="3125" y="14844"/>
                </a:cubicBezTo>
                <a:cubicBezTo>
                  <a:pt x="3500" y="14813"/>
                  <a:pt x="3875" y="14875"/>
                  <a:pt x="4219" y="15063"/>
                </a:cubicBezTo>
                <a:cubicBezTo>
                  <a:pt x="4281" y="15094"/>
                  <a:pt x="4313" y="15125"/>
                  <a:pt x="4375" y="15125"/>
                </a:cubicBezTo>
                <a:cubicBezTo>
                  <a:pt x="4438" y="15156"/>
                  <a:pt x="4500" y="15156"/>
                  <a:pt x="4563" y="15156"/>
                </a:cubicBezTo>
                <a:cubicBezTo>
                  <a:pt x="4594" y="15156"/>
                  <a:pt x="4594" y="15156"/>
                  <a:pt x="4625" y="15156"/>
                </a:cubicBezTo>
                <a:cubicBezTo>
                  <a:pt x="4656" y="15156"/>
                  <a:pt x="4656" y="15156"/>
                  <a:pt x="4688" y="15156"/>
                </a:cubicBezTo>
                <a:cubicBezTo>
                  <a:pt x="4594" y="15063"/>
                  <a:pt x="4469" y="15000"/>
                  <a:pt x="4344" y="14938"/>
                </a:cubicBezTo>
                <a:cubicBezTo>
                  <a:pt x="4094" y="14813"/>
                  <a:pt x="3844" y="14656"/>
                  <a:pt x="3594" y="14531"/>
                </a:cubicBezTo>
                <a:cubicBezTo>
                  <a:pt x="3563" y="14531"/>
                  <a:pt x="3531" y="14531"/>
                  <a:pt x="3531" y="14531"/>
                </a:cubicBezTo>
                <a:cubicBezTo>
                  <a:pt x="3469" y="14531"/>
                  <a:pt x="3438" y="14500"/>
                  <a:pt x="3406" y="14500"/>
                </a:cubicBezTo>
                <a:cubicBezTo>
                  <a:pt x="3375" y="14500"/>
                  <a:pt x="3344" y="14469"/>
                  <a:pt x="3344" y="14469"/>
                </a:cubicBezTo>
                <a:cubicBezTo>
                  <a:pt x="3313" y="14469"/>
                  <a:pt x="3250" y="14438"/>
                  <a:pt x="3281" y="14406"/>
                </a:cubicBezTo>
                <a:cubicBezTo>
                  <a:pt x="3281" y="14375"/>
                  <a:pt x="3313" y="14344"/>
                  <a:pt x="3375" y="14344"/>
                </a:cubicBezTo>
                <a:cubicBezTo>
                  <a:pt x="3531" y="14406"/>
                  <a:pt x="3750" y="14375"/>
                  <a:pt x="3906" y="14531"/>
                </a:cubicBezTo>
                <a:cubicBezTo>
                  <a:pt x="4250" y="14625"/>
                  <a:pt x="4594" y="14813"/>
                  <a:pt x="4938" y="14969"/>
                </a:cubicBezTo>
                <a:cubicBezTo>
                  <a:pt x="5000" y="15000"/>
                  <a:pt x="5063" y="15031"/>
                  <a:pt x="5094" y="15063"/>
                </a:cubicBezTo>
                <a:cubicBezTo>
                  <a:pt x="5469" y="15219"/>
                  <a:pt x="5844" y="15406"/>
                  <a:pt x="6188" y="15656"/>
                </a:cubicBezTo>
                <a:cubicBezTo>
                  <a:pt x="6250" y="15688"/>
                  <a:pt x="6313" y="15688"/>
                  <a:pt x="6406" y="15719"/>
                </a:cubicBezTo>
                <a:cubicBezTo>
                  <a:pt x="6406" y="15719"/>
                  <a:pt x="6406" y="15719"/>
                  <a:pt x="6406" y="15719"/>
                </a:cubicBezTo>
                <a:cubicBezTo>
                  <a:pt x="6438" y="15750"/>
                  <a:pt x="6438" y="15750"/>
                  <a:pt x="6469" y="15781"/>
                </a:cubicBezTo>
                <a:cubicBezTo>
                  <a:pt x="6656" y="15813"/>
                  <a:pt x="6813" y="15875"/>
                  <a:pt x="7000" y="15906"/>
                </a:cubicBezTo>
                <a:cubicBezTo>
                  <a:pt x="7031" y="15906"/>
                  <a:pt x="7063" y="15906"/>
                  <a:pt x="7094" y="15906"/>
                </a:cubicBezTo>
                <a:cubicBezTo>
                  <a:pt x="7063" y="15875"/>
                  <a:pt x="7063" y="15844"/>
                  <a:pt x="7063" y="15844"/>
                </a:cubicBezTo>
                <a:cubicBezTo>
                  <a:pt x="7031" y="15813"/>
                  <a:pt x="7031" y="15813"/>
                  <a:pt x="7031" y="15781"/>
                </a:cubicBezTo>
                <a:cubicBezTo>
                  <a:pt x="7000" y="15781"/>
                  <a:pt x="6969" y="15781"/>
                  <a:pt x="6969" y="15750"/>
                </a:cubicBezTo>
                <a:cubicBezTo>
                  <a:pt x="6969" y="15750"/>
                  <a:pt x="6969" y="15750"/>
                  <a:pt x="6969" y="15750"/>
                </a:cubicBezTo>
                <a:cubicBezTo>
                  <a:pt x="6969" y="15750"/>
                  <a:pt x="6969" y="15750"/>
                  <a:pt x="6969" y="15750"/>
                </a:cubicBezTo>
                <a:cubicBezTo>
                  <a:pt x="6969" y="15719"/>
                  <a:pt x="6969" y="15719"/>
                  <a:pt x="6969" y="15719"/>
                </a:cubicBezTo>
                <a:cubicBezTo>
                  <a:pt x="6969" y="15719"/>
                  <a:pt x="6969" y="15719"/>
                  <a:pt x="6969" y="15719"/>
                </a:cubicBezTo>
                <a:cubicBezTo>
                  <a:pt x="6969" y="15688"/>
                  <a:pt x="6969" y="15688"/>
                  <a:pt x="6938" y="15656"/>
                </a:cubicBezTo>
                <a:cubicBezTo>
                  <a:pt x="6906" y="15656"/>
                  <a:pt x="6875" y="15625"/>
                  <a:pt x="6875" y="15625"/>
                </a:cubicBezTo>
                <a:cubicBezTo>
                  <a:pt x="6875" y="15594"/>
                  <a:pt x="6875" y="15594"/>
                  <a:pt x="6875" y="15563"/>
                </a:cubicBezTo>
                <a:cubicBezTo>
                  <a:pt x="6875" y="15563"/>
                  <a:pt x="6875" y="15563"/>
                  <a:pt x="6875" y="15531"/>
                </a:cubicBezTo>
                <a:cubicBezTo>
                  <a:pt x="6875" y="15531"/>
                  <a:pt x="6875" y="15531"/>
                  <a:pt x="6844" y="15500"/>
                </a:cubicBezTo>
                <a:cubicBezTo>
                  <a:pt x="6813" y="15500"/>
                  <a:pt x="6781" y="15469"/>
                  <a:pt x="6750" y="15438"/>
                </a:cubicBezTo>
                <a:cubicBezTo>
                  <a:pt x="6656" y="15375"/>
                  <a:pt x="6594" y="15281"/>
                  <a:pt x="6531" y="15188"/>
                </a:cubicBezTo>
                <a:cubicBezTo>
                  <a:pt x="6531" y="15188"/>
                  <a:pt x="6531" y="15156"/>
                  <a:pt x="6500" y="15125"/>
                </a:cubicBezTo>
                <a:cubicBezTo>
                  <a:pt x="6344" y="14938"/>
                  <a:pt x="6156" y="14719"/>
                  <a:pt x="5938" y="14531"/>
                </a:cubicBezTo>
                <a:cubicBezTo>
                  <a:pt x="5844" y="14469"/>
                  <a:pt x="5781" y="14375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781" y="14250"/>
                  <a:pt x="5781" y="14250"/>
                  <a:pt x="5781" y="14250"/>
                </a:cubicBezTo>
                <a:cubicBezTo>
                  <a:pt x="5813" y="14250"/>
                  <a:pt x="5844" y="14250"/>
                  <a:pt x="5875" y="14281"/>
                </a:cubicBezTo>
                <a:cubicBezTo>
                  <a:pt x="5938" y="14313"/>
                  <a:pt x="6000" y="14375"/>
                  <a:pt x="6094" y="14375"/>
                </a:cubicBezTo>
                <a:cubicBezTo>
                  <a:pt x="5969" y="14250"/>
                  <a:pt x="5813" y="14156"/>
                  <a:pt x="5688" y="14063"/>
                </a:cubicBezTo>
                <a:cubicBezTo>
                  <a:pt x="5281" y="13750"/>
                  <a:pt x="4875" y="13438"/>
                  <a:pt x="4469" y="13188"/>
                </a:cubicBezTo>
                <a:cubicBezTo>
                  <a:pt x="3906" y="12813"/>
                  <a:pt x="3313" y="12500"/>
                  <a:pt x="2688" y="12219"/>
                </a:cubicBezTo>
                <a:cubicBezTo>
                  <a:pt x="2313" y="12031"/>
                  <a:pt x="1906" y="11906"/>
                  <a:pt x="1563" y="11656"/>
                </a:cubicBezTo>
                <a:cubicBezTo>
                  <a:pt x="1438" y="11563"/>
                  <a:pt x="1281" y="11500"/>
                  <a:pt x="1156" y="11438"/>
                </a:cubicBezTo>
                <a:cubicBezTo>
                  <a:pt x="1125" y="11438"/>
                  <a:pt x="1094" y="11438"/>
                  <a:pt x="1063" y="11406"/>
                </a:cubicBezTo>
                <a:cubicBezTo>
                  <a:pt x="1063" y="11406"/>
                  <a:pt x="1063" y="11406"/>
                  <a:pt x="1031" y="11406"/>
                </a:cubicBezTo>
                <a:cubicBezTo>
                  <a:pt x="1031" y="11406"/>
                  <a:pt x="1031" y="11406"/>
                  <a:pt x="1031" y="11406"/>
                </a:cubicBezTo>
                <a:cubicBezTo>
                  <a:pt x="1031" y="11406"/>
                  <a:pt x="1000" y="11375"/>
                  <a:pt x="969" y="11375"/>
                </a:cubicBezTo>
                <a:cubicBezTo>
                  <a:pt x="969" y="11375"/>
                  <a:pt x="969" y="11375"/>
                  <a:pt x="938" y="11344"/>
                </a:cubicBezTo>
                <a:cubicBezTo>
                  <a:pt x="875" y="11313"/>
                  <a:pt x="781" y="11219"/>
                  <a:pt x="656" y="11344"/>
                </a:cubicBezTo>
                <a:cubicBezTo>
                  <a:pt x="656" y="11344"/>
                  <a:pt x="625" y="11344"/>
                  <a:pt x="625" y="11344"/>
                </a:cubicBezTo>
                <a:cubicBezTo>
                  <a:pt x="469" y="11281"/>
                  <a:pt x="313" y="11188"/>
                  <a:pt x="156" y="11125"/>
                </a:cubicBezTo>
                <a:cubicBezTo>
                  <a:pt x="656" y="11125"/>
                  <a:pt x="1125" y="11219"/>
                  <a:pt x="1563" y="11438"/>
                </a:cubicBezTo>
                <a:cubicBezTo>
                  <a:pt x="1594" y="11438"/>
                  <a:pt x="1594" y="11438"/>
                  <a:pt x="1625" y="11438"/>
                </a:cubicBezTo>
                <a:cubicBezTo>
                  <a:pt x="1750" y="11500"/>
                  <a:pt x="1906" y="11500"/>
                  <a:pt x="2063" y="11594"/>
                </a:cubicBezTo>
                <a:cubicBezTo>
                  <a:pt x="2063" y="11594"/>
                  <a:pt x="2094" y="11594"/>
                  <a:pt x="2125" y="11625"/>
                </a:cubicBezTo>
                <a:cubicBezTo>
                  <a:pt x="2563" y="11781"/>
                  <a:pt x="3031" y="11938"/>
                  <a:pt x="3438" y="12219"/>
                </a:cubicBezTo>
                <a:cubicBezTo>
                  <a:pt x="3875" y="12469"/>
                  <a:pt x="4281" y="12750"/>
                  <a:pt x="4688" y="13031"/>
                </a:cubicBezTo>
                <a:cubicBezTo>
                  <a:pt x="5094" y="13344"/>
                  <a:pt x="5469" y="13656"/>
                  <a:pt x="5875" y="13938"/>
                </a:cubicBezTo>
                <a:cubicBezTo>
                  <a:pt x="5906" y="13969"/>
                  <a:pt x="5938" y="14000"/>
                  <a:pt x="5969" y="14031"/>
                </a:cubicBezTo>
                <a:cubicBezTo>
                  <a:pt x="6188" y="14219"/>
                  <a:pt x="6406" y="14406"/>
                  <a:pt x="6594" y="14656"/>
                </a:cubicBezTo>
                <a:cubicBezTo>
                  <a:pt x="6656" y="14719"/>
                  <a:pt x="6719" y="14813"/>
                  <a:pt x="6781" y="14875"/>
                </a:cubicBezTo>
                <a:cubicBezTo>
                  <a:pt x="6813" y="14906"/>
                  <a:pt x="6813" y="14938"/>
                  <a:pt x="6844" y="14969"/>
                </a:cubicBezTo>
                <a:cubicBezTo>
                  <a:pt x="7031" y="15156"/>
                  <a:pt x="7250" y="15281"/>
                  <a:pt x="7469" y="15438"/>
                </a:cubicBezTo>
                <a:cubicBezTo>
                  <a:pt x="7500" y="15469"/>
                  <a:pt x="7531" y="15469"/>
                  <a:pt x="7563" y="15500"/>
                </a:cubicBezTo>
                <a:cubicBezTo>
                  <a:pt x="7563" y="15531"/>
                  <a:pt x="7594" y="15531"/>
                  <a:pt x="7625" y="15563"/>
                </a:cubicBezTo>
                <a:cubicBezTo>
                  <a:pt x="7656" y="15625"/>
                  <a:pt x="7719" y="15688"/>
                  <a:pt x="7813" y="15688"/>
                </a:cubicBezTo>
                <a:cubicBezTo>
                  <a:pt x="7781" y="15500"/>
                  <a:pt x="7688" y="15313"/>
                  <a:pt x="7594" y="15156"/>
                </a:cubicBezTo>
                <a:cubicBezTo>
                  <a:pt x="7563" y="15094"/>
                  <a:pt x="7531" y="15031"/>
                  <a:pt x="7500" y="14969"/>
                </a:cubicBezTo>
                <a:cubicBezTo>
                  <a:pt x="7281" y="14594"/>
                  <a:pt x="7031" y="14219"/>
                  <a:pt x="6813" y="13844"/>
                </a:cubicBezTo>
                <a:cubicBezTo>
                  <a:pt x="6656" y="13719"/>
                  <a:pt x="6594" y="13531"/>
                  <a:pt x="6469" y="13406"/>
                </a:cubicBezTo>
                <a:cubicBezTo>
                  <a:pt x="6250" y="13219"/>
                  <a:pt x="6125" y="13000"/>
                  <a:pt x="5906" y="12813"/>
                </a:cubicBezTo>
                <a:cubicBezTo>
                  <a:pt x="5875" y="12781"/>
                  <a:pt x="5844" y="12750"/>
                  <a:pt x="5813" y="12719"/>
                </a:cubicBezTo>
                <a:cubicBezTo>
                  <a:pt x="5656" y="12438"/>
                  <a:pt x="5406" y="12219"/>
                  <a:pt x="5188" y="12000"/>
                </a:cubicBezTo>
                <a:cubicBezTo>
                  <a:pt x="5094" y="11875"/>
                  <a:pt x="5000" y="11781"/>
                  <a:pt x="4906" y="11688"/>
                </a:cubicBezTo>
                <a:cubicBezTo>
                  <a:pt x="5000" y="11719"/>
                  <a:pt x="5125" y="11781"/>
                  <a:pt x="5250" y="11781"/>
                </a:cubicBezTo>
                <a:cubicBezTo>
                  <a:pt x="5125" y="11594"/>
                  <a:pt x="4938" y="11438"/>
                  <a:pt x="4750" y="11313"/>
                </a:cubicBezTo>
                <a:cubicBezTo>
                  <a:pt x="4375" y="11031"/>
                  <a:pt x="3969" y="10781"/>
                  <a:pt x="3625" y="10500"/>
                </a:cubicBezTo>
                <a:cubicBezTo>
                  <a:pt x="3094" y="10094"/>
                  <a:pt x="2594" y="9656"/>
                  <a:pt x="2063" y="9250"/>
                </a:cubicBezTo>
                <a:cubicBezTo>
                  <a:pt x="1969" y="9156"/>
                  <a:pt x="1875" y="9063"/>
                  <a:pt x="1781" y="9000"/>
                </a:cubicBezTo>
                <a:cubicBezTo>
                  <a:pt x="1625" y="8844"/>
                  <a:pt x="1469" y="8688"/>
                  <a:pt x="1313" y="8531"/>
                </a:cubicBezTo>
                <a:cubicBezTo>
                  <a:pt x="1188" y="8438"/>
                  <a:pt x="1031" y="8375"/>
                  <a:pt x="906" y="8281"/>
                </a:cubicBezTo>
                <a:cubicBezTo>
                  <a:pt x="1031" y="8313"/>
                  <a:pt x="1188" y="8313"/>
                  <a:pt x="1313" y="8375"/>
                </a:cubicBezTo>
                <a:cubicBezTo>
                  <a:pt x="1719" y="8500"/>
                  <a:pt x="2063" y="8688"/>
                  <a:pt x="2406" y="8844"/>
                </a:cubicBezTo>
                <a:cubicBezTo>
                  <a:pt x="2438" y="8844"/>
                  <a:pt x="2438" y="8875"/>
                  <a:pt x="2469" y="8906"/>
                </a:cubicBezTo>
                <a:cubicBezTo>
                  <a:pt x="2469" y="8906"/>
                  <a:pt x="2469" y="8906"/>
                  <a:pt x="2469" y="8906"/>
                </a:cubicBezTo>
                <a:cubicBezTo>
                  <a:pt x="2531" y="8938"/>
                  <a:pt x="2563" y="8938"/>
                  <a:pt x="2625" y="8969"/>
                </a:cubicBezTo>
                <a:cubicBezTo>
                  <a:pt x="2750" y="9063"/>
                  <a:pt x="2906" y="9125"/>
                  <a:pt x="3031" y="9219"/>
                </a:cubicBezTo>
                <a:cubicBezTo>
                  <a:pt x="3031" y="9250"/>
                  <a:pt x="3031" y="9250"/>
                  <a:pt x="3031" y="9250"/>
                </a:cubicBezTo>
                <a:cubicBezTo>
                  <a:pt x="3031" y="9250"/>
                  <a:pt x="3031" y="9250"/>
                  <a:pt x="3031" y="9250"/>
                </a:cubicBezTo>
                <a:cubicBezTo>
                  <a:pt x="3063" y="9250"/>
                  <a:pt x="3063" y="9250"/>
                  <a:pt x="3063" y="9250"/>
                </a:cubicBezTo>
                <a:cubicBezTo>
                  <a:pt x="3063" y="9250"/>
                  <a:pt x="3063" y="9281"/>
                  <a:pt x="3094" y="9281"/>
                </a:cubicBezTo>
                <a:cubicBezTo>
                  <a:pt x="3125" y="9281"/>
                  <a:pt x="3156" y="9281"/>
                  <a:pt x="3188" y="9313"/>
                </a:cubicBezTo>
                <a:cubicBezTo>
                  <a:pt x="3219" y="9313"/>
                  <a:pt x="3219" y="9344"/>
                  <a:pt x="3219" y="9344"/>
                </a:cubicBezTo>
                <a:cubicBezTo>
                  <a:pt x="3469" y="9469"/>
                  <a:pt x="3656" y="9656"/>
                  <a:pt x="3844" y="9813"/>
                </a:cubicBezTo>
                <a:cubicBezTo>
                  <a:pt x="4219" y="10125"/>
                  <a:pt x="4594" y="10438"/>
                  <a:pt x="5000" y="10719"/>
                </a:cubicBezTo>
                <a:cubicBezTo>
                  <a:pt x="5344" y="11000"/>
                  <a:pt x="5719" y="11250"/>
                  <a:pt x="6000" y="11594"/>
                </a:cubicBezTo>
                <a:cubicBezTo>
                  <a:pt x="6250" y="11844"/>
                  <a:pt x="6438" y="12094"/>
                  <a:pt x="6656" y="12406"/>
                </a:cubicBezTo>
                <a:cubicBezTo>
                  <a:pt x="6906" y="12750"/>
                  <a:pt x="7156" y="13125"/>
                  <a:pt x="7469" y="13469"/>
                </a:cubicBezTo>
                <a:cubicBezTo>
                  <a:pt x="7531" y="13531"/>
                  <a:pt x="7594" y="13563"/>
                  <a:pt x="7656" y="13625"/>
                </a:cubicBezTo>
                <a:cubicBezTo>
                  <a:pt x="7750" y="13594"/>
                  <a:pt x="7688" y="13500"/>
                  <a:pt x="7750" y="13406"/>
                </a:cubicBezTo>
                <a:cubicBezTo>
                  <a:pt x="7750" y="13406"/>
                  <a:pt x="7781" y="13406"/>
                  <a:pt x="7781" y="13406"/>
                </a:cubicBezTo>
                <a:cubicBezTo>
                  <a:pt x="7813" y="13563"/>
                  <a:pt x="7969" y="13594"/>
                  <a:pt x="8031" y="13688"/>
                </a:cubicBezTo>
                <a:cubicBezTo>
                  <a:pt x="8063" y="13719"/>
                  <a:pt x="8094" y="13719"/>
                  <a:pt x="8125" y="13719"/>
                </a:cubicBezTo>
                <a:cubicBezTo>
                  <a:pt x="8125" y="13688"/>
                  <a:pt x="8156" y="13656"/>
                  <a:pt x="8125" y="13656"/>
                </a:cubicBezTo>
                <a:cubicBezTo>
                  <a:pt x="8094" y="13500"/>
                  <a:pt x="8125" y="13344"/>
                  <a:pt x="8094" y="13188"/>
                </a:cubicBezTo>
                <a:cubicBezTo>
                  <a:pt x="8094" y="13125"/>
                  <a:pt x="8063" y="13063"/>
                  <a:pt x="8125" y="13000"/>
                </a:cubicBezTo>
                <a:cubicBezTo>
                  <a:pt x="8188" y="12969"/>
                  <a:pt x="8219" y="13031"/>
                  <a:pt x="8281" y="13063"/>
                </a:cubicBezTo>
                <a:cubicBezTo>
                  <a:pt x="8375" y="13125"/>
                  <a:pt x="8469" y="13219"/>
                  <a:pt x="8563" y="13281"/>
                </a:cubicBezTo>
                <a:cubicBezTo>
                  <a:pt x="8594" y="13281"/>
                  <a:pt x="8594" y="13344"/>
                  <a:pt x="8656" y="13281"/>
                </a:cubicBezTo>
                <a:cubicBezTo>
                  <a:pt x="8688" y="13250"/>
                  <a:pt x="8688" y="13219"/>
                  <a:pt x="8656" y="13188"/>
                </a:cubicBezTo>
                <a:cubicBezTo>
                  <a:pt x="8594" y="13125"/>
                  <a:pt x="8594" y="13063"/>
                  <a:pt x="8563" y="13000"/>
                </a:cubicBezTo>
                <a:cubicBezTo>
                  <a:pt x="8531" y="12938"/>
                  <a:pt x="8469" y="12906"/>
                  <a:pt x="8375" y="12906"/>
                </a:cubicBezTo>
                <a:cubicBezTo>
                  <a:pt x="8313" y="12906"/>
                  <a:pt x="8281" y="12906"/>
                  <a:pt x="8219" y="12906"/>
                </a:cubicBezTo>
                <a:cubicBezTo>
                  <a:pt x="8094" y="12938"/>
                  <a:pt x="8000" y="13000"/>
                  <a:pt x="7875" y="12969"/>
                </a:cubicBezTo>
                <a:cubicBezTo>
                  <a:pt x="7844" y="12969"/>
                  <a:pt x="7813" y="12969"/>
                  <a:pt x="7813" y="13000"/>
                </a:cubicBezTo>
                <a:cubicBezTo>
                  <a:pt x="7750" y="13000"/>
                  <a:pt x="7719" y="13031"/>
                  <a:pt x="7719" y="13063"/>
                </a:cubicBezTo>
                <a:cubicBezTo>
                  <a:pt x="7688" y="13125"/>
                  <a:pt x="7688" y="13156"/>
                  <a:pt x="7656" y="13219"/>
                </a:cubicBezTo>
                <a:cubicBezTo>
                  <a:pt x="7656" y="13250"/>
                  <a:pt x="7688" y="13313"/>
                  <a:pt x="7625" y="13313"/>
                </a:cubicBezTo>
                <a:cubicBezTo>
                  <a:pt x="7563" y="13344"/>
                  <a:pt x="7531" y="13281"/>
                  <a:pt x="7500" y="13219"/>
                </a:cubicBezTo>
                <a:cubicBezTo>
                  <a:pt x="7313" y="12844"/>
                  <a:pt x="7031" y="12500"/>
                  <a:pt x="6719" y="12188"/>
                </a:cubicBezTo>
                <a:cubicBezTo>
                  <a:pt x="6625" y="12094"/>
                  <a:pt x="6625" y="11969"/>
                  <a:pt x="6531" y="11875"/>
                </a:cubicBezTo>
                <a:cubicBezTo>
                  <a:pt x="6250" y="11656"/>
                  <a:pt x="6000" y="11438"/>
                  <a:pt x="5750" y="11188"/>
                </a:cubicBezTo>
                <a:cubicBezTo>
                  <a:pt x="5469" y="10938"/>
                  <a:pt x="5156" y="10781"/>
                  <a:pt x="4906" y="10531"/>
                </a:cubicBezTo>
                <a:cubicBezTo>
                  <a:pt x="4844" y="10500"/>
                  <a:pt x="4813" y="10438"/>
                  <a:pt x="4813" y="10375"/>
                </a:cubicBezTo>
                <a:cubicBezTo>
                  <a:pt x="4688" y="10406"/>
                  <a:pt x="4625" y="10344"/>
                  <a:pt x="4563" y="10219"/>
                </a:cubicBezTo>
                <a:cubicBezTo>
                  <a:pt x="4594" y="10250"/>
                  <a:pt x="4594" y="10250"/>
                  <a:pt x="4625" y="10250"/>
                </a:cubicBezTo>
                <a:cubicBezTo>
                  <a:pt x="4688" y="10281"/>
                  <a:pt x="4781" y="10313"/>
                  <a:pt x="4813" y="10375"/>
                </a:cubicBezTo>
                <a:cubicBezTo>
                  <a:pt x="4938" y="10406"/>
                  <a:pt x="4938" y="10563"/>
                  <a:pt x="5094" y="10531"/>
                </a:cubicBezTo>
                <a:cubicBezTo>
                  <a:pt x="5094" y="10531"/>
                  <a:pt x="5094" y="10531"/>
                  <a:pt x="5094" y="10531"/>
                </a:cubicBezTo>
                <a:cubicBezTo>
                  <a:pt x="5094" y="10531"/>
                  <a:pt x="5094" y="10531"/>
                  <a:pt x="5094" y="10531"/>
                </a:cubicBezTo>
                <a:cubicBezTo>
                  <a:pt x="5094" y="10438"/>
                  <a:pt x="5000" y="10406"/>
                  <a:pt x="4938" y="10344"/>
                </a:cubicBezTo>
                <a:cubicBezTo>
                  <a:pt x="4906" y="10313"/>
                  <a:pt x="4875" y="10313"/>
                  <a:pt x="4875" y="10250"/>
                </a:cubicBezTo>
                <a:cubicBezTo>
                  <a:pt x="4875" y="10250"/>
                  <a:pt x="4875" y="10250"/>
                  <a:pt x="4875" y="10250"/>
                </a:cubicBezTo>
                <a:cubicBezTo>
                  <a:pt x="4844" y="10250"/>
                  <a:pt x="4813" y="10250"/>
                  <a:pt x="4813" y="10188"/>
                </a:cubicBezTo>
                <a:cubicBezTo>
                  <a:pt x="4781" y="10188"/>
                  <a:pt x="4781" y="10156"/>
                  <a:pt x="4750" y="10156"/>
                </a:cubicBezTo>
                <a:cubicBezTo>
                  <a:pt x="4750" y="10156"/>
                  <a:pt x="4719" y="10156"/>
                  <a:pt x="4719" y="10156"/>
                </a:cubicBezTo>
                <a:cubicBezTo>
                  <a:pt x="4688" y="10156"/>
                  <a:pt x="4688" y="10156"/>
                  <a:pt x="4688" y="10125"/>
                </a:cubicBezTo>
                <a:cubicBezTo>
                  <a:pt x="4688" y="10125"/>
                  <a:pt x="4688" y="10125"/>
                  <a:pt x="4688" y="10094"/>
                </a:cubicBezTo>
                <a:cubicBezTo>
                  <a:pt x="4688" y="10094"/>
                  <a:pt x="4656" y="10094"/>
                  <a:pt x="4656" y="10094"/>
                </a:cubicBezTo>
                <a:cubicBezTo>
                  <a:pt x="4656" y="10094"/>
                  <a:pt x="4656" y="10094"/>
                  <a:pt x="4625" y="10094"/>
                </a:cubicBezTo>
                <a:cubicBezTo>
                  <a:pt x="4625" y="10094"/>
                  <a:pt x="4625" y="10094"/>
                  <a:pt x="4625" y="10094"/>
                </a:cubicBezTo>
                <a:cubicBezTo>
                  <a:pt x="4438" y="9969"/>
                  <a:pt x="4281" y="9844"/>
                  <a:pt x="4094" y="9719"/>
                </a:cubicBezTo>
                <a:cubicBezTo>
                  <a:pt x="4281" y="9719"/>
                  <a:pt x="4438" y="9781"/>
                  <a:pt x="4594" y="9844"/>
                </a:cubicBezTo>
                <a:cubicBezTo>
                  <a:pt x="4625" y="9844"/>
                  <a:pt x="4656" y="9844"/>
                  <a:pt x="4656" y="9844"/>
                </a:cubicBezTo>
                <a:cubicBezTo>
                  <a:pt x="4656" y="9844"/>
                  <a:pt x="4688" y="9844"/>
                  <a:pt x="4688" y="9844"/>
                </a:cubicBezTo>
                <a:cubicBezTo>
                  <a:pt x="4688" y="9844"/>
                  <a:pt x="4688" y="9844"/>
                  <a:pt x="4688" y="9844"/>
                </a:cubicBezTo>
                <a:cubicBezTo>
                  <a:pt x="4688" y="9844"/>
                  <a:pt x="4688" y="9875"/>
                  <a:pt x="4688" y="9875"/>
                </a:cubicBezTo>
                <a:cubicBezTo>
                  <a:pt x="4781" y="9906"/>
                  <a:pt x="4875" y="9938"/>
                  <a:pt x="4969" y="9969"/>
                </a:cubicBezTo>
                <a:cubicBezTo>
                  <a:pt x="4938" y="9875"/>
                  <a:pt x="4906" y="9781"/>
                  <a:pt x="4844" y="9719"/>
                </a:cubicBezTo>
                <a:cubicBezTo>
                  <a:pt x="4813" y="9688"/>
                  <a:pt x="4781" y="9656"/>
                  <a:pt x="4719" y="9625"/>
                </a:cubicBezTo>
                <a:cubicBezTo>
                  <a:pt x="4656" y="9594"/>
                  <a:pt x="4594" y="9563"/>
                  <a:pt x="4625" y="9469"/>
                </a:cubicBezTo>
                <a:cubicBezTo>
                  <a:pt x="4625" y="9438"/>
                  <a:pt x="4625" y="9406"/>
                  <a:pt x="4594" y="9406"/>
                </a:cubicBezTo>
                <a:cubicBezTo>
                  <a:pt x="4375" y="9219"/>
                  <a:pt x="4156" y="9000"/>
                  <a:pt x="3875" y="8906"/>
                </a:cubicBezTo>
                <a:cubicBezTo>
                  <a:pt x="3563" y="8844"/>
                  <a:pt x="3313" y="8594"/>
                  <a:pt x="3000" y="8469"/>
                </a:cubicBezTo>
                <a:cubicBezTo>
                  <a:pt x="2875" y="8406"/>
                  <a:pt x="2750" y="8375"/>
                  <a:pt x="2625" y="8281"/>
                </a:cubicBezTo>
                <a:cubicBezTo>
                  <a:pt x="2375" y="8156"/>
                  <a:pt x="2125" y="8000"/>
                  <a:pt x="1875" y="7875"/>
                </a:cubicBezTo>
                <a:cubicBezTo>
                  <a:pt x="1938" y="7844"/>
                  <a:pt x="2063" y="7938"/>
                  <a:pt x="2063" y="7813"/>
                </a:cubicBezTo>
                <a:cubicBezTo>
                  <a:pt x="2063" y="7781"/>
                  <a:pt x="2156" y="7813"/>
                  <a:pt x="2188" y="7844"/>
                </a:cubicBezTo>
                <a:cubicBezTo>
                  <a:pt x="2219" y="7906"/>
                  <a:pt x="2313" y="7938"/>
                  <a:pt x="2344" y="7969"/>
                </a:cubicBezTo>
                <a:cubicBezTo>
                  <a:pt x="2375" y="7969"/>
                  <a:pt x="2406" y="8000"/>
                  <a:pt x="2406" y="8000"/>
                </a:cubicBezTo>
                <a:cubicBezTo>
                  <a:pt x="2469" y="7906"/>
                  <a:pt x="2531" y="8000"/>
                  <a:pt x="2594" y="8000"/>
                </a:cubicBezTo>
                <a:cubicBezTo>
                  <a:pt x="2781" y="8000"/>
                  <a:pt x="2969" y="8094"/>
                  <a:pt x="3125" y="8156"/>
                </a:cubicBezTo>
                <a:cubicBezTo>
                  <a:pt x="3438" y="8281"/>
                  <a:pt x="3719" y="8406"/>
                  <a:pt x="3969" y="8594"/>
                </a:cubicBezTo>
                <a:cubicBezTo>
                  <a:pt x="4031" y="8656"/>
                  <a:pt x="4063" y="8719"/>
                  <a:pt x="4125" y="8781"/>
                </a:cubicBezTo>
                <a:cubicBezTo>
                  <a:pt x="4313" y="8938"/>
                  <a:pt x="4531" y="9063"/>
                  <a:pt x="4781" y="9219"/>
                </a:cubicBezTo>
                <a:cubicBezTo>
                  <a:pt x="4906" y="9281"/>
                  <a:pt x="5031" y="9250"/>
                  <a:pt x="5156" y="9250"/>
                </a:cubicBezTo>
                <a:cubicBezTo>
                  <a:pt x="5188" y="9281"/>
                  <a:pt x="5188" y="9250"/>
                  <a:pt x="5219" y="9250"/>
                </a:cubicBezTo>
                <a:cubicBezTo>
                  <a:pt x="5219" y="9188"/>
                  <a:pt x="5188" y="9156"/>
                  <a:pt x="5156" y="9156"/>
                </a:cubicBezTo>
                <a:cubicBezTo>
                  <a:pt x="5000" y="9000"/>
                  <a:pt x="4938" y="8781"/>
                  <a:pt x="4813" y="8594"/>
                </a:cubicBezTo>
                <a:cubicBezTo>
                  <a:pt x="4813" y="8563"/>
                  <a:pt x="4813" y="8563"/>
                  <a:pt x="4844" y="8531"/>
                </a:cubicBezTo>
                <a:cubicBezTo>
                  <a:pt x="4938" y="8656"/>
                  <a:pt x="5031" y="8781"/>
                  <a:pt x="5125" y="8906"/>
                </a:cubicBezTo>
                <a:cubicBezTo>
                  <a:pt x="5219" y="9031"/>
                  <a:pt x="5313" y="9156"/>
                  <a:pt x="5438" y="9219"/>
                </a:cubicBezTo>
                <a:cubicBezTo>
                  <a:pt x="5438" y="9219"/>
                  <a:pt x="5438" y="9219"/>
                  <a:pt x="5438" y="9219"/>
                </a:cubicBezTo>
                <a:cubicBezTo>
                  <a:pt x="5438" y="9219"/>
                  <a:pt x="5438" y="9219"/>
                  <a:pt x="5438" y="9219"/>
                </a:cubicBezTo>
                <a:cubicBezTo>
                  <a:pt x="5438" y="9094"/>
                  <a:pt x="5313" y="9000"/>
                  <a:pt x="5250" y="8875"/>
                </a:cubicBezTo>
                <a:cubicBezTo>
                  <a:pt x="5094" y="8625"/>
                  <a:pt x="4875" y="8406"/>
                  <a:pt x="4688" y="8156"/>
                </a:cubicBezTo>
                <a:cubicBezTo>
                  <a:pt x="4656" y="8094"/>
                  <a:pt x="4594" y="8031"/>
                  <a:pt x="4594" y="7938"/>
                </a:cubicBezTo>
                <a:cubicBezTo>
                  <a:pt x="4563" y="7938"/>
                  <a:pt x="4531" y="7938"/>
                  <a:pt x="4531" y="7875"/>
                </a:cubicBezTo>
                <a:cubicBezTo>
                  <a:pt x="4531" y="7844"/>
                  <a:pt x="4531" y="7844"/>
                  <a:pt x="4563" y="7844"/>
                </a:cubicBezTo>
                <a:cubicBezTo>
                  <a:pt x="4594" y="7844"/>
                  <a:pt x="4594" y="7875"/>
                  <a:pt x="4594" y="7875"/>
                </a:cubicBezTo>
                <a:cubicBezTo>
                  <a:pt x="4594" y="7906"/>
                  <a:pt x="4594" y="7906"/>
                  <a:pt x="4594" y="7938"/>
                </a:cubicBezTo>
                <a:cubicBezTo>
                  <a:pt x="4594" y="7938"/>
                  <a:pt x="4594" y="7938"/>
                  <a:pt x="4594" y="7938"/>
                </a:cubicBezTo>
                <a:cubicBezTo>
                  <a:pt x="4625" y="7969"/>
                  <a:pt x="4688" y="8000"/>
                  <a:pt x="4719" y="8000"/>
                </a:cubicBezTo>
                <a:cubicBezTo>
                  <a:pt x="4750" y="8000"/>
                  <a:pt x="4781" y="7969"/>
                  <a:pt x="4813" y="7969"/>
                </a:cubicBezTo>
                <a:cubicBezTo>
                  <a:pt x="4844" y="7938"/>
                  <a:pt x="4875" y="7938"/>
                  <a:pt x="4906" y="7938"/>
                </a:cubicBezTo>
                <a:cubicBezTo>
                  <a:pt x="4906" y="7938"/>
                  <a:pt x="4906" y="7938"/>
                  <a:pt x="4906" y="7938"/>
                </a:cubicBezTo>
                <a:cubicBezTo>
                  <a:pt x="4875" y="7844"/>
                  <a:pt x="4813" y="7750"/>
                  <a:pt x="4719" y="7719"/>
                </a:cubicBezTo>
                <a:cubicBezTo>
                  <a:pt x="4656" y="7688"/>
                  <a:pt x="4656" y="7625"/>
                  <a:pt x="4656" y="7563"/>
                </a:cubicBezTo>
                <a:cubicBezTo>
                  <a:pt x="4656" y="7531"/>
                  <a:pt x="4688" y="7531"/>
                  <a:pt x="4719" y="7531"/>
                </a:cubicBezTo>
                <a:cubicBezTo>
                  <a:pt x="4781" y="7531"/>
                  <a:pt x="4844" y="7531"/>
                  <a:pt x="4875" y="7625"/>
                </a:cubicBezTo>
                <a:cubicBezTo>
                  <a:pt x="4875" y="7688"/>
                  <a:pt x="4906" y="7719"/>
                  <a:pt x="5000" y="7719"/>
                </a:cubicBezTo>
                <a:cubicBezTo>
                  <a:pt x="4969" y="7656"/>
                  <a:pt x="4906" y="7625"/>
                  <a:pt x="4938" y="7563"/>
                </a:cubicBezTo>
                <a:cubicBezTo>
                  <a:pt x="4969" y="7500"/>
                  <a:pt x="4781" y="7250"/>
                  <a:pt x="4719" y="7250"/>
                </a:cubicBezTo>
                <a:cubicBezTo>
                  <a:pt x="4625" y="7250"/>
                  <a:pt x="4688" y="7313"/>
                  <a:pt x="4656" y="7375"/>
                </a:cubicBezTo>
                <a:cubicBezTo>
                  <a:pt x="4500" y="7219"/>
                  <a:pt x="4344" y="7094"/>
                  <a:pt x="4188" y="6938"/>
                </a:cubicBezTo>
                <a:cubicBezTo>
                  <a:pt x="3688" y="6500"/>
                  <a:pt x="3219" y="6094"/>
                  <a:pt x="2688" y="5719"/>
                </a:cubicBezTo>
                <a:cubicBezTo>
                  <a:pt x="2688" y="5719"/>
                  <a:pt x="2656" y="5719"/>
                  <a:pt x="2656" y="5719"/>
                </a:cubicBezTo>
                <a:cubicBezTo>
                  <a:pt x="2625" y="5719"/>
                  <a:pt x="2625" y="5719"/>
                  <a:pt x="2625" y="5719"/>
                </a:cubicBezTo>
                <a:cubicBezTo>
                  <a:pt x="2625" y="5688"/>
                  <a:pt x="2625" y="5688"/>
                  <a:pt x="2625" y="5656"/>
                </a:cubicBezTo>
                <a:cubicBezTo>
                  <a:pt x="2625" y="5656"/>
                  <a:pt x="2594" y="5656"/>
                  <a:pt x="2594" y="5625"/>
                </a:cubicBezTo>
                <a:cubicBezTo>
                  <a:pt x="2563" y="5656"/>
                  <a:pt x="2531" y="5656"/>
                  <a:pt x="2531" y="5656"/>
                </a:cubicBezTo>
                <a:cubicBezTo>
                  <a:pt x="2500" y="5656"/>
                  <a:pt x="2500" y="5625"/>
                  <a:pt x="2500" y="5625"/>
                </a:cubicBezTo>
                <a:cubicBezTo>
                  <a:pt x="2500" y="5625"/>
                  <a:pt x="2469" y="5594"/>
                  <a:pt x="2469" y="5594"/>
                </a:cubicBezTo>
                <a:cubicBezTo>
                  <a:pt x="2469" y="5594"/>
                  <a:pt x="2469" y="5563"/>
                  <a:pt x="2469" y="5563"/>
                </a:cubicBezTo>
                <a:cubicBezTo>
                  <a:pt x="2469" y="5531"/>
                  <a:pt x="2438" y="5531"/>
                  <a:pt x="2438" y="5531"/>
                </a:cubicBezTo>
                <a:cubicBezTo>
                  <a:pt x="2406" y="5531"/>
                  <a:pt x="2406" y="5531"/>
                  <a:pt x="2375" y="5531"/>
                </a:cubicBezTo>
                <a:cubicBezTo>
                  <a:pt x="2375" y="5500"/>
                  <a:pt x="2375" y="5500"/>
                  <a:pt x="2375" y="5469"/>
                </a:cubicBezTo>
                <a:cubicBezTo>
                  <a:pt x="2344" y="5469"/>
                  <a:pt x="2313" y="5469"/>
                  <a:pt x="2313" y="5469"/>
                </a:cubicBezTo>
                <a:cubicBezTo>
                  <a:pt x="2281" y="5469"/>
                  <a:pt x="2250" y="5469"/>
                  <a:pt x="2250" y="5438"/>
                </a:cubicBezTo>
                <a:cubicBezTo>
                  <a:pt x="2219" y="5438"/>
                  <a:pt x="2188" y="5406"/>
                  <a:pt x="2188" y="5406"/>
                </a:cubicBezTo>
                <a:cubicBezTo>
                  <a:pt x="2188" y="5375"/>
                  <a:pt x="2156" y="5375"/>
                  <a:pt x="2156" y="5375"/>
                </a:cubicBezTo>
                <a:cubicBezTo>
                  <a:pt x="2156" y="5375"/>
                  <a:pt x="2156" y="5375"/>
                  <a:pt x="2156" y="5375"/>
                </a:cubicBezTo>
                <a:cubicBezTo>
                  <a:pt x="2156" y="5375"/>
                  <a:pt x="2156" y="5375"/>
                  <a:pt x="2156" y="5375"/>
                </a:cubicBezTo>
                <a:cubicBezTo>
                  <a:pt x="2031" y="5344"/>
                  <a:pt x="1938" y="5250"/>
                  <a:pt x="1844" y="5188"/>
                </a:cubicBezTo>
                <a:cubicBezTo>
                  <a:pt x="1813" y="5188"/>
                  <a:pt x="1813" y="5188"/>
                  <a:pt x="1781" y="5156"/>
                </a:cubicBezTo>
                <a:cubicBezTo>
                  <a:pt x="1594" y="5031"/>
                  <a:pt x="1375" y="4906"/>
                  <a:pt x="1219" y="4719"/>
                </a:cubicBezTo>
                <a:cubicBezTo>
                  <a:pt x="1156" y="4688"/>
                  <a:pt x="1125" y="4625"/>
                  <a:pt x="1188" y="4563"/>
                </a:cubicBezTo>
                <a:cubicBezTo>
                  <a:pt x="1219" y="4531"/>
                  <a:pt x="1281" y="4563"/>
                  <a:pt x="1313" y="4594"/>
                </a:cubicBezTo>
                <a:cubicBezTo>
                  <a:pt x="1656" y="4750"/>
                  <a:pt x="1938" y="4938"/>
                  <a:pt x="2250" y="5125"/>
                </a:cubicBezTo>
                <a:cubicBezTo>
                  <a:pt x="2656" y="5375"/>
                  <a:pt x="3125" y="5594"/>
                  <a:pt x="3563" y="5813"/>
                </a:cubicBezTo>
                <a:cubicBezTo>
                  <a:pt x="3750" y="5906"/>
                  <a:pt x="3938" y="6063"/>
                  <a:pt x="4125" y="6188"/>
                </a:cubicBezTo>
                <a:cubicBezTo>
                  <a:pt x="4375" y="6344"/>
                  <a:pt x="4594" y="6563"/>
                  <a:pt x="4844" y="6750"/>
                </a:cubicBezTo>
                <a:cubicBezTo>
                  <a:pt x="4906" y="6813"/>
                  <a:pt x="4938" y="6875"/>
                  <a:pt x="4813" y="6906"/>
                </a:cubicBezTo>
                <a:cubicBezTo>
                  <a:pt x="4781" y="7063"/>
                  <a:pt x="4906" y="7344"/>
                  <a:pt x="5063" y="7406"/>
                </a:cubicBezTo>
                <a:cubicBezTo>
                  <a:pt x="5063" y="7438"/>
                  <a:pt x="5094" y="7438"/>
                  <a:pt x="5125" y="7406"/>
                </a:cubicBezTo>
                <a:cubicBezTo>
                  <a:pt x="5156" y="7375"/>
                  <a:pt x="5125" y="7375"/>
                  <a:pt x="5094" y="7344"/>
                </a:cubicBezTo>
                <a:cubicBezTo>
                  <a:pt x="5063" y="7281"/>
                  <a:pt x="5031" y="7219"/>
                  <a:pt x="4969" y="7188"/>
                </a:cubicBezTo>
                <a:cubicBezTo>
                  <a:pt x="4969" y="7156"/>
                  <a:pt x="4969" y="7125"/>
                  <a:pt x="4969" y="7125"/>
                </a:cubicBezTo>
                <a:cubicBezTo>
                  <a:pt x="4969" y="7125"/>
                  <a:pt x="4969" y="7125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69" y="7094"/>
                  <a:pt x="4969" y="7094"/>
                  <a:pt x="4969" y="7094"/>
                </a:cubicBezTo>
                <a:cubicBezTo>
                  <a:pt x="4906" y="7094"/>
                  <a:pt x="4875" y="7063"/>
                  <a:pt x="4875" y="7031"/>
                </a:cubicBezTo>
                <a:cubicBezTo>
                  <a:pt x="4875" y="7000"/>
                  <a:pt x="4938" y="6969"/>
                  <a:pt x="4938" y="6969"/>
                </a:cubicBezTo>
                <a:cubicBezTo>
                  <a:pt x="5000" y="6906"/>
                  <a:pt x="5031" y="6938"/>
                  <a:pt x="5063" y="6969"/>
                </a:cubicBezTo>
                <a:cubicBezTo>
                  <a:pt x="5156" y="7063"/>
                  <a:pt x="5250" y="7156"/>
                  <a:pt x="5344" y="7219"/>
                </a:cubicBezTo>
                <a:cubicBezTo>
                  <a:pt x="5625" y="7500"/>
                  <a:pt x="5938" y="7750"/>
                  <a:pt x="6156" y="8063"/>
                </a:cubicBezTo>
                <a:cubicBezTo>
                  <a:pt x="6156" y="8063"/>
                  <a:pt x="6188" y="8094"/>
                  <a:pt x="6188" y="8094"/>
                </a:cubicBezTo>
                <a:cubicBezTo>
                  <a:pt x="6188" y="8094"/>
                  <a:pt x="6188" y="8094"/>
                  <a:pt x="6219" y="8094"/>
                </a:cubicBezTo>
                <a:cubicBezTo>
                  <a:pt x="6219" y="8094"/>
                  <a:pt x="6219" y="8094"/>
                  <a:pt x="6219" y="8094"/>
                </a:cubicBezTo>
                <a:cubicBezTo>
                  <a:pt x="6219" y="8094"/>
                  <a:pt x="6219" y="8094"/>
                  <a:pt x="6219" y="8125"/>
                </a:cubicBezTo>
                <a:cubicBezTo>
                  <a:pt x="6219" y="8125"/>
                  <a:pt x="6219" y="8125"/>
                  <a:pt x="6219" y="8125"/>
                </a:cubicBezTo>
                <a:cubicBezTo>
                  <a:pt x="6250" y="8125"/>
                  <a:pt x="6250" y="8156"/>
                  <a:pt x="6250" y="8156"/>
                </a:cubicBezTo>
                <a:cubicBezTo>
                  <a:pt x="6250" y="8156"/>
                  <a:pt x="6250" y="8156"/>
                  <a:pt x="6250" y="8156"/>
                </a:cubicBezTo>
                <a:cubicBezTo>
                  <a:pt x="6438" y="8281"/>
                  <a:pt x="6500" y="8469"/>
                  <a:pt x="6563" y="8688"/>
                </a:cubicBezTo>
                <a:cubicBezTo>
                  <a:pt x="6563" y="8781"/>
                  <a:pt x="6625" y="8875"/>
                  <a:pt x="6781" y="8938"/>
                </a:cubicBezTo>
                <a:cubicBezTo>
                  <a:pt x="6563" y="8594"/>
                  <a:pt x="6500" y="8250"/>
                  <a:pt x="6375" y="7875"/>
                </a:cubicBezTo>
                <a:cubicBezTo>
                  <a:pt x="6344" y="7844"/>
                  <a:pt x="6344" y="7781"/>
                  <a:pt x="6281" y="7750"/>
                </a:cubicBezTo>
                <a:cubicBezTo>
                  <a:pt x="6281" y="7750"/>
                  <a:pt x="6250" y="7719"/>
                  <a:pt x="6281" y="7688"/>
                </a:cubicBezTo>
                <a:cubicBezTo>
                  <a:pt x="6313" y="7656"/>
                  <a:pt x="6344" y="7688"/>
                  <a:pt x="6344" y="7719"/>
                </a:cubicBezTo>
                <a:cubicBezTo>
                  <a:pt x="6438" y="7844"/>
                  <a:pt x="6531" y="8000"/>
                  <a:pt x="6625" y="8125"/>
                </a:cubicBezTo>
                <a:cubicBezTo>
                  <a:pt x="6719" y="8219"/>
                  <a:pt x="6781" y="8281"/>
                  <a:pt x="6844" y="8344"/>
                </a:cubicBezTo>
                <a:cubicBezTo>
                  <a:pt x="6875" y="8406"/>
                  <a:pt x="6906" y="8438"/>
                  <a:pt x="6938" y="8469"/>
                </a:cubicBezTo>
                <a:cubicBezTo>
                  <a:pt x="6969" y="8531"/>
                  <a:pt x="7031" y="8625"/>
                  <a:pt x="7188" y="8656"/>
                </a:cubicBezTo>
                <a:cubicBezTo>
                  <a:pt x="7281" y="8656"/>
                  <a:pt x="7344" y="8813"/>
                  <a:pt x="7406" y="8906"/>
                </a:cubicBezTo>
                <a:cubicBezTo>
                  <a:pt x="7531" y="9125"/>
                  <a:pt x="7688" y="9313"/>
                  <a:pt x="7781" y="9531"/>
                </a:cubicBezTo>
                <a:cubicBezTo>
                  <a:pt x="7781" y="9594"/>
                  <a:pt x="7813" y="9656"/>
                  <a:pt x="7844" y="9688"/>
                </a:cubicBezTo>
                <a:cubicBezTo>
                  <a:pt x="7844" y="9750"/>
                  <a:pt x="7875" y="9719"/>
                  <a:pt x="7906" y="9688"/>
                </a:cubicBezTo>
                <a:cubicBezTo>
                  <a:pt x="7750" y="9281"/>
                  <a:pt x="7531" y="8906"/>
                  <a:pt x="7313" y="8500"/>
                </a:cubicBezTo>
                <a:cubicBezTo>
                  <a:pt x="7063" y="8063"/>
                  <a:pt x="6750" y="7625"/>
                  <a:pt x="6438" y="7188"/>
                </a:cubicBezTo>
                <a:cubicBezTo>
                  <a:pt x="6406" y="7094"/>
                  <a:pt x="6313" y="7031"/>
                  <a:pt x="6281" y="6938"/>
                </a:cubicBezTo>
                <a:cubicBezTo>
                  <a:pt x="6250" y="6844"/>
                  <a:pt x="6250" y="6813"/>
                  <a:pt x="6344" y="6781"/>
                </a:cubicBezTo>
                <a:cubicBezTo>
                  <a:pt x="6438" y="6719"/>
                  <a:pt x="6500" y="6656"/>
                  <a:pt x="6406" y="6531"/>
                </a:cubicBezTo>
                <a:cubicBezTo>
                  <a:pt x="6375" y="6469"/>
                  <a:pt x="6313" y="6438"/>
                  <a:pt x="6250" y="6500"/>
                </a:cubicBezTo>
                <a:cubicBezTo>
                  <a:pt x="6219" y="6500"/>
                  <a:pt x="6156" y="6500"/>
                  <a:pt x="6125" y="6531"/>
                </a:cubicBezTo>
                <a:cubicBezTo>
                  <a:pt x="6125" y="6531"/>
                  <a:pt x="6094" y="6531"/>
                  <a:pt x="6094" y="6531"/>
                </a:cubicBezTo>
                <a:cubicBezTo>
                  <a:pt x="6094" y="6531"/>
                  <a:pt x="6094" y="6500"/>
                  <a:pt x="6094" y="6500"/>
                </a:cubicBezTo>
                <a:cubicBezTo>
                  <a:pt x="6094" y="6500"/>
                  <a:pt x="6094" y="6500"/>
                  <a:pt x="6094" y="6500"/>
                </a:cubicBezTo>
                <a:cubicBezTo>
                  <a:pt x="6156" y="6406"/>
                  <a:pt x="6188" y="6313"/>
                  <a:pt x="6156" y="6250"/>
                </a:cubicBezTo>
                <a:cubicBezTo>
                  <a:pt x="6125" y="6219"/>
                  <a:pt x="6125" y="6188"/>
                  <a:pt x="6094" y="6188"/>
                </a:cubicBezTo>
                <a:cubicBezTo>
                  <a:pt x="6063" y="6156"/>
                  <a:pt x="6031" y="6156"/>
                  <a:pt x="6031" y="6188"/>
                </a:cubicBezTo>
                <a:cubicBezTo>
                  <a:pt x="5906" y="6250"/>
                  <a:pt x="5844" y="6219"/>
                  <a:pt x="5781" y="6094"/>
                </a:cubicBezTo>
                <a:cubicBezTo>
                  <a:pt x="5750" y="6063"/>
                  <a:pt x="5719" y="6000"/>
                  <a:pt x="5688" y="5969"/>
                </a:cubicBezTo>
                <a:cubicBezTo>
                  <a:pt x="5656" y="5906"/>
                  <a:pt x="5625" y="5875"/>
                  <a:pt x="5594" y="5813"/>
                </a:cubicBezTo>
                <a:cubicBezTo>
                  <a:pt x="5563" y="5813"/>
                  <a:pt x="5531" y="5813"/>
                  <a:pt x="5500" y="5813"/>
                </a:cubicBezTo>
                <a:cubicBezTo>
                  <a:pt x="5469" y="5813"/>
                  <a:pt x="5469" y="5781"/>
                  <a:pt x="5469" y="5719"/>
                </a:cubicBezTo>
                <a:cubicBezTo>
                  <a:pt x="5469" y="5719"/>
                  <a:pt x="5469" y="5719"/>
                  <a:pt x="5469" y="5719"/>
                </a:cubicBezTo>
                <a:cubicBezTo>
                  <a:pt x="5438" y="5719"/>
                  <a:pt x="5406" y="5688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406" y="5625"/>
                  <a:pt x="5406" y="5625"/>
                </a:cubicBezTo>
                <a:cubicBezTo>
                  <a:pt x="5406" y="5625"/>
                  <a:pt x="5375" y="5625"/>
                  <a:pt x="5375" y="5594"/>
                </a:cubicBezTo>
                <a:cubicBezTo>
                  <a:pt x="5375" y="5594"/>
                  <a:pt x="5375" y="5594"/>
                  <a:pt x="5375" y="5594"/>
                </a:cubicBezTo>
                <a:cubicBezTo>
                  <a:pt x="5375" y="5594"/>
                  <a:pt x="5375" y="5594"/>
                  <a:pt x="5375" y="5594"/>
                </a:cubicBezTo>
                <a:cubicBezTo>
                  <a:pt x="5375" y="5594"/>
                  <a:pt x="5375" y="5563"/>
                  <a:pt x="5344" y="5563"/>
                </a:cubicBezTo>
                <a:cubicBezTo>
                  <a:pt x="5344" y="5531"/>
                  <a:pt x="5344" y="5531"/>
                  <a:pt x="5344" y="5500"/>
                </a:cubicBezTo>
                <a:cubicBezTo>
                  <a:pt x="5219" y="5313"/>
                  <a:pt x="5063" y="5125"/>
                  <a:pt x="4906" y="4938"/>
                </a:cubicBezTo>
                <a:cubicBezTo>
                  <a:pt x="4594" y="4563"/>
                  <a:pt x="4250" y="4188"/>
                  <a:pt x="3906" y="3844"/>
                </a:cubicBezTo>
                <a:cubicBezTo>
                  <a:pt x="3719" y="3656"/>
                  <a:pt x="3531" y="3438"/>
                  <a:pt x="3344" y="3250"/>
                </a:cubicBezTo>
                <a:cubicBezTo>
                  <a:pt x="3313" y="3250"/>
                  <a:pt x="3313" y="3219"/>
                  <a:pt x="3313" y="3219"/>
                </a:cubicBezTo>
                <a:cubicBezTo>
                  <a:pt x="3281" y="3219"/>
                  <a:pt x="3281" y="3219"/>
                  <a:pt x="3250" y="3188"/>
                </a:cubicBezTo>
                <a:cubicBezTo>
                  <a:pt x="3250" y="3188"/>
                  <a:pt x="3250" y="3188"/>
                  <a:pt x="3219" y="3188"/>
                </a:cubicBezTo>
                <a:cubicBezTo>
                  <a:pt x="3188" y="3156"/>
                  <a:pt x="3156" y="3125"/>
                  <a:pt x="3156" y="3094"/>
                </a:cubicBezTo>
                <a:cubicBezTo>
                  <a:pt x="3125" y="3094"/>
                  <a:pt x="3094" y="3094"/>
                  <a:pt x="3094" y="3063"/>
                </a:cubicBezTo>
                <a:cubicBezTo>
                  <a:pt x="3094" y="3063"/>
                  <a:pt x="3094" y="3031"/>
                  <a:pt x="3094" y="3031"/>
                </a:cubicBezTo>
                <a:cubicBezTo>
                  <a:pt x="3063" y="3031"/>
                  <a:pt x="3063" y="3000"/>
                  <a:pt x="3031" y="3000"/>
                </a:cubicBezTo>
                <a:cubicBezTo>
                  <a:pt x="3031" y="3000"/>
                  <a:pt x="3000" y="2969"/>
                  <a:pt x="3000" y="2969"/>
                </a:cubicBezTo>
                <a:cubicBezTo>
                  <a:pt x="2938" y="2938"/>
                  <a:pt x="2906" y="2906"/>
                  <a:pt x="2875" y="2875"/>
                </a:cubicBezTo>
                <a:cubicBezTo>
                  <a:pt x="2844" y="2844"/>
                  <a:pt x="2813" y="2813"/>
                  <a:pt x="2750" y="2781"/>
                </a:cubicBezTo>
                <a:cubicBezTo>
                  <a:pt x="2750" y="2750"/>
                  <a:pt x="2719" y="2750"/>
                  <a:pt x="2688" y="2719"/>
                </a:cubicBezTo>
                <a:cubicBezTo>
                  <a:pt x="2344" y="2438"/>
                  <a:pt x="1969" y="2219"/>
                  <a:pt x="1625" y="1938"/>
                </a:cubicBezTo>
                <a:cubicBezTo>
                  <a:pt x="1594" y="1875"/>
                  <a:pt x="1500" y="1875"/>
                  <a:pt x="1531" y="1781"/>
                </a:cubicBezTo>
                <a:cubicBezTo>
                  <a:pt x="1594" y="1688"/>
                  <a:pt x="1656" y="1719"/>
                  <a:pt x="1750" y="1750"/>
                </a:cubicBezTo>
                <a:cubicBezTo>
                  <a:pt x="2219" y="1938"/>
                  <a:pt x="2656" y="2188"/>
                  <a:pt x="3063" y="2500"/>
                </a:cubicBezTo>
                <a:cubicBezTo>
                  <a:pt x="3188" y="2625"/>
                  <a:pt x="3313" y="2688"/>
                  <a:pt x="3406" y="2813"/>
                </a:cubicBezTo>
                <a:cubicBezTo>
                  <a:pt x="3406" y="2813"/>
                  <a:pt x="3406" y="2813"/>
                  <a:pt x="3438" y="2813"/>
                </a:cubicBezTo>
                <a:cubicBezTo>
                  <a:pt x="3563" y="2875"/>
                  <a:pt x="3625" y="2969"/>
                  <a:pt x="3719" y="3063"/>
                </a:cubicBezTo>
                <a:cubicBezTo>
                  <a:pt x="3719" y="3063"/>
                  <a:pt x="3719" y="3094"/>
                  <a:pt x="3719" y="3094"/>
                </a:cubicBezTo>
                <a:cubicBezTo>
                  <a:pt x="3875" y="3188"/>
                  <a:pt x="4031" y="3313"/>
                  <a:pt x="4156" y="3469"/>
                </a:cubicBezTo>
                <a:cubicBezTo>
                  <a:pt x="4219" y="3500"/>
                  <a:pt x="4250" y="3563"/>
                  <a:pt x="4281" y="3625"/>
                </a:cubicBezTo>
                <a:cubicBezTo>
                  <a:pt x="4281" y="3625"/>
                  <a:pt x="4281" y="3625"/>
                  <a:pt x="4281" y="3625"/>
                </a:cubicBezTo>
                <a:cubicBezTo>
                  <a:pt x="4281" y="3625"/>
                  <a:pt x="4313" y="3625"/>
                  <a:pt x="4313" y="3625"/>
                </a:cubicBezTo>
                <a:cubicBezTo>
                  <a:pt x="4375" y="3625"/>
                  <a:pt x="4406" y="3656"/>
                  <a:pt x="4438" y="3719"/>
                </a:cubicBezTo>
                <a:cubicBezTo>
                  <a:pt x="4438" y="3719"/>
                  <a:pt x="4469" y="3719"/>
                  <a:pt x="4469" y="3750"/>
                </a:cubicBezTo>
                <a:cubicBezTo>
                  <a:pt x="4469" y="3750"/>
                  <a:pt x="4469" y="3750"/>
                  <a:pt x="4500" y="3750"/>
                </a:cubicBezTo>
                <a:cubicBezTo>
                  <a:pt x="4594" y="3875"/>
                  <a:pt x="4688" y="3969"/>
                  <a:pt x="4813" y="4094"/>
                </a:cubicBezTo>
                <a:cubicBezTo>
                  <a:pt x="5000" y="4281"/>
                  <a:pt x="5219" y="4500"/>
                  <a:pt x="5406" y="4719"/>
                </a:cubicBezTo>
                <a:cubicBezTo>
                  <a:pt x="5750" y="5063"/>
                  <a:pt x="6094" y="5406"/>
                  <a:pt x="6406" y="5781"/>
                </a:cubicBezTo>
                <a:cubicBezTo>
                  <a:pt x="6625" y="6063"/>
                  <a:pt x="6844" y="6281"/>
                  <a:pt x="7063" y="6563"/>
                </a:cubicBezTo>
                <a:cubicBezTo>
                  <a:pt x="7063" y="6594"/>
                  <a:pt x="7063" y="6594"/>
                  <a:pt x="7094" y="6594"/>
                </a:cubicBezTo>
                <a:cubicBezTo>
                  <a:pt x="7094" y="6625"/>
                  <a:pt x="7125" y="6656"/>
                  <a:pt x="7156" y="6656"/>
                </a:cubicBezTo>
                <a:cubicBezTo>
                  <a:pt x="7188" y="6688"/>
                  <a:pt x="7188" y="6688"/>
                  <a:pt x="7219" y="6719"/>
                </a:cubicBezTo>
                <a:cubicBezTo>
                  <a:pt x="7281" y="6688"/>
                  <a:pt x="7313" y="6656"/>
                  <a:pt x="7313" y="6625"/>
                </a:cubicBezTo>
                <a:cubicBezTo>
                  <a:pt x="7313" y="6594"/>
                  <a:pt x="7313" y="6563"/>
                  <a:pt x="7281" y="6531"/>
                </a:cubicBezTo>
                <a:cubicBezTo>
                  <a:pt x="7281" y="6531"/>
                  <a:pt x="7281" y="6531"/>
                  <a:pt x="7281" y="6531"/>
                </a:cubicBezTo>
                <a:cubicBezTo>
                  <a:pt x="7281" y="6500"/>
                  <a:pt x="7250" y="6500"/>
                  <a:pt x="7250" y="6469"/>
                </a:cubicBezTo>
                <a:cubicBezTo>
                  <a:pt x="7281" y="6438"/>
                  <a:pt x="7281" y="6406"/>
                  <a:pt x="7313" y="6406"/>
                </a:cubicBezTo>
                <a:cubicBezTo>
                  <a:pt x="7313" y="6406"/>
                  <a:pt x="7313" y="6406"/>
                  <a:pt x="7313" y="6406"/>
                </a:cubicBezTo>
                <a:cubicBezTo>
                  <a:pt x="7281" y="6281"/>
                  <a:pt x="7438" y="6344"/>
                  <a:pt x="7469" y="6281"/>
                </a:cubicBezTo>
                <a:cubicBezTo>
                  <a:pt x="7313" y="6188"/>
                  <a:pt x="7344" y="6063"/>
                  <a:pt x="7344" y="5906"/>
                </a:cubicBezTo>
                <a:cubicBezTo>
                  <a:pt x="7344" y="5844"/>
                  <a:pt x="7375" y="5781"/>
                  <a:pt x="7313" y="5688"/>
                </a:cubicBezTo>
                <a:cubicBezTo>
                  <a:pt x="7281" y="5594"/>
                  <a:pt x="7438" y="5594"/>
                  <a:pt x="7469" y="5531"/>
                </a:cubicBezTo>
                <a:cubicBezTo>
                  <a:pt x="7469" y="5531"/>
                  <a:pt x="7531" y="5531"/>
                  <a:pt x="7531" y="5531"/>
                </a:cubicBezTo>
                <a:cubicBezTo>
                  <a:pt x="7531" y="5500"/>
                  <a:pt x="7531" y="5500"/>
                  <a:pt x="7531" y="5469"/>
                </a:cubicBezTo>
                <a:cubicBezTo>
                  <a:pt x="7500" y="5438"/>
                  <a:pt x="7469" y="5406"/>
                  <a:pt x="7438" y="5344"/>
                </a:cubicBezTo>
                <a:cubicBezTo>
                  <a:pt x="7438" y="5344"/>
                  <a:pt x="7438" y="5344"/>
                  <a:pt x="7438" y="5344"/>
                </a:cubicBezTo>
                <a:cubicBezTo>
                  <a:pt x="7438" y="5344"/>
                  <a:pt x="7438" y="5344"/>
                  <a:pt x="7438" y="5313"/>
                </a:cubicBezTo>
                <a:cubicBezTo>
                  <a:pt x="7406" y="5313"/>
                  <a:pt x="7406" y="5281"/>
                  <a:pt x="7406" y="5250"/>
                </a:cubicBezTo>
                <a:cubicBezTo>
                  <a:pt x="7406" y="5250"/>
                  <a:pt x="7406" y="5250"/>
                  <a:pt x="7406" y="5250"/>
                </a:cubicBezTo>
                <a:cubicBezTo>
                  <a:pt x="7375" y="5250"/>
                  <a:pt x="7375" y="5250"/>
                  <a:pt x="7375" y="5219"/>
                </a:cubicBezTo>
                <a:cubicBezTo>
                  <a:pt x="7344" y="5188"/>
                  <a:pt x="7344" y="5156"/>
                  <a:pt x="7313" y="5125"/>
                </a:cubicBezTo>
                <a:cubicBezTo>
                  <a:pt x="7281" y="5125"/>
                  <a:pt x="7281" y="5125"/>
                  <a:pt x="7250" y="5094"/>
                </a:cubicBezTo>
                <a:cubicBezTo>
                  <a:pt x="7250" y="5094"/>
                  <a:pt x="7250" y="5063"/>
                  <a:pt x="7250" y="5063"/>
                </a:cubicBezTo>
                <a:cubicBezTo>
                  <a:pt x="7250" y="5063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50" y="5031"/>
                  <a:pt x="7250" y="5031"/>
                  <a:pt x="7250" y="5031"/>
                </a:cubicBezTo>
                <a:cubicBezTo>
                  <a:pt x="7219" y="5031"/>
                  <a:pt x="7219" y="5000"/>
                  <a:pt x="7219" y="5000"/>
                </a:cubicBezTo>
                <a:cubicBezTo>
                  <a:pt x="7219" y="5000"/>
                  <a:pt x="7219" y="4969"/>
                  <a:pt x="7219" y="4969"/>
                </a:cubicBezTo>
                <a:cubicBezTo>
                  <a:pt x="7219" y="4969"/>
                  <a:pt x="7219" y="4969"/>
                  <a:pt x="7188" y="4969"/>
                </a:cubicBezTo>
                <a:cubicBezTo>
                  <a:pt x="7188" y="4969"/>
                  <a:pt x="7188" y="4938"/>
                  <a:pt x="7156" y="4906"/>
                </a:cubicBezTo>
                <a:cubicBezTo>
                  <a:pt x="7156" y="4906"/>
                  <a:pt x="7156" y="4906"/>
                  <a:pt x="7156" y="4875"/>
                </a:cubicBezTo>
                <a:cubicBezTo>
                  <a:pt x="7156" y="4875"/>
                  <a:pt x="7156" y="4875"/>
                  <a:pt x="7156" y="4875"/>
                </a:cubicBezTo>
                <a:cubicBezTo>
                  <a:pt x="7125" y="4875"/>
                  <a:pt x="7094" y="4875"/>
                  <a:pt x="7094" y="4813"/>
                </a:cubicBezTo>
                <a:cubicBezTo>
                  <a:pt x="7094" y="4781"/>
                  <a:pt x="7063" y="4781"/>
                  <a:pt x="7031" y="4750"/>
                </a:cubicBezTo>
                <a:cubicBezTo>
                  <a:pt x="6938" y="4625"/>
                  <a:pt x="6844" y="4500"/>
                  <a:pt x="6750" y="4375"/>
                </a:cubicBezTo>
                <a:cubicBezTo>
                  <a:pt x="6656" y="4250"/>
                  <a:pt x="6531" y="4094"/>
                  <a:pt x="6438" y="3969"/>
                </a:cubicBezTo>
                <a:cubicBezTo>
                  <a:pt x="6219" y="3719"/>
                  <a:pt x="6063" y="3406"/>
                  <a:pt x="5813" y="3156"/>
                </a:cubicBezTo>
                <a:cubicBezTo>
                  <a:pt x="5688" y="3063"/>
                  <a:pt x="5688" y="2875"/>
                  <a:pt x="5594" y="2750"/>
                </a:cubicBezTo>
                <a:cubicBezTo>
                  <a:pt x="5563" y="2750"/>
                  <a:pt x="5563" y="2719"/>
                  <a:pt x="5594" y="2688"/>
                </a:cubicBezTo>
                <a:cubicBezTo>
                  <a:pt x="5656" y="2625"/>
                  <a:pt x="5656" y="2625"/>
                  <a:pt x="5594" y="2531"/>
                </a:cubicBezTo>
                <a:cubicBezTo>
                  <a:pt x="5656" y="2500"/>
                  <a:pt x="5719" y="2531"/>
                  <a:pt x="5750" y="2563"/>
                </a:cubicBezTo>
                <a:cubicBezTo>
                  <a:pt x="6031" y="2844"/>
                  <a:pt x="6313" y="3094"/>
                  <a:pt x="6531" y="3406"/>
                </a:cubicBezTo>
                <a:cubicBezTo>
                  <a:pt x="6656" y="3563"/>
                  <a:pt x="6875" y="3656"/>
                  <a:pt x="6969" y="3844"/>
                </a:cubicBezTo>
                <a:cubicBezTo>
                  <a:pt x="7063" y="3938"/>
                  <a:pt x="7188" y="4031"/>
                  <a:pt x="7219" y="4156"/>
                </a:cubicBezTo>
                <a:cubicBezTo>
                  <a:pt x="7250" y="4188"/>
                  <a:pt x="7281" y="4219"/>
                  <a:pt x="7313" y="4250"/>
                </a:cubicBezTo>
                <a:cubicBezTo>
                  <a:pt x="7375" y="4156"/>
                  <a:pt x="7344" y="4063"/>
                  <a:pt x="7313" y="4000"/>
                </a:cubicBezTo>
                <a:cubicBezTo>
                  <a:pt x="7313" y="3969"/>
                  <a:pt x="7313" y="3938"/>
                  <a:pt x="7313" y="3938"/>
                </a:cubicBezTo>
                <a:cubicBezTo>
                  <a:pt x="7313" y="3906"/>
                  <a:pt x="7313" y="3906"/>
                  <a:pt x="7281" y="3875"/>
                </a:cubicBezTo>
                <a:cubicBezTo>
                  <a:pt x="7281" y="3781"/>
                  <a:pt x="7250" y="3688"/>
                  <a:pt x="7250" y="3594"/>
                </a:cubicBezTo>
                <a:cubicBezTo>
                  <a:pt x="7219" y="3500"/>
                  <a:pt x="7250" y="3438"/>
                  <a:pt x="7250" y="3344"/>
                </a:cubicBezTo>
                <a:cubicBezTo>
                  <a:pt x="7250" y="3344"/>
                  <a:pt x="7250" y="3344"/>
                  <a:pt x="7250" y="3344"/>
                </a:cubicBezTo>
                <a:cubicBezTo>
                  <a:pt x="7250" y="3344"/>
                  <a:pt x="7250" y="3344"/>
                  <a:pt x="7250" y="3344"/>
                </a:cubicBezTo>
                <a:cubicBezTo>
                  <a:pt x="7250" y="3344"/>
                  <a:pt x="7250" y="3344"/>
                  <a:pt x="7250" y="3313"/>
                </a:cubicBezTo>
                <a:cubicBezTo>
                  <a:pt x="7250" y="3313"/>
                  <a:pt x="7250" y="3313"/>
                  <a:pt x="7219" y="3313"/>
                </a:cubicBezTo>
                <a:cubicBezTo>
                  <a:pt x="7219" y="3281"/>
                  <a:pt x="7219" y="3281"/>
                  <a:pt x="7219" y="3250"/>
                </a:cubicBezTo>
                <a:cubicBezTo>
                  <a:pt x="7219" y="3250"/>
                  <a:pt x="7219" y="3219"/>
                  <a:pt x="7219" y="3219"/>
                </a:cubicBezTo>
                <a:cubicBezTo>
                  <a:pt x="7219" y="3219"/>
                  <a:pt x="7219" y="3219"/>
                  <a:pt x="7219" y="3219"/>
                </a:cubicBezTo>
                <a:cubicBezTo>
                  <a:pt x="7219" y="3219"/>
                  <a:pt x="7219" y="3188"/>
                  <a:pt x="7219" y="3188"/>
                </a:cubicBezTo>
                <a:cubicBezTo>
                  <a:pt x="7219" y="3188"/>
                  <a:pt x="7219" y="3188"/>
                  <a:pt x="7188" y="3188"/>
                </a:cubicBezTo>
                <a:cubicBezTo>
                  <a:pt x="7188" y="3188"/>
                  <a:pt x="7188" y="3156"/>
                  <a:pt x="7188" y="3156"/>
                </a:cubicBezTo>
                <a:cubicBezTo>
                  <a:pt x="7188" y="3156"/>
                  <a:pt x="7188" y="3156"/>
                  <a:pt x="7188" y="3156"/>
                </a:cubicBezTo>
                <a:cubicBezTo>
                  <a:pt x="7156" y="3125"/>
                  <a:pt x="7188" y="3125"/>
                  <a:pt x="7188" y="3125"/>
                </a:cubicBezTo>
                <a:cubicBezTo>
                  <a:pt x="7125" y="3031"/>
                  <a:pt x="7094" y="2938"/>
                  <a:pt x="7031" y="2844"/>
                </a:cubicBezTo>
                <a:cubicBezTo>
                  <a:pt x="7000" y="2750"/>
                  <a:pt x="6969" y="2688"/>
                  <a:pt x="6938" y="2625"/>
                </a:cubicBezTo>
                <a:cubicBezTo>
                  <a:pt x="6938" y="2594"/>
                  <a:pt x="6906" y="2531"/>
                  <a:pt x="6906" y="2500"/>
                </a:cubicBezTo>
                <a:cubicBezTo>
                  <a:pt x="6813" y="2313"/>
                  <a:pt x="6719" y="2156"/>
                  <a:pt x="6625" y="2000"/>
                </a:cubicBezTo>
                <a:cubicBezTo>
                  <a:pt x="6563" y="1969"/>
                  <a:pt x="6563" y="1938"/>
                  <a:pt x="6563" y="1906"/>
                </a:cubicBezTo>
                <a:cubicBezTo>
                  <a:pt x="6563" y="1875"/>
                  <a:pt x="6531" y="1844"/>
                  <a:pt x="6531" y="1813"/>
                </a:cubicBezTo>
                <a:cubicBezTo>
                  <a:pt x="6344" y="1563"/>
                  <a:pt x="6188" y="1344"/>
                  <a:pt x="6000" y="1125"/>
                </a:cubicBezTo>
                <a:cubicBezTo>
                  <a:pt x="6031" y="1094"/>
                  <a:pt x="6063" y="1094"/>
                  <a:pt x="6094" y="1125"/>
                </a:cubicBezTo>
                <a:cubicBezTo>
                  <a:pt x="6344" y="1313"/>
                  <a:pt x="6625" y="1469"/>
                  <a:pt x="6875" y="1688"/>
                </a:cubicBezTo>
                <a:cubicBezTo>
                  <a:pt x="7094" y="1875"/>
                  <a:pt x="7281" y="2000"/>
                  <a:pt x="7500" y="2188"/>
                </a:cubicBezTo>
                <a:cubicBezTo>
                  <a:pt x="7719" y="2406"/>
                  <a:pt x="7969" y="2625"/>
                  <a:pt x="8188" y="2844"/>
                </a:cubicBezTo>
                <a:cubicBezTo>
                  <a:pt x="8500" y="3188"/>
                  <a:pt x="8813" y="3531"/>
                  <a:pt x="9094" y="3875"/>
                </a:cubicBezTo>
                <a:cubicBezTo>
                  <a:pt x="9219" y="4000"/>
                  <a:pt x="9313" y="4125"/>
                  <a:pt x="9406" y="4281"/>
                </a:cubicBezTo>
                <a:cubicBezTo>
                  <a:pt x="9438" y="4313"/>
                  <a:pt x="9438" y="4313"/>
                  <a:pt x="9469" y="4313"/>
                </a:cubicBezTo>
                <a:cubicBezTo>
                  <a:pt x="9469" y="4281"/>
                  <a:pt x="9500" y="4281"/>
                  <a:pt x="9500" y="4281"/>
                </a:cubicBezTo>
                <a:cubicBezTo>
                  <a:pt x="9500" y="4188"/>
                  <a:pt x="9500" y="4094"/>
                  <a:pt x="9531" y="4031"/>
                </a:cubicBezTo>
                <a:cubicBezTo>
                  <a:pt x="9531" y="4000"/>
                  <a:pt x="9563" y="3969"/>
                  <a:pt x="9594" y="3969"/>
                </a:cubicBezTo>
                <a:cubicBezTo>
                  <a:pt x="9594" y="3969"/>
                  <a:pt x="9594" y="3938"/>
                  <a:pt x="9594" y="3938"/>
                </a:cubicBezTo>
                <a:cubicBezTo>
                  <a:pt x="9594" y="3656"/>
                  <a:pt x="9688" y="3375"/>
                  <a:pt x="9750" y="3063"/>
                </a:cubicBezTo>
                <a:cubicBezTo>
                  <a:pt x="9781" y="2875"/>
                  <a:pt x="9844" y="2688"/>
                  <a:pt x="9906" y="2500"/>
                </a:cubicBezTo>
                <a:cubicBezTo>
                  <a:pt x="9969" y="2281"/>
                  <a:pt x="10063" y="2063"/>
                  <a:pt x="10125" y="1844"/>
                </a:cubicBezTo>
                <a:cubicBezTo>
                  <a:pt x="10125" y="2063"/>
                  <a:pt x="10281" y="2250"/>
                  <a:pt x="10281" y="2500"/>
                </a:cubicBezTo>
                <a:cubicBezTo>
                  <a:pt x="10250" y="2531"/>
                  <a:pt x="10250" y="2563"/>
                  <a:pt x="10281" y="2625"/>
                </a:cubicBezTo>
                <a:cubicBezTo>
                  <a:pt x="10281" y="2656"/>
                  <a:pt x="10281" y="2688"/>
                  <a:pt x="10313" y="2688"/>
                </a:cubicBezTo>
                <a:cubicBezTo>
                  <a:pt x="10531" y="2969"/>
                  <a:pt x="10563" y="2969"/>
                  <a:pt x="10594" y="3156"/>
                </a:cubicBezTo>
                <a:cubicBezTo>
                  <a:pt x="10656" y="3406"/>
                  <a:pt x="10688" y="3656"/>
                  <a:pt x="10594" y="3906"/>
                </a:cubicBezTo>
                <a:cubicBezTo>
                  <a:pt x="10563" y="4000"/>
                  <a:pt x="10594" y="4094"/>
                  <a:pt x="10594" y="4188"/>
                </a:cubicBezTo>
                <a:cubicBezTo>
                  <a:pt x="10594" y="4219"/>
                  <a:pt x="10594" y="4250"/>
                  <a:pt x="10625" y="4250"/>
                </a:cubicBezTo>
                <a:cubicBezTo>
                  <a:pt x="10656" y="4250"/>
                  <a:pt x="10688" y="4219"/>
                  <a:pt x="10688" y="4188"/>
                </a:cubicBezTo>
                <a:cubicBezTo>
                  <a:pt x="10750" y="4000"/>
                  <a:pt x="10750" y="3813"/>
                  <a:pt x="10813" y="3656"/>
                </a:cubicBezTo>
                <a:cubicBezTo>
                  <a:pt x="10906" y="3375"/>
                  <a:pt x="10844" y="3125"/>
                  <a:pt x="10875" y="2844"/>
                </a:cubicBezTo>
                <a:cubicBezTo>
                  <a:pt x="10906" y="2781"/>
                  <a:pt x="10906" y="2750"/>
                  <a:pt x="10969" y="2750"/>
                </a:cubicBezTo>
                <a:cubicBezTo>
                  <a:pt x="11031" y="2750"/>
                  <a:pt x="11063" y="2781"/>
                  <a:pt x="11063" y="2844"/>
                </a:cubicBezTo>
                <a:cubicBezTo>
                  <a:pt x="11063" y="2875"/>
                  <a:pt x="11063" y="2875"/>
                  <a:pt x="11094" y="2906"/>
                </a:cubicBezTo>
                <a:cubicBezTo>
                  <a:pt x="11094" y="2938"/>
                  <a:pt x="11094" y="3000"/>
                  <a:pt x="11156" y="3000"/>
                </a:cubicBezTo>
                <a:cubicBezTo>
                  <a:pt x="11219" y="3000"/>
                  <a:pt x="11219" y="2969"/>
                  <a:pt x="11250" y="2906"/>
                </a:cubicBezTo>
                <a:cubicBezTo>
                  <a:pt x="11313" y="2719"/>
                  <a:pt x="11375" y="2531"/>
                  <a:pt x="11438" y="2344"/>
                </a:cubicBezTo>
                <a:cubicBezTo>
                  <a:pt x="11594" y="2000"/>
                  <a:pt x="11719" y="1656"/>
                  <a:pt x="11844" y="1313"/>
                </a:cubicBezTo>
                <a:cubicBezTo>
                  <a:pt x="11875" y="1219"/>
                  <a:pt x="11938" y="1281"/>
                  <a:pt x="11938" y="1313"/>
                </a:cubicBezTo>
                <a:cubicBezTo>
                  <a:pt x="12000" y="1406"/>
                  <a:pt x="12031" y="1469"/>
                  <a:pt x="12031" y="1563"/>
                </a:cubicBezTo>
                <a:cubicBezTo>
                  <a:pt x="12031" y="1688"/>
                  <a:pt x="12063" y="1781"/>
                  <a:pt x="12094" y="1906"/>
                </a:cubicBezTo>
                <a:cubicBezTo>
                  <a:pt x="12125" y="1906"/>
                  <a:pt x="12125" y="1938"/>
                  <a:pt x="12125" y="1969"/>
                </a:cubicBezTo>
                <a:cubicBezTo>
                  <a:pt x="12000" y="2094"/>
                  <a:pt x="12031" y="2250"/>
                  <a:pt x="12000" y="2406"/>
                </a:cubicBezTo>
                <a:cubicBezTo>
                  <a:pt x="12000" y="2469"/>
                  <a:pt x="11938" y="2531"/>
                  <a:pt x="11906" y="2594"/>
                </a:cubicBezTo>
                <a:cubicBezTo>
                  <a:pt x="11844" y="2906"/>
                  <a:pt x="11875" y="3219"/>
                  <a:pt x="11813" y="3531"/>
                </a:cubicBezTo>
                <a:cubicBezTo>
                  <a:pt x="11719" y="3938"/>
                  <a:pt x="11719" y="4344"/>
                  <a:pt x="11719" y="4781"/>
                </a:cubicBezTo>
                <a:cubicBezTo>
                  <a:pt x="11719" y="4781"/>
                  <a:pt x="11750" y="4781"/>
                  <a:pt x="11750" y="4781"/>
                </a:cubicBezTo>
                <a:cubicBezTo>
                  <a:pt x="11750" y="4781"/>
                  <a:pt x="11750" y="4781"/>
                  <a:pt x="11750" y="4781"/>
                </a:cubicBezTo>
                <a:cubicBezTo>
                  <a:pt x="11750" y="4813"/>
                  <a:pt x="11750" y="4813"/>
                  <a:pt x="11750" y="4844"/>
                </a:cubicBezTo>
                <a:cubicBezTo>
                  <a:pt x="11750" y="4844"/>
                  <a:pt x="11719" y="4844"/>
                  <a:pt x="11719" y="4875"/>
                </a:cubicBezTo>
                <a:cubicBezTo>
                  <a:pt x="11719" y="4906"/>
                  <a:pt x="11719" y="4938"/>
                  <a:pt x="11719" y="4969"/>
                </a:cubicBezTo>
                <a:cubicBezTo>
                  <a:pt x="11719" y="4969"/>
                  <a:pt x="11719" y="4969"/>
                  <a:pt x="11719" y="4969"/>
                </a:cubicBezTo>
                <a:cubicBezTo>
                  <a:pt x="11719" y="4969"/>
                  <a:pt x="11719" y="5000"/>
                  <a:pt x="11719" y="5000"/>
                </a:cubicBezTo>
                <a:cubicBezTo>
                  <a:pt x="11688" y="5031"/>
                  <a:pt x="11688" y="5063"/>
                  <a:pt x="11656" y="5063"/>
                </a:cubicBezTo>
                <a:cubicBezTo>
                  <a:pt x="11656" y="5094"/>
                  <a:pt x="11656" y="5094"/>
                  <a:pt x="11656" y="5094"/>
                </a:cubicBezTo>
                <a:cubicBezTo>
                  <a:pt x="11656" y="5125"/>
                  <a:pt x="11656" y="5125"/>
                  <a:pt x="11656" y="5125"/>
                </a:cubicBezTo>
                <a:cubicBezTo>
                  <a:pt x="11656" y="5281"/>
                  <a:pt x="11625" y="5406"/>
                  <a:pt x="11594" y="5531"/>
                </a:cubicBezTo>
                <a:cubicBezTo>
                  <a:pt x="11594" y="5563"/>
                  <a:pt x="11594" y="5594"/>
                  <a:pt x="11563" y="5625"/>
                </a:cubicBezTo>
                <a:cubicBezTo>
                  <a:pt x="11531" y="5656"/>
                  <a:pt x="11500" y="5719"/>
                  <a:pt x="11469" y="5781"/>
                </a:cubicBezTo>
                <a:cubicBezTo>
                  <a:pt x="11438" y="5813"/>
                  <a:pt x="11406" y="5875"/>
                  <a:pt x="11469" y="5906"/>
                </a:cubicBezTo>
                <a:cubicBezTo>
                  <a:pt x="11531" y="5969"/>
                  <a:pt x="11594" y="5906"/>
                  <a:pt x="11594" y="5844"/>
                </a:cubicBezTo>
                <a:cubicBezTo>
                  <a:pt x="11656" y="5750"/>
                  <a:pt x="11719" y="5656"/>
                  <a:pt x="11719" y="5563"/>
                </a:cubicBezTo>
                <a:cubicBezTo>
                  <a:pt x="11750" y="5406"/>
                  <a:pt x="11844" y="5375"/>
                  <a:pt x="11969" y="5406"/>
                </a:cubicBezTo>
                <a:cubicBezTo>
                  <a:pt x="12094" y="5406"/>
                  <a:pt x="12156" y="5375"/>
                  <a:pt x="12156" y="5250"/>
                </a:cubicBezTo>
                <a:cubicBezTo>
                  <a:pt x="12156" y="5156"/>
                  <a:pt x="12281" y="5156"/>
                  <a:pt x="12281" y="5063"/>
                </a:cubicBezTo>
                <a:cubicBezTo>
                  <a:pt x="12313" y="4938"/>
                  <a:pt x="12344" y="4781"/>
                  <a:pt x="12469" y="4688"/>
                </a:cubicBezTo>
                <a:cubicBezTo>
                  <a:pt x="12563" y="4594"/>
                  <a:pt x="12531" y="4469"/>
                  <a:pt x="12563" y="4344"/>
                </a:cubicBezTo>
                <a:cubicBezTo>
                  <a:pt x="12625" y="4063"/>
                  <a:pt x="12813" y="3813"/>
                  <a:pt x="12906" y="3531"/>
                </a:cubicBezTo>
                <a:cubicBezTo>
                  <a:pt x="12969" y="3344"/>
                  <a:pt x="13000" y="3125"/>
                  <a:pt x="13125" y="2938"/>
                </a:cubicBezTo>
                <a:cubicBezTo>
                  <a:pt x="13281" y="2656"/>
                  <a:pt x="13344" y="2313"/>
                  <a:pt x="13531" y="2031"/>
                </a:cubicBezTo>
                <a:cubicBezTo>
                  <a:pt x="13656" y="1750"/>
                  <a:pt x="13781" y="1500"/>
                  <a:pt x="13906" y="1219"/>
                </a:cubicBezTo>
                <a:cubicBezTo>
                  <a:pt x="14094" y="813"/>
                  <a:pt x="14375" y="469"/>
                  <a:pt x="14656" y="125"/>
                </a:cubicBezTo>
                <a:cubicBezTo>
                  <a:pt x="14719" y="63"/>
                  <a:pt x="14813" y="63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06" y="0"/>
                  <a:pt x="14906" y="0"/>
                  <a:pt x="14906" y="0"/>
                </a:cubicBezTo>
                <a:cubicBezTo>
                  <a:pt x="14938" y="0"/>
                  <a:pt x="14938" y="0"/>
                  <a:pt x="14938" y="0"/>
                </a:cubicBezTo>
                <a:cubicBezTo>
                  <a:pt x="14938" y="0"/>
                  <a:pt x="14906" y="0"/>
                  <a:pt x="14906" y="0"/>
                </a:cubicBezTo>
                <a:cubicBezTo>
                  <a:pt x="14813" y="156"/>
                  <a:pt x="14719" y="313"/>
                  <a:pt x="14625" y="469"/>
                </a:cubicBezTo>
                <a:cubicBezTo>
                  <a:pt x="14563" y="531"/>
                  <a:pt x="14531" y="656"/>
                  <a:pt x="14500" y="781"/>
                </a:cubicBezTo>
                <a:cubicBezTo>
                  <a:pt x="14500" y="844"/>
                  <a:pt x="14531" y="938"/>
                  <a:pt x="14406" y="906"/>
                </a:cubicBezTo>
                <a:cubicBezTo>
                  <a:pt x="14344" y="906"/>
                  <a:pt x="14313" y="969"/>
                  <a:pt x="14281" y="1031"/>
                </a:cubicBezTo>
                <a:cubicBezTo>
                  <a:pt x="14281" y="1094"/>
                  <a:pt x="14344" y="1094"/>
                  <a:pt x="14375" y="1125"/>
                </a:cubicBezTo>
                <a:cubicBezTo>
                  <a:pt x="14469" y="1188"/>
                  <a:pt x="14438" y="1281"/>
                  <a:pt x="14375" y="1344"/>
                </a:cubicBezTo>
                <a:cubicBezTo>
                  <a:pt x="14281" y="1469"/>
                  <a:pt x="14313" y="1656"/>
                  <a:pt x="14188" y="1750"/>
                </a:cubicBezTo>
                <a:cubicBezTo>
                  <a:pt x="14156" y="1813"/>
                  <a:pt x="14188" y="1813"/>
                  <a:pt x="14219" y="1844"/>
                </a:cubicBezTo>
                <a:cubicBezTo>
                  <a:pt x="14250" y="1875"/>
                  <a:pt x="14281" y="1844"/>
                  <a:pt x="14281" y="1813"/>
                </a:cubicBezTo>
                <a:cubicBezTo>
                  <a:pt x="14281" y="1813"/>
                  <a:pt x="14281" y="1781"/>
                  <a:pt x="14313" y="1781"/>
                </a:cubicBezTo>
                <a:cubicBezTo>
                  <a:pt x="14313" y="1750"/>
                  <a:pt x="14313" y="1688"/>
                  <a:pt x="14375" y="1719"/>
                </a:cubicBezTo>
                <a:cubicBezTo>
                  <a:pt x="14406" y="1719"/>
                  <a:pt x="14406" y="1781"/>
                  <a:pt x="14375" y="1813"/>
                </a:cubicBezTo>
                <a:cubicBezTo>
                  <a:pt x="14281" y="1906"/>
                  <a:pt x="14313" y="2031"/>
                  <a:pt x="14281" y="2125"/>
                </a:cubicBezTo>
                <a:cubicBezTo>
                  <a:pt x="14250" y="2219"/>
                  <a:pt x="14250" y="2313"/>
                  <a:pt x="14219" y="2375"/>
                </a:cubicBezTo>
                <a:cubicBezTo>
                  <a:pt x="14219" y="2438"/>
                  <a:pt x="14156" y="2500"/>
                  <a:pt x="14219" y="2563"/>
                </a:cubicBezTo>
                <a:cubicBezTo>
                  <a:pt x="14281" y="2594"/>
                  <a:pt x="14313" y="2500"/>
                  <a:pt x="14375" y="2469"/>
                </a:cubicBezTo>
                <a:cubicBezTo>
                  <a:pt x="14250" y="2688"/>
                  <a:pt x="14125" y="2906"/>
                  <a:pt x="14156" y="3188"/>
                </a:cubicBezTo>
                <a:cubicBezTo>
                  <a:pt x="14313" y="2938"/>
                  <a:pt x="14438" y="2688"/>
                  <a:pt x="14594" y="2438"/>
                </a:cubicBezTo>
                <a:cubicBezTo>
                  <a:pt x="14781" y="2188"/>
                  <a:pt x="14938" y="1875"/>
                  <a:pt x="15156" y="1625"/>
                </a:cubicBezTo>
                <a:cubicBezTo>
                  <a:pt x="15281" y="1469"/>
                  <a:pt x="15344" y="1313"/>
                  <a:pt x="15469" y="1188"/>
                </a:cubicBezTo>
                <a:cubicBezTo>
                  <a:pt x="15563" y="1063"/>
                  <a:pt x="15656" y="969"/>
                  <a:pt x="15719" y="844"/>
                </a:cubicBezTo>
                <a:cubicBezTo>
                  <a:pt x="15719" y="813"/>
                  <a:pt x="15750" y="750"/>
                  <a:pt x="15813" y="781"/>
                </a:cubicBezTo>
                <a:cubicBezTo>
                  <a:pt x="15875" y="813"/>
                  <a:pt x="15813" y="844"/>
                  <a:pt x="15781" y="875"/>
                </a:cubicBezTo>
                <a:cubicBezTo>
                  <a:pt x="15594" y="1281"/>
                  <a:pt x="15344" y="1656"/>
                  <a:pt x="15094" y="2031"/>
                </a:cubicBezTo>
                <a:cubicBezTo>
                  <a:pt x="15031" y="2188"/>
                  <a:pt x="14938" y="2344"/>
                  <a:pt x="14875" y="2469"/>
                </a:cubicBezTo>
                <a:cubicBezTo>
                  <a:pt x="14781" y="2750"/>
                  <a:pt x="14594" y="2969"/>
                  <a:pt x="14469" y="3219"/>
                </a:cubicBezTo>
                <a:cubicBezTo>
                  <a:pt x="14344" y="3500"/>
                  <a:pt x="14156" y="3750"/>
                  <a:pt x="14031" y="4031"/>
                </a:cubicBezTo>
                <a:cubicBezTo>
                  <a:pt x="14000" y="4094"/>
                  <a:pt x="13875" y="4156"/>
                  <a:pt x="13906" y="4281"/>
                </a:cubicBezTo>
                <a:cubicBezTo>
                  <a:pt x="13938" y="4281"/>
                  <a:pt x="13969" y="4250"/>
                  <a:pt x="14000" y="4188"/>
                </a:cubicBezTo>
                <a:cubicBezTo>
                  <a:pt x="14031" y="4125"/>
                  <a:pt x="14094" y="4063"/>
                  <a:pt x="14219" y="4031"/>
                </a:cubicBezTo>
                <a:cubicBezTo>
                  <a:pt x="14281" y="4000"/>
                  <a:pt x="14344" y="3875"/>
                  <a:pt x="14406" y="3781"/>
                </a:cubicBezTo>
                <a:cubicBezTo>
                  <a:pt x="14438" y="3750"/>
                  <a:pt x="14469" y="3719"/>
                  <a:pt x="14500" y="3719"/>
                </a:cubicBezTo>
                <a:cubicBezTo>
                  <a:pt x="14563" y="3719"/>
                  <a:pt x="14531" y="3781"/>
                  <a:pt x="14531" y="3813"/>
                </a:cubicBezTo>
                <a:cubicBezTo>
                  <a:pt x="14563" y="3875"/>
                  <a:pt x="14563" y="3906"/>
                  <a:pt x="14594" y="3969"/>
                </a:cubicBezTo>
                <a:cubicBezTo>
                  <a:pt x="14625" y="3844"/>
                  <a:pt x="14594" y="3656"/>
                  <a:pt x="14719" y="3625"/>
                </a:cubicBezTo>
                <a:cubicBezTo>
                  <a:pt x="14875" y="3594"/>
                  <a:pt x="14906" y="3500"/>
                  <a:pt x="14938" y="3406"/>
                </a:cubicBezTo>
                <a:cubicBezTo>
                  <a:pt x="15094" y="3125"/>
                  <a:pt x="15281" y="2875"/>
                  <a:pt x="15500" y="2625"/>
                </a:cubicBezTo>
                <a:cubicBezTo>
                  <a:pt x="15656" y="2406"/>
                  <a:pt x="15813" y="2156"/>
                  <a:pt x="16000" y="1969"/>
                </a:cubicBezTo>
                <a:cubicBezTo>
                  <a:pt x="16188" y="1813"/>
                  <a:pt x="16375" y="1625"/>
                  <a:pt x="16531" y="1469"/>
                </a:cubicBezTo>
                <a:cubicBezTo>
                  <a:pt x="16563" y="1438"/>
                  <a:pt x="16594" y="1375"/>
                  <a:pt x="16656" y="1406"/>
                </a:cubicBezTo>
                <a:cubicBezTo>
                  <a:pt x="16688" y="1438"/>
                  <a:pt x="16656" y="1500"/>
                  <a:pt x="16625" y="1531"/>
                </a:cubicBezTo>
                <a:cubicBezTo>
                  <a:pt x="16531" y="1688"/>
                  <a:pt x="16438" y="1844"/>
                  <a:pt x="16281" y="1969"/>
                </a:cubicBezTo>
                <a:cubicBezTo>
                  <a:pt x="16188" y="2063"/>
                  <a:pt x="16125" y="2156"/>
                  <a:pt x="16063" y="2250"/>
                </a:cubicBezTo>
                <a:cubicBezTo>
                  <a:pt x="16000" y="2375"/>
                  <a:pt x="15875" y="2406"/>
                  <a:pt x="15844" y="2563"/>
                </a:cubicBezTo>
                <a:cubicBezTo>
                  <a:pt x="15813" y="2750"/>
                  <a:pt x="15656" y="2844"/>
                  <a:pt x="15531" y="3000"/>
                </a:cubicBezTo>
                <a:cubicBezTo>
                  <a:pt x="15438" y="3125"/>
                  <a:pt x="15406" y="3281"/>
                  <a:pt x="15313" y="3375"/>
                </a:cubicBezTo>
                <a:cubicBezTo>
                  <a:pt x="15281" y="3438"/>
                  <a:pt x="15219" y="3500"/>
                  <a:pt x="15156" y="3563"/>
                </a:cubicBezTo>
                <a:cubicBezTo>
                  <a:pt x="15063" y="3625"/>
                  <a:pt x="15063" y="3719"/>
                  <a:pt x="15094" y="3844"/>
                </a:cubicBezTo>
                <a:cubicBezTo>
                  <a:pt x="15250" y="3719"/>
                  <a:pt x="15375" y="3594"/>
                  <a:pt x="15594" y="3563"/>
                </a:cubicBezTo>
                <a:cubicBezTo>
                  <a:pt x="15375" y="3688"/>
                  <a:pt x="15281" y="3906"/>
                  <a:pt x="15125" y="4031"/>
                </a:cubicBezTo>
                <a:cubicBezTo>
                  <a:pt x="15031" y="4094"/>
                  <a:pt x="15063" y="4094"/>
                  <a:pt x="15156" y="4156"/>
                </a:cubicBezTo>
                <a:cubicBezTo>
                  <a:pt x="15156" y="4188"/>
                  <a:pt x="15094" y="4188"/>
                  <a:pt x="15063" y="4188"/>
                </a:cubicBezTo>
                <a:cubicBezTo>
                  <a:pt x="14969" y="4219"/>
                  <a:pt x="14938" y="4281"/>
                  <a:pt x="14969" y="4406"/>
                </a:cubicBezTo>
                <a:cubicBezTo>
                  <a:pt x="15000" y="4438"/>
                  <a:pt x="14969" y="4500"/>
                  <a:pt x="15000" y="4531"/>
                </a:cubicBezTo>
                <a:cubicBezTo>
                  <a:pt x="15188" y="4469"/>
                  <a:pt x="15281" y="4313"/>
                  <a:pt x="15344" y="4156"/>
                </a:cubicBezTo>
                <a:cubicBezTo>
                  <a:pt x="15469" y="3969"/>
                  <a:pt x="15625" y="3781"/>
                  <a:pt x="15750" y="3594"/>
                </a:cubicBezTo>
                <a:cubicBezTo>
                  <a:pt x="15750" y="3563"/>
                  <a:pt x="15781" y="3563"/>
                  <a:pt x="15781" y="3531"/>
                </a:cubicBezTo>
                <a:cubicBezTo>
                  <a:pt x="15750" y="3469"/>
                  <a:pt x="15688" y="3438"/>
                  <a:pt x="15594" y="3438"/>
                </a:cubicBezTo>
                <a:cubicBezTo>
                  <a:pt x="15625" y="3438"/>
                  <a:pt x="15625" y="3406"/>
                  <a:pt x="15656" y="3406"/>
                </a:cubicBezTo>
                <a:cubicBezTo>
                  <a:pt x="15844" y="3469"/>
                  <a:pt x="15969" y="3281"/>
                  <a:pt x="16031" y="3188"/>
                </a:cubicBezTo>
                <a:cubicBezTo>
                  <a:pt x="16219" y="2781"/>
                  <a:pt x="16625" y="2781"/>
                  <a:pt x="16906" y="2563"/>
                </a:cubicBezTo>
                <a:cubicBezTo>
                  <a:pt x="16719" y="2750"/>
                  <a:pt x="16688" y="3031"/>
                  <a:pt x="16469" y="3188"/>
                </a:cubicBezTo>
                <a:cubicBezTo>
                  <a:pt x="16375" y="3281"/>
                  <a:pt x="16344" y="3406"/>
                  <a:pt x="16344" y="3563"/>
                </a:cubicBezTo>
                <a:cubicBezTo>
                  <a:pt x="16375" y="3594"/>
                  <a:pt x="16375" y="3625"/>
                  <a:pt x="16375" y="3625"/>
                </a:cubicBezTo>
                <a:cubicBezTo>
                  <a:pt x="16156" y="3750"/>
                  <a:pt x="16188" y="4000"/>
                  <a:pt x="16063" y="4188"/>
                </a:cubicBezTo>
                <a:cubicBezTo>
                  <a:pt x="15813" y="4625"/>
                  <a:pt x="15688" y="5125"/>
                  <a:pt x="15469" y="5563"/>
                </a:cubicBezTo>
                <a:cubicBezTo>
                  <a:pt x="15469" y="5594"/>
                  <a:pt x="15469" y="5625"/>
                  <a:pt x="15438" y="5688"/>
                </a:cubicBezTo>
                <a:cubicBezTo>
                  <a:pt x="15625" y="5500"/>
                  <a:pt x="15656" y="5219"/>
                  <a:pt x="15844" y="5094"/>
                </a:cubicBezTo>
                <a:cubicBezTo>
                  <a:pt x="15875" y="5000"/>
                  <a:pt x="15906" y="4906"/>
                  <a:pt x="15938" y="4813"/>
                </a:cubicBezTo>
                <a:cubicBezTo>
                  <a:pt x="15906" y="4781"/>
                  <a:pt x="15938" y="4750"/>
                  <a:pt x="15938" y="4719"/>
                </a:cubicBezTo>
                <a:cubicBezTo>
                  <a:pt x="15938" y="4719"/>
                  <a:pt x="15969" y="4719"/>
                  <a:pt x="15969" y="4719"/>
                </a:cubicBezTo>
                <a:cubicBezTo>
                  <a:pt x="15969" y="4688"/>
                  <a:pt x="15969" y="4688"/>
                  <a:pt x="16000" y="4688"/>
                </a:cubicBezTo>
                <a:cubicBezTo>
                  <a:pt x="16000" y="4656"/>
                  <a:pt x="16000" y="4656"/>
                  <a:pt x="16031" y="4656"/>
                </a:cubicBezTo>
                <a:cubicBezTo>
                  <a:pt x="16406" y="4313"/>
                  <a:pt x="16750" y="3938"/>
                  <a:pt x="17125" y="3594"/>
                </a:cubicBezTo>
                <a:cubicBezTo>
                  <a:pt x="17500" y="3250"/>
                  <a:pt x="17875" y="2938"/>
                  <a:pt x="18281" y="2625"/>
                </a:cubicBezTo>
                <a:cubicBezTo>
                  <a:pt x="18781" y="2188"/>
                  <a:pt x="19344" y="1781"/>
                  <a:pt x="19906" y="1406"/>
                </a:cubicBezTo>
                <a:cubicBezTo>
                  <a:pt x="20219" y="1188"/>
                  <a:pt x="20531" y="1000"/>
                  <a:pt x="20906" y="844"/>
                </a:cubicBezTo>
                <a:cubicBezTo>
                  <a:pt x="20906" y="844"/>
                  <a:pt x="20938" y="844"/>
                  <a:pt x="20969" y="844"/>
                </a:cubicBezTo>
                <a:cubicBezTo>
                  <a:pt x="20969" y="906"/>
                  <a:pt x="20906" y="906"/>
                  <a:pt x="20875" y="938"/>
                </a:cubicBezTo>
                <a:cubicBezTo>
                  <a:pt x="20656" y="1063"/>
                  <a:pt x="20469" y="1250"/>
                  <a:pt x="20219" y="1344"/>
                </a:cubicBezTo>
                <a:cubicBezTo>
                  <a:pt x="20031" y="1406"/>
                  <a:pt x="19938" y="1500"/>
                  <a:pt x="19813" y="1656"/>
                </a:cubicBezTo>
                <a:cubicBezTo>
                  <a:pt x="19719" y="1750"/>
                  <a:pt x="19594" y="1719"/>
                  <a:pt x="19469" y="1813"/>
                </a:cubicBezTo>
                <a:cubicBezTo>
                  <a:pt x="19438" y="1844"/>
                  <a:pt x="19375" y="1875"/>
                  <a:pt x="19344" y="1906"/>
                </a:cubicBezTo>
                <a:cubicBezTo>
                  <a:pt x="19188" y="2094"/>
                  <a:pt x="18969" y="2188"/>
                  <a:pt x="18813" y="2344"/>
                </a:cubicBezTo>
                <a:cubicBezTo>
                  <a:pt x="18781" y="2375"/>
                  <a:pt x="18719" y="2406"/>
                  <a:pt x="18781" y="2469"/>
                </a:cubicBezTo>
                <a:cubicBezTo>
                  <a:pt x="18813" y="2500"/>
                  <a:pt x="18781" y="2531"/>
                  <a:pt x="18750" y="2563"/>
                </a:cubicBezTo>
                <a:cubicBezTo>
                  <a:pt x="18594" y="2750"/>
                  <a:pt x="18375" y="2938"/>
                  <a:pt x="18219" y="3125"/>
                </a:cubicBezTo>
                <a:cubicBezTo>
                  <a:pt x="18031" y="3313"/>
                  <a:pt x="17906" y="3469"/>
                  <a:pt x="17750" y="3656"/>
                </a:cubicBezTo>
                <a:cubicBezTo>
                  <a:pt x="17563" y="3875"/>
                  <a:pt x="17313" y="4094"/>
                  <a:pt x="17156" y="4313"/>
                </a:cubicBezTo>
                <a:cubicBezTo>
                  <a:pt x="16969" y="4563"/>
                  <a:pt x="16781" y="4781"/>
                  <a:pt x="16625" y="5031"/>
                </a:cubicBezTo>
                <a:cubicBezTo>
                  <a:pt x="16375" y="5344"/>
                  <a:pt x="16156" y="5688"/>
                  <a:pt x="15938" y="6031"/>
                </a:cubicBezTo>
                <a:cubicBezTo>
                  <a:pt x="15813" y="6156"/>
                  <a:pt x="15719" y="6313"/>
                  <a:pt x="15656" y="6469"/>
                </a:cubicBezTo>
                <a:cubicBezTo>
                  <a:pt x="15719" y="6625"/>
                  <a:pt x="15594" y="6719"/>
                  <a:pt x="15531" y="6844"/>
                </a:cubicBezTo>
                <a:cubicBezTo>
                  <a:pt x="15500" y="6906"/>
                  <a:pt x="15500" y="6906"/>
                  <a:pt x="15563" y="6906"/>
                </a:cubicBezTo>
                <a:cubicBezTo>
                  <a:pt x="15688" y="6844"/>
                  <a:pt x="15781" y="6781"/>
                  <a:pt x="15875" y="6688"/>
                </a:cubicBezTo>
                <a:cubicBezTo>
                  <a:pt x="16156" y="6469"/>
                  <a:pt x="16469" y="6281"/>
                  <a:pt x="16781" y="6094"/>
                </a:cubicBezTo>
                <a:cubicBezTo>
                  <a:pt x="16781" y="6094"/>
                  <a:pt x="16813" y="6063"/>
                  <a:pt x="16813" y="6063"/>
                </a:cubicBezTo>
                <a:cubicBezTo>
                  <a:pt x="16813" y="6063"/>
                  <a:pt x="16813" y="6063"/>
                  <a:pt x="16813" y="6031"/>
                </a:cubicBezTo>
                <a:cubicBezTo>
                  <a:pt x="16844" y="6031"/>
                  <a:pt x="16844" y="6031"/>
                  <a:pt x="16875" y="6000"/>
                </a:cubicBezTo>
                <a:cubicBezTo>
                  <a:pt x="16875" y="6000"/>
                  <a:pt x="16875" y="6000"/>
                  <a:pt x="16906" y="6000"/>
                </a:cubicBezTo>
                <a:cubicBezTo>
                  <a:pt x="16906" y="6000"/>
                  <a:pt x="16906" y="6000"/>
                  <a:pt x="16906" y="6000"/>
                </a:cubicBezTo>
                <a:cubicBezTo>
                  <a:pt x="16938" y="6000"/>
                  <a:pt x="16938" y="6000"/>
                  <a:pt x="16938" y="5969"/>
                </a:cubicBezTo>
                <a:cubicBezTo>
                  <a:pt x="16938" y="5969"/>
                  <a:pt x="16938" y="5969"/>
                  <a:pt x="16938" y="5969"/>
                </a:cubicBezTo>
                <a:cubicBezTo>
                  <a:pt x="16938" y="5969"/>
                  <a:pt x="16938" y="5969"/>
                  <a:pt x="16969" y="5969"/>
                </a:cubicBezTo>
                <a:cubicBezTo>
                  <a:pt x="17219" y="5781"/>
                  <a:pt x="17500" y="5594"/>
                  <a:pt x="17781" y="5469"/>
                </a:cubicBezTo>
                <a:cubicBezTo>
                  <a:pt x="17969" y="5375"/>
                  <a:pt x="18188" y="5281"/>
                  <a:pt x="18406" y="5219"/>
                </a:cubicBezTo>
                <a:cubicBezTo>
                  <a:pt x="18188" y="5469"/>
                  <a:pt x="17938" y="5656"/>
                  <a:pt x="17656" y="5875"/>
                </a:cubicBezTo>
                <a:cubicBezTo>
                  <a:pt x="17563" y="5938"/>
                  <a:pt x="17469" y="6031"/>
                  <a:pt x="17375" y="6125"/>
                </a:cubicBezTo>
                <a:cubicBezTo>
                  <a:pt x="17063" y="6438"/>
                  <a:pt x="16750" y="6750"/>
                  <a:pt x="16469" y="7094"/>
                </a:cubicBezTo>
                <a:cubicBezTo>
                  <a:pt x="16313" y="7250"/>
                  <a:pt x="16219" y="7406"/>
                  <a:pt x="16094" y="7594"/>
                </a:cubicBezTo>
                <a:cubicBezTo>
                  <a:pt x="16219" y="7500"/>
                  <a:pt x="16344" y="7406"/>
                  <a:pt x="16438" y="7313"/>
                </a:cubicBezTo>
                <a:cubicBezTo>
                  <a:pt x="16469" y="7313"/>
                  <a:pt x="16500" y="7281"/>
                  <a:pt x="16500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31" y="7281"/>
                  <a:pt x="16531" y="7281"/>
                  <a:pt x="16531" y="7281"/>
                </a:cubicBezTo>
                <a:cubicBezTo>
                  <a:pt x="16563" y="7250"/>
                  <a:pt x="16594" y="7250"/>
                  <a:pt x="16625" y="7219"/>
                </a:cubicBezTo>
                <a:cubicBezTo>
                  <a:pt x="16625" y="7219"/>
                  <a:pt x="16656" y="7219"/>
                  <a:pt x="16656" y="7250"/>
                </a:cubicBezTo>
                <a:cubicBezTo>
                  <a:pt x="16656" y="7250"/>
                  <a:pt x="16656" y="7250"/>
                  <a:pt x="16656" y="7250"/>
                </a:cubicBezTo>
                <a:cubicBezTo>
                  <a:pt x="16656" y="7219"/>
                  <a:pt x="16625" y="7219"/>
                  <a:pt x="16625" y="7219"/>
                </a:cubicBezTo>
                <a:cubicBezTo>
                  <a:pt x="16625" y="7188"/>
                  <a:pt x="16625" y="7188"/>
                  <a:pt x="16656" y="7188"/>
                </a:cubicBezTo>
                <a:cubicBezTo>
                  <a:pt x="17281" y="6688"/>
                  <a:pt x="17969" y="6313"/>
                  <a:pt x="18750" y="6094"/>
                </a:cubicBezTo>
                <a:cubicBezTo>
                  <a:pt x="18969" y="6000"/>
                  <a:pt x="19188" y="5906"/>
                  <a:pt x="19438" y="5906"/>
                </a:cubicBezTo>
                <a:cubicBezTo>
                  <a:pt x="19531" y="5875"/>
                  <a:pt x="19594" y="5875"/>
                  <a:pt x="19719" y="5875"/>
                </a:cubicBezTo>
                <a:cubicBezTo>
                  <a:pt x="19563" y="6000"/>
                  <a:pt x="19406" y="6031"/>
                  <a:pt x="19281" y="6063"/>
                </a:cubicBezTo>
                <a:cubicBezTo>
                  <a:pt x="18844" y="6250"/>
                  <a:pt x="18469" y="6500"/>
                  <a:pt x="18094" y="6781"/>
                </a:cubicBezTo>
                <a:cubicBezTo>
                  <a:pt x="17813" y="7000"/>
                  <a:pt x="17563" y="7281"/>
                  <a:pt x="17313" y="7563"/>
                </a:cubicBezTo>
                <a:cubicBezTo>
                  <a:pt x="17156" y="7688"/>
                  <a:pt x="17031" y="7813"/>
                  <a:pt x="16875" y="7969"/>
                </a:cubicBezTo>
                <a:cubicBezTo>
                  <a:pt x="16875" y="7969"/>
                  <a:pt x="16844" y="8000"/>
                  <a:pt x="16844" y="8000"/>
                </a:cubicBezTo>
                <a:cubicBezTo>
                  <a:pt x="16813" y="8031"/>
                  <a:pt x="16813" y="8063"/>
                  <a:pt x="16844" y="8094"/>
                </a:cubicBezTo>
                <a:cubicBezTo>
                  <a:pt x="17000" y="7969"/>
                  <a:pt x="17156" y="7844"/>
                  <a:pt x="17313" y="7719"/>
                </a:cubicBezTo>
                <a:cubicBezTo>
                  <a:pt x="17344" y="7719"/>
                  <a:pt x="17344" y="7688"/>
                  <a:pt x="17344" y="7688"/>
                </a:cubicBezTo>
                <a:cubicBezTo>
                  <a:pt x="17344" y="7688"/>
                  <a:pt x="17375" y="7656"/>
                  <a:pt x="17375" y="7656"/>
                </a:cubicBezTo>
                <a:cubicBezTo>
                  <a:pt x="17406" y="7656"/>
                  <a:pt x="17406" y="7656"/>
                  <a:pt x="17406" y="7625"/>
                </a:cubicBezTo>
                <a:cubicBezTo>
                  <a:pt x="17406" y="7625"/>
                  <a:pt x="17438" y="7625"/>
                  <a:pt x="17438" y="7625"/>
                </a:cubicBezTo>
                <a:cubicBezTo>
                  <a:pt x="17563" y="7531"/>
                  <a:pt x="17656" y="7438"/>
                  <a:pt x="17781" y="7344"/>
                </a:cubicBezTo>
                <a:cubicBezTo>
                  <a:pt x="17844" y="7313"/>
                  <a:pt x="17875" y="7281"/>
                  <a:pt x="17906" y="7250"/>
                </a:cubicBezTo>
                <a:cubicBezTo>
                  <a:pt x="18156" y="7063"/>
                  <a:pt x="18406" y="6906"/>
                  <a:pt x="18625" y="6719"/>
                </a:cubicBezTo>
                <a:cubicBezTo>
                  <a:pt x="18813" y="6563"/>
                  <a:pt x="19031" y="6438"/>
                  <a:pt x="19219" y="6281"/>
                </a:cubicBezTo>
                <a:cubicBezTo>
                  <a:pt x="19406" y="6156"/>
                  <a:pt x="19656" y="6125"/>
                  <a:pt x="19813" y="5938"/>
                </a:cubicBezTo>
                <a:cubicBezTo>
                  <a:pt x="19813" y="5906"/>
                  <a:pt x="19844" y="5906"/>
                  <a:pt x="19844" y="5938"/>
                </a:cubicBezTo>
                <a:cubicBezTo>
                  <a:pt x="19969" y="6063"/>
                  <a:pt x="20063" y="5969"/>
                  <a:pt x="20156" y="5906"/>
                </a:cubicBezTo>
                <a:cubicBezTo>
                  <a:pt x="20188" y="5875"/>
                  <a:pt x="20188" y="5875"/>
                  <a:pt x="20250" y="5906"/>
                </a:cubicBezTo>
                <a:cubicBezTo>
                  <a:pt x="20188" y="5969"/>
                  <a:pt x="20125" y="6000"/>
                  <a:pt x="20094" y="6063"/>
                </a:cubicBezTo>
                <a:cubicBezTo>
                  <a:pt x="20063" y="6125"/>
                  <a:pt x="20125" y="6188"/>
                  <a:pt x="20125" y="6250"/>
                </a:cubicBezTo>
                <a:cubicBezTo>
                  <a:pt x="20031" y="6125"/>
                  <a:pt x="19969" y="6125"/>
                  <a:pt x="19844" y="6219"/>
                </a:cubicBezTo>
                <a:cubicBezTo>
                  <a:pt x="19656" y="6375"/>
                  <a:pt x="19500" y="6531"/>
                  <a:pt x="19344" y="6719"/>
                </a:cubicBezTo>
                <a:cubicBezTo>
                  <a:pt x="18969" y="7125"/>
                  <a:pt x="18563" y="7500"/>
                  <a:pt x="18188" y="7875"/>
                </a:cubicBezTo>
                <a:cubicBezTo>
                  <a:pt x="17906" y="8188"/>
                  <a:pt x="17594" y="8469"/>
                  <a:pt x="17313" y="8781"/>
                </a:cubicBezTo>
                <a:cubicBezTo>
                  <a:pt x="17313" y="8813"/>
                  <a:pt x="17281" y="8813"/>
                  <a:pt x="17250" y="8813"/>
                </a:cubicBezTo>
                <a:cubicBezTo>
                  <a:pt x="17250" y="8813"/>
                  <a:pt x="17250" y="8813"/>
                  <a:pt x="17250" y="8813"/>
                </a:cubicBezTo>
                <a:cubicBezTo>
                  <a:pt x="17281" y="8844"/>
                  <a:pt x="17094" y="8938"/>
                  <a:pt x="17250" y="8938"/>
                </a:cubicBezTo>
                <a:cubicBezTo>
                  <a:pt x="17250" y="8938"/>
                  <a:pt x="17250" y="8938"/>
                  <a:pt x="17281" y="8938"/>
                </a:cubicBezTo>
                <a:cubicBezTo>
                  <a:pt x="17281" y="8906"/>
                  <a:pt x="17281" y="8906"/>
                  <a:pt x="17281" y="8906"/>
                </a:cubicBezTo>
                <a:cubicBezTo>
                  <a:pt x="17281" y="8906"/>
                  <a:pt x="17281" y="8906"/>
                  <a:pt x="17281" y="8906"/>
                </a:cubicBezTo>
                <a:cubicBezTo>
                  <a:pt x="17281" y="8906"/>
                  <a:pt x="17313" y="8906"/>
                  <a:pt x="17313" y="8906"/>
                </a:cubicBezTo>
                <a:cubicBezTo>
                  <a:pt x="17344" y="8906"/>
                  <a:pt x="17344" y="8875"/>
                  <a:pt x="17375" y="8875"/>
                </a:cubicBezTo>
                <a:cubicBezTo>
                  <a:pt x="17406" y="8844"/>
                  <a:pt x="17438" y="8813"/>
                  <a:pt x="17469" y="8781"/>
                </a:cubicBezTo>
                <a:cubicBezTo>
                  <a:pt x="17531" y="8719"/>
                  <a:pt x="17625" y="8688"/>
                  <a:pt x="17719" y="8625"/>
                </a:cubicBezTo>
                <a:cubicBezTo>
                  <a:pt x="17719" y="8625"/>
                  <a:pt x="17750" y="8594"/>
                  <a:pt x="17750" y="8594"/>
                </a:cubicBezTo>
                <a:cubicBezTo>
                  <a:pt x="17750" y="8563"/>
                  <a:pt x="17781" y="8563"/>
                  <a:pt x="17813" y="8563"/>
                </a:cubicBezTo>
                <a:cubicBezTo>
                  <a:pt x="17813" y="8531"/>
                  <a:pt x="17813" y="8531"/>
                  <a:pt x="17844" y="8531"/>
                </a:cubicBezTo>
                <a:cubicBezTo>
                  <a:pt x="17844" y="8531"/>
                  <a:pt x="17844" y="8531"/>
                  <a:pt x="17844" y="8531"/>
                </a:cubicBezTo>
                <a:cubicBezTo>
                  <a:pt x="17844" y="8531"/>
                  <a:pt x="17844" y="8531"/>
                  <a:pt x="17844" y="8531"/>
                </a:cubicBezTo>
                <a:cubicBezTo>
                  <a:pt x="17906" y="8500"/>
                  <a:pt x="17938" y="8469"/>
                  <a:pt x="18000" y="8438"/>
                </a:cubicBezTo>
                <a:cubicBezTo>
                  <a:pt x="18063" y="8375"/>
                  <a:pt x="18125" y="8344"/>
                  <a:pt x="18219" y="8281"/>
                </a:cubicBezTo>
                <a:cubicBezTo>
                  <a:pt x="18250" y="8250"/>
                  <a:pt x="18281" y="8219"/>
                  <a:pt x="18344" y="8188"/>
                </a:cubicBezTo>
                <a:cubicBezTo>
                  <a:pt x="18563" y="8063"/>
                  <a:pt x="18813" y="7906"/>
                  <a:pt x="19031" y="7781"/>
                </a:cubicBezTo>
                <a:cubicBezTo>
                  <a:pt x="19500" y="7531"/>
                  <a:pt x="19969" y="7313"/>
                  <a:pt x="20438" y="7094"/>
                </a:cubicBezTo>
                <a:cubicBezTo>
                  <a:pt x="20531" y="7063"/>
                  <a:pt x="20563" y="7000"/>
                  <a:pt x="20656" y="7000"/>
                </a:cubicBezTo>
                <a:cubicBezTo>
                  <a:pt x="20813" y="6938"/>
                  <a:pt x="20969" y="6875"/>
                  <a:pt x="21156" y="6813"/>
                </a:cubicBezTo>
                <a:cubicBezTo>
                  <a:pt x="21281" y="6750"/>
                  <a:pt x="21406" y="6719"/>
                  <a:pt x="21563" y="6719"/>
                </a:cubicBezTo>
                <a:lnTo>
                  <a:pt x="21563" y="6719"/>
                </a:lnTo>
                <a:cubicBezTo>
                  <a:pt x="21594" y="6688"/>
                  <a:pt x="21656" y="6688"/>
                  <a:pt x="21688" y="6688"/>
                </a:cubicBezTo>
                <a:cubicBezTo>
                  <a:pt x="21594" y="6781"/>
                  <a:pt x="21500" y="6875"/>
                  <a:pt x="21375" y="6906"/>
                </a:cubicBezTo>
                <a:cubicBezTo>
                  <a:pt x="21375" y="6938"/>
                  <a:pt x="21344" y="6938"/>
                  <a:pt x="21344" y="6938"/>
                </a:cubicBezTo>
                <a:cubicBezTo>
                  <a:pt x="21344" y="6969"/>
                  <a:pt x="21344" y="6969"/>
                  <a:pt x="21313" y="6969"/>
                </a:cubicBezTo>
                <a:cubicBezTo>
                  <a:pt x="21313" y="6969"/>
                  <a:pt x="21313" y="6969"/>
                  <a:pt x="21313" y="6969"/>
                </a:cubicBezTo>
                <a:cubicBezTo>
                  <a:pt x="21313" y="7000"/>
                  <a:pt x="21281" y="7000"/>
                  <a:pt x="21281" y="7000"/>
                </a:cubicBezTo>
                <a:cubicBezTo>
                  <a:pt x="21031" y="7156"/>
                  <a:pt x="20813" y="7344"/>
                  <a:pt x="20563" y="7500"/>
                </a:cubicBezTo>
                <a:cubicBezTo>
                  <a:pt x="20250" y="7688"/>
                  <a:pt x="20000" y="7969"/>
                  <a:pt x="19719" y="8219"/>
                </a:cubicBezTo>
                <a:cubicBezTo>
                  <a:pt x="19375" y="8500"/>
                  <a:pt x="19031" y="8781"/>
                  <a:pt x="18719" y="9094"/>
                </a:cubicBezTo>
                <a:cubicBezTo>
                  <a:pt x="18500" y="9313"/>
                  <a:pt x="18281" y="9500"/>
                  <a:pt x="18063" y="9719"/>
                </a:cubicBezTo>
                <a:cubicBezTo>
                  <a:pt x="17781" y="10000"/>
                  <a:pt x="17500" y="10281"/>
                  <a:pt x="17219" y="10594"/>
                </a:cubicBezTo>
                <a:cubicBezTo>
                  <a:pt x="17094" y="10719"/>
                  <a:pt x="16969" y="10844"/>
                  <a:pt x="16844" y="10969"/>
                </a:cubicBezTo>
                <a:cubicBezTo>
                  <a:pt x="16844" y="10969"/>
                  <a:pt x="16844" y="10969"/>
                  <a:pt x="16844" y="10969"/>
                </a:cubicBezTo>
                <a:cubicBezTo>
                  <a:pt x="16875" y="11000"/>
                  <a:pt x="16875" y="11000"/>
                  <a:pt x="16906" y="11000"/>
                </a:cubicBezTo>
                <a:cubicBezTo>
                  <a:pt x="16938" y="11000"/>
                  <a:pt x="16969" y="10969"/>
                  <a:pt x="17031" y="10938"/>
                </a:cubicBezTo>
                <a:cubicBezTo>
                  <a:pt x="17219" y="10750"/>
                  <a:pt x="17375" y="10531"/>
                  <a:pt x="17563" y="10375"/>
                </a:cubicBezTo>
                <a:cubicBezTo>
                  <a:pt x="17625" y="10313"/>
                  <a:pt x="17688" y="10219"/>
                  <a:pt x="17781" y="10156"/>
                </a:cubicBezTo>
                <a:cubicBezTo>
                  <a:pt x="18094" y="9875"/>
                  <a:pt x="18406" y="9563"/>
                  <a:pt x="18719" y="9250"/>
                </a:cubicBezTo>
                <a:cubicBezTo>
                  <a:pt x="18906" y="9063"/>
                  <a:pt x="19125" y="8844"/>
                  <a:pt x="19438" y="8750"/>
                </a:cubicBezTo>
                <a:cubicBezTo>
                  <a:pt x="19500" y="8719"/>
                  <a:pt x="19531" y="8688"/>
                  <a:pt x="19625" y="8688"/>
                </a:cubicBezTo>
                <a:cubicBezTo>
                  <a:pt x="19250" y="8969"/>
                  <a:pt x="18969" y="9281"/>
                  <a:pt x="18625" y="9563"/>
                </a:cubicBezTo>
                <a:cubicBezTo>
                  <a:pt x="18250" y="9844"/>
                  <a:pt x="17938" y="10156"/>
                  <a:pt x="17625" y="10500"/>
                </a:cubicBezTo>
                <a:cubicBezTo>
                  <a:pt x="17531" y="10594"/>
                  <a:pt x="17406" y="10719"/>
                  <a:pt x="17281" y="10813"/>
                </a:cubicBezTo>
                <a:cubicBezTo>
                  <a:pt x="17250" y="10844"/>
                  <a:pt x="17250" y="10844"/>
                  <a:pt x="17250" y="10875"/>
                </a:cubicBezTo>
                <a:cubicBezTo>
                  <a:pt x="17688" y="10813"/>
                  <a:pt x="18125" y="10781"/>
                  <a:pt x="18594" y="10719"/>
                </a:cubicBezTo>
                <a:cubicBezTo>
                  <a:pt x="18594" y="10750"/>
                  <a:pt x="18594" y="10750"/>
                  <a:pt x="18594" y="10781"/>
                </a:cubicBezTo>
                <a:cubicBezTo>
                  <a:pt x="18469" y="10844"/>
                  <a:pt x="18344" y="10875"/>
                  <a:pt x="18219" y="10969"/>
                </a:cubicBezTo>
                <a:cubicBezTo>
                  <a:pt x="17906" y="11125"/>
                  <a:pt x="17563" y="11313"/>
                  <a:pt x="17250" y="11500"/>
                </a:cubicBezTo>
                <a:cubicBezTo>
                  <a:pt x="16938" y="11656"/>
                  <a:pt x="16625" y="11875"/>
                  <a:pt x="16313" y="12063"/>
                </a:cubicBezTo>
                <a:cubicBezTo>
                  <a:pt x="16313" y="12094"/>
                  <a:pt x="16281" y="12094"/>
                  <a:pt x="16281" y="12094"/>
                </a:cubicBezTo>
                <a:cubicBezTo>
                  <a:pt x="16281" y="12125"/>
                  <a:pt x="16281" y="12125"/>
                  <a:pt x="16281" y="12125"/>
                </a:cubicBezTo>
                <a:cubicBezTo>
                  <a:pt x="16281" y="12125"/>
                  <a:pt x="16281" y="12125"/>
                  <a:pt x="16281" y="12125"/>
                </a:cubicBezTo>
                <a:cubicBezTo>
                  <a:pt x="16313" y="12156"/>
                  <a:pt x="16344" y="12156"/>
                  <a:pt x="16281" y="12188"/>
                </a:cubicBezTo>
                <a:cubicBezTo>
                  <a:pt x="16125" y="12375"/>
                  <a:pt x="16000" y="12594"/>
                  <a:pt x="15781" y="12750"/>
                </a:cubicBezTo>
                <a:cubicBezTo>
                  <a:pt x="15750" y="12750"/>
                  <a:pt x="15750" y="12781"/>
                  <a:pt x="15750" y="12781"/>
                </a:cubicBezTo>
                <a:cubicBezTo>
                  <a:pt x="15750" y="12781"/>
                  <a:pt x="15750" y="12781"/>
                  <a:pt x="15750" y="12813"/>
                </a:cubicBezTo>
                <a:cubicBezTo>
                  <a:pt x="15844" y="12813"/>
                  <a:pt x="15906" y="12719"/>
                  <a:pt x="16000" y="12719"/>
                </a:cubicBezTo>
                <a:cubicBezTo>
                  <a:pt x="16000" y="12719"/>
                  <a:pt x="16063" y="12719"/>
                  <a:pt x="16063" y="12719"/>
                </a:cubicBezTo>
                <a:cubicBezTo>
                  <a:pt x="16063" y="12750"/>
                  <a:pt x="16063" y="12781"/>
                  <a:pt x="16031" y="12813"/>
                </a:cubicBezTo>
                <a:cubicBezTo>
                  <a:pt x="15875" y="12844"/>
                  <a:pt x="15781" y="12938"/>
                  <a:pt x="15656" y="13031"/>
                </a:cubicBezTo>
                <a:cubicBezTo>
                  <a:pt x="15625" y="13063"/>
                  <a:pt x="15594" y="13063"/>
                  <a:pt x="15594" y="13063"/>
                </a:cubicBezTo>
                <a:cubicBezTo>
                  <a:pt x="15594" y="13031"/>
                  <a:pt x="15594" y="13031"/>
                  <a:pt x="15594" y="13000"/>
                </a:cubicBezTo>
                <a:cubicBezTo>
                  <a:pt x="15594" y="13000"/>
                  <a:pt x="15594" y="12969"/>
                  <a:pt x="15625" y="12969"/>
                </a:cubicBezTo>
                <a:cubicBezTo>
                  <a:pt x="15625" y="12969"/>
                  <a:pt x="15625" y="12969"/>
                  <a:pt x="15625" y="12969"/>
                </a:cubicBezTo>
                <a:cubicBezTo>
                  <a:pt x="15625" y="12969"/>
                  <a:pt x="15625" y="12969"/>
                  <a:pt x="15625" y="12969"/>
                </a:cubicBezTo>
                <a:cubicBezTo>
                  <a:pt x="15594" y="12938"/>
                  <a:pt x="15594" y="12938"/>
                  <a:pt x="15594" y="12938"/>
                </a:cubicBezTo>
                <a:cubicBezTo>
                  <a:pt x="15563" y="12938"/>
                  <a:pt x="15531" y="12969"/>
                  <a:pt x="15531" y="12969"/>
                </a:cubicBezTo>
                <a:cubicBezTo>
                  <a:pt x="15531" y="12969"/>
                  <a:pt x="15531" y="12969"/>
                  <a:pt x="15531" y="12969"/>
                </a:cubicBezTo>
                <a:cubicBezTo>
                  <a:pt x="15531" y="12969"/>
                  <a:pt x="15531" y="12969"/>
                  <a:pt x="15531" y="12969"/>
                </a:cubicBezTo>
                <a:cubicBezTo>
                  <a:pt x="15438" y="13063"/>
                  <a:pt x="15313" y="13156"/>
                  <a:pt x="15219" y="13250"/>
                </a:cubicBezTo>
                <a:cubicBezTo>
                  <a:pt x="15219" y="13313"/>
                  <a:pt x="15219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ubicBezTo>
                  <a:pt x="15156" y="13344"/>
                  <a:pt x="15156" y="13344"/>
                  <a:pt x="15156" y="13344"/>
                </a:cubicBezTo>
                <a:cubicBezTo>
                  <a:pt x="15156" y="13344"/>
                  <a:pt x="15125" y="13344"/>
                  <a:pt x="15125" y="13344"/>
                </a:cubicBezTo>
                <a:cubicBezTo>
                  <a:pt x="15125" y="13344"/>
                  <a:pt x="15094" y="13375"/>
                  <a:pt x="15094" y="13375"/>
                </a:cubicBezTo>
                <a:cubicBezTo>
                  <a:pt x="15125" y="13375"/>
                  <a:pt x="15156" y="13406"/>
                  <a:pt x="15125" y="13406"/>
                </a:cubicBezTo>
                <a:cubicBezTo>
                  <a:pt x="15125" y="13406"/>
                  <a:pt x="15125" y="13438"/>
                  <a:pt x="15125" y="13438"/>
                </a:cubicBezTo>
                <a:cubicBezTo>
                  <a:pt x="14875" y="13781"/>
                  <a:pt x="14656" y="14156"/>
                  <a:pt x="14438" y="14500"/>
                </a:cubicBezTo>
                <a:cubicBezTo>
                  <a:pt x="14406" y="14563"/>
                  <a:pt x="14375" y="14594"/>
                  <a:pt x="14344" y="14625"/>
                </a:cubicBezTo>
                <a:cubicBezTo>
                  <a:pt x="14438" y="14656"/>
                  <a:pt x="14469" y="14594"/>
                  <a:pt x="14500" y="14563"/>
                </a:cubicBezTo>
                <a:cubicBezTo>
                  <a:pt x="14844" y="14250"/>
                  <a:pt x="15188" y="13969"/>
                  <a:pt x="15563" y="13750"/>
                </a:cubicBezTo>
                <a:cubicBezTo>
                  <a:pt x="15813" y="13625"/>
                  <a:pt x="16000" y="13438"/>
                  <a:pt x="16250" y="13313"/>
                </a:cubicBezTo>
                <a:cubicBezTo>
                  <a:pt x="16563" y="13125"/>
                  <a:pt x="16844" y="12844"/>
                  <a:pt x="17188" y="12688"/>
                </a:cubicBezTo>
                <a:cubicBezTo>
                  <a:pt x="17188" y="12688"/>
                  <a:pt x="17219" y="12688"/>
                  <a:pt x="17219" y="12688"/>
                </a:cubicBezTo>
                <a:cubicBezTo>
                  <a:pt x="17219" y="12688"/>
                  <a:pt x="17250" y="12688"/>
                  <a:pt x="17250" y="12688"/>
                </a:cubicBezTo>
                <a:cubicBezTo>
                  <a:pt x="17281" y="12656"/>
                  <a:pt x="17281" y="12625"/>
                  <a:pt x="17313" y="12625"/>
                </a:cubicBezTo>
                <a:cubicBezTo>
                  <a:pt x="17344" y="12563"/>
                  <a:pt x="17406" y="12531"/>
                  <a:pt x="17469" y="12531"/>
                </a:cubicBezTo>
                <a:cubicBezTo>
                  <a:pt x="17500" y="12500"/>
                  <a:pt x="17531" y="12500"/>
                  <a:pt x="17563" y="12469"/>
                </a:cubicBezTo>
                <a:cubicBezTo>
                  <a:pt x="17625" y="12438"/>
                  <a:pt x="17688" y="12406"/>
                  <a:pt x="17750" y="12375"/>
                </a:cubicBezTo>
                <a:cubicBezTo>
                  <a:pt x="17875" y="12313"/>
                  <a:pt x="18000" y="12219"/>
                  <a:pt x="18125" y="12250"/>
                </a:cubicBezTo>
                <a:cubicBezTo>
                  <a:pt x="18219" y="12250"/>
                  <a:pt x="18313" y="12281"/>
                  <a:pt x="18375" y="12250"/>
                </a:cubicBezTo>
                <a:cubicBezTo>
                  <a:pt x="18375" y="12219"/>
                  <a:pt x="18375" y="12219"/>
                  <a:pt x="18375" y="12219"/>
                </a:cubicBezTo>
                <a:cubicBezTo>
                  <a:pt x="18344" y="12219"/>
                  <a:pt x="18313" y="12219"/>
                  <a:pt x="18281" y="12188"/>
                </a:cubicBezTo>
                <a:cubicBezTo>
                  <a:pt x="18281" y="12188"/>
                  <a:pt x="18281" y="12188"/>
                  <a:pt x="18281" y="12188"/>
                </a:cubicBezTo>
                <a:cubicBezTo>
                  <a:pt x="18281" y="12188"/>
                  <a:pt x="18281" y="12188"/>
                  <a:pt x="18281" y="12188"/>
                </a:cubicBezTo>
                <a:cubicBezTo>
                  <a:pt x="18375" y="12125"/>
                  <a:pt x="18406" y="12125"/>
                  <a:pt x="18469" y="12156"/>
                </a:cubicBezTo>
                <a:cubicBezTo>
                  <a:pt x="18500" y="12156"/>
                  <a:pt x="18531" y="12188"/>
                  <a:pt x="18563" y="12188"/>
                </a:cubicBezTo>
                <a:cubicBezTo>
                  <a:pt x="18563" y="12219"/>
                  <a:pt x="18531" y="12219"/>
                  <a:pt x="18500" y="12250"/>
                </a:cubicBezTo>
                <a:cubicBezTo>
                  <a:pt x="18500" y="12250"/>
                  <a:pt x="18469" y="12250"/>
                  <a:pt x="18438" y="12281"/>
                </a:cubicBezTo>
                <a:cubicBezTo>
                  <a:pt x="18594" y="12344"/>
                  <a:pt x="18688" y="12281"/>
                  <a:pt x="18781" y="12219"/>
                </a:cubicBezTo>
                <a:cubicBezTo>
                  <a:pt x="19031" y="12094"/>
                  <a:pt x="19313" y="12000"/>
                  <a:pt x="19531" y="11844"/>
                </a:cubicBezTo>
                <a:cubicBezTo>
                  <a:pt x="19688" y="11781"/>
                  <a:pt x="19875" y="11719"/>
                  <a:pt x="20063" y="11750"/>
                </a:cubicBezTo>
                <a:cubicBezTo>
                  <a:pt x="20125" y="11781"/>
                  <a:pt x="20156" y="11781"/>
                  <a:pt x="20250" y="11719"/>
                </a:cubicBezTo>
                <a:cubicBezTo>
                  <a:pt x="20219" y="11750"/>
                  <a:pt x="20219" y="11813"/>
                  <a:pt x="20219" y="11813"/>
                </a:cubicBezTo>
                <a:cubicBezTo>
                  <a:pt x="19875" y="11938"/>
                  <a:pt x="19594" y="12094"/>
                  <a:pt x="19281" y="12250"/>
                </a:cubicBezTo>
                <a:cubicBezTo>
                  <a:pt x="19250" y="12281"/>
                  <a:pt x="19250" y="12281"/>
                  <a:pt x="19219" y="12281"/>
                </a:cubicBezTo>
                <a:cubicBezTo>
                  <a:pt x="19188" y="12344"/>
                  <a:pt x="19125" y="12344"/>
                  <a:pt x="19094" y="12375"/>
                </a:cubicBezTo>
                <a:cubicBezTo>
                  <a:pt x="19063" y="12375"/>
                  <a:pt x="19063" y="12375"/>
                  <a:pt x="19031" y="12375"/>
                </a:cubicBezTo>
                <a:cubicBezTo>
                  <a:pt x="18719" y="12563"/>
                  <a:pt x="18438" y="12719"/>
                  <a:pt x="18125" y="12875"/>
                </a:cubicBezTo>
                <a:cubicBezTo>
                  <a:pt x="17875" y="13000"/>
                  <a:pt x="17656" y="13125"/>
                  <a:pt x="17406" y="13250"/>
                </a:cubicBezTo>
                <a:cubicBezTo>
                  <a:pt x="17438" y="13281"/>
                  <a:pt x="17469" y="13281"/>
                  <a:pt x="17469" y="13313"/>
                </a:cubicBezTo>
                <a:cubicBezTo>
                  <a:pt x="17469" y="13313"/>
                  <a:pt x="17469" y="13313"/>
                  <a:pt x="17469" y="13344"/>
                </a:cubicBezTo>
                <a:cubicBezTo>
                  <a:pt x="17469" y="13344"/>
                  <a:pt x="17469" y="13344"/>
                  <a:pt x="17438" y="13344"/>
                </a:cubicBezTo>
                <a:cubicBezTo>
                  <a:pt x="17438" y="13344"/>
                  <a:pt x="17406" y="13375"/>
                  <a:pt x="17406" y="13375"/>
                </a:cubicBezTo>
                <a:cubicBezTo>
                  <a:pt x="17375" y="13375"/>
                  <a:pt x="17313" y="13375"/>
                  <a:pt x="17313" y="13438"/>
                </a:cubicBezTo>
                <a:cubicBezTo>
                  <a:pt x="17281" y="13500"/>
                  <a:pt x="17344" y="13500"/>
                  <a:pt x="17375" y="13500"/>
                </a:cubicBezTo>
                <a:cubicBezTo>
                  <a:pt x="17250" y="13656"/>
                  <a:pt x="17063" y="13719"/>
                  <a:pt x="16938" y="13813"/>
                </a:cubicBezTo>
                <a:cubicBezTo>
                  <a:pt x="16719" y="13969"/>
                  <a:pt x="16469" y="14094"/>
                  <a:pt x="16219" y="14250"/>
                </a:cubicBezTo>
                <a:cubicBezTo>
                  <a:pt x="16094" y="14344"/>
                  <a:pt x="15969" y="14469"/>
                  <a:pt x="15875" y="14625"/>
                </a:cubicBezTo>
                <a:cubicBezTo>
                  <a:pt x="15813" y="14688"/>
                  <a:pt x="15750" y="14719"/>
                  <a:pt x="15719" y="14813"/>
                </a:cubicBezTo>
                <a:cubicBezTo>
                  <a:pt x="15906" y="14750"/>
                  <a:pt x="16031" y="14656"/>
                  <a:pt x="16188" y="14594"/>
                </a:cubicBezTo>
                <a:cubicBezTo>
                  <a:pt x="16563" y="14438"/>
                  <a:pt x="16906" y="14281"/>
                  <a:pt x="17313" y="14156"/>
                </a:cubicBezTo>
                <a:cubicBezTo>
                  <a:pt x="17438" y="14125"/>
                  <a:pt x="17594" y="14063"/>
                  <a:pt x="17750" y="14000"/>
                </a:cubicBezTo>
                <a:cubicBezTo>
                  <a:pt x="17813" y="13969"/>
                  <a:pt x="17875" y="13938"/>
                  <a:pt x="17969" y="14031"/>
                </a:cubicBezTo>
                <a:cubicBezTo>
                  <a:pt x="18094" y="14188"/>
                  <a:pt x="18250" y="14156"/>
                  <a:pt x="18406" y="14094"/>
                </a:cubicBezTo>
                <a:cubicBezTo>
                  <a:pt x="18438" y="14063"/>
                  <a:pt x="18469" y="14063"/>
                  <a:pt x="18531" y="14063"/>
                </a:cubicBezTo>
                <a:cubicBezTo>
                  <a:pt x="18625" y="14063"/>
                  <a:pt x="18625" y="14125"/>
                  <a:pt x="18594" y="14188"/>
                </a:cubicBezTo>
                <a:cubicBezTo>
                  <a:pt x="18563" y="14281"/>
                  <a:pt x="18500" y="14313"/>
                  <a:pt x="18438" y="14344"/>
                </a:cubicBezTo>
                <a:cubicBezTo>
                  <a:pt x="18375" y="14375"/>
                  <a:pt x="18281" y="14375"/>
                  <a:pt x="18344" y="14500"/>
                </a:cubicBezTo>
                <a:cubicBezTo>
                  <a:pt x="18375" y="14531"/>
                  <a:pt x="18313" y="14563"/>
                  <a:pt x="18250" y="14563"/>
                </a:cubicBezTo>
                <a:cubicBezTo>
                  <a:pt x="18031" y="14719"/>
                  <a:pt x="17781" y="14813"/>
                  <a:pt x="17563" y="14938"/>
                </a:cubicBezTo>
                <a:cubicBezTo>
                  <a:pt x="17313" y="15094"/>
                  <a:pt x="17063" y="15250"/>
                  <a:pt x="16813" y="15375"/>
                </a:cubicBezTo>
                <a:cubicBezTo>
                  <a:pt x="16813" y="15406"/>
                  <a:pt x="16813" y="15406"/>
                  <a:pt x="16813" y="15406"/>
                </a:cubicBezTo>
                <a:cubicBezTo>
                  <a:pt x="16781" y="15406"/>
                  <a:pt x="16750" y="15406"/>
                  <a:pt x="16781" y="15438"/>
                </a:cubicBezTo>
                <a:cubicBezTo>
                  <a:pt x="16813" y="15469"/>
                  <a:pt x="16813" y="15500"/>
                  <a:pt x="16781" y="15500"/>
                </a:cubicBezTo>
                <a:cubicBezTo>
                  <a:pt x="16594" y="15531"/>
                  <a:pt x="16500" y="15656"/>
                  <a:pt x="16344" y="15719"/>
                </a:cubicBezTo>
                <a:cubicBezTo>
                  <a:pt x="15969" y="15875"/>
                  <a:pt x="15750" y="16188"/>
                  <a:pt x="15438" y="16406"/>
                </a:cubicBezTo>
                <a:cubicBezTo>
                  <a:pt x="15406" y="16438"/>
                  <a:pt x="15375" y="16469"/>
                  <a:pt x="15344" y="16438"/>
                </a:cubicBezTo>
                <a:cubicBezTo>
                  <a:pt x="15344" y="16469"/>
                  <a:pt x="15344" y="16469"/>
                  <a:pt x="15313" y="16469"/>
                </a:cubicBezTo>
                <a:cubicBezTo>
                  <a:pt x="15344" y="16531"/>
                  <a:pt x="15344" y="16563"/>
                  <a:pt x="15375" y="16594"/>
                </a:cubicBezTo>
                <a:cubicBezTo>
                  <a:pt x="15688" y="16344"/>
                  <a:pt x="15969" y="16125"/>
                  <a:pt x="16281" y="15906"/>
                </a:cubicBezTo>
                <a:cubicBezTo>
                  <a:pt x="16375" y="15813"/>
                  <a:pt x="16500" y="15813"/>
                  <a:pt x="16625" y="15813"/>
                </a:cubicBezTo>
                <a:cubicBezTo>
                  <a:pt x="16719" y="15781"/>
                  <a:pt x="16844" y="15781"/>
                  <a:pt x="16938" y="15781"/>
                </a:cubicBezTo>
                <a:cubicBezTo>
                  <a:pt x="17063" y="15781"/>
                  <a:pt x="17156" y="15750"/>
                  <a:pt x="17250" y="15750"/>
                </a:cubicBezTo>
                <a:cubicBezTo>
                  <a:pt x="17313" y="15719"/>
                  <a:pt x="17375" y="15719"/>
                  <a:pt x="17406" y="15719"/>
                </a:cubicBezTo>
                <a:cubicBezTo>
                  <a:pt x="17438" y="15719"/>
                  <a:pt x="17438" y="15719"/>
                  <a:pt x="17469" y="15719"/>
                </a:cubicBezTo>
                <a:cubicBezTo>
                  <a:pt x="17531" y="15750"/>
                  <a:pt x="17594" y="15750"/>
                  <a:pt x="17656" y="15781"/>
                </a:cubicBezTo>
                <a:cubicBezTo>
                  <a:pt x="17688" y="15813"/>
                  <a:pt x="17750" y="15844"/>
                  <a:pt x="17813" y="15875"/>
                </a:cubicBezTo>
                <a:cubicBezTo>
                  <a:pt x="17813" y="15906"/>
                  <a:pt x="17719" y="15906"/>
                  <a:pt x="17750" y="15969"/>
                </a:cubicBezTo>
                <a:cubicBezTo>
                  <a:pt x="17781" y="16000"/>
                  <a:pt x="17844" y="16000"/>
                  <a:pt x="17844" y="16000"/>
                </a:cubicBezTo>
                <a:cubicBezTo>
                  <a:pt x="17750" y="16063"/>
                  <a:pt x="17594" y="16094"/>
                  <a:pt x="17469" y="16125"/>
                </a:cubicBezTo>
                <a:cubicBezTo>
                  <a:pt x="17063" y="16281"/>
                  <a:pt x="16656" y="16438"/>
                  <a:pt x="16281" y="16563"/>
                </a:cubicBezTo>
                <a:cubicBezTo>
                  <a:pt x="16094" y="16656"/>
                  <a:pt x="15906" y="16688"/>
                  <a:pt x="15719" y="16781"/>
                </a:cubicBezTo>
                <a:cubicBezTo>
                  <a:pt x="15688" y="16813"/>
                  <a:pt x="15625" y="16813"/>
                  <a:pt x="15594" y="16781"/>
                </a:cubicBezTo>
                <a:cubicBezTo>
                  <a:pt x="15594" y="16844"/>
                  <a:pt x="15656" y="16906"/>
                  <a:pt x="15688" y="16938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938" y="16781"/>
                  <a:pt x="16250" y="16688"/>
                  <a:pt x="16531" y="16563"/>
                </a:cubicBezTo>
                <a:cubicBezTo>
                  <a:pt x="16438" y="16625"/>
                  <a:pt x="16344" y="16688"/>
                  <a:pt x="16219" y="16719"/>
                </a:cubicBezTo>
                <a:cubicBezTo>
                  <a:pt x="16063" y="16813"/>
                  <a:pt x="15875" y="16906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688" y="16969"/>
                  <a:pt x="15688" y="16969"/>
                  <a:pt x="15688" y="16969"/>
                </a:cubicBezTo>
                <a:cubicBezTo>
                  <a:pt x="15563" y="17031"/>
                  <a:pt x="15438" y="16938"/>
                  <a:pt x="15344" y="16969"/>
                </a:cubicBezTo>
                <a:cubicBezTo>
                  <a:pt x="15313" y="16969"/>
                  <a:pt x="15313" y="17000"/>
                  <a:pt x="15281" y="17000"/>
                </a:cubicBezTo>
                <a:cubicBezTo>
                  <a:pt x="15281" y="17000"/>
                  <a:pt x="15281" y="17000"/>
                  <a:pt x="15281" y="17031"/>
                </a:cubicBezTo>
                <a:cubicBezTo>
                  <a:pt x="15156" y="17125"/>
                  <a:pt x="15063" y="17313"/>
                  <a:pt x="14938" y="17406"/>
                </a:cubicBezTo>
                <a:cubicBezTo>
                  <a:pt x="14906" y="17406"/>
                  <a:pt x="14875" y="17438"/>
                  <a:pt x="14844" y="17438"/>
                </a:cubicBezTo>
                <a:cubicBezTo>
                  <a:pt x="14844" y="17469"/>
                  <a:pt x="14813" y="17469"/>
                  <a:pt x="14781" y="17500"/>
                </a:cubicBezTo>
                <a:cubicBezTo>
                  <a:pt x="14781" y="17500"/>
                  <a:pt x="14750" y="17531"/>
                  <a:pt x="14719" y="17531"/>
                </a:cubicBezTo>
                <a:cubicBezTo>
                  <a:pt x="14594" y="17625"/>
                  <a:pt x="14531" y="17781"/>
                  <a:pt x="14406" y="17875"/>
                </a:cubicBezTo>
                <a:cubicBezTo>
                  <a:pt x="14406" y="17875"/>
                  <a:pt x="14375" y="17875"/>
                  <a:pt x="14375" y="17906"/>
                </a:cubicBezTo>
                <a:cubicBezTo>
                  <a:pt x="14344" y="17906"/>
                  <a:pt x="14313" y="17938"/>
                  <a:pt x="14313" y="17938"/>
                </a:cubicBezTo>
                <a:cubicBezTo>
                  <a:pt x="14281" y="17938"/>
                  <a:pt x="14250" y="17969"/>
                  <a:pt x="14219" y="17969"/>
                </a:cubicBezTo>
                <a:cubicBezTo>
                  <a:pt x="14188" y="18063"/>
                  <a:pt x="14125" y="18125"/>
                  <a:pt x="14063" y="18188"/>
                </a:cubicBezTo>
                <a:cubicBezTo>
                  <a:pt x="14000" y="18281"/>
                  <a:pt x="14000" y="18344"/>
                  <a:pt x="14125" y="18344"/>
                </a:cubicBezTo>
                <a:cubicBezTo>
                  <a:pt x="14219" y="18344"/>
                  <a:pt x="14313" y="18344"/>
                  <a:pt x="14438" y="18344"/>
                </a:cubicBezTo>
                <a:cubicBezTo>
                  <a:pt x="14438" y="18344"/>
                  <a:pt x="14438" y="18344"/>
                  <a:pt x="14438" y="18344"/>
                </a:cubicBezTo>
                <a:cubicBezTo>
                  <a:pt x="14469" y="18344"/>
                  <a:pt x="14500" y="18344"/>
                  <a:pt x="14531" y="18344"/>
                </a:cubicBezTo>
                <a:cubicBezTo>
                  <a:pt x="14594" y="18344"/>
                  <a:pt x="14688" y="18344"/>
                  <a:pt x="14750" y="18344"/>
                </a:cubicBezTo>
                <a:cubicBezTo>
                  <a:pt x="14781" y="18375"/>
                  <a:pt x="14813" y="18375"/>
                  <a:pt x="14844" y="18375"/>
                </a:cubicBezTo>
                <a:cubicBezTo>
                  <a:pt x="14844" y="18375"/>
                  <a:pt x="14875" y="18375"/>
                  <a:pt x="14875" y="18406"/>
                </a:cubicBezTo>
                <a:cubicBezTo>
                  <a:pt x="15063" y="18406"/>
                  <a:pt x="15188" y="18438"/>
                  <a:pt x="15344" y="18469"/>
                </a:cubicBezTo>
                <a:cubicBezTo>
                  <a:pt x="15469" y="18500"/>
                  <a:pt x="15594" y="18500"/>
                  <a:pt x="15719" y="18563"/>
                </a:cubicBezTo>
                <a:cubicBezTo>
                  <a:pt x="15781" y="18563"/>
                  <a:pt x="15844" y="18594"/>
                  <a:pt x="15906" y="18594"/>
                </a:cubicBezTo>
                <a:cubicBezTo>
                  <a:pt x="16000" y="18656"/>
                  <a:pt x="16094" y="18688"/>
                  <a:pt x="16156" y="18719"/>
                </a:cubicBezTo>
                <a:cubicBezTo>
                  <a:pt x="16344" y="18813"/>
                  <a:pt x="16500" y="18906"/>
                  <a:pt x="16656" y="19000"/>
                </a:cubicBezTo>
                <a:cubicBezTo>
                  <a:pt x="16156" y="18906"/>
                  <a:pt x="15688" y="18844"/>
                  <a:pt x="15219" y="18813"/>
                </a:cubicBezTo>
                <a:cubicBezTo>
                  <a:pt x="15094" y="18813"/>
                  <a:pt x="14938" y="18813"/>
                  <a:pt x="14813" y="18813"/>
                </a:cubicBezTo>
                <a:cubicBezTo>
                  <a:pt x="14781" y="18844"/>
                  <a:pt x="14750" y="18844"/>
                  <a:pt x="14719" y="18844"/>
                </a:cubicBezTo>
                <a:cubicBezTo>
                  <a:pt x="14656" y="18844"/>
                  <a:pt x="14625" y="18844"/>
                  <a:pt x="14563" y="18875"/>
                </a:cubicBezTo>
                <a:cubicBezTo>
                  <a:pt x="14531" y="18875"/>
                  <a:pt x="14500" y="18875"/>
                  <a:pt x="14469" y="18875"/>
                </a:cubicBezTo>
                <a:cubicBezTo>
                  <a:pt x="14031" y="18875"/>
                  <a:pt x="13656" y="19063"/>
                  <a:pt x="13375" y="19406"/>
                </a:cubicBezTo>
                <a:cubicBezTo>
                  <a:pt x="13375" y="19438"/>
                  <a:pt x="13344" y="19438"/>
                  <a:pt x="13313" y="19469"/>
                </a:cubicBezTo>
                <a:cubicBezTo>
                  <a:pt x="13313" y="19531"/>
                  <a:pt x="13281" y="19563"/>
                  <a:pt x="13313" y="19594"/>
                </a:cubicBezTo>
                <a:cubicBezTo>
                  <a:pt x="13313" y="19594"/>
                  <a:pt x="13313" y="19594"/>
                  <a:pt x="13313" y="19594"/>
                </a:cubicBezTo>
                <a:cubicBezTo>
                  <a:pt x="13344" y="19625"/>
                  <a:pt x="13375" y="19594"/>
                  <a:pt x="13406" y="19594"/>
                </a:cubicBezTo>
                <a:cubicBezTo>
                  <a:pt x="13438" y="19594"/>
                  <a:pt x="13438" y="19563"/>
                  <a:pt x="13438" y="19563"/>
                </a:cubicBezTo>
                <a:cubicBezTo>
                  <a:pt x="13438" y="19563"/>
                  <a:pt x="13469" y="19563"/>
                  <a:pt x="13469" y="19563"/>
                </a:cubicBezTo>
                <a:cubicBezTo>
                  <a:pt x="13500" y="19563"/>
                  <a:pt x="13500" y="19531"/>
                  <a:pt x="13500" y="19531"/>
                </a:cubicBezTo>
                <a:cubicBezTo>
                  <a:pt x="13594" y="19438"/>
                  <a:pt x="13688" y="19344"/>
                  <a:pt x="13781" y="19250"/>
                </a:cubicBezTo>
                <a:cubicBezTo>
                  <a:pt x="13813" y="19219"/>
                  <a:pt x="13875" y="19188"/>
                  <a:pt x="13875" y="19250"/>
                </a:cubicBezTo>
                <a:cubicBezTo>
                  <a:pt x="13906" y="19313"/>
                  <a:pt x="13969" y="19313"/>
                  <a:pt x="14000" y="19281"/>
                </a:cubicBezTo>
                <a:cubicBezTo>
                  <a:pt x="14188" y="19219"/>
                  <a:pt x="14344" y="19156"/>
                  <a:pt x="14531" y="19156"/>
                </a:cubicBezTo>
                <a:cubicBezTo>
                  <a:pt x="14625" y="19156"/>
                  <a:pt x="14719" y="19156"/>
                  <a:pt x="14813" y="19156"/>
                </a:cubicBezTo>
                <a:cubicBezTo>
                  <a:pt x="14906" y="19156"/>
                  <a:pt x="15031" y="19156"/>
                  <a:pt x="15125" y="19156"/>
                </a:cubicBezTo>
                <a:cubicBezTo>
                  <a:pt x="15156" y="19156"/>
                  <a:pt x="15156" y="19156"/>
                  <a:pt x="15188" y="19156"/>
                </a:cubicBezTo>
                <a:cubicBezTo>
                  <a:pt x="15188" y="19156"/>
                  <a:pt x="15188" y="19156"/>
                  <a:pt x="15188" y="19156"/>
                </a:cubicBezTo>
                <a:cubicBezTo>
                  <a:pt x="15188" y="19156"/>
                  <a:pt x="15188" y="19156"/>
                  <a:pt x="15188" y="19156"/>
                </a:cubicBezTo>
                <a:cubicBezTo>
                  <a:pt x="15219" y="19156"/>
                  <a:pt x="15250" y="19156"/>
                  <a:pt x="15281" y="19156"/>
                </a:cubicBezTo>
                <a:cubicBezTo>
                  <a:pt x="15313" y="19156"/>
                  <a:pt x="15313" y="19156"/>
                  <a:pt x="15313" y="19156"/>
                </a:cubicBezTo>
                <a:cubicBezTo>
                  <a:pt x="15344" y="19156"/>
                  <a:pt x="15344" y="19156"/>
                  <a:pt x="15344" y="19188"/>
                </a:cubicBezTo>
                <a:cubicBezTo>
                  <a:pt x="15406" y="19188"/>
                  <a:pt x="15438" y="19188"/>
                  <a:pt x="15500" y="19188"/>
                </a:cubicBezTo>
                <a:cubicBezTo>
                  <a:pt x="15469" y="19188"/>
                  <a:pt x="15469" y="19156"/>
                  <a:pt x="15438" y="19125"/>
                </a:cubicBezTo>
                <a:cubicBezTo>
                  <a:pt x="15500" y="19125"/>
                  <a:pt x="15563" y="19125"/>
                  <a:pt x="15656" y="19125"/>
                </a:cubicBezTo>
                <a:cubicBezTo>
                  <a:pt x="15875" y="19094"/>
                  <a:pt x="16063" y="19250"/>
                  <a:pt x="16250" y="19344"/>
                </a:cubicBezTo>
                <a:cubicBezTo>
                  <a:pt x="16281" y="19375"/>
                  <a:pt x="16313" y="19375"/>
                  <a:pt x="16313" y="19406"/>
                </a:cubicBezTo>
                <a:cubicBezTo>
                  <a:pt x="16344" y="19438"/>
                  <a:pt x="16500" y="19375"/>
                  <a:pt x="16375" y="19500"/>
                </a:cubicBezTo>
                <a:cubicBezTo>
                  <a:pt x="16406" y="19531"/>
                  <a:pt x="16406" y="19563"/>
                  <a:pt x="16438" y="19563"/>
                </a:cubicBezTo>
                <a:cubicBezTo>
                  <a:pt x="16406" y="19563"/>
                  <a:pt x="16406" y="19563"/>
                  <a:pt x="16375" y="19563"/>
                </a:cubicBezTo>
                <a:cubicBezTo>
                  <a:pt x="16188" y="19531"/>
                  <a:pt x="16000" y="19500"/>
                  <a:pt x="15813" y="19438"/>
                </a:cubicBezTo>
                <a:cubicBezTo>
                  <a:pt x="15813" y="19438"/>
                  <a:pt x="15781" y="19438"/>
                  <a:pt x="15781" y="19438"/>
                </a:cubicBezTo>
                <a:cubicBezTo>
                  <a:pt x="15719" y="19438"/>
                  <a:pt x="15688" y="19406"/>
                  <a:pt x="15625" y="19406"/>
                </a:cubicBezTo>
                <a:cubicBezTo>
                  <a:pt x="15625" y="19406"/>
                  <a:pt x="15625" y="19406"/>
                  <a:pt x="15625" y="19406"/>
                </a:cubicBezTo>
                <a:cubicBezTo>
                  <a:pt x="15594" y="19406"/>
                  <a:pt x="15594" y="19375"/>
                  <a:pt x="15594" y="19344"/>
                </a:cubicBezTo>
                <a:cubicBezTo>
                  <a:pt x="15563" y="19313"/>
                  <a:pt x="15500" y="19313"/>
                  <a:pt x="15438" y="19313"/>
                </a:cubicBezTo>
                <a:cubicBezTo>
                  <a:pt x="15438" y="19313"/>
                  <a:pt x="15406" y="19313"/>
                  <a:pt x="15406" y="19313"/>
                </a:cubicBezTo>
                <a:cubicBezTo>
                  <a:pt x="15406" y="19313"/>
                  <a:pt x="15406" y="19313"/>
                  <a:pt x="15375" y="19313"/>
                </a:cubicBezTo>
                <a:cubicBezTo>
                  <a:pt x="15375" y="19313"/>
                  <a:pt x="15375" y="19281"/>
                  <a:pt x="15375" y="19281"/>
                </a:cubicBezTo>
                <a:cubicBezTo>
                  <a:pt x="15375" y="19250"/>
                  <a:pt x="15344" y="19250"/>
                  <a:pt x="15313" y="19250"/>
                </a:cubicBezTo>
                <a:cubicBezTo>
                  <a:pt x="15313" y="19250"/>
                  <a:pt x="15281" y="19250"/>
                  <a:pt x="15281" y="19250"/>
                </a:cubicBezTo>
                <a:cubicBezTo>
                  <a:pt x="15281" y="19281"/>
                  <a:pt x="15250" y="19281"/>
                  <a:pt x="15250" y="19281"/>
                </a:cubicBezTo>
                <a:cubicBezTo>
                  <a:pt x="15250" y="19281"/>
                  <a:pt x="15250" y="19281"/>
                  <a:pt x="15250" y="19281"/>
                </a:cubicBezTo>
                <a:cubicBezTo>
                  <a:pt x="15219" y="19250"/>
                  <a:pt x="15219" y="19250"/>
                  <a:pt x="15219" y="19250"/>
                </a:cubicBezTo>
                <a:cubicBezTo>
                  <a:pt x="15219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188" y="19250"/>
                  <a:pt x="15188" y="19250"/>
                  <a:pt x="15188" y="19250"/>
                </a:cubicBezTo>
                <a:cubicBezTo>
                  <a:pt x="15094" y="19250"/>
                  <a:pt x="15000" y="19219"/>
                  <a:pt x="14906" y="19219"/>
                </a:cubicBezTo>
                <a:cubicBezTo>
                  <a:pt x="14875" y="19219"/>
                  <a:pt x="14875" y="19219"/>
                  <a:pt x="14875" y="19219"/>
                </a:cubicBezTo>
                <a:cubicBezTo>
                  <a:pt x="14844" y="19219"/>
                  <a:pt x="14813" y="19219"/>
                  <a:pt x="14781" y="19219"/>
                </a:cubicBezTo>
                <a:cubicBezTo>
                  <a:pt x="14719" y="19250"/>
                  <a:pt x="14688" y="19250"/>
                  <a:pt x="14656" y="19250"/>
                </a:cubicBezTo>
                <a:cubicBezTo>
                  <a:pt x="14625" y="19250"/>
                  <a:pt x="14594" y="19250"/>
                  <a:pt x="14563" y="19250"/>
                </a:cubicBezTo>
                <a:cubicBezTo>
                  <a:pt x="14469" y="19281"/>
                  <a:pt x="14375" y="19281"/>
                  <a:pt x="14281" y="19313"/>
                </a:cubicBezTo>
                <a:cubicBezTo>
                  <a:pt x="14188" y="19313"/>
                  <a:pt x="14125" y="19344"/>
                  <a:pt x="14063" y="19344"/>
                </a:cubicBezTo>
                <a:cubicBezTo>
                  <a:pt x="14000" y="19375"/>
                  <a:pt x="14000" y="19375"/>
                  <a:pt x="14031" y="19406"/>
                </a:cubicBezTo>
                <a:cubicBezTo>
                  <a:pt x="14250" y="19406"/>
                  <a:pt x="14438" y="19406"/>
                  <a:pt x="14688" y="19406"/>
                </a:cubicBezTo>
                <a:cubicBezTo>
                  <a:pt x="14625" y="19469"/>
                  <a:pt x="14594" y="19469"/>
                  <a:pt x="14531" y="19500"/>
                </a:cubicBezTo>
                <a:cubicBezTo>
                  <a:pt x="14469" y="19500"/>
                  <a:pt x="14438" y="19500"/>
                  <a:pt x="14406" y="19531"/>
                </a:cubicBezTo>
                <a:cubicBezTo>
                  <a:pt x="14438" y="19563"/>
                  <a:pt x="14500" y="19563"/>
                  <a:pt x="14563" y="19563"/>
                </a:cubicBezTo>
                <a:cubicBezTo>
                  <a:pt x="14594" y="19563"/>
                  <a:pt x="14625" y="19563"/>
                  <a:pt x="14625" y="19563"/>
                </a:cubicBezTo>
                <a:cubicBezTo>
                  <a:pt x="14656" y="19563"/>
                  <a:pt x="14688" y="19563"/>
                  <a:pt x="14688" y="19563"/>
                </a:cubicBezTo>
                <a:cubicBezTo>
                  <a:pt x="14750" y="19563"/>
                  <a:pt x="14781" y="19563"/>
                  <a:pt x="14813" y="19563"/>
                </a:cubicBezTo>
                <a:cubicBezTo>
                  <a:pt x="14844" y="19563"/>
                  <a:pt x="14875" y="19563"/>
                  <a:pt x="14875" y="19594"/>
                </a:cubicBezTo>
                <a:cubicBezTo>
                  <a:pt x="15125" y="19625"/>
                  <a:pt x="15406" y="19656"/>
                  <a:pt x="15656" y="19750"/>
                </a:cubicBezTo>
                <a:cubicBezTo>
                  <a:pt x="15688" y="19750"/>
                  <a:pt x="15719" y="19750"/>
                  <a:pt x="15750" y="19750"/>
                </a:cubicBezTo>
                <a:cubicBezTo>
                  <a:pt x="15781" y="19719"/>
                  <a:pt x="15813" y="19719"/>
                  <a:pt x="15875" y="19688"/>
                </a:cubicBezTo>
                <a:cubicBezTo>
                  <a:pt x="15719" y="19656"/>
                  <a:pt x="15594" y="19625"/>
                  <a:pt x="15469" y="19563"/>
                </a:cubicBezTo>
                <a:cubicBezTo>
                  <a:pt x="15281" y="19531"/>
                  <a:pt x="15125" y="19500"/>
                  <a:pt x="14938" y="19469"/>
                </a:cubicBezTo>
                <a:cubicBezTo>
                  <a:pt x="16125" y="19531"/>
                  <a:pt x="17188" y="19844"/>
                  <a:pt x="18125" y="20563"/>
                </a:cubicBezTo>
                <a:cubicBezTo>
                  <a:pt x="18125" y="20563"/>
                  <a:pt x="18125" y="20594"/>
                  <a:pt x="18125" y="20594"/>
                </a:cubicBezTo>
                <a:cubicBezTo>
                  <a:pt x="17719" y="20469"/>
                  <a:pt x="17313" y="20313"/>
                  <a:pt x="16938" y="20188"/>
                </a:cubicBezTo>
                <a:cubicBezTo>
                  <a:pt x="16906" y="20250"/>
                  <a:pt x="16906" y="20281"/>
                  <a:pt x="16844" y="20281"/>
                </a:cubicBezTo>
                <a:cubicBezTo>
                  <a:pt x="16813" y="20281"/>
                  <a:pt x="16813" y="20281"/>
                  <a:pt x="16781" y="20250"/>
                </a:cubicBezTo>
                <a:cubicBezTo>
                  <a:pt x="16688" y="20250"/>
                  <a:pt x="16625" y="20219"/>
                  <a:pt x="16531" y="20219"/>
                </a:cubicBezTo>
                <a:cubicBezTo>
                  <a:pt x="16531" y="20219"/>
                  <a:pt x="16531" y="20219"/>
                  <a:pt x="16500" y="20219"/>
                </a:cubicBezTo>
                <a:cubicBezTo>
                  <a:pt x="16500" y="20219"/>
                  <a:pt x="16469" y="20219"/>
                  <a:pt x="16469" y="20219"/>
                </a:cubicBezTo>
                <a:cubicBezTo>
                  <a:pt x="16438" y="20219"/>
                  <a:pt x="16406" y="20188"/>
                  <a:pt x="16375" y="20188"/>
                </a:cubicBezTo>
                <a:cubicBezTo>
                  <a:pt x="16344" y="20188"/>
                  <a:pt x="16313" y="20188"/>
                  <a:pt x="16281" y="20156"/>
                </a:cubicBezTo>
                <a:cubicBezTo>
                  <a:pt x="16125" y="20125"/>
                  <a:pt x="15969" y="20094"/>
                  <a:pt x="15813" y="20094"/>
                </a:cubicBezTo>
                <a:cubicBezTo>
                  <a:pt x="15813" y="20094"/>
                  <a:pt x="15781" y="20125"/>
                  <a:pt x="15781" y="20125"/>
                </a:cubicBezTo>
                <a:cubicBezTo>
                  <a:pt x="15906" y="20188"/>
                  <a:pt x="16063" y="20219"/>
                  <a:pt x="16188" y="20250"/>
                </a:cubicBezTo>
                <a:cubicBezTo>
                  <a:pt x="16469" y="20281"/>
                  <a:pt x="16719" y="20344"/>
                  <a:pt x="16969" y="20406"/>
                </a:cubicBezTo>
                <a:cubicBezTo>
                  <a:pt x="17063" y="20438"/>
                  <a:pt x="17156" y="20469"/>
                  <a:pt x="17250" y="20500"/>
                </a:cubicBezTo>
                <a:cubicBezTo>
                  <a:pt x="16781" y="20531"/>
                  <a:pt x="16344" y="20500"/>
                  <a:pt x="15938" y="20344"/>
                </a:cubicBezTo>
                <a:cubicBezTo>
                  <a:pt x="15844" y="20344"/>
                  <a:pt x="15750" y="20313"/>
                  <a:pt x="15656" y="20281"/>
                </a:cubicBezTo>
                <a:cubicBezTo>
                  <a:pt x="15625" y="20281"/>
                  <a:pt x="15625" y="20281"/>
                  <a:pt x="15625" y="20281"/>
                </a:cubicBezTo>
                <a:cubicBezTo>
                  <a:pt x="15594" y="20281"/>
                  <a:pt x="15594" y="20281"/>
                  <a:pt x="15594" y="20281"/>
                </a:cubicBezTo>
                <a:cubicBezTo>
                  <a:pt x="15563" y="20281"/>
                  <a:pt x="15531" y="20281"/>
                  <a:pt x="15500" y="20281"/>
                </a:cubicBezTo>
                <a:cubicBezTo>
                  <a:pt x="15500" y="20281"/>
                  <a:pt x="15500" y="20313"/>
                  <a:pt x="15500" y="20344"/>
                </a:cubicBezTo>
                <a:cubicBezTo>
                  <a:pt x="15750" y="20531"/>
                  <a:pt x="16000" y="20750"/>
                  <a:pt x="16313" y="20844"/>
                </a:cubicBezTo>
                <a:cubicBezTo>
                  <a:pt x="16344" y="20844"/>
                  <a:pt x="16344" y="20875"/>
                  <a:pt x="16375" y="20906"/>
                </a:cubicBezTo>
                <a:cubicBezTo>
                  <a:pt x="16313" y="20969"/>
                  <a:pt x="16250" y="20969"/>
                  <a:pt x="16188" y="20938"/>
                </a:cubicBezTo>
                <a:cubicBezTo>
                  <a:pt x="16063" y="20906"/>
                  <a:pt x="15938" y="20906"/>
                  <a:pt x="15813" y="20875"/>
                </a:cubicBezTo>
                <a:cubicBezTo>
                  <a:pt x="15781" y="20844"/>
                  <a:pt x="15656" y="20844"/>
                  <a:pt x="15750" y="20750"/>
                </a:cubicBezTo>
                <a:cubicBezTo>
                  <a:pt x="15750" y="20719"/>
                  <a:pt x="15750" y="20719"/>
                  <a:pt x="15719" y="20688"/>
                </a:cubicBezTo>
                <a:cubicBezTo>
                  <a:pt x="15656" y="20625"/>
                  <a:pt x="15250" y="20563"/>
                  <a:pt x="15188" y="20625"/>
                </a:cubicBezTo>
                <a:cubicBezTo>
                  <a:pt x="15563" y="20813"/>
                  <a:pt x="15906" y="21000"/>
                  <a:pt x="16250" y="21250"/>
                </a:cubicBezTo>
                <a:cubicBezTo>
                  <a:pt x="16406" y="21344"/>
                  <a:pt x="16531" y="21438"/>
                  <a:pt x="16688" y="21531"/>
                </a:cubicBezTo>
                <a:cubicBezTo>
                  <a:pt x="16875" y="21625"/>
                  <a:pt x="16969" y="21813"/>
                  <a:pt x="17125" y="21969"/>
                </a:cubicBezTo>
                <a:cubicBezTo>
                  <a:pt x="17125" y="21969"/>
                  <a:pt x="17125" y="22000"/>
                  <a:pt x="17125" y="22000"/>
                </a:cubicBezTo>
                <a:cubicBezTo>
                  <a:pt x="17188" y="22063"/>
                  <a:pt x="17250" y="22125"/>
                  <a:pt x="17281" y="22188"/>
                </a:cubicBezTo>
                <a:cubicBezTo>
                  <a:pt x="17281" y="22219"/>
                  <a:pt x="17281" y="22219"/>
                  <a:pt x="17313" y="22219"/>
                </a:cubicBezTo>
                <a:cubicBezTo>
                  <a:pt x="17313" y="22219"/>
                  <a:pt x="17313" y="22219"/>
                  <a:pt x="17313" y="22219"/>
                </a:cubicBezTo>
                <a:cubicBezTo>
                  <a:pt x="17313" y="22250"/>
                  <a:pt x="17344" y="22250"/>
                  <a:pt x="17344" y="22281"/>
                </a:cubicBezTo>
                <a:cubicBezTo>
                  <a:pt x="17375" y="22281"/>
                  <a:pt x="17375" y="22281"/>
                  <a:pt x="17406" y="22313"/>
                </a:cubicBezTo>
                <a:cubicBezTo>
                  <a:pt x="17406" y="22313"/>
                  <a:pt x="17406" y="22313"/>
                  <a:pt x="17406" y="22313"/>
                </a:cubicBezTo>
                <a:cubicBezTo>
                  <a:pt x="17406" y="22344"/>
                  <a:pt x="17406" y="22344"/>
                  <a:pt x="17406" y="22375"/>
                </a:cubicBezTo>
                <a:cubicBezTo>
                  <a:pt x="17469" y="22438"/>
                  <a:pt x="17563" y="22500"/>
                  <a:pt x="17594" y="22594"/>
                </a:cubicBezTo>
                <a:cubicBezTo>
                  <a:pt x="17625" y="22625"/>
                  <a:pt x="17625" y="22656"/>
                  <a:pt x="17656" y="22719"/>
                </a:cubicBezTo>
                <a:cubicBezTo>
                  <a:pt x="17469" y="22469"/>
                  <a:pt x="17156" y="22500"/>
                  <a:pt x="16938" y="22344"/>
                </a:cubicBezTo>
                <a:cubicBezTo>
                  <a:pt x="16969" y="22344"/>
                  <a:pt x="17000" y="22313"/>
                  <a:pt x="17031" y="22313"/>
                </a:cubicBezTo>
                <a:cubicBezTo>
                  <a:pt x="17063" y="22313"/>
                  <a:pt x="17094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7125" y="22313"/>
                  <a:pt x="17125" y="22313"/>
                  <a:pt x="17125" y="22313"/>
                </a:cubicBezTo>
                <a:cubicBezTo>
                  <a:pt x="16969" y="22188"/>
                  <a:pt x="16781" y="22125"/>
                  <a:pt x="16594" y="22031"/>
                </a:cubicBezTo>
                <a:cubicBezTo>
                  <a:pt x="16531" y="22000"/>
                  <a:pt x="16469" y="21969"/>
                  <a:pt x="16438" y="21938"/>
                </a:cubicBezTo>
                <a:cubicBezTo>
                  <a:pt x="16438" y="21938"/>
                  <a:pt x="16406" y="21969"/>
                  <a:pt x="16406" y="21969"/>
                </a:cubicBezTo>
                <a:cubicBezTo>
                  <a:pt x="16406" y="22000"/>
                  <a:pt x="16438" y="22031"/>
                  <a:pt x="16469" y="22063"/>
                </a:cubicBezTo>
                <a:cubicBezTo>
                  <a:pt x="16500" y="22031"/>
                  <a:pt x="16531" y="22063"/>
                  <a:pt x="16531" y="22063"/>
                </a:cubicBezTo>
                <a:cubicBezTo>
                  <a:pt x="16531" y="22063"/>
                  <a:pt x="16563" y="22063"/>
                  <a:pt x="16563" y="22063"/>
                </a:cubicBezTo>
                <a:cubicBezTo>
                  <a:pt x="16563" y="22063"/>
                  <a:pt x="16563" y="22063"/>
                  <a:pt x="16563" y="22063"/>
                </a:cubicBezTo>
                <a:cubicBezTo>
                  <a:pt x="16563" y="22094"/>
                  <a:pt x="16594" y="22094"/>
                  <a:pt x="16594" y="22094"/>
                </a:cubicBezTo>
                <a:cubicBezTo>
                  <a:pt x="16594" y="22094"/>
                  <a:pt x="16594" y="22125"/>
                  <a:pt x="16625" y="22125"/>
                </a:cubicBezTo>
                <a:cubicBezTo>
                  <a:pt x="16594" y="22188"/>
                  <a:pt x="16500" y="22094"/>
                  <a:pt x="16500" y="22188"/>
                </a:cubicBezTo>
                <a:cubicBezTo>
                  <a:pt x="16500" y="22219"/>
                  <a:pt x="16531" y="22250"/>
                  <a:pt x="16563" y="22313"/>
                </a:cubicBezTo>
                <a:cubicBezTo>
                  <a:pt x="16563" y="22344"/>
                  <a:pt x="16625" y="22406"/>
                  <a:pt x="16625" y="22438"/>
                </a:cubicBezTo>
                <a:cubicBezTo>
                  <a:pt x="16531" y="22375"/>
                  <a:pt x="16469" y="22344"/>
                  <a:pt x="16406" y="22281"/>
                </a:cubicBezTo>
                <a:cubicBezTo>
                  <a:pt x="16375" y="22250"/>
                  <a:pt x="16344" y="22250"/>
                  <a:pt x="16313" y="22250"/>
                </a:cubicBezTo>
                <a:cubicBezTo>
                  <a:pt x="16313" y="22250"/>
                  <a:pt x="16313" y="22250"/>
                  <a:pt x="16313" y="22250"/>
                </a:cubicBezTo>
                <a:cubicBezTo>
                  <a:pt x="16313" y="22250"/>
                  <a:pt x="16313" y="22250"/>
                  <a:pt x="16313" y="22219"/>
                </a:cubicBezTo>
                <a:cubicBezTo>
                  <a:pt x="16094" y="22125"/>
                  <a:pt x="15875" y="22031"/>
                  <a:pt x="15656" y="21938"/>
                </a:cubicBezTo>
                <a:cubicBezTo>
                  <a:pt x="15500" y="21875"/>
                  <a:pt x="15344" y="21844"/>
                  <a:pt x="15156" y="21781"/>
                </a:cubicBezTo>
                <a:cubicBezTo>
                  <a:pt x="15063" y="21750"/>
                  <a:pt x="14969" y="21719"/>
                  <a:pt x="14875" y="21719"/>
                </a:cubicBezTo>
                <a:cubicBezTo>
                  <a:pt x="14781" y="21688"/>
                  <a:pt x="14688" y="21656"/>
                  <a:pt x="14625" y="21625"/>
                </a:cubicBezTo>
                <a:cubicBezTo>
                  <a:pt x="14594" y="21625"/>
                  <a:pt x="14563" y="21625"/>
                  <a:pt x="14531" y="21594"/>
                </a:cubicBezTo>
                <a:cubicBezTo>
                  <a:pt x="14438" y="21594"/>
                  <a:pt x="14344" y="21531"/>
                  <a:pt x="14219" y="21563"/>
                </a:cubicBezTo>
                <a:cubicBezTo>
                  <a:pt x="14406" y="21688"/>
                  <a:pt x="14563" y="21813"/>
                  <a:pt x="14750" y="21938"/>
                </a:cubicBezTo>
                <a:cubicBezTo>
                  <a:pt x="14781" y="21969"/>
                  <a:pt x="14813" y="22000"/>
                  <a:pt x="14844" y="22000"/>
                </a:cubicBezTo>
                <a:cubicBezTo>
                  <a:pt x="15094" y="22219"/>
                  <a:pt x="15344" y="22438"/>
                  <a:pt x="15563" y="22688"/>
                </a:cubicBezTo>
                <a:cubicBezTo>
                  <a:pt x="15688" y="22781"/>
                  <a:pt x="15750" y="22906"/>
                  <a:pt x="15844" y="23031"/>
                </a:cubicBezTo>
                <a:cubicBezTo>
                  <a:pt x="15875" y="23063"/>
                  <a:pt x="15906" y="23125"/>
                  <a:pt x="15875" y="23156"/>
                </a:cubicBezTo>
                <a:cubicBezTo>
                  <a:pt x="15813" y="23219"/>
                  <a:pt x="15781" y="23125"/>
                  <a:pt x="15750" y="23094"/>
                </a:cubicBezTo>
                <a:cubicBezTo>
                  <a:pt x="15719" y="23094"/>
                  <a:pt x="15688" y="23063"/>
                  <a:pt x="15656" y="23031"/>
                </a:cubicBezTo>
                <a:cubicBezTo>
                  <a:pt x="15625" y="23000"/>
                  <a:pt x="15625" y="22969"/>
                  <a:pt x="15594" y="22969"/>
                </a:cubicBezTo>
                <a:cubicBezTo>
                  <a:pt x="15563" y="22969"/>
                  <a:pt x="15563" y="22969"/>
                  <a:pt x="15563" y="22938"/>
                </a:cubicBezTo>
                <a:cubicBezTo>
                  <a:pt x="15531" y="22938"/>
                  <a:pt x="15531" y="22938"/>
                  <a:pt x="15500" y="22938"/>
                </a:cubicBezTo>
                <a:cubicBezTo>
                  <a:pt x="15500" y="22938"/>
                  <a:pt x="15469" y="22938"/>
                  <a:pt x="15469" y="22938"/>
                </a:cubicBezTo>
                <a:cubicBezTo>
                  <a:pt x="15469" y="22938"/>
                  <a:pt x="15469" y="22969"/>
                  <a:pt x="15469" y="22969"/>
                </a:cubicBezTo>
                <a:cubicBezTo>
                  <a:pt x="15469" y="22969"/>
                  <a:pt x="15469" y="22969"/>
                  <a:pt x="15469" y="22969"/>
                </a:cubicBezTo>
                <a:cubicBezTo>
                  <a:pt x="15469" y="22969"/>
                  <a:pt x="15469" y="23000"/>
                  <a:pt x="15469" y="23031"/>
                </a:cubicBezTo>
                <a:cubicBezTo>
                  <a:pt x="15469" y="23031"/>
                  <a:pt x="15469" y="23031"/>
                  <a:pt x="15469" y="23031"/>
                </a:cubicBezTo>
                <a:cubicBezTo>
                  <a:pt x="15469" y="23031"/>
                  <a:pt x="15469" y="23031"/>
                  <a:pt x="15469" y="23031"/>
                </a:cubicBezTo>
                <a:cubicBezTo>
                  <a:pt x="15563" y="23063"/>
                  <a:pt x="15625" y="23094"/>
                  <a:pt x="15688" y="23156"/>
                </a:cubicBezTo>
                <a:cubicBezTo>
                  <a:pt x="15719" y="23188"/>
                  <a:pt x="15750" y="23250"/>
                  <a:pt x="15781" y="23281"/>
                </a:cubicBezTo>
                <a:cubicBezTo>
                  <a:pt x="15781" y="23281"/>
                  <a:pt x="15781" y="23281"/>
                  <a:pt x="15781" y="23281"/>
                </a:cubicBezTo>
                <a:cubicBezTo>
                  <a:pt x="15813" y="23250"/>
                  <a:pt x="15844" y="23250"/>
                  <a:pt x="15875" y="23219"/>
                </a:cubicBezTo>
                <a:cubicBezTo>
                  <a:pt x="15938" y="23188"/>
                  <a:pt x="15969" y="23250"/>
                  <a:pt x="16000" y="23313"/>
                </a:cubicBezTo>
                <a:cubicBezTo>
                  <a:pt x="16031" y="23375"/>
                  <a:pt x="16094" y="23406"/>
                  <a:pt x="16063" y="23469"/>
                </a:cubicBezTo>
                <a:cubicBezTo>
                  <a:pt x="16063" y="23531"/>
                  <a:pt x="16063" y="23594"/>
                  <a:pt x="16063" y="23625"/>
                </a:cubicBezTo>
                <a:cubicBezTo>
                  <a:pt x="16063" y="23625"/>
                  <a:pt x="16063" y="23625"/>
                  <a:pt x="16031" y="23625"/>
                </a:cubicBezTo>
                <a:cubicBezTo>
                  <a:pt x="16031" y="23688"/>
                  <a:pt x="15938" y="23750"/>
                  <a:pt x="15906" y="23688"/>
                </a:cubicBezTo>
                <a:cubicBezTo>
                  <a:pt x="15844" y="23594"/>
                  <a:pt x="15781" y="23500"/>
                  <a:pt x="15781" y="23375"/>
                </a:cubicBezTo>
                <a:cubicBezTo>
                  <a:pt x="15781" y="23344"/>
                  <a:pt x="15781" y="23344"/>
                  <a:pt x="15781" y="23313"/>
                </a:cubicBezTo>
                <a:cubicBezTo>
                  <a:pt x="15719" y="23281"/>
                  <a:pt x="15688" y="23281"/>
                  <a:pt x="15688" y="23250"/>
                </a:cubicBezTo>
                <a:cubicBezTo>
                  <a:pt x="15656" y="23313"/>
                  <a:pt x="15625" y="23344"/>
                  <a:pt x="15563" y="23313"/>
                </a:cubicBezTo>
                <a:cubicBezTo>
                  <a:pt x="15563" y="23313"/>
                  <a:pt x="15531" y="23313"/>
                  <a:pt x="15531" y="23313"/>
                </a:cubicBezTo>
                <a:cubicBezTo>
                  <a:pt x="15469" y="23313"/>
                  <a:pt x="15438" y="23313"/>
                  <a:pt x="15375" y="23344"/>
                </a:cubicBezTo>
                <a:cubicBezTo>
                  <a:pt x="15406" y="23344"/>
                  <a:pt x="15406" y="23344"/>
                  <a:pt x="15406" y="23344"/>
                </a:cubicBezTo>
                <a:cubicBezTo>
                  <a:pt x="15531" y="23375"/>
                  <a:pt x="15656" y="23375"/>
                  <a:pt x="15594" y="23563"/>
                </a:cubicBezTo>
                <a:cubicBezTo>
                  <a:pt x="15563" y="23594"/>
                  <a:pt x="15594" y="23625"/>
                  <a:pt x="15594" y="23656"/>
                </a:cubicBezTo>
                <a:cubicBezTo>
                  <a:pt x="15656" y="23625"/>
                  <a:pt x="15531" y="23469"/>
                  <a:pt x="15688" y="23531"/>
                </a:cubicBezTo>
                <a:cubicBezTo>
                  <a:pt x="15750" y="23531"/>
                  <a:pt x="15781" y="23563"/>
                  <a:pt x="15781" y="23594"/>
                </a:cubicBezTo>
                <a:cubicBezTo>
                  <a:pt x="15813" y="23656"/>
                  <a:pt x="15750" y="23688"/>
                  <a:pt x="15719" y="23719"/>
                </a:cubicBezTo>
                <a:cubicBezTo>
                  <a:pt x="15625" y="23750"/>
                  <a:pt x="15594" y="23781"/>
                  <a:pt x="15625" y="23875"/>
                </a:cubicBezTo>
                <a:cubicBezTo>
                  <a:pt x="15625" y="23938"/>
                  <a:pt x="15688" y="23938"/>
                  <a:pt x="15719" y="23938"/>
                </a:cubicBezTo>
                <a:cubicBezTo>
                  <a:pt x="15750" y="23969"/>
                  <a:pt x="15750" y="23906"/>
                  <a:pt x="15781" y="23875"/>
                </a:cubicBezTo>
                <a:cubicBezTo>
                  <a:pt x="15781" y="23844"/>
                  <a:pt x="15781" y="23813"/>
                  <a:pt x="15813" y="23813"/>
                </a:cubicBezTo>
                <a:cubicBezTo>
                  <a:pt x="15875" y="23844"/>
                  <a:pt x="15813" y="23875"/>
                  <a:pt x="15844" y="23938"/>
                </a:cubicBezTo>
                <a:cubicBezTo>
                  <a:pt x="15906" y="23906"/>
                  <a:pt x="15875" y="23875"/>
                  <a:pt x="15875" y="23844"/>
                </a:cubicBezTo>
                <a:cubicBezTo>
                  <a:pt x="15906" y="23813"/>
                  <a:pt x="15938" y="23781"/>
                  <a:pt x="16000" y="23813"/>
                </a:cubicBezTo>
                <a:cubicBezTo>
                  <a:pt x="16063" y="23844"/>
                  <a:pt x="16000" y="23875"/>
                  <a:pt x="15969" y="23906"/>
                </a:cubicBezTo>
                <a:cubicBezTo>
                  <a:pt x="15938" y="23969"/>
                  <a:pt x="15906" y="24000"/>
                  <a:pt x="15875" y="24063"/>
                </a:cubicBezTo>
                <a:cubicBezTo>
                  <a:pt x="15844" y="24094"/>
                  <a:pt x="15781" y="24125"/>
                  <a:pt x="15781" y="24125"/>
                </a:cubicBezTo>
                <a:cubicBezTo>
                  <a:pt x="15781" y="24125"/>
                  <a:pt x="15750" y="24094"/>
                  <a:pt x="15750" y="24094"/>
                </a:cubicBezTo>
                <a:cubicBezTo>
                  <a:pt x="15750" y="24094"/>
                  <a:pt x="15719" y="24094"/>
                  <a:pt x="15719" y="24094"/>
                </a:cubicBezTo>
                <a:cubicBezTo>
                  <a:pt x="15719" y="24094"/>
                  <a:pt x="15719" y="24094"/>
                  <a:pt x="15688" y="24094"/>
                </a:cubicBezTo>
                <a:cubicBezTo>
                  <a:pt x="15688" y="24094"/>
                  <a:pt x="15688" y="24094"/>
                  <a:pt x="15688" y="24094"/>
                </a:cubicBezTo>
                <a:cubicBezTo>
                  <a:pt x="15688" y="24094"/>
                  <a:pt x="15656" y="24125"/>
                  <a:pt x="15656" y="24125"/>
                </a:cubicBezTo>
                <a:cubicBezTo>
                  <a:pt x="15656" y="24125"/>
                  <a:pt x="15656" y="24125"/>
                  <a:pt x="15656" y="24125"/>
                </a:cubicBezTo>
                <a:cubicBezTo>
                  <a:pt x="15625" y="24125"/>
                  <a:pt x="15625" y="24156"/>
                  <a:pt x="15594" y="24156"/>
                </a:cubicBezTo>
                <a:cubicBezTo>
                  <a:pt x="15594" y="24156"/>
                  <a:pt x="15594" y="24156"/>
                  <a:pt x="15563" y="24156"/>
                </a:cubicBezTo>
                <a:cubicBezTo>
                  <a:pt x="15563" y="24156"/>
                  <a:pt x="15563" y="24156"/>
                  <a:pt x="15531" y="24188"/>
                </a:cubicBezTo>
                <a:cubicBezTo>
                  <a:pt x="15500" y="24188"/>
                  <a:pt x="15469" y="24219"/>
                  <a:pt x="15438" y="24219"/>
                </a:cubicBezTo>
                <a:cubicBezTo>
                  <a:pt x="15406" y="24219"/>
                  <a:pt x="15375" y="24250"/>
                  <a:pt x="15344" y="24250"/>
                </a:cubicBezTo>
                <a:cubicBezTo>
                  <a:pt x="15313" y="24281"/>
                  <a:pt x="15313" y="24281"/>
                  <a:pt x="15281" y="24313"/>
                </a:cubicBezTo>
                <a:cubicBezTo>
                  <a:pt x="15219" y="24344"/>
                  <a:pt x="15188" y="24406"/>
                  <a:pt x="15094" y="24406"/>
                </a:cubicBezTo>
                <a:cubicBezTo>
                  <a:pt x="15063" y="24406"/>
                  <a:pt x="15031" y="24406"/>
                  <a:pt x="15000" y="24406"/>
                </a:cubicBezTo>
                <a:cubicBezTo>
                  <a:pt x="14969" y="24406"/>
                  <a:pt x="14969" y="24406"/>
                  <a:pt x="14969" y="24406"/>
                </a:cubicBezTo>
                <a:cubicBezTo>
                  <a:pt x="14938" y="24406"/>
                  <a:pt x="14938" y="24438"/>
                  <a:pt x="14906" y="24438"/>
                </a:cubicBezTo>
                <a:cubicBezTo>
                  <a:pt x="14906" y="24438"/>
                  <a:pt x="14906" y="24438"/>
                  <a:pt x="14875" y="24438"/>
                </a:cubicBezTo>
                <a:cubicBezTo>
                  <a:pt x="14875" y="24500"/>
                  <a:pt x="14906" y="24500"/>
                  <a:pt x="14906" y="24500"/>
                </a:cubicBezTo>
                <a:cubicBezTo>
                  <a:pt x="14938" y="24500"/>
                  <a:pt x="14938" y="24500"/>
                  <a:pt x="14938" y="24500"/>
                </a:cubicBezTo>
                <a:cubicBezTo>
                  <a:pt x="15031" y="24406"/>
                  <a:pt x="15125" y="24438"/>
                  <a:pt x="15250" y="24438"/>
                </a:cubicBezTo>
                <a:cubicBezTo>
                  <a:pt x="15313" y="24438"/>
                  <a:pt x="15375" y="24375"/>
                  <a:pt x="15438" y="24344"/>
                </a:cubicBezTo>
                <a:cubicBezTo>
                  <a:pt x="15531" y="24281"/>
                  <a:pt x="15625" y="24313"/>
                  <a:pt x="15688" y="24406"/>
                </a:cubicBezTo>
                <a:cubicBezTo>
                  <a:pt x="15688" y="24469"/>
                  <a:pt x="15719" y="24469"/>
                  <a:pt x="15750" y="24500"/>
                </a:cubicBezTo>
                <a:cubicBezTo>
                  <a:pt x="15781" y="24563"/>
                  <a:pt x="15844" y="24656"/>
                  <a:pt x="15688" y="24688"/>
                </a:cubicBezTo>
                <a:cubicBezTo>
                  <a:pt x="15594" y="24719"/>
                  <a:pt x="15594" y="24938"/>
                  <a:pt x="15719" y="25031"/>
                </a:cubicBezTo>
                <a:cubicBezTo>
                  <a:pt x="15750" y="25094"/>
                  <a:pt x="15781" y="25125"/>
                  <a:pt x="15750" y="25156"/>
                </a:cubicBezTo>
                <a:cubicBezTo>
                  <a:pt x="15719" y="25156"/>
                  <a:pt x="15719" y="25156"/>
                  <a:pt x="15688" y="25156"/>
                </a:cubicBezTo>
                <a:cubicBezTo>
                  <a:pt x="15656" y="25094"/>
                  <a:pt x="15625" y="24969"/>
                  <a:pt x="15500" y="25063"/>
                </a:cubicBezTo>
                <a:cubicBezTo>
                  <a:pt x="15563" y="25156"/>
                  <a:pt x="15656" y="25250"/>
                  <a:pt x="15719" y="25344"/>
                </a:cubicBezTo>
                <a:cubicBezTo>
                  <a:pt x="15750" y="25375"/>
                  <a:pt x="15750" y="25438"/>
                  <a:pt x="15813" y="25406"/>
                </a:cubicBezTo>
                <a:cubicBezTo>
                  <a:pt x="15875" y="25375"/>
                  <a:pt x="15844" y="25344"/>
                  <a:pt x="15813" y="25313"/>
                </a:cubicBezTo>
                <a:cubicBezTo>
                  <a:pt x="15813" y="25281"/>
                  <a:pt x="15813" y="25219"/>
                  <a:pt x="15844" y="25219"/>
                </a:cubicBezTo>
                <a:cubicBezTo>
                  <a:pt x="15906" y="25188"/>
                  <a:pt x="15906" y="25281"/>
                  <a:pt x="15969" y="25281"/>
                </a:cubicBezTo>
                <a:cubicBezTo>
                  <a:pt x="16063" y="25281"/>
                  <a:pt x="16156" y="25313"/>
                  <a:pt x="16250" y="25250"/>
                </a:cubicBezTo>
                <a:cubicBezTo>
                  <a:pt x="16250" y="25219"/>
                  <a:pt x="16250" y="25219"/>
                  <a:pt x="16250" y="25219"/>
                </a:cubicBezTo>
                <a:cubicBezTo>
                  <a:pt x="16281" y="25188"/>
                  <a:pt x="16281" y="25188"/>
                  <a:pt x="16250" y="25156"/>
                </a:cubicBezTo>
                <a:cubicBezTo>
                  <a:pt x="16250" y="25156"/>
                  <a:pt x="16250" y="25156"/>
                  <a:pt x="16250" y="25156"/>
                </a:cubicBezTo>
                <a:cubicBezTo>
                  <a:pt x="16219" y="25188"/>
                  <a:pt x="16188" y="25188"/>
                  <a:pt x="16156" y="25188"/>
                </a:cubicBezTo>
                <a:cubicBezTo>
                  <a:pt x="16094" y="25219"/>
                  <a:pt x="16063" y="25219"/>
                  <a:pt x="16031" y="25156"/>
                </a:cubicBezTo>
                <a:cubicBezTo>
                  <a:pt x="15969" y="25125"/>
                  <a:pt x="16031" y="25094"/>
                  <a:pt x="16063" y="25063"/>
                </a:cubicBezTo>
                <a:cubicBezTo>
                  <a:pt x="16063" y="25031"/>
                  <a:pt x="16031" y="25000"/>
                  <a:pt x="16094" y="25000"/>
                </a:cubicBezTo>
                <a:cubicBezTo>
                  <a:pt x="16125" y="25063"/>
                  <a:pt x="16219" y="25094"/>
                  <a:pt x="16313" y="25094"/>
                </a:cubicBezTo>
                <a:cubicBezTo>
                  <a:pt x="16344" y="25156"/>
                  <a:pt x="16406" y="25156"/>
                  <a:pt x="16406" y="25094"/>
                </a:cubicBezTo>
                <a:cubicBezTo>
                  <a:pt x="16438" y="25000"/>
                  <a:pt x="16531" y="24969"/>
                  <a:pt x="16563" y="24844"/>
                </a:cubicBezTo>
                <a:cubicBezTo>
                  <a:pt x="16656" y="24969"/>
                  <a:pt x="16656" y="25094"/>
                  <a:pt x="16656" y="25219"/>
                </a:cubicBezTo>
                <a:cubicBezTo>
                  <a:pt x="16656" y="25219"/>
                  <a:pt x="16656" y="25250"/>
                  <a:pt x="16656" y="25250"/>
                </a:cubicBezTo>
                <a:cubicBezTo>
                  <a:pt x="16656" y="25281"/>
                  <a:pt x="16688" y="25313"/>
                  <a:pt x="16719" y="25313"/>
                </a:cubicBezTo>
                <a:cubicBezTo>
                  <a:pt x="16781" y="25313"/>
                  <a:pt x="16781" y="25281"/>
                  <a:pt x="16813" y="25250"/>
                </a:cubicBezTo>
                <a:cubicBezTo>
                  <a:pt x="16844" y="25219"/>
                  <a:pt x="16844" y="25188"/>
                  <a:pt x="16906" y="25156"/>
                </a:cubicBezTo>
                <a:cubicBezTo>
                  <a:pt x="16906" y="25125"/>
                  <a:pt x="16906" y="25125"/>
                  <a:pt x="16938" y="25125"/>
                </a:cubicBezTo>
                <a:cubicBezTo>
                  <a:pt x="16938" y="25156"/>
                  <a:pt x="16938" y="25156"/>
                  <a:pt x="16938" y="25188"/>
                </a:cubicBezTo>
                <a:cubicBezTo>
                  <a:pt x="16906" y="25219"/>
                  <a:pt x="16906" y="25250"/>
                  <a:pt x="16906" y="25250"/>
                </a:cubicBezTo>
                <a:cubicBezTo>
                  <a:pt x="16906" y="25375"/>
                  <a:pt x="16938" y="25500"/>
                  <a:pt x="16969" y="25625"/>
                </a:cubicBezTo>
                <a:cubicBezTo>
                  <a:pt x="16969" y="25656"/>
                  <a:pt x="16969" y="25688"/>
                  <a:pt x="16969" y="25719"/>
                </a:cubicBezTo>
                <a:cubicBezTo>
                  <a:pt x="16969" y="25750"/>
                  <a:pt x="16969" y="25750"/>
                  <a:pt x="16969" y="25750"/>
                </a:cubicBezTo>
                <a:cubicBezTo>
                  <a:pt x="16969" y="25750"/>
                  <a:pt x="16969" y="25750"/>
                  <a:pt x="16969" y="25750"/>
                </a:cubicBezTo>
                <a:cubicBezTo>
                  <a:pt x="16969" y="25781"/>
                  <a:pt x="16969" y="25781"/>
                  <a:pt x="16969" y="25781"/>
                </a:cubicBezTo>
                <a:cubicBezTo>
                  <a:pt x="16969" y="25781"/>
                  <a:pt x="16969" y="25781"/>
                  <a:pt x="16969" y="25781"/>
                </a:cubicBezTo>
                <a:cubicBezTo>
                  <a:pt x="16969" y="25813"/>
                  <a:pt x="16938" y="25844"/>
                  <a:pt x="16938" y="25844"/>
                </a:cubicBezTo>
                <a:cubicBezTo>
                  <a:pt x="16938" y="25844"/>
                  <a:pt x="16938" y="25875"/>
                  <a:pt x="16938" y="25875"/>
                </a:cubicBezTo>
                <a:cubicBezTo>
                  <a:pt x="16938" y="25875"/>
                  <a:pt x="16938" y="25875"/>
                  <a:pt x="16938" y="25875"/>
                </a:cubicBezTo>
                <a:cubicBezTo>
                  <a:pt x="16938" y="25875"/>
                  <a:pt x="16938" y="25906"/>
                  <a:pt x="16938" y="25906"/>
                </a:cubicBezTo>
                <a:cubicBezTo>
                  <a:pt x="16938" y="25906"/>
                  <a:pt x="16938" y="25906"/>
                  <a:pt x="16906" y="25938"/>
                </a:cubicBezTo>
                <a:cubicBezTo>
                  <a:pt x="16906" y="25938"/>
                  <a:pt x="16906" y="25938"/>
                  <a:pt x="16906" y="25938"/>
                </a:cubicBezTo>
                <a:cubicBezTo>
                  <a:pt x="16875" y="25938"/>
                  <a:pt x="16875" y="25906"/>
                  <a:pt x="16875" y="25875"/>
                </a:cubicBezTo>
                <a:cubicBezTo>
                  <a:pt x="16875" y="25875"/>
                  <a:pt x="16875" y="25875"/>
                  <a:pt x="16875" y="25875"/>
                </a:cubicBezTo>
                <a:cubicBezTo>
                  <a:pt x="16844" y="25781"/>
                  <a:pt x="16781" y="25719"/>
                  <a:pt x="16688" y="25625"/>
                </a:cubicBezTo>
                <a:cubicBezTo>
                  <a:pt x="16688" y="25656"/>
                  <a:pt x="16688" y="25656"/>
                  <a:pt x="16688" y="25656"/>
                </a:cubicBezTo>
                <a:cubicBezTo>
                  <a:pt x="16656" y="25719"/>
                  <a:pt x="16656" y="25781"/>
                  <a:pt x="16656" y="25844"/>
                </a:cubicBezTo>
                <a:cubicBezTo>
                  <a:pt x="16688" y="25844"/>
                  <a:pt x="16750" y="25906"/>
                  <a:pt x="16781" y="25938"/>
                </a:cubicBezTo>
                <a:cubicBezTo>
                  <a:pt x="16813" y="26000"/>
                  <a:pt x="16844" y="26094"/>
                  <a:pt x="16844" y="26156"/>
                </a:cubicBezTo>
                <a:cubicBezTo>
                  <a:pt x="16875" y="26188"/>
                  <a:pt x="16844" y="26188"/>
                  <a:pt x="16844" y="26219"/>
                </a:cubicBezTo>
                <a:cubicBezTo>
                  <a:pt x="16844" y="26250"/>
                  <a:pt x="16844" y="26281"/>
                  <a:pt x="16813" y="26281"/>
                </a:cubicBezTo>
                <a:cubicBezTo>
                  <a:pt x="16781" y="26281"/>
                  <a:pt x="16719" y="26281"/>
                  <a:pt x="16719" y="26219"/>
                </a:cubicBezTo>
                <a:cubicBezTo>
                  <a:pt x="16719" y="26219"/>
                  <a:pt x="16719" y="26188"/>
                  <a:pt x="16719" y="26188"/>
                </a:cubicBezTo>
                <a:cubicBezTo>
                  <a:pt x="16688" y="26125"/>
                  <a:pt x="16656" y="26063"/>
                  <a:pt x="16625" y="26031"/>
                </a:cubicBezTo>
                <a:cubicBezTo>
                  <a:pt x="16563" y="26031"/>
                  <a:pt x="16531" y="26031"/>
                  <a:pt x="16531" y="26031"/>
                </a:cubicBezTo>
                <a:cubicBezTo>
                  <a:pt x="16469" y="26000"/>
                  <a:pt x="16531" y="25938"/>
                  <a:pt x="16531" y="25875"/>
                </a:cubicBezTo>
                <a:cubicBezTo>
                  <a:pt x="16531" y="25875"/>
                  <a:pt x="16531" y="25844"/>
                  <a:pt x="16531" y="25844"/>
                </a:cubicBezTo>
                <a:cubicBezTo>
                  <a:pt x="16531" y="25844"/>
                  <a:pt x="16531" y="25844"/>
                  <a:pt x="16531" y="25844"/>
                </a:cubicBezTo>
                <a:cubicBezTo>
                  <a:pt x="16469" y="25875"/>
                  <a:pt x="16469" y="25938"/>
                  <a:pt x="16469" y="26000"/>
                </a:cubicBezTo>
                <a:cubicBezTo>
                  <a:pt x="16469" y="26156"/>
                  <a:pt x="16406" y="26281"/>
                  <a:pt x="16281" y="26375"/>
                </a:cubicBezTo>
                <a:cubicBezTo>
                  <a:pt x="16188" y="26469"/>
                  <a:pt x="16344" y="26469"/>
                  <a:pt x="16344" y="26563"/>
                </a:cubicBezTo>
                <a:cubicBezTo>
                  <a:pt x="16438" y="26375"/>
                  <a:pt x="16469" y="26375"/>
                  <a:pt x="16625" y="26500"/>
                </a:cubicBezTo>
                <a:cubicBezTo>
                  <a:pt x="16688" y="26563"/>
                  <a:pt x="16813" y="26594"/>
                  <a:pt x="16750" y="26750"/>
                </a:cubicBezTo>
                <a:cubicBezTo>
                  <a:pt x="16719" y="26781"/>
                  <a:pt x="16875" y="26813"/>
                  <a:pt x="16906" y="26875"/>
                </a:cubicBezTo>
                <a:cubicBezTo>
                  <a:pt x="16938" y="26844"/>
                  <a:pt x="16938" y="26813"/>
                  <a:pt x="16969" y="26781"/>
                </a:cubicBezTo>
                <a:cubicBezTo>
                  <a:pt x="16969" y="26781"/>
                  <a:pt x="16969" y="26781"/>
                  <a:pt x="16969" y="26781"/>
                </a:cubicBezTo>
                <a:cubicBezTo>
                  <a:pt x="16969" y="26750"/>
                  <a:pt x="16969" y="26719"/>
                  <a:pt x="16938" y="26719"/>
                </a:cubicBezTo>
                <a:cubicBezTo>
                  <a:pt x="16938" y="26719"/>
                  <a:pt x="16938" y="26688"/>
                  <a:pt x="16938" y="26688"/>
                </a:cubicBezTo>
                <a:cubicBezTo>
                  <a:pt x="16906" y="26656"/>
                  <a:pt x="16844" y="26625"/>
                  <a:pt x="16906" y="26594"/>
                </a:cubicBezTo>
                <a:cubicBezTo>
                  <a:pt x="16938" y="26531"/>
                  <a:pt x="16969" y="26594"/>
                  <a:pt x="17031" y="26625"/>
                </a:cubicBezTo>
                <a:cubicBezTo>
                  <a:pt x="17031" y="26625"/>
                  <a:pt x="17063" y="26656"/>
                  <a:pt x="17063" y="26688"/>
                </a:cubicBezTo>
                <a:cubicBezTo>
                  <a:pt x="17156" y="26750"/>
                  <a:pt x="17094" y="26844"/>
                  <a:pt x="17063" y="26938"/>
                </a:cubicBezTo>
                <a:cubicBezTo>
                  <a:pt x="17063" y="27094"/>
                  <a:pt x="17031" y="27219"/>
                  <a:pt x="17000" y="27375"/>
                </a:cubicBezTo>
                <a:cubicBezTo>
                  <a:pt x="17000" y="27500"/>
                  <a:pt x="16875" y="27563"/>
                  <a:pt x="16750" y="27594"/>
                </a:cubicBezTo>
                <a:cubicBezTo>
                  <a:pt x="16719" y="27625"/>
                  <a:pt x="16656" y="27625"/>
                  <a:pt x="16625" y="27656"/>
                </a:cubicBezTo>
                <a:cubicBezTo>
                  <a:pt x="16625" y="27656"/>
                  <a:pt x="16594" y="27656"/>
                  <a:pt x="16594" y="27688"/>
                </a:cubicBezTo>
                <a:cubicBezTo>
                  <a:pt x="16563" y="27781"/>
                  <a:pt x="16594" y="27875"/>
                  <a:pt x="16688" y="27938"/>
                </a:cubicBezTo>
                <a:cubicBezTo>
                  <a:pt x="16688" y="27938"/>
                  <a:pt x="16719" y="27969"/>
                  <a:pt x="16750" y="27938"/>
                </a:cubicBezTo>
                <a:cubicBezTo>
                  <a:pt x="16781" y="27938"/>
                  <a:pt x="16781" y="27906"/>
                  <a:pt x="16750" y="27875"/>
                </a:cubicBezTo>
                <a:cubicBezTo>
                  <a:pt x="16719" y="27844"/>
                  <a:pt x="16719" y="27813"/>
                  <a:pt x="16750" y="27750"/>
                </a:cubicBezTo>
                <a:cubicBezTo>
                  <a:pt x="16781" y="27719"/>
                  <a:pt x="16813" y="27750"/>
                  <a:pt x="16844" y="27781"/>
                </a:cubicBezTo>
                <a:cubicBezTo>
                  <a:pt x="16875" y="27813"/>
                  <a:pt x="16906" y="27781"/>
                  <a:pt x="16938" y="27750"/>
                </a:cubicBezTo>
                <a:cubicBezTo>
                  <a:pt x="16969" y="27719"/>
                  <a:pt x="16969" y="27688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00" y="27625"/>
                  <a:pt x="17031" y="27625"/>
                </a:cubicBezTo>
                <a:cubicBezTo>
                  <a:pt x="17031" y="27625"/>
                  <a:pt x="17063" y="27625"/>
                  <a:pt x="17063" y="27625"/>
                </a:cubicBezTo>
                <a:cubicBezTo>
                  <a:pt x="17063" y="27656"/>
                  <a:pt x="17063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56"/>
                  <a:pt x="17031" y="27656"/>
                  <a:pt x="17031" y="27656"/>
                </a:cubicBezTo>
                <a:cubicBezTo>
                  <a:pt x="17031" y="27688"/>
                  <a:pt x="17031" y="27688"/>
                  <a:pt x="17031" y="27688"/>
                </a:cubicBezTo>
                <a:cubicBezTo>
                  <a:pt x="17031" y="27688"/>
                  <a:pt x="17031" y="27688"/>
                  <a:pt x="17031" y="27688"/>
                </a:cubicBezTo>
                <a:cubicBezTo>
                  <a:pt x="17031" y="27688"/>
                  <a:pt x="17031" y="27719"/>
                  <a:pt x="17031" y="27719"/>
                </a:cubicBezTo>
                <a:cubicBezTo>
                  <a:pt x="17031" y="27719"/>
                  <a:pt x="17031" y="27719"/>
                  <a:pt x="17031" y="27719"/>
                </a:cubicBezTo>
                <a:cubicBezTo>
                  <a:pt x="17031" y="27719"/>
                  <a:pt x="17031" y="27750"/>
                  <a:pt x="17031" y="27750"/>
                </a:cubicBezTo>
                <a:cubicBezTo>
                  <a:pt x="17031" y="27750"/>
                  <a:pt x="17063" y="27750"/>
                  <a:pt x="17063" y="27750"/>
                </a:cubicBezTo>
                <a:cubicBezTo>
                  <a:pt x="17063" y="27750"/>
                  <a:pt x="17063" y="27781"/>
                  <a:pt x="17063" y="27781"/>
                </a:cubicBezTo>
                <a:cubicBezTo>
                  <a:pt x="17063" y="27781"/>
                  <a:pt x="17094" y="27813"/>
                  <a:pt x="17094" y="27813"/>
                </a:cubicBezTo>
                <a:cubicBezTo>
                  <a:pt x="17094" y="27813"/>
                  <a:pt x="17094" y="27844"/>
                  <a:pt x="17125" y="27844"/>
                </a:cubicBezTo>
                <a:cubicBezTo>
                  <a:pt x="17125" y="27844"/>
                  <a:pt x="17125" y="27844"/>
                  <a:pt x="17125" y="27875"/>
                </a:cubicBezTo>
                <a:cubicBezTo>
                  <a:pt x="17125" y="27875"/>
                  <a:pt x="17125" y="27875"/>
                  <a:pt x="17125" y="27875"/>
                </a:cubicBezTo>
                <a:cubicBezTo>
                  <a:pt x="17125" y="27875"/>
                  <a:pt x="17125" y="27906"/>
                  <a:pt x="17125" y="27906"/>
                </a:cubicBezTo>
                <a:cubicBezTo>
                  <a:pt x="17156" y="27938"/>
                  <a:pt x="17156" y="28000"/>
                  <a:pt x="17219" y="28031"/>
                </a:cubicBezTo>
                <a:cubicBezTo>
                  <a:pt x="17250" y="28031"/>
                  <a:pt x="17344" y="28094"/>
                  <a:pt x="17188" y="28125"/>
                </a:cubicBezTo>
                <a:cubicBezTo>
                  <a:pt x="17156" y="28125"/>
                  <a:pt x="17125" y="28156"/>
                  <a:pt x="17156" y="28188"/>
                </a:cubicBezTo>
                <a:cubicBezTo>
                  <a:pt x="17188" y="28250"/>
                  <a:pt x="17125" y="28313"/>
                  <a:pt x="17156" y="28375"/>
                </a:cubicBezTo>
                <a:cubicBezTo>
                  <a:pt x="17219" y="28375"/>
                  <a:pt x="17250" y="28313"/>
                  <a:pt x="17313" y="28281"/>
                </a:cubicBezTo>
                <a:cubicBezTo>
                  <a:pt x="17344" y="28250"/>
                  <a:pt x="17344" y="28219"/>
                  <a:pt x="17406" y="28250"/>
                </a:cubicBezTo>
                <a:cubicBezTo>
                  <a:pt x="17438" y="28313"/>
                  <a:pt x="17469" y="28438"/>
                  <a:pt x="17469" y="28500"/>
                </a:cubicBezTo>
                <a:cubicBezTo>
                  <a:pt x="17500" y="28531"/>
                  <a:pt x="17438" y="28594"/>
                  <a:pt x="17406" y="28531"/>
                </a:cubicBezTo>
                <a:cubicBezTo>
                  <a:pt x="17281" y="28406"/>
                  <a:pt x="17219" y="28531"/>
                  <a:pt x="17156" y="28563"/>
                </a:cubicBezTo>
                <a:cubicBezTo>
                  <a:pt x="17313" y="28750"/>
                  <a:pt x="17250" y="28938"/>
                  <a:pt x="17125" y="29125"/>
                </a:cubicBezTo>
                <a:cubicBezTo>
                  <a:pt x="17156" y="29094"/>
                  <a:pt x="17219" y="29094"/>
                  <a:pt x="17250" y="29063"/>
                </a:cubicBezTo>
                <a:cubicBezTo>
                  <a:pt x="17281" y="29125"/>
                  <a:pt x="17219" y="29250"/>
                  <a:pt x="17344" y="29219"/>
                </a:cubicBezTo>
                <a:cubicBezTo>
                  <a:pt x="17469" y="29188"/>
                  <a:pt x="17313" y="29063"/>
                  <a:pt x="17375" y="29000"/>
                </a:cubicBezTo>
                <a:cubicBezTo>
                  <a:pt x="17438" y="29000"/>
                  <a:pt x="17438" y="29063"/>
                  <a:pt x="17500" y="29125"/>
                </a:cubicBezTo>
                <a:cubicBezTo>
                  <a:pt x="17531" y="29031"/>
                  <a:pt x="17531" y="28969"/>
                  <a:pt x="17438" y="28906"/>
                </a:cubicBezTo>
                <a:cubicBezTo>
                  <a:pt x="17406" y="28906"/>
                  <a:pt x="17313" y="28875"/>
                  <a:pt x="17375" y="28781"/>
                </a:cubicBezTo>
                <a:cubicBezTo>
                  <a:pt x="17438" y="28719"/>
                  <a:pt x="17469" y="28813"/>
                  <a:pt x="17531" y="28844"/>
                </a:cubicBezTo>
                <a:cubicBezTo>
                  <a:pt x="17625" y="28906"/>
                  <a:pt x="17625" y="29031"/>
                  <a:pt x="17656" y="29156"/>
                </a:cubicBezTo>
                <a:cubicBezTo>
                  <a:pt x="17656" y="29250"/>
                  <a:pt x="17688" y="29313"/>
                  <a:pt x="17844" y="29313"/>
                </a:cubicBezTo>
                <a:cubicBezTo>
                  <a:pt x="17719" y="29406"/>
                  <a:pt x="17656" y="29469"/>
                  <a:pt x="17656" y="29563"/>
                </a:cubicBezTo>
                <a:cubicBezTo>
                  <a:pt x="17625" y="29594"/>
                  <a:pt x="17625" y="29656"/>
                  <a:pt x="17594" y="29656"/>
                </a:cubicBezTo>
                <a:cubicBezTo>
                  <a:pt x="17438" y="29563"/>
                  <a:pt x="17406" y="29688"/>
                  <a:pt x="17375" y="29781"/>
                </a:cubicBezTo>
                <a:cubicBezTo>
                  <a:pt x="17281" y="29875"/>
                  <a:pt x="17188" y="29875"/>
                  <a:pt x="17094" y="29875"/>
                </a:cubicBezTo>
                <a:cubicBezTo>
                  <a:pt x="17031" y="29844"/>
                  <a:pt x="17000" y="29844"/>
                  <a:pt x="16969" y="29875"/>
                </a:cubicBezTo>
                <a:cubicBezTo>
                  <a:pt x="16938" y="29906"/>
                  <a:pt x="16906" y="29938"/>
                  <a:pt x="16906" y="29969"/>
                </a:cubicBezTo>
                <a:cubicBezTo>
                  <a:pt x="16906" y="30000"/>
                  <a:pt x="16969" y="30031"/>
                  <a:pt x="17000" y="30031"/>
                </a:cubicBezTo>
                <a:cubicBezTo>
                  <a:pt x="17063" y="30063"/>
                  <a:pt x="17125" y="30063"/>
                  <a:pt x="17156" y="30156"/>
                </a:cubicBezTo>
                <a:cubicBezTo>
                  <a:pt x="17188" y="30281"/>
                  <a:pt x="17281" y="30125"/>
                  <a:pt x="17344" y="30156"/>
                </a:cubicBezTo>
                <a:cubicBezTo>
                  <a:pt x="17344" y="30219"/>
                  <a:pt x="17344" y="30281"/>
                  <a:pt x="17313" y="30344"/>
                </a:cubicBezTo>
                <a:cubicBezTo>
                  <a:pt x="17281" y="30375"/>
                  <a:pt x="17281" y="30438"/>
                  <a:pt x="17313" y="30469"/>
                </a:cubicBezTo>
                <a:cubicBezTo>
                  <a:pt x="17438" y="30531"/>
                  <a:pt x="17469" y="30531"/>
                  <a:pt x="17438" y="30656"/>
                </a:cubicBezTo>
                <a:cubicBezTo>
                  <a:pt x="17406" y="30750"/>
                  <a:pt x="17438" y="30781"/>
                  <a:pt x="17531" y="30781"/>
                </a:cubicBezTo>
                <a:cubicBezTo>
                  <a:pt x="17594" y="30781"/>
                  <a:pt x="17625" y="30781"/>
                  <a:pt x="17625" y="30688"/>
                </a:cubicBezTo>
                <a:cubicBezTo>
                  <a:pt x="17625" y="30656"/>
                  <a:pt x="17625" y="30594"/>
                  <a:pt x="17625" y="30531"/>
                </a:cubicBezTo>
                <a:cubicBezTo>
                  <a:pt x="17656" y="30469"/>
                  <a:pt x="17656" y="30375"/>
                  <a:pt x="17625" y="30313"/>
                </a:cubicBezTo>
                <a:close/>
                <a:moveTo>
                  <a:pt x="17438" y="33094"/>
                </a:moveTo>
                <a:cubicBezTo>
                  <a:pt x="17531" y="32938"/>
                  <a:pt x="17531" y="32781"/>
                  <a:pt x="17500" y="32656"/>
                </a:cubicBezTo>
                <a:cubicBezTo>
                  <a:pt x="17500" y="32625"/>
                  <a:pt x="17500" y="32594"/>
                  <a:pt x="17469" y="32594"/>
                </a:cubicBezTo>
                <a:cubicBezTo>
                  <a:pt x="17438" y="32563"/>
                  <a:pt x="17406" y="32594"/>
                  <a:pt x="17438" y="32625"/>
                </a:cubicBezTo>
                <a:cubicBezTo>
                  <a:pt x="17469" y="32781"/>
                  <a:pt x="17406" y="32906"/>
                  <a:pt x="17438" y="33094"/>
                </a:cubicBezTo>
                <a:close/>
                <a:moveTo>
                  <a:pt x="4469" y="31813"/>
                </a:moveTo>
                <a:cubicBezTo>
                  <a:pt x="4500" y="31906"/>
                  <a:pt x="4531" y="32031"/>
                  <a:pt x="4531" y="32156"/>
                </a:cubicBezTo>
                <a:cubicBezTo>
                  <a:pt x="4625" y="32000"/>
                  <a:pt x="4594" y="31906"/>
                  <a:pt x="4469" y="31813"/>
                </a:cubicBezTo>
                <a:close/>
                <a:moveTo>
                  <a:pt x="6375" y="6625"/>
                </a:moveTo>
                <a:cubicBezTo>
                  <a:pt x="6375" y="6594"/>
                  <a:pt x="6375" y="6563"/>
                  <a:pt x="6313" y="6563"/>
                </a:cubicBezTo>
                <a:cubicBezTo>
                  <a:pt x="6250" y="6563"/>
                  <a:pt x="6188" y="6563"/>
                  <a:pt x="6156" y="6625"/>
                </a:cubicBezTo>
                <a:cubicBezTo>
                  <a:pt x="6156" y="6688"/>
                  <a:pt x="6188" y="6750"/>
                  <a:pt x="6250" y="6719"/>
                </a:cubicBezTo>
                <a:cubicBezTo>
                  <a:pt x="6313" y="6719"/>
                  <a:pt x="6375" y="6719"/>
                  <a:pt x="6375" y="6625"/>
                </a:cubicBezTo>
                <a:close/>
                <a:moveTo>
                  <a:pt x="4906" y="29094"/>
                </a:moveTo>
                <a:cubicBezTo>
                  <a:pt x="4938" y="29094"/>
                  <a:pt x="4969" y="29000"/>
                  <a:pt x="4969" y="28969"/>
                </a:cubicBezTo>
                <a:cubicBezTo>
                  <a:pt x="5000" y="28938"/>
                  <a:pt x="5000" y="28906"/>
                  <a:pt x="5000" y="28906"/>
                </a:cubicBezTo>
                <a:cubicBezTo>
                  <a:pt x="5063" y="28844"/>
                  <a:pt x="5031" y="28844"/>
                  <a:pt x="5000" y="28813"/>
                </a:cubicBezTo>
                <a:cubicBezTo>
                  <a:pt x="4969" y="28781"/>
                  <a:pt x="4938" y="28813"/>
                  <a:pt x="4938" y="28844"/>
                </a:cubicBezTo>
                <a:cubicBezTo>
                  <a:pt x="4906" y="28875"/>
                  <a:pt x="4906" y="28938"/>
                  <a:pt x="4906" y="29000"/>
                </a:cubicBezTo>
                <a:cubicBezTo>
                  <a:pt x="4844" y="28938"/>
                  <a:pt x="4844" y="28906"/>
                  <a:pt x="4781" y="28875"/>
                </a:cubicBezTo>
                <a:cubicBezTo>
                  <a:pt x="4750" y="29000"/>
                  <a:pt x="4844" y="29031"/>
                  <a:pt x="4906" y="29094"/>
                </a:cubicBezTo>
                <a:close/>
                <a:moveTo>
                  <a:pt x="14625" y="17813"/>
                </a:moveTo>
                <a:cubicBezTo>
                  <a:pt x="14844" y="17781"/>
                  <a:pt x="15063" y="17781"/>
                  <a:pt x="15250" y="17781"/>
                </a:cubicBezTo>
                <a:cubicBezTo>
                  <a:pt x="15125" y="17750"/>
                  <a:pt x="15000" y="17750"/>
                  <a:pt x="14875" y="17719"/>
                </a:cubicBezTo>
                <a:cubicBezTo>
                  <a:pt x="14781" y="17688"/>
                  <a:pt x="14688" y="17688"/>
                  <a:pt x="14625" y="17813"/>
                </a:cubicBezTo>
                <a:close/>
                <a:moveTo>
                  <a:pt x="5594" y="33563"/>
                </a:moveTo>
                <a:cubicBezTo>
                  <a:pt x="5313" y="33563"/>
                  <a:pt x="5281" y="33594"/>
                  <a:pt x="5281" y="33813"/>
                </a:cubicBezTo>
                <a:cubicBezTo>
                  <a:pt x="5281" y="33906"/>
                  <a:pt x="5375" y="33969"/>
                  <a:pt x="5469" y="33969"/>
                </a:cubicBezTo>
                <a:cubicBezTo>
                  <a:pt x="5469" y="33813"/>
                  <a:pt x="5219" y="33594"/>
                  <a:pt x="5594" y="33563"/>
                </a:cubicBezTo>
                <a:close/>
                <a:moveTo>
                  <a:pt x="5188" y="26563"/>
                </a:moveTo>
                <a:cubicBezTo>
                  <a:pt x="5375" y="26500"/>
                  <a:pt x="5375" y="26313"/>
                  <a:pt x="5438" y="26188"/>
                </a:cubicBezTo>
                <a:cubicBezTo>
                  <a:pt x="5438" y="26156"/>
                  <a:pt x="5438" y="26094"/>
                  <a:pt x="5375" y="26094"/>
                </a:cubicBezTo>
                <a:cubicBezTo>
                  <a:pt x="5344" y="26094"/>
                  <a:pt x="5313" y="26125"/>
                  <a:pt x="5313" y="26156"/>
                </a:cubicBezTo>
                <a:cubicBezTo>
                  <a:pt x="5313" y="26281"/>
                  <a:pt x="5281" y="26344"/>
                  <a:pt x="5219" y="26438"/>
                </a:cubicBezTo>
                <a:cubicBezTo>
                  <a:pt x="5156" y="26469"/>
                  <a:pt x="5188" y="26531"/>
                  <a:pt x="5188" y="26563"/>
                </a:cubicBezTo>
                <a:close/>
                <a:moveTo>
                  <a:pt x="6031" y="35938"/>
                </a:moveTo>
                <a:cubicBezTo>
                  <a:pt x="6031" y="36063"/>
                  <a:pt x="5969" y="36156"/>
                  <a:pt x="5969" y="36281"/>
                </a:cubicBezTo>
                <a:cubicBezTo>
                  <a:pt x="6000" y="36375"/>
                  <a:pt x="6031" y="36375"/>
                  <a:pt x="6094" y="36375"/>
                </a:cubicBezTo>
                <a:cubicBezTo>
                  <a:pt x="6156" y="36375"/>
                  <a:pt x="6188" y="36344"/>
                  <a:pt x="6188" y="36281"/>
                </a:cubicBezTo>
                <a:cubicBezTo>
                  <a:pt x="6188" y="36250"/>
                  <a:pt x="6188" y="36219"/>
                  <a:pt x="6188" y="36188"/>
                </a:cubicBezTo>
                <a:cubicBezTo>
                  <a:pt x="6188" y="36094"/>
                  <a:pt x="6156" y="36031"/>
                  <a:pt x="6125" y="35969"/>
                </a:cubicBezTo>
                <a:cubicBezTo>
                  <a:pt x="6125" y="35938"/>
                  <a:pt x="6125" y="35906"/>
                  <a:pt x="6094" y="35906"/>
                </a:cubicBezTo>
                <a:cubicBezTo>
                  <a:pt x="6063" y="35906"/>
                  <a:pt x="6031" y="35906"/>
                  <a:pt x="6031" y="35938"/>
                </a:cubicBezTo>
                <a:close/>
                <a:moveTo>
                  <a:pt x="5125" y="34719"/>
                </a:moveTo>
                <a:cubicBezTo>
                  <a:pt x="5188" y="34750"/>
                  <a:pt x="5219" y="34719"/>
                  <a:pt x="5250" y="34656"/>
                </a:cubicBezTo>
                <a:cubicBezTo>
                  <a:pt x="5219" y="34594"/>
                  <a:pt x="5156" y="34563"/>
                  <a:pt x="5094" y="34531"/>
                </a:cubicBezTo>
                <a:cubicBezTo>
                  <a:pt x="4938" y="34500"/>
                  <a:pt x="4906" y="34406"/>
                  <a:pt x="4938" y="34281"/>
                </a:cubicBezTo>
                <a:cubicBezTo>
                  <a:pt x="4969" y="34250"/>
                  <a:pt x="4938" y="34219"/>
                  <a:pt x="4906" y="34219"/>
                </a:cubicBezTo>
                <a:cubicBezTo>
                  <a:pt x="4875" y="34188"/>
                  <a:pt x="4844" y="34188"/>
                  <a:pt x="4813" y="34219"/>
                </a:cubicBezTo>
                <a:cubicBezTo>
                  <a:pt x="4813" y="34281"/>
                  <a:pt x="4781" y="34313"/>
                  <a:pt x="4781" y="34344"/>
                </a:cubicBezTo>
                <a:cubicBezTo>
                  <a:pt x="4875" y="34500"/>
                  <a:pt x="5000" y="34625"/>
                  <a:pt x="5125" y="34719"/>
                </a:cubicBezTo>
                <a:close/>
                <a:moveTo>
                  <a:pt x="17563" y="33375"/>
                </a:moveTo>
                <a:cubicBezTo>
                  <a:pt x="17531" y="33375"/>
                  <a:pt x="17500" y="33375"/>
                  <a:pt x="17500" y="33406"/>
                </a:cubicBezTo>
                <a:cubicBezTo>
                  <a:pt x="17500" y="33531"/>
                  <a:pt x="17406" y="33688"/>
                  <a:pt x="17594" y="33781"/>
                </a:cubicBezTo>
                <a:cubicBezTo>
                  <a:pt x="17625" y="33781"/>
                  <a:pt x="17656" y="33813"/>
                  <a:pt x="17656" y="33844"/>
                </a:cubicBezTo>
                <a:cubicBezTo>
                  <a:pt x="17656" y="33875"/>
                  <a:pt x="17656" y="33938"/>
                  <a:pt x="17719" y="33938"/>
                </a:cubicBezTo>
                <a:cubicBezTo>
                  <a:pt x="17781" y="33906"/>
                  <a:pt x="17781" y="33875"/>
                  <a:pt x="17750" y="33813"/>
                </a:cubicBezTo>
                <a:cubicBezTo>
                  <a:pt x="17781" y="33656"/>
                  <a:pt x="17563" y="33563"/>
                  <a:pt x="17594" y="33406"/>
                </a:cubicBezTo>
                <a:cubicBezTo>
                  <a:pt x="17594" y="33375"/>
                  <a:pt x="17594" y="33375"/>
                  <a:pt x="17563" y="33375"/>
                </a:cubicBezTo>
                <a:close/>
                <a:moveTo>
                  <a:pt x="4688" y="15156"/>
                </a:moveTo>
                <a:cubicBezTo>
                  <a:pt x="4688" y="15156"/>
                  <a:pt x="4688" y="15156"/>
                  <a:pt x="4688" y="15156"/>
                </a:cubicBezTo>
                <a:cubicBezTo>
                  <a:pt x="4688" y="15156"/>
                  <a:pt x="4688" y="15156"/>
                  <a:pt x="4688" y="15156"/>
                </a:cubicBezTo>
                <a:cubicBezTo>
                  <a:pt x="4688" y="15156"/>
                  <a:pt x="4688" y="15156"/>
                  <a:pt x="4688" y="15156"/>
                </a:cubicBezTo>
                <a:close/>
                <a:moveTo>
                  <a:pt x="6563" y="35750"/>
                </a:moveTo>
                <a:cubicBezTo>
                  <a:pt x="6563" y="35656"/>
                  <a:pt x="6563" y="35531"/>
                  <a:pt x="6406" y="35656"/>
                </a:cubicBezTo>
                <a:cubicBezTo>
                  <a:pt x="6375" y="35656"/>
                  <a:pt x="6313" y="35656"/>
                  <a:pt x="6281" y="35625"/>
                </a:cubicBezTo>
                <a:cubicBezTo>
                  <a:pt x="6219" y="35563"/>
                  <a:pt x="6188" y="35531"/>
                  <a:pt x="6156" y="35500"/>
                </a:cubicBezTo>
                <a:cubicBezTo>
                  <a:pt x="6125" y="35469"/>
                  <a:pt x="6094" y="35469"/>
                  <a:pt x="6063" y="35500"/>
                </a:cubicBezTo>
                <a:cubicBezTo>
                  <a:pt x="6063" y="35500"/>
                  <a:pt x="6063" y="35531"/>
                  <a:pt x="6094" y="35563"/>
                </a:cubicBezTo>
                <a:cubicBezTo>
                  <a:pt x="6219" y="35719"/>
                  <a:pt x="6344" y="35875"/>
                  <a:pt x="6594" y="35844"/>
                </a:cubicBezTo>
                <a:cubicBezTo>
                  <a:pt x="6594" y="35813"/>
                  <a:pt x="6594" y="35781"/>
                  <a:pt x="6563" y="35750"/>
                </a:cubicBezTo>
                <a:close/>
                <a:moveTo>
                  <a:pt x="18063" y="32500"/>
                </a:moveTo>
                <a:cubicBezTo>
                  <a:pt x="18000" y="32500"/>
                  <a:pt x="17938" y="32500"/>
                  <a:pt x="17875" y="32469"/>
                </a:cubicBezTo>
                <a:cubicBezTo>
                  <a:pt x="17813" y="32469"/>
                  <a:pt x="17781" y="32531"/>
                  <a:pt x="17813" y="32563"/>
                </a:cubicBezTo>
                <a:cubicBezTo>
                  <a:pt x="17906" y="32688"/>
                  <a:pt x="17875" y="32781"/>
                  <a:pt x="17813" y="32875"/>
                </a:cubicBezTo>
                <a:cubicBezTo>
                  <a:pt x="17781" y="32906"/>
                  <a:pt x="17813" y="32969"/>
                  <a:pt x="17844" y="33031"/>
                </a:cubicBezTo>
                <a:cubicBezTo>
                  <a:pt x="17844" y="32906"/>
                  <a:pt x="17938" y="32813"/>
                  <a:pt x="18031" y="32750"/>
                </a:cubicBezTo>
                <a:cubicBezTo>
                  <a:pt x="18063" y="32688"/>
                  <a:pt x="18094" y="32625"/>
                  <a:pt x="18094" y="32563"/>
                </a:cubicBezTo>
                <a:cubicBezTo>
                  <a:pt x="18094" y="32531"/>
                  <a:pt x="18094" y="32500"/>
                  <a:pt x="18063" y="32500"/>
                </a:cubicBezTo>
                <a:close/>
                <a:moveTo>
                  <a:pt x="5000" y="35125"/>
                </a:moveTo>
                <a:cubicBezTo>
                  <a:pt x="5125" y="35125"/>
                  <a:pt x="5094" y="35031"/>
                  <a:pt x="5094" y="34969"/>
                </a:cubicBezTo>
                <a:cubicBezTo>
                  <a:pt x="5125" y="34875"/>
                  <a:pt x="5188" y="34844"/>
                  <a:pt x="5281" y="34844"/>
                </a:cubicBezTo>
                <a:cubicBezTo>
                  <a:pt x="5156" y="34719"/>
                  <a:pt x="5094" y="34719"/>
                  <a:pt x="5031" y="34844"/>
                </a:cubicBezTo>
                <a:cubicBezTo>
                  <a:pt x="5031" y="34875"/>
                  <a:pt x="5031" y="34906"/>
                  <a:pt x="5000" y="34938"/>
                </a:cubicBezTo>
                <a:cubicBezTo>
                  <a:pt x="4844" y="35031"/>
                  <a:pt x="4844" y="35250"/>
                  <a:pt x="4969" y="35375"/>
                </a:cubicBezTo>
                <a:cubicBezTo>
                  <a:pt x="4969" y="35281"/>
                  <a:pt x="4938" y="35156"/>
                  <a:pt x="5000" y="35125"/>
                </a:cubicBezTo>
                <a:close/>
                <a:moveTo>
                  <a:pt x="6063" y="36781"/>
                </a:moveTo>
                <a:cubicBezTo>
                  <a:pt x="6031" y="36781"/>
                  <a:pt x="6031" y="36750"/>
                  <a:pt x="6000" y="36750"/>
                </a:cubicBezTo>
                <a:cubicBezTo>
                  <a:pt x="5813" y="36813"/>
                  <a:pt x="5781" y="36656"/>
                  <a:pt x="5750" y="36563"/>
                </a:cubicBezTo>
                <a:cubicBezTo>
                  <a:pt x="5719" y="36500"/>
                  <a:pt x="5688" y="36438"/>
                  <a:pt x="5688" y="36375"/>
                </a:cubicBezTo>
                <a:cubicBezTo>
                  <a:pt x="5688" y="36344"/>
                  <a:pt x="5656" y="36313"/>
                  <a:pt x="5625" y="36313"/>
                </a:cubicBezTo>
                <a:cubicBezTo>
                  <a:pt x="5594" y="36313"/>
                  <a:pt x="5594" y="36375"/>
                  <a:pt x="5594" y="36375"/>
                </a:cubicBezTo>
                <a:cubicBezTo>
                  <a:pt x="5656" y="36531"/>
                  <a:pt x="5625" y="36656"/>
                  <a:pt x="5594" y="36844"/>
                </a:cubicBezTo>
                <a:cubicBezTo>
                  <a:pt x="5656" y="36750"/>
                  <a:pt x="5688" y="36750"/>
                  <a:pt x="5719" y="36813"/>
                </a:cubicBezTo>
                <a:cubicBezTo>
                  <a:pt x="5813" y="36906"/>
                  <a:pt x="5906" y="36906"/>
                  <a:pt x="6000" y="36844"/>
                </a:cubicBezTo>
                <a:cubicBezTo>
                  <a:pt x="6031" y="36813"/>
                  <a:pt x="6063" y="36813"/>
                  <a:pt x="6063" y="36781"/>
                </a:cubicBezTo>
                <a:close/>
                <a:moveTo>
                  <a:pt x="17469" y="27406"/>
                </a:moveTo>
                <a:cubicBezTo>
                  <a:pt x="17406" y="27406"/>
                  <a:pt x="17406" y="27438"/>
                  <a:pt x="17375" y="27469"/>
                </a:cubicBezTo>
                <a:cubicBezTo>
                  <a:pt x="17313" y="27563"/>
                  <a:pt x="17406" y="27719"/>
                  <a:pt x="17281" y="27813"/>
                </a:cubicBezTo>
                <a:cubicBezTo>
                  <a:pt x="17281" y="27813"/>
                  <a:pt x="17281" y="27844"/>
                  <a:pt x="17313" y="27875"/>
                </a:cubicBezTo>
                <a:cubicBezTo>
                  <a:pt x="17375" y="27906"/>
                  <a:pt x="17406" y="28000"/>
                  <a:pt x="17406" y="28094"/>
                </a:cubicBezTo>
                <a:cubicBezTo>
                  <a:pt x="17406" y="28125"/>
                  <a:pt x="17469" y="28188"/>
                  <a:pt x="17500" y="28156"/>
                </a:cubicBezTo>
                <a:cubicBezTo>
                  <a:pt x="17563" y="28063"/>
                  <a:pt x="17625" y="27938"/>
                  <a:pt x="17594" y="27906"/>
                </a:cubicBezTo>
                <a:cubicBezTo>
                  <a:pt x="17531" y="27781"/>
                  <a:pt x="17563" y="27656"/>
                  <a:pt x="17531" y="27531"/>
                </a:cubicBezTo>
                <a:cubicBezTo>
                  <a:pt x="17531" y="27469"/>
                  <a:pt x="17531" y="27406"/>
                  <a:pt x="17469" y="27406"/>
                </a:cubicBezTo>
                <a:close/>
                <a:moveTo>
                  <a:pt x="16438" y="24750"/>
                </a:moveTo>
                <a:cubicBezTo>
                  <a:pt x="16438" y="24781"/>
                  <a:pt x="16469" y="24813"/>
                  <a:pt x="16500" y="24781"/>
                </a:cubicBezTo>
                <a:cubicBezTo>
                  <a:pt x="16563" y="24750"/>
                  <a:pt x="16500" y="24719"/>
                  <a:pt x="16500" y="24688"/>
                </a:cubicBezTo>
                <a:cubicBezTo>
                  <a:pt x="16469" y="24688"/>
                  <a:pt x="16469" y="24656"/>
                  <a:pt x="16438" y="24625"/>
                </a:cubicBezTo>
                <a:cubicBezTo>
                  <a:pt x="16281" y="24469"/>
                  <a:pt x="16156" y="24281"/>
                  <a:pt x="16125" y="24063"/>
                </a:cubicBezTo>
                <a:cubicBezTo>
                  <a:pt x="16125" y="24031"/>
                  <a:pt x="16094" y="24000"/>
                  <a:pt x="16031" y="24000"/>
                </a:cubicBezTo>
                <a:cubicBezTo>
                  <a:pt x="16000" y="24000"/>
                  <a:pt x="16000" y="24031"/>
                  <a:pt x="16000" y="24094"/>
                </a:cubicBezTo>
                <a:cubicBezTo>
                  <a:pt x="15938" y="24250"/>
                  <a:pt x="16000" y="24438"/>
                  <a:pt x="16000" y="24656"/>
                </a:cubicBezTo>
                <a:cubicBezTo>
                  <a:pt x="16063" y="24594"/>
                  <a:pt x="16125" y="24594"/>
                  <a:pt x="16094" y="24531"/>
                </a:cubicBezTo>
                <a:cubicBezTo>
                  <a:pt x="16094" y="24500"/>
                  <a:pt x="16094" y="24469"/>
                  <a:pt x="16125" y="24469"/>
                </a:cubicBezTo>
                <a:cubicBezTo>
                  <a:pt x="16125" y="24469"/>
                  <a:pt x="16156" y="24469"/>
                  <a:pt x="16156" y="24469"/>
                </a:cubicBezTo>
                <a:cubicBezTo>
                  <a:pt x="16188" y="24625"/>
                  <a:pt x="16344" y="24656"/>
                  <a:pt x="16438" y="24750"/>
                </a:cubicBezTo>
                <a:close/>
                <a:moveTo>
                  <a:pt x="750" y="4500"/>
                </a:moveTo>
                <a:cubicBezTo>
                  <a:pt x="813" y="4531"/>
                  <a:pt x="875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938" y="4563"/>
                  <a:pt x="938" y="4563"/>
                  <a:pt x="938" y="4563"/>
                </a:cubicBezTo>
                <a:cubicBezTo>
                  <a:pt x="875" y="4500"/>
                  <a:pt x="1000" y="4438"/>
                  <a:pt x="875" y="4375"/>
                </a:cubicBezTo>
                <a:cubicBezTo>
                  <a:pt x="563" y="4219"/>
                  <a:pt x="219" y="4125"/>
                  <a:pt x="0" y="4031"/>
                </a:cubicBezTo>
                <a:cubicBezTo>
                  <a:pt x="156" y="4125"/>
                  <a:pt x="344" y="4281"/>
                  <a:pt x="594" y="4406"/>
                </a:cubicBezTo>
                <a:cubicBezTo>
                  <a:pt x="656" y="4438"/>
                  <a:pt x="688" y="4469"/>
                  <a:pt x="750" y="4500"/>
                </a:cubicBezTo>
                <a:close/>
                <a:moveTo>
                  <a:pt x="19219" y="13531"/>
                </a:moveTo>
                <a:cubicBezTo>
                  <a:pt x="19188" y="13531"/>
                  <a:pt x="19156" y="13531"/>
                  <a:pt x="19156" y="13531"/>
                </a:cubicBezTo>
                <a:cubicBezTo>
                  <a:pt x="19125" y="13531"/>
                  <a:pt x="19094" y="13531"/>
                  <a:pt x="19094" y="13563"/>
                </a:cubicBezTo>
                <a:cubicBezTo>
                  <a:pt x="19063" y="13563"/>
                  <a:pt x="19031" y="13563"/>
                  <a:pt x="19031" y="13563"/>
                </a:cubicBezTo>
                <a:cubicBezTo>
                  <a:pt x="19000" y="13594"/>
                  <a:pt x="18938" y="13594"/>
                  <a:pt x="18906" y="13625"/>
                </a:cubicBezTo>
                <a:cubicBezTo>
                  <a:pt x="18906" y="13625"/>
                  <a:pt x="18906" y="13625"/>
                  <a:pt x="18906" y="13625"/>
                </a:cubicBezTo>
                <a:cubicBezTo>
                  <a:pt x="18844" y="13625"/>
                  <a:pt x="18844" y="13656"/>
                  <a:pt x="18875" y="13688"/>
                </a:cubicBezTo>
                <a:cubicBezTo>
                  <a:pt x="18875" y="13688"/>
                  <a:pt x="18875" y="13688"/>
                  <a:pt x="18875" y="13688"/>
                </a:cubicBezTo>
                <a:cubicBezTo>
                  <a:pt x="18938" y="13750"/>
                  <a:pt x="19000" y="13844"/>
                  <a:pt x="19063" y="13906"/>
                </a:cubicBezTo>
                <a:cubicBezTo>
                  <a:pt x="19094" y="13938"/>
                  <a:pt x="19125" y="14000"/>
                  <a:pt x="19063" y="14031"/>
                </a:cubicBezTo>
                <a:cubicBezTo>
                  <a:pt x="19000" y="14094"/>
                  <a:pt x="18969" y="14063"/>
                  <a:pt x="18938" y="14031"/>
                </a:cubicBezTo>
                <a:cubicBezTo>
                  <a:pt x="18875" y="13906"/>
                  <a:pt x="18750" y="13875"/>
                  <a:pt x="18688" y="13750"/>
                </a:cubicBezTo>
                <a:cubicBezTo>
                  <a:pt x="18625" y="13719"/>
                  <a:pt x="18594" y="13719"/>
                  <a:pt x="18531" y="13750"/>
                </a:cubicBezTo>
                <a:cubicBezTo>
                  <a:pt x="18438" y="13813"/>
                  <a:pt x="18313" y="13844"/>
                  <a:pt x="18188" y="13875"/>
                </a:cubicBezTo>
                <a:cubicBezTo>
                  <a:pt x="18156" y="13875"/>
                  <a:pt x="18094" y="13875"/>
                  <a:pt x="18094" y="13938"/>
                </a:cubicBezTo>
                <a:cubicBezTo>
                  <a:pt x="18125" y="13969"/>
                  <a:pt x="18156" y="14000"/>
                  <a:pt x="18219" y="13969"/>
                </a:cubicBezTo>
                <a:cubicBezTo>
                  <a:pt x="18250" y="13969"/>
                  <a:pt x="18313" y="13938"/>
                  <a:pt x="18375" y="13906"/>
                </a:cubicBezTo>
                <a:cubicBezTo>
                  <a:pt x="18438" y="13906"/>
                  <a:pt x="18469" y="13875"/>
                  <a:pt x="18500" y="13875"/>
                </a:cubicBezTo>
                <a:cubicBezTo>
                  <a:pt x="18688" y="13875"/>
                  <a:pt x="18813" y="14000"/>
                  <a:pt x="18813" y="14250"/>
                </a:cubicBezTo>
                <a:cubicBezTo>
                  <a:pt x="18813" y="14250"/>
                  <a:pt x="18813" y="14250"/>
                  <a:pt x="18813" y="14250"/>
                </a:cubicBezTo>
                <a:cubicBezTo>
                  <a:pt x="18813" y="14250"/>
                  <a:pt x="18813" y="14250"/>
                  <a:pt x="18813" y="14281"/>
                </a:cubicBezTo>
                <a:cubicBezTo>
                  <a:pt x="18813" y="14281"/>
                  <a:pt x="18844" y="14250"/>
                  <a:pt x="18844" y="14250"/>
                </a:cubicBezTo>
                <a:cubicBezTo>
                  <a:pt x="19219" y="14063"/>
                  <a:pt x="19594" y="13875"/>
                  <a:pt x="19906" y="13625"/>
                </a:cubicBezTo>
                <a:cubicBezTo>
                  <a:pt x="20063" y="13531"/>
                  <a:pt x="20250" y="13469"/>
                  <a:pt x="20406" y="13406"/>
                </a:cubicBezTo>
                <a:cubicBezTo>
                  <a:pt x="20094" y="13469"/>
                  <a:pt x="19781" y="13438"/>
                  <a:pt x="19500" y="13469"/>
                </a:cubicBezTo>
                <a:cubicBezTo>
                  <a:pt x="19406" y="13500"/>
                  <a:pt x="19313" y="13563"/>
                  <a:pt x="19219" y="13531"/>
                </a:cubicBezTo>
                <a:close/>
                <a:moveTo>
                  <a:pt x="18188" y="30156"/>
                </a:moveTo>
                <a:cubicBezTo>
                  <a:pt x="18125" y="30188"/>
                  <a:pt x="18063" y="30313"/>
                  <a:pt x="17969" y="30219"/>
                </a:cubicBezTo>
                <a:cubicBezTo>
                  <a:pt x="17906" y="30125"/>
                  <a:pt x="17781" y="30219"/>
                  <a:pt x="17750" y="30063"/>
                </a:cubicBezTo>
                <a:cubicBezTo>
                  <a:pt x="17750" y="30281"/>
                  <a:pt x="17719" y="30500"/>
                  <a:pt x="17781" y="30688"/>
                </a:cubicBezTo>
                <a:cubicBezTo>
                  <a:pt x="17781" y="30719"/>
                  <a:pt x="17719" y="30781"/>
                  <a:pt x="17781" y="30781"/>
                </a:cubicBezTo>
                <a:cubicBezTo>
                  <a:pt x="17844" y="30781"/>
                  <a:pt x="17844" y="30750"/>
                  <a:pt x="17844" y="30719"/>
                </a:cubicBezTo>
                <a:cubicBezTo>
                  <a:pt x="17844" y="30594"/>
                  <a:pt x="17938" y="30531"/>
                  <a:pt x="18063" y="30469"/>
                </a:cubicBezTo>
                <a:cubicBezTo>
                  <a:pt x="18156" y="30438"/>
                  <a:pt x="18219" y="30344"/>
                  <a:pt x="18281" y="30281"/>
                </a:cubicBezTo>
                <a:cubicBezTo>
                  <a:pt x="18313" y="30250"/>
                  <a:pt x="18313" y="30219"/>
                  <a:pt x="18281" y="30188"/>
                </a:cubicBezTo>
                <a:cubicBezTo>
                  <a:pt x="18250" y="30125"/>
                  <a:pt x="18250" y="30125"/>
                  <a:pt x="18188" y="30156"/>
                </a:cubicBezTo>
                <a:close/>
                <a:moveTo>
                  <a:pt x="3750" y="969"/>
                </a:moveTo>
                <a:cubicBezTo>
                  <a:pt x="3781" y="1000"/>
                  <a:pt x="3844" y="1031"/>
                  <a:pt x="3813" y="1094"/>
                </a:cubicBezTo>
                <a:cubicBezTo>
                  <a:pt x="3781" y="1125"/>
                  <a:pt x="3750" y="1094"/>
                  <a:pt x="3719" y="1094"/>
                </a:cubicBezTo>
                <a:cubicBezTo>
                  <a:pt x="3719" y="1063"/>
                  <a:pt x="3719" y="1063"/>
                  <a:pt x="3719" y="1063"/>
                </a:cubicBezTo>
                <a:cubicBezTo>
                  <a:pt x="3688" y="1063"/>
                  <a:pt x="3688" y="1031"/>
                  <a:pt x="3656" y="1031"/>
                </a:cubicBezTo>
                <a:cubicBezTo>
                  <a:pt x="3656" y="1031"/>
                  <a:pt x="3625" y="1031"/>
                  <a:pt x="3594" y="1031"/>
                </a:cubicBezTo>
                <a:cubicBezTo>
                  <a:pt x="3781" y="1188"/>
                  <a:pt x="4000" y="1375"/>
                  <a:pt x="4188" y="1563"/>
                </a:cubicBezTo>
                <a:cubicBezTo>
                  <a:pt x="4188" y="1563"/>
                  <a:pt x="4188" y="1563"/>
                  <a:pt x="4188" y="1563"/>
                </a:cubicBezTo>
                <a:cubicBezTo>
                  <a:pt x="4188" y="1563"/>
                  <a:pt x="4188" y="1563"/>
                  <a:pt x="4188" y="1563"/>
                </a:cubicBezTo>
                <a:cubicBezTo>
                  <a:pt x="4125" y="1438"/>
                  <a:pt x="4031" y="1344"/>
                  <a:pt x="3938" y="1281"/>
                </a:cubicBezTo>
                <a:cubicBezTo>
                  <a:pt x="3906" y="1219"/>
                  <a:pt x="3813" y="1188"/>
                  <a:pt x="3813" y="1094"/>
                </a:cubicBezTo>
                <a:cubicBezTo>
                  <a:pt x="4063" y="1094"/>
                  <a:pt x="4156" y="1313"/>
                  <a:pt x="4281" y="1438"/>
                </a:cubicBezTo>
                <a:cubicBezTo>
                  <a:pt x="4344" y="1500"/>
                  <a:pt x="4406" y="1531"/>
                  <a:pt x="4438" y="1594"/>
                </a:cubicBezTo>
                <a:cubicBezTo>
                  <a:pt x="4594" y="1750"/>
                  <a:pt x="4750" y="1938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06" y="2094"/>
                  <a:pt x="4906" y="2094"/>
                  <a:pt x="4906" y="2094"/>
                </a:cubicBezTo>
                <a:cubicBezTo>
                  <a:pt x="4938" y="2156"/>
                  <a:pt x="4938" y="2250"/>
                  <a:pt x="4969" y="2313"/>
                </a:cubicBezTo>
                <a:cubicBezTo>
                  <a:pt x="5000" y="2375"/>
                  <a:pt x="5063" y="2406"/>
                  <a:pt x="5219" y="2375"/>
                </a:cubicBezTo>
                <a:cubicBezTo>
                  <a:pt x="5063" y="2313"/>
                  <a:pt x="5063" y="2156"/>
                  <a:pt x="4906" y="2094"/>
                </a:cubicBezTo>
                <a:cubicBezTo>
                  <a:pt x="4875" y="1938"/>
                  <a:pt x="4750" y="1875"/>
                  <a:pt x="4688" y="1750"/>
                </a:cubicBezTo>
                <a:cubicBezTo>
                  <a:pt x="4438" y="1406"/>
                  <a:pt x="4125" y="1094"/>
                  <a:pt x="3750" y="875"/>
                </a:cubicBezTo>
                <a:cubicBezTo>
                  <a:pt x="3594" y="781"/>
                  <a:pt x="3438" y="656"/>
                  <a:pt x="3250" y="625"/>
                </a:cubicBezTo>
                <a:cubicBezTo>
                  <a:pt x="3375" y="750"/>
                  <a:pt x="3531" y="813"/>
                  <a:pt x="3656" y="906"/>
                </a:cubicBezTo>
                <a:cubicBezTo>
                  <a:pt x="3688" y="938"/>
                  <a:pt x="3719" y="938"/>
                  <a:pt x="3750" y="969"/>
                </a:cubicBezTo>
                <a:close/>
                <a:moveTo>
                  <a:pt x="15719" y="1563"/>
                </a:moveTo>
                <a:cubicBezTo>
                  <a:pt x="15531" y="1813"/>
                  <a:pt x="15406" y="2094"/>
                  <a:pt x="15250" y="2375"/>
                </a:cubicBezTo>
                <a:cubicBezTo>
                  <a:pt x="15250" y="2438"/>
                  <a:pt x="15219" y="2469"/>
                  <a:pt x="15250" y="2531"/>
                </a:cubicBezTo>
                <a:cubicBezTo>
                  <a:pt x="15281" y="2531"/>
                  <a:pt x="15281" y="2594"/>
                  <a:pt x="15313" y="2531"/>
                </a:cubicBezTo>
                <a:cubicBezTo>
                  <a:pt x="15344" y="2531"/>
                  <a:pt x="15375" y="2500"/>
                  <a:pt x="15344" y="2469"/>
                </a:cubicBezTo>
                <a:cubicBezTo>
                  <a:pt x="15250" y="2375"/>
                  <a:pt x="15344" y="2344"/>
                  <a:pt x="15406" y="2313"/>
                </a:cubicBezTo>
                <a:cubicBezTo>
                  <a:pt x="15438" y="2281"/>
                  <a:pt x="15500" y="2281"/>
                  <a:pt x="15531" y="2250"/>
                </a:cubicBezTo>
                <a:cubicBezTo>
                  <a:pt x="15625" y="2063"/>
                  <a:pt x="15750" y="1906"/>
                  <a:pt x="15844" y="1750"/>
                </a:cubicBezTo>
                <a:cubicBezTo>
                  <a:pt x="15875" y="1656"/>
                  <a:pt x="15906" y="1563"/>
                  <a:pt x="15969" y="1469"/>
                </a:cubicBezTo>
                <a:cubicBezTo>
                  <a:pt x="16063" y="1375"/>
                  <a:pt x="16125" y="1219"/>
                  <a:pt x="16188" y="1063"/>
                </a:cubicBezTo>
                <a:cubicBezTo>
                  <a:pt x="16063" y="1188"/>
                  <a:pt x="16031" y="1344"/>
                  <a:pt x="15906" y="1438"/>
                </a:cubicBezTo>
                <a:cubicBezTo>
                  <a:pt x="15875" y="1438"/>
                  <a:pt x="15875" y="1406"/>
                  <a:pt x="15875" y="1406"/>
                </a:cubicBezTo>
                <a:cubicBezTo>
                  <a:pt x="15875" y="1375"/>
                  <a:pt x="15875" y="1344"/>
                  <a:pt x="15875" y="1313"/>
                </a:cubicBezTo>
                <a:cubicBezTo>
                  <a:pt x="15906" y="1313"/>
                  <a:pt x="15938" y="1281"/>
                  <a:pt x="15969" y="1281"/>
                </a:cubicBezTo>
                <a:cubicBezTo>
                  <a:pt x="15969" y="1250"/>
                  <a:pt x="16000" y="1219"/>
                  <a:pt x="16000" y="1188"/>
                </a:cubicBezTo>
                <a:cubicBezTo>
                  <a:pt x="16063" y="1063"/>
                  <a:pt x="16125" y="938"/>
                  <a:pt x="16219" y="813"/>
                </a:cubicBezTo>
                <a:cubicBezTo>
                  <a:pt x="16313" y="594"/>
                  <a:pt x="16438" y="375"/>
                  <a:pt x="16500" y="125"/>
                </a:cubicBezTo>
                <a:cubicBezTo>
                  <a:pt x="16500" y="125"/>
                  <a:pt x="16500" y="125"/>
                  <a:pt x="16500" y="125"/>
                </a:cubicBezTo>
                <a:cubicBezTo>
                  <a:pt x="16531" y="125"/>
                  <a:pt x="16531" y="125"/>
                  <a:pt x="16531" y="125"/>
                </a:cubicBezTo>
                <a:cubicBezTo>
                  <a:pt x="16500" y="125"/>
                  <a:pt x="16500" y="125"/>
                  <a:pt x="16500" y="125"/>
                </a:cubicBezTo>
                <a:cubicBezTo>
                  <a:pt x="16406" y="188"/>
                  <a:pt x="16375" y="281"/>
                  <a:pt x="16313" y="375"/>
                </a:cubicBezTo>
                <a:cubicBezTo>
                  <a:pt x="16156" y="656"/>
                  <a:pt x="16094" y="969"/>
                  <a:pt x="15906" y="1219"/>
                </a:cubicBezTo>
                <a:cubicBezTo>
                  <a:pt x="15875" y="1219"/>
                  <a:pt x="15875" y="1281"/>
                  <a:pt x="15875" y="1313"/>
                </a:cubicBezTo>
                <a:cubicBezTo>
                  <a:pt x="15813" y="1344"/>
                  <a:pt x="15781" y="1438"/>
                  <a:pt x="15750" y="1500"/>
                </a:cubicBezTo>
                <a:cubicBezTo>
                  <a:pt x="15750" y="1531"/>
                  <a:pt x="15719" y="1531"/>
                  <a:pt x="15719" y="1563"/>
                </a:cubicBezTo>
                <a:close/>
                <a:moveTo>
                  <a:pt x="12063" y="2688"/>
                </a:moveTo>
                <a:cubicBezTo>
                  <a:pt x="12156" y="2813"/>
                  <a:pt x="12125" y="2938"/>
                  <a:pt x="12031" y="3063"/>
                </a:cubicBezTo>
                <a:cubicBezTo>
                  <a:pt x="12031" y="3063"/>
                  <a:pt x="12031" y="3094"/>
                  <a:pt x="12031" y="3125"/>
                </a:cubicBezTo>
                <a:cubicBezTo>
                  <a:pt x="12031" y="3219"/>
                  <a:pt x="12031" y="3313"/>
                  <a:pt x="12031" y="3406"/>
                </a:cubicBezTo>
                <a:cubicBezTo>
                  <a:pt x="12031" y="3531"/>
                  <a:pt x="12031" y="3688"/>
                  <a:pt x="12219" y="3656"/>
                </a:cubicBezTo>
                <a:cubicBezTo>
                  <a:pt x="12250" y="3656"/>
                  <a:pt x="12250" y="3719"/>
                  <a:pt x="12250" y="3719"/>
                </a:cubicBezTo>
                <a:cubicBezTo>
                  <a:pt x="12406" y="3531"/>
                  <a:pt x="12438" y="3344"/>
                  <a:pt x="12531" y="3156"/>
                </a:cubicBezTo>
                <a:cubicBezTo>
                  <a:pt x="12625" y="2969"/>
                  <a:pt x="12719" y="2781"/>
                  <a:pt x="12813" y="2594"/>
                </a:cubicBezTo>
                <a:cubicBezTo>
                  <a:pt x="13031" y="2250"/>
                  <a:pt x="13031" y="1844"/>
                  <a:pt x="13094" y="1469"/>
                </a:cubicBezTo>
                <a:cubicBezTo>
                  <a:pt x="13125" y="1438"/>
                  <a:pt x="13125" y="1406"/>
                  <a:pt x="13094" y="1375"/>
                </a:cubicBezTo>
                <a:cubicBezTo>
                  <a:pt x="13031" y="1344"/>
                  <a:pt x="13031" y="1406"/>
                  <a:pt x="13000" y="1438"/>
                </a:cubicBezTo>
                <a:cubicBezTo>
                  <a:pt x="12906" y="1594"/>
                  <a:pt x="12813" y="1750"/>
                  <a:pt x="12719" y="1906"/>
                </a:cubicBezTo>
                <a:cubicBezTo>
                  <a:pt x="12594" y="2125"/>
                  <a:pt x="12500" y="2375"/>
                  <a:pt x="12375" y="2594"/>
                </a:cubicBezTo>
                <a:cubicBezTo>
                  <a:pt x="12344" y="2656"/>
                  <a:pt x="12344" y="2750"/>
                  <a:pt x="12250" y="2750"/>
                </a:cubicBezTo>
                <a:cubicBezTo>
                  <a:pt x="12188" y="2719"/>
                  <a:pt x="12219" y="2625"/>
                  <a:pt x="12188" y="2531"/>
                </a:cubicBezTo>
                <a:cubicBezTo>
                  <a:pt x="12125" y="2594"/>
                  <a:pt x="12031" y="2594"/>
                  <a:pt x="12063" y="26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/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650134D-570B-C04A-82BC-7A4DA0132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8DC78857-5320-8742-BFC1-9EEE42A45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80202E3-CE3A-3247-96EA-A70AF1E35EB2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054EEE84-E6C0-034E-B916-971E20AC773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3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34DD0332-56BE-E243-948D-8898C757FE6C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1905555" y="1098154"/>
            <a:ext cx="11161240" cy="12313368"/>
          </a:xfrm>
          <a:custGeom>
            <a:avLst/>
            <a:gdLst>
              <a:gd name="T0" fmla="*/ 20750 w 23000"/>
              <a:gd name="T1" fmla="*/ 9032 h 27157"/>
              <a:gd name="T2" fmla="*/ 15156 w 23000"/>
              <a:gd name="T3" fmla="*/ 7344 h 27157"/>
              <a:gd name="T4" fmla="*/ 9094 w 23000"/>
              <a:gd name="T5" fmla="*/ 4250 h 27157"/>
              <a:gd name="T6" fmla="*/ 6969 w 23000"/>
              <a:gd name="T7" fmla="*/ 6750 h 27157"/>
              <a:gd name="T8" fmla="*/ 3469 w 23000"/>
              <a:gd name="T9" fmla="*/ 11594 h 27157"/>
              <a:gd name="T10" fmla="*/ 2281 w 23000"/>
              <a:gd name="T11" fmla="*/ 17563 h 27157"/>
              <a:gd name="T12" fmla="*/ 8656 w 23000"/>
              <a:gd name="T13" fmla="*/ 19000 h 27157"/>
              <a:gd name="T14" fmla="*/ 19625 w 23000"/>
              <a:gd name="T15" fmla="*/ 26719 h 27157"/>
              <a:gd name="T16" fmla="*/ 13875 w 23000"/>
              <a:gd name="T17" fmla="*/ 17657 h 27157"/>
              <a:gd name="T18" fmla="*/ 20844 w 23000"/>
              <a:gd name="T19" fmla="*/ 16000 h 27157"/>
              <a:gd name="T20" fmla="*/ 16219 w 23000"/>
              <a:gd name="T21" fmla="*/ 19469 h 27157"/>
              <a:gd name="T22" fmla="*/ 12281 w 23000"/>
              <a:gd name="T23" fmla="*/ 18094 h 27157"/>
              <a:gd name="T24" fmla="*/ 11531 w 23000"/>
              <a:gd name="T25" fmla="*/ 18469 h 27157"/>
              <a:gd name="T26" fmla="*/ 9875 w 23000"/>
              <a:gd name="T27" fmla="*/ 16032 h 27157"/>
              <a:gd name="T28" fmla="*/ 12594 w 23000"/>
              <a:gd name="T29" fmla="*/ 15688 h 27157"/>
              <a:gd name="T30" fmla="*/ 8688 w 23000"/>
              <a:gd name="T31" fmla="*/ 18500 h 27157"/>
              <a:gd name="T32" fmla="*/ 3125 w 23000"/>
              <a:gd name="T33" fmla="*/ 15407 h 27157"/>
              <a:gd name="T34" fmla="*/ 1875 w 23000"/>
              <a:gd name="T35" fmla="*/ 8125 h 27157"/>
              <a:gd name="T36" fmla="*/ 18906 w 23000"/>
              <a:gd name="T37" fmla="*/ 9063 h 27157"/>
              <a:gd name="T38" fmla="*/ 20156 w 23000"/>
              <a:gd name="T39" fmla="*/ 14719 h 27157"/>
              <a:gd name="T40" fmla="*/ 13250 w 23000"/>
              <a:gd name="T41" fmla="*/ 17188 h 27157"/>
              <a:gd name="T42" fmla="*/ 9406 w 23000"/>
              <a:gd name="T43" fmla="*/ 15032 h 27157"/>
              <a:gd name="T44" fmla="*/ 8938 w 23000"/>
              <a:gd name="T45" fmla="*/ 17219 h 27157"/>
              <a:gd name="T46" fmla="*/ 3406 w 23000"/>
              <a:gd name="T47" fmla="*/ 16750 h 27157"/>
              <a:gd name="T48" fmla="*/ 15281 w 23000"/>
              <a:gd name="T49" fmla="*/ 10282 h 27157"/>
              <a:gd name="T50" fmla="*/ 17281 w 23000"/>
              <a:gd name="T51" fmla="*/ 14532 h 27157"/>
              <a:gd name="T52" fmla="*/ 14156 w 23000"/>
              <a:gd name="T53" fmla="*/ 14282 h 27157"/>
              <a:gd name="T54" fmla="*/ 7656 w 23000"/>
              <a:gd name="T55" fmla="*/ 8813 h 27157"/>
              <a:gd name="T56" fmla="*/ 14219 w 23000"/>
              <a:gd name="T57" fmla="*/ 14344 h 27157"/>
              <a:gd name="T58" fmla="*/ 5000 w 23000"/>
              <a:gd name="T59" fmla="*/ 10625 h 27157"/>
              <a:gd name="T60" fmla="*/ 16250 w 23000"/>
              <a:gd name="T61" fmla="*/ 12594 h 27157"/>
              <a:gd name="T62" fmla="*/ 11563 w 23000"/>
              <a:gd name="T63" fmla="*/ 7532 h 27157"/>
              <a:gd name="T64" fmla="*/ 12969 w 23000"/>
              <a:gd name="T65" fmla="*/ 10500 h 27157"/>
              <a:gd name="T66" fmla="*/ 11813 w 23000"/>
              <a:gd name="T67" fmla="*/ 11344 h 27157"/>
              <a:gd name="T68" fmla="*/ 17688 w 23000"/>
              <a:gd name="T69" fmla="*/ 11938 h 27157"/>
              <a:gd name="T70" fmla="*/ 15375 w 23000"/>
              <a:gd name="T71" fmla="*/ 11625 h 27157"/>
              <a:gd name="T72" fmla="*/ 4656 w 23000"/>
              <a:gd name="T73" fmla="*/ 9000 h 27157"/>
              <a:gd name="T74" fmla="*/ 8031 w 23000"/>
              <a:gd name="T75" fmla="*/ 12657 h 27157"/>
              <a:gd name="T76" fmla="*/ 7094 w 23000"/>
              <a:gd name="T77" fmla="*/ 12938 h 27157"/>
              <a:gd name="T78" fmla="*/ 9688 w 23000"/>
              <a:gd name="T79" fmla="*/ 12313 h 27157"/>
              <a:gd name="T80" fmla="*/ 10250 w 23000"/>
              <a:gd name="T81" fmla="*/ 12063 h 27157"/>
              <a:gd name="T82" fmla="*/ 11469 w 23000"/>
              <a:gd name="T83" fmla="*/ 10219 h 27157"/>
              <a:gd name="T84" fmla="*/ 11531 w 23000"/>
              <a:gd name="T85" fmla="*/ 5500 h 27157"/>
              <a:gd name="T86" fmla="*/ 5344 w 23000"/>
              <a:gd name="T87" fmla="*/ 13907 h 27157"/>
              <a:gd name="T88" fmla="*/ 16000 w 23000"/>
              <a:gd name="T89" fmla="*/ 15344 h 27157"/>
              <a:gd name="T90" fmla="*/ 16781 w 23000"/>
              <a:gd name="T91" fmla="*/ 10719 h 27157"/>
              <a:gd name="T92" fmla="*/ 8469 w 23000"/>
              <a:gd name="T93" fmla="*/ 5875 h 27157"/>
              <a:gd name="T94" fmla="*/ 4719 w 23000"/>
              <a:gd name="T95" fmla="*/ 11750 h 27157"/>
              <a:gd name="T96" fmla="*/ 15406 w 23000"/>
              <a:gd name="T97" fmla="*/ 16032 h 27157"/>
              <a:gd name="T98" fmla="*/ 16781 w 23000"/>
              <a:gd name="T99" fmla="*/ 15000 h 27157"/>
              <a:gd name="T100" fmla="*/ 19875 w 23000"/>
              <a:gd name="T101" fmla="*/ 13563 h 27157"/>
              <a:gd name="T102" fmla="*/ 8531 w 23000"/>
              <a:gd name="T103" fmla="*/ 7094 h 27157"/>
              <a:gd name="T104" fmla="*/ 3656 w 23000"/>
              <a:gd name="T105" fmla="*/ 12750 h 27157"/>
              <a:gd name="T106" fmla="*/ 12406 w 23000"/>
              <a:gd name="T107" fmla="*/ 16500 h 27157"/>
              <a:gd name="T108" fmla="*/ 20063 w 23000"/>
              <a:gd name="T109" fmla="*/ 15625 h 27157"/>
              <a:gd name="T110" fmla="*/ 18688 w 23000"/>
              <a:gd name="T111" fmla="*/ 12750 h 27157"/>
              <a:gd name="T112" fmla="*/ 19250 w 23000"/>
              <a:gd name="T113" fmla="*/ 7344 h 27157"/>
              <a:gd name="T114" fmla="*/ 8688 w 23000"/>
              <a:gd name="T115" fmla="*/ 4688 h 27157"/>
              <a:gd name="T116" fmla="*/ 4125 w 23000"/>
              <a:gd name="T117" fmla="*/ 12532 h 27157"/>
              <a:gd name="T118" fmla="*/ 6594 w 23000"/>
              <a:gd name="T119" fmla="*/ 19625 h 27157"/>
              <a:gd name="T120" fmla="*/ 11469 w 23000"/>
              <a:gd name="T121" fmla="*/ 16188 h 27157"/>
              <a:gd name="T122" fmla="*/ 14688 w 23000"/>
              <a:gd name="T123" fmla="*/ 18969 h 27157"/>
              <a:gd name="T124" fmla="*/ 15000 w 23000"/>
              <a:gd name="T125" fmla="*/ 19625 h 27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000" h="27157">
                <a:moveTo>
                  <a:pt x="22938" y="14532"/>
                </a:moveTo>
                <a:cubicBezTo>
                  <a:pt x="22875" y="14438"/>
                  <a:pt x="22813" y="14344"/>
                  <a:pt x="22719" y="14282"/>
                </a:cubicBezTo>
                <a:cubicBezTo>
                  <a:pt x="22719" y="14188"/>
                  <a:pt x="22625" y="14219"/>
                  <a:pt x="22594" y="14188"/>
                </a:cubicBezTo>
                <a:cubicBezTo>
                  <a:pt x="22594" y="14188"/>
                  <a:pt x="22594" y="14188"/>
                  <a:pt x="22594" y="14188"/>
                </a:cubicBezTo>
                <a:cubicBezTo>
                  <a:pt x="22594" y="14188"/>
                  <a:pt x="22594" y="14188"/>
                  <a:pt x="22594" y="14188"/>
                </a:cubicBezTo>
                <a:cubicBezTo>
                  <a:pt x="22563" y="14157"/>
                  <a:pt x="22563" y="14157"/>
                  <a:pt x="22563" y="14157"/>
                </a:cubicBezTo>
                <a:cubicBezTo>
                  <a:pt x="22469" y="14094"/>
                  <a:pt x="22375" y="14032"/>
                  <a:pt x="22281" y="13969"/>
                </a:cubicBezTo>
                <a:cubicBezTo>
                  <a:pt x="22063" y="13750"/>
                  <a:pt x="21781" y="13563"/>
                  <a:pt x="21563" y="13344"/>
                </a:cubicBezTo>
                <a:cubicBezTo>
                  <a:pt x="21531" y="13344"/>
                  <a:pt x="21500" y="13313"/>
                  <a:pt x="21438" y="13313"/>
                </a:cubicBezTo>
                <a:cubicBezTo>
                  <a:pt x="21313" y="13282"/>
                  <a:pt x="21188" y="13282"/>
                  <a:pt x="21063" y="13188"/>
                </a:cubicBezTo>
                <a:cubicBezTo>
                  <a:pt x="21063" y="13188"/>
                  <a:pt x="21063" y="13188"/>
                  <a:pt x="21031" y="13188"/>
                </a:cubicBezTo>
                <a:cubicBezTo>
                  <a:pt x="20781" y="12938"/>
                  <a:pt x="20813" y="12500"/>
                  <a:pt x="21031" y="12282"/>
                </a:cubicBezTo>
                <a:cubicBezTo>
                  <a:pt x="21063" y="12282"/>
                  <a:pt x="21094" y="12250"/>
                  <a:pt x="21063" y="12188"/>
                </a:cubicBezTo>
                <a:cubicBezTo>
                  <a:pt x="21031" y="12250"/>
                  <a:pt x="21000" y="12250"/>
                  <a:pt x="20969" y="12282"/>
                </a:cubicBezTo>
                <a:cubicBezTo>
                  <a:pt x="20906" y="12313"/>
                  <a:pt x="20813" y="12313"/>
                  <a:pt x="20750" y="12375"/>
                </a:cubicBezTo>
                <a:cubicBezTo>
                  <a:pt x="20750" y="12375"/>
                  <a:pt x="20719" y="12375"/>
                  <a:pt x="20719" y="12407"/>
                </a:cubicBezTo>
                <a:cubicBezTo>
                  <a:pt x="20656" y="12407"/>
                  <a:pt x="20594" y="12407"/>
                  <a:pt x="20531" y="12438"/>
                </a:cubicBezTo>
                <a:cubicBezTo>
                  <a:pt x="20500" y="12438"/>
                  <a:pt x="20469" y="12407"/>
                  <a:pt x="20438" y="12438"/>
                </a:cubicBezTo>
                <a:cubicBezTo>
                  <a:pt x="20406" y="12438"/>
                  <a:pt x="20375" y="12469"/>
                  <a:pt x="20344" y="12469"/>
                </a:cubicBezTo>
                <a:cubicBezTo>
                  <a:pt x="20219" y="12469"/>
                  <a:pt x="20094" y="12500"/>
                  <a:pt x="19969" y="12532"/>
                </a:cubicBezTo>
                <a:cubicBezTo>
                  <a:pt x="19844" y="12532"/>
                  <a:pt x="19688" y="12563"/>
                  <a:pt x="19563" y="12594"/>
                </a:cubicBezTo>
                <a:cubicBezTo>
                  <a:pt x="19594" y="12594"/>
                  <a:pt x="19594" y="12594"/>
                  <a:pt x="19625" y="12594"/>
                </a:cubicBezTo>
                <a:cubicBezTo>
                  <a:pt x="19594" y="12594"/>
                  <a:pt x="19594" y="12594"/>
                  <a:pt x="19563" y="12594"/>
                </a:cubicBezTo>
                <a:cubicBezTo>
                  <a:pt x="19469" y="12594"/>
                  <a:pt x="19344" y="12625"/>
                  <a:pt x="19250" y="12625"/>
                </a:cubicBezTo>
                <a:cubicBezTo>
                  <a:pt x="19219" y="12657"/>
                  <a:pt x="19219" y="12688"/>
                  <a:pt x="19250" y="12688"/>
                </a:cubicBezTo>
                <a:cubicBezTo>
                  <a:pt x="19219" y="12688"/>
                  <a:pt x="19219" y="12657"/>
                  <a:pt x="19250" y="12625"/>
                </a:cubicBezTo>
                <a:cubicBezTo>
                  <a:pt x="19156" y="12625"/>
                  <a:pt x="19094" y="12625"/>
                  <a:pt x="19031" y="12657"/>
                </a:cubicBezTo>
                <a:cubicBezTo>
                  <a:pt x="19000" y="12657"/>
                  <a:pt x="18969" y="12657"/>
                  <a:pt x="18938" y="12688"/>
                </a:cubicBezTo>
                <a:cubicBezTo>
                  <a:pt x="18938" y="12719"/>
                  <a:pt x="18969" y="12750"/>
                  <a:pt x="18969" y="12782"/>
                </a:cubicBezTo>
                <a:cubicBezTo>
                  <a:pt x="18938" y="12813"/>
                  <a:pt x="18969" y="12813"/>
                  <a:pt x="19000" y="12813"/>
                </a:cubicBezTo>
                <a:cubicBezTo>
                  <a:pt x="19094" y="12813"/>
                  <a:pt x="19063" y="12875"/>
                  <a:pt x="19031" y="12907"/>
                </a:cubicBezTo>
                <a:cubicBezTo>
                  <a:pt x="18938" y="13032"/>
                  <a:pt x="18906" y="13157"/>
                  <a:pt x="18781" y="13250"/>
                </a:cubicBezTo>
                <a:cubicBezTo>
                  <a:pt x="18750" y="13250"/>
                  <a:pt x="18719" y="13282"/>
                  <a:pt x="18719" y="13313"/>
                </a:cubicBezTo>
                <a:cubicBezTo>
                  <a:pt x="18719" y="13313"/>
                  <a:pt x="18719" y="13313"/>
                  <a:pt x="18719" y="13344"/>
                </a:cubicBezTo>
                <a:cubicBezTo>
                  <a:pt x="18719" y="13344"/>
                  <a:pt x="18688" y="13344"/>
                  <a:pt x="18688" y="13375"/>
                </a:cubicBezTo>
                <a:cubicBezTo>
                  <a:pt x="18688" y="13375"/>
                  <a:pt x="18688" y="13375"/>
                  <a:pt x="18688" y="13375"/>
                </a:cubicBezTo>
                <a:cubicBezTo>
                  <a:pt x="18625" y="13375"/>
                  <a:pt x="18594" y="13375"/>
                  <a:pt x="18594" y="13438"/>
                </a:cubicBezTo>
                <a:cubicBezTo>
                  <a:pt x="18563" y="13438"/>
                  <a:pt x="18563" y="13438"/>
                  <a:pt x="18563" y="13438"/>
                </a:cubicBezTo>
                <a:cubicBezTo>
                  <a:pt x="18469" y="13438"/>
                  <a:pt x="18469" y="13532"/>
                  <a:pt x="18406" y="13594"/>
                </a:cubicBezTo>
                <a:cubicBezTo>
                  <a:pt x="18406" y="13594"/>
                  <a:pt x="18406" y="13594"/>
                  <a:pt x="18406" y="13594"/>
                </a:cubicBezTo>
                <a:cubicBezTo>
                  <a:pt x="18375" y="13594"/>
                  <a:pt x="18344" y="13625"/>
                  <a:pt x="18344" y="13657"/>
                </a:cubicBezTo>
                <a:cubicBezTo>
                  <a:pt x="18344" y="13657"/>
                  <a:pt x="18344" y="13657"/>
                  <a:pt x="18344" y="13657"/>
                </a:cubicBezTo>
                <a:cubicBezTo>
                  <a:pt x="18313" y="13657"/>
                  <a:pt x="18281" y="13657"/>
                  <a:pt x="18281" y="13688"/>
                </a:cubicBezTo>
                <a:cubicBezTo>
                  <a:pt x="18281" y="13688"/>
                  <a:pt x="18281" y="13688"/>
                  <a:pt x="18281" y="13688"/>
                </a:cubicBezTo>
                <a:cubicBezTo>
                  <a:pt x="18188" y="13688"/>
                  <a:pt x="18094" y="13719"/>
                  <a:pt x="18063" y="13813"/>
                </a:cubicBezTo>
                <a:cubicBezTo>
                  <a:pt x="18063" y="13813"/>
                  <a:pt x="18063" y="13813"/>
                  <a:pt x="18063" y="13813"/>
                </a:cubicBezTo>
                <a:cubicBezTo>
                  <a:pt x="18063" y="13813"/>
                  <a:pt x="18063" y="13813"/>
                  <a:pt x="18063" y="13813"/>
                </a:cubicBezTo>
                <a:cubicBezTo>
                  <a:pt x="18031" y="13813"/>
                  <a:pt x="18031" y="13813"/>
                  <a:pt x="18000" y="13813"/>
                </a:cubicBezTo>
                <a:cubicBezTo>
                  <a:pt x="18000" y="13782"/>
                  <a:pt x="18000" y="13750"/>
                  <a:pt x="18000" y="13719"/>
                </a:cubicBezTo>
                <a:cubicBezTo>
                  <a:pt x="18125" y="13657"/>
                  <a:pt x="18281" y="13657"/>
                  <a:pt x="18344" y="13500"/>
                </a:cubicBezTo>
                <a:cubicBezTo>
                  <a:pt x="18313" y="13500"/>
                  <a:pt x="18281" y="13500"/>
                  <a:pt x="18250" y="13532"/>
                </a:cubicBezTo>
                <a:cubicBezTo>
                  <a:pt x="18250" y="13563"/>
                  <a:pt x="18250" y="13563"/>
                  <a:pt x="18219" y="13563"/>
                </a:cubicBezTo>
                <a:cubicBezTo>
                  <a:pt x="18188" y="13563"/>
                  <a:pt x="18188" y="13532"/>
                  <a:pt x="18188" y="13532"/>
                </a:cubicBezTo>
                <a:cubicBezTo>
                  <a:pt x="18156" y="13469"/>
                  <a:pt x="18219" y="13407"/>
                  <a:pt x="18156" y="13375"/>
                </a:cubicBezTo>
                <a:cubicBezTo>
                  <a:pt x="18219" y="13313"/>
                  <a:pt x="18313" y="13250"/>
                  <a:pt x="18406" y="13188"/>
                </a:cubicBezTo>
                <a:cubicBezTo>
                  <a:pt x="18531" y="13157"/>
                  <a:pt x="18656" y="13094"/>
                  <a:pt x="18750" y="13000"/>
                </a:cubicBezTo>
                <a:cubicBezTo>
                  <a:pt x="18781" y="13000"/>
                  <a:pt x="18813" y="12938"/>
                  <a:pt x="18750" y="12938"/>
                </a:cubicBezTo>
                <a:cubicBezTo>
                  <a:pt x="18656" y="12907"/>
                  <a:pt x="18688" y="12813"/>
                  <a:pt x="18688" y="12750"/>
                </a:cubicBezTo>
                <a:cubicBezTo>
                  <a:pt x="18688" y="12750"/>
                  <a:pt x="18688" y="12750"/>
                  <a:pt x="18688" y="12750"/>
                </a:cubicBezTo>
                <a:cubicBezTo>
                  <a:pt x="18688" y="12750"/>
                  <a:pt x="18688" y="12750"/>
                  <a:pt x="18688" y="12750"/>
                </a:cubicBezTo>
                <a:cubicBezTo>
                  <a:pt x="18719" y="12750"/>
                  <a:pt x="18750" y="12782"/>
                  <a:pt x="18781" y="12750"/>
                </a:cubicBezTo>
                <a:cubicBezTo>
                  <a:pt x="18719" y="12719"/>
                  <a:pt x="18656" y="12719"/>
                  <a:pt x="18625" y="12719"/>
                </a:cubicBezTo>
                <a:cubicBezTo>
                  <a:pt x="18438" y="12688"/>
                  <a:pt x="18438" y="12657"/>
                  <a:pt x="18438" y="12500"/>
                </a:cubicBezTo>
                <a:cubicBezTo>
                  <a:pt x="18469" y="12469"/>
                  <a:pt x="18469" y="12438"/>
                  <a:pt x="18469" y="12407"/>
                </a:cubicBezTo>
                <a:cubicBezTo>
                  <a:pt x="18469" y="12375"/>
                  <a:pt x="18438" y="12375"/>
                  <a:pt x="18438" y="12375"/>
                </a:cubicBezTo>
                <a:cubicBezTo>
                  <a:pt x="18438" y="12375"/>
                  <a:pt x="18469" y="12375"/>
                  <a:pt x="18469" y="12407"/>
                </a:cubicBezTo>
                <a:cubicBezTo>
                  <a:pt x="18469" y="12375"/>
                  <a:pt x="18469" y="12344"/>
                  <a:pt x="18500" y="12344"/>
                </a:cubicBezTo>
                <a:cubicBezTo>
                  <a:pt x="18500" y="12344"/>
                  <a:pt x="18500" y="12344"/>
                  <a:pt x="18500" y="12344"/>
                </a:cubicBezTo>
                <a:cubicBezTo>
                  <a:pt x="18531" y="12344"/>
                  <a:pt x="18563" y="12344"/>
                  <a:pt x="18563" y="12313"/>
                </a:cubicBezTo>
                <a:cubicBezTo>
                  <a:pt x="18594" y="12313"/>
                  <a:pt x="18594" y="12313"/>
                  <a:pt x="18594" y="12282"/>
                </a:cubicBezTo>
                <a:cubicBezTo>
                  <a:pt x="18719" y="12157"/>
                  <a:pt x="18844" y="12032"/>
                  <a:pt x="18906" y="11875"/>
                </a:cubicBezTo>
                <a:cubicBezTo>
                  <a:pt x="18969" y="11782"/>
                  <a:pt x="19063" y="11719"/>
                  <a:pt x="19156" y="11657"/>
                </a:cubicBezTo>
                <a:cubicBezTo>
                  <a:pt x="19281" y="11594"/>
                  <a:pt x="19375" y="11469"/>
                  <a:pt x="19500" y="11375"/>
                </a:cubicBezTo>
                <a:cubicBezTo>
                  <a:pt x="19563" y="11344"/>
                  <a:pt x="19625" y="11282"/>
                  <a:pt x="19656" y="11188"/>
                </a:cubicBezTo>
                <a:cubicBezTo>
                  <a:pt x="19656" y="11094"/>
                  <a:pt x="19688" y="11032"/>
                  <a:pt x="19750" y="10938"/>
                </a:cubicBezTo>
                <a:cubicBezTo>
                  <a:pt x="19938" y="10813"/>
                  <a:pt x="20156" y="10782"/>
                  <a:pt x="20313" y="10594"/>
                </a:cubicBezTo>
                <a:cubicBezTo>
                  <a:pt x="20313" y="10594"/>
                  <a:pt x="20313" y="10594"/>
                  <a:pt x="20313" y="10594"/>
                </a:cubicBezTo>
                <a:cubicBezTo>
                  <a:pt x="20406" y="10563"/>
                  <a:pt x="20469" y="10500"/>
                  <a:pt x="20531" y="10438"/>
                </a:cubicBezTo>
                <a:cubicBezTo>
                  <a:pt x="20594" y="10375"/>
                  <a:pt x="20688" y="10344"/>
                  <a:pt x="20781" y="10282"/>
                </a:cubicBezTo>
                <a:cubicBezTo>
                  <a:pt x="20906" y="10219"/>
                  <a:pt x="21031" y="10188"/>
                  <a:pt x="21156" y="10063"/>
                </a:cubicBezTo>
                <a:cubicBezTo>
                  <a:pt x="21469" y="9875"/>
                  <a:pt x="21844" y="9969"/>
                  <a:pt x="22188" y="10000"/>
                </a:cubicBezTo>
                <a:cubicBezTo>
                  <a:pt x="22094" y="9969"/>
                  <a:pt x="22000" y="9938"/>
                  <a:pt x="21906" y="9875"/>
                </a:cubicBezTo>
                <a:cubicBezTo>
                  <a:pt x="21813" y="9844"/>
                  <a:pt x="21750" y="9750"/>
                  <a:pt x="21625" y="9750"/>
                </a:cubicBezTo>
                <a:cubicBezTo>
                  <a:pt x="21563" y="9719"/>
                  <a:pt x="21469" y="9688"/>
                  <a:pt x="21406" y="9625"/>
                </a:cubicBezTo>
                <a:cubicBezTo>
                  <a:pt x="21375" y="9594"/>
                  <a:pt x="21344" y="9500"/>
                  <a:pt x="21281" y="9500"/>
                </a:cubicBezTo>
                <a:cubicBezTo>
                  <a:pt x="21281" y="9469"/>
                  <a:pt x="21281" y="9469"/>
                  <a:pt x="21281" y="9469"/>
                </a:cubicBezTo>
                <a:cubicBezTo>
                  <a:pt x="21281" y="9469"/>
                  <a:pt x="21281" y="9469"/>
                  <a:pt x="21281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69"/>
                  <a:pt x="21250" y="9469"/>
                  <a:pt x="21250" y="9469"/>
                </a:cubicBezTo>
                <a:cubicBezTo>
                  <a:pt x="21250" y="9438"/>
                  <a:pt x="21250" y="9438"/>
                  <a:pt x="21250" y="9438"/>
                </a:cubicBezTo>
                <a:cubicBezTo>
                  <a:pt x="21156" y="9375"/>
                  <a:pt x="21094" y="9282"/>
                  <a:pt x="21000" y="9219"/>
                </a:cubicBezTo>
                <a:cubicBezTo>
                  <a:pt x="20906" y="9157"/>
                  <a:pt x="20844" y="9094"/>
                  <a:pt x="20750" y="9032"/>
                </a:cubicBezTo>
                <a:cubicBezTo>
                  <a:pt x="20656" y="8938"/>
                  <a:pt x="20594" y="8813"/>
                  <a:pt x="20531" y="8688"/>
                </a:cubicBezTo>
                <a:cubicBezTo>
                  <a:pt x="20531" y="8688"/>
                  <a:pt x="20531" y="8719"/>
                  <a:pt x="20500" y="8719"/>
                </a:cubicBezTo>
                <a:cubicBezTo>
                  <a:pt x="20531" y="8719"/>
                  <a:pt x="20531" y="8688"/>
                  <a:pt x="20531" y="8688"/>
                </a:cubicBezTo>
                <a:cubicBezTo>
                  <a:pt x="20531" y="8625"/>
                  <a:pt x="20563" y="8594"/>
                  <a:pt x="20594" y="8563"/>
                </a:cubicBezTo>
                <a:cubicBezTo>
                  <a:pt x="20656" y="8438"/>
                  <a:pt x="20719" y="8344"/>
                  <a:pt x="20813" y="8250"/>
                </a:cubicBezTo>
                <a:cubicBezTo>
                  <a:pt x="20844" y="8188"/>
                  <a:pt x="20906" y="8125"/>
                  <a:pt x="20938" y="8032"/>
                </a:cubicBezTo>
                <a:cubicBezTo>
                  <a:pt x="20906" y="8032"/>
                  <a:pt x="20875" y="8063"/>
                  <a:pt x="20844" y="8032"/>
                </a:cubicBezTo>
                <a:cubicBezTo>
                  <a:pt x="20781" y="7907"/>
                  <a:pt x="20844" y="7782"/>
                  <a:pt x="20906" y="7688"/>
                </a:cubicBezTo>
                <a:cubicBezTo>
                  <a:pt x="21000" y="7563"/>
                  <a:pt x="21063" y="7438"/>
                  <a:pt x="21125" y="7313"/>
                </a:cubicBezTo>
                <a:cubicBezTo>
                  <a:pt x="21156" y="7282"/>
                  <a:pt x="21156" y="7282"/>
                  <a:pt x="21156" y="7282"/>
                </a:cubicBezTo>
                <a:cubicBezTo>
                  <a:pt x="21219" y="7157"/>
                  <a:pt x="21281" y="7063"/>
                  <a:pt x="21375" y="7032"/>
                </a:cubicBezTo>
                <a:cubicBezTo>
                  <a:pt x="21438" y="7000"/>
                  <a:pt x="21500" y="6969"/>
                  <a:pt x="21563" y="6938"/>
                </a:cubicBezTo>
                <a:cubicBezTo>
                  <a:pt x="21531" y="6907"/>
                  <a:pt x="21531" y="6907"/>
                  <a:pt x="21531" y="6907"/>
                </a:cubicBezTo>
                <a:cubicBezTo>
                  <a:pt x="21344" y="6938"/>
                  <a:pt x="21188" y="6875"/>
                  <a:pt x="21094" y="6719"/>
                </a:cubicBezTo>
                <a:cubicBezTo>
                  <a:pt x="21094" y="6719"/>
                  <a:pt x="21094" y="6719"/>
                  <a:pt x="21094" y="6719"/>
                </a:cubicBezTo>
                <a:cubicBezTo>
                  <a:pt x="21031" y="6657"/>
                  <a:pt x="21000" y="6594"/>
                  <a:pt x="21000" y="6532"/>
                </a:cubicBezTo>
                <a:cubicBezTo>
                  <a:pt x="21000" y="6469"/>
                  <a:pt x="21031" y="6407"/>
                  <a:pt x="21031" y="6344"/>
                </a:cubicBezTo>
                <a:cubicBezTo>
                  <a:pt x="21031" y="5938"/>
                  <a:pt x="21156" y="5532"/>
                  <a:pt x="21375" y="5188"/>
                </a:cubicBezTo>
                <a:cubicBezTo>
                  <a:pt x="21406" y="5157"/>
                  <a:pt x="21406" y="5094"/>
                  <a:pt x="21406" y="5063"/>
                </a:cubicBezTo>
                <a:cubicBezTo>
                  <a:pt x="21406" y="5032"/>
                  <a:pt x="21375" y="4969"/>
                  <a:pt x="21344" y="5000"/>
                </a:cubicBezTo>
                <a:cubicBezTo>
                  <a:pt x="21219" y="5125"/>
                  <a:pt x="21094" y="5188"/>
                  <a:pt x="20938" y="5282"/>
                </a:cubicBezTo>
                <a:cubicBezTo>
                  <a:pt x="20938" y="5282"/>
                  <a:pt x="20938" y="5282"/>
                  <a:pt x="20938" y="5282"/>
                </a:cubicBezTo>
                <a:cubicBezTo>
                  <a:pt x="20938" y="5282"/>
                  <a:pt x="20938" y="5282"/>
                  <a:pt x="20938" y="5282"/>
                </a:cubicBezTo>
                <a:cubicBezTo>
                  <a:pt x="20906" y="5282"/>
                  <a:pt x="20906" y="5282"/>
                  <a:pt x="20875" y="5313"/>
                </a:cubicBezTo>
                <a:cubicBezTo>
                  <a:pt x="20875" y="5313"/>
                  <a:pt x="20875" y="5313"/>
                  <a:pt x="20875" y="5313"/>
                </a:cubicBezTo>
                <a:cubicBezTo>
                  <a:pt x="20844" y="5282"/>
                  <a:pt x="20813" y="5313"/>
                  <a:pt x="20813" y="5344"/>
                </a:cubicBezTo>
                <a:cubicBezTo>
                  <a:pt x="20813" y="5407"/>
                  <a:pt x="20750" y="5407"/>
                  <a:pt x="20750" y="5375"/>
                </a:cubicBezTo>
                <a:cubicBezTo>
                  <a:pt x="20719" y="5344"/>
                  <a:pt x="20688" y="5375"/>
                  <a:pt x="20656" y="5375"/>
                </a:cubicBezTo>
                <a:cubicBezTo>
                  <a:pt x="20500" y="5375"/>
                  <a:pt x="20344" y="5469"/>
                  <a:pt x="20188" y="5438"/>
                </a:cubicBezTo>
                <a:cubicBezTo>
                  <a:pt x="20125" y="5438"/>
                  <a:pt x="20063" y="5469"/>
                  <a:pt x="20000" y="5469"/>
                </a:cubicBezTo>
                <a:cubicBezTo>
                  <a:pt x="19938" y="5469"/>
                  <a:pt x="19906" y="5469"/>
                  <a:pt x="19875" y="5438"/>
                </a:cubicBezTo>
                <a:cubicBezTo>
                  <a:pt x="19625" y="5344"/>
                  <a:pt x="19594" y="5313"/>
                  <a:pt x="19625" y="5125"/>
                </a:cubicBezTo>
                <a:cubicBezTo>
                  <a:pt x="19625" y="5125"/>
                  <a:pt x="19656" y="5094"/>
                  <a:pt x="19625" y="5094"/>
                </a:cubicBezTo>
                <a:cubicBezTo>
                  <a:pt x="19625" y="5063"/>
                  <a:pt x="19625" y="5094"/>
                  <a:pt x="19625" y="5094"/>
                </a:cubicBezTo>
                <a:cubicBezTo>
                  <a:pt x="19594" y="5094"/>
                  <a:pt x="19563" y="5125"/>
                  <a:pt x="19563" y="5125"/>
                </a:cubicBezTo>
                <a:cubicBezTo>
                  <a:pt x="19438" y="5219"/>
                  <a:pt x="19344" y="5344"/>
                  <a:pt x="19219" y="5438"/>
                </a:cubicBezTo>
                <a:cubicBezTo>
                  <a:pt x="19063" y="5500"/>
                  <a:pt x="18969" y="5594"/>
                  <a:pt x="18813" y="5657"/>
                </a:cubicBezTo>
                <a:cubicBezTo>
                  <a:pt x="18719" y="5688"/>
                  <a:pt x="18594" y="5688"/>
                  <a:pt x="18531" y="5657"/>
                </a:cubicBezTo>
                <a:cubicBezTo>
                  <a:pt x="18438" y="5594"/>
                  <a:pt x="18375" y="5594"/>
                  <a:pt x="18281" y="5657"/>
                </a:cubicBezTo>
                <a:cubicBezTo>
                  <a:pt x="18281" y="5657"/>
                  <a:pt x="18281" y="5657"/>
                  <a:pt x="18281" y="5657"/>
                </a:cubicBezTo>
                <a:cubicBezTo>
                  <a:pt x="18250" y="5688"/>
                  <a:pt x="18219" y="5719"/>
                  <a:pt x="18188" y="5750"/>
                </a:cubicBezTo>
                <a:cubicBezTo>
                  <a:pt x="18188" y="5782"/>
                  <a:pt x="18188" y="5813"/>
                  <a:pt x="18156" y="5844"/>
                </a:cubicBezTo>
                <a:cubicBezTo>
                  <a:pt x="18094" y="5907"/>
                  <a:pt x="18000" y="5907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907"/>
                  <a:pt x="17906" y="5907"/>
                  <a:pt x="17906" y="5938"/>
                </a:cubicBezTo>
                <a:cubicBezTo>
                  <a:pt x="17906" y="5907"/>
                  <a:pt x="17906" y="5907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906" y="5875"/>
                  <a:pt x="17906" y="5875"/>
                  <a:pt x="17906" y="5875"/>
                </a:cubicBezTo>
                <a:cubicBezTo>
                  <a:pt x="17875" y="5875"/>
                  <a:pt x="17875" y="5875"/>
                  <a:pt x="17875" y="5875"/>
                </a:cubicBezTo>
                <a:cubicBezTo>
                  <a:pt x="17844" y="5875"/>
                  <a:pt x="17844" y="5875"/>
                  <a:pt x="17844" y="5875"/>
                </a:cubicBezTo>
                <a:cubicBezTo>
                  <a:pt x="17750" y="5782"/>
                  <a:pt x="17625" y="5782"/>
                  <a:pt x="17500" y="5750"/>
                </a:cubicBezTo>
                <a:cubicBezTo>
                  <a:pt x="17500" y="5719"/>
                  <a:pt x="17469" y="5719"/>
                  <a:pt x="17469" y="5688"/>
                </a:cubicBezTo>
                <a:cubicBezTo>
                  <a:pt x="17375" y="5657"/>
                  <a:pt x="17281" y="5625"/>
                  <a:pt x="17250" y="5532"/>
                </a:cubicBezTo>
                <a:cubicBezTo>
                  <a:pt x="17219" y="5438"/>
                  <a:pt x="17156" y="5407"/>
                  <a:pt x="17094" y="5344"/>
                </a:cubicBezTo>
                <a:cubicBezTo>
                  <a:pt x="17094" y="5313"/>
                  <a:pt x="17063" y="5313"/>
                  <a:pt x="17063" y="5250"/>
                </a:cubicBezTo>
                <a:cubicBezTo>
                  <a:pt x="17000" y="5125"/>
                  <a:pt x="16969" y="5000"/>
                  <a:pt x="16938" y="4844"/>
                </a:cubicBezTo>
                <a:cubicBezTo>
                  <a:pt x="16906" y="4782"/>
                  <a:pt x="16906" y="4719"/>
                  <a:pt x="16875" y="4657"/>
                </a:cubicBezTo>
                <a:cubicBezTo>
                  <a:pt x="16844" y="4750"/>
                  <a:pt x="16844" y="4813"/>
                  <a:pt x="16844" y="4907"/>
                </a:cubicBezTo>
                <a:cubicBezTo>
                  <a:pt x="16844" y="4907"/>
                  <a:pt x="16844" y="4907"/>
                  <a:pt x="16813" y="4938"/>
                </a:cubicBezTo>
                <a:cubicBezTo>
                  <a:pt x="16813" y="4969"/>
                  <a:pt x="16781" y="5000"/>
                  <a:pt x="16813" y="5063"/>
                </a:cubicBezTo>
                <a:cubicBezTo>
                  <a:pt x="16781" y="5282"/>
                  <a:pt x="16750" y="5469"/>
                  <a:pt x="16625" y="5657"/>
                </a:cubicBezTo>
                <a:cubicBezTo>
                  <a:pt x="16594" y="5719"/>
                  <a:pt x="16531" y="5750"/>
                  <a:pt x="16500" y="5813"/>
                </a:cubicBezTo>
                <a:cubicBezTo>
                  <a:pt x="16500" y="5844"/>
                  <a:pt x="16500" y="5844"/>
                  <a:pt x="16500" y="5875"/>
                </a:cubicBezTo>
                <a:cubicBezTo>
                  <a:pt x="16500" y="5875"/>
                  <a:pt x="16500" y="5875"/>
                  <a:pt x="16500" y="5875"/>
                </a:cubicBezTo>
                <a:cubicBezTo>
                  <a:pt x="16406" y="5969"/>
                  <a:pt x="16344" y="6094"/>
                  <a:pt x="16281" y="6219"/>
                </a:cubicBezTo>
                <a:cubicBezTo>
                  <a:pt x="16250" y="6282"/>
                  <a:pt x="16219" y="6313"/>
                  <a:pt x="16219" y="6375"/>
                </a:cubicBezTo>
                <a:cubicBezTo>
                  <a:pt x="16188" y="6375"/>
                  <a:pt x="16188" y="6407"/>
                  <a:pt x="16188" y="6438"/>
                </a:cubicBezTo>
                <a:cubicBezTo>
                  <a:pt x="16156" y="6500"/>
                  <a:pt x="16094" y="6563"/>
                  <a:pt x="16063" y="6657"/>
                </a:cubicBezTo>
                <a:cubicBezTo>
                  <a:pt x="16031" y="6719"/>
                  <a:pt x="16031" y="6782"/>
                  <a:pt x="16031" y="6844"/>
                </a:cubicBezTo>
                <a:cubicBezTo>
                  <a:pt x="16031" y="6844"/>
                  <a:pt x="16031" y="6844"/>
                  <a:pt x="16031" y="6844"/>
                </a:cubicBezTo>
                <a:cubicBezTo>
                  <a:pt x="16031" y="6875"/>
                  <a:pt x="15969" y="6875"/>
                  <a:pt x="16000" y="6907"/>
                </a:cubicBezTo>
                <a:cubicBezTo>
                  <a:pt x="16031" y="6938"/>
                  <a:pt x="16063" y="6938"/>
                  <a:pt x="16063" y="6938"/>
                </a:cubicBezTo>
                <a:cubicBezTo>
                  <a:pt x="16063" y="6969"/>
                  <a:pt x="16094" y="7000"/>
                  <a:pt x="16125" y="7000"/>
                </a:cubicBezTo>
                <a:cubicBezTo>
                  <a:pt x="16125" y="7032"/>
                  <a:pt x="16125" y="7000"/>
                  <a:pt x="16125" y="7000"/>
                </a:cubicBezTo>
                <a:cubicBezTo>
                  <a:pt x="16156" y="7000"/>
                  <a:pt x="16188" y="7000"/>
                  <a:pt x="16188" y="6969"/>
                </a:cubicBezTo>
                <a:cubicBezTo>
                  <a:pt x="16188" y="7032"/>
                  <a:pt x="16125" y="7094"/>
                  <a:pt x="16156" y="7188"/>
                </a:cubicBezTo>
                <a:cubicBezTo>
                  <a:pt x="16156" y="7188"/>
                  <a:pt x="16125" y="7219"/>
                  <a:pt x="16094" y="7188"/>
                </a:cubicBezTo>
                <a:cubicBezTo>
                  <a:pt x="16063" y="7157"/>
                  <a:pt x="16063" y="7063"/>
                  <a:pt x="15969" y="7063"/>
                </a:cubicBezTo>
                <a:cubicBezTo>
                  <a:pt x="15969" y="7063"/>
                  <a:pt x="15969" y="7063"/>
                  <a:pt x="15969" y="7063"/>
                </a:cubicBezTo>
                <a:cubicBezTo>
                  <a:pt x="15938" y="7063"/>
                  <a:pt x="15938" y="7063"/>
                  <a:pt x="15906" y="7032"/>
                </a:cubicBezTo>
                <a:cubicBezTo>
                  <a:pt x="15906" y="7032"/>
                  <a:pt x="15906" y="7032"/>
                  <a:pt x="15906" y="7032"/>
                </a:cubicBezTo>
                <a:cubicBezTo>
                  <a:pt x="15938" y="7063"/>
                  <a:pt x="15938" y="7063"/>
                  <a:pt x="15969" y="7063"/>
                </a:cubicBezTo>
                <a:cubicBezTo>
                  <a:pt x="15969" y="7032"/>
                  <a:pt x="15969" y="7000"/>
                  <a:pt x="15969" y="7000"/>
                </a:cubicBezTo>
                <a:cubicBezTo>
                  <a:pt x="15969" y="7000"/>
                  <a:pt x="16000" y="7000"/>
                  <a:pt x="16000" y="7000"/>
                </a:cubicBezTo>
                <a:cubicBezTo>
                  <a:pt x="16000" y="6969"/>
                  <a:pt x="16000" y="6969"/>
                  <a:pt x="15969" y="6969"/>
                </a:cubicBezTo>
                <a:cubicBezTo>
                  <a:pt x="15969" y="6969"/>
                  <a:pt x="15969" y="6969"/>
                  <a:pt x="15969" y="7000"/>
                </a:cubicBezTo>
                <a:cubicBezTo>
                  <a:pt x="15938" y="7000"/>
                  <a:pt x="15938" y="7000"/>
                  <a:pt x="15906" y="7000"/>
                </a:cubicBezTo>
                <a:cubicBezTo>
                  <a:pt x="15844" y="7000"/>
                  <a:pt x="15813" y="7000"/>
                  <a:pt x="15750" y="6969"/>
                </a:cubicBezTo>
                <a:cubicBezTo>
                  <a:pt x="15594" y="6875"/>
                  <a:pt x="15688" y="6782"/>
                  <a:pt x="15750" y="6657"/>
                </a:cubicBezTo>
                <a:cubicBezTo>
                  <a:pt x="15625" y="6750"/>
                  <a:pt x="15563" y="6844"/>
                  <a:pt x="15469" y="6938"/>
                </a:cubicBezTo>
                <a:cubicBezTo>
                  <a:pt x="15375" y="7063"/>
                  <a:pt x="15219" y="7188"/>
                  <a:pt x="15156" y="7344"/>
                </a:cubicBezTo>
                <a:cubicBezTo>
                  <a:pt x="15125" y="7375"/>
                  <a:pt x="15125" y="7407"/>
                  <a:pt x="15125" y="7469"/>
                </a:cubicBezTo>
                <a:cubicBezTo>
                  <a:pt x="15156" y="7469"/>
                  <a:pt x="15188" y="7469"/>
                  <a:pt x="15188" y="7500"/>
                </a:cubicBezTo>
                <a:cubicBezTo>
                  <a:pt x="15188" y="7469"/>
                  <a:pt x="15156" y="7469"/>
                  <a:pt x="15125" y="7469"/>
                </a:cubicBezTo>
                <a:cubicBezTo>
                  <a:pt x="15125" y="7469"/>
                  <a:pt x="15125" y="7469"/>
                  <a:pt x="15094" y="7500"/>
                </a:cubicBezTo>
                <a:cubicBezTo>
                  <a:pt x="15094" y="7532"/>
                  <a:pt x="15125" y="7563"/>
                  <a:pt x="15156" y="7563"/>
                </a:cubicBezTo>
                <a:cubicBezTo>
                  <a:pt x="15250" y="7563"/>
                  <a:pt x="15250" y="7625"/>
                  <a:pt x="15250" y="7688"/>
                </a:cubicBezTo>
                <a:cubicBezTo>
                  <a:pt x="15250" y="7688"/>
                  <a:pt x="15250" y="7688"/>
                  <a:pt x="15250" y="7688"/>
                </a:cubicBezTo>
                <a:cubicBezTo>
                  <a:pt x="15250" y="7688"/>
                  <a:pt x="15250" y="7688"/>
                  <a:pt x="15250" y="7688"/>
                </a:cubicBezTo>
                <a:cubicBezTo>
                  <a:pt x="15188" y="7688"/>
                  <a:pt x="15125" y="7750"/>
                  <a:pt x="15063" y="7719"/>
                </a:cubicBezTo>
                <a:cubicBezTo>
                  <a:pt x="15063" y="7688"/>
                  <a:pt x="15031" y="7688"/>
                  <a:pt x="15031" y="7657"/>
                </a:cubicBezTo>
                <a:cubicBezTo>
                  <a:pt x="15000" y="7688"/>
                  <a:pt x="15000" y="7688"/>
                  <a:pt x="15000" y="7719"/>
                </a:cubicBezTo>
                <a:cubicBezTo>
                  <a:pt x="14938" y="7813"/>
                  <a:pt x="14875" y="7875"/>
                  <a:pt x="14844" y="7969"/>
                </a:cubicBezTo>
                <a:cubicBezTo>
                  <a:pt x="14813" y="8000"/>
                  <a:pt x="14781" y="8063"/>
                  <a:pt x="14781" y="8094"/>
                </a:cubicBezTo>
                <a:cubicBezTo>
                  <a:pt x="14750" y="8157"/>
                  <a:pt x="14688" y="8188"/>
                  <a:pt x="14688" y="8282"/>
                </a:cubicBezTo>
                <a:cubicBezTo>
                  <a:pt x="14594" y="8313"/>
                  <a:pt x="14531" y="8375"/>
                  <a:pt x="14438" y="8407"/>
                </a:cubicBezTo>
                <a:cubicBezTo>
                  <a:pt x="14438" y="8407"/>
                  <a:pt x="14438" y="8407"/>
                  <a:pt x="14438" y="8407"/>
                </a:cubicBezTo>
                <a:cubicBezTo>
                  <a:pt x="14438" y="8407"/>
                  <a:pt x="14438" y="8438"/>
                  <a:pt x="14406" y="8438"/>
                </a:cubicBezTo>
                <a:cubicBezTo>
                  <a:pt x="14344" y="8500"/>
                  <a:pt x="14313" y="8500"/>
                  <a:pt x="14281" y="8407"/>
                </a:cubicBezTo>
                <a:cubicBezTo>
                  <a:pt x="14250" y="8407"/>
                  <a:pt x="14250" y="8407"/>
                  <a:pt x="14250" y="8375"/>
                </a:cubicBezTo>
                <a:cubicBezTo>
                  <a:pt x="14219" y="8313"/>
                  <a:pt x="14250" y="8250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219"/>
                  <a:pt x="14188" y="8219"/>
                  <a:pt x="14188" y="8219"/>
                </a:cubicBezTo>
                <a:cubicBezTo>
                  <a:pt x="14188" y="8188"/>
                  <a:pt x="14188" y="8188"/>
                  <a:pt x="14188" y="8188"/>
                </a:cubicBezTo>
                <a:cubicBezTo>
                  <a:pt x="14125" y="8063"/>
                  <a:pt x="14188" y="7969"/>
                  <a:pt x="14188" y="7844"/>
                </a:cubicBezTo>
                <a:cubicBezTo>
                  <a:pt x="14219" y="7782"/>
                  <a:pt x="14250" y="7719"/>
                  <a:pt x="14250" y="7625"/>
                </a:cubicBezTo>
                <a:cubicBezTo>
                  <a:pt x="14250" y="7532"/>
                  <a:pt x="14281" y="7469"/>
                  <a:pt x="14344" y="7407"/>
                </a:cubicBezTo>
                <a:cubicBezTo>
                  <a:pt x="14406" y="7313"/>
                  <a:pt x="14469" y="7188"/>
                  <a:pt x="14500" y="7063"/>
                </a:cubicBezTo>
                <a:cubicBezTo>
                  <a:pt x="14563" y="6938"/>
                  <a:pt x="14594" y="6813"/>
                  <a:pt x="14688" y="6719"/>
                </a:cubicBezTo>
                <a:cubicBezTo>
                  <a:pt x="14750" y="6625"/>
                  <a:pt x="14750" y="6500"/>
                  <a:pt x="14781" y="6407"/>
                </a:cubicBezTo>
                <a:cubicBezTo>
                  <a:pt x="14656" y="6500"/>
                  <a:pt x="14563" y="6500"/>
                  <a:pt x="14500" y="6344"/>
                </a:cubicBezTo>
                <a:cubicBezTo>
                  <a:pt x="14469" y="6282"/>
                  <a:pt x="14469" y="6219"/>
                  <a:pt x="14469" y="6125"/>
                </a:cubicBezTo>
                <a:cubicBezTo>
                  <a:pt x="14438" y="6032"/>
                  <a:pt x="14469" y="5938"/>
                  <a:pt x="14531" y="5844"/>
                </a:cubicBezTo>
                <a:cubicBezTo>
                  <a:pt x="14594" y="5750"/>
                  <a:pt x="14625" y="5657"/>
                  <a:pt x="14625" y="5563"/>
                </a:cubicBezTo>
                <a:cubicBezTo>
                  <a:pt x="14625" y="5532"/>
                  <a:pt x="14625" y="5532"/>
                  <a:pt x="14656" y="5500"/>
                </a:cubicBezTo>
                <a:cubicBezTo>
                  <a:pt x="14688" y="5407"/>
                  <a:pt x="14625" y="5313"/>
                  <a:pt x="14688" y="5188"/>
                </a:cubicBezTo>
                <a:cubicBezTo>
                  <a:pt x="14750" y="5094"/>
                  <a:pt x="14750" y="4938"/>
                  <a:pt x="14813" y="4813"/>
                </a:cubicBezTo>
                <a:cubicBezTo>
                  <a:pt x="14813" y="4782"/>
                  <a:pt x="14844" y="4750"/>
                  <a:pt x="14844" y="4719"/>
                </a:cubicBezTo>
                <a:cubicBezTo>
                  <a:pt x="14906" y="4563"/>
                  <a:pt x="14938" y="4407"/>
                  <a:pt x="15000" y="4250"/>
                </a:cubicBezTo>
                <a:cubicBezTo>
                  <a:pt x="15000" y="4250"/>
                  <a:pt x="15031" y="4219"/>
                  <a:pt x="15031" y="4188"/>
                </a:cubicBezTo>
                <a:cubicBezTo>
                  <a:pt x="15250" y="3938"/>
                  <a:pt x="15375" y="3625"/>
                  <a:pt x="15625" y="3407"/>
                </a:cubicBezTo>
                <a:cubicBezTo>
                  <a:pt x="15625" y="3375"/>
                  <a:pt x="15625" y="3375"/>
                  <a:pt x="15625" y="3344"/>
                </a:cubicBezTo>
                <a:cubicBezTo>
                  <a:pt x="15438" y="3438"/>
                  <a:pt x="15281" y="3532"/>
                  <a:pt x="15125" y="3657"/>
                </a:cubicBezTo>
                <a:cubicBezTo>
                  <a:pt x="15094" y="3657"/>
                  <a:pt x="15094" y="3657"/>
                  <a:pt x="15063" y="3688"/>
                </a:cubicBezTo>
                <a:cubicBezTo>
                  <a:pt x="15063" y="3688"/>
                  <a:pt x="15063" y="3688"/>
                  <a:pt x="15063" y="3688"/>
                </a:cubicBezTo>
                <a:cubicBezTo>
                  <a:pt x="14938" y="3782"/>
                  <a:pt x="14781" y="3844"/>
                  <a:pt x="14594" y="3844"/>
                </a:cubicBezTo>
                <a:cubicBezTo>
                  <a:pt x="14469" y="3844"/>
                  <a:pt x="14313" y="3844"/>
                  <a:pt x="14188" y="3875"/>
                </a:cubicBezTo>
                <a:cubicBezTo>
                  <a:pt x="14000" y="3907"/>
                  <a:pt x="13781" y="3875"/>
                  <a:pt x="13625" y="3719"/>
                </a:cubicBezTo>
                <a:cubicBezTo>
                  <a:pt x="13625" y="3750"/>
                  <a:pt x="13625" y="3750"/>
                  <a:pt x="13625" y="3782"/>
                </a:cubicBezTo>
                <a:cubicBezTo>
                  <a:pt x="13625" y="3782"/>
                  <a:pt x="13625" y="3782"/>
                  <a:pt x="13625" y="3782"/>
                </a:cubicBezTo>
                <a:cubicBezTo>
                  <a:pt x="13625" y="3782"/>
                  <a:pt x="13625" y="3782"/>
                  <a:pt x="13625" y="3782"/>
                </a:cubicBezTo>
                <a:cubicBezTo>
                  <a:pt x="13625" y="3750"/>
                  <a:pt x="13625" y="3750"/>
                  <a:pt x="13625" y="3719"/>
                </a:cubicBezTo>
                <a:cubicBezTo>
                  <a:pt x="13625" y="3688"/>
                  <a:pt x="13594" y="3688"/>
                  <a:pt x="13594" y="3688"/>
                </a:cubicBezTo>
                <a:cubicBezTo>
                  <a:pt x="13500" y="3563"/>
                  <a:pt x="13469" y="3438"/>
                  <a:pt x="13469" y="3313"/>
                </a:cubicBezTo>
                <a:cubicBezTo>
                  <a:pt x="13500" y="3282"/>
                  <a:pt x="13469" y="3250"/>
                  <a:pt x="13469" y="3219"/>
                </a:cubicBezTo>
                <a:cubicBezTo>
                  <a:pt x="13469" y="3125"/>
                  <a:pt x="13406" y="3063"/>
                  <a:pt x="13344" y="2969"/>
                </a:cubicBezTo>
                <a:cubicBezTo>
                  <a:pt x="13219" y="2657"/>
                  <a:pt x="13188" y="2344"/>
                  <a:pt x="13188" y="2000"/>
                </a:cubicBezTo>
                <a:cubicBezTo>
                  <a:pt x="13188" y="1969"/>
                  <a:pt x="13188" y="1969"/>
                  <a:pt x="13188" y="1969"/>
                </a:cubicBezTo>
                <a:cubicBezTo>
                  <a:pt x="13188" y="1969"/>
                  <a:pt x="13188" y="1969"/>
                  <a:pt x="13188" y="2000"/>
                </a:cubicBezTo>
                <a:cubicBezTo>
                  <a:pt x="13219" y="1907"/>
                  <a:pt x="13250" y="1782"/>
                  <a:pt x="13313" y="1688"/>
                </a:cubicBezTo>
                <a:cubicBezTo>
                  <a:pt x="13219" y="1750"/>
                  <a:pt x="13188" y="1813"/>
                  <a:pt x="13156" y="1907"/>
                </a:cubicBezTo>
                <a:cubicBezTo>
                  <a:pt x="13094" y="1969"/>
                  <a:pt x="13000" y="2000"/>
                  <a:pt x="12906" y="2000"/>
                </a:cubicBezTo>
                <a:cubicBezTo>
                  <a:pt x="12656" y="1969"/>
                  <a:pt x="12438" y="1844"/>
                  <a:pt x="12281" y="1657"/>
                </a:cubicBezTo>
                <a:cubicBezTo>
                  <a:pt x="12188" y="1563"/>
                  <a:pt x="12125" y="1469"/>
                  <a:pt x="12031" y="1375"/>
                </a:cubicBezTo>
                <a:cubicBezTo>
                  <a:pt x="12000" y="1313"/>
                  <a:pt x="11938" y="1282"/>
                  <a:pt x="11875" y="1219"/>
                </a:cubicBezTo>
                <a:cubicBezTo>
                  <a:pt x="11875" y="1157"/>
                  <a:pt x="11813" y="1094"/>
                  <a:pt x="11813" y="1032"/>
                </a:cubicBezTo>
                <a:cubicBezTo>
                  <a:pt x="11750" y="875"/>
                  <a:pt x="11719" y="719"/>
                  <a:pt x="11688" y="563"/>
                </a:cubicBezTo>
                <a:cubicBezTo>
                  <a:pt x="11625" y="438"/>
                  <a:pt x="11625" y="282"/>
                  <a:pt x="11625" y="157"/>
                </a:cubicBezTo>
                <a:cubicBezTo>
                  <a:pt x="11594" y="94"/>
                  <a:pt x="11594" y="63"/>
                  <a:pt x="11594" y="0"/>
                </a:cubicBezTo>
                <a:cubicBezTo>
                  <a:pt x="11563" y="188"/>
                  <a:pt x="11469" y="375"/>
                  <a:pt x="11438" y="563"/>
                </a:cubicBezTo>
                <a:cubicBezTo>
                  <a:pt x="11406" y="625"/>
                  <a:pt x="11406" y="657"/>
                  <a:pt x="11375" y="719"/>
                </a:cubicBezTo>
                <a:cubicBezTo>
                  <a:pt x="11344" y="813"/>
                  <a:pt x="11281" y="907"/>
                  <a:pt x="11281" y="969"/>
                </a:cubicBezTo>
                <a:cubicBezTo>
                  <a:pt x="11281" y="1063"/>
                  <a:pt x="11250" y="1125"/>
                  <a:pt x="11188" y="1188"/>
                </a:cubicBezTo>
                <a:cubicBezTo>
                  <a:pt x="11188" y="1219"/>
                  <a:pt x="11156" y="1282"/>
                  <a:pt x="11125" y="1313"/>
                </a:cubicBezTo>
                <a:cubicBezTo>
                  <a:pt x="11031" y="1438"/>
                  <a:pt x="10906" y="1532"/>
                  <a:pt x="10813" y="1657"/>
                </a:cubicBezTo>
                <a:cubicBezTo>
                  <a:pt x="10656" y="1875"/>
                  <a:pt x="10438" y="2000"/>
                  <a:pt x="10156" y="2000"/>
                </a:cubicBezTo>
                <a:cubicBezTo>
                  <a:pt x="10031" y="2000"/>
                  <a:pt x="9906" y="1938"/>
                  <a:pt x="9781" y="1907"/>
                </a:cubicBezTo>
                <a:cubicBezTo>
                  <a:pt x="9656" y="1813"/>
                  <a:pt x="9531" y="1719"/>
                  <a:pt x="9438" y="1625"/>
                </a:cubicBezTo>
                <a:cubicBezTo>
                  <a:pt x="9469" y="1719"/>
                  <a:pt x="9500" y="1782"/>
                  <a:pt x="9531" y="1875"/>
                </a:cubicBezTo>
                <a:cubicBezTo>
                  <a:pt x="9563" y="1938"/>
                  <a:pt x="9594" y="2000"/>
                  <a:pt x="9625" y="2094"/>
                </a:cubicBezTo>
                <a:cubicBezTo>
                  <a:pt x="9625" y="2125"/>
                  <a:pt x="9625" y="2157"/>
                  <a:pt x="9656" y="2188"/>
                </a:cubicBezTo>
                <a:cubicBezTo>
                  <a:pt x="9656" y="2219"/>
                  <a:pt x="9625" y="2282"/>
                  <a:pt x="9625" y="2344"/>
                </a:cubicBezTo>
                <a:cubicBezTo>
                  <a:pt x="9625" y="2375"/>
                  <a:pt x="9625" y="2407"/>
                  <a:pt x="9625" y="2438"/>
                </a:cubicBezTo>
                <a:cubicBezTo>
                  <a:pt x="9594" y="2594"/>
                  <a:pt x="9656" y="2782"/>
                  <a:pt x="9563" y="2938"/>
                </a:cubicBezTo>
                <a:cubicBezTo>
                  <a:pt x="9563" y="2969"/>
                  <a:pt x="9594" y="2969"/>
                  <a:pt x="9594" y="3000"/>
                </a:cubicBezTo>
                <a:cubicBezTo>
                  <a:pt x="9688" y="3063"/>
                  <a:pt x="9656" y="3157"/>
                  <a:pt x="9531" y="3188"/>
                </a:cubicBezTo>
                <a:cubicBezTo>
                  <a:pt x="9531" y="3219"/>
                  <a:pt x="9531" y="3219"/>
                  <a:pt x="9531" y="3219"/>
                </a:cubicBezTo>
                <a:cubicBezTo>
                  <a:pt x="9469" y="3313"/>
                  <a:pt x="9406" y="3313"/>
                  <a:pt x="9250" y="3219"/>
                </a:cubicBezTo>
                <a:cubicBezTo>
                  <a:pt x="9250" y="3344"/>
                  <a:pt x="9250" y="3438"/>
                  <a:pt x="9250" y="3563"/>
                </a:cubicBezTo>
                <a:cubicBezTo>
                  <a:pt x="9188" y="3657"/>
                  <a:pt x="9219" y="3782"/>
                  <a:pt x="9219" y="3907"/>
                </a:cubicBezTo>
                <a:cubicBezTo>
                  <a:pt x="9188" y="4000"/>
                  <a:pt x="9219" y="4125"/>
                  <a:pt x="9156" y="4219"/>
                </a:cubicBezTo>
                <a:cubicBezTo>
                  <a:pt x="9156" y="4219"/>
                  <a:pt x="9156" y="4219"/>
                  <a:pt x="9156" y="4219"/>
                </a:cubicBezTo>
                <a:cubicBezTo>
                  <a:pt x="9125" y="4219"/>
                  <a:pt x="9094" y="4219"/>
                  <a:pt x="9094" y="4250"/>
                </a:cubicBezTo>
                <a:cubicBezTo>
                  <a:pt x="9063" y="4250"/>
                  <a:pt x="9063" y="4282"/>
                  <a:pt x="9031" y="4282"/>
                </a:cubicBezTo>
                <a:cubicBezTo>
                  <a:pt x="9000" y="4282"/>
                  <a:pt x="8969" y="4282"/>
                  <a:pt x="8969" y="4313"/>
                </a:cubicBezTo>
                <a:cubicBezTo>
                  <a:pt x="8969" y="4313"/>
                  <a:pt x="8969" y="4313"/>
                  <a:pt x="8969" y="4313"/>
                </a:cubicBezTo>
                <a:cubicBezTo>
                  <a:pt x="8875" y="4407"/>
                  <a:pt x="8750" y="4407"/>
                  <a:pt x="8656" y="4438"/>
                </a:cubicBezTo>
                <a:cubicBezTo>
                  <a:pt x="8469" y="4438"/>
                  <a:pt x="8281" y="4438"/>
                  <a:pt x="8063" y="4438"/>
                </a:cubicBezTo>
                <a:cubicBezTo>
                  <a:pt x="7969" y="4438"/>
                  <a:pt x="7906" y="4375"/>
                  <a:pt x="7813" y="4407"/>
                </a:cubicBezTo>
                <a:cubicBezTo>
                  <a:pt x="7625" y="4375"/>
                  <a:pt x="7469" y="4313"/>
                  <a:pt x="7313" y="4219"/>
                </a:cubicBezTo>
                <a:cubicBezTo>
                  <a:pt x="7156" y="4157"/>
                  <a:pt x="7000" y="4094"/>
                  <a:pt x="6844" y="4032"/>
                </a:cubicBezTo>
                <a:cubicBezTo>
                  <a:pt x="6844" y="4032"/>
                  <a:pt x="6844" y="4000"/>
                  <a:pt x="6813" y="4032"/>
                </a:cubicBezTo>
                <a:cubicBezTo>
                  <a:pt x="6813" y="4032"/>
                  <a:pt x="6813" y="4063"/>
                  <a:pt x="6813" y="4063"/>
                </a:cubicBezTo>
                <a:cubicBezTo>
                  <a:pt x="6969" y="4125"/>
                  <a:pt x="7031" y="4250"/>
                  <a:pt x="7156" y="4344"/>
                </a:cubicBezTo>
                <a:cubicBezTo>
                  <a:pt x="7156" y="4375"/>
                  <a:pt x="7156" y="4375"/>
                  <a:pt x="7156" y="4375"/>
                </a:cubicBezTo>
                <a:cubicBezTo>
                  <a:pt x="7313" y="4500"/>
                  <a:pt x="7406" y="4657"/>
                  <a:pt x="7500" y="4782"/>
                </a:cubicBezTo>
                <a:cubicBezTo>
                  <a:pt x="7563" y="4907"/>
                  <a:pt x="7625" y="5032"/>
                  <a:pt x="7688" y="5125"/>
                </a:cubicBezTo>
                <a:cubicBezTo>
                  <a:pt x="7719" y="5219"/>
                  <a:pt x="7750" y="5313"/>
                  <a:pt x="7813" y="5407"/>
                </a:cubicBezTo>
                <a:cubicBezTo>
                  <a:pt x="7844" y="5469"/>
                  <a:pt x="7844" y="5563"/>
                  <a:pt x="7906" y="5625"/>
                </a:cubicBezTo>
                <a:cubicBezTo>
                  <a:pt x="7938" y="5719"/>
                  <a:pt x="8031" y="5750"/>
                  <a:pt x="8094" y="5813"/>
                </a:cubicBezTo>
                <a:cubicBezTo>
                  <a:pt x="8094" y="5844"/>
                  <a:pt x="8125" y="5875"/>
                  <a:pt x="8156" y="5844"/>
                </a:cubicBezTo>
                <a:cubicBezTo>
                  <a:pt x="8188" y="5813"/>
                  <a:pt x="8188" y="5782"/>
                  <a:pt x="8156" y="5750"/>
                </a:cubicBezTo>
                <a:cubicBezTo>
                  <a:pt x="8156" y="5719"/>
                  <a:pt x="8125" y="5688"/>
                  <a:pt x="8094" y="5657"/>
                </a:cubicBezTo>
                <a:cubicBezTo>
                  <a:pt x="8094" y="5657"/>
                  <a:pt x="8063" y="5625"/>
                  <a:pt x="8094" y="5625"/>
                </a:cubicBezTo>
                <a:cubicBezTo>
                  <a:pt x="8094" y="5594"/>
                  <a:pt x="8125" y="5625"/>
                  <a:pt x="8125" y="5625"/>
                </a:cubicBezTo>
                <a:cubicBezTo>
                  <a:pt x="8156" y="5688"/>
                  <a:pt x="8219" y="5750"/>
                  <a:pt x="8250" y="5782"/>
                </a:cubicBezTo>
                <a:cubicBezTo>
                  <a:pt x="8250" y="5875"/>
                  <a:pt x="8188" y="5875"/>
                  <a:pt x="8156" y="5907"/>
                </a:cubicBezTo>
                <a:cubicBezTo>
                  <a:pt x="8094" y="5938"/>
                  <a:pt x="8063" y="5844"/>
                  <a:pt x="8000" y="5844"/>
                </a:cubicBezTo>
                <a:cubicBezTo>
                  <a:pt x="8031" y="5938"/>
                  <a:pt x="8125" y="6032"/>
                  <a:pt x="8125" y="6157"/>
                </a:cubicBezTo>
                <a:cubicBezTo>
                  <a:pt x="8125" y="6188"/>
                  <a:pt x="8125" y="6188"/>
                  <a:pt x="8156" y="6219"/>
                </a:cubicBezTo>
                <a:cubicBezTo>
                  <a:pt x="8156" y="6282"/>
                  <a:pt x="8219" y="6313"/>
                  <a:pt x="8188" y="6375"/>
                </a:cubicBezTo>
                <a:cubicBezTo>
                  <a:pt x="8188" y="6500"/>
                  <a:pt x="8250" y="6563"/>
                  <a:pt x="8313" y="6657"/>
                </a:cubicBezTo>
                <a:cubicBezTo>
                  <a:pt x="8344" y="6782"/>
                  <a:pt x="8406" y="6907"/>
                  <a:pt x="8469" y="7063"/>
                </a:cubicBezTo>
                <a:cubicBezTo>
                  <a:pt x="8469" y="7157"/>
                  <a:pt x="8406" y="7250"/>
                  <a:pt x="8438" y="7375"/>
                </a:cubicBezTo>
                <a:cubicBezTo>
                  <a:pt x="8438" y="7407"/>
                  <a:pt x="8406" y="7438"/>
                  <a:pt x="8438" y="7469"/>
                </a:cubicBezTo>
                <a:cubicBezTo>
                  <a:pt x="8500" y="7688"/>
                  <a:pt x="8500" y="7938"/>
                  <a:pt x="8594" y="8157"/>
                </a:cubicBezTo>
                <a:cubicBezTo>
                  <a:pt x="8594" y="8250"/>
                  <a:pt x="8625" y="8344"/>
                  <a:pt x="8656" y="8438"/>
                </a:cubicBezTo>
                <a:cubicBezTo>
                  <a:pt x="8625" y="8469"/>
                  <a:pt x="8656" y="8500"/>
                  <a:pt x="8688" y="8532"/>
                </a:cubicBezTo>
                <a:cubicBezTo>
                  <a:pt x="8688" y="8563"/>
                  <a:pt x="8688" y="8594"/>
                  <a:pt x="8688" y="8625"/>
                </a:cubicBezTo>
                <a:cubicBezTo>
                  <a:pt x="8688" y="8625"/>
                  <a:pt x="8719" y="8657"/>
                  <a:pt x="8719" y="8657"/>
                </a:cubicBezTo>
                <a:cubicBezTo>
                  <a:pt x="8719" y="8657"/>
                  <a:pt x="8719" y="8657"/>
                  <a:pt x="8719" y="8688"/>
                </a:cubicBezTo>
                <a:cubicBezTo>
                  <a:pt x="8719" y="8688"/>
                  <a:pt x="8719" y="8719"/>
                  <a:pt x="8750" y="8719"/>
                </a:cubicBezTo>
                <a:cubicBezTo>
                  <a:pt x="8750" y="8750"/>
                  <a:pt x="8750" y="8750"/>
                  <a:pt x="8750" y="8750"/>
                </a:cubicBezTo>
                <a:cubicBezTo>
                  <a:pt x="8750" y="8750"/>
                  <a:pt x="8750" y="8750"/>
                  <a:pt x="8750" y="8782"/>
                </a:cubicBezTo>
                <a:cubicBezTo>
                  <a:pt x="8750" y="8782"/>
                  <a:pt x="8750" y="8782"/>
                  <a:pt x="8750" y="8782"/>
                </a:cubicBezTo>
                <a:cubicBezTo>
                  <a:pt x="8750" y="8782"/>
                  <a:pt x="8750" y="8782"/>
                  <a:pt x="8750" y="8782"/>
                </a:cubicBezTo>
                <a:cubicBezTo>
                  <a:pt x="8750" y="8782"/>
                  <a:pt x="8750" y="8782"/>
                  <a:pt x="8719" y="8782"/>
                </a:cubicBezTo>
                <a:cubicBezTo>
                  <a:pt x="8719" y="8813"/>
                  <a:pt x="8688" y="8813"/>
                  <a:pt x="8750" y="8844"/>
                </a:cubicBezTo>
                <a:cubicBezTo>
                  <a:pt x="8844" y="8875"/>
                  <a:pt x="8844" y="8875"/>
                  <a:pt x="8750" y="8938"/>
                </a:cubicBezTo>
                <a:cubicBezTo>
                  <a:pt x="8719" y="9032"/>
                  <a:pt x="8563" y="9063"/>
                  <a:pt x="8594" y="9188"/>
                </a:cubicBezTo>
                <a:cubicBezTo>
                  <a:pt x="8594" y="9219"/>
                  <a:pt x="8594" y="9219"/>
                  <a:pt x="8563" y="9219"/>
                </a:cubicBezTo>
                <a:cubicBezTo>
                  <a:pt x="8500" y="9250"/>
                  <a:pt x="8563" y="9282"/>
                  <a:pt x="8594" y="9282"/>
                </a:cubicBezTo>
                <a:cubicBezTo>
                  <a:pt x="8750" y="9438"/>
                  <a:pt x="8813" y="9657"/>
                  <a:pt x="8938" y="9844"/>
                </a:cubicBezTo>
                <a:cubicBezTo>
                  <a:pt x="8969" y="9844"/>
                  <a:pt x="8969" y="9875"/>
                  <a:pt x="9000" y="9907"/>
                </a:cubicBezTo>
                <a:cubicBezTo>
                  <a:pt x="8969" y="9875"/>
                  <a:pt x="8969" y="9844"/>
                  <a:pt x="8938" y="9844"/>
                </a:cubicBezTo>
                <a:cubicBezTo>
                  <a:pt x="8938" y="9907"/>
                  <a:pt x="8906" y="10000"/>
                  <a:pt x="9031" y="10000"/>
                </a:cubicBezTo>
                <a:cubicBezTo>
                  <a:pt x="9031" y="10000"/>
                  <a:pt x="9031" y="10000"/>
                  <a:pt x="9031" y="10000"/>
                </a:cubicBezTo>
                <a:cubicBezTo>
                  <a:pt x="9063" y="10032"/>
                  <a:pt x="9094" y="10063"/>
                  <a:pt x="9094" y="10094"/>
                </a:cubicBezTo>
                <a:cubicBezTo>
                  <a:pt x="9094" y="10063"/>
                  <a:pt x="9063" y="10032"/>
                  <a:pt x="9031" y="10000"/>
                </a:cubicBezTo>
                <a:cubicBezTo>
                  <a:pt x="9031" y="10063"/>
                  <a:pt x="9031" y="10125"/>
                  <a:pt x="9063" y="10188"/>
                </a:cubicBezTo>
                <a:cubicBezTo>
                  <a:pt x="9063" y="10188"/>
                  <a:pt x="9063" y="10188"/>
                  <a:pt x="9063" y="10219"/>
                </a:cubicBezTo>
                <a:cubicBezTo>
                  <a:pt x="9063" y="10219"/>
                  <a:pt x="9063" y="10219"/>
                  <a:pt x="9063" y="10219"/>
                </a:cubicBezTo>
                <a:cubicBezTo>
                  <a:pt x="9000" y="10219"/>
                  <a:pt x="8969" y="10250"/>
                  <a:pt x="8969" y="10313"/>
                </a:cubicBezTo>
                <a:cubicBezTo>
                  <a:pt x="8906" y="10407"/>
                  <a:pt x="8875" y="10407"/>
                  <a:pt x="8813" y="10313"/>
                </a:cubicBezTo>
                <a:cubicBezTo>
                  <a:pt x="8813" y="10313"/>
                  <a:pt x="8813" y="10313"/>
                  <a:pt x="8813" y="10313"/>
                </a:cubicBezTo>
                <a:cubicBezTo>
                  <a:pt x="8813" y="10282"/>
                  <a:pt x="8813" y="10282"/>
                  <a:pt x="8813" y="10250"/>
                </a:cubicBezTo>
                <a:cubicBezTo>
                  <a:pt x="8813" y="10188"/>
                  <a:pt x="8781" y="10125"/>
                  <a:pt x="8813" y="10063"/>
                </a:cubicBezTo>
                <a:cubicBezTo>
                  <a:pt x="8813" y="10032"/>
                  <a:pt x="8750" y="9969"/>
                  <a:pt x="8750" y="9907"/>
                </a:cubicBezTo>
                <a:cubicBezTo>
                  <a:pt x="8781" y="9844"/>
                  <a:pt x="8750" y="9750"/>
                  <a:pt x="8719" y="9688"/>
                </a:cubicBezTo>
                <a:cubicBezTo>
                  <a:pt x="8719" y="9657"/>
                  <a:pt x="8719" y="9594"/>
                  <a:pt x="8688" y="9563"/>
                </a:cubicBezTo>
                <a:cubicBezTo>
                  <a:pt x="8594" y="9532"/>
                  <a:pt x="8563" y="9438"/>
                  <a:pt x="8469" y="9344"/>
                </a:cubicBezTo>
                <a:cubicBezTo>
                  <a:pt x="8438" y="9313"/>
                  <a:pt x="8438" y="9250"/>
                  <a:pt x="8375" y="9188"/>
                </a:cubicBezTo>
                <a:cubicBezTo>
                  <a:pt x="8344" y="9157"/>
                  <a:pt x="8375" y="9094"/>
                  <a:pt x="8406" y="9063"/>
                </a:cubicBezTo>
                <a:cubicBezTo>
                  <a:pt x="8438" y="9000"/>
                  <a:pt x="8500" y="8938"/>
                  <a:pt x="8594" y="8875"/>
                </a:cubicBezTo>
                <a:cubicBezTo>
                  <a:pt x="8625" y="8844"/>
                  <a:pt x="8688" y="8844"/>
                  <a:pt x="8688" y="8782"/>
                </a:cubicBezTo>
                <a:cubicBezTo>
                  <a:pt x="8688" y="8782"/>
                  <a:pt x="8656" y="8782"/>
                  <a:pt x="8656" y="8782"/>
                </a:cubicBezTo>
                <a:cubicBezTo>
                  <a:pt x="8656" y="8782"/>
                  <a:pt x="8656" y="8750"/>
                  <a:pt x="8656" y="8750"/>
                </a:cubicBezTo>
                <a:cubicBezTo>
                  <a:pt x="8594" y="8657"/>
                  <a:pt x="8500" y="8563"/>
                  <a:pt x="8406" y="8500"/>
                </a:cubicBezTo>
                <a:cubicBezTo>
                  <a:pt x="8375" y="8438"/>
                  <a:pt x="8313" y="8407"/>
                  <a:pt x="8281" y="8344"/>
                </a:cubicBezTo>
                <a:cubicBezTo>
                  <a:pt x="8281" y="8344"/>
                  <a:pt x="8281" y="8344"/>
                  <a:pt x="8281" y="8344"/>
                </a:cubicBezTo>
                <a:cubicBezTo>
                  <a:pt x="8281" y="8344"/>
                  <a:pt x="8281" y="8313"/>
                  <a:pt x="8250" y="8313"/>
                </a:cubicBezTo>
                <a:cubicBezTo>
                  <a:pt x="8219" y="8219"/>
                  <a:pt x="8156" y="8125"/>
                  <a:pt x="8063" y="8032"/>
                </a:cubicBezTo>
                <a:cubicBezTo>
                  <a:pt x="8000" y="7969"/>
                  <a:pt x="8000" y="7844"/>
                  <a:pt x="7906" y="7813"/>
                </a:cubicBezTo>
                <a:cubicBezTo>
                  <a:pt x="7906" y="7813"/>
                  <a:pt x="7875" y="7782"/>
                  <a:pt x="7875" y="7782"/>
                </a:cubicBezTo>
                <a:cubicBezTo>
                  <a:pt x="7875" y="7782"/>
                  <a:pt x="7875" y="7750"/>
                  <a:pt x="7875" y="7719"/>
                </a:cubicBezTo>
                <a:cubicBezTo>
                  <a:pt x="7875" y="7688"/>
                  <a:pt x="7875" y="7657"/>
                  <a:pt x="7844" y="7625"/>
                </a:cubicBezTo>
                <a:cubicBezTo>
                  <a:pt x="7844" y="7532"/>
                  <a:pt x="7906" y="7438"/>
                  <a:pt x="7844" y="7375"/>
                </a:cubicBezTo>
                <a:cubicBezTo>
                  <a:pt x="7750" y="7157"/>
                  <a:pt x="7656" y="6938"/>
                  <a:pt x="7563" y="6719"/>
                </a:cubicBezTo>
                <a:cubicBezTo>
                  <a:pt x="7563" y="6719"/>
                  <a:pt x="7531" y="6719"/>
                  <a:pt x="7531" y="6719"/>
                </a:cubicBezTo>
                <a:cubicBezTo>
                  <a:pt x="7531" y="6750"/>
                  <a:pt x="7531" y="6750"/>
                  <a:pt x="7531" y="6782"/>
                </a:cubicBezTo>
                <a:cubicBezTo>
                  <a:pt x="7500" y="6875"/>
                  <a:pt x="7500" y="6969"/>
                  <a:pt x="7375" y="7000"/>
                </a:cubicBezTo>
                <a:cubicBezTo>
                  <a:pt x="7313" y="7000"/>
                  <a:pt x="7219" y="7032"/>
                  <a:pt x="7156" y="7032"/>
                </a:cubicBezTo>
                <a:cubicBezTo>
                  <a:pt x="7125" y="7000"/>
                  <a:pt x="7125" y="7000"/>
                  <a:pt x="7094" y="7000"/>
                </a:cubicBezTo>
                <a:cubicBezTo>
                  <a:pt x="7094" y="7000"/>
                  <a:pt x="7063" y="7032"/>
                  <a:pt x="7063" y="7063"/>
                </a:cubicBezTo>
                <a:cubicBezTo>
                  <a:pt x="7063" y="7032"/>
                  <a:pt x="7094" y="7000"/>
                  <a:pt x="7094" y="7000"/>
                </a:cubicBezTo>
                <a:cubicBezTo>
                  <a:pt x="7031" y="6907"/>
                  <a:pt x="7063" y="6813"/>
                  <a:pt x="6969" y="6750"/>
                </a:cubicBezTo>
                <a:cubicBezTo>
                  <a:pt x="6969" y="6688"/>
                  <a:pt x="6938" y="6625"/>
                  <a:pt x="6875" y="6594"/>
                </a:cubicBezTo>
                <a:cubicBezTo>
                  <a:pt x="6781" y="6500"/>
                  <a:pt x="6719" y="6375"/>
                  <a:pt x="6656" y="6282"/>
                </a:cubicBezTo>
                <a:cubicBezTo>
                  <a:pt x="6656" y="6219"/>
                  <a:pt x="6594" y="6157"/>
                  <a:pt x="6563" y="6094"/>
                </a:cubicBezTo>
                <a:cubicBezTo>
                  <a:pt x="6563" y="6094"/>
                  <a:pt x="6563" y="6094"/>
                  <a:pt x="6563" y="6094"/>
                </a:cubicBezTo>
                <a:cubicBezTo>
                  <a:pt x="6531" y="5907"/>
                  <a:pt x="6375" y="5782"/>
                  <a:pt x="6313" y="5594"/>
                </a:cubicBezTo>
                <a:cubicBezTo>
                  <a:pt x="6188" y="5438"/>
                  <a:pt x="6156" y="5250"/>
                  <a:pt x="6156" y="5094"/>
                </a:cubicBezTo>
                <a:cubicBezTo>
                  <a:pt x="6125" y="4938"/>
                  <a:pt x="6125" y="4782"/>
                  <a:pt x="6156" y="4657"/>
                </a:cubicBezTo>
                <a:cubicBezTo>
                  <a:pt x="6188" y="4625"/>
                  <a:pt x="6188" y="4594"/>
                  <a:pt x="6156" y="4594"/>
                </a:cubicBezTo>
                <a:cubicBezTo>
                  <a:pt x="6094" y="4688"/>
                  <a:pt x="6094" y="4844"/>
                  <a:pt x="6031" y="4938"/>
                </a:cubicBezTo>
                <a:cubicBezTo>
                  <a:pt x="5906" y="5125"/>
                  <a:pt x="5875" y="5375"/>
                  <a:pt x="5656" y="5500"/>
                </a:cubicBezTo>
                <a:cubicBezTo>
                  <a:pt x="5656" y="5500"/>
                  <a:pt x="5656" y="5532"/>
                  <a:pt x="5656" y="5532"/>
                </a:cubicBezTo>
                <a:cubicBezTo>
                  <a:pt x="5656" y="5532"/>
                  <a:pt x="5656" y="5532"/>
                  <a:pt x="5656" y="5532"/>
                </a:cubicBezTo>
                <a:cubicBezTo>
                  <a:pt x="5656" y="5532"/>
                  <a:pt x="5625" y="5532"/>
                  <a:pt x="5625" y="5563"/>
                </a:cubicBezTo>
                <a:cubicBezTo>
                  <a:pt x="5594" y="5563"/>
                  <a:pt x="5594" y="5563"/>
                  <a:pt x="5563" y="5594"/>
                </a:cubicBezTo>
                <a:cubicBezTo>
                  <a:pt x="5531" y="5625"/>
                  <a:pt x="5500" y="5657"/>
                  <a:pt x="5469" y="5688"/>
                </a:cubicBezTo>
                <a:cubicBezTo>
                  <a:pt x="5438" y="5719"/>
                  <a:pt x="5406" y="5782"/>
                  <a:pt x="5344" y="5813"/>
                </a:cubicBezTo>
                <a:cubicBezTo>
                  <a:pt x="5281" y="5844"/>
                  <a:pt x="5219" y="5938"/>
                  <a:pt x="5125" y="5938"/>
                </a:cubicBezTo>
                <a:cubicBezTo>
                  <a:pt x="5094" y="5938"/>
                  <a:pt x="5031" y="5938"/>
                  <a:pt x="5000" y="5938"/>
                </a:cubicBezTo>
                <a:cubicBezTo>
                  <a:pt x="4938" y="5938"/>
                  <a:pt x="4844" y="5938"/>
                  <a:pt x="4781" y="5875"/>
                </a:cubicBezTo>
                <a:cubicBezTo>
                  <a:pt x="4719" y="5875"/>
                  <a:pt x="4656" y="5844"/>
                  <a:pt x="4594" y="5844"/>
                </a:cubicBezTo>
                <a:cubicBezTo>
                  <a:pt x="4531" y="5813"/>
                  <a:pt x="4469" y="5782"/>
                  <a:pt x="4406" y="5782"/>
                </a:cubicBezTo>
                <a:cubicBezTo>
                  <a:pt x="4313" y="5719"/>
                  <a:pt x="4156" y="5719"/>
                  <a:pt x="4063" y="5657"/>
                </a:cubicBezTo>
                <a:cubicBezTo>
                  <a:pt x="3844" y="5500"/>
                  <a:pt x="3594" y="5344"/>
                  <a:pt x="3438" y="5125"/>
                </a:cubicBezTo>
                <a:cubicBezTo>
                  <a:pt x="3438" y="5094"/>
                  <a:pt x="3438" y="5063"/>
                  <a:pt x="3406" y="5094"/>
                </a:cubicBezTo>
                <a:cubicBezTo>
                  <a:pt x="3375" y="5094"/>
                  <a:pt x="3375" y="5157"/>
                  <a:pt x="3375" y="5188"/>
                </a:cubicBezTo>
                <a:cubicBezTo>
                  <a:pt x="3375" y="5375"/>
                  <a:pt x="3188" y="5594"/>
                  <a:pt x="3000" y="5625"/>
                </a:cubicBezTo>
                <a:cubicBezTo>
                  <a:pt x="2781" y="5625"/>
                  <a:pt x="2594" y="5625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406" y="5563"/>
                  <a:pt x="2406" y="5563"/>
                  <a:pt x="2406" y="5563"/>
                </a:cubicBezTo>
                <a:cubicBezTo>
                  <a:pt x="2344" y="5563"/>
                  <a:pt x="2281" y="5500"/>
                  <a:pt x="2219" y="5500"/>
                </a:cubicBezTo>
                <a:cubicBezTo>
                  <a:pt x="2125" y="5438"/>
                  <a:pt x="2031" y="5438"/>
                  <a:pt x="1938" y="5407"/>
                </a:cubicBezTo>
                <a:cubicBezTo>
                  <a:pt x="1875" y="5375"/>
                  <a:pt x="1781" y="5344"/>
                  <a:pt x="1719" y="5313"/>
                </a:cubicBezTo>
                <a:cubicBezTo>
                  <a:pt x="1625" y="5282"/>
                  <a:pt x="1531" y="5250"/>
                  <a:pt x="1469" y="5157"/>
                </a:cubicBezTo>
                <a:cubicBezTo>
                  <a:pt x="1438" y="5125"/>
                  <a:pt x="1406" y="5094"/>
                  <a:pt x="1344" y="5063"/>
                </a:cubicBezTo>
                <a:cubicBezTo>
                  <a:pt x="1344" y="5063"/>
                  <a:pt x="1313" y="5032"/>
                  <a:pt x="1281" y="5063"/>
                </a:cubicBezTo>
                <a:cubicBezTo>
                  <a:pt x="1250" y="5063"/>
                  <a:pt x="1281" y="5094"/>
                  <a:pt x="1281" y="5125"/>
                </a:cubicBezTo>
                <a:cubicBezTo>
                  <a:pt x="1281" y="5157"/>
                  <a:pt x="1281" y="5157"/>
                  <a:pt x="1313" y="5188"/>
                </a:cubicBezTo>
                <a:cubicBezTo>
                  <a:pt x="1438" y="5313"/>
                  <a:pt x="1531" y="5438"/>
                  <a:pt x="1594" y="5594"/>
                </a:cubicBezTo>
                <a:cubicBezTo>
                  <a:pt x="1594" y="5688"/>
                  <a:pt x="1625" y="5750"/>
                  <a:pt x="1656" y="5782"/>
                </a:cubicBezTo>
                <a:cubicBezTo>
                  <a:pt x="1688" y="5875"/>
                  <a:pt x="1688" y="5969"/>
                  <a:pt x="1688" y="6063"/>
                </a:cubicBezTo>
                <a:cubicBezTo>
                  <a:pt x="1719" y="6094"/>
                  <a:pt x="1719" y="6125"/>
                  <a:pt x="1719" y="6157"/>
                </a:cubicBezTo>
                <a:cubicBezTo>
                  <a:pt x="1719" y="6313"/>
                  <a:pt x="1719" y="6438"/>
                  <a:pt x="1781" y="6563"/>
                </a:cubicBezTo>
                <a:cubicBezTo>
                  <a:pt x="1813" y="6688"/>
                  <a:pt x="1781" y="6813"/>
                  <a:pt x="1688" y="6907"/>
                </a:cubicBezTo>
                <a:cubicBezTo>
                  <a:pt x="1656" y="6969"/>
                  <a:pt x="1625" y="7000"/>
                  <a:pt x="1594" y="7063"/>
                </a:cubicBezTo>
                <a:cubicBezTo>
                  <a:pt x="1531" y="7094"/>
                  <a:pt x="1438" y="7125"/>
                  <a:pt x="1375" y="7157"/>
                </a:cubicBezTo>
                <a:cubicBezTo>
                  <a:pt x="1250" y="7157"/>
                  <a:pt x="1125" y="7094"/>
                  <a:pt x="1000" y="7094"/>
                </a:cubicBezTo>
                <a:cubicBezTo>
                  <a:pt x="1031" y="7094"/>
                  <a:pt x="1031" y="7125"/>
                  <a:pt x="1063" y="7125"/>
                </a:cubicBezTo>
                <a:cubicBezTo>
                  <a:pt x="1156" y="7219"/>
                  <a:pt x="1281" y="7313"/>
                  <a:pt x="1375" y="7407"/>
                </a:cubicBezTo>
                <a:cubicBezTo>
                  <a:pt x="1438" y="7469"/>
                  <a:pt x="1500" y="7500"/>
                  <a:pt x="1531" y="7563"/>
                </a:cubicBezTo>
                <a:cubicBezTo>
                  <a:pt x="1563" y="7625"/>
                  <a:pt x="1594" y="7688"/>
                  <a:pt x="1656" y="7719"/>
                </a:cubicBezTo>
                <a:cubicBezTo>
                  <a:pt x="1656" y="7719"/>
                  <a:pt x="1656" y="7719"/>
                  <a:pt x="1688" y="7750"/>
                </a:cubicBezTo>
                <a:cubicBezTo>
                  <a:pt x="1688" y="7750"/>
                  <a:pt x="1688" y="7750"/>
                  <a:pt x="1688" y="7750"/>
                </a:cubicBezTo>
                <a:cubicBezTo>
                  <a:pt x="1750" y="7875"/>
                  <a:pt x="1813" y="8000"/>
                  <a:pt x="1875" y="8157"/>
                </a:cubicBezTo>
                <a:cubicBezTo>
                  <a:pt x="1875" y="8219"/>
                  <a:pt x="1906" y="8282"/>
                  <a:pt x="1875" y="8375"/>
                </a:cubicBezTo>
                <a:cubicBezTo>
                  <a:pt x="1844" y="8438"/>
                  <a:pt x="1875" y="8500"/>
                  <a:pt x="1938" y="8563"/>
                </a:cubicBezTo>
                <a:cubicBezTo>
                  <a:pt x="1969" y="8594"/>
                  <a:pt x="2031" y="8625"/>
                  <a:pt x="2094" y="8657"/>
                </a:cubicBezTo>
                <a:cubicBezTo>
                  <a:pt x="2156" y="8657"/>
                  <a:pt x="2219" y="8719"/>
                  <a:pt x="2250" y="8782"/>
                </a:cubicBezTo>
                <a:cubicBezTo>
                  <a:pt x="2281" y="8875"/>
                  <a:pt x="2344" y="8969"/>
                  <a:pt x="2375" y="9032"/>
                </a:cubicBezTo>
                <a:cubicBezTo>
                  <a:pt x="2375" y="9032"/>
                  <a:pt x="2375" y="9032"/>
                  <a:pt x="2375" y="9032"/>
                </a:cubicBezTo>
                <a:cubicBezTo>
                  <a:pt x="2406" y="9125"/>
                  <a:pt x="2406" y="9188"/>
                  <a:pt x="2344" y="9250"/>
                </a:cubicBezTo>
                <a:cubicBezTo>
                  <a:pt x="2313" y="9250"/>
                  <a:pt x="2281" y="9282"/>
                  <a:pt x="2313" y="9313"/>
                </a:cubicBezTo>
                <a:cubicBezTo>
                  <a:pt x="2313" y="9313"/>
                  <a:pt x="2344" y="9313"/>
                  <a:pt x="2375" y="9313"/>
                </a:cubicBezTo>
                <a:cubicBezTo>
                  <a:pt x="2375" y="9313"/>
                  <a:pt x="2375" y="9313"/>
                  <a:pt x="2375" y="9313"/>
                </a:cubicBezTo>
                <a:cubicBezTo>
                  <a:pt x="2375" y="9313"/>
                  <a:pt x="2375" y="9313"/>
                  <a:pt x="2375" y="9313"/>
                </a:cubicBezTo>
                <a:cubicBezTo>
                  <a:pt x="2344" y="9313"/>
                  <a:pt x="2313" y="9313"/>
                  <a:pt x="2313" y="9313"/>
                </a:cubicBezTo>
                <a:cubicBezTo>
                  <a:pt x="2313" y="9313"/>
                  <a:pt x="2313" y="9313"/>
                  <a:pt x="2313" y="9313"/>
                </a:cubicBezTo>
                <a:cubicBezTo>
                  <a:pt x="2281" y="9313"/>
                  <a:pt x="2281" y="9313"/>
                  <a:pt x="2281" y="9313"/>
                </a:cubicBezTo>
                <a:cubicBezTo>
                  <a:pt x="2250" y="9375"/>
                  <a:pt x="2219" y="9407"/>
                  <a:pt x="2188" y="9438"/>
                </a:cubicBezTo>
                <a:cubicBezTo>
                  <a:pt x="2188" y="9438"/>
                  <a:pt x="2156" y="9469"/>
                  <a:pt x="2156" y="9500"/>
                </a:cubicBezTo>
                <a:cubicBezTo>
                  <a:pt x="2125" y="9500"/>
                  <a:pt x="2094" y="9500"/>
                  <a:pt x="2094" y="9532"/>
                </a:cubicBezTo>
                <a:cubicBezTo>
                  <a:pt x="2156" y="9625"/>
                  <a:pt x="2094" y="9782"/>
                  <a:pt x="2031" y="9813"/>
                </a:cubicBezTo>
                <a:cubicBezTo>
                  <a:pt x="2000" y="9844"/>
                  <a:pt x="2000" y="9844"/>
                  <a:pt x="1969" y="9813"/>
                </a:cubicBezTo>
                <a:cubicBezTo>
                  <a:pt x="1969" y="9750"/>
                  <a:pt x="1938" y="9750"/>
                  <a:pt x="1875" y="9782"/>
                </a:cubicBezTo>
                <a:cubicBezTo>
                  <a:pt x="1875" y="9782"/>
                  <a:pt x="1844" y="9782"/>
                  <a:pt x="1813" y="9750"/>
                </a:cubicBezTo>
                <a:cubicBezTo>
                  <a:pt x="1719" y="9844"/>
                  <a:pt x="1625" y="9938"/>
                  <a:pt x="1500" y="9969"/>
                </a:cubicBezTo>
                <a:cubicBezTo>
                  <a:pt x="1500" y="9969"/>
                  <a:pt x="1500" y="9969"/>
                  <a:pt x="1500" y="9969"/>
                </a:cubicBezTo>
                <a:cubicBezTo>
                  <a:pt x="1469" y="10000"/>
                  <a:pt x="1469" y="10000"/>
                  <a:pt x="1438" y="10000"/>
                </a:cubicBezTo>
                <a:cubicBezTo>
                  <a:pt x="1188" y="10094"/>
                  <a:pt x="938" y="10188"/>
                  <a:pt x="688" y="10313"/>
                </a:cubicBezTo>
                <a:cubicBezTo>
                  <a:pt x="781" y="10313"/>
                  <a:pt x="875" y="10282"/>
                  <a:pt x="969" y="10282"/>
                </a:cubicBezTo>
                <a:cubicBezTo>
                  <a:pt x="1063" y="10282"/>
                  <a:pt x="1156" y="10313"/>
                  <a:pt x="1250" y="10282"/>
                </a:cubicBezTo>
                <a:cubicBezTo>
                  <a:pt x="1344" y="10282"/>
                  <a:pt x="1438" y="10313"/>
                  <a:pt x="1531" y="10313"/>
                </a:cubicBezTo>
                <a:cubicBezTo>
                  <a:pt x="1563" y="10344"/>
                  <a:pt x="1625" y="10313"/>
                  <a:pt x="1656" y="10313"/>
                </a:cubicBezTo>
                <a:cubicBezTo>
                  <a:pt x="1750" y="10375"/>
                  <a:pt x="1875" y="10407"/>
                  <a:pt x="1969" y="10438"/>
                </a:cubicBezTo>
                <a:cubicBezTo>
                  <a:pt x="2000" y="10469"/>
                  <a:pt x="2031" y="10469"/>
                  <a:pt x="2063" y="10500"/>
                </a:cubicBezTo>
                <a:cubicBezTo>
                  <a:pt x="2188" y="10563"/>
                  <a:pt x="2344" y="10625"/>
                  <a:pt x="2500" y="10688"/>
                </a:cubicBezTo>
                <a:cubicBezTo>
                  <a:pt x="2531" y="10750"/>
                  <a:pt x="2594" y="10782"/>
                  <a:pt x="2656" y="10813"/>
                </a:cubicBezTo>
                <a:cubicBezTo>
                  <a:pt x="2781" y="10907"/>
                  <a:pt x="2938" y="11063"/>
                  <a:pt x="3094" y="11157"/>
                </a:cubicBezTo>
                <a:cubicBezTo>
                  <a:pt x="3094" y="11157"/>
                  <a:pt x="3094" y="11188"/>
                  <a:pt x="3125" y="11188"/>
                </a:cubicBezTo>
                <a:cubicBezTo>
                  <a:pt x="3125" y="11219"/>
                  <a:pt x="3125" y="11219"/>
                  <a:pt x="3156" y="11219"/>
                </a:cubicBezTo>
                <a:cubicBezTo>
                  <a:pt x="3188" y="11250"/>
                  <a:pt x="3250" y="11282"/>
                  <a:pt x="3313" y="11313"/>
                </a:cubicBezTo>
                <a:cubicBezTo>
                  <a:pt x="3375" y="11375"/>
                  <a:pt x="3375" y="11500"/>
                  <a:pt x="3469" y="11594"/>
                </a:cubicBezTo>
                <a:cubicBezTo>
                  <a:pt x="3563" y="11688"/>
                  <a:pt x="3719" y="11782"/>
                  <a:pt x="3875" y="11813"/>
                </a:cubicBezTo>
                <a:cubicBezTo>
                  <a:pt x="3875" y="11813"/>
                  <a:pt x="3875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44"/>
                  <a:pt x="3906" y="11844"/>
                </a:cubicBezTo>
                <a:cubicBezTo>
                  <a:pt x="3906" y="11844"/>
                  <a:pt x="3906" y="11875"/>
                  <a:pt x="3938" y="11875"/>
                </a:cubicBezTo>
                <a:cubicBezTo>
                  <a:pt x="3969" y="11969"/>
                  <a:pt x="3969" y="12063"/>
                  <a:pt x="4063" y="12125"/>
                </a:cubicBezTo>
                <a:cubicBezTo>
                  <a:pt x="4063" y="12125"/>
                  <a:pt x="4063" y="12125"/>
                  <a:pt x="4063" y="12125"/>
                </a:cubicBezTo>
                <a:cubicBezTo>
                  <a:pt x="4063" y="12125"/>
                  <a:pt x="4094" y="12157"/>
                  <a:pt x="4094" y="12157"/>
                </a:cubicBezTo>
                <a:cubicBezTo>
                  <a:pt x="4125" y="12188"/>
                  <a:pt x="4156" y="12219"/>
                  <a:pt x="4156" y="12250"/>
                </a:cubicBezTo>
                <a:cubicBezTo>
                  <a:pt x="4188" y="12313"/>
                  <a:pt x="4219" y="12375"/>
                  <a:pt x="4250" y="12375"/>
                </a:cubicBezTo>
                <a:cubicBezTo>
                  <a:pt x="4250" y="12407"/>
                  <a:pt x="4281" y="12407"/>
                  <a:pt x="4281" y="12438"/>
                </a:cubicBezTo>
                <a:cubicBezTo>
                  <a:pt x="4281" y="12438"/>
                  <a:pt x="4281" y="12438"/>
                  <a:pt x="4281" y="12438"/>
                </a:cubicBezTo>
                <a:cubicBezTo>
                  <a:pt x="4281" y="12500"/>
                  <a:pt x="4219" y="12469"/>
                  <a:pt x="4188" y="12469"/>
                </a:cubicBezTo>
                <a:cubicBezTo>
                  <a:pt x="4063" y="12532"/>
                  <a:pt x="3906" y="12532"/>
                  <a:pt x="3750" y="12500"/>
                </a:cubicBezTo>
                <a:cubicBezTo>
                  <a:pt x="3719" y="12469"/>
                  <a:pt x="3656" y="12469"/>
                  <a:pt x="3625" y="12469"/>
                </a:cubicBezTo>
                <a:cubicBezTo>
                  <a:pt x="3500" y="12500"/>
                  <a:pt x="3375" y="12438"/>
                  <a:pt x="3281" y="12532"/>
                </a:cubicBezTo>
                <a:cubicBezTo>
                  <a:pt x="3281" y="12563"/>
                  <a:pt x="3281" y="12563"/>
                  <a:pt x="3281" y="12563"/>
                </a:cubicBezTo>
                <a:cubicBezTo>
                  <a:pt x="3281" y="12563"/>
                  <a:pt x="3281" y="12563"/>
                  <a:pt x="3281" y="12532"/>
                </a:cubicBezTo>
                <a:cubicBezTo>
                  <a:pt x="3250" y="12532"/>
                  <a:pt x="3250" y="12532"/>
                  <a:pt x="3250" y="12532"/>
                </a:cubicBezTo>
                <a:cubicBezTo>
                  <a:pt x="3250" y="12563"/>
                  <a:pt x="3219" y="12563"/>
                  <a:pt x="3219" y="12563"/>
                </a:cubicBezTo>
                <a:cubicBezTo>
                  <a:pt x="3219" y="12563"/>
                  <a:pt x="3219" y="12563"/>
                  <a:pt x="3219" y="12563"/>
                </a:cubicBezTo>
                <a:cubicBezTo>
                  <a:pt x="3219" y="12563"/>
                  <a:pt x="3219" y="12594"/>
                  <a:pt x="3219" y="12594"/>
                </a:cubicBezTo>
                <a:cubicBezTo>
                  <a:pt x="3219" y="12594"/>
                  <a:pt x="3219" y="12594"/>
                  <a:pt x="3219" y="12594"/>
                </a:cubicBezTo>
                <a:cubicBezTo>
                  <a:pt x="3156" y="12594"/>
                  <a:pt x="3156" y="12657"/>
                  <a:pt x="3156" y="12688"/>
                </a:cubicBezTo>
                <a:cubicBezTo>
                  <a:pt x="3156" y="12688"/>
                  <a:pt x="3156" y="12688"/>
                  <a:pt x="3156" y="12688"/>
                </a:cubicBezTo>
                <a:cubicBezTo>
                  <a:pt x="3156" y="12688"/>
                  <a:pt x="3156" y="12688"/>
                  <a:pt x="3156" y="12688"/>
                </a:cubicBezTo>
                <a:cubicBezTo>
                  <a:pt x="3125" y="12688"/>
                  <a:pt x="3125" y="12719"/>
                  <a:pt x="3125" y="12750"/>
                </a:cubicBezTo>
                <a:cubicBezTo>
                  <a:pt x="3125" y="12844"/>
                  <a:pt x="3031" y="12875"/>
                  <a:pt x="2969" y="12907"/>
                </a:cubicBezTo>
                <a:cubicBezTo>
                  <a:pt x="2938" y="12938"/>
                  <a:pt x="2906" y="12907"/>
                  <a:pt x="2906" y="12875"/>
                </a:cubicBezTo>
                <a:cubicBezTo>
                  <a:pt x="2906" y="12875"/>
                  <a:pt x="2906" y="12844"/>
                  <a:pt x="2906" y="12813"/>
                </a:cubicBezTo>
                <a:cubicBezTo>
                  <a:pt x="2938" y="12782"/>
                  <a:pt x="2969" y="12750"/>
                  <a:pt x="3000" y="12719"/>
                </a:cubicBezTo>
                <a:cubicBezTo>
                  <a:pt x="3063" y="12688"/>
                  <a:pt x="3031" y="12625"/>
                  <a:pt x="3000" y="12563"/>
                </a:cubicBezTo>
                <a:cubicBezTo>
                  <a:pt x="2969" y="12532"/>
                  <a:pt x="2906" y="12532"/>
                  <a:pt x="2875" y="12563"/>
                </a:cubicBezTo>
                <a:cubicBezTo>
                  <a:pt x="2813" y="12594"/>
                  <a:pt x="2719" y="12594"/>
                  <a:pt x="2656" y="12594"/>
                </a:cubicBezTo>
                <a:cubicBezTo>
                  <a:pt x="2563" y="12563"/>
                  <a:pt x="2438" y="12532"/>
                  <a:pt x="2344" y="12532"/>
                </a:cubicBezTo>
                <a:cubicBezTo>
                  <a:pt x="2313" y="12532"/>
                  <a:pt x="2281" y="12532"/>
                  <a:pt x="2281" y="12532"/>
                </a:cubicBezTo>
                <a:cubicBezTo>
                  <a:pt x="2094" y="12500"/>
                  <a:pt x="1938" y="12532"/>
                  <a:pt x="1781" y="12500"/>
                </a:cubicBezTo>
                <a:cubicBezTo>
                  <a:pt x="1750" y="12469"/>
                  <a:pt x="1750" y="12469"/>
                  <a:pt x="1750" y="12469"/>
                </a:cubicBezTo>
                <a:cubicBezTo>
                  <a:pt x="1625" y="12438"/>
                  <a:pt x="1500" y="12438"/>
                  <a:pt x="1406" y="12407"/>
                </a:cubicBezTo>
                <a:cubicBezTo>
                  <a:pt x="1438" y="12438"/>
                  <a:pt x="1500" y="12469"/>
                  <a:pt x="1531" y="12469"/>
                </a:cubicBezTo>
                <a:cubicBezTo>
                  <a:pt x="1563" y="12500"/>
                  <a:pt x="1594" y="12532"/>
                  <a:pt x="1594" y="12532"/>
                </a:cubicBezTo>
                <a:cubicBezTo>
                  <a:pt x="1625" y="12563"/>
                  <a:pt x="1625" y="12594"/>
                  <a:pt x="1656" y="12625"/>
                </a:cubicBezTo>
                <a:cubicBezTo>
                  <a:pt x="1656" y="12625"/>
                  <a:pt x="1656" y="12625"/>
                  <a:pt x="1656" y="12625"/>
                </a:cubicBezTo>
                <a:cubicBezTo>
                  <a:pt x="1719" y="12750"/>
                  <a:pt x="1750" y="12938"/>
                  <a:pt x="1688" y="13094"/>
                </a:cubicBezTo>
                <a:cubicBezTo>
                  <a:pt x="1688" y="13125"/>
                  <a:pt x="1688" y="13157"/>
                  <a:pt x="1688" y="13188"/>
                </a:cubicBezTo>
                <a:cubicBezTo>
                  <a:pt x="1719" y="13219"/>
                  <a:pt x="1719" y="13219"/>
                  <a:pt x="1719" y="13250"/>
                </a:cubicBezTo>
                <a:cubicBezTo>
                  <a:pt x="1719" y="13219"/>
                  <a:pt x="1719" y="13219"/>
                  <a:pt x="1688" y="13188"/>
                </a:cubicBezTo>
                <a:cubicBezTo>
                  <a:pt x="1688" y="13157"/>
                  <a:pt x="1688" y="13125"/>
                  <a:pt x="1688" y="13094"/>
                </a:cubicBezTo>
                <a:cubicBezTo>
                  <a:pt x="1656" y="13188"/>
                  <a:pt x="1594" y="13188"/>
                  <a:pt x="1531" y="13250"/>
                </a:cubicBezTo>
                <a:cubicBezTo>
                  <a:pt x="1438" y="13282"/>
                  <a:pt x="1375" y="13313"/>
                  <a:pt x="1313" y="13375"/>
                </a:cubicBezTo>
                <a:cubicBezTo>
                  <a:pt x="1125" y="13438"/>
                  <a:pt x="1000" y="13532"/>
                  <a:pt x="844" y="13625"/>
                </a:cubicBezTo>
                <a:cubicBezTo>
                  <a:pt x="719" y="13657"/>
                  <a:pt x="625" y="13688"/>
                  <a:pt x="531" y="13750"/>
                </a:cubicBezTo>
                <a:cubicBezTo>
                  <a:pt x="469" y="13782"/>
                  <a:pt x="406" y="13782"/>
                  <a:pt x="375" y="13813"/>
                </a:cubicBezTo>
                <a:cubicBezTo>
                  <a:pt x="344" y="13844"/>
                  <a:pt x="344" y="13844"/>
                  <a:pt x="313" y="13844"/>
                </a:cubicBezTo>
                <a:cubicBezTo>
                  <a:pt x="313" y="13875"/>
                  <a:pt x="313" y="13875"/>
                  <a:pt x="313" y="13907"/>
                </a:cubicBezTo>
                <a:cubicBezTo>
                  <a:pt x="313" y="13875"/>
                  <a:pt x="313" y="13875"/>
                  <a:pt x="313" y="13844"/>
                </a:cubicBezTo>
                <a:cubicBezTo>
                  <a:pt x="281" y="13844"/>
                  <a:pt x="281" y="13875"/>
                  <a:pt x="281" y="13875"/>
                </a:cubicBezTo>
                <a:cubicBezTo>
                  <a:pt x="219" y="13907"/>
                  <a:pt x="250" y="14000"/>
                  <a:pt x="188" y="14000"/>
                </a:cubicBezTo>
                <a:cubicBezTo>
                  <a:pt x="125" y="14032"/>
                  <a:pt x="94" y="14063"/>
                  <a:pt x="125" y="14125"/>
                </a:cubicBezTo>
                <a:cubicBezTo>
                  <a:pt x="125" y="14125"/>
                  <a:pt x="94" y="14157"/>
                  <a:pt x="94" y="14157"/>
                </a:cubicBezTo>
                <a:cubicBezTo>
                  <a:pt x="63" y="14157"/>
                  <a:pt x="31" y="14125"/>
                  <a:pt x="0" y="14157"/>
                </a:cubicBezTo>
                <a:cubicBezTo>
                  <a:pt x="31" y="14250"/>
                  <a:pt x="63" y="14313"/>
                  <a:pt x="63" y="14407"/>
                </a:cubicBezTo>
                <a:cubicBezTo>
                  <a:pt x="31" y="14438"/>
                  <a:pt x="0" y="14407"/>
                  <a:pt x="0" y="14438"/>
                </a:cubicBezTo>
                <a:cubicBezTo>
                  <a:pt x="31" y="14438"/>
                  <a:pt x="31" y="14469"/>
                  <a:pt x="63" y="14469"/>
                </a:cubicBezTo>
                <a:cubicBezTo>
                  <a:pt x="188" y="14500"/>
                  <a:pt x="281" y="14563"/>
                  <a:pt x="375" y="14594"/>
                </a:cubicBezTo>
                <a:cubicBezTo>
                  <a:pt x="469" y="14657"/>
                  <a:pt x="563" y="14782"/>
                  <a:pt x="656" y="14844"/>
                </a:cubicBezTo>
                <a:cubicBezTo>
                  <a:pt x="656" y="14844"/>
                  <a:pt x="656" y="14844"/>
                  <a:pt x="656" y="14844"/>
                </a:cubicBezTo>
                <a:cubicBezTo>
                  <a:pt x="656" y="14844"/>
                  <a:pt x="656" y="14844"/>
                  <a:pt x="656" y="14844"/>
                </a:cubicBezTo>
                <a:cubicBezTo>
                  <a:pt x="688" y="14875"/>
                  <a:pt x="719" y="14907"/>
                  <a:pt x="750" y="14907"/>
                </a:cubicBezTo>
                <a:cubicBezTo>
                  <a:pt x="969" y="14938"/>
                  <a:pt x="1000" y="15125"/>
                  <a:pt x="1125" y="15250"/>
                </a:cubicBezTo>
                <a:cubicBezTo>
                  <a:pt x="1125" y="15282"/>
                  <a:pt x="1125" y="15313"/>
                  <a:pt x="1156" y="15313"/>
                </a:cubicBezTo>
                <a:cubicBezTo>
                  <a:pt x="1156" y="15344"/>
                  <a:pt x="1156" y="15375"/>
                  <a:pt x="1156" y="15438"/>
                </a:cubicBezTo>
                <a:cubicBezTo>
                  <a:pt x="1125" y="15500"/>
                  <a:pt x="1094" y="15594"/>
                  <a:pt x="1000" y="15657"/>
                </a:cubicBezTo>
                <a:cubicBezTo>
                  <a:pt x="1125" y="15657"/>
                  <a:pt x="1250" y="15688"/>
                  <a:pt x="1375" y="15688"/>
                </a:cubicBezTo>
                <a:cubicBezTo>
                  <a:pt x="1406" y="15688"/>
                  <a:pt x="1469" y="15688"/>
                  <a:pt x="1500" y="15688"/>
                </a:cubicBezTo>
                <a:cubicBezTo>
                  <a:pt x="1594" y="15688"/>
                  <a:pt x="1656" y="15657"/>
                  <a:pt x="1719" y="15719"/>
                </a:cubicBezTo>
                <a:cubicBezTo>
                  <a:pt x="1813" y="15782"/>
                  <a:pt x="1906" y="15813"/>
                  <a:pt x="2000" y="15844"/>
                </a:cubicBezTo>
                <a:cubicBezTo>
                  <a:pt x="2094" y="15907"/>
                  <a:pt x="2219" y="15969"/>
                  <a:pt x="2344" y="15969"/>
                </a:cubicBezTo>
                <a:cubicBezTo>
                  <a:pt x="2375" y="15969"/>
                  <a:pt x="2406" y="16000"/>
                  <a:pt x="2438" y="16032"/>
                </a:cubicBezTo>
                <a:cubicBezTo>
                  <a:pt x="2438" y="16032"/>
                  <a:pt x="2438" y="16063"/>
                  <a:pt x="2469" y="16063"/>
                </a:cubicBezTo>
                <a:cubicBezTo>
                  <a:pt x="2469" y="16063"/>
                  <a:pt x="2469" y="16063"/>
                  <a:pt x="2469" y="16063"/>
                </a:cubicBezTo>
                <a:cubicBezTo>
                  <a:pt x="2531" y="16157"/>
                  <a:pt x="2656" y="16250"/>
                  <a:pt x="2719" y="16344"/>
                </a:cubicBezTo>
                <a:cubicBezTo>
                  <a:pt x="2719" y="16438"/>
                  <a:pt x="2719" y="16500"/>
                  <a:pt x="2719" y="16563"/>
                </a:cubicBezTo>
                <a:cubicBezTo>
                  <a:pt x="2688" y="16594"/>
                  <a:pt x="2688" y="16625"/>
                  <a:pt x="2688" y="16625"/>
                </a:cubicBezTo>
                <a:cubicBezTo>
                  <a:pt x="2688" y="16625"/>
                  <a:pt x="2688" y="16625"/>
                  <a:pt x="2688" y="16625"/>
                </a:cubicBezTo>
                <a:cubicBezTo>
                  <a:pt x="2656" y="16750"/>
                  <a:pt x="2656" y="16907"/>
                  <a:pt x="2594" y="17032"/>
                </a:cubicBezTo>
                <a:cubicBezTo>
                  <a:pt x="2594" y="17032"/>
                  <a:pt x="2594" y="17032"/>
                  <a:pt x="2594" y="17032"/>
                </a:cubicBezTo>
                <a:cubicBezTo>
                  <a:pt x="2531" y="17094"/>
                  <a:pt x="2563" y="17219"/>
                  <a:pt x="2469" y="17282"/>
                </a:cubicBezTo>
                <a:cubicBezTo>
                  <a:pt x="2438" y="17313"/>
                  <a:pt x="2438" y="17344"/>
                  <a:pt x="2406" y="17375"/>
                </a:cubicBezTo>
                <a:cubicBezTo>
                  <a:pt x="2375" y="17407"/>
                  <a:pt x="2375" y="17438"/>
                  <a:pt x="2344" y="17469"/>
                </a:cubicBezTo>
                <a:cubicBezTo>
                  <a:pt x="2344" y="17532"/>
                  <a:pt x="2313" y="17563"/>
                  <a:pt x="2281" y="17563"/>
                </a:cubicBezTo>
                <a:cubicBezTo>
                  <a:pt x="2219" y="17594"/>
                  <a:pt x="2219" y="17657"/>
                  <a:pt x="2188" y="17719"/>
                </a:cubicBezTo>
                <a:cubicBezTo>
                  <a:pt x="2188" y="17719"/>
                  <a:pt x="2219" y="17750"/>
                  <a:pt x="2250" y="17750"/>
                </a:cubicBezTo>
                <a:cubicBezTo>
                  <a:pt x="2313" y="17688"/>
                  <a:pt x="2406" y="17657"/>
                  <a:pt x="2500" y="17594"/>
                </a:cubicBezTo>
                <a:cubicBezTo>
                  <a:pt x="2531" y="17594"/>
                  <a:pt x="2563" y="17594"/>
                  <a:pt x="2594" y="17532"/>
                </a:cubicBezTo>
                <a:cubicBezTo>
                  <a:pt x="2719" y="17500"/>
                  <a:pt x="2781" y="17407"/>
                  <a:pt x="2906" y="17407"/>
                </a:cubicBezTo>
                <a:cubicBezTo>
                  <a:pt x="2938" y="17407"/>
                  <a:pt x="2969" y="17407"/>
                  <a:pt x="2969" y="17407"/>
                </a:cubicBezTo>
                <a:cubicBezTo>
                  <a:pt x="3188" y="17344"/>
                  <a:pt x="3406" y="17282"/>
                  <a:pt x="3625" y="17282"/>
                </a:cubicBezTo>
                <a:cubicBezTo>
                  <a:pt x="3656" y="17282"/>
                  <a:pt x="3688" y="17282"/>
                  <a:pt x="3719" y="17282"/>
                </a:cubicBezTo>
                <a:cubicBezTo>
                  <a:pt x="3844" y="17282"/>
                  <a:pt x="4000" y="17250"/>
                  <a:pt x="4125" y="17219"/>
                </a:cubicBezTo>
                <a:cubicBezTo>
                  <a:pt x="4125" y="17219"/>
                  <a:pt x="4125" y="17219"/>
                  <a:pt x="4125" y="17219"/>
                </a:cubicBezTo>
                <a:cubicBezTo>
                  <a:pt x="4188" y="17188"/>
                  <a:pt x="4281" y="17219"/>
                  <a:pt x="4313" y="17157"/>
                </a:cubicBezTo>
                <a:cubicBezTo>
                  <a:pt x="4406" y="17094"/>
                  <a:pt x="4469" y="17125"/>
                  <a:pt x="4531" y="17157"/>
                </a:cubicBezTo>
                <a:cubicBezTo>
                  <a:pt x="4563" y="17188"/>
                  <a:pt x="4594" y="17157"/>
                  <a:pt x="4625" y="17188"/>
                </a:cubicBezTo>
                <a:cubicBezTo>
                  <a:pt x="4688" y="17282"/>
                  <a:pt x="4750" y="17250"/>
                  <a:pt x="4844" y="17250"/>
                </a:cubicBezTo>
                <a:cubicBezTo>
                  <a:pt x="5094" y="17219"/>
                  <a:pt x="5281" y="17125"/>
                  <a:pt x="5438" y="16969"/>
                </a:cubicBezTo>
                <a:cubicBezTo>
                  <a:pt x="5500" y="16875"/>
                  <a:pt x="5563" y="16875"/>
                  <a:pt x="5656" y="16907"/>
                </a:cubicBezTo>
                <a:cubicBezTo>
                  <a:pt x="5688" y="16907"/>
                  <a:pt x="5688" y="16907"/>
                  <a:pt x="5719" y="16907"/>
                </a:cubicBezTo>
                <a:cubicBezTo>
                  <a:pt x="5813" y="16907"/>
                  <a:pt x="5938" y="16938"/>
                  <a:pt x="6031" y="16969"/>
                </a:cubicBezTo>
                <a:cubicBezTo>
                  <a:pt x="6031" y="17000"/>
                  <a:pt x="6063" y="17000"/>
                  <a:pt x="6063" y="17000"/>
                </a:cubicBezTo>
                <a:cubicBezTo>
                  <a:pt x="6094" y="17000"/>
                  <a:pt x="6094" y="17032"/>
                  <a:pt x="6125" y="17032"/>
                </a:cubicBezTo>
                <a:cubicBezTo>
                  <a:pt x="6125" y="17063"/>
                  <a:pt x="6125" y="17125"/>
                  <a:pt x="6188" y="17157"/>
                </a:cubicBezTo>
                <a:cubicBezTo>
                  <a:pt x="6188" y="17157"/>
                  <a:pt x="6219" y="17188"/>
                  <a:pt x="6219" y="17219"/>
                </a:cubicBezTo>
                <a:cubicBezTo>
                  <a:pt x="6219" y="17313"/>
                  <a:pt x="6219" y="17407"/>
                  <a:pt x="6250" y="17500"/>
                </a:cubicBezTo>
                <a:cubicBezTo>
                  <a:pt x="6188" y="17563"/>
                  <a:pt x="6219" y="17594"/>
                  <a:pt x="6188" y="17657"/>
                </a:cubicBezTo>
                <a:cubicBezTo>
                  <a:pt x="6188" y="17719"/>
                  <a:pt x="6156" y="17782"/>
                  <a:pt x="6156" y="17844"/>
                </a:cubicBezTo>
                <a:cubicBezTo>
                  <a:pt x="6125" y="17875"/>
                  <a:pt x="6094" y="17907"/>
                  <a:pt x="6094" y="17938"/>
                </a:cubicBezTo>
                <a:cubicBezTo>
                  <a:pt x="6031" y="18032"/>
                  <a:pt x="6000" y="18125"/>
                  <a:pt x="6000" y="18219"/>
                </a:cubicBezTo>
                <a:cubicBezTo>
                  <a:pt x="5969" y="18219"/>
                  <a:pt x="6000" y="18250"/>
                  <a:pt x="6000" y="18250"/>
                </a:cubicBezTo>
                <a:cubicBezTo>
                  <a:pt x="6031" y="18282"/>
                  <a:pt x="6063" y="18282"/>
                  <a:pt x="6094" y="18282"/>
                </a:cubicBezTo>
                <a:cubicBezTo>
                  <a:pt x="6094" y="18282"/>
                  <a:pt x="6094" y="18282"/>
                  <a:pt x="6094" y="18282"/>
                </a:cubicBezTo>
                <a:cubicBezTo>
                  <a:pt x="6094" y="18313"/>
                  <a:pt x="6063" y="18344"/>
                  <a:pt x="6063" y="18344"/>
                </a:cubicBezTo>
                <a:cubicBezTo>
                  <a:pt x="5969" y="18407"/>
                  <a:pt x="6000" y="18438"/>
                  <a:pt x="6063" y="18469"/>
                </a:cubicBezTo>
                <a:cubicBezTo>
                  <a:pt x="6125" y="18407"/>
                  <a:pt x="6219" y="18438"/>
                  <a:pt x="6281" y="18407"/>
                </a:cubicBezTo>
                <a:cubicBezTo>
                  <a:pt x="6313" y="18438"/>
                  <a:pt x="6344" y="18438"/>
                  <a:pt x="6375" y="18438"/>
                </a:cubicBezTo>
                <a:cubicBezTo>
                  <a:pt x="6406" y="18407"/>
                  <a:pt x="6469" y="18407"/>
                  <a:pt x="6500" y="18438"/>
                </a:cubicBezTo>
                <a:cubicBezTo>
                  <a:pt x="6500" y="18438"/>
                  <a:pt x="6500" y="18407"/>
                  <a:pt x="6500" y="18407"/>
                </a:cubicBezTo>
                <a:cubicBezTo>
                  <a:pt x="6500" y="18407"/>
                  <a:pt x="6500" y="18438"/>
                  <a:pt x="6500" y="18438"/>
                </a:cubicBezTo>
                <a:cubicBezTo>
                  <a:pt x="6531" y="18532"/>
                  <a:pt x="6594" y="18500"/>
                  <a:pt x="6656" y="18438"/>
                </a:cubicBezTo>
                <a:cubicBezTo>
                  <a:pt x="6719" y="18469"/>
                  <a:pt x="6781" y="18469"/>
                  <a:pt x="6844" y="18532"/>
                </a:cubicBezTo>
                <a:cubicBezTo>
                  <a:pt x="6875" y="18532"/>
                  <a:pt x="6875" y="18563"/>
                  <a:pt x="6875" y="18563"/>
                </a:cubicBezTo>
                <a:cubicBezTo>
                  <a:pt x="6875" y="18594"/>
                  <a:pt x="6844" y="18594"/>
                  <a:pt x="6813" y="18594"/>
                </a:cubicBezTo>
                <a:cubicBezTo>
                  <a:pt x="6750" y="18563"/>
                  <a:pt x="6719" y="18563"/>
                  <a:pt x="6688" y="18625"/>
                </a:cubicBezTo>
                <a:cubicBezTo>
                  <a:pt x="6688" y="18657"/>
                  <a:pt x="6625" y="18719"/>
                  <a:pt x="6594" y="18625"/>
                </a:cubicBezTo>
                <a:cubicBezTo>
                  <a:pt x="6594" y="18625"/>
                  <a:pt x="6563" y="18625"/>
                  <a:pt x="6563" y="18594"/>
                </a:cubicBezTo>
                <a:cubicBezTo>
                  <a:pt x="6500" y="18688"/>
                  <a:pt x="6406" y="18563"/>
                  <a:pt x="6344" y="18625"/>
                </a:cubicBezTo>
                <a:cubicBezTo>
                  <a:pt x="6313" y="18719"/>
                  <a:pt x="6188" y="18750"/>
                  <a:pt x="6125" y="18688"/>
                </a:cubicBezTo>
                <a:cubicBezTo>
                  <a:pt x="6063" y="18657"/>
                  <a:pt x="6031" y="18594"/>
                  <a:pt x="6000" y="18563"/>
                </a:cubicBezTo>
                <a:cubicBezTo>
                  <a:pt x="5906" y="18469"/>
                  <a:pt x="5906" y="18469"/>
                  <a:pt x="5844" y="18563"/>
                </a:cubicBezTo>
                <a:cubicBezTo>
                  <a:pt x="5844" y="18594"/>
                  <a:pt x="5813" y="18657"/>
                  <a:pt x="5781" y="18688"/>
                </a:cubicBezTo>
                <a:cubicBezTo>
                  <a:pt x="5781" y="18688"/>
                  <a:pt x="5781" y="18688"/>
                  <a:pt x="5781" y="18688"/>
                </a:cubicBezTo>
                <a:cubicBezTo>
                  <a:pt x="5781" y="18750"/>
                  <a:pt x="5750" y="18813"/>
                  <a:pt x="5719" y="18844"/>
                </a:cubicBezTo>
                <a:cubicBezTo>
                  <a:pt x="5719" y="18875"/>
                  <a:pt x="5719" y="18875"/>
                  <a:pt x="5719" y="18875"/>
                </a:cubicBezTo>
                <a:cubicBezTo>
                  <a:pt x="5688" y="18875"/>
                  <a:pt x="5688" y="18875"/>
                  <a:pt x="5688" y="18907"/>
                </a:cubicBezTo>
                <a:cubicBezTo>
                  <a:pt x="5688" y="18907"/>
                  <a:pt x="5688" y="18907"/>
                  <a:pt x="5688" y="18907"/>
                </a:cubicBezTo>
                <a:cubicBezTo>
                  <a:pt x="5688" y="18907"/>
                  <a:pt x="5656" y="18907"/>
                  <a:pt x="5656" y="18907"/>
                </a:cubicBezTo>
                <a:cubicBezTo>
                  <a:pt x="5625" y="19000"/>
                  <a:pt x="5563" y="19032"/>
                  <a:pt x="5531" y="19125"/>
                </a:cubicBezTo>
                <a:cubicBezTo>
                  <a:pt x="5500" y="19188"/>
                  <a:pt x="5500" y="19250"/>
                  <a:pt x="5438" y="19313"/>
                </a:cubicBezTo>
                <a:cubicBezTo>
                  <a:pt x="5438" y="19313"/>
                  <a:pt x="5438" y="19313"/>
                  <a:pt x="5438" y="19313"/>
                </a:cubicBezTo>
                <a:cubicBezTo>
                  <a:pt x="5438" y="19375"/>
                  <a:pt x="5438" y="19438"/>
                  <a:pt x="5438" y="19500"/>
                </a:cubicBezTo>
                <a:cubicBezTo>
                  <a:pt x="5438" y="19500"/>
                  <a:pt x="5438" y="19500"/>
                  <a:pt x="5438" y="19532"/>
                </a:cubicBezTo>
                <a:cubicBezTo>
                  <a:pt x="5438" y="19532"/>
                  <a:pt x="5438" y="19563"/>
                  <a:pt x="5438" y="19563"/>
                </a:cubicBezTo>
                <a:cubicBezTo>
                  <a:pt x="5406" y="19594"/>
                  <a:pt x="5406" y="19657"/>
                  <a:pt x="5375" y="19688"/>
                </a:cubicBezTo>
                <a:cubicBezTo>
                  <a:pt x="5313" y="19782"/>
                  <a:pt x="5313" y="19907"/>
                  <a:pt x="5313" y="20032"/>
                </a:cubicBezTo>
                <a:cubicBezTo>
                  <a:pt x="5219" y="20188"/>
                  <a:pt x="5219" y="20313"/>
                  <a:pt x="5156" y="20469"/>
                </a:cubicBezTo>
                <a:cubicBezTo>
                  <a:pt x="5094" y="20532"/>
                  <a:pt x="5094" y="20594"/>
                  <a:pt x="5094" y="20657"/>
                </a:cubicBezTo>
                <a:cubicBezTo>
                  <a:pt x="5031" y="20782"/>
                  <a:pt x="5031" y="20907"/>
                  <a:pt x="5000" y="21032"/>
                </a:cubicBezTo>
                <a:cubicBezTo>
                  <a:pt x="5000" y="21032"/>
                  <a:pt x="5000" y="21063"/>
                  <a:pt x="4969" y="21063"/>
                </a:cubicBezTo>
                <a:cubicBezTo>
                  <a:pt x="4969" y="21063"/>
                  <a:pt x="4969" y="21063"/>
                  <a:pt x="4969" y="21063"/>
                </a:cubicBezTo>
                <a:cubicBezTo>
                  <a:pt x="4906" y="21219"/>
                  <a:pt x="4906" y="21625"/>
                  <a:pt x="5000" y="21688"/>
                </a:cubicBezTo>
                <a:cubicBezTo>
                  <a:pt x="4969" y="21594"/>
                  <a:pt x="5031" y="21500"/>
                  <a:pt x="5031" y="21438"/>
                </a:cubicBezTo>
                <a:cubicBezTo>
                  <a:pt x="5063" y="21375"/>
                  <a:pt x="5063" y="21344"/>
                  <a:pt x="5094" y="21282"/>
                </a:cubicBezTo>
                <a:cubicBezTo>
                  <a:pt x="5219" y="21094"/>
                  <a:pt x="5344" y="20875"/>
                  <a:pt x="5500" y="20719"/>
                </a:cubicBezTo>
                <a:cubicBezTo>
                  <a:pt x="5563" y="20625"/>
                  <a:pt x="5656" y="20563"/>
                  <a:pt x="5719" y="20469"/>
                </a:cubicBezTo>
                <a:cubicBezTo>
                  <a:pt x="5719" y="20469"/>
                  <a:pt x="5719" y="20469"/>
                  <a:pt x="5719" y="20469"/>
                </a:cubicBezTo>
                <a:cubicBezTo>
                  <a:pt x="5750" y="20469"/>
                  <a:pt x="5750" y="20438"/>
                  <a:pt x="5750" y="20438"/>
                </a:cubicBezTo>
                <a:cubicBezTo>
                  <a:pt x="5781" y="20438"/>
                  <a:pt x="5781" y="20438"/>
                  <a:pt x="5781" y="20407"/>
                </a:cubicBezTo>
                <a:cubicBezTo>
                  <a:pt x="5781" y="20407"/>
                  <a:pt x="5781" y="20407"/>
                  <a:pt x="5781" y="20407"/>
                </a:cubicBezTo>
                <a:cubicBezTo>
                  <a:pt x="5844" y="20375"/>
                  <a:pt x="5938" y="20313"/>
                  <a:pt x="6031" y="20250"/>
                </a:cubicBezTo>
                <a:cubicBezTo>
                  <a:pt x="6125" y="20188"/>
                  <a:pt x="6250" y="20094"/>
                  <a:pt x="6375" y="20063"/>
                </a:cubicBezTo>
                <a:cubicBezTo>
                  <a:pt x="6406" y="20063"/>
                  <a:pt x="6406" y="20063"/>
                  <a:pt x="6438" y="20063"/>
                </a:cubicBezTo>
                <a:cubicBezTo>
                  <a:pt x="6438" y="20063"/>
                  <a:pt x="6438" y="20032"/>
                  <a:pt x="6469" y="20032"/>
                </a:cubicBezTo>
                <a:cubicBezTo>
                  <a:pt x="6531" y="20032"/>
                  <a:pt x="6594" y="19969"/>
                  <a:pt x="6656" y="19938"/>
                </a:cubicBezTo>
                <a:cubicBezTo>
                  <a:pt x="6781" y="19907"/>
                  <a:pt x="6875" y="19813"/>
                  <a:pt x="7000" y="19782"/>
                </a:cubicBezTo>
                <a:cubicBezTo>
                  <a:pt x="7063" y="19782"/>
                  <a:pt x="7125" y="19750"/>
                  <a:pt x="7156" y="19688"/>
                </a:cubicBezTo>
                <a:cubicBezTo>
                  <a:pt x="7188" y="19688"/>
                  <a:pt x="7219" y="19657"/>
                  <a:pt x="7250" y="19625"/>
                </a:cubicBezTo>
                <a:cubicBezTo>
                  <a:pt x="7313" y="19594"/>
                  <a:pt x="7406" y="19563"/>
                  <a:pt x="7469" y="19500"/>
                </a:cubicBezTo>
                <a:cubicBezTo>
                  <a:pt x="7531" y="19407"/>
                  <a:pt x="7594" y="19375"/>
                  <a:pt x="7688" y="19438"/>
                </a:cubicBezTo>
                <a:cubicBezTo>
                  <a:pt x="7875" y="19469"/>
                  <a:pt x="7906" y="19625"/>
                  <a:pt x="7938" y="19782"/>
                </a:cubicBezTo>
                <a:cubicBezTo>
                  <a:pt x="7969" y="19750"/>
                  <a:pt x="7969" y="19750"/>
                  <a:pt x="7969" y="19719"/>
                </a:cubicBezTo>
                <a:cubicBezTo>
                  <a:pt x="8000" y="19657"/>
                  <a:pt x="8031" y="19594"/>
                  <a:pt x="8063" y="19532"/>
                </a:cubicBezTo>
                <a:cubicBezTo>
                  <a:pt x="8250" y="19375"/>
                  <a:pt x="8438" y="19188"/>
                  <a:pt x="8656" y="19032"/>
                </a:cubicBezTo>
                <a:cubicBezTo>
                  <a:pt x="8656" y="19032"/>
                  <a:pt x="8656" y="19032"/>
                  <a:pt x="8656" y="19000"/>
                </a:cubicBezTo>
                <a:cubicBezTo>
                  <a:pt x="8656" y="19000"/>
                  <a:pt x="8656" y="19000"/>
                  <a:pt x="8656" y="19000"/>
                </a:cubicBezTo>
                <a:cubicBezTo>
                  <a:pt x="8719" y="18938"/>
                  <a:pt x="8813" y="18938"/>
                  <a:pt x="8875" y="18875"/>
                </a:cubicBezTo>
                <a:cubicBezTo>
                  <a:pt x="8969" y="18844"/>
                  <a:pt x="9000" y="18750"/>
                  <a:pt x="9063" y="18719"/>
                </a:cubicBezTo>
                <a:cubicBezTo>
                  <a:pt x="9156" y="18657"/>
                  <a:pt x="9219" y="18563"/>
                  <a:pt x="9219" y="18469"/>
                </a:cubicBezTo>
                <a:cubicBezTo>
                  <a:pt x="9250" y="18375"/>
                  <a:pt x="9281" y="18313"/>
                  <a:pt x="9344" y="18250"/>
                </a:cubicBezTo>
                <a:cubicBezTo>
                  <a:pt x="9406" y="18219"/>
                  <a:pt x="9469" y="18188"/>
                  <a:pt x="9500" y="18157"/>
                </a:cubicBezTo>
                <a:cubicBezTo>
                  <a:pt x="9563" y="18094"/>
                  <a:pt x="9656" y="18094"/>
                  <a:pt x="9750" y="18063"/>
                </a:cubicBezTo>
                <a:cubicBezTo>
                  <a:pt x="9750" y="18063"/>
                  <a:pt x="9781" y="18063"/>
                  <a:pt x="9781" y="18063"/>
                </a:cubicBezTo>
                <a:cubicBezTo>
                  <a:pt x="9938" y="18125"/>
                  <a:pt x="10063" y="18188"/>
                  <a:pt x="10188" y="18250"/>
                </a:cubicBezTo>
                <a:cubicBezTo>
                  <a:pt x="10250" y="18313"/>
                  <a:pt x="10281" y="18375"/>
                  <a:pt x="10313" y="18407"/>
                </a:cubicBezTo>
                <a:cubicBezTo>
                  <a:pt x="10344" y="18407"/>
                  <a:pt x="10375" y="18375"/>
                  <a:pt x="10406" y="18344"/>
                </a:cubicBezTo>
                <a:cubicBezTo>
                  <a:pt x="10375" y="18375"/>
                  <a:pt x="10344" y="18407"/>
                  <a:pt x="10313" y="18407"/>
                </a:cubicBezTo>
                <a:cubicBezTo>
                  <a:pt x="10344" y="18469"/>
                  <a:pt x="10375" y="18532"/>
                  <a:pt x="10406" y="18594"/>
                </a:cubicBezTo>
                <a:cubicBezTo>
                  <a:pt x="10406" y="18625"/>
                  <a:pt x="10406" y="18657"/>
                  <a:pt x="10438" y="18688"/>
                </a:cubicBezTo>
                <a:cubicBezTo>
                  <a:pt x="10438" y="18688"/>
                  <a:pt x="10438" y="18688"/>
                  <a:pt x="10438" y="18688"/>
                </a:cubicBezTo>
                <a:cubicBezTo>
                  <a:pt x="10406" y="18750"/>
                  <a:pt x="10469" y="18782"/>
                  <a:pt x="10469" y="18813"/>
                </a:cubicBezTo>
                <a:cubicBezTo>
                  <a:pt x="10531" y="19000"/>
                  <a:pt x="10563" y="19188"/>
                  <a:pt x="10594" y="19375"/>
                </a:cubicBezTo>
                <a:cubicBezTo>
                  <a:pt x="10625" y="19250"/>
                  <a:pt x="10625" y="19125"/>
                  <a:pt x="10656" y="19000"/>
                </a:cubicBezTo>
                <a:cubicBezTo>
                  <a:pt x="10656" y="18875"/>
                  <a:pt x="10719" y="18750"/>
                  <a:pt x="10750" y="18625"/>
                </a:cubicBezTo>
                <a:cubicBezTo>
                  <a:pt x="10750" y="18625"/>
                  <a:pt x="10750" y="18625"/>
                  <a:pt x="10750" y="18625"/>
                </a:cubicBezTo>
                <a:cubicBezTo>
                  <a:pt x="10750" y="18594"/>
                  <a:pt x="10750" y="18563"/>
                  <a:pt x="10750" y="18532"/>
                </a:cubicBezTo>
                <a:cubicBezTo>
                  <a:pt x="10813" y="18407"/>
                  <a:pt x="10875" y="18282"/>
                  <a:pt x="10906" y="18125"/>
                </a:cubicBezTo>
                <a:cubicBezTo>
                  <a:pt x="10969" y="18032"/>
                  <a:pt x="10969" y="17938"/>
                  <a:pt x="11000" y="17813"/>
                </a:cubicBezTo>
                <a:cubicBezTo>
                  <a:pt x="11000" y="17782"/>
                  <a:pt x="11000" y="17782"/>
                  <a:pt x="11031" y="17750"/>
                </a:cubicBezTo>
                <a:cubicBezTo>
                  <a:pt x="11031" y="17719"/>
                  <a:pt x="11031" y="17719"/>
                  <a:pt x="11031" y="17719"/>
                </a:cubicBezTo>
                <a:cubicBezTo>
                  <a:pt x="11063" y="17594"/>
                  <a:pt x="11094" y="17500"/>
                  <a:pt x="11094" y="17375"/>
                </a:cubicBezTo>
                <a:cubicBezTo>
                  <a:pt x="11094" y="17313"/>
                  <a:pt x="11094" y="17282"/>
                  <a:pt x="11094" y="17219"/>
                </a:cubicBezTo>
                <a:cubicBezTo>
                  <a:pt x="11156" y="17094"/>
                  <a:pt x="11188" y="17000"/>
                  <a:pt x="11125" y="16875"/>
                </a:cubicBezTo>
                <a:cubicBezTo>
                  <a:pt x="11125" y="16875"/>
                  <a:pt x="11125" y="16875"/>
                  <a:pt x="11125" y="16875"/>
                </a:cubicBezTo>
                <a:cubicBezTo>
                  <a:pt x="11125" y="16719"/>
                  <a:pt x="11250" y="16625"/>
                  <a:pt x="11250" y="16500"/>
                </a:cubicBezTo>
                <a:cubicBezTo>
                  <a:pt x="11250" y="16500"/>
                  <a:pt x="11281" y="16532"/>
                  <a:pt x="11281" y="16532"/>
                </a:cubicBezTo>
                <a:cubicBezTo>
                  <a:pt x="11281" y="16563"/>
                  <a:pt x="11281" y="16594"/>
                  <a:pt x="11281" y="16625"/>
                </a:cubicBezTo>
                <a:cubicBezTo>
                  <a:pt x="11281" y="16625"/>
                  <a:pt x="11281" y="16657"/>
                  <a:pt x="11281" y="16688"/>
                </a:cubicBezTo>
                <a:cubicBezTo>
                  <a:pt x="11313" y="16813"/>
                  <a:pt x="11313" y="16938"/>
                  <a:pt x="11313" y="17094"/>
                </a:cubicBezTo>
                <a:cubicBezTo>
                  <a:pt x="11313" y="17250"/>
                  <a:pt x="11344" y="17407"/>
                  <a:pt x="11344" y="17563"/>
                </a:cubicBezTo>
                <a:cubicBezTo>
                  <a:pt x="11344" y="17594"/>
                  <a:pt x="11375" y="17594"/>
                  <a:pt x="11375" y="17625"/>
                </a:cubicBezTo>
                <a:cubicBezTo>
                  <a:pt x="11375" y="17625"/>
                  <a:pt x="11375" y="17625"/>
                  <a:pt x="11375" y="17625"/>
                </a:cubicBezTo>
                <a:cubicBezTo>
                  <a:pt x="11375" y="18125"/>
                  <a:pt x="11406" y="18594"/>
                  <a:pt x="11406" y="19063"/>
                </a:cubicBezTo>
                <a:cubicBezTo>
                  <a:pt x="11438" y="19438"/>
                  <a:pt x="11438" y="19782"/>
                  <a:pt x="11531" y="20125"/>
                </a:cubicBezTo>
                <a:cubicBezTo>
                  <a:pt x="11531" y="20157"/>
                  <a:pt x="11531" y="20219"/>
                  <a:pt x="11531" y="20250"/>
                </a:cubicBezTo>
                <a:cubicBezTo>
                  <a:pt x="11563" y="20375"/>
                  <a:pt x="11594" y="20500"/>
                  <a:pt x="11625" y="20625"/>
                </a:cubicBezTo>
                <a:cubicBezTo>
                  <a:pt x="11719" y="20938"/>
                  <a:pt x="11813" y="21219"/>
                  <a:pt x="11938" y="21532"/>
                </a:cubicBezTo>
                <a:cubicBezTo>
                  <a:pt x="12031" y="21813"/>
                  <a:pt x="12188" y="22063"/>
                  <a:pt x="12313" y="22344"/>
                </a:cubicBezTo>
                <a:cubicBezTo>
                  <a:pt x="12563" y="22782"/>
                  <a:pt x="12844" y="23219"/>
                  <a:pt x="13125" y="23594"/>
                </a:cubicBezTo>
                <a:cubicBezTo>
                  <a:pt x="13219" y="23719"/>
                  <a:pt x="13281" y="23844"/>
                  <a:pt x="13406" y="23907"/>
                </a:cubicBezTo>
                <a:cubicBezTo>
                  <a:pt x="13406" y="23969"/>
                  <a:pt x="13469" y="24000"/>
                  <a:pt x="13531" y="24032"/>
                </a:cubicBezTo>
                <a:cubicBezTo>
                  <a:pt x="13656" y="24188"/>
                  <a:pt x="13781" y="24313"/>
                  <a:pt x="13906" y="24407"/>
                </a:cubicBezTo>
                <a:cubicBezTo>
                  <a:pt x="13938" y="24469"/>
                  <a:pt x="14000" y="24532"/>
                  <a:pt x="14063" y="24563"/>
                </a:cubicBezTo>
                <a:cubicBezTo>
                  <a:pt x="14344" y="24813"/>
                  <a:pt x="14625" y="25032"/>
                  <a:pt x="14938" y="25219"/>
                </a:cubicBezTo>
                <a:cubicBezTo>
                  <a:pt x="15156" y="25344"/>
                  <a:pt x="15375" y="25469"/>
                  <a:pt x="15594" y="25594"/>
                </a:cubicBezTo>
                <a:cubicBezTo>
                  <a:pt x="15719" y="25657"/>
                  <a:pt x="15844" y="25719"/>
                  <a:pt x="15938" y="25750"/>
                </a:cubicBezTo>
                <a:cubicBezTo>
                  <a:pt x="16031" y="25782"/>
                  <a:pt x="16125" y="25813"/>
                  <a:pt x="16219" y="25844"/>
                </a:cubicBezTo>
                <a:cubicBezTo>
                  <a:pt x="16219" y="25844"/>
                  <a:pt x="16250" y="25875"/>
                  <a:pt x="16250" y="25875"/>
                </a:cubicBezTo>
                <a:cubicBezTo>
                  <a:pt x="16375" y="25907"/>
                  <a:pt x="16469" y="25938"/>
                  <a:pt x="16563" y="26000"/>
                </a:cubicBezTo>
                <a:cubicBezTo>
                  <a:pt x="16813" y="26094"/>
                  <a:pt x="17063" y="26188"/>
                  <a:pt x="17313" y="26250"/>
                </a:cubicBezTo>
                <a:cubicBezTo>
                  <a:pt x="17469" y="26313"/>
                  <a:pt x="17625" y="26375"/>
                  <a:pt x="17781" y="26407"/>
                </a:cubicBezTo>
                <a:cubicBezTo>
                  <a:pt x="17844" y="26438"/>
                  <a:pt x="17938" y="26438"/>
                  <a:pt x="18000" y="26438"/>
                </a:cubicBezTo>
                <a:cubicBezTo>
                  <a:pt x="18125" y="26500"/>
                  <a:pt x="18250" y="26532"/>
                  <a:pt x="18375" y="26563"/>
                </a:cubicBezTo>
                <a:cubicBezTo>
                  <a:pt x="18563" y="26594"/>
                  <a:pt x="18750" y="26657"/>
                  <a:pt x="18969" y="26688"/>
                </a:cubicBezTo>
                <a:cubicBezTo>
                  <a:pt x="19094" y="26719"/>
                  <a:pt x="19250" y="26750"/>
                  <a:pt x="19406" y="26782"/>
                </a:cubicBezTo>
                <a:cubicBezTo>
                  <a:pt x="19625" y="26813"/>
                  <a:pt x="19844" y="26875"/>
                  <a:pt x="20063" y="26938"/>
                </a:cubicBezTo>
                <a:cubicBezTo>
                  <a:pt x="20188" y="26969"/>
                  <a:pt x="20313" y="27032"/>
                  <a:pt x="20438" y="27063"/>
                </a:cubicBezTo>
                <a:cubicBezTo>
                  <a:pt x="20469" y="27063"/>
                  <a:pt x="20469" y="27063"/>
                  <a:pt x="20469" y="27094"/>
                </a:cubicBezTo>
                <a:cubicBezTo>
                  <a:pt x="20469" y="27094"/>
                  <a:pt x="20469" y="27094"/>
                  <a:pt x="20469" y="27094"/>
                </a:cubicBezTo>
                <a:cubicBezTo>
                  <a:pt x="20469" y="27094"/>
                  <a:pt x="20469" y="27094"/>
                  <a:pt x="20500" y="27094"/>
                </a:cubicBezTo>
                <a:cubicBezTo>
                  <a:pt x="20500" y="27125"/>
                  <a:pt x="20531" y="27125"/>
                  <a:pt x="20563" y="27125"/>
                </a:cubicBezTo>
                <a:cubicBezTo>
                  <a:pt x="20594" y="27157"/>
                  <a:pt x="20625" y="27125"/>
                  <a:pt x="20656" y="27125"/>
                </a:cubicBezTo>
                <a:cubicBezTo>
                  <a:pt x="20750" y="27125"/>
                  <a:pt x="20844" y="27125"/>
                  <a:pt x="20906" y="27032"/>
                </a:cubicBezTo>
                <a:cubicBezTo>
                  <a:pt x="20813" y="27000"/>
                  <a:pt x="20781" y="26938"/>
                  <a:pt x="20719" y="26907"/>
                </a:cubicBezTo>
                <a:cubicBezTo>
                  <a:pt x="20688" y="26875"/>
                  <a:pt x="20688" y="26813"/>
                  <a:pt x="20688" y="26782"/>
                </a:cubicBezTo>
                <a:cubicBezTo>
                  <a:pt x="20719" y="26719"/>
                  <a:pt x="20719" y="26688"/>
                  <a:pt x="20750" y="26625"/>
                </a:cubicBezTo>
                <a:cubicBezTo>
                  <a:pt x="20781" y="26563"/>
                  <a:pt x="20750" y="26563"/>
                  <a:pt x="20656" y="26563"/>
                </a:cubicBezTo>
                <a:cubicBezTo>
                  <a:pt x="20656" y="26594"/>
                  <a:pt x="20625" y="26594"/>
                  <a:pt x="20625" y="26625"/>
                </a:cubicBezTo>
                <a:cubicBezTo>
                  <a:pt x="20625" y="26625"/>
                  <a:pt x="20625" y="26625"/>
                  <a:pt x="20625" y="26625"/>
                </a:cubicBezTo>
                <a:cubicBezTo>
                  <a:pt x="20594" y="26625"/>
                  <a:pt x="20594" y="26625"/>
                  <a:pt x="20594" y="26625"/>
                </a:cubicBezTo>
                <a:cubicBezTo>
                  <a:pt x="20594" y="26625"/>
                  <a:pt x="20563" y="26625"/>
                  <a:pt x="20563" y="26625"/>
                </a:cubicBezTo>
                <a:cubicBezTo>
                  <a:pt x="20563" y="26657"/>
                  <a:pt x="20531" y="26688"/>
                  <a:pt x="20531" y="26719"/>
                </a:cubicBezTo>
                <a:cubicBezTo>
                  <a:pt x="20531" y="26688"/>
                  <a:pt x="20563" y="26657"/>
                  <a:pt x="20563" y="26625"/>
                </a:cubicBezTo>
                <a:cubicBezTo>
                  <a:pt x="20531" y="26625"/>
                  <a:pt x="20500" y="26688"/>
                  <a:pt x="20438" y="26688"/>
                </a:cubicBezTo>
                <a:cubicBezTo>
                  <a:pt x="20406" y="26657"/>
                  <a:pt x="20375" y="26657"/>
                  <a:pt x="20375" y="26688"/>
                </a:cubicBezTo>
                <a:cubicBezTo>
                  <a:pt x="20313" y="26750"/>
                  <a:pt x="20281" y="26750"/>
                  <a:pt x="20188" y="26719"/>
                </a:cubicBezTo>
                <a:cubicBezTo>
                  <a:pt x="20156" y="26719"/>
                  <a:pt x="20125" y="26719"/>
                  <a:pt x="20125" y="26750"/>
                </a:cubicBezTo>
                <a:cubicBezTo>
                  <a:pt x="20125" y="26782"/>
                  <a:pt x="20156" y="26782"/>
                  <a:pt x="20156" y="26782"/>
                </a:cubicBezTo>
                <a:cubicBezTo>
                  <a:pt x="20156" y="26782"/>
                  <a:pt x="20125" y="26782"/>
                  <a:pt x="20125" y="26750"/>
                </a:cubicBezTo>
                <a:cubicBezTo>
                  <a:pt x="20094" y="26750"/>
                  <a:pt x="20063" y="26750"/>
                  <a:pt x="20031" y="26750"/>
                </a:cubicBezTo>
                <a:cubicBezTo>
                  <a:pt x="20000" y="26782"/>
                  <a:pt x="19969" y="26782"/>
                  <a:pt x="19938" y="26782"/>
                </a:cubicBezTo>
                <a:cubicBezTo>
                  <a:pt x="19969" y="26813"/>
                  <a:pt x="20000" y="26813"/>
                  <a:pt x="20031" y="26844"/>
                </a:cubicBezTo>
                <a:cubicBezTo>
                  <a:pt x="20063" y="26844"/>
                  <a:pt x="20063" y="26844"/>
                  <a:pt x="20094" y="26844"/>
                </a:cubicBezTo>
                <a:cubicBezTo>
                  <a:pt x="20063" y="26844"/>
                  <a:pt x="20063" y="26844"/>
                  <a:pt x="20031" y="26844"/>
                </a:cubicBezTo>
                <a:cubicBezTo>
                  <a:pt x="20000" y="26813"/>
                  <a:pt x="19969" y="26813"/>
                  <a:pt x="19938" y="26782"/>
                </a:cubicBezTo>
                <a:cubicBezTo>
                  <a:pt x="19938" y="26782"/>
                  <a:pt x="19938" y="26782"/>
                  <a:pt x="19906" y="26782"/>
                </a:cubicBezTo>
                <a:cubicBezTo>
                  <a:pt x="19906" y="26782"/>
                  <a:pt x="19906" y="26782"/>
                  <a:pt x="19875" y="26782"/>
                </a:cubicBezTo>
                <a:cubicBezTo>
                  <a:pt x="19875" y="26750"/>
                  <a:pt x="19844" y="26750"/>
                  <a:pt x="19813" y="26750"/>
                </a:cubicBezTo>
                <a:cubicBezTo>
                  <a:pt x="19750" y="26750"/>
                  <a:pt x="19688" y="26719"/>
                  <a:pt x="19625" y="26719"/>
                </a:cubicBezTo>
                <a:cubicBezTo>
                  <a:pt x="19594" y="26688"/>
                  <a:pt x="19563" y="26688"/>
                  <a:pt x="19531" y="26688"/>
                </a:cubicBezTo>
                <a:cubicBezTo>
                  <a:pt x="19406" y="26688"/>
                  <a:pt x="19281" y="26625"/>
                  <a:pt x="19156" y="26625"/>
                </a:cubicBezTo>
                <a:cubicBezTo>
                  <a:pt x="18906" y="26594"/>
                  <a:pt x="18688" y="26532"/>
                  <a:pt x="18469" y="26469"/>
                </a:cubicBezTo>
                <a:cubicBezTo>
                  <a:pt x="18250" y="26438"/>
                  <a:pt x="18000" y="26375"/>
                  <a:pt x="17781" y="26282"/>
                </a:cubicBezTo>
                <a:cubicBezTo>
                  <a:pt x="17406" y="26188"/>
                  <a:pt x="17063" y="26063"/>
                  <a:pt x="16688" y="25938"/>
                </a:cubicBezTo>
                <a:cubicBezTo>
                  <a:pt x="16688" y="25969"/>
                  <a:pt x="16656" y="25969"/>
                  <a:pt x="16625" y="26000"/>
                </a:cubicBezTo>
                <a:cubicBezTo>
                  <a:pt x="16656" y="25969"/>
                  <a:pt x="16688" y="25969"/>
                  <a:pt x="16688" y="25938"/>
                </a:cubicBezTo>
                <a:cubicBezTo>
                  <a:pt x="16719" y="25938"/>
                  <a:pt x="16719" y="25907"/>
                  <a:pt x="16688" y="25907"/>
                </a:cubicBezTo>
                <a:cubicBezTo>
                  <a:pt x="16594" y="25875"/>
                  <a:pt x="16531" y="25875"/>
                  <a:pt x="16438" y="25875"/>
                </a:cubicBezTo>
                <a:cubicBezTo>
                  <a:pt x="16406" y="25844"/>
                  <a:pt x="16375" y="25844"/>
                  <a:pt x="16375" y="25813"/>
                </a:cubicBezTo>
                <a:cubicBezTo>
                  <a:pt x="16344" y="25844"/>
                  <a:pt x="16313" y="25782"/>
                  <a:pt x="16281" y="25782"/>
                </a:cubicBezTo>
                <a:cubicBezTo>
                  <a:pt x="16281" y="25782"/>
                  <a:pt x="16281" y="25782"/>
                  <a:pt x="16281" y="25782"/>
                </a:cubicBezTo>
                <a:cubicBezTo>
                  <a:pt x="16281" y="25782"/>
                  <a:pt x="16281" y="25782"/>
                  <a:pt x="16281" y="25782"/>
                </a:cubicBezTo>
                <a:cubicBezTo>
                  <a:pt x="16219" y="25782"/>
                  <a:pt x="16188" y="25719"/>
                  <a:pt x="16125" y="25719"/>
                </a:cubicBezTo>
                <a:cubicBezTo>
                  <a:pt x="16125" y="25719"/>
                  <a:pt x="16094" y="25688"/>
                  <a:pt x="16094" y="25688"/>
                </a:cubicBezTo>
                <a:cubicBezTo>
                  <a:pt x="16063" y="25625"/>
                  <a:pt x="16031" y="25625"/>
                  <a:pt x="15969" y="25657"/>
                </a:cubicBezTo>
                <a:cubicBezTo>
                  <a:pt x="15938" y="25625"/>
                  <a:pt x="15906" y="25625"/>
                  <a:pt x="15875" y="25625"/>
                </a:cubicBezTo>
                <a:cubicBezTo>
                  <a:pt x="15656" y="25500"/>
                  <a:pt x="15438" y="25407"/>
                  <a:pt x="15250" y="25282"/>
                </a:cubicBezTo>
                <a:cubicBezTo>
                  <a:pt x="15063" y="25188"/>
                  <a:pt x="14906" y="25094"/>
                  <a:pt x="14781" y="24969"/>
                </a:cubicBezTo>
                <a:cubicBezTo>
                  <a:pt x="14656" y="24875"/>
                  <a:pt x="14500" y="24813"/>
                  <a:pt x="14375" y="24719"/>
                </a:cubicBezTo>
                <a:cubicBezTo>
                  <a:pt x="14375" y="24688"/>
                  <a:pt x="14344" y="24657"/>
                  <a:pt x="14313" y="24625"/>
                </a:cubicBezTo>
                <a:cubicBezTo>
                  <a:pt x="14188" y="24563"/>
                  <a:pt x="14094" y="24438"/>
                  <a:pt x="13969" y="24344"/>
                </a:cubicBezTo>
                <a:cubicBezTo>
                  <a:pt x="13938" y="24313"/>
                  <a:pt x="13906" y="24282"/>
                  <a:pt x="13906" y="24250"/>
                </a:cubicBezTo>
                <a:cubicBezTo>
                  <a:pt x="13906" y="24219"/>
                  <a:pt x="13906" y="24188"/>
                  <a:pt x="13938" y="24188"/>
                </a:cubicBezTo>
                <a:cubicBezTo>
                  <a:pt x="13938" y="24188"/>
                  <a:pt x="13969" y="24188"/>
                  <a:pt x="13969" y="24219"/>
                </a:cubicBezTo>
                <a:cubicBezTo>
                  <a:pt x="14156" y="24375"/>
                  <a:pt x="14344" y="24532"/>
                  <a:pt x="14563" y="24688"/>
                </a:cubicBezTo>
                <a:cubicBezTo>
                  <a:pt x="14594" y="24719"/>
                  <a:pt x="14594" y="24750"/>
                  <a:pt x="14625" y="24719"/>
                </a:cubicBezTo>
                <a:cubicBezTo>
                  <a:pt x="14625" y="24719"/>
                  <a:pt x="14625" y="24719"/>
                  <a:pt x="14594" y="24688"/>
                </a:cubicBezTo>
                <a:cubicBezTo>
                  <a:pt x="14406" y="24563"/>
                  <a:pt x="14250" y="24375"/>
                  <a:pt x="14063" y="24219"/>
                </a:cubicBezTo>
                <a:cubicBezTo>
                  <a:pt x="13969" y="24125"/>
                  <a:pt x="13875" y="24032"/>
                  <a:pt x="13750" y="23969"/>
                </a:cubicBezTo>
                <a:cubicBezTo>
                  <a:pt x="13750" y="23907"/>
                  <a:pt x="13719" y="23907"/>
                  <a:pt x="13688" y="23875"/>
                </a:cubicBezTo>
                <a:cubicBezTo>
                  <a:pt x="13688" y="23875"/>
                  <a:pt x="13688" y="23844"/>
                  <a:pt x="13656" y="23844"/>
                </a:cubicBezTo>
                <a:cubicBezTo>
                  <a:pt x="13563" y="23719"/>
                  <a:pt x="13469" y="23625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ubicBezTo>
                  <a:pt x="13344" y="23469"/>
                  <a:pt x="13344" y="23469"/>
                  <a:pt x="13313" y="23469"/>
                </a:cubicBezTo>
                <a:cubicBezTo>
                  <a:pt x="13219" y="23313"/>
                  <a:pt x="13094" y="23157"/>
                  <a:pt x="13000" y="23000"/>
                </a:cubicBezTo>
                <a:cubicBezTo>
                  <a:pt x="12719" y="22625"/>
                  <a:pt x="12500" y="22219"/>
                  <a:pt x="12313" y="21782"/>
                </a:cubicBezTo>
                <a:cubicBezTo>
                  <a:pt x="12250" y="21688"/>
                  <a:pt x="12219" y="21563"/>
                  <a:pt x="12125" y="21438"/>
                </a:cubicBezTo>
                <a:cubicBezTo>
                  <a:pt x="12094" y="21219"/>
                  <a:pt x="12000" y="21032"/>
                  <a:pt x="11906" y="20844"/>
                </a:cubicBezTo>
                <a:cubicBezTo>
                  <a:pt x="11906" y="20813"/>
                  <a:pt x="11906" y="20813"/>
                  <a:pt x="11906" y="20813"/>
                </a:cubicBezTo>
                <a:cubicBezTo>
                  <a:pt x="11906" y="20750"/>
                  <a:pt x="11875" y="20688"/>
                  <a:pt x="11844" y="20625"/>
                </a:cubicBezTo>
                <a:cubicBezTo>
                  <a:pt x="11875" y="20500"/>
                  <a:pt x="11813" y="20407"/>
                  <a:pt x="11781" y="20313"/>
                </a:cubicBezTo>
                <a:cubicBezTo>
                  <a:pt x="11750" y="20125"/>
                  <a:pt x="11688" y="19938"/>
                  <a:pt x="11688" y="19750"/>
                </a:cubicBezTo>
                <a:cubicBezTo>
                  <a:pt x="11688" y="19750"/>
                  <a:pt x="11719" y="19719"/>
                  <a:pt x="11719" y="19719"/>
                </a:cubicBezTo>
                <a:cubicBezTo>
                  <a:pt x="11719" y="19563"/>
                  <a:pt x="11750" y="19438"/>
                  <a:pt x="11813" y="19313"/>
                </a:cubicBezTo>
                <a:cubicBezTo>
                  <a:pt x="11813" y="19282"/>
                  <a:pt x="11844" y="19219"/>
                  <a:pt x="11844" y="19157"/>
                </a:cubicBezTo>
                <a:cubicBezTo>
                  <a:pt x="11844" y="19157"/>
                  <a:pt x="11844" y="19157"/>
                  <a:pt x="11844" y="19157"/>
                </a:cubicBezTo>
                <a:cubicBezTo>
                  <a:pt x="11844" y="19157"/>
                  <a:pt x="11844" y="19157"/>
                  <a:pt x="11844" y="19125"/>
                </a:cubicBezTo>
                <a:cubicBezTo>
                  <a:pt x="11906" y="19032"/>
                  <a:pt x="11969" y="18969"/>
                  <a:pt x="12063" y="18907"/>
                </a:cubicBezTo>
                <a:cubicBezTo>
                  <a:pt x="12188" y="18813"/>
                  <a:pt x="12281" y="18719"/>
                  <a:pt x="12344" y="18563"/>
                </a:cubicBezTo>
                <a:cubicBezTo>
                  <a:pt x="12406" y="18438"/>
                  <a:pt x="12531" y="18344"/>
                  <a:pt x="12656" y="18282"/>
                </a:cubicBezTo>
                <a:cubicBezTo>
                  <a:pt x="12719" y="18219"/>
                  <a:pt x="12781" y="18219"/>
                  <a:pt x="12875" y="18188"/>
                </a:cubicBezTo>
                <a:cubicBezTo>
                  <a:pt x="13000" y="18157"/>
                  <a:pt x="13094" y="18250"/>
                  <a:pt x="13188" y="18313"/>
                </a:cubicBezTo>
                <a:cubicBezTo>
                  <a:pt x="13281" y="18407"/>
                  <a:pt x="13375" y="18469"/>
                  <a:pt x="13500" y="18532"/>
                </a:cubicBezTo>
                <a:cubicBezTo>
                  <a:pt x="13500" y="18500"/>
                  <a:pt x="13469" y="18469"/>
                  <a:pt x="13469" y="18438"/>
                </a:cubicBezTo>
                <a:cubicBezTo>
                  <a:pt x="13438" y="18438"/>
                  <a:pt x="13438" y="18438"/>
                  <a:pt x="13406" y="18407"/>
                </a:cubicBezTo>
                <a:cubicBezTo>
                  <a:pt x="13438" y="18438"/>
                  <a:pt x="13438" y="18438"/>
                  <a:pt x="13469" y="18438"/>
                </a:cubicBezTo>
                <a:cubicBezTo>
                  <a:pt x="13594" y="18375"/>
                  <a:pt x="13531" y="18282"/>
                  <a:pt x="13531" y="18219"/>
                </a:cubicBezTo>
                <a:cubicBezTo>
                  <a:pt x="13563" y="18188"/>
                  <a:pt x="13563" y="18188"/>
                  <a:pt x="13594" y="18157"/>
                </a:cubicBezTo>
                <a:cubicBezTo>
                  <a:pt x="13594" y="18157"/>
                  <a:pt x="13594" y="18157"/>
                  <a:pt x="13594" y="18157"/>
                </a:cubicBezTo>
                <a:cubicBezTo>
                  <a:pt x="13594" y="18157"/>
                  <a:pt x="13594" y="18125"/>
                  <a:pt x="13594" y="18125"/>
                </a:cubicBezTo>
                <a:cubicBezTo>
                  <a:pt x="13594" y="18125"/>
                  <a:pt x="13594" y="18157"/>
                  <a:pt x="13594" y="18157"/>
                </a:cubicBezTo>
                <a:cubicBezTo>
                  <a:pt x="13594" y="18157"/>
                  <a:pt x="13594" y="18157"/>
                  <a:pt x="13594" y="18157"/>
                </a:cubicBezTo>
                <a:cubicBezTo>
                  <a:pt x="13719" y="18125"/>
                  <a:pt x="13750" y="18063"/>
                  <a:pt x="13750" y="17938"/>
                </a:cubicBezTo>
                <a:cubicBezTo>
                  <a:pt x="13750" y="17875"/>
                  <a:pt x="13719" y="17813"/>
                  <a:pt x="13719" y="17750"/>
                </a:cubicBezTo>
                <a:cubicBezTo>
                  <a:pt x="13688" y="17750"/>
                  <a:pt x="13688" y="17719"/>
                  <a:pt x="13688" y="17719"/>
                </a:cubicBezTo>
                <a:cubicBezTo>
                  <a:pt x="13656" y="17719"/>
                  <a:pt x="13625" y="17688"/>
                  <a:pt x="13625" y="17688"/>
                </a:cubicBezTo>
                <a:cubicBezTo>
                  <a:pt x="13625" y="17688"/>
                  <a:pt x="13656" y="17719"/>
                  <a:pt x="13688" y="17719"/>
                </a:cubicBezTo>
                <a:cubicBezTo>
                  <a:pt x="13688" y="17594"/>
                  <a:pt x="13688" y="17469"/>
                  <a:pt x="13688" y="17344"/>
                </a:cubicBezTo>
                <a:cubicBezTo>
                  <a:pt x="13688" y="17344"/>
                  <a:pt x="13688" y="17344"/>
                  <a:pt x="13688" y="17344"/>
                </a:cubicBezTo>
                <a:cubicBezTo>
                  <a:pt x="13688" y="17282"/>
                  <a:pt x="13688" y="17219"/>
                  <a:pt x="13719" y="17157"/>
                </a:cubicBezTo>
                <a:cubicBezTo>
                  <a:pt x="13750" y="17157"/>
                  <a:pt x="13750" y="17219"/>
                  <a:pt x="13781" y="17188"/>
                </a:cubicBezTo>
                <a:cubicBezTo>
                  <a:pt x="13813" y="17157"/>
                  <a:pt x="13781" y="17157"/>
                  <a:pt x="13781" y="17125"/>
                </a:cubicBezTo>
                <a:cubicBezTo>
                  <a:pt x="13781" y="17125"/>
                  <a:pt x="13781" y="17125"/>
                  <a:pt x="13750" y="17094"/>
                </a:cubicBezTo>
                <a:cubicBezTo>
                  <a:pt x="13750" y="17094"/>
                  <a:pt x="13750" y="17094"/>
                  <a:pt x="13750" y="17094"/>
                </a:cubicBezTo>
                <a:cubicBezTo>
                  <a:pt x="13750" y="17063"/>
                  <a:pt x="13750" y="17032"/>
                  <a:pt x="13750" y="17032"/>
                </a:cubicBezTo>
                <a:cubicBezTo>
                  <a:pt x="13813" y="17032"/>
                  <a:pt x="13844" y="17063"/>
                  <a:pt x="13906" y="17063"/>
                </a:cubicBezTo>
                <a:cubicBezTo>
                  <a:pt x="14000" y="17094"/>
                  <a:pt x="14000" y="17188"/>
                  <a:pt x="14063" y="17188"/>
                </a:cubicBezTo>
                <a:cubicBezTo>
                  <a:pt x="14063" y="17188"/>
                  <a:pt x="14063" y="17188"/>
                  <a:pt x="14063" y="17188"/>
                </a:cubicBezTo>
                <a:cubicBezTo>
                  <a:pt x="14094" y="17219"/>
                  <a:pt x="14094" y="17219"/>
                  <a:pt x="14094" y="17219"/>
                </a:cubicBezTo>
                <a:cubicBezTo>
                  <a:pt x="14125" y="17344"/>
                  <a:pt x="14250" y="17375"/>
                  <a:pt x="14281" y="17500"/>
                </a:cubicBezTo>
                <a:cubicBezTo>
                  <a:pt x="14250" y="17500"/>
                  <a:pt x="14219" y="17469"/>
                  <a:pt x="14188" y="17407"/>
                </a:cubicBezTo>
                <a:cubicBezTo>
                  <a:pt x="14156" y="17438"/>
                  <a:pt x="14156" y="17438"/>
                  <a:pt x="14156" y="17469"/>
                </a:cubicBezTo>
                <a:cubicBezTo>
                  <a:pt x="14125" y="17500"/>
                  <a:pt x="14094" y="17563"/>
                  <a:pt x="14031" y="17563"/>
                </a:cubicBezTo>
                <a:cubicBezTo>
                  <a:pt x="14031" y="17563"/>
                  <a:pt x="14031" y="17563"/>
                  <a:pt x="14031" y="17563"/>
                </a:cubicBezTo>
                <a:cubicBezTo>
                  <a:pt x="14000" y="17500"/>
                  <a:pt x="14063" y="17469"/>
                  <a:pt x="14094" y="17438"/>
                </a:cubicBezTo>
                <a:cubicBezTo>
                  <a:pt x="14156" y="17375"/>
                  <a:pt x="14156" y="17344"/>
                  <a:pt x="14094" y="17313"/>
                </a:cubicBezTo>
                <a:cubicBezTo>
                  <a:pt x="14063" y="17313"/>
                  <a:pt x="14031" y="17219"/>
                  <a:pt x="13969" y="17250"/>
                </a:cubicBezTo>
                <a:cubicBezTo>
                  <a:pt x="13938" y="17250"/>
                  <a:pt x="13938" y="17219"/>
                  <a:pt x="13938" y="17188"/>
                </a:cubicBezTo>
                <a:cubicBezTo>
                  <a:pt x="13969" y="17157"/>
                  <a:pt x="13938" y="17125"/>
                  <a:pt x="13906" y="17125"/>
                </a:cubicBezTo>
                <a:cubicBezTo>
                  <a:pt x="13875" y="17125"/>
                  <a:pt x="13875" y="17157"/>
                  <a:pt x="13844" y="17188"/>
                </a:cubicBezTo>
                <a:cubicBezTo>
                  <a:pt x="13844" y="17219"/>
                  <a:pt x="13844" y="17282"/>
                  <a:pt x="13844" y="17344"/>
                </a:cubicBezTo>
                <a:cubicBezTo>
                  <a:pt x="13844" y="17438"/>
                  <a:pt x="13906" y="17532"/>
                  <a:pt x="13875" y="17657"/>
                </a:cubicBezTo>
                <a:cubicBezTo>
                  <a:pt x="13875" y="17688"/>
                  <a:pt x="13875" y="17813"/>
                  <a:pt x="13906" y="17844"/>
                </a:cubicBezTo>
                <a:cubicBezTo>
                  <a:pt x="14000" y="17907"/>
                  <a:pt x="13938" y="18000"/>
                  <a:pt x="14000" y="18063"/>
                </a:cubicBezTo>
                <a:cubicBezTo>
                  <a:pt x="14000" y="18063"/>
                  <a:pt x="14000" y="18125"/>
                  <a:pt x="13969" y="18157"/>
                </a:cubicBezTo>
                <a:cubicBezTo>
                  <a:pt x="13969" y="18157"/>
                  <a:pt x="13938" y="18188"/>
                  <a:pt x="13969" y="18188"/>
                </a:cubicBezTo>
                <a:cubicBezTo>
                  <a:pt x="14000" y="18282"/>
                  <a:pt x="13906" y="18344"/>
                  <a:pt x="13906" y="18407"/>
                </a:cubicBezTo>
                <a:cubicBezTo>
                  <a:pt x="13844" y="18407"/>
                  <a:pt x="13875" y="18344"/>
                  <a:pt x="13813" y="18375"/>
                </a:cubicBezTo>
                <a:cubicBezTo>
                  <a:pt x="13750" y="18375"/>
                  <a:pt x="13719" y="18407"/>
                  <a:pt x="13719" y="18438"/>
                </a:cubicBezTo>
                <a:cubicBezTo>
                  <a:pt x="13688" y="18532"/>
                  <a:pt x="13625" y="18594"/>
                  <a:pt x="13625" y="18657"/>
                </a:cubicBezTo>
                <a:cubicBezTo>
                  <a:pt x="13594" y="18688"/>
                  <a:pt x="13563" y="18688"/>
                  <a:pt x="13594" y="18625"/>
                </a:cubicBezTo>
                <a:cubicBezTo>
                  <a:pt x="13594" y="18625"/>
                  <a:pt x="13594" y="18594"/>
                  <a:pt x="13594" y="18563"/>
                </a:cubicBezTo>
                <a:cubicBezTo>
                  <a:pt x="13594" y="18532"/>
                  <a:pt x="13563" y="18532"/>
                  <a:pt x="13563" y="18563"/>
                </a:cubicBezTo>
                <a:cubicBezTo>
                  <a:pt x="13563" y="18563"/>
                  <a:pt x="13563" y="18594"/>
                  <a:pt x="13563" y="18594"/>
                </a:cubicBezTo>
                <a:cubicBezTo>
                  <a:pt x="13531" y="18657"/>
                  <a:pt x="13563" y="18719"/>
                  <a:pt x="13594" y="18750"/>
                </a:cubicBezTo>
                <a:cubicBezTo>
                  <a:pt x="13719" y="18907"/>
                  <a:pt x="13875" y="19000"/>
                  <a:pt x="14063" y="19094"/>
                </a:cubicBezTo>
                <a:cubicBezTo>
                  <a:pt x="14063" y="19094"/>
                  <a:pt x="14063" y="19094"/>
                  <a:pt x="14063" y="19094"/>
                </a:cubicBezTo>
                <a:cubicBezTo>
                  <a:pt x="14063" y="19125"/>
                  <a:pt x="14094" y="19125"/>
                  <a:pt x="14125" y="19125"/>
                </a:cubicBezTo>
                <a:cubicBezTo>
                  <a:pt x="14156" y="19188"/>
                  <a:pt x="14188" y="19250"/>
                  <a:pt x="14250" y="19313"/>
                </a:cubicBezTo>
                <a:cubicBezTo>
                  <a:pt x="14250" y="19282"/>
                  <a:pt x="14281" y="19313"/>
                  <a:pt x="14281" y="19313"/>
                </a:cubicBezTo>
                <a:cubicBezTo>
                  <a:pt x="14281" y="19313"/>
                  <a:pt x="14250" y="19282"/>
                  <a:pt x="14250" y="19313"/>
                </a:cubicBezTo>
                <a:cubicBezTo>
                  <a:pt x="14250" y="19344"/>
                  <a:pt x="14281" y="19344"/>
                  <a:pt x="14313" y="19375"/>
                </a:cubicBezTo>
                <a:cubicBezTo>
                  <a:pt x="14313" y="19407"/>
                  <a:pt x="14344" y="19438"/>
                  <a:pt x="14344" y="19469"/>
                </a:cubicBezTo>
                <a:cubicBezTo>
                  <a:pt x="14344" y="19500"/>
                  <a:pt x="14344" y="19500"/>
                  <a:pt x="14375" y="19532"/>
                </a:cubicBezTo>
                <a:cubicBezTo>
                  <a:pt x="14406" y="19688"/>
                  <a:pt x="14531" y="19813"/>
                  <a:pt x="14625" y="19907"/>
                </a:cubicBezTo>
                <a:cubicBezTo>
                  <a:pt x="14656" y="19969"/>
                  <a:pt x="14688" y="20032"/>
                  <a:pt x="14719" y="20094"/>
                </a:cubicBezTo>
                <a:cubicBezTo>
                  <a:pt x="14750" y="20219"/>
                  <a:pt x="14750" y="20344"/>
                  <a:pt x="14781" y="20500"/>
                </a:cubicBezTo>
                <a:cubicBezTo>
                  <a:pt x="14813" y="20438"/>
                  <a:pt x="14813" y="20375"/>
                  <a:pt x="14813" y="20344"/>
                </a:cubicBezTo>
                <a:cubicBezTo>
                  <a:pt x="14844" y="20188"/>
                  <a:pt x="14938" y="20063"/>
                  <a:pt x="14969" y="19938"/>
                </a:cubicBezTo>
                <a:cubicBezTo>
                  <a:pt x="15000" y="19844"/>
                  <a:pt x="15031" y="19813"/>
                  <a:pt x="15125" y="19844"/>
                </a:cubicBezTo>
                <a:cubicBezTo>
                  <a:pt x="15219" y="19875"/>
                  <a:pt x="15281" y="19969"/>
                  <a:pt x="15344" y="20032"/>
                </a:cubicBezTo>
                <a:cubicBezTo>
                  <a:pt x="15469" y="20125"/>
                  <a:pt x="15625" y="20157"/>
                  <a:pt x="15750" y="20250"/>
                </a:cubicBezTo>
                <a:cubicBezTo>
                  <a:pt x="15781" y="20313"/>
                  <a:pt x="15875" y="20344"/>
                  <a:pt x="15906" y="20407"/>
                </a:cubicBezTo>
                <a:cubicBezTo>
                  <a:pt x="15938" y="20438"/>
                  <a:pt x="15969" y="20500"/>
                  <a:pt x="16000" y="20500"/>
                </a:cubicBezTo>
                <a:cubicBezTo>
                  <a:pt x="16188" y="20625"/>
                  <a:pt x="16281" y="20813"/>
                  <a:pt x="16375" y="21000"/>
                </a:cubicBezTo>
                <a:cubicBezTo>
                  <a:pt x="16406" y="21094"/>
                  <a:pt x="16406" y="21157"/>
                  <a:pt x="16469" y="21219"/>
                </a:cubicBezTo>
                <a:cubicBezTo>
                  <a:pt x="16500" y="21282"/>
                  <a:pt x="16500" y="21344"/>
                  <a:pt x="16500" y="21375"/>
                </a:cubicBezTo>
                <a:cubicBezTo>
                  <a:pt x="16531" y="21532"/>
                  <a:pt x="16563" y="21688"/>
                  <a:pt x="16625" y="21813"/>
                </a:cubicBezTo>
                <a:cubicBezTo>
                  <a:pt x="16656" y="21875"/>
                  <a:pt x="16719" y="21907"/>
                  <a:pt x="16781" y="21844"/>
                </a:cubicBezTo>
                <a:cubicBezTo>
                  <a:pt x="16719" y="21813"/>
                  <a:pt x="16688" y="21844"/>
                  <a:pt x="16688" y="21813"/>
                </a:cubicBezTo>
                <a:cubicBezTo>
                  <a:pt x="16625" y="21719"/>
                  <a:pt x="16563" y="21625"/>
                  <a:pt x="16563" y="21532"/>
                </a:cubicBezTo>
                <a:cubicBezTo>
                  <a:pt x="16563" y="21438"/>
                  <a:pt x="16563" y="21375"/>
                  <a:pt x="16563" y="21313"/>
                </a:cubicBezTo>
                <a:cubicBezTo>
                  <a:pt x="16656" y="21032"/>
                  <a:pt x="16594" y="20782"/>
                  <a:pt x="16625" y="20532"/>
                </a:cubicBezTo>
                <a:cubicBezTo>
                  <a:pt x="16594" y="20563"/>
                  <a:pt x="16594" y="20594"/>
                  <a:pt x="16594" y="20625"/>
                </a:cubicBezTo>
                <a:cubicBezTo>
                  <a:pt x="16594" y="20594"/>
                  <a:pt x="16594" y="20563"/>
                  <a:pt x="16625" y="20532"/>
                </a:cubicBezTo>
                <a:cubicBezTo>
                  <a:pt x="16625" y="20438"/>
                  <a:pt x="16625" y="20375"/>
                  <a:pt x="16625" y="20282"/>
                </a:cubicBezTo>
                <a:cubicBezTo>
                  <a:pt x="16625" y="20282"/>
                  <a:pt x="16625" y="20282"/>
                  <a:pt x="16625" y="20282"/>
                </a:cubicBezTo>
                <a:cubicBezTo>
                  <a:pt x="16625" y="20188"/>
                  <a:pt x="16656" y="20094"/>
                  <a:pt x="16625" y="20000"/>
                </a:cubicBezTo>
                <a:cubicBezTo>
                  <a:pt x="16656" y="19875"/>
                  <a:pt x="16594" y="19782"/>
                  <a:pt x="16594" y="19688"/>
                </a:cubicBezTo>
                <a:cubicBezTo>
                  <a:pt x="16625" y="19532"/>
                  <a:pt x="16594" y="19407"/>
                  <a:pt x="16656" y="19250"/>
                </a:cubicBezTo>
                <a:cubicBezTo>
                  <a:pt x="16688" y="19125"/>
                  <a:pt x="16656" y="19000"/>
                  <a:pt x="16656" y="18875"/>
                </a:cubicBezTo>
                <a:cubicBezTo>
                  <a:pt x="16656" y="18782"/>
                  <a:pt x="16625" y="18688"/>
                  <a:pt x="16563" y="18594"/>
                </a:cubicBezTo>
                <a:cubicBezTo>
                  <a:pt x="16531" y="18532"/>
                  <a:pt x="16469" y="18469"/>
                  <a:pt x="16469" y="18407"/>
                </a:cubicBezTo>
                <a:cubicBezTo>
                  <a:pt x="16438" y="18250"/>
                  <a:pt x="16344" y="18125"/>
                  <a:pt x="16281" y="18000"/>
                </a:cubicBezTo>
                <a:cubicBezTo>
                  <a:pt x="16313" y="17938"/>
                  <a:pt x="16281" y="17907"/>
                  <a:pt x="16250" y="17875"/>
                </a:cubicBezTo>
                <a:cubicBezTo>
                  <a:pt x="16156" y="17782"/>
                  <a:pt x="16125" y="17657"/>
                  <a:pt x="16156" y="17532"/>
                </a:cubicBezTo>
                <a:cubicBezTo>
                  <a:pt x="16188" y="17532"/>
                  <a:pt x="16188" y="17500"/>
                  <a:pt x="16188" y="17469"/>
                </a:cubicBezTo>
                <a:cubicBezTo>
                  <a:pt x="16188" y="17469"/>
                  <a:pt x="16188" y="17469"/>
                  <a:pt x="16188" y="17469"/>
                </a:cubicBezTo>
                <a:cubicBezTo>
                  <a:pt x="16250" y="17407"/>
                  <a:pt x="16313" y="17375"/>
                  <a:pt x="16313" y="17313"/>
                </a:cubicBezTo>
                <a:cubicBezTo>
                  <a:pt x="16344" y="17188"/>
                  <a:pt x="16438" y="17157"/>
                  <a:pt x="16531" y="17125"/>
                </a:cubicBezTo>
                <a:cubicBezTo>
                  <a:pt x="16688" y="17094"/>
                  <a:pt x="16844" y="17157"/>
                  <a:pt x="17000" y="17125"/>
                </a:cubicBezTo>
                <a:cubicBezTo>
                  <a:pt x="17031" y="17125"/>
                  <a:pt x="17063" y="17157"/>
                  <a:pt x="17094" y="17157"/>
                </a:cubicBezTo>
                <a:cubicBezTo>
                  <a:pt x="17094" y="17157"/>
                  <a:pt x="17094" y="17157"/>
                  <a:pt x="17094" y="17157"/>
                </a:cubicBezTo>
                <a:cubicBezTo>
                  <a:pt x="17094" y="17157"/>
                  <a:pt x="17094" y="17157"/>
                  <a:pt x="17094" y="17157"/>
                </a:cubicBezTo>
                <a:cubicBezTo>
                  <a:pt x="17125" y="17188"/>
                  <a:pt x="17125" y="17188"/>
                  <a:pt x="17156" y="17188"/>
                </a:cubicBezTo>
                <a:cubicBezTo>
                  <a:pt x="17219" y="17188"/>
                  <a:pt x="17313" y="17188"/>
                  <a:pt x="17375" y="17219"/>
                </a:cubicBezTo>
                <a:cubicBezTo>
                  <a:pt x="17594" y="17219"/>
                  <a:pt x="17844" y="17250"/>
                  <a:pt x="18063" y="17188"/>
                </a:cubicBezTo>
                <a:cubicBezTo>
                  <a:pt x="18094" y="17188"/>
                  <a:pt x="18125" y="17188"/>
                  <a:pt x="18156" y="17188"/>
                </a:cubicBezTo>
                <a:cubicBezTo>
                  <a:pt x="18219" y="17219"/>
                  <a:pt x="18281" y="17219"/>
                  <a:pt x="18375" y="17250"/>
                </a:cubicBezTo>
                <a:cubicBezTo>
                  <a:pt x="18375" y="17250"/>
                  <a:pt x="18375" y="17250"/>
                  <a:pt x="18406" y="17282"/>
                </a:cubicBezTo>
                <a:cubicBezTo>
                  <a:pt x="18406" y="17282"/>
                  <a:pt x="18406" y="17282"/>
                  <a:pt x="18406" y="17282"/>
                </a:cubicBezTo>
                <a:cubicBezTo>
                  <a:pt x="18438" y="17313"/>
                  <a:pt x="18500" y="17313"/>
                  <a:pt x="18563" y="17313"/>
                </a:cubicBezTo>
                <a:cubicBezTo>
                  <a:pt x="18594" y="17313"/>
                  <a:pt x="18594" y="17313"/>
                  <a:pt x="18594" y="17313"/>
                </a:cubicBezTo>
                <a:cubicBezTo>
                  <a:pt x="18594" y="17313"/>
                  <a:pt x="18625" y="17313"/>
                  <a:pt x="18625" y="17313"/>
                </a:cubicBezTo>
                <a:cubicBezTo>
                  <a:pt x="18688" y="17313"/>
                  <a:pt x="18719" y="17313"/>
                  <a:pt x="18781" y="17313"/>
                </a:cubicBezTo>
                <a:cubicBezTo>
                  <a:pt x="18781" y="17313"/>
                  <a:pt x="18781" y="17313"/>
                  <a:pt x="18781" y="17313"/>
                </a:cubicBezTo>
                <a:cubicBezTo>
                  <a:pt x="18813" y="17313"/>
                  <a:pt x="18875" y="17313"/>
                  <a:pt x="18906" y="17313"/>
                </a:cubicBezTo>
                <a:cubicBezTo>
                  <a:pt x="18969" y="17313"/>
                  <a:pt x="19063" y="17313"/>
                  <a:pt x="19125" y="17344"/>
                </a:cubicBezTo>
                <a:cubicBezTo>
                  <a:pt x="19250" y="17344"/>
                  <a:pt x="19375" y="17375"/>
                  <a:pt x="19500" y="17407"/>
                </a:cubicBezTo>
                <a:cubicBezTo>
                  <a:pt x="19500" y="17407"/>
                  <a:pt x="19531" y="17375"/>
                  <a:pt x="19531" y="17375"/>
                </a:cubicBezTo>
                <a:cubicBezTo>
                  <a:pt x="19531" y="17375"/>
                  <a:pt x="19500" y="17407"/>
                  <a:pt x="19500" y="17407"/>
                </a:cubicBezTo>
                <a:cubicBezTo>
                  <a:pt x="19500" y="17438"/>
                  <a:pt x="19531" y="17469"/>
                  <a:pt x="19531" y="17469"/>
                </a:cubicBezTo>
                <a:cubicBezTo>
                  <a:pt x="19625" y="17532"/>
                  <a:pt x="19688" y="17594"/>
                  <a:pt x="19781" y="17688"/>
                </a:cubicBezTo>
                <a:cubicBezTo>
                  <a:pt x="19813" y="17719"/>
                  <a:pt x="19844" y="17813"/>
                  <a:pt x="19938" y="17813"/>
                </a:cubicBezTo>
                <a:cubicBezTo>
                  <a:pt x="19875" y="17719"/>
                  <a:pt x="19875" y="17657"/>
                  <a:pt x="19844" y="17563"/>
                </a:cubicBezTo>
                <a:cubicBezTo>
                  <a:pt x="19844" y="17438"/>
                  <a:pt x="19781" y="17313"/>
                  <a:pt x="19781" y="17188"/>
                </a:cubicBezTo>
                <a:cubicBezTo>
                  <a:pt x="19781" y="17000"/>
                  <a:pt x="19750" y="16813"/>
                  <a:pt x="19750" y="16625"/>
                </a:cubicBezTo>
                <a:cubicBezTo>
                  <a:pt x="19750" y="16594"/>
                  <a:pt x="19750" y="16563"/>
                  <a:pt x="19719" y="16563"/>
                </a:cubicBezTo>
                <a:cubicBezTo>
                  <a:pt x="19719" y="16532"/>
                  <a:pt x="19719" y="16500"/>
                  <a:pt x="19750" y="16469"/>
                </a:cubicBezTo>
                <a:cubicBezTo>
                  <a:pt x="19813" y="16344"/>
                  <a:pt x="19938" y="16282"/>
                  <a:pt x="20063" y="16250"/>
                </a:cubicBezTo>
                <a:cubicBezTo>
                  <a:pt x="20125" y="16250"/>
                  <a:pt x="20188" y="16219"/>
                  <a:pt x="20219" y="16188"/>
                </a:cubicBezTo>
                <a:cubicBezTo>
                  <a:pt x="20281" y="16219"/>
                  <a:pt x="20281" y="16188"/>
                  <a:pt x="20313" y="16157"/>
                </a:cubicBezTo>
                <a:cubicBezTo>
                  <a:pt x="20406" y="16094"/>
                  <a:pt x="20500" y="16063"/>
                  <a:pt x="20625" y="16063"/>
                </a:cubicBezTo>
                <a:cubicBezTo>
                  <a:pt x="20656" y="16063"/>
                  <a:pt x="20719" y="16063"/>
                  <a:pt x="20719" y="16032"/>
                </a:cubicBezTo>
                <a:cubicBezTo>
                  <a:pt x="20781" y="16032"/>
                  <a:pt x="20813" y="16000"/>
                  <a:pt x="20844" y="16000"/>
                </a:cubicBezTo>
                <a:cubicBezTo>
                  <a:pt x="21063" y="15907"/>
                  <a:pt x="21281" y="15875"/>
                  <a:pt x="21500" y="15969"/>
                </a:cubicBezTo>
                <a:cubicBezTo>
                  <a:pt x="21531" y="15969"/>
                  <a:pt x="21531" y="15969"/>
                  <a:pt x="21594" y="15969"/>
                </a:cubicBezTo>
                <a:cubicBezTo>
                  <a:pt x="21469" y="15875"/>
                  <a:pt x="21406" y="15782"/>
                  <a:pt x="21344" y="15688"/>
                </a:cubicBezTo>
                <a:cubicBezTo>
                  <a:pt x="21281" y="15469"/>
                  <a:pt x="21281" y="15313"/>
                  <a:pt x="21531" y="15250"/>
                </a:cubicBezTo>
                <a:cubicBezTo>
                  <a:pt x="21656" y="15219"/>
                  <a:pt x="21750" y="15157"/>
                  <a:pt x="21813" y="15063"/>
                </a:cubicBezTo>
                <a:cubicBezTo>
                  <a:pt x="21875" y="14969"/>
                  <a:pt x="21969" y="14907"/>
                  <a:pt x="22063" y="14907"/>
                </a:cubicBezTo>
                <a:cubicBezTo>
                  <a:pt x="22094" y="14907"/>
                  <a:pt x="22094" y="14907"/>
                  <a:pt x="22094" y="14875"/>
                </a:cubicBezTo>
                <a:cubicBezTo>
                  <a:pt x="22125" y="14875"/>
                  <a:pt x="22125" y="14875"/>
                  <a:pt x="22125" y="14875"/>
                </a:cubicBezTo>
                <a:cubicBezTo>
                  <a:pt x="22125" y="14875"/>
                  <a:pt x="22125" y="14875"/>
                  <a:pt x="22125" y="14875"/>
                </a:cubicBezTo>
                <a:cubicBezTo>
                  <a:pt x="22125" y="14875"/>
                  <a:pt x="22125" y="14875"/>
                  <a:pt x="22156" y="14875"/>
                </a:cubicBezTo>
                <a:cubicBezTo>
                  <a:pt x="22188" y="14875"/>
                  <a:pt x="22219" y="14844"/>
                  <a:pt x="22281" y="14844"/>
                </a:cubicBezTo>
                <a:cubicBezTo>
                  <a:pt x="22313" y="14844"/>
                  <a:pt x="22344" y="14813"/>
                  <a:pt x="22375" y="14813"/>
                </a:cubicBezTo>
                <a:cubicBezTo>
                  <a:pt x="22406" y="14813"/>
                  <a:pt x="22438" y="14813"/>
                  <a:pt x="22469" y="14750"/>
                </a:cubicBezTo>
                <a:cubicBezTo>
                  <a:pt x="22594" y="14750"/>
                  <a:pt x="22719" y="14657"/>
                  <a:pt x="22875" y="14688"/>
                </a:cubicBezTo>
                <a:cubicBezTo>
                  <a:pt x="22875" y="14688"/>
                  <a:pt x="22906" y="14657"/>
                  <a:pt x="22938" y="14657"/>
                </a:cubicBezTo>
                <a:cubicBezTo>
                  <a:pt x="22969" y="14625"/>
                  <a:pt x="23000" y="14563"/>
                  <a:pt x="22938" y="14532"/>
                </a:cubicBezTo>
                <a:close/>
                <a:moveTo>
                  <a:pt x="1500" y="10250"/>
                </a:moveTo>
                <a:cubicBezTo>
                  <a:pt x="1531" y="10250"/>
                  <a:pt x="1531" y="10250"/>
                  <a:pt x="1563" y="10250"/>
                </a:cubicBezTo>
                <a:cubicBezTo>
                  <a:pt x="1563" y="10250"/>
                  <a:pt x="1594" y="10250"/>
                  <a:pt x="1625" y="10250"/>
                </a:cubicBezTo>
                <a:cubicBezTo>
                  <a:pt x="1594" y="10250"/>
                  <a:pt x="1563" y="10250"/>
                  <a:pt x="1563" y="10250"/>
                </a:cubicBezTo>
                <a:cubicBezTo>
                  <a:pt x="1531" y="10250"/>
                  <a:pt x="1531" y="10250"/>
                  <a:pt x="1500" y="10250"/>
                </a:cubicBezTo>
                <a:close/>
                <a:moveTo>
                  <a:pt x="20500" y="27094"/>
                </a:moveTo>
                <a:cubicBezTo>
                  <a:pt x="20500" y="27094"/>
                  <a:pt x="20500" y="27094"/>
                  <a:pt x="20500" y="27094"/>
                </a:cubicBezTo>
                <a:cubicBezTo>
                  <a:pt x="20500" y="27094"/>
                  <a:pt x="20500" y="27094"/>
                  <a:pt x="20500" y="27094"/>
                </a:cubicBezTo>
                <a:close/>
                <a:moveTo>
                  <a:pt x="20438" y="26813"/>
                </a:moveTo>
                <a:cubicBezTo>
                  <a:pt x="20438" y="26782"/>
                  <a:pt x="20438" y="26782"/>
                  <a:pt x="20438" y="26750"/>
                </a:cubicBezTo>
                <a:cubicBezTo>
                  <a:pt x="20469" y="26750"/>
                  <a:pt x="20469" y="26750"/>
                  <a:pt x="20500" y="26719"/>
                </a:cubicBezTo>
                <a:cubicBezTo>
                  <a:pt x="20469" y="26750"/>
                  <a:pt x="20469" y="26750"/>
                  <a:pt x="20438" y="26750"/>
                </a:cubicBezTo>
                <a:cubicBezTo>
                  <a:pt x="20438" y="26782"/>
                  <a:pt x="20438" y="26782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ubicBezTo>
                  <a:pt x="20438" y="26813"/>
                  <a:pt x="20438" y="26813"/>
                  <a:pt x="20438" y="26813"/>
                </a:cubicBezTo>
                <a:close/>
                <a:moveTo>
                  <a:pt x="19594" y="17375"/>
                </a:moveTo>
                <a:cubicBezTo>
                  <a:pt x="19594" y="17344"/>
                  <a:pt x="19594" y="17344"/>
                  <a:pt x="19594" y="17344"/>
                </a:cubicBezTo>
                <a:cubicBezTo>
                  <a:pt x="19594" y="17344"/>
                  <a:pt x="19594" y="17375"/>
                  <a:pt x="19594" y="17375"/>
                </a:cubicBezTo>
                <a:close/>
                <a:moveTo>
                  <a:pt x="16813" y="15688"/>
                </a:moveTo>
                <a:cubicBezTo>
                  <a:pt x="16750" y="15688"/>
                  <a:pt x="16750" y="15688"/>
                  <a:pt x="16781" y="15750"/>
                </a:cubicBezTo>
                <a:cubicBezTo>
                  <a:pt x="16813" y="15782"/>
                  <a:pt x="16781" y="15813"/>
                  <a:pt x="16750" y="15813"/>
                </a:cubicBezTo>
                <a:cubicBezTo>
                  <a:pt x="16719" y="15844"/>
                  <a:pt x="16688" y="15813"/>
                  <a:pt x="16688" y="15782"/>
                </a:cubicBezTo>
                <a:cubicBezTo>
                  <a:pt x="16656" y="15719"/>
                  <a:pt x="16688" y="15657"/>
                  <a:pt x="16688" y="15594"/>
                </a:cubicBezTo>
                <a:cubicBezTo>
                  <a:pt x="16719" y="15532"/>
                  <a:pt x="16750" y="15500"/>
                  <a:pt x="16750" y="15438"/>
                </a:cubicBezTo>
                <a:cubicBezTo>
                  <a:pt x="16750" y="15438"/>
                  <a:pt x="16750" y="15438"/>
                  <a:pt x="16750" y="15407"/>
                </a:cubicBezTo>
                <a:cubicBezTo>
                  <a:pt x="16750" y="15407"/>
                  <a:pt x="16750" y="15407"/>
                  <a:pt x="16781" y="15407"/>
                </a:cubicBezTo>
                <a:cubicBezTo>
                  <a:pt x="16844" y="15438"/>
                  <a:pt x="16906" y="15500"/>
                  <a:pt x="16969" y="15532"/>
                </a:cubicBezTo>
                <a:cubicBezTo>
                  <a:pt x="17031" y="15563"/>
                  <a:pt x="17125" y="15625"/>
                  <a:pt x="17188" y="15688"/>
                </a:cubicBezTo>
                <a:cubicBezTo>
                  <a:pt x="17250" y="15688"/>
                  <a:pt x="17281" y="15750"/>
                  <a:pt x="17313" y="15813"/>
                </a:cubicBezTo>
                <a:cubicBezTo>
                  <a:pt x="17250" y="15782"/>
                  <a:pt x="17188" y="15844"/>
                  <a:pt x="17188" y="15750"/>
                </a:cubicBezTo>
                <a:cubicBezTo>
                  <a:pt x="17188" y="15719"/>
                  <a:pt x="17125" y="15750"/>
                  <a:pt x="17094" y="15719"/>
                </a:cubicBezTo>
                <a:cubicBezTo>
                  <a:pt x="17063" y="15719"/>
                  <a:pt x="16969" y="15750"/>
                  <a:pt x="17031" y="15657"/>
                </a:cubicBezTo>
                <a:cubicBezTo>
                  <a:pt x="16969" y="15688"/>
                  <a:pt x="16875" y="15657"/>
                  <a:pt x="16813" y="15688"/>
                </a:cubicBezTo>
                <a:close/>
                <a:moveTo>
                  <a:pt x="16469" y="19000"/>
                </a:moveTo>
                <a:cubicBezTo>
                  <a:pt x="16500" y="19000"/>
                  <a:pt x="16500" y="19000"/>
                  <a:pt x="16531" y="19032"/>
                </a:cubicBezTo>
                <a:cubicBezTo>
                  <a:pt x="16500" y="19000"/>
                  <a:pt x="16500" y="19000"/>
                  <a:pt x="16469" y="19000"/>
                </a:cubicBezTo>
                <a:cubicBezTo>
                  <a:pt x="16469" y="19032"/>
                  <a:pt x="16469" y="19063"/>
                  <a:pt x="16406" y="19063"/>
                </a:cubicBezTo>
                <a:cubicBezTo>
                  <a:pt x="16375" y="19063"/>
                  <a:pt x="16250" y="19125"/>
                  <a:pt x="16250" y="19157"/>
                </a:cubicBezTo>
                <a:cubicBezTo>
                  <a:pt x="16250" y="19157"/>
                  <a:pt x="16250" y="19157"/>
                  <a:pt x="16250" y="19157"/>
                </a:cubicBezTo>
                <a:cubicBezTo>
                  <a:pt x="16188" y="19188"/>
                  <a:pt x="16156" y="19157"/>
                  <a:pt x="16125" y="19125"/>
                </a:cubicBezTo>
                <a:cubicBezTo>
                  <a:pt x="16063" y="19000"/>
                  <a:pt x="16000" y="19063"/>
                  <a:pt x="15906" y="19094"/>
                </a:cubicBezTo>
                <a:cubicBezTo>
                  <a:pt x="15844" y="19125"/>
                  <a:pt x="15781" y="19125"/>
                  <a:pt x="15750" y="19188"/>
                </a:cubicBezTo>
                <a:cubicBezTo>
                  <a:pt x="15719" y="19219"/>
                  <a:pt x="15719" y="19219"/>
                  <a:pt x="15750" y="19250"/>
                </a:cubicBezTo>
                <a:cubicBezTo>
                  <a:pt x="15813" y="19282"/>
                  <a:pt x="15719" y="19344"/>
                  <a:pt x="15750" y="19407"/>
                </a:cubicBezTo>
                <a:cubicBezTo>
                  <a:pt x="15719" y="19407"/>
                  <a:pt x="15688" y="19438"/>
                  <a:pt x="15656" y="19407"/>
                </a:cubicBezTo>
                <a:cubicBezTo>
                  <a:pt x="15656" y="19375"/>
                  <a:pt x="15656" y="19344"/>
                  <a:pt x="15625" y="19375"/>
                </a:cubicBezTo>
                <a:cubicBezTo>
                  <a:pt x="15625" y="19438"/>
                  <a:pt x="15594" y="19532"/>
                  <a:pt x="15500" y="19594"/>
                </a:cubicBezTo>
                <a:cubicBezTo>
                  <a:pt x="15500" y="19594"/>
                  <a:pt x="15469" y="19594"/>
                  <a:pt x="15469" y="19625"/>
                </a:cubicBezTo>
                <a:cubicBezTo>
                  <a:pt x="15469" y="19625"/>
                  <a:pt x="15469" y="19625"/>
                  <a:pt x="15438" y="19625"/>
                </a:cubicBezTo>
                <a:cubicBezTo>
                  <a:pt x="15469" y="19500"/>
                  <a:pt x="15500" y="19407"/>
                  <a:pt x="15563" y="19313"/>
                </a:cubicBezTo>
                <a:cubicBezTo>
                  <a:pt x="15594" y="19282"/>
                  <a:pt x="15594" y="19250"/>
                  <a:pt x="15563" y="19250"/>
                </a:cubicBezTo>
                <a:cubicBezTo>
                  <a:pt x="15563" y="19250"/>
                  <a:pt x="15563" y="19250"/>
                  <a:pt x="15563" y="19219"/>
                </a:cubicBezTo>
                <a:cubicBezTo>
                  <a:pt x="15563" y="19250"/>
                  <a:pt x="15563" y="19250"/>
                  <a:pt x="15563" y="19250"/>
                </a:cubicBezTo>
                <a:cubicBezTo>
                  <a:pt x="15594" y="19250"/>
                  <a:pt x="15594" y="19282"/>
                  <a:pt x="15563" y="19313"/>
                </a:cubicBezTo>
                <a:cubicBezTo>
                  <a:pt x="15625" y="19282"/>
                  <a:pt x="15688" y="19250"/>
                  <a:pt x="15656" y="19219"/>
                </a:cubicBezTo>
                <a:cubicBezTo>
                  <a:pt x="15656" y="19157"/>
                  <a:pt x="15625" y="19125"/>
                  <a:pt x="15531" y="19125"/>
                </a:cubicBezTo>
                <a:cubicBezTo>
                  <a:pt x="15500" y="19125"/>
                  <a:pt x="15469" y="19125"/>
                  <a:pt x="15500" y="19063"/>
                </a:cubicBezTo>
                <a:cubicBezTo>
                  <a:pt x="15500" y="19032"/>
                  <a:pt x="15531" y="19063"/>
                  <a:pt x="15563" y="19063"/>
                </a:cubicBezTo>
                <a:cubicBezTo>
                  <a:pt x="15563" y="19000"/>
                  <a:pt x="15500" y="19000"/>
                  <a:pt x="15531" y="18938"/>
                </a:cubicBezTo>
                <a:cubicBezTo>
                  <a:pt x="15594" y="18907"/>
                  <a:pt x="15656" y="18907"/>
                  <a:pt x="15750" y="18907"/>
                </a:cubicBezTo>
                <a:cubicBezTo>
                  <a:pt x="15781" y="18938"/>
                  <a:pt x="15813" y="18938"/>
                  <a:pt x="15875" y="18907"/>
                </a:cubicBezTo>
                <a:cubicBezTo>
                  <a:pt x="15906" y="18907"/>
                  <a:pt x="15938" y="18907"/>
                  <a:pt x="15969" y="18875"/>
                </a:cubicBezTo>
                <a:cubicBezTo>
                  <a:pt x="15969" y="18875"/>
                  <a:pt x="15969" y="18875"/>
                  <a:pt x="16000" y="18875"/>
                </a:cubicBezTo>
                <a:cubicBezTo>
                  <a:pt x="15969" y="18875"/>
                  <a:pt x="15969" y="18875"/>
                  <a:pt x="15969" y="18875"/>
                </a:cubicBezTo>
                <a:cubicBezTo>
                  <a:pt x="16000" y="18907"/>
                  <a:pt x="16000" y="18907"/>
                  <a:pt x="16031" y="18875"/>
                </a:cubicBezTo>
                <a:cubicBezTo>
                  <a:pt x="16156" y="18907"/>
                  <a:pt x="16250" y="18907"/>
                  <a:pt x="16375" y="18938"/>
                </a:cubicBezTo>
                <a:cubicBezTo>
                  <a:pt x="16438" y="18938"/>
                  <a:pt x="16438" y="18969"/>
                  <a:pt x="16469" y="19000"/>
                </a:cubicBezTo>
                <a:close/>
                <a:moveTo>
                  <a:pt x="16469" y="20438"/>
                </a:moveTo>
                <a:cubicBezTo>
                  <a:pt x="16500" y="20438"/>
                  <a:pt x="16531" y="20438"/>
                  <a:pt x="16563" y="20407"/>
                </a:cubicBezTo>
                <a:cubicBezTo>
                  <a:pt x="16563" y="20407"/>
                  <a:pt x="16563" y="20407"/>
                  <a:pt x="16563" y="20407"/>
                </a:cubicBezTo>
                <a:cubicBezTo>
                  <a:pt x="16531" y="20438"/>
                  <a:pt x="16500" y="20438"/>
                  <a:pt x="16469" y="20438"/>
                </a:cubicBezTo>
                <a:close/>
                <a:moveTo>
                  <a:pt x="16219" y="19469"/>
                </a:moveTo>
                <a:cubicBezTo>
                  <a:pt x="16219" y="19469"/>
                  <a:pt x="16219" y="19469"/>
                  <a:pt x="16250" y="19500"/>
                </a:cubicBezTo>
                <a:cubicBezTo>
                  <a:pt x="16281" y="19500"/>
                  <a:pt x="16313" y="19532"/>
                  <a:pt x="16375" y="19532"/>
                </a:cubicBezTo>
                <a:cubicBezTo>
                  <a:pt x="16313" y="19532"/>
                  <a:pt x="16281" y="19500"/>
                  <a:pt x="16250" y="19500"/>
                </a:cubicBezTo>
                <a:cubicBezTo>
                  <a:pt x="16219" y="19469"/>
                  <a:pt x="16219" y="19469"/>
                  <a:pt x="16219" y="19469"/>
                </a:cubicBezTo>
                <a:close/>
                <a:moveTo>
                  <a:pt x="16469" y="19438"/>
                </a:moveTo>
                <a:cubicBezTo>
                  <a:pt x="16469" y="19438"/>
                  <a:pt x="16500" y="19438"/>
                  <a:pt x="16500" y="19438"/>
                </a:cubicBezTo>
                <a:cubicBezTo>
                  <a:pt x="16500" y="19438"/>
                  <a:pt x="16500" y="19438"/>
                  <a:pt x="16500" y="19438"/>
                </a:cubicBezTo>
                <a:cubicBezTo>
                  <a:pt x="16500" y="19438"/>
                  <a:pt x="16469" y="19438"/>
                  <a:pt x="16469" y="19438"/>
                </a:cubicBezTo>
                <a:close/>
                <a:moveTo>
                  <a:pt x="16000" y="19907"/>
                </a:moveTo>
                <a:cubicBezTo>
                  <a:pt x="15969" y="19907"/>
                  <a:pt x="15969" y="19907"/>
                  <a:pt x="15969" y="19907"/>
                </a:cubicBezTo>
                <a:cubicBezTo>
                  <a:pt x="15969" y="19907"/>
                  <a:pt x="15969" y="19907"/>
                  <a:pt x="16000" y="19907"/>
                </a:cubicBezTo>
                <a:close/>
                <a:moveTo>
                  <a:pt x="16438" y="20157"/>
                </a:moveTo>
                <a:cubicBezTo>
                  <a:pt x="16438" y="20157"/>
                  <a:pt x="16438" y="20125"/>
                  <a:pt x="16438" y="20125"/>
                </a:cubicBezTo>
                <a:cubicBezTo>
                  <a:pt x="16438" y="20125"/>
                  <a:pt x="16438" y="20157"/>
                  <a:pt x="16438" y="20157"/>
                </a:cubicBezTo>
                <a:close/>
                <a:moveTo>
                  <a:pt x="16406" y="20125"/>
                </a:move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ubicBezTo>
                  <a:pt x="16406" y="20125"/>
                  <a:pt x="16406" y="20125"/>
                  <a:pt x="16406" y="20125"/>
                </a:cubicBezTo>
                <a:close/>
                <a:moveTo>
                  <a:pt x="16438" y="20157"/>
                </a:moveTo>
                <a:cubicBezTo>
                  <a:pt x="16438" y="20157"/>
                  <a:pt x="16438" y="20157"/>
                  <a:pt x="16438" y="20157"/>
                </a:cubicBezTo>
                <a:cubicBezTo>
                  <a:pt x="16438" y="20157"/>
                  <a:pt x="16438" y="20157"/>
                  <a:pt x="16438" y="20157"/>
                </a:cubicBezTo>
                <a:close/>
                <a:moveTo>
                  <a:pt x="16469" y="20375"/>
                </a:moveTo>
                <a:cubicBezTo>
                  <a:pt x="16500" y="20375"/>
                  <a:pt x="16500" y="20407"/>
                  <a:pt x="16531" y="20407"/>
                </a:cubicBezTo>
                <a:cubicBezTo>
                  <a:pt x="16500" y="20407"/>
                  <a:pt x="16500" y="20375"/>
                  <a:pt x="16469" y="20375"/>
                </a:cubicBezTo>
                <a:close/>
                <a:moveTo>
                  <a:pt x="15313" y="19125"/>
                </a:moveTo>
                <a:cubicBezTo>
                  <a:pt x="15250" y="19094"/>
                  <a:pt x="15219" y="19094"/>
                  <a:pt x="15219" y="19032"/>
                </a:cubicBezTo>
                <a:cubicBezTo>
                  <a:pt x="15250" y="18969"/>
                  <a:pt x="15281" y="18938"/>
                  <a:pt x="15313" y="18875"/>
                </a:cubicBezTo>
                <a:cubicBezTo>
                  <a:pt x="15313" y="18875"/>
                  <a:pt x="15313" y="18875"/>
                  <a:pt x="15313" y="18875"/>
                </a:cubicBezTo>
                <a:cubicBezTo>
                  <a:pt x="15375" y="18813"/>
                  <a:pt x="15406" y="18875"/>
                  <a:pt x="15469" y="18907"/>
                </a:cubicBezTo>
                <a:cubicBezTo>
                  <a:pt x="15469" y="18907"/>
                  <a:pt x="15469" y="18938"/>
                  <a:pt x="15469" y="18938"/>
                </a:cubicBezTo>
                <a:cubicBezTo>
                  <a:pt x="15469" y="18938"/>
                  <a:pt x="15500" y="18969"/>
                  <a:pt x="15469" y="18969"/>
                </a:cubicBezTo>
                <a:cubicBezTo>
                  <a:pt x="15438" y="18969"/>
                  <a:pt x="15406" y="18938"/>
                  <a:pt x="15375" y="18969"/>
                </a:cubicBezTo>
                <a:cubicBezTo>
                  <a:pt x="15344" y="19032"/>
                  <a:pt x="15281" y="19032"/>
                  <a:pt x="15313" y="19125"/>
                </a:cubicBezTo>
                <a:close/>
                <a:moveTo>
                  <a:pt x="15219" y="18875"/>
                </a:moveTo>
                <a:cubicBezTo>
                  <a:pt x="15250" y="18875"/>
                  <a:pt x="15281" y="18875"/>
                  <a:pt x="15281" y="18875"/>
                </a:cubicBezTo>
                <a:cubicBezTo>
                  <a:pt x="15281" y="18875"/>
                  <a:pt x="15250" y="18875"/>
                  <a:pt x="15219" y="18875"/>
                </a:cubicBezTo>
                <a:close/>
                <a:moveTo>
                  <a:pt x="16188" y="18438"/>
                </a:moveTo>
                <a:cubicBezTo>
                  <a:pt x="16188" y="18438"/>
                  <a:pt x="16188" y="18438"/>
                  <a:pt x="16188" y="18438"/>
                </a:cubicBezTo>
                <a:cubicBezTo>
                  <a:pt x="16188" y="18438"/>
                  <a:pt x="16188" y="18438"/>
                  <a:pt x="16188" y="18438"/>
                </a:cubicBezTo>
                <a:close/>
                <a:moveTo>
                  <a:pt x="14469" y="17657"/>
                </a:moveTo>
                <a:cubicBezTo>
                  <a:pt x="14469" y="17657"/>
                  <a:pt x="14469" y="17657"/>
                  <a:pt x="14469" y="17657"/>
                </a:cubicBezTo>
                <a:cubicBezTo>
                  <a:pt x="14469" y="17657"/>
                  <a:pt x="14469" y="17657"/>
                  <a:pt x="14469" y="17657"/>
                </a:cubicBezTo>
                <a:close/>
                <a:moveTo>
                  <a:pt x="14563" y="19188"/>
                </a:moveTo>
                <a:cubicBezTo>
                  <a:pt x="14563" y="19188"/>
                  <a:pt x="14594" y="19219"/>
                  <a:pt x="14594" y="19219"/>
                </a:cubicBezTo>
                <a:cubicBezTo>
                  <a:pt x="14594" y="19219"/>
                  <a:pt x="14563" y="19188"/>
                  <a:pt x="14563" y="19188"/>
                </a:cubicBezTo>
                <a:close/>
                <a:moveTo>
                  <a:pt x="14594" y="19219"/>
                </a:moveTo>
                <a:cubicBezTo>
                  <a:pt x="14594" y="19250"/>
                  <a:pt x="14594" y="19250"/>
                  <a:pt x="14594" y="19282"/>
                </a:cubicBezTo>
                <a:cubicBezTo>
                  <a:pt x="14594" y="19282"/>
                  <a:pt x="14594" y="19313"/>
                  <a:pt x="14563" y="19313"/>
                </a:cubicBezTo>
                <a:cubicBezTo>
                  <a:pt x="14594" y="19313"/>
                  <a:pt x="14594" y="19282"/>
                  <a:pt x="14594" y="19282"/>
                </a:cubicBezTo>
                <a:cubicBezTo>
                  <a:pt x="14594" y="19250"/>
                  <a:pt x="14594" y="19250"/>
                  <a:pt x="14594" y="19219"/>
                </a:cubicBezTo>
                <a:close/>
                <a:moveTo>
                  <a:pt x="14531" y="19157"/>
                </a:moveTo>
                <a:cubicBezTo>
                  <a:pt x="14531" y="19157"/>
                  <a:pt x="14531" y="19157"/>
                  <a:pt x="14531" y="19157"/>
                </a:cubicBezTo>
                <a:cubicBezTo>
                  <a:pt x="14563" y="19188"/>
                  <a:pt x="14594" y="19125"/>
                  <a:pt x="14625" y="19125"/>
                </a:cubicBezTo>
                <a:cubicBezTo>
                  <a:pt x="14656" y="19094"/>
                  <a:pt x="14656" y="19094"/>
                  <a:pt x="14656" y="19063"/>
                </a:cubicBezTo>
                <a:cubicBezTo>
                  <a:pt x="14656" y="19094"/>
                  <a:pt x="14656" y="19094"/>
                  <a:pt x="14625" y="19125"/>
                </a:cubicBezTo>
                <a:cubicBezTo>
                  <a:pt x="14594" y="19125"/>
                  <a:pt x="14563" y="19188"/>
                  <a:pt x="14531" y="19157"/>
                </a:cubicBezTo>
                <a:close/>
                <a:moveTo>
                  <a:pt x="14094" y="18407"/>
                </a:moveTo>
                <a:cubicBezTo>
                  <a:pt x="14094" y="18407"/>
                  <a:pt x="14094" y="18438"/>
                  <a:pt x="14094" y="18438"/>
                </a:cubicBezTo>
                <a:cubicBezTo>
                  <a:pt x="14094" y="18438"/>
                  <a:pt x="14094" y="18407"/>
                  <a:pt x="14094" y="18407"/>
                </a:cubicBezTo>
                <a:close/>
                <a:moveTo>
                  <a:pt x="14094" y="18563"/>
                </a:moveTo>
                <a:cubicBezTo>
                  <a:pt x="14063" y="18563"/>
                  <a:pt x="14063" y="18594"/>
                  <a:pt x="14063" y="18625"/>
                </a:cubicBezTo>
                <a:cubicBezTo>
                  <a:pt x="14063" y="18594"/>
                  <a:pt x="14063" y="18563"/>
                  <a:pt x="14094" y="18563"/>
                </a:cubicBezTo>
                <a:close/>
                <a:moveTo>
                  <a:pt x="14125" y="17125"/>
                </a:moveTo>
                <a:cubicBezTo>
                  <a:pt x="14125" y="17094"/>
                  <a:pt x="14125" y="17094"/>
                  <a:pt x="14125" y="17094"/>
                </a:cubicBezTo>
                <a:cubicBezTo>
                  <a:pt x="14125" y="17094"/>
                  <a:pt x="14125" y="17094"/>
                  <a:pt x="14125" y="17125"/>
                </a:cubicBezTo>
                <a:close/>
                <a:moveTo>
                  <a:pt x="13563" y="16907"/>
                </a:moveTo>
                <a:cubicBezTo>
                  <a:pt x="13500" y="16875"/>
                  <a:pt x="13469" y="16938"/>
                  <a:pt x="13438" y="16907"/>
                </a:cubicBezTo>
                <a:cubicBezTo>
                  <a:pt x="13469" y="16875"/>
                  <a:pt x="13563" y="16813"/>
                  <a:pt x="13500" y="16750"/>
                </a:cubicBezTo>
                <a:cubicBezTo>
                  <a:pt x="13469" y="16719"/>
                  <a:pt x="13438" y="16625"/>
                  <a:pt x="13344" y="16688"/>
                </a:cubicBezTo>
                <a:cubicBezTo>
                  <a:pt x="13344" y="16657"/>
                  <a:pt x="13375" y="16625"/>
                  <a:pt x="13344" y="16594"/>
                </a:cubicBezTo>
                <a:cubicBezTo>
                  <a:pt x="13281" y="16563"/>
                  <a:pt x="13250" y="16500"/>
                  <a:pt x="13219" y="16500"/>
                </a:cubicBezTo>
                <a:cubicBezTo>
                  <a:pt x="13156" y="16500"/>
                  <a:pt x="13188" y="16563"/>
                  <a:pt x="13188" y="16594"/>
                </a:cubicBezTo>
                <a:cubicBezTo>
                  <a:pt x="13188" y="16594"/>
                  <a:pt x="13188" y="16594"/>
                  <a:pt x="13188" y="16594"/>
                </a:cubicBezTo>
                <a:cubicBezTo>
                  <a:pt x="13188" y="16594"/>
                  <a:pt x="13156" y="16594"/>
                  <a:pt x="13156" y="16594"/>
                </a:cubicBezTo>
                <a:cubicBezTo>
                  <a:pt x="13125" y="16625"/>
                  <a:pt x="13094" y="16657"/>
                  <a:pt x="13094" y="16688"/>
                </a:cubicBezTo>
                <a:cubicBezTo>
                  <a:pt x="13094" y="16719"/>
                  <a:pt x="13156" y="16688"/>
                  <a:pt x="13188" y="16688"/>
                </a:cubicBezTo>
                <a:cubicBezTo>
                  <a:pt x="13188" y="16719"/>
                  <a:pt x="13188" y="16750"/>
                  <a:pt x="13188" y="16782"/>
                </a:cubicBezTo>
                <a:cubicBezTo>
                  <a:pt x="13188" y="16782"/>
                  <a:pt x="13188" y="16782"/>
                  <a:pt x="13188" y="16782"/>
                </a:cubicBezTo>
                <a:cubicBezTo>
                  <a:pt x="13156" y="16750"/>
                  <a:pt x="13063" y="16750"/>
                  <a:pt x="13063" y="16688"/>
                </a:cubicBezTo>
                <a:cubicBezTo>
                  <a:pt x="13063" y="16563"/>
                  <a:pt x="13094" y="16469"/>
                  <a:pt x="13125" y="16375"/>
                </a:cubicBezTo>
                <a:cubicBezTo>
                  <a:pt x="13188" y="16344"/>
                  <a:pt x="13219" y="16407"/>
                  <a:pt x="13250" y="16407"/>
                </a:cubicBezTo>
                <a:cubicBezTo>
                  <a:pt x="13250" y="16407"/>
                  <a:pt x="13250" y="16407"/>
                  <a:pt x="13250" y="16407"/>
                </a:cubicBezTo>
                <a:cubicBezTo>
                  <a:pt x="13281" y="16407"/>
                  <a:pt x="13281" y="16407"/>
                  <a:pt x="13281" y="16407"/>
                </a:cubicBezTo>
                <a:cubicBezTo>
                  <a:pt x="13281" y="16438"/>
                  <a:pt x="13281" y="16438"/>
                  <a:pt x="13313" y="16438"/>
                </a:cubicBezTo>
                <a:cubicBezTo>
                  <a:pt x="13313" y="16438"/>
                  <a:pt x="13313" y="16438"/>
                  <a:pt x="13313" y="16438"/>
                </a:cubicBezTo>
                <a:cubicBezTo>
                  <a:pt x="13375" y="16563"/>
                  <a:pt x="13500" y="16657"/>
                  <a:pt x="13594" y="16782"/>
                </a:cubicBezTo>
                <a:cubicBezTo>
                  <a:pt x="13656" y="16813"/>
                  <a:pt x="13688" y="16844"/>
                  <a:pt x="13719" y="16875"/>
                </a:cubicBezTo>
                <a:cubicBezTo>
                  <a:pt x="13750" y="16907"/>
                  <a:pt x="13719" y="16907"/>
                  <a:pt x="13688" y="16907"/>
                </a:cubicBezTo>
                <a:cubicBezTo>
                  <a:pt x="13656" y="16907"/>
                  <a:pt x="13594" y="16875"/>
                  <a:pt x="13563" y="16907"/>
                </a:cubicBezTo>
                <a:close/>
                <a:moveTo>
                  <a:pt x="12406" y="17875"/>
                </a:moveTo>
                <a:cubicBezTo>
                  <a:pt x="12438" y="17875"/>
                  <a:pt x="12438" y="17875"/>
                  <a:pt x="12438" y="17875"/>
                </a:cubicBezTo>
                <a:cubicBezTo>
                  <a:pt x="12438" y="17875"/>
                  <a:pt x="12438" y="17875"/>
                  <a:pt x="12438" y="17875"/>
                </a:cubicBezTo>
                <a:cubicBezTo>
                  <a:pt x="12438" y="17875"/>
                  <a:pt x="12438" y="17875"/>
                  <a:pt x="12406" y="17875"/>
                </a:cubicBezTo>
                <a:close/>
                <a:moveTo>
                  <a:pt x="12281" y="18094"/>
                </a:moveTo>
                <a:cubicBezTo>
                  <a:pt x="12281" y="18094"/>
                  <a:pt x="12281" y="18125"/>
                  <a:pt x="12281" y="18125"/>
                </a:cubicBezTo>
                <a:cubicBezTo>
                  <a:pt x="12281" y="18125"/>
                  <a:pt x="12281" y="18094"/>
                  <a:pt x="12281" y="18094"/>
                </a:cubicBezTo>
                <a:close/>
                <a:moveTo>
                  <a:pt x="12250" y="18063"/>
                </a:moveTo>
                <a:cubicBezTo>
                  <a:pt x="12250" y="18063"/>
                  <a:pt x="12281" y="18063"/>
                  <a:pt x="12281" y="18063"/>
                </a:cubicBezTo>
                <a:cubicBezTo>
                  <a:pt x="12281" y="18063"/>
                  <a:pt x="12250" y="18063"/>
                  <a:pt x="12250" y="18063"/>
                </a:cubicBezTo>
                <a:close/>
                <a:moveTo>
                  <a:pt x="12594" y="17532"/>
                </a:moveTo>
                <a:cubicBezTo>
                  <a:pt x="12469" y="17657"/>
                  <a:pt x="12313" y="17719"/>
                  <a:pt x="12188" y="17844"/>
                </a:cubicBezTo>
                <a:cubicBezTo>
                  <a:pt x="12156" y="17907"/>
                  <a:pt x="12125" y="17938"/>
                  <a:pt x="12063" y="17969"/>
                </a:cubicBezTo>
                <a:cubicBezTo>
                  <a:pt x="12063" y="17969"/>
                  <a:pt x="12031" y="17969"/>
                  <a:pt x="12063" y="18000"/>
                </a:cubicBezTo>
                <a:cubicBezTo>
                  <a:pt x="12063" y="18032"/>
                  <a:pt x="12063" y="18032"/>
                  <a:pt x="12094" y="18032"/>
                </a:cubicBezTo>
                <a:cubicBezTo>
                  <a:pt x="12156" y="18032"/>
                  <a:pt x="12156" y="18063"/>
                  <a:pt x="12125" y="18125"/>
                </a:cubicBezTo>
                <a:cubicBezTo>
                  <a:pt x="12125" y="18125"/>
                  <a:pt x="12125" y="18125"/>
                  <a:pt x="12125" y="18125"/>
                </a:cubicBezTo>
                <a:cubicBezTo>
                  <a:pt x="12125" y="18125"/>
                  <a:pt x="12125" y="18125"/>
                  <a:pt x="12125" y="18125"/>
                </a:cubicBezTo>
                <a:cubicBezTo>
                  <a:pt x="12094" y="18125"/>
                  <a:pt x="12031" y="18125"/>
                  <a:pt x="12031" y="18188"/>
                </a:cubicBezTo>
                <a:cubicBezTo>
                  <a:pt x="12031" y="18219"/>
                  <a:pt x="12000" y="18250"/>
                  <a:pt x="11969" y="18219"/>
                </a:cubicBezTo>
                <a:cubicBezTo>
                  <a:pt x="11969" y="18219"/>
                  <a:pt x="11969" y="18219"/>
                  <a:pt x="11969" y="18188"/>
                </a:cubicBezTo>
                <a:cubicBezTo>
                  <a:pt x="11938" y="18219"/>
                  <a:pt x="11906" y="18250"/>
                  <a:pt x="11906" y="18282"/>
                </a:cubicBezTo>
                <a:cubicBezTo>
                  <a:pt x="11906" y="18250"/>
                  <a:pt x="11938" y="18219"/>
                  <a:pt x="11969" y="18188"/>
                </a:cubicBezTo>
                <a:cubicBezTo>
                  <a:pt x="11969" y="18125"/>
                  <a:pt x="11969" y="18063"/>
                  <a:pt x="12000" y="18000"/>
                </a:cubicBezTo>
                <a:cubicBezTo>
                  <a:pt x="12000" y="17969"/>
                  <a:pt x="12000" y="17938"/>
                  <a:pt x="12000" y="17907"/>
                </a:cubicBezTo>
                <a:cubicBezTo>
                  <a:pt x="12000" y="17844"/>
                  <a:pt x="12000" y="17813"/>
                  <a:pt x="12031" y="17750"/>
                </a:cubicBezTo>
                <a:cubicBezTo>
                  <a:pt x="12031" y="17625"/>
                  <a:pt x="12031" y="17500"/>
                  <a:pt x="12031" y="17375"/>
                </a:cubicBezTo>
                <a:cubicBezTo>
                  <a:pt x="12031" y="17250"/>
                  <a:pt x="12000" y="17157"/>
                  <a:pt x="11969" y="17032"/>
                </a:cubicBezTo>
                <a:cubicBezTo>
                  <a:pt x="11969" y="17032"/>
                  <a:pt x="11969" y="17032"/>
                  <a:pt x="11969" y="17032"/>
                </a:cubicBezTo>
                <a:cubicBezTo>
                  <a:pt x="11969" y="17000"/>
                  <a:pt x="11969" y="16969"/>
                  <a:pt x="11969" y="16938"/>
                </a:cubicBezTo>
                <a:cubicBezTo>
                  <a:pt x="11906" y="16907"/>
                  <a:pt x="11844" y="16844"/>
                  <a:pt x="11906" y="16750"/>
                </a:cubicBezTo>
                <a:cubicBezTo>
                  <a:pt x="11750" y="16813"/>
                  <a:pt x="11719" y="16938"/>
                  <a:pt x="11625" y="17032"/>
                </a:cubicBezTo>
                <a:cubicBezTo>
                  <a:pt x="11563" y="17032"/>
                  <a:pt x="11531" y="17063"/>
                  <a:pt x="11531" y="17125"/>
                </a:cubicBezTo>
                <a:cubicBezTo>
                  <a:pt x="11531" y="17125"/>
                  <a:pt x="11531" y="17157"/>
                  <a:pt x="11531" y="17157"/>
                </a:cubicBezTo>
                <a:cubicBezTo>
                  <a:pt x="11531" y="17157"/>
                  <a:pt x="11531" y="17157"/>
                  <a:pt x="11531" y="17157"/>
                </a:cubicBezTo>
                <a:cubicBezTo>
                  <a:pt x="11500" y="17157"/>
                  <a:pt x="11500" y="17188"/>
                  <a:pt x="11500" y="17219"/>
                </a:cubicBezTo>
                <a:cubicBezTo>
                  <a:pt x="11500" y="17219"/>
                  <a:pt x="11500" y="17250"/>
                  <a:pt x="11500" y="17282"/>
                </a:cubicBezTo>
                <a:cubicBezTo>
                  <a:pt x="11438" y="17157"/>
                  <a:pt x="11438" y="17032"/>
                  <a:pt x="11469" y="16907"/>
                </a:cubicBezTo>
                <a:cubicBezTo>
                  <a:pt x="11469" y="16875"/>
                  <a:pt x="11469" y="16875"/>
                  <a:pt x="11500" y="16875"/>
                </a:cubicBezTo>
                <a:cubicBezTo>
                  <a:pt x="11500" y="16844"/>
                  <a:pt x="11500" y="16844"/>
                  <a:pt x="11531" y="16844"/>
                </a:cubicBezTo>
                <a:cubicBezTo>
                  <a:pt x="11469" y="16782"/>
                  <a:pt x="11563" y="16719"/>
                  <a:pt x="11500" y="16657"/>
                </a:cubicBezTo>
                <a:cubicBezTo>
                  <a:pt x="11531" y="16657"/>
                  <a:pt x="11563" y="16657"/>
                  <a:pt x="11594" y="16657"/>
                </a:cubicBezTo>
                <a:cubicBezTo>
                  <a:pt x="11625" y="16625"/>
                  <a:pt x="11656" y="16657"/>
                  <a:pt x="11688" y="16688"/>
                </a:cubicBezTo>
                <a:cubicBezTo>
                  <a:pt x="11750" y="16750"/>
                  <a:pt x="11844" y="16719"/>
                  <a:pt x="11875" y="16625"/>
                </a:cubicBezTo>
                <a:cubicBezTo>
                  <a:pt x="11875" y="16594"/>
                  <a:pt x="11906" y="16563"/>
                  <a:pt x="11906" y="16532"/>
                </a:cubicBezTo>
                <a:cubicBezTo>
                  <a:pt x="11906" y="16532"/>
                  <a:pt x="11906" y="16532"/>
                  <a:pt x="11906" y="16532"/>
                </a:cubicBezTo>
                <a:cubicBezTo>
                  <a:pt x="11938" y="16532"/>
                  <a:pt x="12000" y="16532"/>
                  <a:pt x="12031" y="16500"/>
                </a:cubicBezTo>
                <a:cubicBezTo>
                  <a:pt x="12031" y="16500"/>
                  <a:pt x="12094" y="16500"/>
                  <a:pt x="12063" y="16438"/>
                </a:cubicBezTo>
                <a:cubicBezTo>
                  <a:pt x="12063" y="16407"/>
                  <a:pt x="12031" y="16407"/>
                  <a:pt x="12000" y="16407"/>
                </a:cubicBezTo>
                <a:cubicBezTo>
                  <a:pt x="11969" y="16407"/>
                  <a:pt x="11938" y="16407"/>
                  <a:pt x="11906" y="16407"/>
                </a:cubicBezTo>
                <a:cubicBezTo>
                  <a:pt x="11906" y="16438"/>
                  <a:pt x="11906" y="16469"/>
                  <a:pt x="11906" y="16469"/>
                </a:cubicBezTo>
                <a:cubicBezTo>
                  <a:pt x="11875" y="16469"/>
                  <a:pt x="11875" y="16438"/>
                  <a:pt x="11875" y="16407"/>
                </a:cubicBezTo>
                <a:cubicBezTo>
                  <a:pt x="11875" y="16407"/>
                  <a:pt x="11875" y="16407"/>
                  <a:pt x="11875" y="16407"/>
                </a:cubicBezTo>
                <a:cubicBezTo>
                  <a:pt x="11875" y="16407"/>
                  <a:pt x="11875" y="16375"/>
                  <a:pt x="11875" y="16375"/>
                </a:cubicBezTo>
                <a:cubicBezTo>
                  <a:pt x="11938" y="16344"/>
                  <a:pt x="12000" y="16344"/>
                  <a:pt x="12031" y="16250"/>
                </a:cubicBezTo>
                <a:cubicBezTo>
                  <a:pt x="12031" y="16250"/>
                  <a:pt x="12031" y="16250"/>
                  <a:pt x="12031" y="16250"/>
                </a:cubicBezTo>
                <a:cubicBezTo>
                  <a:pt x="12031" y="16250"/>
                  <a:pt x="12031" y="16250"/>
                  <a:pt x="12031" y="16250"/>
                </a:cubicBezTo>
                <a:cubicBezTo>
                  <a:pt x="12063" y="16250"/>
                  <a:pt x="12094" y="16250"/>
                  <a:pt x="12094" y="16188"/>
                </a:cubicBezTo>
                <a:cubicBezTo>
                  <a:pt x="12063" y="16188"/>
                  <a:pt x="12063" y="16188"/>
                  <a:pt x="12063" y="16188"/>
                </a:cubicBezTo>
                <a:cubicBezTo>
                  <a:pt x="12063" y="16188"/>
                  <a:pt x="12063" y="16188"/>
                  <a:pt x="12094" y="16188"/>
                </a:cubicBezTo>
                <a:cubicBezTo>
                  <a:pt x="12094" y="16188"/>
                  <a:pt x="12094" y="16188"/>
                  <a:pt x="12094" y="16188"/>
                </a:cubicBezTo>
                <a:cubicBezTo>
                  <a:pt x="12094" y="16188"/>
                  <a:pt x="12094" y="16188"/>
                  <a:pt x="12094" y="16188"/>
                </a:cubicBezTo>
                <a:cubicBezTo>
                  <a:pt x="12125" y="16188"/>
                  <a:pt x="12188" y="16219"/>
                  <a:pt x="12219" y="16157"/>
                </a:cubicBezTo>
                <a:cubicBezTo>
                  <a:pt x="12219" y="16157"/>
                  <a:pt x="12219" y="16157"/>
                  <a:pt x="12219" y="16157"/>
                </a:cubicBezTo>
                <a:cubicBezTo>
                  <a:pt x="12219" y="16157"/>
                  <a:pt x="12219" y="16157"/>
                  <a:pt x="12219" y="16157"/>
                </a:cubicBezTo>
                <a:cubicBezTo>
                  <a:pt x="12250" y="16125"/>
                  <a:pt x="12250" y="16125"/>
                  <a:pt x="12250" y="16094"/>
                </a:cubicBezTo>
                <a:cubicBezTo>
                  <a:pt x="12313" y="16063"/>
                  <a:pt x="12344" y="16032"/>
                  <a:pt x="12406" y="16000"/>
                </a:cubicBezTo>
                <a:cubicBezTo>
                  <a:pt x="12438" y="15969"/>
                  <a:pt x="12469" y="15938"/>
                  <a:pt x="12531" y="15969"/>
                </a:cubicBezTo>
                <a:cubicBezTo>
                  <a:pt x="12563" y="16000"/>
                  <a:pt x="12594" y="16032"/>
                  <a:pt x="12563" y="16094"/>
                </a:cubicBezTo>
                <a:cubicBezTo>
                  <a:pt x="12500" y="16219"/>
                  <a:pt x="12438" y="16344"/>
                  <a:pt x="12406" y="16469"/>
                </a:cubicBezTo>
                <a:cubicBezTo>
                  <a:pt x="12406" y="16469"/>
                  <a:pt x="12406" y="16469"/>
                  <a:pt x="12406" y="16469"/>
                </a:cubicBezTo>
                <a:cubicBezTo>
                  <a:pt x="12344" y="16532"/>
                  <a:pt x="12281" y="16594"/>
                  <a:pt x="12250" y="16688"/>
                </a:cubicBezTo>
                <a:cubicBezTo>
                  <a:pt x="12250" y="16688"/>
                  <a:pt x="12250" y="16719"/>
                  <a:pt x="12219" y="16719"/>
                </a:cubicBezTo>
                <a:cubicBezTo>
                  <a:pt x="12125" y="16750"/>
                  <a:pt x="12094" y="16844"/>
                  <a:pt x="12063" y="16907"/>
                </a:cubicBezTo>
                <a:cubicBezTo>
                  <a:pt x="12063" y="16907"/>
                  <a:pt x="12031" y="16938"/>
                  <a:pt x="12063" y="16938"/>
                </a:cubicBezTo>
                <a:cubicBezTo>
                  <a:pt x="12063" y="16969"/>
                  <a:pt x="12094" y="16969"/>
                  <a:pt x="12125" y="16969"/>
                </a:cubicBezTo>
                <a:cubicBezTo>
                  <a:pt x="12219" y="16907"/>
                  <a:pt x="12313" y="16938"/>
                  <a:pt x="12406" y="16907"/>
                </a:cubicBezTo>
                <a:cubicBezTo>
                  <a:pt x="12406" y="16907"/>
                  <a:pt x="12406" y="16907"/>
                  <a:pt x="12406" y="16907"/>
                </a:cubicBezTo>
                <a:cubicBezTo>
                  <a:pt x="12406" y="16907"/>
                  <a:pt x="12438" y="16907"/>
                  <a:pt x="12438" y="16907"/>
                </a:cubicBezTo>
                <a:cubicBezTo>
                  <a:pt x="12438" y="16907"/>
                  <a:pt x="12469" y="16907"/>
                  <a:pt x="12500" y="16907"/>
                </a:cubicBezTo>
                <a:cubicBezTo>
                  <a:pt x="12469" y="17000"/>
                  <a:pt x="12375" y="17063"/>
                  <a:pt x="12313" y="17125"/>
                </a:cubicBezTo>
                <a:cubicBezTo>
                  <a:pt x="12281" y="17188"/>
                  <a:pt x="12250" y="17188"/>
                  <a:pt x="12313" y="17250"/>
                </a:cubicBezTo>
                <a:cubicBezTo>
                  <a:pt x="12156" y="17219"/>
                  <a:pt x="12156" y="17344"/>
                  <a:pt x="12094" y="17407"/>
                </a:cubicBezTo>
                <a:cubicBezTo>
                  <a:pt x="12219" y="17469"/>
                  <a:pt x="12375" y="17469"/>
                  <a:pt x="12500" y="17469"/>
                </a:cubicBezTo>
                <a:cubicBezTo>
                  <a:pt x="12500" y="17438"/>
                  <a:pt x="12500" y="17407"/>
                  <a:pt x="12500" y="17375"/>
                </a:cubicBezTo>
                <a:cubicBezTo>
                  <a:pt x="12500" y="17407"/>
                  <a:pt x="12500" y="17438"/>
                  <a:pt x="12500" y="17469"/>
                </a:cubicBezTo>
                <a:cubicBezTo>
                  <a:pt x="12531" y="17469"/>
                  <a:pt x="12563" y="17500"/>
                  <a:pt x="12594" y="17469"/>
                </a:cubicBezTo>
                <a:cubicBezTo>
                  <a:pt x="12625" y="17469"/>
                  <a:pt x="12625" y="17500"/>
                  <a:pt x="12625" y="17532"/>
                </a:cubicBezTo>
                <a:cubicBezTo>
                  <a:pt x="12625" y="17594"/>
                  <a:pt x="12625" y="17657"/>
                  <a:pt x="12563" y="17688"/>
                </a:cubicBezTo>
                <a:cubicBezTo>
                  <a:pt x="12625" y="17657"/>
                  <a:pt x="12625" y="17594"/>
                  <a:pt x="12625" y="17532"/>
                </a:cubicBezTo>
                <a:cubicBezTo>
                  <a:pt x="12625" y="17532"/>
                  <a:pt x="12594" y="17532"/>
                  <a:pt x="12594" y="17532"/>
                </a:cubicBezTo>
                <a:close/>
                <a:moveTo>
                  <a:pt x="11656" y="19500"/>
                </a:moveTo>
                <a:cubicBezTo>
                  <a:pt x="11656" y="19344"/>
                  <a:pt x="11656" y="19188"/>
                  <a:pt x="11625" y="19032"/>
                </a:cubicBezTo>
                <a:cubicBezTo>
                  <a:pt x="11594" y="19032"/>
                  <a:pt x="11563" y="19032"/>
                  <a:pt x="11563" y="19000"/>
                </a:cubicBezTo>
                <a:cubicBezTo>
                  <a:pt x="11563" y="19032"/>
                  <a:pt x="11594" y="19032"/>
                  <a:pt x="11625" y="19032"/>
                </a:cubicBezTo>
                <a:cubicBezTo>
                  <a:pt x="11656" y="19188"/>
                  <a:pt x="11656" y="19344"/>
                  <a:pt x="11656" y="19500"/>
                </a:cubicBezTo>
                <a:close/>
                <a:moveTo>
                  <a:pt x="11531" y="19032"/>
                </a:moveTo>
                <a:cubicBezTo>
                  <a:pt x="11531" y="19032"/>
                  <a:pt x="11531" y="19032"/>
                  <a:pt x="11531" y="19032"/>
                </a:cubicBezTo>
                <a:cubicBezTo>
                  <a:pt x="11531" y="19032"/>
                  <a:pt x="11531" y="19032"/>
                  <a:pt x="11531" y="19032"/>
                </a:cubicBezTo>
                <a:close/>
                <a:moveTo>
                  <a:pt x="11531" y="18469"/>
                </a:moveTo>
                <a:cubicBezTo>
                  <a:pt x="11531" y="18469"/>
                  <a:pt x="11531" y="18469"/>
                  <a:pt x="11531" y="18469"/>
                </a:cubicBezTo>
                <a:cubicBezTo>
                  <a:pt x="11531" y="18469"/>
                  <a:pt x="11531" y="18469"/>
                  <a:pt x="11531" y="18469"/>
                </a:cubicBezTo>
                <a:close/>
                <a:moveTo>
                  <a:pt x="11625" y="18532"/>
                </a:moveTo>
                <a:cubicBezTo>
                  <a:pt x="11594" y="18563"/>
                  <a:pt x="11625" y="18625"/>
                  <a:pt x="11625" y="18688"/>
                </a:cubicBezTo>
                <a:cubicBezTo>
                  <a:pt x="11594" y="18625"/>
                  <a:pt x="11594" y="18532"/>
                  <a:pt x="11563" y="18469"/>
                </a:cubicBezTo>
                <a:cubicBezTo>
                  <a:pt x="11563" y="18438"/>
                  <a:pt x="11563" y="18438"/>
                  <a:pt x="11531" y="18438"/>
                </a:cubicBezTo>
                <a:cubicBezTo>
                  <a:pt x="11531" y="18438"/>
                  <a:pt x="11531" y="18438"/>
                  <a:pt x="11531" y="18438"/>
                </a:cubicBezTo>
                <a:cubicBezTo>
                  <a:pt x="11531" y="18188"/>
                  <a:pt x="11531" y="17938"/>
                  <a:pt x="11500" y="17688"/>
                </a:cubicBezTo>
                <a:cubicBezTo>
                  <a:pt x="11500" y="17719"/>
                  <a:pt x="11469" y="17750"/>
                  <a:pt x="11469" y="17750"/>
                </a:cubicBezTo>
                <a:cubicBezTo>
                  <a:pt x="11469" y="17750"/>
                  <a:pt x="11500" y="17719"/>
                  <a:pt x="11500" y="17688"/>
                </a:cubicBezTo>
                <a:cubicBezTo>
                  <a:pt x="11531" y="17657"/>
                  <a:pt x="11531" y="17625"/>
                  <a:pt x="11531" y="17594"/>
                </a:cubicBezTo>
                <a:cubicBezTo>
                  <a:pt x="11531" y="17594"/>
                  <a:pt x="11531" y="17594"/>
                  <a:pt x="11531" y="17594"/>
                </a:cubicBezTo>
                <a:cubicBezTo>
                  <a:pt x="11563" y="17594"/>
                  <a:pt x="11625" y="17563"/>
                  <a:pt x="11625" y="17625"/>
                </a:cubicBezTo>
                <a:cubicBezTo>
                  <a:pt x="11656" y="17657"/>
                  <a:pt x="11688" y="17657"/>
                  <a:pt x="11719" y="17625"/>
                </a:cubicBezTo>
                <a:cubicBezTo>
                  <a:pt x="11781" y="17625"/>
                  <a:pt x="11844" y="17563"/>
                  <a:pt x="11906" y="17594"/>
                </a:cubicBezTo>
                <a:cubicBezTo>
                  <a:pt x="11906" y="17625"/>
                  <a:pt x="11844" y="17657"/>
                  <a:pt x="11813" y="17688"/>
                </a:cubicBezTo>
                <a:cubicBezTo>
                  <a:pt x="11781" y="17688"/>
                  <a:pt x="11750" y="17688"/>
                  <a:pt x="11750" y="17750"/>
                </a:cubicBezTo>
                <a:cubicBezTo>
                  <a:pt x="11750" y="17750"/>
                  <a:pt x="11750" y="17750"/>
                  <a:pt x="11750" y="17750"/>
                </a:cubicBezTo>
                <a:cubicBezTo>
                  <a:pt x="11750" y="17750"/>
                  <a:pt x="11750" y="17750"/>
                  <a:pt x="11750" y="17750"/>
                </a:cubicBezTo>
                <a:cubicBezTo>
                  <a:pt x="11719" y="17750"/>
                  <a:pt x="11688" y="17782"/>
                  <a:pt x="11688" y="17813"/>
                </a:cubicBezTo>
                <a:cubicBezTo>
                  <a:pt x="11688" y="17813"/>
                  <a:pt x="11688" y="17813"/>
                  <a:pt x="11688" y="17813"/>
                </a:cubicBezTo>
                <a:cubicBezTo>
                  <a:pt x="11688" y="17813"/>
                  <a:pt x="11688" y="17813"/>
                  <a:pt x="11688" y="17813"/>
                </a:cubicBezTo>
                <a:cubicBezTo>
                  <a:pt x="11656" y="17813"/>
                  <a:pt x="11594" y="17813"/>
                  <a:pt x="11594" y="17844"/>
                </a:cubicBezTo>
                <a:cubicBezTo>
                  <a:pt x="11563" y="17875"/>
                  <a:pt x="11563" y="17875"/>
                  <a:pt x="11563" y="17907"/>
                </a:cubicBezTo>
                <a:cubicBezTo>
                  <a:pt x="11563" y="17907"/>
                  <a:pt x="11594" y="17907"/>
                  <a:pt x="11594" y="17907"/>
                </a:cubicBezTo>
                <a:cubicBezTo>
                  <a:pt x="11594" y="17907"/>
                  <a:pt x="11563" y="17907"/>
                  <a:pt x="11563" y="17907"/>
                </a:cubicBezTo>
                <a:cubicBezTo>
                  <a:pt x="11563" y="17938"/>
                  <a:pt x="11563" y="17969"/>
                  <a:pt x="11563" y="18000"/>
                </a:cubicBezTo>
                <a:cubicBezTo>
                  <a:pt x="11563" y="18000"/>
                  <a:pt x="11563" y="18000"/>
                  <a:pt x="11563" y="18000"/>
                </a:cubicBezTo>
                <a:cubicBezTo>
                  <a:pt x="11563" y="18000"/>
                  <a:pt x="11531" y="18032"/>
                  <a:pt x="11531" y="18063"/>
                </a:cubicBezTo>
                <a:cubicBezTo>
                  <a:pt x="11531" y="18063"/>
                  <a:pt x="11563" y="18094"/>
                  <a:pt x="11563" y="18094"/>
                </a:cubicBezTo>
                <a:cubicBezTo>
                  <a:pt x="11563" y="18157"/>
                  <a:pt x="11563" y="18219"/>
                  <a:pt x="11625" y="18219"/>
                </a:cubicBezTo>
                <a:cubicBezTo>
                  <a:pt x="11625" y="18250"/>
                  <a:pt x="11625" y="18250"/>
                  <a:pt x="11625" y="18250"/>
                </a:cubicBezTo>
                <a:cubicBezTo>
                  <a:pt x="11563" y="18344"/>
                  <a:pt x="11563" y="18438"/>
                  <a:pt x="11625" y="18532"/>
                </a:cubicBezTo>
                <a:cubicBezTo>
                  <a:pt x="11656" y="18657"/>
                  <a:pt x="11688" y="18813"/>
                  <a:pt x="11719" y="18969"/>
                </a:cubicBezTo>
                <a:cubicBezTo>
                  <a:pt x="11719" y="18969"/>
                  <a:pt x="11719" y="18969"/>
                  <a:pt x="11719" y="18969"/>
                </a:cubicBezTo>
                <a:cubicBezTo>
                  <a:pt x="11688" y="18813"/>
                  <a:pt x="11656" y="18657"/>
                  <a:pt x="11625" y="18532"/>
                </a:cubicBezTo>
                <a:close/>
                <a:moveTo>
                  <a:pt x="11906" y="18563"/>
                </a:moveTo>
                <a:cubicBezTo>
                  <a:pt x="11906" y="18532"/>
                  <a:pt x="11938" y="18500"/>
                  <a:pt x="11938" y="18469"/>
                </a:cubicBezTo>
                <a:cubicBezTo>
                  <a:pt x="11938" y="18500"/>
                  <a:pt x="11906" y="18532"/>
                  <a:pt x="11906" y="18563"/>
                </a:cubicBezTo>
                <a:cubicBezTo>
                  <a:pt x="11906" y="18594"/>
                  <a:pt x="11906" y="18594"/>
                  <a:pt x="11906" y="18625"/>
                </a:cubicBezTo>
                <a:cubicBezTo>
                  <a:pt x="11906" y="18594"/>
                  <a:pt x="11906" y="18594"/>
                  <a:pt x="11906" y="18563"/>
                </a:cubicBezTo>
                <a:close/>
                <a:moveTo>
                  <a:pt x="11906" y="18657"/>
                </a:moveTo>
                <a:cubicBezTo>
                  <a:pt x="11906" y="18657"/>
                  <a:pt x="11906" y="18657"/>
                  <a:pt x="11906" y="18625"/>
                </a:cubicBezTo>
                <a:cubicBezTo>
                  <a:pt x="11906" y="18657"/>
                  <a:pt x="11906" y="18657"/>
                  <a:pt x="11906" y="18657"/>
                </a:cubicBezTo>
                <a:close/>
                <a:moveTo>
                  <a:pt x="11625" y="17938"/>
                </a:moveTo>
                <a:cubicBezTo>
                  <a:pt x="11625" y="17938"/>
                  <a:pt x="11625" y="17938"/>
                  <a:pt x="11594" y="17907"/>
                </a:cubicBezTo>
                <a:cubicBezTo>
                  <a:pt x="11625" y="17938"/>
                  <a:pt x="11625" y="17938"/>
                  <a:pt x="11625" y="17938"/>
                </a:cubicBezTo>
                <a:close/>
                <a:moveTo>
                  <a:pt x="11625" y="15500"/>
                </a:moveTo>
                <a:cubicBezTo>
                  <a:pt x="11688" y="15532"/>
                  <a:pt x="11688" y="15500"/>
                  <a:pt x="11719" y="15469"/>
                </a:cubicBezTo>
                <a:cubicBezTo>
                  <a:pt x="11781" y="15469"/>
                  <a:pt x="11813" y="15438"/>
                  <a:pt x="11813" y="15407"/>
                </a:cubicBezTo>
                <a:cubicBezTo>
                  <a:pt x="11781" y="15344"/>
                  <a:pt x="11719" y="15375"/>
                  <a:pt x="11719" y="15344"/>
                </a:cubicBezTo>
                <a:cubicBezTo>
                  <a:pt x="11688" y="15344"/>
                  <a:pt x="11656" y="15375"/>
                  <a:pt x="11625" y="15407"/>
                </a:cubicBezTo>
                <a:cubicBezTo>
                  <a:pt x="11625" y="15438"/>
                  <a:pt x="11656" y="15469"/>
                  <a:pt x="11625" y="15469"/>
                </a:cubicBezTo>
                <a:cubicBezTo>
                  <a:pt x="11594" y="15438"/>
                  <a:pt x="11594" y="15375"/>
                  <a:pt x="11563" y="15313"/>
                </a:cubicBezTo>
                <a:cubicBezTo>
                  <a:pt x="11563" y="15282"/>
                  <a:pt x="11563" y="15219"/>
                  <a:pt x="11500" y="15250"/>
                </a:cubicBezTo>
                <a:cubicBezTo>
                  <a:pt x="11469" y="15250"/>
                  <a:pt x="11438" y="15250"/>
                  <a:pt x="11406" y="15219"/>
                </a:cubicBezTo>
                <a:cubicBezTo>
                  <a:pt x="11375" y="15188"/>
                  <a:pt x="11344" y="15219"/>
                  <a:pt x="11313" y="15219"/>
                </a:cubicBezTo>
                <a:cubicBezTo>
                  <a:pt x="11281" y="15219"/>
                  <a:pt x="11250" y="15250"/>
                  <a:pt x="11219" y="15250"/>
                </a:cubicBezTo>
                <a:cubicBezTo>
                  <a:pt x="11125" y="15188"/>
                  <a:pt x="11156" y="15282"/>
                  <a:pt x="11125" y="15313"/>
                </a:cubicBezTo>
                <a:cubicBezTo>
                  <a:pt x="11125" y="15313"/>
                  <a:pt x="11125" y="15313"/>
                  <a:pt x="11125" y="15313"/>
                </a:cubicBezTo>
                <a:cubicBezTo>
                  <a:pt x="11063" y="15282"/>
                  <a:pt x="11000" y="15344"/>
                  <a:pt x="10969" y="15344"/>
                </a:cubicBezTo>
                <a:cubicBezTo>
                  <a:pt x="10938" y="15407"/>
                  <a:pt x="10844" y="15407"/>
                  <a:pt x="10813" y="15438"/>
                </a:cubicBezTo>
                <a:cubicBezTo>
                  <a:pt x="10656" y="15532"/>
                  <a:pt x="10469" y="15594"/>
                  <a:pt x="10375" y="15719"/>
                </a:cubicBezTo>
                <a:cubicBezTo>
                  <a:pt x="10313" y="15782"/>
                  <a:pt x="10313" y="15844"/>
                  <a:pt x="10250" y="15875"/>
                </a:cubicBezTo>
                <a:cubicBezTo>
                  <a:pt x="10219" y="15907"/>
                  <a:pt x="10188" y="15969"/>
                  <a:pt x="10188" y="16000"/>
                </a:cubicBezTo>
                <a:cubicBezTo>
                  <a:pt x="10188" y="16000"/>
                  <a:pt x="10188" y="16000"/>
                  <a:pt x="10156" y="16032"/>
                </a:cubicBezTo>
                <a:cubicBezTo>
                  <a:pt x="10188" y="16000"/>
                  <a:pt x="10188" y="16000"/>
                  <a:pt x="10188" y="16000"/>
                </a:cubicBezTo>
                <a:cubicBezTo>
                  <a:pt x="10125" y="16000"/>
                  <a:pt x="10125" y="16000"/>
                  <a:pt x="10125" y="16032"/>
                </a:cubicBezTo>
                <a:cubicBezTo>
                  <a:pt x="10125" y="16032"/>
                  <a:pt x="10125" y="16063"/>
                  <a:pt x="10125" y="16063"/>
                </a:cubicBezTo>
                <a:cubicBezTo>
                  <a:pt x="10125" y="16063"/>
                  <a:pt x="10125" y="16063"/>
                  <a:pt x="10125" y="16063"/>
                </a:cubicBezTo>
                <a:cubicBezTo>
                  <a:pt x="10031" y="16094"/>
                  <a:pt x="10000" y="16188"/>
                  <a:pt x="9938" y="16282"/>
                </a:cubicBezTo>
                <a:cubicBezTo>
                  <a:pt x="9906" y="16313"/>
                  <a:pt x="9875" y="16313"/>
                  <a:pt x="9875" y="16250"/>
                </a:cubicBezTo>
                <a:cubicBezTo>
                  <a:pt x="9875" y="16219"/>
                  <a:pt x="9875" y="16188"/>
                  <a:pt x="9813" y="16188"/>
                </a:cubicBezTo>
                <a:cubicBezTo>
                  <a:pt x="9813" y="16219"/>
                  <a:pt x="9781" y="16219"/>
                  <a:pt x="9781" y="16250"/>
                </a:cubicBezTo>
                <a:cubicBezTo>
                  <a:pt x="9781" y="16282"/>
                  <a:pt x="9781" y="16313"/>
                  <a:pt x="9750" y="16313"/>
                </a:cubicBezTo>
                <a:cubicBezTo>
                  <a:pt x="9688" y="16313"/>
                  <a:pt x="9688" y="16375"/>
                  <a:pt x="9688" y="16407"/>
                </a:cubicBezTo>
                <a:cubicBezTo>
                  <a:pt x="9656" y="16469"/>
                  <a:pt x="9656" y="16594"/>
                  <a:pt x="9531" y="16563"/>
                </a:cubicBezTo>
                <a:cubicBezTo>
                  <a:pt x="9500" y="16532"/>
                  <a:pt x="9500" y="16563"/>
                  <a:pt x="9469" y="16594"/>
                </a:cubicBezTo>
                <a:cubicBezTo>
                  <a:pt x="9438" y="16625"/>
                  <a:pt x="9406" y="16657"/>
                  <a:pt x="9375" y="16625"/>
                </a:cubicBezTo>
                <a:cubicBezTo>
                  <a:pt x="9313" y="16594"/>
                  <a:pt x="9313" y="16625"/>
                  <a:pt x="9313" y="16625"/>
                </a:cubicBezTo>
                <a:cubicBezTo>
                  <a:pt x="9281" y="16688"/>
                  <a:pt x="9219" y="16719"/>
                  <a:pt x="9313" y="16750"/>
                </a:cubicBezTo>
                <a:cubicBezTo>
                  <a:pt x="9313" y="16782"/>
                  <a:pt x="9313" y="16782"/>
                  <a:pt x="9313" y="16813"/>
                </a:cubicBezTo>
                <a:cubicBezTo>
                  <a:pt x="9313" y="16875"/>
                  <a:pt x="9344" y="16938"/>
                  <a:pt x="9406" y="17000"/>
                </a:cubicBezTo>
                <a:cubicBezTo>
                  <a:pt x="9281" y="17063"/>
                  <a:pt x="9250" y="17094"/>
                  <a:pt x="9344" y="17188"/>
                </a:cubicBezTo>
                <a:cubicBezTo>
                  <a:pt x="9344" y="17188"/>
                  <a:pt x="9344" y="17188"/>
                  <a:pt x="9344" y="17188"/>
                </a:cubicBezTo>
                <a:cubicBezTo>
                  <a:pt x="9344" y="17282"/>
                  <a:pt x="9313" y="17282"/>
                  <a:pt x="9250" y="17282"/>
                </a:cubicBezTo>
                <a:cubicBezTo>
                  <a:pt x="9250" y="17188"/>
                  <a:pt x="9250" y="17094"/>
                  <a:pt x="9250" y="17032"/>
                </a:cubicBezTo>
                <a:cubicBezTo>
                  <a:pt x="9250" y="16969"/>
                  <a:pt x="9250" y="16907"/>
                  <a:pt x="9219" y="16844"/>
                </a:cubicBezTo>
                <a:cubicBezTo>
                  <a:pt x="9219" y="16844"/>
                  <a:pt x="9219" y="16844"/>
                  <a:pt x="9219" y="16844"/>
                </a:cubicBezTo>
                <a:cubicBezTo>
                  <a:pt x="9219" y="16782"/>
                  <a:pt x="9188" y="16688"/>
                  <a:pt x="9188" y="16625"/>
                </a:cubicBezTo>
                <a:cubicBezTo>
                  <a:pt x="9188" y="16594"/>
                  <a:pt x="9219" y="16563"/>
                  <a:pt x="9219" y="16532"/>
                </a:cubicBezTo>
                <a:cubicBezTo>
                  <a:pt x="9313" y="16469"/>
                  <a:pt x="9438" y="16375"/>
                  <a:pt x="9531" y="16313"/>
                </a:cubicBezTo>
                <a:cubicBezTo>
                  <a:pt x="9625" y="16219"/>
                  <a:pt x="9781" y="16125"/>
                  <a:pt x="9875" y="16032"/>
                </a:cubicBezTo>
                <a:cubicBezTo>
                  <a:pt x="9938" y="15938"/>
                  <a:pt x="10000" y="15875"/>
                  <a:pt x="10094" y="15813"/>
                </a:cubicBezTo>
                <a:cubicBezTo>
                  <a:pt x="10250" y="15719"/>
                  <a:pt x="10344" y="15594"/>
                  <a:pt x="10500" y="15532"/>
                </a:cubicBezTo>
                <a:cubicBezTo>
                  <a:pt x="10500" y="15532"/>
                  <a:pt x="10500" y="15532"/>
                  <a:pt x="10500" y="15532"/>
                </a:cubicBezTo>
                <a:cubicBezTo>
                  <a:pt x="10625" y="15438"/>
                  <a:pt x="10750" y="15375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875" y="15282"/>
                  <a:pt x="10875" y="15282"/>
                </a:cubicBezTo>
                <a:cubicBezTo>
                  <a:pt x="10875" y="15282"/>
                  <a:pt x="10906" y="15282"/>
                  <a:pt x="10906" y="15282"/>
                </a:cubicBezTo>
                <a:cubicBezTo>
                  <a:pt x="10906" y="15282"/>
                  <a:pt x="10938" y="15282"/>
                  <a:pt x="10906" y="15313"/>
                </a:cubicBezTo>
                <a:cubicBezTo>
                  <a:pt x="10875" y="15375"/>
                  <a:pt x="10938" y="15344"/>
                  <a:pt x="10969" y="15344"/>
                </a:cubicBezTo>
                <a:cubicBezTo>
                  <a:pt x="11063" y="15282"/>
                  <a:pt x="11125" y="15188"/>
                  <a:pt x="11250" y="15125"/>
                </a:cubicBezTo>
                <a:cubicBezTo>
                  <a:pt x="11281" y="15125"/>
                  <a:pt x="11313" y="15125"/>
                  <a:pt x="11313" y="15094"/>
                </a:cubicBezTo>
                <a:cubicBezTo>
                  <a:pt x="11344" y="15063"/>
                  <a:pt x="11344" y="15063"/>
                  <a:pt x="11375" y="15063"/>
                </a:cubicBezTo>
                <a:cubicBezTo>
                  <a:pt x="11438" y="15094"/>
                  <a:pt x="11438" y="15032"/>
                  <a:pt x="11469" y="15000"/>
                </a:cubicBezTo>
                <a:cubicBezTo>
                  <a:pt x="11469" y="14969"/>
                  <a:pt x="11500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625" y="14907"/>
                  <a:pt x="11688" y="14813"/>
                  <a:pt x="11750" y="14750"/>
                </a:cubicBezTo>
                <a:cubicBezTo>
                  <a:pt x="11688" y="14813"/>
                  <a:pt x="11625" y="14907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31" y="14969"/>
                  <a:pt x="11531" y="14969"/>
                  <a:pt x="11531" y="14969"/>
                </a:cubicBezTo>
                <a:cubicBezTo>
                  <a:pt x="11500" y="14969"/>
                  <a:pt x="11469" y="14969"/>
                  <a:pt x="11469" y="15000"/>
                </a:cubicBezTo>
                <a:cubicBezTo>
                  <a:pt x="11500" y="15032"/>
                  <a:pt x="11500" y="15032"/>
                  <a:pt x="11500" y="15063"/>
                </a:cubicBezTo>
                <a:cubicBezTo>
                  <a:pt x="11500" y="15094"/>
                  <a:pt x="11500" y="15094"/>
                  <a:pt x="11531" y="15063"/>
                </a:cubicBezTo>
                <a:cubicBezTo>
                  <a:pt x="11531" y="15063"/>
                  <a:pt x="11531" y="15063"/>
                  <a:pt x="11563" y="15063"/>
                </a:cubicBezTo>
                <a:cubicBezTo>
                  <a:pt x="11563" y="15063"/>
                  <a:pt x="11563" y="15063"/>
                  <a:pt x="11563" y="15063"/>
                </a:cubicBezTo>
                <a:cubicBezTo>
                  <a:pt x="11563" y="15032"/>
                  <a:pt x="11563" y="15032"/>
                  <a:pt x="11594" y="15032"/>
                </a:cubicBezTo>
                <a:cubicBezTo>
                  <a:pt x="11594" y="15032"/>
                  <a:pt x="11594" y="15032"/>
                  <a:pt x="11594" y="15032"/>
                </a:cubicBezTo>
                <a:cubicBezTo>
                  <a:pt x="11594" y="15032"/>
                  <a:pt x="11625" y="15032"/>
                  <a:pt x="11625" y="15000"/>
                </a:cubicBezTo>
                <a:cubicBezTo>
                  <a:pt x="11625" y="15000"/>
                  <a:pt x="11625" y="15000"/>
                  <a:pt x="11625" y="15000"/>
                </a:cubicBezTo>
                <a:cubicBezTo>
                  <a:pt x="11625" y="15000"/>
                  <a:pt x="11625" y="14969"/>
                  <a:pt x="11625" y="14969"/>
                </a:cubicBezTo>
                <a:cubicBezTo>
                  <a:pt x="11625" y="14907"/>
                  <a:pt x="11656" y="14875"/>
                  <a:pt x="11688" y="14844"/>
                </a:cubicBezTo>
                <a:cubicBezTo>
                  <a:pt x="11875" y="14657"/>
                  <a:pt x="12063" y="14469"/>
                  <a:pt x="12250" y="14250"/>
                </a:cubicBezTo>
                <a:cubicBezTo>
                  <a:pt x="12281" y="14250"/>
                  <a:pt x="12281" y="14250"/>
                  <a:pt x="12313" y="14250"/>
                </a:cubicBezTo>
                <a:cubicBezTo>
                  <a:pt x="12313" y="14250"/>
                  <a:pt x="12344" y="14219"/>
                  <a:pt x="12344" y="14250"/>
                </a:cubicBezTo>
                <a:cubicBezTo>
                  <a:pt x="12313" y="14313"/>
                  <a:pt x="12281" y="14344"/>
                  <a:pt x="12281" y="14407"/>
                </a:cubicBezTo>
                <a:cubicBezTo>
                  <a:pt x="12281" y="14469"/>
                  <a:pt x="12219" y="14469"/>
                  <a:pt x="12188" y="14532"/>
                </a:cubicBezTo>
                <a:cubicBezTo>
                  <a:pt x="12156" y="14594"/>
                  <a:pt x="12094" y="14625"/>
                  <a:pt x="12031" y="14688"/>
                </a:cubicBezTo>
                <a:cubicBezTo>
                  <a:pt x="12031" y="14688"/>
                  <a:pt x="12031" y="14688"/>
                  <a:pt x="12031" y="14688"/>
                </a:cubicBezTo>
                <a:cubicBezTo>
                  <a:pt x="12000" y="14688"/>
                  <a:pt x="11969" y="14688"/>
                  <a:pt x="11938" y="14750"/>
                </a:cubicBezTo>
                <a:cubicBezTo>
                  <a:pt x="11938" y="14750"/>
                  <a:pt x="11938" y="14750"/>
                  <a:pt x="11906" y="14750"/>
                </a:cubicBezTo>
                <a:cubicBezTo>
                  <a:pt x="11906" y="14782"/>
                  <a:pt x="11906" y="14782"/>
                  <a:pt x="11906" y="14813"/>
                </a:cubicBezTo>
                <a:cubicBezTo>
                  <a:pt x="11906" y="14813"/>
                  <a:pt x="11906" y="14813"/>
                  <a:pt x="11906" y="14813"/>
                </a:cubicBezTo>
                <a:cubicBezTo>
                  <a:pt x="11906" y="14782"/>
                  <a:pt x="11906" y="14782"/>
                  <a:pt x="11906" y="14750"/>
                </a:cubicBezTo>
                <a:cubicBezTo>
                  <a:pt x="11844" y="14844"/>
                  <a:pt x="11719" y="14907"/>
                  <a:pt x="11656" y="15000"/>
                </a:cubicBezTo>
                <a:cubicBezTo>
                  <a:pt x="11656" y="15000"/>
                  <a:pt x="11656" y="15000"/>
                  <a:pt x="11625" y="15000"/>
                </a:cubicBezTo>
                <a:cubicBezTo>
                  <a:pt x="11625" y="15000"/>
                  <a:pt x="11625" y="15000"/>
                  <a:pt x="11625" y="15000"/>
                </a:cubicBezTo>
                <a:cubicBezTo>
                  <a:pt x="11656" y="15032"/>
                  <a:pt x="11719" y="15094"/>
                  <a:pt x="11625" y="15094"/>
                </a:cubicBezTo>
                <a:cubicBezTo>
                  <a:pt x="11906" y="15094"/>
                  <a:pt x="12188" y="15032"/>
                  <a:pt x="12469" y="15032"/>
                </a:cubicBezTo>
                <a:cubicBezTo>
                  <a:pt x="12469" y="15032"/>
                  <a:pt x="12469" y="15032"/>
                  <a:pt x="12469" y="15032"/>
                </a:cubicBezTo>
                <a:cubicBezTo>
                  <a:pt x="12656" y="15000"/>
                  <a:pt x="12844" y="15000"/>
                  <a:pt x="13031" y="15000"/>
                </a:cubicBezTo>
                <a:cubicBezTo>
                  <a:pt x="13125" y="15000"/>
                  <a:pt x="13188" y="15032"/>
                  <a:pt x="13250" y="14969"/>
                </a:cubicBezTo>
                <a:cubicBezTo>
                  <a:pt x="13750" y="14969"/>
                  <a:pt x="14219" y="14938"/>
                  <a:pt x="14688" y="14907"/>
                </a:cubicBezTo>
                <a:cubicBezTo>
                  <a:pt x="14688" y="14907"/>
                  <a:pt x="14688" y="14875"/>
                  <a:pt x="14688" y="14875"/>
                </a:cubicBezTo>
                <a:cubicBezTo>
                  <a:pt x="14688" y="14875"/>
                  <a:pt x="14688" y="14907"/>
                  <a:pt x="14688" y="14907"/>
                </a:cubicBezTo>
                <a:cubicBezTo>
                  <a:pt x="14719" y="14907"/>
                  <a:pt x="14719" y="14938"/>
                  <a:pt x="14750" y="14938"/>
                </a:cubicBezTo>
                <a:cubicBezTo>
                  <a:pt x="14750" y="14938"/>
                  <a:pt x="14750" y="14938"/>
                  <a:pt x="14750" y="14938"/>
                </a:cubicBezTo>
                <a:cubicBezTo>
                  <a:pt x="14719" y="15000"/>
                  <a:pt x="14625" y="14969"/>
                  <a:pt x="14625" y="15000"/>
                </a:cubicBezTo>
                <a:cubicBezTo>
                  <a:pt x="14625" y="15032"/>
                  <a:pt x="14625" y="15032"/>
                  <a:pt x="14625" y="15032"/>
                </a:cubicBezTo>
                <a:cubicBezTo>
                  <a:pt x="14625" y="15032"/>
                  <a:pt x="14625" y="15032"/>
                  <a:pt x="14625" y="15000"/>
                </a:cubicBezTo>
                <a:cubicBezTo>
                  <a:pt x="14594" y="15000"/>
                  <a:pt x="14563" y="15000"/>
                  <a:pt x="14531" y="15032"/>
                </a:cubicBezTo>
                <a:cubicBezTo>
                  <a:pt x="14500" y="15032"/>
                  <a:pt x="14438" y="15032"/>
                  <a:pt x="14406" y="15032"/>
                </a:cubicBezTo>
                <a:cubicBezTo>
                  <a:pt x="14344" y="15063"/>
                  <a:pt x="14281" y="15063"/>
                  <a:pt x="14250" y="15157"/>
                </a:cubicBezTo>
                <a:cubicBezTo>
                  <a:pt x="14250" y="15157"/>
                  <a:pt x="14250" y="15157"/>
                  <a:pt x="14250" y="15157"/>
                </a:cubicBezTo>
                <a:cubicBezTo>
                  <a:pt x="14219" y="15125"/>
                  <a:pt x="14219" y="15125"/>
                  <a:pt x="14188" y="15125"/>
                </a:cubicBezTo>
                <a:cubicBezTo>
                  <a:pt x="14125" y="15063"/>
                  <a:pt x="14031" y="15063"/>
                  <a:pt x="13969" y="15125"/>
                </a:cubicBezTo>
                <a:cubicBezTo>
                  <a:pt x="13938" y="15032"/>
                  <a:pt x="13938" y="15032"/>
                  <a:pt x="13844" y="15094"/>
                </a:cubicBezTo>
                <a:cubicBezTo>
                  <a:pt x="13781" y="15125"/>
                  <a:pt x="13688" y="15125"/>
                  <a:pt x="13688" y="15032"/>
                </a:cubicBezTo>
                <a:cubicBezTo>
                  <a:pt x="13625" y="15125"/>
                  <a:pt x="13531" y="15032"/>
                  <a:pt x="13469" y="15094"/>
                </a:cubicBezTo>
                <a:cubicBezTo>
                  <a:pt x="13469" y="15125"/>
                  <a:pt x="13406" y="15125"/>
                  <a:pt x="13438" y="15063"/>
                </a:cubicBezTo>
                <a:cubicBezTo>
                  <a:pt x="13438" y="15063"/>
                  <a:pt x="13438" y="15063"/>
                  <a:pt x="13438" y="15032"/>
                </a:cubicBezTo>
                <a:cubicBezTo>
                  <a:pt x="13406" y="15032"/>
                  <a:pt x="13406" y="15063"/>
                  <a:pt x="13406" y="15063"/>
                </a:cubicBezTo>
                <a:cubicBezTo>
                  <a:pt x="13375" y="15157"/>
                  <a:pt x="13344" y="15125"/>
                  <a:pt x="13281" y="15094"/>
                </a:cubicBezTo>
                <a:cubicBezTo>
                  <a:pt x="13281" y="15063"/>
                  <a:pt x="13250" y="15063"/>
                  <a:pt x="13250" y="15063"/>
                </a:cubicBezTo>
                <a:cubicBezTo>
                  <a:pt x="13156" y="15094"/>
                  <a:pt x="13031" y="15063"/>
                  <a:pt x="12938" y="15157"/>
                </a:cubicBezTo>
                <a:cubicBezTo>
                  <a:pt x="12938" y="15094"/>
                  <a:pt x="12938" y="15063"/>
                  <a:pt x="12906" y="15094"/>
                </a:cubicBezTo>
                <a:cubicBezTo>
                  <a:pt x="12813" y="15063"/>
                  <a:pt x="12719" y="15157"/>
                  <a:pt x="12625" y="15125"/>
                </a:cubicBezTo>
                <a:cubicBezTo>
                  <a:pt x="12625" y="15125"/>
                  <a:pt x="12594" y="15125"/>
                  <a:pt x="12594" y="15157"/>
                </a:cubicBezTo>
                <a:cubicBezTo>
                  <a:pt x="12594" y="15157"/>
                  <a:pt x="12563" y="15157"/>
                  <a:pt x="12563" y="15157"/>
                </a:cubicBezTo>
                <a:cubicBezTo>
                  <a:pt x="12563" y="15094"/>
                  <a:pt x="12563" y="15063"/>
                  <a:pt x="12500" y="15063"/>
                </a:cubicBezTo>
                <a:cubicBezTo>
                  <a:pt x="12344" y="15094"/>
                  <a:pt x="12156" y="15094"/>
                  <a:pt x="11969" y="15157"/>
                </a:cubicBezTo>
                <a:cubicBezTo>
                  <a:pt x="11875" y="15219"/>
                  <a:pt x="11750" y="15157"/>
                  <a:pt x="11656" y="15219"/>
                </a:cubicBezTo>
                <a:cubicBezTo>
                  <a:pt x="11781" y="15344"/>
                  <a:pt x="11969" y="15407"/>
                  <a:pt x="12125" y="15500"/>
                </a:cubicBezTo>
                <a:cubicBezTo>
                  <a:pt x="12188" y="15563"/>
                  <a:pt x="12250" y="15563"/>
                  <a:pt x="12313" y="15657"/>
                </a:cubicBezTo>
                <a:cubicBezTo>
                  <a:pt x="12344" y="15657"/>
                  <a:pt x="12375" y="15625"/>
                  <a:pt x="12375" y="15594"/>
                </a:cubicBezTo>
                <a:cubicBezTo>
                  <a:pt x="12375" y="15594"/>
                  <a:pt x="12375" y="15594"/>
                  <a:pt x="12375" y="15594"/>
                </a:cubicBezTo>
                <a:cubicBezTo>
                  <a:pt x="12375" y="15594"/>
                  <a:pt x="12406" y="15594"/>
                  <a:pt x="12406" y="15594"/>
                </a:cubicBezTo>
                <a:cubicBezTo>
                  <a:pt x="12438" y="15688"/>
                  <a:pt x="12500" y="15719"/>
                  <a:pt x="12594" y="15688"/>
                </a:cubicBezTo>
                <a:cubicBezTo>
                  <a:pt x="12594" y="15688"/>
                  <a:pt x="12594" y="15657"/>
                  <a:pt x="12594" y="15657"/>
                </a:cubicBezTo>
                <a:cubicBezTo>
                  <a:pt x="12594" y="15657"/>
                  <a:pt x="12594" y="15688"/>
                  <a:pt x="12594" y="15688"/>
                </a:cubicBezTo>
                <a:cubicBezTo>
                  <a:pt x="12594" y="15688"/>
                  <a:pt x="12594" y="15688"/>
                  <a:pt x="12594" y="15688"/>
                </a:cubicBezTo>
                <a:cubicBezTo>
                  <a:pt x="12563" y="15782"/>
                  <a:pt x="12656" y="15782"/>
                  <a:pt x="12656" y="15844"/>
                </a:cubicBezTo>
                <a:cubicBezTo>
                  <a:pt x="12656" y="15844"/>
                  <a:pt x="12688" y="15844"/>
                  <a:pt x="12688" y="15844"/>
                </a:cubicBezTo>
                <a:cubicBezTo>
                  <a:pt x="12688" y="15844"/>
                  <a:pt x="12656" y="15844"/>
                  <a:pt x="12656" y="15844"/>
                </a:cubicBezTo>
                <a:cubicBezTo>
                  <a:pt x="12594" y="15907"/>
                  <a:pt x="12688" y="15938"/>
                  <a:pt x="12688" y="15938"/>
                </a:cubicBezTo>
                <a:cubicBezTo>
                  <a:pt x="12813" y="16032"/>
                  <a:pt x="12906" y="16125"/>
                  <a:pt x="13031" y="16219"/>
                </a:cubicBezTo>
                <a:cubicBezTo>
                  <a:pt x="13031" y="16219"/>
                  <a:pt x="13031" y="16219"/>
                  <a:pt x="13031" y="16219"/>
                </a:cubicBezTo>
                <a:cubicBezTo>
                  <a:pt x="13031" y="16250"/>
                  <a:pt x="13094" y="16250"/>
                  <a:pt x="13094" y="16313"/>
                </a:cubicBezTo>
                <a:cubicBezTo>
                  <a:pt x="13094" y="16313"/>
                  <a:pt x="13094" y="16313"/>
                  <a:pt x="13094" y="16313"/>
                </a:cubicBezTo>
                <a:cubicBezTo>
                  <a:pt x="13094" y="16344"/>
                  <a:pt x="13094" y="16344"/>
                  <a:pt x="13063" y="16313"/>
                </a:cubicBezTo>
                <a:cubicBezTo>
                  <a:pt x="13063" y="16313"/>
                  <a:pt x="13031" y="16282"/>
                  <a:pt x="13000" y="16282"/>
                </a:cubicBezTo>
                <a:cubicBezTo>
                  <a:pt x="12969" y="16250"/>
                  <a:pt x="12969" y="16219"/>
                  <a:pt x="12906" y="16188"/>
                </a:cubicBezTo>
                <a:cubicBezTo>
                  <a:pt x="12875" y="16188"/>
                  <a:pt x="12844" y="16157"/>
                  <a:pt x="12813" y="16125"/>
                </a:cubicBezTo>
                <a:cubicBezTo>
                  <a:pt x="12813" y="16125"/>
                  <a:pt x="12813" y="16125"/>
                  <a:pt x="12813" y="16125"/>
                </a:cubicBezTo>
                <a:cubicBezTo>
                  <a:pt x="12813" y="16094"/>
                  <a:pt x="12813" y="16094"/>
                  <a:pt x="12750" y="16094"/>
                </a:cubicBezTo>
                <a:cubicBezTo>
                  <a:pt x="12719" y="16094"/>
                  <a:pt x="12719" y="16125"/>
                  <a:pt x="12719" y="16157"/>
                </a:cubicBezTo>
                <a:cubicBezTo>
                  <a:pt x="12719" y="16157"/>
                  <a:pt x="12688" y="16188"/>
                  <a:pt x="12688" y="16188"/>
                </a:cubicBezTo>
                <a:cubicBezTo>
                  <a:pt x="12656" y="16219"/>
                  <a:pt x="12656" y="16250"/>
                  <a:pt x="12625" y="16282"/>
                </a:cubicBezTo>
                <a:cubicBezTo>
                  <a:pt x="12625" y="16313"/>
                  <a:pt x="12594" y="16375"/>
                  <a:pt x="12563" y="16313"/>
                </a:cubicBezTo>
                <a:cubicBezTo>
                  <a:pt x="12531" y="16375"/>
                  <a:pt x="12500" y="16407"/>
                  <a:pt x="12469" y="16469"/>
                </a:cubicBezTo>
                <a:cubicBezTo>
                  <a:pt x="12500" y="16407"/>
                  <a:pt x="12531" y="16375"/>
                  <a:pt x="12563" y="16313"/>
                </a:cubicBezTo>
                <a:cubicBezTo>
                  <a:pt x="12594" y="16219"/>
                  <a:pt x="12625" y="16125"/>
                  <a:pt x="12688" y="16032"/>
                </a:cubicBezTo>
                <a:cubicBezTo>
                  <a:pt x="12688" y="16000"/>
                  <a:pt x="12656" y="15969"/>
                  <a:pt x="12656" y="15969"/>
                </a:cubicBezTo>
                <a:cubicBezTo>
                  <a:pt x="12625" y="15938"/>
                  <a:pt x="12563" y="15875"/>
                  <a:pt x="12594" y="15813"/>
                </a:cubicBezTo>
                <a:cubicBezTo>
                  <a:pt x="12531" y="15875"/>
                  <a:pt x="12469" y="15813"/>
                  <a:pt x="12406" y="15782"/>
                </a:cubicBezTo>
                <a:cubicBezTo>
                  <a:pt x="12375" y="15782"/>
                  <a:pt x="12375" y="15750"/>
                  <a:pt x="12344" y="15782"/>
                </a:cubicBezTo>
                <a:cubicBezTo>
                  <a:pt x="12344" y="15813"/>
                  <a:pt x="12344" y="15813"/>
                  <a:pt x="12313" y="15813"/>
                </a:cubicBezTo>
                <a:cubicBezTo>
                  <a:pt x="12281" y="15813"/>
                  <a:pt x="12313" y="15782"/>
                  <a:pt x="12313" y="15782"/>
                </a:cubicBezTo>
                <a:cubicBezTo>
                  <a:pt x="12313" y="15750"/>
                  <a:pt x="12313" y="15688"/>
                  <a:pt x="12313" y="15657"/>
                </a:cubicBezTo>
                <a:cubicBezTo>
                  <a:pt x="12313" y="15657"/>
                  <a:pt x="12313" y="15657"/>
                  <a:pt x="12313" y="15657"/>
                </a:cubicBezTo>
                <a:cubicBezTo>
                  <a:pt x="12313" y="15657"/>
                  <a:pt x="12313" y="15657"/>
                  <a:pt x="12313" y="15657"/>
                </a:cubicBezTo>
                <a:cubicBezTo>
                  <a:pt x="12250" y="15657"/>
                  <a:pt x="12219" y="15625"/>
                  <a:pt x="12188" y="15625"/>
                </a:cubicBezTo>
                <a:cubicBezTo>
                  <a:pt x="12125" y="15532"/>
                  <a:pt x="12000" y="15500"/>
                  <a:pt x="11875" y="15438"/>
                </a:cubicBezTo>
                <a:cubicBezTo>
                  <a:pt x="11875" y="15438"/>
                  <a:pt x="11844" y="15438"/>
                  <a:pt x="11844" y="15438"/>
                </a:cubicBezTo>
                <a:cubicBezTo>
                  <a:pt x="11813" y="15500"/>
                  <a:pt x="11750" y="15532"/>
                  <a:pt x="11719" y="15563"/>
                </a:cubicBezTo>
                <a:cubicBezTo>
                  <a:pt x="11688" y="15594"/>
                  <a:pt x="11656" y="15594"/>
                  <a:pt x="11625" y="15594"/>
                </a:cubicBezTo>
                <a:cubicBezTo>
                  <a:pt x="11625" y="15594"/>
                  <a:pt x="11625" y="15625"/>
                  <a:pt x="11625" y="15625"/>
                </a:cubicBezTo>
                <a:cubicBezTo>
                  <a:pt x="11625" y="15625"/>
                  <a:pt x="11625" y="15594"/>
                  <a:pt x="11625" y="15594"/>
                </a:cubicBezTo>
                <a:cubicBezTo>
                  <a:pt x="11625" y="15563"/>
                  <a:pt x="11625" y="15532"/>
                  <a:pt x="11625" y="15500"/>
                </a:cubicBezTo>
                <a:close/>
                <a:moveTo>
                  <a:pt x="11219" y="16219"/>
                </a:moveTo>
                <a:cubicBezTo>
                  <a:pt x="11188" y="16125"/>
                  <a:pt x="11188" y="16032"/>
                  <a:pt x="11219" y="15938"/>
                </a:cubicBezTo>
                <a:cubicBezTo>
                  <a:pt x="11156" y="15969"/>
                  <a:pt x="11156" y="16032"/>
                  <a:pt x="11125" y="16032"/>
                </a:cubicBezTo>
                <a:cubicBezTo>
                  <a:pt x="11094" y="16000"/>
                  <a:pt x="11125" y="16000"/>
                  <a:pt x="11125" y="15969"/>
                </a:cubicBezTo>
                <a:cubicBezTo>
                  <a:pt x="11125" y="15938"/>
                  <a:pt x="11156" y="15938"/>
                  <a:pt x="11125" y="15907"/>
                </a:cubicBezTo>
                <a:cubicBezTo>
                  <a:pt x="11094" y="15907"/>
                  <a:pt x="11094" y="15938"/>
                  <a:pt x="11094" y="15938"/>
                </a:cubicBezTo>
                <a:cubicBezTo>
                  <a:pt x="11063" y="15969"/>
                  <a:pt x="11031" y="16000"/>
                  <a:pt x="11000" y="16000"/>
                </a:cubicBezTo>
                <a:cubicBezTo>
                  <a:pt x="11000" y="16032"/>
                  <a:pt x="11031" y="16032"/>
                  <a:pt x="11031" y="16063"/>
                </a:cubicBezTo>
                <a:cubicBezTo>
                  <a:pt x="11031" y="16032"/>
                  <a:pt x="11000" y="16032"/>
                  <a:pt x="11000" y="16000"/>
                </a:cubicBezTo>
                <a:cubicBezTo>
                  <a:pt x="10969" y="16000"/>
                  <a:pt x="10969" y="16032"/>
                  <a:pt x="10938" y="16032"/>
                </a:cubicBezTo>
                <a:cubicBezTo>
                  <a:pt x="10938" y="16032"/>
                  <a:pt x="10938" y="16032"/>
                  <a:pt x="10938" y="16032"/>
                </a:cubicBezTo>
                <a:cubicBezTo>
                  <a:pt x="10938" y="15938"/>
                  <a:pt x="11000" y="15844"/>
                  <a:pt x="11031" y="15750"/>
                </a:cubicBezTo>
                <a:cubicBezTo>
                  <a:pt x="11063" y="15657"/>
                  <a:pt x="11063" y="15563"/>
                  <a:pt x="11125" y="15469"/>
                </a:cubicBezTo>
                <a:cubicBezTo>
                  <a:pt x="11125" y="15469"/>
                  <a:pt x="11125" y="15469"/>
                  <a:pt x="11125" y="15469"/>
                </a:cubicBezTo>
                <a:cubicBezTo>
                  <a:pt x="11125" y="15469"/>
                  <a:pt x="11125" y="15469"/>
                  <a:pt x="11125" y="15469"/>
                </a:cubicBezTo>
                <a:cubicBezTo>
                  <a:pt x="11188" y="15469"/>
                  <a:pt x="11188" y="15469"/>
                  <a:pt x="11188" y="15407"/>
                </a:cubicBezTo>
                <a:cubicBezTo>
                  <a:pt x="11188" y="15407"/>
                  <a:pt x="11188" y="15407"/>
                  <a:pt x="11188" y="15407"/>
                </a:cubicBezTo>
                <a:cubicBezTo>
                  <a:pt x="11219" y="15438"/>
                  <a:pt x="11219" y="15438"/>
                  <a:pt x="11219" y="15469"/>
                </a:cubicBezTo>
                <a:cubicBezTo>
                  <a:pt x="11188" y="15500"/>
                  <a:pt x="11188" y="15563"/>
                  <a:pt x="11156" y="15594"/>
                </a:cubicBezTo>
                <a:cubicBezTo>
                  <a:pt x="11125" y="15688"/>
                  <a:pt x="11125" y="15750"/>
                  <a:pt x="11125" y="15844"/>
                </a:cubicBezTo>
                <a:cubicBezTo>
                  <a:pt x="11156" y="15907"/>
                  <a:pt x="11188" y="15844"/>
                  <a:pt x="11219" y="15875"/>
                </a:cubicBezTo>
                <a:cubicBezTo>
                  <a:pt x="11250" y="15907"/>
                  <a:pt x="11250" y="15875"/>
                  <a:pt x="11250" y="15844"/>
                </a:cubicBezTo>
                <a:cubicBezTo>
                  <a:pt x="11313" y="15657"/>
                  <a:pt x="11344" y="15469"/>
                  <a:pt x="11375" y="15282"/>
                </a:cubicBezTo>
                <a:cubicBezTo>
                  <a:pt x="11438" y="15625"/>
                  <a:pt x="11313" y="15907"/>
                  <a:pt x="11219" y="16219"/>
                </a:cubicBezTo>
                <a:close/>
                <a:moveTo>
                  <a:pt x="11094" y="16188"/>
                </a:moveTo>
                <a:cubicBezTo>
                  <a:pt x="11094" y="16157"/>
                  <a:pt x="11063" y="16157"/>
                  <a:pt x="11063" y="16125"/>
                </a:cubicBezTo>
                <a:cubicBezTo>
                  <a:pt x="11063" y="16157"/>
                  <a:pt x="11094" y="16157"/>
                  <a:pt x="11094" y="16188"/>
                </a:cubicBezTo>
                <a:close/>
                <a:moveTo>
                  <a:pt x="10938" y="16032"/>
                </a:moveTo>
                <a:cubicBezTo>
                  <a:pt x="10938" y="16032"/>
                  <a:pt x="10906" y="16063"/>
                  <a:pt x="10906" y="16063"/>
                </a:cubicBezTo>
                <a:cubicBezTo>
                  <a:pt x="10906" y="16063"/>
                  <a:pt x="10938" y="16032"/>
                  <a:pt x="10938" y="16032"/>
                </a:cubicBezTo>
                <a:close/>
                <a:moveTo>
                  <a:pt x="11125" y="15469"/>
                </a:moveTo>
                <a:cubicBezTo>
                  <a:pt x="11125" y="15438"/>
                  <a:pt x="11125" y="15438"/>
                  <a:pt x="11125" y="15438"/>
                </a:cubicBezTo>
                <a:cubicBezTo>
                  <a:pt x="11125" y="15438"/>
                  <a:pt x="11125" y="15438"/>
                  <a:pt x="11125" y="15469"/>
                </a:cubicBezTo>
                <a:close/>
                <a:moveTo>
                  <a:pt x="11125" y="15407"/>
                </a:moveTo>
                <a:cubicBezTo>
                  <a:pt x="11125" y="15407"/>
                  <a:pt x="11156" y="15407"/>
                  <a:pt x="11156" y="15407"/>
                </a:cubicBezTo>
                <a:cubicBezTo>
                  <a:pt x="11156" y="15407"/>
                  <a:pt x="11125" y="15407"/>
                  <a:pt x="11125" y="15407"/>
                </a:cubicBezTo>
                <a:close/>
                <a:moveTo>
                  <a:pt x="10719" y="17250"/>
                </a:moveTo>
                <a:cubicBezTo>
                  <a:pt x="10781" y="17313"/>
                  <a:pt x="10750" y="17344"/>
                  <a:pt x="10688" y="17407"/>
                </a:cubicBezTo>
                <a:cubicBezTo>
                  <a:pt x="10688" y="17407"/>
                  <a:pt x="10656" y="17438"/>
                  <a:pt x="10688" y="17469"/>
                </a:cubicBezTo>
                <a:cubicBezTo>
                  <a:pt x="10688" y="17469"/>
                  <a:pt x="10719" y="17469"/>
                  <a:pt x="10719" y="17469"/>
                </a:cubicBezTo>
                <a:cubicBezTo>
                  <a:pt x="10813" y="17500"/>
                  <a:pt x="10813" y="17532"/>
                  <a:pt x="10750" y="17594"/>
                </a:cubicBezTo>
                <a:cubicBezTo>
                  <a:pt x="10719" y="17625"/>
                  <a:pt x="10688" y="17688"/>
                  <a:pt x="10688" y="17750"/>
                </a:cubicBezTo>
                <a:cubicBezTo>
                  <a:pt x="10688" y="17969"/>
                  <a:pt x="10688" y="17969"/>
                  <a:pt x="10625" y="18063"/>
                </a:cubicBezTo>
                <a:cubicBezTo>
                  <a:pt x="10594" y="17875"/>
                  <a:pt x="10594" y="17719"/>
                  <a:pt x="10594" y="17532"/>
                </a:cubicBezTo>
                <a:cubicBezTo>
                  <a:pt x="10594" y="17500"/>
                  <a:pt x="10594" y="17500"/>
                  <a:pt x="10594" y="17469"/>
                </a:cubicBezTo>
                <a:cubicBezTo>
                  <a:pt x="10594" y="17469"/>
                  <a:pt x="10594" y="17469"/>
                  <a:pt x="10594" y="17469"/>
                </a:cubicBezTo>
                <a:cubicBezTo>
                  <a:pt x="10625" y="17469"/>
                  <a:pt x="10625" y="17469"/>
                  <a:pt x="10625" y="17438"/>
                </a:cubicBezTo>
                <a:cubicBezTo>
                  <a:pt x="10625" y="17313"/>
                  <a:pt x="10625" y="17188"/>
                  <a:pt x="10625" y="17094"/>
                </a:cubicBezTo>
                <a:cubicBezTo>
                  <a:pt x="10625" y="17063"/>
                  <a:pt x="10625" y="17063"/>
                  <a:pt x="10656" y="17063"/>
                </a:cubicBezTo>
                <a:cubicBezTo>
                  <a:pt x="10688" y="17063"/>
                  <a:pt x="10719" y="17063"/>
                  <a:pt x="10750" y="17094"/>
                </a:cubicBezTo>
                <a:cubicBezTo>
                  <a:pt x="10656" y="17125"/>
                  <a:pt x="10688" y="17219"/>
                  <a:pt x="10719" y="17250"/>
                </a:cubicBezTo>
                <a:close/>
                <a:moveTo>
                  <a:pt x="8656" y="18532"/>
                </a:moveTo>
                <a:cubicBezTo>
                  <a:pt x="8656" y="18532"/>
                  <a:pt x="8656" y="18500"/>
                  <a:pt x="8688" y="18500"/>
                </a:cubicBezTo>
                <a:cubicBezTo>
                  <a:pt x="8688" y="18500"/>
                  <a:pt x="8688" y="18500"/>
                  <a:pt x="8688" y="18500"/>
                </a:cubicBezTo>
                <a:cubicBezTo>
                  <a:pt x="8688" y="18500"/>
                  <a:pt x="8688" y="18500"/>
                  <a:pt x="8688" y="18500"/>
                </a:cubicBezTo>
                <a:cubicBezTo>
                  <a:pt x="8656" y="18500"/>
                  <a:pt x="8656" y="18532"/>
                  <a:pt x="8656" y="18532"/>
                </a:cubicBezTo>
                <a:cubicBezTo>
                  <a:pt x="8625" y="18532"/>
                  <a:pt x="8625" y="18532"/>
                  <a:pt x="8594" y="18532"/>
                </a:cubicBezTo>
                <a:cubicBezTo>
                  <a:pt x="8594" y="18532"/>
                  <a:pt x="8594" y="18500"/>
                  <a:pt x="8594" y="18500"/>
                </a:cubicBezTo>
                <a:cubicBezTo>
                  <a:pt x="8625" y="18469"/>
                  <a:pt x="8625" y="18469"/>
                  <a:pt x="8656" y="18438"/>
                </a:cubicBezTo>
                <a:cubicBezTo>
                  <a:pt x="8625" y="18469"/>
                  <a:pt x="8625" y="18469"/>
                  <a:pt x="8594" y="18500"/>
                </a:cubicBezTo>
                <a:cubicBezTo>
                  <a:pt x="8594" y="18500"/>
                  <a:pt x="8594" y="18532"/>
                  <a:pt x="8594" y="18532"/>
                </a:cubicBezTo>
                <a:cubicBezTo>
                  <a:pt x="8625" y="18532"/>
                  <a:pt x="8625" y="18532"/>
                  <a:pt x="8656" y="18532"/>
                </a:cubicBezTo>
                <a:close/>
                <a:moveTo>
                  <a:pt x="8250" y="18844"/>
                </a:moveTo>
                <a:cubicBezTo>
                  <a:pt x="8250" y="18875"/>
                  <a:pt x="8250" y="18907"/>
                  <a:pt x="8219" y="18938"/>
                </a:cubicBezTo>
                <a:cubicBezTo>
                  <a:pt x="8250" y="18907"/>
                  <a:pt x="8250" y="18875"/>
                  <a:pt x="8250" y="18844"/>
                </a:cubicBezTo>
                <a:cubicBezTo>
                  <a:pt x="8250" y="18844"/>
                  <a:pt x="8250" y="18844"/>
                  <a:pt x="8250" y="18844"/>
                </a:cubicBezTo>
                <a:close/>
                <a:moveTo>
                  <a:pt x="2063" y="15407"/>
                </a:moveTo>
                <a:cubicBezTo>
                  <a:pt x="2031" y="15438"/>
                  <a:pt x="2031" y="15407"/>
                  <a:pt x="2000" y="15375"/>
                </a:cubicBezTo>
                <a:cubicBezTo>
                  <a:pt x="2031" y="15407"/>
                  <a:pt x="2031" y="15438"/>
                  <a:pt x="2063" y="15407"/>
                </a:cubicBezTo>
                <a:cubicBezTo>
                  <a:pt x="2063" y="15438"/>
                  <a:pt x="2063" y="15438"/>
                  <a:pt x="2063" y="15469"/>
                </a:cubicBezTo>
                <a:cubicBezTo>
                  <a:pt x="2063" y="15438"/>
                  <a:pt x="2063" y="15438"/>
                  <a:pt x="2063" y="15407"/>
                </a:cubicBezTo>
                <a:close/>
                <a:moveTo>
                  <a:pt x="3125" y="13438"/>
                </a:moveTo>
                <a:cubicBezTo>
                  <a:pt x="3125" y="13438"/>
                  <a:pt x="3156" y="13438"/>
                  <a:pt x="3156" y="13469"/>
                </a:cubicBezTo>
                <a:cubicBezTo>
                  <a:pt x="3125" y="13469"/>
                  <a:pt x="3125" y="13469"/>
                  <a:pt x="3094" y="13469"/>
                </a:cubicBezTo>
                <a:cubicBezTo>
                  <a:pt x="3063" y="13469"/>
                  <a:pt x="3031" y="13469"/>
                  <a:pt x="3000" y="13500"/>
                </a:cubicBezTo>
                <a:cubicBezTo>
                  <a:pt x="2969" y="13469"/>
                  <a:pt x="3031" y="13438"/>
                  <a:pt x="2969" y="13438"/>
                </a:cubicBezTo>
                <a:cubicBezTo>
                  <a:pt x="2938" y="13438"/>
                  <a:pt x="2906" y="13407"/>
                  <a:pt x="2844" y="13438"/>
                </a:cubicBezTo>
                <a:cubicBezTo>
                  <a:pt x="2844" y="13469"/>
                  <a:pt x="2813" y="13532"/>
                  <a:pt x="2781" y="13500"/>
                </a:cubicBezTo>
                <a:cubicBezTo>
                  <a:pt x="2750" y="13469"/>
                  <a:pt x="2781" y="13407"/>
                  <a:pt x="2813" y="13375"/>
                </a:cubicBezTo>
                <a:cubicBezTo>
                  <a:pt x="2875" y="13282"/>
                  <a:pt x="2906" y="13282"/>
                  <a:pt x="3000" y="13344"/>
                </a:cubicBezTo>
                <a:cubicBezTo>
                  <a:pt x="3031" y="13375"/>
                  <a:pt x="3094" y="13407"/>
                  <a:pt x="3125" y="13438"/>
                </a:cubicBezTo>
                <a:close/>
                <a:moveTo>
                  <a:pt x="2344" y="14469"/>
                </a:moveTo>
                <a:cubicBezTo>
                  <a:pt x="2250" y="14469"/>
                  <a:pt x="2219" y="14469"/>
                  <a:pt x="2188" y="14532"/>
                </a:cubicBezTo>
                <a:cubicBezTo>
                  <a:pt x="2188" y="14594"/>
                  <a:pt x="2188" y="14657"/>
                  <a:pt x="2094" y="14657"/>
                </a:cubicBezTo>
                <a:cubicBezTo>
                  <a:pt x="2094" y="14594"/>
                  <a:pt x="2094" y="14532"/>
                  <a:pt x="2156" y="14469"/>
                </a:cubicBezTo>
                <a:cubicBezTo>
                  <a:pt x="2188" y="14438"/>
                  <a:pt x="2156" y="14407"/>
                  <a:pt x="2094" y="14438"/>
                </a:cubicBezTo>
                <a:cubicBezTo>
                  <a:pt x="2063" y="14438"/>
                  <a:pt x="2063" y="14438"/>
                  <a:pt x="2063" y="14469"/>
                </a:cubicBezTo>
                <a:cubicBezTo>
                  <a:pt x="2031" y="14469"/>
                  <a:pt x="2031" y="14469"/>
                  <a:pt x="2031" y="14469"/>
                </a:cubicBezTo>
                <a:cubicBezTo>
                  <a:pt x="2000" y="14469"/>
                  <a:pt x="2000" y="14469"/>
                  <a:pt x="1969" y="14438"/>
                </a:cubicBezTo>
                <a:cubicBezTo>
                  <a:pt x="1938" y="14438"/>
                  <a:pt x="1938" y="14407"/>
                  <a:pt x="1906" y="14438"/>
                </a:cubicBezTo>
                <a:cubicBezTo>
                  <a:pt x="1875" y="14469"/>
                  <a:pt x="1844" y="14500"/>
                  <a:pt x="1875" y="14563"/>
                </a:cubicBezTo>
                <a:cubicBezTo>
                  <a:pt x="1875" y="14563"/>
                  <a:pt x="1875" y="14563"/>
                  <a:pt x="1875" y="14563"/>
                </a:cubicBezTo>
                <a:cubicBezTo>
                  <a:pt x="1844" y="14594"/>
                  <a:pt x="1781" y="14563"/>
                  <a:pt x="1781" y="14594"/>
                </a:cubicBezTo>
                <a:cubicBezTo>
                  <a:pt x="1781" y="14688"/>
                  <a:pt x="1719" y="14688"/>
                  <a:pt x="1656" y="14688"/>
                </a:cubicBezTo>
                <a:cubicBezTo>
                  <a:pt x="1719" y="14594"/>
                  <a:pt x="1781" y="14500"/>
                  <a:pt x="1813" y="14407"/>
                </a:cubicBezTo>
                <a:cubicBezTo>
                  <a:pt x="1813" y="14407"/>
                  <a:pt x="1813" y="14407"/>
                  <a:pt x="1813" y="14407"/>
                </a:cubicBezTo>
                <a:cubicBezTo>
                  <a:pt x="1813" y="14407"/>
                  <a:pt x="1813" y="14375"/>
                  <a:pt x="1813" y="14375"/>
                </a:cubicBezTo>
                <a:cubicBezTo>
                  <a:pt x="1813" y="14375"/>
                  <a:pt x="1813" y="14375"/>
                  <a:pt x="1813" y="14375"/>
                </a:cubicBezTo>
                <a:cubicBezTo>
                  <a:pt x="1781" y="14344"/>
                  <a:pt x="1781" y="14344"/>
                  <a:pt x="1750" y="14344"/>
                </a:cubicBezTo>
                <a:cubicBezTo>
                  <a:pt x="1781" y="14344"/>
                  <a:pt x="1781" y="14344"/>
                  <a:pt x="1813" y="14375"/>
                </a:cubicBezTo>
                <a:cubicBezTo>
                  <a:pt x="1813" y="14375"/>
                  <a:pt x="1813" y="14375"/>
                  <a:pt x="1813" y="14375"/>
                </a:cubicBezTo>
                <a:cubicBezTo>
                  <a:pt x="1969" y="14375"/>
                  <a:pt x="2094" y="14375"/>
                  <a:pt x="2219" y="14375"/>
                </a:cubicBezTo>
                <a:cubicBezTo>
                  <a:pt x="2219" y="14407"/>
                  <a:pt x="2250" y="14407"/>
                  <a:pt x="2281" y="14375"/>
                </a:cubicBezTo>
                <a:cubicBezTo>
                  <a:pt x="2313" y="14375"/>
                  <a:pt x="2344" y="14375"/>
                  <a:pt x="2344" y="14375"/>
                </a:cubicBezTo>
                <a:cubicBezTo>
                  <a:pt x="2344" y="14375"/>
                  <a:pt x="2344" y="14375"/>
                  <a:pt x="2344" y="14375"/>
                </a:cubicBezTo>
                <a:cubicBezTo>
                  <a:pt x="2375" y="14438"/>
                  <a:pt x="2438" y="14407"/>
                  <a:pt x="2469" y="14407"/>
                </a:cubicBezTo>
                <a:cubicBezTo>
                  <a:pt x="2469" y="14407"/>
                  <a:pt x="2500" y="14407"/>
                  <a:pt x="2500" y="14407"/>
                </a:cubicBezTo>
                <a:cubicBezTo>
                  <a:pt x="2469" y="14500"/>
                  <a:pt x="2375" y="14469"/>
                  <a:pt x="2344" y="14469"/>
                </a:cubicBezTo>
                <a:close/>
                <a:moveTo>
                  <a:pt x="2375" y="13469"/>
                </a:moveTo>
                <a:cubicBezTo>
                  <a:pt x="2375" y="13469"/>
                  <a:pt x="2375" y="13500"/>
                  <a:pt x="2375" y="13500"/>
                </a:cubicBezTo>
                <a:cubicBezTo>
                  <a:pt x="2375" y="13500"/>
                  <a:pt x="2375" y="13469"/>
                  <a:pt x="2375" y="13469"/>
                </a:cubicBezTo>
                <a:close/>
                <a:moveTo>
                  <a:pt x="2375" y="13438"/>
                </a:moveTo>
                <a:cubicBezTo>
                  <a:pt x="2375" y="13438"/>
                  <a:pt x="2344" y="13438"/>
                  <a:pt x="2344" y="13438"/>
                </a:cubicBezTo>
                <a:cubicBezTo>
                  <a:pt x="2344" y="13438"/>
                  <a:pt x="2375" y="13438"/>
                  <a:pt x="2375" y="13438"/>
                </a:cubicBezTo>
                <a:cubicBezTo>
                  <a:pt x="2375" y="13375"/>
                  <a:pt x="2406" y="13313"/>
                  <a:pt x="2469" y="13250"/>
                </a:cubicBezTo>
                <a:cubicBezTo>
                  <a:pt x="2406" y="13313"/>
                  <a:pt x="2375" y="13375"/>
                  <a:pt x="2375" y="13438"/>
                </a:cubicBezTo>
                <a:close/>
                <a:moveTo>
                  <a:pt x="1250" y="14313"/>
                </a:moveTo>
                <a:cubicBezTo>
                  <a:pt x="1250" y="14282"/>
                  <a:pt x="1250" y="14282"/>
                  <a:pt x="1250" y="14282"/>
                </a:cubicBezTo>
                <a:cubicBezTo>
                  <a:pt x="1250" y="14282"/>
                  <a:pt x="1250" y="14282"/>
                  <a:pt x="1250" y="14313"/>
                </a:cubicBezTo>
                <a:cubicBezTo>
                  <a:pt x="1250" y="14313"/>
                  <a:pt x="1250" y="14313"/>
                  <a:pt x="1250" y="14313"/>
                </a:cubicBezTo>
                <a:cubicBezTo>
                  <a:pt x="1250" y="14313"/>
                  <a:pt x="1250" y="14313"/>
                  <a:pt x="1250" y="14313"/>
                </a:cubicBezTo>
                <a:close/>
                <a:moveTo>
                  <a:pt x="1281" y="14375"/>
                </a:moveTo>
                <a:cubicBezTo>
                  <a:pt x="1281" y="14375"/>
                  <a:pt x="1281" y="14375"/>
                  <a:pt x="1281" y="14375"/>
                </a:cubicBezTo>
                <a:cubicBezTo>
                  <a:pt x="1281" y="14375"/>
                  <a:pt x="1281" y="14375"/>
                  <a:pt x="1281" y="14375"/>
                </a:cubicBezTo>
                <a:cubicBezTo>
                  <a:pt x="1281" y="14375"/>
                  <a:pt x="1281" y="14375"/>
                  <a:pt x="1281" y="14375"/>
                </a:cubicBezTo>
                <a:close/>
                <a:moveTo>
                  <a:pt x="1281" y="14375"/>
                </a:moveTo>
                <a:cubicBezTo>
                  <a:pt x="1281" y="14375"/>
                  <a:pt x="1281" y="14375"/>
                  <a:pt x="1281" y="14375"/>
                </a:cubicBezTo>
                <a:cubicBezTo>
                  <a:pt x="1250" y="14407"/>
                  <a:pt x="1250" y="14438"/>
                  <a:pt x="1250" y="14469"/>
                </a:cubicBezTo>
                <a:cubicBezTo>
                  <a:pt x="1250" y="14438"/>
                  <a:pt x="1250" y="14407"/>
                  <a:pt x="1281" y="14375"/>
                </a:cubicBezTo>
                <a:close/>
                <a:moveTo>
                  <a:pt x="688" y="14813"/>
                </a:moveTo>
                <a:cubicBezTo>
                  <a:pt x="656" y="14813"/>
                  <a:pt x="656" y="14813"/>
                  <a:pt x="656" y="14813"/>
                </a:cubicBezTo>
                <a:cubicBezTo>
                  <a:pt x="656" y="14813"/>
                  <a:pt x="656" y="14813"/>
                  <a:pt x="688" y="14813"/>
                </a:cubicBezTo>
                <a:close/>
                <a:moveTo>
                  <a:pt x="719" y="14782"/>
                </a:moveTo>
                <a:cubicBezTo>
                  <a:pt x="719" y="14813"/>
                  <a:pt x="719" y="14813"/>
                  <a:pt x="719" y="14813"/>
                </a:cubicBezTo>
                <a:cubicBezTo>
                  <a:pt x="719" y="14813"/>
                  <a:pt x="719" y="14813"/>
                  <a:pt x="719" y="14782"/>
                </a:cubicBezTo>
                <a:close/>
                <a:moveTo>
                  <a:pt x="2594" y="15469"/>
                </a:moveTo>
                <a:cubicBezTo>
                  <a:pt x="2594" y="15469"/>
                  <a:pt x="2594" y="15469"/>
                  <a:pt x="2563" y="15469"/>
                </a:cubicBezTo>
                <a:cubicBezTo>
                  <a:pt x="2594" y="15469"/>
                  <a:pt x="2594" y="15469"/>
                  <a:pt x="2594" y="15469"/>
                </a:cubicBezTo>
                <a:close/>
                <a:moveTo>
                  <a:pt x="3094" y="14938"/>
                </a:moveTo>
                <a:cubicBezTo>
                  <a:pt x="3094" y="14938"/>
                  <a:pt x="3094" y="14938"/>
                  <a:pt x="3094" y="14938"/>
                </a:cubicBezTo>
                <a:cubicBezTo>
                  <a:pt x="3094" y="14969"/>
                  <a:pt x="3094" y="14969"/>
                  <a:pt x="3063" y="14969"/>
                </a:cubicBezTo>
                <a:cubicBezTo>
                  <a:pt x="3094" y="14969"/>
                  <a:pt x="3094" y="14969"/>
                  <a:pt x="3094" y="14938"/>
                </a:cubicBezTo>
                <a:cubicBezTo>
                  <a:pt x="3094" y="14938"/>
                  <a:pt x="3094" y="14938"/>
                  <a:pt x="3094" y="14938"/>
                </a:cubicBezTo>
                <a:close/>
                <a:moveTo>
                  <a:pt x="2969" y="15500"/>
                </a:moveTo>
                <a:cubicBezTo>
                  <a:pt x="2969" y="15500"/>
                  <a:pt x="2969" y="15500"/>
                  <a:pt x="2969" y="15469"/>
                </a:cubicBezTo>
                <a:cubicBezTo>
                  <a:pt x="3031" y="15469"/>
                  <a:pt x="3063" y="15438"/>
                  <a:pt x="3125" y="15407"/>
                </a:cubicBezTo>
                <a:cubicBezTo>
                  <a:pt x="3125" y="15407"/>
                  <a:pt x="3125" y="15407"/>
                  <a:pt x="3125" y="15407"/>
                </a:cubicBezTo>
                <a:cubicBezTo>
                  <a:pt x="3313" y="15313"/>
                  <a:pt x="3531" y="15219"/>
                  <a:pt x="3688" y="15032"/>
                </a:cubicBezTo>
                <a:cubicBezTo>
                  <a:pt x="3750" y="14969"/>
                  <a:pt x="3781" y="14875"/>
                  <a:pt x="3813" y="14813"/>
                </a:cubicBezTo>
                <a:cubicBezTo>
                  <a:pt x="3813" y="14813"/>
                  <a:pt x="3781" y="14813"/>
                  <a:pt x="3781" y="14782"/>
                </a:cubicBezTo>
                <a:cubicBezTo>
                  <a:pt x="3781" y="14813"/>
                  <a:pt x="3813" y="14813"/>
                  <a:pt x="3813" y="14813"/>
                </a:cubicBezTo>
                <a:cubicBezTo>
                  <a:pt x="3906" y="14750"/>
                  <a:pt x="3938" y="14657"/>
                  <a:pt x="4000" y="14594"/>
                </a:cubicBezTo>
                <a:cubicBezTo>
                  <a:pt x="3969" y="14594"/>
                  <a:pt x="3938" y="14563"/>
                  <a:pt x="3938" y="14563"/>
                </a:cubicBezTo>
                <a:cubicBezTo>
                  <a:pt x="3938" y="14625"/>
                  <a:pt x="3906" y="14625"/>
                  <a:pt x="3875" y="14657"/>
                </a:cubicBezTo>
                <a:cubicBezTo>
                  <a:pt x="3875" y="14657"/>
                  <a:pt x="3875" y="14657"/>
                  <a:pt x="3875" y="14657"/>
                </a:cubicBezTo>
                <a:cubicBezTo>
                  <a:pt x="3781" y="14657"/>
                  <a:pt x="3719" y="14625"/>
                  <a:pt x="3625" y="14657"/>
                </a:cubicBezTo>
                <a:cubicBezTo>
                  <a:pt x="3594" y="14657"/>
                  <a:pt x="3531" y="14750"/>
                  <a:pt x="3531" y="14625"/>
                </a:cubicBezTo>
                <a:cubicBezTo>
                  <a:pt x="3531" y="14625"/>
                  <a:pt x="3531" y="14625"/>
                  <a:pt x="3531" y="14625"/>
                </a:cubicBezTo>
                <a:cubicBezTo>
                  <a:pt x="3438" y="14657"/>
                  <a:pt x="3344" y="14625"/>
                  <a:pt x="3281" y="14688"/>
                </a:cubicBezTo>
                <a:cubicBezTo>
                  <a:pt x="3281" y="14719"/>
                  <a:pt x="3250" y="14782"/>
                  <a:pt x="3188" y="14782"/>
                </a:cubicBezTo>
                <a:cubicBezTo>
                  <a:pt x="3156" y="14719"/>
                  <a:pt x="3219" y="14688"/>
                  <a:pt x="3219" y="14657"/>
                </a:cubicBezTo>
                <a:cubicBezTo>
                  <a:pt x="3250" y="14563"/>
                  <a:pt x="3188" y="14594"/>
                  <a:pt x="3156" y="14594"/>
                </a:cubicBezTo>
                <a:cubicBezTo>
                  <a:pt x="3094" y="14594"/>
                  <a:pt x="3031" y="14625"/>
                  <a:pt x="2969" y="14625"/>
                </a:cubicBezTo>
                <a:cubicBezTo>
                  <a:pt x="2844" y="14625"/>
                  <a:pt x="2813" y="14688"/>
                  <a:pt x="2781" y="14750"/>
                </a:cubicBezTo>
                <a:cubicBezTo>
                  <a:pt x="2781" y="14813"/>
                  <a:pt x="2750" y="14844"/>
                  <a:pt x="2688" y="14782"/>
                </a:cubicBezTo>
                <a:cubicBezTo>
                  <a:pt x="2656" y="14813"/>
                  <a:pt x="2656" y="14907"/>
                  <a:pt x="2563" y="14875"/>
                </a:cubicBezTo>
                <a:cubicBezTo>
                  <a:pt x="2563" y="14875"/>
                  <a:pt x="2563" y="14907"/>
                  <a:pt x="2563" y="14907"/>
                </a:cubicBezTo>
                <a:cubicBezTo>
                  <a:pt x="2531" y="14938"/>
                  <a:pt x="2563" y="14969"/>
                  <a:pt x="2563" y="15000"/>
                </a:cubicBezTo>
                <a:cubicBezTo>
                  <a:pt x="2531" y="15032"/>
                  <a:pt x="2500" y="14969"/>
                  <a:pt x="2469" y="15000"/>
                </a:cubicBezTo>
                <a:cubicBezTo>
                  <a:pt x="2375" y="15032"/>
                  <a:pt x="2313" y="15063"/>
                  <a:pt x="2281" y="15157"/>
                </a:cubicBezTo>
                <a:cubicBezTo>
                  <a:pt x="2219" y="15219"/>
                  <a:pt x="2156" y="15219"/>
                  <a:pt x="2094" y="15188"/>
                </a:cubicBezTo>
                <a:cubicBezTo>
                  <a:pt x="2188" y="15094"/>
                  <a:pt x="2281" y="15032"/>
                  <a:pt x="2406" y="14969"/>
                </a:cubicBezTo>
                <a:cubicBezTo>
                  <a:pt x="2469" y="14907"/>
                  <a:pt x="2531" y="14813"/>
                  <a:pt x="2594" y="14750"/>
                </a:cubicBezTo>
                <a:cubicBezTo>
                  <a:pt x="2625" y="14719"/>
                  <a:pt x="2625" y="14688"/>
                  <a:pt x="2656" y="14688"/>
                </a:cubicBezTo>
                <a:cubicBezTo>
                  <a:pt x="2656" y="14657"/>
                  <a:pt x="2656" y="14657"/>
                  <a:pt x="2656" y="14657"/>
                </a:cubicBezTo>
                <a:cubicBezTo>
                  <a:pt x="2656" y="14657"/>
                  <a:pt x="2656" y="14657"/>
                  <a:pt x="2656" y="14688"/>
                </a:cubicBezTo>
                <a:cubicBezTo>
                  <a:pt x="2688" y="14657"/>
                  <a:pt x="2719" y="14625"/>
                  <a:pt x="2719" y="14594"/>
                </a:cubicBezTo>
                <a:cubicBezTo>
                  <a:pt x="2781" y="14594"/>
                  <a:pt x="2781" y="14532"/>
                  <a:pt x="2813" y="14469"/>
                </a:cubicBezTo>
                <a:cubicBezTo>
                  <a:pt x="2906" y="14438"/>
                  <a:pt x="3031" y="14469"/>
                  <a:pt x="3125" y="14500"/>
                </a:cubicBezTo>
                <a:cubicBezTo>
                  <a:pt x="3313" y="14500"/>
                  <a:pt x="3500" y="14532"/>
                  <a:pt x="3688" y="14563"/>
                </a:cubicBezTo>
                <a:cubicBezTo>
                  <a:pt x="3750" y="14563"/>
                  <a:pt x="3844" y="14563"/>
                  <a:pt x="3938" y="14563"/>
                </a:cubicBezTo>
                <a:cubicBezTo>
                  <a:pt x="3938" y="14563"/>
                  <a:pt x="3969" y="14594"/>
                  <a:pt x="4000" y="14594"/>
                </a:cubicBezTo>
                <a:cubicBezTo>
                  <a:pt x="4219" y="14563"/>
                  <a:pt x="4438" y="14625"/>
                  <a:pt x="4656" y="14625"/>
                </a:cubicBezTo>
                <a:cubicBezTo>
                  <a:pt x="4938" y="14625"/>
                  <a:pt x="5188" y="14625"/>
                  <a:pt x="5438" y="14657"/>
                </a:cubicBezTo>
                <a:cubicBezTo>
                  <a:pt x="5688" y="14688"/>
                  <a:pt x="5906" y="14688"/>
                  <a:pt x="6156" y="14719"/>
                </a:cubicBezTo>
                <a:cubicBezTo>
                  <a:pt x="6156" y="14719"/>
                  <a:pt x="6188" y="14719"/>
                  <a:pt x="6219" y="14750"/>
                </a:cubicBezTo>
                <a:cubicBezTo>
                  <a:pt x="6156" y="14750"/>
                  <a:pt x="6125" y="14782"/>
                  <a:pt x="6094" y="14782"/>
                </a:cubicBezTo>
                <a:cubicBezTo>
                  <a:pt x="6094" y="14813"/>
                  <a:pt x="6063" y="14844"/>
                  <a:pt x="6031" y="14844"/>
                </a:cubicBezTo>
                <a:cubicBezTo>
                  <a:pt x="6063" y="14844"/>
                  <a:pt x="6094" y="14813"/>
                  <a:pt x="6094" y="14782"/>
                </a:cubicBezTo>
                <a:cubicBezTo>
                  <a:pt x="6000" y="14782"/>
                  <a:pt x="5938" y="14813"/>
                  <a:pt x="5844" y="14844"/>
                </a:cubicBezTo>
                <a:cubicBezTo>
                  <a:pt x="5719" y="14844"/>
                  <a:pt x="5719" y="14875"/>
                  <a:pt x="5719" y="14782"/>
                </a:cubicBezTo>
                <a:cubicBezTo>
                  <a:pt x="5656" y="14782"/>
                  <a:pt x="5625" y="14813"/>
                  <a:pt x="5594" y="14844"/>
                </a:cubicBezTo>
                <a:cubicBezTo>
                  <a:pt x="5531" y="14875"/>
                  <a:pt x="5469" y="14907"/>
                  <a:pt x="5469" y="14782"/>
                </a:cubicBezTo>
                <a:cubicBezTo>
                  <a:pt x="5469" y="14782"/>
                  <a:pt x="5469" y="14750"/>
                  <a:pt x="5469" y="14750"/>
                </a:cubicBezTo>
                <a:cubicBezTo>
                  <a:pt x="5469" y="14750"/>
                  <a:pt x="5438" y="14750"/>
                  <a:pt x="5438" y="14750"/>
                </a:cubicBezTo>
                <a:cubicBezTo>
                  <a:pt x="5438" y="14844"/>
                  <a:pt x="5375" y="14844"/>
                  <a:pt x="5313" y="14875"/>
                </a:cubicBezTo>
                <a:cubicBezTo>
                  <a:pt x="5281" y="14907"/>
                  <a:pt x="5219" y="14907"/>
                  <a:pt x="5219" y="14969"/>
                </a:cubicBezTo>
                <a:cubicBezTo>
                  <a:pt x="5156" y="14969"/>
                  <a:pt x="5156" y="15032"/>
                  <a:pt x="5094" y="15032"/>
                </a:cubicBezTo>
                <a:cubicBezTo>
                  <a:pt x="5094" y="14969"/>
                  <a:pt x="5125" y="14907"/>
                  <a:pt x="5031" y="14875"/>
                </a:cubicBezTo>
                <a:cubicBezTo>
                  <a:pt x="4938" y="14844"/>
                  <a:pt x="4906" y="14844"/>
                  <a:pt x="4844" y="14875"/>
                </a:cubicBezTo>
                <a:cubicBezTo>
                  <a:pt x="4844" y="14875"/>
                  <a:pt x="4813" y="14875"/>
                  <a:pt x="4813" y="14907"/>
                </a:cubicBezTo>
                <a:cubicBezTo>
                  <a:pt x="4813" y="14907"/>
                  <a:pt x="4781" y="14907"/>
                  <a:pt x="4781" y="14907"/>
                </a:cubicBezTo>
                <a:cubicBezTo>
                  <a:pt x="4781" y="14907"/>
                  <a:pt x="4750" y="14907"/>
                  <a:pt x="4781" y="14938"/>
                </a:cubicBezTo>
                <a:cubicBezTo>
                  <a:pt x="4750" y="14907"/>
                  <a:pt x="4781" y="14907"/>
                  <a:pt x="4781" y="14907"/>
                </a:cubicBezTo>
                <a:cubicBezTo>
                  <a:pt x="4688" y="14938"/>
                  <a:pt x="4625" y="14938"/>
                  <a:pt x="4594" y="15032"/>
                </a:cubicBezTo>
                <a:cubicBezTo>
                  <a:pt x="4594" y="15032"/>
                  <a:pt x="4594" y="15032"/>
                  <a:pt x="4594" y="15032"/>
                </a:cubicBezTo>
                <a:cubicBezTo>
                  <a:pt x="4594" y="15063"/>
                  <a:pt x="4594" y="15063"/>
                  <a:pt x="4563" y="15094"/>
                </a:cubicBezTo>
                <a:cubicBezTo>
                  <a:pt x="4594" y="15063"/>
                  <a:pt x="4594" y="15063"/>
                  <a:pt x="4594" y="15032"/>
                </a:cubicBezTo>
                <a:cubicBezTo>
                  <a:pt x="4563" y="15032"/>
                  <a:pt x="4563" y="15063"/>
                  <a:pt x="4563" y="15094"/>
                </a:cubicBezTo>
                <a:cubicBezTo>
                  <a:pt x="4563" y="15094"/>
                  <a:pt x="4531" y="15094"/>
                  <a:pt x="4531" y="15094"/>
                </a:cubicBezTo>
                <a:cubicBezTo>
                  <a:pt x="4531" y="15094"/>
                  <a:pt x="4531" y="15094"/>
                  <a:pt x="4531" y="15094"/>
                </a:cubicBezTo>
                <a:cubicBezTo>
                  <a:pt x="4531" y="15063"/>
                  <a:pt x="4531" y="15032"/>
                  <a:pt x="4500" y="15032"/>
                </a:cubicBezTo>
                <a:cubicBezTo>
                  <a:pt x="4531" y="14969"/>
                  <a:pt x="4563" y="14907"/>
                  <a:pt x="4594" y="14844"/>
                </a:cubicBezTo>
                <a:cubicBezTo>
                  <a:pt x="4625" y="14813"/>
                  <a:pt x="4625" y="14782"/>
                  <a:pt x="4594" y="14750"/>
                </a:cubicBezTo>
                <a:cubicBezTo>
                  <a:pt x="4594" y="14750"/>
                  <a:pt x="4531" y="14750"/>
                  <a:pt x="4500" y="14782"/>
                </a:cubicBezTo>
                <a:cubicBezTo>
                  <a:pt x="4469" y="14813"/>
                  <a:pt x="4438" y="14813"/>
                  <a:pt x="4406" y="14782"/>
                </a:cubicBezTo>
                <a:cubicBezTo>
                  <a:pt x="4344" y="14782"/>
                  <a:pt x="4281" y="14875"/>
                  <a:pt x="4219" y="14875"/>
                </a:cubicBezTo>
                <a:cubicBezTo>
                  <a:pt x="4219" y="14938"/>
                  <a:pt x="4219" y="14969"/>
                  <a:pt x="4188" y="14969"/>
                </a:cubicBezTo>
                <a:cubicBezTo>
                  <a:pt x="4219" y="14969"/>
                  <a:pt x="4219" y="14938"/>
                  <a:pt x="4219" y="14875"/>
                </a:cubicBezTo>
                <a:cubicBezTo>
                  <a:pt x="4188" y="14875"/>
                  <a:pt x="4188" y="14907"/>
                  <a:pt x="4156" y="14875"/>
                </a:cubicBezTo>
                <a:cubicBezTo>
                  <a:pt x="4156" y="14875"/>
                  <a:pt x="4125" y="14844"/>
                  <a:pt x="4125" y="14813"/>
                </a:cubicBezTo>
                <a:cubicBezTo>
                  <a:pt x="4156" y="14750"/>
                  <a:pt x="4156" y="14719"/>
                  <a:pt x="4094" y="14688"/>
                </a:cubicBezTo>
                <a:cubicBezTo>
                  <a:pt x="4031" y="14688"/>
                  <a:pt x="3938" y="14813"/>
                  <a:pt x="3938" y="14844"/>
                </a:cubicBezTo>
                <a:cubicBezTo>
                  <a:pt x="3969" y="14907"/>
                  <a:pt x="3906" y="14938"/>
                  <a:pt x="3875" y="14969"/>
                </a:cubicBezTo>
                <a:cubicBezTo>
                  <a:pt x="3844" y="15032"/>
                  <a:pt x="3813" y="15063"/>
                  <a:pt x="3813" y="15125"/>
                </a:cubicBezTo>
                <a:cubicBezTo>
                  <a:pt x="3813" y="15157"/>
                  <a:pt x="3813" y="15188"/>
                  <a:pt x="3781" y="15188"/>
                </a:cubicBezTo>
                <a:cubicBezTo>
                  <a:pt x="3688" y="15125"/>
                  <a:pt x="3656" y="15188"/>
                  <a:pt x="3625" y="15250"/>
                </a:cubicBezTo>
                <a:cubicBezTo>
                  <a:pt x="3563" y="15344"/>
                  <a:pt x="3406" y="15344"/>
                  <a:pt x="3375" y="15500"/>
                </a:cubicBezTo>
                <a:cubicBezTo>
                  <a:pt x="3406" y="15407"/>
                  <a:pt x="3344" y="15407"/>
                  <a:pt x="3281" y="15407"/>
                </a:cubicBezTo>
                <a:cubicBezTo>
                  <a:pt x="3250" y="15407"/>
                  <a:pt x="3219" y="15469"/>
                  <a:pt x="3219" y="15500"/>
                </a:cubicBezTo>
                <a:cubicBezTo>
                  <a:pt x="3188" y="15563"/>
                  <a:pt x="3156" y="15563"/>
                  <a:pt x="3125" y="15532"/>
                </a:cubicBezTo>
                <a:cubicBezTo>
                  <a:pt x="3063" y="15500"/>
                  <a:pt x="3031" y="15563"/>
                  <a:pt x="3000" y="15563"/>
                </a:cubicBezTo>
                <a:cubicBezTo>
                  <a:pt x="2938" y="15688"/>
                  <a:pt x="2906" y="15594"/>
                  <a:pt x="2906" y="15563"/>
                </a:cubicBezTo>
                <a:cubicBezTo>
                  <a:pt x="2906" y="15500"/>
                  <a:pt x="2906" y="15500"/>
                  <a:pt x="2969" y="15500"/>
                </a:cubicBezTo>
                <a:close/>
                <a:moveTo>
                  <a:pt x="3094" y="15375"/>
                </a:moveTo>
                <a:cubicBezTo>
                  <a:pt x="3125" y="15375"/>
                  <a:pt x="3125" y="15407"/>
                  <a:pt x="3125" y="15407"/>
                </a:cubicBezTo>
                <a:cubicBezTo>
                  <a:pt x="3125" y="15407"/>
                  <a:pt x="3125" y="15375"/>
                  <a:pt x="3094" y="15375"/>
                </a:cubicBezTo>
                <a:close/>
                <a:moveTo>
                  <a:pt x="1875" y="8157"/>
                </a:moveTo>
                <a:cubicBezTo>
                  <a:pt x="1875" y="8157"/>
                  <a:pt x="1875" y="8125"/>
                  <a:pt x="1875" y="8125"/>
                </a:cubicBezTo>
                <a:cubicBezTo>
                  <a:pt x="1875" y="8125"/>
                  <a:pt x="1875" y="8125"/>
                  <a:pt x="1875" y="8125"/>
                </a:cubicBezTo>
                <a:cubicBezTo>
                  <a:pt x="1875" y="8125"/>
                  <a:pt x="1875" y="8157"/>
                  <a:pt x="1875" y="8157"/>
                </a:cubicBezTo>
                <a:close/>
                <a:moveTo>
                  <a:pt x="4781" y="7094"/>
                </a:moveTo>
                <a:cubicBezTo>
                  <a:pt x="4813" y="7094"/>
                  <a:pt x="4813" y="7063"/>
                  <a:pt x="4813" y="7063"/>
                </a:cubicBezTo>
                <a:cubicBezTo>
                  <a:pt x="4813" y="7063"/>
                  <a:pt x="4813" y="7094"/>
                  <a:pt x="4781" y="7094"/>
                </a:cubicBezTo>
                <a:cubicBezTo>
                  <a:pt x="4781" y="7125"/>
                  <a:pt x="4750" y="7125"/>
                  <a:pt x="4750" y="7157"/>
                </a:cubicBezTo>
                <a:cubicBezTo>
                  <a:pt x="4750" y="7125"/>
                  <a:pt x="4781" y="7125"/>
                  <a:pt x="4781" y="7094"/>
                </a:cubicBezTo>
                <a:close/>
                <a:moveTo>
                  <a:pt x="7594" y="7688"/>
                </a:moveTo>
                <a:cubicBezTo>
                  <a:pt x="7594" y="7719"/>
                  <a:pt x="7594" y="7719"/>
                  <a:pt x="7594" y="7719"/>
                </a:cubicBezTo>
                <a:cubicBezTo>
                  <a:pt x="7594" y="7719"/>
                  <a:pt x="7594" y="7719"/>
                  <a:pt x="7594" y="7688"/>
                </a:cubicBezTo>
                <a:close/>
                <a:moveTo>
                  <a:pt x="9250" y="3844"/>
                </a:moveTo>
                <a:cubicBezTo>
                  <a:pt x="9250" y="3844"/>
                  <a:pt x="9250" y="3844"/>
                  <a:pt x="9250" y="3844"/>
                </a:cubicBezTo>
                <a:cubicBezTo>
                  <a:pt x="9250" y="3844"/>
                  <a:pt x="9250" y="3844"/>
                  <a:pt x="9250" y="3844"/>
                </a:cubicBezTo>
                <a:close/>
                <a:moveTo>
                  <a:pt x="13938" y="5000"/>
                </a:moveTo>
                <a:cubicBezTo>
                  <a:pt x="13969" y="4938"/>
                  <a:pt x="14063" y="4875"/>
                  <a:pt x="14094" y="4813"/>
                </a:cubicBezTo>
                <a:cubicBezTo>
                  <a:pt x="14125" y="4782"/>
                  <a:pt x="14156" y="4750"/>
                  <a:pt x="14219" y="4688"/>
                </a:cubicBezTo>
                <a:cubicBezTo>
                  <a:pt x="14250" y="4625"/>
                  <a:pt x="14313" y="4563"/>
                  <a:pt x="14375" y="4500"/>
                </a:cubicBezTo>
                <a:cubicBezTo>
                  <a:pt x="14344" y="4500"/>
                  <a:pt x="14313" y="4500"/>
                  <a:pt x="14313" y="4469"/>
                </a:cubicBezTo>
                <a:cubicBezTo>
                  <a:pt x="14313" y="4500"/>
                  <a:pt x="14344" y="4500"/>
                  <a:pt x="14375" y="4500"/>
                </a:cubicBezTo>
                <a:cubicBezTo>
                  <a:pt x="14406" y="4500"/>
                  <a:pt x="14438" y="4438"/>
                  <a:pt x="14469" y="4438"/>
                </a:cubicBezTo>
                <a:cubicBezTo>
                  <a:pt x="14469" y="4500"/>
                  <a:pt x="14469" y="4594"/>
                  <a:pt x="14375" y="4625"/>
                </a:cubicBezTo>
                <a:cubicBezTo>
                  <a:pt x="14344" y="4625"/>
                  <a:pt x="14344" y="4657"/>
                  <a:pt x="14344" y="4657"/>
                </a:cubicBezTo>
                <a:cubicBezTo>
                  <a:pt x="14406" y="4657"/>
                  <a:pt x="14438" y="4657"/>
                  <a:pt x="14438" y="4625"/>
                </a:cubicBezTo>
                <a:cubicBezTo>
                  <a:pt x="14469" y="4625"/>
                  <a:pt x="14469" y="4625"/>
                  <a:pt x="14469" y="4594"/>
                </a:cubicBezTo>
                <a:cubicBezTo>
                  <a:pt x="14469" y="4625"/>
                  <a:pt x="14469" y="4625"/>
                  <a:pt x="14438" y="4625"/>
                </a:cubicBezTo>
                <a:cubicBezTo>
                  <a:pt x="14438" y="4657"/>
                  <a:pt x="14406" y="4657"/>
                  <a:pt x="14344" y="4657"/>
                </a:cubicBezTo>
                <a:cubicBezTo>
                  <a:pt x="14219" y="4688"/>
                  <a:pt x="14219" y="4813"/>
                  <a:pt x="14125" y="4875"/>
                </a:cubicBezTo>
                <a:cubicBezTo>
                  <a:pt x="14031" y="4938"/>
                  <a:pt x="14031" y="5063"/>
                  <a:pt x="13938" y="5125"/>
                </a:cubicBezTo>
                <a:cubicBezTo>
                  <a:pt x="13844" y="5188"/>
                  <a:pt x="13813" y="5282"/>
                  <a:pt x="13750" y="5344"/>
                </a:cubicBezTo>
                <a:cubicBezTo>
                  <a:pt x="13688" y="5375"/>
                  <a:pt x="13656" y="5438"/>
                  <a:pt x="13656" y="5500"/>
                </a:cubicBezTo>
                <a:cubicBezTo>
                  <a:pt x="13656" y="5500"/>
                  <a:pt x="13625" y="5500"/>
                  <a:pt x="13594" y="5469"/>
                </a:cubicBezTo>
                <a:cubicBezTo>
                  <a:pt x="13594" y="5469"/>
                  <a:pt x="13594" y="5469"/>
                  <a:pt x="13594" y="5469"/>
                </a:cubicBezTo>
                <a:cubicBezTo>
                  <a:pt x="13688" y="5313"/>
                  <a:pt x="13813" y="5157"/>
                  <a:pt x="13938" y="5000"/>
                </a:cubicBezTo>
                <a:close/>
                <a:moveTo>
                  <a:pt x="14844" y="4157"/>
                </a:moveTo>
                <a:cubicBezTo>
                  <a:pt x="14844" y="4188"/>
                  <a:pt x="14844" y="4188"/>
                  <a:pt x="14844" y="4188"/>
                </a:cubicBezTo>
                <a:cubicBezTo>
                  <a:pt x="14844" y="4188"/>
                  <a:pt x="14844" y="4188"/>
                  <a:pt x="14844" y="4157"/>
                </a:cubicBezTo>
                <a:cubicBezTo>
                  <a:pt x="14844" y="4157"/>
                  <a:pt x="14844" y="4157"/>
                  <a:pt x="14844" y="4157"/>
                </a:cubicBezTo>
                <a:close/>
                <a:moveTo>
                  <a:pt x="14813" y="4219"/>
                </a:moveTo>
                <a:cubicBezTo>
                  <a:pt x="14781" y="4219"/>
                  <a:pt x="14781" y="4250"/>
                  <a:pt x="14781" y="4282"/>
                </a:cubicBezTo>
                <a:cubicBezTo>
                  <a:pt x="14781" y="4250"/>
                  <a:pt x="14781" y="4219"/>
                  <a:pt x="14813" y="4219"/>
                </a:cubicBezTo>
                <a:cubicBezTo>
                  <a:pt x="14813" y="4219"/>
                  <a:pt x="14813" y="4219"/>
                  <a:pt x="14813" y="4219"/>
                </a:cubicBezTo>
                <a:cubicBezTo>
                  <a:pt x="14813" y="4219"/>
                  <a:pt x="14813" y="4219"/>
                  <a:pt x="14813" y="4219"/>
                </a:cubicBezTo>
                <a:close/>
                <a:moveTo>
                  <a:pt x="14750" y="4282"/>
                </a:moveTo>
                <a:cubicBezTo>
                  <a:pt x="14750" y="4282"/>
                  <a:pt x="14719" y="4282"/>
                  <a:pt x="14719" y="4313"/>
                </a:cubicBezTo>
                <a:cubicBezTo>
                  <a:pt x="14719" y="4313"/>
                  <a:pt x="14719" y="4344"/>
                  <a:pt x="14688" y="4375"/>
                </a:cubicBezTo>
                <a:cubicBezTo>
                  <a:pt x="14719" y="4344"/>
                  <a:pt x="14719" y="4313"/>
                  <a:pt x="14719" y="4313"/>
                </a:cubicBezTo>
                <a:cubicBezTo>
                  <a:pt x="14719" y="4282"/>
                  <a:pt x="14750" y="4282"/>
                  <a:pt x="14750" y="4282"/>
                </a:cubicBezTo>
                <a:close/>
                <a:moveTo>
                  <a:pt x="18469" y="8719"/>
                </a:moveTo>
                <a:cubicBezTo>
                  <a:pt x="18469" y="8719"/>
                  <a:pt x="18500" y="8719"/>
                  <a:pt x="18500" y="8719"/>
                </a:cubicBezTo>
                <a:cubicBezTo>
                  <a:pt x="18500" y="8719"/>
                  <a:pt x="18500" y="8719"/>
                  <a:pt x="18500" y="8719"/>
                </a:cubicBezTo>
                <a:cubicBezTo>
                  <a:pt x="18531" y="8750"/>
                  <a:pt x="18531" y="8750"/>
                  <a:pt x="18563" y="8750"/>
                </a:cubicBezTo>
                <a:cubicBezTo>
                  <a:pt x="18625" y="8750"/>
                  <a:pt x="18688" y="8750"/>
                  <a:pt x="18750" y="8719"/>
                </a:cubicBezTo>
                <a:cubicBezTo>
                  <a:pt x="18750" y="8719"/>
                  <a:pt x="18750" y="8719"/>
                  <a:pt x="18750" y="8719"/>
                </a:cubicBezTo>
                <a:cubicBezTo>
                  <a:pt x="18750" y="8719"/>
                  <a:pt x="18750" y="8719"/>
                  <a:pt x="18750" y="8719"/>
                </a:cubicBezTo>
                <a:cubicBezTo>
                  <a:pt x="18750" y="8719"/>
                  <a:pt x="18781" y="8719"/>
                  <a:pt x="18781" y="8719"/>
                </a:cubicBezTo>
                <a:cubicBezTo>
                  <a:pt x="18781" y="8719"/>
                  <a:pt x="18781" y="8688"/>
                  <a:pt x="18813" y="8688"/>
                </a:cubicBezTo>
                <a:cubicBezTo>
                  <a:pt x="18781" y="8688"/>
                  <a:pt x="18781" y="8719"/>
                  <a:pt x="18781" y="8719"/>
                </a:cubicBezTo>
                <a:cubicBezTo>
                  <a:pt x="18813" y="8750"/>
                  <a:pt x="18844" y="8750"/>
                  <a:pt x="18844" y="8719"/>
                </a:cubicBezTo>
                <a:cubicBezTo>
                  <a:pt x="18875" y="8719"/>
                  <a:pt x="18875" y="8719"/>
                  <a:pt x="18906" y="8719"/>
                </a:cubicBezTo>
                <a:cubicBezTo>
                  <a:pt x="18906" y="8657"/>
                  <a:pt x="18938" y="8657"/>
                  <a:pt x="18969" y="8657"/>
                </a:cubicBezTo>
                <a:cubicBezTo>
                  <a:pt x="18938" y="8657"/>
                  <a:pt x="18906" y="8657"/>
                  <a:pt x="18906" y="8719"/>
                </a:cubicBezTo>
                <a:cubicBezTo>
                  <a:pt x="18938" y="8719"/>
                  <a:pt x="18969" y="8719"/>
                  <a:pt x="19000" y="8719"/>
                </a:cubicBezTo>
                <a:cubicBezTo>
                  <a:pt x="19000" y="8750"/>
                  <a:pt x="19031" y="8750"/>
                  <a:pt x="19031" y="8719"/>
                </a:cubicBezTo>
                <a:cubicBezTo>
                  <a:pt x="19250" y="8688"/>
                  <a:pt x="19469" y="8625"/>
                  <a:pt x="19688" y="8500"/>
                </a:cubicBezTo>
                <a:cubicBezTo>
                  <a:pt x="19688" y="8500"/>
                  <a:pt x="19719" y="8500"/>
                  <a:pt x="19719" y="8500"/>
                </a:cubicBezTo>
                <a:cubicBezTo>
                  <a:pt x="19750" y="8500"/>
                  <a:pt x="19781" y="8469"/>
                  <a:pt x="19781" y="8469"/>
                </a:cubicBezTo>
                <a:cubicBezTo>
                  <a:pt x="19781" y="8469"/>
                  <a:pt x="19781" y="8469"/>
                  <a:pt x="19813" y="8469"/>
                </a:cubicBezTo>
                <a:cubicBezTo>
                  <a:pt x="19813" y="8469"/>
                  <a:pt x="19813" y="8469"/>
                  <a:pt x="19813" y="8469"/>
                </a:cubicBezTo>
                <a:cubicBezTo>
                  <a:pt x="19844" y="8469"/>
                  <a:pt x="19844" y="8469"/>
                  <a:pt x="19844" y="8438"/>
                </a:cubicBezTo>
                <a:cubicBezTo>
                  <a:pt x="19875" y="8438"/>
                  <a:pt x="19875" y="8438"/>
                  <a:pt x="19906" y="8438"/>
                </a:cubicBezTo>
                <a:cubicBezTo>
                  <a:pt x="19906" y="8438"/>
                  <a:pt x="19906" y="8438"/>
                  <a:pt x="19906" y="8438"/>
                </a:cubicBezTo>
                <a:cubicBezTo>
                  <a:pt x="20000" y="8438"/>
                  <a:pt x="19938" y="8532"/>
                  <a:pt x="20000" y="8563"/>
                </a:cubicBezTo>
                <a:cubicBezTo>
                  <a:pt x="20000" y="8563"/>
                  <a:pt x="19938" y="8563"/>
                  <a:pt x="19938" y="8594"/>
                </a:cubicBezTo>
                <a:cubicBezTo>
                  <a:pt x="19875" y="8625"/>
                  <a:pt x="19875" y="8657"/>
                  <a:pt x="19875" y="8719"/>
                </a:cubicBezTo>
                <a:cubicBezTo>
                  <a:pt x="19875" y="8750"/>
                  <a:pt x="19875" y="8782"/>
                  <a:pt x="19844" y="8813"/>
                </a:cubicBezTo>
                <a:cubicBezTo>
                  <a:pt x="19813" y="8813"/>
                  <a:pt x="19813" y="8844"/>
                  <a:pt x="19813" y="8875"/>
                </a:cubicBezTo>
                <a:cubicBezTo>
                  <a:pt x="19813" y="8844"/>
                  <a:pt x="19813" y="8813"/>
                  <a:pt x="19844" y="8813"/>
                </a:cubicBezTo>
                <a:cubicBezTo>
                  <a:pt x="19781" y="8719"/>
                  <a:pt x="19719" y="8782"/>
                  <a:pt x="19625" y="8782"/>
                </a:cubicBezTo>
                <a:cubicBezTo>
                  <a:pt x="19625" y="8782"/>
                  <a:pt x="19563" y="8813"/>
                  <a:pt x="19625" y="8844"/>
                </a:cubicBezTo>
                <a:cubicBezTo>
                  <a:pt x="19656" y="8844"/>
                  <a:pt x="19656" y="8875"/>
                  <a:pt x="19688" y="8875"/>
                </a:cubicBezTo>
                <a:cubicBezTo>
                  <a:pt x="19688" y="8907"/>
                  <a:pt x="19688" y="8907"/>
                  <a:pt x="19688" y="8907"/>
                </a:cubicBezTo>
                <a:cubicBezTo>
                  <a:pt x="19688" y="8938"/>
                  <a:pt x="19688" y="8938"/>
                  <a:pt x="19719" y="8938"/>
                </a:cubicBezTo>
                <a:cubicBezTo>
                  <a:pt x="19688" y="8938"/>
                  <a:pt x="19688" y="8938"/>
                  <a:pt x="19688" y="8907"/>
                </a:cubicBezTo>
                <a:cubicBezTo>
                  <a:pt x="19656" y="8907"/>
                  <a:pt x="19656" y="8938"/>
                  <a:pt x="19656" y="8938"/>
                </a:cubicBezTo>
                <a:cubicBezTo>
                  <a:pt x="19594" y="8844"/>
                  <a:pt x="19531" y="8907"/>
                  <a:pt x="19469" y="8938"/>
                </a:cubicBezTo>
                <a:cubicBezTo>
                  <a:pt x="19406" y="8938"/>
                  <a:pt x="19344" y="8907"/>
                  <a:pt x="19281" y="8875"/>
                </a:cubicBezTo>
                <a:cubicBezTo>
                  <a:pt x="19250" y="8875"/>
                  <a:pt x="19219" y="9000"/>
                  <a:pt x="19219" y="9032"/>
                </a:cubicBezTo>
                <a:cubicBezTo>
                  <a:pt x="19250" y="9063"/>
                  <a:pt x="19250" y="9063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250" y="9094"/>
                  <a:pt x="19250" y="9094"/>
                  <a:pt x="19250" y="9094"/>
                </a:cubicBezTo>
                <a:cubicBezTo>
                  <a:pt x="19188" y="9094"/>
                  <a:pt x="19125" y="9094"/>
                  <a:pt x="19125" y="9032"/>
                </a:cubicBezTo>
                <a:cubicBezTo>
                  <a:pt x="19125" y="9000"/>
                  <a:pt x="19094" y="9000"/>
                  <a:pt x="19063" y="9032"/>
                </a:cubicBezTo>
                <a:cubicBezTo>
                  <a:pt x="19000" y="9032"/>
                  <a:pt x="18969" y="9063"/>
                  <a:pt x="18906" y="9063"/>
                </a:cubicBezTo>
                <a:cubicBezTo>
                  <a:pt x="18844" y="9063"/>
                  <a:pt x="18844" y="9063"/>
                  <a:pt x="18844" y="9125"/>
                </a:cubicBezTo>
                <a:cubicBezTo>
                  <a:pt x="18875" y="9157"/>
                  <a:pt x="18844" y="9188"/>
                  <a:pt x="18844" y="9219"/>
                </a:cubicBezTo>
                <a:cubicBezTo>
                  <a:pt x="18844" y="9219"/>
                  <a:pt x="18813" y="9219"/>
                  <a:pt x="18813" y="9219"/>
                </a:cubicBezTo>
                <a:cubicBezTo>
                  <a:pt x="18813" y="9219"/>
                  <a:pt x="18813" y="9219"/>
                  <a:pt x="18813" y="9219"/>
                </a:cubicBezTo>
                <a:cubicBezTo>
                  <a:pt x="18781" y="9188"/>
                  <a:pt x="18750" y="9157"/>
                  <a:pt x="18719" y="9157"/>
                </a:cubicBezTo>
                <a:cubicBezTo>
                  <a:pt x="18688" y="9157"/>
                  <a:pt x="18656" y="9125"/>
                  <a:pt x="18688" y="9125"/>
                </a:cubicBezTo>
                <a:cubicBezTo>
                  <a:pt x="18750" y="9063"/>
                  <a:pt x="18719" y="9032"/>
                  <a:pt x="18719" y="8969"/>
                </a:cubicBezTo>
                <a:cubicBezTo>
                  <a:pt x="18750" y="8844"/>
                  <a:pt x="18688" y="8782"/>
                  <a:pt x="18563" y="8813"/>
                </a:cubicBezTo>
                <a:cubicBezTo>
                  <a:pt x="18469" y="8813"/>
                  <a:pt x="18469" y="8782"/>
                  <a:pt x="18469" y="8719"/>
                </a:cubicBezTo>
                <a:cubicBezTo>
                  <a:pt x="18344" y="8688"/>
                  <a:pt x="18219" y="8657"/>
                  <a:pt x="18125" y="8625"/>
                </a:cubicBezTo>
                <a:cubicBezTo>
                  <a:pt x="18125" y="8625"/>
                  <a:pt x="18094" y="8657"/>
                  <a:pt x="18094" y="8657"/>
                </a:cubicBezTo>
                <a:cubicBezTo>
                  <a:pt x="18125" y="8719"/>
                  <a:pt x="18031" y="8782"/>
                  <a:pt x="18063" y="8844"/>
                </a:cubicBezTo>
                <a:cubicBezTo>
                  <a:pt x="18063" y="8875"/>
                  <a:pt x="18063" y="8938"/>
                  <a:pt x="18000" y="8938"/>
                </a:cubicBezTo>
                <a:cubicBezTo>
                  <a:pt x="18000" y="8938"/>
                  <a:pt x="18000" y="8938"/>
                  <a:pt x="18000" y="8969"/>
                </a:cubicBezTo>
                <a:cubicBezTo>
                  <a:pt x="18000" y="9000"/>
                  <a:pt x="18094" y="8969"/>
                  <a:pt x="18063" y="9032"/>
                </a:cubicBezTo>
                <a:cubicBezTo>
                  <a:pt x="18031" y="9094"/>
                  <a:pt x="17969" y="9032"/>
                  <a:pt x="17969" y="9032"/>
                </a:cubicBezTo>
                <a:cubicBezTo>
                  <a:pt x="17938" y="9094"/>
                  <a:pt x="17875" y="9094"/>
                  <a:pt x="17875" y="9157"/>
                </a:cubicBezTo>
                <a:cubicBezTo>
                  <a:pt x="17844" y="9188"/>
                  <a:pt x="17813" y="9250"/>
                  <a:pt x="17906" y="9282"/>
                </a:cubicBezTo>
                <a:cubicBezTo>
                  <a:pt x="17875" y="9313"/>
                  <a:pt x="17813" y="9375"/>
                  <a:pt x="17750" y="9344"/>
                </a:cubicBezTo>
                <a:cubicBezTo>
                  <a:pt x="17719" y="9313"/>
                  <a:pt x="17625" y="9282"/>
                  <a:pt x="17625" y="9375"/>
                </a:cubicBezTo>
                <a:cubicBezTo>
                  <a:pt x="17625" y="9407"/>
                  <a:pt x="17625" y="9438"/>
                  <a:pt x="17594" y="9407"/>
                </a:cubicBezTo>
                <a:cubicBezTo>
                  <a:pt x="17563" y="9375"/>
                  <a:pt x="17563" y="9407"/>
                  <a:pt x="17563" y="9438"/>
                </a:cubicBezTo>
                <a:cubicBezTo>
                  <a:pt x="17563" y="9469"/>
                  <a:pt x="17563" y="9500"/>
                  <a:pt x="17563" y="9532"/>
                </a:cubicBezTo>
                <a:cubicBezTo>
                  <a:pt x="17531" y="9532"/>
                  <a:pt x="17531" y="9532"/>
                  <a:pt x="17500" y="9532"/>
                </a:cubicBezTo>
                <a:cubicBezTo>
                  <a:pt x="17500" y="9563"/>
                  <a:pt x="17500" y="9563"/>
                  <a:pt x="17500" y="9563"/>
                </a:cubicBezTo>
                <a:cubicBezTo>
                  <a:pt x="17500" y="9563"/>
                  <a:pt x="17500" y="9563"/>
                  <a:pt x="17500" y="9532"/>
                </a:cubicBezTo>
                <a:cubicBezTo>
                  <a:pt x="17469" y="9532"/>
                  <a:pt x="17438" y="9532"/>
                  <a:pt x="17406" y="9594"/>
                </a:cubicBezTo>
                <a:cubicBezTo>
                  <a:pt x="17406" y="9594"/>
                  <a:pt x="17406" y="9594"/>
                  <a:pt x="17406" y="9594"/>
                </a:cubicBezTo>
                <a:cubicBezTo>
                  <a:pt x="17406" y="9594"/>
                  <a:pt x="17406" y="9594"/>
                  <a:pt x="17406" y="9594"/>
                </a:cubicBezTo>
                <a:cubicBezTo>
                  <a:pt x="17344" y="9625"/>
                  <a:pt x="17219" y="9594"/>
                  <a:pt x="17281" y="9719"/>
                </a:cubicBezTo>
                <a:cubicBezTo>
                  <a:pt x="17313" y="9750"/>
                  <a:pt x="17281" y="9750"/>
                  <a:pt x="17250" y="9782"/>
                </a:cubicBezTo>
                <a:cubicBezTo>
                  <a:pt x="17188" y="9782"/>
                  <a:pt x="17125" y="9782"/>
                  <a:pt x="17094" y="9875"/>
                </a:cubicBezTo>
                <a:cubicBezTo>
                  <a:pt x="17063" y="9907"/>
                  <a:pt x="17000" y="9938"/>
                  <a:pt x="16969" y="10032"/>
                </a:cubicBezTo>
                <a:cubicBezTo>
                  <a:pt x="16969" y="10032"/>
                  <a:pt x="16938" y="10032"/>
                  <a:pt x="16938" y="10063"/>
                </a:cubicBezTo>
                <a:cubicBezTo>
                  <a:pt x="16906" y="10094"/>
                  <a:pt x="16844" y="10094"/>
                  <a:pt x="16844" y="10157"/>
                </a:cubicBezTo>
                <a:cubicBezTo>
                  <a:pt x="16844" y="10188"/>
                  <a:pt x="16813" y="10188"/>
                  <a:pt x="16813" y="10219"/>
                </a:cubicBezTo>
                <a:cubicBezTo>
                  <a:pt x="16719" y="10250"/>
                  <a:pt x="16625" y="10313"/>
                  <a:pt x="16594" y="10407"/>
                </a:cubicBezTo>
                <a:cubicBezTo>
                  <a:pt x="16563" y="10469"/>
                  <a:pt x="16469" y="10469"/>
                  <a:pt x="16469" y="10532"/>
                </a:cubicBezTo>
                <a:cubicBezTo>
                  <a:pt x="16406" y="10532"/>
                  <a:pt x="16344" y="10563"/>
                  <a:pt x="16281" y="10563"/>
                </a:cubicBezTo>
                <a:cubicBezTo>
                  <a:pt x="16281" y="10563"/>
                  <a:pt x="16281" y="10563"/>
                  <a:pt x="16281" y="10563"/>
                </a:cubicBezTo>
                <a:cubicBezTo>
                  <a:pt x="16375" y="10500"/>
                  <a:pt x="16438" y="10438"/>
                  <a:pt x="16469" y="10344"/>
                </a:cubicBezTo>
                <a:cubicBezTo>
                  <a:pt x="16469" y="10282"/>
                  <a:pt x="16531" y="10219"/>
                  <a:pt x="16563" y="10188"/>
                </a:cubicBezTo>
                <a:cubicBezTo>
                  <a:pt x="16531" y="10219"/>
                  <a:pt x="16469" y="10282"/>
                  <a:pt x="16469" y="10344"/>
                </a:cubicBezTo>
                <a:cubicBezTo>
                  <a:pt x="16594" y="10219"/>
                  <a:pt x="16750" y="10125"/>
                  <a:pt x="16813" y="9969"/>
                </a:cubicBezTo>
                <a:cubicBezTo>
                  <a:pt x="16875" y="9875"/>
                  <a:pt x="16969" y="9813"/>
                  <a:pt x="17000" y="9719"/>
                </a:cubicBezTo>
                <a:cubicBezTo>
                  <a:pt x="17000" y="9688"/>
                  <a:pt x="17031" y="9688"/>
                  <a:pt x="17031" y="9657"/>
                </a:cubicBezTo>
                <a:cubicBezTo>
                  <a:pt x="17031" y="9688"/>
                  <a:pt x="17000" y="9688"/>
                  <a:pt x="17000" y="9719"/>
                </a:cubicBezTo>
                <a:cubicBezTo>
                  <a:pt x="17031" y="9719"/>
                  <a:pt x="17031" y="9719"/>
                  <a:pt x="17031" y="9719"/>
                </a:cubicBezTo>
                <a:cubicBezTo>
                  <a:pt x="17063" y="9657"/>
                  <a:pt x="17125" y="9625"/>
                  <a:pt x="17188" y="9594"/>
                </a:cubicBezTo>
                <a:cubicBezTo>
                  <a:pt x="17188" y="9594"/>
                  <a:pt x="17188" y="9594"/>
                  <a:pt x="17188" y="9594"/>
                </a:cubicBezTo>
                <a:cubicBezTo>
                  <a:pt x="17188" y="9563"/>
                  <a:pt x="17188" y="9532"/>
                  <a:pt x="17219" y="9500"/>
                </a:cubicBezTo>
                <a:cubicBezTo>
                  <a:pt x="17188" y="9532"/>
                  <a:pt x="17188" y="9563"/>
                  <a:pt x="17188" y="9594"/>
                </a:cubicBezTo>
                <a:cubicBezTo>
                  <a:pt x="17219" y="9563"/>
                  <a:pt x="17250" y="9563"/>
                  <a:pt x="17250" y="9500"/>
                </a:cubicBezTo>
                <a:cubicBezTo>
                  <a:pt x="17344" y="9438"/>
                  <a:pt x="17438" y="9344"/>
                  <a:pt x="17500" y="9282"/>
                </a:cubicBezTo>
                <a:cubicBezTo>
                  <a:pt x="17656" y="9094"/>
                  <a:pt x="17813" y="8938"/>
                  <a:pt x="17969" y="8782"/>
                </a:cubicBezTo>
                <a:cubicBezTo>
                  <a:pt x="17969" y="8782"/>
                  <a:pt x="17969" y="8782"/>
                  <a:pt x="17969" y="8782"/>
                </a:cubicBezTo>
                <a:cubicBezTo>
                  <a:pt x="18000" y="8750"/>
                  <a:pt x="18000" y="8750"/>
                  <a:pt x="18000" y="8719"/>
                </a:cubicBezTo>
                <a:cubicBezTo>
                  <a:pt x="18000" y="8719"/>
                  <a:pt x="18000" y="8719"/>
                  <a:pt x="18000" y="8719"/>
                </a:cubicBezTo>
                <a:cubicBezTo>
                  <a:pt x="18000" y="8688"/>
                  <a:pt x="18000" y="8688"/>
                  <a:pt x="18031" y="8657"/>
                </a:cubicBezTo>
                <a:cubicBezTo>
                  <a:pt x="18031" y="8657"/>
                  <a:pt x="18031" y="8657"/>
                  <a:pt x="18031" y="8657"/>
                </a:cubicBezTo>
                <a:cubicBezTo>
                  <a:pt x="18031" y="8657"/>
                  <a:pt x="18031" y="8657"/>
                  <a:pt x="18031" y="8657"/>
                </a:cubicBezTo>
                <a:cubicBezTo>
                  <a:pt x="18000" y="8688"/>
                  <a:pt x="18000" y="8688"/>
                  <a:pt x="18000" y="8719"/>
                </a:cubicBezTo>
                <a:cubicBezTo>
                  <a:pt x="18031" y="8688"/>
                  <a:pt x="18063" y="8688"/>
                  <a:pt x="18063" y="8657"/>
                </a:cubicBezTo>
                <a:cubicBezTo>
                  <a:pt x="18063" y="8657"/>
                  <a:pt x="18094" y="8657"/>
                  <a:pt x="18094" y="8657"/>
                </a:cubicBezTo>
                <a:cubicBezTo>
                  <a:pt x="18094" y="8657"/>
                  <a:pt x="18125" y="8625"/>
                  <a:pt x="18125" y="8625"/>
                </a:cubicBezTo>
                <a:cubicBezTo>
                  <a:pt x="18125" y="8625"/>
                  <a:pt x="18125" y="8625"/>
                  <a:pt x="18125" y="8625"/>
                </a:cubicBezTo>
                <a:cubicBezTo>
                  <a:pt x="18219" y="8657"/>
                  <a:pt x="18344" y="8688"/>
                  <a:pt x="18469" y="8719"/>
                </a:cubicBezTo>
                <a:close/>
                <a:moveTo>
                  <a:pt x="21031" y="5750"/>
                </a:moveTo>
                <a:cubicBezTo>
                  <a:pt x="21031" y="5719"/>
                  <a:pt x="21031" y="5688"/>
                  <a:pt x="21031" y="5657"/>
                </a:cubicBezTo>
                <a:cubicBezTo>
                  <a:pt x="21031" y="5688"/>
                  <a:pt x="21031" y="5719"/>
                  <a:pt x="21031" y="5750"/>
                </a:cubicBezTo>
                <a:close/>
                <a:moveTo>
                  <a:pt x="21031" y="5844"/>
                </a:moveTo>
                <a:cubicBezTo>
                  <a:pt x="21031" y="5813"/>
                  <a:pt x="21031" y="5782"/>
                  <a:pt x="21031" y="5750"/>
                </a:cubicBezTo>
                <a:cubicBezTo>
                  <a:pt x="21031" y="5782"/>
                  <a:pt x="21031" y="5813"/>
                  <a:pt x="21031" y="5844"/>
                </a:cubicBezTo>
                <a:close/>
                <a:moveTo>
                  <a:pt x="20938" y="5813"/>
                </a:moveTo>
                <a:cubicBezTo>
                  <a:pt x="20938" y="5813"/>
                  <a:pt x="20938" y="5813"/>
                  <a:pt x="20938" y="5813"/>
                </a:cubicBezTo>
                <a:cubicBezTo>
                  <a:pt x="20938" y="5813"/>
                  <a:pt x="20938" y="5813"/>
                  <a:pt x="20938" y="5813"/>
                </a:cubicBezTo>
                <a:cubicBezTo>
                  <a:pt x="20938" y="5813"/>
                  <a:pt x="20938" y="5813"/>
                  <a:pt x="20938" y="5813"/>
                </a:cubicBezTo>
                <a:close/>
                <a:moveTo>
                  <a:pt x="21656" y="13938"/>
                </a:moveTo>
                <a:cubicBezTo>
                  <a:pt x="21656" y="13938"/>
                  <a:pt x="21656" y="13938"/>
                  <a:pt x="21656" y="13938"/>
                </a:cubicBezTo>
                <a:cubicBezTo>
                  <a:pt x="21656" y="14000"/>
                  <a:pt x="21625" y="14063"/>
                  <a:pt x="21625" y="14125"/>
                </a:cubicBezTo>
                <a:cubicBezTo>
                  <a:pt x="21625" y="14063"/>
                  <a:pt x="21656" y="14000"/>
                  <a:pt x="21656" y="13938"/>
                </a:cubicBezTo>
                <a:close/>
                <a:moveTo>
                  <a:pt x="20813" y="14594"/>
                </a:moveTo>
                <a:cubicBezTo>
                  <a:pt x="20813" y="14594"/>
                  <a:pt x="20813" y="14594"/>
                  <a:pt x="20813" y="14594"/>
                </a:cubicBezTo>
                <a:cubicBezTo>
                  <a:pt x="20813" y="14594"/>
                  <a:pt x="20813" y="14594"/>
                  <a:pt x="20813" y="14594"/>
                </a:cubicBezTo>
                <a:cubicBezTo>
                  <a:pt x="20781" y="14594"/>
                  <a:pt x="20750" y="14625"/>
                  <a:pt x="20719" y="14594"/>
                </a:cubicBezTo>
                <a:cubicBezTo>
                  <a:pt x="20625" y="14563"/>
                  <a:pt x="20563" y="14563"/>
                  <a:pt x="20531" y="14688"/>
                </a:cubicBezTo>
                <a:cubicBezTo>
                  <a:pt x="20500" y="14657"/>
                  <a:pt x="20500" y="14594"/>
                  <a:pt x="20469" y="14625"/>
                </a:cubicBezTo>
                <a:cubicBezTo>
                  <a:pt x="20438" y="14625"/>
                  <a:pt x="20469" y="14657"/>
                  <a:pt x="20438" y="14688"/>
                </a:cubicBezTo>
                <a:cubicBezTo>
                  <a:pt x="20438" y="14688"/>
                  <a:pt x="20469" y="14719"/>
                  <a:pt x="20469" y="14719"/>
                </a:cubicBezTo>
                <a:cubicBezTo>
                  <a:pt x="20469" y="14719"/>
                  <a:pt x="20469" y="14750"/>
                  <a:pt x="20438" y="14750"/>
                </a:cubicBezTo>
                <a:cubicBezTo>
                  <a:pt x="20438" y="14750"/>
                  <a:pt x="20406" y="14750"/>
                  <a:pt x="20406" y="14719"/>
                </a:cubicBezTo>
                <a:cubicBezTo>
                  <a:pt x="20406" y="14657"/>
                  <a:pt x="20375" y="14688"/>
                  <a:pt x="20344" y="14688"/>
                </a:cubicBezTo>
                <a:cubicBezTo>
                  <a:pt x="20281" y="14688"/>
                  <a:pt x="20219" y="14750"/>
                  <a:pt x="20156" y="14719"/>
                </a:cubicBezTo>
                <a:cubicBezTo>
                  <a:pt x="20094" y="14594"/>
                  <a:pt x="20031" y="14719"/>
                  <a:pt x="19969" y="14719"/>
                </a:cubicBezTo>
                <a:cubicBezTo>
                  <a:pt x="19938" y="14719"/>
                  <a:pt x="19906" y="14750"/>
                  <a:pt x="19875" y="14750"/>
                </a:cubicBezTo>
                <a:cubicBezTo>
                  <a:pt x="19844" y="14750"/>
                  <a:pt x="19844" y="14750"/>
                  <a:pt x="19844" y="14750"/>
                </a:cubicBezTo>
                <a:cubicBezTo>
                  <a:pt x="19844" y="14750"/>
                  <a:pt x="19844" y="14750"/>
                  <a:pt x="19844" y="14750"/>
                </a:cubicBezTo>
                <a:cubicBezTo>
                  <a:pt x="19844" y="14688"/>
                  <a:pt x="19813" y="14688"/>
                  <a:pt x="19781" y="14688"/>
                </a:cubicBezTo>
                <a:cubicBezTo>
                  <a:pt x="19750" y="14719"/>
                  <a:pt x="19719" y="14719"/>
                  <a:pt x="19688" y="14719"/>
                </a:cubicBezTo>
                <a:cubicBezTo>
                  <a:pt x="19688" y="14719"/>
                  <a:pt x="19688" y="14719"/>
                  <a:pt x="19688" y="14719"/>
                </a:cubicBezTo>
                <a:cubicBezTo>
                  <a:pt x="19688" y="14719"/>
                  <a:pt x="19688" y="14719"/>
                  <a:pt x="19688" y="14719"/>
                </a:cubicBezTo>
                <a:cubicBezTo>
                  <a:pt x="19625" y="14657"/>
                  <a:pt x="19594" y="14719"/>
                  <a:pt x="19563" y="14719"/>
                </a:cubicBezTo>
                <a:cubicBezTo>
                  <a:pt x="19500" y="14719"/>
                  <a:pt x="19438" y="14688"/>
                  <a:pt x="19469" y="14594"/>
                </a:cubicBezTo>
                <a:cubicBezTo>
                  <a:pt x="19469" y="14594"/>
                  <a:pt x="19469" y="14594"/>
                  <a:pt x="19469" y="14594"/>
                </a:cubicBezTo>
                <a:cubicBezTo>
                  <a:pt x="19656" y="14563"/>
                  <a:pt x="19875" y="14532"/>
                  <a:pt x="20094" y="14532"/>
                </a:cubicBezTo>
                <a:cubicBezTo>
                  <a:pt x="20094" y="14532"/>
                  <a:pt x="20094" y="14532"/>
                  <a:pt x="20094" y="14532"/>
                </a:cubicBezTo>
                <a:cubicBezTo>
                  <a:pt x="20094" y="14532"/>
                  <a:pt x="20094" y="14532"/>
                  <a:pt x="20125" y="14532"/>
                </a:cubicBezTo>
                <a:cubicBezTo>
                  <a:pt x="20219" y="14469"/>
                  <a:pt x="20313" y="14500"/>
                  <a:pt x="20406" y="14532"/>
                </a:cubicBezTo>
                <a:cubicBezTo>
                  <a:pt x="20438" y="14532"/>
                  <a:pt x="20500" y="14532"/>
                  <a:pt x="20531" y="14500"/>
                </a:cubicBezTo>
                <a:cubicBezTo>
                  <a:pt x="20625" y="14469"/>
                  <a:pt x="20719" y="14532"/>
                  <a:pt x="20813" y="14532"/>
                </a:cubicBezTo>
                <a:cubicBezTo>
                  <a:pt x="20813" y="14532"/>
                  <a:pt x="20813" y="14532"/>
                  <a:pt x="20813" y="14532"/>
                </a:cubicBezTo>
                <a:cubicBezTo>
                  <a:pt x="20813" y="14563"/>
                  <a:pt x="20813" y="14563"/>
                  <a:pt x="20813" y="14594"/>
                </a:cubicBezTo>
                <a:close/>
                <a:moveTo>
                  <a:pt x="14531" y="16032"/>
                </a:moveTo>
                <a:cubicBezTo>
                  <a:pt x="14469" y="16000"/>
                  <a:pt x="14469" y="16063"/>
                  <a:pt x="14438" y="16094"/>
                </a:cubicBezTo>
                <a:cubicBezTo>
                  <a:pt x="14344" y="16094"/>
                  <a:pt x="14281" y="16157"/>
                  <a:pt x="14219" y="16219"/>
                </a:cubicBezTo>
                <a:cubicBezTo>
                  <a:pt x="14094" y="16282"/>
                  <a:pt x="14031" y="16375"/>
                  <a:pt x="14031" y="16469"/>
                </a:cubicBezTo>
                <a:cubicBezTo>
                  <a:pt x="14000" y="16563"/>
                  <a:pt x="13969" y="16563"/>
                  <a:pt x="13938" y="16594"/>
                </a:cubicBezTo>
                <a:cubicBezTo>
                  <a:pt x="13875" y="16594"/>
                  <a:pt x="13844" y="16625"/>
                  <a:pt x="13781" y="16657"/>
                </a:cubicBezTo>
                <a:cubicBezTo>
                  <a:pt x="13750" y="16688"/>
                  <a:pt x="13719" y="16750"/>
                  <a:pt x="13656" y="16750"/>
                </a:cubicBezTo>
                <a:cubicBezTo>
                  <a:pt x="13625" y="16719"/>
                  <a:pt x="13656" y="16719"/>
                  <a:pt x="13688" y="16688"/>
                </a:cubicBezTo>
                <a:cubicBezTo>
                  <a:pt x="13750" y="16625"/>
                  <a:pt x="13844" y="16563"/>
                  <a:pt x="13906" y="16500"/>
                </a:cubicBezTo>
                <a:cubicBezTo>
                  <a:pt x="14000" y="16438"/>
                  <a:pt x="14031" y="16313"/>
                  <a:pt x="14000" y="16250"/>
                </a:cubicBezTo>
                <a:cubicBezTo>
                  <a:pt x="13906" y="16344"/>
                  <a:pt x="13719" y="16438"/>
                  <a:pt x="13625" y="16469"/>
                </a:cubicBezTo>
                <a:cubicBezTo>
                  <a:pt x="13563" y="16469"/>
                  <a:pt x="13500" y="16469"/>
                  <a:pt x="13469" y="16500"/>
                </a:cubicBezTo>
                <a:cubicBezTo>
                  <a:pt x="13469" y="16563"/>
                  <a:pt x="13531" y="16563"/>
                  <a:pt x="13563" y="16625"/>
                </a:cubicBezTo>
                <a:cubicBezTo>
                  <a:pt x="13563" y="16625"/>
                  <a:pt x="13563" y="16625"/>
                  <a:pt x="13563" y="16625"/>
                </a:cubicBezTo>
                <a:cubicBezTo>
                  <a:pt x="13563" y="16657"/>
                  <a:pt x="13594" y="16657"/>
                  <a:pt x="13563" y="16657"/>
                </a:cubicBezTo>
                <a:cubicBezTo>
                  <a:pt x="13563" y="16657"/>
                  <a:pt x="13563" y="16657"/>
                  <a:pt x="13563" y="16657"/>
                </a:cubicBezTo>
                <a:cubicBezTo>
                  <a:pt x="13500" y="16625"/>
                  <a:pt x="13438" y="16563"/>
                  <a:pt x="13406" y="16500"/>
                </a:cubicBezTo>
                <a:cubicBezTo>
                  <a:pt x="13500" y="16407"/>
                  <a:pt x="13594" y="16282"/>
                  <a:pt x="13688" y="16157"/>
                </a:cubicBezTo>
                <a:cubicBezTo>
                  <a:pt x="13719" y="16125"/>
                  <a:pt x="13781" y="16094"/>
                  <a:pt x="13813" y="16032"/>
                </a:cubicBezTo>
                <a:cubicBezTo>
                  <a:pt x="13813" y="16032"/>
                  <a:pt x="13813" y="16032"/>
                  <a:pt x="13813" y="16032"/>
                </a:cubicBezTo>
                <a:cubicBezTo>
                  <a:pt x="13844" y="16032"/>
                  <a:pt x="13906" y="16063"/>
                  <a:pt x="13906" y="16000"/>
                </a:cubicBezTo>
                <a:cubicBezTo>
                  <a:pt x="13938" y="15969"/>
                  <a:pt x="13969" y="15907"/>
                  <a:pt x="14031" y="15875"/>
                </a:cubicBezTo>
                <a:cubicBezTo>
                  <a:pt x="14156" y="15875"/>
                  <a:pt x="14188" y="15782"/>
                  <a:pt x="14250" y="15688"/>
                </a:cubicBezTo>
                <a:cubicBezTo>
                  <a:pt x="14250" y="15688"/>
                  <a:pt x="14250" y="15657"/>
                  <a:pt x="14250" y="15625"/>
                </a:cubicBezTo>
                <a:cubicBezTo>
                  <a:pt x="14250" y="15625"/>
                  <a:pt x="14250" y="15625"/>
                  <a:pt x="14250" y="15625"/>
                </a:cubicBezTo>
                <a:cubicBezTo>
                  <a:pt x="14344" y="15657"/>
                  <a:pt x="14375" y="15625"/>
                  <a:pt x="14406" y="15532"/>
                </a:cubicBezTo>
                <a:cubicBezTo>
                  <a:pt x="14438" y="15532"/>
                  <a:pt x="14469" y="15532"/>
                  <a:pt x="14469" y="15500"/>
                </a:cubicBezTo>
                <a:cubicBezTo>
                  <a:pt x="14469" y="15438"/>
                  <a:pt x="14531" y="15375"/>
                  <a:pt x="14563" y="15313"/>
                </a:cubicBezTo>
                <a:cubicBezTo>
                  <a:pt x="14563" y="15313"/>
                  <a:pt x="14563" y="15313"/>
                  <a:pt x="14563" y="15313"/>
                </a:cubicBezTo>
                <a:cubicBezTo>
                  <a:pt x="14563" y="15313"/>
                  <a:pt x="14563" y="15313"/>
                  <a:pt x="14563" y="15313"/>
                </a:cubicBezTo>
                <a:cubicBezTo>
                  <a:pt x="14625" y="15313"/>
                  <a:pt x="14625" y="15250"/>
                  <a:pt x="14625" y="15219"/>
                </a:cubicBezTo>
                <a:cubicBezTo>
                  <a:pt x="14625" y="15219"/>
                  <a:pt x="14656" y="15219"/>
                  <a:pt x="14656" y="15188"/>
                </a:cubicBezTo>
                <a:cubicBezTo>
                  <a:pt x="14656" y="15188"/>
                  <a:pt x="14656" y="15157"/>
                  <a:pt x="14656" y="15157"/>
                </a:cubicBezTo>
                <a:cubicBezTo>
                  <a:pt x="14656" y="15157"/>
                  <a:pt x="14656" y="15188"/>
                  <a:pt x="14656" y="15188"/>
                </a:cubicBezTo>
                <a:cubicBezTo>
                  <a:pt x="14688" y="15188"/>
                  <a:pt x="14750" y="15250"/>
                  <a:pt x="14781" y="15188"/>
                </a:cubicBezTo>
                <a:cubicBezTo>
                  <a:pt x="14781" y="15188"/>
                  <a:pt x="14781" y="15188"/>
                  <a:pt x="14781" y="15188"/>
                </a:cubicBezTo>
                <a:cubicBezTo>
                  <a:pt x="14875" y="15094"/>
                  <a:pt x="14875" y="15188"/>
                  <a:pt x="14875" y="15250"/>
                </a:cubicBezTo>
                <a:cubicBezTo>
                  <a:pt x="14875" y="15250"/>
                  <a:pt x="14875" y="15250"/>
                  <a:pt x="14875" y="15250"/>
                </a:cubicBezTo>
                <a:cubicBezTo>
                  <a:pt x="14875" y="15250"/>
                  <a:pt x="14906" y="15282"/>
                  <a:pt x="14938" y="15282"/>
                </a:cubicBezTo>
                <a:cubicBezTo>
                  <a:pt x="14969" y="15282"/>
                  <a:pt x="14969" y="15282"/>
                  <a:pt x="14969" y="15250"/>
                </a:cubicBezTo>
                <a:cubicBezTo>
                  <a:pt x="14969" y="15282"/>
                  <a:pt x="15000" y="15282"/>
                  <a:pt x="15031" y="15313"/>
                </a:cubicBezTo>
                <a:cubicBezTo>
                  <a:pt x="15031" y="15313"/>
                  <a:pt x="15031" y="15313"/>
                  <a:pt x="15031" y="15313"/>
                </a:cubicBezTo>
                <a:cubicBezTo>
                  <a:pt x="15031" y="15313"/>
                  <a:pt x="15031" y="15313"/>
                  <a:pt x="15031" y="15313"/>
                </a:cubicBezTo>
                <a:cubicBezTo>
                  <a:pt x="14938" y="15282"/>
                  <a:pt x="14906" y="15407"/>
                  <a:pt x="14844" y="15375"/>
                </a:cubicBezTo>
                <a:cubicBezTo>
                  <a:pt x="14844" y="15407"/>
                  <a:pt x="14844" y="15438"/>
                  <a:pt x="14844" y="15469"/>
                </a:cubicBezTo>
                <a:cubicBezTo>
                  <a:pt x="14844" y="15500"/>
                  <a:pt x="14844" y="15500"/>
                  <a:pt x="14844" y="15500"/>
                </a:cubicBezTo>
                <a:cubicBezTo>
                  <a:pt x="14750" y="15688"/>
                  <a:pt x="14750" y="15688"/>
                  <a:pt x="14844" y="15782"/>
                </a:cubicBezTo>
                <a:cubicBezTo>
                  <a:pt x="14781" y="15875"/>
                  <a:pt x="14625" y="15907"/>
                  <a:pt x="14563" y="16032"/>
                </a:cubicBezTo>
                <a:cubicBezTo>
                  <a:pt x="14563" y="16032"/>
                  <a:pt x="14563" y="16063"/>
                  <a:pt x="14531" y="16032"/>
                </a:cubicBezTo>
                <a:close/>
                <a:moveTo>
                  <a:pt x="13719" y="16782"/>
                </a:move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ubicBezTo>
                  <a:pt x="13719" y="16782"/>
                  <a:pt x="13719" y="16782"/>
                  <a:pt x="13719" y="16782"/>
                </a:cubicBezTo>
                <a:close/>
                <a:moveTo>
                  <a:pt x="14031" y="16657"/>
                </a:moveTo>
                <a:cubicBezTo>
                  <a:pt x="14031" y="16657"/>
                  <a:pt x="14031" y="16657"/>
                  <a:pt x="14031" y="16657"/>
                </a:cubicBezTo>
                <a:cubicBezTo>
                  <a:pt x="14031" y="16657"/>
                  <a:pt x="14031" y="16657"/>
                  <a:pt x="14031" y="16657"/>
                </a:cubicBezTo>
                <a:cubicBezTo>
                  <a:pt x="14031" y="16625"/>
                  <a:pt x="14031" y="16625"/>
                  <a:pt x="14031" y="16625"/>
                </a:cubicBezTo>
                <a:cubicBezTo>
                  <a:pt x="14031" y="16625"/>
                  <a:pt x="14031" y="16625"/>
                  <a:pt x="14031" y="16657"/>
                </a:cubicBezTo>
                <a:close/>
                <a:moveTo>
                  <a:pt x="13156" y="16250"/>
                </a:moveTo>
                <a:cubicBezTo>
                  <a:pt x="13156" y="16313"/>
                  <a:pt x="13188" y="16313"/>
                  <a:pt x="13219" y="16344"/>
                </a:cubicBezTo>
                <a:cubicBezTo>
                  <a:pt x="13188" y="16313"/>
                  <a:pt x="13156" y="16313"/>
                  <a:pt x="13156" y="16250"/>
                </a:cubicBezTo>
                <a:cubicBezTo>
                  <a:pt x="13125" y="16250"/>
                  <a:pt x="13125" y="16219"/>
                  <a:pt x="13156" y="16219"/>
                </a:cubicBezTo>
                <a:cubicBezTo>
                  <a:pt x="13219" y="16157"/>
                  <a:pt x="13313" y="16094"/>
                  <a:pt x="13406" y="16094"/>
                </a:cubicBezTo>
                <a:cubicBezTo>
                  <a:pt x="13406" y="16063"/>
                  <a:pt x="13406" y="16063"/>
                  <a:pt x="13406" y="16063"/>
                </a:cubicBezTo>
                <a:cubicBezTo>
                  <a:pt x="13406" y="16063"/>
                  <a:pt x="13406" y="16063"/>
                  <a:pt x="13406" y="16063"/>
                </a:cubicBezTo>
                <a:cubicBezTo>
                  <a:pt x="13406" y="16063"/>
                  <a:pt x="13406" y="16063"/>
                  <a:pt x="13406" y="16094"/>
                </a:cubicBezTo>
                <a:cubicBezTo>
                  <a:pt x="13469" y="16094"/>
                  <a:pt x="13500" y="16125"/>
                  <a:pt x="13469" y="16157"/>
                </a:cubicBezTo>
                <a:cubicBezTo>
                  <a:pt x="13469" y="16188"/>
                  <a:pt x="13438" y="16250"/>
                  <a:pt x="13375" y="16250"/>
                </a:cubicBezTo>
                <a:cubicBezTo>
                  <a:pt x="13281" y="16250"/>
                  <a:pt x="13219" y="16219"/>
                  <a:pt x="13156" y="16250"/>
                </a:cubicBezTo>
                <a:close/>
                <a:moveTo>
                  <a:pt x="13250" y="16375"/>
                </a:moveTo>
                <a:cubicBezTo>
                  <a:pt x="13250" y="16375"/>
                  <a:pt x="13250" y="16375"/>
                  <a:pt x="13219" y="16375"/>
                </a:cubicBezTo>
                <a:cubicBezTo>
                  <a:pt x="13250" y="16375"/>
                  <a:pt x="13250" y="16375"/>
                  <a:pt x="13250" y="16375"/>
                </a:cubicBezTo>
                <a:close/>
                <a:moveTo>
                  <a:pt x="13250" y="17188"/>
                </a:moveTo>
                <a:cubicBezTo>
                  <a:pt x="13250" y="17188"/>
                  <a:pt x="13250" y="17157"/>
                  <a:pt x="13219" y="17157"/>
                </a:cubicBezTo>
                <a:cubicBezTo>
                  <a:pt x="13219" y="17125"/>
                  <a:pt x="13219" y="17125"/>
                  <a:pt x="13219" y="17094"/>
                </a:cubicBezTo>
                <a:cubicBezTo>
                  <a:pt x="13219" y="17125"/>
                  <a:pt x="13219" y="17125"/>
                  <a:pt x="13219" y="17157"/>
                </a:cubicBezTo>
                <a:cubicBezTo>
                  <a:pt x="13250" y="17157"/>
                  <a:pt x="13250" y="17188"/>
                  <a:pt x="13250" y="17188"/>
                </a:cubicBezTo>
                <a:close/>
                <a:moveTo>
                  <a:pt x="13031" y="17063"/>
                </a:moveTo>
                <a:cubicBezTo>
                  <a:pt x="13031" y="17063"/>
                  <a:pt x="13031" y="17063"/>
                  <a:pt x="13031" y="17032"/>
                </a:cubicBezTo>
                <a:cubicBezTo>
                  <a:pt x="13031" y="17032"/>
                  <a:pt x="13031" y="17000"/>
                  <a:pt x="13000" y="16969"/>
                </a:cubicBezTo>
                <a:cubicBezTo>
                  <a:pt x="13031" y="17000"/>
                  <a:pt x="13031" y="17032"/>
                  <a:pt x="13031" y="17032"/>
                </a:cubicBezTo>
                <a:cubicBezTo>
                  <a:pt x="13031" y="17063"/>
                  <a:pt x="13031" y="17063"/>
                  <a:pt x="13031" y="17063"/>
                </a:cubicBezTo>
                <a:close/>
                <a:moveTo>
                  <a:pt x="14219" y="15625"/>
                </a:move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ubicBezTo>
                  <a:pt x="14219" y="15625"/>
                  <a:pt x="14219" y="15625"/>
                  <a:pt x="14219" y="15625"/>
                </a:cubicBezTo>
                <a:close/>
                <a:moveTo>
                  <a:pt x="14188" y="15625"/>
                </a:moveTo>
                <a:cubicBezTo>
                  <a:pt x="14188" y="15625"/>
                  <a:pt x="14188" y="15625"/>
                  <a:pt x="14188" y="15625"/>
                </a:cubicBezTo>
                <a:cubicBezTo>
                  <a:pt x="14188" y="15625"/>
                  <a:pt x="14188" y="15625"/>
                  <a:pt x="14188" y="15625"/>
                </a:cubicBezTo>
                <a:close/>
                <a:moveTo>
                  <a:pt x="14125" y="15313"/>
                </a:moveTo>
                <a:cubicBezTo>
                  <a:pt x="14125" y="15313"/>
                  <a:pt x="14125" y="15313"/>
                  <a:pt x="14125" y="15313"/>
                </a:cubicBezTo>
                <a:cubicBezTo>
                  <a:pt x="14125" y="15313"/>
                  <a:pt x="14125" y="15313"/>
                  <a:pt x="14125" y="15313"/>
                </a:cubicBezTo>
                <a:close/>
                <a:moveTo>
                  <a:pt x="14063" y="15344"/>
                </a:moveTo>
                <a:cubicBezTo>
                  <a:pt x="14094" y="15375"/>
                  <a:pt x="14094" y="15407"/>
                  <a:pt x="14094" y="15407"/>
                </a:cubicBezTo>
                <a:cubicBezTo>
                  <a:pt x="14094" y="15407"/>
                  <a:pt x="14094" y="15375"/>
                  <a:pt x="14063" y="15344"/>
                </a:cubicBezTo>
                <a:close/>
                <a:moveTo>
                  <a:pt x="14344" y="15407"/>
                </a:moveTo>
                <a:cubicBezTo>
                  <a:pt x="14375" y="15407"/>
                  <a:pt x="14406" y="15407"/>
                  <a:pt x="14406" y="15407"/>
                </a:cubicBezTo>
                <a:cubicBezTo>
                  <a:pt x="14406" y="15407"/>
                  <a:pt x="14406" y="15407"/>
                  <a:pt x="14406" y="15407"/>
                </a:cubicBezTo>
                <a:cubicBezTo>
                  <a:pt x="14406" y="15407"/>
                  <a:pt x="14375" y="15407"/>
                  <a:pt x="14344" y="15407"/>
                </a:cubicBezTo>
                <a:close/>
                <a:moveTo>
                  <a:pt x="13938" y="15282"/>
                </a:moveTo>
                <a:cubicBezTo>
                  <a:pt x="13906" y="15313"/>
                  <a:pt x="13906" y="15313"/>
                  <a:pt x="13906" y="15344"/>
                </a:cubicBezTo>
                <a:cubicBezTo>
                  <a:pt x="13781" y="15407"/>
                  <a:pt x="13719" y="15532"/>
                  <a:pt x="13625" y="15594"/>
                </a:cubicBezTo>
                <a:cubicBezTo>
                  <a:pt x="13594" y="15594"/>
                  <a:pt x="13594" y="15625"/>
                  <a:pt x="13594" y="15657"/>
                </a:cubicBezTo>
                <a:cubicBezTo>
                  <a:pt x="13594" y="15657"/>
                  <a:pt x="13594" y="15657"/>
                  <a:pt x="13594" y="15657"/>
                </a:cubicBezTo>
                <a:cubicBezTo>
                  <a:pt x="13563" y="15625"/>
                  <a:pt x="13531" y="15657"/>
                  <a:pt x="13469" y="15688"/>
                </a:cubicBezTo>
                <a:cubicBezTo>
                  <a:pt x="13469" y="15594"/>
                  <a:pt x="13531" y="15532"/>
                  <a:pt x="13531" y="15469"/>
                </a:cubicBezTo>
                <a:cubicBezTo>
                  <a:pt x="13531" y="15438"/>
                  <a:pt x="13563" y="15438"/>
                  <a:pt x="13594" y="15438"/>
                </a:cubicBezTo>
                <a:cubicBezTo>
                  <a:pt x="13719" y="15438"/>
                  <a:pt x="13781" y="15344"/>
                  <a:pt x="13875" y="15250"/>
                </a:cubicBezTo>
                <a:cubicBezTo>
                  <a:pt x="13875" y="15250"/>
                  <a:pt x="13906" y="15219"/>
                  <a:pt x="13938" y="15188"/>
                </a:cubicBezTo>
                <a:cubicBezTo>
                  <a:pt x="13969" y="15188"/>
                  <a:pt x="13969" y="15188"/>
                  <a:pt x="13969" y="15219"/>
                </a:cubicBezTo>
                <a:cubicBezTo>
                  <a:pt x="13938" y="15250"/>
                  <a:pt x="13938" y="15250"/>
                  <a:pt x="13938" y="15282"/>
                </a:cubicBezTo>
                <a:close/>
                <a:moveTo>
                  <a:pt x="13000" y="15594"/>
                </a:moveTo>
                <a:cubicBezTo>
                  <a:pt x="13000" y="15625"/>
                  <a:pt x="13000" y="15625"/>
                  <a:pt x="13000" y="15625"/>
                </a:cubicBezTo>
                <a:cubicBezTo>
                  <a:pt x="13000" y="15625"/>
                  <a:pt x="13000" y="15625"/>
                  <a:pt x="13000" y="15594"/>
                </a:cubicBezTo>
                <a:close/>
                <a:moveTo>
                  <a:pt x="12969" y="15875"/>
                </a:moveTo>
                <a:cubicBezTo>
                  <a:pt x="12969" y="15813"/>
                  <a:pt x="13000" y="15782"/>
                  <a:pt x="13000" y="15750"/>
                </a:cubicBezTo>
                <a:cubicBezTo>
                  <a:pt x="13031" y="15719"/>
                  <a:pt x="13094" y="15719"/>
                  <a:pt x="13094" y="15657"/>
                </a:cubicBezTo>
                <a:cubicBezTo>
                  <a:pt x="13094" y="15657"/>
                  <a:pt x="13094" y="15657"/>
                  <a:pt x="13094" y="15657"/>
                </a:cubicBezTo>
                <a:cubicBezTo>
                  <a:pt x="13094" y="15657"/>
                  <a:pt x="13094" y="15657"/>
                  <a:pt x="13125" y="15657"/>
                </a:cubicBezTo>
                <a:cubicBezTo>
                  <a:pt x="13125" y="15657"/>
                  <a:pt x="13125" y="15657"/>
                  <a:pt x="13125" y="15657"/>
                </a:cubicBezTo>
                <a:cubicBezTo>
                  <a:pt x="13156" y="15657"/>
                  <a:pt x="13188" y="15625"/>
                  <a:pt x="13188" y="15563"/>
                </a:cubicBezTo>
                <a:cubicBezTo>
                  <a:pt x="13219" y="15563"/>
                  <a:pt x="13219" y="15532"/>
                  <a:pt x="13250" y="15532"/>
                </a:cubicBezTo>
                <a:cubicBezTo>
                  <a:pt x="13281" y="15563"/>
                  <a:pt x="13281" y="15594"/>
                  <a:pt x="13281" y="15594"/>
                </a:cubicBezTo>
                <a:cubicBezTo>
                  <a:pt x="13281" y="15625"/>
                  <a:pt x="13219" y="15625"/>
                  <a:pt x="13281" y="15625"/>
                </a:cubicBezTo>
                <a:cubicBezTo>
                  <a:pt x="13313" y="15657"/>
                  <a:pt x="13313" y="15625"/>
                  <a:pt x="13313" y="15594"/>
                </a:cubicBezTo>
                <a:cubicBezTo>
                  <a:pt x="13313" y="15532"/>
                  <a:pt x="13344" y="15500"/>
                  <a:pt x="13375" y="15500"/>
                </a:cubicBezTo>
                <a:cubicBezTo>
                  <a:pt x="13438" y="15469"/>
                  <a:pt x="13406" y="15438"/>
                  <a:pt x="13406" y="15407"/>
                </a:cubicBezTo>
                <a:cubicBezTo>
                  <a:pt x="13438" y="15407"/>
                  <a:pt x="13438" y="15407"/>
                  <a:pt x="13469" y="15407"/>
                </a:cubicBezTo>
                <a:cubicBezTo>
                  <a:pt x="13438" y="15563"/>
                  <a:pt x="13344" y="15657"/>
                  <a:pt x="13250" y="15750"/>
                </a:cubicBezTo>
                <a:cubicBezTo>
                  <a:pt x="13219" y="15782"/>
                  <a:pt x="13156" y="15782"/>
                  <a:pt x="13156" y="15782"/>
                </a:cubicBezTo>
                <a:cubicBezTo>
                  <a:pt x="13063" y="15719"/>
                  <a:pt x="13063" y="15782"/>
                  <a:pt x="13031" y="15813"/>
                </a:cubicBezTo>
                <a:cubicBezTo>
                  <a:pt x="13031" y="15844"/>
                  <a:pt x="13000" y="15875"/>
                  <a:pt x="12969" y="15875"/>
                </a:cubicBezTo>
                <a:cubicBezTo>
                  <a:pt x="12938" y="15875"/>
                  <a:pt x="12938" y="15907"/>
                  <a:pt x="12906" y="15907"/>
                </a:cubicBezTo>
                <a:cubicBezTo>
                  <a:pt x="12938" y="15907"/>
                  <a:pt x="12938" y="15875"/>
                  <a:pt x="12969" y="15875"/>
                </a:cubicBezTo>
                <a:close/>
                <a:moveTo>
                  <a:pt x="13031" y="16063"/>
                </a:moveTo>
                <a:cubicBezTo>
                  <a:pt x="13031" y="16063"/>
                  <a:pt x="13063" y="16063"/>
                  <a:pt x="13063" y="16063"/>
                </a:cubicBezTo>
                <a:cubicBezTo>
                  <a:pt x="13063" y="16094"/>
                  <a:pt x="13031" y="16094"/>
                  <a:pt x="13031" y="16094"/>
                </a:cubicBezTo>
                <a:cubicBezTo>
                  <a:pt x="13031" y="16094"/>
                  <a:pt x="13063" y="16094"/>
                  <a:pt x="13063" y="16063"/>
                </a:cubicBezTo>
                <a:cubicBezTo>
                  <a:pt x="13063" y="16063"/>
                  <a:pt x="13031" y="16063"/>
                  <a:pt x="13031" y="16063"/>
                </a:cubicBezTo>
                <a:close/>
                <a:moveTo>
                  <a:pt x="13125" y="16344"/>
                </a:moveTo>
                <a:cubicBezTo>
                  <a:pt x="13125" y="16344"/>
                  <a:pt x="13125" y="16344"/>
                  <a:pt x="13125" y="16344"/>
                </a:cubicBezTo>
                <a:cubicBezTo>
                  <a:pt x="13125" y="16344"/>
                  <a:pt x="13125" y="16344"/>
                  <a:pt x="13125" y="16344"/>
                </a:cubicBezTo>
                <a:close/>
                <a:moveTo>
                  <a:pt x="12125" y="13625"/>
                </a:moveTo>
                <a:cubicBezTo>
                  <a:pt x="12125" y="13625"/>
                  <a:pt x="12125" y="13625"/>
                  <a:pt x="12125" y="13625"/>
                </a:cubicBezTo>
                <a:cubicBezTo>
                  <a:pt x="12125" y="13594"/>
                  <a:pt x="12125" y="13594"/>
                  <a:pt x="12125" y="13594"/>
                </a:cubicBezTo>
                <a:cubicBezTo>
                  <a:pt x="12125" y="13594"/>
                  <a:pt x="12125" y="13625"/>
                  <a:pt x="12125" y="13625"/>
                </a:cubicBezTo>
                <a:close/>
                <a:moveTo>
                  <a:pt x="11438" y="14844"/>
                </a:moveTo>
                <a:cubicBezTo>
                  <a:pt x="11438" y="14657"/>
                  <a:pt x="11438" y="14438"/>
                  <a:pt x="11438" y="14250"/>
                </a:cubicBezTo>
                <a:cubicBezTo>
                  <a:pt x="11406" y="14219"/>
                  <a:pt x="11406" y="14219"/>
                  <a:pt x="11438" y="14188"/>
                </a:cubicBezTo>
                <a:cubicBezTo>
                  <a:pt x="11438" y="14188"/>
                  <a:pt x="11438" y="14188"/>
                  <a:pt x="11438" y="14157"/>
                </a:cubicBezTo>
                <a:cubicBezTo>
                  <a:pt x="11438" y="14157"/>
                  <a:pt x="11438" y="14157"/>
                  <a:pt x="11438" y="14157"/>
                </a:cubicBezTo>
                <a:cubicBezTo>
                  <a:pt x="11500" y="14157"/>
                  <a:pt x="11531" y="14125"/>
                  <a:pt x="11594" y="14094"/>
                </a:cubicBezTo>
                <a:cubicBezTo>
                  <a:pt x="11531" y="14219"/>
                  <a:pt x="11531" y="14313"/>
                  <a:pt x="11531" y="14438"/>
                </a:cubicBezTo>
                <a:cubicBezTo>
                  <a:pt x="11500" y="14563"/>
                  <a:pt x="11531" y="14719"/>
                  <a:pt x="11469" y="14844"/>
                </a:cubicBezTo>
                <a:cubicBezTo>
                  <a:pt x="11469" y="14844"/>
                  <a:pt x="11469" y="14844"/>
                  <a:pt x="11469" y="14844"/>
                </a:cubicBezTo>
                <a:cubicBezTo>
                  <a:pt x="11469" y="14844"/>
                  <a:pt x="11469" y="14844"/>
                  <a:pt x="11438" y="14844"/>
                </a:cubicBezTo>
                <a:close/>
                <a:moveTo>
                  <a:pt x="11063" y="15188"/>
                </a:moveTo>
                <a:cubicBezTo>
                  <a:pt x="11063" y="15188"/>
                  <a:pt x="11063" y="15157"/>
                  <a:pt x="11031" y="15157"/>
                </a:cubicBezTo>
                <a:cubicBezTo>
                  <a:pt x="10969" y="15157"/>
                  <a:pt x="10875" y="15157"/>
                  <a:pt x="10781" y="15157"/>
                </a:cubicBezTo>
                <a:cubicBezTo>
                  <a:pt x="10656" y="15157"/>
                  <a:pt x="10531" y="15125"/>
                  <a:pt x="10406" y="15094"/>
                </a:cubicBezTo>
                <a:cubicBezTo>
                  <a:pt x="10250" y="15094"/>
                  <a:pt x="10094" y="15032"/>
                  <a:pt x="9906" y="15063"/>
                </a:cubicBezTo>
                <a:cubicBezTo>
                  <a:pt x="9844" y="15063"/>
                  <a:pt x="9781" y="15032"/>
                  <a:pt x="9688" y="15032"/>
                </a:cubicBezTo>
                <a:cubicBezTo>
                  <a:pt x="9656" y="15032"/>
                  <a:pt x="9594" y="15032"/>
                  <a:pt x="9531" y="15032"/>
                </a:cubicBezTo>
                <a:cubicBezTo>
                  <a:pt x="9500" y="15032"/>
                  <a:pt x="9438" y="15032"/>
                  <a:pt x="9406" y="15032"/>
                </a:cubicBezTo>
                <a:cubicBezTo>
                  <a:pt x="9313" y="15032"/>
                  <a:pt x="9281" y="15063"/>
                  <a:pt x="9313" y="15157"/>
                </a:cubicBezTo>
                <a:cubicBezTo>
                  <a:pt x="9313" y="15157"/>
                  <a:pt x="9313" y="15157"/>
                  <a:pt x="9281" y="15157"/>
                </a:cubicBezTo>
                <a:cubicBezTo>
                  <a:pt x="9219" y="15125"/>
                  <a:pt x="9281" y="15032"/>
                  <a:pt x="9250" y="15000"/>
                </a:cubicBezTo>
                <a:cubicBezTo>
                  <a:pt x="9125" y="15032"/>
                  <a:pt x="8969" y="15000"/>
                  <a:pt x="8906" y="15125"/>
                </a:cubicBezTo>
                <a:cubicBezTo>
                  <a:pt x="8875" y="15125"/>
                  <a:pt x="8875" y="15094"/>
                  <a:pt x="8875" y="15094"/>
                </a:cubicBezTo>
                <a:cubicBezTo>
                  <a:pt x="8844" y="15032"/>
                  <a:pt x="8813" y="15032"/>
                  <a:pt x="8781" y="15063"/>
                </a:cubicBezTo>
                <a:cubicBezTo>
                  <a:pt x="8750" y="15094"/>
                  <a:pt x="8719" y="15094"/>
                  <a:pt x="8688" y="15157"/>
                </a:cubicBezTo>
                <a:cubicBezTo>
                  <a:pt x="8688" y="15157"/>
                  <a:pt x="8688" y="15188"/>
                  <a:pt x="8688" y="15188"/>
                </a:cubicBezTo>
                <a:cubicBezTo>
                  <a:pt x="8531" y="15188"/>
                  <a:pt x="8469" y="15250"/>
                  <a:pt x="8438" y="15407"/>
                </a:cubicBezTo>
                <a:cubicBezTo>
                  <a:pt x="8438" y="15438"/>
                  <a:pt x="8406" y="15469"/>
                  <a:pt x="8375" y="15469"/>
                </a:cubicBezTo>
                <a:cubicBezTo>
                  <a:pt x="8344" y="15500"/>
                  <a:pt x="8313" y="15532"/>
                  <a:pt x="8313" y="15563"/>
                </a:cubicBezTo>
                <a:cubicBezTo>
                  <a:pt x="8313" y="15625"/>
                  <a:pt x="8250" y="15625"/>
                  <a:pt x="8188" y="15657"/>
                </a:cubicBezTo>
                <a:cubicBezTo>
                  <a:pt x="8219" y="15563"/>
                  <a:pt x="8250" y="15500"/>
                  <a:pt x="8313" y="15438"/>
                </a:cubicBezTo>
                <a:cubicBezTo>
                  <a:pt x="8313" y="15438"/>
                  <a:pt x="8313" y="15438"/>
                  <a:pt x="8313" y="15438"/>
                </a:cubicBezTo>
                <a:cubicBezTo>
                  <a:pt x="8344" y="15438"/>
                  <a:pt x="8375" y="15407"/>
                  <a:pt x="8406" y="15375"/>
                </a:cubicBezTo>
                <a:cubicBezTo>
                  <a:pt x="8406" y="15313"/>
                  <a:pt x="8406" y="15282"/>
                  <a:pt x="8438" y="15219"/>
                </a:cubicBezTo>
                <a:cubicBezTo>
                  <a:pt x="8438" y="15188"/>
                  <a:pt x="8438" y="15157"/>
                  <a:pt x="8469" y="15157"/>
                </a:cubicBezTo>
                <a:cubicBezTo>
                  <a:pt x="8500" y="15094"/>
                  <a:pt x="8500" y="15094"/>
                  <a:pt x="8469" y="15063"/>
                </a:cubicBezTo>
                <a:cubicBezTo>
                  <a:pt x="8406" y="15125"/>
                  <a:pt x="8344" y="15094"/>
                  <a:pt x="8313" y="15063"/>
                </a:cubicBezTo>
                <a:cubicBezTo>
                  <a:pt x="8250" y="15032"/>
                  <a:pt x="8219" y="15032"/>
                  <a:pt x="8219" y="15094"/>
                </a:cubicBezTo>
                <a:cubicBezTo>
                  <a:pt x="8188" y="15157"/>
                  <a:pt x="8156" y="15157"/>
                  <a:pt x="8094" y="15188"/>
                </a:cubicBezTo>
                <a:cubicBezTo>
                  <a:pt x="8094" y="15157"/>
                  <a:pt x="8094" y="15125"/>
                  <a:pt x="8094" y="15094"/>
                </a:cubicBezTo>
                <a:cubicBezTo>
                  <a:pt x="8094" y="15094"/>
                  <a:pt x="8063" y="15063"/>
                  <a:pt x="8063" y="15063"/>
                </a:cubicBezTo>
                <a:cubicBezTo>
                  <a:pt x="8031" y="15063"/>
                  <a:pt x="8031" y="15063"/>
                  <a:pt x="8000" y="15094"/>
                </a:cubicBezTo>
                <a:cubicBezTo>
                  <a:pt x="7969" y="15125"/>
                  <a:pt x="8000" y="15125"/>
                  <a:pt x="8000" y="15125"/>
                </a:cubicBezTo>
                <a:cubicBezTo>
                  <a:pt x="8031" y="15157"/>
                  <a:pt x="8031" y="15157"/>
                  <a:pt x="8000" y="15157"/>
                </a:cubicBezTo>
                <a:cubicBezTo>
                  <a:pt x="7875" y="15219"/>
                  <a:pt x="7875" y="15407"/>
                  <a:pt x="7750" y="15469"/>
                </a:cubicBezTo>
                <a:cubicBezTo>
                  <a:pt x="7688" y="15469"/>
                  <a:pt x="7688" y="15594"/>
                  <a:pt x="7656" y="15657"/>
                </a:cubicBezTo>
                <a:cubicBezTo>
                  <a:pt x="7656" y="15657"/>
                  <a:pt x="7656" y="15657"/>
                  <a:pt x="7656" y="15657"/>
                </a:cubicBezTo>
                <a:cubicBezTo>
                  <a:pt x="7656" y="15657"/>
                  <a:pt x="7656" y="15657"/>
                  <a:pt x="7656" y="15688"/>
                </a:cubicBezTo>
                <a:cubicBezTo>
                  <a:pt x="7656" y="15657"/>
                  <a:pt x="7656" y="15657"/>
                  <a:pt x="7656" y="15657"/>
                </a:cubicBezTo>
                <a:cubicBezTo>
                  <a:pt x="7625" y="15657"/>
                  <a:pt x="7594" y="15657"/>
                  <a:pt x="7594" y="15657"/>
                </a:cubicBezTo>
                <a:cubicBezTo>
                  <a:pt x="7563" y="15719"/>
                  <a:pt x="7469" y="15750"/>
                  <a:pt x="7438" y="15813"/>
                </a:cubicBezTo>
                <a:cubicBezTo>
                  <a:pt x="7375" y="15907"/>
                  <a:pt x="7313" y="16000"/>
                  <a:pt x="7188" y="15969"/>
                </a:cubicBezTo>
                <a:cubicBezTo>
                  <a:pt x="7188" y="15969"/>
                  <a:pt x="7188" y="15969"/>
                  <a:pt x="7188" y="15969"/>
                </a:cubicBezTo>
                <a:cubicBezTo>
                  <a:pt x="7156" y="16063"/>
                  <a:pt x="7125" y="16125"/>
                  <a:pt x="7031" y="16094"/>
                </a:cubicBezTo>
                <a:cubicBezTo>
                  <a:pt x="7000" y="16063"/>
                  <a:pt x="6969" y="16157"/>
                  <a:pt x="6906" y="16188"/>
                </a:cubicBezTo>
                <a:cubicBezTo>
                  <a:pt x="6875" y="16188"/>
                  <a:pt x="6875" y="16188"/>
                  <a:pt x="6875" y="16219"/>
                </a:cubicBezTo>
                <a:cubicBezTo>
                  <a:pt x="6813" y="16250"/>
                  <a:pt x="6813" y="16219"/>
                  <a:pt x="6813" y="16188"/>
                </a:cubicBezTo>
                <a:cubicBezTo>
                  <a:pt x="6813" y="16094"/>
                  <a:pt x="6813" y="16032"/>
                  <a:pt x="6813" y="15938"/>
                </a:cubicBezTo>
                <a:cubicBezTo>
                  <a:pt x="6781" y="15969"/>
                  <a:pt x="6750" y="16000"/>
                  <a:pt x="6719" y="16000"/>
                </a:cubicBezTo>
                <a:cubicBezTo>
                  <a:pt x="6719" y="16063"/>
                  <a:pt x="6719" y="16125"/>
                  <a:pt x="6688" y="16188"/>
                </a:cubicBezTo>
                <a:cubicBezTo>
                  <a:pt x="6719" y="16125"/>
                  <a:pt x="6719" y="16063"/>
                  <a:pt x="6719" y="16000"/>
                </a:cubicBezTo>
                <a:cubicBezTo>
                  <a:pt x="6625" y="16094"/>
                  <a:pt x="6531" y="16094"/>
                  <a:pt x="6406" y="16094"/>
                </a:cubicBezTo>
                <a:cubicBezTo>
                  <a:pt x="6438" y="16032"/>
                  <a:pt x="6469" y="16032"/>
                  <a:pt x="6500" y="16032"/>
                </a:cubicBezTo>
                <a:cubicBezTo>
                  <a:pt x="6688" y="15938"/>
                  <a:pt x="6875" y="15875"/>
                  <a:pt x="7031" y="15750"/>
                </a:cubicBezTo>
                <a:cubicBezTo>
                  <a:pt x="7031" y="15750"/>
                  <a:pt x="7031" y="15719"/>
                  <a:pt x="7063" y="15719"/>
                </a:cubicBezTo>
                <a:cubicBezTo>
                  <a:pt x="7031" y="15719"/>
                  <a:pt x="7031" y="15750"/>
                  <a:pt x="7031" y="15750"/>
                </a:cubicBezTo>
                <a:cubicBezTo>
                  <a:pt x="7063" y="15750"/>
                  <a:pt x="7063" y="15750"/>
                  <a:pt x="7063" y="15719"/>
                </a:cubicBezTo>
                <a:cubicBezTo>
                  <a:pt x="7063" y="15719"/>
                  <a:pt x="7063" y="15719"/>
                  <a:pt x="7063" y="15719"/>
                </a:cubicBezTo>
                <a:cubicBezTo>
                  <a:pt x="7063" y="15719"/>
                  <a:pt x="7063" y="15719"/>
                  <a:pt x="7063" y="15719"/>
                </a:cubicBezTo>
                <a:cubicBezTo>
                  <a:pt x="7125" y="15719"/>
                  <a:pt x="7188" y="15688"/>
                  <a:pt x="7219" y="15657"/>
                </a:cubicBezTo>
                <a:cubicBezTo>
                  <a:pt x="7250" y="15625"/>
                  <a:pt x="7250" y="15625"/>
                  <a:pt x="7250" y="15594"/>
                </a:cubicBezTo>
                <a:cubicBezTo>
                  <a:pt x="7250" y="15594"/>
                  <a:pt x="7250" y="15594"/>
                  <a:pt x="7250" y="15594"/>
                </a:cubicBezTo>
                <a:cubicBezTo>
                  <a:pt x="7313" y="15563"/>
                  <a:pt x="7344" y="15532"/>
                  <a:pt x="7375" y="15469"/>
                </a:cubicBezTo>
                <a:cubicBezTo>
                  <a:pt x="7375" y="15469"/>
                  <a:pt x="7375" y="15469"/>
                  <a:pt x="7375" y="15469"/>
                </a:cubicBezTo>
                <a:cubicBezTo>
                  <a:pt x="7406" y="15469"/>
                  <a:pt x="7438" y="15469"/>
                  <a:pt x="7438" y="15407"/>
                </a:cubicBezTo>
                <a:cubicBezTo>
                  <a:pt x="7438" y="15407"/>
                  <a:pt x="7438" y="15407"/>
                  <a:pt x="7438" y="15407"/>
                </a:cubicBezTo>
                <a:cubicBezTo>
                  <a:pt x="7500" y="15438"/>
                  <a:pt x="7531" y="15344"/>
                  <a:pt x="7563" y="15313"/>
                </a:cubicBezTo>
                <a:cubicBezTo>
                  <a:pt x="7656" y="15219"/>
                  <a:pt x="7750" y="15094"/>
                  <a:pt x="7813" y="14969"/>
                </a:cubicBezTo>
                <a:cubicBezTo>
                  <a:pt x="7844" y="14907"/>
                  <a:pt x="7906" y="14844"/>
                  <a:pt x="8000" y="14875"/>
                </a:cubicBezTo>
                <a:cubicBezTo>
                  <a:pt x="8063" y="14907"/>
                  <a:pt x="8125" y="14875"/>
                  <a:pt x="8188" y="14875"/>
                </a:cubicBezTo>
                <a:cubicBezTo>
                  <a:pt x="8188" y="14875"/>
                  <a:pt x="8219" y="14875"/>
                  <a:pt x="8250" y="14875"/>
                </a:cubicBezTo>
                <a:cubicBezTo>
                  <a:pt x="8219" y="14875"/>
                  <a:pt x="8188" y="14875"/>
                  <a:pt x="8188" y="14875"/>
                </a:cubicBezTo>
                <a:cubicBezTo>
                  <a:pt x="8281" y="14907"/>
                  <a:pt x="8375" y="14907"/>
                  <a:pt x="8469" y="14907"/>
                </a:cubicBezTo>
                <a:cubicBezTo>
                  <a:pt x="8469" y="14907"/>
                  <a:pt x="8469" y="14875"/>
                  <a:pt x="8469" y="14844"/>
                </a:cubicBezTo>
                <a:cubicBezTo>
                  <a:pt x="8656" y="14875"/>
                  <a:pt x="8844" y="14875"/>
                  <a:pt x="9031" y="14875"/>
                </a:cubicBezTo>
                <a:cubicBezTo>
                  <a:pt x="9375" y="14907"/>
                  <a:pt x="9719" y="14938"/>
                  <a:pt x="10063" y="14938"/>
                </a:cubicBezTo>
                <a:cubicBezTo>
                  <a:pt x="10063" y="14938"/>
                  <a:pt x="10063" y="14938"/>
                  <a:pt x="10063" y="14938"/>
                </a:cubicBezTo>
                <a:cubicBezTo>
                  <a:pt x="10094" y="14969"/>
                  <a:pt x="10125" y="14969"/>
                  <a:pt x="10156" y="14969"/>
                </a:cubicBezTo>
                <a:cubicBezTo>
                  <a:pt x="10188" y="14969"/>
                  <a:pt x="10219" y="14969"/>
                  <a:pt x="10219" y="14969"/>
                </a:cubicBezTo>
                <a:cubicBezTo>
                  <a:pt x="10250" y="14969"/>
                  <a:pt x="10250" y="14938"/>
                  <a:pt x="10250" y="14938"/>
                </a:cubicBezTo>
                <a:cubicBezTo>
                  <a:pt x="10250" y="14938"/>
                  <a:pt x="10250" y="14969"/>
                  <a:pt x="10219" y="14969"/>
                </a:cubicBezTo>
                <a:cubicBezTo>
                  <a:pt x="10250" y="15000"/>
                  <a:pt x="10313" y="14969"/>
                  <a:pt x="10344" y="14969"/>
                </a:cubicBezTo>
                <a:cubicBezTo>
                  <a:pt x="10438" y="14969"/>
                  <a:pt x="10531" y="14969"/>
                  <a:pt x="10625" y="15000"/>
                </a:cubicBezTo>
                <a:cubicBezTo>
                  <a:pt x="10656" y="15000"/>
                  <a:pt x="10656" y="14969"/>
                  <a:pt x="10656" y="14969"/>
                </a:cubicBezTo>
                <a:cubicBezTo>
                  <a:pt x="10656" y="14969"/>
                  <a:pt x="10656" y="15000"/>
                  <a:pt x="10625" y="15000"/>
                </a:cubicBezTo>
                <a:cubicBezTo>
                  <a:pt x="10656" y="15000"/>
                  <a:pt x="10688" y="15000"/>
                  <a:pt x="10719" y="15000"/>
                </a:cubicBezTo>
                <a:cubicBezTo>
                  <a:pt x="10625" y="15032"/>
                  <a:pt x="10531" y="15032"/>
                  <a:pt x="10438" y="15032"/>
                </a:cubicBezTo>
                <a:cubicBezTo>
                  <a:pt x="10375" y="15000"/>
                  <a:pt x="10281" y="15032"/>
                  <a:pt x="10219" y="15032"/>
                </a:cubicBezTo>
                <a:cubicBezTo>
                  <a:pt x="10344" y="15032"/>
                  <a:pt x="10469" y="15063"/>
                  <a:pt x="10594" y="15063"/>
                </a:cubicBezTo>
                <a:cubicBezTo>
                  <a:pt x="10719" y="15094"/>
                  <a:pt x="10844" y="15094"/>
                  <a:pt x="10969" y="15094"/>
                </a:cubicBezTo>
                <a:cubicBezTo>
                  <a:pt x="11000" y="15125"/>
                  <a:pt x="11031" y="15125"/>
                  <a:pt x="11031" y="15125"/>
                </a:cubicBezTo>
                <a:cubicBezTo>
                  <a:pt x="11094" y="15125"/>
                  <a:pt x="11125" y="15125"/>
                  <a:pt x="11188" y="15125"/>
                </a:cubicBezTo>
                <a:cubicBezTo>
                  <a:pt x="11125" y="15125"/>
                  <a:pt x="11094" y="15125"/>
                  <a:pt x="11031" y="15125"/>
                </a:cubicBezTo>
                <a:cubicBezTo>
                  <a:pt x="11031" y="15125"/>
                  <a:pt x="11031" y="15157"/>
                  <a:pt x="11031" y="15157"/>
                </a:cubicBezTo>
                <a:cubicBezTo>
                  <a:pt x="11063" y="15157"/>
                  <a:pt x="11063" y="15188"/>
                  <a:pt x="11063" y="15188"/>
                </a:cubicBezTo>
                <a:close/>
                <a:moveTo>
                  <a:pt x="9375" y="17157"/>
                </a:moveTo>
                <a:cubicBezTo>
                  <a:pt x="9375" y="17157"/>
                  <a:pt x="9406" y="17157"/>
                  <a:pt x="9406" y="17157"/>
                </a:cubicBezTo>
                <a:cubicBezTo>
                  <a:pt x="9406" y="17157"/>
                  <a:pt x="9375" y="17157"/>
                  <a:pt x="9375" y="17157"/>
                </a:cubicBezTo>
                <a:cubicBezTo>
                  <a:pt x="9375" y="17157"/>
                  <a:pt x="9375" y="17157"/>
                  <a:pt x="9375" y="17157"/>
                </a:cubicBezTo>
                <a:close/>
                <a:moveTo>
                  <a:pt x="8938" y="17219"/>
                </a:moveTo>
                <a:cubicBezTo>
                  <a:pt x="8938" y="17219"/>
                  <a:pt x="8938" y="17219"/>
                  <a:pt x="8938" y="17219"/>
                </a:cubicBezTo>
                <a:cubicBezTo>
                  <a:pt x="8938" y="17219"/>
                  <a:pt x="8938" y="17219"/>
                  <a:pt x="8938" y="17219"/>
                </a:cubicBezTo>
                <a:close/>
                <a:moveTo>
                  <a:pt x="9125" y="17938"/>
                </a:moveTo>
                <a:cubicBezTo>
                  <a:pt x="9125" y="17907"/>
                  <a:pt x="9125" y="17907"/>
                  <a:pt x="9156" y="17907"/>
                </a:cubicBezTo>
                <a:cubicBezTo>
                  <a:pt x="9156" y="17907"/>
                  <a:pt x="9156" y="17907"/>
                  <a:pt x="9156" y="17907"/>
                </a:cubicBezTo>
                <a:cubicBezTo>
                  <a:pt x="9156" y="17907"/>
                  <a:pt x="9156" y="17907"/>
                  <a:pt x="9156" y="17907"/>
                </a:cubicBezTo>
                <a:cubicBezTo>
                  <a:pt x="9125" y="17907"/>
                  <a:pt x="9125" y="17907"/>
                  <a:pt x="9125" y="17938"/>
                </a:cubicBezTo>
                <a:close/>
                <a:moveTo>
                  <a:pt x="9156" y="17907"/>
                </a:moveTo>
                <a:cubicBezTo>
                  <a:pt x="9188" y="17907"/>
                  <a:pt x="9188" y="17907"/>
                  <a:pt x="9188" y="17907"/>
                </a:cubicBezTo>
                <a:cubicBezTo>
                  <a:pt x="9188" y="17907"/>
                  <a:pt x="9188" y="17907"/>
                  <a:pt x="9156" y="17907"/>
                </a:cubicBezTo>
                <a:close/>
                <a:moveTo>
                  <a:pt x="9281" y="17407"/>
                </a:moveTo>
                <a:cubicBezTo>
                  <a:pt x="9281" y="17438"/>
                  <a:pt x="9281" y="17438"/>
                  <a:pt x="9281" y="17438"/>
                </a:cubicBezTo>
                <a:cubicBezTo>
                  <a:pt x="9281" y="17532"/>
                  <a:pt x="9250" y="17594"/>
                  <a:pt x="9219" y="17657"/>
                </a:cubicBezTo>
                <a:cubicBezTo>
                  <a:pt x="9219" y="17657"/>
                  <a:pt x="9250" y="17657"/>
                  <a:pt x="9250" y="17657"/>
                </a:cubicBezTo>
                <a:cubicBezTo>
                  <a:pt x="9281" y="17625"/>
                  <a:pt x="9281" y="17625"/>
                  <a:pt x="9281" y="17625"/>
                </a:cubicBezTo>
                <a:cubicBezTo>
                  <a:pt x="9281" y="17625"/>
                  <a:pt x="9281" y="17625"/>
                  <a:pt x="9250" y="17657"/>
                </a:cubicBezTo>
                <a:cubicBezTo>
                  <a:pt x="9250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188" y="17688"/>
                </a:cubicBezTo>
                <a:cubicBezTo>
                  <a:pt x="9188" y="17688"/>
                  <a:pt x="9188" y="17688"/>
                  <a:pt x="9188" y="17688"/>
                </a:cubicBezTo>
                <a:cubicBezTo>
                  <a:pt x="9219" y="17657"/>
                  <a:pt x="9219" y="17657"/>
                  <a:pt x="9219" y="17657"/>
                </a:cubicBezTo>
                <a:cubicBezTo>
                  <a:pt x="9219" y="17657"/>
                  <a:pt x="9219" y="17657"/>
                  <a:pt x="9188" y="17657"/>
                </a:cubicBezTo>
                <a:cubicBezTo>
                  <a:pt x="9188" y="17532"/>
                  <a:pt x="9188" y="17407"/>
                  <a:pt x="9250" y="17313"/>
                </a:cubicBezTo>
                <a:cubicBezTo>
                  <a:pt x="9281" y="17313"/>
                  <a:pt x="9313" y="17313"/>
                  <a:pt x="9344" y="17344"/>
                </a:cubicBezTo>
                <a:cubicBezTo>
                  <a:pt x="9344" y="17407"/>
                  <a:pt x="9344" y="17407"/>
                  <a:pt x="9281" y="17407"/>
                </a:cubicBezTo>
                <a:close/>
                <a:moveTo>
                  <a:pt x="5063" y="16188"/>
                </a:moveTo>
                <a:cubicBezTo>
                  <a:pt x="5031" y="16282"/>
                  <a:pt x="4969" y="16313"/>
                  <a:pt x="4875" y="16344"/>
                </a:cubicBezTo>
                <a:cubicBezTo>
                  <a:pt x="4813" y="16407"/>
                  <a:pt x="4688" y="16438"/>
                  <a:pt x="4656" y="16532"/>
                </a:cubicBezTo>
                <a:cubicBezTo>
                  <a:pt x="4656" y="16532"/>
                  <a:pt x="4594" y="16563"/>
                  <a:pt x="4563" y="16563"/>
                </a:cubicBezTo>
                <a:cubicBezTo>
                  <a:pt x="4563" y="16594"/>
                  <a:pt x="4531" y="16563"/>
                  <a:pt x="4531" y="16532"/>
                </a:cubicBezTo>
                <a:cubicBezTo>
                  <a:pt x="4563" y="16469"/>
                  <a:pt x="4500" y="16438"/>
                  <a:pt x="4500" y="16375"/>
                </a:cubicBezTo>
                <a:cubicBezTo>
                  <a:pt x="4469" y="16344"/>
                  <a:pt x="4469" y="16313"/>
                  <a:pt x="4438" y="16313"/>
                </a:cubicBezTo>
                <a:cubicBezTo>
                  <a:pt x="4438" y="16313"/>
                  <a:pt x="4375" y="16344"/>
                  <a:pt x="4375" y="16344"/>
                </a:cubicBezTo>
                <a:cubicBezTo>
                  <a:pt x="4406" y="16438"/>
                  <a:pt x="4344" y="16469"/>
                  <a:pt x="4313" y="16532"/>
                </a:cubicBezTo>
                <a:cubicBezTo>
                  <a:pt x="4313" y="16563"/>
                  <a:pt x="4156" y="16594"/>
                  <a:pt x="4125" y="16563"/>
                </a:cubicBezTo>
                <a:cubicBezTo>
                  <a:pt x="4063" y="16438"/>
                  <a:pt x="4063" y="16563"/>
                  <a:pt x="4031" y="16594"/>
                </a:cubicBezTo>
                <a:cubicBezTo>
                  <a:pt x="4000" y="16625"/>
                  <a:pt x="4000" y="16657"/>
                  <a:pt x="4000" y="16688"/>
                </a:cubicBezTo>
                <a:cubicBezTo>
                  <a:pt x="3969" y="16657"/>
                  <a:pt x="3938" y="16657"/>
                  <a:pt x="3938" y="16625"/>
                </a:cubicBezTo>
                <a:cubicBezTo>
                  <a:pt x="3969" y="16594"/>
                  <a:pt x="3938" y="16563"/>
                  <a:pt x="3938" y="16563"/>
                </a:cubicBezTo>
                <a:cubicBezTo>
                  <a:pt x="3906" y="16532"/>
                  <a:pt x="3875" y="16563"/>
                  <a:pt x="3875" y="16563"/>
                </a:cubicBezTo>
                <a:cubicBezTo>
                  <a:pt x="3875" y="16657"/>
                  <a:pt x="3781" y="16657"/>
                  <a:pt x="3750" y="16719"/>
                </a:cubicBezTo>
                <a:cubicBezTo>
                  <a:pt x="3750" y="16719"/>
                  <a:pt x="3750" y="16719"/>
                  <a:pt x="3719" y="16719"/>
                </a:cubicBezTo>
                <a:cubicBezTo>
                  <a:pt x="3688" y="16688"/>
                  <a:pt x="3625" y="16719"/>
                  <a:pt x="3594" y="16688"/>
                </a:cubicBezTo>
                <a:cubicBezTo>
                  <a:pt x="3688" y="16625"/>
                  <a:pt x="3781" y="16563"/>
                  <a:pt x="3875" y="16532"/>
                </a:cubicBezTo>
                <a:cubicBezTo>
                  <a:pt x="4000" y="16469"/>
                  <a:pt x="4094" y="16407"/>
                  <a:pt x="4188" y="16344"/>
                </a:cubicBezTo>
                <a:cubicBezTo>
                  <a:pt x="4313" y="16250"/>
                  <a:pt x="4438" y="16188"/>
                  <a:pt x="4563" y="16125"/>
                </a:cubicBezTo>
                <a:cubicBezTo>
                  <a:pt x="4594" y="16094"/>
                  <a:pt x="4594" y="16032"/>
                  <a:pt x="4656" y="16032"/>
                </a:cubicBezTo>
                <a:cubicBezTo>
                  <a:pt x="4719" y="16000"/>
                  <a:pt x="4781" y="15969"/>
                  <a:pt x="4844" y="15907"/>
                </a:cubicBezTo>
                <a:cubicBezTo>
                  <a:pt x="4875" y="15907"/>
                  <a:pt x="4875" y="15907"/>
                  <a:pt x="4875" y="15907"/>
                </a:cubicBezTo>
                <a:cubicBezTo>
                  <a:pt x="4875" y="15907"/>
                  <a:pt x="4875" y="15875"/>
                  <a:pt x="4875" y="15875"/>
                </a:cubicBezTo>
                <a:cubicBezTo>
                  <a:pt x="4875" y="15875"/>
                  <a:pt x="4875" y="15875"/>
                  <a:pt x="4875" y="15875"/>
                </a:cubicBezTo>
                <a:cubicBezTo>
                  <a:pt x="4875" y="15875"/>
                  <a:pt x="4875" y="15875"/>
                  <a:pt x="4875" y="15875"/>
                </a:cubicBezTo>
                <a:cubicBezTo>
                  <a:pt x="4906" y="15844"/>
                  <a:pt x="4969" y="15844"/>
                  <a:pt x="5000" y="15782"/>
                </a:cubicBezTo>
                <a:cubicBezTo>
                  <a:pt x="4969" y="15782"/>
                  <a:pt x="4969" y="15782"/>
                  <a:pt x="4969" y="15750"/>
                </a:cubicBezTo>
                <a:cubicBezTo>
                  <a:pt x="4969" y="15782"/>
                  <a:pt x="4969" y="15782"/>
                  <a:pt x="5000" y="15782"/>
                </a:cubicBezTo>
                <a:cubicBezTo>
                  <a:pt x="5000" y="15782"/>
                  <a:pt x="5031" y="15750"/>
                  <a:pt x="5031" y="15750"/>
                </a:cubicBezTo>
                <a:cubicBezTo>
                  <a:pt x="5094" y="15750"/>
                  <a:pt x="5156" y="15719"/>
                  <a:pt x="5188" y="15688"/>
                </a:cubicBezTo>
                <a:cubicBezTo>
                  <a:pt x="5344" y="15532"/>
                  <a:pt x="5500" y="15438"/>
                  <a:pt x="5688" y="15282"/>
                </a:cubicBezTo>
                <a:cubicBezTo>
                  <a:pt x="5875" y="15157"/>
                  <a:pt x="6063" y="15000"/>
                  <a:pt x="6219" y="14813"/>
                </a:cubicBezTo>
                <a:cubicBezTo>
                  <a:pt x="6250" y="14782"/>
                  <a:pt x="6313" y="14750"/>
                  <a:pt x="6375" y="14750"/>
                </a:cubicBezTo>
                <a:cubicBezTo>
                  <a:pt x="6469" y="14750"/>
                  <a:pt x="6563" y="14750"/>
                  <a:pt x="6656" y="14750"/>
                </a:cubicBezTo>
                <a:cubicBezTo>
                  <a:pt x="6688" y="14750"/>
                  <a:pt x="6719" y="14750"/>
                  <a:pt x="6719" y="14750"/>
                </a:cubicBezTo>
                <a:cubicBezTo>
                  <a:pt x="6719" y="14750"/>
                  <a:pt x="6688" y="14750"/>
                  <a:pt x="6656" y="14750"/>
                </a:cubicBezTo>
                <a:cubicBezTo>
                  <a:pt x="6625" y="14813"/>
                  <a:pt x="6563" y="14813"/>
                  <a:pt x="6500" y="14875"/>
                </a:cubicBezTo>
                <a:cubicBezTo>
                  <a:pt x="6469" y="14875"/>
                  <a:pt x="6438" y="14875"/>
                  <a:pt x="6438" y="14907"/>
                </a:cubicBezTo>
                <a:cubicBezTo>
                  <a:pt x="6406" y="14969"/>
                  <a:pt x="6375" y="15000"/>
                  <a:pt x="6313" y="15032"/>
                </a:cubicBezTo>
                <a:cubicBezTo>
                  <a:pt x="6281" y="15063"/>
                  <a:pt x="6313" y="15157"/>
                  <a:pt x="6250" y="15188"/>
                </a:cubicBezTo>
                <a:cubicBezTo>
                  <a:pt x="6156" y="15219"/>
                  <a:pt x="6219" y="15250"/>
                  <a:pt x="6219" y="15313"/>
                </a:cubicBezTo>
                <a:cubicBezTo>
                  <a:pt x="6219" y="15313"/>
                  <a:pt x="6219" y="15344"/>
                  <a:pt x="6219" y="15344"/>
                </a:cubicBezTo>
                <a:cubicBezTo>
                  <a:pt x="6094" y="15375"/>
                  <a:pt x="6031" y="15469"/>
                  <a:pt x="5938" y="15532"/>
                </a:cubicBezTo>
                <a:cubicBezTo>
                  <a:pt x="5906" y="15532"/>
                  <a:pt x="5875" y="15532"/>
                  <a:pt x="5875" y="15594"/>
                </a:cubicBezTo>
                <a:cubicBezTo>
                  <a:pt x="5813" y="15594"/>
                  <a:pt x="5719" y="15594"/>
                  <a:pt x="5719" y="15688"/>
                </a:cubicBezTo>
                <a:cubicBezTo>
                  <a:pt x="5719" y="15688"/>
                  <a:pt x="5688" y="15688"/>
                  <a:pt x="5688" y="15688"/>
                </a:cubicBezTo>
                <a:cubicBezTo>
                  <a:pt x="5688" y="15750"/>
                  <a:pt x="5656" y="15782"/>
                  <a:pt x="5656" y="15813"/>
                </a:cubicBezTo>
                <a:cubicBezTo>
                  <a:pt x="5656" y="15813"/>
                  <a:pt x="5656" y="15813"/>
                  <a:pt x="5656" y="15813"/>
                </a:cubicBezTo>
                <a:cubicBezTo>
                  <a:pt x="5656" y="15782"/>
                  <a:pt x="5688" y="15750"/>
                  <a:pt x="5688" y="15688"/>
                </a:cubicBezTo>
                <a:cubicBezTo>
                  <a:pt x="5688" y="15688"/>
                  <a:pt x="5656" y="15688"/>
                  <a:pt x="5656" y="15719"/>
                </a:cubicBezTo>
                <a:cubicBezTo>
                  <a:pt x="5594" y="15782"/>
                  <a:pt x="5500" y="15813"/>
                  <a:pt x="5438" y="15875"/>
                </a:cubicBezTo>
                <a:cubicBezTo>
                  <a:pt x="5375" y="15907"/>
                  <a:pt x="5344" y="16000"/>
                  <a:pt x="5250" y="16032"/>
                </a:cubicBezTo>
                <a:cubicBezTo>
                  <a:pt x="5156" y="16063"/>
                  <a:pt x="5094" y="16125"/>
                  <a:pt x="5063" y="16188"/>
                </a:cubicBezTo>
                <a:close/>
                <a:moveTo>
                  <a:pt x="2750" y="17250"/>
                </a:moveTo>
                <a:cubicBezTo>
                  <a:pt x="2750" y="17250"/>
                  <a:pt x="2750" y="17250"/>
                  <a:pt x="2750" y="17250"/>
                </a:cubicBezTo>
                <a:cubicBezTo>
                  <a:pt x="2750" y="17250"/>
                  <a:pt x="2750" y="17250"/>
                  <a:pt x="2750" y="17250"/>
                </a:cubicBezTo>
                <a:cubicBezTo>
                  <a:pt x="2750" y="17250"/>
                  <a:pt x="2750" y="17250"/>
                  <a:pt x="2750" y="17250"/>
                </a:cubicBezTo>
                <a:close/>
                <a:moveTo>
                  <a:pt x="5875" y="14875"/>
                </a:moveTo>
                <a:cubicBezTo>
                  <a:pt x="5875" y="14875"/>
                  <a:pt x="5875" y="14875"/>
                  <a:pt x="5875" y="14875"/>
                </a:cubicBezTo>
                <a:cubicBezTo>
                  <a:pt x="5875" y="14938"/>
                  <a:pt x="5844" y="14938"/>
                  <a:pt x="5813" y="14969"/>
                </a:cubicBezTo>
                <a:cubicBezTo>
                  <a:pt x="5844" y="14938"/>
                  <a:pt x="5875" y="14938"/>
                  <a:pt x="5875" y="14875"/>
                </a:cubicBezTo>
                <a:close/>
                <a:moveTo>
                  <a:pt x="3000" y="17032"/>
                </a:moveTo>
                <a:cubicBezTo>
                  <a:pt x="3000" y="17032"/>
                  <a:pt x="3000" y="17000"/>
                  <a:pt x="3000" y="17000"/>
                </a:cubicBezTo>
                <a:cubicBezTo>
                  <a:pt x="3000" y="17000"/>
                  <a:pt x="3000" y="17032"/>
                  <a:pt x="3000" y="17032"/>
                </a:cubicBezTo>
                <a:close/>
                <a:moveTo>
                  <a:pt x="3406" y="16750"/>
                </a:moveTo>
                <a:cubicBezTo>
                  <a:pt x="3375" y="16750"/>
                  <a:pt x="3375" y="16719"/>
                  <a:pt x="3375" y="16688"/>
                </a:cubicBezTo>
                <a:cubicBezTo>
                  <a:pt x="3375" y="16719"/>
                  <a:pt x="3375" y="16750"/>
                  <a:pt x="3406" y="16750"/>
                </a:cubicBezTo>
                <a:close/>
                <a:moveTo>
                  <a:pt x="4406" y="15188"/>
                </a:moveTo>
                <a:cubicBezTo>
                  <a:pt x="4438" y="15157"/>
                  <a:pt x="4469" y="15125"/>
                  <a:pt x="4500" y="15125"/>
                </a:cubicBezTo>
                <a:cubicBezTo>
                  <a:pt x="4469" y="15125"/>
                  <a:pt x="4438" y="15157"/>
                  <a:pt x="4406" y="15188"/>
                </a:cubicBezTo>
                <a:close/>
                <a:moveTo>
                  <a:pt x="3969" y="6532"/>
                </a:moveTo>
                <a:cubicBezTo>
                  <a:pt x="3938" y="6594"/>
                  <a:pt x="3938" y="6657"/>
                  <a:pt x="3938" y="6688"/>
                </a:cubicBezTo>
                <a:cubicBezTo>
                  <a:pt x="3969" y="6688"/>
                  <a:pt x="4000" y="6688"/>
                  <a:pt x="4031" y="6688"/>
                </a:cubicBezTo>
                <a:cubicBezTo>
                  <a:pt x="4031" y="6688"/>
                  <a:pt x="4031" y="6688"/>
                  <a:pt x="4031" y="6688"/>
                </a:cubicBezTo>
                <a:cubicBezTo>
                  <a:pt x="4000" y="6688"/>
                  <a:pt x="3969" y="6688"/>
                  <a:pt x="3938" y="6688"/>
                </a:cubicBezTo>
                <a:cubicBezTo>
                  <a:pt x="3938" y="6657"/>
                  <a:pt x="3938" y="6594"/>
                  <a:pt x="3969" y="6532"/>
                </a:cubicBezTo>
                <a:close/>
                <a:moveTo>
                  <a:pt x="9125" y="8438"/>
                </a:moveTo>
                <a:cubicBezTo>
                  <a:pt x="9125" y="8438"/>
                  <a:pt x="9125" y="8438"/>
                  <a:pt x="9125" y="8438"/>
                </a:cubicBezTo>
                <a:cubicBezTo>
                  <a:pt x="9125" y="8438"/>
                  <a:pt x="9125" y="8438"/>
                  <a:pt x="9125" y="8438"/>
                </a:cubicBezTo>
                <a:close/>
                <a:moveTo>
                  <a:pt x="9156" y="8407"/>
                </a:moveTo>
                <a:cubicBezTo>
                  <a:pt x="9156" y="8407"/>
                  <a:pt x="9156" y="8407"/>
                  <a:pt x="9156" y="8407"/>
                </a:cubicBezTo>
                <a:cubicBezTo>
                  <a:pt x="9156" y="8407"/>
                  <a:pt x="9156" y="8407"/>
                  <a:pt x="9156" y="8438"/>
                </a:cubicBezTo>
                <a:cubicBezTo>
                  <a:pt x="9156" y="8407"/>
                  <a:pt x="9156" y="8407"/>
                  <a:pt x="9156" y="8407"/>
                </a:cubicBezTo>
                <a:close/>
                <a:moveTo>
                  <a:pt x="8656" y="6969"/>
                </a:moveTo>
                <a:cubicBezTo>
                  <a:pt x="8688" y="7000"/>
                  <a:pt x="8719" y="7000"/>
                  <a:pt x="8688" y="7032"/>
                </a:cubicBezTo>
                <a:cubicBezTo>
                  <a:pt x="8719" y="7000"/>
                  <a:pt x="8688" y="7000"/>
                  <a:pt x="8656" y="6969"/>
                </a:cubicBezTo>
                <a:cubicBezTo>
                  <a:pt x="8656" y="6969"/>
                  <a:pt x="8656" y="6938"/>
                  <a:pt x="8656" y="6938"/>
                </a:cubicBezTo>
                <a:cubicBezTo>
                  <a:pt x="8688" y="6938"/>
                  <a:pt x="8688" y="6938"/>
                  <a:pt x="8688" y="6907"/>
                </a:cubicBezTo>
                <a:cubicBezTo>
                  <a:pt x="8719" y="6875"/>
                  <a:pt x="8750" y="6875"/>
                  <a:pt x="8750" y="6844"/>
                </a:cubicBezTo>
                <a:cubicBezTo>
                  <a:pt x="8750" y="6875"/>
                  <a:pt x="8719" y="6875"/>
                  <a:pt x="8688" y="6907"/>
                </a:cubicBezTo>
                <a:cubicBezTo>
                  <a:pt x="8688" y="6938"/>
                  <a:pt x="8688" y="6938"/>
                  <a:pt x="8656" y="6938"/>
                </a:cubicBezTo>
                <a:cubicBezTo>
                  <a:pt x="8656" y="6938"/>
                  <a:pt x="8656" y="6969"/>
                  <a:pt x="8656" y="6969"/>
                </a:cubicBezTo>
                <a:close/>
                <a:moveTo>
                  <a:pt x="12906" y="2375"/>
                </a:moveTo>
                <a:cubicBezTo>
                  <a:pt x="12906" y="2375"/>
                  <a:pt x="12906" y="2407"/>
                  <a:pt x="12875" y="2407"/>
                </a:cubicBezTo>
                <a:cubicBezTo>
                  <a:pt x="12875" y="2500"/>
                  <a:pt x="12813" y="2563"/>
                  <a:pt x="12750" y="2625"/>
                </a:cubicBezTo>
                <a:cubicBezTo>
                  <a:pt x="12813" y="2563"/>
                  <a:pt x="12875" y="2500"/>
                  <a:pt x="12875" y="2407"/>
                </a:cubicBezTo>
                <a:cubicBezTo>
                  <a:pt x="12906" y="2407"/>
                  <a:pt x="12906" y="2375"/>
                  <a:pt x="12906" y="2375"/>
                </a:cubicBezTo>
                <a:close/>
                <a:moveTo>
                  <a:pt x="13563" y="5500"/>
                </a:moveTo>
                <a:cubicBezTo>
                  <a:pt x="13563" y="5500"/>
                  <a:pt x="13563" y="5500"/>
                  <a:pt x="13563" y="5500"/>
                </a:cubicBezTo>
                <a:cubicBezTo>
                  <a:pt x="13625" y="5532"/>
                  <a:pt x="13625" y="5563"/>
                  <a:pt x="13594" y="5625"/>
                </a:cubicBezTo>
                <a:cubicBezTo>
                  <a:pt x="13594" y="5657"/>
                  <a:pt x="13531" y="5719"/>
                  <a:pt x="13625" y="5719"/>
                </a:cubicBezTo>
                <a:cubicBezTo>
                  <a:pt x="13656" y="5719"/>
                  <a:pt x="13625" y="5782"/>
                  <a:pt x="13594" y="5813"/>
                </a:cubicBezTo>
                <a:cubicBezTo>
                  <a:pt x="13563" y="5844"/>
                  <a:pt x="13500" y="5844"/>
                  <a:pt x="13563" y="5907"/>
                </a:cubicBezTo>
                <a:cubicBezTo>
                  <a:pt x="13563" y="5938"/>
                  <a:pt x="13531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ubicBezTo>
                  <a:pt x="13406" y="6032"/>
                  <a:pt x="13375" y="6032"/>
                  <a:pt x="13375" y="6063"/>
                </a:cubicBezTo>
                <a:cubicBezTo>
                  <a:pt x="13344" y="6094"/>
                  <a:pt x="13313" y="6094"/>
                  <a:pt x="13281" y="6125"/>
                </a:cubicBezTo>
                <a:cubicBezTo>
                  <a:pt x="13313" y="6157"/>
                  <a:pt x="13375" y="6188"/>
                  <a:pt x="13406" y="6219"/>
                </a:cubicBezTo>
                <a:cubicBezTo>
                  <a:pt x="13406" y="6219"/>
                  <a:pt x="13375" y="6219"/>
                  <a:pt x="13375" y="6219"/>
                </a:cubicBezTo>
                <a:cubicBezTo>
                  <a:pt x="13219" y="6219"/>
                  <a:pt x="13188" y="6344"/>
                  <a:pt x="13125" y="6438"/>
                </a:cubicBezTo>
                <a:cubicBezTo>
                  <a:pt x="13094" y="6500"/>
                  <a:pt x="13094" y="6532"/>
                  <a:pt x="13063" y="6532"/>
                </a:cubicBezTo>
                <a:cubicBezTo>
                  <a:pt x="13031" y="6532"/>
                  <a:pt x="13000" y="6532"/>
                  <a:pt x="12969" y="6563"/>
                </a:cubicBezTo>
                <a:cubicBezTo>
                  <a:pt x="12969" y="6563"/>
                  <a:pt x="13000" y="6563"/>
                  <a:pt x="13000" y="6563"/>
                </a:cubicBezTo>
                <a:cubicBezTo>
                  <a:pt x="13031" y="6594"/>
                  <a:pt x="13094" y="6594"/>
                  <a:pt x="13094" y="6625"/>
                </a:cubicBezTo>
                <a:cubicBezTo>
                  <a:pt x="13094" y="6688"/>
                  <a:pt x="13031" y="6657"/>
                  <a:pt x="13000" y="6657"/>
                </a:cubicBezTo>
                <a:cubicBezTo>
                  <a:pt x="12969" y="6657"/>
                  <a:pt x="12938" y="6688"/>
                  <a:pt x="12938" y="6719"/>
                </a:cubicBezTo>
                <a:cubicBezTo>
                  <a:pt x="12906" y="6750"/>
                  <a:pt x="12906" y="6782"/>
                  <a:pt x="12875" y="6782"/>
                </a:cubicBezTo>
                <a:cubicBezTo>
                  <a:pt x="12813" y="6782"/>
                  <a:pt x="12844" y="6844"/>
                  <a:pt x="12844" y="6875"/>
                </a:cubicBezTo>
                <a:cubicBezTo>
                  <a:pt x="12750" y="6907"/>
                  <a:pt x="12813" y="7032"/>
                  <a:pt x="12750" y="7063"/>
                </a:cubicBezTo>
                <a:cubicBezTo>
                  <a:pt x="12719" y="7094"/>
                  <a:pt x="12656" y="7032"/>
                  <a:pt x="12688" y="7125"/>
                </a:cubicBezTo>
                <a:cubicBezTo>
                  <a:pt x="12688" y="7125"/>
                  <a:pt x="12719" y="7157"/>
                  <a:pt x="12750" y="7157"/>
                </a:cubicBezTo>
                <a:cubicBezTo>
                  <a:pt x="12625" y="7188"/>
                  <a:pt x="12500" y="7250"/>
                  <a:pt x="12469" y="7344"/>
                </a:cubicBezTo>
                <a:cubicBezTo>
                  <a:pt x="12375" y="7500"/>
                  <a:pt x="12281" y="7563"/>
                  <a:pt x="12188" y="7657"/>
                </a:cubicBezTo>
                <a:cubicBezTo>
                  <a:pt x="12188" y="7657"/>
                  <a:pt x="12188" y="7657"/>
                  <a:pt x="12188" y="7657"/>
                </a:cubicBezTo>
                <a:cubicBezTo>
                  <a:pt x="12156" y="7657"/>
                  <a:pt x="12125" y="7688"/>
                  <a:pt x="12125" y="7688"/>
                </a:cubicBezTo>
                <a:cubicBezTo>
                  <a:pt x="12125" y="7719"/>
                  <a:pt x="12125" y="7750"/>
                  <a:pt x="12094" y="7782"/>
                </a:cubicBezTo>
                <a:cubicBezTo>
                  <a:pt x="12063" y="7782"/>
                  <a:pt x="12063" y="7782"/>
                  <a:pt x="12063" y="7782"/>
                </a:cubicBezTo>
                <a:cubicBezTo>
                  <a:pt x="12063" y="7813"/>
                  <a:pt x="12031" y="7844"/>
                  <a:pt x="12031" y="7875"/>
                </a:cubicBezTo>
                <a:cubicBezTo>
                  <a:pt x="12063" y="7875"/>
                  <a:pt x="12063" y="7875"/>
                  <a:pt x="12094" y="7875"/>
                </a:cubicBezTo>
                <a:cubicBezTo>
                  <a:pt x="12063" y="7875"/>
                  <a:pt x="12063" y="7875"/>
                  <a:pt x="12031" y="7875"/>
                </a:cubicBezTo>
                <a:cubicBezTo>
                  <a:pt x="12031" y="7907"/>
                  <a:pt x="12031" y="7907"/>
                  <a:pt x="12031" y="7907"/>
                </a:cubicBezTo>
                <a:cubicBezTo>
                  <a:pt x="12031" y="7907"/>
                  <a:pt x="12031" y="7907"/>
                  <a:pt x="12031" y="7907"/>
                </a:cubicBezTo>
                <a:cubicBezTo>
                  <a:pt x="12000" y="7907"/>
                  <a:pt x="11969" y="7907"/>
                  <a:pt x="11969" y="7938"/>
                </a:cubicBezTo>
                <a:cubicBezTo>
                  <a:pt x="11906" y="7907"/>
                  <a:pt x="12000" y="7844"/>
                  <a:pt x="11938" y="7813"/>
                </a:cubicBezTo>
                <a:cubicBezTo>
                  <a:pt x="11969" y="7813"/>
                  <a:pt x="11969" y="7813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38" y="7782"/>
                  <a:pt x="11938" y="7750"/>
                  <a:pt x="11938" y="7750"/>
                </a:cubicBezTo>
                <a:cubicBezTo>
                  <a:pt x="11938" y="7750"/>
                  <a:pt x="11938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1969" y="7782"/>
                  <a:pt x="11969" y="7782"/>
                  <a:pt x="11969" y="7782"/>
                </a:cubicBezTo>
                <a:cubicBezTo>
                  <a:pt x="12031" y="7782"/>
                  <a:pt x="12063" y="7719"/>
                  <a:pt x="12094" y="7688"/>
                </a:cubicBezTo>
                <a:cubicBezTo>
                  <a:pt x="12219" y="7500"/>
                  <a:pt x="12344" y="7313"/>
                  <a:pt x="12469" y="7157"/>
                </a:cubicBezTo>
                <a:cubicBezTo>
                  <a:pt x="12688" y="6782"/>
                  <a:pt x="12938" y="6438"/>
                  <a:pt x="13156" y="6094"/>
                </a:cubicBezTo>
                <a:cubicBezTo>
                  <a:pt x="13313" y="5907"/>
                  <a:pt x="13438" y="5719"/>
                  <a:pt x="13563" y="5500"/>
                </a:cubicBezTo>
                <a:close/>
                <a:moveTo>
                  <a:pt x="13563" y="5469"/>
                </a:moveTo>
                <a:cubicBezTo>
                  <a:pt x="13563" y="5469"/>
                  <a:pt x="13563" y="5469"/>
                  <a:pt x="13563" y="5500"/>
                </a:cubicBezTo>
                <a:cubicBezTo>
                  <a:pt x="13563" y="5469"/>
                  <a:pt x="13563" y="5469"/>
                  <a:pt x="13563" y="5469"/>
                </a:cubicBezTo>
                <a:close/>
                <a:moveTo>
                  <a:pt x="13563" y="5469"/>
                </a:moveTo>
                <a:cubicBezTo>
                  <a:pt x="13563" y="5469"/>
                  <a:pt x="13563" y="5469"/>
                  <a:pt x="13563" y="5469"/>
                </a:cubicBezTo>
                <a:cubicBezTo>
                  <a:pt x="13563" y="5469"/>
                  <a:pt x="13563" y="5469"/>
                  <a:pt x="13563" y="5469"/>
                </a:cubicBezTo>
                <a:close/>
                <a:moveTo>
                  <a:pt x="15281" y="9688"/>
                </a:moveTo>
                <a:cubicBezTo>
                  <a:pt x="15281" y="9688"/>
                  <a:pt x="15281" y="9688"/>
                  <a:pt x="15281" y="9688"/>
                </a:cubicBezTo>
                <a:cubicBezTo>
                  <a:pt x="15313" y="9688"/>
                  <a:pt x="15313" y="9688"/>
                  <a:pt x="15313" y="9688"/>
                </a:cubicBezTo>
                <a:cubicBezTo>
                  <a:pt x="15313" y="9688"/>
                  <a:pt x="15313" y="9719"/>
                  <a:pt x="15313" y="9719"/>
                </a:cubicBezTo>
                <a:cubicBezTo>
                  <a:pt x="15250" y="9782"/>
                  <a:pt x="15281" y="9875"/>
                  <a:pt x="15250" y="9938"/>
                </a:cubicBezTo>
                <a:cubicBezTo>
                  <a:pt x="15188" y="9969"/>
                  <a:pt x="15219" y="10000"/>
                  <a:pt x="15281" y="10032"/>
                </a:cubicBezTo>
                <a:cubicBezTo>
                  <a:pt x="15188" y="10094"/>
                  <a:pt x="15188" y="10188"/>
                  <a:pt x="15188" y="10250"/>
                </a:cubicBezTo>
                <a:cubicBezTo>
                  <a:pt x="15188" y="10250"/>
                  <a:pt x="15188" y="10250"/>
                  <a:pt x="15188" y="10250"/>
                </a:cubicBezTo>
                <a:cubicBezTo>
                  <a:pt x="15219" y="10282"/>
                  <a:pt x="15250" y="10282"/>
                  <a:pt x="15281" y="10282"/>
                </a:cubicBezTo>
                <a:cubicBezTo>
                  <a:pt x="15250" y="10282"/>
                  <a:pt x="15219" y="10282"/>
                  <a:pt x="15188" y="10250"/>
                </a:cubicBezTo>
                <a:cubicBezTo>
                  <a:pt x="15188" y="10250"/>
                  <a:pt x="15188" y="10250"/>
                  <a:pt x="15188" y="10250"/>
                </a:cubicBezTo>
                <a:cubicBezTo>
                  <a:pt x="15188" y="10250"/>
                  <a:pt x="15156" y="10250"/>
                  <a:pt x="15156" y="10250"/>
                </a:cubicBezTo>
                <a:cubicBezTo>
                  <a:pt x="15156" y="10250"/>
                  <a:pt x="15156" y="10250"/>
                  <a:pt x="15156" y="10250"/>
                </a:cubicBezTo>
                <a:cubicBezTo>
                  <a:pt x="15156" y="10250"/>
                  <a:pt x="15156" y="10219"/>
                  <a:pt x="15156" y="10188"/>
                </a:cubicBezTo>
                <a:cubicBezTo>
                  <a:pt x="15125" y="10157"/>
                  <a:pt x="15125" y="10125"/>
                  <a:pt x="15125" y="10125"/>
                </a:cubicBezTo>
                <a:cubicBezTo>
                  <a:pt x="15125" y="10125"/>
                  <a:pt x="15125" y="10157"/>
                  <a:pt x="15156" y="10188"/>
                </a:cubicBezTo>
                <a:cubicBezTo>
                  <a:pt x="15156" y="10157"/>
                  <a:pt x="15156" y="10125"/>
                  <a:pt x="15156" y="10094"/>
                </a:cubicBezTo>
                <a:cubicBezTo>
                  <a:pt x="15156" y="10063"/>
                  <a:pt x="15156" y="10063"/>
                  <a:pt x="15156" y="10032"/>
                </a:cubicBezTo>
                <a:cubicBezTo>
                  <a:pt x="15156" y="10000"/>
                  <a:pt x="15156" y="10000"/>
                  <a:pt x="15156" y="9969"/>
                </a:cubicBezTo>
                <a:cubicBezTo>
                  <a:pt x="15156" y="10000"/>
                  <a:pt x="15156" y="10000"/>
                  <a:pt x="15156" y="10032"/>
                </a:cubicBezTo>
                <a:cubicBezTo>
                  <a:pt x="15188" y="9969"/>
                  <a:pt x="15188" y="9938"/>
                  <a:pt x="15188" y="9875"/>
                </a:cubicBezTo>
                <a:cubicBezTo>
                  <a:pt x="15188" y="9782"/>
                  <a:pt x="15188" y="9688"/>
                  <a:pt x="15219" y="9594"/>
                </a:cubicBezTo>
                <a:cubicBezTo>
                  <a:pt x="15250" y="9594"/>
                  <a:pt x="15250" y="9625"/>
                  <a:pt x="15250" y="9657"/>
                </a:cubicBezTo>
                <a:cubicBezTo>
                  <a:pt x="15250" y="9688"/>
                  <a:pt x="15250" y="9688"/>
                  <a:pt x="15281" y="9688"/>
                </a:cubicBezTo>
                <a:close/>
                <a:moveTo>
                  <a:pt x="18500" y="7375"/>
                </a:moveTo>
                <a:cubicBezTo>
                  <a:pt x="18500" y="7407"/>
                  <a:pt x="18500" y="7438"/>
                  <a:pt x="18531" y="7500"/>
                </a:cubicBezTo>
                <a:cubicBezTo>
                  <a:pt x="18531" y="7500"/>
                  <a:pt x="18531" y="7500"/>
                  <a:pt x="18531" y="7500"/>
                </a:cubicBezTo>
                <a:cubicBezTo>
                  <a:pt x="18500" y="7438"/>
                  <a:pt x="18500" y="7407"/>
                  <a:pt x="18500" y="7375"/>
                </a:cubicBezTo>
                <a:cubicBezTo>
                  <a:pt x="18500" y="7344"/>
                  <a:pt x="18500" y="7313"/>
                  <a:pt x="18500" y="7282"/>
                </a:cubicBezTo>
                <a:cubicBezTo>
                  <a:pt x="18500" y="7313"/>
                  <a:pt x="18500" y="7344"/>
                  <a:pt x="18500" y="7375"/>
                </a:cubicBezTo>
                <a:close/>
                <a:moveTo>
                  <a:pt x="18438" y="7688"/>
                </a:move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69" y="7688"/>
                </a:cubicBez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38" y="7688"/>
                </a:cubicBezTo>
                <a:cubicBezTo>
                  <a:pt x="18438" y="7688"/>
                  <a:pt x="18438" y="7688"/>
                  <a:pt x="18438" y="7688"/>
                </a:cubicBezTo>
                <a:close/>
                <a:moveTo>
                  <a:pt x="18469" y="7563"/>
                </a:moveTo>
                <a:cubicBezTo>
                  <a:pt x="18469" y="7563"/>
                  <a:pt x="18469" y="7563"/>
                  <a:pt x="18469" y="7532"/>
                </a:cubicBezTo>
                <a:cubicBezTo>
                  <a:pt x="18469" y="7563"/>
                  <a:pt x="18469" y="7563"/>
                  <a:pt x="18469" y="7563"/>
                </a:cubicBezTo>
                <a:close/>
                <a:moveTo>
                  <a:pt x="18406" y="7344"/>
                </a:moveTo>
                <a:cubicBezTo>
                  <a:pt x="18406" y="7344"/>
                  <a:pt x="18406" y="7344"/>
                  <a:pt x="18406" y="7344"/>
                </a:cubicBezTo>
                <a:cubicBezTo>
                  <a:pt x="18406" y="7344"/>
                  <a:pt x="18406" y="7344"/>
                  <a:pt x="18406" y="7344"/>
                </a:cubicBezTo>
                <a:close/>
                <a:moveTo>
                  <a:pt x="18406" y="7375"/>
                </a:moveTo>
                <a:cubicBezTo>
                  <a:pt x="18406" y="7407"/>
                  <a:pt x="18406" y="7407"/>
                  <a:pt x="18406" y="7438"/>
                </a:cubicBezTo>
                <a:cubicBezTo>
                  <a:pt x="18406" y="7407"/>
                  <a:pt x="18406" y="7407"/>
                  <a:pt x="18406" y="7375"/>
                </a:cubicBezTo>
                <a:cubicBezTo>
                  <a:pt x="18406" y="7375"/>
                  <a:pt x="18406" y="7375"/>
                  <a:pt x="18406" y="7375"/>
                </a:cubicBezTo>
                <a:close/>
                <a:moveTo>
                  <a:pt x="18156" y="7344"/>
                </a:moveTo>
                <a:cubicBezTo>
                  <a:pt x="18156" y="7344"/>
                  <a:pt x="18156" y="7344"/>
                  <a:pt x="18156" y="7344"/>
                </a:cubicBezTo>
                <a:cubicBezTo>
                  <a:pt x="18156" y="7344"/>
                  <a:pt x="18156" y="7344"/>
                  <a:pt x="18156" y="7344"/>
                </a:cubicBezTo>
                <a:close/>
                <a:moveTo>
                  <a:pt x="18188" y="7813"/>
                </a:moveTo>
                <a:cubicBezTo>
                  <a:pt x="18188" y="7813"/>
                  <a:pt x="18188" y="7813"/>
                  <a:pt x="18188" y="7813"/>
                </a:cubicBezTo>
                <a:cubicBezTo>
                  <a:pt x="18219" y="7844"/>
                  <a:pt x="18250" y="7844"/>
                  <a:pt x="18281" y="7844"/>
                </a:cubicBezTo>
                <a:cubicBezTo>
                  <a:pt x="18281" y="7844"/>
                  <a:pt x="18281" y="7844"/>
                  <a:pt x="18281" y="7844"/>
                </a:cubicBezTo>
                <a:cubicBezTo>
                  <a:pt x="18250" y="7844"/>
                  <a:pt x="18219" y="7844"/>
                  <a:pt x="18188" y="7813"/>
                </a:cubicBezTo>
                <a:cubicBezTo>
                  <a:pt x="18125" y="7844"/>
                  <a:pt x="18094" y="7875"/>
                  <a:pt x="18031" y="7875"/>
                </a:cubicBezTo>
                <a:cubicBezTo>
                  <a:pt x="18094" y="7875"/>
                  <a:pt x="18125" y="7844"/>
                  <a:pt x="18188" y="7813"/>
                </a:cubicBezTo>
                <a:close/>
                <a:moveTo>
                  <a:pt x="18063" y="8469"/>
                </a:moveTo>
                <a:cubicBezTo>
                  <a:pt x="18063" y="8469"/>
                  <a:pt x="18063" y="8438"/>
                  <a:pt x="18063" y="8438"/>
                </a:cubicBezTo>
                <a:cubicBezTo>
                  <a:pt x="18063" y="8438"/>
                  <a:pt x="18063" y="8438"/>
                  <a:pt x="18063" y="8438"/>
                </a:cubicBezTo>
                <a:cubicBezTo>
                  <a:pt x="18063" y="8438"/>
                  <a:pt x="18063" y="8469"/>
                  <a:pt x="18063" y="8469"/>
                </a:cubicBezTo>
                <a:close/>
                <a:moveTo>
                  <a:pt x="19000" y="8688"/>
                </a:moveTo>
                <a:cubicBezTo>
                  <a:pt x="19000" y="8688"/>
                  <a:pt x="19031" y="8688"/>
                  <a:pt x="19031" y="8657"/>
                </a:cubicBezTo>
                <a:cubicBezTo>
                  <a:pt x="19031" y="8688"/>
                  <a:pt x="19000" y="8688"/>
                  <a:pt x="19000" y="8688"/>
                </a:cubicBezTo>
                <a:close/>
                <a:moveTo>
                  <a:pt x="19563" y="10032"/>
                </a:moveTo>
                <a:cubicBezTo>
                  <a:pt x="19531" y="10063"/>
                  <a:pt x="19469" y="10063"/>
                  <a:pt x="19438" y="10094"/>
                </a:cubicBezTo>
                <a:cubicBezTo>
                  <a:pt x="19406" y="10125"/>
                  <a:pt x="19344" y="10094"/>
                  <a:pt x="19281" y="10094"/>
                </a:cubicBezTo>
                <a:cubicBezTo>
                  <a:pt x="19281" y="10125"/>
                  <a:pt x="19250" y="10063"/>
                  <a:pt x="19250" y="10032"/>
                </a:cubicBezTo>
                <a:cubicBezTo>
                  <a:pt x="19250" y="10032"/>
                  <a:pt x="19250" y="10032"/>
                  <a:pt x="19250" y="10032"/>
                </a:cubicBezTo>
                <a:cubicBezTo>
                  <a:pt x="19375" y="10000"/>
                  <a:pt x="19469" y="9969"/>
                  <a:pt x="19594" y="9938"/>
                </a:cubicBezTo>
                <a:cubicBezTo>
                  <a:pt x="19625" y="9938"/>
                  <a:pt x="19656" y="9907"/>
                  <a:pt x="19688" y="9938"/>
                </a:cubicBezTo>
                <a:cubicBezTo>
                  <a:pt x="19688" y="9907"/>
                  <a:pt x="19719" y="9907"/>
                  <a:pt x="19719" y="9907"/>
                </a:cubicBezTo>
                <a:cubicBezTo>
                  <a:pt x="19719" y="9907"/>
                  <a:pt x="19688" y="9907"/>
                  <a:pt x="19688" y="9938"/>
                </a:cubicBezTo>
                <a:cubicBezTo>
                  <a:pt x="19719" y="9938"/>
                  <a:pt x="19719" y="9938"/>
                  <a:pt x="19750" y="9907"/>
                </a:cubicBezTo>
                <a:cubicBezTo>
                  <a:pt x="19781" y="9907"/>
                  <a:pt x="19781" y="9907"/>
                  <a:pt x="19813" y="9907"/>
                </a:cubicBezTo>
                <a:cubicBezTo>
                  <a:pt x="19813" y="9907"/>
                  <a:pt x="19813" y="9907"/>
                  <a:pt x="19813" y="9907"/>
                </a:cubicBezTo>
                <a:cubicBezTo>
                  <a:pt x="19813" y="9907"/>
                  <a:pt x="19844" y="9907"/>
                  <a:pt x="19875" y="9907"/>
                </a:cubicBezTo>
                <a:cubicBezTo>
                  <a:pt x="19750" y="9938"/>
                  <a:pt x="19656" y="10000"/>
                  <a:pt x="19563" y="10032"/>
                </a:cubicBezTo>
                <a:close/>
                <a:moveTo>
                  <a:pt x="17844" y="13969"/>
                </a:moveTo>
                <a:cubicBezTo>
                  <a:pt x="17781" y="14032"/>
                  <a:pt x="17750" y="14125"/>
                  <a:pt x="17656" y="14157"/>
                </a:cubicBezTo>
                <a:cubicBezTo>
                  <a:pt x="17594" y="14157"/>
                  <a:pt x="17563" y="14250"/>
                  <a:pt x="17500" y="14313"/>
                </a:cubicBezTo>
                <a:cubicBezTo>
                  <a:pt x="17500" y="14313"/>
                  <a:pt x="17500" y="14344"/>
                  <a:pt x="17469" y="14344"/>
                </a:cubicBezTo>
                <a:cubicBezTo>
                  <a:pt x="17406" y="14344"/>
                  <a:pt x="17344" y="14344"/>
                  <a:pt x="17344" y="14438"/>
                </a:cubicBezTo>
                <a:cubicBezTo>
                  <a:pt x="17344" y="14438"/>
                  <a:pt x="17344" y="14438"/>
                  <a:pt x="17344" y="14438"/>
                </a:cubicBezTo>
                <a:cubicBezTo>
                  <a:pt x="17281" y="14438"/>
                  <a:pt x="17188" y="14469"/>
                  <a:pt x="17188" y="14563"/>
                </a:cubicBezTo>
                <a:cubicBezTo>
                  <a:pt x="17156" y="14625"/>
                  <a:pt x="17063" y="14657"/>
                  <a:pt x="17000" y="14719"/>
                </a:cubicBezTo>
                <a:cubicBezTo>
                  <a:pt x="17000" y="14719"/>
                  <a:pt x="17000" y="14719"/>
                  <a:pt x="17000" y="14719"/>
                </a:cubicBezTo>
                <a:cubicBezTo>
                  <a:pt x="16969" y="14750"/>
                  <a:pt x="16938" y="14719"/>
                  <a:pt x="16969" y="14688"/>
                </a:cubicBezTo>
                <a:cubicBezTo>
                  <a:pt x="17094" y="14469"/>
                  <a:pt x="17219" y="14250"/>
                  <a:pt x="17344" y="14063"/>
                </a:cubicBezTo>
                <a:cubicBezTo>
                  <a:pt x="17375" y="14032"/>
                  <a:pt x="17406" y="14000"/>
                  <a:pt x="17438" y="13969"/>
                </a:cubicBezTo>
                <a:cubicBezTo>
                  <a:pt x="17531" y="13875"/>
                  <a:pt x="17625" y="13782"/>
                  <a:pt x="17688" y="13688"/>
                </a:cubicBezTo>
                <a:cubicBezTo>
                  <a:pt x="17688" y="13688"/>
                  <a:pt x="17688" y="13688"/>
                  <a:pt x="17688" y="13688"/>
                </a:cubicBezTo>
                <a:cubicBezTo>
                  <a:pt x="17625" y="13782"/>
                  <a:pt x="17531" y="13875"/>
                  <a:pt x="17438" y="13969"/>
                </a:cubicBezTo>
                <a:cubicBezTo>
                  <a:pt x="17500" y="14000"/>
                  <a:pt x="17531" y="14063"/>
                  <a:pt x="17594" y="14000"/>
                </a:cubicBezTo>
                <a:cubicBezTo>
                  <a:pt x="17656" y="13969"/>
                  <a:pt x="17719" y="13907"/>
                  <a:pt x="17781" y="13907"/>
                </a:cubicBezTo>
                <a:cubicBezTo>
                  <a:pt x="17781" y="13907"/>
                  <a:pt x="17781" y="13907"/>
                  <a:pt x="17781" y="13907"/>
                </a:cubicBezTo>
                <a:cubicBezTo>
                  <a:pt x="17781" y="13907"/>
                  <a:pt x="17781" y="13907"/>
                  <a:pt x="17781" y="13907"/>
                </a:cubicBezTo>
                <a:cubicBezTo>
                  <a:pt x="17781" y="13938"/>
                  <a:pt x="17844" y="13938"/>
                  <a:pt x="17844" y="13969"/>
                </a:cubicBezTo>
                <a:close/>
                <a:moveTo>
                  <a:pt x="17281" y="14532"/>
                </a:moveTo>
                <a:cubicBezTo>
                  <a:pt x="17281" y="14532"/>
                  <a:pt x="17281" y="14563"/>
                  <a:pt x="17250" y="14563"/>
                </a:cubicBezTo>
                <a:cubicBezTo>
                  <a:pt x="17281" y="14563"/>
                  <a:pt x="17281" y="14532"/>
                  <a:pt x="17281" y="14532"/>
                </a:cubicBezTo>
                <a:cubicBezTo>
                  <a:pt x="17281" y="14532"/>
                  <a:pt x="17281" y="14532"/>
                  <a:pt x="17313" y="14532"/>
                </a:cubicBezTo>
                <a:cubicBezTo>
                  <a:pt x="17281" y="14532"/>
                  <a:pt x="17281" y="14532"/>
                  <a:pt x="17281" y="14532"/>
                </a:cubicBezTo>
                <a:close/>
                <a:moveTo>
                  <a:pt x="17281" y="14719"/>
                </a:moveTo>
                <a:cubicBezTo>
                  <a:pt x="17281" y="14719"/>
                  <a:pt x="17313" y="14750"/>
                  <a:pt x="17281" y="14782"/>
                </a:cubicBezTo>
                <a:cubicBezTo>
                  <a:pt x="17344" y="14750"/>
                  <a:pt x="17375" y="14750"/>
                  <a:pt x="17406" y="14750"/>
                </a:cubicBezTo>
                <a:cubicBezTo>
                  <a:pt x="17438" y="14719"/>
                  <a:pt x="17469" y="14719"/>
                  <a:pt x="17500" y="14719"/>
                </a:cubicBezTo>
                <a:cubicBezTo>
                  <a:pt x="17469" y="14719"/>
                  <a:pt x="17438" y="14719"/>
                  <a:pt x="17406" y="14750"/>
                </a:cubicBezTo>
                <a:cubicBezTo>
                  <a:pt x="17375" y="14750"/>
                  <a:pt x="17344" y="14750"/>
                  <a:pt x="17281" y="14782"/>
                </a:cubicBezTo>
                <a:cubicBezTo>
                  <a:pt x="17313" y="14750"/>
                  <a:pt x="17281" y="14719"/>
                  <a:pt x="17281" y="14719"/>
                </a:cubicBezTo>
                <a:close/>
                <a:moveTo>
                  <a:pt x="17031" y="14750"/>
                </a:moveTo>
                <a:cubicBezTo>
                  <a:pt x="17031" y="14750"/>
                  <a:pt x="17031" y="14750"/>
                  <a:pt x="17031" y="14750"/>
                </a:cubicBezTo>
                <a:cubicBezTo>
                  <a:pt x="17031" y="14750"/>
                  <a:pt x="17031" y="14750"/>
                  <a:pt x="17031" y="14750"/>
                </a:cubicBezTo>
                <a:close/>
                <a:moveTo>
                  <a:pt x="16531" y="15719"/>
                </a:moveTo>
                <a:cubicBezTo>
                  <a:pt x="16531" y="15719"/>
                  <a:pt x="16531" y="15719"/>
                  <a:pt x="16531" y="15719"/>
                </a:cubicBezTo>
                <a:cubicBezTo>
                  <a:pt x="16531" y="15719"/>
                  <a:pt x="16531" y="15719"/>
                  <a:pt x="16531" y="15719"/>
                </a:cubicBezTo>
                <a:cubicBezTo>
                  <a:pt x="16531" y="15719"/>
                  <a:pt x="16531" y="15719"/>
                  <a:pt x="16531" y="15719"/>
                </a:cubicBezTo>
                <a:close/>
                <a:moveTo>
                  <a:pt x="15719" y="16094"/>
                </a:moveTo>
                <a:cubicBezTo>
                  <a:pt x="15750" y="16157"/>
                  <a:pt x="15688" y="16188"/>
                  <a:pt x="15656" y="16250"/>
                </a:cubicBezTo>
                <a:cubicBezTo>
                  <a:pt x="15625" y="16282"/>
                  <a:pt x="15625" y="16313"/>
                  <a:pt x="15563" y="16313"/>
                </a:cubicBezTo>
                <a:cubicBezTo>
                  <a:pt x="15563" y="16344"/>
                  <a:pt x="15563" y="16344"/>
                  <a:pt x="15563" y="16375"/>
                </a:cubicBezTo>
                <a:cubicBezTo>
                  <a:pt x="15563" y="16344"/>
                  <a:pt x="15563" y="16344"/>
                  <a:pt x="15563" y="16313"/>
                </a:cubicBezTo>
                <a:cubicBezTo>
                  <a:pt x="15563" y="16313"/>
                  <a:pt x="15563" y="16313"/>
                  <a:pt x="15563" y="16313"/>
                </a:cubicBezTo>
                <a:cubicBezTo>
                  <a:pt x="15594" y="16282"/>
                  <a:pt x="15563" y="16250"/>
                  <a:pt x="15563" y="16188"/>
                </a:cubicBezTo>
                <a:cubicBezTo>
                  <a:pt x="15594" y="16125"/>
                  <a:pt x="15625" y="16032"/>
                  <a:pt x="15656" y="15969"/>
                </a:cubicBezTo>
                <a:cubicBezTo>
                  <a:pt x="15656" y="15969"/>
                  <a:pt x="15656" y="15969"/>
                  <a:pt x="15656" y="15969"/>
                </a:cubicBezTo>
                <a:cubicBezTo>
                  <a:pt x="15656" y="15969"/>
                  <a:pt x="15656" y="15969"/>
                  <a:pt x="15656" y="15969"/>
                </a:cubicBezTo>
                <a:cubicBezTo>
                  <a:pt x="15656" y="15938"/>
                  <a:pt x="15656" y="15938"/>
                  <a:pt x="15656" y="15907"/>
                </a:cubicBezTo>
                <a:cubicBezTo>
                  <a:pt x="15656" y="15907"/>
                  <a:pt x="15688" y="15938"/>
                  <a:pt x="15688" y="15907"/>
                </a:cubicBezTo>
                <a:cubicBezTo>
                  <a:pt x="15750" y="15907"/>
                  <a:pt x="15781" y="15938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07"/>
                  <a:pt x="15844" y="15907"/>
                  <a:pt x="15844" y="15907"/>
                </a:cubicBezTo>
                <a:cubicBezTo>
                  <a:pt x="15844" y="15938"/>
                  <a:pt x="15844" y="15938"/>
                  <a:pt x="15844" y="15938"/>
                </a:cubicBezTo>
                <a:cubicBezTo>
                  <a:pt x="15875" y="16000"/>
                  <a:pt x="15969" y="16000"/>
                  <a:pt x="15969" y="16094"/>
                </a:cubicBezTo>
                <a:cubicBezTo>
                  <a:pt x="15906" y="16094"/>
                  <a:pt x="15844" y="16094"/>
                  <a:pt x="15844" y="16063"/>
                </a:cubicBezTo>
                <a:cubicBezTo>
                  <a:pt x="15813" y="16032"/>
                  <a:pt x="15781" y="16032"/>
                  <a:pt x="15750" y="16032"/>
                </a:cubicBezTo>
                <a:cubicBezTo>
                  <a:pt x="15719" y="16032"/>
                  <a:pt x="15719" y="16063"/>
                  <a:pt x="15719" y="16094"/>
                </a:cubicBezTo>
                <a:close/>
                <a:moveTo>
                  <a:pt x="15563" y="16469"/>
                </a:moveTo>
                <a:cubicBezTo>
                  <a:pt x="15563" y="16469"/>
                  <a:pt x="15563" y="16438"/>
                  <a:pt x="15563" y="16438"/>
                </a:cubicBezTo>
                <a:cubicBezTo>
                  <a:pt x="15563" y="16438"/>
                  <a:pt x="15563" y="16469"/>
                  <a:pt x="15563" y="16469"/>
                </a:cubicBezTo>
                <a:cubicBezTo>
                  <a:pt x="15625" y="16469"/>
                  <a:pt x="15625" y="16500"/>
                  <a:pt x="15625" y="16563"/>
                </a:cubicBezTo>
                <a:cubicBezTo>
                  <a:pt x="15625" y="16500"/>
                  <a:pt x="15625" y="16469"/>
                  <a:pt x="15563" y="16469"/>
                </a:cubicBezTo>
                <a:close/>
                <a:moveTo>
                  <a:pt x="15156" y="15938"/>
                </a:moveTo>
                <a:cubicBezTo>
                  <a:pt x="15156" y="15938"/>
                  <a:pt x="15156" y="15938"/>
                  <a:pt x="15156" y="15938"/>
                </a:cubicBezTo>
                <a:cubicBezTo>
                  <a:pt x="15188" y="15969"/>
                  <a:pt x="15219" y="16032"/>
                  <a:pt x="15250" y="16063"/>
                </a:cubicBezTo>
                <a:cubicBezTo>
                  <a:pt x="15219" y="16032"/>
                  <a:pt x="15188" y="15969"/>
                  <a:pt x="15156" y="15938"/>
                </a:cubicBezTo>
                <a:close/>
                <a:moveTo>
                  <a:pt x="14125" y="14719"/>
                </a:moveTo>
                <a:cubicBezTo>
                  <a:pt x="14094" y="14688"/>
                  <a:pt x="14125" y="14688"/>
                  <a:pt x="14125" y="14657"/>
                </a:cubicBezTo>
                <a:cubicBezTo>
                  <a:pt x="14125" y="14594"/>
                  <a:pt x="14125" y="14532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532"/>
                  <a:pt x="14125" y="14594"/>
                  <a:pt x="14125" y="14657"/>
                </a:cubicBezTo>
                <a:cubicBezTo>
                  <a:pt x="14125" y="14688"/>
                  <a:pt x="14094" y="14688"/>
                  <a:pt x="14125" y="14719"/>
                </a:cubicBezTo>
                <a:close/>
                <a:moveTo>
                  <a:pt x="14125" y="14469"/>
                </a:move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ubicBezTo>
                  <a:pt x="14125" y="14469"/>
                  <a:pt x="14125" y="14469"/>
                  <a:pt x="14125" y="14469"/>
                </a:cubicBezTo>
                <a:close/>
                <a:moveTo>
                  <a:pt x="14031" y="14438"/>
                </a:moveTo>
                <a:cubicBezTo>
                  <a:pt x="14063" y="14407"/>
                  <a:pt x="14094" y="14375"/>
                  <a:pt x="14125" y="14344"/>
                </a:cubicBezTo>
                <a:cubicBezTo>
                  <a:pt x="14094" y="14313"/>
                  <a:pt x="14063" y="14375"/>
                  <a:pt x="14031" y="14344"/>
                </a:cubicBezTo>
                <a:cubicBezTo>
                  <a:pt x="14000" y="14344"/>
                  <a:pt x="13875" y="14375"/>
                  <a:pt x="13844" y="14407"/>
                </a:cubicBezTo>
                <a:cubicBezTo>
                  <a:pt x="13875" y="14407"/>
                  <a:pt x="13875" y="14407"/>
                  <a:pt x="13875" y="14407"/>
                </a:cubicBezTo>
                <a:cubicBezTo>
                  <a:pt x="13875" y="14407"/>
                  <a:pt x="13875" y="14407"/>
                  <a:pt x="13875" y="14407"/>
                </a:cubicBezTo>
                <a:cubicBezTo>
                  <a:pt x="13875" y="14407"/>
                  <a:pt x="13875" y="14407"/>
                  <a:pt x="13844" y="14407"/>
                </a:cubicBezTo>
                <a:cubicBezTo>
                  <a:pt x="13813" y="14407"/>
                  <a:pt x="13781" y="14407"/>
                  <a:pt x="13750" y="14438"/>
                </a:cubicBezTo>
                <a:cubicBezTo>
                  <a:pt x="13656" y="14438"/>
                  <a:pt x="13594" y="14469"/>
                  <a:pt x="13594" y="14563"/>
                </a:cubicBezTo>
                <a:cubicBezTo>
                  <a:pt x="13500" y="14657"/>
                  <a:pt x="13406" y="14750"/>
                  <a:pt x="13250" y="14750"/>
                </a:cubicBezTo>
                <a:cubicBezTo>
                  <a:pt x="13250" y="14750"/>
                  <a:pt x="13250" y="14688"/>
                  <a:pt x="13219" y="14719"/>
                </a:cubicBezTo>
                <a:cubicBezTo>
                  <a:pt x="13156" y="14782"/>
                  <a:pt x="13094" y="14750"/>
                  <a:pt x="13031" y="14782"/>
                </a:cubicBezTo>
                <a:cubicBezTo>
                  <a:pt x="13031" y="14782"/>
                  <a:pt x="13031" y="14782"/>
                  <a:pt x="13031" y="14782"/>
                </a:cubicBezTo>
                <a:cubicBezTo>
                  <a:pt x="13000" y="14782"/>
                  <a:pt x="12969" y="14782"/>
                  <a:pt x="12969" y="14782"/>
                </a:cubicBezTo>
                <a:cubicBezTo>
                  <a:pt x="12906" y="14813"/>
                  <a:pt x="12906" y="14782"/>
                  <a:pt x="12906" y="14750"/>
                </a:cubicBezTo>
                <a:cubicBezTo>
                  <a:pt x="12938" y="14657"/>
                  <a:pt x="12938" y="14594"/>
                  <a:pt x="12938" y="14532"/>
                </a:cubicBezTo>
                <a:cubicBezTo>
                  <a:pt x="12969" y="14532"/>
                  <a:pt x="12969" y="14532"/>
                  <a:pt x="12969" y="14532"/>
                </a:cubicBezTo>
                <a:cubicBezTo>
                  <a:pt x="13000" y="14500"/>
                  <a:pt x="13000" y="14469"/>
                  <a:pt x="13031" y="14438"/>
                </a:cubicBezTo>
                <a:cubicBezTo>
                  <a:pt x="13000" y="14469"/>
                  <a:pt x="13000" y="14500"/>
                  <a:pt x="12969" y="14532"/>
                </a:cubicBezTo>
                <a:cubicBezTo>
                  <a:pt x="13031" y="14500"/>
                  <a:pt x="13094" y="14500"/>
                  <a:pt x="13125" y="14407"/>
                </a:cubicBezTo>
                <a:cubicBezTo>
                  <a:pt x="13188" y="14344"/>
                  <a:pt x="13281" y="14250"/>
                  <a:pt x="13406" y="14188"/>
                </a:cubicBezTo>
                <a:cubicBezTo>
                  <a:pt x="13469" y="14157"/>
                  <a:pt x="13531" y="14094"/>
                  <a:pt x="13625" y="14063"/>
                </a:cubicBezTo>
                <a:cubicBezTo>
                  <a:pt x="13656" y="14063"/>
                  <a:pt x="13688" y="14000"/>
                  <a:pt x="13750" y="13969"/>
                </a:cubicBezTo>
                <a:cubicBezTo>
                  <a:pt x="13750" y="13938"/>
                  <a:pt x="13781" y="13907"/>
                  <a:pt x="13813" y="13907"/>
                </a:cubicBezTo>
                <a:cubicBezTo>
                  <a:pt x="13844" y="13875"/>
                  <a:pt x="13875" y="13875"/>
                  <a:pt x="13906" y="13844"/>
                </a:cubicBezTo>
                <a:cubicBezTo>
                  <a:pt x="13875" y="13875"/>
                  <a:pt x="13844" y="13875"/>
                  <a:pt x="13813" y="13907"/>
                </a:cubicBezTo>
                <a:cubicBezTo>
                  <a:pt x="13781" y="13907"/>
                  <a:pt x="13750" y="13938"/>
                  <a:pt x="13750" y="13969"/>
                </a:cubicBezTo>
                <a:cubicBezTo>
                  <a:pt x="13844" y="13969"/>
                  <a:pt x="13906" y="13907"/>
                  <a:pt x="13969" y="13844"/>
                </a:cubicBezTo>
                <a:cubicBezTo>
                  <a:pt x="14063" y="13782"/>
                  <a:pt x="14094" y="13688"/>
                  <a:pt x="14156" y="13657"/>
                </a:cubicBezTo>
                <a:cubicBezTo>
                  <a:pt x="14188" y="13657"/>
                  <a:pt x="14219" y="13625"/>
                  <a:pt x="14250" y="13657"/>
                </a:cubicBezTo>
                <a:cubicBezTo>
                  <a:pt x="14250" y="13688"/>
                  <a:pt x="14219" y="13719"/>
                  <a:pt x="14188" y="13719"/>
                </a:cubicBezTo>
                <a:cubicBezTo>
                  <a:pt x="14188" y="13782"/>
                  <a:pt x="14094" y="13750"/>
                  <a:pt x="14156" y="13844"/>
                </a:cubicBezTo>
                <a:cubicBezTo>
                  <a:pt x="14188" y="13907"/>
                  <a:pt x="14156" y="13969"/>
                  <a:pt x="14094" y="14000"/>
                </a:cubicBezTo>
                <a:cubicBezTo>
                  <a:pt x="14031" y="14032"/>
                  <a:pt x="14000" y="14063"/>
                  <a:pt x="14031" y="14125"/>
                </a:cubicBezTo>
                <a:cubicBezTo>
                  <a:pt x="14063" y="14032"/>
                  <a:pt x="14125" y="14063"/>
                  <a:pt x="14219" y="14094"/>
                </a:cubicBezTo>
                <a:cubicBezTo>
                  <a:pt x="14219" y="14094"/>
                  <a:pt x="14250" y="14125"/>
                  <a:pt x="14219" y="14125"/>
                </a:cubicBezTo>
                <a:cubicBezTo>
                  <a:pt x="14156" y="14157"/>
                  <a:pt x="14188" y="14250"/>
                  <a:pt x="14156" y="14282"/>
                </a:cubicBezTo>
                <a:cubicBezTo>
                  <a:pt x="14125" y="14313"/>
                  <a:pt x="14125" y="14344"/>
                  <a:pt x="14125" y="14344"/>
                </a:cubicBezTo>
                <a:cubicBezTo>
                  <a:pt x="14094" y="14375"/>
                  <a:pt x="14063" y="14407"/>
                  <a:pt x="14031" y="14438"/>
                </a:cubicBezTo>
                <a:close/>
                <a:moveTo>
                  <a:pt x="11438" y="12844"/>
                </a:moveTo>
                <a:cubicBezTo>
                  <a:pt x="11438" y="12813"/>
                  <a:pt x="11438" y="12782"/>
                  <a:pt x="11438" y="12750"/>
                </a:cubicBezTo>
                <a:cubicBezTo>
                  <a:pt x="11406" y="12719"/>
                  <a:pt x="11438" y="12657"/>
                  <a:pt x="11438" y="12594"/>
                </a:cubicBezTo>
                <a:cubicBezTo>
                  <a:pt x="11438" y="12657"/>
                  <a:pt x="11406" y="12719"/>
                  <a:pt x="11438" y="12750"/>
                </a:cubicBezTo>
                <a:cubicBezTo>
                  <a:pt x="11469" y="12688"/>
                  <a:pt x="11438" y="12625"/>
                  <a:pt x="11469" y="12532"/>
                </a:cubicBezTo>
                <a:cubicBezTo>
                  <a:pt x="11469" y="12500"/>
                  <a:pt x="11438" y="12438"/>
                  <a:pt x="11438" y="12407"/>
                </a:cubicBezTo>
                <a:cubicBezTo>
                  <a:pt x="11438" y="12407"/>
                  <a:pt x="11438" y="12407"/>
                  <a:pt x="11438" y="12407"/>
                </a:cubicBezTo>
                <a:cubicBezTo>
                  <a:pt x="11438" y="12344"/>
                  <a:pt x="11438" y="12282"/>
                  <a:pt x="11438" y="12250"/>
                </a:cubicBezTo>
                <a:cubicBezTo>
                  <a:pt x="11438" y="12188"/>
                  <a:pt x="11469" y="12125"/>
                  <a:pt x="11438" y="12094"/>
                </a:cubicBezTo>
                <a:cubicBezTo>
                  <a:pt x="11438" y="12063"/>
                  <a:pt x="11438" y="12063"/>
                  <a:pt x="11438" y="12032"/>
                </a:cubicBezTo>
                <a:cubicBezTo>
                  <a:pt x="11500" y="11907"/>
                  <a:pt x="11469" y="11750"/>
                  <a:pt x="11469" y="11625"/>
                </a:cubicBezTo>
                <a:cubicBezTo>
                  <a:pt x="11469" y="11563"/>
                  <a:pt x="11469" y="11500"/>
                  <a:pt x="11531" y="11469"/>
                </a:cubicBezTo>
                <a:cubicBezTo>
                  <a:pt x="11500" y="11469"/>
                  <a:pt x="11500" y="11469"/>
                  <a:pt x="11500" y="11438"/>
                </a:cubicBezTo>
                <a:cubicBezTo>
                  <a:pt x="11500" y="11469"/>
                  <a:pt x="11500" y="11469"/>
                  <a:pt x="11531" y="11469"/>
                </a:cubicBezTo>
                <a:cubicBezTo>
                  <a:pt x="11594" y="11469"/>
                  <a:pt x="11625" y="11407"/>
                  <a:pt x="11688" y="11407"/>
                </a:cubicBezTo>
                <a:cubicBezTo>
                  <a:pt x="11688" y="11438"/>
                  <a:pt x="11688" y="11500"/>
                  <a:pt x="11656" y="11532"/>
                </a:cubicBezTo>
                <a:cubicBezTo>
                  <a:pt x="11625" y="11532"/>
                  <a:pt x="11625" y="11563"/>
                  <a:pt x="11625" y="11594"/>
                </a:cubicBezTo>
                <a:cubicBezTo>
                  <a:pt x="11656" y="11625"/>
                  <a:pt x="11625" y="11688"/>
                  <a:pt x="11625" y="11750"/>
                </a:cubicBezTo>
                <a:cubicBezTo>
                  <a:pt x="11625" y="11782"/>
                  <a:pt x="11625" y="11813"/>
                  <a:pt x="11656" y="11844"/>
                </a:cubicBezTo>
                <a:cubicBezTo>
                  <a:pt x="11750" y="11907"/>
                  <a:pt x="11750" y="11938"/>
                  <a:pt x="11656" y="12032"/>
                </a:cubicBezTo>
                <a:cubicBezTo>
                  <a:pt x="11625" y="12063"/>
                  <a:pt x="11656" y="12094"/>
                  <a:pt x="11656" y="12125"/>
                </a:cubicBezTo>
                <a:cubicBezTo>
                  <a:pt x="11656" y="12188"/>
                  <a:pt x="11688" y="12157"/>
                  <a:pt x="11719" y="12157"/>
                </a:cubicBezTo>
                <a:cubicBezTo>
                  <a:pt x="11750" y="12157"/>
                  <a:pt x="11813" y="12188"/>
                  <a:pt x="11813" y="12250"/>
                </a:cubicBezTo>
                <a:cubicBezTo>
                  <a:pt x="11813" y="12250"/>
                  <a:pt x="11813" y="12250"/>
                  <a:pt x="11813" y="12250"/>
                </a:cubicBezTo>
                <a:cubicBezTo>
                  <a:pt x="11813" y="12282"/>
                  <a:pt x="11813" y="12313"/>
                  <a:pt x="11813" y="12313"/>
                </a:cubicBezTo>
                <a:cubicBezTo>
                  <a:pt x="11813" y="12313"/>
                  <a:pt x="11813" y="12282"/>
                  <a:pt x="11813" y="12250"/>
                </a:cubicBezTo>
                <a:cubicBezTo>
                  <a:pt x="11781" y="12250"/>
                  <a:pt x="11719" y="12250"/>
                  <a:pt x="11719" y="12313"/>
                </a:cubicBezTo>
                <a:cubicBezTo>
                  <a:pt x="11719" y="12344"/>
                  <a:pt x="11688" y="12375"/>
                  <a:pt x="11656" y="12375"/>
                </a:cubicBezTo>
                <a:cubicBezTo>
                  <a:pt x="11563" y="12375"/>
                  <a:pt x="11563" y="12407"/>
                  <a:pt x="11594" y="12469"/>
                </a:cubicBezTo>
                <a:cubicBezTo>
                  <a:pt x="11625" y="12469"/>
                  <a:pt x="11688" y="12407"/>
                  <a:pt x="11750" y="12438"/>
                </a:cubicBezTo>
                <a:cubicBezTo>
                  <a:pt x="11750" y="12469"/>
                  <a:pt x="11688" y="12500"/>
                  <a:pt x="11688" y="12500"/>
                </a:cubicBezTo>
                <a:cubicBezTo>
                  <a:pt x="11656" y="12532"/>
                  <a:pt x="11594" y="12532"/>
                  <a:pt x="11625" y="12563"/>
                </a:cubicBezTo>
                <a:cubicBezTo>
                  <a:pt x="11656" y="12625"/>
                  <a:pt x="11656" y="12657"/>
                  <a:pt x="11719" y="12657"/>
                </a:cubicBezTo>
                <a:cubicBezTo>
                  <a:pt x="11719" y="12657"/>
                  <a:pt x="11719" y="12688"/>
                  <a:pt x="11719" y="12719"/>
                </a:cubicBezTo>
                <a:cubicBezTo>
                  <a:pt x="11656" y="12719"/>
                  <a:pt x="11688" y="12813"/>
                  <a:pt x="11594" y="12813"/>
                </a:cubicBezTo>
                <a:cubicBezTo>
                  <a:pt x="11688" y="12875"/>
                  <a:pt x="11688" y="12875"/>
                  <a:pt x="11625" y="12938"/>
                </a:cubicBezTo>
                <a:cubicBezTo>
                  <a:pt x="11625" y="13000"/>
                  <a:pt x="11563" y="13032"/>
                  <a:pt x="11594" y="13094"/>
                </a:cubicBezTo>
                <a:cubicBezTo>
                  <a:pt x="11625" y="13125"/>
                  <a:pt x="11625" y="13157"/>
                  <a:pt x="11594" y="13219"/>
                </a:cubicBezTo>
                <a:cubicBezTo>
                  <a:pt x="11563" y="13219"/>
                  <a:pt x="11594" y="13250"/>
                  <a:pt x="11625" y="13250"/>
                </a:cubicBezTo>
                <a:cubicBezTo>
                  <a:pt x="11656" y="13250"/>
                  <a:pt x="11688" y="13250"/>
                  <a:pt x="11688" y="13282"/>
                </a:cubicBezTo>
                <a:cubicBezTo>
                  <a:pt x="11656" y="13313"/>
                  <a:pt x="11625" y="13313"/>
                  <a:pt x="11594" y="13313"/>
                </a:cubicBezTo>
                <a:cubicBezTo>
                  <a:pt x="11531" y="13313"/>
                  <a:pt x="11500" y="13313"/>
                  <a:pt x="11438" y="13313"/>
                </a:cubicBezTo>
                <a:cubicBezTo>
                  <a:pt x="11438" y="13313"/>
                  <a:pt x="11438" y="13282"/>
                  <a:pt x="11438" y="13282"/>
                </a:cubicBezTo>
                <a:cubicBezTo>
                  <a:pt x="11438" y="13282"/>
                  <a:pt x="11438" y="13282"/>
                  <a:pt x="11438" y="13250"/>
                </a:cubicBezTo>
                <a:cubicBezTo>
                  <a:pt x="11438" y="13250"/>
                  <a:pt x="11438" y="13250"/>
                  <a:pt x="11438" y="13250"/>
                </a:cubicBezTo>
                <a:cubicBezTo>
                  <a:pt x="11438" y="13250"/>
                  <a:pt x="11438" y="13250"/>
                  <a:pt x="11438" y="13250"/>
                </a:cubicBezTo>
                <a:cubicBezTo>
                  <a:pt x="11438" y="13125"/>
                  <a:pt x="11469" y="12969"/>
                  <a:pt x="11438" y="12844"/>
                </a:cubicBezTo>
                <a:close/>
                <a:moveTo>
                  <a:pt x="7750" y="14907"/>
                </a:moveTo>
                <a:cubicBezTo>
                  <a:pt x="7750" y="14938"/>
                  <a:pt x="7719" y="14938"/>
                  <a:pt x="7719" y="14969"/>
                </a:cubicBezTo>
                <a:cubicBezTo>
                  <a:pt x="7719" y="14938"/>
                  <a:pt x="7750" y="14938"/>
                  <a:pt x="7750" y="14907"/>
                </a:cubicBezTo>
                <a:cubicBezTo>
                  <a:pt x="7688" y="14907"/>
                  <a:pt x="7625" y="14875"/>
                  <a:pt x="7563" y="14875"/>
                </a:cubicBezTo>
                <a:cubicBezTo>
                  <a:pt x="7531" y="14875"/>
                  <a:pt x="7500" y="14875"/>
                  <a:pt x="7469" y="14875"/>
                </a:cubicBezTo>
                <a:cubicBezTo>
                  <a:pt x="7438" y="14875"/>
                  <a:pt x="7438" y="14875"/>
                  <a:pt x="7438" y="14875"/>
                </a:cubicBezTo>
                <a:cubicBezTo>
                  <a:pt x="7375" y="14938"/>
                  <a:pt x="7313" y="14875"/>
                  <a:pt x="7281" y="14938"/>
                </a:cubicBezTo>
                <a:cubicBezTo>
                  <a:pt x="7281" y="14938"/>
                  <a:pt x="7250" y="14969"/>
                  <a:pt x="7250" y="15000"/>
                </a:cubicBezTo>
                <a:cubicBezTo>
                  <a:pt x="7250" y="14969"/>
                  <a:pt x="7281" y="14938"/>
                  <a:pt x="7281" y="14938"/>
                </a:cubicBezTo>
                <a:cubicBezTo>
                  <a:pt x="7219" y="14907"/>
                  <a:pt x="7156" y="14969"/>
                  <a:pt x="7094" y="14969"/>
                </a:cubicBezTo>
                <a:cubicBezTo>
                  <a:pt x="7094" y="14969"/>
                  <a:pt x="7094" y="14969"/>
                  <a:pt x="7094" y="14969"/>
                </a:cubicBezTo>
                <a:cubicBezTo>
                  <a:pt x="7094" y="14969"/>
                  <a:pt x="7094" y="14938"/>
                  <a:pt x="7094" y="14938"/>
                </a:cubicBezTo>
                <a:cubicBezTo>
                  <a:pt x="7094" y="14875"/>
                  <a:pt x="7125" y="14813"/>
                  <a:pt x="7000" y="14875"/>
                </a:cubicBezTo>
                <a:cubicBezTo>
                  <a:pt x="7000" y="14875"/>
                  <a:pt x="6969" y="14907"/>
                  <a:pt x="6969" y="14875"/>
                </a:cubicBezTo>
                <a:cubicBezTo>
                  <a:pt x="6875" y="14875"/>
                  <a:pt x="6813" y="14907"/>
                  <a:pt x="6750" y="14938"/>
                </a:cubicBezTo>
                <a:cubicBezTo>
                  <a:pt x="6719" y="15000"/>
                  <a:pt x="6688" y="14969"/>
                  <a:pt x="6688" y="14938"/>
                </a:cubicBezTo>
                <a:cubicBezTo>
                  <a:pt x="6656" y="14844"/>
                  <a:pt x="6688" y="14813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750" y="14750"/>
                  <a:pt x="6750" y="14750"/>
                  <a:pt x="6750" y="14750"/>
                </a:cubicBezTo>
                <a:cubicBezTo>
                  <a:pt x="6906" y="14813"/>
                  <a:pt x="7031" y="14782"/>
                  <a:pt x="7188" y="14782"/>
                </a:cubicBezTo>
                <a:cubicBezTo>
                  <a:pt x="7188" y="14782"/>
                  <a:pt x="7188" y="14782"/>
                  <a:pt x="7219" y="14782"/>
                </a:cubicBezTo>
                <a:cubicBezTo>
                  <a:pt x="7250" y="14813"/>
                  <a:pt x="7281" y="14813"/>
                  <a:pt x="7344" y="14813"/>
                </a:cubicBezTo>
                <a:cubicBezTo>
                  <a:pt x="7500" y="14813"/>
                  <a:pt x="7656" y="14875"/>
                  <a:pt x="7813" y="14875"/>
                </a:cubicBezTo>
                <a:cubicBezTo>
                  <a:pt x="7813" y="14875"/>
                  <a:pt x="7781" y="14907"/>
                  <a:pt x="7750" y="14907"/>
                </a:cubicBezTo>
                <a:close/>
                <a:moveTo>
                  <a:pt x="3813" y="6688"/>
                </a:moveTo>
                <a:cubicBezTo>
                  <a:pt x="3813" y="6625"/>
                  <a:pt x="3813" y="6594"/>
                  <a:pt x="3813" y="6563"/>
                </a:cubicBezTo>
                <a:cubicBezTo>
                  <a:pt x="3813" y="6594"/>
                  <a:pt x="3813" y="6625"/>
                  <a:pt x="3813" y="6688"/>
                </a:cubicBezTo>
                <a:cubicBezTo>
                  <a:pt x="3781" y="6719"/>
                  <a:pt x="3781" y="6750"/>
                  <a:pt x="3781" y="6813"/>
                </a:cubicBezTo>
                <a:cubicBezTo>
                  <a:pt x="3781" y="6750"/>
                  <a:pt x="3781" y="6719"/>
                  <a:pt x="3813" y="6688"/>
                </a:cubicBezTo>
                <a:close/>
                <a:moveTo>
                  <a:pt x="4750" y="7782"/>
                </a:moveTo>
                <a:cubicBezTo>
                  <a:pt x="4781" y="7782"/>
                  <a:pt x="4781" y="7782"/>
                  <a:pt x="4781" y="7782"/>
                </a:cubicBezTo>
                <a:cubicBezTo>
                  <a:pt x="4781" y="7782"/>
                  <a:pt x="4781" y="7782"/>
                  <a:pt x="4750" y="7782"/>
                </a:cubicBezTo>
                <a:close/>
                <a:moveTo>
                  <a:pt x="6031" y="7094"/>
                </a:moveTo>
                <a:cubicBezTo>
                  <a:pt x="6063" y="7125"/>
                  <a:pt x="6063" y="7157"/>
                  <a:pt x="6063" y="7188"/>
                </a:cubicBezTo>
                <a:cubicBezTo>
                  <a:pt x="6063" y="7188"/>
                  <a:pt x="6063" y="7188"/>
                  <a:pt x="6063" y="7188"/>
                </a:cubicBezTo>
                <a:cubicBezTo>
                  <a:pt x="6063" y="7157"/>
                  <a:pt x="6063" y="7125"/>
                  <a:pt x="6031" y="7094"/>
                </a:cubicBezTo>
                <a:close/>
                <a:moveTo>
                  <a:pt x="6188" y="7469"/>
                </a:moveTo>
                <a:cubicBezTo>
                  <a:pt x="6188" y="7469"/>
                  <a:pt x="6219" y="7438"/>
                  <a:pt x="6219" y="7407"/>
                </a:cubicBezTo>
                <a:cubicBezTo>
                  <a:pt x="6219" y="7407"/>
                  <a:pt x="6250" y="7407"/>
                  <a:pt x="6281" y="7375"/>
                </a:cubicBezTo>
                <a:cubicBezTo>
                  <a:pt x="6250" y="7407"/>
                  <a:pt x="6219" y="7407"/>
                  <a:pt x="6219" y="7407"/>
                </a:cubicBezTo>
                <a:cubicBezTo>
                  <a:pt x="6219" y="7438"/>
                  <a:pt x="6188" y="7469"/>
                  <a:pt x="6188" y="7469"/>
                </a:cubicBezTo>
                <a:close/>
                <a:moveTo>
                  <a:pt x="7656" y="8813"/>
                </a:moveTo>
                <a:cubicBezTo>
                  <a:pt x="7656" y="8813"/>
                  <a:pt x="7656" y="8813"/>
                  <a:pt x="7656" y="8813"/>
                </a:cubicBezTo>
                <a:cubicBezTo>
                  <a:pt x="7625" y="8813"/>
                  <a:pt x="7594" y="8782"/>
                  <a:pt x="7625" y="8782"/>
                </a:cubicBezTo>
                <a:cubicBezTo>
                  <a:pt x="7594" y="8782"/>
                  <a:pt x="7625" y="8813"/>
                  <a:pt x="7656" y="8813"/>
                </a:cubicBezTo>
                <a:cubicBezTo>
                  <a:pt x="7656" y="8813"/>
                  <a:pt x="7656" y="8813"/>
                  <a:pt x="7656" y="8813"/>
                </a:cubicBezTo>
                <a:cubicBezTo>
                  <a:pt x="7656" y="8813"/>
                  <a:pt x="7656" y="8844"/>
                  <a:pt x="7656" y="8844"/>
                </a:cubicBezTo>
                <a:cubicBezTo>
                  <a:pt x="7656" y="8844"/>
                  <a:pt x="7688" y="8844"/>
                  <a:pt x="7688" y="8844"/>
                </a:cubicBezTo>
                <a:cubicBezTo>
                  <a:pt x="7688" y="8844"/>
                  <a:pt x="7688" y="8844"/>
                  <a:pt x="7688" y="8844"/>
                </a:cubicBezTo>
                <a:cubicBezTo>
                  <a:pt x="7719" y="8875"/>
                  <a:pt x="7750" y="8844"/>
                  <a:pt x="7750" y="8875"/>
                </a:cubicBezTo>
                <a:cubicBezTo>
                  <a:pt x="7719" y="8875"/>
                  <a:pt x="7656" y="8875"/>
                  <a:pt x="7688" y="8938"/>
                </a:cubicBezTo>
                <a:cubicBezTo>
                  <a:pt x="7719" y="9032"/>
                  <a:pt x="7688" y="9157"/>
                  <a:pt x="7719" y="9250"/>
                </a:cubicBezTo>
                <a:cubicBezTo>
                  <a:pt x="7750" y="9250"/>
                  <a:pt x="7750" y="9282"/>
                  <a:pt x="7719" y="9313"/>
                </a:cubicBezTo>
                <a:cubicBezTo>
                  <a:pt x="7688" y="9313"/>
                  <a:pt x="7688" y="9282"/>
                  <a:pt x="7656" y="9282"/>
                </a:cubicBezTo>
                <a:cubicBezTo>
                  <a:pt x="7656" y="9219"/>
                  <a:pt x="7656" y="9157"/>
                  <a:pt x="7656" y="9094"/>
                </a:cubicBezTo>
                <a:cubicBezTo>
                  <a:pt x="7656" y="9094"/>
                  <a:pt x="7656" y="9094"/>
                  <a:pt x="7656" y="9094"/>
                </a:cubicBezTo>
                <a:cubicBezTo>
                  <a:pt x="7656" y="9032"/>
                  <a:pt x="7656" y="8969"/>
                  <a:pt x="7625" y="8907"/>
                </a:cubicBezTo>
                <a:cubicBezTo>
                  <a:pt x="7656" y="8875"/>
                  <a:pt x="7656" y="8875"/>
                  <a:pt x="7656" y="8844"/>
                </a:cubicBezTo>
                <a:cubicBezTo>
                  <a:pt x="7656" y="8844"/>
                  <a:pt x="7656" y="8813"/>
                  <a:pt x="7656" y="8813"/>
                </a:cubicBezTo>
                <a:close/>
                <a:moveTo>
                  <a:pt x="7875" y="9344"/>
                </a:moveTo>
                <a:cubicBezTo>
                  <a:pt x="7875" y="9344"/>
                  <a:pt x="7875" y="9344"/>
                  <a:pt x="7875" y="9344"/>
                </a:cubicBezTo>
                <a:cubicBezTo>
                  <a:pt x="7906" y="9344"/>
                  <a:pt x="7906" y="9375"/>
                  <a:pt x="7938" y="9375"/>
                </a:cubicBezTo>
                <a:cubicBezTo>
                  <a:pt x="7875" y="9375"/>
                  <a:pt x="7844" y="9407"/>
                  <a:pt x="7844" y="9469"/>
                </a:cubicBezTo>
                <a:cubicBezTo>
                  <a:pt x="7813" y="9500"/>
                  <a:pt x="7813" y="9563"/>
                  <a:pt x="7813" y="9594"/>
                </a:cubicBezTo>
                <a:cubicBezTo>
                  <a:pt x="7844" y="9657"/>
                  <a:pt x="7781" y="9719"/>
                  <a:pt x="7781" y="9782"/>
                </a:cubicBezTo>
                <a:cubicBezTo>
                  <a:pt x="7781" y="9844"/>
                  <a:pt x="7813" y="9844"/>
                  <a:pt x="7844" y="9813"/>
                </a:cubicBezTo>
                <a:cubicBezTo>
                  <a:pt x="7844" y="9813"/>
                  <a:pt x="7844" y="9813"/>
                  <a:pt x="7844" y="9782"/>
                </a:cubicBezTo>
                <a:cubicBezTo>
                  <a:pt x="7844" y="9813"/>
                  <a:pt x="7844" y="9813"/>
                  <a:pt x="7844" y="9813"/>
                </a:cubicBezTo>
                <a:cubicBezTo>
                  <a:pt x="7906" y="9813"/>
                  <a:pt x="7969" y="9813"/>
                  <a:pt x="8031" y="9813"/>
                </a:cubicBezTo>
                <a:cubicBezTo>
                  <a:pt x="8031" y="9844"/>
                  <a:pt x="8031" y="9844"/>
                  <a:pt x="8031" y="9844"/>
                </a:cubicBezTo>
                <a:cubicBezTo>
                  <a:pt x="8031" y="9844"/>
                  <a:pt x="8031" y="9844"/>
                  <a:pt x="8031" y="9844"/>
                </a:cubicBezTo>
                <a:cubicBezTo>
                  <a:pt x="8063" y="9875"/>
                  <a:pt x="8094" y="9907"/>
                  <a:pt x="8094" y="9938"/>
                </a:cubicBezTo>
                <a:cubicBezTo>
                  <a:pt x="8094" y="9907"/>
                  <a:pt x="8063" y="9875"/>
                  <a:pt x="8031" y="9844"/>
                </a:cubicBezTo>
                <a:cubicBezTo>
                  <a:pt x="8031" y="9844"/>
                  <a:pt x="8000" y="9844"/>
                  <a:pt x="8000" y="9844"/>
                </a:cubicBezTo>
                <a:cubicBezTo>
                  <a:pt x="7969" y="9938"/>
                  <a:pt x="7875" y="10000"/>
                  <a:pt x="7875" y="10094"/>
                </a:cubicBezTo>
                <a:cubicBezTo>
                  <a:pt x="7875" y="10125"/>
                  <a:pt x="7875" y="10157"/>
                  <a:pt x="7844" y="10157"/>
                </a:cubicBezTo>
                <a:cubicBezTo>
                  <a:pt x="7813" y="10157"/>
                  <a:pt x="7813" y="10188"/>
                  <a:pt x="7813" y="10188"/>
                </a:cubicBezTo>
                <a:cubicBezTo>
                  <a:pt x="7813" y="10219"/>
                  <a:pt x="7844" y="10219"/>
                  <a:pt x="7875" y="10219"/>
                </a:cubicBezTo>
                <a:cubicBezTo>
                  <a:pt x="7875" y="10219"/>
                  <a:pt x="7906" y="10219"/>
                  <a:pt x="7906" y="10250"/>
                </a:cubicBezTo>
                <a:cubicBezTo>
                  <a:pt x="7875" y="10282"/>
                  <a:pt x="7813" y="10282"/>
                  <a:pt x="7875" y="10375"/>
                </a:cubicBezTo>
                <a:cubicBezTo>
                  <a:pt x="7875" y="10375"/>
                  <a:pt x="7875" y="10407"/>
                  <a:pt x="7844" y="10407"/>
                </a:cubicBezTo>
                <a:cubicBezTo>
                  <a:pt x="7813" y="10438"/>
                  <a:pt x="7813" y="10500"/>
                  <a:pt x="7813" y="10532"/>
                </a:cubicBezTo>
                <a:cubicBezTo>
                  <a:pt x="7813" y="10625"/>
                  <a:pt x="7813" y="10719"/>
                  <a:pt x="7750" y="10782"/>
                </a:cubicBezTo>
                <a:cubicBezTo>
                  <a:pt x="7750" y="10719"/>
                  <a:pt x="7750" y="10657"/>
                  <a:pt x="7750" y="10594"/>
                </a:cubicBezTo>
                <a:cubicBezTo>
                  <a:pt x="7750" y="10594"/>
                  <a:pt x="7750" y="10563"/>
                  <a:pt x="7750" y="10563"/>
                </a:cubicBezTo>
                <a:cubicBezTo>
                  <a:pt x="7750" y="10563"/>
                  <a:pt x="7750" y="10532"/>
                  <a:pt x="7750" y="10532"/>
                </a:cubicBezTo>
                <a:cubicBezTo>
                  <a:pt x="7750" y="10500"/>
                  <a:pt x="7750" y="10500"/>
                  <a:pt x="7750" y="10469"/>
                </a:cubicBezTo>
                <a:cubicBezTo>
                  <a:pt x="7781" y="10250"/>
                  <a:pt x="7750" y="10063"/>
                  <a:pt x="7750" y="9844"/>
                </a:cubicBezTo>
                <a:cubicBezTo>
                  <a:pt x="7750" y="9719"/>
                  <a:pt x="7719" y="9594"/>
                  <a:pt x="7688" y="9438"/>
                </a:cubicBezTo>
                <a:cubicBezTo>
                  <a:pt x="7719" y="9438"/>
                  <a:pt x="7719" y="9407"/>
                  <a:pt x="7719" y="9375"/>
                </a:cubicBezTo>
                <a:cubicBezTo>
                  <a:pt x="7750" y="9375"/>
                  <a:pt x="7750" y="9375"/>
                  <a:pt x="7781" y="9344"/>
                </a:cubicBezTo>
                <a:cubicBezTo>
                  <a:pt x="7813" y="9344"/>
                  <a:pt x="7781" y="9344"/>
                  <a:pt x="7750" y="9344"/>
                </a:cubicBezTo>
                <a:cubicBezTo>
                  <a:pt x="7750" y="9344"/>
                  <a:pt x="7750" y="9344"/>
                  <a:pt x="7750" y="9344"/>
                </a:cubicBezTo>
                <a:cubicBezTo>
                  <a:pt x="7750" y="9344"/>
                  <a:pt x="7750" y="9344"/>
                  <a:pt x="7750" y="9344"/>
                </a:cubicBezTo>
                <a:cubicBezTo>
                  <a:pt x="7781" y="9344"/>
                  <a:pt x="7813" y="9344"/>
                  <a:pt x="7781" y="9344"/>
                </a:cubicBezTo>
                <a:cubicBezTo>
                  <a:pt x="7813" y="9344"/>
                  <a:pt x="7844" y="9344"/>
                  <a:pt x="7875" y="9344"/>
                </a:cubicBezTo>
                <a:close/>
                <a:moveTo>
                  <a:pt x="9000" y="11938"/>
                </a:moveTo>
                <a:cubicBezTo>
                  <a:pt x="9000" y="11938"/>
                  <a:pt x="9000" y="11907"/>
                  <a:pt x="9000" y="11907"/>
                </a:cubicBezTo>
                <a:cubicBezTo>
                  <a:pt x="9000" y="11907"/>
                  <a:pt x="9000" y="11938"/>
                  <a:pt x="9000" y="11938"/>
                </a:cubicBezTo>
                <a:cubicBezTo>
                  <a:pt x="9000" y="11938"/>
                  <a:pt x="9000" y="11938"/>
                  <a:pt x="9000" y="11938"/>
                </a:cubicBezTo>
                <a:close/>
                <a:moveTo>
                  <a:pt x="14875" y="11032"/>
                </a:moveTo>
                <a:cubicBezTo>
                  <a:pt x="14875" y="11125"/>
                  <a:pt x="14844" y="11157"/>
                  <a:pt x="14781" y="11157"/>
                </a:cubicBezTo>
                <a:cubicBezTo>
                  <a:pt x="14844" y="11157"/>
                  <a:pt x="14875" y="11125"/>
                  <a:pt x="14875" y="11032"/>
                </a:cubicBezTo>
                <a:cubicBezTo>
                  <a:pt x="14875" y="11000"/>
                  <a:pt x="14906" y="10938"/>
                  <a:pt x="14844" y="10938"/>
                </a:cubicBezTo>
                <a:cubicBezTo>
                  <a:pt x="14906" y="10938"/>
                  <a:pt x="14875" y="11000"/>
                  <a:pt x="14875" y="11032"/>
                </a:cubicBezTo>
                <a:close/>
                <a:moveTo>
                  <a:pt x="15625" y="8282"/>
                </a:moveTo>
                <a:cubicBezTo>
                  <a:pt x="15656" y="8282"/>
                  <a:pt x="15688" y="8282"/>
                  <a:pt x="15688" y="8313"/>
                </a:cubicBezTo>
                <a:cubicBezTo>
                  <a:pt x="15688" y="8282"/>
                  <a:pt x="15656" y="8282"/>
                  <a:pt x="15625" y="8282"/>
                </a:cubicBezTo>
                <a:cubicBezTo>
                  <a:pt x="15625" y="8282"/>
                  <a:pt x="15625" y="8282"/>
                  <a:pt x="15625" y="8282"/>
                </a:cubicBezTo>
                <a:close/>
                <a:moveTo>
                  <a:pt x="17969" y="8375"/>
                </a:moveTo>
                <a:cubicBezTo>
                  <a:pt x="17938" y="8344"/>
                  <a:pt x="17938" y="8344"/>
                  <a:pt x="17938" y="8313"/>
                </a:cubicBezTo>
                <a:cubicBezTo>
                  <a:pt x="17938" y="8344"/>
                  <a:pt x="17938" y="8344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lose/>
                <a:moveTo>
                  <a:pt x="17781" y="8125"/>
                </a:moveTo>
                <a:cubicBezTo>
                  <a:pt x="17781" y="8125"/>
                  <a:pt x="17781" y="8125"/>
                  <a:pt x="17781" y="8125"/>
                </a:cubicBezTo>
                <a:cubicBezTo>
                  <a:pt x="17813" y="8188"/>
                  <a:pt x="17844" y="8219"/>
                  <a:pt x="17906" y="8282"/>
                </a:cubicBezTo>
                <a:cubicBezTo>
                  <a:pt x="17906" y="8282"/>
                  <a:pt x="17906" y="8282"/>
                  <a:pt x="17906" y="8282"/>
                </a:cubicBezTo>
                <a:cubicBezTo>
                  <a:pt x="17844" y="8219"/>
                  <a:pt x="17813" y="8188"/>
                  <a:pt x="17781" y="8125"/>
                </a:cubicBezTo>
                <a:close/>
                <a:moveTo>
                  <a:pt x="16656" y="9438"/>
                </a:moveTo>
                <a:cubicBezTo>
                  <a:pt x="16656" y="9469"/>
                  <a:pt x="16656" y="9500"/>
                  <a:pt x="16656" y="9532"/>
                </a:cubicBezTo>
                <a:cubicBezTo>
                  <a:pt x="16656" y="9500"/>
                  <a:pt x="16656" y="9469"/>
                  <a:pt x="16656" y="9438"/>
                </a:cubicBezTo>
                <a:cubicBezTo>
                  <a:pt x="16656" y="9438"/>
                  <a:pt x="16656" y="9438"/>
                  <a:pt x="16656" y="9438"/>
                </a:cubicBezTo>
                <a:close/>
                <a:moveTo>
                  <a:pt x="16813" y="10750"/>
                </a:moveTo>
                <a:cubicBezTo>
                  <a:pt x="16813" y="10750"/>
                  <a:pt x="16813" y="10750"/>
                  <a:pt x="16781" y="10750"/>
                </a:cubicBezTo>
                <a:cubicBezTo>
                  <a:pt x="16781" y="10750"/>
                  <a:pt x="16781" y="10750"/>
                  <a:pt x="16750" y="10750"/>
                </a:cubicBezTo>
                <a:cubicBezTo>
                  <a:pt x="16750" y="10750"/>
                  <a:pt x="16750" y="10750"/>
                  <a:pt x="16719" y="10750"/>
                </a:cubicBezTo>
                <a:cubicBezTo>
                  <a:pt x="16750" y="10750"/>
                  <a:pt x="16750" y="10750"/>
                  <a:pt x="16750" y="10750"/>
                </a:cubicBezTo>
                <a:cubicBezTo>
                  <a:pt x="16781" y="10750"/>
                  <a:pt x="16781" y="10750"/>
                  <a:pt x="16781" y="10750"/>
                </a:cubicBezTo>
                <a:cubicBezTo>
                  <a:pt x="16813" y="10750"/>
                  <a:pt x="16813" y="10750"/>
                  <a:pt x="16813" y="10750"/>
                </a:cubicBezTo>
                <a:close/>
                <a:moveTo>
                  <a:pt x="17688" y="13688"/>
                </a:moveTo>
                <a:cubicBezTo>
                  <a:pt x="17656" y="13657"/>
                  <a:pt x="17625" y="13625"/>
                  <a:pt x="17656" y="13594"/>
                </a:cubicBezTo>
                <a:cubicBezTo>
                  <a:pt x="17656" y="13594"/>
                  <a:pt x="17656" y="13563"/>
                  <a:pt x="17656" y="13563"/>
                </a:cubicBezTo>
                <a:cubicBezTo>
                  <a:pt x="17656" y="13563"/>
                  <a:pt x="17656" y="13594"/>
                  <a:pt x="17656" y="13594"/>
                </a:cubicBezTo>
                <a:cubicBezTo>
                  <a:pt x="17625" y="13625"/>
                  <a:pt x="17656" y="13657"/>
                  <a:pt x="17688" y="13688"/>
                </a:cubicBezTo>
                <a:close/>
                <a:moveTo>
                  <a:pt x="14219" y="14344"/>
                </a:moveTo>
                <a:cubicBezTo>
                  <a:pt x="14219" y="14344"/>
                  <a:pt x="14219" y="14344"/>
                  <a:pt x="14219" y="14344"/>
                </a:cubicBezTo>
                <a:cubicBezTo>
                  <a:pt x="14219" y="14344"/>
                  <a:pt x="14250" y="14344"/>
                  <a:pt x="14250" y="14313"/>
                </a:cubicBezTo>
                <a:cubicBezTo>
                  <a:pt x="14219" y="14250"/>
                  <a:pt x="14281" y="14188"/>
                  <a:pt x="14313" y="14157"/>
                </a:cubicBezTo>
                <a:cubicBezTo>
                  <a:pt x="14375" y="14094"/>
                  <a:pt x="14406" y="14032"/>
                  <a:pt x="14406" y="13969"/>
                </a:cubicBezTo>
                <a:cubicBezTo>
                  <a:pt x="14406" y="13969"/>
                  <a:pt x="14438" y="13969"/>
                  <a:pt x="14438" y="13969"/>
                </a:cubicBezTo>
                <a:cubicBezTo>
                  <a:pt x="14438" y="13844"/>
                  <a:pt x="14531" y="13782"/>
                  <a:pt x="14594" y="13688"/>
                </a:cubicBezTo>
                <a:cubicBezTo>
                  <a:pt x="14656" y="13625"/>
                  <a:pt x="14688" y="13532"/>
                  <a:pt x="14719" y="13469"/>
                </a:cubicBezTo>
                <a:cubicBezTo>
                  <a:pt x="14750" y="13375"/>
                  <a:pt x="14781" y="13313"/>
                  <a:pt x="14844" y="13250"/>
                </a:cubicBezTo>
                <a:cubicBezTo>
                  <a:pt x="14969" y="13094"/>
                  <a:pt x="15094" y="12907"/>
                  <a:pt x="15313" y="12875"/>
                </a:cubicBezTo>
                <a:cubicBezTo>
                  <a:pt x="15313" y="12875"/>
                  <a:pt x="15344" y="12875"/>
                  <a:pt x="15344" y="12844"/>
                </a:cubicBezTo>
                <a:cubicBezTo>
                  <a:pt x="15375" y="12719"/>
                  <a:pt x="15469" y="12750"/>
                  <a:pt x="15563" y="12782"/>
                </a:cubicBezTo>
                <a:cubicBezTo>
                  <a:pt x="15563" y="12782"/>
                  <a:pt x="15563" y="12782"/>
                  <a:pt x="15594" y="12782"/>
                </a:cubicBezTo>
                <a:cubicBezTo>
                  <a:pt x="15625" y="12813"/>
                  <a:pt x="15688" y="12782"/>
                  <a:pt x="15688" y="12844"/>
                </a:cubicBezTo>
                <a:cubicBezTo>
                  <a:pt x="15719" y="12907"/>
                  <a:pt x="15656" y="12938"/>
                  <a:pt x="15625" y="12969"/>
                </a:cubicBezTo>
                <a:cubicBezTo>
                  <a:pt x="15594" y="12969"/>
                  <a:pt x="15594" y="12969"/>
                  <a:pt x="15563" y="13000"/>
                </a:cubicBezTo>
                <a:cubicBezTo>
                  <a:pt x="15531" y="13094"/>
                  <a:pt x="15563" y="13188"/>
                  <a:pt x="15469" y="13282"/>
                </a:cubicBezTo>
                <a:cubicBezTo>
                  <a:pt x="15469" y="13282"/>
                  <a:pt x="15469" y="13282"/>
                  <a:pt x="15469" y="13282"/>
                </a:cubicBezTo>
                <a:cubicBezTo>
                  <a:pt x="15531" y="13344"/>
                  <a:pt x="15469" y="13375"/>
                  <a:pt x="15469" y="13438"/>
                </a:cubicBezTo>
                <a:cubicBezTo>
                  <a:pt x="15469" y="13438"/>
                  <a:pt x="15469" y="13438"/>
                  <a:pt x="15469" y="13438"/>
                </a:cubicBezTo>
                <a:cubicBezTo>
                  <a:pt x="15469" y="13438"/>
                  <a:pt x="15469" y="13438"/>
                  <a:pt x="15469" y="13438"/>
                </a:cubicBezTo>
                <a:cubicBezTo>
                  <a:pt x="15469" y="13438"/>
                  <a:pt x="15469" y="13469"/>
                  <a:pt x="15469" y="13469"/>
                </a:cubicBezTo>
                <a:cubicBezTo>
                  <a:pt x="15469" y="13500"/>
                  <a:pt x="15469" y="13500"/>
                  <a:pt x="15469" y="13500"/>
                </a:cubicBezTo>
                <a:cubicBezTo>
                  <a:pt x="15469" y="13500"/>
                  <a:pt x="15469" y="13500"/>
                  <a:pt x="15469" y="13469"/>
                </a:cubicBezTo>
                <a:cubicBezTo>
                  <a:pt x="15438" y="13469"/>
                  <a:pt x="15438" y="13469"/>
                  <a:pt x="15406" y="13469"/>
                </a:cubicBezTo>
                <a:cubicBezTo>
                  <a:pt x="15406" y="13469"/>
                  <a:pt x="15406" y="13438"/>
                  <a:pt x="15406" y="13438"/>
                </a:cubicBezTo>
                <a:cubicBezTo>
                  <a:pt x="15406" y="13438"/>
                  <a:pt x="15406" y="13438"/>
                  <a:pt x="15406" y="13438"/>
                </a:cubicBezTo>
                <a:cubicBezTo>
                  <a:pt x="15406" y="13407"/>
                  <a:pt x="15406" y="13344"/>
                  <a:pt x="15375" y="13313"/>
                </a:cubicBezTo>
                <a:cubicBezTo>
                  <a:pt x="15375" y="13313"/>
                  <a:pt x="15375" y="13282"/>
                  <a:pt x="15344" y="13282"/>
                </a:cubicBezTo>
                <a:cubicBezTo>
                  <a:pt x="15313" y="13282"/>
                  <a:pt x="15313" y="13313"/>
                  <a:pt x="15313" y="13344"/>
                </a:cubicBezTo>
                <a:cubicBezTo>
                  <a:pt x="15313" y="13375"/>
                  <a:pt x="15313" y="13407"/>
                  <a:pt x="15250" y="13438"/>
                </a:cubicBezTo>
                <a:cubicBezTo>
                  <a:pt x="15250" y="13438"/>
                  <a:pt x="15219" y="13469"/>
                  <a:pt x="15219" y="13500"/>
                </a:cubicBezTo>
                <a:cubicBezTo>
                  <a:pt x="15219" y="13532"/>
                  <a:pt x="15188" y="13563"/>
                  <a:pt x="15156" y="13594"/>
                </a:cubicBezTo>
                <a:cubicBezTo>
                  <a:pt x="15125" y="13594"/>
                  <a:pt x="15094" y="13625"/>
                  <a:pt x="15125" y="13657"/>
                </a:cubicBezTo>
                <a:cubicBezTo>
                  <a:pt x="15094" y="13657"/>
                  <a:pt x="15063" y="13657"/>
                  <a:pt x="15063" y="13657"/>
                </a:cubicBezTo>
                <a:cubicBezTo>
                  <a:pt x="15031" y="13688"/>
                  <a:pt x="15031" y="13719"/>
                  <a:pt x="15031" y="13750"/>
                </a:cubicBezTo>
                <a:cubicBezTo>
                  <a:pt x="15031" y="13719"/>
                  <a:pt x="15031" y="13688"/>
                  <a:pt x="15063" y="13657"/>
                </a:cubicBezTo>
                <a:cubicBezTo>
                  <a:pt x="15031" y="13657"/>
                  <a:pt x="15000" y="13625"/>
                  <a:pt x="15000" y="13688"/>
                </a:cubicBezTo>
                <a:cubicBezTo>
                  <a:pt x="14969" y="13719"/>
                  <a:pt x="14938" y="13719"/>
                  <a:pt x="14969" y="13782"/>
                </a:cubicBezTo>
                <a:cubicBezTo>
                  <a:pt x="14969" y="13844"/>
                  <a:pt x="14875" y="13875"/>
                  <a:pt x="14875" y="13938"/>
                </a:cubicBezTo>
                <a:cubicBezTo>
                  <a:pt x="14875" y="13938"/>
                  <a:pt x="14844" y="13938"/>
                  <a:pt x="14844" y="13938"/>
                </a:cubicBezTo>
                <a:cubicBezTo>
                  <a:pt x="14750" y="13938"/>
                  <a:pt x="14719" y="14063"/>
                  <a:pt x="14625" y="14094"/>
                </a:cubicBezTo>
                <a:cubicBezTo>
                  <a:pt x="14625" y="14125"/>
                  <a:pt x="14594" y="14157"/>
                  <a:pt x="14594" y="14157"/>
                </a:cubicBezTo>
                <a:cubicBezTo>
                  <a:pt x="14406" y="14157"/>
                  <a:pt x="14313" y="14313"/>
                  <a:pt x="14219" y="14438"/>
                </a:cubicBezTo>
                <a:cubicBezTo>
                  <a:pt x="14188" y="14469"/>
                  <a:pt x="14188" y="14469"/>
                  <a:pt x="14188" y="14407"/>
                </a:cubicBezTo>
                <a:cubicBezTo>
                  <a:pt x="14188" y="14438"/>
                  <a:pt x="14156" y="14438"/>
                  <a:pt x="14156" y="14469"/>
                </a:cubicBezTo>
                <a:cubicBezTo>
                  <a:pt x="14156" y="14438"/>
                  <a:pt x="14188" y="14438"/>
                  <a:pt x="14188" y="14407"/>
                </a:cubicBezTo>
                <a:cubicBezTo>
                  <a:pt x="14188" y="14407"/>
                  <a:pt x="14188" y="14375"/>
                  <a:pt x="14219" y="14344"/>
                </a:cubicBezTo>
                <a:close/>
                <a:moveTo>
                  <a:pt x="14188" y="14313"/>
                </a:moveTo>
                <a:cubicBezTo>
                  <a:pt x="14188" y="14313"/>
                  <a:pt x="14188" y="14313"/>
                  <a:pt x="14188" y="14313"/>
                </a:cubicBezTo>
                <a:cubicBezTo>
                  <a:pt x="14188" y="14313"/>
                  <a:pt x="14188" y="14313"/>
                  <a:pt x="14188" y="14313"/>
                </a:cubicBezTo>
                <a:close/>
                <a:moveTo>
                  <a:pt x="11781" y="13657"/>
                </a:moveTo>
                <a:cubicBezTo>
                  <a:pt x="11781" y="13657"/>
                  <a:pt x="11781" y="13657"/>
                  <a:pt x="11781" y="13657"/>
                </a:cubicBezTo>
                <a:cubicBezTo>
                  <a:pt x="11781" y="13657"/>
                  <a:pt x="11781" y="13625"/>
                  <a:pt x="11750" y="13625"/>
                </a:cubicBezTo>
                <a:cubicBezTo>
                  <a:pt x="11781" y="13625"/>
                  <a:pt x="11781" y="13657"/>
                  <a:pt x="11781" y="13657"/>
                </a:cubicBezTo>
                <a:cubicBezTo>
                  <a:pt x="11781" y="13657"/>
                  <a:pt x="11781" y="13657"/>
                  <a:pt x="11781" y="13657"/>
                </a:cubicBezTo>
                <a:cubicBezTo>
                  <a:pt x="11813" y="13657"/>
                  <a:pt x="11813" y="13688"/>
                  <a:pt x="11813" y="13688"/>
                </a:cubicBezTo>
                <a:cubicBezTo>
                  <a:pt x="11813" y="13688"/>
                  <a:pt x="11813" y="13657"/>
                  <a:pt x="11781" y="13657"/>
                </a:cubicBezTo>
                <a:close/>
                <a:moveTo>
                  <a:pt x="11625" y="13907"/>
                </a:moveTo>
                <a:cubicBezTo>
                  <a:pt x="11625" y="13907"/>
                  <a:pt x="11625" y="13907"/>
                  <a:pt x="11625" y="13907"/>
                </a:cubicBezTo>
                <a:cubicBezTo>
                  <a:pt x="11656" y="13907"/>
                  <a:pt x="11656" y="13907"/>
                  <a:pt x="11656" y="13907"/>
                </a:cubicBezTo>
                <a:cubicBezTo>
                  <a:pt x="11656" y="13907"/>
                  <a:pt x="11656" y="13907"/>
                  <a:pt x="11625" y="13907"/>
                </a:cubicBezTo>
                <a:close/>
                <a:moveTo>
                  <a:pt x="11688" y="13469"/>
                </a:moveTo>
                <a:cubicBezTo>
                  <a:pt x="11656" y="13469"/>
                  <a:pt x="11656" y="13469"/>
                  <a:pt x="11656" y="13469"/>
                </a:cubicBezTo>
                <a:cubicBezTo>
                  <a:pt x="11656" y="13469"/>
                  <a:pt x="11656" y="13469"/>
                  <a:pt x="11688" y="13469"/>
                </a:cubicBezTo>
                <a:close/>
                <a:moveTo>
                  <a:pt x="11625" y="13438"/>
                </a:moveTo>
                <a:cubicBezTo>
                  <a:pt x="11625" y="13438"/>
                  <a:pt x="11625" y="13438"/>
                  <a:pt x="11656" y="13438"/>
                </a:cubicBezTo>
                <a:cubicBezTo>
                  <a:pt x="11625" y="13438"/>
                  <a:pt x="11625" y="13438"/>
                  <a:pt x="11625" y="13438"/>
                </a:cubicBezTo>
                <a:close/>
                <a:moveTo>
                  <a:pt x="11625" y="14313"/>
                </a:moveTo>
                <a:cubicBezTo>
                  <a:pt x="11625" y="14313"/>
                  <a:pt x="11625" y="14313"/>
                  <a:pt x="11625" y="14313"/>
                </a:cubicBezTo>
                <a:cubicBezTo>
                  <a:pt x="11625" y="14313"/>
                  <a:pt x="11625" y="14313"/>
                  <a:pt x="11625" y="14313"/>
                </a:cubicBezTo>
                <a:cubicBezTo>
                  <a:pt x="11625" y="14344"/>
                  <a:pt x="11625" y="14344"/>
                  <a:pt x="11625" y="14375"/>
                </a:cubicBezTo>
                <a:cubicBezTo>
                  <a:pt x="11625" y="14344"/>
                  <a:pt x="11625" y="14344"/>
                  <a:pt x="11625" y="14313"/>
                </a:cubicBezTo>
                <a:close/>
                <a:moveTo>
                  <a:pt x="11438" y="12407"/>
                </a:moveTo>
                <a:cubicBezTo>
                  <a:pt x="11406" y="12407"/>
                  <a:pt x="11406" y="12407"/>
                  <a:pt x="11406" y="12407"/>
                </a:cubicBezTo>
                <a:cubicBezTo>
                  <a:pt x="11406" y="12407"/>
                  <a:pt x="11406" y="12407"/>
                  <a:pt x="11438" y="12407"/>
                </a:cubicBezTo>
                <a:close/>
                <a:moveTo>
                  <a:pt x="10406" y="14282"/>
                </a:moveTo>
                <a:cubicBezTo>
                  <a:pt x="10406" y="14250"/>
                  <a:pt x="10406" y="14250"/>
                  <a:pt x="10406" y="14219"/>
                </a:cubicBezTo>
                <a:cubicBezTo>
                  <a:pt x="10406" y="14250"/>
                  <a:pt x="10406" y="14250"/>
                  <a:pt x="10406" y="14282"/>
                </a:cubicBezTo>
                <a:close/>
                <a:moveTo>
                  <a:pt x="4813" y="13532"/>
                </a:moveTo>
                <a:cubicBezTo>
                  <a:pt x="4813" y="13532"/>
                  <a:pt x="4813" y="13532"/>
                  <a:pt x="4813" y="13532"/>
                </a:cubicBezTo>
                <a:cubicBezTo>
                  <a:pt x="4750" y="13532"/>
                  <a:pt x="4719" y="13500"/>
                  <a:pt x="4719" y="13438"/>
                </a:cubicBezTo>
                <a:cubicBezTo>
                  <a:pt x="4719" y="13500"/>
                  <a:pt x="4750" y="13532"/>
                  <a:pt x="4813" y="13532"/>
                </a:cubicBezTo>
                <a:close/>
                <a:moveTo>
                  <a:pt x="4969" y="10750"/>
                </a:moveTo>
                <a:cubicBezTo>
                  <a:pt x="5000" y="10813"/>
                  <a:pt x="4969" y="10844"/>
                  <a:pt x="4906" y="10844"/>
                </a:cubicBezTo>
                <a:cubicBezTo>
                  <a:pt x="4906" y="10875"/>
                  <a:pt x="4875" y="10875"/>
                  <a:pt x="4875" y="10907"/>
                </a:cubicBezTo>
                <a:cubicBezTo>
                  <a:pt x="4875" y="11000"/>
                  <a:pt x="4844" y="11000"/>
                  <a:pt x="4781" y="11000"/>
                </a:cubicBezTo>
                <a:cubicBezTo>
                  <a:pt x="4750" y="11000"/>
                  <a:pt x="4719" y="11032"/>
                  <a:pt x="4688" y="11063"/>
                </a:cubicBezTo>
                <a:cubicBezTo>
                  <a:pt x="4719" y="11032"/>
                  <a:pt x="4750" y="11000"/>
                  <a:pt x="4781" y="11000"/>
                </a:cubicBezTo>
                <a:cubicBezTo>
                  <a:pt x="4813" y="10907"/>
                  <a:pt x="4875" y="10813"/>
                  <a:pt x="4906" y="10719"/>
                </a:cubicBezTo>
                <a:cubicBezTo>
                  <a:pt x="4906" y="10719"/>
                  <a:pt x="4906" y="10719"/>
                  <a:pt x="4906" y="10719"/>
                </a:cubicBezTo>
                <a:cubicBezTo>
                  <a:pt x="4938" y="10719"/>
                  <a:pt x="4969" y="10657"/>
                  <a:pt x="5000" y="10625"/>
                </a:cubicBezTo>
                <a:cubicBezTo>
                  <a:pt x="4969" y="10594"/>
                  <a:pt x="4938" y="10594"/>
                  <a:pt x="4938" y="10563"/>
                </a:cubicBezTo>
                <a:cubicBezTo>
                  <a:pt x="4938" y="10594"/>
                  <a:pt x="4969" y="10594"/>
                  <a:pt x="5000" y="10625"/>
                </a:cubicBezTo>
                <a:cubicBezTo>
                  <a:pt x="5219" y="10657"/>
                  <a:pt x="5469" y="10719"/>
                  <a:pt x="5688" y="10782"/>
                </a:cubicBezTo>
                <a:cubicBezTo>
                  <a:pt x="5781" y="10782"/>
                  <a:pt x="5844" y="10782"/>
                  <a:pt x="5938" y="10782"/>
                </a:cubicBezTo>
                <a:cubicBezTo>
                  <a:pt x="5938" y="10782"/>
                  <a:pt x="5938" y="10782"/>
                  <a:pt x="5938" y="10782"/>
                </a:cubicBezTo>
                <a:cubicBezTo>
                  <a:pt x="5969" y="10844"/>
                  <a:pt x="6031" y="10813"/>
                  <a:pt x="6094" y="10813"/>
                </a:cubicBezTo>
                <a:cubicBezTo>
                  <a:pt x="6125" y="10844"/>
                  <a:pt x="6188" y="10782"/>
                  <a:pt x="6219" y="10875"/>
                </a:cubicBezTo>
                <a:cubicBezTo>
                  <a:pt x="6188" y="10875"/>
                  <a:pt x="6188" y="10875"/>
                  <a:pt x="6188" y="10875"/>
                </a:cubicBezTo>
                <a:cubicBezTo>
                  <a:pt x="6094" y="10875"/>
                  <a:pt x="5969" y="10844"/>
                  <a:pt x="5906" y="10875"/>
                </a:cubicBezTo>
                <a:cubicBezTo>
                  <a:pt x="5813" y="10907"/>
                  <a:pt x="5750" y="10844"/>
                  <a:pt x="5688" y="10813"/>
                </a:cubicBezTo>
                <a:cubicBezTo>
                  <a:pt x="5625" y="10813"/>
                  <a:pt x="5594" y="10813"/>
                  <a:pt x="5531" y="10813"/>
                </a:cubicBezTo>
                <a:cubicBezTo>
                  <a:pt x="5500" y="10813"/>
                  <a:pt x="5500" y="10813"/>
                  <a:pt x="5469" y="10813"/>
                </a:cubicBezTo>
                <a:cubicBezTo>
                  <a:pt x="5469" y="10875"/>
                  <a:pt x="5438" y="10907"/>
                  <a:pt x="5406" y="10938"/>
                </a:cubicBezTo>
                <a:cubicBezTo>
                  <a:pt x="5344" y="10938"/>
                  <a:pt x="5344" y="11000"/>
                  <a:pt x="5313" y="11032"/>
                </a:cubicBezTo>
                <a:cubicBezTo>
                  <a:pt x="5281" y="10969"/>
                  <a:pt x="5344" y="10907"/>
                  <a:pt x="5375" y="10844"/>
                </a:cubicBezTo>
                <a:cubicBezTo>
                  <a:pt x="5375" y="10813"/>
                  <a:pt x="5406" y="10750"/>
                  <a:pt x="5313" y="10750"/>
                </a:cubicBezTo>
                <a:cubicBezTo>
                  <a:pt x="5250" y="10782"/>
                  <a:pt x="5219" y="10719"/>
                  <a:pt x="5156" y="10688"/>
                </a:cubicBezTo>
                <a:cubicBezTo>
                  <a:pt x="5125" y="10688"/>
                  <a:pt x="5063" y="10688"/>
                  <a:pt x="5031" y="10688"/>
                </a:cubicBezTo>
                <a:cubicBezTo>
                  <a:pt x="5000" y="10688"/>
                  <a:pt x="4969" y="10719"/>
                  <a:pt x="4969" y="10750"/>
                </a:cubicBezTo>
                <a:close/>
                <a:moveTo>
                  <a:pt x="3813" y="10313"/>
                </a:moveTo>
                <a:cubicBezTo>
                  <a:pt x="3750" y="10344"/>
                  <a:pt x="3719" y="10313"/>
                  <a:pt x="3688" y="10313"/>
                </a:cubicBezTo>
                <a:cubicBezTo>
                  <a:pt x="3719" y="10313"/>
                  <a:pt x="3750" y="10344"/>
                  <a:pt x="3813" y="10313"/>
                </a:cubicBezTo>
                <a:cubicBezTo>
                  <a:pt x="3813" y="10313"/>
                  <a:pt x="3813" y="10313"/>
                  <a:pt x="3813" y="10313"/>
                </a:cubicBezTo>
                <a:close/>
                <a:moveTo>
                  <a:pt x="3094" y="9438"/>
                </a:moveTo>
                <a:cubicBezTo>
                  <a:pt x="3094" y="9438"/>
                  <a:pt x="3094" y="9469"/>
                  <a:pt x="3063" y="9469"/>
                </a:cubicBezTo>
                <a:cubicBezTo>
                  <a:pt x="3094" y="9469"/>
                  <a:pt x="3094" y="9438"/>
                  <a:pt x="3094" y="9438"/>
                </a:cubicBezTo>
                <a:close/>
                <a:moveTo>
                  <a:pt x="2969" y="8719"/>
                </a:moveTo>
                <a:cubicBezTo>
                  <a:pt x="3000" y="8719"/>
                  <a:pt x="3031" y="8719"/>
                  <a:pt x="3063" y="8719"/>
                </a:cubicBezTo>
                <a:cubicBezTo>
                  <a:pt x="3031" y="8719"/>
                  <a:pt x="3000" y="8719"/>
                  <a:pt x="2969" y="8719"/>
                </a:cubicBezTo>
                <a:cubicBezTo>
                  <a:pt x="2969" y="8750"/>
                  <a:pt x="2938" y="8813"/>
                  <a:pt x="2906" y="8844"/>
                </a:cubicBezTo>
                <a:cubicBezTo>
                  <a:pt x="2938" y="8813"/>
                  <a:pt x="2969" y="8750"/>
                  <a:pt x="2969" y="8719"/>
                </a:cubicBezTo>
                <a:close/>
                <a:moveTo>
                  <a:pt x="3031" y="9469"/>
                </a:moveTo>
                <a:cubicBezTo>
                  <a:pt x="3031" y="9469"/>
                  <a:pt x="3063" y="9500"/>
                  <a:pt x="3063" y="9500"/>
                </a:cubicBezTo>
                <a:cubicBezTo>
                  <a:pt x="3063" y="9500"/>
                  <a:pt x="3031" y="9469"/>
                  <a:pt x="3031" y="9469"/>
                </a:cubicBezTo>
                <a:close/>
                <a:moveTo>
                  <a:pt x="6094" y="7219"/>
                </a:moveTo>
                <a:cubicBezTo>
                  <a:pt x="6094" y="7219"/>
                  <a:pt x="6094" y="7219"/>
                  <a:pt x="6094" y="7219"/>
                </a:cubicBezTo>
                <a:cubicBezTo>
                  <a:pt x="6094" y="7250"/>
                  <a:pt x="6094" y="7250"/>
                  <a:pt x="6094" y="7250"/>
                </a:cubicBezTo>
                <a:cubicBezTo>
                  <a:pt x="6094" y="7250"/>
                  <a:pt x="6094" y="7250"/>
                  <a:pt x="6094" y="7219"/>
                </a:cubicBezTo>
                <a:cubicBezTo>
                  <a:pt x="6094" y="7219"/>
                  <a:pt x="6094" y="7219"/>
                  <a:pt x="6094" y="7219"/>
                </a:cubicBezTo>
                <a:close/>
                <a:moveTo>
                  <a:pt x="7750" y="10813"/>
                </a:moveTo>
                <a:cubicBezTo>
                  <a:pt x="7750" y="10813"/>
                  <a:pt x="7750" y="10813"/>
                  <a:pt x="7781" y="10813"/>
                </a:cubicBezTo>
                <a:cubicBezTo>
                  <a:pt x="7813" y="10813"/>
                  <a:pt x="7844" y="10813"/>
                  <a:pt x="7844" y="10844"/>
                </a:cubicBezTo>
                <a:cubicBezTo>
                  <a:pt x="7875" y="10875"/>
                  <a:pt x="7844" y="10907"/>
                  <a:pt x="7813" y="10907"/>
                </a:cubicBezTo>
                <a:cubicBezTo>
                  <a:pt x="7781" y="10907"/>
                  <a:pt x="7781" y="10938"/>
                  <a:pt x="7781" y="10969"/>
                </a:cubicBezTo>
                <a:cubicBezTo>
                  <a:pt x="7781" y="11063"/>
                  <a:pt x="7750" y="11188"/>
                  <a:pt x="7750" y="11313"/>
                </a:cubicBezTo>
                <a:cubicBezTo>
                  <a:pt x="7719" y="11344"/>
                  <a:pt x="7688" y="11407"/>
                  <a:pt x="7688" y="11469"/>
                </a:cubicBezTo>
                <a:cubicBezTo>
                  <a:pt x="7688" y="11500"/>
                  <a:pt x="7688" y="11500"/>
                  <a:pt x="7688" y="11532"/>
                </a:cubicBezTo>
                <a:cubicBezTo>
                  <a:pt x="7688" y="11500"/>
                  <a:pt x="7688" y="11500"/>
                  <a:pt x="7688" y="11469"/>
                </a:cubicBezTo>
                <a:cubicBezTo>
                  <a:pt x="7688" y="11438"/>
                  <a:pt x="7656" y="11407"/>
                  <a:pt x="7656" y="11344"/>
                </a:cubicBezTo>
                <a:cubicBezTo>
                  <a:pt x="7656" y="11344"/>
                  <a:pt x="7656" y="11313"/>
                  <a:pt x="7656" y="11282"/>
                </a:cubicBezTo>
                <a:cubicBezTo>
                  <a:pt x="7656" y="11282"/>
                  <a:pt x="7656" y="11282"/>
                  <a:pt x="7656" y="11282"/>
                </a:cubicBezTo>
                <a:cubicBezTo>
                  <a:pt x="7688" y="11250"/>
                  <a:pt x="7719" y="11188"/>
                  <a:pt x="7688" y="11125"/>
                </a:cubicBezTo>
                <a:cubicBezTo>
                  <a:pt x="7688" y="11032"/>
                  <a:pt x="7719" y="10907"/>
                  <a:pt x="7750" y="10813"/>
                </a:cubicBezTo>
                <a:close/>
                <a:moveTo>
                  <a:pt x="9125" y="6875"/>
                </a:moveTo>
                <a:cubicBezTo>
                  <a:pt x="9094" y="6875"/>
                  <a:pt x="9063" y="6875"/>
                  <a:pt x="9063" y="6875"/>
                </a:cubicBezTo>
                <a:cubicBezTo>
                  <a:pt x="9063" y="6875"/>
                  <a:pt x="9094" y="6875"/>
                  <a:pt x="9125" y="6875"/>
                </a:cubicBezTo>
                <a:close/>
                <a:moveTo>
                  <a:pt x="12469" y="3188"/>
                </a:moveTo>
                <a:cubicBezTo>
                  <a:pt x="12469" y="3157"/>
                  <a:pt x="12469" y="3157"/>
                  <a:pt x="12500" y="3125"/>
                </a:cubicBezTo>
                <a:cubicBezTo>
                  <a:pt x="12469" y="3157"/>
                  <a:pt x="12469" y="3157"/>
                  <a:pt x="12469" y="3188"/>
                </a:cubicBezTo>
                <a:close/>
                <a:moveTo>
                  <a:pt x="11438" y="4500"/>
                </a:moveTo>
                <a:cubicBezTo>
                  <a:pt x="11438" y="4532"/>
                  <a:pt x="11469" y="4500"/>
                  <a:pt x="11500" y="4532"/>
                </a:cubicBezTo>
                <a:cubicBezTo>
                  <a:pt x="11500" y="4719"/>
                  <a:pt x="11500" y="4938"/>
                  <a:pt x="11500" y="5157"/>
                </a:cubicBezTo>
                <a:cubicBezTo>
                  <a:pt x="11500" y="4938"/>
                  <a:pt x="11500" y="4719"/>
                  <a:pt x="11500" y="4532"/>
                </a:cubicBezTo>
                <a:cubicBezTo>
                  <a:pt x="11469" y="4500"/>
                  <a:pt x="11438" y="4532"/>
                  <a:pt x="11438" y="4500"/>
                </a:cubicBezTo>
                <a:close/>
                <a:moveTo>
                  <a:pt x="11969" y="7594"/>
                </a:moveTo>
                <a:cubicBezTo>
                  <a:pt x="11969" y="7563"/>
                  <a:pt x="11969" y="7563"/>
                  <a:pt x="11969" y="7563"/>
                </a:cubicBezTo>
                <a:cubicBezTo>
                  <a:pt x="11969" y="7563"/>
                  <a:pt x="11969" y="7563"/>
                  <a:pt x="11969" y="7594"/>
                </a:cubicBezTo>
                <a:close/>
                <a:moveTo>
                  <a:pt x="14188" y="11844"/>
                </a:moveTo>
                <a:cubicBezTo>
                  <a:pt x="14188" y="11844"/>
                  <a:pt x="14188" y="11875"/>
                  <a:pt x="14156" y="11875"/>
                </a:cubicBezTo>
                <a:cubicBezTo>
                  <a:pt x="14188" y="11875"/>
                  <a:pt x="14188" y="11844"/>
                  <a:pt x="14188" y="11844"/>
                </a:cubicBezTo>
                <a:close/>
                <a:moveTo>
                  <a:pt x="14156" y="11875"/>
                </a:moveTo>
                <a:cubicBezTo>
                  <a:pt x="14156" y="11907"/>
                  <a:pt x="14156" y="11907"/>
                  <a:pt x="14156" y="11938"/>
                </a:cubicBezTo>
                <a:cubicBezTo>
                  <a:pt x="14156" y="11907"/>
                  <a:pt x="14156" y="11907"/>
                  <a:pt x="14156" y="11875"/>
                </a:cubicBezTo>
                <a:close/>
                <a:moveTo>
                  <a:pt x="15844" y="9813"/>
                </a:moveTo>
                <a:cubicBezTo>
                  <a:pt x="15844" y="9813"/>
                  <a:pt x="15875" y="9813"/>
                  <a:pt x="15906" y="9782"/>
                </a:cubicBezTo>
                <a:cubicBezTo>
                  <a:pt x="15875" y="9813"/>
                  <a:pt x="15844" y="9813"/>
                  <a:pt x="15844" y="9813"/>
                </a:cubicBezTo>
                <a:cubicBezTo>
                  <a:pt x="15813" y="9844"/>
                  <a:pt x="15813" y="9844"/>
                  <a:pt x="15813" y="9844"/>
                </a:cubicBezTo>
                <a:cubicBezTo>
                  <a:pt x="15813" y="9844"/>
                  <a:pt x="15813" y="9844"/>
                  <a:pt x="15844" y="9813"/>
                </a:cubicBezTo>
                <a:close/>
                <a:moveTo>
                  <a:pt x="15219" y="11063"/>
                </a:moveTo>
                <a:cubicBezTo>
                  <a:pt x="15219" y="11063"/>
                  <a:pt x="15219" y="11063"/>
                  <a:pt x="15219" y="11063"/>
                </a:cubicBezTo>
                <a:cubicBezTo>
                  <a:pt x="15219" y="11032"/>
                  <a:pt x="15219" y="11000"/>
                  <a:pt x="15250" y="11000"/>
                </a:cubicBezTo>
                <a:cubicBezTo>
                  <a:pt x="15219" y="11000"/>
                  <a:pt x="15219" y="11032"/>
                  <a:pt x="15219" y="11063"/>
                </a:cubicBezTo>
                <a:close/>
                <a:moveTo>
                  <a:pt x="18281" y="11563"/>
                </a:moveTo>
                <a:cubicBezTo>
                  <a:pt x="18281" y="11563"/>
                  <a:pt x="18281" y="11563"/>
                  <a:pt x="18281" y="11563"/>
                </a:cubicBezTo>
                <a:cubicBezTo>
                  <a:pt x="18281" y="11563"/>
                  <a:pt x="18281" y="11563"/>
                  <a:pt x="18281" y="11563"/>
                </a:cubicBezTo>
                <a:cubicBezTo>
                  <a:pt x="18281" y="11563"/>
                  <a:pt x="18281" y="11563"/>
                  <a:pt x="18281" y="11563"/>
                </a:cubicBezTo>
                <a:close/>
                <a:moveTo>
                  <a:pt x="15781" y="13125"/>
                </a:moveTo>
                <a:cubicBezTo>
                  <a:pt x="15656" y="13063"/>
                  <a:pt x="15813" y="12969"/>
                  <a:pt x="15750" y="12875"/>
                </a:cubicBezTo>
                <a:cubicBezTo>
                  <a:pt x="15719" y="12844"/>
                  <a:pt x="15750" y="12813"/>
                  <a:pt x="15781" y="12813"/>
                </a:cubicBezTo>
                <a:cubicBezTo>
                  <a:pt x="15906" y="12813"/>
                  <a:pt x="15906" y="12719"/>
                  <a:pt x="15938" y="12625"/>
                </a:cubicBezTo>
                <a:cubicBezTo>
                  <a:pt x="15938" y="12625"/>
                  <a:pt x="15938" y="12625"/>
                  <a:pt x="15938" y="12625"/>
                </a:cubicBezTo>
                <a:cubicBezTo>
                  <a:pt x="15938" y="12625"/>
                  <a:pt x="15938" y="12625"/>
                  <a:pt x="15969" y="12625"/>
                </a:cubicBezTo>
                <a:cubicBezTo>
                  <a:pt x="15969" y="12625"/>
                  <a:pt x="15969" y="12625"/>
                  <a:pt x="15969" y="12625"/>
                </a:cubicBezTo>
                <a:cubicBezTo>
                  <a:pt x="15969" y="12625"/>
                  <a:pt x="15969" y="12625"/>
                  <a:pt x="15969" y="12625"/>
                </a:cubicBezTo>
                <a:cubicBezTo>
                  <a:pt x="16000" y="12657"/>
                  <a:pt x="16219" y="12594"/>
                  <a:pt x="16250" y="12594"/>
                </a:cubicBezTo>
                <a:cubicBezTo>
                  <a:pt x="16250" y="12563"/>
                  <a:pt x="16250" y="12563"/>
                  <a:pt x="16250" y="12532"/>
                </a:cubicBezTo>
                <a:cubicBezTo>
                  <a:pt x="16250" y="12532"/>
                  <a:pt x="16250" y="12500"/>
                  <a:pt x="16250" y="12500"/>
                </a:cubicBezTo>
                <a:cubicBezTo>
                  <a:pt x="16250" y="12500"/>
                  <a:pt x="16250" y="12500"/>
                  <a:pt x="16250" y="12500"/>
                </a:cubicBezTo>
                <a:cubicBezTo>
                  <a:pt x="16281" y="12469"/>
                  <a:pt x="16313" y="12438"/>
                  <a:pt x="16375" y="12438"/>
                </a:cubicBezTo>
                <a:cubicBezTo>
                  <a:pt x="16438" y="12407"/>
                  <a:pt x="16469" y="12344"/>
                  <a:pt x="16469" y="12282"/>
                </a:cubicBezTo>
                <a:cubicBezTo>
                  <a:pt x="16469" y="12282"/>
                  <a:pt x="16469" y="12282"/>
                  <a:pt x="16469" y="12282"/>
                </a:cubicBezTo>
                <a:cubicBezTo>
                  <a:pt x="16469" y="12282"/>
                  <a:pt x="16469" y="12282"/>
                  <a:pt x="16469" y="12282"/>
                </a:cubicBezTo>
                <a:cubicBezTo>
                  <a:pt x="16563" y="12313"/>
                  <a:pt x="16594" y="12282"/>
                  <a:pt x="16563" y="12188"/>
                </a:cubicBezTo>
                <a:cubicBezTo>
                  <a:pt x="16531" y="12157"/>
                  <a:pt x="16594" y="12125"/>
                  <a:pt x="16625" y="12094"/>
                </a:cubicBezTo>
                <a:cubicBezTo>
                  <a:pt x="16625" y="12157"/>
                  <a:pt x="16625" y="12157"/>
                  <a:pt x="16625" y="12188"/>
                </a:cubicBezTo>
                <a:cubicBezTo>
                  <a:pt x="16625" y="12344"/>
                  <a:pt x="16688" y="12375"/>
                  <a:pt x="16781" y="12375"/>
                </a:cubicBezTo>
                <a:cubicBezTo>
                  <a:pt x="16844" y="12375"/>
                  <a:pt x="16875" y="12344"/>
                  <a:pt x="16938" y="12407"/>
                </a:cubicBezTo>
                <a:cubicBezTo>
                  <a:pt x="16938" y="12407"/>
                  <a:pt x="16969" y="12375"/>
                  <a:pt x="16969" y="12375"/>
                </a:cubicBezTo>
                <a:cubicBezTo>
                  <a:pt x="16969" y="12375"/>
                  <a:pt x="16969" y="12407"/>
                  <a:pt x="16969" y="12407"/>
                </a:cubicBezTo>
                <a:cubicBezTo>
                  <a:pt x="16969" y="12438"/>
                  <a:pt x="16969" y="12438"/>
                  <a:pt x="16969" y="12469"/>
                </a:cubicBezTo>
                <a:cubicBezTo>
                  <a:pt x="16969" y="12469"/>
                  <a:pt x="16969" y="12469"/>
                  <a:pt x="16969" y="12469"/>
                </a:cubicBezTo>
                <a:cubicBezTo>
                  <a:pt x="16969" y="12469"/>
                  <a:pt x="16969" y="12469"/>
                  <a:pt x="16969" y="12469"/>
                </a:cubicBezTo>
                <a:cubicBezTo>
                  <a:pt x="16906" y="12500"/>
                  <a:pt x="16844" y="12438"/>
                  <a:pt x="16844" y="12532"/>
                </a:cubicBezTo>
                <a:cubicBezTo>
                  <a:pt x="16844" y="12563"/>
                  <a:pt x="16844" y="12563"/>
                  <a:pt x="16844" y="12563"/>
                </a:cubicBezTo>
                <a:cubicBezTo>
                  <a:pt x="16813" y="12563"/>
                  <a:pt x="16781" y="12594"/>
                  <a:pt x="16781" y="12625"/>
                </a:cubicBezTo>
                <a:cubicBezTo>
                  <a:pt x="16781" y="12625"/>
                  <a:pt x="16781" y="12625"/>
                  <a:pt x="16781" y="12625"/>
                </a:cubicBezTo>
                <a:cubicBezTo>
                  <a:pt x="16719" y="12594"/>
                  <a:pt x="16750" y="12657"/>
                  <a:pt x="16750" y="12688"/>
                </a:cubicBezTo>
                <a:cubicBezTo>
                  <a:pt x="16719" y="12688"/>
                  <a:pt x="16719" y="12688"/>
                  <a:pt x="16719" y="12719"/>
                </a:cubicBezTo>
                <a:cubicBezTo>
                  <a:pt x="16719" y="12719"/>
                  <a:pt x="16719" y="12719"/>
                  <a:pt x="16719" y="12719"/>
                </a:cubicBezTo>
                <a:cubicBezTo>
                  <a:pt x="16563" y="12750"/>
                  <a:pt x="16406" y="12844"/>
                  <a:pt x="16313" y="13000"/>
                </a:cubicBezTo>
                <a:cubicBezTo>
                  <a:pt x="16281" y="13032"/>
                  <a:pt x="16188" y="13125"/>
                  <a:pt x="16125" y="13094"/>
                </a:cubicBezTo>
                <a:cubicBezTo>
                  <a:pt x="16125" y="13094"/>
                  <a:pt x="16094" y="13094"/>
                  <a:pt x="16094" y="13094"/>
                </a:cubicBezTo>
                <a:cubicBezTo>
                  <a:pt x="16094" y="13188"/>
                  <a:pt x="16000" y="13188"/>
                  <a:pt x="15969" y="13219"/>
                </a:cubicBezTo>
                <a:cubicBezTo>
                  <a:pt x="15938" y="13282"/>
                  <a:pt x="15906" y="13344"/>
                  <a:pt x="15844" y="13407"/>
                </a:cubicBezTo>
                <a:cubicBezTo>
                  <a:pt x="15844" y="13407"/>
                  <a:pt x="15844" y="13407"/>
                  <a:pt x="15844" y="13438"/>
                </a:cubicBezTo>
                <a:cubicBezTo>
                  <a:pt x="15813" y="13438"/>
                  <a:pt x="15781" y="13438"/>
                  <a:pt x="15750" y="13438"/>
                </a:cubicBezTo>
                <a:cubicBezTo>
                  <a:pt x="15719" y="13407"/>
                  <a:pt x="15688" y="13438"/>
                  <a:pt x="15688" y="13375"/>
                </a:cubicBezTo>
                <a:cubicBezTo>
                  <a:pt x="15719" y="13313"/>
                  <a:pt x="15750" y="13250"/>
                  <a:pt x="15750" y="13188"/>
                </a:cubicBezTo>
                <a:cubicBezTo>
                  <a:pt x="15781" y="13157"/>
                  <a:pt x="15781" y="13157"/>
                  <a:pt x="15781" y="13125"/>
                </a:cubicBezTo>
                <a:close/>
                <a:moveTo>
                  <a:pt x="14063" y="13469"/>
                </a:moveTo>
                <a:cubicBezTo>
                  <a:pt x="14063" y="13469"/>
                  <a:pt x="14063" y="13469"/>
                  <a:pt x="14063" y="13469"/>
                </a:cubicBezTo>
                <a:cubicBezTo>
                  <a:pt x="14063" y="13469"/>
                  <a:pt x="14063" y="13469"/>
                  <a:pt x="14063" y="13469"/>
                </a:cubicBezTo>
                <a:close/>
                <a:moveTo>
                  <a:pt x="11531" y="9969"/>
                </a:moveTo>
                <a:cubicBezTo>
                  <a:pt x="11531" y="10032"/>
                  <a:pt x="11531" y="10063"/>
                  <a:pt x="11469" y="10032"/>
                </a:cubicBezTo>
                <a:cubicBezTo>
                  <a:pt x="11469" y="10032"/>
                  <a:pt x="11469" y="10032"/>
                  <a:pt x="11469" y="10032"/>
                </a:cubicBezTo>
                <a:cubicBezTo>
                  <a:pt x="11469" y="9938"/>
                  <a:pt x="11438" y="9813"/>
                  <a:pt x="11531" y="9719"/>
                </a:cubicBezTo>
                <a:cubicBezTo>
                  <a:pt x="11531" y="9688"/>
                  <a:pt x="11531" y="9688"/>
                  <a:pt x="11531" y="9688"/>
                </a:cubicBezTo>
                <a:cubicBezTo>
                  <a:pt x="11531" y="9688"/>
                  <a:pt x="11531" y="9688"/>
                  <a:pt x="11531" y="9719"/>
                </a:cubicBezTo>
                <a:cubicBezTo>
                  <a:pt x="11594" y="9688"/>
                  <a:pt x="11688" y="9657"/>
                  <a:pt x="11688" y="9563"/>
                </a:cubicBezTo>
                <a:cubicBezTo>
                  <a:pt x="11688" y="9563"/>
                  <a:pt x="11688" y="9532"/>
                  <a:pt x="11688" y="9532"/>
                </a:cubicBezTo>
                <a:cubicBezTo>
                  <a:pt x="11688" y="9532"/>
                  <a:pt x="11688" y="9563"/>
                  <a:pt x="11688" y="9563"/>
                </a:cubicBezTo>
                <a:cubicBezTo>
                  <a:pt x="11719" y="9532"/>
                  <a:pt x="11719" y="9500"/>
                  <a:pt x="11719" y="9500"/>
                </a:cubicBezTo>
                <a:cubicBezTo>
                  <a:pt x="11781" y="9469"/>
                  <a:pt x="11844" y="9438"/>
                  <a:pt x="11906" y="9407"/>
                </a:cubicBezTo>
                <a:cubicBezTo>
                  <a:pt x="11906" y="9375"/>
                  <a:pt x="11938" y="9375"/>
                  <a:pt x="11938" y="9375"/>
                </a:cubicBezTo>
                <a:cubicBezTo>
                  <a:pt x="12000" y="9313"/>
                  <a:pt x="12031" y="9282"/>
                  <a:pt x="12094" y="9219"/>
                </a:cubicBezTo>
                <a:cubicBezTo>
                  <a:pt x="12094" y="9219"/>
                  <a:pt x="12094" y="9219"/>
                  <a:pt x="12094" y="9219"/>
                </a:cubicBezTo>
                <a:cubicBezTo>
                  <a:pt x="12406" y="8938"/>
                  <a:pt x="12719" y="8657"/>
                  <a:pt x="13000" y="8344"/>
                </a:cubicBezTo>
                <a:cubicBezTo>
                  <a:pt x="13156" y="8188"/>
                  <a:pt x="13313" y="8000"/>
                  <a:pt x="13438" y="7844"/>
                </a:cubicBezTo>
                <a:cubicBezTo>
                  <a:pt x="13469" y="7813"/>
                  <a:pt x="13469" y="7782"/>
                  <a:pt x="13531" y="7782"/>
                </a:cubicBezTo>
                <a:cubicBezTo>
                  <a:pt x="13531" y="7782"/>
                  <a:pt x="13531" y="7782"/>
                  <a:pt x="13531" y="7782"/>
                </a:cubicBezTo>
                <a:cubicBezTo>
                  <a:pt x="13531" y="7782"/>
                  <a:pt x="13531" y="7782"/>
                  <a:pt x="13531" y="7782"/>
                </a:cubicBezTo>
                <a:cubicBezTo>
                  <a:pt x="13531" y="7782"/>
                  <a:pt x="13531" y="7813"/>
                  <a:pt x="13531" y="7813"/>
                </a:cubicBezTo>
                <a:cubicBezTo>
                  <a:pt x="13563" y="7813"/>
                  <a:pt x="13563" y="7813"/>
                  <a:pt x="13563" y="7813"/>
                </a:cubicBezTo>
                <a:cubicBezTo>
                  <a:pt x="13563" y="7813"/>
                  <a:pt x="13563" y="7813"/>
                  <a:pt x="13531" y="7813"/>
                </a:cubicBezTo>
                <a:cubicBezTo>
                  <a:pt x="13469" y="7907"/>
                  <a:pt x="13375" y="8000"/>
                  <a:pt x="13313" y="8094"/>
                </a:cubicBezTo>
                <a:cubicBezTo>
                  <a:pt x="13250" y="8188"/>
                  <a:pt x="13156" y="8219"/>
                  <a:pt x="13125" y="8313"/>
                </a:cubicBezTo>
                <a:cubicBezTo>
                  <a:pt x="13125" y="8313"/>
                  <a:pt x="13125" y="8313"/>
                  <a:pt x="13125" y="8313"/>
                </a:cubicBezTo>
                <a:cubicBezTo>
                  <a:pt x="13125" y="8313"/>
                  <a:pt x="13125" y="8313"/>
                  <a:pt x="13125" y="8313"/>
                </a:cubicBezTo>
                <a:cubicBezTo>
                  <a:pt x="13063" y="8375"/>
                  <a:pt x="13000" y="8438"/>
                  <a:pt x="12938" y="8500"/>
                </a:cubicBezTo>
                <a:cubicBezTo>
                  <a:pt x="12938" y="8532"/>
                  <a:pt x="12906" y="8594"/>
                  <a:pt x="12875" y="8594"/>
                </a:cubicBezTo>
                <a:cubicBezTo>
                  <a:pt x="12813" y="8625"/>
                  <a:pt x="12781" y="8657"/>
                  <a:pt x="12781" y="8719"/>
                </a:cubicBezTo>
                <a:cubicBezTo>
                  <a:pt x="12781" y="8719"/>
                  <a:pt x="12719" y="8719"/>
                  <a:pt x="12719" y="8750"/>
                </a:cubicBezTo>
                <a:cubicBezTo>
                  <a:pt x="12688" y="8813"/>
                  <a:pt x="12625" y="8844"/>
                  <a:pt x="12594" y="8907"/>
                </a:cubicBezTo>
                <a:cubicBezTo>
                  <a:pt x="12500" y="8938"/>
                  <a:pt x="12438" y="8938"/>
                  <a:pt x="12438" y="9032"/>
                </a:cubicBezTo>
                <a:cubicBezTo>
                  <a:pt x="12406" y="9063"/>
                  <a:pt x="12406" y="9063"/>
                  <a:pt x="12375" y="9094"/>
                </a:cubicBezTo>
                <a:cubicBezTo>
                  <a:pt x="12281" y="9157"/>
                  <a:pt x="12125" y="9219"/>
                  <a:pt x="12063" y="9313"/>
                </a:cubicBezTo>
                <a:cubicBezTo>
                  <a:pt x="12031" y="9344"/>
                  <a:pt x="12000" y="9407"/>
                  <a:pt x="11938" y="9375"/>
                </a:cubicBezTo>
                <a:cubicBezTo>
                  <a:pt x="11938" y="9407"/>
                  <a:pt x="11938" y="9407"/>
                  <a:pt x="11938" y="9438"/>
                </a:cubicBezTo>
                <a:cubicBezTo>
                  <a:pt x="11875" y="9469"/>
                  <a:pt x="11844" y="9532"/>
                  <a:pt x="11781" y="9594"/>
                </a:cubicBezTo>
                <a:cubicBezTo>
                  <a:pt x="11781" y="9594"/>
                  <a:pt x="11781" y="9594"/>
                  <a:pt x="11781" y="9594"/>
                </a:cubicBezTo>
                <a:cubicBezTo>
                  <a:pt x="11719" y="9625"/>
                  <a:pt x="11656" y="9688"/>
                  <a:pt x="11625" y="9750"/>
                </a:cubicBezTo>
                <a:cubicBezTo>
                  <a:pt x="11594" y="9782"/>
                  <a:pt x="11563" y="9782"/>
                  <a:pt x="11594" y="9813"/>
                </a:cubicBezTo>
                <a:cubicBezTo>
                  <a:pt x="11500" y="9844"/>
                  <a:pt x="11531" y="9907"/>
                  <a:pt x="11531" y="9969"/>
                </a:cubicBezTo>
                <a:close/>
                <a:moveTo>
                  <a:pt x="11469" y="7782"/>
                </a:moveTo>
                <a:cubicBezTo>
                  <a:pt x="11469" y="7782"/>
                  <a:pt x="11469" y="7782"/>
                  <a:pt x="11469" y="7782"/>
                </a:cubicBezTo>
                <a:cubicBezTo>
                  <a:pt x="11531" y="7750"/>
                  <a:pt x="11531" y="7719"/>
                  <a:pt x="11469" y="7719"/>
                </a:cubicBezTo>
                <a:cubicBezTo>
                  <a:pt x="11469" y="7469"/>
                  <a:pt x="11469" y="7219"/>
                  <a:pt x="11469" y="7000"/>
                </a:cubicBezTo>
                <a:cubicBezTo>
                  <a:pt x="11469" y="7000"/>
                  <a:pt x="11469" y="7000"/>
                  <a:pt x="11469" y="7000"/>
                </a:cubicBezTo>
                <a:cubicBezTo>
                  <a:pt x="11500" y="7000"/>
                  <a:pt x="11531" y="7032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00"/>
                  <a:pt x="11594" y="7000"/>
                  <a:pt x="11594" y="7000"/>
                </a:cubicBezTo>
                <a:cubicBezTo>
                  <a:pt x="11594" y="7063"/>
                  <a:pt x="11531" y="7063"/>
                  <a:pt x="11531" y="7125"/>
                </a:cubicBezTo>
                <a:cubicBezTo>
                  <a:pt x="11563" y="7282"/>
                  <a:pt x="11500" y="7407"/>
                  <a:pt x="11563" y="7532"/>
                </a:cubicBezTo>
                <a:cubicBezTo>
                  <a:pt x="11469" y="7657"/>
                  <a:pt x="11594" y="7782"/>
                  <a:pt x="11531" y="7907"/>
                </a:cubicBezTo>
                <a:cubicBezTo>
                  <a:pt x="11531" y="7938"/>
                  <a:pt x="11531" y="7969"/>
                  <a:pt x="11531" y="8000"/>
                </a:cubicBezTo>
                <a:cubicBezTo>
                  <a:pt x="11531" y="8000"/>
                  <a:pt x="11531" y="8000"/>
                  <a:pt x="11531" y="8000"/>
                </a:cubicBezTo>
                <a:cubicBezTo>
                  <a:pt x="11531" y="8000"/>
                  <a:pt x="11500" y="8000"/>
                  <a:pt x="11500" y="8000"/>
                </a:cubicBezTo>
                <a:cubicBezTo>
                  <a:pt x="11500" y="7938"/>
                  <a:pt x="11531" y="7875"/>
                  <a:pt x="11469" y="7813"/>
                </a:cubicBezTo>
                <a:cubicBezTo>
                  <a:pt x="11469" y="7875"/>
                  <a:pt x="11469" y="7938"/>
                  <a:pt x="11469" y="8032"/>
                </a:cubicBezTo>
                <a:cubicBezTo>
                  <a:pt x="11469" y="8032"/>
                  <a:pt x="11469" y="8032"/>
                  <a:pt x="11469" y="8032"/>
                </a:cubicBezTo>
                <a:cubicBezTo>
                  <a:pt x="11469" y="7938"/>
                  <a:pt x="11469" y="7875"/>
                  <a:pt x="11469" y="7813"/>
                </a:cubicBezTo>
                <a:cubicBezTo>
                  <a:pt x="11469" y="7782"/>
                  <a:pt x="11469" y="7782"/>
                  <a:pt x="11469" y="7782"/>
                </a:cubicBezTo>
                <a:close/>
                <a:moveTo>
                  <a:pt x="11625" y="6532"/>
                </a:moveTo>
                <a:cubicBezTo>
                  <a:pt x="11625" y="6532"/>
                  <a:pt x="11625" y="6532"/>
                  <a:pt x="11625" y="6532"/>
                </a:cubicBezTo>
                <a:cubicBezTo>
                  <a:pt x="11625" y="6532"/>
                  <a:pt x="11625" y="6532"/>
                  <a:pt x="11625" y="6532"/>
                </a:cubicBezTo>
                <a:cubicBezTo>
                  <a:pt x="11625" y="6532"/>
                  <a:pt x="11625" y="6532"/>
                  <a:pt x="11625" y="6532"/>
                </a:cubicBezTo>
                <a:close/>
                <a:moveTo>
                  <a:pt x="11656" y="5500"/>
                </a:moveTo>
                <a:cubicBezTo>
                  <a:pt x="11656" y="5500"/>
                  <a:pt x="11656" y="5500"/>
                  <a:pt x="11656" y="5500"/>
                </a:cubicBezTo>
                <a:cubicBezTo>
                  <a:pt x="11656" y="5500"/>
                  <a:pt x="11688" y="5500"/>
                  <a:pt x="11688" y="5500"/>
                </a:cubicBezTo>
                <a:cubicBezTo>
                  <a:pt x="11656" y="5500"/>
                  <a:pt x="11656" y="5500"/>
                  <a:pt x="11656" y="5500"/>
                </a:cubicBezTo>
                <a:cubicBezTo>
                  <a:pt x="11656" y="5500"/>
                  <a:pt x="11656" y="5500"/>
                  <a:pt x="11656" y="5500"/>
                </a:cubicBezTo>
                <a:close/>
                <a:moveTo>
                  <a:pt x="11750" y="5875"/>
                </a:moveTo>
                <a:cubicBezTo>
                  <a:pt x="11750" y="5875"/>
                  <a:pt x="11750" y="5907"/>
                  <a:pt x="11719" y="5907"/>
                </a:cubicBezTo>
                <a:cubicBezTo>
                  <a:pt x="11750" y="5907"/>
                  <a:pt x="11750" y="5875"/>
                  <a:pt x="11750" y="5875"/>
                </a:cubicBezTo>
                <a:close/>
                <a:moveTo>
                  <a:pt x="11938" y="5282"/>
                </a:moveTo>
                <a:cubicBezTo>
                  <a:pt x="11938" y="5282"/>
                  <a:pt x="11938" y="5282"/>
                  <a:pt x="11938" y="5282"/>
                </a:cubicBezTo>
                <a:cubicBezTo>
                  <a:pt x="11938" y="5282"/>
                  <a:pt x="11938" y="5282"/>
                  <a:pt x="11938" y="5282"/>
                </a:cubicBezTo>
                <a:cubicBezTo>
                  <a:pt x="11938" y="5282"/>
                  <a:pt x="11938" y="5282"/>
                  <a:pt x="11938" y="5282"/>
                </a:cubicBezTo>
                <a:close/>
                <a:moveTo>
                  <a:pt x="11719" y="9500"/>
                </a:moveTo>
                <a:cubicBezTo>
                  <a:pt x="11719" y="9500"/>
                  <a:pt x="11719" y="9500"/>
                  <a:pt x="11719" y="9500"/>
                </a:cubicBezTo>
                <a:cubicBezTo>
                  <a:pt x="11719" y="9469"/>
                  <a:pt x="11719" y="9469"/>
                  <a:pt x="11719" y="9469"/>
                </a:cubicBezTo>
                <a:cubicBezTo>
                  <a:pt x="11719" y="9469"/>
                  <a:pt x="11719" y="9469"/>
                  <a:pt x="11719" y="9500"/>
                </a:cubicBezTo>
                <a:close/>
                <a:moveTo>
                  <a:pt x="11531" y="9157"/>
                </a:moveTo>
                <a:cubicBezTo>
                  <a:pt x="11531" y="9188"/>
                  <a:pt x="11531" y="9219"/>
                  <a:pt x="11469" y="9250"/>
                </a:cubicBezTo>
                <a:cubicBezTo>
                  <a:pt x="11469" y="9125"/>
                  <a:pt x="11500" y="8969"/>
                  <a:pt x="11500" y="8844"/>
                </a:cubicBezTo>
                <a:cubicBezTo>
                  <a:pt x="11500" y="8813"/>
                  <a:pt x="11500" y="8750"/>
                  <a:pt x="11500" y="8719"/>
                </a:cubicBezTo>
                <a:cubicBezTo>
                  <a:pt x="11500" y="8750"/>
                  <a:pt x="11500" y="8813"/>
                  <a:pt x="11500" y="8844"/>
                </a:cubicBezTo>
                <a:cubicBezTo>
                  <a:pt x="11500" y="8750"/>
                  <a:pt x="11500" y="8657"/>
                  <a:pt x="11500" y="8594"/>
                </a:cubicBezTo>
                <a:cubicBezTo>
                  <a:pt x="11500" y="8594"/>
                  <a:pt x="11500" y="8594"/>
                  <a:pt x="11500" y="8594"/>
                </a:cubicBezTo>
                <a:cubicBezTo>
                  <a:pt x="11500" y="8563"/>
                  <a:pt x="11500" y="8532"/>
                  <a:pt x="11500" y="8500"/>
                </a:cubicBezTo>
                <a:cubicBezTo>
                  <a:pt x="11500" y="8532"/>
                  <a:pt x="11500" y="8563"/>
                  <a:pt x="11500" y="8594"/>
                </a:cubicBezTo>
                <a:cubicBezTo>
                  <a:pt x="11531" y="8594"/>
                  <a:pt x="11563" y="8594"/>
                  <a:pt x="11563" y="8594"/>
                </a:cubicBezTo>
                <a:cubicBezTo>
                  <a:pt x="11563" y="8657"/>
                  <a:pt x="11656" y="8688"/>
                  <a:pt x="11594" y="8750"/>
                </a:cubicBezTo>
                <a:cubicBezTo>
                  <a:pt x="11594" y="8750"/>
                  <a:pt x="11594" y="8782"/>
                  <a:pt x="11594" y="8782"/>
                </a:cubicBezTo>
                <a:cubicBezTo>
                  <a:pt x="11594" y="8844"/>
                  <a:pt x="11750" y="8782"/>
                  <a:pt x="11656" y="8907"/>
                </a:cubicBezTo>
                <a:cubicBezTo>
                  <a:pt x="11625" y="8907"/>
                  <a:pt x="11625" y="8969"/>
                  <a:pt x="11594" y="9000"/>
                </a:cubicBezTo>
                <a:cubicBezTo>
                  <a:pt x="11563" y="9032"/>
                  <a:pt x="11531" y="9094"/>
                  <a:pt x="11531" y="9157"/>
                </a:cubicBezTo>
                <a:close/>
                <a:moveTo>
                  <a:pt x="11563" y="9532"/>
                </a:move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ubicBezTo>
                  <a:pt x="11563" y="9532"/>
                  <a:pt x="11563" y="9532"/>
                  <a:pt x="11563" y="9532"/>
                </a:cubicBezTo>
                <a:close/>
                <a:moveTo>
                  <a:pt x="11500" y="9657"/>
                </a:moveTo>
                <a:cubicBezTo>
                  <a:pt x="11500" y="9657"/>
                  <a:pt x="11500" y="9657"/>
                  <a:pt x="11500" y="9657"/>
                </a:cubicBezTo>
                <a:cubicBezTo>
                  <a:pt x="11469" y="9688"/>
                  <a:pt x="11469" y="9657"/>
                  <a:pt x="11469" y="9625"/>
                </a:cubicBezTo>
                <a:cubicBezTo>
                  <a:pt x="11469" y="9532"/>
                  <a:pt x="11469" y="9438"/>
                  <a:pt x="11469" y="9313"/>
                </a:cubicBezTo>
                <a:cubicBezTo>
                  <a:pt x="11500" y="9313"/>
                  <a:pt x="11531" y="9344"/>
                  <a:pt x="11531" y="9375"/>
                </a:cubicBezTo>
                <a:cubicBezTo>
                  <a:pt x="11531" y="9469"/>
                  <a:pt x="11531" y="9563"/>
                  <a:pt x="11500" y="9657"/>
                </a:cubicBezTo>
                <a:close/>
                <a:moveTo>
                  <a:pt x="11500" y="8469"/>
                </a:moveTo>
                <a:cubicBezTo>
                  <a:pt x="11500" y="8438"/>
                  <a:pt x="11500" y="8438"/>
                  <a:pt x="11500" y="8407"/>
                </a:cubicBezTo>
                <a:cubicBezTo>
                  <a:pt x="11500" y="8438"/>
                  <a:pt x="11500" y="8438"/>
                  <a:pt x="11500" y="8469"/>
                </a:cubicBezTo>
                <a:close/>
                <a:moveTo>
                  <a:pt x="11625" y="8000"/>
                </a:moveTo>
                <a:cubicBezTo>
                  <a:pt x="11625" y="8000"/>
                  <a:pt x="11625" y="8000"/>
                  <a:pt x="11625" y="8000"/>
                </a:cubicBezTo>
                <a:cubicBezTo>
                  <a:pt x="11656" y="8000"/>
                  <a:pt x="11688" y="7969"/>
                  <a:pt x="11719" y="7969"/>
                </a:cubicBezTo>
                <a:cubicBezTo>
                  <a:pt x="11688" y="7969"/>
                  <a:pt x="11656" y="8000"/>
                  <a:pt x="11625" y="8000"/>
                </a:cubicBezTo>
                <a:close/>
                <a:moveTo>
                  <a:pt x="11625" y="7907"/>
                </a:moveTo>
                <a:cubicBezTo>
                  <a:pt x="11625" y="7907"/>
                  <a:pt x="11656" y="7907"/>
                  <a:pt x="11656" y="7875"/>
                </a:cubicBezTo>
                <a:cubicBezTo>
                  <a:pt x="11656" y="7907"/>
                  <a:pt x="11625" y="7907"/>
                  <a:pt x="11625" y="7907"/>
                </a:cubicBezTo>
                <a:close/>
                <a:moveTo>
                  <a:pt x="12000" y="5844"/>
                </a:moveTo>
                <a:cubicBezTo>
                  <a:pt x="12000" y="5844"/>
                  <a:pt x="12000" y="5844"/>
                  <a:pt x="12000" y="5844"/>
                </a:cubicBezTo>
                <a:cubicBezTo>
                  <a:pt x="12000" y="5844"/>
                  <a:pt x="12000" y="5844"/>
                  <a:pt x="12000" y="5844"/>
                </a:cubicBezTo>
                <a:close/>
                <a:moveTo>
                  <a:pt x="12250" y="8563"/>
                </a:moveTo>
                <a:cubicBezTo>
                  <a:pt x="12250" y="8563"/>
                  <a:pt x="12250" y="8563"/>
                  <a:pt x="12250" y="8563"/>
                </a:cubicBezTo>
                <a:cubicBezTo>
                  <a:pt x="12250" y="8563"/>
                  <a:pt x="12250" y="8563"/>
                  <a:pt x="12250" y="8594"/>
                </a:cubicBezTo>
                <a:cubicBezTo>
                  <a:pt x="12250" y="8563"/>
                  <a:pt x="12250" y="8563"/>
                  <a:pt x="12250" y="8563"/>
                </a:cubicBezTo>
                <a:close/>
                <a:moveTo>
                  <a:pt x="12031" y="9219"/>
                </a:moveTo>
                <a:cubicBezTo>
                  <a:pt x="12031" y="9219"/>
                  <a:pt x="12031" y="9219"/>
                  <a:pt x="12031" y="9219"/>
                </a:cubicBezTo>
                <a:cubicBezTo>
                  <a:pt x="12031" y="9219"/>
                  <a:pt x="12031" y="9219"/>
                  <a:pt x="12031" y="9219"/>
                </a:cubicBezTo>
                <a:close/>
                <a:moveTo>
                  <a:pt x="11875" y="11407"/>
                </a:moveTo>
                <a:cubicBezTo>
                  <a:pt x="11906" y="11438"/>
                  <a:pt x="11906" y="11438"/>
                  <a:pt x="11938" y="11438"/>
                </a:cubicBezTo>
                <a:cubicBezTo>
                  <a:pt x="11906" y="11438"/>
                  <a:pt x="11906" y="11438"/>
                  <a:pt x="11875" y="11407"/>
                </a:cubicBezTo>
                <a:close/>
                <a:moveTo>
                  <a:pt x="13656" y="7813"/>
                </a:moveTo>
                <a:cubicBezTo>
                  <a:pt x="13656" y="7813"/>
                  <a:pt x="13656" y="7813"/>
                  <a:pt x="13656" y="7813"/>
                </a:cubicBezTo>
                <a:cubicBezTo>
                  <a:pt x="13688" y="7813"/>
                  <a:pt x="13719" y="7782"/>
                  <a:pt x="13750" y="7782"/>
                </a:cubicBezTo>
                <a:cubicBezTo>
                  <a:pt x="13719" y="7782"/>
                  <a:pt x="13688" y="7813"/>
                  <a:pt x="13656" y="7813"/>
                </a:cubicBezTo>
                <a:close/>
                <a:moveTo>
                  <a:pt x="13625" y="7813"/>
                </a:moveTo>
                <a:cubicBezTo>
                  <a:pt x="13625" y="7813"/>
                  <a:pt x="13594" y="7813"/>
                  <a:pt x="13563" y="7813"/>
                </a:cubicBezTo>
                <a:cubicBezTo>
                  <a:pt x="13594" y="7813"/>
                  <a:pt x="13625" y="7813"/>
                  <a:pt x="13625" y="7813"/>
                </a:cubicBezTo>
                <a:close/>
                <a:moveTo>
                  <a:pt x="12719" y="11344"/>
                </a:moveTo>
                <a:cubicBezTo>
                  <a:pt x="12719" y="11344"/>
                  <a:pt x="12719" y="11344"/>
                  <a:pt x="12719" y="11313"/>
                </a:cubicBezTo>
                <a:cubicBezTo>
                  <a:pt x="12719" y="11313"/>
                  <a:pt x="12719" y="11313"/>
                  <a:pt x="12719" y="11313"/>
                </a:cubicBezTo>
                <a:cubicBezTo>
                  <a:pt x="12719" y="11313"/>
                  <a:pt x="12719" y="11313"/>
                  <a:pt x="12719" y="11313"/>
                </a:cubicBezTo>
                <a:cubicBezTo>
                  <a:pt x="12719" y="11344"/>
                  <a:pt x="12719" y="11344"/>
                  <a:pt x="12719" y="11344"/>
                </a:cubicBezTo>
                <a:close/>
                <a:moveTo>
                  <a:pt x="12969" y="10407"/>
                </a:moveTo>
                <a:cubicBezTo>
                  <a:pt x="12969" y="10407"/>
                  <a:pt x="12969" y="10407"/>
                  <a:pt x="12969" y="10407"/>
                </a:cubicBezTo>
                <a:cubicBezTo>
                  <a:pt x="12969" y="10438"/>
                  <a:pt x="12969" y="10469"/>
                  <a:pt x="12969" y="10500"/>
                </a:cubicBezTo>
                <a:cubicBezTo>
                  <a:pt x="12969" y="10469"/>
                  <a:pt x="12969" y="10438"/>
                  <a:pt x="12969" y="10407"/>
                </a:cubicBezTo>
                <a:cubicBezTo>
                  <a:pt x="12969" y="10407"/>
                  <a:pt x="12969" y="10407"/>
                  <a:pt x="12969" y="10407"/>
                </a:cubicBezTo>
                <a:close/>
                <a:moveTo>
                  <a:pt x="12969" y="10532"/>
                </a:moveTo>
                <a:cubicBezTo>
                  <a:pt x="12969" y="10500"/>
                  <a:pt x="12969" y="10500"/>
                  <a:pt x="12969" y="10500"/>
                </a:cubicBezTo>
                <a:cubicBezTo>
                  <a:pt x="12969" y="10500"/>
                  <a:pt x="12969" y="10500"/>
                  <a:pt x="12969" y="10532"/>
                </a:cubicBezTo>
                <a:close/>
                <a:moveTo>
                  <a:pt x="12844" y="11000"/>
                </a:moveTo>
                <a:cubicBezTo>
                  <a:pt x="12844" y="11000"/>
                  <a:pt x="12844" y="11000"/>
                  <a:pt x="12844" y="11000"/>
                </a:cubicBezTo>
                <a:cubicBezTo>
                  <a:pt x="12844" y="11000"/>
                  <a:pt x="12844" y="11000"/>
                  <a:pt x="12844" y="11000"/>
                </a:cubicBezTo>
                <a:cubicBezTo>
                  <a:pt x="12844" y="11000"/>
                  <a:pt x="12844" y="11000"/>
                  <a:pt x="12844" y="11000"/>
                </a:cubicBezTo>
                <a:close/>
                <a:moveTo>
                  <a:pt x="13000" y="10688"/>
                </a:moveTo>
                <a:cubicBezTo>
                  <a:pt x="13000" y="10657"/>
                  <a:pt x="13000" y="10657"/>
                  <a:pt x="13000" y="10657"/>
                </a:cubicBezTo>
                <a:cubicBezTo>
                  <a:pt x="13000" y="10657"/>
                  <a:pt x="13000" y="10657"/>
                  <a:pt x="13000" y="10688"/>
                </a:cubicBezTo>
                <a:close/>
                <a:moveTo>
                  <a:pt x="11875" y="10219"/>
                </a:moveTo>
                <a:cubicBezTo>
                  <a:pt x="11875" y="10219"/>
                  <a:pt x="11875" y="10219"/>
                  <a:pt x="11875" y="10219"/>
                </a:cubicBezTo>
                <a:cubicBezTo>
                  <a:pt x="11906" y="10219"/>
                  <a:pt x="11906" y="10219"/>
                  <a:pt x="11938" y="10250"/>
                </a:cubicBezTo>
                <a:cubicBezTo>
                  <a:pt x="11906" y="10219"/>
                  <a:pt x="11906" y="10219"/>
                  <a:pt x="11875" y="10219"/>
                </a:cubicBezTo>
                <a:cubicBezTo>
                  <a:pt x="11875" y="10219"/>
                  <a:pt x="11875" y="10219"/>
                  <a:pt x="11875" y="10219"/>
                </a:cubicBezTo>
                <a:close/>
                <a:moveTo>
                  <a:pt x="12250" y="11000"/>
                </a:moveTo>
                <a:cubicBezTo>
                  <a:pt x="12250" y="10969"/>
                  <a:pt x="12250" y="10969"/>
                  <a:pt x="12250" y="10969"/>
                </a:cubicBezTo>
                <a:cubicBezTo>
                  <a:pt x="12281" y="10938"/>
                  <a:pt x="12281" y="10907"/>
                  <a:pt x="12313" y="10907"/>
                </a:cubicBezTo>
                <a:cubicBezTo>
                  <a:pt x="12281" y="10907"/>
                  <a:pt x="12281" y="10938"/>
                  <a:pt x="12250" y="10969"/>
                </a:cubicBezTo>
                <a:cubicBezTo>
                  <a:pt x="12250" y="10969"/>
                  <a:pt x="12250" y="10969"/>
                  <a:pt x="12250" y="11000"/>
                </a:cubicBezTo>
                <a:close/>
                <a:moveTo>
                  <a:pt x="13500" y="10500"/>
                </a:moveTo>
                <a:cubicBezTo>
                  <a:pt x="13500" y="10500"/>
                  <a:pt x="13500" y="10500"/>
                  <a:pt x="13500" y="10500"/>
                </a:cubicBezTo>
                <a:cubicBezTo>
                  <a:pt x="13500" y="10500"/>
                  <a:pt x="13500" y="10500"/>
                  <a:pt x="13500" y="10500"/>
                </a:cubicBezTo>
                <a:cubicBezTo>
                  <a:pt x="13500" y="10500"/>
                  <a:pt x="13500" y="10532"/>
                  <a:pt x="13500" y="10532"/>
                </a:cubicBezTo>
                <a:cubicBezTo>
                  <a:pt x="13500" y="10532"/>
                  <a:pt x="13500" y="10500"/>
                  <a:pt x="13500" y="10500"/>
                </a:cubicBezTo>
                <a:close/>
                <a:moveTo>
                  <a:pt x="13813" y="9719"/>
                </a:move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ubicBezTo>
                  <a:pt x="13813" y="9719"/>
                  <a:pt x="13813" y="9719"/>
                  <a:pt x="13813" y="9719"/>
                </a:cubicBezTo>
                <a:close/>
                <a:moveTo>
                  <a:pt x="13969" y="12719"/>
                </a:moveTo>
                <a:cubicBezTo>
                  <a:pt x="13938" y="12719"/>
                  <a:pt x="13938" y="12719"/>
                  <a:pt x="13938" y="12719"/>
                </a:cubicBezTo>
                <a:cubicBezTo>
                  <a:pt x="13938" y="12719"/>
                  <a:pt x="13938" y="12719"/>
                  <a:pt x="13969" y="12719"/>
                </a:cubicBezTo>
                <a:cubicBezTo>
                  <a:pt x="13969" y="12688"/>
                  <a:pt x="13969" y="12688"/>
                  <a:pt x="13969" y="12657"/>
                </a:cubicBezTo>
                <a:cubicBezTo>
                  <a:pt x="13969" y="12688"/>
                  <a:pt x="13969" y="12688"/>
                  <a:pt x="13969" y="12719"/>
                </a:cubicBezTo>
                <a:close/>
                <a:moveTo>
                  <a:pt x="13656" y="9844"/>
                </a:moveTo>
                <a:cubicBezTo>
                  <a:pt x="13656" y="9875"/>
                  <a:pt x="13656" y="9907"/>
                  <a:pt x="13656" y="9907"/>
                </a:cubicBezTo>
                <a:cubicBezTo>
                  <a:pt x="13656" y="9907"/>
                  <a:pt x="13656" y="9875"/>
                  <a:pt x="13656" y="9844"/>
                </a:cubicBezTo>
                <a:close/>
                <a:moveTo>
                  <a:pt x="13281" y="10438"/>
                </a:moveTo>
                <a:cubicBezTo>
                  <a:pt x="13313" y="10469"/>
                  <a:pt x="13281" y="10500"/>
                  <a:pt x="13250" y="10500"/>
                </a:cubicBezTo>
                <a:cubicBezTo>
                  <a:pt x="13125" y="10625"/>
                  <a:pt x="13125" y="10657"/>
                  <a:pt x="13281" y="10750"/>
                </a:cubicBezTo>
                <a:cubicBezTo>
                  <a:pt x="13281" y="10750"/>
                  <a:pt x="13281" y="10688"/>
                  <a:pt x="13313" y="10688"/>
                </a:cubicBezTo>
                <a:cubicBezTo>
                  <a:pt x="13281" y="10688"/>
                  <a:pt x="13281" y="10750"/>
                  <a:pt x="13281" y="10750"/>
                </a:cubicBezTo>
                <a:cubicBezTo>
                  <a:pt x="13281" y="10782"/>
                  <a:pt x="13250" y="10782"/>
                  <a:pt x="13250" y="10782"/>
                </a:cubicBezTo>
                <a:cubicBezTo>
                  <a:pt x="13281" y="10844"/>
                  <a:pt x="13250" y="10907"/>
                  <a:pt x="13219" y="10969"/>
                </a:cubicBezTo>
                <a:cubicBezTo>
                  <a:pt x="13250" y="10907"/>
                  <a:pt x="13281" y="10844"/>
                  <a:pt x="13250" y="10782"/>
                </a:cubicBezTo>
                <a:cubicBezTo>
                  <a:pt x="13188" y="10907"/>
                  <a:pt x="13063" y="10969"/>
                  <a:pt x="13063" y="11125"/>
                </a:cubicBezTo>
                <a:cubicBezTo>
                  <a:pt x="13031" y="11157"/>
                  <a:pt x="13031" y="11219"/>
                  <a:pt x="13000" y="11250"/>
                </a:cubicBezTo>
                <a:cubicBezTo>
                  <a:pt x="12969" y="11250"/>
                  <a:pt x="12969" y="11282"/>
                  <a:pt x="12969" y="11313"/>
                </a:cubicBezTo>
                <a:cubicBezTo>
                  <a:pt x="13000" y="11344"/>
                  <a:pt x="13031" y="11282"/>
                  <a:pt x="13063" y="11344"/>
                </a:cubicBezTo>
                <a:cubicBezTo>
                  <a:pt x="13063" y="11344"/>
                  <a:pt x="13063" y="11344"/>
                  <a:pt x="13063" y="11344"/>
                </a:cubicBezTo>
                <a:cubicBezTo>
                  <a:pt x="13063" y="11375"/>
                  <a:pt x="13063" y="11407"/>
                  <a:pt x="13031" y="11438"/>
                </a:cubicBezTo>
                <a:cubicBezTo>
                  <a:pt x="13063" y="11407"/>
                  <a:pt x="13063" y="11375"/>
                  <a:pt x="13063" y="11344"/>
                </a:cubicBezTo>
                <a:cubicBezTo>
                  <a:pt x="13000" y="11407"/>
                  <a:pt x="12969" y="11469"/>
                  <a:pt x="12969" y="11532"/>
                </a:cubicBezTo>
                <a:cubicBezTo>
                  <a:pt x="12938" y="11563"/>
                  <a:pt x="12938" y="11563"/>
                  <a:pt x="12938" y="11594"/>
                </a:cubicBezTo>
                <a:cubicBezTo>
                  <a:pt x="12938" y="11594"/>
                  <a:pt x="12938" y="11594"/>
                  <a:pt x="12938" y="11594"/>
                </a:cubicBezTo>
                <a:cubicBezTo>
                  <a:pt x="12938" y="11594"/>
                  <a:pt x="12938" y="11594"/>
                  <a:pt x="12938" y="11594"/>
                </a:cubicBezTo>
                <a:cubicBezTo>
                  <a:pt x="12906" y="11657"/>
                  <a:pt x="12906" y="11719"/>
                  <a:pt x="12844" y="11719"/>
                </a:cubicBezTo>
                <a:cubicBezTo>
                  <a:pt x="12844" y="11750"/>
                  <a:pt x="12750" y="11750"/>
                  <a:pt x="12844" y="11813"/>
                </a:cubicBezTo>
                <a:cubicBezTo>
                  <a:pt x="12875" y="11813"/>
                  <a:pt x="12844" y="11875"/>
                  <a:pt x="12844" y="11907"/>
                </a:cubicBezTo>
                <a:cubicBezTo>
                  <a:pt x="12844" y="11907"/>
                  <a:pt x="12844" y="11907"/>
                  <a:pt x="12844" y="11907"/>
                </a:cubicBezTo>
                <a:cubicBezTo>
                  <a:pt x="12844" y="11907"/>
                  <a:pt x="12844" y="11907"/>
                  <a:pt x="12844" y="11907"/>
                </a:cubicBezTo>
                <a:cubicBezTo>
                  <a:pt x="12750" y="11907"/>
                  <a:pt x="12656" y="12000"/>
                  <a:pt x="12594" y="11875"/>
                </a:cubicBezTo>
                <a:cubicBezTo>
                  <a:pt x="12594" y="11875"/>
                  <a:pt x="12625" y="11875"/>
                  <a:pt x="12625" y="11875"/>
                </a:cubicBezTo>
                <a:cubicBezTo>
                  <a:pt x="12625" y="11844"/>
                  <a:pt x="12625" y="11844"/>
                  <a:pt x="12625" y="11844"/>
                </a:cubicBezTo>
                <a:cubicBezTo>
                  <a:pt x="12625" y="11844"/>
                  <a:pt x="12625" y="11844"/>
                  <a:pt x="12625" y="11875"/>
                </a:cubicBezTo>
                <a:cubicBezTo>
                  <a:pt x="12688" y="11875"/>
                  <a:pt x="12688" y="11844"/>
                  <a:pt x="12656" y="11813"/>
                </a:cubicBezTo>
                <a:cubicBezTo>
                  <a:pt x="12688" y="11782"/>
                  <a:pt x="12688" y="11782"/>
                  <a:pt x="12688" y="11782"/>
                </a:cubicBezTo>
                <a:cubicBezTo>
                  <a:pt x="12750" y="11782"/>
                  <a:pt x="12719" y="11750"/>
                  <a:pt x="12719" y="11719"/>
                </a:cubicBezTo>
                <a:cubicBezTo>
                  <a:pt x="12719" y="11719"/>
                  <a:pt x="12719" y="11688"/>
                  <a:pt x="12719" y="11688"/>
                </a:cubicBezTo>
                <a:cubicBezTo>
                  <a:pt x="12813" y="11625"/>
                  <a:pt x="12781" y="11500"/>
                  <a:pt x="12844" y="11438"/>
                </a:cubicBezTo>
                <a:cubicBezTo>
                  <a:pt x="12906" y="11375"/>
                  <a:pt x="12844" y="11375"/>
                  <a:pt x="12813" y="11375"/>
                </a:cubicBezTo>
                <a:cubicBezTo>
                  <a:pt x="12813" y="11282"/>
                  <a:pt x="12813" y="11219"/>
                  <a:pt x="12844" y="11157"/>
                </a:cubicBezTo>
                <a:cubicBezTo>
                  <a:pt x="12875" y="11157"/>
                  <a:pt x="12875" y="11157"/>
                  <a:pt x="12906" y="11157"/>
                </a:cubicBezTo>
                <a:cubicBezTo>
                  <a:pt x="12906" y="11032"/>
                  <a:pt x="13031" y="10969"/>
                  <a:pt x="13031" y="10875"/>
                </a:cubicBezTo>
                <a:cubicBezTo>
                  <a:pt x="13063" y="10719"/>
                  <a:pt x="13125" y="10594"/>
                  <a:pt x="13125" y="10438"/>
                </a:cubicBezTo>
                <a:cubicBezTo>
                  <a:pt x="13156" y="10407"/>
                  <a:pt x="13188" y="10375"/>
                  <a:pt x="13219" y="10375"/>
                </a:cubicBezTo>
                <a:cubicBezTo>
                  <a:pt x="13281" y="10344"/>
                  <a:pt x="13250" y="10407"/>
                  <a:pt x="13281" y="10438"/>
                </a:cubicBezTo>
                <a:close/>
                <a:moveTo>
                  <a:pt x="13031" y="10407"/>
                </a:moveTo>
                <a:cubicBezTo>
                  <a:pt x="13031" y="10407"/>
                  <a:pt x="13031" y="10407"/>
                  <a:pt x="13031" y="10407"/>
                </a:cubicBezTo>
                <a:cubicBezTo>
                  <a:pt x="13031" y="10407"/>
                  <a:pt x="13031" y="10407"/>
                  <a:pt x="13031" y="10407"/>
                </a:cubicBezTo>
                <a:close/>
                <a:moveTo>
                  <a:pt x="13188" y="8500"/>
                </a:moveTo>
                <a:cubicBezTo>
                  <a:pt x="13188" y="8500"/>
                  <a:pt x="13188" y="8500"/>
                  <a:pt x="13188" y="8500"/>
                </a:cubicBezTo>
                <a:cubicBezTo>
                  <a:pt x="13188" y="8500"/>
                  <a:pt x="13188" y="8500"/>
                  <a:pt x="13188" y="8500"/>
                </a:cubicBezTo>
                <a:cubicBezTo>
                  <a:pt x="13188" y="8500"/>
                  <a:pt x="13188" y="8500"/>
                  <a:pt x="13188" y="8500"/>
                </a:cubicBezTo>
                <a:close/>
                <a:moveTo>
                  <a:pt x="11906" y="11157"/>
                </a:moveTo>
                <a:cubicBezTo>
                  <a:pt x="11875" y="11157"/>
                  <a:pt x="11875" y="11188"/>
                  <a:pt x="11875" y="11188"/>
                </a:cubicBezTo>
                <a:cubicBezTo>
                  <a:pt x="11875" y="11188"/>
                  <a:pt x="11875" y="11157"/>
                  <a:pt x="11906" y="11157"/>
                </a:cubicBezTo>
                <a:close/>
                <a:moveTo>
                  <a:pt x="11969" y="11219"/>
                </a:moveTo>
                <a:cubicBezTo>
                  <a:pt x="11938" y="11250"/>
                  <a:pt x="11875" y="11282"/>
                  <a:pt x="11844" y="11313"/>
                </a:cubicBezTo>
                <a:cubicBezTo>
                  <a:pt x="11844" y="11313"/>
                  <a:pt x="11813" y="11344"/>
                  <a:pt x="11813" y="11344"/>
                </a:cubicBezTo>
                <a:cubicBezTo>
                  <a:pt x="11813" y="11375"/>
                  <a:pt x="11813" y="11407"/>
                  <a:pt x="11844" y="11407"/>
                </a:cubicBezTo>
                <a:cubicBezTo>
                  <a:pt x="11813" y="11407"/>
                  <a:pt x="11813" y="11375"/>
                  <a:pt x="11813" y="11344"/>
                </a:cubicBezTo>
                <a:cubicBezTo>
                  <a:pt x="11813" y="11344"/>
                  <a:pt x="11844" y="11313"/>
                  <a:pt x="11844" y="11313"/>
                </a:cubicBezTo>
                <a:cubicBezTo>
                  <a:pt x="11875" y="11282"/>
                  <a:pt x="11938" y="11250"/>
                  <a:pt x="11969" y="11219"/>
                </a:cubicBezTo>
                <a:close/>
                <a:moveTo>
                  <a:pt x="11906" y="12313"/>
                </a:moveTo>
                <a:cubicBezTo>
                  <a:pt x="11906" y="12313"/>
                  <a:pt x="11906" y="12313"/>
                  <a:pt x="11906" y="12313"/>
                </a:cubicBezTo>
                <a:cubicBezTo>
                  <a:pt x="11938" y="12313"/>
                  <a:pt x="11938" y="12282"/>
                  <a:pt x="11938" y="12282"/>
                </a:cubicBezTo>
                <a:cubicBezTo>
                  <a:pt x="11938" y="12282"/>
                  <a:pt x="11938" y="12313"/>
                  <a:pt x="11906" y="12313"/>
                </a:cubicBezTo>
                <a:cubicBezTo>
                  <a:pt x="11906" y="12313"/>
                  <a:pt x="11906" y="12313"/>
                  <a:pt x="11906" y="12313"/>
                </a:cubicBezTo>
                <a:close/>
                <a:moveTo>
                  <a:pt x="11938" y="12282"/>
                </a:moveTo>
                <a:cubicBezTo>
                  <a:pt x="11938" y="12282"/>
                  <a:pt x="11938" y="12282"/>
                  <a:pt x="11938" y="12282"/>
                </a:cubicBezTo>
                <a:cubicBezTo>
                  <a:pt x="11938" y="12282"/>
                  <a:pt x="11938" y="12282"/>
                  <a:pt x="11938" y="12282"/>
                </a:cubicBezTo>
                <a:close/>
                <a:moveTo>
                  <a:pt x="12125" y="12157"/>
                </a:moveTo>
                <a:cubicBezTo>
                  <a:pt x="12156" y="12157"/>
                  <a:pt x="12156" y="12157"/>
                  <a:pt x="12156" y="12157"/>
                </a:cubicBezTo>
                <a:cubicBezTo>
                  <a:pt x="12156" y="12157"/>
                  <a:pt x="12156" y="12157"/>
                  <a:pt x="12125" y="12157"/>
                </a:cubicBezTo>
                <a:cubicBezTo>
                  <a:pt x="12125" y="12157"/>
                  <a:pt x="12125" y="12157"/>
                  <a:pt x="12125" y="12157"/>
                </a:cubicBezTo>
                <a:cubicBezTo>
                  <a:pt x="12125" y="12157"/>
                  <a:pt x="12125" y="12157"/>
                  <a:pt x="12125" y="12157"/>
                </a:cubicBezTo>
                <a:close/>
                <a:moveTo>
                  <a:pt x="12188" y="12250"/>
                </a:moveTo>
                <a:cubicBezTo>
                  <a:pt x="12156" y="12219"/>
                  <a:pt x="12156" y="12188"/>
                  <a:pt x="12156" y="12188"/>
                </a:cubicBezTo>
                <a:cubicBezTo>
                  <a:pt x="12156" y="12188"/>
                  <a:pt x="12156" y="12219"/>
                  <a:pt x="12188" y="12250"/>
                </a:cubicBezTo>
                <a:close/>
                <a:moveTo>
                  <a:pt x="12156" y="12188"/>
                </a:moveTo>
                <a:cubicBezTo>
                  <a:pt x="12156" y="12188"/>
                  <a:pt x="12156" y="12188"/>
                  <a:pt x="12156" y="12188"/>
                </a:cubicBezTo>
                <a:cubicBezTo>
                  <a:pt x="12156" y="12188"/>
                  <a:pt x="12156" y="12188"/>
                  <a:pt x="12156" y="12188"/>
                </a:cubicBezTo>
                <a:close/>
                <a:moveTo>
                  <a:pt x="12250" y="12000"/>
                </a:moveTo>
                <a:cubicBezTo>
                  <a:pt x="12250" y="11969"/>
                  <a:pt x="12250" y="11969"/>
                  <a:pt x="12250" y="11969"/>
                </a:cubicBezTo>
                <a:cubicBezTo>
                  <a:pt x="12250" y="11969"/>
                  <a:pt x="12250" y="12000"/>
                  <a:pt x="12250" y="12000"/>
                </a:cubicBezTo>
                <a:close/>
                <a:moveTo>
                  <a:pt x="14031" y="13469"/>
                </a:moveTo>
                <a:cubicBezTo>
                  <a:pt x="14063" y="13469"/>
                  <a:pt x="14063" y="13469"/>
                  <a:pt x="14063" y="13469"/>
                </a:cubicBezTo>
                <a:cubicBezTo>
                  <a:pt x="14063" y="13469"/>
                  <a:pt x="14063" y="13469"/>
                  <a:pt x="14031" y="13469"/>
                </a:cubicBezTo>
                <a:cubicBezTo>
                  <a:pt x="14031" y="13469"/>
                  <a:pt x="14031" y="13469"/>
                  <a:pt x="14031" y="13469"/>
                </a:cubicBezTo>
                <a:close/>
                <a:moveTo>
                  <a:pt x="15125" y="11688"/>
                </a:moveTo>
                <a:cubicBezTo>
                  <a:pt x="15094" y="11719"/>
                  <a:pt x="15094" y="11719"/>
                  <a:pt x="15094" y="11750"/>
                </a:cubicBezTo>
                <a:cubicBezTo>
                  <a:pt x="15094" y="11750"/>
                  <a:pt x="15094" y="11750"/>
                  <a:pt x="15094" y="11750"/>
                </a:cubicBezTo>
                <a:cubicBezTo>
                  <a:pt x="15063" y="11750"/>
                  <a:pt x="15063" y="11782"/>
                  <a:pt x="15063" y="11813"/>
                </a:cubicBezTo>
                <a:cubicBezTo>
                  <a:pt x="15063" y="11813"/>
                  <a:pt x="15063" y="11813"/>
                  <a:pt x="15063" y="11813"/>
                </a:cubicBezTo>
                <a:cubicBezTo>
                  <a:pt x="15031" y="11813"/>
                  <a:pt x="15000" y="11844"/>
                  <a:pt x="15000" y="11844"/>
                </a:cubicBezTo>
                <a:cubicBezTo>
                  <a:pt x="14969" y="11844"/>
                  <a:pt x="14938" y="11875"/>
                  <a:pt x="14938" y="11844"/>
                </a:cubicBezTo>
                <a:cubicBezTo>
                  <a:pt x="14938" y="11844"/>
                  <a:pt x="14938" y="11844"/>
                  <a:pt x="14938" y="11844"/>
                </a:cubicBezTo>
                <a:cubicBezTo>
                  <a:pt x="15000" y="11782"/>
                  <a:pt x="15031" y="11719"/>
                  <a:pt x="15125" y="11688"/>
                </a:cubicBezTo>
                <a:close/>
                <a:moveTo>
                  <a:pt x="16813" y="11750"/>
                </a:moveTo>
                <a:cubicBezTo>
                  <a:pt x="17031" y="11750"/>
                  <a:pt x="17281" y="11750"/>
                  <a:pt x="17531" y="11719"/>
                </a:cubicBezTo>
                <a:cubicBezTo>
                  <a:pt x="17594" y="11688"/>
                  <a:pt x="17688" y="11719"/>
                  <a:pt x="17750" y="11719"/>
                </a:cubicBezTo>
                <a:cubicBezTo>
                  <a:pt x="17750" y="11719"/>
                  <a:pt x="17750" y="11719"/>
                  <a:pt x="17750" y="11719"/>
                </a:cubicBezTo>
                <a:cubicBezTo>
                  <a:pt x="17719" y="11782"/>
                  <a:pt x="17750" y="11844"/>
                  <a:pt x="17781" y="11907"/>
                </a:cubicBezTo>
                <a:cubicBezTo>
                  <a:pt x="17750" y="11938"/>
                  <a:pt x="17719" y="11938"/>
                  <a:pt x="17688" y="11938"/>
                </a:cubicBezTo>
                <a:cubicBezTo>
                  <a:pt x="17688" y="11938"/>
                  <a:pt x="17688" y="11938"/>
                  <a:pt x="17688" y="11938"/>
                </a:cubicBezTo>
                <a:cubicBezTo>
                  <a:pt x="17688" y="11907"/>
                  <a:pt x="17688" y="11907"/>
                  <a:pt x="17688" y="11875"/>
                </a:cubicBezTo>
                <a:cubicBezTo>
                  <a:pt x="17688" y="11875"/>
                  <a:pt x="17656" y="11875"/>
                  <a:pt x="17656" y="11875"/>
                </a:cubicBezTo>
                <a:cubicBezTo>
                  <a:pt x="17625" y="11938"/>
                  <a:pt x="17563" y="11938"/>
                  <a:pt x="17500" y="11938"/>
                </a:cubicBezTo>
                <a:cubicBezTo>
                  <a:pt x="17469" y="11938"/>
                  <a:pt x="17438" y="11969"/>
                  <a:pt x="17438" y="12000"/>
                </a:cubicBezTo>
                <a:cubicBezTo>
                  <a:pt x="17438" y="12094"/>
                  <a:pt x="17406" y="12188"/>
                  <a:pt x="17375" y="12250"/>
                </a:cubicBezTo>
                <a:cubicBezTo>
                  <a:pt x="17375" y="12250"/>
                  <a:pt x="17375" y="12250"/>
                  <a:pt x="17375" y="12250"/>
                </a:cubicBezTo>
                <a:cubicBezTo>
                  <a:pt x="17344" y="12219"/>
                  <a:pt x="17375" y="12157"/>
                  <a:pt x="17344" y="12125"/>
                </a:cubicBezTo>
                <a:cubicBezTo>
                  <a:pt x="17344" y="12125"/>
                  <a:pt x="17344" y="12094"/>
                  <a:pt x="17344" y="12094"/>
                </a:cubicBezTo>
                <a:cubicBezTo>
                  <a:pt x="17375" y="12063"/>
                  <a:pt x="17344" y="12063"/>
                  <a:pt x="17344" y="12032"/>
                </a:cubicBezTo>
                <a:cubicBezTo>
                  <a:pt x="17344" y="11938"/>
                  <a:pt x="17281" y="11875"/>
                  <a:pt x="17281" y="11782"/>
                </a:cubicBezTo>
                <a:cubicBezTo>
                  <a:pt x="17281" y="11782"/>
                  <a:pt x="17281" y="11782"/>
                  <a:pt x="17250" y="11782"/>
                </a:cubicBezTo>
                <a:cubicBezTo>
                  <a:pt x="17250" y="11782"/>
                  <a:pt x="17250" y="11813"/>
                  <a:pt x="17250" y="11813"/>
                </a:cubicBezTo>
                <a:cubicBezTo>
                  <a:pt x="17281" y="11875"/>
                  <a:pt x="17188" y="11907"/>
                  <a:pt x="17250" y="11969"/>
                </a:cubicBezTo>
                <a:cubicBezTo>
                  <a:pt x="17250" y="12000"/>
                  <a:pt x="17250" y="12000"/>
                  <a:pt x="17219" y="12032"/>
                </a:cubicBezTo>
                <a:cubicBezTo>
                  <a:pt x="17219" y="12032"/>
                  <a:pt x="17188" y="12032"/>
                  <a:pt x="17188" y="12032"/>
                </a:cubicBezTo>
                <a:cubicBezTo>
                  <a:pt x="17156" y="11969"/>
                  <a:pt x="17125" y="12000"/>
                  <a:pt x="17125" y="12032"/>
                </a:cubicBezTo>
                <a:cubicBezTo>
                  <a:pt x="17094" y="12063"/>
                  <a:pt x="17094" y="12094"/>
                  <a:pt x="17094" y="12125"/>
                </a:cubicBezTo>
                <a:cubicBezTo>
                  <a:pt x="17094" y="12188"/>
                  <a:pt x="17063" y="12219"/>
                  <a:pt x="17000" y="12219"/>
                </a:cubicBezTo>
                <a:cubicBezTo>
                  <a:pt x="17000" y="12188"/>
                  <a:pt x="17063" y="12125"/>
                  <a:pt x="16969" y="12094"/>
                </a:cubicBezTo>
                <a:cubicBezTo>
                  <a:pt x="16938" y="12094"/>
                  <a:pt x="16969" y="12063"/>
                  <a:pt x="16969" y="12063"/>
                </a:cubicBezTo>
                <a:cubicBezTo>
                  <a:pt x="17031" y="12000"/>
                  <a:pt x="16969" y="11969"/>
                  <a:pt x="16906" y="11969"/>
                </a:cubicBezTo>
                <a:cubicBezTo>
                  <a:pt x="16906" y="11969"/>
                  <a:pt x="16875" y="12000"/>
                  <a:pt x="16844" y="11969"/>
                </a:cubicBezTo>
                <a:cubicBezTo>
                  <a:pt x="16844" y="11907"/>
                  <a:pt x="16813" y="11907"/>
                  <a:pt x="16781" y="11938"/>
                </a:cubicBezTo>
                <a:cubicBezTo>
                  <a:pt x="16750" y="11938"/>
                  <a:pt x="16719" y="11938"/>
                  <a:pt x="16688" y="11907"/>
                </a:cubicBezTo>
                <a:cubicBezTo>
                  <a:pt x="16625" y="11875"/>
                  <a:pt x="16563" y="11844"/>
                  <a:pt x="16469" y="11844"/>
                </a:cubicBezTo>
                <a:cubicBezTo>
                  <a:pt x="16469" y="11844"/>
                  <a:pt x="16469" y="11844"/>
                  <a:pt x="16469" y="11813"/>
                </a:cubicBezTo>
                <a:cubicBezTo>
                  <a:pt x="16563" y="11750"/>
                  <a:pt x="16688" y="11750"/>
                  <a:pt x="16813" y="11750"/>
                </a:cubicBezTo>
                <a:close/>
                <a:moveTo>
                  <a:pt x="16438" y="13750"/>
                </a:moveTo>
                <a:cubicBezTo>
                  <a:pt x="16469" y="13750"/>
                  <a:pt x="16500" y="13750"/>
                  <a:pt x="16500" y="13750"/>
                </a:cubicBezTo>
                <a:cubicBezTo>
                  <a:pt x="16500" y="13750"/>
                  <a:pt x="16500" y="13750"/>
                  <a:pt x="16500" y="13750"/>
                </a:cubicBezTo>
                <a:cubicBezTo>
                  <a:pt x="16531" y="13750"/>
                  <a:pt x="16531" y="13750"/>
                  <a:pt x="16531" y="13750"/>
                </a:cubicBezTo>
                <a:cubicBezTo>
                  <a:pt x="16531" y="13782"/>
                  <a:pt x="16563" y="13813"/>
                  <a:pt x="16500" y="13813"/>
                </a:cubicBezTo>
                <a:cubicBezTo>
                  <a:pt x="16438" y="13813"/>
                  <a:pt x="16406" y="13875"/>
                  <a:pt x="16406" y="13907"/>
                </a:cubicBezTo>
                <a:cubicBezTo>
                  <a:pt x="16406" y="14000"/>
                  <a:pt x="16375" y="14032"/>
                  <a:pt x="16281" y="14032"/>
                </a:cubicBezTo>
                <a:cubicBezTo>
                  <a:pt x="16250" y="14032"/>
                  <a:pt x="16250" y="14063"/>
                  <a:pt x="16219" y="14063"/>
                </a:cubicBezTo>
                <a:cubicBezTo>
                  <a:pt x="16125" y="14188"/>
                  <a:pt x="16063" y="14313"/>
                  <a:pt x="16000" y="14438"/>
                </a:cubicBezTo>
                <a:cubicBezTo>
                  <a:pt x="15969" y="14469"/>
                  <a:pt x="15938" y="14532"/>
                  <a:pt x="15938" y="14563"/>
                </a:cubicBezTo>
                <a:cubicBezTo>
                  <a:pt x="15938" y="14532"/>
                  <a:pt x="15969" y="14469"/>
                  <a:pt x="16000" y="14438"/>
                </a:cubicBezTo>
                <a:cubicBezTo>
                  <a:pt x="16063" y="14313"/>
                  <a:pt x="16125" y="14188"/>
                  <a:pt x="16219" y="14063"/>
                </a:cubicBezTo>
                <a:cubicBezTo>
                  <a:pt x="16250" y="13969"/>
                  <a:pt x="16344" y="13907"/>
                  <a:pt x="16375" y="13813"/>
                </a:cubicBezTo>
                <a:cubicBezTo>
                  <a:pt x="16406" y="13782"/>
                  <a:pt x="16438" y="13782"/>
                  <a:pt x="16438" y="13750"/>
                </a:cubicBezTo>
                <a:cubicBezTo>
                  <a:pt x="16500" y="13657"/>
                  <a:pt x="16563" y="13563"/>
                  <a:pt x="16625" y="13469"/>
                </a:cubicBezTo>
                <a:cubicBezTo>
                  <a:pt x="16563" y="13563"/>
                  <a:pt x="16500" y="13657"/>
                  <a:pt x="16438" y="13750"/>
                </a:cubicBezTo>
                <a:close/>
                <a:moveTo>
                  <a:pt x="16531" y="13719"/>
                </a:moveTo>
                <a:cubicBezTo>
                  <a:pt x="16531" y="13719"/>
                  <a:pt x="16531" y="13750"/>
                  <a:pt x="16531" y="13750"/>
                </a:cubicBezTo>
                <a:cubicBezTo>
                  <a:pt x="16531" y="13750"/>
                  <a:pt x="16531" y="13719"/>
                  <a:pt x="16531" y="13719"/>
                </a:cubicBezTo>
                <a:close/>
                <a:moveTo>
                  <a:pt x="17688" y="11938"/>
                </a:moveTo>
                <a:cubicBezTo>
                  <a:pt x="17688" y="11969"/>
                  <a:pt x="17688" y="12000"/>
                  <a:pt x="17688" y="12000"/>
                </a:cubicBezTo>
                <a:cubicBezTo>
                  <a:pt x="17688" y="12000"/>
                  <a:pt x="17688" y="11969"/>
                  <a:pt x="17688" y="11938"/>
                </a:cubicBezTo>
                <a:close/>
                <a:moveTo>
                  <a:pt x="17313" y="12344"/>
                </a:moveTo>
                <a:cubicBezTo>
                  <a:pt x="17313" y="12344"/>
                  <a:pt x="17313" y="12344"/>
                  <a:pt x="17313" y="12344"/>
                </a:cubicBezTo>
                <a:cubicBezTo>
                  <a:pt x="17313" y="12344"/>
                  <a:pt x="17313" y="12344"/>
                  <a:pt x="17313" y="12344"/>
                </a:cubicBezTo>
                <a:close/>
                <a:moveTo>
                  <a:pt x="17313" y="12532"/>
                </a:moveTo>
                <a:cubicBezTo>
                  <a:pt x="17344" y="12532"/>
                  <a:pt x="17344" y="12532"/>
                  <a:pt x="17344" y="12532"/>
                </a:cubicBezTo>
                <a:cubicBezTo>
                  <a:pt x="17344" y="12532"/>
                  <a:pt x="17344" y="12532"/>
                  <a:pt x="17313" y="12532"/>
                </a:cubicBezTo>
                <a:cubicBezTo>
                  <a:pt x="17313" y="12563"/>
                  <a:pt x="17313" y="12594"/>
                  <a:pt x="17313" y="12594"/>
                </a:cubicBezTo>
                <a:cubicBezTo>
                  <a:pt x="17313" y="12594"/>
                  <a:pt x="17313" y="12563"/>
                  <a:pt x="17313" y="12532"/>
                </a:cubicBezTo>
                <a:close/>
                <a:moveTo>
                  <a:pt x="17344" y="12313"/>
                </a:moveTo>
                <a:cubicBezTo>
                  <a:pt x="17344" y="12313"/>
                  <a:pt x="17344" y="12313"/>
                  <a:pt x="17375" y="12313"/>
                </a:cubicBezTo>
                <a:cubicBezTo>
                  <a:pt x="17344" y="12313"/>
                  <a:pt x="17344" y="12313"/>
                  <a:pt x="17344" y="12313"/>
                </a:cubicBezTo>
                <a:close/>
                <a:moveTo>
                  <a:pt x="16031" y="13407"/>
                </a:moveTo>
                <a:cubicBezTo>
                  <a:pt x="16000" y="13407"/>
                  <a:pt x="16000" y="13438"/>
                  <a:pt x="15969" y="13438"/>
                </a:cubicBezTo>
                <a:cubicBezTo>
                  <a:pt x="15969" y="13438"/>
                  <a:pt x="15969" y="13438"/>
                  <a:pt x="15969" y="13438"/>
                </a:cubicBezTo>
                <a:cubicBezTo>
                  <a:pt x="15969" y="13438"/>
                  <a:pt x="15938" y="13469"/>
                  <a:pt x="15938" y="13469"/>
                </a:cubicBezTo>
                <a:cubicBezTo>
                  <a:pt x="15938" y="13469"/>
                  <a:pt x="15906" y="13469"/>
                  <a:pt x="15906" y="13469"/>
                </a:cubicBezTo>
                <a:cubicBezTo>
                  <a:pt x="15906" y="13469"/>
                  <a:pt x="15938" y="13469"/>
                  <a:pt x="15938" y="13469"/>
                </a:cubicBezTo>
                <a:cubicBezTo>
                  <a:pt x="15938" y="13469"/>
                  <a:pt x="15969" y="13438"/>
                  <a:pt x="15969" y="13438"/>
                </a:cubicBezTo>
                <a:cubicBezTo>
                  <a:pt x="15969" y="13438"/>
                  <a:pt x="15969" y="13438"/>
                  <a:pt x="15969" y="13438"/>
                </a:cubicBezTo>
                <a:cubicBezTo>
                  <a:pt x="16000" y="13438"/>
                  <a:pt x="16000" y="13407"/>
                  <a:pt x="16031" y="13407"/>
                </a:cubicBezTo>
                <a:close/>
                <a:moveTo>
                  <a:pt x="15906" y="12594"/>
                </a:moveTo>
                <a:cubicBezTo>
                  <a:pt x="15906" y="12563"/>
                  <a:pt x="15906" y="12563"/>
                  <a:pt x="15938" y="12532"/>
                </a:cubicBezTo>
                <a:cubicBezTo>
                  <a:pt x="15906" y="12563"/>
                  <a:pt x="15906" y="12563"/>
                  <a:pt x="15906" y="12594"/>
                </a:cubicBezTo>
                <a:close/>
                <a:moveTo>
                  <a:pt x="16344" y="12219"/>
                </a:moveTo>
                <a:cubicBezTo>
                  <a:pt x="16344" y="12219"/>
                  <a:pt x="16344" y="12219"/>
                  <a:pt x="16344" y="12219"/>
                </a:cubicBezTo>
                <a:cubicBezTo>
                  <a:pt x="16375" y="12219"/>
                  <a:pt x="16406" y="12188"/>
                  <a:pt x="16406" y="12188"/>
                </a:cubicBezTo>
                <a:cubicBezTo>
                  <a:pt x="16406" y="12188"/>
                  <a:pt x="16375" y="12219"/>
                  <a:pt x="16344" y="12219"/>
                </a:cubicBezTo>
                <a:close/>
                <a:moveTo>
                  <a:pt x="15531" y="11750"/>
                </a:moveTo>
                <a:cubicBezTo>
                  <a:pt x="15531" y="11719"/>
                  <a:pt x="15531" y="11719"/>
                  <a:pt x="15563" y="11719"/>
                </a:cubicBezTo>
                <a:cubicBezTo>
                  <a:pt x="15531" y="11719"/>
                  <a:pt x="15531" y="11719"/>
                  <a:pt x="15531" y="11750"/>
                </a:cubicBezTo>
                <a:close/>
                <a:moveTo>
                  <a:pt x="15125" y="11750"/>
                </a:moveTo>
                <a:cubicBezTo>
                  <a:pt x="15125" y="11750"/>
                  <a:pt x="15125" y="11750"/>
                  <a:pt x="15125" y="11750"/>
                </a:cubicBezTo>
                <a:cubicBezTo>
                  <a:pt x="15125" y="11750"/>
                  <a:pt x="15125" y="11750"/>
                  <a:pt x="15125" y="11750"/>
                </a:cubicBezTo>
                <a:close/>
                <a:moveTo>
                  <a:pt x="14531" y="12282"/>
                </a:moveTo>
                <a:cubicBezTo>
                  <a:pt x="14500" y="12282"/>
                  <a:pt x="14469" y="12282"/>
                  <a:pt x="14469" y="12282"/>
                </a:cubicBezTo>
                <a:cubicBezTo>
                  <a:pt x="14469" y="12282"/>
                  <a:pt x="14500" y="12282"/>
                  <a:pt x="14531" y="12282"/>
                </a:cubicBezTo>
                <a:cubicBezTo>
                  <a:pt x="14594" y="12219"/>
                  <a:pt x="14656" y="12125"/>
                  <a:pt x="14750" y="12063"/>
                </a:cubicBezTo>
                <a:cubicBezTo>
                  <a:pt x="14656" y="12125"/>
                  <a:pt x="14594" y="12219"/>
                  <a:pt x="14531" y="12282"/>
                </a:cubicBezTo>
                <a:close/>
                <a:moveTo>
                  <a:pt x="15031" y="12719"/>
                </a:moveTo>
                <a:cubicBezTo>
                  <a:pt x="15031" y="12719"/>
                  <a:pt x="15031" y="12719"/>
                  <a:pt x="15031" y="12719"/>
                </a:cubicBezTo>
                <a:cubicBezTo>
                  <a:pt x="15000" y="12782"/>
                  <a:pt x="15000" y="12844"/>
                  <a:pt x="14969" y="12907"/>
                </a:cubicBezTo>
                <a:cubicBezTo>
                  <a:pt x="15000" y="12844"/>
                  <a:pt x="15000" y="12782"/>
                  <a:pt x="15031" y="12719"/>
                </a:cubicBezTo>
                <a:close/>
                <a:moveTo>
                  <a:pt x="15125" y="14282"/>
                </a:moveTo>
                <a:cubicBezTo>
                  <a:pt x="15156" y="14282"/>
                  <a:pt x="15125" y="14282"/>
                  <a:pt x="15125" y="14282"/>
                </a:cubicBezTo>
                <a:cubicBezTo>
                  <a:pt x="15125" y="14282"/>
                  <a:pt x="15125" y="14282"/>
                  <a:pt x="15125" y="14282"/>
                </a:cubicBezTo>
                <a:cubicBezTo>
                  <a:pt x="15125" y="14282"/>
                  <a:pt x="15156" y="14282"/>
                  <a:pt x="15125" y="14282"/>
                </a:cubicBezTo>
                <a:close/>
                <a:moveTo>
                  <a:pt x="15219" y="13719"/>
                </a:moveTo>
                <a:cubicBezTo>
                  <a:pt x="15250" y="13688"/>
                  <a:pt x="15313" y="13657"/>
                  <a:pt x="15344" y="13657"/>
                </a:cubicBezTo>
                <a:cubicBezTo>
                  <a:pt x="15344" y="13657"/>
                  <a:pt x="15344" y="13657"/>
                  <a:pt x="15344" y="13657"/>
                </a:cubicBezTo>
                <a:cubicBezTo>
                  <a:pt x="15313" y="13657"/>
                  <a:pt x="15250" y="13688"/>
                  <a:pt x="15219" y="13719"/>
                </a:cubicBezTo>
                <a:close/>
                <a:moveTo>
                  <a:pt x="15313" y="13719"/>
                </a:moveTo>
                <a:cubicBezTo>
                  <a:pt x="15313" y="13719"/>
                  <a:pt x="15313" y="13719"/>
                  <a:pt x="15313" y="13750"/>
                </a:cubicBezTo>
                <a:cubicBezTo>
                  <a:pt x="15313" y="13750"/>
                  <a:pt x="15313" y="13750"/>
                  <a:pt x="15313" y="13750"/>
                </a:cubicBezTo>
                <a:cubicBezTo>
                  <a:pt x="15313" y="13719"/>
                  <a:pt x="15313" y="13719"/>
                  <a:pt x="15313" y="13719"/>
                </a:cubicBezTo>
                <a:close/>
                <a:moveTo>
                  <a:pt x="15719" y="13469"/>
                </a:moveTo>
                <a:cubicBezTo>
                  <a:pt x="15719" y="13469"/>
                  <a:pt x="15719" y="13469"/>
                  <a:pt x="15719" y="13469"/>
                </a:cubicBezTo>
                <a:cubicBezTo>
                  <a:pt x="15719" y="13532"/>
                  <a:pt x="15719" y="13563"/>
                  <a:pt x="15656" y="13594"/>
                </a:cubicBezTo>
                <a:cubicBezTo>
                  <a:pt x="15719" y="13563"/>
                  <a:pt x="15719" y="13532"/>
                  <a:pt x="15719" y="13469"/>
                </a:cubicBezTo>
                <a:close/>
                <a:moveTo>
                  <a:pt x="15344" y="13438"/>
                </a:moveTo>
                <a:cubicBezTo>
                  <a:pt x="15344" y="13438"/>
                  <a:pt x="15344" y="13438"/>
                  <a:pt x="15344" y="13438"/>
                </a:cubicBezTo>
                <a:cubicBezTo>
                  <a:pt x="15344" y="13438"/>
                  <a:pt x="15344" y="13438"/>
                  <a:pt x="15344" y="13438"/>
                </a:cubicBezTo>
                <a:close/>
                <a:moveTo>
                  <a:pt x="15313" y="13500"/>
                </a:moveTo>
                <a:cubicBezTo>
                  <a:pt x="15313" y="13469"/>
                  <a:pt x="15313" y="13469"/>
                  <a:pt x="15313" y="13469"/>
                </a:cubicBezTo>
                <a:cubicBezTo>
                  <a:pt x="15313" y="13469"/>
                  <a:pt x="15313" y="13469"/>
                  <a:pt x="15313" y="13500"/>
                </a:cubicBezTo>
                <a:close/>
                <a:moveTo>
                  <a:pt x="15156" y="13782"/>
                </a:moveTo>
                <a:cubicBezTo>
                  <a:pt x="15156" y="13813"/>
                  <a:pt x="15156" y="13844"/>
                  <a:pt x="15156" y="13875"/>
                </a:cubicBezTo>
                <a:cubicBezTo>
                  <a:pt x="15125" y="13875"/>
                  <a:pt x="15125" y="13907"/>
                  <a:pt x="15125" y="13938"/>
                </a:cubicBezTo>
                <a:cubicBezTo>
                  <a:pt x="15125" y="13907"/>
                  <a:pt x="15125" y="13875"/>
                  <a:pt x="15156" y="13875"/>
                </a:cubicBezTo>
                <a:cubicBezTo>
                  <a:pt x="15156" y="13844"/>
                  <a:pt x="15156" y="13813"/>
                  <a:pt x="15156" y="13782"/>
                </a:cubicBezTo>
                <a:close/>
                <a:moveTo>
                  <a:pt x="15188" y="13782"/>
                </a:moveTo>
                <a:cubicBezTo>
                  <a:pt x="15156" y="13782"/>
                  <a:pt x="15156" y="13782"/>
                  <a:pt x="15156" y="13782"/>
                </a:cubicBezTo>
                <a:cubicBezTo>
                  <a:pt x="15156" y="13782"/>
                  <a:pt x="15156" y="13782"/>
                  <a:pt x="15188" y="13782"/>
                </a:cubicBezTo>
                <a:close/>
                <a:moveTo>
                  <a:pt x="15094" y="14157"/>
                </a:moveTo>
                <a:cubicBezTo>
                  <a:pt x="15094" y="14125"/>
                  <a:pt x="15094" y="14094"/>
                  <a:pt x="15125" y="14094"/>
                </a:cubicBezTo>
                <a:cubicBezTo>
                  <a:pt x="15094" y="14063"/>
                  <a:pt x="15125" y="14032"/>
                  <a:pt x="15125" y="14000"/>
                </a:cubicBezTo>
                <a:cubicBezTo>
                  <a:pt x="15125" y="14032"/>
                  <a:pt x="15094" y="14063"/>
                  <a:pt x="15125" y="14094"/>
                </a:cubicBezTo>
                <a:cubicBezTo>
                  <a:pt x="15094" y="14094"/>
                  <a:pt x="15094" y="14125"/>
                  <a:pt x="15094" y="14157"/>
                </a:cubicBezTo>
                <a:cubicBezTo>
                  <a:pt x="15063" y="14188"/>
                  <a:pt x="15031" y="14219"/>
                  <a:pt x="15031" y="14250"/>
                </a:cubicBezTo>
                <a:cubicBezTo>
                  <a:pt x="15031" y="14219"/>
                  <a:pt x="15063" y="14188"/>
                  <a:pt x="15094" y="14157"/>
                </a:cubicBezTo>
                <a:close/>
                <a:moveTo>
                  <a:pt x="15844" y="13469"/>
                </a:moveTo>
                <a:cubicBezTo>
                  <a:pt x="15813" y="13469"/>
                  <a:pt x="15813" y="13469"/>
                  <a:pt x="15813" y="13469"/>
                </a:cubicBezTo>
                <a:cubicBezTo>
                  <a:pt x="15813" y="13469"/>
                  <a:pt x="15813" y="13469"/>
                  <a:pt x="15844" y="13469"/>
                </a:cubicBezTo>
                <a:close/>
                <a:moveTo>
                  <a:pt x="15938" y="14782"/>
                </a:moveTo>
                <a:cubicBezTo>
                  <a:pt x="15938" y="14782"/>
                  <a:pt x="15938" y="14782"/>
                  <a:pt x="15938" y="14782"/>
                </a:cubicBezTo>
                <a:cubicBezTo>
                  <a:pt x="15938" y="14782"/>
                  <a:pt x="15938" y="14782"/>
                  <a:pt x="15938" y="14782"/>
                </a:cubicBezTo>
                <a:close/>
                <a:moveTo>
                  <a:pt x="18219" y="11563"/>
                </a:moveTo>
                <a:cubicBezTo>
                  <a:pt x="18188" y="11594"/>
                  <a:pt x="18156" y="11594"/>
                  <a:pt x="18125" y="11594"/>
                </a:cubicBezTo>
                <a:cubicBezTo>
                  <a:pt x="18156" y="11594"/>
                  <a:pt x="18188" y="11594"/>
                  <a:pt x="18219" y="11563"/>
                </a:cubicBezTo>
                <a:cubicBezTo>
                  <a:pt x="18219" y="11563"/>
                  <a:pt x="18219" y="11532"/>
                  <a:pt x="18250" y="11563"/>
                </a:cubicBezTo>
                <a:cubicBezTo>
                  <a:pt x="18219" y="11532"/>
                  <a:pt x="18219" y="11563"/>
                  <a:pt x="18219" y="11563"/>
                </a:cubicBezTo>
                <a:close/>
                <a:moveTo>
                  <a:pt x="15375" y="11625"/>
                </a:moveTo>
                <a:cubicBezTo>
                  <a:pt x="15375" y="11625"/>
                  <a:pt x="15375" y="11625"/>
                  <a:pt x="15375" y="11625"/>
                </a:cubicBezTo>
                <a:cubicBezTo>
                  <a:pt x="15375" y="11625"/>
                  <a:pt x="15375" y="11625"/>
                  <a:pt x="15375" y="11625"/>
                </a:cubicBezTo>
                <a:close/>
                <a:moveTo>
                  <a:pt x="13906" y="8938"/>
                </a:moveTo>
                <a:cubicBezTo>
                  <a:pt x="13906" y="8938"/>
                  <a:pt x="13906" y="8938"/>
                  <a:pt x="13906" y="8938"/>
                </a:cubicBezTo>
                <a:cubicBezTo>
                  <a:pt x="13875" y="8969"/>
                  <a:pt x="13844" y="9000"/>
                  <a:pt x="13844" y="9063"/>
                </a:cubicBezTo>
                <a:cubicBezTo>
                  <a:pt x="13844" y="9063"/>
                  <a:pt x="13844" y="9063"/>
                  <a:pt x="13844" y="9063"/>
                </a:cubicBezTo>
                <a:cubicBezTo>
                  <a:pt x="13844" y="9063"/>
                  <a:pt x="13844" y="9063"/>
                  <a:pt x="13844" y="9063"/>
                </a:cubicBezTo>
                <a:cubicBezTo>
                  <a:pt x="13813" y="9094"/>
                  <a:pt x="13688" y="9219"/>
                  <a:pt x="13688" y="9282"/>
                </a:cubicBezTo>
                <a:cubicBezTo>
                  <a:pt x="13688" y="9313"/>
                  <a:pt x="13688" y="9344"/>
                  <a:pt x="13750" y="9344"/>
                </a:cubicBezTo>
                <a:cubicBezTo>
                  <a:pt x="13750" y="9375"/>
                  <a:pt x="13719" y="9407"/>
                  <a:pt x="13719" y="9438"/>
                </a:cubicBezTo>
                <a:cubicBezTo>
                  <a:pt x="13719" y="9500"/>
                  <a:pt x="13719" y="9563"/>
                  <a:pt x="13719" y="9657"/>
                </a:cubicBezTo>
                <a:cubicBezTo>
                  <a:pt x="13719" y="9563"/>
                  <a:pt x="13719" y="9500"/>
                  <a:pt x="13719" y="9438"/>
                </a:cubicBezTo>
                <a:cubicBezTo>
                  <a:pt x="13625" y="9438"/>
                  <a:pt x="13594" y="9532"/>
                  <a:pt x="13531" y="9594"/>
                </a:cubicBezTo>
                <a:cubicBezTo>
                  <a:pt x="13531" y="9594"/>
                  <a:pt x="13531" y="9625"/>
                  <a:pt x="13531" y="9625"/>
                </a:cubicBezTo>
                <a:cubicBezTo>
                  <a:pt x="13469" y="9657"/>
                  <a:pt x="13406" y="9657"/>
                  <a:pt x="13500" y="9719"/>
                </a:cubicBezTo>
                <a:cubicBezTo>
                  <a:pt x="13500" y="9750"/>
                  <a:pt x="13469" y="9813"/>
                  <a:pt x="13438" y="9813"/>
                </a:cubicBezTo>
                <a:cubicBezTo>
                  <a:pt x="13344" y="9875"/>
                  <a:pt x="13313" y="9938"/>
                  <a:pt x="13281" y="10032"/>
                </a:cubicBezTo>
                <a:cubicBezTo>
                  <a:pt x="13281" y="10063"/>
                  <a:pt x="13281" y="10094"/>
                  <a:pt x="13281" y="10094"/>
                </a:cubicBezTo>
                <a:cubicBezTo>
                  <a:pt x="13313" y="10157"/>
                  <a:pt x="13313" y="10157"/>
                  <a:pt x="13219" y="10188"/>
                </a:cubicBezTo>
                <a:cubicBezTo>
                  <a:pt x="13250" y="10157"/>
                  <a:pt x="13219" y="10094"/>
                  <a:pt x="13188" y="10094"/>
                </a:cubicBezTo>
                <a:cubicBezTo>
                  <a:pt x="13188" y="10094"/>
                  <a:pt x="13188" y="10094"/>
                  <a:pt x="13188" y="10094"/>
                </a:cubicBezTo>
                <a:cubicBezTo>
                  <a:pt x="13188" y="10063"/>
                  <a:pt x="13188" y="10063"/>
                  <a:pt x="13188" y="10032"/>
                </a:cubicBezTo>
                <a:cubicBezTo>
                  <a:pt x="13188" y="10032"/>
                  <a:pt x="13188" y="10000"/>
                  <a:pt x="13188" y="10000"/>
                </a:cubicBezTo>
                <a:cubicBezTo>
                  <a:pt x="13188" y="9969"/>
                  <a:pt x="13219" y="9938"/>
                  <a:pt x="13188" y="9938"/>
                </a:cubicBezTo>
                <a:cubicBezTo>
                  <a:pt x="13156" y="9938"/>
                  <a:pt x="13125" y="9938"/>
                  <a:pt x="13125" y="9969"/>
                </a:cubicBezTo>
                <a:cubicBezTo>
                  <a:pt x="13063" y="9969"/>
                  <a:pt x="13063" y="10032"/>
                  <a:pt x="13000" y="10032"/>
                </a:cubicBezTo>
                <a:cubicBezTo>
                  <a:pt x="13000" y="10032"/>
                  <a:pt x="13000" y="10032"/>
                  <a:pt x="13000" y="10000"/>
                </a:cubicBezTo>
                <a:cubicBezTo>
                  <a:pt x="13000" y="10000"/>
                  <a:pt x="13000" y="10000"/>
                  <a:pt x="13000" y="10000"/>
                </a:cubicBezTo>
                <a:cubicBezTo>
                  <a:pt x="13000" y="10000"/>
                  <a:pt x="13031" y="10000"/>
                  <a:pt x="13031" y="10000"/>
                </a:cubicBezTo>
                <a:cubicBezTo>
                  <a:pt x="13063" y="9875"/>
                  <a:pt x="13156" y="9813"/>
                  <a:pt x="13219" y="9750"/>
                </a:cubicBezTo>
                <a:cubicBezTo>
                  <a:pt x="13344" y="9625"/>
                  <a:pt x="13406" y="9469"/>
                  <a:pt x="13531" y="9344"/>
                </a:cubicBezTo>
                <a:cubicBezTo>
                  <a:pt x="13563" y="9313"/>
                  <a:pt x="13594" y="9282"/>
                  <a:pt x="13594" y="9219"/>
                </a:cubicBezTo>
                <a:cubicBezTo>
                  <a:pt x="13656" y="9157"/>
                  <a:pt x="13688" y="9063"/>
                  <a:pt x="13719" y="9000"/>
                </a:cubicBezTo>
                <a:cubicBezTo>
                  <a:pt x="13750" y="8969"/>
                  <a:pt x="13781" y="8907"/>
                  <a:pt x="13844" y="8875"/>
                </a:cubicBezTo>
                <a:cubicBezTo>
                  <a:pt x="13844" y="8875"/>
                  <a:pt x="13844" y="8875"/>
                  <a:pt x="13844" y="8875"/>
                </a:cubicBezTo>
                <a:cubicBezTo>
                  <a:pt x="13875" y="8875"/>
                  <a:pt x="13906" y="8907"/>
                  <a:pt x="13906" y="8938"/>
                </a:cubicBezTo>
                <a:cubicBezTo>
                  <a:pt x="13906" y="8938"/>
                  <a:pt x="13906" y="8938"/>
                  <a:pt x="13906" y="8938"/>
                </a:cubicBezTo>
                <a:close/>
                <a:moveTo>
                  <a:pt x="13875" y="6094"/>
                </a:moveTo>
                <a:cubicBezTo>
                  <a:pt x="13875" y="6094"/>
                  <a:pt x="13875" y="6094"/>
                  <a:pt x="13875" y="6094"/>
                </a:cubicBezTo>
                <a:cubicBezTo>
                  <a:pt x="13875" y="6094"/>
                  <a:pt x="13875" y="6094"/>
                  <a:pt x="13875" y="6094"/>
                </a:cubicBezTo>
                <a:close/>
                <a:moveTo>
                  <a:pt x="11906" y="8594"/>
                </a:moveTo>
                <a:cubicBezTo>
                  <a:pt x="11875" y="8594"/>
                  <a:pt x="11844" y="8594"/>
                  <a:pt x="11813" y="8594"/>
                </a:cubicBezTo>
                <a:cubicBezTo>
                  <a:pt x="11844" y="8594"/>
                  <a:pt x="11875" y="8594"/>
                  <a:pt x="11906" y="8594"/>
                </a:cubicBezTo>
                <a:cubicBezTo>
                  <a:pt x="11906" y="8594"/>
                  <a:pt x="11938" y="8594"/>
                  <a:pt x="11938" y="8563"/>
                </a:cubicBezTo>
                <a:cubicBezTo>
                  <a:pt x="11938" y="8594"/>
                  <a:pt x="11906" y="8594"/>
                  <a:pt x="11906" y="8594"/>
                </a:cubicBezTo>
                <a:close/>
                <a:moveTo>
                  <a:pt x="11875" y="7813"/>
                </a:moveTo>
                <a:cubicBezTo>
                  <a:pt x="11875" y="7813"/>
                  <a:pt x="11875" y="7813"/>
                  <a:pt x="11875" y="7813"/>
                </a:cubicBezTo>
                <a:cubicBezTo>
                  <a:pt x="11875" y="7813"/>
                  <a:pt x="11875" y="7813"/>
                  <a:pt x="11875" y="7813"/>
                </a:cubicBezTo>
                <a:close/>
                <a:moveTo>
                  <a:pt x="12656" y="4563"/>
                </a:moveTo>
                <a:cubicBezTo>
                  <a:pt x="12656" y="4563"/>
                  <a:pt x="12656" y="4563"/>
                  <a:pt x="12656" y="4563"/>
                </a:cubicBezTo>
                <a:cubicBezTo>
                  <a:pt x="12656" y="4563"/>
                  <a:pt x="12656" y="4563"/>
                  <a:pt x="12656" y="4563"/>
                </a:cubicBezTo>
                <a:close/>
                <a:moveTo>
                  <a:pt x="11688" y="5969"/>
                </a:moveTo>
                <a:cubicBezTo>
                  <a:pt x="11719" y="5938"/>
                  <a:pt x="11719" y="5938"/>
                  <a:pt x="11719" y="5938"/>
                </a:cubicBezTo>
                <a:cubicBezTo>
                  <a:pt x="11719" y="5938"/>
                  <a:pt x="11719" y="5938"/>
                  <a:pt x="11688" y="5969"/>
                </a:cubicBezTo>
                <a:cubicBezTo>
                  <a:pt x="11719" y="5969"/>
                  <a:pt x="11750" y="5969"/>
                  <a:pt x="11781" y="5938"/>
                </a:cubicBezTo>
                <a:cubicBezTo>
                  <a:pt x="11781" y="5907"/>
                  <a:pt x="11813" y="5907"/>
                  <a:pt x="11844" y="5907"/>
                </a:cubicBezTo>
                <a:cubicBezTo>
                  <a:pt x="11875" y="5875"/>
                  <a:pt x="11875" y="5875"/>
                  <a:pt x="11906" y="5875"/>
                </a:cubicBezTo>
                <a:cubicBezTo>
                  <a:pt x="11875" y="5907"/>
                  <a:pt x="11875" y="5907"/>
                  <a:pt x="11844" y="5907"/>
                </a:cubicBezTo>
                <a:cubicBezTo>
                  <a:pt x="11844" y="6032"/>
                  <a:pt x="11719" y="6000"/>
                  <a:pt x="11656" y="6063"/>
                </a:cubicBezTo>
                <a:cubicBezTo>
                  <a:pt x="11531" y="6094"/>
                  <a:pt x="11500" y="6125"/>
                  <a:pt x="11531" y="6282"/>
                </a:cubicBezTo>
                <a:cubicBezTo>
                  <a:pt x="11531" y="6344"/>
                  <a:pt x="11531" y="6407"/>
                  <a:pt x="11500" y="6469"/>
                </a:cubicBezTo>
                <a:cubicBezTo>
                  <a:pt x="11500" y="6500"/>
                  <a:pt x="11469" y="6563"/>
                  <a:pt x="11594" y="6563"/>
                </a:cubicBezTo>
                <a:cubicBezTo>
                  <a:pt x="11438" y="6657"/>
                  <a:pt x="11563" y="6782"/>
                  <a:pt x="11500" y="6907"/>
                </a:cubicBezTo>
                <a:cubicBezTo>
                  <a:pt x="11500" y="6907"/>
                  <a:pt x="11500" y="6969"/>
                  <a:pt x="11469" y="6969"/>
                </a:cubicBezTo>
                <a:cubicBezTo>
                  <a:pt x="11469" y="6969"/>
                  <a:pt x="11469" y="6969"/>
                  <a:pt x="11469" y="7000"/>
                </a:cubicBezTo>
                <a:cubicBezTo>
                  <a:pt x="11469" y="6969"/>
                  <a:pt x="11469" y="6969"/>
                  <a:pt x="11469" y="6969"/>
                </a:cubicBezTo>
                <a:cubicBezTo>
                  <a:pt x="11469" y="6969"/>
                  <a:pt x="11469" y="6938"/>
                  <a:pt x="11469" y="6938"/>
                </a:cubicBezTo>
                <a:cubicBezTo>
                  <a:pt x="11438" y="6907"/>
                  <a:pt x="11406" y="6844"/>
                  <a:pt x="11438" y="6813"/>
                </a:cubicBezTo>
                <a:cubicBezTo>
                  <a:pt x="11406" y="6844"/>
                  <a:pt x="11438" y="6907"/>
                  <a:pt x="11469" y="6938"/>
                </a:cubicBezTo>
                <a:cubicBezTo>
                  <a:pt x="11469" y="6875"/>
                  <a:pt x="11469" y="6813"/>
                  <a:pt x="11469" y="6750"/>
                </a:cubicBezTo>
                <a:cubicBezTo>
                  <a:pt x="11469" y="6750"/>
                  <a:pt x="11469" y="6719"/>
                  <a:pt x="11469" y="6719"/>
                </a:cubicBezTo>
                <a:cubicBezTo>
                  <a:pt x="11438" y="6688"/>
                  <a:pt x="11438" y="6688"/>
                  <a:pt x="11438" y="6657"/>
                </a:cubicBezTo>
                <a:cubicBezTo>
                  <a:pt x="11438" y="6688"/>
                  <a:pt x="11438" y="6688"/>
                  <a:pt x="11469" y="6719"/>
                </a:cubicBezTo>
                <a:cubicBezTo>
                  <a:pt x="11469" y="6688"/>
                  <a:pt x="11469" y="6657"/>
                  <a:pt x="11469" y="6594"/>
                </a:cubicBezTo>
                <a:cubicBezTo>
                  <a:pt x="11469" y="6594"/>
                  <a:pt x="11469" y="6563"/>
                  <a:pt x="11469" y="6563"/>
                </a:cubicBezTo>
                <a:cubicBezTo>
                  <a:pt x="11438" y="6563"/>
                  <a:pt x="11438" y="6532"/>
                  <a:pt x="11438" y="6532"/>
                </a:cubicBezTo>
                <a:cubicBezTo>
                  <a:pt x="11438" y="6500"/>
                  <a:pt x="11438" y="6500"/>
                  <a:pt x="11438" y="6500"/>
                </a:cubicBezTo>
                <a:cubicBezTo>
                  <a:pt x="11438" y="6500"/>
                  <a:pt x="11438" y="6500"/>
                  <a:pt x="11438" y="6532"/>
                </a:cubicBezTo>
                <a:cubicBezTo>
                  <a:pt x="11438" y="6532"/>
                  <a:pt x="11438" y="6563"/>
                  <a:pt x="11469" y="6563"/>
                </a:cubicBezTo>
                <a:cubicBezTo>
                  <a:pt x="11469" y="6469"/>
                  <a:pt x="11500" y="6375"/>
                  <a:pt x="11469" y="6282"/>
                </a:cubicBezTo>
                <a:cubicBezTo>
                  <a:pt x="11469" y="6188"/>
                  <a:pt x="11438" y="6125"/>
                  <a:pt x="11469" y="6063"/>
                </a:cubicBezTo>
                <a:cubicBezTo>
                  <a:pt x="11563" y="6063"/>
                  <a:pt x="11625" y="6000"/>
                  <a:pt x="11688" y="5969"/>
                </a:cubicBezTo>
                <a:close/>
                <a:moveTo>
                  <a:pt x="11500" y="4375"/>
                </a:moveTo>
                <a:cubicBezTo>
                  <a:pt x="11500" y="4375"/>
                  <a:pt x="11500" y="4375"/>
                  <a:pt x="11500" y="4375"/>
                </a:cubicBezTo>
                <a:cubicBezTo>
                  <a:pt x="11500" y="4375"/>
                  <a:pt x="11500" y="4375"/>
                  <a:pt x="11500" y="4375"/>
                </a:cubicBezTo>
                <a:cubicBezTo>
                  <a:pt x="11500" y="4375"/>
                  <a:pt x="11500" y="4375"/>
                  <a:pt x="11500" y="4375"/>
                </a:cubicBezTo>
                <a:close/>
                <a:moveTo>
                  <a:pt x="10781" y="9719"/>
                </a:moveTo>
                <a:cubicBezTo>
                  <a:pt x="10781" y="9719"/>
                  <a:pt x="10781" y="9688"/>
                  <a:pt x="10750" y="9688"/>
                </a:cubicBezTo>
                <a:cubicBezTo>
                  <a:pt x="10781" y="9688"/>
                  <a:pt x="10781" y="9719"/>
                  <a:pt x="10781" y="9719"/>
                </a:cubicBezTo>
                <a:cubicBezTo>
                  <a:pt x="10781" y="9719"/>
                  <a:pt x="10781" y="9719"/>
                  <a:pt x="10781" y="9719"/>
                </a:cubicBezTo>
                <a:close/>
                <a:moveTo>
                  <a:pt x="4656" y="9000"/>
                </a:moveTo>
                <a:cubicBezTo>
                  <a:pt x="4719" y="8969"/>
                  <a:pt x="4750" y="8969"/>
                  <a:pt x="4813" y="8969"/>
                </a:cubicBezTo>
                <a:cubicBezTo>
                  <a:pt x="4750" y="8969"/>
                  <a:pt x="4719" y="8969"/>
                  <a:pt x="4656" y="9000"/>
                </a:cubicBezTo>
                <a:cubicBezTo>
                  <a:pt x="4656" y="9000"/>
                  <a:pt x="4656" y="9000"/>
                  <a:pt x="4656" y="9000"/>
                </a:cubicBezTo>
                <a:close/>
                <a:moveTo>
                  <a:pt x="4875" y="7688"/>
                </a:moveTo>
                <a:cubicBezTo>
                  <a:pt x="4875" y="7719"/>
                  <a:pt x="4875" y="7719"/>
                  <a:pt x="4875" y="7750"/>
                </a:cubicBezTo>
                <a:cubicBezTo>
                  <a:pt x="4875" y="7750"/>
                  <a:pt x="4875" y="7750"/>
                  <a:pt x="4875" y="7750"/>
                </a:cubicBezTo>
                <a:cubicBezTo>
                  <a:pt x="4875" y="7719"/>
                  <a:pt x="4875" y="7719"/>
                  <a:pt x="4875" y="7688"/>
                </a:cubicBezTo>
                <a:close/>
                <a:moveTo>
                  <a:pt x="6313" y="8875"/>
                </a:moveTo>
                <a:cubicBezTo>
                  <a:pt x="6313" y="8875"/>
                  <a:pt x="6313" y="8875"/>
                  <a:pt x="6313" y="8875"/>
                </a:cubicBezTo>
                <a:cubicBezTo>
                  <a:pt x="6344" y="8875"/>
                  <a:pt x="6344" y="8907"/>
                  <a:pt x="6344" y="8907"/>
                </a:cubicBezTo>
                <a:cubicBezTo>
                  <a:pt x="6344" y="8907"/>
                  <a:pt x="6344" y="8875"/>
                  <a:pt x="6313" y="8875"/>
                </a:cubicBezTo>
                <a:close/>
                <a:moveTo>
                  <a:pt x="6469" y="9000"/>
                </a:moveTo>
                <a:cubicBezTo>
                  <a:pt x="6406" y="9094"/>
                  <a:pt x="6406" y="9219"/>
                  <a:pt x="6406" y="9344"/>
                </a:cubicBezTo>
                <a:cubicBezTo>
                  <a:pt x="6406" y="9375"/>
                  <a:pt x="6406" y="9407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406" y="9469"/>
                  <a:pt x="6469" y="9438"/>
                  <a:pt x="6531" y="9469"/>
                </a:cubicBezTo>
                <a:cubicBezTo>
                  <a:pt x="6375" y="9532"/>
                  <a:pt x="6438" y="9719"/>
                  <a:pt x="6375" y="9813"/>
                </a:cubicBezTo>
                <a:cubicBezTo>
                  <a:pt x="6344" y="9782"/>
                  <a:pt x="6375" y="9750"/>
                  <a:pt x="6344" y="9719"/>
                </a:cubicBezTo>
                <a:cubicBezTo>
                  <a:pt x="6344" y="9719"/>
                  <a:pt x="6344" y="9719"/>
                  <a:pt x="6344" y="9719"/>
                </a:cubicBezTo>
                <a:cubicBezTo>
                  <a:pt x="6344" y="9688"/>
                  <a:pt x="6344" y="9688"/>
                  <a:pt x="6344" y="9657"/>
                </a:cubicBezTo>
                <a:cubicBezTo>
                  <a:pt x="6344" y="9657"/>
                  <a:pt x="6344" y="9657"/>
                  <a:pt x="6344" y="9625"/>
                </a:cubicBezTo>
                <a:cubicBezTo>
                  <a:pt x="6344" y="9625"/>
                  <a:pt x="6344" y="9625"/>
                  <a:pt x="6344" y="9594"/>
                </a:cubicBezTo>
                <a:cubicBezTo>
                  <a:pt x="6344" y="9594"/>
                  <a:pt x="6344" y="9594"/>
                  <a:pt x="6344" y="9563"/>
                </a:cubicBezTo>
                <a:cubicBezTo>
                  <a:pt x="6344" y="9594"/>
                  <a:pt x="6344" y="9594"/>
                  <a:pt x="6344" y="9594"/>
                </a:cubicBezTo>
                <a:cubicBezTo>
                  <a:pt x="6375" y="9563"/>
                  <a:pt x="6375" y="9532"/>
                  <a:pt x="6375" y="9500"/>
                </a:cubicBezTo>
                <a:cubicBezTo>
                  <a:pt x="6375" y="9500"/>
                  <a:pt x="6375" y="9469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375" y="9438"/>
                  <a:pt x="6375" y="9438"/>
                  <a:pt x="6375" y="9438"/>
                </a:cubicBezTo>
                <a:cubicBezTo>
                  <a:pt x="6344" y="9438"/>
                  <a:pt x="6344" y="9438"/>
                  <a:pt x="6344" y="9407"/>
                </a:cubicBezTo>
                <a:cubicBezTo>
                  <a:pt x="6344" y="9438"/>
                  <a:pt x="6344" y="9438"/>
                  <a:pt x="6375" y="9438"/>
                </a:cubicBezTo>
                <a:cubicBezTo>
                  <a:pt x="6375" y="9407"/>
                  <a:pt x="6375" y="9375"/>
                  <a:pt x="6375" y="9313"/>
                </a:cubicBezTo>
                <a:cubicBezTo>
                  <a:pt x="6375" y="9282"/>
                  <a:pt x="6406" y="9219"/>
                  <a:pt x="6344" y="9188"/>
                </a:cubicBezTo>
                <a:cubicBezTo>
                  <a:pt x="6344" y="9125"/>
                  <a:pt x="6344" y="9063"/>
                  <a:pt x="6375" y="9000"/>
                </a:cubicBezTo>
                <a:cubicBezTo>
                  <a:pt x="6406" y="9000"/>
                  <a:pt x="6438" y="8969"/>
                  <a:pt x="6469" y="9000"/>
                </a:cubicBezTo>
                <a:close/>
                <a:moveTo>
                  <a:pt x="6594" y="13719"/>
                </a:moveTo>
                <a:cubicBezTo>
                  <a:pt x="6594" y="13750"/>
                  <a:pt x="6594" y="13782"/>
                  <a:pt x="6594" y="13813"/>
                </a:cubicBezTo>
                <a:cubicBezTo>
                  <a:pt x="6594" y="13782"/>
                  <a:pt x="6594" y="13750"/>
                  <a:pt x="6594" y="13719"/>
                </a:cubicBezTo>
                <a:close/>
                <a:moveTo>
                  <a:pt x="5875" y="11219"/>
                </a:move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50"/>
                </a:cubicBezTo>
                <a:cubicBezTo>
                  <a:pt x="5875" y="11250"/>
                  <a:pt x="5875" y="11250"/>
                  <a:pt x="5875" y="11219"/>
                </a:cubicBezTo>
                <a:close/>
                <a:moveTo>
                  <a:pt x="6656" y="12625"/>
                </a:moveTo>
                <a:cubicBezTo>
                  <a:pt x="6625" y="12625"/>
                  <a:pt x="6625" y="12625"/>
                  <a:pt x="6625" y="12625"/>
                </a:cubicBezTo>
                <a:cubicBezTo>
                  <a:pt x="6625" y="12625"/>
                  <a:pt x="6625" y="12625"/>
                  <a:pt x="6656" y="12625"/>
                </a:cubicBezTo>
                <a:cubicBezTo>
                  <a:pt x="6656" y="12625"/>
                  <a:pt x="6656" y="12625"/>
                  <a:pt x="6656" y="12625"/>
                </a:cubicBezTo>
                <a:close/>
                <a:moveTo>
                  <a:pt x="6688" y="12000"/>
                </a:moveTo>
                <a:cubicBezTo>
                  <a:pt x="6688" y="12000"/>
                  <a:pt x="6688" y="12000"/>
                  <a:pt x="6656" y="12032"/>
                </a:cubicBezTo>
                <a:cubicBezTo>
                  <a:pt x="6656" y="12032"/>
                  <a:pt x="6656" y="12032"/>
                  <a:pt x="6656" y="12032"/>
                </a:cubicBezTo>
                <a:cubicBezTo>
                  <a:pt x="6656" y="12032"/>
                  <a:pt x="6656" y="12032"/>
                  <a:pt x="6656" y="12032"/>
                </a:cubicBezTo>
                <a:cubicBezTo>
                  <a:pt x="6688" y="12000"/>
                  <a:pt x="6688" y="12000"/>
                  <a:pt x="6688" y="12000"/>
                </a:cubicBezTo>
                <a:close/>
                <a:moveTo>
                  <a:pt x="6656" y="11969"/>
                </a:moveTo>
                <a:cubicBezTo>
                  <a:pt x="6656" y="11969"/>
                  <a:pt x="6625" y="11969"/>
                  <a:pt x="6625" y="11938"/>
                </a:cubicBezTo>
                <a:cubicBezTo>
                  <a:pt x="6625" y="11969"/>
                  <a:pt x="6656" y="11969"/>
                  <a:pt x="6656" y="11969"/>
                </a:cubicBezTo>
                <a:cubicBezTo>
                  <a:pt x="6688" y="11938"/>
                  <a:pt x="6688" y="11938"/>
                  <a:pt x="6688" y="11969"/>
                </a:cubicBezTo>
                <a:cubicBezTo>
                  <a:pt x="6688" y="11938"/>
                  <a:pt x="6688" y="11938"/>
                  <a:pt x="6656" y="11969"/>
                </a:cubicBezTo>
                <a:close/>
                <a:moveTo>
                  <a:pt x="7531" y="13094"/>
                </a:moveTo>
                <a:cubicBezTo>
                  <a:pt x="7531" y="13000"/>
                  <a:pt x="7531" y="12938"/>
                  <a:pt x="7531" y="12844"/>
                </a:cubicBezTo>
                <a:cubicBezTo>
                  <a:pt x="7500" y="12844"/>
                  <a:pt x="7469" y="12875"/>
                  <a:pt x="7469" y="12875"/>
                </a:cubicBezTo>
                <a:cubicBezTo>
                  <a:pt x="7469" y="12875"/>
                  <a:pt x="7500" y="12844"/>
                  <a:pt x="7531" y="12844"/>
                </a:cubicBezTo>
                <a:cubicBezTo>
                  <a:pt x="7531" y="12938"/>
                  <a:pt x="7531" y="13000"/>
                  <a:pt x="7531" y="13094"/>
                </a:cubicBezTo>
                <a:close/>
                <a:moveTo>
                  <a:pt x="7438" y="12000"/>
                </a:moveTo>
                <a:cubicBezTo>
                  <a:pt x="7406" y="12032"/>
                  <a:pt x="7344" y="12032"/>
                  <a:pt x="7313" y="12032"/>
                </a:cubicBezTo>
                <a:cubicBezTo>
                  <a:pt x="7344" y="12032"/>
                  <a:pt x="7406" y="12032"/>
                  <a:pt x="7438" y="12000"/>
                </a:cubicBezTo>
                <a:cubicBezTo>
                  <a:pt x="7438" y="12000"/>
                  <a:pt x="7469" y="12000"/>
                  <a:pt x="7469" y="11969"/>
                </a:cubicBezTo>
                <a:cubicBezTo>
                  <a:pt x="7469" y="12000"/>
                  <a:pt x="7438" y="12000"/>
                  <a:pt x="7438" y="12000"/>
                </a:cubicBezTo>
                <a:close/>
                <a:moveTo>
                  <a:pt x="7219" y="12032"/>
                </a:moveTo>
                <a:cubicBezTo>
                  <a:pt x="7250" y="12032"/>
                  <a:pt x="7250" y="12032"/>
                  <a:pt x="7281" y="12032"/>
                </a:cubicBezTo>
                <a:cubicBezTo>
                  <a:pt x="7250" y="12032"/>
                  <a:pt x="7250" y="12032"/>
                  <a:pt x="7219" y="12032"/>
                </a:cubicBezTo>
                <a:cubicBezTo>
                  <a:pt x="7219" y="12063"/>
                  <a:pt x="7219" y="12125"/>
                  <a:pt x="7188" y="12157"/>
                </a:cubicBezTo>
                <a:cubicBezTo>
                  <a:pt x="7219" y="12125"/>
                  <a:pt x="7219" y="12063"/>
                  <a:pt x="7219" y="12032"/>
                </a:cubicBezTo>
                <a:close/>
                <a:moveTo>
                  <a:pt x="7781" y="11907"/>
                </a:moveTo>
                <a:cubicBezTo>
                  <a:pt x="7781" y="11907"/>
                  <a:pt x="7781" y="11907"/>
                  <a:pt x="7813" y="11907"/>
                </a:cubicBezTo>
                <a:cubicBezTo>
                  <a:pt x="7781" y="11907"/>
                  <a:pt x="7781" y="11907"/>
                  <a:pt x="7781" y="11907"/>
                </a:cubicBezTo>
                <a:close/>
                <a:moveTo>
                  <a:pt x="7125" y="11907"/>
                </a:moveTo>
                <a:cubicBezTo>
                  <a:pt x="7125" y="11907"/>
                  <a:pt x="7125" y="11907"/>
                  <a:pt x="7125" y="11938"/>
                </a:cubicBezTo>
                <a:cubicBezTo>
                  <a:pt x="7125" y="11907"/>
                  <a:pt x="7125" y="11907"/>
                  <a:pt x="7125" y="11907"/>
                </a:cubicBezTo>
                <a:close/>
                <a:moveTo>
                  <a:pt x="7156" y="11969"/>
                </a:moveTo>
                <a:cubicBezTo>
                  <a:pt x="7125" y="11969"/>
                  <a:pt x="7125" y="11938"/>
                  <a:pt x="7125" y="11938"/>
                </a:cubicBezTo>
                <a:cubicBezTo>
                  <a:pt x="7125" y="11938"/>
                  <a:pt x="7125" y="11969"/>
                  <a:pt x="7156" y="11969"/>
                </a:cubicBezTo>
                <a:cubicBezTo>
                  <a:pt x="7125" y="11969"/>
                  <a:pt x="7125" y="11969"/>
                  <a:pt x="7125" y="11969"/>
                </a:cubicBezTo>
                <a:cubicBezTo>
                  <a:pt x="7125" y="11969"/>
                  <a:pt x="7125" y="11969"/>
                  <a:pt x="7156" y="11969"/>
                </a:cubicBezTo>
                <a:close/>
                <a:moveTo>
                  <a:pt x="7094" y="12938"/>
                </a:moveTo>
                <a:cubicBezTo>
                  <a:pt x="7094" y="12938"/>
                  <a:pt x="7094" y="12938"/>
                  <a:pt x="7094" y="12938"/>
                </a:cubicBezTo>
                <a:cubicBezTo>
                  <a:pt x="7094" y="12938"/>
                  <a:pt x="7094" y="12938"/>
                  <a:pt x="7094" y="12938"/>
                </a:cubicBezTo>
                <a:close/>
                <a:moveTo>
                  <a:pt x="7406" y="12969"/>
                </a:moveTo>
                <a:cubicBezTo>
                  <a:pt x="7406" y="12938"/>
                  <a:pt x="7438" y="12938"/>
                  <a:pt x="7438" y="12938"/>
                </a:cubicBezTo>
                <a:cubicBezTo>
                  <a:pt x="7438" y="12938"/>
                  <a:pt x="7406" y="12938"/>
                  <a:pt x="7406" y="12969"/>
                </a:cubicBezTo>
                <a:close/>
                <a:moveTo>
                  <a:pt x="7531" y="12813"/>
                </a:moveTo>
                <a:cubicBezTo>
                  <a:pt x="7531" y="12813"/>
                  <a:pt x="7531" y="12782"/>
                  <a:pt x="7500" y="12813"/>
                </a:cubicBezTo>
                <a:cubicBezTo>
                  <a:pt x="7531" y="12782"/>
                  <a:pt x="7531" y="12813"/>
                  <a:pt x="7531" y="12813"/>
                </a:cubicBezTo>
                <a:cubicBezTo>
                  <a:pt x="7531" y="12813"/>
                  <a:pt x="7531" y="12813"/>
                  <a:pt x="7531" y="12813"/>
                </a:cubicBezTo>
                <a:close/>
                <a:moveTo>
                  <a:pt x="7844" y="12688"/>
                </a:moveTo>
                <a:cubicBezTo>
                  <a:pt x="7875" y="12688"/>
                  <a:pt x="7875" y="12657"/>
                  <a:pt x="7906" y="12657"/>
                </a:cubicBezTo>
                <a:cubicBezTo>
                  <a:pt x="7938" y="12657"/>
                  <a:pt x="8000" y="12657"/>
                  <a:pt x="8031" y="12657"/>
                </a:cubicBezTo>
                <a:cubicBezTo>
                  <a:pt x="8000" y="12657"/>
                  <a:pt x="7938" y="12657"/>
                  <a:pt x="7906" y="12657"/>
                </a:cubicBezTo>
                <a:cubicBezTo>
                  <a:pt x="7875" y="12657"/>
                  <a:pt x="7875" y="12688"/>
                  <a:pt x="7844" y="12688"/>
                </a:cubicBezTo>
                <a:cubicBezTo>
                  <a:pt x="7781" y="12719"/>
                  <a:pt x="7750" y="12719"/>
                  <a:pt x="7688" y="12750"/>
                </a:cubicBezTo>
                <a:cubicBezTo>
                  <a:pt x="7750" y="12719"/>
                  <a:pt x="7781" y="12719"/>
                  <a:pt x="7844" y="12688"/>
                </a:cubicBezTo>
                <a:close/>
                <a:moveTo>
                  <a:pt x="7031" y="10094"/>
                </a:moveTo>
                <a:cubicBezTo>
                  <a:pt x="7031" y="10094"/>
                  <a:pt x="7031" y="10125"/>
                  <a:pt x="7031" y="10125"/>
                </a:cubicBezTo>
                <a:cubicBezTo>
                  <a:pt x="7031" y="10125"/>
                  <a:pt x="7031" y="10094"/>
                  <a:pt x="7031" y="10094"/>
                </a:cubicBezTo>
                <a:close/>
                <a:moveTo>
                  <a:pt x="6594" y="13000"/>
                </a:moveTo>
                <a:cubicBezTo>
                  <a:pt x="6594" y="13032"/>
                  <a:pt x="6594" y="13032"/>
                  <a:pt x="6594" y="13032"/>
                </a:cubicBezTo>
                <a:cubicBezTo>
                  <a:pt x="6594" y="13032"/>
                  <a:pt x="6594" y="13032"/>
                  <a:pt x="6594" y="13000"/>
                </a:cubicBezTo>
                <a:close/>
                <a:moveTo>
                  <a:pt x="6688" y="12125"/>
                </a:moveTo>
                <a:cubicBezTo>
                  <a:pt x="6688" y="12094"/>
                  <a:pt x="6688" y="12094"/>
                  <a:pt x="6688" y="12063"/>
                </a:cubicBezTo>
                <a:cubicBezTo>
                  <a:pt x="6688" y="12032"/>
                  <a:pt x="6688" y="12000"/>
                  <a:pt x="6719" y="11969"/>
                </a:cubicBezTo>
                <a:cubicBezTo>
                  <a:pt x="6719" y="11969"/>
                  <a:pt x="6719" y="11969"/>
                  <a:pt x="6719" y="11969"/>
                </a:cubicBezTo>
                <a:cubicBezTo>
                  <a:pt x="6719" y="11969"/>
                  <a:pt x="6719" y="11969"/>
                  <a:pt x="6750" y="11969"/>
                </a:cubicBezTo>
                <a:cubicBezTo>
                  <a:pt x="6781" y="11938"/>
                  <a:pt x="6844" y="11938"/>
                  <a:pt x="6938" y="11938"/>
                </a:cubicBezTo>
                <a:cubicBezTo>
                  <a:pt x="6844" y="11938"/>
                  <a:pt x="6781" y="11938"/>
                  <a:pt x="6750" y="11969"/>
                </a:cubicBezTo>
                <a:cubicBezTo>
                  <a:pt x="6844" y="11969"/>
                  <a:pt x="6938" y="12000"/>
                  <a:pt x="7031" y="11969"/>
                </a:cubicBezTo>
                <a:cubicBezTo>
                  <a:pt x="7063" y="11969"/>
                  <a:pt x="7063" y="11969"/>
                  <a:pt x="7094" y="11969"/>
                </a:cubicBezTo>
                <a:cubicBezTo>
                  <a:pt x="7094" y="11969"/>
                  <a:pt x="7094" y="11969"/>
                  <a:pt x="7125" y="11969"/>
                </a:cubicBezTo>
                <a:cubicBezTo>
                  <a:pt x="7125" y="11969"/>
                  <a:pt x="7125" y="11969"/>
                  <a:pt x="7125" y="11969"/>
                </a:cubicBezTo>
                <a:cubicBezTo>
                  <a:pt x="7094" y="12000"/>
                  <a:pt x="7125" y="12032"/>
                  <a:pt x="7125" y="12032"/>
                </a:cubicBezTo>
                <a:cubicBezTo>
                  <a:pt x="7125" y="12032"/>
                  <a:pt x="7094" y="12000"/>
                  <a:pt x="7125" y="11969"/>
                </a:cubicBezTo>
                <a:cubicBezTo>
                  <a:pt x="7094" y="11969"/>
                  <a:pt x="7094" y="11969"/>
                  <a:pt x="7094" y="11969"/>
                </a:cubicBezTo>
                <a:cubicBezTo>
                  <a:pt x="7094" y="12000"/>
                  <a:pt x="7094" y="12032"/>
                  <a:pt x="7094" y="12032"/>
                </a:cubicBezTo>
                <a:cubicBezTo>
                  <a:pt x="7063" y="12032"/>
                  <a:pt x="7063" y="12032"/>
                  <a:pt x="7031" y="12032"/>
                </a:cubicBezTo>
                <a:cubicBezTo>
                  <a:pt x="7031" y="12032"/>
                  <a:pt x="7031" y="12032"/>
                  <a:pt x="7031" y="12032"/>
                </a:cubicBezTo>
                <a:cubicBezTo>
                  <a:pt x="7031" y="12000"/>
                  <a:pt x="7000" y="12032"/>
                  <a:pt x="6969" y="12032"/>
                </a:cubicBezTo>
                <a:cubicBezTo>
                  <a:pt x="6938" y="12032"/>
                  <a:pt x="6906" y="12032"/>
                  <a:pt x="6875" y="12032"/>
                </a:cubicBezTo>
                <a:cubicBezTo>
                  <a:pt x="6875" y="12063"/>
                  <a:pt x="6844" y="12094"/>
                  <a:pt x="6781" y="12125"/>
                </a:cubicBezTo>
                <a:cubicBezTo>
                  <a:pt x="6844" y="12094"/>
                  <a:pt x="6875" y="12063"/>
                  <a:pt x="6875" y="12032"/>
                </a:cubicBezTo>
                <a:cubicBezTo>
                  <a:pt x="6781" y="12000"/>
                  <a:pt x="6719" y="12032"/>
                  <a:pt x="6688" y="12125"/>
                </a:cubicBezTo>
                <a:close/>
                <a:moveTo>
                  <a:pt x="7031" y="12063"/>
                </a:moveTo>
                <a:cubicBezTo>
                  <a:pt x="7031" y="12063"/>
                  <a:pt x="7031" y="12063"/>
                  <a:pt x="7031" y="12063"/>
                </a:cubicBezTo>
                <a:cubicBezTo>
                  <a:pt x="7031" y="12063"/>
                  <a:pt x="7031" y="12063"/>
                  <a:pt x="7031" y="12063"/>
                </a:cubicBezTo>
                <a:close/>
                <a:moveTo>
                  <a:pt x="7469" y="11532"/>
                </a:moveTo>
                <a:cubicBezTo>
                  <a:pt x="7469" y="11532"/>
                  <a:pt x="7469" y="11532"/>
                  <a:pt x="7469" y="11532"/>
                </a:cubicBezTo>
                <a:cubicBezTo>
                  <a:pt x="7500" y="11532"/>
                  <a:pt x="7531" y="11532"/>
                  <a:pt x="7531" y="11532"/>
                </a:cubicBezTo>
                <a:cubicBezTo>
                  <a:pt x="7531" y="11532"/>
                  <a:pt x="7500" y="11532"/>
                  <a:pt x="7469" y="11532"/>
                </a:cubicBezTo>
                <a:close/>
                <a:moveTo>
                  <a:pt x="6969" y="10063"/>
                </a:moveTo>
                <a:cubicBezTo>
                  <a:pt x="6938" y="10032"/>
                  <a:pt x="6938" y="10032"/>
                  <a:pt x="6906" y="10000"/>
                </a:cubicBezTo>
                <a:cubicBezTo>
                  <a:pt x="6938" y="10032"/>
                  <a:pt x="6938" y="10032"/>
                  <a:pt x="6969" y="10063"/>
                </a:cubicBezTo>
                <a:close/>
                <a:moveTo>
                  <a:pt x="6781" y="10750"/>
                </a:moveTo>
                <a:cubicBezTo>
                  <a:pt x="6781" y="10750"/>
                  <a:pt x="6781" y="10782"/>
                  <a:pt x="6781" y="10782"/>
                </a:cubicBezTo>
                <a:cubicBezTo>
                  <a:pt x="6750" y="10782"/>
                  <a:pt x="6750" y="10750"/>
                  <a:pt x="6750" y="10750"/>
                </a:cubicBezTo>
                <a:cubicBezTo>
                  <a:pt x="6750" y="10750"/>
                  <a:pt x="6750" y="10782"/>
                  <a:pt x="6781" y="10782"/>
                </a:cubicBezTo>
                <a:cubicBezTo>
                  <a:pt x="6781" y="10782"/>
                  <a:pt x="6781" y="10750"/>
                  <a:pt x="6781" y="10750"/>
                </a:cubicBezTo>
                <a:cubicBezTo>
                  <a:pt x="6781" y="10750"/>
                  <a:pt x="6781" y="10750"/>
                  <a:pt x="6813" y="10719"/>
                </a:cubicBezTo>
                <a:cubicBezTo>
                  <a:pt x="6781" y="10750"/>
                  <a:pt x="6781" y="10750"/>
                  <a:pt x="6781" y="10750"/>
                </a:cubicBezTo>
                <a:close/>
                <a:moveTo>
                  <a:pt x="6375" y="10438"/>
                </a:moveTo>
                <a:cubicBezTo>
                  <a:pt x="6375" y="10438"/>
                  <a:pt x="6375" y="10438"/>
                  <a:pt x="6375" y="10438"/>
                </a:cubicBezTo>
                <a:cubicBezTo>
                  <a:pt x="6375" y="10438"/>
                  <a:pt x="6375" y="10438"/>
                  <a:pt x="6375" y="10438"/>
                </a:cubicBezTo>
                <a:cubicBezTo>
                  <a:pt x="6375" y="10438"/>
                  <a:pt x="6375" y="10438"/>
                  <a:pt x="6375" y="10438"/>
                </a:cubicBezTo>
                <a:close/>
                <a:moveTo>
                  <a:pt x="6375" y="10438"/>
                </a:moveTo>
                <a:cubicBezTo>
                  <a:pt x="6375" y="10407"/>
                  <a:pt x="6375" y="10375"/>
                  <a:pt x="6344" y="10375"/>
                </a:cubicBezTo>
                <a:cubicBezTo>
                  <a:pt x="6375" y="10375"/>
                  <a:pt x="6375" y="10407"/>
                  <a:pt x="6375" y="10438"/>
                </a:cubicBezTo>
                <a:cubicBezTo>
                  <a:pt x="6406" y="10438"/>
                  <a:pt x="6406" y="10438"/>
                  <a:pt x="6438" y="10438"/>
                </a:cubicBezTo>
                <a:cubicBezTo>
                  <a:pt x="6406" y="10438"/>
                  <a:pt x="6406" y="10438"/>
                  <a:pt x="6375" y="10438"/>
                </a:cubicBezTo>
                <a:close/>
                <a:moveTo>
                  <a:pt x="6281" y="9250"/>
                </a:moveTo>
                <a:cubicBezTo>
                  <a:pt x="6281" y="9250"/>
                  <a:pt x="6281" y="9250"/>
                  <a:pt x="6250" y="9250"/>
                </a:cubicBezTo>
                <a:cubicBezTo>
                  <a:pt x="6281" y="9250"/>
                  <a:pt x="6281" y="9250"/>
                  <a:pt x="6281" y="9250"/>
                </a:cubicBezTo>
                <a:close/>
                <a:moveTo>
                  <a:pt x="6375" y="10813"/>
                </a:moveTo>
                <a:cubicBezTo>
                  <a:pt x="6375" y="10782"/>
                  <a:pt x="6375" y="10782"/>
                  <a:pt x="6406" y="10782"/>
                </a:cubicBezTo>
                <a:cubicBezTo>
                  <a:pt x="6375" y="10782"/>
                  <a:pt x="6375" y="10782"/>
                  <a:pt x="6375" y="10813"/>
                </a:cubicBezTo>
                <a:cubicBezTo>
                  <a:pt x="6344" y="10813"/>
                  <a:pt x="6313" y="10844"/>
                  <a:pt x="6313" y="10844"/>
                </a:cubicBezTo>
                <a:cubicBezTo>
                  <a:pt x="6313" y="10844"/>
                  <a:pt x="6344" y="10813"/>
                  <a:pt x="6375" y="10813"/>
                </a:cubicBezTo>
                <a:close/>
                <a:moveTo>
                  <a:pt x="6313" y="11032"/>
                </a:moveTo>
                <a:cubicBezTo>
                  <a:pt x="6406" y="11000"/>
                  <a:pt x="6344" y="10907"/>
                  <a:pt x="6406" y="10875"/>
                </a:cubicBezTo>
                <a:cubicBezTo>
                  <a:pt x="6469" y="10844"/>
                  <a:pt x="6563" y="10844"/>
                  <a:pt x="6625" y="10813"/>
                </a:cubicBezTo>
                <a:cubicBezTo>
                  <a:pt x="6625" y="10875"/>
                  <a:pt x="6625" y="10907"/>
                  <a:pt x="6594" y="10969"/>
                </a:cubicBezTo>
                <a:cubicBezTo>
                  <a:pt x="6625" y="10907"/>
                  <a:pt x="6625" y="10875"/>
                  <a:pt x="6625" y="10813"/>
                </a:cubicBezTo>
                <a:cubicBezTo>
                  <a:pt x="6563" y="10844"/>
                  <a:pt x="6469" y="10844"/>
                  <a:pt x="6406" y="10875"/>
                </a:cubicBezTo>
                <a:cubicBezTo>
                  <a:pt x="6344" y="10907"/>
                  <a:pt x="6406" y="11000"/>
                  <a:pt x="6313" y="11032"/>
                </a:cubicBezTo>
                <a:cubicBezTo>
                  <a:pt x="6313" y="11032"/>
                  <a:pt x="6313" y="11032"/>
                  <a:pt x="6313" y="11032"/>
                </a:cubicBezTo>
                <a:cubicBezTo>
                  <a:pt x="6313" y="11032"/>
                  <a:pt x="6313" y="11032"/>
                  <a:pt x="6313" y="11032"/>
                </a:cubicBezTo>
                <a:close/>
                <a:moveTo>
                  <a:pt x="6250" y="11063"/>
                </a:moveTo>
                <a:cubicBezTo>
                  <a:pt x="6250" y="11063"/>
                  <a:pt x="6250" y="11032"/>
                  <a:pt x="6250" y="11032"/>
                </a:cubicBezTo>
                <a:cubicBezTo>
                  <a:pt x="6250" y="11032"/>
                  <a:pt x="6250" y="11063"/>
                  <a:pt x="6250" y="11063"/>
                </a:cubicBezTo>
                <a:cubicBezTo>
                  <a:pt x="6250" y="11063"/>
                  <a:pt x="6219" y="11094"/>
                  <a:pt x="6219" y="11125"/>
                </a:cubicBezTo>
                <a:cubicBezTo>
                  <a:pt x="6219" y="11094"/>
                  <a:pt x="6250" y="11063"/>
                  <a:pt x="6250" y="11063"/>
                </a:cubicBezTo>
                <a:close/>
                <a:moveTo>
                  <a:pt x="6531" y="12969"/>
                </a:moveTo>
                <a:cubicBezTo>
                  <a:pt x="6531" y="12969"/>
                  <a:pt x="6531" y="12969"/>
                  <a:pt x="6563" y="12969"/>
                </a:cubicBezTo>
                <a:cubicBezTo>
                  <a:pt x="6563" y="12969"/>
                  <a:pt x="6563" y="13000"/>
                  <a:pt x="6563" y="13000"/>
                </a:cubicBezTo>
                <a:cubicBezTo>
                  <a:pt x="6563" y="13000"/>
                  <a:pt x="6563" y="12969"/>
                  <a:pt x="6563" y="12969"/>
                </a:cubicBezTo>
                <a:cubicBezTo>
                  <a:pt x="6531" y="12969"/>
                  <a:pt x="6531" y="12969"/>
                  <a:pt x="6531" y="12969"/>
                </a:cubicBezTo>
                <a:cubicBezTo>
                  <a:pt x="6500" y="13000"/>
                  <a:pt x="6500" y="13000"/>
                  <a:pt x="6500" y="13000"/>
                </a:cubicBezTo>
                <a:cubicBezTo>
                  <a:pt x="6500" y="13000"/>
                  <a:pt x="6500" y="13000"/>
                  <a:pt x="6531" y="12969"/>
                </a:cubicBezTo>
                <a:close/>
                <a:moveTo>
                  <a:pt x="6594" y="13657"/>
                </a:moveTo>
                <a:cubicBezTo>
                  <a:pt x="6594" y="13657"/>
                  <a:pt x="6594" y="13625"/>
                  <a:pt x="6594" y="13625"/>
                </a:cubicBezTo>
                <a:cubicBezTo>
                  <a:pt x="6594" y="13625"/>
                  <a:pt x="6594" y="13657"/>
                  <a:pt x="6594" y="13657"/>
                </a:cubicBezTo>
                <a:close/>
                <a:moveTo>
                  <a:pt x="7031" y="13157"/>
                </a:moveTo>
                <a:cubicBezTo>
                  <a:pt x="7031" y="13063"/>
                  <a:pt x="7094" y="13000"/>
                  <a:pt x="7094" y="12938"/>
                </a:cubicBezTo>
                <a:cubicBezTo>
                  <a:pt x="7094" y="12938"/>
                  <a:pt x="7094" y="12938"/>
                  <a:pt x="7094" y="12938"/>
                </a:cubicBezTo>
                <a:cubicBezTo>
                  <a:pt x="7094" y="13000"/>
                  <a:pt x="7031" y="13063"/>
                  <a:pt x="7031" y="13157"/>
                </a:cubicBezTo>
                <a:cubicBezTo>
                  <a:pt x="6969" y="13188"/>
                  <a:pt x="7000" y="13188"/>
                  <a:pt x="7000" y="13219"/>
                </a:cubicBezTo>
                <a:cubicBezTo>
                  <a:pt x="7000" y="13188"/>
                  <a:pt x="6969" y="13188"/>
                  <a:pt x="7031" y="13157"/>
                </a:cubicBezTo>
                <a:close/>
                <a:moveTo>
                  <a:pt x="8375" y="12375"/>
                </a:moveTo>
                <a:cubicBezTo>
                  <a:pt x="8375" y="12407"/>
                  <a:pt x="8375" y="12407"/>
                  <a:pt x="8344" y="12438"/>
                </a:cubicBezTo>
                <a:cubicBezTo>
                  <a:pt x="8375" y="12407"/>
                  <a:pt x="8375" y="12407"/>
                  <a:pt x="8375" y="12375"/>
                </a:cubicBezTo>
                <a:close/>
                <a:moveTo>
                  <a:pt x="7719" y="11563"/>
                </a:moveTo>
                <a:cubicBezTo>
                  <a:pt x="7719" y="11563"/>
                  <a:pt x="7719" y="11563"/>
                  <a:pt x="7719" y="11563"/>
                </a:cubicBezTo>
                <a:cubicBezTo>
                  <a:pt x="7719" y="11563"/>
                  <a:pt x="7719" y="11563"/>
                  <a:pt x="7719" y="11563"/>
                </a:cubicBezTo>
                <a:close/>
                <a:moveTo>
                  <a:pt x="7719" y="11532"/>
                </a:moveTo>
                <a:cubicBezTo>
                  <a:pt x="7719" y="11532"/>
                  <a:pt x="7719" y="11532"/>
                  <a:pt x="7719" y="11532"/>
                </a:cubicBezTo>
                <a:cubicBezTo>
                  <a:pt x="7719" y="11532"/>
                  <a:pt x="7719" y="11532"/>
                  <a:pt x="7719" y="11532"/>
                </a:cubicBezTo>
                <a:close/>
                <a:moveTo>
                  <a:pt x="7719" y="11688"/>
                </a:moveTo>
                <a:cubicBezTo>
                  <a:pt x="7719" y="11719"/>
                  <a:pt x="7688" y="11719"/>
                  <a:pt x="7688" y="11719"/>
                </a:cubicBezTo>
                <a:cubicBezTo>
                  <a:pt x="7688" y="11719"/>
                  <a:pt x="7688" y="11719"/>
                  <a:pt x="7688" y="11719"/>
                </a:cubicBezTo>
                <a:cubicBezTo>
                  <a:pt x="7688" y="11719"/>
                  <a:pt x="7719" y="11719"/>
                  <a:pt x="7719" y="11688"/>
                </a:cubicBezTo>
                <a:close/>
                <a:moveTo>
                  <a:pt x="6531" y="10532"/>
                </a:move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ubicBezTo>
                  <a:pt x="6531" y="10532"/>
                  <a:pt x="6531" y="10532"/>
                  <a:pt x="6531" y="10532"/>
                </a:cubicBezTo>
                <a:close/>
                <a:moveTo>
                  <a:pt x="6313" y="9250"/>
                </a:moveTo>
                <a:cubicBezTo>
                  <a:pt x="6313" y="9250"/>
                  <a:pt x="6281" y="9250"/>
                  <a:pt x="6281" y="9250"/>
                </a:cubicBezTo>
                <a:cubicBezTo>
                  <a:pt x="6281" y="9250"/>
                  <a:pt x="6313" y="9250"/>
                  <a:pt x="6313" y="9250"/>
                </a:cubicBezTo>
                <a:close/>
                <a:moveTo>
                  <a:pt x="4188" y="9407"/>
                </a:moveTo>
                <a:cubicBezTo>
                  <a:pt x="4188" y="9407"/>
                  <a:pt x="4188" y="9407"/>
                  <a:pt x="4188" y="9407"/>
                </a:cubicBezTo>
                <a:cubicBezTo>
                  <a:pt x="4188" y="9407"/>
                  <a:pt x="4188" y="9407"/>
                  <a:pt x="4188" y="9407"/>
                </a:cubicBezTo>
                <a:cubicBezTo>
                  <a:pt x="4188" y="9407"/>
                  <a:pt x="4188" y="9407"/>
                  <a:pt x="4188" y="9407"/>
                </a:cubicBezTo>
                <a:close/>
                <a:moveTo>
                  <a:pt x="5063" y="9000"/>
                </a:moveTo>
                <a:cubicBezTo>
                  <a:pt x="5063" y="9000"/>
                  <a:pt x="5063" y="9000"/>
                  <a:pt x="5063" y="9000"/>
                </a:cubicBezTo>
                <a:cubicBezTo>
                  <a:pt x="5063" y="9000"/>
                  <a:pt x="5063" y="9000"/>
                  <a:pt x="5063" y="9000"/>
                </a:cubicBezTo>
                <a:cubicBezTo>
                  <a:pt x="5063" y="9000"/>
                  <a:pt x="5063" y="9000"/>
                  <a:pt x="5063" y="9000"/>
                </a:cubicBezTo>
                <a:close/>
                <a:moveTo>
                  <a:pt x="5594" y="9594"/>
                </a:moveTo>
                <a:cubicBezTo>
                  <a:pt x="5500" y="9625"/>
                  <a:pt x="5438" y="9594"/>
                  <a:pt x="5406" y="9563"/>
                </a:cubicBezTo>
                <a:cubicBezTo>
                  <a:pt x="5438" y="9594"/>
                  <a:pt x="5500" y="9625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ubicBezTo>
                  <a:pt x="5594" y="9594"/>
                  <a:pt x="5594" y="9594"/>
                  <a:pt x="5594" y="9594"/>
                </a:cubicBezTo>
                <a:close/>
                <a:moveTo>
                  <a:pt x="4563" y="9063"/>
                </a:moveTo>
                <a:cubicBezTo>
                  <a:pt x="4500" y="9063"/>
                  <a:pt x="4438" y="9063"/>
                  <a:pt x="4406" y="9094"/>
                </a:cubicBezTo>
                <a:cubicBezTo>
                  <a:pt x="4438" y="9063"/>
                  <a:pt x="4500" y="9063"/>
                  <a:pt x="4563" y="9063"/>
                </a:cubicBezTo>
                <a:cubicBezTo>
                  <a:pt x="4563" y="9063"/>
                  <a:pt x="4563" y="9063"/>
                  <a:pt x="4563" y="9063"/>
                </a:cubicBezTo>
                <a:close/>
                <a:moveTo>
                  <a:pt x="4313" y="9969"/>
                </a:moveTo>
                <a:cubicBezTo>
                  <a:pt x="4313" y="9938"/>
                  <a:pt x="4313" y="9938"/>
                  <a:pt x="4344" y="9907"/>
                </a:cubicBezTo>
                <a:cubicBezTo>
                  <a:pt x="4344" y="9907"/>
                  <a:pt x="4344" y="9875"/>
                  <a:pt x="4344" y="9875"/>
                </a:cubicBezTo>
                <a:cubicBezTo>
                  <a:pt x="4344" y="9875"/>
                  <a:pt x="4344" y="9907"/>
                  <a:pt x="4344" y="9907"/>
                </a:cubicBezTo>
                <a:cubicBezTo>
                  <a:pt x="4313" y="9938"/>
                  <a:pt x="4313" y="9938"/>
                  <a:pt x="4313" y="9969"/>
                </a:cubicBezTo>
                <a:close/>
                <a:moveTo>
                  <a:pt x="6031" y="10032"/>
                </a:move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ubicBezTo>
                  <a:pt x="6031" y="10032"/>
                  <a:pt x="6031" y="10032"/>
                  <a:pt x="6031" y="10032"/>
                </a:cubicBezTo>
                <a:close/>
                <a:moveTo>
                  <a:pt x="6156" y="7500"/>
                </a:moveTo>
                <a:cubicBezTo>
                  <a:pt x="6156" y="7500"/>
                  <a:pt x="6156" y="7500"/>
                  <a:pt x="6156" y="7500"/>
                </a:cubicBezTo>
                <a:cubicBezTo>
                  <a:pt x="6156" y="7500"/>
                  <a:pt x="6156" y="7500"/>
                  <a:pt x="6156" y="7500"/>
                </a:cubicBezTo>
                <a:close/>
                <a:moveTo>
                  <a:pt x="5531" y="8407"/>
                </a:moveTo>
                <a:cubicBezTo>
                  <a:pt x="5531" y="8407"/>
                  <a:pt x="5531" y="8407"/>
                  <a:pt x="5531" y="8407"/>
                </a:cubicBezTo>
                <a:cubicBezTo>
                  <a:pt x="5500" y="8438"/>
                  <a:pt x="5438" y="8438"/>
                  <a:pt x="5406" y="8469"/>
                </a:cubicBezTo>
                <a:cubicBezTo>
                  <a:pt x="5438" y="8438"/>
                  <a:pt x="5500" y="8438"/>
                  <a:pt x="5531" y="8407"/>
                </a:cubicBezTo>
                <a:close/>
                <a:moveTo>
                  <a:pt x="6281" y="10907"/>
                </a:moveTo>
                <a:cubicBezTo>
                  <a:pt x="6281" y="10938"/>
                  <a:pt x="6281" y="10938"/>
                  <a:pt x="6281" y="10938"/>
                </a:cubicBezTo>
                <a:cubicBezTo>
                  <a:pt x="6281" y="10938"/>
                  <a:pt x="6281" y="10938"/>
                  <a:pt x="6281" y="10907"/>
                </a:cubicBezTo>
                <a:cubicBezTo>
                  <a:pt x="6281" y="10907"/>
                  <a:pt x="6250" y="10907"/>
                  <a:pt x="6250" y="10907"/>
                </a:cubicBezTo>
                <a:cubicBezTo>
                  <a:pt x="6250" y="10907"/>
                  <a:pt x="6281" y="10907"/>
                  <a:pt x="6281" y="10907"/>
                </a:cubicBezTo>
                <a:close/>
                <a:moveTo>
                  <a:pt x="5781" y="10969"/>
                </a:move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ubicBezTo>
                  <a:pt x="5781" y="10969"/>
                  <a:pt x="5781" y="10969"/>
                  <a:pt x="5781" y="10969"/>
                </a:cubicBezTo>
                <a:close/>
                <a:moveTo>
                  <a:pt x="5938" y="13032"/>
                </a:moveTo>
                <a:cubicBezTo>
                  <a:pt x="5938" y="13032"/>
                  <a:pt x="5938" y="13032"/>
                  <a:pt x="5938" y="13063"/>
                </a:cubicBezTo>
                <a:cubicBezTo>
                  <a:pt x="5938" y="13032"/>
                  <a:pt x="5938" y="13032"/>
                  <a:pt x="5938" y="13032"/>
                </a:cubicBezTo>
                <a:close/>
                <a:moveTo>
                  <a:pt x="10750" y="5469"/>
                </a:moveTo>
                <a:cubicBezTo>
                  <a:pt x="10750" y="5469"/>
                  <a:pt x="10750" y="5469"/>
                  <a:pt x="10750" y="5438"/>
                </a:cubicBezTo>
                <a:cubicBezTo>
                  <a:pt x="10750" y="5438"/>
                  <a:pt x="10750" y="5438"/>
                  <a:pt x="10750" y="5438"/>
                </a:cubicBezTo>
                <a:cubicBezTo>
                  <a:pt x="10750" y="5469"/>
                  <a:pt x="10750" y="5469"/>
                  <a:pt x="10750" y="5469"/>
                </a:cubicBezTo>
                <a:close/>
                <a:moveTo>
                  <a:pt x="9563" y="13344"/>
                </a:moveTo>
                <a:cubicBezTo>
                  <a:pt x="9563" y="13344"/>
                  <a:pt x="9563" y="13344"/>
                  <a:pt x="9563" y="13344"/>
                </a:cubicBezTo>
                <a:cubicBezTo>
                  <a:pt x="9563" y="13344"/>
                  <a:pt x="9563" y="13344"/>
                  <a:pt x="9563" y="13344"/>
                </a:cubicBezTo>
                <a:close/>
                <a:moveTo>
                  <a:pt x="9594" y="11844"/>
                </a:moveTo>
                <a:cubicBezTo>
                  <a:pt x="9594" y="11844"/>
                  <a:pt x="9594" y="11875"/>
                  <a:pt x="9594" y="11875"/>
                </a:cubicBezTo>
                <a:cubicBezTo>
                  <a:pt x="9594" y="11875"/>
                  <a:pt x="9594" y="11875"/>
                  <a:pt x="9594" y="11875"/>
                </a:cubicBezTo>
                <a:cubicBezTo>
                  <a:pt x="9594" y="11875"/>
                  <a:pt x="9594" y="11844"/>
                  <a:pt x="9594" y="11844"/>
                </a:cubicBezTo>
                <a:close/>
                <a:moveTo>
                  <a:pt x="9594" y="12188"/>
                </a:moveTo>
                <a:cubicBezTo>
                  <a:pt x="9594" y="12219"/>
                  <a:pt x="9594" y="12219"/>
                  <a:pt x="9594" y="12219"/>
                </a:cubicBezTo>
                <a:cubicBezTo>
                  <a:pt x="9594" y="12250"/>
                  <a:pt x="9625" y="12250"/>
                  <a:pt x="9625" y="12250"/>
                </a:cubicBezTo>
                <a:cubicBezTo>
                  <a:pt x="9625" y="12250"/>
                  <a:pt x="9594" y="12250"/>
                  <a:pt x="9594" y="12219"/>
                </a:cubicBezTo>
                <a:cubicBezTo>
                  <a:pt x="9594" y="12219"/>
                  <a:pt x="9594" y="12219"/>
                  <a:pt x="9594" y="12188"/>
                </a:cubicBezTo>
                <a:close/>
                <a:moveTo>
                  <a:pt x="9688" y="12344"/>
                </a:moveTo>
                <a:cubicBezTo>
                  <a:pt x="9688" y="12344"/>
                  <a:pt x="9688" y="12344"/>
                  <a:pt x="9688" y="12313"/>
                </a:cubicBezTo>
                <a:cubicBezTo>
                  <a:pt x="9688" y="12313"/>
                  <a:pt x="9688" y="12313"/>
                  <a:pt x="9688" y="12313"/>
                </a:cubicBezTo>
                <a:cubicBezTo>
                  <a:pt x="9688" y="12313"/>
                  <a:pt x="9688" y="12313"/>
                  <a:pt x="9688" y="12313"/>
                </a:cubicBezTo>
                <a:cubicBezTo>
                  <a:pt x="9688" y="12344"/>
                  <a:pt x="9688" y="12344"/>
                  <a:pt x="9688" y="12344"/>
                </a:cubicBezTo>
                <a:close/>
                <a:moveTo>
                  <a:pt x="9906" y="11375"/>
                </a:moveTo>
                <a:cubicBezTo>
                  <a:pt x="9875" y="11407"/>
                  <a:pt x="9875" y="11438"/>
                  <a:pt x="9875" y="11500"/>
                </a:cubicBezTo>
                <a:cubicBezTo>
                  <a:pt x="9875" y="11438"/>
                  <a:pt x="9875" y="11407"/>
                  <a:pt x="9906" y="11375"/>
                </a:cubicBezTo>
                <a:close/>
                <a:moveTo>
                  <a:pt x="9375" y="12657"/>
                </a:moveTo>
                <a:cubicBezTo>
                  <a:pt x="9375" y="12625"/>
                  <a:pt x="9406" y="12594"/>
                  <a:pt x="9406" y="12563"/>
                </a:cubicBezTo>
                <a:cubicBezTo>
                  <a:pt x="9406" y="12594"/>
                  <a:pt x="9375" y="12625"/>
                  <a:pt x="9375" y="12657"/>
                </a:cubicBezTo>
                <a:close/>
                <a:moveTo>
                  <a:pt x="9375" y="13282"/>
                </a:moveTo>
                <a:cubicBezTo>
                  <a:pt x="9375" y="13282"/>
                  <a:pt x="9375" y="13282"/>
                  <a:pt x="9375" y="13282"/>
                </a:cubicBezTo>
                <a:cubicBezTo>
                  <a:pt x="9344" y="13282"/>
                  <a:pt x="9344" y="13313"/>
                  <a:pt x="9344" y="13313"/>
                </a:cubicBezTo>
                <a:cubicBezTo>
                  <a:pt x="9344" y="13313"/>
                  <a:pt x="9344" y="13282"/>
                  <a:pt x="9375" y="13282"/>
                </a:cubicBezTo>
                <a:close/>
                <a:moveTo>
                  <a:pt x="9375" y="13219"/>
                </a:moveTo>
                <a:cubicBezTo>
                  <a:pt x="9406" y="13250"/>
                  <a:pt x="9406" y="13250"/>
                  <a:pt x="9406" y="13250"/>
                </a:cubicBezTo>
                <a:cubicBezTo>
                  <a:pt x="9406" y="13250"/>
                  <a:pt x="9406" y="13250"/>
                  <a:pt x="9375" y="13219"/>
                </a:cubicBezTo>
                <a:close/>
                <a:moveTo>
                  <a:pt x="9875" y="11532"/>
                </a:moveTo>
                <a:cubicBezTo>
                  <a:pt x="9875" y="11532"/>
                  <a:pt x="9875" y="11500"/>
                  <a:pt x="9875" y="11500"/>
                </a:cubicBezTo>
                <a:cubicBezTo>
                  <a:pt x="9875" y="11500"/>
                  <a:pt x="9875" y="11532"/>
                  <a:pt x="9875" y="11532"/>
                </a:cubicBezTo>
                <a:close/>
                <a:moveTo>
                  <a:pt x="10063" y="11500"/>
                </a:moveTo>
                <a:cubicBezTo>
                  <a:pt x="10063" y="11500"/>
                  <a:pt x="10063" y="11500"/>
                  <a:pt x="10063" y="11500"/>
                </a:cubicBezTo>
                <a:cubicBezTo>
                  <a:pt x="10031" y="11469"/>
                  <a:pt x="10031" y="11469"/>
                  <a:pt x="10000" y="11469"/>
                </a:cubicBezTo>
                <a:cubicBezTo>
                  <a:pt x="10031" y="11469"/>
                  <a:pt x="10031" y="11469"/>
                  <a:pt x="10063" y="11500"/>
                </a:cubicBezTo>
                <a:close/>
                <a:moveTo>
                  <a:pt x="10063" y="11563"/>
                </a:moveTo>
                <a:cubicBezTo>
                  <a:pt x="10063" y="11563"/>
                  <a:pt x="10094" y="11563"/>
                  <a:pt x="10094" y="11594"/>
                </a:cubicBezTo>
                <a:cubicBezTo>
                  <a:pt x="10094" y="11563"/>
                  <a:pt x="10063" y="11563"/>
                  <a:pt x="10063" y="11563"/>
                </a:cubicBezTo>
                <a:cubicBezTo>
                  <a:pt x="10063" y="11532"/>
                  <a:pt x="10063" y="11500"/>
                  <a:pt x="10063" y="11500"/>
                </a:cubicBezTo>
                <a:cubicBezTo>
                  <a:pt x="10063" y="11500"/>
                  <a:pt x="10063" y="11500"/>
                  <a:pt x="10063" y="11500"/>
                </a:cubicBezTo>
                <a:cubicBezTo>
                  <a:pt x="10063" y="11500"/>
                  <a:pt x="10063" y="11532"/>
                  <a:pt x="10063" y="11563"/>
                </a:cubicBezTo>
                <a:close/>
                <a:moveTo>
                  <a:pt x="9656" y="8688"/>
                </a:moveTo>
                <a:cubicBezTo>
                  <a:pt x="9688" y="8688"/>
                  <a:pt x="9719" y="8657"/>
                  <a:pt x="9750" y="8657"/>
                </a:cubicBezTo>
                <a:cubicBezTo>
                  <a:pt x="9750" y="8625"/>
                  <a:pt x="9781" y="8625"/>
                  <a:pt x="9781" y="8594"/>
                </a:cubicBezTo>
                <a:cubicBezTo>
                  <a:pt x="9781" y="8625"/>
                  <a:pt x="9750" y="8625"/>
                  <a:pt x="9750" y="8657"/>
                </a:cubicBezTo>
                <a:cubicBezTo>
                  <a:pt x="9719" y="8657"/>
                  <a:pt x="9688" y="8688"/>
                  <a:pt x="9656" y="8688"/>
                </a:cubicBezTo>
                <a:cubicBezTo>
                  <a:pt x="9625" y="8719"/>
                  <a:pt x="9594" y="8750"/>
                  <a:pt x="9594" y="8782"/>
                </a:cubicBezTo>
                <a:cubicBezTo>
                  <a:pt x="9563" y="8813"/>
                  <a:pt x="9563" y="8844"/>
                  <a:pt x="9531" y="8875"/>
                </a:cubicBezTo>
                <a:cubicBezTo>
                  <a:pt x="9531" y="8875"/>
                  <a:pt x="9531" y="8875"/>
                  <a:pt x="9531" y="8875"/>
                </a:cubicBezTo>
                <a:cubicBezTo>
                  <a:pt x="9563" y="8844"/>
                  <a:pt x="9563" y="8813"/>
                  <a:pt x="9594" y="8782"/>
                </a:cubicBezTo>
                <a:cubicBezTo>
                  <a:pt x="9594" y="8750"/>
                  <a:pt x="9625" y="8719"/>
                  <a:pt x="9656" y="8688"/>
                </a:cubicBezTo>
                <a:close/>
                <a:moveTo>
                  <a:pt x="9406" y="9875"/>
                </a:moveTo>
                <a:cubicBezTo>
                  <a:pt x="9406" y="9875"/>
                  <a:pt x="9406" y="9844"/>
                  <a:pt x="9406" y="9844"/>
                </a:cubicBezTo>
                <a:cubicBezTo>
                  <a:pt x="9406" y="9844"/>
                  <a:pt x="9406" y="9875"/>
                  <a:pt x="9406" y="9875"/>
                </a:cubicBezTo>
                <a:cubicBezTo>
                  <a:pt x="9406" y="9875"/>
                  <a:pt x="9406" y="9875"/>
                  <a:pt x="9406" y="9875"/>
                </a:cubicBezTo>
                <a:close/>
                <a:moveTo>
                  <a:pt x="9500" y="12313"/>
                </a:moveTo>
                <a:cubicBezTo>
                  <a:pt x="9469" y="12375"/>
                  <a:pt x="9469" y="12407"/>
                  <a:pt x="9438" y="12469"/>
                </a:cubicBezTo>
                <a:cubicBezTo>
                  <a:pt x="9438" y="12500"/>
                  <a:pt x="9438" y="12500"/>
                  <a:pt x="9469" y="12500"/>
                </a:cubicBezTo>
                <a:cubicBezTo>
                  <a:pt x="9438" y="12500"/>
                  <a:pt x="9438" y="12500"/>
                  <a:pt x="9438" y="12469"/>
                </a:cubicBezTo>
                <a:cubicBezTo>
                  <a:pt x="9469" y="12407"/>
                  <a:pt x="9469" y="12375"/>
                  <a:pt x="9500" y="12313"/>
                </a:cubicBezTo>
                <a:close/>
                <a:moveTo>
                  <a:pt x="9344" y="12688"/>
                </a:moveTo>
                <a:cubicBezTo>
                  <a:pt x="9344" y="12719"/>
                  <a:pt x="9344" y="12719"/>
                  <a:pt x="9344" y="12750"/>
                </a:cubicBezTo>
                <a:cubicBezTo>
                  <a:pt x="9344" y="12750"/>
                  <a:pt x="9344" y="12750"/>
                  <a:pt x="9344" y="12782"/>
                </a:cubicBezTo>
                <a:cubicBezTo>
                  <a:pt x="9344" y="12782"/>
                  <a:pt x="9344" y="12813"/>
                  <a:pt x="9344" y="12813"/>
                </a:cubicBezTo>
                <a:cubicBezTo>
                  <a:pt x="9344" y="12813"/>
                  <a:pt x="9344" y="12782"/>
                  <a:pt x="9344" y="12782"/>
                </a:cubicBezTo>
                <a:cubicBezTo>
                  <a:pt x="9344" y="12750"/>
                  <a:pt x="9344" y="12750"/>
                  <a:pt x="9344" y="12750"/>
                </a:cubicBezTo>
                <a:cubicBezTo>
                  <a:pt x="9344" y="12719"/>
                  <a:pt x="9344" y="12719"/>
                  <a:pt x="9344" y="12688"/>
                </a:cubicBezTo>
                <a:close/>
                <a:moveTo>
                  <a:pt x="9313" y="13219"/>
                </a:moveTo>
                <a:cubicBezTo>
                  <a:pt x="9313" y="13219"/>
                  <a:pt x="9313" y="13219"/>
                  <a:pt x="9313" y="13219"/>
                </a:cubicBezTo>
                <a:cubicBezTo>
                  <a:pt x="9313" y="13219"/>
                  <a:pt x="9313" y="13219"/>
                  <a:pt x="9313" y="13219"/>
                </a:cubicBezTo>
                <a:close/>
                <a:moveTo>
                  <a:pt x="9406" y="13313"/>
                </a:moveTo>
                <a:cubicBezTo>
                  <a:pt x="9406" y="13344"/>
                  <a:pt x="9406" y="13344"/>
                  <a:pt x="9406" y="13344"/>
                </a:cubicBezTo>
                <a:cubicBezTo>
                  <a:pt x="9469" y="13375"/>
                  <a:pt x="9531" y="13407"/>
                  <a:pt x="9594" y="13469"/>
                </a:cubicBezTo>
                <a:cubicBezTo>
                  <a:pt x="9531" y="13407"/>
                  <a:pt x="9469" y="13375"/>
                  <a:pt x="9406" y="13344"/>
                </a:cubicBezTo>
                <a:cubicBezTo>
                  <a:pt x="9406" y="13344"/>
                  <a:pt x="9406" y="13344"/>
                  <a:pt x="9406" y="13313"/>
                </a:cubicBezTo>
                <a:close/>
                <a:moveTo>
                  <a:pt x="10406" y="9875"/>
                </a:moveTo>
                <a:cubicBezTo>
                  <a:pt x="10344" y="9844"/>
                  <a:pt x="10313" y="9844"/>
                  <a:pt x="10281" y="9813"/>
                </a:cubicBezTo>
                <a:cubicBezTo>
                  <a:pt x="10313" y="9844"/>
                  <a:pt x="10344" y="9844"/>
                  <a:pt x="10406" y="9875"/>
                </a:cubicBezTo>
                <a:close/>
                <a:moveTo>
                  <a:pt x="9125" y="13032"/>
                </a:moveTo>
                <a:cubicBezTo>
                  <a:pt x="9125" y="13032"/>
                  <a:pt x="9125" y="13032"/>
                  <a:pt x="9125" y="13032"/>
                </a:cubicBezTo>
                <a:cubicBezTo>
                  <a:pt x="9125" y="13032"/>
                  <a:pt x="9094" y="13032"/>
                  <a:pt x="9094" y="13032"/>
                </a:cubicBezTo>
                <a:cubicBezTo>
                  <a:pt x="9063" y="13032"/>
                  <a:pt x="9063" y="13000"/>
                  <a:pt x="9063" y="13000"/>
                </a:cubicBezTo>
                <a:cubicBezTo>
                  <a:pt x="9063" y="13000"/>
                  <a:pt x="9063" y="13032"/>
                  <a:pt x="9094" y="13032"/>
                </a:cubicBezTo>
                <a:cubicBezTo>
                  <a:pt x="9094" y="13032"/>
                  <a:pt x="9125" y="13032"/>
                  <a:pt x="9125" y="13032"/>
                </a:cubicBezTo>
                <a:close/>
                <a:moveTo>
                  <a:pt x="8938" y="12875"/>
                </a:moveTo>
                <a:cubicBezTo>
                  <a:pt x="8938" y="12875"/>
                  <a:pt x="8938" y="12875"/>
                  <a:pt x="8938" y="12875"/>
                </a:cubicBezTo>
                <a:cubicBezTo>
                  <a:pt x="8938" y="12875"/>
                  <a:pt x="8938" y="12875"/>
                  <a:pt x="8938" y="12875"/>
                </a:cubicBezTo>
                <a:close/>
                <a:moveTo>
                  <a:pt x="8875" y="13094"/>
                </a:moveTo>
                <a:cubicBezTo>
                  <a:pt x="8875" y="13094"/>
                  <a:pt x="8875" y="13094"/>
                  <a:pt x="8875" y="13094"/>
                </a:cubicBezTo>
                <a:cubicBezTo>
                  <a:pt x="8875" y="13094"/>
                  <a:pt x="8875" y="13094"/>
                  <a:pt x="8875" y="13125"/>
                </a:cubicBezTo>
                <a:cubicBezTo>
                  <a:pt x="8875" y="13094"/>
                  <a:pt x="8875" y="13094"/>
                  <a:pt x="8875" y="13094"/>
                </a:cubicBezTo>
                <a:close/>
                <a:moveTo>
                  <a:pt x="9188" y="13657"/>
                </a:moveTo>
                <a:cubicBezTo>
                  <a:pt x="9188" y="13657"/>
                  <a:pt x="9188" y="13657"/>
                  <a:pt x="9188" y="13657"/>
                </a:cubicBezTo>
                <a:cubicBezTo>
                  <a:pt x="9188" y="13688"/>
                  <a:pt x="9188" y="13688"/>
                  <a:pt x="9156" y="13688"/>
                </a:cubicBezTo>
                <a:cubicBezTo>
                  <a:pt x="9188" y="13688"/>
                  <a:pt x="9188" y="13688"/>
                  <a:pt x="9188" y="13657"/>
                </a:cubicBezTo>
                <a:close/>
                <a:moveTo>
                  <a:pt x="10000" y="13813"/>
                </a:moveTo>
                <a:cubicBezTo>
                  <a:pt x="10000" y="13813"/>
                  <a:pt x="10000" y="13813"/>
                  <a:pt x="10000" y="13813"/>
                </a:cubicBezTo>
                <a:cubicBezTo>
                  <a:pt x="10000" y="13813"/>
                  <a:pt x="10000" y="13813"/>
                  <a:pt x="10000" y="13813"/>
                </a:cubicBezTo>
                <a:close/>
                <a:moveTo>
                  <a:pt x="10094" y="12157"/>
                </a:moveTo>
                <a:cubicBezTo>
                  <a:pt x="10063" y="12157"/>
                  <a:pt x="10063" y="12188"/>
                  <a:pt x="10031" y="12188"/>
                </a:cubicBezTo>
                <a:cubicBezTo>
                  <a:pt x="10063" y="12188"/>
                  <a:pt x="10063" y="12157"/>
                  <a:pt x="10094" y="12157"/>
                </a:cubicBezTo>
                <a:cubicBezTo>
                  <a:pt x="10125" y="12157"/>
                  <a:pt x="10125" y="12125"/>
                  <a:pt x="10156" y="12094"/>
                </a:cubicBezTo>
                <a:cubicBezTo>
                  <a:pt x="10156" y="12094"/>
                  <a:pt x="10156" y="12094"/>
                  <a:pt x="10156" y="12094"/>
                </a:cubicBezTo>
                <a:cubicBezTo>
                  <a:pt x="10125" y="12125"/>
                  <a:pt x="10125" y="12157"/>
                  <a:pt x="10094" y="12157"/>
                </a:cubicBezTo>
                <a:close/>
                <a:moveTo>
                  <a:pt x="10250" y="12063"/>
                </a:moveTo>
                <a:cubicBezTo>
                  <a:pt x="10219" y="12063"/>
                  <a:pt x="10219" y="12063"/>
                  <a:pt x="10188" y="12094"/>
                </a:cubicBezTo>
                <a:cubicBezTo>
                  <a:pt x="10219" y="12063"/>
                  <a:pt x="10219" y="12063"/>
                  <a:pt x="10250" y="12063"/>
                </a:cubicBezTo>
                <a:close/>
                <a:moveTo>
                  <a:pt x="10531" y="11250"/>
                </a:moveTo>
                <a:cubicBezTo>
                  <a:pt x="10531" y="11250"/>
                  <a:pt x="10531" y="11250"/>
                  <a:pt x="10531" y="11250"/>
                </a:cubicBezTo>
                <a:cubicBezTo>
                  <a:pt x="10531" y="11250"/>
                  <a:pt x="10531" y="11250"/>
                  <a:pt x="10531" y="11250"/>
                </a:cubicBezTo>
                <a:cubicBezTo>
                  <a:pt x="10531" y="11250"/>
                  <a:pt x="10531" y="11250"/>
                  <a:pt x="10531" y="11250"/>
                </a:cubicBezTo>
                <a:close/>
                <a:moveTo>
                  <a:pt x="10844" y="9750"/>
                </a:moveTo>
                <a:cubicBezTo>
                  <a:pt x="10844" y="9750"/>
                  <a:pt x="10813" y="9750"/>
                  <a:pt x="10813" y="9750"/>
                </a:cubicBezTo>
                <a:cubicBezTo>
                  <a:pt x="10813" y="9750"/>
                  <a:pt x="10844" y="9750"/>
                  <a:pt x="10844" y="9750"/>
                </a:cubicBezTo>
                <a:cubicBezTo>
                  <a:pt x="10844" y="9750"/>
                  <a:pt x="10844" y="9750"/>
                  <a:pt x="10844" y="9750"/>
                </a:cubicBezTo>
                <a:close/>
                <a:moveTo>
                  <a:pt x="11344" y="4375"/>
                </a:moveTo>
                <a:cubicBezTo>
                  <a:pt x="11344" y="4375"/>
                  <a:pt x="11375" y="4375"/>
                  <a:pt x="11375" y="4375"/>
                </a:cubicBezTo>
                <a:cubicBezTo>
                  <a:pt x="11375" y="4375"/>
                  <a:pt x="11344" y="4375"/>
                  <a:pt x="11344" y="4375"/>
                </a:cubicBezTo>
                <a:close/>
                <a:moveTo>
                  <a:pt x="9281" y="9594"/>
                </a:moveTo>
                <a:cubicBezTo>
                  <a:pt x="9281" y="9594"/>
                  <a:pt x="9281" y="9594"/>
                  <a:pt x="9281" y="9594"/>
                </a:cubicBezTo>
                <a:cubicBezTo>
                  <a:pt x="9281" y="9594"/>
                  <a:pt x="9281" y="9563"/>
                  <a:pt x="9281" y="9563"/>
                </a:cubicBezTo>
                <a:cubicBezTo>
                  <a:pt x="9281" y="9563"/>
                  <a:pt x="9281" y="9594"/>
                  <a:pt x="9281" y="9594"/>
                </a:cubicBezTo>
                <a:close/>
                <a:moveTo>
                  <a:pt x="8969" y="12907"/>
                </a:moveTo>
                <a:cubicBezTo>
                  <a:pt x="8969" y="12875"/>
                  <a:pt x="8969" y="12875"/>
                  <a:pt x="8969" y="12875"/>
                </a:cubicBezTo>
                <a:cubicBezTo>
                  <a:pt x="8969" y="12875"/>
                  <a:pt x="8969" y="12875"/>
                  <a:pt x="8969" y="12907"/>
                </a:cubicBezTo>
                <a:cubicBezTo>
                  <a:pt x="8969" y="12907"/>
                  <a:pt x="8969" y="12907"/>
                  <a:pt x="8969" y="12907"/>
                </a:cubicBezTo>
                <a:close/>
                <a:moveTo>
                  <a:pt x="8063" y="10032"/>
                </a:moveTo>
                <a:cubicBezTo>
                  <a:pt x="8063" y="10000"/>
                  <a:pt x="8094" y="10000"/>
                  <a:pt x="8094" y="9969"/>
                </a:cubicBezTo>
                <a:cubicBezTo>
                  <a:pt x="8094" y="10000"/>
                  <a:pt x="8063" y="10000"/>
                  <a:pt x="8063" y="10032"/>
                </a:cubicBezTo>
                <a:close/>
                <a:moveTo>
                  <a:pt x="6375" y="9000"/>
                </a:moveTo>
                <a:cubicBezTo>
                  <a:pt x="6375" y="9000"/>
                  <a:pt x="6375" y="9000"/>
                  <a:pt x="6375" y="9000"/>
                </a:cubicBezTo>
                <a:cubicBezTo>
                  <a:pt x="6344" y="8969"/>
                  <a:pt x="6344" y="8969"/>
                  <a:pt x="6344" y="8938"/>
                </a:cubicBezTo>
                <a:cubicBezTo>
                  <a:pt x="6344" y="8969"/>
                  <a:pt x="6344" y="8969"/>
                  <a:pt x="6375" y="9000"/>
                </a:cubicBezTo>
                <a:close/>
                <a:moveTo>
                  <a:pt x="6125" y="7344"/>
                </a:moveTo>
                <a:cubicBezTo>
                  <a:pt x="6156" y="7344"/>
                  <a:pt x="6156" y="7344"/>
                  <a:pt x="6156" y="7344"/>
                </a:cubicBezTo>
                <a:cubicBezTo>
                  <a:pt x="6156" y="7344"/>
                  <a:pt x="6156" y="7344"/>
                  <a:pt x="6125" y="7344"/>
                </a:cubicBezTo>
                <a:close/>
                <a:moveTo>
                  <a:pt x="5250" y="8594"/>
                </a:moveTo>
                <a:cubicBezTo>
                  <a:pt x="5250" y="8594"/>
                  <a:pt x="5281" y="8594"/>
                  <a:pt x="5313" y="8594"/>
                </a:cubicBezTo>
                <a:cubicBezTo>
                  <a:pt x="5281" y="8594"/>
                  <a:pt x="5250" y="8594"/>
                  <a:pt x="5250" y="8594"/>
                </a:cubicBezTo>
                <a:close/>
                <a:moveTo>
                  <a:pt x="4813" y="8313"/>
                </a:moveTo>
                <a:cubicBezTo>
                  <a:pt x="4781" y="8375"/>
                  <a:pt x="4719" y="8375"/>
                  <a:pt x="4688" y="8407"/>
                </a:cubicBezTo>
                <a:cubicBezTo>
                  <a:pt x="4688" y="8407"/>
                  <a:pt x="4688" y="8407"/>
                  <a:pt x="4688" y="8407"/>
                </a:cubicBezTo>
                <a:cubicBezTo>
                  <a:pt x="4656" y="8407"/>
                  <a:pt x="4656" y="8438"/>
                  <a:pt x="4656" y="8438"/>
                </a:cubicBezTo>
                <a:cubicBezTo>
                  <a:pt x="4656" y="8438"/>
                  <a:pt x="4656" y="8407"/>
                  <a:pt x="4688" y="8407"/>
                </a:cubicBezTo>
                <a:cubicBezTo>
                  <a:pt x="4688" y="8407"/>
                  <a:pt x="4688" y="8407"/>
                  <a:pt x="4688" y="8407"/>
                </a:cubicBezTo>
                <a:cubicBezTo>
                  <a:pt x="4719" y="8375"/>
                  <a:pt x="4781" y="8375"/>
                  <a:pt x="4813" y="8313"/>
                </a:cubicBezTo>
                <a:close/>
                <a:moveTo>
                  <a:pt x="4625" y="8344"/>
                </a:moveTo>
                <a:cubicBezTo>
                  <a:pt x="4625" y="8344"/>
                  <a:pt x="4656" y="8344"/>
                  <a:pt x="4656" y="8344"/>
                </a:cubicBezTo>
                <a:cubicBezTo>
                  <a:pt x="4656" y="8344"/>
                  <a:pt x="4656" y="8375"/>
                  <a:pt x="4656" y="8375"/>
                </a:cubicBezTo>
                <a:cubicBezTo>
                  <a:pt x="4656" y="8375"/>
                  <a:pt x="4656" y="8344"/>
                  <a:pt x="4656" y="8344"/>
                </a:cubicBezTo>
                <a:cubicBezTo>
                  <a:pt x="4656" y="8344"/>
                  <a:pt x="4625" y="8344"/>
                  <a:pt x="4625" y="8344"/>
                </a:cubicBezTo>
                <a:close/>
                <a:moveTo>
                  <a:pt x="3875" y="8969"/>
                </a:moveTo>
                <a:cubicBezTo>
                  <a:pt x="3906" y="8938"/>
                  <a:pt x="3906" y="8938"/>
                  <a:pt x="3938" y="8969"/>
                </a:cubicBezTo>
                <a:cubicBezTo>
                  <a:pt x="3906" y="8938"/>
                  <a:pt x="3906" y="8938"/>
                  <a:pt x="3875" y="8969"/>
                </a:cubicBezTo>
                <a:cubicBezTo>
                  <a:pt x="3844" y="8969"/>
                  <a:pt x="3813" y="8969"/>
                  <a:pt x="3781" y="8969"/>
                </a:cubicBezTo>
                <a:cubicBezTo>
                  <a:pt x="3813" y="8969"/>
                  <a:pt x="3844" y="8969"/>
                  <a:pt x="3875" y="8969"/>
                </a:cubicBezTo>
                <a:close/>
                <a:moveTo>
                  <a:pt x="5094" y="13688"/>
                </a:moveTo>
                <a:cubicBezTo>
                  <a:pt x="5094" y="13688"/>
                  <a:pt x="5094" y="13688"/>
                  <a:pt x="5094" y="13688"/>
                </a:cubicBezTo>
                <a:cubicBezTo>
                  <a:pt x="5094" y="13688"/>
                  <a:pt x="5094" y="13688"/>
                  <a:pt x="5094" y="13688"/>
                </a:cubicBezTo>
                <a:close/>
                <a:moveTo>
                  <a:pt x="4906" y="13688"/>
                </a:moveTo>
                <a:cubicBezTo>
                  <a:pt x="4938" y="13688"/>
                  <a:pt x="4969" y="13719"/>
                  <a:pt x="5000" y="13750"/>
                </a:cubicBezTo>
                <a:cubicBezTo>
                  <a:pt x="5031" y="13750"/>
                  <a:pt x="5031" y="13750"/>
                  <a:pt x="5031" y="13750"/>
                </a:cubicBezTo>
                <a:cubicBezTo>
                  <a:pt x="5031" y="13750"/>
                  <a:pt x="5031" y="13719"/>
                  <a:pt x="5063" y="13719"/>
                </a:cubicBezTo>
                <a:cubicBezTo>
                  <a:pt x="5031" y="13719"/>
                  <a:pt x="5031" y="13750"/>
                  <a:pt x="5031" y="13750"/>
                </a:cubicBezTo>
                <a:cubicBezTo>
                  <a:pt x="5031" y="13750"/>
                  <a:pt x="5031" y="13750"/>
                  <a:pt x="5000" y="13750"/>
                </a:cubicBezTo>
                <a:cubicBezTo>
                  <a:pt x="4969" y="13719"/>
                  <a:pt x="4938" y="13688"/>
                  <a:pt x="4906" y="13688"/>
                </a:cubicBezTo>
                <a:cubicBezTo>
                  <a:pt x="4906" y="13688"/>
                  <a:pt x="4906" y="13688"/>
                  <a:pt x="4906" y="13688"/>
                </a:cubicBezTo>
                <a:close/>
                <a:moveTo>
                  <a:pt x="4938" y="13657"/>
                </a:moveTo>
                <a:cubicBezTo>
                  <a:pt x="4938" y="13657"/>
                  <a:pt x="4938" y="13657"/>
                  <a:pt x="4938" y="13657"/>
                </a:cubicBezTo>
                <a:cubicBezTo>
                  <a:pt x="4938" y="13657"/>
                  <a:pt x="4938" y="13657"/>
                  <a:pt x="4938" y="13657"/>
                </a:cubicBezTo>
                <a:close/>
                <a:moveTo>
                  <a:pt x="5156" y="13782"/>
                </a:moveTo>
                <a:cubicBezTo>
                  <a:pt x="5125" y="13813"/>
                  <a:pt x="5094" y="13813"/>
                  <a:pt x="5031" y="13813"/>
                </a:cubicBezTo>
                <a:cubicBezTo>
                  <a:pt x="5031" y="13813"/>
                  <a:pt x="5031" y="13813"/>
                  <a:pt x="5031" y="13813"/>
                </a:cubicBezTo>
                <a:cubicBezTo>
                  <a:pt x="5094" y="13813"/>
                  <a:pt x="5125" y="13813"/>
                  <a:pt x="5156" y="13782"/>
                </a:cubicBezTo>
                <a:close/>
                <a:moveTo>
                  <a:pt x="5594" y="13500"/>
                </a:moveTo>
                <a:cubicBezTo>
                  <a:pt x="5594" y="13500"/>
                  <a:pt x="5594" y="13469"/>
                  <a:pt x="5594" y="13469"/>
                </a:cubicBezTo>
                <a:cubicBezTo>
                  <a:pt x="5594" y="13500"/>
                  <a:pt x="5594" y="13500"/>
                  <a:pt x="5594" y="13500"/>
                </a:cubicBezTo>
                <a:cubicBezTo>
                  <a:pt x="5625" y="13500"/>
                  <a:pt x="5625" y="13500"/>
                  <a:pt x="5625" y="13532"/>
                </a:cubicBezTo>
                <a:cubicBezTo>
                  <a:pt x="5625" y="13500"/>
                  <a:pt x="5625" y="13500"/>
                  <a:pt x="5594" y="13500"/>
                </a:cubicBezTo>
                <a:close/>
                <a:moveTo>
                  <a:pt x="5594" y="13563"/>
                </a:moveTo>
                <a:cubicBezTo>
                  <a:pt x="5563" y="13532"/>
                  <a:pt x="5563" y="13532"/>
                  <a:pt x="5531" y="13532"/>
                </a:cubicBezTo>
                <a:cubicBezTo>
                  <a:pt x="5563" y="13532"/>
                  <a:pt x="5563" y="13532"/>
                  <a:pt x="5594" y="13563"/>
                </a:cubicBezTo>
                <a:close/>
                <a:moveTo>
                  <a:pt x="4938" y="13969"/>
                </a:moveTo>
                <a:cubicBezTo>
                  <a:pt x="4938" y="13969"/>
                  <a:pt x="4938" y="13969"/>
                  <a:pt x="4969" y="13969"/>
                </a:cubicBezTo>
                <a:cubicBezTo>
                  <a:pt x="4969" y="13969"/>
                  <a:pt x="4969" y="13938"/>
                  <a:pt x="4969" y="13938"/>
                </a:cubicBezTo>
                <a:cubicBezTo>
                  <a:pt x="4969" y="13938"/>
                  <a:pt x="4969" y="13969"/>
                  <a:pt x="4969" y="13969"/>
                </a:cubicBezTo>
                <a:cubicBezTo>
                  <a:pt x="4938" y="13969"/>
                  <a:pt x="4938" y="13969"/>
                  <a:pt x="4938" y="13969"/>
                </a:cubicBezTo>
                <a:close/>
                <a:moveTo>
                  <a:pt x="5406" y="13719"/>
                </a:moveTo>
                <a:cubicBezTo>
                  <a:pt x="5375" y="13719"/>
                  <a:pt x="5375" y="13719"/>
                  <a:pt x="5375" y="13719"/>
                </a:cubicBezTo>
                <a:cubicBezTo>
                  <a:pt x="5375" y="13750"/>
                  <a:pt x="5375" y="13782"/>
                  <a:pt x="5406" y="13813"/>
                </a:cubicBezTo>
                <a:cubicBezTo>
                  <a:pt x="5375" y="13782"/>
                  <a:pt x="5375" y="13750"/>
                  <a:pt x="5375" y="13719"/>
                </a:cubicBezTo>
                <a:cubicBezTo>
                  <a:pt x="5375" y="13719"/>
                  <a:pt x="5375" y="13719"/>
                  <a:pt x="5406" y="13719"/>
                </a:cubicBezTo>
                <a:close/>
                <a:moveTo>
                  <a:pt x="11406" y="11250"/>
                </a:moveTo>
                <a:cubicBezTo>
                  <a:pt x="11406" y="11282"/>
                  <a:pt x="11406" y="11313"/>
                  <a:pt x="11438" y="11313"/>
                </a:cubicBezTo>
                <a:cubicBezTo>
                  <a:pt x="11438" y="11313"/>
                  <a:pt x="11438" y="11313"/>
                  <a:pt x="11438" y="11313"/>
                </a:cubicBezTo>
                <a:cubicBezTo>
                  <a:pt x="11406" y="11313"/>
                  <a:pt x="11406" y="11282"/>
                  <a:pt x="11406" y="11250"/>
                </a:cubicBezTo>
                <a:close/>
                <a:moveTo>
                  <a:pt x="11469" y="11250"/>
                </a:moveTo>
                <a:cubicBezTo>
                  <a:pt x="11469" y="11250"/>
                  <a:pt x="11469" y="11250"/>
                  <a:pt x="11469" y="11250"/>
                </a:cubicBezTo>
                <a:cubicBezTo>
                  <a:pt x="11469" y="11250"/>
                  <a:pt x="11469" y="11219"/>
                  <a:pt x="11469" y="11219"/>
                </a:cubicBezTo>
                <a:cubicBezTo>
                  <a:pt x="11469" y="10875"/>
                  <a:pt x="11469" y="10532"/>
                  <a:pt x="11469" y="10219"/>
                </a:cubicBezTo>
                <a:cubicBezTo>
                  <a:pt x="11500" y="10000"/>
                  <a:pt x="11656" y="10125"/>
                  <a:pt x="11750" y="10094"/>
                </a:cubicBezTo>
                <a:cubicBezTo>
                  <a:pt x="11750" y="10125"/>
                  <a:pt x="11719" y="10157"/>
                  <a:pt x="11688" y="10157"/>
                </a:cubicBezTo>
                <a:cubicBezTo>
                  <a:pt x="11656" y="10094"/>
                  <a:pt x="11625" y="10188"/>
                  <a:pt x="11594" y="10188"/>
                </a:cubicBezTo>
                <a:cubicBezTo>
                  <a:pt x="11594" y="10219"/>
                  <a:pt x="11563" y="10282"/>
                  <a:pt x="11563" y="10313"/>
                </a:cubicBezTo>
                <a:cubicBezTo>
                  <a:pt x="11563" y="10407"/>
                  <a:pt x="11625" y="10532"/>
                  <a:pt x="11656" y="10625"/>
                </a:cubicBezTo>
                <a:cubicBezTo>
                  <a:pt x="11688" y="10657"/>
                  <a:pt x="11688" y="10688"/>
                  <a:pt x="11625" y="10750"/>
                </a:cubicBezTo>
                <a:cubicBezTo>
                  <a:pt x="11594" y="10782"/>
                  <a:pt x="11594" y="10875"/>
                  <a:pt x="11594" y="10907"/>
                </a:cubicBezTo>
                <a:cubicBezTo>
                  <a:pt x="11594" y="10938"/>
                  <a:pt x="11594" y="10938"/>
                  <a:pt x="11625" y="10938"/>
                </a:cubicBezTo>
                <a:cubicBezTo>
                  <a:pt x="11688" y="10969"/>
                  <a:pt x="11719" y="10969"/>
                  <a:pt x="11688" y="11063"/>
                </a:cubicBezTo>
                <a:cubicBezTo>
                  <a:pt x="11656" y="11125"/>
                  <a:pt x="11625" y="11188"/>
                  <a:pt x="11625" y="11250"/>
                </a:cubicBezTo>
                <a:cubicBezTo>
                  <a:pt x="11625" y="11250"/>
                  <a:pt x="11625" y="11250"/>
                  <a:pt x="11625" y="11250"/>
                </a:cubicBezTo>
                <a:cubicBezTo>
                  <a:pt x="11563" y="11282"/>
                  <a:pt x="11563" y="11375"/>
                  <a:pt x="11469" y="11375"/>
                </a:cubicBezTo>
                <a:cubicBezTo>
                  <a:pt x="11469" y="11344"/>
                  <a:pt x="11469" y="11313"/>
                  <a:pt x="11469" y="11250"/>
                </a:cubicBezTo>
                <a:close/>
                <a:moveTo>
                  <a:pt x="11500" y="11438"/>
                </a:moveTo>
                <a:cubicBezTo>
                  <a:pt x="11469" y="11438"/>
                  <a:pt x="11469" y="11438"/>
                  <a:pt x="11469" y="11407"/>
                </a:cubicBezTo>
                <a:cubicBezTo>
                  <a:pt x="11469" y="11438"/>
                  <a:pt x="11469" y="11438"/>
                  <a:pt x="11500" y="11438"/>
                </a:cubicBezTo>
                <a:close/>
                <a:moveTo>
                  <a:pt x="11781" y="11219"/>
                </a:moveTo>
                <a:cubicBezTo>
                  <a:pt x="11781" y="11219"/>
                  <a:pt x="11781" y="11219"/>
                  <a:pt x="11781" y="11219"/>
                </a:cubicBezTo>
                <a:cubicBezTo>
                  <a:pt x="11781" y="11219"/>
                  <a:pt x="11781" y="11219"/>
                  <a:pt x="11781" y="11219"/>
                </a:cubicBezTo>
                <a:cubicBezTo>
                  <a:pt x="11813" y="11219"/>
                  <a:pt x="11813" y="11219"/>
                  <a:pt x="11844" y="11219"/>
                </a:cubicBezTo>
                <a:cubicBezTo>
                  <a:pt x="11813" y="11219"/>
                  <a:pt x="11813" y="11219"/>
                  <a:pt x="11781" y="11219"/>
                </a:cubicBezTo>
                <a:cubicBezTo>
                  <a:pt x="11781" y="11219"/>
                  <a:pt x="11781" y="11250"/>
                  <a:pt x="11781" y="11250"/>
                </a:cubicBezTo>
                <a:cubicBezTo>
                  <a:pt x="11781" y="11250"/>
                  <a:pt x="11781" y="11219"/>
                  <a:pt x="11781" y="11219"/>
                </a:cubicBezTo>
                <a:close/>
                <a:moveTo>
                  <a:pt x="12625" y="13907"/>
                </a:moveTo>
                <a:cubicBezTo>
                  <a:pt x="12656" y="13875"/>
                  <a:pt x="12656" y="13875"/>
                  <a:pt x="12656" y="13875"/>
                </a:cubicBezTo>
                <a:cubicBezTo>
                  <a:pt x="12750" y="13813"/>
                  <a:pt x="12813" y="13719"/>
                  <a:pt x="12906" y="13657"/>
                </a:cubicBezTo>
                <a:cubicBezTo>
                  <a:pt x="12813" y="13719"/>
                  <a:pt x="12750" y="13813"/>
                  <a:pt x="12656" y="13875"/>
                </a:cubicBezTo>
                <a:cubicBezTo>
                  <a:pt x="12656" y="13875"/>
                  <a:pt x="12656" y="13875"/>
                  <a:pt x="12625" y="13907"/>
                </a:cubicBezTo>
                <a:cubicBezTo>
                  <a:pt x="12625" y="13907"/>
                  <a:pt x="12625" y="13907"/>
                  <a:pt x="12625" y="13938"/>
                </a:cubicBezTo>
                <a:cubicBezTo>
                  <a:pt x="12625" y="13938"/>
                  <a:pt x="12625" y="13938"/>
                  <a:pt x="12625" y="13938"/>
                </a:cubicBezTo>
                <a:cubicBezTo>
                  <a:pt x="12625" y="13907"/>
                  <a:pt x="12625" y="13907"/>
                  <a:pt x="12625" y="13907"/>
                </a:cubicBezTo>
                <a:close/>
                <a:moveTo>
                  <a:pt x="17594" y="12813"/>
                </a:moveTo>
                <a:cubicBezTo>
                  <a:pt x="17656" y="12782"/>
                  <a:pt x="17688" y="12719"/>
                  <a:pt x="17719" y="12688"/>
                </a:cubicBezTo>
                <a:cubicBezTo>
                  <a:pt x="17750" y="12688"/>
                  <a:pt x="17750" y="12688"/>
                  <a:pt x="17750" y="12657"/>
                </a:cubicBezTo>
                <a:cubicBezTo>
                  <a:pt x="17750" y="12688"/>
                  <a:pt x="17750" y="12688"/>
                  <a:pt x="17719" y="12688"/>
                </a:cubicBezTo>
                <a:cubicBezTo>
                  <a:pt x="17688" y="12719"/>
                  <a:pt x="17656" y="12782"/>
                  <a:pt x="17594" y="12813"/>
                </a:cubicBezTo>
                <a:cubicBezTo>
                  <a:pt x="17594" y="12813"/>
                  <a:pt x="17563" y="12844"/>
                  <a:pt x="17563" y="12844"/>
                </a:cubicBezTo>
                <a:cubicBezTo>
                  <a:pt x="17563" y="12844"/>
                  <a:pt x="17594" y="12813"/>
                  <a:pt x="17594" y="12813"/>
                </a:cubicBezTo>
                <a:close/>
                <a:moveTo>
                  <a:pt x="18344" y="11532"/>
                </a:moveTo>
                <a:cubicBezTo>
                  <a:pt x="18375" y="11532"/>
                  <a:pt x="18375" y="11532"/>
                  <a:pt x="18406" y="11532"/>
                </a:cubicBezTo>
                <a:cubicBezTo>
                  <a:pt x="18406" y="11500"/>
                  <a:pt x="18438" y="11500"/>
                  <a:pt x="18469" y="11500"/>
                </a:cubicBezTo>
                <a:cubicBezTo>
                  <a:pt x="18438" y="11500"/>
                  <a:pt x="18406" y="11500"/>
                  <a:pt x="18406" y="11532"/>
                </a:cubicBezTo>
                <a:cubicBezTo>
                  <a:pt x="18375" y="11532"/>
                  <a:pt x="18375" y="11532"/>
                  <a:pt x="18344" y="11532"/>
                </a:cubicBezTo>
                <a:close/>
                <a:moveTo>
                  <a:pt x="16250" y="10688"/>
                </a:moveTo>
                <a:cubicBezTo>
                  <a:pt x="16219" y="10750"/>
                  <a:pt x="16094" y="10782"/>
                  <a:pt x="16094" y="10875"/>
                </a:cubicBezTo>
                <a:cubicBezTo>
                  <a:pt x="15969" y="10938"/>
                  <a:pt x="15875" y="11063"/>
                  <a:pt x="15750" y="11157"/>
                </a:cubicBezTo>
                <a:cubicBezTo>
                  <a:pt x="15750" y="11157"/>
                  <a:pt x="15750" y="11157"/>
                  <a:pt x="15750" y="11188"/>
                </a:cubicBezTo>
                <a:cubicBezTo>
                  <a:pt x="15781" y="11250"/>
                  <a:pt x="15750" y="11282"/>
                  <a:pt x="15688" y="11313"/>
                </a:cubicBezTo>
                <a:cubicBezTo>
                  <a:pt x="15625" y="11344"/>
                  <a:pt x="15594" y="11344"/>
                  <a:pt x="15563" y="11375"/>
                </a:cubicBezTo>
                <a:cubicBezTo>
                  <a:pt x="15625" y="11407"/>
                  <a:pt x="15625" y="11407"/>
                  <a:pt x="15594" y="11438"/>
                </a:cubicBezTo>
                <a:cubicBezTo>
                  <a:pt x="15563" y="11469"/>
                  <a:pt x="15531" y="11469"/>
                  <a:pt x="15531" y="11500"/>
                </a:cubicBezTo>
                <a:cubicBezTo>
                  <a:pt x="15469" y="11532"/>
                  <a:pt x="15344" y="11532"/>
                  <a:pt x="15344" y="11625"/>
                </a:cubicBezTo>
                <a:cubicBezTo>
                  <a:pt x="15281" y="11657"/>
                  <a:pt x="15250" y="11657"/>
                  <a:pt x="15188" y="11657"/>
                </a:cubicBezTo>
                <a:cubicBezTo>
                  <a:pt x="15188" y="11625"/>
                  <a:pt x="15188" y="11625"/>
                  <a:pt x="15188" y="11625"/>
                </a:cubicBezTo>
                <a:cubicBezTo>
                  <a:pt x="15188" y="11625"/>
                  <a:pt x="15188" y="11625"/>
                  <a:pt x="15188" y="11625"/>
                </a:cubicBezTo>
                <a:cubicBezTo>
                  <a:pt x="15156" y="11625"/>
                  <a:pt x="15188" y="11594"/>
                  <a:pt x="15188" y="11594"/>
                </a:cubicBezTo>
                <a:cubicBezTo>
                  <a:pt x="15406" y="11438"/>
                  <a:pt x="15563" y="11250"/>
                  <a:pt x="15750" y="11063"/>
                </a:cubicBezTo>
                <a:cubicBezTo>
                  <a:pt x="15938" y="10938"/>
                  <a:pt x="16063" y="10782"/>
                  <a:pt x="16250" y="10657"/>
                </a:cubicBezTo>
                <a:cubicBezTo>
                  <a:pt x="16250" y="10625"/>
                  <a:pt x="16250" y="10625"/>
                  <a:pt x="16250" y="10625"/>
                </a:cubicBezTo>
                <a:cubicBezTo>
                  <a:pt x="16250" y="10625"/>
                  <a:pt x="16250" y="10625"/>
                  <a:pt x="16250" y="10657"/>
                </a:cubicBezTo>
                <a:cubicBezTo>
                  <a:pt x="16250" y="10657"/>
                  <a:pt x="16250" y="10688"/>
                  <a:pt x="16250" y="10688"/>
                </a:cubicBezTo>
                <a:close/>
                <a:moveTo>
                  <a:pt x="15188" y="10688"/>
                </a:moveTo>
                <a:cubicBezTo>
                  <a:pt x="15188" y="10688"/>
                  <a:pt x="15156" y="10688"/>
                  <a:pt x="15156" y="10688"/>
                </a:cubicBezTo>
                <a:cubicBezTo>
                  <a:pt x="15156" y="10688"/>
                  <a:pt x="15188" y="10688"/>
                  <a:pt x="15188" y="10688"/>
                </a:cubicBezTo>
                <a:cubicBezTo>
                  <a:pt x="15188" y="10688"/>
                  <a:pt x="15188" y="10719"/>
                  <a:pt x="15188" y="10719"/>
                </a:cubicBezTo>
                <a:cubicBezTo>
                  <a:pt x="15188" y="10719"/>
                  <a:pt x="15188" y="10688"/>
                  <a:pt x="15188" y="10688"/>
                </a:cubicBezTo>
                <a:close/>
                <a:moveTo>
                  <a:pt x="13438" y="6063"/>
                </a:moveTo>
                <a:cubicBezTo>
                  <a:pt x="13438" y="6063"/>
                  <a:pt x="13438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ubicBezTo>
                  <a:pt x="13438" y="6063"/>
                  <a:pt x="13438" y="6063"/>
                  <a:pt x="13438" y="6063"/>
                </a:cubicBezTo>
                <a:close/>
                <a:moveTo>
                  <a:pt x="11969" y="7625"/>
                </a:moveTo>
                <a:cubicBezTo>
                  <a:pt x="12000" y="7657"/>
                  <a:pt x="12000" y="7688"/>
                  <a:pt x="12000" y="7719"/>
                </a:cubicBezTo>
                <a:cubicBezTo>
                  <a:pt x="12000" y="7719"/>
                  <a:pt x="12000" y="7719"/>
                  <a:pt x="12000" y="7719"/>
                </a:cubicBezTo>
                <a:cubicBezTo>
                  <a:pt x="12000" y="7688"/>
                  <a:pt x="12000" y="7657"/>
                  <a:pt x="11969" y="7625"/>
                </a:cubicBezTo>
                <a:close/>
                <a:moveTo>
                  <a:pt x="12813" y="4188"/>
                </a:moveTo>
                <a:cubicBezTo>
                  <a:pt x="12750" y="4250"/>
                  <a:pt x="12688" y="4313"/>
                  <a:pt x="12656" y="4407"/>
                </a:cubicBezTo>
                <a:cubicBezTo>
                  <a:pt x="12625" y="4438"/>
                  <a:pt x="12594" y="4438"/>
                  <a:pt x="12594" y="4438"/>
                </a:cubicBezTo>
                <a:cubicBezTo>
                  <a:pt x="12563" y="4500"/>
                  <a:pt x="12531" y="4532"/>
                  <a:pt x="12625" y="4563"/>
                </a:cubicBezTo>
                <a:cubicBezTo>
                  <a:pt x="12625" y="4563"/>
                  <a:pt x="12625" y="4563"/>
                  <a:pt x="12625" y="4563"/>
                </a:cubicBezTo>
                <a:cubicBezTo>
                  <a:pt x="12625" y="4563"/>
                  <a:pt x="12625" y="4563"/>
                  <a:pt x="12625" y="4563"/>
                </a:cubicBezTo>
                <a:cubicBezTo>
                  <a:pt x="12656" y="4625"/>
                  <a:pt x="12594" y="4625"/>
                  <a:pt x="12563" y="4657"/>
                </a:cubicBezTo>
                <a:cubicBezTo>
                  <a:pt x="12500" y="4657"/>
                  <a:pt x="12438" y="4688"/>
                  <a:pt x="12375" y="4750"/>
                </a:cubicBezTo>
                <a:cubicBezTo>
                  <a:pt x="12344" y="4782"/>
                  <a:pt x="12281" y="4782"/>
                  <a:pt x="12313" y="4813"/>
                </a:cubicBezTo>
                <a:cubicBezTo>
                  <a:pt x="12313" y="4844"/>
                  <a:pt x="12313" y="4875"/>
                  <a:pt x="12281" y="4875"/>
                </a:cubicBezTo>
                <a:cubicBezTo>
                  <a:pt x="12188" y="4844"/>
                  <a:pt x="12156" y="4907"/>
                  <a:pt x="12094" y="4938"/>
                </a:cubicBezTo>
                <a:cubicBezTo>
                  <a:pt x="12031" y="5000"/>
                  <a:pt x="11969" y="5063"/>
                  <a:pt x="11906" y="5094"/>
                </a:cubicBezTo>
                <a:cubicBezTo>
                  <a:pt x="11875" y="5094"/>
                  <a:pt x="11875" y="5094"/>
                  <a:pt x="11844" y="5125"/>
                </a:cubicBezTo>
                <a:cubicBezTo>
                  <a:pt x="11875" y="5125"/>
                  <a:pt x="11844" y="5125"/>
                  <a:pt x="11844" y="5125"/>
                </a:cubicBezTo>
                <a:cubicBezTo>
                  <a:pt x="11844" y="5125"/>
                  <a:pt x="11875" y="5125"/>
                  <a:pt x="11844" y="5125"/>
                </a:cubicBezTo>
                <a:cubicBezTo>
                  <a:pt x="11844" y="5094"/>
                  <a:pt x="11813" y="5125"/>
                  <a:pt x="11781" y="5094"/>
                </a:cubicBezTo>
                <a:cubicBezTo>
                  <a:pt x="11781" y="5094"/>
                  <a:pt x="11750" y="5094"/>
                  <a:pt x="11750" y="5094"/>
                </a:cubicBezTo>
                <a:cubicBezTo>
                  <a:pt x="11750" y="5157"/>
                  <a:pt x="11688" y="5188"/>
                  <a:pt x="11656" y="5219"/>
                </a:cubicBezTo>
                <a:cubicBezTo>
                  <a:pt x="11563" y="5250"/>
                  <a:pt x="11500" y="5407"/>
                  <a:pt x="11531" y="5500"/>
                </a:cubicBezTo>
                <a:cubicBezTo>
                  <a:pt x="11563" y="5500"/>
                  <a:pt x="11563" y="5500"/>
                  <a:pt x="11594" y="5500"/>
                </a:cubicBezTo>
                <a:cubicBezTo>
                  <a:pt x="11594" y="5500"/>
                  <a:pt x="11594" y="5500"/>
                  <a:pt x="11594" y="5500"/>
                </a:cubicBezTo>
                <a:cubicBezTo>
                  <a:pt x="11563" y="5563"/>
                  <a:pt x="11500" y="5657"/>
                  <a:pt x="11531" y="5719"/>
                </a:cubicBezTo>
                <a:cubicBezTo>
                  <a:pt x="11563" y="5813"/>
                  <a:pt x="11563" y="5907"/>
                  <a:pt x="11531" y="6000"/>
                </a:cubicBezTo>
                <a:cubicBezTo>
                  <a:pt x="11500" y="6000"/>
                  <a:pt x="11500" y="6000"/>
                  <a:pt x="11469" y="6032"/>
                </a:cubicBezTo>
                <a:cubicBezTo>
                  <a:pt x="11438" y="5969"/>
                  <a:pt x="11469" y="5907"/>
                  <a:pt x="11469" y="5844"/>
                </a:cubicBezTo>
                <a:cubicBezTo>
                  <a:pt x="11469" y="5750"/>
                  <a:pt x="11469" y="5657"/>
                  <a:pt x="11469" y="5563"/>
                </a:cubicBezTo>
                <a:cubicBezTo>
                  <a:pt x="11469" y="5563"/>
                  <a:pt x="11469" y="5563"/>
                  <a:pt x="11469" y="5563"/>
                </a:cubicBezTo>
                <a:cubicBezTo>
                  <a:pt x="11531" y="5532"/>
                  <a:pt x="11531" y="5469"/>
                  <a:pt x="11469" y="5438"/>
                </a:cubicBezTo>
                <a:cubicBezTo>
                  <a:pt x="11469" y="5438"/>
                  <a:pt x="11469" y="5407"/>
                  <a:pt x="11469" y="5407"/>
                </a:cubicBezTo>
                <a:cubicBezTo>
                  <a:pt x="11469" y="5407"/>
                  <a:pt x="11469" y="5407"/>
                  <a:pt x="11469" y="5407"/>
                </a:cubicBezTo>
                <a:cubicBezTo>
                  <a:pt x="11500" y="5375"/>
                  <a:pt x="11500" y="5375"/>
                  <a:pt x="11500" y="5344"/>
                </a:cubicBezTo>
                <a:cubicBezTo>
                  <a:pt x="11500" y="5282"/>
                  <a:pt x="11500" y="5250"/>
                  <a:pt x="11531" y="5188"/>
                </a:cubicBezTo>
                <a:cubicBezTo>
                  <a:pt x="11500" y="5188"/>
                  <a:pt x="11500" y="5157"/>
                  <a:pt x="11500" y="5157"/>
                </a:cubicBezTo>
                <a:cubicBezTo>
                  <a:pt x="11500" y="5157"/>
                  <a:pt x="11500" y="5188"/>
                  <a:pt x="11531" y="5188"/>
                </a:cubicBezTo>
                <a:cubicBezTo>
                  <a:pt x="11563" y="5157"/>
                  <a:pt x="11625" y="5188"/>
                  <a:pt x="11625" y="5125"/>
                </a:cubicBezTo>
                <a:cubicBezTo>
                  <a:pt x="11688" y="5125"/>
                  <a:pt x="11719" y="5125"/>
                  <a:pt x="11750" y="5094"/>
                </a:cubicBezTo>
                <a:cubicBezTo>
                  <a:pt x="11750" y="5094"/>
                  <a:pt x="11781" y="5094"/>
                  <a:pt x="11781" y="5094"/>
                </a:cubicBezTo>
                <a:cubicBezTo>
                  <a:pt x="11844" y="5063"/>
                  <a:pt x="11875" y="5000"/>
                  <a:pt x="11938" y="4969"/>
                </a:cubicBezTo>
                <a:cubicBezTo>
                  <a:pt x="11906" y="4969"/>
                  <a:pt x="11906" y="4969"/>
                  <a:pt x="11875" y="4938"/>
                </a:cubicBezTo>
                <a:cubicBezTo>
                  <a:pt x="11906" y="4969"/>
                  <a:pt x="11906" y="4969"/>
                  <a:pt x="11938" y="4969"/>
                </a:cubicBezTo>
                <a:cubicBezTo>
                  <a:pt x="11969" y="4938"/>
                  <a:pt x="12031" y="4907"/>
                  <a:pt x="12063" y="4875"/>
                </a:cubicBezTo>
                <a:cubicBezTo>
                  <a:pt x="12125" y="4844"/>
                  <a:pt x="12219" y="4813"/>
                  <a:pt x="12281" y="4719"/>
                </a:cubicBezTo>
                <a:cubicBezTo>
                  <a:pt x="12281" y="4719"/>
                  <a:pt x="12281" y="4719"/>
                  <a:pt x="12281" y="4719"/>
                </a:cubicBezTo>
                <a:cubicBezTo>
                  <a:pt x="12375" y="4657"/>
                  <a:pt x="12438" y="4563"/>
                  <a:pt x="12531" y="4500"/>
                </a:cubicBezTo>
                <a:cubicBezTo>
                  <a:pt x="12531" y="4469"/>
                  <a:pt x="12563" y="4438"/>
                  <a:pt x="12594" y="4438"/>
                </a:cubicBezTo>
                <a:cubicBezTo>
                  <a:pt x="12594" y="4313"/>
                  <a:pt x="12688" y="4250"/>
                  <a:pt x="12781" y="4157"/>
                </a:cubicBezTo>
                <a:cubicBezTo>
                  <a:pt x="12781" y="4157"/>
                  <a:pt x="12813" y="4157"/>
                  <a:pt x="12813" y="4188"/>
                </a:cubicBezTo>
                <a:close/>
                <a:moveTo>
                  <a:pt x="12500" y="3125"/>
                </a:moveTo>
                <a:cubicBezTo>
                  <a:pt x="12500" y="3094"/>
                  <a:pt x="12500" y="3094"/>
                  <a:pt x="12500" y="3063"/>
                </a:cubicBezTo>
                <a:cubicBezTo>
                  <a:pt x="12500" y="3063"/>
                  <a:pt x="12500" y="3063"/>
                  <a:pt x="12500" y="3063"/>
                </a:cubicBezTo>
                <a:cubicBezTo>
                  <a:pt x="12500" y="3094"/>
                  <a:pt x="12500" y="3094"/>
                  <a:pt x="12500" y="3125"/>
                </a:cubicBezTo>
                <a:close/>
                <a:moveTo>
                  <a:pt x="11688" y="3938"/>
                </a:moveTo>
                <a:cubicBezTo>
                  <a:pt x="11688" y="3938"/>
                  <a:pt x="11688" y="3938"/>
                  <a:pt x="11688" y="3938"/>
                </a:cubicBezTo>
                <a:cubicBezTo>
                  <a:pt x="11656" y="3938"/>
                  <a:pt x="11656" y="3938"/>
                  <a:pt x="11625" y="3938"/>
                </a:cubicBezTo>
                <a:cubicBezTo>
                  <a:pt x="11656" y="3938"/>
                  <a:pt x="11656" y="3938"/>
                  <a:pt x="11688" y="3938"/>
                </a:cubicBezTo>
                <a:close/>
                <a:moveTo>
                  <a:pt x="11500" y="4313"/>
                </a:moveTo>
                <a:cubicBezTo>
                  <a:pt x="11469" y="4313"/>
                  <a:pt x="11469" y="4313"/>
                  <a:pt x="11469" y="4344"/>
                </a:cubicBezTo>
                <a:cubicBezTo>
                  <a:pt x="11438" y="4344"/>
                  <a:pt x="11438" y="4344"/>
                  <a:pt x="11406" y="4344"/>
                </a:cubicBezTo>
                <a:cubicBezTo>
                  <a:pt x="11438" y="4344"/>
                  <a:pt x="11438" y="4344"/>
                  <a:pt x="11469" y="4344"/>
                </a:cubicBezTo>
                <a:cubicBezTo>
                  <a:pt x="11469" y="4313"/>
                  <a:pt x="11469" y="4313"/>
                  <a:pt x="11500" y="4313"/>
                </a:cubicBezTo>
                <a:close/>
                <a:moveTo>
                  <a:pt x="8594" y="5594"/>
                </a:moveTo>
                <a:cubicBezTo>
                  <a:pt x="8594" y="5594"/>
                  <a:pt x="8594" y="5594"/>
                  <a:pt x="8594" y="5594"/>
                </a:cubicBezTo>
                <a:cubicBezTo>
                  <a:pt x="8594" y="5594"/>
                  <a:pt x="8594" y="5594"/>
                  <a:pt x="8594" y="5594"/>
                </a:cubicBezTo>
                <a:close/>
                <a:moveTo>
                  <a:pt x="8750" y="12532"/>
                </a:moveTo>
                <a:cubicBezTo>
                  <a:pt x="8750" y="12532"/>
                  <a:pt x="8750" y="12532"/>
                  <a:pt x="8781" y="12532"/>
                </a:cubicBezTo>
                <a:cubicBezTo>
                  <a:pt x="8750" y="12532"/>
                  <a:pt x="8750" y="12532"/>
                  <a:pt x="8750" y="12532"/>
                </a:cubicBezTo>
                <a:cubicBezTo>
                  <a:pt x="8719" y="12532"/>
                  <a:pt x="8688" y="12532"/>
                  <a:pt x="8688" y="12594"/>
                </a:cubicBezTo>
                <a:cubicBezTo>
                  <a:pt x="8656" y="12594"/>
                  <a:pt x="8656" y="12563"/>
                  <a:pt x="8656" y="12532"/>
                </a:cubicBezTo>
                <a:cubicBezTo>
                  <a:pt x="8656" y="12563"/>
                  <a:pt x="8656" y="12594"/>
                  <a:pt x="8688" y="12594"/>
                </a:cubicBezTo>
                <a:cubicBezTo>
                  <a:pt x="8688" y="12532"/>
                  <a:pt x="8719" y="12532"/>
                  <a:pt x="8750" y="12532"/>
                </a:cubicBezTo>
                <a:close/>
                <a:moveTo>
                  <a:pt x="6375" y="8625"/>
                </a:moveTo>
                <a:cubicBezTo>
                  <a:pt x="6375" y="8625"/>
                  <a:pt x="6375" y="8657"/>
                  <a:pt x="6344" y="8657"/>
                </a:cubicBezTo>
                <a:cubicBezTo>
                  <a:pt x="6375" y="8657"/>
                  <a:pt x="6375" y="8625"/>
                  <a:pt x="6375" y="8625"/>
                </a:cubicBezTo>
                <a:cubicBezTo>
                  <a:pt x="6375" y="8594"/>
                  <a:pt x="6406" y="8594"/>
                  <a:pt x="6406" y="8594"/>
                </a:cubicBezTo>
                <a:cubicBezTo>
                  <a:pt x="6406" y="8594"/>
                  <a:pt x="6375" y="8594"/>
                  <a:pt x="6375" y="8625"/>
                </a:cubicBezTo>
                <a:close/>
                <a:moveTo>
                  <a:pt x="6250" y="6032"/>
                </a:moveTo>
                <a:cubicBezTo>
                  <a:pt x="6250" y="6032"/>
                  <a:pt x="6250" y="6032"/>
                  <a:pt x="6250" y="6032"/>
                </a:cubicBezTo>
                <a:cubicBezTo>
                  <a:pt x="6250" y="6032"/>
                  <a:pt x="6250" y="6032"/>
                  <a:pt x="6250" y="6032"/>
                </a:cubicBezTo>
                <a:close/>
                <a:moveTo>
                  <a:pt x="6281" y="6563"/>
                </a:moveTo>
                <a:cubicBezTo>
                  <a:pt x="6250" y="6563"/>
                  <a:pt x="6250" y="6563"/>
                  <a:pt x="6250" y="6563"/>
                </a:cubicBezTo>
                <a:cubicBezTo>
                  <a:pt x="6250" y="6563"/>
                  <a:pt x="6250" y="6563"/>
                  <a:pt x="6281" y="6563"/>
                </a:cubicBezTo>
                <a:close/>
                <a:moveTo>
                  <a:pt x="5375" y="7969"/>
                </a:moveTo>
                <a:cubicBezTo>
                  <a:pt x="5375" y="7969"/>
                  <a:pt x="5375" y="7969"/>
                  <a:pt x="5375" y="7969"/>
                </a:cubicBezTo>
                <a:cubicBezTo>
                  <a:pt x="5375" y="7969"/>
                  <a:pt x="5375" y="7969"/>
                  <a:pt x="5375" y="7969"/>
                </a:cubicBezTo>
                <a:cubicBezTo>
                  <a:pt x="5406" y="7969"/>
                  <a:pt x="5406" y="7938"/>
                  <a:pt x="5438" y="7938"/>
                </a:cubicBezTo>
                <a:cubicBezTo>
                  <a:pt x="5406" y="7938"/>
                  <a:pt x="5406" y="7969"/>
                  <a:pt x="5375" y="7969"/>
                </a:cubicBezTo>
                <a:close/>
                <a:moveTo>
                  <a:pt x="4094" y="8032"/>
                </a:moveTo>
                <a:cubicBezTo>
                  <a:pt x="4094" y="8032"/>
                  <a:pt x="4094" y="8032"/>
                  <a:pt x="4094" y="8032"/>
                </a:cubicBezTo>
                <a:cubicBezTo>
                  <a:pt x="3969" y="8032"/>
                  <a:pt x="3906" y="8094"/>
                  <a:pt x="3813" y="8157"/>
                </a:cubicBezTo>
                <a:cubicBezTo>
                  <a:pt x="3906" y="8094"/>
                  <a:pt x="3969" y="8032"/>
                  <a:pt x="4094" y="8032"/>
                </a:cubicBezTo>
                <a:close/>
                <a:moveTo>
                  <a:pt x="3000" y="7844"/>
                </a:moveTo>
                <a:cubicBezTo>
                  <a:pt x="3000" y="7844"/>
                  <a:pt x="3000" y="7813"/>
                  <a:pt x="2969" y="7813"/>
                </a:cubicBezTo>
                <a:cubicBezTo>
                  <a:pt x="3000" y="7813"/>
                  <a:pt x="3000" y="7844"/>
                  <a:pt x="3000" y="7844"/>
                </a:cubicBezTo>
                <a:cubicBezTo>
                  <a:pt x="3000" y="7844"/>
                  <a:pt x="3000" y="7844"/>
                  <a:pt x="3000" y="7844"/>
                </a:cubicBezTo>
                <a:close/>
                <a:moveTo>
                  <a:pt x="2969" y="7813"/>
                </a:moveTo>
                <a:cubicBezTo>
                  <a:pt x="2969" y="7813"/>
                  <a:pt x="2969" y="7813"/>
                  <a:pt x="2969" y="7813"/>
                </a:cubicBezTo>
                <a:cubicBezTo>
                  <a:pt x="2969" y="7813"/>
                  <a:pt x="2969" y="7813"/>
                  <a:pt x="2969" y="7813"/>
                </a:cubicBezTo>
                <a:close/>
                <a:moveTo>
                  <a:pt x="3500" y="10188"/>
                </a:moveTo>
                <a:cubicBezTo>
                  <a:pt x="3500" y="10188"/>
                  <a:pt x="3531" y="10188"/>
                  <a:pt x="3531" y="10157"/>
                </a:cubicBezTo>
                <a:cubicBezTo>
                  <a:pt x="3531" y="10157"/>
                  <a:pt x="3563" y="10157"/>
                  <a:pt x="3563" y="10157"/>
                </a:cubicBezTo>
                <a:cubicBezTo>
                  <a:pt x="3563" y="10157"/>
                  <a:pt x="3531" y="10157"/>
                  <a:pt x="3531" y="10157"/>
                </a:cubicBezTo>
                <a:cubicBezTo>
                  <a:pt x="3531" y="10188"/>
                  <a:pt x="3500" y="10188"/>
                  <a:pt x="3500" y="10188"/>
                </a:cubicBezTo>
                <a:cubicBezTo>
                  <a:pt x="3438" y="10188"/>
                  <a:pt x="3406" y="10188"/>
                  <a:pt x="3375" y="10188"/>
                </a:cubicBezTo>
                <a:cubicBezTo>
                  <a:pt x="3406" y="10188"/>
                  <a:pt x="3438" y="10188"/>
                  <a:pt x="3500" y="10188"/>
                </a:cubicBezTo>
                <a:close/>
                <a:moveTo>
                  <a:pt x="4750" y="11719"/>
                </a:moveTo>
                <a:cubicBezTo>
                  <a:pt x="4719" y="11719"/>
                  <a:pt x="4719" y="11719"/>
                  <a:pt x="4719" y="11750"/>
                </a:cubicBezTo>
                <a:cubicBezTo>
                  <a:pt x="4719" y="11719"/>
                  <a:pt x="4719" y="11719"/>
                  <a:pt x="4750" y="11719"/>
                </a:cubicBezTo>
                <a:close/>
                <a:moveTo>
                  <a:pt x="5219" y="13969"/>
                </a:moveTo>
                <a:cubicBezTo>
                  <a:pt x="5219" y="13969"/>
                  <a:pt x="5250" y="13969"/>
                  <a:pt x="5250" y="13969"/>
                </a:cubicBezTo>
                <a:cubicBezTo>
                  <a:pt x="5250" y="13969"/>
                  <a:pt x="5219" y="13969"/>
                  <a:pt x="5219" y="13969"/>
                </a:cubicBezTo>
                <a:close/>
                <a:moveTo>
                  <a:pt x="5375" y="13969"/>
                </a:moveTo>
                <a:cubicBezTo>
                  <a:pt x="5375" y="13938"/>
                  <a:pt x="5375" y="13938"/>
                  <a:pt x="5344" y="13907"/>
                </a:cubicBezTo>
                <a:cubicBezTo>
                  <a:pt x="5375" y="13938"/>
                  <a:pt x="5375" y="13938"/>
                  <a:pt x="5375" y="13969"/>
                </a:cubicBezTo>
                <a:close/>
                <a:moveTo>
                  <a:pt x="10219" y="14063"/>
                </a:moveTo>
                <a:cubicBezTo>
                  <a:pt x="10219" y="14032"/>
                  <a:pt x="10188" y="14032"/>
                  <a:pt x="10188" y="14000"/>
                </a:cubicBezTo>
                <a:cubicBezTo>
                  <a:pt x="10188" y="14032"/>
                  <a:pt x="10219" y="14032"/>
                  <a:pt x="10219" y="14063"/>
                </a:cubicBezTo>
                <a:close/>
                <a:moveTo>
                  <a:pt x="10125" y="14844"/>
                </a:moveTo>
                <a:cubicBezTo>
                  <a:pt x="10156" y="14844"/>
                  <a:pt x="10156" y="14875"/>
                  <a:pt x="10188" y="14875"/>
                </a:cubicBezTo>
                <a:cubicBezTo>
                  <a:pt x="10188" y="14875"/>
                  <a:pt x="10188" y="14875"/>
                  <a:pt x="10188" y="14875"/>
                </a:cubicBezTo>
                <a:cubicBezTo>
                  <a:pt x="10156" y="14875"/>
                  <a:pt x="10156" y="14844"/>
                  <a:pt x="10125" y="14844"/>
                </a:cubicBezTo>
                <a:close/>
                <a:moveTo>
                  <a:pt x="10406" y="14282"/>
                </a:moveTo>
                <a:cubicBezTo>
                  <a:pt x="10406" y="14282"/>
                  <a:pt x="10406" y="14313"/>
                  <a:pt x="10406" y="14313"/>
                </a:cubicBezTo>
                <a:cubicBezTo>
                  <a:pt x="10438" y="14313"/>
                  <a:pt x="10469" y="14313"/>
                  <a:pt x="10500" y="14313"/>
                </a:cubicBezTo>
                <a:cubicBezTo>
                  <a:pt x="10469" y="14313"/>
                  <a:pt x="10438" y="14313"/>
                  <a:pt x="10406" y="14313"/>
                </a:cubicBezTo>
                <a:cubicBezTo>
                  <a:pt x="10406" y="14313"/>
                  <a:pt x="10406" y="14282"/>
                  <a:pt x="10406" y="14282"/>
                </a:cubicBezTo>
                <a:close/>
                <a:moveTo>
                  <a:pt x="10906" y="15032"/>
                </a:moveTo>
                <a:cubicBezTo>
                  <a:pt x="10906" y="15032"/>
                  <a:pt x="10906" y="15032"/>
                  <a:pt x="10906" y="15032"/>
                </a:cubicBezTo>
                <a:cubicBezTo>
                  <a:pt x="10906" y="15032"/>
                  <a:pt x="10906" y="15032"/>
                  <a:pt x="10906" y="15032"/>
                </a:cubicBezTo>
                <a:cubicBezTo>
                  <a:pt x="10906" y="15063"/>
                  <a:pt x="10875" y="15063"/>
                  <a:pt x="10875" y="15063"/>
                </a:cubicBezTo>
                <a:cubicBezTo>
                  <a:pt x="10875" y="15063"/>
                  <a:pt x="10906" y="15063"/>
                  <a:pt x="10906" y="15032"/>
                </a:cubicBezTo>
                <a:close/>
                <a:moveTo>
                  <a:pt x="11094" y="14907"/>
                </a:moveTo>
                <a:cubicBezTo>
                  <a:pt x="11094" y="14907"/>
                  <a:pt x="11094" y="14938"/>
                  <a:pt x="11094" y="14938"/>
                </a:cubicBezTo>
                <a:cubicBezTo>
                  <a:pt x="11094" y="14938"/>
                  <a:pt x="11094" y="14907"/>
                  <a:pt x="11094" y="14907"/>
                </a:cubicBezTo>
                <a:close/>
                <a:moveTo>
                  <a:pt x="11094" y="14875"/>
                </a:move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ubicBezTo>
                  <a:pt x="11094" y="14875"/>
                  <a:pt x="11094" y="14875"/>
                  <a:pt x="11094" y="14875"/>
                </a:cubicBezTo>
                <a:close/>
                <a:moveTo>
                  <a:pt x="11438" y="13375"/>
                </a:moveTo>
                <a:cubicBezTo>
                  <a:pt x="11438" y="13407"/>
                  <a:pt x="11438" y="13407"/>
                  <a:pt x="11438" y="13438"/>
                </a:cubicBezTo>
                <a:cubicBezTo>
                  <a:pt x="11438" y="13407"/>
                  <a:pt x="11438" y="13407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ubicBezTo>
                  <a:pt x="11438" y="13375"/>
                  <a:pt x="11438" y="13375"/>
                  <a:pt x="11438" y="13375"/>
                </a:cubicBezTo>
                <a:close/>
                <a:moveTo>
                  <a:pt x="11625" y="14469"/>
                </a:moveTo>
                <a:cubicBezTo>
                  <a:pt x="11625" y="14438"/>
                  <a:pt x="11594" y="14407"/>
                  <a:pt x="11563" y="14407"/>
                </a:cubicBezTo>
                <a:cubicBezTo>
                  <a:pt x="11563" y="14375"/>
                  <a:pt x="11563" y="14375"/>
                  <a:pt x="11594" y="14375"/>
                </a:cubicBezTo>
                <a:cubicBezTo>
                  <a:pt x="11563" y="14375"/>
                  <a:pt x="11563" y="14375"/>
                  <a:pt x="11563" y="14407"/>
                </a:cubicBezTo>
                <a:cubicBezTo>
                  <a:pt x="11594" y="14407"/>
                  <a:pt x="11625" y="14438"/>
                  <a:pt x="11625" y="14469"/>
                </a:cubicBezTo>
                <a:close/>
                <a:moveTo>
                  <a:pt x="13250" y="14782"/>
                </a:moveTo>
                <a:cubicBezTo>
                  <a:pt x="13250" y="14782"/>
                  <a:pt x="13250" y="14782"/>
                  <a:pt x="13250" y="14750"/>
                </a:cubicBezTo>
                <a:cubicBezTo>
                  <a:pt x="13219" y="14782"/>
                  <a:pt x="13219" y="14813"/>
                  <a:pt x="13188" y="14813"/>
                </a:cubicBezTo>
                <a:cubicBezTo>
                  <a:pt x="13219" y="14813"/>
                  <a:pt x="13219" y="14782"/>
                  <a:pt x="13250" y="14750"/>
                </a:cubicBezTo>
                <a:cubicBezTo>
                  <a:pt x="13250" y="14782"/>
                  <a:pt x="13250" y="14782"/>
                  <a:pt x="13250" y="14782"/>
                </a:cubicBezTo>
                <a:close/>
                <a:moveTo>
                  <a:pt x="13188" y="14813"/>
                </a:moveTo>
                <a:cubicBezTo>
                  <a:pt x="13156" y="14844"/>
                  <a:pt x="13125" y="14844"/>
                  <a:pt x="13094" y="14844"/>
                </a:cubicBezTo>
                <a:cubicBezTo>
                  <a:pt x="13125" y="14844"/>
                  <a:pt x="13156" y="14844"/>
                  <a:pt x="13188" y="14813"/>
                </a:cubicBezTo>
                <a:close/>
                <a:moveTo>
                  <a:pt x="14781" y="15063"/>
                </a:moveTo>
                <a:cubicBezTo>
                  <a:pt x="14781" y="15094"/>
                  <a:pt x="14781" y="15125"/>
                  <a:pt x="14781" y="15125"/>
                </a:cubicBezTo>
                <a:cubicBezTo>
                  <a:pt x="14781" y="15125"/>
                  <a:pt x="14781" y="15094"/>
                  <a:pt x="14781" y="15063"/>
                </a:cubicBezTo>
                <a:close/>
                <a:moveTo>
                  <a:pt x="15750" y="15157"/>
                </a:moveTo>
                <a:cubicBezTo>
                  <a:pt x="15750" y="15188"/>
                  <a:pt x="15750" y="15188"/>
                  <a:pt x="15719" y="15219"/>
                </a:cubicBezTo>
                <a:cubicBezTo>
                  <a:pt x="15750" y="15188"/>
                  <a:pt x="15750" y="15188"/>
                  <a:pt x="15750" y="15157"/>
                </a:cubicBezTo>
                <a:close/>
                <a:moveTo>
                  <a:pt x="16000" y="15625"/>
                </a:moveTo>
                <a:cubicBezTo>
                  <a:pt x="16000" y="15594"/>
                  <a:pt x="16031" y="15563"/>
                  <a:pt x="16031" y="15500"/>
                </a:cubicBezTo>
                <a:cubicBezTo>
                  <a:pt x="16031" y="15563"/>
                  <a:pt x="16000" y="15594"/>
                  <a:pt x="16000" y="15625"/>
                </a:cubicBezTo>
                <a:close/>
                <a:moveTo>
                  <a:pt x="15938" y="15875"/>
                </a:moveTo>
                <a:cubicBezTo>
                  <a:pt x="15906" y="15875"/>
                  <a:pt x="15906" y="15875"/>
                  <a:pt x="15875" y="15875"/>
                </a:cubicBezTo>
                <a:cubicBezTo>
                  <a:pt x="15875" y="15875"/>
                  <a:pt x="15875" y="15875"/>
                  <a:pt x="15875" y="15875"/>
                </a:cubicBezTo>
                <a:cubicBezTo>
                  <a:pt x="15906" y="15875"/>
                  <a:pt x="15906" y="15875"/>
                  <a:pt x="15938" y="15875"/>
                </a:cubicBezTo>
                <a:close/>
                <a:moveTo>
                  <a:pt x="15531" y="15750"/>
                </a:moveTo>
                <a:cubicBezTo>
                  <a:pt x="15531" y="15719"/>
                  <a:pt x="15531" y="15719"/>
                  <a:pt x="15531" y="15719"/>
                </a:cubicBezTo>
                <a:cubicBezTo>
                  <a:pt x="15531" y="15719"/>
                  <a:pt x="15531" y="15719"/>
                  <a:pt x="15531" y="15750"/>
                </a:cubicBezTo>
                <a:close/>
                <a:moveTo>
                  <a:pt x="15469" y="15625"/>
                </a:moveTo>
                <a:cubicBezTo>
                  <a:pt x="15469" y="15625"/>
                  <a:pt x="15469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lose/>
                <a:moveTo>
                  <a:pt x="15469" y="15594"/>
                </a:moveTo>
                <a:cubicBezTo>
                  <a:pt x="15469" y="15594"/>
                  <a:pt x="15500" y="15594"/>
                  <a:pt x="15500" y="15594"/>
                </a:cubicBezTo>
                <a:cubicBezTo>
                  <a:pt x="15500" y="15594"/>
                  <a:pt x="15500" y="15594"/>
                  <a:pt x="15500" y="15594"/>
                </a:cubicBezTo>
                <a:cubicBezTo>
                  <a:pt x="15500" y="15594"/>
                  <a:pt x="15469" y="15594"/>
                  <a:pt x="15469" y="15594"/>
                </a:cubicBezTo>
                <a:close/>
                <a:moveTo>
                  <a:pt x="15469" y="15625"/>
                </a:moveTo>
                <a:cubicBezTo>
                  <a:pt x="15469" y="15625"/>
                  <a:pt x="15469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lose/>
                <a:moveTo>
                  <a:pt x="15406" y="15625"/>
                </a:moveTo>
                <a:cubicBezTo>
                  <a:pt x="15406" y="15625"/>
                  <a:pt x="15438" y="15625"/>
                  <a:pt x="15469" y="15625"/>
                </a:cubicBezTo>
                <a:cubicBezTo>
                  <a:pt x="15469" y="15625"/>
                  <a:pt x="15469" y="15625"/>
                  <a:pt x="15469" y="15625"/>
                </a:cubicBezTo>
                <a:cubicBezTo>
                  <a:pt x="15438" y="15625"/>
                  <a:pt x="15406" y="15625"/>
                  <a:pt x="15406" y="15625"/>
                </a:cubicBezTo>
                <a:cubicBezTo>
                  <a:pt x="15375" y="15625"/>
                  <a:pt x="15375" y="15625"/>
                  <a:pt x="15375" y="15625"/>
                </a:cubicBezTo>
                <a:cubicBezTo>
                  <a:pt x="15375" y="15625"/>
                  <a:pt x="15375" y="15625"/>
                  <a:pt x="15406" y="15625"/>
                </a:cubicBezTo>
                <a:close/>
                <a:moveTo>
                  <a:pt x="15563" y="15938"/>
                </a:moveTo>
                <a:cubicBezTo>
                  <a:pt x="15563" y="15938"/>
                  <a:pt x="15563" y="15938"/>
                  <a:pt x="15563" y="15938"/>
                </a:cubicBezTo>
                <a:cubicBezTo>
                  <a:pt x="15563" y="15938"/>
                  <a:pt x="15563" y="15938"/>
                  <a:pt x="15563" y="15938"/>
                </a:cubicBezTo>
                <a:close/>
                <a:moveTo>
                  <a:pt x="15125" y="15782"/>
                </a:moveTo>
                <a:cubicBezTo>
                  <a:pt x="15125" y="15750"/>
                  <a:pt x="15125" y="15750"/>
                  <a:pt x="15125" y="15750"/>
                </a:cubicBezTo>
                <a:cubicBezTo>
                  <a:pt x="15125" y="15750"/>
                  <a:pt x="15125" y="15750"/>
                  <a:pt x="15125" y="15750"/>
                </a:cubicBezTo>
                <a:cubicBezTo>
                  <a:pt x="15125" y="15750"/>
                  <a:pt x="15125" y="15750"/>
                  <a:pt x="15125" y="15782"/>
                </a:cubicBezTo>
                <a:close/>
                <a:moveTo>
                  <a:pt x="15188" y="15813"/>
                </a:moveTo>
                <a:cubicBezTo>
                  <a:pt x="15188" y="15813"/>
                  <a:pt x="15219" y="15813"/>
                  <a:pt x="15219" y="15813"/>
                </a:cubicBezTo>
                <a:cubicBezTo>
                  <a:pt x="15219" y="15813"/>
                  <a:pt x="15219" y="15782"/>
                  <a:pt x="15219" y="15782"/>
                </a:cubicBezTo>
                <a:cubicBezTo>
                  <a:pt x="15219" y="15782"/>
                  <a:pt x="15219" y="15813"/>
                  <a:pt x="15219" y="15813"/>
                </a:cubicBezTo>
                <a:cubicBezTo>
                  <a:pt x="15219" y="15813"/>
                  <a:pt x="15188" y="15813"/>
                  <a:pt x="15188" y="15813"/>
                </a:cubicBezTo>
                <a:close/>
                <a:moveTo>
                  <a:pt x="16063" y="15438"/>
                </a:moveTo>
                <a:cubicBezTo>
                  <a:pt x="16063" y="15438"/>
                  <a:pt x="16063" y="15407"/>
                  <a:pt x="16063" y="15375"/>
                </a:cubicBezTo>
                <a:cubicBezTo>
                  <a:pt x="16063" y="15375"/>
                  <a:pt x="16031" y="15344"/>
                  <a:pt x="16000" y="15344"/>
                </a:cubicBezTo>
                <a:cubicBezTo>
                  <a:pt x="16000" y="15344"/>
                  <a:pt x="15969" y="15344"/>
                  <a:pt x="15969" y="15344"/>
                </a:cubicBezTo>
                <a:cubicBezTo>
                  <a:pt x="15969" y="15344"/>
                  <a:pt x="16000" y="15344"/>
                  <a:pt x="16000" y="15344"/>
                </a:cubicBezTo>
                <a:cubicBezTo>
                  <a:pt x="16031" y="15344"/>
                  <a:pt x="16063" y="15375"/>
                  <a:pt x="16063" y="15375"/>
                </a:cubicBezTo>
                <a:cubicBezTo>
                  <a:pt x="16063" y="15407"/>
                  <a:pt x="16063" y="15438"/>
                  <a:pt x="16063" y="15438"/>
                </a:cubicBezTo>
                <a:close/>
                <a:moveTo>
                  <a:pt x="15938" y="14969"/>
                </a:moveTo>
                <a:cubicBezTo>
                  <a:pt x="15813" y="15000"/>
                  <a:pt x="15813" y="14969"/>
                  <a:pt x="15781" y="15125"/>
                </a:cubicBezTo>
                <a:cubicBezTo>
                  <a:pt x="15781" y="15125"/>
                  <a:pt x="15750" y="15125"/>
                  <a:pt x="15750" y="15157"/>
                </a:cubicBezTo>
                <a:cubicBezTo>
                  <a:pt x="15750" y="15157"/>
                  <a:pt x="15750" y="15157"/>
                  <a:pt x="15750" y="15157"/>
                </a:cubicBezTo>
                <a:cubicBezTo>
                  <a:pt x="15750" y="15094"/>
                  <a:pt x="15750" y="15063"/>
                  <a:pt x="15750" y="15032"/>
                </a:cubicBezTo>
                <a:cubicBezTo>
                  <a:pt x="15750" y="15000"/>
                  <a:pt x="15750" y="15000"/>
                  <a:pt x="15719" y="15000"/>
                </a:cubicBezTo>
                <a:cubicBezTo>
                  <a:pt x="15688" y="14969"/>
                  <a:pt x="15688" y="15000"/>
                  <a:pt x="15688" y="15032"/>
                </a:cubicBezTo>
                <a:cubicBezTo>
                  <a:pt x="15594" y="15094"/>
                  <a:pt x="15469" y="14969"/>
                  <a:pt x="15406" y="15063"/>
                </a:cubicBezTo>
                <a:cubicBezTo>
                  <a:pt x="15375" y="15032"/>
                  <a:pt x="15406" y="14969"/>
                  <a:pt x="15375" y="15000"/>
                </a:cubicBezTo>
                <a:cubicBezTo>
                  <a:pt x="15281" y="15000"/>
                  <a:pt x="15188" y="15000"/>
                  <a:pt x="15125" y="15094"/>
                </a:cubicBezTo>
                <a:cubicBezTo>
                  <a:pt x="15125" y="15094"/>
                  <a:pt x="15094" y="15094"/>
                  <a:pt x="15094" y="15094"/>
                </a:cubicBezTo>
                <a:cubicBezTo>
                  <a:pt x="15094" y="15032"/>
                  <a:pt x="15063" y="15032"/>
                  <a:pt x="15031" y="15000"/>
                </a:cubicBezTo>
                <a:cubicBezTo>
                  <a:pt x="14938" y="15000"/>
                  <a:pt x="14844" y="15032"/>
                  <a:pt x="14844" y="14938"/>
                </a:cubicBezTo>
                <a:cubicBezTo>
                  <a:pt x="14938" y="14907"/>
                  <a:pt x="15063" y="14907"/>
                  <a:pt x="15188" y="14907"/>
                </a:cubicBezTo>
                <a:cubicBezTo>
                  <a:pt x="15219" y="14907"/>
                  <a:pt x="15250" y="14907"/>
                  <a:pt x="15281" y="14907"/>
                </a:cubicBezTo>
                <a:cubicBezTo>
                  <a:pt x="15500" y="14907"/>
                  <a:pt x="15719" y="14907"/>
                  <a:pt x="15938" y="14875"/>
                </a:cubicBezTo>
                <a:cubicBezTo>
                  <a:pt x="15969" y="14875"/>
                  <a:pt x="16031" y="14907"/>
                  <a:pt x="16094" y="14907"/>
                </a:cubicBezTo>
                <a:cubicBezTo>
                  <a:pt x="16063" y="14969"/>
                  <a:pt x="16000" y="14969"/>
                  <a:pt x="15938" y="14969"/>
                </a:cubicBezTo>
                <a:close/>
                <a:moveTo>
                  <a:pt x="16250" y="14875"/>
                </a:moveTo>
                <a:cubicBezTo>
                  <a:pt x="16250" y="14907"/>
                  <a:pt x="16250" y="14907"/>
                  <a:pt x="16250" y="14907"/>
                </a:cubicBezTo>
                <a:cubicBezTo>
                  <a:pt x="16250" y="14907"/>
                  <a:pt x="16250" y="14907"/>
                  <a:pt x="16250" y="14875"/>
                </a:cubicBezTo>
                <a:cubicBezTo>
                  <a:pt x="16250" y="14875"/>
                  <a:pt x="16281" y="14875"/>
                  <a:pt x="16281" y="14875"/>
                </a:cubicBezTo>
                <a:cubicBezTo>
                  <a:pt x="16281" y="14875"/>
                  <a:pt x="16250" y="14875"/>
                  <a:pt x="16250" y="14875"/>
                </a:cubicBezTo>
                <a:close/>
                <a:moveTo>
                  <a:pt x="17563" y="12969"/>
                </a:moveTo>
                <a:cubicBezTo>
                  <a:pt x="17500" y="13032"/>
                  <a:pt x="17469" y="13063"/>
                  <a:pt x="17406" y="13094"/>
                </a:cubicBezTo>
                <a:cubicBezTo>
                  <a:pt x="17469" y="13063"/>
                  <a:pt x="17500" y="13032"/>
                  <a:pt x="17563" y="12969"/>
                </a:cubicBezTo>
                <a:cubicBezTo>
                  <a:pt x="17656" y="12907"/>
                  <a:pt x="17688" y="12813"/>
                  <a:pt x="17781" y="12750"/>
                </a:cubicBezTo>
                <a:cubicBezTo>
                  <a:pt x="17688" y="12813"/>
                  <a:pt x="17656" y="12907"/>
                  <a:pt x="17563" y="12969"/>
                </a:cubicBezTo>
                <a:close/>
                <a:moveTo>
                  <a:pt x="19688" y="9157"/>
                </a:moveTo>
                <a:cubicBezTo>
                  <a:pt x="19688" y="9157"/>
                  <a:pt x="19688" y="9157"/>
                  <a:pt x="19688" y="9157"/>
                </a:cubicBezTo>
                <a:cubicBezTo>
                  <a:pt x="19688" y="9157"/>
                  <a:pt x="19688" y="9157"/>
                  <a:pt x="19688" y="9157"/>
                </a:cubicBezTo>
                <a:close/>
                <a:moveTo>
                  <a:pt x="19938" y="9875"/>
                </a:moveTo>
                <a:cubicBezTo>
                  <a:pt x="19969" y="9875"/>
                  <a:pt x="20000" y="9875"/>
                  <a:pt x="20000" y="9844"/>
                </a:cubicBezTo>
                <a:cubicBezTo>
                  <a:pt x="20031" y="9844"/>
                  <a:pt x="20031" y="9844"/>
                  <a:pt x="20031" y="9844"/>
                </a:cubicBezTo>
                <a:cubicBezTo>
                  <a:pt x="20031" y="9844"/>
                  <a:pt x="20031" y="9844"/>
                  <a:pt x="20000" y="9844"/>
                </a:cubicBezTo>
                <a:cubicBezTo>
                  <a:pt x="20000" y="9875"/>
                  <a:pt x="19969" y="9875"/>
                  <a:pt x="19938" y="9875"/>
                </a:cubicBezTo>
                <a:close/>
                <a:moveTo>
                  <a:pt x="19375" y="9094"/>
                </a:moveTo>
                <a:cubicBezTo>
                  <a:pt x="19375" y="9094"/>
                  <a:pt x="19406" y="9094"/>
                  <a:pt x="19406" y="9094"/>
                </a:cubicBezTo>
                <a:cubicBezTo>
                  <a:pt x="19406" y="9094"/>
                  <a:pt x="19375" y="9094"/>
                  <a:pt x="19375" y="9094"/>
                </a:cubicBezTo>
                <a:close/>
                <a:moveTo>
                  <a:pt x="18625" y="9625"/>
                </a:moveTo>
                <a:cubicBezTo>
                  <a:pt x="18594" y="9625"/>
                  <a:pt x="18594" y="9625"/>
                  <a:pt x="18594" y="9657"/>
                </a:cubicBezTo>
                <a:cubicBezTo>
                  <a:pt x="18594" y="9625"/>
                  <a:pt x="18594" y="9625"/>
                  <a:pt x="18625" y="9625"/>
                </a:cubicBezTo>
                <a:close/>
                <a:moveTo>
                  <a:pt x="18656" y="9563"/>
                </a:moveTo>
                <a:cubicBezTo>
                  <a:pt x="18656" y="9563"/>
                  <a:pt x="18656" y="9563"/>
                  <a:pt x="18656" y="9563"/>
                </a:cubicBezTo>
                <a:cubicBezTo>
                  <a:pt x="18656" y="9594"/>
                  <a:pt x="18625" y="9625"/>
                  <a:pt x="18656" y="9625"/>
                </a:cubicBezTo>
                <a:cubicBezTo>
                  <a:pt x="18625" y="9625"/>
                  <a:pt x="18656" y="9594"/>
                  <a:pt x="18656" y="9563"/>
                </a:cubicBezTo>
                <a:close/>
                <a:moveTo>
                  <a:pt x="18813" y="9532"/>
                </a:moveTo>
                <a:cubicBezTo>
                  <a:pt x="18844" y="9532"/>
                  <a:pt x="18844" y="9532"/>
                  <a:pt x="18844" y="9532"/>
                </a:cubicBezTo>
                <a:cubicBezTo>
                  <a:pt x="18844" y="9532"/>
                  <a:pt x="18844" y="9532"/>
                  <a:pt x="18813" y="9532"/>
                </a:cubicBezTo>
                <a:cubicBezTo>
                  <a:pt x="18813" y="9563"/>
                  <a:pt x="18813" y="9594"/>
                  <a:pt x="18781" y="9594"/>
                </a:cubicBezTo>
                <a:cubicBezTo>
                  <a:pt x="18813" y="9594"/>
                  <a:pt x="18813" y="9563"/>
                  <a:pt x="18813" y="9532"/>
                </a:cubicBezTo>
                <a:close/>
                <a:moveTo>
                  <a:pt x="16625" y="10657"/>
                </a:moveTo>
                <a:cubicBezTo>
                  <a:pt x="16719" y="10657"/>
                  <a:pt x="16813" y="10688"/>
                  <a:pt x="16875" y="10625"/>
                </a:cubicBezTo>
                <a:cubicBezTo>
                  <a:pt x="16938" y="10625"/>
                  <a:pt x="17000" y="10625"/>
                  <a:pt x="17063" y="10625"/>
                </a:cubicBezTo>
                <a:cubicBezTo>
                  <a:pt x="17063" y="10625"/>
                  <a:pt x="17063" y="10594"/>
                  <a:pt x="17063" y="10594"/>
                </a:cubicBezTo>
                <a:cubicBezTo>
                  <a:pt x="17219" y="10625"/>
                  <a:pt x="17344" y="10563"/>
                  <a:pt x="17469" y="10532"/>
                </a:cubicBezTo>
                <a:cubicBezTo>
                  <a:pt x="17594" y="10500"/>
                  <a:pt x="17719" y="10469"/>
                  <a:pt x="17875" y="10438"/>
                </a:cubicBezTo>
                <a:cubicBezTo>
                  <a:pt x="18094" y="10344"/>
                  <a:pt x="18344" y="10313"/>
                  <a:pt x="18594" y="10219"/>
                </a:cubicBezTo>
                <a:cubicBezTo>
                  <a:pt x="18750" y="10188"/>
                  <a:pt x="18906" y="10125"/>
                  <a:pt x="19063" y="10094"/>
                </a:cubicBezTo>
                <a:cubicBezTo>
                  <a:pt x="19063" y="10094"/>
                  <a:pt x="19063" y="10094"/>
                  <a:pt x="19094" y="10094"/>
                </a:cubicBezTo>
                <a:cubicBezTo>
                  <a:pt x="19125" y="10063"/>
                  <a:pt x="19156" y="10063"/>
                  <a:pt x="19188" y="10063"/>
                </a:cubicBezTo>
                <a:cubicBezTo>
                  <a:pt x="19188" y="10063"/>
                  <a:pt x="19188" y="10063"/>
                  <a:pt x="19188" y="10063"/>
                </a:cubicBezTo>
                <a:cubicBezTo>
                  <a:pt x="19188" y="10063"/>
                  <a:pt x="19188" y="10063"/>
                  <a:pt x="19188" y="10063"/>
                </a:cubicBezTo>
                <a:cubicBezTo>
                  <a:pt x="19188" y="10094"/>
                  <a:pt x="19219" y="10063"/>
                  <a:pt x="19188" y="10094"/>
                </a:cubicBezTo>
                <a:cubicBezTo>
                  <a:pt x="19188" y="10125"/>
                  <a:pt x="19188" y="10125"/>
                  <a:pt x="19156" y="10125"/>
                </a:cubicBezTo>
                <a:cubicBezTo>
                  <a:pt x="19188" y="10125"/>
                  <a:pt x="19188" y="10125"/>
                  <a:pt x="19188" y="10094"/>
                </a:cubicBezTo>
                <a:cubicBezTo>
                  <a:pt x="19156" y="10094"/>
                  <a:pt x="19156" y="10125"/>
                  <a:pt x="19125" y="10125"/>
                </a:cubicBezTo>
                <a:cubicBezTo>
                  <a:pt x="19125" y="10125"/>
                  <a:pt x="19125" y="10125"/>
                  <a:pt x="19125" y="10125"/>
                </a:cubicBezTo>
                <a:cubicBezTo>
                  <a:pt x="19125" y="10157"/>
                  <a:pt x="19125" y="10157"/>
                  <a:pt x="19156" y="10157"/>
                </a:cubicBezTo>
                <a:cubicBezTo>
                  <a:pt x="19125" y="10157"/>
                  <a:pt x="19125" y="10157"/>
                  <a:pt x="19125" y="10125"/>
                </a:cubicBezTo>
                <a:cubicBezTo>
                  <a:pt x="19094" y="10157"/>
                  <a:pt x="19031" y="10125"/>
                  <a:pt x="19000" y="10219"/>
                </a:cubicBezTo>
                <a:cubicBezTo>
                  <a:pt x="18969" y="10250"/>
                  <a:pt x="18906" y="10313"/>
                  <a:pt x="18813" y="10250"/>
                </a:cubicBezTo>
                <a:cubicBezTo>
                  <a:pt x="18813" y="10250"/>
                  <a:pt x="18781" y="10188"/>
                  <a:pt x="18719" y="10219"/>
                </a:cubicBezTo>
                <a:cubicBezTo>
                  <a:pt x="18625" y="10250"/>
                  <a:pt x="18656" y="10344"/>
                  <a:pt x="18688" y="10375"/>
                </a:cubicBezTo>
                <a:cubicBezTo>
                  <a:pt x="18688" y="10438"/>
                  <a:pt x="18656" y="10438"/>
                  <a:pt x="18625" y="10438"/>
                </a:cubicBezTo>
                <a:cubicBezTo>
                  <a:pt x="18563" y="10438"/>
                  <a:pt x="18500" y="10469"/>
                  <a:pt x="18469" y="10532"/>
                </a:cubicBezTo>
                <a:cubicBezTo>
                  <a:pt x="18438" y="10563"/>
                  <a:pt x="18375" y="10594"/>
                  <a:pt x="18281" y="10532"/>
                </a:cubicBezTo>
                <a:cubicBezTo>
                  <a:pt x="18250" y="10500"/>
                  <a:pt x="18156" y="10532"/>
                  <a:pt x="18094" y="10469"/>
                </a:cubicBezTo>
                <a:cubicBezTo>
                  <a:pt x="18094" y="10469"/>
                  <a:pt x="18063" y="10500"/>
                  <a:pt x="18031" y="10532"/>
                </a:cubicBezTo>
                <a:cubicBezTo>
                  <a:pt x="18000" y="10625"/>
                  <a:pt x="17906" y="10625"/>
                  <a:pt x="17813" y="10594"/>
                </a:cubicBezTo>
                <a:cubicBezTo>
                  <a:pt x="17781" y="10594"/>
                  <a:pt x="17781" y="10625"/>
                  <a:pt x="17781" y="10625"/>
                </a:cubicBezTo>
                <a:cubicBezTo>
                  <a:pt x="17750" y="10688"/>
                  <a:pt x="17719" y="10719"/>
                  <a:pt x="17656" y="10688"/>
                </a:cubicBezTo>
                <a:cubicBezTo>
                  <a:pt x="17656" y="10657"/>
                  <a:pt x="17625" y="10657"/>
                  <a:pt x="17625" y="10657"/>
                </a:cubicBezTo>
                <a:cubicBezTo>
                  <a:pt x="17594" y="10782"/>
                  <a:pt x="17563" y="10688"/>
                  <a:pt x="17500" y="10688"/>
                </a:cubicBezTo>
                <a:cubicBezTo>
                  <a:pt x="17438" y="10657"/>
                  <a:pt x="17406" y="10688"/>
                  <a:pt x="17344" y="10719"/>
                </a:cubicBezTo>
                <a:cubicBezTo>
                  <a:pt x="17313" y="10750"/>
                  <a:pt x="17281" y="10782"/>
                  <a:pt x="17250" y="10719"/>
                </a:cubicBezTo>
                <a:cubicBezTo>
                  <a:pt x="17250" y="10719"/>
                  <a:pt x="17219" y="10719"/>
                  <a:pt x="17219" y="10719"/>
                </a:cubicBezTo>
                <a:cubicBezTo>
                  <a:pt x="17094" y="10750"/>
                  <a:pt x="16938" y="10657"/>
                  <a:pt x="16781" y="10719"/>
                </a:cubicBezTo>
                <a:cubicBezTo>
                  <a:pt x="16781" y="10719"/>
                  <a:pt x="16781" y="10719"/>
                  <a:pt x="16781" y="10719"/>
                </a:cubicBezTo>
                <a:cubicBezTo>
                  <a:pt x="16750" y="10688"/>
                  <a:pt x="16688" y="10688"/>
                  <a:pt x="16625" y="10719"/>
                </a:cubicBezTo>
                <a:cubicBezTo>
                  <a:pt x="16625" y="10719"/>
                  <a:pt x="16625" y="10719"/>
                  <a:pt x="16625" y="10719"/>
                </a:cubicBezTo>
                <a:cubicBezTo>
                  <a:pt x="16625" y="10719"/>
                  <a:pt x="16625" y="10719"/>
                  <a:pt x="16625" y="10719"/>
                </a:cubicBezTo>
                <a:cubicBezTo>
                  <a:pt x="16625" y="10688"/>
                  <a:pt x="16625" y="10688"/>
                  <a:pt x="16625" y="10657"/>
                </a:cubicBezTo>
                <a:cubicBezTo>
                  <a:pt x="16531" y="10625"/>
                  <a:pt x="16406" y="10625"/>
                  <a:pt x="16281" y="10594"/>
                </a:cubicBezTo>
                <a:cubicBezTo>
                  <a:pt x="16281" y="10594"/>
                  <a:pt x="16281" y="10594"/>
                  <a:pt x="16281" y="10594"/>
                </a:cubicBezTo>
                <a:cubicBezTo>
                  <a:pt x="16406" y="10625"/>
                  <a:pt x="16531" y="10625"/>
                  <a:pt x="16625" y="10657"/>
                </a:cubicBezTo>
                <a:close/>
                <a:moveTo>
                  <a:pt x="16625" y="9469"/>
                </a:moveTo>
                <a:cubicBezTo>
                  <a:pt x="16594" y="9469"/>
                  <a:pt x="16594" y="9500"/>
                  <a:pt x="16563" y="9500"/>
                </a:cubicBezTo>
                <a:cubicBezTo>
                  <a:pt x="16594" y="9500"/>
                  <a:pt x="16594" y="9469"/>
                  <a:pt x="16625" y="9469"/>
                </a:cubicBezTo>
                <a:close/>
                <a:moveTo>
                  <a:pt x="16688" y="10000"/>
                </a:moveTo>
                <a:cubicBezTo>
                  <a:pt x="16688" y="10000"/>
                  <a:pt x="16688" y="10000"/>
                  <a:pt x="16688" y="10000"/>
                </a:cubicBezTo>
                <a:cubicBezTo>
                  <a:pt x="16688" y="10000"/>
                  <a:pt x="16688" y="10000"/>
                  <a:pt x="16688" y="10000"/>
                </a:cubicBezTo>
                <a:cubicBezTo>
                  <a:pt x="16688" y="10000"/>
                  <a:pt x="16688" y="10000"/>
                  <a:pt x="16688" y="10000"/>
                </a:cubicBezTo>
                <a:close/>
                <a:moveTo>
                  <a:pt x="17469" y="8813"/>
                </a:moveTo>
                <a:cubicBezTo>
                  <a:pt x="17469" y="8813"/>
                  <a:pt x="17469" y="8813"/>
                  <a:pt x="17469" y="8813"/>
                </a:cubicBezTo>
                <a:cubicBezTo>
                  <a:pt x="17469" y="8813"/>
                  <a:pt x="17469" y="8813"/>
                  <a:pt x="17469" y="8813"/>
                </a:cubicBezTo>
                <a:cubicBezTo>
                  <a:pt x="17469" y="8813"/>
                  <a:pt x="17469" y="8782"/>
                  <a:pt x="17469" y="8782"/>
                </a:cubicBezTo>
                <a:cubicBezTo>
                  <a:pt x="17469" y="8782"/>
                  <a:pt x="17469" y="8813"/>
                  <a:pt x="17469" y="8813"/>
                </a:cubicBezTo>
                <a:close/>
                <a:moveTo>
                  <a:pt x="17438" y="8688"/>
                </a:moveTo>
                <a:cubicBezTo>
                  <a:pt x="17469" y="8719"/>
                  <a:pt x="17469" y="8750"/>
                  <a:pt x="17469" y="8782"/>
                </a:cubicBezTo>
                <a:cubicBezTo>
                  <a:pt x="17469" y="8782"/>
                  <a:pt x="17469" y="8782"/>
                  <a:pt x="17469" y="8782"/>
                </a:cubicBezTo>
                <a:cubicBezTo>
                  <a:pt x="17469" y="8750"/>
                  <a:pt x="17469" y="8719"/>
                  <a:pt x="17438" y="8688"/>
                </a:cubicBezTo>
                <a:close/>
                <a:moveTo>
                  <a:pt x="17531" y="8813"/>
                </a:moveTo>
                <a:cubicBezTo>
                  <a:pt x="17500" y="8813"/>
                  <a:pt x="17500" y="8782"/>
                  <a:pt x="17469" y="8782"/>
                </a:cubicBezTo>
                <a:cubicBezTo>
                  <a:pt x="17500" y="8782"/>
                  <a:pt x="17500" y="8813"/>
                  <a:pt x="17531" y="8813"/>
                </a:cubicBezTo>
                <a:close/>
                <a:moveTo>
                  <a:pt x="17813" y="8532"/>
                </a:moveTo>
                <a:cubicBezTo>
                  <a:pt x="17813" y="8469"/>
                  <a:pt x="17844" y="8438"/>
                  <a:pt x="17875" y="8407"/>
                </a:cubicBezTo>
                <a:cubicBezTo>
                  <a:pt x="17813" y="8344"/>
                  <a:pt x="17719" y="8250"/>
                  <a:pt x="17656" y="8188"/>
                </a:cubicBezTo>
                <a:cubicBezTo>
                  <a:pt x="17719" y="8250"/>
                  <a:pt x="17813" y="8344"/>
                  <a:pt x="17875" y="8407"/>
                </a:cubicBezTo>
                <a:cubicBezTo>
                  <a:pt x="17844" y="8438"/>
                  <a:pt x="17813" y="8469"/>
                  <a:pt x="17813" y="8532"/>
                </a:cubicBezTo>
                <a:close/>
                <a:moveTo>
                  <a:pt x="17906" y="8407"/>
                </a:move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69" y="8375"/>
                  <a:pt x="17969" y="8375"/>
                  <a:pt x="17969" y="8375"/>
                </a:cubicBezTo>
                <a:cubicBezTo>
                  <a:pt x="17938" y="8375"/>
                  <a:pt x="17938" y="8407"/>
                  <a:pt x="17938" y="8407"/>
                </a:cubicBezTo>
                <a:cubicBezTo>
                  <a:pt x="17938" y="8407"/>
                  <a:pt x="17938" y="8407"/>
                  <a:pt x="17938" y="8407"/>
                </a:cubicBezTo>
                <a:cubicBezTo>
                  <a:pt x="17938" y="8407"/>
                  <a:pt x="17938" y="8407"/>
                  <a:pt x="17906" y="8407"/>
                </a:cubicBezTo>
                <a:cubicBezTo>
                  <a:pt x="17906" y="8407"/>
                  <a:pt x="17906" y="8407"/>
                  <a:pt x="17906" y="8407"/>
                </a:cubicBezTo>
                <a:cubicBezTo>
                  <a:pt x="17906" y="8407"/>
                  <a:pt x="17906" y="8407"/>
                  <a:pt x="17906" y="8407"/>
                </a:cubicBezTo>
                <a:close/>
                <a:moveTo>
                  <a:pt x="18031" y="8188"/>
                </a:moveTo>
                <a:cubicBezTo>
                  <a:pt x="18031" y="8188"/>
                  <a:pt x="18031" y="8188"/>
                  <a:pt x="18031" y="8188"/>
                </a:cubicBezTo>
                <a:cubicBezTo>
                  <a:pt x="18063" y="8219"/>
                  <a:pt x="18063" y="8219"/>
                  <a:pt x="18063" y="8219"/>
                </a:cubicBezTo>
                <a:cubicBezTo>
                  <a:pt x="18063" y="8219"/>
                  <a:pt x="18063" y="8219"/>
                  <a:pt x="18031" y="8188"/>
                </a:cubicBezTo>
                <a:close/>
                <a:moveTo>
                  <a:pt x="18063" y="8125"/>
                </a:moveTo>
                <a:cubicBezTo>
                  <a:pt x="18063" y="8125"/>
                  <a:pt x="18063" y="8125"/>
                  <a:pt x="18063" y="8125"/>
                </a:cubicBezTo>
                <a:cubicBezTo>
                  <a:pt x="18063" y="8125"/>
                  <a:pt x="18063" y="8125"/>
                  <a:pt x="18063" y="8125"/>
                </a:cubicBezTo>
                <a:cubicBezTo>
                  <a:pt x="18063" y="8125"/>
                  <a:pt x="18063" y="8125"/>
                  <a:pt x="18063" y="8125"/>
                </a:cubicBezTo>
                <a:close/>
                <a:moveTo>
                  <a:pt x="18031" y="8063"/>
                </a:moveTo>
                <a:cubicBezTo>
                  <a:pt x="18063" y="8063"/>
                  <a:pt x="18094" y="8063"/>
                  <a:pt x="18094" y="8125"/>
                </a:cubicBezTo>
                <a:cubicBezTo>
                  <a:pt x="18125" y="8125"/>
                  <a:pt x="18156" y="8094"/>
                  <a:pt x="18188" y="8063"/>
                </a:cubicBezTo>
                <a:cubicBezTo>
                  <a:pt x="18156" y="8094"/>
                  <a:pt x="18125" y="8125"/>
                  <a:pt x="18094" y="8125"/>
                </a:cubicBezTo>
                <a:cubicBezTo>
                  <a:pt x="18094" y="8063"/>
                  <a:pt x="18063" y="8063"/>
                  <a:pt x="18031" y="8063"/>
                </a:cubicBezTo>
                <a:close/>
                <a:moveTo>
                  <a:pt x="16469" y="7282"/>
                </a:moveTo>
                <a:cubicBezTo>
                  <a:pt x="16469" y="7282"/>
                  <a:pt x="16469" y="7250"/>
                  <a:pt x="16469" y="7219"/>
                </a:cubicBezTo>
                <a:cubicBezTo>
                  <a:pt x="16469" y="7250"/>
                  <a:pt x="16469" y="7282"/>
                  <a:pt x="16469" y="7282"/>
                </a:cubicBezTo>
                <a:close/>
                <a:moveTo>
                  <a:pt x="15375" y="8282"/>
                </a:moveTo>
                <a:cubicBezTo>
                  <a:pt x="15375" y="8282"/>
                  <a:pt x="15375" y="8282"/>
                  <a:pt x="15375" y="8282"/>
                </a:cubicBezTo>
                <a:cubicBezTo>
                  <a:pt x="15375" y="8157"/>
                  <a:pt x="15375" y="8032"/>
                  <a:pt x="15406" y="7907"/>
                </a:cubicBezTo>
                <a:cubicBezTo>
                  <a:pt x="15375" y="8032"/>
                  <a:pt x="15375" y="8157"/>
                  <a:pt x="15375" y="8282"/>
                </a:cubicBezTo>
                <a:close/>
                <a:moveTo>
                  <a:pt x="15469" y="8282"/>
                </a:moveTo>
                <a:cubicBezTo>
                  <a:pt x="15469" y="8282"/>
                  <a:pt x="15469" y="8282"/>
                  <a:pt x="15469" y="8282"/>
                </a:cubicBezTo>
                <a:cubicBezTo>
                  <a:pt x="15438" y="8282"/>
                  <a:pt x="15438" y="8282"/>
                  <a:pt x="15406" y="8282"/>
                </a:cubicBezTo>
                <a:cubicBezTo>
                  <a:pt x="15438" y="8282"/>
                  <a:pt x="15438" y="8282"/>
                  <a:pt x="15469" y="8282"/>
                </a:cubicBezTo>
                <a:close/>
                <a:moveTo>
                  <a:pt x="15281" y="9625"/>
                </a:moveTo>
                <a:cubicBezTo>
                  <a:pt x="15281" y="9625"/>
                  <a:pt x="15281" y="9625"/>
                  <a:pt x="15281" y="9657"/>
                </a:cubicBezTo>
                <a:cubicBezTo>
                  <a:pt x="15281" y="9625"/>
                  <a:pt x="15281" y="9625"/>
                  <a:pt x="15281" y="9625"/>
                </a:cubicBezTo>
                <a:close/>
                <a:moveTo>
                  <a:pt x="14031" y="8594"/>
                </a:moveTo>
                <a:cubicBezTo>
                  <a:pt x="14031" y="8594"/>
                  <a:pt x="14031" y="8594"/>
                  <a:pt x="14031" y="8594"/>
                </a:cubicBezTo>
                <a:cubicBezTo>
                  <a:pt x="14031" y="8594"/>
                  <a:pt x="14063" y="8594"/>
                  <a:pt x="14063" y="8594"/>
                </a:cubicBezTo>
                <a:cubicBezTo>
                  <a:pt x="14063" y="8594"/>
                  <a:pt x="14031" y="8594"/>
                  <a:pt x="14031" y="8594"/>
                </a:cubicBezTo>
                <a:close/>
                <a:moveTo>
                  <a:pt x="14219" y="6938"/>
                </a:moveTo>
                <a:cubicBezTo>
                  <a:pt x="14219" y="6938"/>
                  <a:pt x="14219" y="6938"/>
                  <a:pt x="14219" y="6938"/>
                </a:cubicBezTo>
                <a:cubicBezTo>
                  <a:pt x="14219" y="6907"/>
                  <a:pt x="14250" y="6875"/>
                  <a:pt x="14281" y="6875"/>
                </a:cubicBezTo>
                <a:cubicBezTo>
                  <a:pt x="14250" y="6875"/>
                  <a:pt x="14219" y="6907"/>
                  <a:pt x="14219" y="6938"/>
                </a:cubicBezTo>
                <a:close/>
                <a:moveTo>
                  <a:pt x="14406" y="6782"/>
                </a:moveTo>
                <a:cubicBezTo>
                  <a:pt x="14406" y="6782"/>
                  <a:pt x="14406" y="6782"/>
                  <a:pt x="14406" y="6782"/>
                </a:cubicBezTo>
                <a:cubicBezTo>
                  <a:pt x="14406" y="6782"/>
                  <a:pt x="14406" y="6782"/>
                  <a:pt x="14406" y="6782"/>
                </a:cubicBezTo>
                <a:close/>
                <a:moveTo>
                  <a:pt x="13688" y="5532"/>
                </a:moveTo>
                <a:cubicBezTo>
                  <a:pt x="13688" y="5532"/>
                  <a:pt x="13688" y="5532"/>
                  <a:pt x="13688" y="5500"/>
                </a:cubicBezTo>
                <a:cubicBezTo>
                  <a:pt x="13688" y="5532"/>
                  <a:pt x="13688" y="5532"/>
                  <a:pt x="13688" y="5532"/>
                </a:cubicBezTo>
                <a:close/>
                <a:moveTo>
                  <a:pt x="11531" y="4063"/>
                </a:moveTo>
                <a:cubicBezTo>
                  <a:pt x="11531" y="4063"/>
                  <a:pt x="11531" y="4032"/>
                  <a:pt x="11531" y="4032"/>
                </a:cubicBezTo>
                <a:cubicBezTo>
                  <a:pt x="11531" y="4032"/>
                  <a:pt x="11531" y="4063"/>
                  <a:pt x="11531" y="4063"/>
                </a:cubicBezTo>
                <a:cubicBezTo>
                  <a:pt x="11531" y="4063"/>
                  <a:pt x="11531" y="4063"/>
                  <a:pt x="11531" y="4063"/>
                </a:cubicBezTo>
                <a:close/>
                <a:moveTo>
                  <a:pt x="11500" y="2594"/>
                </a:moveTo>
                <a:cubicBezTo>
                  <a:pt x="11500" y="2594"/>
                  <a:pt x="11500" y="2594"/>
                  <a:pt x="11500" y="2625"/>
                </a:cubicBezTo>
                <a:cubicBezTo>
                  <a:pt x="11500" y="2594"/>
                  <a:pt x="11500" y="2594"/>
                  <a:pt x="11500" y="2594"/>
                </a:cubicBezTo>
                <a:close/>
                <a:moveTo>
                  <a:pt x="8375" y="5844"/>
                </a:moveTo>
                <a:cubicBezTo>
                  <a:pt x="8375" y="5844"/>
                  <a:pt x="8406" y="5844"/>
                  <a:pt x="8406" y="5844"/>
                </a:cubicBezTo>
                <a:cubicBezTo>
                  <a:pt x="8438" y="5844"/>
                  <a:pt x="8469" y="5844"/>
                  <a:pt x="8469" y="5875"/>
                </a:cubicBezTo>
                <a:cubicBezTo>
                  <a:pt x="8469" y="5844"/>
                  <a:pt x="8438" y="5844"/>
                  <a:pt x="8406" y="5844"/>
                </a:cubicBezTo>
                <a:cubicBezTo>
                  <a:pt x="8406" y="5844"/>
                  <a:pt x="8375" y="5844"/>
                  <a:pt x="8375" y="5844"/>
                </a:cubicBezTo>
                <a:cubicBezTo>
                  <a:pt x="8375" y="5844"/>
                  <a:pt x="8375" y="5844"/>
                  <a:pt x="8375" y="5844"/>
                </a:cubicBezTo>
                <a:cubicBezTo>
                  <a:pt x="8375" y="5844"/>
                  <a:pt x="8375" y="5844"/>
                  <a:pt x="8375" y="5844"/>
                </a:cubicBezTo>
                <a:close/>
                <a:moveTo>
                  <a:pt x="9031" y="11719"/>
                </a:moveTo>
                <a:cubicBezTo>
                  <a:pt x="9031" y="11719"/>
                  <a:pt x="9031" y="11719"/>
                  <a:pt x="9031" y="11750"/>
                </a:cubicBezTo>
                <a:cubicBezTo>
                  <a:pt x="9000" y="11750"/>
                  <a:pt x="9000" y="11782"/>
                  <a:pt x="8969" y="11782"/>
                </a:cubicBezTo>
                <a:cubicBezTo>
                  <a:pt x="8969" y="11782"/>
                  <a:pt x="8969" y="11782"/>
                  <a:pt x="8969" y="11782"/>
                </a:cubicBezTo>
                <a:cubicBezTo>
                  <a:pt x="8906" y="11750"/>
                  <a:pt x="8875" y="11750"/>
                  <a:pt x="8844" y="11813"/>
                </a:cubicBezTo>
                <a:cubicBezTo>
                  <a:pt x="8813" y="11875"/>
                  <a:pt x="8813" y="11938"/>
                  <a:pt x="8813" y="12032"/>
                </a:cubicBezTo>
                <a:cubicBezTo>
                  <a:pt x="8781" y="12032"/>
                  <a:pt x="8781" y="12063"/>
                  <a:pt x="8781" y="12094"/>
                </a:cubicBezTo>
                <a:cubicBezTo>
                  <a:pt x="8781" y="12125"/>
                  <a:pt x="8781" y="12125"/>
                  <a:pt x="8781" y="12157"/>
                </a:cubicBezTo>
                <a:cubicBezTo>
                  <a:pt x="8781" y="12157"/>
                  <a:pt x="8781" y="12157"/>
                  <a:pt x="8781" y="12188"/>
                </a:cubicBezTo>
                <a:cubicBezTo>
                  <a:pt x="8781" y="12157"/>
                  <a:pt x="8781" y="12157"/>
                  <a:pt x="8781" y="12157"/>
                </a:cubicBezTo>
                <a:cubicBezTo>
                  <a:pt x="8719" y="12157"/>
                  <a:pt x="8688" y="12157"/>
                  <a:pt x="8719" y="12094"/>
                </a:cubicBezTo>
                <a:cubicBezTo>
                  <a:pt x="8719" y="12000"/>
                  <a:pt x="8750" y="11907"/>
                  <a:pt x="8750" y="11813"/>
                </a:cubicBezTo>
                <a:cubicBezTo>
                  <a:pt x="8781" y="11750"/>
                  <a:pt x="8813" y="11688"/>
                  <a:pt x="8906" y="11719"/>
                </a:cubicBezTo>
                <a:cubicBezTo>
                  <a:pt x="8938" y="11719"/>
                  <a:pt x="9000" y="11719"/>
                  <a:pt x="9031" y="11719"/>
                </a:cubicBezTo>
                <a:close/>
                <a:moveTo>
                  <a:pt x="8688" y="10938"/>
                </a:moveTo>
                <a:cubicBezTo>
                  <a:pt x="8688" y="10938"/>
                  <a:pt x="8688" y="10938"/>
                  <a:pt x="8688" y="10938"/>
                </a:cubicBezTo>
                <a:cubicBezTo>
                  <a:pt x="8719" y="10938"/>
                  <a:pt x="8719" y="10969"/>
                  <a:pt x="8719" y="10969"/>
                </a:cubicBezTo>
                <a:cubicBezTo>
                  <a:pt x="8719" y="10969"/>
                  <a:pt x="8719" y="10938"/>
                  <a:pt x="8688" y="10938"/>
                </a:cubicBezTo>
                <a:close/>
                <a:moveTo>
                  <a:pt x="7594" y="8407"/>
                </a:moveTo>
                <a:cubicBezTo>
                  <a:pt x="7594" y="8375"/>
                  <a:pt x="7594" y="8375"/>
                  <a:pt x="7594" y="8375"/>
                </a:cubicBezTo>
                <a:cubicBezTo>
                  <a:pt x="7594" y="8375"/>
                  <a:pt x="7594" y="8375"/>
                  <a:pt x="7594" y="8375"/>
                </a:cubicBezTo>
                <a:cubicBezTo>
                  <a:pt x="7594" y="8375"/>
                  <a:pt x="7594" y="8375"/>
                  <a:pt x="7594" y="8407"/>
                </a:cubicBezTo>
                <a:cubicBezTo>
                  <a:pt x="7594" y="8407"/>
                  <a:pt x="7594" y="8407"/>
                  <a:pt x="7594" y="8407"/>
                </a:cubicBezTo>
                <a:close/>
                <a:moveTo>
                  <a:pt x="6281" y="6563"/>
                </a:moveTo>
                <a:cubicBezTo>
                  <a:pt x="6250" y="6563"/>
                  <a:pt x="6250" y="6594"/>
                  <a:pt x="6250" y="6594"/>
                </a:cubicBezTo>
                <a:cubicBezTo>
                  <a:pt x="6250" y="6625"/>
                  <a:pt x="6250" y="6657"/>
                  <a:pt x="6250" y="6657"/>
                </a:cubicBezTo>
                <a:cubicBezTo>
                  <a:pt x="6250" y="6657"/>
                  <a:pt x="6250" y="6625"/>
                  <a:pt x="6250" y="6594"/>
                </a:cubicBezTo>
                <a:cubicBezTo>
                  <a:pt x="6250" y="6594"/>
                  <a:pt x="6250" y="6563"/>
                  <a:pt x="6281" y="6563"/>
                </a:cubicBezTo>
                <a:close/>
                <a:moveTo>
                  <a:pt x="6000" y="7188"/>
                </a:moveTo>
                <a:cubicBezTo>
                  <a:pt x="5969" y="7188"/>
                  <a:pt x="5938" y="7188"/>
                  <a:pt x="5906" y="7188"/>
                </a:cubicBezTo>
                <a:cubicBezTo>
                  <a:pt x="5938" y="7188"/>
                  <a:pt x="5969" y="7188"/>
                  <a:pt x="6000" y="7188"/>
                </a:cubicBezTo>
                <a:close/>
                <a:moveTo>
                  <a:pt x="5250" y="7625"/>
                </a:moveTo>
                <a:cubicBezTo>
                  <a:pt x="5250" y="7625"/>
                  <a:pt x="5250" y="7625"/>
                  <a:pt x="5250" y="7625"/>
                </a:cubicBezTo>
                <a:cubicBezTo>
                  <a:pt x="5281" y="7594"/>
                  <a:pt x="5313" y="7563"/>
                  <a:pt x="5344" y="7532"/>
                </a:cubicBezTo>
                <a:cubicBezTo>
                  <a:pt x="5313" y="7563"/>
                  <a:pt x="5281" y="7594"/>
                  <a:pt x="5250" y="7625"/>
                </a:cubicBezTo>
                <a:close/>
                <a:moveTo>
                  <a:pt x="4750" y="7719"/>
                </a:moveTo>
                <a:cubicBezTo>
                  <a:pt x="4781" y="7719"/>
                  <a:pt x="4781" y="7719"/>
                  <a:pt x="4781" y="7719"/>
                </a:cubicBezTo>
                <a:cubicBezTo>
                  <a:pt x="4781" y="7719"/>
                  <a:pt x="4781" y="7719"/>
                  <a:pt x="4750" y="7719"/>
                </a:cubicBezTo>
                <a:close/>
                <a:moveTo>
                  <a:pt x="4750" y="7782"/>
                </a:moveTo>
                <a:cubicBezTo>
                  <a:pt x="4750" y="7782"/>
                  <a:pt x="4719" y="7782"/>
                  <a:pt x="4719" y="7782"/>
                </a:cubicBezTo>
                <a:cubicBezTo>
                  <a:pt x="4719" y="7782"/>
                  <a:pt x="4750" y="7782"/>
                  <a:pt x="4750" y="7782"/>
                </a:cubicBezTo>
                <a:close/>
                <a:moveTo>
                  <a:pt x="4094" y="7969"/>
                </a:moveTo>
                <a:cubicBezTo>
                  <a:pt x="4094" y="7969"/>
                  <a:pt x="4094" y="7969"/>
                  <a:pt x="4094" y="7969"/>
                </a:cubicBezTo>
                <a:cubicBezTo>
                  <a:pt x="4094" y="7969"/>
                  <a:pt x="4094" y="7969"/>
                  <a:pt x="4094" y="7969"/>
                </a:cubicBezTo>
                <a:close/>
                <a:moveTo>
                  <a:pt x="3813" y="7000"/>
                </a:moveTo>
                <a:cubicBezTo>
                  <a:pt x="3813" y="6969"/>
                  <a:pt x="3813" y="6938"/>
                  <a:pt x="3813" y="6907"/>
                </a:cubicBezTo>
                <a:cubicBezTo>
                  <a:pt x="3781" y="6907"/>
                  <a:pt x="3781" y="6875"/>
                  <a:pt x="3781" y="6875"/>
                </a:cubicBezTo>
                <a:cubicBezTo>
                  <a:pt x="3781" y="6875"/>
                  <a:pt x="3781" y="6907"/>
                  <a:pt x="3813" y="6907"/>
                </a:cubicBezTo>
                <a:cubicBezTo>
                  <a:pt x="3813" y="6907"/>
                  <a:pt x="3813" y="6907"/>
                  <a:pt x="3813" y="6907"/>
                </a:cubicBezTo>
                <a:cubicBezTo>
                  <a:pt x="3813" y="6938"/>
                  <a:pt x="3813" y="6969"/>
                  <a:pt x="3813" y="7000"/>
                </a:cubicBezTo>
                <a:cubicBezTo>
                  <a:pt x="3781" y="7000"/>
                  <a:pt x="3750" y="7000"/>
                  <a:pt x="3750" y="7032"/>
                </a:cubicBezTo>
                <a:cubicBezTo>
                  <a:pt x="3750" y="7000"/>
                  <a:pt x="3781" y="7000"/>
                  <a:pt x="3813" y="7000"/>
                </a:cubicBezTo>
                <a:close/>
                <a:moveTo>
                  <a:pt x="3719" y="8907"/>
                </a:moveTo>
                <a:cubicBezTo>
                  <a:pt x="3719" y="8907"/>
                  <a:pt x="3719" y="8907"/>
                  <a:pt x="3688" y="8907"/>
                </a:cubicBezTo>
                <a:cubicBezTo>
                  <a:pt x="3688" y="8907"/>
                  <a:pt x="3688" y="8907"/>
                  <a:pt x="3688" y="8907"/>
                </a:cubicBezTo>
                <a:cubicBezTo>
                  <a:pt x="3719" y="8907"/>
                  <a:pt x="3719" y="8907"/>
                  <a:pt x="3719" y="8907"/>
                </a:cubicBezTo>
                <a:close/>
                <a:moveTo>
                  <a:pt x="3500" y="7657"/>
                </a:moveTo>
                <a:cubicBezTo>
                  <a:pt x="3375" y="7688"/>
                  <a:pt x="3219" y="7719"/>
                  <a:pt x="3094" y="7719"/>
                </a:cubicBezTo>
                <a:cubicBezTo>
                  <a:pt x="3031" y="7657"/>
                  <a:pt x="2969" y="7657"/>
                  <a:pt x="2875" y="7657"/>
                </a:cubicBezTo>
                <a:cubicBezTo>
                  <a:pt x="2969" y="7657"/>
                  <a:pt x="3031" y="7657"/>
                  <a:pt x="3094" y="7719"/>
                </a:cubicBezTo>
                <a:cubicBezTo>
                  <a:pt x="3219" y="7719"/>
                  <a:pt x="3375" y="7688"/>
                  <a:pt x="3500" y="7657"/>
                </a:cubicBezTo>
                <a:close/>
                <a:moveTo>
                  <a:pt x="2219" y="6782"/>
                </a:moveTo>
                <a:cubicBezTo>
                  <a:pt x="2219" y="6782"/>
                  <a:pt x="2219" y="6813"/>
                  <a:pt x="2188" y="6813"/>
                </a:cubicBezTo>
                <a:cubicBezTo>
                  <a:pt x="2219" y="6813"/>
                  <a:pt x="2219" y="6782"/>
                  <a:pt x="2219" y="6782"/>
                </a:cubicBezTo>
                <a:cubicBezTo>
                  <a:pt x="2250" y="6750"/>
                  <a:pt x="2313" y="6750"/>
                  <a:pt x="2344" y="6750"/>
                </a:cubicBezTo>
                <a:cubicBezTo>
                  <a:pt x="2313" y="6750"/>
                  <a:pt x="2250" y="6750"/>
                  <a:pt x="2219" y="6782"/>
                </a:cubicBezTo>
                <a:close/>
                <a:moveTo>
                  <a:pt x="2031" y="6344"/>
                </a:moveTo>
                <a:cubicBezTo>
                  <a:pt x="2063" y="6344"/>
                  <a:pt x="2094" y="6344"/>
                  <a:pt x="2125" y="6313"/>
                </a:cubicBezTo>
                <a:cubicBezTo>
                  <a:pt x="2094" y="6344"/>
                  <a:pt x="2063" y="6344"/>
                  <a:pt x="2031" y="6344"/>
                </a:cubicBezTo>
                <a:close/>
                <a:moveTo>
                  <a:pt x="1969" y="7000"/>
                </a:moveTo>
                <a:cubicBezTo>
                  <a:pt x="1969" y="7000"/>
                  <a:pt x="1969" y="7032"/>
                  <a:pt x="1969" y="7063"/>
                </a:cubicBezTo>
                <a:cubicBezTo>
                  <a:pt x="1969" y="7032"/>
                  <a:pt x="1969" y="7000"/>
                  <a:pt x="1969" y="7000"/>
                </a:cubicBezTo>
                <a:close/>
                <a:moveTo>
                  <a:pt x="3500" y="10813"/>
                </a:moveTo>
                <a:cubicBezTo>
                  <a:pt x="3500" y="10813"/>
                  <a:pt x="3500" y="10813"/>
                  <a:pt x="3500" y="10813"/>
                </a:cubicBezTo>
                <a:cubicBezTo>
                  <a:pt x="3500" y="10813"/>
                  <a:pt x="3500" y="10813"/>
                  <a:pt x="3500" y="10813"/>
                </a:cubicBezTo>
                <a:cubicBezTo>
                  <a:pt x="3500" y="10813"/>
                  <a:pt x="3500" y="10813"/>
                  <a:pt x="3500" y="10813"/>
                </a:cubicBezTo>
                <a:close/>
                <a:moveTo>
                  <a:pt x="4188" y="11782"/>
                </a:moveTo>
                <a:cubicBezTo>
                  <a:pt x="4219" y="11782"/>
                  <a:pt x="4219" y="11813"/>
                  <a:pt x="4219" y="11813"/>
                </a:cubicBezTo>
                <a:cubicBezTo>
                  <a:pt x="4219" y="11813"/>
                  <a:pt x="4219" y="11782"/>
                  <a:pt x="4188" y="11782"/>
                </a:cubicBezTo>
                <a:close/>
                <a:moveTo>
                  <a:pt x="4219" y="11688"/>
                </a:moveTo>
                <a:cubicBezTo>
                  <a:pt x="4250" y="11688"/>
                  <a:pt x="4281" y="11657"/>
                  <a:pt x="4344" y="11657"/>
                </a:cubicBezTo>
                <a:cubicBezTo>
                  <a:pt x="4344" y="11657"/>
                  <a:pt x="4344" y="11657"/>
                  <a:pt x="4344" y="11657"/>
                </a:cubicBezTo>
                <a:cubicBezTo>
                  <a:pt x="4344" y="11657"/>
                  <a:pt x="4344" y="11657"/>
                  <a:pt x="4344" y="11657"/>
                </a:cubicBezTo>
                <a:cubicBezTo>
                  <a:pt x="4281" y="11657"/>
                  <a:pt x="4250" y="11688"/>
                  <a:pt x="4219" y="11688"/>
                </a:cubicBezTo>
                <a:close/>
                <a:moveTo>
                  <a:pt x="4656" y="11657"/>
                </a:moveTo>
                <a:cubicBezTo>
                  <a:pt x="4656" y="11657"/>
                  <a:pt x="4656" y="11688"/>
                  <a:pt x="4656" y="11719"/>
                </a:cubicBezTo>
                <a:cubicBezTo>
                  <a:pt x="4656" y="11719"/>
                  <a:pt x="4656" y="11719"/>
                  <a:pt x="4656" y="11719"/>
                </a:cubicBezTo>
                <a:cubicBezTo>
                  <a:pt x="4656" y="11688"/>
                  <a:pt x="4656" y="11657"/>
                  <a:pt x="4656" y="11657"/>
                </a:cubicBezTo>
                <a:close/>
                <a:moveTo>
                  <a:pt x="4719" y="11750"/>
                </a:moveTo>
                <a:cubicBezTo>
                  <a:pt x="4719" y="11750"/>
                  <a:pt x="4719" y="11750"/>
                  <a:pt x="4719" y="11750"/>
                </a:cubicBezTo>
                <a:cubicBezTo>
                  <a:pt x="4688" y="11750"/>
                  <a:pt x="4688" y="11750"/>
                  <a:pt x="4688" y="11750"/>
                </a:cubicBezTo>
                <a:cubicBezTo>
                  <a:pt x="4688" y="11750"/>
                  <a:pt x="4688" y="11750"/>
                  <a:pt x="4719" y="11750"/>
                </a:cubicBezTo>
                <a:close/>
                <a:moveTo>
                  <a:pt x="4969" y="11813"/>
                </a:moveTo>
                <a:cubicBezTo>
                  <a:pt x="4969" y="11813"/>
                  <a:pt x="4969" y="11813"/>
                  <a:pt x="4938" y="11813"/>
                </a:cubicBezTo>
                <a:cubicBezTo>
                  <a:pt x="4969" y="11813"/>
                  <a:pt x="4969" y="11813"/>
                  <a:pt x="4969" y="11813"/>
                </a:cubicBezTo>
                <a:close/>
                <a:moveTo>
                  <a:pt x="4594" y="12875"/>
                </a:moveTo>
                <a:cubicBezTo>
                  <a:pt x="4563" y="12907"/>
                  <a:pt x="4563" y="12938"/>
                  <a:pt x="4563" y="12938"/>
                </a:cubicBezTo>
                <a:cubicBezTo>
                  <a:pt x="4563" y="12938"/>
                  <a:pt x="4563" y="12907"/>
                  <a:pt x="4594" y="12875"/>
                </a:cubicBezTo>
                <a:cubicBezTo>
                  <a:pt x="4594" y="12875"/>
                  <a:pt x="4594" y="12875"/>
                  <a:pt x="4594" y="12875"/>
                </a:cubicBezTo>
                <a:cubicBezTo>
                  <a:pt x="4594" y="12875"/>
                  <a:pt x="4594" y="12875"/>
                  <a:pt x="4594" y="12875"/>
                </a:cubicBezTo>
                <a:close/>
                <a:moveTo>
                  <a:pt x="6156" y="16188"/>
                </a:moveTo>
                <a:cubicBezTo>
                  <a:pt x="6188" y="16157"/>
                  <a:pt x="6188" y="16157"/>
                  <a:pt x="6219" y="16125"/>
                </a:cubicBezTo>
                <a:cubicBezTo>
                  <a:pt x="6188" y="16157"/>
                  <a:pt x="6188" y="16157"/>
                  <a:pt x="6156" y="16188"/>
                </a:cubicBezTo>
                <a:close/>
                <a:moveTo>
                  <a:pt x="6938" y="16594"/>
                </a:moveTo>
                <a:cubicBezTo>
                  <a:pt x="6969" y="16625"/>
                  <a:pt x="6969" y="16625"/>
                  <a:pt x="6969" y="16625"/>
                </a:cubicBezTo>
                <a:cubicBezTo>
                  <a:pt x="6969" y="16625"/>
                  <a:pt x="6969" y="16625"/>
                  <a:pt x="6938" y="16594"/>
                </a:cubicBezTo>
                <a:cubicBezTo>
                  <a:pt x="6938" y="16594"/>
                  <a:pt x="6938" y="16594"/>
                  <a:pt x="6938" y="16594"/>
                </a:cubicBezTo>
                <a:close/>
                <a:moveTo>
                  <a:pt x="7156" y="17657"/>
                </a:moveTo>
                <a:cubicBezTo>
                  <a:pt x="7188" y="17657"/>
                  <a:pt x="7219" y="17657"/>
                  <a:pt x="7281" y="17688"/>
                </a:cubicBezTo>
                <a:cubicBezTo>
                  <a:pt x="7219" y="17657"/>
                  <a:pt x="7188" y="17657"/>
                  <a:pt x="7156" y="17657"/>
                </a:cubicBezTo>
                <a:cubicBezTo>
                  <a:pt x="7125" y="17657"/>
                  <a:pt x="7125" y="17657"/>
                  <a:pt x="7125" y="17657"/>
                </a:cubicBezTo>
                <a:cubicBezTo>
                  <a:pt x="7125" y="17657"/>
                  <a:pt x="7125" y="17657"/>
                  <a:pt x="7156" y="17657"/>
                </a:cubicBezTo>
                <a:close/>
                <a:moveTo>
                  <a:pt x="7906" y="16407"/>
                </a:moveTo>
                <a:cubicBezTo>
                  <a:pt x="7938" y="16375"/>
                  <a:pt x="7969" y="16344"/>
                  <a:pt x="8000" y="16313"/>
                </a:cubicBezTo>
                <a:cubicBezTo>
                  <a:pt x="8031" y="16282"/>
                  <a:pt x="8031" y="16282"/>
                  <a:pt x="8063" y="16250"/>
                </a:cubicBezTo>
                <a:cubicBezTo>
                  <a:pt x="8031" y="16282"/>
                  <a:pt x="8031" y="16282"/>
                  <a:pt x="8000" y="16313"/>
                </a:cubicBezTo>
                <a:cubicBezTo>
                  <a:pt x="7969" y="16344"/>
                  <a:pt x="7938" y="16375"/>
                  <a:pt x="7906" y="16407"/>
                </a:cubicBezTo>
                <a:cubicBezTo>
                  <a:pt x="7906" y="16407"/>
                  <a:pt x="7875" y="16407"/>
                  <a:pt x="7875" y="16407"/>
                </a:cubicBezTo>
                <a:cubicBezTo>
                  <a:pt x="7875" y="16407"/>
                  <a:pt x="7906" y="16407"/>
                  <a:pt x="7906" y="16407"/>
                </a:cubicBezTo>
                <a:close/>
                <a:moveTo>
                  <a:pt x="8594" y="16157"/>
                </a:moveTo>
                <a:cubicBezTo>
                  <a:pt x="8594" y="16157"/>
                  <a:pt x="8594" y="16157"/>
                  <a:pt x="8594" y="16157"/>
                </a:cubicBezTo>
                <a:cubicBezTo>
                  <a:pt x="8594" y="16157"/>
                  <a:pt x="8594" y="16157"/>
                  <a:pt x="8594" y="16157"/>
                </a:cubicBezTo>
                <a:close/>
                <a:moveTo>
                  <a:pt x="8594" y="16188"/>
                </a:moveTo>
                <a:cubicBezTo>
                  <a:pt x="8563" y="16188"/>
                  <a:pt x="8563" y="16188"/>
                  <a:pt x="8563" y="16188"/>
                </a:cubicBezTo>
                <a:cubicBezTo>
                  <a:pt x="8563" y="16188"/>
                  <a:pt x="8563" y="16188"/>
                  <a:pt x="8594" y="16188"/>
                </a:cubicBezTo>
                <a:cubicBezTo>
                  <a:pt x="8594" y="16188"/>
                  <a:pt x="8594" y="16188"/>
                  <a:pt x="8594" y="16188"/>
                </a:cubicBezTo>
                <a:close/>
                <a:moveTo>
                  <a:pt x="8469" y="16407"/>
                </a:moveTo>
                <a:cubicBezTo>
                  <a:pt x="8469" y="16407"/>
                  <a:pt x="8469" y="16407"/>
                  <a:pt x="8469" y="16407"/>
                </a:cubicBezTo>
                <a:cubicBezTo>
                  <a:pt x="8469" y="16407"/>
                  <a:pt x="8469" y="16407"/>
                  <a:pt x="8469" y="16407"/>
                </a:cubicBezTo>
                <a:cubicBezTo>
                  <a:pt x="8500" y="16438"/>
                  <a:pt x="8500" y="16438"/>
                  <a:pt x="8500" y="16438"/>
                </a:cubicBezTo>
                <a:cubicBezTo>
                  <a:pt x="8500" y="16438"/>
                  <a:pt x="8500" y="16438"/>
                  <a:pt x="8469" y="16407"/>
                </a:cubicBezTo>
                <a:close/>
                <a:moveTo>
                  <a:pt x="9250" y="16313"/>
                </a:moveTo>
                <a:cubicBezTo>
                  <a:pt x="9281" y="16282"/>
                  <a:pt x="9281" y="16282"/>
                  <a:pt x="9281" y="16313"/>
                </a:cubicBezTo>
                <a:cubicBezTo>
                  <a:pt x="9281" y="16282"/>
                  <a:pt x="9281" y="16282"/>
                  <a:pt x="9250" y="16313"/>
                </a:cubicBezTo>
                <a:close/>
                <a:moveTo>
                  <a:pt x="8219" y="15407"/>
                </a:moveTo>
                <a:cubicBezTo>
                  <a:pt x="8219" y="15407"/>
                  <a:pt x="8250" y="15407"/>
                  <a:pt x="8250" y="15407"/>
                </a:cubicBezTo>
                <a:cubicBezTo>
                  <a:pt x="8250" y="15407"/>
                  <a:pt x="8219" y="15407"/>
                  <a:pt x="8219" y="15407"/>
                </a:cubicBezTo>
                <a:close/>
                <a:moveTo>
                  <a:pt x="8281" y="15438"/>
                </a:moveTo>
                <a:cubicBezTo>
                  <a:pt x="8281" y="15438"/>
                  <a:pt x="8281" y="15438"/>
                  <a:pt x="8281" y="15438"/>
                </a:cubicBezTo>
                <a:cubicBezTo>
                  <a:pt x="8281" y="15438"/>
                  <a:pt x="8281" y="15438"/>
                  <a:pt x="8281" y="15438"/>
                </a:cubicBezTo>
                <a:close/>
                <a:moveTo>
                  <a:pt x="8281" y="15407"/>
                </a:moveTo>
                <a:cubicBezTo>
                  <a:pt x="8281" y="15407"/>
                  <a:pt x="8281" y="15407"/>
                  <a:pt x="8250" y="15407"/>
                </a:cubicBezTo>
                <a:cubicBezTo>
                  <a:pt x="8281" y="15407"/>
                  <a:pt x="8281" y="15407"/>
                  <a:pt x="8281" y="15407"/>
                </a:cubicBezTo>
                <a:close/>
                <a:moveTo>
                  <a:pt x="8781" y="16407"/>
                </a:moveTo>
                <a:cubicBezTo>
                  <a:pt x="8781" y="16407"/>
                  <a:pt x="8781" y="16438"/>
                  <a:pt x="8781" y="16438"/>
                </a:cubicBezTo>
                <a:cubicBezTo>
                  <a:pt x="8781" y="16438"/>
                  <a:pt x="8781" y="16407"/>
                  <a:pt x="8781" y="16407"/>
                </a:cubicBezTo>
                <a:cubicBezTo>
                  <a:pt x="8781" y="16407"/>
                  <a:pt x="8781" y="16407"/>
                  <a:pt x="8781" y="16407"/>
                </a:cubicBezTo>
                <a:close/>
                <a:moveTo>
                  <a:pt x="9281" y="16344"/>
                </a:moveTo>
                <a:cubicBezTo>
                  <a:pt x="9281" y="16313"/>
                  <a:pt x="9281" y="16313"/>
                  <a:pt x="9281" y="16313"/>
                </a:cubicBezTo>
                <a:cubicBezTo>
                  <a:pt x="9281" y="16313"/>
                  <a:pt x="9281" y="16313"/>
                  <a:pt x="9281" y="16344"/>
                </a:cubicBezTo>
                <a:close/>
                <a:moveTo>
                  <a:pt x="9500" y="16188"/>
                </a:moveTo>
                <a:cubicBezTo>
                  <a:pt x="9594" y="16125"/>
                  <a:pt x="9688" y="16094"/>
                  <a:pt x="9750" y="16000"/>
                </a:cubicBezTo>
                <a:cubicBezTo>
                  <a:pt x="9813" y="15969"/>
                  <a:pt x="9875" y="15938"/>
                  <a:pt x="9938" y="15907"/>
                </a:cubicBezTo>
                <a:cubicBezTo>
                  <a:pt x="9875" y="15938"/>
                  <a:pt x="9813" y="15969"/>
                  <a:pt x="9750" y="16000"/>
                </a:cubicBezTo>
                <a:cubicBezTo>
                  <a:pt x="9688" y="16094"/>
                  <a:pt x="9594" y="16125"/>
                  <a:pt x="9500" y="16188"/>
                </a:cubicBezTo>
                <a:cubicBezTo>
                  <a:pt x="9500" y="16219"/>
                  <a:pt x="9469" y="16219"/>
                  <a:pt x="9469" y="16250"/>
                </a:cubicBezTo>
                <a:cubicBezTo>
                  <a:pt x="9469" y="16219"/>
                  <a:pt x="9500" y="16219"/>
                  <a:pt x="9500" y="16188"/>
                </a:cubicBezTo>
                <a:close/>
                <a:moveTo>
                  <a:pt x="10719" y="14969"/>
                </a:moveTo>
                <a:cubicBezTo>
                  <a:pt x="10688" y="14969"/>
                  <a:pt x="10688" y="14969"/>
                  <a:pt x="10688" y="14969"/>
                </a:cubicBezTo>
                <a:cubicBezTo>
                  <a:pt x="10688" y="14969"/>
                  <a:pt x="10688" y="14969"/>
                  <a:pt x="10719" y="14969"/>
                </a:cubicBezTo>
                <a:close/>
                <a:moveTo>
                  <a:pt x="11531" y="14813"/>
                </a:moveTo>
                <a:cubicBezTo>
                  <a:pt x="11531" y="14844"/>
                  <a:pt x="11500" y="14844"/>
                  <a:pt x="11469" y="14844"/>
                </a:cubicBezTo>
                <a:cubicBezTo>
                  <a:pt x="11469" y="14844"/>
                  <a:pt x="11469" y="14844"/>
                  <a:pt x="11469" y="14844"/>
                </a:cubicBezTo>
                <a:cubicBezTo>
                  <a:pt x="11500" y="14844"/>
                  <a:pt x="11531" y="14844"/>
                  <a:pt x="11531" y="14813"/>
                </a:cubicBezTo>
                <a:close/>
                <a:moveTo>
                  <a:pt x="11844" y="13750"/>
                </a:moveTo>
                <a:cubicBezTo>
                  <a:pt x="11844" y="13750"/>
                  <a:pt x="11844" y="13750"/>
                  <a:pt x="11844" y="13750"/>
                </a:cubicBezTo>
                <a:cubicBezTo>
                  <a:pt x="11875" y="13750"/>
                  <a:pt x="11875" y="13750"/>
                  <a:pt x="11875" y="13719"/>
                </a:cubicBezTo>
                <a:cubicBezTo>
                  <a:pt x="11875" y="13750"/>
                  <a:pt x="11875" y="13750"/>
                  <a:pt x="11844" y="13750"/>
                </a:cubicBezTo>
                <a:close/>
                <a:moveTo>
                  <a:pt x="12125" y="13625"/>
                </a:moveTo>
                <a:cubicBezTo>
                  <a:pt x="12094" y="13625"/>
                  <a:pt x="12094" y="13625"/>
                  <a:pt x="12094" y="13657"/>
                </a:cubicBezTo>
                <a:cubicBezTo>
                  <a:pt x="12094" y="13625"/>
                  <a:pt x="12094" y="13625"/>
                  <a:pt x="12125" y="13625"/>
                </a:cubicBezTo>
                <a:close/>
                <a:moveTo>
                  <a:pt x="12344" y="14188"/>
                </a:moveTo>
                <a:cubicBezTo>
                  <a:pt x="12375" y="14125"/>
                  <a:pt x="12406" y="14094"/>
                  <a:pt x="12469" y="14063"/>
                </a:cubicBezTo>
                <a:cubicBezTo>
                  <a:pt x="12406" y="14094"/>
                  <a:pt x="12375" y="14125"/>
                  <a:pt x="12344" y="14188"/>
                </a:cubicBezTo>
                <a:cubicBezTo>
                  <a:pt x="12344" y="14188"/>
                  <a:pt x="12313" y="14188"/>
                  <a:pt x="12313" y="14219"/>
                </a:cubicBezTo>
                <a:cubicBezTo>
                  <a:pt x="12313" y="14188"/>
                  <a:pt x="12344" y="14188"/>
                  <a:pt x="12344" y="14188"/>
                </a:cubicBezTo>
                <a:close/>
                <a:moveTo>
                  <a:pt x="12531" y="15000"/>
                </a:moveTo>
                <a:cubicBezTo>
                  <a:pt x="12531" y="15000"/>
                  <a:pt x="12500" y="15000"/>
                  <a:pt x="12500" y="15000"/>
                </a:cubicBezTo>
                <a:cubicBezTo>
                  <a:pt x="12500" y="15000"/>
                  <a:pt x="12531" y="15000"/>
                  <a:pt x="12531" y="15000"/>
                </a:cubicBezTo>
                <a:close/>
                <a:moveTo>
                  <a:pt x="15406" y="16032"/>
                </a:moveTo>
                <a:cubicBezTo>
                  <a:pt x="15406" y="16032"/>
                  <a:pt x="15406" y="16032"/>
                  <a:pt x="15406" y="16032"/>
                </a:cubicBezTo>
                <a:cubicBezTo>
                  <a:pt x="15406" y="16032"/>
                  <a:pt x="15406" y="16032"/>
                  <a:pt x="15406" y="16032"/>
                </a:cubicBezTo>
                <a:cubicBezTo>
                  <a:pt x="15375" y="16000"/>
                  <a:pt x="15375" y="16000"/>
                  <a:pt x="15344" y="15969"/>
                </a:cubicBezTo>
                <a:cubicBezTo>
                  <a:pt x="15375" y="16000"/>
                  <a:pt x="15375" y="16000"/>
                  <a:pt x="15406" y="16032"/>
                </a:cubicBezTo>
                <a:close/>
                <a:moveTo>
                  <a:pt x="15375" y="17000"/>
                </a:moveTo>
                <a:cubicBezTo>
                  <a:pt x="15375" y="17000"/>
                  <a:pt x="15406" y="17000"/>
                  <a:pt x="15406" y="17000"/>
                </a:cubicBezTo>
                <a:cubicBezTo>
                  <a:pt x="15406" y="16969"/>
                  <a:pt x="15406" y="16938"/>
                  <a:pt x="15438" y="16938"/>
                </a:cubicBezTo>
                <a:cubicBezTo>
                  <a:pt x="15406" y="16938"/>
                  <a:pt x="15406" y="16969"/>
                  <a:pt x="15406" y="17000"/>
                </a:cubicBezTo>
                <a:cubicBezTo>
                  <a:pt x="15406" y="17000"/>
                  <a:pt x="15375" y="17000"/>
                  <a:pt x="15375" y="17000"/>
                </a:cubicBezTo>
                <a:close/>
                <a:moveTo>
                  <a:pt x="15625" y="16875"/>
                </a:moveTo>
                <a:cubicBezTo>
                  <a:pt x="15625" y="16875"/>
                  <a:pt x="15625" y="16875"/>
                  <a:pt x="15625" y="16875"/>
                </a:cubicBezTo>
                <a:cubicBezTo>
                  <a:pt x="15594" y="16875"/>
                  <a:pt x="15563" y="16907"/>
                  <a:pt x="15531" y="16938"/>
                </a:cubicBezTo>
                <a:cubicBezTo>
                  <a:pt x="15500" y="16938"/>
                  <a:pt x="15469" y="16969"/>
                  <a:pt x="15469" y="16938"/>
                </a:cubicBezTo>
                <a:cubicBezTo>
                  <a:pt x="15500" y="16875"/>
                  <a:pt x="15563" y="16782"/>
                  <a:pt x="15563" y="16719"/>
                </a:cubicBezTo>
                <a:cubicBezTo>
                  <a:pt x="15563" y="16719"/>
                  <a:pt x="15563" y="16719"/>
                  <a:pt x="15563" y="16719"/>
                </a:cubicBezTo>
                <a:cubicBezTo>
                  <a:pt x="15656" y="16719"/>
                  <a:pt x="15625" y="16657"/>
                  <a:pt x="15625" y="16594"/>
                </a:cubicBezTo>
                <a:cubicBezTo>
                  <a:pt x="15656" y="16594"/>
                  <a:pt x="15656" y="16594"/>
                  <a:pt x="15688" y="16594"/>
                </a:cubicBezTo>
                <a:cubicBezTo>
                  <a:pt x="15719" y="16594"/>
                  <a:pt x="15750" y="16563"/>
                  <a:pt x="15750" y="16594"/>
                </a:cubicBezTo>
                <a:cubicBezTo>
                  <a:pt x="15750" y="16625"/>
                  <a:pt x="15750" y="16657"/>
                  <a:pt x="15750" y="16657"/>
                </a:cubicBezTo>
                <a:cubicBezTo>
                  <a:pt x="15656" y="16719"/>
                  <a:pt x="15688" y="16813"/>
                  <a:pt x="15656" y="16844"/>
                </a:cubicBezTo>
                <a:cubicBezTo>
                  <a:pt x="15656" y="16844"/>
                  <a:pt x="15656" y="16844"/>
                  <a:pt x="15656" y="16844"/>
                </a:cubicBezTo>
                <a:cubicBezTo>
                  <a:pt x="15625" y="16875"/>
                  <a:pt x="15625" y="16875"/>
                  <a:pt x="15625" y="16875"/>
                </a:cubicBezTo>
                <a:close/>
                <a:moveTo>
                  <a:pt x="16250" y="16313"/>
                </a:moveTo>
                <a:cubicBezTo>
                  <a:pt x="16250" y="16313"/>
                  <a:pt x="16250" y="16313"/>
                  <a:pt x="16250" y="16313"/>
                </a:cubicBezTo>
                <a:cubicBezTo>
                  <a:pt x="16219" y="16313"/>
                  <a:pt x="16188" y="16313"/>
                  <a:pt x="16156" y="16313"/>
                </a:cubicBezTo>
                <a:cubicBezTo>
                  <a:pt x="16188" y="16313"/>
                  <a:pt x="16219" y="16313"/>
                  <a:pt x="16250" y="16313"/>
                </a:cubicBezTo>
                <a:close/>
                <a:moveTo>
                  <a:pt x="16750" y="15407"/>
                </a:moveTo>
                <a:cubicBezTo>
                  <a:pt x="16688" y="15407"/>
                  <a:pt x="16656" y="15375"/>
                  <a:pt x="16625" y="15344"/>
                </a:cubicBezTo>
                <a:cubicBezTo>
                  <a:pt x="16594" y="15313"/>
                  <a:pt x="16531" y="15344"/>
                  <a:pt x="16531" y="15375"/>
                </a:cubicBezTo>
                <a:cubicBezTo>
                  <a:pt x="16531" y="15469"/>
                  <a:pt x="16469" y="15469"/>
                  <a:pt x="16406" y="15532"/>
                </a:cubicBezTo>
                <a:cubicBezTo>
                  <a:pt x="16375" y="15375"/>
                  <a:pt x="16469" y="15313"/>
                  <a:pt x="16531" y="15219"/>
                </a:cubicBezTo>
                <a:cubicBezTo>
                  <a:pt x="16531" y="15188"/>
                  <a:pt x="16500" y="15188"/>
                  <a:pt x="16500" y="15157"/>
                </a:cubicBezTo>
                <a:cubicBezTo>
                  <a:pt x="16469" y="15157"/>
                  <a:pt x="16469" y="15157"/>
                  <a:pt x="16469" y="15157"/>
                </a:cubicBezTo>
                <a:cubicBezTo>
                  <a:pt x="16406" y="15219"/>
                  <a:pt x="16344" y="15250"/>
                  <a:pt x="16281" y="15250"/>
                </a:cubicBezTo>
                <a:cubicBezTo>
                  <a:pt x="16219" y="15219"/>
                  <a:pt x="16250" y="15282"/>
                  <a:pt x="16219" y="15313"/>
                </a:cubicBezTo>
                <a:cubicBezTo>
                  <a:pt x="16188" y="15344"/>
                  <a:pt x="16156" y="15344"/>
                  <a:pt x="16125" y="15375"/>
                </a:cubicBezTo>
                <a:cubicBezTo>
                  <a:pt x="16125" y="15375"/>
                  <a:pt x="16125" y="15344"/>
                  <a:pt x="16125" y="15313"/>
                </a:cubicBezTo>
                <a:cubicBezTo>
                  <a:pt x="16188" y="15282"/>
                  <a:pt x="16250" y="15250"/>
                  <a:pt x="16125" y="15219"/>
                </a:cubicBezTo>
                <a:cubicBezTo>
                  <a:pt x="16063" y="15219"/>
                  <a:pt x="16094" y="15157"/>
                  <a:pt x="16094" y="15125"/>
                </a:cubicBezTo>
                <a:cubicBezTo>
                  <a:pt x="16094" y="15094"/>
                  <a:pt x="16125" y="15063"/>
                  <a:pt x="16188" y="15063"/>
                </a:cubicBezTo>
                <a:cubicBezTo>
                  <a:pt x="16188" y="15094"/>
                  <a:pt x="16125" y="15125"/>
                  <a:pt x="16188" y="15157"/>
                </a:cubicBezTo>
                <a:cubicBezTo>
                  <a:pt x="16219" y="15157"/>
                  <a:pt x="16219" y="15125"/>
                  <a:pt x="16250" y="15125"/>
                </a:cubicBezTo>
                <a:cubicBezTo>
                  <a:pt x="16281" y="15094"/>
                  <a:pt x="16281" y="15032"/>
                  <a:pt x="16313" y="15000"/>
                </a:cubicBezTo>
                <a:cubicBezTo>
                  <a:pt x="16313" y="15000"/>
                  <a:pt x="16313" y="15000"/>
                  <a:pt x="16313" y="15000"/>
                </a:cubicBezTo>
                <a:cubicBezTo>
                  <a:pt x="16313" y="15000"/>
                  <a:pt x="16313" y="15000"/>
                  <a:pt x="16313" y="15000"/>
                </a:cubicBezTo>
                <a:cubicBezTo>
                  <a:pt x="16375" y="15063"/>
                  <a:pt x="16438" y="15094"/>
                  <a:pt x="16469" y="15157"/>
                </a:cubicBezTo>
                <a:cubicBezTo>
                  <a:pt x="16469" y="15157"/>
                  <a:pt x="16469" y="15157"/>
                  <a:pt x="16500" y="15157"/>
                </a:cubicBezTo>
                <a:cubicBezTo>
                  <a:pt x="16500" y="15188"/>
                  <a:pt x="16531" y="15188"/>
                  <a:pt x="16531" y="15219"/>
                </a:cubicBezTo>
                <a:cubicBezTo>
                  <a:pt x="16625" y="15250"/>
                  <a:pt x="16688" y="15344"/>
                  <a:pt x="16750" y="15375"/>
                </a:cubicBezTo>
                <a:cubicBezTo>
                  <a:pt x="16750" y="15375"/>
                  <a:pt x="16750" y="15375"/>
                  <a:pt x="16750" y="15375"/>
                </a:cubicBezTo>
                <a:cubicBezTo>
                  <a:pt x="16750" y="15407"/>
                  <a:pt x="16750" y="15407"/>
                  <a:pt x="16750" y="15407"/>
                </a:cubicBezTo>
                <a:close/>
                <a:moveTo>
                  <a:pt x="16750" y="14969"/>
                </a:moveTo>
                <a:cubicBezTo>
                  <a:pt x="16656" y="15000"/>
                  <a:pt x="16563" y="14969"/>
                  <a:pt x="16469" y="14969"/>
                </a:cubicBezTo>
                <a:cubicBezTo>
                  <a:pt x="16469" y="14969"/>
                  <a:pt x="16469" y="14969"/>
                  <a:pt x="16469" y="14969"/>
                </a:cubicBezTo>
                <a:cubicBezTo>
                  <a:pt x="16406" y="14938"/>
                  <a:pt x="16406" y="15000"/>
                  <a:pt x="16375" y="15000"/>
                </a:cubicBezTo>
                <a:cubicBezTo>
                  <a:pt x="16344" y="14938"/>
                  <a:pt x="16344" y="14907"/>
                  <a:pt x="16281" y="14875"/>
                </a:cubicBezTo>
                <a:cubicBezTo>
                  <a:pt x="16281" y="14875"/>
                  <a:pt x="16281" y="14875"/>
                  <a:pt x="16281" y="14875"/>
                </a:cubicBezTo>
                <a:cubicBezTo>
                  <a:pt x="16500" y="14844"/>
                  <a:pt x="16719" y="14813"/>
                  <a:pt x="16906" y="14813"/>
                </a:cubicBezTo>
                <a:cubicBezTo>
                  <a:pt x="16938" y="14782"/>
                  <a:pt x="16938" y="14782"/>
                  <a:pt x="16938" y="14782"/>
                </a:cubicBezTo>
                <a:cubicBezTo>
                  <a:pt x="16938" y="14782"/>
                  <a:pt x="16938" y="14782"/>
                  <a:pt x="16906" y="14813"/>
                </a:cubicBezTo>
                <a:cubicBezTo>
                  <a:pt x="16938" y="14813"/>
                  <a:pt x="16938" y="14813"/>
                  <a:pt x="16969" y="14782"/>
                </a:cubicBezTo>
                <a:cubicBezTo>
                  <a:pt x="16969" y="14782"/>
                  <a:pt x="17000" y="14782"/>
                  <a:pt x="17031" y="14782"/>
                </a:cubicBezTo>
                <a:cubicBezTo>
                  <a:pt x="17031" y="14782"/>
                  <a:pt x="17031" y="14750"/>
                  <a:pt x="17031" y="14750"/>
                </a:cubicBezTo>
                <a:cubicBezTo>
                  <a:pt x="17031" y="14750"/>
                  <a:pt x="17031" y="14782"/>
                  <a:pt x="17031" y="14782"/>
                </a:cubicBezTo>
                <a:cubicBezTo>
                  <a:pt x="17031" y="14782"/>
                  <a:pt x="17063" y="14782"/>
                  <a:pt x="17063" y="14782"/>
                </a:cubicBezTo>
                <a:cubicBezTo>
                  <a:pt x="17188" y="14782"/>
                  <a:pt x="17344" y="14813"/>
                  <a:pt x="17469" y="14750"/>
                </a:cubicBezTo>
                <a:cubicBezTo>
                  <a:pt x="17500" y="14750"/>
                  <a:pt x="17531" y="14750"/>
                  <a:pt x="17563" y="14750"/>
                </a:cubicBezTo>
                <a:cubicBezTo>
                  <a:pt x="17594" y="14750"/>
                  <a:pt x="17594" y="14750"/>
                  <a:pt x="17625" y="14750"/>
                </a:cubicBezTo>
                <a:cubicBezTo>
                  <a:pt x="17625" y="14750"/>
                  <a:pt x="17625" y="14719"/>
                  <a:pt x="17625" y="14719"/>
                </a:cubicBezTo>
                <a:cubicBezTo>
                  <a:pt x="17625" y="14719"/>
                  <a:pt x="17625" y="14750"/>
                  <a:pt x="17625" y="14750"/>
                </a:cubicBezTo>
                <a:cubicBezTo>
                  <a:pt x="17688" y="14750"/>
                  <a:pt x="17750" y="14782"/>
                  <a:pt x="17813" y="14719"/>
                </a:cubicBezTo>
                <a:cubicBezTo>
                  <a:pt x="17844" y="14719"/>
                  <a:pt x="17875" y="14719"/>
                  <a:pt x="17906" y="14719"/>
                </a:cubicBezTo>
                <a:cubicBezTo>
                  <a:pt x="17938" y="14719"/>
                  <a:pt x="18000" y="14719"/>
                  <a:pt x="18063" y="14719"/>
                </a:cubicBezTo>
                <a:cubicBezTo>
                  <a:pt x="18000" y="14719"/>
                  <a:pt x="17938" y="14719"/>
                  <a:pt x="17906" y="14719"/>
                </a:cubicBezTo>
                <a:cubicBezTo>
                  <a:pt x="18000" y="14719"/>
                  <a:pt x="18094" y="14750"/>
                  <a:pt x="18156" y="14750"/>
                </a:cubicBezTo>
                <a:cubicBezTo>
                  <a:pt x="18188" y="14750"/>
                  <a:pt x="18219" y="14750"/>
                  <a:pt x="18219" y="14688"/>
                </a:cubicBezTo>
                <a:cubicBezTo>
                  <a:pt x="18250" y="14688"/>
                  <a:pt x="18250" y="14688"/>
                  <a:pt x="18281" y="14688"/>
                </a:cubicBezTo>
                <a:cubicBezTo>
                  <a:pt x="18281" y="14688"/>
                  <a:pt x="18281" y="14688"/>
                  <a:pt x="18281" y="14688"/>
                </a:cubicBezTo>
                <a:cubicBezTo>
                  <a:pt x="18313" y="14750"/>
                  <a:pt x="18313" y="14782"/>
                  <a:pt x="18281" y="14813"/>
                </a:cubicBezTo>
                <a:cubicBezTo>
                  <a:pt x="18219" y="14875"/>
                  <a:pt x="18156" y="14875"/>
                  <a:pt x="18125" y="14938"/>
                </a:cubicBezTo>
                <a:cubicBezTo>
                  <a:pt x="18094" y="15000"/>
                  <a:pt x="18094" y="15000"/>
                  <a:pt x="18063" y="14938"/>
                </a:cubicBezTo>
                <a:cubicBezTo>
                  <a:pt x="18031" y="14875"/>
                  <a:pt x="18000" y="14907"/>
                  <a:pt x="17969" y="14907"/>
                </a:cubicBezTo>
                <a:cubicBezTo>
                  <a:pt x="17938" y="14938"/>
                  <a:pt x="17875" y="14938"/>
                  <a:pt x="17906" y="15000"/>
                </a:cubicBezTo>
                <a:cubicBezTo>
                  <a:pt x="17938" y="15032"/>
                  <a:pt x="17938" y="15032"/>
                  <a:pt x="17906" y="15032"/>
                </a:cubicBezTo>
                <a:cubicBezTo>
                  <a:pt x="17938" y="15032"/>
                  <a:pt x="17938" y="15032"/>
                  <a:pt x="17906" y="15000"/>
                </a:cubicBezTo>
                <a:cubicBezTo>
                  <a:pt x="17906" y="15000"/>
                  <a:pt x="17906" y="15000"/>
                  <a:pt x="17875" y="15000"/>
                </a:cubicBezTo>
                <a:cubicBezTo>
                  <a:pt x="17875" y="14969"/>
                  <a:pt x="17813" y="15000"/>
                  <a:pt x="17813" y="14969"/>
                </a:cubicBezTo>
                <a:cubicBezTo>
                  <a:pt x="17781" y="14907"/>
                  <a:pt x="17750" y="14907"/>
                  <a:pt x="17719" y="14907"/>
                </a:cubicBezTo>
                <a:cubicBezTo>
                  <a:pt x="17688" y="14938"/>
                  <a:pt x="17656" y="14907"/>
                  <a:pt x="17656" y="14907"/>
                </a:cubicBezTo>
                <a:cubicBezTo>
                  <a:pt x="17531" y="14907"/>
                  <a:pt x="17438" y="14969"/>
                  <a:pt x="17406" y="15094"/>
                </a:cubicBezTo>
                <a:cubicBezTo>
                  <a:pt x="17406" y="15094"/>
                  <a:pt x="17406" y="15125"/>
                  <a:pt x="17375" y="15125"/>
                </a:cubicBezTo>
                <a:cubicBezTo>
                  <a:pt x="17313" y="15094"/>
                  <a:pt x="17406" y="15032"/>
                  <a:pt x="17313" y="15032"/>
                </a:cubicBezTo>
                <a:cubicBezTo>
                  <a:pt x="17250" y="15032"/>
                  <a:pt x="17219" y="15032"/>
                  <a:pt x="17188" y="14969"/>
                </a:cubicBezTo>
                <a:cubicBezTo>
                  <a:pt x="17156" y="14969"/>
                  <a:pt x="17094" y="14969"/>
                  <a:pt x="17031" y="15000"/>
                </a:cubicBezTo>
                <a:cubicBezTo>
                  <a:pt x="16969" y="15063"/>
                  <a:pt x="16844" y="15063"/>
                  <a:pt x="16781" y="15000"/>
                </a:cubicBezTo>
                <a:cubicBezTo>
                  <a:pt x="16781" y="14969"/>
                  <a:pt x="16750" y="14969"/>
                  <a:pt x="16750" y="14969"/>
                </a:cubicBezTo>
                <a:close/>
                <a:moveTo>
                  <a:pt x="18344" y="14688"/>
                </a:moveTo>
                <a:cubicBezTo>
                  <a:pt x="18344" y="14688"/>
                  <a:pt x="18344" y="14688"/>
                  <a:pt x="18375" y="14657"/>
                </a:cubicBezTo>
                <a:cubicBezTo>
                  <a:pt x="18344" y="14688"/>
                  <a:pt x="18344" y="14688"/>
                  <a:pt x="18344" y="14688"/>
                </a:cubicBezTo>
                <a:close/>
                <a:moveTo>
                  <a:pt x="19188" y="14219"/>
                </a:moveTo>
                <a:cubicBezTo>
                  <a:pt x="19188" y="14219"/>
                  <a:pt x="19188" y="14219"/>
                  <a:pt x="19188" y="14219"/>
                </a:cubicBezTo>
                <a:cubicBezTo>
                  <a:pt x="19188" y="14219"/>
                  <a:pt x="19188" y="14219"/>
                  <a:pt x="19188" y="14219"/>
                </a:cubicBezTo>
                <a:close/>
                <a:moveTo>
                  <a:pt x="18344" y="14688"/>
                </a:moveTo>
                <a:cubicBezTo>
                  <a:pt x="18375" y="14688"/>
                  <a:pt x="18438" y="14719"/>
                  <a:pt x="18469" y="14657"/>
                </a:cubicBezTo>
                <a:cubicBezTo>
                  <a:pt x="18469" y="14657"/>
                  <a:pt x="18469" y="14657"/>
                  <a:pt x="18500" y="14657"/>
                </a:cubicBezTo>
                <a:cubicBezTo>
                  <a:pt x="18500" y="14657"/>
                  <a:pt x="18500" y="14657"/>
                  <a:pt x="18500" y="14657"/>
                </a:cubicBezTo>
                <a:cubicBezTo>
                  <a:pt x="18563" y="14688"/>
                  <a:pt x="18625" y="14657"/>
                  <a:pt x="18688" y="14657"/>
                </a:cubicBezTo>
                <a:cubicBezTo>
                  <a:pt x="18875" y="14657"/>
                  <a:pt x="19094" y="14625"/>
                  <a:pt x="19313" y="14594"/>
                </a:cubicBezTo>
                <a:cubicBezTo>
                  <a:pt x="19344" y="14594"/>
                  <a:pt x="19375" y="14594"/>
                  <a:pt x="19406" y="14625"/>
                </a:cubicBezTo>
                <a:cubicBezTo>
                  <a:pt x="19406" y="14625"/>
                  <a:pt x="19406" y="14625"/>
                  <a:pt x="19406" y="14625"/>
                </a:cubicBezTo>
                <a:cubicBezTo>
                  <a:pt x="19406" y="14625"/>
                  <a:pt x="19406" y="14625"/>
                  <a:pt x="19406" y="14625"/>
                </a:cubicBezTo>
                <a:cubicBezTo>
                  <a:pt x="19406" y="14625"/>
                  <a:pt x="19406" y="14625"/>
                  <a:pt x="19406" y="14657"/>
                </a:cubicBezTo>
                <a:cubicBezTo>
                  <a:pt x="19406" y="14657"/>
                  <a:pt x="19406" y="14657"/>
                  <a:pt x="19406" y="14657"/>
                </a:cubicBezTo>
                <a:cubicBezTo>
                  <a:pt x="19344" y="14719"/>
                  <a:pt x="19219" y="14719"/>
                  <a:pt x="19156" y="14782"/>
                </a:cubicBezTo>
                <a:cubicBezTo>
                  <a:pt x="19125" y="14813"/>
                  <a:pt x="19094" y="14875"/>
                  <a:pt x="19063" y="14782"/>
                </a:cubicBezTo>
                <a:cubicBezTo>
                  <a:pt x="19063" y="14782"/>
                  <a:pt x="19031" y="14719"/>
                  <a:pt x="19000" y="14750"/>
                </a:cubicBezTo>
                <a:cubicBezTo>
                  <a:pt x="18938" y="14782"/>
                  <a:pt x="18844" y="14750"/>
                  <a:pt x="18844" y="14844"/>
                </a:cubicBezTo>
                <a:cubicBezTo>
                  <a:pt x="18844" y="14844"/>
                  <a:pt x="18813" y="14844"/>
                  <a:pt x="18813" y="14844"/>
                </a:cubicBezTo>
                <a:cubicBezTo>
                  <a:pt x="18813" y="14844"/>
                  <a:pt x="18813" y="14844"/>
                  <a:pt x="18813" y="14844"/>
                </a:cubicBezTo>
                <a:cubicBezTo>
                  <a:pt x="18781" y="14844"/>
                  <a:pt x="18781" y="14813"/>
                  <a:pt x="18750" y="14813"/>
                </a:cubicBezTo>
                <a:cubicBezTo>
                  <a:pt x="18688" y="14875"/>
                  <a:pt x="18625" y="14782"/>
                  <a:pt x="18594" y="14813"/>
                </a:cubicBezTo>
                <a:cubicBezTo>
                  <a:pt x="18563" y="14813"/>
                  <a:pt x="18563" y="14813"/>
                  <a:pt x="18563" y="14813"/>
                </a:cubicBezTo>
                <a:cubicBezTo>
                  <a:pt x="18531" y="14844"/>
                  <a:pt x="18563" y="14844"/>
                  <a:pt x="18531" y="14844"/>
                </a:cubicBezTo>
                <a:cubicBezTo>
                  <a:pt x="18563" y="14844"/>
                  <a:pt x="18531" y="14844"/>
                  <a:pt x="18563" y="14813"/>
                </a:cubicBezTo>
                <a:cubicBezTo>
                  <a:pt x="18500" y="14813"/>
                  <a:pt x="18438" y="14813"/>
                  <a:pt x="18406" y="14813"/>
                </a:cubicBezTo>
                <a:cubicBezTo>
                  <a:pt x="18406" y="14813"/>
                  <a:pt x="18406" y="14813"/>
                  <a:pt x="18406" y="14813"/>
                </a:cubicBezTo>
                <a:cubicBezTo>
                  <a:pt x="18406" y="14813"/>
                  <a:pt x="18375" y="14813"/>
                  <a:pt x="18375" y="14813"/>
                </a:cubicBezTo>
                <a:cubicBezTo>
                  <a:pt x="18375" y="14782"/>
                  <a:pt x="18344" y="14750"/>
                  <a:pt x="18344" y="14688"/>
                </a:cubicBezTo>
                <a:close/>
                <a:moveTo>
                  <a:pt x="18250" y="16438"/>
                </a:moveTo>
                <a:cubicBezTo>
                  <a:pt x="18250" y="16438"/>
                  <a:pt x="18250" y="16438"/>
                  <a:pt x="18250" y="16469"/>
                </a:cubicBezTo>
                <a:cubicBezTo>
                  <a:pt x="18250" y="16438"/>
                  <a:pt x="18250" y="16438"/>
                  <a:pt x="18250" y="16438"/>
                </a:cubicBezTo>
                <a:close/>
                <a:moveTo>
                  <a:pt x="19625" y="15750"/>
                </a:moveTo>
                <a:cubicBezTo>
                  <a:pt x="19625" y="15750"/>
                  <a:pt x="19594" y="15750"/>
                  <a:pt x="19594" y="15750"/>
                </a:cubicBezTo>
                <a:cubicBezTo>
                  <a:pt x="19594" y="15750"/>
                  <a:pt x="19594" y="15750"/>
                  <a:pt x="19594" y="15750"/>
                </a:cubicBezTo>
                <a:cubicBezTo>
                  <a:pt x="19594" y="15750"/>
                  <a:pt x="19625" y="15750"/>
                  <a:pt x="19625" y="15750"/>
                </a:cubicBezTo>
                <a:close/>
                <a:moveTo>
                  <a:pt x="18250" y="16375"/>
                </a:moveTo>
                <a:cubicBezTo>
                  <a:pt x="18250" y="16375"/>
                  <a:pt x="18250" y="16375"/>
                  <a:pt x="18250" y="16375"/>
                </a:cubicBezTo>
                <a:cubicBezTo>
                  <a:pt x="18250" y="16375"/>
                  <a:pt x="18281" y="16375"/>
                  <a:pt x="18281" y="16375"/>
                </a:cubicBezTo>
                <a:cubicBezTo>
                  <a:pt x="18281" y="16375"/>
                  <a:pt x="18250" y="16375"/>
                  <a:pt x="18250" y="16375"/>
                </a:cubicBezTo>
                <a:close/>
                <a:moveTo>
                  <a:pt x="18875" y="15375"/>
                </a:moveTo>
                <a:cubicBezTo>
                  <a:pt x="18844" y="15375"/>
                  <a:pt x="18813" y="15344"/>
                  <a:pt x="18813" y="15313"/>
                </a:cubicBezTo>
                <a:cubicBezTo>
                  <a:pt x="18813" y="15344"/>
                  <a:pt x="18844" y="15375"/>
                  <a:pt x="18875" y="15375"/>
                </a:cubicBezTo>
                <a:cubicBezTo>
                  <a:pt x="18875" y="15375"/>
                  <a:pt x="18875" y="15375"/>
                  <a:pt x="18875" y="15375"/>
                </a:cubicBezTo>
                <a:close/>
                <a:moveTo>
                  <a:pt x="19406" y="15625"/>
                </a:moveTo>
                <a:cubicBezTo>
                  <a:pt x="19406" y="15625"/>
                  <a:pt x="19406" y="15625"/>
                  <a:pt x="19406" y="15657"/>
                </a:cubicBezTo>
                <a:cubicBezTo>
                  <a:pt x="19406" y="15657"/>
                  <a:pt x="19375" y="15688"/>
                  <a:pt x="19375" y="15688"/>
                </a:cubicBezTo>
                <a:cubicBezTo>
                  <a:pt x="19375" y="15688"/>
                  <a:pt x="19375" y="15719"/>
                  <a:pt x="19344" y="15719"/>
                </a:cubicBezTo>
                <a:cubicBezTo>
                  <a:pt x="19375" y="15719"/>
                  <a:pt x="19375" y="15688"/>
                  <a:pt x="19375" y="15688"/>
                </a:cubicBezTo>
                <a:cubicBezTo>
                  <a:pt x="19375" y="15688"/>
                  <a:pt x="19406" y="15657"/>
                  <a:pt x="19406" y="15657"/>
                </a:cubicBezTo>
                <a:cubicBezTo>
                  <a:pt x="19406" y="15625"/>
                  <a:pt x="19406" y="15625"/>
                  <a:pt x="19406" y="15625"/>
                </a:cubicBezTo>
                <a:cubicBezTo>
                  <a:pt x="19406" y="15625"/>
                  <a:pt x="19438" y="15594"/>
                  <a:pt x="19438" y="15594"/>
                </a:cubicBezTo>
                <a:cubicBezTo>
                  <a:pt x="19438" y="15594"/>
                  <a:pt x="19406" y="15625"/>
                  <a:pt x="19406" y="15625"/>
                </a:cubicBezTo>
                <a:close/>
                <a:moveTo>
                  <a:pt x="17813" y="16094"/>
                </a:moveTo>
                <a:cubicBezTo>
                  <a:pt x="17813" y="16094"/>
                  <a:pt x="17813" y="16094"/>
                  <a:pt x="17813" y="16094"/>
                </a:cubicBezTo>
                <a:cubicBezTo>
                  <a:pt x="17813" y="16125"/>
                  <a:pt x="17813" y="16125"/>
                  <a:pt x="17781" y="16125"/>
                </a:cubicBezTo>
                <a:cubicBezTo>
                  <a:pt x="17813" y="16125"/>
                  <a:pt x="17813" y="16125"/>
                  <a:pt x="17813" y="16094"/>
                </a:cubicBezTo>
                <a:close/>
                <a:moveTo>
                  <a:pt x="19656" y="14719"/>
                </a:moveTo>
                <a:cubicBezTo>
                  <a:pt x="19656" y="14719"/>
                  <a:pt x="19656" y="14719"/>
                  <a:pt x="19656" y="14719"/>
                </a:cubicBezTo>
                <a:cubicBezTo>
                  <a:pt x="19656" y="14719"/>
                  <a:pt x="19656" y="14719"/>
                  <a:pt x="19656" y="14719"/>
                </a:cubicBezTo>
                <a:close/>
                <a:moveTo>
                  <a:pt x="17375" y="15844"/>
                </a:moveTo>
                <a:cubicBezTo>
                  <a:pt x="17375" y="15844"/>
                  <a:pt x="17375" y="15844"/>
                  <a:pt x="17375" y="15844"/>
                </a:cubicBezTo>
                <a:cubicBezTo>
                  <a:pt x="17406" y="15875"/>
                  <a:pt x="17469" y="15844"/>
                  <a:pt x="17469" y="15907"/>
                </a:cubicBezTo>
                <a:cubicBezTo>
                  <a:pt x="17500" y="15907"/>
                  <a:pt x="17531" y="15938"/>
                  <a:pt x="17563" y="15969"/>
                </a:cubicBezTo>
                <a:cubicBezTo>
                  <a:pt x="17563" y="15969"/>
                  <a:pt x="17563" y="15969"/>
                  <a:pt x="17531" y="15969"/>
                </a:cubicBezTo>
                <a:cubicBezTo>
                  <a:pt x="17531" y="16000"/>
                  <a:pt x="17531" y="16000"/>
                  <a:pt x="17563" y="16032"/>
                </a:cubicBezTo>
                <a:cubicBezTo>
                  <a:pt x="17563" y="16032"/>
                  <a:pt x="17563" y="16032"/>
                  <a:pt x="17563" y="16032"/>
                </a:cubicBezTo>
                <a:cubicBezTo>
                  <a:pt x="17563" y="16032"/>
                  <a:pt x="17563" y="16032"/>
                  <a:pt x="17563" y="16032"/>
                </a:cubicBezTo>
                <a:cubicBezTo>
                  <a:pt x="17531" y="16000"/>
                  <a:pt x="17531" y="16000"/>
                  <a:pt x="17531" y="15969"/>
                </a:cubicBezTo>
                <a:cubicBezTo>
                  <a:pt x="17500" y="15969"/>
                  <a:pt x="17469" y="15969"/>
                  <a:pt x="17469" y="15969"/>
                </a:cubicBezTo>
                <a:cubicBezTo>
                  <a:pt x="17438" y="16000"/>
                  <a:pt x="17438" y="16032"/>
                  <a:pt x="17406" y="16063"/>
                </a:cubicBezTo>
                <a:cubicBezTo>
                  <a:pt x="17438" y="16032"/>
                  <a:pt x="17438" y="16000"/>
                  <a:pt x="17469" y="15969"/>
                </a:cubicBezTo>
                <a:cubicBezTo>
                  <a:pt x="17469" y="15969"/>
                  <a:pt x="17469" y="15938"/>
                  <a:pt x="17469" y="15907"/>
                </a:cubicBezTo>
                <a:cubicBezTo>
                  <a:pt x="17406" y="15907"/>
                  <a:pt x="17375" y="15938"/>
                  <a:pt x="17344" y="16000"/>
                </a:cubicBezTo>
                <a:cubicBezTo>
                  <a:pt x="17344" y="16032"/>
                  <a:pt x="17313" y="16063"/>
                  <a:pt x="17281" y="16063"/>
                </a:cubicBezTo>
                <a:cubicBezTo>
                  <a:pt x="17281" y="16063"/>
                  <a:pt x="17281" y="16094"/>
                  <a:pt x="17281" y="16094"/>
                </a:cubicBezTo>
                <a:cubicBezTo>
                  <a:pt x="17219" y="16125"/>
                  <a:pt x="17219" y="16157"/>
                  <a:pt x="17188" y="16219"/>
                </a:cubicBezTo>
                <a:cubicBezTo>
                  <a:pt x="17219" y="16157"/>
                  <a:pt x="17219" y="16125"/>
                  <a:pt x="17281" y="16094"/>
                </a:cubicBezTo>
                <a:cubicBezTo>
                  <a:pt x="17281" y="16063"/>
                  <a:pt x="17281" y="16063"/>
                  <a:pt x="17281" y="16063"/>
                </a:cubicBezTo>
                <a:cubicBezTo>
                  <a:pt x="17313" y="15969"/>
                  <a:pt x="17344" y="15907"/>
                  <a:pt x="17375" y="15844"/>
                </a:cubicBezTo>
                <a:close/>
                <a:moveTo>
                  <a:pt x="18250" y="16375"/>
                </a:moveTo>
                <a:cubicBezTo>
                  <a:pt x="18250" y="16375"/>
                  <a:pt x="18250" y="16407"/>
                  <a:pt x="18250" y="16407"/>
                </a:cubicBezTo>
                <a:cubicBezTo>
                  <a:pt x="18250" y="16407"/>
                  <a:pt x="18250" y="16407"/>
                  <a:pt x="18250" y="16407"/>
                </a:cubicBezTo>
                <a:cubicBezTo>
                  <a:pt x="18250" y="16407"/>
                  <a:pt x="18250" y="16375"/>
                  <a:pt x="18250" y="16375"/>
                </a:cubicBezTo>
                <a:close/>
                <a:moveTo>
                  <a:pt x="20469" y="14000"/>
                </a:moveTo>
                <a:cubicBezTo>
                  <a:pt x="20469" y="13969"/>
                  <a:pt x="20469" y="13969"/>
                  <a:pt x="20469" y="13969"/>
                </a:cubicBezTo>
                <a:cubicBezTo>
                  <a:pt x="20469" y="13969"/>
                  <a:pt x="20469" y="13969"/>
                  <a:pt x="20469" y="14000"/>
                </a:cubicBezTo>
                <a:close/>
                <a:moveTo>
                  <a:pt x="19875" y="13594"/>
                </a:move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63"/>
                  <a:pt x="19875" y="13563"/>
                </a:cubicBezTo>
                <a:cubicBezTo>
                  <a:pt x="19875" y="13563"/>
                  <a:pt x="19875" y="13594"/>
                  <a:pt x="19875" y="13594"/>
                </a:cubicBezTo>
                <a:close/>
                <a:moveTo>
                  <a:pt x="18469" y="13657"/>
                </a:moveTo>
                <a:cubicBezTo>
                  <a:pt x="18469" y="13657"/>
                  <a:pt x="18469" y="13657"/>
                  <a:pt x="18469" y="13657"/>
                </a:cubicBezTo>
                <a:cubicBezTo>
                  <a:pt x="18469" y="13657"/>
                  <a:pt x="18469" y="13657"/>
                  <a:pt x="18469" y="13657"/>
                </a:cubicBezTo>
                <a:close/>
                <a:moveTo>
                  <a:pt x="17813" y="13625"/>
                </a:moveTo>
                <a:cubicBezTo>
                  <a:pt x="17813" y="13594"/>
                  <a:pt x="17844" y="13594"/>
                  <a:pt x="17844" y="13563"/>
                </a:cubicBezTo>
                <a:cubicBezTo>
                  <a:pt x="17844" y="13563"/>
                  <a:pt x="17844" y="13532"/>
                  <a:pt x="17844" y="13532"/>
                </a:cubicBezTo>
                <a:cubicBezTo>
                  <a:pt x="17844" y="13563"/>
                  <a:pt x="17844" y="13563"/>
                  <a:pt x="17844" y="13563"/>
                </a:cubicBezTo>
                <a:cubicBezTo>
                  <a:pt x="17844" y="13594"/>
                  <a:pt x="17813" y="13594"/>
                  <a:pt x="17813" y="13625"/>
                </a:cubicBezTo>
                <a:close/>
                <a:moveTo>
                  <a:pt x="20094" y="9844"/>
                </a:moveTo>
                <a:cubicBezTo>
                  <a:pt x="20125" y="9844"/>
                  <a:pt x="20125" y="9844"/>
                  <a:pt x="20125" y="9844"/>
                </a:cubicBezTo>
                <a:cubicBezTo>
                  <a:pt x="20125" y="9844"/>
                  <a:pt x="20125" y="9844"/>
                  <a:pt x="20094" y="9844"/>
                </a:cubicBezTo>
                <a:close/>
                <a:moveTo>
                  <a:pt x="18438" y="6375"/>
                </a:moveTo>
                <a:cubicBezTo>
                  <a:pt x="18406" y="6407"/>
                  <a:pt x="18406" y="6469"/>
                  <a:pt x="18344" y="6500"/>
                </a:cubicBezTo>
                <a:cubicBezTo>
                  <a:pt x="18344" y="6500"/>
                  <a:pt x="18250" y="6532"/>
                  <a:pt x="18344" y="6594"/>
                </a:cubicBezTo>
                <a:cubicBezTo>
                  <a:pt x="18375" y="6594"/>
                  <a:pt x="18344" y="6719"/>
                  <a:pt x="18313" y="6782"/>
                </a:cubicBezTo>
                <a:cubicBezTo>
                  <a:pt x="18313" y="6782"/>
                  <a:pt x="18313" y="6813"/>
                  <a:pt x="18281" y="6844"/>
                </a:cubicBezTo>
                <a:cubicBezTo>
                  <a:pt x="18344" y="6844"/>
                  <a:pt x="18375" y="6875"/>
                  <a:pt x="18313" y="6938"/>
                </a:cubicBezTo>
                <a:cubicBezTo>
                  <a:pt x="18313" y="6938"/>
                  <a:pt x="18281" y="6969"/>
                  <a:pt x="18313" y="6969"/>
                </a:cubicBezTo>
                <a:cubicBezTo>
                  <a:pt x="18375" y="7063"/>
                  <a:pt x="18313" y="7125"/>
                  <a:pt x="18281" y="7188"/>
                </a:cubicBezTo>
                <a:cubicBezTo>
                  <a:pt x="18250" y="7250"/>
                  <a:pt x="18219" y="7219"/>
                  <a:pt x="18188" y="7219"/>
                </a:cubicBezTo>
                <a:cubicBezTo>
                  <a:pt x="18188" y="7219"/>
                  <a:pt x="18188" y="7250"/>
                  <a:pt x="18188" y="7250"/>
                </a:cubicBezTo>
                <a:cubicBezTo>
                  <a:pt x="18188" y="7282"/>
                  <a:pt x="18156" y="7313"/>
                  <a:pt x="18156" y="7344"/>
                </a:cubicBezTo>
                <a:cubicBezTo>
                  <a:pt x="18156" y="7344"/>
                  <a:pt x="18156" y="7344"/>
                  <a:pt x="18156" y="7344"/>
                </a:cubicBezTo>
                <a:cubicBezTo>
                  <a:pt x="18156" y="7313"/>
                  <a:pt x="18188" y="7282"/>
                  <a:pt x="18188" y="7250"/>
                </a:cubicBezTo>
                <a:cubicBezTo>
                  <a:pt x="18188" y="7250"/>
                  <a:pt x="18188" y="7219"/>
                  <a:pt x="18188" y="7219"/>
                </a:cubicBezTo>
                <a:cubicBezTo>
                  <a:pt x="18156" y="7063"/>
                  <a:pt x="18188" y="6907"/>
                  <a:pt x="18219" y="6782"/>
                </a:cubicBezTo>
                <a:cubicBezTo>
                  <a:pt x="18188" y="6750"/>
                  <a:pt x="18188" y="6750"/>
                  <a:pt x="18188" y="6719"/>
                </a:cubicBezTo>
                <a:cubicBezTo>
                  <a:pt x="18188" y="6750"/>
                  <a:pt x="18188" y="6750"/>
                  <a:pt x="18219" y="6782"/>
                </a:cubicBezTo>
                <a:cubicBezTo>
                  <a:pt x="18250" y="6750"/>
                  <a:pt x="18219" y="6719"/>
                  <a:pt x="18219" y="6688"/>
                </a:cubicBezTo>
                <a:cubicBezTo>
                  <a:pt x="18250" y="6563"/>
                  <a:pt x="18250" y="6407"/>
                  <a:pt x="18344" y="6250"/>
                </a:cubicBezTo>
                <a:cubicBezTo>
                  <a:pt x="18344" y="6250"/>
                  <a:pt x="18344" y="6219"/>
                  <a:pt x="18344" y="6188"/>
                </a:cubicBezTo>
                <a:cubicBezTo>
                  <a:pt x="18375" y="6188"/>
                  <a:pt x="18406" y="6157"/>
                  <a:pt x="18406" y="6219"/>
                </a:cubicBezTo>
                <a:cubicBezTo>
                  <a:pt x="18406" y="6282"/>
                  <a:pt x="18500" y="6282"/>
                  <a:pt x="18438" y="6375"/>
                </a:cubicBezTo>
                <a:close/>
                <a:moveTo>
                  <a:pt x="16281" y="6907"/>
                </a:moveTo>
                <a:cubicBezTo>
                  <a:pt x="16281" y="6907"/>
                  <a:pt x="16250" y="6907"/>
                  <a:pt x="16250" y="6907"/>
                </a:cubicBezTo>
                <a:cubicBezTo>
                  <a:pt x="16250" y="6907"/>
                  <a:pt x="16250" y="6907"/>
                  <a:pt x="16250" y="6907"/>
                </a:cubicBezTo>
                <a:cubicBezTo>
                  <a:pt x="16250" y="6907"/>
                  <a:pt x="16250" y="6907"/>
                  <a:pt x="16250" y="6907"/>
                </a:cubicBezTo>
                <a:cubicBezTo>
                  <a:pt x="16250" y="6907"/>
                  <a:pt x="16281" y="6907"/>
                  <a:pt x="16281" y="6907"/>
                </a:cubicBezTo>
                <a:close/>
                <a:moveTo>
                  <a:pt x="15469" y="8219"/>
                </a:moveTo>
                <a:cubicBezTo>
                  <a:pt x="15469" y="8219"/>
                  <a:pt x="15469" y="8219"/>
                  <a:pt x="15469" y="8219"/>
                </a:cubicBezTo>
                <a:cubicBezTo>
                  <a:pt x="15469" y="8219"/>
                  <a:pt x="15469" y="8219"/>
                  <a:pt x="15469" y="8219"/>
                </a:cubicBezTo>
                <a:close/>
                <a:moveTo>
                  <a:pt x="15344" y="8750"/>
                </a:moveTo>
                <a:cubicBezTo>
                  <a:pt x="15344" y="8750"/>
                  <a:pt x="15344" y="8750"/>
                  <a:pt x="15344" y="8750"/>
                </a:cubicBezTo>
                <a:cubicBezTo>
                  <a:pt x="15375" y="8750"/>
                  <a:pt x="15375" y="8750"/>
                  <a:pt x="15406" y="8750"/>
                </a:cubicBezTo>
                <a:cubicBezTo>
                  <a:pt x="15438" y="8750"/>
                  <a:pt x="15469" y="8750"/>
                  <a:pt x="15531" y="8750"/>
                </a:cubicBezTo>
                <a:cubicBezTo>
                  <a:pt x="15531" y="8750"/>
                  <a:pt x="15563" y="8750"/>
                  <a:pt x="15594" y="8750"/>
                </a:cubicBezTo>
                <a:cubicBezTo>
                  <a:pt x="15563" y="8750"/>
                  <a:pt x="15531" y="8750"/>
                  <a:pt x="15531" y="8750"/>
                </a:cubicBezTo>
                <a:cubicBezTo>
                  <a:pt x="15500" y="8750"/>
                  <a:pt x="15500" y="8782"/>
                  <a:pt x="15469" y="8782"/>
                </a:cubicBezTo>
                <a:cubicBezTo>
                  <a:pt x="15375" y="8844"/>
                  <a:pt x="15375" y="8875"/>
                  <a:pt x="15406" y="9000"/>
                </a:cubicBezTo>
                <a:cubicBezTo>
                  <a:pt x="15406" y="9000"/>
                  <a:pt x="15406" y="9032"/>
                  <a:pt x="15375" y="9032"/>
                </a:cubicBezTo>
                <a:cubicBezTo>
                  <a:pt x="15344" y="9032"/>
                  <a:pt x="15344" y="9063"/>
                  <a:pt x="15344" y="9094"/>
                </a:cubicBezTo>
                <a:cubicBezTo>
                  <a:pt x="15344" y="9219"/>
                  <a:pt x="15344" y="9219"/>
                  <a:pt x="15469" y="9219"/>
                </a:cubicBezTo>
                <a:cubicBezTo>
                  <a:pt x="15469" y="9219"/>
                  <a:pt x="15469" y="9219"/>
                  <a:pt x="15469" y="9219"/>
                </a:cubicBezTo>
                <a:cubicBezTo>
                  <a:pt x="15469" y="9250"/>
                  <a:pt x="15469" y="9282"/>
                  <a:pt x="15406" y="9282"/>
                </a:cubicBezTo>
                <a:cubicBezTo>
                  <a:pt x="15313" y="9250"/>
                  <a:pt x="15313" y="9313"/>
                  <a:pt x="15281" y="9407"/>
                </a:cubicBezTo>
                <a:cubicBezTo>
                  <a:pt x="15281" y="9469"/>
                  <a:pt x="15281" y="9532"/>
                  <a:pt x="15250" y="9563"/>
                </a:cubicBezTo>
                <a:cubicBezTo>
                  <a:pt x="15219" y="9438"/>
                  <a:pt x="15250" y="9282"/>
                  <a:pt x="15281" y="9157"/>
                </a:cubicBezTo>
                <a:cubicBezTo>
                  <a:pt x="15313" y="9094"/>
                  <a:pt x="15281" y="9032"/>
                  <a:pt x="15281" y="9000"/>
                </a:cubicBezTo>
                <a:cubicBezTo>
                  <a:pt x="15281" y="9000"/>
                  <a:pt x="15281" y="9000"/>
                  <a:pt x="15281" y="9000"/>
                </a:cubicBezTo>
                <a:cubicBezTo>
                  <a:pt x="15281" y="9000"/>
                  <a:pt x="15281" y="9000"/>
                  <a:pt x="15281" y="9000"/>
                </a:cubicBezTo>
                <a:cubicBezTo>
                  <a:pt x="15313" y="8907"/>
                  <a:pt x="15313" y="8813"/>
                  <a:pt x="15344" y="8750"/>
                </a:cubicBezTo>
                <a:close/>
                <a:moveTo>
                  <a:pt x="11625" y="3032"/>
                </a:moveTo>
                <a:cubicBezTo>
                  <a:pt x="11594" y="3063"/>
                  <a:pt x="11594" y="3094"/>
                  <a:pt x="11594" y="3094"/>
                </a:cubicBezTo>
                <a:cubicBezTo>
                  <a:pt x="11563" y="3157"/>
                  <a:pt x="11594" y="3188"/>
                  <a:pt x="11625" y="3219"/>
                </a:cubicBezTo>
                <a:cubicBezTo>
                  <a:pt x="11563" y="3282"/>
                  <a:pt x="11563" y="3344"/>
                  <a:pt x="11594" y="3375"/>
                </a:cubicBezTo>
                <a:cubicBezTo>
                  <a:pt x="11594" y="3469"/>
                  <a:pt x="11563" y="3563"/>
                  <a:pt x="11531" y="3625"/>
                </a:cubicBezTo>
                <a:cubicBezTo>
                  <a:pt x="11531" y="3625"/>
                  <a:pt x="11531" y="3625"/>
                  <a:pt x="11531" y="3625"/>
                </a:cubicBezTo>
                <a:cubicBezTo>
                  <a:pt x="11531" y="3625"/>
                  <a:pt x="11531" y="3625"/>
                  <a:pt x="11531" y="3625"/>
                </a:cubicBezTo>
                <a:cubicBezTo>
                  <a:pt x="11531" y="3594"/>
                  <a:pt x="11531" y="3594"/>
                  <a:pt x="11531" y="3563"/>
                </a:cubicBezTo>
                <a:cubicBezTo>
                  <a:pt x="11531" y="3375"/>
                  <a:pt x="11531" y="3219"/>
                  <a:pt x="11531" y="3032"/>
                </a:cubicBezTo>
                <a:cubicBezTo>
                  <a:pt x="11531" y="3032"/>
                  <a:pt x="11500" y="3032"/>
                  <a:pt x="11500" y="3063"/>
                </a:cubicBezTo>
                <a:cubicBezTo>
                  <a:pt x="11500" y="3032"/>
                  <a:pt x="11531" y="3032"/>
                  <a:pt x="11531" y="3032"/>
                </a:cubicBezTo>
                <a:cubicBezTo>
                  <a:pt x="11531" y="2938"/>
                  <a:pt x="11531" y="2875"/>
                  <a:pt x="11531" y="2782"/>
                </a:cubicBezTo>
                <a:cubicBezTo>
                  <a:pt x="11531" y="2750"/>
                  <a:pt x="11531" y="2750"/>
                  <a:pt x="11531" y="2719"/>
                </a:cubicBezTo>
                <a:cubicBezTo>
                  <a:pt x="11531" y="2719"/>
                  <a:pt x="11531" y="2719"/>
                  <a:pt x="11531" y="2719"/>
                </a:cubicBezTo>
                <a:cubicBezTo>
                  <a:pt x="11563" y="2719"/>
                  <a:pt x="11563" y="2719"/>
                  <a:pt x="11594" y="2719"/>
                </a:cubicBezTo>
                <a:cubicBezTo>
                  <a:pt x="11594" y="2719"/>
                  <a:pt x="11594" y="2719"/>
                  <a:pt x="11594" y="2719"/>
                </a:cubicBezTo>
                <a:cubicBezTo>
                  <a:pt x="11594" y="2782"/>
                  <a:pt x="11594" y="2875"/>
                  <a:pt x="11594" y="2969"/>
                </a:cubicBezTo>
                <a:cubicBezTo>
                  <a:pt x="11563" y="3000"/>
                  <a:pt x="11563" y="3032"/>
                  <a:pt x="11625" y="3032"/>
                </a:cubicBezTo>
                <a:close/>
                <a:moveTo>
                  <a:pt x="8469" y="5250"/>
                </a:moveTo>
                <a:cubicBezTo>
                  <a:pt x="8469" y="5282"/>
                  <a:pt x="8438" y="5282"/>
                  <a:pt x="8438" y="5313"/>
                </a:cubicBezTo>
                <a:cubicBezTo>
                  <a:pt x="8438" y="5282"/>
                  <a:pt x="8469" y="5282"/>
                  <a:pt x="8469" y="5250"/>
                </a:cubicBezTo>
                <a:close/>
                <a:moveTo>
                  <a:pt x="8375" y="5063"/>
                </a:moveTo>
                <a:cubicBezTo>
                  <a:pt x="8375" y="5063"/>
                  <a:pt x="8375" y="5063"/>
                  <a:pt x="8375" y="5063"/>
                </a:cubicBezTo>
                <a:cubicBezTo>
                  <a:pt x="8375" y="5063"/>
                  <a:pt x="8375" y="5063"/>
                  <a:pt x="8375" y="5063"/>
                </a:cubicBezTo>
                <a:cubicBezTo>
                  <a:pt x="8375" y="5063"/>
                  <a:pt x="8375" y="5063"/>
                  <a:pt x="8375" y="5063"/>
                </a:cubicBezTo>
                <a:close/>
                <a:moveTo>
                  <a:pt x="8500" y="7094"/>
                </a:moveTo>
                <a:cubicBezTo>
                  <a:pt x="8500" y="7094"/>
                  <a:pt x="8531" y="7094"/>
                  <a:pt x="8531" y="7094"/>
                </a:cubicBezTo>
                <a:cubicBezTo>
                  <a:pt x="8531" y="7094"/>
                  <a:pt x="8500" y="7094"/>
                  <a:pt x="8500" y="7094"/>
                </a:cubicBezTo>
                <a:close/>
                <a:moveTo>
                  <a:pt x="8531" y="7094"/>
                </a:moveTo>
                <a:cubicBezTo>
                  <a:pt x="8563" y="7125"/>
                  <a:pt x="8594" y="7094"/>
                  <a:pt x="8594" y="7063"/>
                </a:cubicBezTo>
                <a:cubicBezTo>
                  <a:pt x="8625" y="7063"/>
                  <a:pt x="8625" y="7063"/>
                  <a:pt x="8625" y="7063"/>
                </a:cubicBezTo>
                <a:cubicBezTo>
                  <a:pt x="8625" y="7063"/>
                  <a:pt x="8625" y="7063"/>
                  <a:pt x="8594" y="7063"/>
                </a:cubicBezTo>
                <a:cubicBezTo>
                  <a:pt x="8594" y="7094"/>
                  <a:pt x="8563" y="7125"/>
                  <a:pt x="8531" y="7094"/>
                </a:cubicBezTo>
                <a:close/>
                <a:moveTo>
                  <a:pt x="8875" y="11063"/>
                </a:moveTo>
                <a:cubicBezTo>
                  <a:pt x="8875" y="11094"/>
                  <a:pt x="8875" y="11094"/>
                  <a:pt x="8875" y="11094"/>
                </a:cubicBezTo>
                <a:cubicBezTo>
                  <a:pt x="8875" y="11094"/>
                  <a:pt x="8875" y="11094"/>
                  <a:pt x="8875" y="11094"/>
                </a:cubicBezTo>
                <a:cubicBezTo>
                  <a:pt x="8875" y="11094"/>
                  <a:pt x="8875" y="11094"/>
                  <a:pt x="8875" y="11063"/>
                </a:cubicBezTo>
                <a:close/>
                <a:moveTo>
                  <a:pt x="8875" y="11157"/>
                </a:moveTo>
                <a:cubicBezTo>
                  <a:pt x="8875" y="11157"/>
                  <a:pt x="8875" y="11125"/>
                  <a:pt x="8875" y="11125"/>
                </a:cubicBezTo>
                <a:cubicBezTo>
                  <a:pt x="8875" y="11125"/>
                  <a:pt x="8875" y="11125"/>
                  <a:pt x="8875" y="11125"/>
                </a:cubicBezTo>
                <a:cubicBezTo>
                  <a:pt x="8875" y="11125"/>
                  <a:pt x="8875" y="11157"/>
                  <a:pt x="8875" y="11157"/>
                </a:cubicBezTo>
                <a:cubicBezTo>
                  <a:pt x="8906" y="11157"/>
                  <a:pt x="8938" y="11157"/>
                  <a:pt x="8938" y="11157"/>
                </a:cubicBezTo>
                <a:cubicBezTo>
                  <a:pt x="9031" y="11125"/>
                  <a:pt x="9063" y="11125"/>
                  <a:pt x="9094" y="11125"/>
                </a:cubicBezTo>
                <a:cubicBezTo>
                  <a:pt x="9063" y="11125"/>
                  <a:pt x="9031" y="11125"/>
                  <a:pt x="8938" y="11157"/>
                </a:cubicBezTo>
                <a:cubicBezTo>
                  <a:pt x="8906" y="11188"/>
                  <a:pt x="8906" y="11219"/>
                  <a:pt x="8906" y="11250"/>
                </a:cubicBezTo>
                <a:cubicBezTo>
                  <a:pt x="8906" y="11282"/>
                  <a:pt x="8906" y="11313"/>
                  <a:pt x="8875" y="11313"/>
                </a:cubicBezTo>
                <a:cubicBezTo>
                  <a:pt x="8906" y="11344"/>
                  <a:pt x="8906" y="11344"/>
                  <a:pt x="8906" y="11344"/>
                </a:cubicBezTo>
                <a:cubicBezTo>
                  <a:pt x="8906" y="11344"/>
                  <a:pt x="8906" y="11344"/>
                  <a:pt x="8875" y="11313"/>
                </a:cubicBezTo>
                <a:cubicBezTo>
                  <a:pt x="8844" y="11344"/>
                  <a:pt x="8875" y="11375"/>
                  <a:pt x="8906" y="11375"/>
                </a:cubicBezTo>
                <a:cubicBezTo>
                  <a:pt x="8844" y="11469"/>
                  <a:pt x="8906" y="11594"/>
                  <a:pt x="8813" y="11688"/>
                </a:cubicBezTo>
                <a:cubicBezTo>
                  <a:pt x="8813" y="11563"/>
                  <a:pt x="8813" y="11438"/>
                  <a:pt x="8813" y="11313"/>
                </a:cubicBezTo>
                <a:cubicBezTo>
                  <a:pt x="8844" y="11250"/>
                  <a:pt x="8813" y="11188"/>
                  <a:pt x="8875" y="11157"/>
                </a:cubicBezTo>
                <a:close/>
                <a:moveTo>
                  <a:pt x="7688" y="8313"/>
                </a:moveTo>
                <a:cubicBezTo>
                  <a:pt x="7688" y="8282"/>
                  <a:pt x="7719" y="8282"/>
                  <a:pt x="7719" y="8250"/>
                </a:cubicBezTo>
                <a:cubicBezTo>
                  <a:pt x="7719" y="8282"/>
                  <a:pt x="7688" y="8282"/>
                  <a:pt x="7688" y="8313"/>
                </a:cubicBezTo>
                <a:close/>
                <a:moveTo>
                  <a:pt x="7625" y="8344"/>
                </a:moveTo>
                <a:cubicBezTo>
                  <a:pt x="7625" y="8344"/>
                  <a:pt x="7625" y="8344"/>
                  <a:pt x="7625" y="8344"/>
                </a:cubicBezTo>
                <a:cubicBezTo>
                  <a:pt x="7625" y="8344"/>
                  <a:pt x="7625" y="8344"/>
                  <a:pt x="7625" y="8344"/>
                </a:cubicBezTo>
                <a:close/>
                <a:moveTo>
                  <a:pt x="7594" y="8250"/>
                </a:moveTo>
                <a:cubicBezTo>
                  <a:pt x="7594" y="8219"/>
                  <a:pt x="7594" y="8219"/>
                  <a:pt x="7594" y="8188"/>
                </a:cubicBezTo>
                <a:cubicBezTo>
                  <a:pt x="7594" y="8188"/>
                  <a:pt x="7594" y="8188"/>
                  <a:pt x="7563" y="8188"/>
                </a:cubicBezTo>
                <a:cubicBezTo>
                  <a:pt x="7563" y="8157"/>
                  <a:pt x="7563" y="8157"/>
                  <a:pt x="7563" y="8157"/>
                </a:cubicBezTo>
                <a:cubicBezTo>
                  <a:pt x="7563" y="8157"/>
                  <a:pt x="7563" y="8157"/>
                  <a:pt x="7563" y="8188"/>
                </a:cubicBezTo>
                <a:cubicBezTo>
                  <a:pt x="7594" y="8188"/>
                  <a:pt x="7594" y="8188"/>
                  <a:pt x="7594" y="8188"/>
                </a:cubicBezTo>
                <a:cubicBezTo>
                  <a:pt x="7594" y="8219"/>
                  <a:pt x="7594" y="8219"/>
                  <a:pt x="7594" y="8250"/>
                </a:cubicBezTo>
                <a:close/>
                <a:moveTo>
                  <a:pt x="7563" y="7844"/>
                </a:moveTo>
                <a:cubicBezTo>
                  <a:pt x="7563" y="7907"/>
                  <a:pt x="7563" y="7938"/>
                  <a:pt x="7563" y="8000"/>
                </a:cubicBezTo>
                <a:cubicBezTo>
                  <a:pt x="7563" y="7938"/>
                  <a:pt x="7563" y="7907"/>
                  <a:pt x="7563" y="7844"/>
                </a:cubicBezTo>
                <a:cubicBezTo>
                  <a:pt x="7563" y="7813"/>
                  <a:pt x="7563" y="7813"/>
                  <a:pt x="7563" y="7782"/>
                </a:cubicBezTo>
                <a:cubicBezTo>
                  <a:pt x="7563" y="7813"/>
                  <a:pt x="7563" y="7813"/>
                  <a:pt x="7563" y="7844"/>
                </a:cubicBezTo>
                <a:close/>
                <a:moveTo>
                  <a:pt x="6531" y="7313"/>
                </a:moveTo>
                <a:cubicBezTo>
                  <a:pt x="6531" y="7313"/>
                  <a:pt x="6563" y="7313"/>
                  <a:pt x="6563" y="7344"/>
                </a:cubicBezTo>
                <a:cubicBezTo>
                  <a:pt x="6563" y="7313"/>
                  <a:pt x="6531" y="7313"/>
                  <a:pt x="6531" y="7313"/>
                </a:cubicBezTo>
                <a:cubicBezTo>
                  <a:pt x="6531" y="7313"/>
                  <a:pt x="6531" y="7313"/>
                  <a:pt x="6531" y="7313"/>
                </a:cubicBezTo>
                <a:close/>
                <a:moveTo>
                  <a:pt x="4719" y="7563"/>
                </a:moveTo>
                <a:cubicBezTo>
                  <a:pt x="4719" y="7594"/>
                  <a:pt x="4719" y="7657"/>
                  <a:pt x="4719" y="7719"/>
                </a:cubicBezTo>
                <a:cubicBezTo>
                  <a:pt x="4719" y="7719"/>
                  <a:pt x="4719" y="7719"/>
                  <a:pt x="4719" y="7719"/>
                </a:cubicBezTo>
                <a:cubicBezTo>
                  <a:pt x="4719" y="7719"/>
                  <a:pt x="4688" y="7719"/>
                  <a:pt x="4688" y="7719"/>
                </a:cubicBezTo>
                <a:cubicBezTo>
                  <a:pt x="4688" y="7719"/>
                  <a:pt x="4719" y="7719"/>
                  <a:pt x="4719" y="7719"/>
                </a:cubicBezTo>
                <a:cubicBezTo>
                  <a:pt x="4719" y="7657"/>
                  <a:pt x="4719" y="7594"/>
                  <a:pt x="4719" y="7563"/>
                </a:cubicBezTo>
                <a:cubicBezTo>
                  <a:pt x="4781" y="7532"/>
                  <a:pt x="4781" y="7500"/>
                  <a:pt x="4719" y="7469"/>
                </a:cubicBezTo>
                <a:cubicBezTo>
                  <a:pt x="4750" y="7375"/>
                  <a:pt x="4750" y="7313"/>
                  <a:pt x="4750" y="7219"/>
                </a:cubicBezTo>
                <a:cubicBezTo>
                  <a:pt x="4750" y="7313"/>
                  <a:pt x="4750" y="7375"/>
                  <a:pt x="4719" y="7469"/>
                </a:cubicBezTo>
                <a:cubicBezTo>
                  <a:pt x="4781" y="7500"/>
                  <a:pt x="4781" y="7532"/>
                  <a:pt x="4719" y="7563"/>
                </a:cubicBezTo>
                <a:close/>
                <a:moveTo>
                  <a:pt x="4719" y="7157"/>
                </a:moveTo>
                <a:cubicBezTo>
                  <a:pt x="4719" y="7125"/>
                  <a:pt x="4719" y="7094"/>
                  <a:pt x="4719" y="7063"/>
                </a:cubicBezTo>
                <a:cubicBezTo>
                  <a:pt x="4719" y="7032"/>
                  <a:pt x="4719" y="7032"/>
                  <a:pt x="4719" y="7000"/>
                </a:cubicBezTo>
                <a:cubicBezTo>
                  <a:pt x="4719" y="7032"/>
                  <a:pt x="4719" y="7032"/>
                  <a:pt x="4719" y="7063"/>
                </a:cubicBezTo>
                <a:cubicBezTo>
                  <a:pt x="4719" y="7094"/>
                  <a:pt x="4719" y="7125"/>
                  <a:pt x="4719" y="7157"/>
                </a:cubicBezTo>
                <a:cubicBezTo>
                  <a:pt x="4719" y="7188"/>
                  <a:pt x="4719" y="7188"/>
                  <a:pt x="4719" y="7219"/>
                </a:cubicBezTo>
                <a:cubicBezTo>
                  <a:pt x="4719" y="7188"/>
                  <a:pt x="4719" y="7188"/>
                  <a:pt x="4719" y="7157"/>
                </a:cubicBezTo>
                <a:close/>
                <a:moveTo>
                  <a:pt x="3688" y="7313"/>
                </a:moveTo>
                <a:cubicBezTo>
                  <a:pt x="3688" y="7313"/>
                  <a:pt x="3688" y="7313"/>
                  <a:pt x="3688" y="7313"/>
                </a:cubicBezTo>
                <a:cubicBezTo>
                  <a:pt x="3688" y="7313"/>
                  <a:pt x="3688" y="7313"/>
                  <a:pt x="3688" y="7313"/>
                </a:cubicBezTo>
                <a:cubicBezTo>
                  <a:pt x="3688" y="7313"/>
                  <a:pt x="3688" y="7313"/>
                  <a:pt x="3688" y="7313"/>
                </a:cubicBezTo>
                <a:close/>
                <a:moveTo>
                  <a:pt x="3438" y="10938"/>
                </a:moveTo>
                <a:cubicBezTo>
                  <a:pt x="3438" y="10907"/>
                  <a:pt x="3438" y="10907"/>
                  <a:pt x="3469" y="10875"/>
                </a:cubicBezTo>
                <a:cubicBezTo>
                  <a:pt x="3438" y="10907"/>
                  <a:pt x="3438" y="10907"/>
                  <a:pt x="3438" y="10938"/>
                </a:cubicBezTo>
                <a:cubicBezTo>
                  <a:pt x="3406" y="10938"/>
                  <a:pt x="3406" y="10969"/>
                  <a:pt x="3375" y="10969"/>
                </a:cubicBezTo>
                <a:cubicBezTo>
                  <a:pt x="3406" y="10969"/>
                  <a:pt x="3406" y="10938"/>
                  <a:pt x="3438" y="10938"/>
                </a:cubicBezTo>
                <a:close/>
                <a:moveTo>
                  <a:pt x="4813" y="11875"/>
                </a:moveTo>
                <a:cubicBezTo>
                  <a:pt x="4844" y="11875"/>
                  <a:pt x="4844" y="11844"/>
                  <a:pt x="4844" y="11844"/>
                </a:cubicBezTo>
                <a:cubicBezTo>
                  <a:pt x="4875" y="11844"/>
                  <a:pt x="4906" y="11813"/>
                  <a:pt x="4906" y="11813"/>
                </a:cubicBezTo>
                <a:cubicBezTo>
                  <a:pt x="4906" y="11813"/>
                  <a:pt x="4875" y="11844"/>
                  <a:pt x="4844" y="11844"/>
                </a:cubicBezTo>
                <a:cubicBezTo>
                  <a:pt x="4844" y="11844"/>
                  <a:pt x="4844" y="11875"/>
                  <a:pt x="4813" y="11875"/>
                </a:cubicBezTo>
                <a:cubicBezTo>
                  <a:pt x="4813" y="11875"/>
                  <a:pt x="4813" y="11875"/>
                  <a:pt x="4813" y="11875"/>
                </a:cubicBezTo>
                <a:close/>
                <a:moveTo>
                  <a:pt x="5188" y="12469"/>
                </a:moveTo>
                <a:cubicBezTo>
                  <a:pt x="5250" y="12375"/>
                  <a:pt x="5250" y="12500"/>
                  <a:pt x="5313" y="12500"/>
                </a:cubicBezTo>
                <a:cubicBezTo>
                  <a:pt x="5250" y="12532"/>
                  <a:pt x="5219" y="12625"/>
                  <a:pt x="5156" y="12563"/>
                </a:cubicBezTo>
                <a:cubicBezTo>
                  <a:pt x="5125" y="12532"/>
                  <a:pt x="5156" y="12469"/>
                  <a:pt x="5188" y="12469"/>
                </a:cubicBezTo>
                <a:close/>
                <a:moveTo>
                  <a:pt x="4094" y="12969"/>
                </a:moveTo>
                <a:cubicBezTo>
                  <a:pt x="4094" y="12969"/>
                  <a:pt x="4094" y="12969"/>
                  <a:pt x="4094" y="12969"/>
                </a:cubicBezTo>
                <a:cubicBezTo>
                  <a:pt x="4125" y="12969"/>
                  <a:pt x="4125" y="12938"/>
                  <a:pt x="4125" y="12938"/>
                </a:cubicBezTo>
                <a:cubicBezTo>
                  <a:pt x="4125" y="12938"/>
                  <a:pt x="4125" y="12969"/>
                  <a:pt x="4094" y="12969"/>
                </a:cubicBezTo>
                <a:close/>
                <a:moveTo>
                  <a:pt x="3750" y="12813"/>
                </a:moveTo>
                <a:cubicBezTo>
                  <a:pt x="3781" y="12813"/>
                  <a:pt x="3781" y="12782"/>
                  <a:pt x="3813" y="12750"/>
                </a:cubicBezTo>
                <a:cubicBezTo>
                  <a:pt x="3781" y="12750"/>
                  <a:pt x="3781" y="12750"/>
                  <a:pt x="3750" y="12750"/>
                </a:cubicBezTo>
                <a:cubicBezTo>
                  <a:pt x="3781" y="12750"/>
                  <a:pt x="3781" y="12750"/>
                  <a:pt x="3813" y="12750"/>
                </a:cubicBezTo>
                <a:cubicBezTo>
                  <a:pt x="3781" y="12782"/>
                  <a:pt x="3781" y="12813"/>
                  <a:pt x="3750" y="12813"/>
                </a:cubicBezTo>
                <a:close/>
                <a:moveTo>
                  <a:pt x="3656" y="12750"/>
                </a:moveTo>
                <a:cubicBezTo>
                  <a:pt x="3656" y="12750"/>
                  <a:pt x="3656" y="12750"/>
                  <a:pt x="3656" y="12750"/>
                </a:cubicBezTo>
                <a:cubicBezTo>
                  <a:pt x="3656" y="12750"/>
                  <a:pt x="3656" y="12750"/>
                  <a:pt x="3656" y="12750"/>
                </a:cubicBezTo>
                <a:close/>
                <a:moveTo>
                  <a:pt x="2781" y="17250"/>
                </a:moveTo>
                <a:cubicBezTo>
                  <a:pt x="2781" y="17282"/>
                  <a:pt x="2813" y="17250"/>
                  <a:pt x="2813" y="17250"/>
                </a:cubicBezTo>
                <a:cubicBezTo>
                  <a:pt x="2813" y="17250"/>
                  <a:pt x="2781" y="17282"/>
                  <a:pt x="2781" y="17250"/>
                </a:cubicBezTo>
                <a:close/>
                <a:moveTo>
                  <a:pt x="7438" y="17782"/>
                </a:moveTo>
                <a:cubicBezTo>
                  <a:pt x="7438" y="17782"/>
                  <a:pt x="7438" y="17782"/>
                  <a:pt x="7406" y="17782"/>
                </a:cubicBezTo>
                <a:cubicBezTo>
                  <a:pt x="7438" y="17782"/>
                  <a:pt x="7438" y="17782"/>
                  <a:pt x="7438" y="17782"/>
                </a:cubicBezTo>
                <a:cubicBezTo>
                  <a:pt x="7531" y="17782"/>
                  <a:pt x="7625" y="17813"/>
                  <a:pt x="7688" y="17813"/>
                </a:cubicBezTo>
                <a:cubicBezTo>
                  <a:pt x="7625" y="17813"/>
                  <a:pt x="7531" y="17782"/>
                  <a:pt x="7438" y="17782"/>
                </a:cubicBezTo>
                <a:close/>
                <a:moveTo>
                  <a:pt x="8656" y="18594"/>
                </a:moveTo>
                <a:cubicBezTo>
                  <a:pt x="8656" y="18594"/>
                  <a:pt x="8656" y="18594"/>
                  <a:pt x="8656" y="18594"/>
                </a:cubicBezTo>
                <a:cubicBezTo>
                  <a:pt x="8656" y="18594"/>
                  <a:pt x="8656" y="18594"/>
                  <a:pt x="8656" y="18594"/>
                </a:cubicBezTo>
                <a:cubicBezTo>
                  <a:pt x="8656" y="18594"/>
                  <a:pt x="8656" y="18625"/>
                  <a:pt x="8625" y="18657"/>
                </a:cubicBezTo>
                <a:cubicBezTo>
                  <a:pt x="8656" y="18625"/>
                  <a:pt x="8656" y="18594"/>
                  <a:pt x="8656" y="18594"/>
                </a:cubicBezTo>
                <a:close/>
                <a:moveTo>
                  <a:pt x="8688" y="18032"/>
                </a:moveTo>
                <a:cubicBezTo>
                  <a:pt x="8688" y="18032"/>
                  <a:pt x="8656" y="18032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656" y="18094"/>
                  <a:pt x="8656" y="18094"/>
                  <a:pt x="8656" y="18094"/>
                </a:cubicBezTo>
                <a:cubicBezTo>
                  <a:pt x="8594" y="18094"/>
                  <a:pt x="8531" y="18063"/>
                  <a:pt x="8563" y="18157"/>
                </a:cubicBezTo>
                <a:cubicBezTo>
                  <a:pt x="8563" y="18157"/>
                  <a:pt x="8563" y="18188"/>
                  <a:pt x="8531" y="18188"/>
                </a:cubicBezTo>
                <a:cubicBezTo>
                  <a:pt x="8500" y="18188"/>
                  <a:pt x="8469" y="18219"/>
                  <a:pt x="8500" y="18282"/>
                </a:cubicBezTo>
                <a:cubicBezTo>
                  <a:pt x="8500" y="18344"/>
                  <a:pt x="8469" y="18407"/>
                  <a:pt x="8375" y="18438"/>
                </a:cubicBezTo>
                <a:cubicBezTo>
                  <a:pt x="8375" y="18438"/>
                  <a:pt x="8344" y="18438"/>
                  <a:pt x="8344" y="18438"/>
                </a:cubicBezTo>
                <a:cubicBezTo>
                  <a:pt x="8469" y="18532"/>
                  <a:pt x="8469" y="18532"/>
                  <a:pt x="8344" y="18625"/>
                </a:cubicBezTo>
                <a:cubicBezTo>
                  <a:pt x="8313" y="18625"/>
                  <a:pt x="8313" y="18625"/>
                  <a:pt x="8281" y="18657"/>
                </a:cubicBezTo>
                <a:cubicBezTo>
                  <a:pt x="8250" y="18688"/>
                  <a:pt x="8250" y="18657"/>
                  <a:pt x="8219" y="18625"/>
                </a:cubicBezTo>
                <a:cubicBezTo>
                  <a:pt x="8281" y="18438"/>
                  <a:pt x="8313" y="18219"/>
                  <a:pt x="8344" y="18032"/>
                </a:cubicBezTo>
                <a:cubicBezTo>
                  <a:pt x="8344" y="18000"/>
                  <a:pt x="8313" y="17969"/>
                  <a:pt x="8344" y="17969"/>
                </a:cubicBezTo>
                <a:cubicBezTo>
                  <a:pt x="8313" y="17969"/>
                  <a:pt x="8344" y="18000"/>
                  <a:pt x="8344" y="18032"/>
                </a:cubicBezTo>
                <a:cubicBezTo>
                  <a:pt x="8375" y="18000"/>
                  <a:pt x="8375" y="17969"/>
                  <a:pt x="8344" y="17938"/>
                </a:cubicBezTo>
                <a:cubicBezTo>
                  <a:pt x="8344" y="17907"/>
                  <a:pt x="8344" y="17875"/>
                  <a:pt x="8344" y="17844"/>
                </a:cubicBezTo>
                <a:cubicBezTo>
                  <a:pt x="8344" y="17844"/>
                  <a:pt x="8344" y="17844"/>
                  <a:pt x="8344" y="17844"/>
                </a:cubicBezTo>
                <a:cubicBezTo>
                  <a:pt x="8344" y="17688"/>
                  <a:pt x="8281" y="17563"/>
                  <a:pt x="8281" y="17438"/>
                </a:cubicBezTo>
                <a:cubicBezTo>
                  <a:pt x="8281" y="17438"/>
                  <a:pt x="8281" y="17438"/>
                  <a:pt x="8281" y="17438"/>
                </a:cubicBezTo>
                <a:cubicBezTo>
                  <a:pt x="8313" y="17375"/>
                  <a:pt x="8344" y="17313"/>
                  <a:pt x="8406" y="17250"/>
                </a:cubicBezTo>
                <a:cubicBezTo>
                  <a:pt x="8438" y="17219"/>
                  <a:pt x="8500" y="17188"/>
                  <a:pt x="8531" y="17157"/>
                </a:cubicBezTo>
                <a:cubicBezTo>
                  <a:pt x="8531" y="17157"/>
                  <a:pt x="8531" y="17157"/>
                  <a:pt x="8531" y="17157"/>
                </a:cubicBezTo>
                <a:cubicBezTo>
                  <a:pt x="8531" y="17125"/>
                  <a:pt x="8563" y="17125"/>
                  <a:pt x="8563" y="17125"/>
                </a:cubicBezTo>
                <a:cubicBezTo>
                  <a:pt x="8688" y="17000"/>
                  <a:pt x="8813" y="16875"/>
                  <a:pt x="8938" y="16782"/>
                </a:cubicBezTo>
                <a:cubicBezTo>
                  <a:pt x="9031" y="16750"/>
                  <a:pt x="9031" y="16625"/>
                  <a:pt x="9156" y="16625"/>
                </a:cubicBezTo>
                <a:cubicBezTo>
                  <a:pt x="9156" y="16688"/>
                  <a:pt x="9094" y="16750"/>
                  <a:pt x="9094" y="16813"/>
                </a:cubicBezTo>
                <a:cubicBezTo>
                  <a:pt x="9031" y="16844"/>
                  <a:pt x="9000" y="16875"/>
                  <a:pt x="9031" y="16907"/>
                </a:cubicBezTo>
                <a:cubicBezTo>
                  <a:pt x="9000" y="16938"/>
                  <a:pt x="8969" y="16969"/>
                  <a:pt x="8969" y="17000"/>
                </a:cubicBezTo>
                <a:cubicBezTo>
                  <a:pt x="8938" y="17032"/>
                  <a:pt x="8906" y="17063"/>
                  <a:pt x="8906" y="17094"/>
                </a:cubicBezTo>
                <a:cubicBezTo>
                  <a:pt x="8844" y="17094"/>
                  <a:pt x="8875" y="17157"/>
                  <a:pt x="8844" y="17188"/>
                </a:cubicBezTo>
                <a:cubicBezTo>
                  <a:pt x="8813" y="17188"/>
                  <a:pt x="8781" y="17125"/>
                  <a:pt x="8750" y="17188"/>
                </a:cubicBezTo>
                <a:cubicBezTo>
                  <a:pt x="8750" y="17188"/>
                  <a:pt x="8656" y="17219"/>
                  <a:pt x="8750" y="17250"/>
                </a:cubicBezTo>
                <a:cubicBezTo>
                  <a:pt x="8750" y="17282"/>
                  <a:pt x="8750" y="17282"/>
                  <a:pt x="8719" y="17313"/>
                </a:cubicBezTo>
                <a:cubicBezTo>
                  <a:pt x="8688" y="17344"/>
                  <a:pt x="8688" y="17438"/>
                  <a:pt x="8625" y="17438"/>
                </a:cubicBezTo>
                <a:cubicBezTo>
                  <a:pt x="8594" y="17469"/>
                  <a:pt x="8625" y="17469"/>
                  <a:pt x="8625" y="17469"/>
                </a:cubicBezTo>
                <a:cubicBezTo>
                  <a:pt x="8688" y="17532"/>
                  <a:pt x="8625" y="17563"/>
                  <a:pt x="8594" y="17625"/>
                </a:cubicBezTo>
                <a:cubicBezTo>
                  <a:pt x="8563" y="17657"/>
                  <a:pt x="8469" y="17657"/>
                  <a:pt x="8500" y="17750"/>
                </a:cubicBezTo>
                <a:cubicBezTo>
                  <a:pt x="8531" y="17813"/>
                  <a:pt x="8500" y="17875"/>
                  <a:pt x="8438" y="17907"/>
                </a:cubicBezTo>
                <a:cubicBezTo>
                  <a:pt x="8406" y="17938"/>
                  <a:pt x="8375" y="18000"/>
                  <a:pt x="8438" y="18032"/>
                </a:cubicBezTo>
                <a:cubicBezTo>
                  <a:pt x="8469" y="18032"/>
                  <a:pt x="8531" y="18063"/>
                  <a:pt x="8563" y="18032"/>
                </a:cubicBezTo>
                <a:cubicBezTo>
                  <a:pt x="8594" y="18032"/>
                  <a:pt x="8625" y="18032"/>
                  <a:pt x="8656" y="18000"/>
                </a:cubicBezTo>
                <a:cubicBezTo>
                  <a:pt x="8688" y="17969"/>
                  <a:pt x="8688" y="17969"/>
                  <a:pt x="8719" y="17969"/>
                </a:cubicBezTo>
                <a:cubicBezTo>
                  <a:pt x="8688" y="17969"/>
                  <a:pt x="8688" y="17969"/>
                  <a:pt x="8656" y="18000"/>
                </a:cubicBezTo>
                <a:cubicBezTo>
                  <a:pt x="8656" y="18000"/>
                  <a:pt x="8688" y="18000"/>
                  <a:pt x="8688" y="18000"/>
                </a:cubicBezTo>
                <a:cubicBezTo>
                  <a:pt x="8688" y="18032"/>
                  <a:pt x="8688" y="18032"/>
                  <a:pt x="8688" y="18032"/>
                </a:cubicBezTo>
                <a:close/>
                <a:moveTo>
                  <a:pt x="8313" y="17875"/>
                </a:moveTo>
                <a:cubicBezTo>
                  <a:pt x="8313" y="17875"/>
                  <a:pt x="8313" y="17875"/>
                  <a:pt x="8313" y="17875"/>
                </a:cubicBezTo>
                <a:cubicBezTo>
                  <a:pt x="8313" y="17875"/>
                  <a:pt x="8313" y="17875"/>
                  <a:pt x="8313" y="17875"/>
                </a:cubicBezTo>
                <a:close/>
                <a:moveTo>
                  <a:pt x="9875" y="16438"/>
                </a:moveTo>
                <a:cubicBezTo>
                  <a:pt x="9875" y="16438"/>
                  <a:pt x="9875" y="16438"/>
                  <a:pt x="9844" y="16438"/>
                </a:cubicBezTo>
                <a:cubicBezTo>
                  <a:pt x="9875" y="16438"/>
                  <a:pt x="9875" y="16438"/>
                  <a:pt x="9875" y="16438"/>
                </a:cubicBezTo>
                <a:close/>
                <a:moveTo>
                  <a:pt x="9906" y="16438"/>
                </a:moveTo>
                <a:cubicBezTo>
                  <a:pt x="9906" y="16438"/>
                  <a:pt x="9906" y="16438"/>
                  <a:pt x="9906" y="16438"/>
                </a:cubicBezTo>
                <a:cubicBezTo>
                  <a:pt x="9906" y="16407"/>
                  <a:pt x="9906" y="16375"/>
                  <a:pt x="9906" y="16313"/>
                </a:cubicBezTo>
                <a:cubicBezTo>
                  <a:pt x="9938" y="16344"/>
                  <a:pt x="10000" y="16313"/>
                  <a:pt x="10000" y="16375"/>
                </a:cubicBezTo>
                <a:cubicBezTo>
                  <a:pt x="10000" y="16438"/>
                  <a:pt x="10031" y="16532"/>
                  <a:pt x="9906" y="16563"/>
                </a:cubicBezTo>
                <a:cubicBezTo>
                  <a:pt x="9938" y="16594"/>
                  <a:pt x="9938" y="16625"/>
                  <a:pt x="9938" y="16657"/>
                </a:cubicBezTo>
                <a:cubicBezTo>
                  <a:pt x="9938" y="16625"/>
                  <a:pt x="9938" y="16594"/>
                  <a:pt x="9906" y="16563"/>
                </a:cubicBezTo>
                <a:cubicBezTo>
                  <a:pt x="9906" y="16532"/>
                  <a:pt x="9938" y="16500"/>
                  <a:pt x="9906" y="16469"/>
                </a:cubicBezTo>
                <a:cubicBezTo>
                  <a:pt x="9906" y="16469"/>
                  <a:pt x="9906" y="16438"/>
                  <a:pt x="9906" y="16438"/>
                </a:cubicBezTo>
                <a:close/>
                <a:moveTo>
                  <a:pt x="9219" y="16844"/>
                </a:moveTo>
                <a:cubicBezTo>
                  <a:pt x="9219" y="16844"/>
                  <a:pt x="9219" y="16844"/>
                  <a:pt x="9219" y="16844"/>
                </a:cubicBezTo>
                <a:cubicBezTo>
                  <a:pt x="9219" y="16844"/>
                  <a:pt x="9219" y="16844"/>
                  <a:pt x="9219" y="16844"/>
                </a:cubicBezTo>
                <a:close/>
                <a:moveTo>
                  <a:pt x="11625" y="14969"/>
                </a:moveTo>
                <a:cubicBezTo>
                  <a:pt x="11594" y="14969"/>
                  <a:pt x="11594" y="15000"/>
                  <a:pt x="11594" y="15000"/>
                </a:cubicBezTo>
                <a:cubicBezTo>
                  <a:pt x="11594" y="15000"/>
                  <a:pt x="11594" y="14969"/>
                  <a:pt x="11625" y="14969"/>
                </a:cubicBezTo>
                <a:close/>
                <a:moveTo>
                  <a:pt x="12406" y="15594"/>
                </a:moveTo>
                <a:cubicBezTo>
                  <a:pt x="12406" y="15594"/>
                  <a:pt x="12406" y="15594"/>
                  <a:pt x="12406" y="15594"/>
                </a:cubicBezTo>
                <a:cubicBezTo>
                  <a:pt x="12406" y="15594"/>
                  <a:pt x="12406" y="15594"/>
                  <a:pt x="12406" y="15594"/>
                </a:cubicBezTo>
                <a:cubicBezTo>
                  <a:pt x="12406" y="15594"/>
                  <a:pt x="12406" y="15594"/>
                  <a:pt x="12406" y="15594"/>
                </a:cubicBezTo>
                <a:close/>
                <a:moveTo>
                  <a:pt x="12125" y="15469"/>
                </a:moveTo>
                <a:cubicBezTo>
                  <a:pt x="12156" y="15469"/>
                  <a:pt x="12156" y="15469"/>
                  <a:pt x="12188" y="15469"/>
                </a:cubicBezTo>
                <a:cubicBezTo>
                  <a:pt x="12188" y="15469"/>
                  <a:pt x="12219" y="15469"/>
                  <a:pt x="12219" y="15469"/>
                </a:cubicBezTo>
                <a:cubicBezTo>
                  <a:pt x="12219" y="15469"/>
                  <a:pt x="12188" y="15469"/>
                  <a:pt x="12188" y="15469"/>
                </a:cubicBezTo>
                <a:cubicBezTo>
                  <a:pt x="12156" y="15469"/>
                  <a:pt x="12156" y="15469"/>
                  <a:pt x="12125" y="15469"/>
                </a:cubicBezTo>
                <a:close/>
                <a:moveTo>
                  <a:pt x="12406" y="16500"/>
                </a:moveTo>
                <a:cubicBezTo>
                  <a:pt x="12406" y="16500"/>
                  <a:pt x="12406" y="16500"/>
                  <a:pt x="12406" y="16500"/>
                </a:cubicBezTo>
                <a:cubicBezTo>
                  <a:pt x="12406" y="16500"/>
                  <a:pt x="12406" y="16500"/>
                  <a:pt x="12406" y="16500"/>
                </a:cubicBezTo>
                <a:close/>
                <a:moveTo>
                  <a:pt x="12438" y="16500"/>
                </a:moveTo>
                <a:cubicBezTo>
                  <a:pt x="12438" y="16500"/>
                  <a:pt x="12438" y="16500"/>
                  <a:pt x="12438" y="16500"/>
                </a:cubicBezTo>
                <a:cubicBezTo>
                  <a:pt x="12438" y="16500"/>
                  <a:pt x="12438" y="16500"/>
                  <a:pt x="12438" y="16500"/>
                </a:cubicBezTo>
                <a:close/>
                <a:moveTo>
                  <a:pt x="12719" y="16907"/>
                </a:moveTo>
                <a:cubicBezTo>
                  <a:pt x="12719" y="16907"/>
                  <a:pt x="12719" y="16907"/>
                  <a:pt x="12688" y="16907"/>
                </a:cubicBezTo>
                <a:cubicBezTo>
                  <a:pt x="12719" y="16907"/>
                  <a:pt x="12719" y="16907"/>
                  <a:pt x="12719" y="16907"/>
                </a:cubicBezTo>
                <a:close/>
                <a:moveTo>
                  <a:pt x="12188" y="15782"/>
                </a:moveTo>
                <a:cubicBezTo>
                  <a:pt x="12188" y="15750"/>
                  <a:pt x="12219" y="15719"/>
                  <a:pt x="12281" y="15688"/>
                </a:cubicBezTo>
                <a:cubicBezTo>
                  <a:pt x="12219" y="15719"/>
                  <a:pt x="12188" y="15750"/>
                  <a:pt x="12188" y="15782"/>
                </a:cubicBezTo>
                <a:close/>
                <a:moveTo>
                  <a:pt x="11656" y="15782"/>
                </a:moveTo>
                <a:cubicBezTo>
                  <a:pt x="11656" y="15782"/>
                  <a:pt x="11656" y="15782"/>
                  <a:pt x="11656" y="15782"/>
                </a:cubicBezTo>
                <a:cubicBezTo>
                  <a:pt x="11656" y="15782"/>
                  <a:pt x="11656" y="15813"/>
                  <a:pt x="11625" y="15813"/>
                </a:cubicBezTo>
                <a:cubicBezTo>
                  <a:pt x="11625" y="15782"/>
                  <a:pt x="11625" y="15782"/>
                  <a:pt x="11656" y="15782"/>
                </a:cubicBezTo>
                <a:close/>
                <a:moveTo>
                  <a:pt x="12719" y="17407"/>
                </a:moveTo>
                <a:cubicBezTo>
                  <a:pt x="12719" y="17407"/>
                  <a:pt x="12719" y="17407"/>
                  <a:pt x="12719" y="17407"/>
                </a:cubicBezTo>
                <a:cubicBezTo>
                  <a:pt x="12719" y="17407"/>
                  <a:pt x="12719" y="17407"/>
                  <a:pt x="12719" y="17375"/>
                </a:cubicBezTo>
                <a:cubicBezTo>
                  <a:pt x="12719" y="17407"/>
                  <a:pt x="12719" y="17407"/>
                  <a:pt x="12719" y="17407"/>
                </a:cubicBezTo>
                <a:close/>
                <a:moveTo>
                  <a:pt x="12781" y="16907"/>
                </a:moveTo>
                <a:cubicBezTo>
                  <a:pt x="12781" y="16907"/>
                  <a:pt x="12781" y="16907"/>
                  <a:pt x="12750" y="16907"/>
                </a:cubicBezTo>
                <a:cubicBezTo>
                  <a:pt x="12781" y="16907"/>
                  <a:pt x="12781" y="16907"/>
                  <a:pt x="12781" y="16907"/>
                </a:cubicBezTo>
                <a:close/>
                <a:moveTo>
                  <a:pt x="14094" y="17063"/>
                </a:moveTo>
                <a:cubicBezTo>
                  <a:pt x="14094" y="17063"/>
                  <a:pt x="14125" y="17032"/>
                  <a:pt x="14125" y="17032"/>
                </a:cubicBezTo>
                <a:cubicBezTo>
                  <a:pt x="14125" y="17032"/>
                  <a:pt x="14094" y="17063"/>
                  <a:pt x="14094" y="17063"/>
                </a:cubicBezTo>
                <a:close/>
                <a:moveTo>
                  <a:pt x="14188" y="16750"/>
                </a:moveTo>
                <a:cubicBezTo>
                  <a:pt x="14156" y="16750"/>
                  <a:pt x="14125" y="16750"/>
                  <a:pt x="14125" y="16782"/>
                </a:cubicBezTo>
                <a:cubicBezTo>
                  <a:pt x="14125" y="16782"/>
                  <a:pt x="14125" y="16813"/>
                  <a:pt x="14125" y="16813"/>
                </a:cubicBezTo>
                <a:cubicBezTo>
                  <a:pt x="14125" y="16813"/>
                  <a:pt x="14125" y="16782"/>
                  <a:pt x="14125" y="16782"/>
                </a:cubicBezTo>
                <a:cubicBezTo>
                  <a:pt x="14125" y="16750"/>
                  <a:pt x="14156" y="16750"/>
                  <a:pt x="14188" y="16750"/>
                </a:cubicBezTo>
                <a:cubicBezTo>
                  <a:pt x="14156" y="16688"/>
                  <a:pt x="14125" y="16657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063" y="16563"/>
                  <a:pt x="14063" y="16532"/>
                  <a:pt x="14063" y="16500"/>
                </a:cubicBezTo>
                <a:cubicBezTo>
                  <a:pt x="14063" y="16532"/>
                  <a:pt x="14063" y="16563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094" y="16594"/>
                  <a:pt x="14094" y="16594"/>
                  <a:pt x="14094" y="16594"/>
                </a:cubicBezTo>
                <a:cubicBezTo>
                  <a:pt x="14125" y="16657"/>
                  <a:pt x="14156" y="16688"/>
                  <a:pt x="14188" y="16750"/>
                </a:cubicBezTo>
                <a:cubicBezTo>
                  <a:pt x="14219" y="16782"/>
                  <a:pt x="14250" y="16782"/>
                  <a:pt x="14281" y="16782"/>
                </a:cubicBezTo>
                <a:cubicBezTo>
                  <a:pt x="14250" y="16782"/>
                  <a:pt x="14219" y="16782"/>
                  <a:pt x="14188" y="16750"/>
                </a:cubicBezTo>
                <a:close/>
                <a:moveTo>
                  <a:pt x="14500" y="16625"/>
                </a:moveTo>
                <a:cubicBezTo>
                  <a:pt x="14500" y="16625"/>
                  <a:pt x="14500" y="16625"/>
                  <a:pt x="14500" y="16625"/>
                </a:cubicBezTo>
                <a:cubicBezTo>
                  <a:pt x="14500" y="16625"/>
                  <a:pt x="14469" y="16625"/>
                  <a:pt x="14469" y="16625"/>
                </a:cubicBezTo>
                <a:cubicBezTo>
                  <a:pt x="14469" y="16625"/>
                  <a:pt x="14500" y="16625"/>
                  <a:pt x="14500" y="16625"/>
                </a:cubicBezTo>
                <a:close/>
                <a:moveTo>
                  <a:pt x="14563" y="16500"/>
                </a:moveTo>
                <a:cubicBezTo>
                  <a:pt x="14563" y="16532"/>
                  <a:pt x="14563" y="16532"/>
                  <a:pt x="14563" y="16532"/>
                </a:cubicBezTo>
                <a:cubicBezTo>
                  <a:pt x="14563" y="16532"/>
                  <a:pt x="14563" y="16532"/>
                  <a:pt x="14563" y="16500"/>
                </a:cubicBezTo>
                <a:close/>
                <a:moveTo>
                  <a:pt x="14563" y="16282"/>
                </a:moveTo>
                <a:cubicBezTo>
                  <a:pt x="14563" y="16313"/>
                  <a:pt x="14563" y="16344"/>
                  <a:pt x="14594" y="16407"/>
                </a:cubicBezTo>
                <a:cubicBezTo>
                  <a:pt x="14563" y="16438"/>
                  <a:pt x="14563" y="16469"/>
                  <a:pt x="14563" y="16469"/>
                </a:cubicBezTo>
                <a:cubicBezTo>
                  <a:pt x="14563" y="16469"/>
                  <a:pt x="14563" y="16438"/>
                  <a:pt x="14594" y="16407"/>
                </a:cubicBezTo>
                <a:cubicBezTo>
                  <a:pt x="14563" y="16344"/>
                  <a:pt x="14563" y="16313"/>
                  <a:pt x="14563" y="16282"/>
                </a:cubicBezTo>
                <a:close/>
                <a:moveTo>
                  <a:pt x="15125" y="16594"/>
                </a:moveTo>
                <a:cubicBezTo>
                  <a:pt x="15156" y="16594"/>
                  <a:pt x="15188" y="16594"/>
                  <a:pt x="15219" y="16594"/>
                </a:cubicBezTo>
                <a:cubicBezTo>
                  <a:pt x="15188" y="16594"/>
                  <a:pt x="15156" y="16594"/>
                  <a:pt x="15125" y="16594"/>
                </a:cubicBezTo>
                <a:cubicBezTo>
                  <a:pt x="15125" y="16625"/>
                  <a:pt x="15125" y="16688"/>
                  <a:pt x="15094" y="16719"/>
                </a:cubicBezTo>
                <a:cubicBezTo>
                  <a:pt x="15125" y="16688"/>
                  <a:pt x="15125" y="16625"/>
                  <a:pt x="15125" y="16594"/>
                </a:cubicBezTo>
                <a:close/>
                <a:moveTo>
                  <a:pt x="15438" y="18000"/>
                </a:moveTo>
                <a:cubicBezTo>
                  <a:pt x="15469" y="17907"/>
                  <a:pt x="15438" y="17813"/>
                  <a:pt x="15469" y="17688"/>
                </a:cubicBezTo>
                <a:cubicBezTo>
                  <a:pt x="15469" y="17688"/>
                  <a:pt x="15469" y="17688"/>
                  <a:pt x="15469" y="17688"/>
                </a:cubicBezTo>
                <a:cubicBezTo>
                  <a:pt x="15469" y="17688"/>
                  <a:pt x="15500" y="17688"/>
                  <a:pt x="15500" y="17688"/>
                </a:cubicBezTo>
                <a:cubicBezTo>
                  <a:pt x="15531" y="17719"/>
                  <a:pt x="15531" y="17750"/>
                  <a:pt x="15563" y="17750"/>
                </a:cubicBezTo>
                <a:cubicBezTo>
                  <a:pt x="15594" y="17782"/>
                  <a:pt x="15656" y="17782"/>
                  <a:pt x="15656" y="17813"/>
                </a:cubicBezTo>
                <a:cubicBezTo>
                  <a:pt x="15688" y="17844"/>
                  <a:pt x="15750" y="17813"/>
                  <a:pt x="15719" y="17875"/>
                </a:cubicBezTo>
                <a:cubicBezTo>
                  <a:pt x="15719" y="17938"/>
                  <a:pt x="15688" y="17907"/>
                  <a:pt x="15656" y="17907"/>
                </a:cubicBezTo>
                <a:cubicBezTo>
                  <a:pt x="15563" y="17938"/>
                  <a:pt x="15563" y="18000"/>
                  <a:pt x="15500" y="18032"/>
                </a:cubicBezTo>
                <a:cubicBezTo>
                  <a:pt x="15500" y="18063"/>
                  <a:pt x="15469" y="18094"/>
                  <a:pt x="15469" y="18063"/>
                </a:cubicBezTo>
                <a:cubicBezTo>
                  <a:pt x="15438" y="18063"/>
                  <a:pt x="15438" y="18032"/>
                  <a:pt x="15438" y="18000"/>
                </a:cubicBezTo>
                <a:close/>
                <a:moveTo>
                  <a:pt x="16688" y="16594"/>
                </a:moveTo>
                <a:cubicBezTo>
                  <a:pt x="16750" y="16625"/>
                  <a:pt x="16781" y="16657"/>
                  <a:pt x="16844" y="16688"/>
                </a:cubicBezTo>
                <a:cubicBezTo>
                  <a:pt x="16781" y="16657"/>
                  <a:pt x="16750" y="16625"/>
                  <a:pt x="16688" y="16594"/>
                </a:cubicBezTo>
                <a:close/>
                <a:moveTo>
                  <a:pt x="16906" y="17094"/>
                </a:moveTo>
                <a:cubicBezTo>
                  <a:pt x="16875" y="17032"/>
                  <a:pt x="16875" y="17000"/>
                  <a:pt x="16875" y="16969"/>
                </a:cubicBezTo>
                <a:cubicBezTo>
                  <a:pt x="16875" y="17000"/>
                  <a:pt x="16875" y="17032"/>
                  <a:pt x="16906" y="17094"/>
                </a:cubicBezTo>
                <a:cubicBezTo>
                  <a:pt x="16969" y="17094"/>
                  <a:pt x="17000" y="17094"/>
                  <a:pt x="17063" y="17094"/>
                </a:cubicBezTo>
                <a:cubicBezTo>
                  <a:pt x="17000" y="17094"/>
                  <a:pt x="16969" y="17094"/>
                  <a:pt x="16906" y="17094"/>
                </a:cubicBezTo>
                <a:close/>
                <a:moveTo>
                  <a:pt x="16844" y="16688"/>
                </a:moveTo>
                <a:cubicBezTo>
                  <a:pt x="16844" y="16688"/>
                  <a:pt x="16875" y="16688"/>
                  <a:pt x="16875" y="16688"/>
                </a:cubicBezTo>
                <a:cubicBezTo>
                  <a:pt x="16875" y="16688"/>
                  <a:pt x="16844" y="16688"/>
                  <a:pt x="16844" y="16688"/>
                </a:cubicBezTo>
                <a:close/>
                <a:moveTo>
                  <a:pt x="18875" y="16969"/>
                </a:moveTo>
                <a:cubicBezTo>
                  <a:pt x="18875" y="16907"/>
                  <a:pt x="18906" y="16844"/>
                  <a:pt x="18906" y="16782"/>
                </a:cubicBezTo>
                <a:cubicBezTo>
                  <a:pt x="18938" y="16782"/>
                  <a:pt x="18969" y="16782"/>
                  <a:pt x="18969" y="16782"/>
                </a:cubicBezTo>
                <a:cubicBezTo>
                  <a:pt x="19000" y="16782"/>
                  <a:pt x="19000" y="16750"/>
                  <a:pt x="19031" y="16719"/>
                </a:cubicBezTo>
                <a:cubicBezTo>
                  <a:pt x="19000" y="16750"/>
                  <a:pt x="19000" y="16782"/>
                  <a:pt x="18969" y="16782"/>
                </a:cubicBezTo>
                <a:cubicBezTo>
                  <a:pt x="18969" y="16844"/>
                  <a:pt x="19000" y="16844"/>
                  <a:pt x="19063" y="16844"/>
                </a:cubicBezTo>
                <a:cubicBezTo>
                  <a:pt x="19063" y="16875"/>
                  <a:pt x="19094" y="16875"/>
                  <a:pt x="19094" y="16907"/>
                </a:cubicBezTo>
                <a:cubicBezTo>
                  <a:pt x="19094" y="16938"/>
                  <a:pt x="19063" y="16907"/>
                  <a:pt x="19031" y="16907"/>
                </a:cubicBezTo>
                <a:cubicBezTo>
                  <a:pt x="18969" y="16907"/>
                  <a:pt x="18938" y="16907"/>
                  <a:pt x="18938" y="17000"/>
                </a:cubicBezTo>
                <a:cubicBezTo>
                  <a:pt x="18938" y="17000"/>
                  <a:pt x="18906" y="17032"/>
                  <a:pt x="18875" y="17032"/>
                </a:cubicBezTo>
                <a:cubicBezTo>
                  <a:pt x="18844" y="17032"/>
                  <a:pt x="18844" y="17000"/>
                  <a:pt x="18875" y="16969"/>
                </a:cubicBezTo>
                <a:close/>
                <a:moveTo>
                  <a:pt x="20063" y="15594"/>
                </a:moveTo>
                <a:cubicBezTo>
                  <a:pt x="20063" y="15594"/>
                  <a:pt x="20063" y="15625"/>
                  <a:pt x="20063" y="15625"/>
                </a:cubicBezTo>
                <a:cubicBezTo>
                  <a:pt x="20063" y="15657"/>
                  <a:pt x="20063" y="15657"/>
                  <a:pt x="20063" y="15657"/>
                </a:cubicBezTo>
                <a:cubicBezTo>
                  <a:pt x="20063" y="15657"/>
                  <a:pt x="20063" y="15657"/>
                  <a:pt x="20063" y="15625"/>
                </a:cubicBezTo>
                <a:cubicBezTo>
                  <a:pt x="20063" y="15625"/>
                  <a:pt x="20063" y="15594"/>
                  <a:pt x="20063" y="15594"/>
                </a:cubicBezTo>
                <a:close/>
                <a:moveTo>
                  <a:pt x="21156" y="14532"/>
                </a:moveTo>
                <a:cubicBezTo>
                  <a:pt x="21063" y="14532"/>
                  <a:pt x="21000" y="14563"/>
                  <a:pt x="20938" y="14594"/>
                </a:cubicBezTo>
                <a:cubicBezTo>
                  <a:pt x="20875" y="14594"/>
                  <a:pt x="20844" y="14563"/>
                  <a:pt x="20844" y="14500"/>
                </a:cubicBezTo>
                <a:cubicBezTo>
                  <a:pt x="20938" y="14532"/>
                  <a:pt x="21000" y="14469"/>
                  <a:pt x="21094" y="14469"/>
                </a:cubicBezTo>
                <a:cubicBezTo>
                  <a:pt x="21125" y="14375"/>
                  <a:pt x="21156" y="14282"/>
                  <a:pt x="21219" y="14188"/>
                </a:cubicBezTo>
                <a:cubicBezTo>
                  <a:pt x="21156" y="14282"/>
                  <a:pt x="21125" y="14375"/>
                  <a:pt x="21094" y="14469"/>
                </a:cubicBezTo>
                <a:cubicBezTo>
                  <a:pt x="21125" y="14469"/>
                  <a:pt x="21125" y="14469"/>
                  <a:pt x="21125" y="14469"/>
                </a:cubicBezTo>
                <a:cubicBezTo>
                  <a:pt x="21188" y="14469"/>
                  <a:pt x="21219" y="14469"/>
                  <a:pt x="21281" y="14469"/>
                </a:cubicBezTo>
                <a:cubicBezTo>
                  <a:pt x="21281" y="14469"/>
                  <a:pt x="21281" y="14469"/>
                  <a:pt x="21281" y="14469"/>
                </a:cubicBezTo>
                <a:cubicBezTo>
                  <a:pt x="21250" y="14563"/>
                  <a:pt x="21188" y="14532"/>
                  <a:pt x="21156" y="14532"/>
                </a:cubicBezTo>
                <a:close/>
                <a:moveTo>
                  <a:pt x="21406" y="14469"/>
                </a:moveTo>
                <a:cubicBezTo>
                  <a:pt x="21406" y="14500"/>
                  <a:pt x="21406" y="14500"/>
                  <a:pt x="21406" y="14500"/>
                </a:cubicBezTo>
                <a:cubicBezTo>
                  <a:pt x="21406" y="14500"/>
                  <a:pt x="21406" y="14500"/>
                  <a:pt x="21406" y="14469"/>
                </a:cubicBezTo>
                <a:cubicBezTo>
                  <a:pt x="21375" y="14469"/>
                  <a:pt x="21344" y="14469"/>
                  <a:pt x="21344" y="14469"/>
                </a:cubicBezTo>
                <a:cubicBezTo>
                  <a:pt x="21344" y="14469"/>
                  <a:pt x="21375" y="14469"/>
                  <a:pt x="21406" y="14469"/>
                </a:cubicBezTo>
                <a:close/>
                <a:moveTo>
                  <a:pt x="22219" y="14094"/>
                </a:moveTo>
                <a:cubicBezTo>
                  <a:pt x="22219" y="14094"/>
                  <a:pt x="22219" y="14094"/>
                  <a:pt x="22219" y="14094"/>
                </a:cubicBezTo>
                <a:cubicBezTo>
                  <a:pt x="22219" y="14094"/>
                  <a:pt x="22219" y="14094"/>
                  <a:pt x="22219" y="14094"/>
                </a:cubicBezTo>
                <a:cubicBezTo>
                  <a:pt x="22219" y="14094"/>
                  <a:pt x="22219" y="14094"/>
                  <a:pt x="22219" y="14094"/>
                </a:cubicBezTo>
                <a:close/>
                <a:moveTo>
                  <a:pt x="21094" y="13594"/>
                </a:moveTo>
                <a:cubicBezTo>
                  <a:pt x="21125" y="13563"/>
                  <a:pt x="21156" y="13532"/>
                  <a:pt x="21156" y="13532"/>
                </a:cubicBezTo>
                <a:cubicBezTo>
                  <a:pt x="21188" y="13500"/>
                  <a:pt x="21188" y="13500"/>
                  <a:pt x="21219" y="13500"/>
                </a:cubicBezTo>
                <a:cubicBezTo>
                  <a:pt x="21188" y="13500"/>
                  <a:pt x="21188" y="13500"/>
                  <a:pt x="21156" y="13532"/>
                </a:cubicBezTo>
                <a:cubicBezTo>
                  <a:pt x="21156" y="13532"/>
                  <a:pt x="21125" y="13563"/>
                  <a:pt x="21094" y="13594"/>
                </a:cubicBezTo>
                <a:cubicBezTo>
                  <a:pt x="21031" y="13657"/>
                  <a:pt x="20969" y="13688"/>
                  <a:pt x="20906" y="13750"/>
                </a:cubicBezTo>
                <a:cubicBezTo>
                  <a:pt x="20844" y="13813"/>
                  <a:pt x="20750" y="13875"/>
                  <a:pt x="20688" y="13938"/>
                </a:cubicBezTo>
                <a:cubicBezTo>
                  <a:pt x="20625" y="14000"/>
                  <a:pt x="20563" y="14000"/>
                  <a:pt x="20500" y="13969"/>
                </a:cubicBezTo>
                <a:cubicBezTo>
                  <a:pt x="20500" y="13969"/>
                  <a:pt x="20500" y="13969"/>
                  <a:pt x="20500" y="13969"/>
                </a:cubicBezTo>
                <a:cubicBezTo>
                  <a:pt x="20500" y="13969"/>
                  <a:pt x="20500" y="13969"/>
                  <a:pt x="20500" y="13969"/>
                </a:cubicBezTo>
                <a:cubicBezTo>
                  <a:pt x="20500" y="13938"/>
                  <a:pt x="20531" y="13938"/>
                  <a:pt x="20531" y="13938"/>
                </a:cubicBezTo>
                <a:cubicBezTo>
                  <a:pt x="20594" y="13875"/>
                  <a:pt x="20656" y="13813"/>
                  <a:pt x="20719" y="13750"/>
                </a:cubicBezTo>
                <a:cubicBezTo>
                  <a:pt x="20719" y="13750"/>
                  <a:pt x="20719" y="13750"/>
                  <a:pt x="20719" y="13750"/>
                </a:cubicBezTo>
                <a:cubicBezTo>
                  <a:pt x="20719" y="13750"/>
                  <a:pt x="20719" y="13750"/>
                  <a:pt x="20719" y="13750"/>
                </a:cubicBezTo>
                <a:cubicBezTo>
                  <a:pt x="20781" y="13750"/>
                  <a:pt x="20813" y="13688"/>
                  <a:pt x="20844" y="13657"/>
                </a:cubicBezTo>
                <a:cubicBezTo>
                  <a:pt x="20938" y="13625"/>
                  <a:pt x="21000" y="13563"/>
                  <a:pt x="21094" y="13594"/>
                </a:cubicBezTo>
                <a:close/>
                <a:moveTo>
                  <a:pt x="19844" y="12969"/>
                </a:moveTo>
                <a:cubicBezTo>
                  <a:pt x="19844" y="12969"/>
                  <a:pt x="19844" y="13000"/>
                  <a:pt x="19844" y="13000"/>
                </a:cubicBezTo>
                <a:cubicBezTo>
                  <a:pt x="19844" y="13000"/>
                  <a:pt x="19844" y="12969"/>
                  <a:pt x="19844" y="12969"/>
                </a:cubicBezTo>
                <a:close/>
                <a:moveTo>
                  <a:pt x="19844" y="13157"/>
                </a:moveTo>
                <a:cubicBezTo>
                  <a:pt x="19844" y="13157"/>
                  <a:pt x="19844" y="13157"/>
                  <a:pt x="19844" y="13157"/>
                </a:cubicBezTo>
                <a:cubicBezTo>
                  <a:pt x="20031" y="13063"/>
                  <a:pt x="20156" y="12938"/>
                  <a:pt x="20281" y="12844"/>
                </a:cubicBezTo>
                <a:cubicBezTo>
                  <a:pt x="20313" y="12813"/>
                  <a:pt x="20344" y="12813"/>
                  <a:pt x="20406" y="12813"/>
                </a:cubicBezTo>
                <a:cubicBezTo>
                  <a:pt x="20438" y="12782"/>
                  <a:pt x="20438" y="12750"/>
                  <a:pt x="20500" y="12719"/>
                </a:cubicBezTo>
                <a:cubicBezTo>
                  <a:pt x="20531" y="12688"/>
                  <a:pt x="20563" y="12657"/>
                  <a:pt x="20625" y="12657"/>
                </a:cubicBezTo>
                <a:cubicBezTo>
                  <a:pt x="20625" y="12657"/>
                  <a:pt x="20625" y="12625"/>
                  <a:pt x="20625" y="12625"/>
                </a:cubicBezTo>
                <a:cubicBezTo>
                  <a:pt x="20625" y="12625"/>
                  <a:pt x="20625" y="12657"/>
                  <a:pt x="20625" y="12657"/>
                </a:cubicBezTo>
                <a:cubicBezTo>
                  <a:pt x="20625" y="12657"/>
                  <a:pt x="20625" y="12657"/>
                  <a:pt x="20625" y="12657"/>
                </a:cubicBezTo>
                <a:cubicBezTo>
                  <a:pt x="20625" y="12657"/>
                  <a:pt x="20625" y="12657"/>
                  <a:pt x="20625" y="12657"/>
                </a:cubicBezTo>
                <a:cubicBezTo>
                  <a:pt x="20563" y="12657"/>
                  <a:pt x="20531" y="12688"/>
                  <a:pt x="20500" y="12719"/>
                </a:cubicBezTo>
                <a:cubicBezTo>
                  <a:pt x="20438" y="12750"/>
                  <a:pt x="20438" y="12782"/>
                  <a:pt x="20406" y="12813"/>
                </a:cubicBezTo>
                <a:cubicBezTo>
                  <a:pt x="20406" y="12844"/>
                  <a:pt x="20438" y="12844"/>
                  <a:pt x="20438" y="12844"/>
                </a:cubicBezTo>
                <a:cubicBezTo>
                  <a:pt x="20438" y="12875"/>
                  <a:pt x="20438" y="12907"/>
                  <a:pt x="20438" y="12938"/>
                </a:cubicBezTo>
                <a:cubicBezTo>
                  <a:pt x="20344" y="12938"/>
                  <a:pt x="20313" y="13032"/>
                  <a:pt x="20281" y="13094"/>
                </a:cubicBezTo>
                <a:cubicBezTo>
                  <a:pt x="20281" y="13125"/>
                  <a:pt x="20219" y="13157"/>
                  <a:pt x="20281" y="13219"/>
                </a:cubicBezTo>
                <a:cubicBezTo>
                  <a:pt x="20281" y="13250"/>
                  <a:pt x="20219" y="13282"/>
                  <a:pt x="20188" y="13250"/>
                </a:cubicBezTo>
                <a:cubicBezTo>
                  <a:pt x="20125" y="13219"/>
                  <a:pt x="20094" y="13250"/>
                  <a:pt x="20063" y="13282"/>
                </a:cubicBezTo>
                <a:cubicBezTo>
                  <a:pt x="20063" y="13375"/>
                  <a:pt x="19938" y="13375"/>
                  <a:pt x="19875" y="13407"/>
                </a:cubicBezTo>
                <a:cubicBezTo>
                  <a:pt x="19875" y="13438"/>
                  <a:pt x="19813" y="13438"/>
                  <a:pt x="19875" y="13469"/>
                </a:cubicBezTo>
                <a:cubicBezTo>
                  <a:pt x="19906" y="13469"/>
                  <a:pt x="19906" y="13469"/>
                  <a:pt x="19875" y="13500"/>
                </a:cubicBezTo>
                <a:cubicBezTo>
                  <a:pt x="19844" y="13532"/>
                  <a:pt x="19844" y="13532"/>
                  <a:pt x="19844" y="13500"/>
                </a:cubicBezTo>
                <a:cubicBezTo>
                  <a:pt x="19813" y="13469"/>
                  <a:pt x="19813" y="13469"/>
                  <a:pt x="19781" y="13469"/>
                </a:cubicBezTo>
                <a:cubicBezTo>
                  <a:pt x="19781" y="13469"/>
                  <a:pt x="19813" y="13438"/>
                  <a:pt x="19781" y="13438"/>
                </a:cubicBezTo>
                <a:cubicBezTo>
                  <a:pt x="19750" y="13438"/>
                  <a:pt x="19750" y="13469"/>
                  <a:pt x="19750" y="13469"/>
                </a:cubicBezTo>
                <a:cubicBezTo>
                  <a:pt x="19750" y="13500"/>
                  <a:pt x="19781" y="13469"/>
                  <a:pt x="19781" y="13469"/>
                </a:cubicBezTo>
                <a:cubicBezTo>
                  <a:pt x="19781" y="13532"/>
                  <a:pt x="19781" y="13594"/>
                  <a:pt x="19688" y="13563"/>
                </a:cubicBezTo>
                <a:cubicBezTo>
                  <a:pt x="19625" y="13532"/>
                  <a:pt x="19594" y="13563"/>
                  <a:pt x="19563" y="13625"/>
                </a:cubicBezTo>
                <a:cubicBezTo>
                  <a:pt x="19531" y="13688"/>
                  <a:pt x="19500" y="13688"/>
                  <a:pt x="19438" y="13688"/>
                </a:cubicBezTo>
                <a:cubicBezTo>
                  <a:pt x="19375" y="13719"/>
                  <a:pt x="19344" y="13719"/>
                  <a:pt x="19313" y="13782"/>
                </a:cubicBezTo>
                <a:cubicBezTo>
                  <a:pt x="19281" y="13813"/>
                  <a:pt x="19250" y="13844"/>
                  <a:pt x="19219" y="13750"/>
                </a:cubicBezTo>
                <a:cubicBezTo>
                  <a:pt x="19219" y="13719"/>
                  <a:pt x="19188" y="13750"/>
                  <a:pt x="19188" y="13750"/>
                </a:cubicBezTo>
                <a:cubicBezTo>
                  <a:pt x="19094" y="13750"/>
                  <a:pt x="19063" y="13813"/>
                  <a:pt x="19000" y="13875"/>
                </a:cubicBezTo>
                <a:cubicBezTo>
                  <a:pt x="19063" y="13813"/>
                  <a:pt x="19094" y="13750"/>
                  <a:pt x="19156" y="13750"/>
                </a:cubicBezTo>
                <a:cubicBezTo>
                  <a:pt x="19188" y="13688"/>
                  <a:pt x="19250" y="13625"/>
                  <a:pt x="19281" y="13594"/>
                </a:cubicBezTo>
                <a:cubicBezTo>
                  <a:pt x="19500" y="13469"/>
                  <a:pt x="19688" y="13313"/>
                  <a:pt x="19844" y="13157"/>
                </a:cubicBezTo>
                <a:close/>
                <a:moveTo>
                  <a:pt x="18625" y="13500"/>
                </a:moveTo>
                <a:cubicBezTo>
                  <a:pt x="18594" y="13500"/>
                  <a:pt x="18563" y="13532"/>
                  <a:pt x="18500" y="13532"/>
                </a:cubicBezTo>
                <a:cubicBezTo>
                  <a:pt x="18500" y="13532"/>
                  <a:pt x="18500" y="13532"/>
                  <a:pt x="18500" y="13532"/>
                </a:cubicBezTo>
                <a:cubicBezTo>
                  <a:pt x="18500" y="13532"/>
                  <a:pt x="18500" y="13532"/>
                  <a:pt x="18500" y="13532"/>
                </a:cubicBezTo>
                <a:cubicBezTo>
                  <a:pt x="18563" y="13532"/>
                  <a:pt x="18594" y="13500"/>
                  <a:pt x="18625" y="13500"/>
                </a:cubicBezTo>
                <a:close/>
                <a:moveTo>
                  <a:pt x="18469" y="13563"/>
                </a:moveTo>
                <a:cubicBezTo>
                  <a:pt x="18469" y="13563"/>
                  <a:pt x="18469" y="13563"/>
                  <a:pt x="18469" y="13594"/>
                </a:cubicBezTo>
                <a:cubicBezTo>
                  <a:pt x="18469" y="13594"/>
                  <a:pt x="18469" y="13594"/>
                  <a:pt x="18469" y="13594"/>
                </a:cubicBezTo>
                <a:cubicBezTo>
                  <a:pt x="18469" y="13594"/>
                  <a:pt x="18469" y="13594"/>
                  <a:pt x="18469" y="13594"/>
                </a:cubicBezTo>
                <a:cubicBezTo>
                  <a:pt x="18469" y="13563"/>
                  <a:pt x="18469" y="13563"/>
                  <a:pt x="18469" y="13563"/>
                </a:cubicBezTo>
                <a:close/>
                <a:moveTo>
                  <a:pt x="18125" y="13375"/>
                </a:moveTo>
                <a:cubicBezTo>
                  <a:pt x="18031" y="13438"/>
                  <a:pt x="17969" y="13532"/>
                  <a:pt x="17844" y="13532"/>
                </a:cubicBezTo>
                <a:cubicBezTo>
                  <a:pt x="17844" y="13532"/>
                  <a:pt x="17844" y="13532"/>
                  <a:pt x="17844" y="13532"/>
                </a:cubicBezTo>
                <a:cubicBezTo>
                  <a:pt x="17969" y="13532"/>
                  <a:pt x="18031" y="13438"/>
                  <a:pt x="18125" y="13375"/>
                </a:cubicBezTo>
                <a:cubicBezTo>
                  <a:pt x="18156" y="13344"/>
                  <a:pt x="18156" y="13313"/>
                  <a:pt x="18188" y="13313"/>
                </a:cubicBezTo>
                <a:cubicBezTo>
                  <a:pt x="18156" y="13313"/>
                  <a:pt x="18156" y="13344"/>
                  <a:pt x="18125" y="13375"/>
                </a:cubicBezTo>
                <a:close/>
                <a:moveTo>
                  <a:pt x="18656" y="12719"/>
                </a:moveTo>
                <a:cubicBezTo>
                  <a:pt x="18656" y="12750"/>
                  <a:pt x="18656" y="12750"/>
                  <a:pt x="18688" y="12750"/>
                </a:cubicBezTo>
                <a:cubicBezTo>
                  <a:pt x="18656" y="12750"/>
                  <a:pt x="18656" y="12750"/>
                  <a:pt x="18656" y="12719"/>
                </a:cubicBezTo>
                <a:close/>
                <a:moveTo>
                  <a:pt x="20750" y="9719"/>
                </a:moveTo>
                <a:cubicBezTo>
                  <a:pt x="20750" y="9719"/>
                  <a:pt x="20719" y="9750"/>
                  <a:pt x="20719" y="9750"/>
                </a:cubicBezTo>
                <a:cubicBezTo>
                  <a:pt x="20719" y="9750"/>
                  <a:pt x="20750" y="9719"/>
                  <a:pt x="20750" y="9719"/>
                </a:cubicBezTo>
                <a:close/>
                <a:moveTo>
                  <a:pt x="20688" y="9782"/>
                </a:moveTo>
                <a:cubicBezTo>
                  <a:pt x="20719" y="9813"/>
                  <a:pt x="20750" y="9813"/>
                  <a:pt x="20750" y="9844"/>
                </a:cubicBezTo>
                <a:cubicBezTo>
                  <a:pt x="20750" y="9875"/>
                  <a:pt x="20719" y="9875"/>
                  <a:pt x="20688" y="9875"/>
                </a:cubicBezTo>
                <a:cubicBezTo>
                  <a:pt x="20594" y="9875"/>
                  <a:pt x="20531" y="9875"/>
                  <a:pt x="20469" y="9938"/>
                </a:cubicBezTo>
                <a:cubicBezTo>
                  <a:pt x="20469" y="9969"/>
                  <a:pt x="20438" y="9969"/>
                  <a:pt x="20406" y="9969"/>
                </a:cubicBezTo>
                <a:cubicBezTo>
                  <a:pt x="20375" y="9907"/>
                  <a:pt x="20313" y="9907"/>
                  <a:pt x="20250" y="9907"/>
                </a:cubicBezTo>
                <a:cubicBezTo>
                  <a:pt x="20188" y="9907"/>
                  <a:pt x="20156" y="9907"/>
                  <a:pt x="20156" y="9844"/>
                </a:cubicBezTo>
                <a:cubicBezTo>
                  <a:pt x="20156" y="9844"/>
                  <a:pt x="20156" y="9844"/>
                  <a:pt x="20156" y="9844"/>
                </a:cubicBezTo>
                <a:cubicBezTo>
                  <a:pt x="20188" y="9844"/>
                  <a:pt x="20250" y="9813"/>
                  <a:pt x="20281" y="9813"/>
                </a:cubicBezTo>
                <a:cubicBezTo>
                  <a:pt x="20313" y="9782"/>
                  <a:pt x="20313" y="9782"/>
                  <a:pt x="20344" y="9782"/>
                </a:cubicBezTo>
                <a:cubicBezTo>
                  <a:pt x="20313" y="9782"/>
                  <a:pt x="20313" y="9782"/>
                  <a:pt x="20281" y="9813"/>
                </a:cubicBezTo>
                <a:cubicBezTo>
                  <a:pt x="20313" y="9813"/>
                  <a:pt x="20344" y="9844"/>
                  <a:pt x="20375" y="9813"/>
                </a:cubicBezTo>
                <a:cubicBezTo>
                  <a:pt x="20375" y="9813"/>
                  <a:pt x="20375" y="9813"/>
                  <a:pt x="20375" y="9813"/>
                </a:cubicBezTo>
                <a:cubicBezTo>
                  <a:pt x="20469" y="9813"/>
                  <a:pt x="20594" y="9813"/>
                  <a:pt x="20688" y="9782"/>
                </a:cubicBezTo>
                <a:cubicBezTo>
                  <a:pt x="20688" y="9782"/>
                  <a:pt x="20688" y="9782"/>
                  <a:pt x="20688" y="9782"/>
                </a:cubicBezTo>
                <a:close/>
                <a:moveTo>
                  <a:pt x="20938" y="7219"/>
                </a:moveTo>
                <a:cubicBezTo>
                  <a:pt x="20938" y="7219"/>
                  <a:pt x="20938" y="7219"/>
                  <a:pt x="20969" y="7219"/>
                </a:cubicBezTo>
                <a:cubicBezTo>
                  <a:pt x="20938" y="7219"/>
                  <a:pt x="20938" y="7219"/>
                  <a:pt x="20938" y="7219"/>
                </a:cubicBezTo>
                <a:close/>
                <a:moveTo>
                  <a:pt x="21063" y="5594"/>
                </a:moveTo>
                <a:cubicBezTo>
                  <a:pt x="21031" y="5594"/>
                  <a:pt x="21031" y="5625"/>
                  <a:pt x="21031" y="5657"/>
                </a:cubicBezTo>
                <a:cubicBezTo>
                  <a:pt x="21031" y="5625"/>
                  <a:pt x="21031" y="5594"/>
                  <a:pt x="21063" y="5594"/>
                </a:cubicBezTo>
                <a:cubicBezTo>
                  <a:pt x="21063" y="5563"/>
                  <a:pt x="21063" y="5563"/>
                  <a:pt x="21063" y="5532"/>
                </a:cubicBezTo>
                <a:cubicBezTo>
                  <a:pt x="21063" y="5563"/>
                  <a:pt x="21063" y="5563"/>
                  <a:pt x="21063" y="5594"/>
                </a:cubicBezTo>
                <a:close/>
                <a:moveTo>
                  <a:pt x="20344" y="6125"/>
                </a:moveTo>
                <a:cubicBezTo>
                  <a:pt x="20438" y="6032"/>
                  <a:pt x="20563" y="5969"/>
                  <a:pt x="20594" y="5844"/>
                </a:cubicBezTo>
                <a:cubicBezTo>
                  <a:pt x="20594" y="5782"/>
                  <a:pt x="20688" y="5782"/>
                  <a:pt x="20750" y="5719"/>
                </a:cubicBezTo>
                <a:cubicBezTo>
                  <a:pt x="20781" y="5688"/>
                  <a:pt x="20813" y="5657"/>
                  <a:pt x="20875" y="5625"/>
                </a:cubicBezTo>
                <a:cubicBezTo>
                  <a:pt x="20875" y="5594"/>
                  <a:pt x="20875" y="5563"/>
                  <a:pt x="20875" y="5563"/>
                </a:cubicBezTo>
                <a:cubicBezTo>
                  <a:pt x="20875" y="5563"/>
                  <a:pt x="20875" y="5594"/>
                  <a:pt x="20875" y="5625"/>
                </a:cubicBezTo>
                <a:cubicBezTo>
                  <a:pt x="20875" y="5625"/>
                  <a:pt x="20875" y="5625"/>
                  <a:pt x="20875" y="5625"/>
                </a:cubicBezTo>
                <a:cubicBezTo>
                  <a:pt x="20906" y="5688"/>
                  <a:pt x="20906" y="5750"/>
                  <a:pt x="20938" y="5813"/>
                </a:cubicBezTo>
                <a:cubicBezTo>
                  <a:pt x="20875" y="5844"/>
                  <a:pt x="20813" y="5938"/>
                  <a:pt x="20750" y="5969"/>
                </a:cubicBezTo>
                <a:cubicBezTo>
                  <a:pt x="20719" y="5969"/>
                  <a:pt x="20719" y="6000"/>
                  <a:pt x="20781" y="6032"/>
                </a:cubicBezTo>
                <a:cubicBezTo>
                  <a:pt x="20813" y="6032"/>
                  <a:pt x="20844" y="6032"/>
                  <a:pt x="20906" y="6063"/>
                </a:cubicBezTo>
                <a:cubicBezTo>
                  <a:pt x="20813" y="6094"/>
                  <a:pt x="20719" y="6125"/>
                  <a:pt x="20688" y="6188"/>
                </a:cubicBezTo>
                <a:cubicBezTo>
                  <a:pt x="20656" y="6313"/>
                  <a:pt x="20594" y="6344"/>
                  <a:pt x="20469" y="6375"/>
                </a:cubicBezTo>
                <a:cubicBezTo>
                  <a:pt x="20438" y="6375"/>
                  <a:pt x="20375" y="6407"/>
                  <a:pt x="20375" y="6469"/>
                </a:cubicBezTo>
                <a:cubicBezTo>
                  <a:pt x="20406" y="6532"/>
                  <a:pt x="20469" y="6500"/>
                  <a:pt x="20500" y="6500"/>
                </a:cubicBezTo>
                <a:cubicBezTo>
                  <a:pt x="20531" y="6500"/>
                  <a:pt x="20531" y="6500"/>
                  <a:pt x="20563" y="6500"/>
                </a:cubicBezTo>
                <a:cubicBezTo>
                  <a:pt x="20563" y="6500"/>
                  <a:pt x="20594" y="6500"/>
                  <a:pt x="20594" y="6500"/>
                </a:cubicBezTo>
                <a:cubicBezTo>
                  <a:pt x="20594" y="6500"/>
                  <a:pt x="20594" y="6500"/>
                  <a:pt x="20594" y="6500"/>
                </a:cubicBezTo>
                <a:cubicBezTo>
                  <a:pt x="20594" y="6532"/>
                  <a:pt x="20625" y="6532"/>
                  <a:pt x="20656" y="6532"/>
                </a:cubicBezTo>
                <a:cubicBezTo>
                  <a:pt x="20688" y="6532"/>
                  <a:pt x="20719" y="6532"/>
                  <a:pt x="20719" y="6563"/>
                </a:cubicBezTo>
                <a:cubicBezTo>
                  <a:pt x="20688" y="6563"/>
                  <a:pt x="20656" y="6563"/>
                  <a:pt x="20656" y="6563"/>
                </a:cubicBezTo>
                <a:cubicBezTo>
                  <a:pt x="20563" y="6688"/>
                  <a:pt x="20406" y="6657"/>
                  <a:pt x="20313" y="6750"/>
                </a:cubicBezTo>
                <a:cubicBezTo>
                  <a:pt x="20281" y="6782"/>
                  <a:pt x="20250" y="6782"/>
                  <a:pt x="20281" y="6844"/>
                </a:cubicBezTo>
                <a:cubicBezTo>
                  <a:pt x="20281" y="6875"/>
                  <a:pt x="20281" y="6907"/>
                  <a:pt x="20250" y="6875"/>
                </a:cubicBezTo>
                <a:cubicBezTo>
                  <a:pt x="20156" y="6875"/>
                  <a:pt x="20125" y="6938"/>
                  <a:pt x="20094" y="7000"/>
                </a:cubicBezTo>
                <a:cubicBezTo>
                  <a:pt x="20094" y="7000"/>
                  <a:pt x="20063" y="7000"/>
                  <a:pt x="20063" y="7000"/>
                </a:cubicBezTo>
                <a:cubicBezTo>
                  <a:pt x="19969" y="7000"/>
                  <a:pt x="19875" y="6969"/>
                  <a:pt x="19844" y="7094"/>
                </a:cubicBezTo>
                <a:cubicBezTo>
                  <a:pt x="19844" y="7094"/>
                  <a:pt x="19844" y="7094"/>
                  <a:pt x="19844" y="7094"/>
                </a:cubicBezTo>
                <a:cubicBezTo>
                  <a:pt x="19719" y="7063"/>
                  <a:pt x="19688" y="7094"/>
                  <a:pt x="19625" y="7219"/>
                </a:cubicBezTo>
                <a:cubicBezTo>
                  <a:pt x="19563" y="7219"/>
                  <a:pt x="19531" y="7250"/>
                  <a:pt x="19500" y="7282"/>
                </a:cubicBezTo>
                <a:cubicBezTo>
                  <a:pt x="19469" y="7313"/>
                  <a:pt x="19469" y="7344"/>
                  <a:pt x="19500" y="7344"/>
                </a:cubicBezTo>
                <a:cubicBezTo>
                  <a:pt x="19594" y="7344"/>
                  <a:pt x="19688" y="7407"/>
                  <a:pt x="19750" y="7344"/>
                </a:cubicBezTo>
                <a:cubicBezTo>
                  <a:pt x="19906" y="7344"/>
                  <a:pt x="20063" y="7313"/>
                  <a:pt x="20188" y="7313"/>
                </a:cubicBezTo>
                <a:cubicBezTo>
                  <a:pt x="20313" y="7282"/>
                  <a:pt x="20406" y="7250"/>
                  <a:pt x="20531" y="7219"/>
                </a:cubicBezTo>
                <a:cubicBezTo>
                  <a:pt x="20406" y="7250"/>
                  <a:pt x="20313" y="7282"/>
                  <a:pt x="20188" y="7313"/>
                </a:cubicBezTo>
                <a:cubicBezTo>
                  <a:pt x="20188" y="7344"/>
                  <a:pt x="20156" y="7375"/>
                  <a:pt x="20156" y="7375"/>
                </a:cubicBezTo>
                <a:cubicBezTo>
                  <a:pt x="20156" y="7375"/>
                  <a:pt x="20156" y="7375"/>
                  <a:pt x="20156" y="7375"/>
                </a:cubicBezTo>
                <a:cubicBezTo>
                  <a:pt x="20094" y="7407"/>
                  <a:pt x="20063" y="7407"/>
                  <a:pt x="20031" y="7438"/>
                </a:cubicBezTo>
                <a:cubicBezTo>
                  <a:pt x="19969" y="7500"/>
                  <a:pt x="19938" y="7500"/>
                  <a:pt x="19906" y="7469"/>
                </a:cubicBezTo>
                <a:cubicBezTo>
                  <a:pt x="19844" y="7438"/>
                  <a:pt x="19781" y="7407"/>
                  <a:pt x="19750" y="7469"/>
                </a:cubicBezTo>
                <a:cubicBezTo>
                  <a:pt x="19688" y="7563"/>
                  <a:pt x="19656" y="7563"/>
                  <a:pt x="19563" y="7500"/>
                </a:cubicBezTo>
                <a:cubicBezTo>
                  <a:pt x="19500" y="7469"/>
                  <a:pt x="19406" y="7500"/>
                  <a:pt x="19375" y="7563"/>
                </a:cubicBezTo>
                <a:cubicBezTo>
                  <a:pt x="19344" y="7688"/>
                  <a:pt x="19313" y="7688"/>
                  <a:pt x="19219" y="7657"/>
                </a:cubicBezTo>
                <a:cubicBezTo>
                  <a:pt x="19188" y="7657"/>
                  <a:pt x="19188" y="7657"/>
                  <a:pt x="19156" y="7688"/>
                </a:cubicBezTo>
                <a:cubicBezTo>
                  <a:pt x="19125" y="7750"/>
                  <a:pt x="19094" y="7813"/>
                  <a:pt x="19031" y="7875"/>
                </a:cubicBezTo>
                <a:cubicBezTo>
                  <a:pt x="19125" y="7875"/>
                  <a:pt x="19188" y="7907"/>
                  <a:pt x="19219" y="7938"/>
                </a:cubicBezTo>
                <a:cubicBezTo>
                  <a:pt x="19188" y="7969"/>
                  <a:pt x="19125" y="7907"/>
                  <a:pt x="19063" y="7969"/>
                </a:cubicBezTo>
                <a:cubicBezTo>
                  <a:pt x="19031" y="8000"/>
                  <a:pt x="19000" y="8000"/>
                  <a:pt x="18938" y="8000"/>
                </a:cubicBezTo>
                <a:cubicBezTo>
                  <a:pt x="18906" y="8000"/>
                  <a:pt x="18875" y="8000"/>
                  <a:pt x="18844" y="8063"/>
                </a:cubicBezTo>
                <a:cubicBezTo>
                  <a:pt x="18813" y="8125"/>
                  <a:pt x="18781" y="8250"/>
                  <a:pt x="18656" y="8188"/>
                </a:cubicBezTo>
                <a:cubicBezTo>
                  <a:pt x="18656" y="8188"/>
                  <a:pt x="18625" y="8219"/>
                  <a:pt x="18625" y="8250"/>
                </a:cubicBezTo>
                <a:cubicBezTo>
                  <a:pt x="18594" y="8313"/>
                  <a:pt x="18531" y="8344"/>
                  <a:pt x="18469" y="8375"/>
                </a:cubicBezTo>
                <a:cubicBezTo>
                  <a:pt x="18438" y="8438"/>
                  <a:pt x="18344" y="8469"/>
                  <a:pt x="18344" y="8532"/>
                </a:cubicBezTo>
                <a:cubicBezTo>
                  <a:pt x="18344" y="8532"/>
                  <a:pt x="18313" y="8563"/>
                  <a:pt x="18313" y="8563"/>
                </a:cubicBezTo>
                <a:cubicBezTo>
                  <a:pt x="18281" y="8563"/>
                  <a:pt x="18250" y="8532"/>
                  <a:pt x="18219" y="8563"/>
                </a:cubicBezTo>
                <a:cubicBezTo>
                  <a:pt x="18219" y="8563"/>
                  <a:pt x="18188" y="8563"/>
                  <a:pt x="18188" y="8532"/>
                </a:cubicBezTo>
                <a:cubicBezTo>
                  <a:pt x="18250" y="8500"/>
                  <a:pt x="18281" y="8407"/>
                  <a:pt x="18344" y="8375"/>
                </a:cubicBezTo>
                <a:cubicBezTo>
                  <a:pt x="18375" y="8313"/>
                  <a:pt x="18438" y="8282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469" y="8219"/>
                  <a:pt x="18469" y="8219"/>
                  <a:pt x="18469" y="8219"/>
                </a:cubicBezTo>
                <a:cubicBezTo>
                  <a:pt x="18500" y="8219"/>
                  <a:pt x="18500" y="8188"/>
                  <a:pt x="18500" y="8157"/>
                </a:cubicBezTo>
                <a:cubicBezTo>
                  <a:pt x="18688" y="7969"/>
                  <a:pt x="18906" y="7782"/>
                  <a:pt x="19063" y="7563"/>
                </a:cubicBezTo>
                <a:cubicBezTo>
                  <a:pt x="19094" y="7500"/>
                  <a:pt x="19125" y="7469"/>
                  <a:pt x="19188" y="7438"/>
                </a:cubicBezTo>
                <a:cubicBezTo>
                  <a:pt x="19219" y="7407"/>
                  <a:pt x="19250" y="7375"/>
                  <a:pt x="19250" y="7344"/>
                </a:cubicBezTo>
                <a:cubicBezTo>
                  <a:pt x="19250" y="7344"/>
                  <a:pt x="19250" y="7344"/>
                  <a:pt x="19250" y="7344"/>
                </a:cubicBezTo>
                <a:cubicBezTo>
                  <a:pt x="19313" y="7313"/>
                  <a:pt x="19375" y="7282"/>
                  <a:pt x="19406" y="7219"/>
                </a:cubicBezTo>
                <a:cubicBezTo>
                  <a:pt x="19406" y="7188"/>
                  <a:pt x="19406" y="7188"/>
                  <a:pt x="19406" y="7157"/>
                </a:cubicBezTo>
                <a:cubicBezTo>
                  <a:pt x="19406" y="7157"/>
                  <a:pt x="19406" y="7157"/>
                  <a:pt x="19406" y="7157"/>
                </a:cubicBezTo>
                <a:cubicBezTo>
                  <a:pt x="19469" y="7157"/>
                  <a:pt x="19469" y="7094"/>
                  <a:pt x="19500" y="7094"/>
                </a:cubicBezTo>
                <a:cubicBezTo>
                  <a:pt x="19500" y="7125"/>
                  <a:pt x="19531" y="7125"/>
                  <a:pt x="19594" y="7094"/>
                </a:cubicBezTo>
                <a:cubicBezTo>
                  <a:pt x="19625" y="7063"/>
                  <a:pt x="19594" y="7063"/>
                  <a:pt x="19594" y="7032"/>
                </a:cubicBezTo>
                <a:cubicBezTo>
                  <a:pt x="19563" y="6969"/>
                  <a:pt x="19656" y="6938"/>
                  <a:pt x="19656" y="6907"/>
                </a:cubicBezTo>
                <a:cubicBezTo>
                  <a:pt x="19656" y="6875"/>
                  <a:pt x="19688" y="6875"/>
                  <a:pt x="19688" y="6875"/>
                </a:cubicBezTo>
                <a:cubicBezTo>
                  <a:pt x="19688" y="6875"/>
                  <a:pt x="19656" y="6875"/>
                  <a:pt x="19656" y="6907"/>
                </a:cubicBezTo>
                <a:cubicBezTo>
                  <a:pt x="19750" y="6938"/>
                  <a:pt x="19813" y="6907"/>
                  <a:pt x="19844" y="6844"/>
                </a:cubicBezTo>
                <a:cubicBezTo>
                  <a:pt x="19813" y="6844"/>
                  <a:pt x="19781" y="6813"/>
                  <a:pt x="19781" y="6813"/>
                </a:cubicBezTo>
                <a:cubicBezTo>
                  <a:pt x="19750" y="6813"/>
                  <a:pt x="19750" y="6813"/>
                  <a:pt x="19750" y="6813"/>
                </a:cubicBezTo>
                <a:cubicBezTo>
                  <a:pt x="19844" y="6719"/>
                  <a:pt x="19938" y="6625"/>
                  <a:pt x="20000" y="6500"/>
                </a:cubicBezTo>
                <a:cubicBezTo>
                  <a:pt x="20156" y="6438"/>
                  <a:pt x="20281" y="6282"/>
                  <a:pt x="20344" y="6125"/>
                </a:cubicBezTo>
                <a:close/>
                <a:moveTo>
                  <a:pt x="19219" y="7000"/>
                </a:moveTo>
                <a:cubicBezTo>
                  <a:pt x="19188" y="6969"/>
                  <a:pt x="19125" y="6938"/>
                  <a:pt x="19063" y="6938"/>
                </a:cubicBezTo>
                <a:cubicBezTo>
                  <a:pt x="19063" y="6938"/>
                  <a:pt x="19063" y="6938"/>
                  <a:pt x="19094" y="6938"/>
                </a:cubicBezTo>
                <a:cubicBezTo>
                  <a:pt x="19063" y="6938"/>
                  <a:pt x="19063" y="6938"/>
                  <a:pt x="19063" y="6938"/>
                </a:cubicBezTo>
                <a:cubicBezTo>
                  <a:pt x="19125" y="6938"/>
                  <a:pt x="19188" y="6969"/>
                  <a:pt x="19219" y="7000"/>
                </a:cubicBezTo>
                <a:close/>
                <a:moveTo>
                  <a:pt x="19313" y="5907"/>
                </a:moveTo>
                <a:cubicBezTo>
                  <a:pt x="19281" y="5969"/>
                  <a:pt x="19281" y="6032"/>
                  <a:pt x="19281" y="6094"/>
                </a:cubicBezTo>
                <a:cubicBezTo>
                  <a:pt x="19281" y="6125"/>
                  <a:pt x="19281" y="6157"/>
                  <a:pt x="19250" y="6188"/>
                </a:cubicBezTo>
                <a:cubicBezTo>
                  <a:pt x="19281" y="6157"/>
                  <a:pt x="19281" y="6125"/>
                  <a:pt x="19281" y="6094"/>
                </a:cubicBezTo>
                <a:cubicBezTo>
                  <a:pt x="19281" y="6032"/>
                  <a:pt x="19281" y="5969"/>
                  <a:pt x="19313" y="5907"/>
                </a:cubicBezTo>
                <a:close/>
                <a:moveTo>
                  <a:pt x="17500" y="5750"/>
                </a:moveTo>
                <a:cubicBezTo>
                  <a:pt x="17500" y="5782"/>
                  <a:pt x="17500" y="5782"/>
                  <a:pt x="17500" y="5813"/>
                </a:cubicBezTo>
                <a:cubicBezTo>
                  <a:pt x="17500" y="5782"/>
                  <a:pt x="17500" y="5782"/>
                  <a:pt x="17500" y="5750"/>
                </a:cubicBezTo>
                <a:cubicBezTo>
                  <a:pt x="17469" y="5750"/>
                  <a:pt x="17469" y="5750"/>
                  <a:pt x="17438" y="5719"/>
                </a:cubicBezTo>
                <a:cubicBezTo>
                  <a:pt x="17469" y="5750"/>
                  <a:pt x="17469" y="5750"/>
                  <a:pt x="17500" y="5750"/>
                </a:cubicBezTo>
                <a:close/>
                <a:moveTo>
                  <a:pt x="16375" y="6157"/>
                </a:moveTo>
                <a:cubicBezTo>
                  <a:pt x="16375" y="6157"/>
                  <a:pt x="16375" y="6157"/>
                  <a:pt x="16344" y="6157"/>
                </a:cubicBezTo>
                <a:cubicBezTo>
                  <a:pt x="16344" y="6219"/>
                  <a:pt x="16344" y="6250"/>
                  <a:pt x="16344" y="6313"/>
                </a:cubicBezTo>
                <a:cubicBezTo>
                  <a:pt x="16344" y="6250"/>
                  <a:pt x="16344" y="6219"/>
                  <a:pt x="16344" y="6157"/>
                </a:cubicBezTo>
                <a:cubicBezTo>
                  <a:pt x="16375" y="6157"/>
                  <a:pt x="16375" y="6157"/>
                  <a:pt x="16375" y="6157"/>
                </a:cubicBezTo>
                <a:close/>
                <a:moveTo>
                  <a:pt x="15094" y="3782"/>
                </a:moveTo>
                <a:cubicBezTo>
                  <a:pt x="15094" y="3813"/>
                  <a:pt x="15094" y="3875"/>
                  <a:pt x="15063" y="3907"/>
                </a:cubicBezTo>
                <a:cubicBezTo>
                  <a:pt x="15063" y="3907"/>
                  <a:pt x="15063" y="3907"/>
                  <a:pt x="15063" y="3907"/>
                </a:cubicBezTo>
                <a:cubicBezTo>
                  <a:pt x="15063" y="3907"/>
                  <a:pt x="15063" y="3907"/>
                  <a:pt x="15063" y="3907"/>
                </a:cubicBezTo>
                <a:cubicBezTo>
                  <a:pt x="15094" y="3875"/>
                  <a:pt x="15094" y="3813"/>
                  <a:pt x="15094" y="3782"/>
                </a:cubicBezTo>
                <a:close/>
                <a:moveTo>
                  <a:pt x="15031" y="3969"/>
                </a:moveTo>
                <a:cubicBezTo>
                  <a:pt x="15000" y="4000"/>
                  <a:pt x="15000" y="4000"/>
                  <a:pt x="15000" y="4032"/>
                </a:cubicBezTo>
                <a:cubicBezTo>
                  <a:pt x="15000" y="4032"/>
                  <a:pt x="15031" y="4032"/>
                  <a:pt x="15031" y="4063"/>
                </a:cubicBezTo>
                <a:cubicBezTo>
                  <a:pt x="15031" y="4032"/>
                  <a:pt x="15000" y="4032"/>
                  <a:pt x="15000" y="4032"/>
                </a:cubicBezTo>
                <a:cubicBezTo>
                  <a:pt x="15000" y="4000"/>
                  <a:pt x="15000" y="4000"/>
                  <a:pt x="15031" y="3969"/>
                </a:cubicBezTo>
                <a:close/>
                <a:moveTo>
                  <a:pt x="14906" y="3813"/>
                </a:moveTo>
                <a:cubicBezTo>
                  <a:pt x="14938" y="3782"/>
                  <a:pt x="14969" y="3813"/>
                  <a:pt x="15000" y="3875"/>
                </a:cubicBezTo>
                <a:cubicBezTo>
                  <a:pt x="15000" y="3907"/>
                  <a:pt x="14969" y="3938"/>
                  <a:pt x="14938" y="3938"/>
                </a:cubicBezTo>
                <a:cubicBezTo>
                  <a:pt x="14938" y="3969"/>
                  <a:pt x="14906" y="3938"/>
                  <a:pt x="14906" y="3969"/>
                </a:cubicBezTo>
                <a:cubicBezTo>
                  <a:pt x="14969" y="4094"/>
                  <a:pt x="14813" y="4032"/>
                  <a:pt x="14781" y="4094"/>
                </a:cubicBezTo>
                <a:cubicBezTo>
                  <a:pt x="14781" y="4125"/>
                  <a:pt x="14719" y="4094"/>
                  <a:pt x="14688" y="4063"/>
                </a:cubicBezTo>
                <a:cubicBezTo>
                  <a:pt x="14656" y="4063"/>
                  <a:pt x="14656" y="4063"/>
                  <a:pt x="14688" y="4032"/>
                </a:cubicBezTo>
                <a:cubicBezTo>
                  <a:pt x="14688" y="4000"/>
                  <a:pt x="14688" y="3969"/>
                  <a:pt x="14688" y="3938"/>
                </a:cubicBezTo>
                <a:cubicBezTo>
                  <a:pt x="14750" y="3875"/>
                  <a:pt x="14656" y="3907"/>
                  <a:pt x="14656" y="3875"/>
                </a:cubicBezTo>
                <a:cubicBezTo>
                  <a:pt x="14750" y="3875"/>
                  <a:pt x="14813" y="3875"/>
                  <a:pt x="14906" y="3813"/>
                </a:cubicBezTo>
                <a:close/>
                <a:moveTo>
                  <a:pt x="13125" y="2000"/>
                </a:moveTo>
                <a:cubicBezTo>
                  <a:pt x="13125" y="2000"/>
                  <a:pt x="13125" y="2032"/>
                  <a:pt x="13125" y="2032"/>
                </a:cubicBezTo>
                <a:cubicBezTo>
                  <a:pt x="13156" y="2094"/>
                  <a:pt x="13156" y="2157"/>
                  <a:pt x="13125" y="2219"/>
                </a:cubicBezTo>
                <a:cubicBezTo>
                  <a:pt x="13156" y="2157"/>
                  <a:pt x="13156" y="2094"/>
                  <a:pt x="13125" y="2032"/>
                </a:cubicBezTo>
                <a:cubicBezTo>
                  <a:pt x="13125" y="2032"/>
                  <a:pt x="13125" y="2000"/>
                  <a:pt x="13125" y="2000"/>
                </a:cubicBezTo>
                <a:close/>
                <a:moveTo>
                  <a:pt x="12438" y="2000"/>
                </a:moveTo>
                <a:cubicBezTo>
                  <a:pt x="12438" y="2000"/>
                  <a:pt x="12406" y="2000"/>
                  <a:pt x="12406" y="2000"/>
                </a:cubicBezTo>
                <a:cubicBezTo>
                  <a:pt x="12406" y="2032"/>
                  <a:pt x="12406" y="2094"/>
                  <a:pt x="12406" y="2125"/>
                </a:cubicBezTo>
                <a:cubicBezTo>
                  <a:pt x="12406" y="2094"/>
                  <a:pt x="12406" y="2032"/>
                  <a:pt x="12406" y="2000"/>
                </a:cubicBezTo>
                <a:cubicBezTo>
                  <a:pt x="12406" y="2000"/>
                  <a:pt x="12438" y="2000"/>
                  <a:pt x="12438" y="2000"/>
                </a:cubicBezTo>
                <a:close/>
                <a:moveTo>
                  <a:pt x="12125" y="2094"/>
                </a:moveTo>
                <a:cubicBezTo>
                  <a:pt x="12219" y="2157"/>
                  <a:pt x="12250" y="2250"/>
                  <a:pt x="12156" y="2313"/>
                </a:cubicBezTo>
                <a:cubicBezTo>
                  <a:pt x="12125" y="2313"/>
                  <a:pt x="12125" y="2344"/>
                  <a:pt x="12156" y="2344"/>
                </a:cubicBezTo>
                <a:cubicBezTo>
                  <a:pt x="12188" y="2375"/>
                  <a:pt x="12219" y="2375"/>
                  <a:pt x="12188" y="2407"/>
                </a:cubicBezTo>
                <a:cubicBezTo>
                  <a:pt x="12188" y="2407"/>
                  <a:pt x="12156" y="2438"/>
                  <a:pt x="12156" y="2438"/>
                </a:cubicBezTo>
                <a:cubicBezTo>
                  <a:pt x="12094" y="2438"/>
                  <a:pt x="12000" y="2438"/>
                  <a:pt x="11969" y="2500"/>
                </a:cubicBezTo>
                <a:cubicBezTo>
                  <a:pt x="11875" y="2625"/>
                  <a:pt x="11719" y="2625"/>
                  <a:pt x="11594" y="2657"/>
                </a:cubicBezTo>
                <a:cubicBezTo>
                  <a:pt x="11594" y="2594"/>
                  <a:pt x="11625" y="2563"/>
                  <a:pt x="11656" y="2594"/>
                </a:cubicBezTo>
                <a:cubicBezTo>
                  <a:pt x="11719" y="2594"/>
                  <a:pt x="11719" y="2563"/>
                  <a:pt x="11750" y="2532"/>
                </a:cubicBezTo>
                <a:cubicBezTo>
                  <a:pt x="11750" y="2500"/>
                  <a:pt x="11719" y="2500"/>
                  <a:pt x="11719" y="2500"/>
                </a:cubicBezTo>
                <a:cubicBezTo>
                  <a:pt x="11719" y="2500"/>
                  <a:pt x="11750" y="2500"/>
                  <a:pt x="11750" y="2532"/>
                </a:cubicBezTo>
                <a:cubicBezTo>
                  <a:pt x="11781" y="2532"/>
                  <a:pt x="11813" y="2500"/>
                  <a:pt x="11844" y="2469"/>
                </a:cubicBezTo>
                <a:cubicBezTo>
                  <a:pt x="11938" y="2375"/>
                  <a:pt x="12063" y="2313"/>
                  <a:pt x="12094" y="2157"/>
                </a:cubicBezTo>
                <a:cubicBezTo>
                  <a:pt x="12094" y="2125"/>
                  <a:pt x="12125" y="2125"/>
                  <a:pt x="12125" y="2094"/>
                </a:cubicBezTo>
                <a:close/>
                <a:moveTo>
                  <a:pt x="9563" y="3250"/>
                </a:moveTo>
                <a:cubicBezTo>
                  <a:pt x="9563" y="3282"/>
                  <a:pt x="9594" y="3313"/>
                  <a:pt x="9625" y="3344"/>
                </a:cubicBezTo>
                <a:cubicBezTo>
                  <a:pt x="9594" y="3313"/>
                  <a:pt x="9563" y="3282"/>
                  <a:pt x="9563" y="3250"/>
                </a:cubicBezTo>
                <a:cubicBezTo>
                  <a:pt x="9563" y="3250"/>
                  <a:pt x="9563" y="3250"/>
                  <a:pt x="9563" y="3250"/>
                </a:cubicBezTo>
                <a:close/>
                <a:moveTo>
                  <a:pt x="9250" y="3750"/>
                </a:moveTo>
                <a:cubicBezTo>
                  <a:pt x="9250" y="3750"/>
                  <a:pt x="9250" y="3750"/>
                  <a:pt x="9250" y="3750"/>
                </a:cubicBezTo>
                <a:cubicBezTo>
                  <a:pt x="9250" y="3782"/>
                  <a:pt x="9250" y="3813"/>
                  <a:pt x="9250" y="3844"/>
                </a:cubicBezTo>
                <a:cubicBezTo>
                  <a:pt x="9250" y="3813"/>
                  <a:pt x="9250" y="3782"/>
                  <a:pt x="9250" y="3750"/>
                </a:cubicBezTo>
                <a:cubicBezTo>
                  <a:pt x="9250" y="3750"/>
                  <a:pt x="9250" y="3750"/>
                  <a:pt x="9250" y="3750"/>
                </a:cubicBezTo>
                <a:close/>
                <a:moveTo>
                  <a:pt x="8781" y="4657"/>
                </a:moveTo>
                <a:cubicBezTo>
                  <a:pt x="8750" y="4657"/>
                  <a:pt x="8719" y="4688"/>
                  <a:pt x="8688" y="4688"/>
                </a:cubicBezTo>
                <a:cubicBezTo>
                  <a:pt x="8688" y="4688"/>
                  <a:pt x="8688" y="4688"/>
                  <a:pt x="8688" y="4719"/>
                </a:cubicBezTo>
                <a:cubicBezTo>
                  <a:pt x="8688" y="4719"/>
                  <a:pt x="8688" y="4750"/>
                  <a:pt x="8688" y="4750"/>
                </a:cubicBezTo>
                <a:cubicBezTo>
                  <a:pt x="8688" y="4750"/>
                  <a:pt x="8688" y="4719"/>
                  <a:pt x="8688" y="4719"/>
                </a:cubicBezTo>
                <a:cubicBezTo>
                  <a:pt x="8688" y="4688"/>
                  <a:pt x="8688" y="4688"/>
                  <a:pt x="8688" y="4688"/>
                </a:cubicBezTo>
                <a:cubicBezTo>
                  <a:pt x="8719" y="4688"/>
                  <a:pt x="8750" y="4657"/>
                  <a:pt x="8781" y="4657"/>
                </a:cubicBezTo>
                <a:close/>
                <a:moveTo>
                  <a:pt x="8969" y="10407"/>
                </a:moveTo>
                <a:cubicBezTo>
                  <a:pt x="8969" y="10375"/>
                  <a:pt x="8969" y="10344"/>
                  <a:pt x="9000" y="10313"/>
                </a:cubicBezTo>
                <a:cubicBezTo>
                  <a:pt x="8969" y="10344"/>
                  <a:pt x="8969" y="10375"/>
                  <a:pt x="8969" y="10407"/>
                </a:cubicBezTo>
                <a:cubicBezTo>
                  <a:pt x="9000" y="10407"/>
                  <a:pt x="9031" y="10438"/>
                  <a:pt x="9063" y="10438"/>
                </a:cubicBezTo>
                <a:cubicBezTo>
                  <a:pt x="9063" y="10438"/>
                  <a:pt x="9063" y="10438"/>
                  <a:pt x="9063" y="10438"/>
                </a:cubicBezTo>
                <a:cubicBezTo>
                  <a:pt x="9031" y="10532"/>
                  <a:pt x="9000" y="10657"/>
                  <a:pt x="8875" y="10688"/>
                </a:cubicBezTo>
                <a:cubicBezTo>
                  <a:pt x="8844" y="10719"/>
                  <a:pt x="8844" y="10688"/>
                  <a:pt x="8813" y="10688"/>
                </a:cubicBezTo>
                <a:cubicBezTo>
                  <a:pt x="8813" y="10688"/>
                  <a:pt x="8813" y="10657"/>
                  <a:pt x="8813" y="10657"/>
                </a:cubicBezTo>
                <a:cubicBezTo>
                  <a:pt x="8813" y="10657"/>
                  <a:pt x="8813" y="10657"/>
                  <a:pt x="8813" y="10657"/>
                </a:cubicBezTo>
                <a:cubicBezTo>
                  <a:pt x="8813" y="10657"/>
                  <a:pt x="8813" y="10657"/>
                  <a:pt x="8813" y="10657"/>
                </a:cubicBezTo>
                <a:cubicBezTo>
                  <a:pt x="8813" y="10657"/>
                  <a:pt x="8813" y="10625"/>
                  <a:pt x="8813" y="10625"/>
                </a:cubicBezTo>
                <a:cubicBezTo>
                  <a:pt x="8813" y="10563"/>
                  <a:pt x="8813" y="10469"/>
                  <a:pt x="8844" y="10407"/>
                </a:cubicBezTo>
                <a:cubicBezTo>
                  <a:pt x="8844" y="10407"/>
                  <a:pt x="8844" y="10407"/>
                  <a:pt x="8844" y="10407"/>
                </a:cubicBezTo>
                <a:cubicBezTo>
                  <a:pt x="8875" y="10375"/>
                  <a:pt x="8938" y="10407"/>
                  <a:pt x="8969" y="10407"/>
                </a:cubicBezTo>
                <a:close/>
                <a:moveTo>
                  <a:pt x="6406" y="6063"/>
                </a:moveTo>
                <a:cubicBezTo>
                  <a:pt x="6406" y="6094"/>
                  <a:pt x="6375" y="6125"/>
                  <a:pt x="6406" y="6157"/>
                </a:cubicBezTo>
                <a:cubicBezTo>
                  <a:pt x="6375" y="6125"/>
                  <a:pt x="6406" y="6094"/>
                  <a:pt x="6406" y="6063"/>
                </a:cubicBezTo>
                <a:cubicBezTo>
                  <a:pt x="6406" y="6063"/>
                  <a:pt x="6406" y="6063"/>
                  <a:pt x="6406" y="6063"/>
                </a:cubicBezTo>
                <a:close/>
                <a:moveTo>
                  <a:pt x="5656" y="5625"/>
                </a:moveTo>
                <a:cubicBezTo>
                  <a:pt x="5656" y="5625"/>
                  <a:pt x="5625" y="5594"/>
                  <a:pt x="5625" y="5594"/>
                </a:cubicBezTo>
                <a:cubicBezTo>
                  <a:pt x="5625" y="5594"/>
                  <a:pt x="5656" y="5625"/>
                  <a:pt x="5656" y="5625"/>
                </a:cubicBezTo>
                <a:close/>
                <a:moveTo>
                  <a:pt x="5438" y="6032"/>
                </a:moveTo>
                <a:cubicBezTo>
                  <a:pt x="5438" y="6032"/>
                  <a:pt x="5438" y="6032"/>
                  <a:pt x="5438" y="6032"/>
                </a:cubicBezTo>
                <a:cubicBezTo>
                  <a:pt x="5438" y="6032"/>
                  <a:pt x="5438" y="6032"/>
                  <a:pt x="5438" y="6032"/>
                </a:cubicBezTo>
                <a:cubicBezTo>
                  <a:pt x="5438" y="6000"/>
                  <a:pt x="5406" y="6000"/>
                  <a:pt x="5406" y="6000"/>
                </a:cubicBezTo>
                <a:cubicBezTo>
                  <a:pt x="5406" y="6000"/>
                  <a:pt x="5438" y="6000"/>
                  <a:pt x="5438" y="6032"/>
                </a:cubicBezTo>
                <a:close/>
                <a:moveTo>
                  <a:pt x="4656" y="6532"/>
                </a:moveTo>
                <a:cubicBezTo>
                  <a:pt x="4625" y="6532"/>
                  <a:pt x="4625" y="6500"/>
                  <a:pt x="4625" y="6500"/>
                </a:cubicBezTo>
                <a:cubicBezTo>
                  <a:pt x="4594" y="6469"/>
                  <a:pt x="4594" y="6438"/>
                  <a:pt x="4563" y="6407"/>
                </a:cubicBezTo>
                <a:cubicBezTo>
                  <a:pt x="4594" y="6438"/>
                  <a:pt x="4594" y="6469"/>
                  <a:pt x="4625" y="6500"/>
                </a:cubicBezTo>
                <a:cubicBezTo>
                  <a:pt x="4625" y="6500"/>
                  <a:pt x="4625" y="6532"/>
                  <a:pt x="4656" y="6532"/>
                </a:cubicBezTo>
                <a:cubicBezTo>
                  <a:pt x="4688" y="6532"/>
                  <a:pt x="4750" y="6500"/>
                  <a:pt x="4781" y="6469"/>
                </a:cubicBezTo>
                <a:cubicBezTo>
                  <a:pt x="4750" y="6500"/>
                  <a:pt x="4688" y="6532"/>
                  <a:pt x="4656" y="6532"/>
                </a:cubicBezTo>
                <a:close/>
                <a:moveTo>
                  <a:pt x="3219" y="6438"/>
                </a:moveTo>
                <a:cubicBezTo>
                  <a:pt x="3219" y="6438"/>
                  <a:pt x="3188" y="6438"/>
                  <a:pt x="3188" y="6469"/>
                </a:cubicBezTo>
                <a:cubicBezTo>
                  <a:pt x="3188" y="6438"/>
                  <a:pt x="3219" y="6438"/>
                  <a:pt x="3219" y="6438"/>
                </a:cubicBezTo>
                <a:close/>
                <a:moveTo>
                  <a:pt x="2625" y="6594"/>
                </a:moveTo>
                <a:cubicBezTo>
                  <a:pt x="2625" y="6563"/>
                  <a:pt x="2594" y="6563"/>
                  <a:pt x="2594" y="6563"/>
                </a:cubicBezTo>
                <a:cubicBezTo>
                  <a:pt x="2594" y="6563"/>
                  <a:pt x="2625" y="6563"/>
                  <a:pt x="2625" y="6594"/>
                </a:cubicBezTo>
                <a:close/>
                <a:moveTo>
                  <a:pt x="1781" y="6063"/>
                </a:moveTo>
                <a:cubicBezTo>
                  <a:pt x="1781" y="6063"/>
                  <a:pt x="1781" y="6032"/>
                  <a:pt x="1781" y="6032"/>
                </a:cubicBezTo>
                <a:cubicBezTo>
                  <a:pt x="1781" y="6032"/>
                  <a:pt x="1781" y="6032"/>
                  <a:pt x="1781" y="6032"/>
                </a:cubicBezTo>
                <a:cubicBezTo>
                  <a:pt x="1750" y="6032"/>
                  <a:pt x="1750" y="6032"/>
                  <a:pt x="1750" y="6032"/>
                </a:cubicBezTo>
                <a:cubicBezTo>
                  <a:pt x="1750" y="6032"/>
                  <a:pt x="1750" y="6032"/>
                  <a:pt x="1781" y="6032"/>
                </a:cubicBezTo>
                <a:cubicBezTo>
                  <a:pt x="1781" y="6032"/>
                  <a:pt x="1781" y="6032"/>
                  <a:pt x="1781" y="6032"/>
                </a:cubicBezTo>
                <a:cubicBezTo>
                  <a:pt x="1781" y="6032"/>
                  <a:pt x="1781" y="6063"/>
                  <a:pt x="1781" y="6063"/>
                </a:cubicBezTo>
                <a:cubicBezTo>
                  <a:pt x="1781" y="6094"/>
                  <a:pt x="1781" y="6094"/>
                  <a:pt x="1813" y="6094"/>
                </a:cubicBezTo>
                <a:cubicBezTo>
                  <a:pt x="1781" y="6094"/>
                  <a:pt x="1781" y="6094"/>
                  <a:pt x="1781" y="6063"/>
                </a:cubicBezTo>
                <a:close/>
                <a:moveTo>
                  <a:pt x="4344" y="12438"/>
                </a:moveTo>
                <a:cubicBezTo>
                  <a:pt x="4344" y="12438"/>
                  <a:pt x="4344" y="12438"/>
                  <a:pt x="4344" y="12438"/>
                </a:cubicBezTo>
                <a:cubicBezTo>
                  <a:pt x="4344" y="12438"/>
                  <a:pt x="4344" y="12438"/>
                  <a:pt x="4344" y="12438"/>
                </a:cubicBezTo>
                <a:cubicBezTo>
                  <a:pt x="4344" y="12438"/>
                  <a:pt x="4344" y="12438"/>
                  <a:pt x="4344" y="12438"/>
                </a:cubicBezTo>
                <a:cubicBezTo>
                  <a:pt x="4438" y="12407"/>
                  <a:pt x="4531" y="12344"/>
                  <a:pt x="4594" y="12250"/>
                </a:cubicBezTo>
                <a:cubicBezTo>
                  <a:pt x="4688" y="12250"/>
                  <a:pt x="4688" y="12157"/>
                  <a:pt x="4750" y="12094"/>
                </a:cubicBezTo>
                <a:cubicBezTo>
                  <a:pt x="4781" y="12032"/>
                  <a:pt x="4781" y="11969"/>
                  <a:pt x="4813" y="11907"/>
                </a:cubicBezTo>
                <a:cubicBezTo>
                  <a:pt x="4813" y="11907"/>
                  <a:pt x="4813" y="11907"/>
                  <a:pt x="4813" y="11907"/>
                </a:cubicBezTo>
                <a:cubicBezTo>
                  <a:pt x="4844" y="11907"/>
                  <a:pt x="4844" y="11907"/>
                  <a:pt x="4875" y="11875"/>
                </a:cubicBezTo>
                <a:cubicBezTo>
                  <a:pt x="4875" y="11938"/>
                  <a:pt x="4813" y="12000"/>
                  <a:pt x="4813" y="12032"/>
                </a:cubicBezTo>
                <a:cubicBezTo>
                  <a:pt x="4875" y="12125"/>
                  <a:pt x="4844" y="12188"/>
                  <a:pt x="4781" y="12250"/>
                </a:cubicBezTo>
                <a:cubicBezTo>
                  <a:pt x="4781" y="12250"/>
                  <a:pt x="4781" y="12282"/>
                  <a:pt x="4781" y="12313"/>
                </a:cubicBezTo>
                <a:cubicBezTo>
                  <a:pt x="4813" y="12313"/>
                  <a:pt x="4813" y="12313"/>
                  <a:pt x="4844" y="12282"/>
                </a:cubicBezTo>
                <a:cubicBezTo>
                  <a:pt x="4844" y="12282"/>
                  <a:pt x="4875" y="12282"/>
                  <a:pt x="4875" y="12250"/>
                </a:cubicBezTo>
                <a:cubicBezTo>
                  <a:pt x="4875" y="12250"/>
                  <a:pt x="4875" y="12250"/>
                  <a:pt x="4875" y="12250"/>
                </a:cubicBezTo>
                <a:cubicBezTo>
                  <a:pt x="4875" y="12250"/>
                  <a:pt x="4875" y="12250"/>
                  <a:pt x="4875" y="12250"/>
                </a:cubicBezTo>
                <a:cubicBezTo>
                  <a:pt x="4906" y="12219"/>
                  <a:pt x="4906" y="12188"/>
                  <a:pt x="4938" y="12250"/>
                </a:cubicBezTo>
                <a:cubicBezTo>
                  <a:pt x="4969" y="12313"/>
                  <a:pt x="4938" y="12313"/>
                  <a:pt x="4906" y="12344"/>
                </a:cubicBezTo>
                <a:cubicBezTo>
                  <a:pt x="4875" y="12344"/>
                  <a:pt x="4844" y="12344"/>
                  <a:pt x="4844" y="12375"/>
                </a:cubicBezTo>
                <a:cubicBezTo>
                  <a:pt x="4844" y="12407"/>
                  <a:pt x="4875" y="12407"/>
                  <a:pt x="4906" y="12375"/>
                </a:cubicBezTo>
                <a:cubicBezTo>
                  <a:pt x="4969" y="12375"/>
                  <a:pt x="5031" y="12344"/>
                  <a:pt x="5094" y="12344"/>
                </a:cubicBezTo>
                <a:cubicBezTo>
                  <a:pt x="5156" y="12313"/>
                  <a:pt x="5156" y="12344"/>
                  <a:pt x="5156" y="12375"/>
                </a:cubicBezTo>
                <a:cubicBezTo>
                  <a:pt x="5156" y="12375"/>
                  <a:pt x="5156" y="12375"/>
                  <a:pt x="5156" y="12375"/>
                </a:cubicBezTo>
                <a:cubicBezTo>
                  <a:pt x="5125" y="12438"/>
                  <a:pt x="5094" y="12500"/>
                  <a:pt x="5000" y="12500"/>
                </a:cubicBezTo>
                <a:cubicBezTo>
                  <a:pt x="4938" y="12500"/>
                  <a:pt x="4875" y="12532"/>
                  <a:pt x="4906" y="12594"/>
                </a:cubicBezTo>
                <a:cubicBezTo>
                  <a:pt x="4875" y="12594"/>
                  <a:pt x="4875" y="12594"/>
                  <a:pt x="4844" y="12594"/>
                </a:cubicBezTo>
                <a:cubicBezTo>
                  <a:pt x="4844" y="12500"/>
                  <a:pt x="4750" y="12500"/>
                  <a:pt x="4656" y="12563"/>
                </a:cubicBezTo>
                <a:cubicBezTo>
                  <a:pt x="4656" y="12563"/>
                  <a:pt x="4625" y="12563"/>
                  <a:pt x="4625" y="12563"/>
                </a:cubicBezTo>
                <a:cubicBezTo>
                  <a:pt x="4563" y="12594"/>
                  <a:pt x="4531" y="12594"/>
                  <a:pt x="4500" y="12625"/>
                </a:cubicBezTo>
                <a:cubicBezTo>
                  <a:pt x="4500" y="12625"/>
                  <a:pt x="4531" y="12625"/>
                  <a:pt x="4531" y="12625"/>
                </a:cubicBezTo>
                <a:cubicBezTo>
                  <a:pt x="4531" y="12657"/>
                  <a:pt x="4531" y="12657"/>
                  <a:pt x="4531" y="12657"/>
                </a:cubicBezTo>
                <a:cubicBezTo>
                  <a:pt x="4531" y="12657"/>
                  <a:pt x="4531" y="12657"/>
                  <a:pt x="4531" y="12625"/>
                </a:cubicBezTo>
                <a:cubicBezTo>
                  <a:pt x="4531" y="12625"/>
                  <a:pt x="4500" y="12625"/>
                  <a:pt x="4500" y="12625"/>
                </a:cubicBezTo>
                <a:cubicBezTo>
                  <a:pt x="4469" y="12625"/>
                  <a:pt x="4438" y="12625"/>
                  <a:pt x="4406" y="12625"/>
                </a:cubicBezTo>
                <a:cubicBezTo>
                  <a:pt x="4406" y="12625"/>
                  <a:pt x="4406" y="12625"/>
                  <a:pt x="4406" y="12625"/>
                </a:cubicBezTo>
                <a:cubicBezTo>
                  <a:pt x="4406" y="12625"/>
                  <a:pt x="4406" y="12625"/>
                  <a:pt x="4406" y="12625"/>
                </a:cubicBezTo>
                <a:cubicBezTo>
                  <a:pt x="4406" y="12625"/>
                  <a:pt x="4375" y="12625"/>
                  <a:pt x="4344" y="12625"/>
                </a:cubicBezTo>
                <a:cubicBezTo>
                  <a:pt x="4344" y="12594"/>
                  <a:pt x="4313" y="12563"/>
                  <a:pt x="4250" y="12563"/>
                </a:cubicBezTo>
                <a:cubicBezTo>
                  <a:pt x="4250" y="12563"/>
                  <a:pt x="4250" y="12563"/>
                  <a:pt x="4250" y="12563"/>
                </a:cubicBezTo>
                <a:cubicBezTo>
                  <a:pt x="4250" y="12563"/>
                  <a:pt x="4250" y="12563"/>
                  <a:pt x="4250" y="12563"/>
                </a:cubicBezTo>
                <a:cubicBezTo>
                  <a:pt x="4250" y="12500"/>
                  <a:pt x="4344" y="12500"/>
                  <a:pt x="4344" y="12438"/>
                </a:cubicBezTo>
                <a:close/>
                <a:moveTo>
                  <a:pt x="4125" y="12532"/>
                </a:moveTo>
                <a:cubicBezTo>
                  <a:pt x="4094" y="12532"/>
                  <a:pt x="4063" y="12532"/>
                  <a:pt x="4031" y="12532"/>
                </a:cubicBezTo>
                <a:cubicBezTo>
                  <a:pt x="4063" y="12532"/>
                  <a:pt x="4094" y="12532"/>
                  <a:pt x="4125" y="12532"/>
                </a:cubicBezTo>
                <a:close/>
                <a:moveTo>
                  <a:pt x="1625" y="14313"/>
                </a:moveTo>
                <a:cubicBezTo>
                  <a:pt x="1594" y="14313"/>
                  <a:pt x="1531" y="14313"/>
                  <a:pt x="1500" y="14313"/>
                </a:cubicBezTo>
                <a:cubicBezTo>
                  <a:pt x="1469" y="14313"/>
                  <a:pt x="1438" y="14313"/>
                  <a:pt x="1406" y="14313"/>
                </a:cubicBezTo>
                <a:cubicBezTo>
                  <a:pt x="1438" y="14313"/>
                  <a:pt x="1469" y="14313"/>
                  <a:pt x="1500" y="14313"/>
                </a:cubicBezTo>
                <a:cubicBezTo>
                  <a:pt x="1531" y="14313"/>
                  <a:pt x="1594" y="14313"/>
                  <a:pt x="1625" y="14313"/>
                </a:cubicBezTo>
                <a:close/>
                <a:moveTo>
                  <a:pt x="344" y="13907"/>
                </a:moveTo>
                <a:cubicBezTo>
                  <a:pt x="375" y="13907"/>
                  <a:pt x="375" y="13907"/>
                  <a:pt x="406" y="13907"/>
                </a:cubicBezTo>
                <a:cubicBezTo>
                  <a:pt x="375" y="13907"/>
                  <a:pt x="375" y="13907"/>
                  <a:pt x="344" y="13907"/>
                </a:cubicBezTo>
                <a:cubicBezTo>
                  <a:pt x="313" y="13907"/>
                  <a:pt x="313" y="13907"/>
                  <a:pt x="313" y="13938"/>
                </a:cubicBezTo>
                <a:cubicBezTo>
                  <a:pt x="313" y="13907"/>
                  <a:pt x="313" y="13907"/>
                  <a:pt x="344" y="13907"/>
                </a:cubicBezTo>
                <a:close/>
                <a:moveTo>
                  <a:pt x="1156" y="15282"/>
                </a:moveTo>
                <a:cubicBezTo>
                  <a:pt x="1156" y="15250"/>
                  <a:pt x="1156" y="15250"/>
                  <a:pt x="1125" y="15250"/>
                </a:cubicBezTo>
                <a:cubicBezTo>
                  <a:pt x="1156" y="15250"/>
                  <a:pt x="1156" y="15250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ubicBezTo>
                  <a:pt x="1156" y="15282"/>
                  <a:pt x="1156" y="15282"/>
                  <a:pt x="1156" y="15282"/>
                </a:cubicBezTo>
                <a:close/>
                <a:moveTo>
                  <a:pt x="2750" y="15657"/>
                </a:moveTo>
                <a:cubicBezTo>
                  <a:pt x="2750" y="15594"/>
                  <a:pt x="2781" y="15594"/>
                  <a:pt x="2844" y="15563"/>
                </a:cubicBezTo>
                <a:cubicBezTo>
                  <a:pt x="2781" y="15594"/>
                  <a:pt x="2750" y="15594"/>
                  <a:pt x="2750" y="15657"/>
                </a:cubicBezTo>
                <a:cubicBezTo>
                  <a:pt x="2688" y="15657"/>
                  <a:pt x="2656" y="15657"/>
                  <a:pt x="2625" y="15688"/>
                </a:cubicBezTo>
                <a:cubicBezTo>
                  <a:pt x="2656" y="15657"/>
                  <a:pt x="2688" y="15657"/>
                  <a:pt x="2750" y="15657"/>
                </a:cubicBezTo>
                <a:close/>
                <a:moveTo>
                  <a:pt x="2656" y="16969"/>
                </a:moveTo>
                <a:cubicBezTo>
                  <a:pt x="2656" y="16969"/>
                  <a:pt x="2656" y="17000"/>
                  <a:pt x="2656" y="17000"/>
                </a:cubicBezTo>
                <a:cubicBezTo>
                  <a:pt x="2656" y="17000"/>
                  <a:pt x="2656" y="16969"/>
                  <a:pt x="2656" y="16969"/>
                </a:cubicBezTo>
                <a:close/>
                <a:moveTo>
                  <a:pt x="4469" y="17032"/>
                </a:moveTo>
                <a:cubicBezTo>
                  <a:pt x="4469" y="17032"/>
                  <a:pt x="4469" y="17032"/>
                  <a:pt x="4469" y="17032"/>
                </a:cubicBezTo>
                <a:cubicBezTo>
                  <a:pt x="4469" y="17032"/>
                  <a:pt x="4469" y="17032"/>
                  <a:pt x="4469" y="17032"/>
                </a:cubicBezTo>
                <a:close/>
                <a:moveTo>
                  <a:pt x="5219" y="16375"/>
                </a:moveTo>
                <a:cubicBezTo>
                  <a:pt x="5250" y="16313"/>
                  <a:pt x="5281" y="16219"/>
                  <a:pt x="5344" y="16125"/>
                </a:cubicBezTo>
                <a:cubicBezTo>
                  <a:pt x="5344" y="16125"/>
                  <a:pt x="5344" y="16125"/>
                  <a:pt x="5344" y="16125"/>
                </a:cubicBezTo>
                <a:cubicBezTo>
                  <a:pt x="5281" y="16219"/>
                  <a:pt x="5250" y="16313"/>
                  <a:pt x="5219" y="16375"/>
                </a:cubicBezTo>
                <a:close/>
                <a:moveTo>
                  <a:pt x="5375" y="16063"/>
                </a:moveTo>
                <a:cubicBezTo>
                  <a:pt x="5375" y="16094"/>
                  <a:pt x="5375" y="16125"/>
                  <a:pt x="5344" y="16125"/>
                </a:cubicBezTo>
                <a:cubicBezTo>
                  <a:pt x="5375" y="16125"/>
                  <a:pt x="5375" y="16094"/>
                  <a:pt x="5375" y="16063"/>
                </a:cubicBezTo>
                <a:cubicBezTo>
                  <a:pt x="5406" y="16063"/>
                  <a:pt x="5469" y="16032"/>
                  <a:pt x="5500" y="16000"/>
                </a:cubicBezTo>
                <a:cubicBezTo>
                  <a:pt x="5469" y="16032"/>
                  <a:pt x="5406" y="16063"/>
                  <a:pt x="5375" y="16063"/>
                </a:cubicBezTo>
                <a:close/>
                <a:moveTo>
                  <a:pt x="6438" y="17875"/>
                </a:moveTo>
                <a:cubicBezTo>
                  <a:pt x="6469" y="17875"/>
                  <a:pt x="6500" y="17875"/>
                  <a:pt x="6500" y="17844"/>
                </a:cubicBezTo>
                <a:cubicBezTo>
                  <a:pt x="6531" y="17782"/>
                  <a:pt x="6594" y="17750"/>
                  <a:pt x="6625" y="17719"/>
                </a:cubicBezTo>
                <a:cubicBezTo>
                  <a:pt x="6594" y="17750"/>
                  <a:pt x="6531" y="17782"/>
                  <a:pt x="6500" y="17844"/>
                </a:cubicBezTo>
                <a:cubicBezTo>
                  <a:pt x="6500" y="17875"/>
                  <a:pt x="6469" y="17875"/>
                  <a:pt x="6438" y="17875"/>
                </a:cubicBezTo>
                <a:close/>
                <a:moveTo>
                  <a:pt x="6563" y="19094"/>
                </a:moveTo>
                <a:cubicBezTo>
                  <a:pt x="6656" y="19000"/>
                  <a:pt x="6719" y="18938"/>
                  <a:pt x="6781" y="18844"/>
                </a:cubicBezTo>
                <a:cubicBezTo>
                  <a:pt x="6781" y="18813"/>
                  <a:pt x="6813" y="18782"/>
                  <a:pt x="6844" y="18750"/>
                </a:cubicBezTo>
                <a:cubicBezTo>
                  <a:pt x="7000" y="18625"/>
                  <a:pt x="7125" y="18500"/>
                  <a:pt x="7250" y="18375"/>
                </a:cubicBezTo>
                <a:cubicBezTo>
                  <a:pt x="7375" y="18219"/>
                  <a:pt x="7563" y="18094"/>
                  <a:pt x="7656" y="17938"/>
                </a:cubicBezTo>
                <a:cubicBezTo>
                  <a:pt x="7656" y="17938"/>
                  <a:pt x="7656" y="17938"/>
                  <a:pt x="7656" y="17938"/>
                </a:cubicBezTo>
                <a:cubicBezTo>
                  <a:pt x="7688" y="17907"/>
                  <a:pt x="7750" y="17907"/>
                  <a:pt x="7750" y="17875"/>
                </a:cubicBezTo>
                <a:cubicBezTo>
                  <a:pt x="7750" y="17875"/>
                  <a:pt x="7750" y="17875"/>
                  <a:pt x="7750" y="17844"/>
                </a:cubicBezTo>
                <a:cubicBezTo>
                  <a:pt x="7750" y="17875"/>
                  <a:pt x="7750" y="17875"/>
                  <a:pt x="7750" y="17875"/>
                </a:cubicBezTo>
                <a:cubicBezTo>
                  <a:pt x="7813" y="17813"/>
                  <a:pt x="7875" y="17782"/>
                  <a:pt x="7875" y="17719"/>
                </a:cubicBezTo>
                <a:cubicBezTo>
                  <a:pt x="7875" y="17719"/>
                  <a:pt x="7875" y="17719"/>
                  <a:pt x="7875" y="17719"/>
                </a:cubicBezTo>
                <a:cubicBezTo>
                  <a:pt x="7906" y="17719"/>
                  <a:pt x="7938" y="17688"/>
                  <a:pt x="7938" y="17657"/>
                </a:cubicBezTo>
                <a:cubicBezTo>
                  <a:pt x="7969" y="17657"/>
                  <a:pt x="7969" y="17657"/>
                  <a:pt x="8000" y="17625"/>
                </a:cubicBezTo>
                <a:cubicBezTo>
                  <a:pt x="8031" y="17625"/>
                  <a:pt x="8031" y="17625"/>
                  <a:pt x="8031" y="17594"/>
                </a:cubicBezTo>
                <a:cubicBezTo>
                  <a:pt x="8094" y="17563"/>
                  <a:pt x="8156" y="17500"/>
                  <a:pt x="8219" y="17469"/>
                </a:cubicBezTo>
                <a:cubicBezTo>
                  <a:pt x="8250" y="17500"/>
                  <a:pt x="8219" y="17532"/>
                  <a:pt x="8188" y="17563"/>
                </a:cubicBezTo>
                <a:cubicBezTo>
                  <a:pt x="8156" y="17625"/>
                  <a:pt x="8125" y="17688"/>
                  <a:pt x="8094" y="17719"/>
                </a:cubicBezTo>
                <a:cubicBezTo>
                  <a:pt x="8094" y="17782"/>
                  <a:pt x="8094" y="17875"/>
                  <a:pt x="8000" y="17875"/>
                </a:cubicBezTo>
                <a:cubicBezTo>
                  <a:pt x="8000" y="17875"/>
                  <a:pt x="7969" y="17875"/>
                  <a:pt x="7969" y="17875"/>
                </a:cubicBezTo>
                <a:cubicBezTo>
                  <a:pt x="8000" y="17938"/>
                  <a:pt x="7938" y="17969"/>
                  <a:pt x="7938" y="18000"/>
                </a:cubicBezTo>
                <a:cubicBezTo>
                  <a:pt x="7906" y="18094"/>
                  <a:pt x="7844" y="18157"/>
                  <a:pt x="7875" y="18250"/>
                </a:cubicBezTo>
                <a:cubicBezTo>
                  <a:pt x="7875" y="18344"/>
                  <a:pt x="7813" y="18438"/>
                  <a:pt x="7844" y="18532"/>
                </a:cubicBezTo>
                <a:cubicBezTo>
                  <a:pt x="7844" y="18532"/>
                  <a:pt x="7844" y="18563"/>
                  <a:pt x="7813" y="18563"/>
                </a:cubicBezTo>
                <a:cubicBezTo>
                  <a:pt x="7719" y="18625"/>
                  <a:pt x="7688" y="18688"/>
                  <a:pt x="7719" y="18782"/>
                </a:cubicBezTo>
                <a:cubicBezTo>
                  <a:pt x="7719" y="18813"/>
                  <a:pt x="7719" y="18844"/>
                  <a:pt x="7719" y="18875"/>
                </a:cubicBezTo>
                <a:cubicBezTo>
                  <a:pt x="7719" y="18875"/>
                  <a:pt x="7719" y="18907"/>
                  <a:pt x="7719" y="18907"/>
                </a:cubicBezTo>
                <a:cubicBezTo>
                  <a:pt x="7781" y="18907"/>
                  <a:pt x="7750" y="18938"/>
                  <a:pt x="7750" y="18969"/>
                </a:cubicBezTo>
                <a:cubicBezTo>
                  <a:pt x="7750" y="19032"/>
                  <a:pt x="7750" y="19032"/>
                  <a:pt x="7781" y="19032"/>
                </a:cubicBezTo>
                <a:cubicBezTo>
                  <a:pt x="7781" y="19063"/>
                  <a:pt x="7750" y="19063"/>
                  <a:pt x="7750" y="19094"/>
                </a:cubicBezTo>
                <a:cubicBezTo>
                  <a:pt x="7750" y="19094"/>
                  <a:pt x="7750" y="19094"/>
                  <a:pt x="7750" y="19094"/>
                </a:cubicBezTo>
                <a:cubicBezTo>
                  <a:pt x="7719" y="19094"/>
                  <a:pt x="7719" y="19125"/>
                  <a:pt x="7656" y="19125"/>
                </a:cubicBezTo>
                <a:cubicBezTo>
                  <a:pt x="7625" y="19125"/>
                  <a:pt x="7688" y="19063"/>
                  <a:pt x="7625" y="19032"/>
                </a:cubicBezTo>
                <a:cubicBezTo>
                  <a:pt x="7594" y="19094"/>
                  <a:pt x="7563" y="19157"/>
                  <a:pt x="7500" y="19157"/>
                </a:cubicBezTo>
                <a:cubicBezTo>
                  <a:pt x="7375" y="19188"/>
                  <a:pt x="7344" y="19282"/>
                  <a:pt x="7250" y="19344"/>
                </a:cubicBezTo>
                <a:cubicBezTo>
                  <a:pt x="7250" y="19313"/>
                  <a:pt x="7250" y="19282"/>
                  <a:pt x="7250" y="19250"/>
                </a:cubicBezTo>
                <a:cubicBezTo>
                  <a:pt x="7250" y="19250"/>
                  <a:pt x="7250" y="19250"/>
                  <a:pt x="7250" y="19250"/>
                </a:cubicBezTo>
                <a:cubicBezTo>
                  <a:pt x="7313" y="19250"/>
                  <a:pt x="7313" y="19219"/>
                  <a:pt x="7313" y="19188"/>
                </a:cubicBezTo>
                <a:cubicBezTo>
                  <a:pt x="7344" y="18969"/>
                  <a:pt x="7344" y="18782"/>
                  <a:pt x="7313" y="18563"/>
                </a:cubicBezTo>
                <a:cubicBezTo>
                  <a:pt x="7313" y="18532"/>
                  <a:pt x="7250" y="18500"/>
                  <a:pt x="7250" y="18532"/>
                </a:cubicBezTo>
                <a:cubicBezTo>
                  <a:pt x="7188" y="18563"/>
                  <a:pt x="7156" y="18625"/>
                  <a:pt x="7125" y="18688"/>
                </a:cubicBezTo>
                <a:cubicBezTo>
                  <a:pt x="7094" y="18719"/>
                  <a:pt x="7125" y="18750"/>
                  <a:pt x="7125" y="18782"/>
                </a:cubicBezTo>
                <a:cubicBezTo>
                  <a:pt x="7125" y="18813"/>
                  <a:pt x="7156" y="18813"/>
                  <a:pt x="7125" y="18813"/>
                </a:cubicBezTo>
                <a:cubicBezTo>
                  <a:pt x="7094" y="18813"/>
                  <a:pt x="7094" y="18813"/>
                  <a:pt x="7094" y="18813"/>
                </a:cubicBezTo>
                <a:cubicBezTo>
                  <a:pt x="7094" y="18813"/>
                  <a:pt x="7094" y="18813"/>
                  <a:pt x="7125" y="18813"/>
                </a:cubicBezTo>
                <a:cubicBezTo>
                  <a:pt x="7125" y="18813"/>
                  <a:pt x="7125" y="18813"/>
                  <a:pt x="7125" y="18813"/>
                </a:cubicBezTo>
                <a:cubicBezTo>
                  <a:pt x="7125" y="18875"/>
                  <a:pt x="7094" y="18907"/>
                  <a:pt x="7063" y="18907"/>
                </a:cubicBezTo>
                <a:cubicBezTo>
                  <a:pt x="7000" y="18907"/>
                  <a:pt x="7000" y="18969"/>
                  <a:pt x="6969" y="19000"/>
                </a:cubicBezTo>
                <a:cubicBezTo>
                  <a:pt x="6938" y="19063"/>
                  <a:pt x="6906" y="19094"/>
                  <a:pt x="6844" y="19125"/>
                </a:cubicBezTo>
                <a:cubicBezTo>
                  <a:pt x="6719" y="19125"/>
                  <a:pt x="6625" y="19250"/>
                  <a:pt x="6625" y="19375"/>
                </a:cubicBezTo>
                <a:cubicBezTo>
                  <a:pt x="6594" y="19407"/>
                  <a:pt x="6625" y="19469"/>
                  <a:pt x="6656" y="19532"/>
                </a:cubicBezTo>
                <a:cubicBezTo>
                  <a:pt x="6688" y="19563"/>
                  <a:pt x="6719" y="19625"/>
                  <a:pt x="6656" y="19657"/>
                </a:cubicBezTo>
                <a:cubicBezTo>
                  <a:pt x="6625" y="19688"/>
                  <a:pt x="6594" y="19688"/>
                  <a:pt x="6594" y="19625"/>
                </a:cubicBezTo>
                <a:cubicBezTo>
                  <a:pt x="6563" y="19532"/>
                  <a:pt x="6594" y="19407"/>
                  <a:pt x="6531" y="19313"/>
                </a:cubicBezTo>
                <a:cubicBezTo>
                  <a:pt x="6438" y="19407"/>
                  <a:pt x="6438" y="19532"/>
                  <a:pt x="6375" y="19657"/>
                </a:cubicBezTo>
                <a:cubicBezTo>
                  <a:pt x="6344" y="19688"/>
                  <a:pt x="6219" y="19782"/>
                  <a:pt x="6188" y="19782"/>
                </a:cubicBezTo>
                <a:cubicBezTo>
                  <a:pt x="6156" y="19719"/>
                  <a:pt x="6125" y="19719"/>
                  <a:pt x="6063" y="19782"/>
                </a:cubicBezTo>
                <a:cubicBezTo>
                  <a:pt x="6031" y="19813"/>
                  <a:pt x="6031" y="19844"/>
                  <a:pt x="6031" y="19907"/>
                </a:cubicBezTo>
                <a:cubicBezTo>
                  <a:pt x="6031" y="19938"/>
                  <a:pt x="6063" y="19969"/>
                  <a:pt x="6000" y="20032"/>
                </a:cubicBezTo>
                <a:cubicBezTo>
                  <a:pt x="5969" y="20032"/>
                  <a:pt x="5906" y="20063"/>
                  <a:pt x="5938" y="20125"/>
                </a:cubicBezTo>
                <a:cubicBezTo>
                  <a:pt x="5938" y="20125"/>
                  <a:pt x="5938" y="20125"/>
                  <a:pt x="5938" y="20125"/>
                </a:cubicBezTo>
                <a:cubicBezTo>
                  <a:pt x="5938" y="20125"/>
                  <a:pt x="5938" y="20125"/>
                  <a:pt x="5938" y="20125"/>
                </a:cubicBezTo>
                <a:cubicBezTo>
                  <a:pt x="5813" y="20125"/>
                  <a:pt x="5750" y="20219"/>
                  <a:pt x="5719" y="20282"/>
                </a:cubicBezTo>
                <a:cubicBezTo>
                  <a:pt x="5656" y="20313"/>
                  <a:pt x="5625" y="20313"/>
                  <a:pt x="5594" y="20375"/>
                </a:cubicBezTo>
                <a:cubicBezTo>
                  <a:pt x="5563" y="20375"/>
                  <a:pt x="5563" y="20375"/>
                  <a:pt x="5563" y="20344"/>
                </a:cubicBezTo>
                <a:cubicBezTo>
                  <a:pt x="5531" y="20344"/>
                  <a:pt x="5531" y="20313"/>
                  <a:pt x="5563" y="20313"/>
                </a:cubicBezTo>
                <a:cubicBezTo>
                  <a:pt x="5688" y="20125"/>
                  <a:pt x="5813" y="19938"/>
                  <a:pt x="5969" y="19782"/>
                </a:cubicBezTo>
                <a:cubicBezTo>
                  <a:pt x="5938" y="19782"/>
                  <a:pt x="5906" y="19782"/>
                  <a:pt x="5875" y="19782"/>
                </a:cubicBezTo>
                <a:cubicBezTo>
                  <a:pt x="5906" y="19782"/>
                  <a:pt x="5938" y="19782"/>
                  <a:pt x="5969" y="19782"/>
                </a:cubicBezTo>
                <a:cubicBezTo>
                  <a:pt x="5969" y="19782"/>
                  <a:pt x="5969" y="19782"/>
                  <a:pt x="5969" y="19782"/>
                </a:cubicBezTo>
                <a:cubicBezTo>
                  <a:pt x="5969" y="19782"/>
                  <a:pt x="5969" y="19782"/>
                  <a:pt x="5969" y="19750"/>
                </a:cubicBezTo>
                <a:cubicBezTo>
                  <a:pt x="6000" y="19719"/>
                  <a:pt x="6031" y="19688"/>
                  <a:pt x="6063" y="19657"/>
                </a:cubicBezTo>
                <a:cubicBezTo>
                  <a:pt x="6063" y="19657"/>
                  <a:pt x="6063" y="19657"/>
                  <a:pt x="6063" y="19657"/>
                </a:cubicBezTo>
                <a:cubicBezTo>
                  <a:pt x="6125" y="19532"/>
                  <a:pt x="6219" y="19469"/>
                  <a:pt x="6313" y="19375"/>
                </a:cubicBezTo>
                <a:cubicBezTo>
                  <a:pt x="6344" y="19344"/>
                  <a:pt x="6375" y="19313"/>
                  <a:pt x="6406" y="19250"/>
                </a:cubicBezTo>
                <a:cubicBezTo>
                  <a:pt x="6406" y="19250"/>
                  <a:pt x="6406" y="19250"/>
                  <a:pt x="6406" y="19250"/>
                </a:cubicBezTo>
                <a:cubicBezTo>
                  <a:pt x="6406" y="19250"/>
                  <a:pt x="6406" y="19250"/>
                  <a:pt x="6438" y="19250"/>
                </a:cubicBezTo>
                <a:cubicBezTo>
                  <a:pt x="6406" y="19188"/>
                  <a:pt x="6406" y="19157"/>
                  <a:pt x="6438" y="19125"/>
                </a:cubicBezTo>
                <a:cubicBezTo>
                  <a:pt x="6438" y="19125"/>
                  <a:pt x="6438" y="19125"/>
                  <a:pt x="6469" y="19094"/>
                </a:cubicBezTo>
                <a:cubicBezTo>
                  <a:pt x="6438" y="19125"/>
                  <a:pt x="6438" y="19125"/>
                  <a:pt x="6438" y="19125"/>
                </a:cubicBezTo>
                <a:cubicBezTo>
                  <a:pt x="6406" y="19157"/>
                  <a:pt x="6406" y="19188"/>
                  <a:pt x="6438" y="19250"/>
                </a:cubicBezTo>
                <a:cubicBezTo>
                  <a:pt x="6500" y="19219"/>
                  <a:pt x="6531" y="19157"/>
                  <a:pt x="6563" y="19094"/>
                </a:cubicBezTo>
                <a:cubicBezTo>
                  <a:pt x="6563" y="19094"/>
                  <a:pt x="6563" y="19094"/>
                  <a:pt x="6563" y="19094"/>
                </a:cubicBezTo>
                <a:cubicBezTo>
                  <a:pt x="6563" y="19063"/>
                  <a:pt x="6563" y="19063"/>
                  <a:pt x="6531" y="19032"/>
                </a:cubicBezTo>
                <a:cubicBezTo>
                  <a:pt x="6563" y="19063"/>
                  <a:pt x="6563" y="19063"/>
                  <a:pt x="6563" y="19094"/>
                </a:cubicBezTo>
                <a:close/>
                <a:moveTo>
                  <a:pt x="6375" y="19250"/>
                </a:moveTo>
                <a:cubicBezTo>
                  <a:pt x="6375" y="19250"/>
                  <a:pt x="6375" y="19250"/>
                  <a:pt x="6375" y="19250"/>
                </a:cubicBezTo>
                <a:cubicBezTo>
                  <a:pt x="6375" y="19250"/>
                  <a:pt x="6375" y="19250"/>
                  <a:pt x="6344" y="19250"/>
                </a:cubicBezTo>
                <a:cubicBezTo>
                  <a:pt x="6344" y="19250"/>
                  <a:pt x="6313" y="19250"/>
                  <a:pt x="6313" y="19250"/>
                </a:cubicBezTo>
                <a:cubicBezTo>
                  <a:pt x="6313" y="19250"/>
                  <a:pt x="6344" y="19250"/>
                  <a:pt x="6344" y="19250"/>
                </a:cubicBezTo>
                <a:cubicBezTo>
                  <a:pt x="6375" y="19250"/>
                  <a:pt x="6375" y="19250"/>
                  <a:pt x="6375" y="19250"/>
                </a:cubicBezTo>
                <a:close/>
                <a:moveTo>
                  <a:pt x="7219" y="19375"/>
                </a:moveTo>
                <a:cubicBezTo>
                  <a:pt x="7219" y="19407"/>
                  <a:pt x="7219" y="19438"/>
                  <a:pt x="7250" y="19469"/>
                </a:cubicBezTo>
                <a:cubicBezTo>
                  <a:pt x="7219" y="19438"/>
                  <a:pt x="7219" y="19407"/>
                  <a:pt x="7219" y="19375"/>
                </a:cubicBezTo>
                <a:close/>
                <a:moveTo>
                  <a:pt x="7250" y="19563"/>
                </a:moveTo>
                <a:cubicBezTo>
                  <a:pt x="7250" y="19532"/>
                  <a:pt x="7250" y="19500"/>
                  <a:pt x="7250" y="19469"/>
                </a:cubicBezTo>
                <a:cubicBezTo>
                  <a:pt x="7250" y="19469"/>
                  <a:pt x="7250" y="19469"/>
                  <a:pt x="7250" y="19469"/>
                </a:cubicBezTo>
                <a:cubicBezTo>
                  <a:pt x="7250" y="19500"/>
                  <a:pt x="7250" y="19532"/>
                  <a:pt x="7250" y="19563"/>
                </a:cubicBezTo>
                <a:close/>
                <a:moveTo>
                  <a:pt x="8844" y="17938"/>
                </a:moveTo>
                <a:cubicBezTo>
                  <a:pt x="8844" y="17938"/>
                  <a:pt x="8844" y="17938"/>
                  <a:pt x="8844" y="17938"/>
                </a:cubicBezTo>
                <a:cubicBezTo>
                  <a:pt x="8844" y="17938"/>
                  <a:pt x="8844" y="17938"/>
                  <a:pt x="8844" y="17938"/>
                </a:cubicBezTo>
                <a:close/>
                <a:moveTo>
                  <a:pt x="9844" y="17969"/>
                </a:moveTo>
                <a:cubicBezTo>
                  <a:pt x="9844" y="17969"/>
                  <a:pt x="9844" y="17969"/>
                  <a:pt x="9844" y="17938"/>
                </a:cubicBezTo>
                <a:cubicBezTo>
                  <a:pt x="9844" y="17969"/>
                  <a:pt x="9844" y="17969"/>
                  <a:pt x="9844" y="17969"/>
                </a:cubicBezTo>
                <a:close/>
                <a:moveTo>
                  <a:pt x="11219" y="16532"/>
                </a:moveTo>
                <a:cubicBezTo>
                  <a:pt x="11156" y="16625"/>
                  <a:pt x="11125" y="16719"/>
                  <a:pt x="11094" y="16782"/>
                </a:cubicBezTo>
                <a:cubicBezTo>
                  <a:pt x="11063" y="16750"/>
                  <a:pt x="11063" y="16750"/>
                  <a:pt x="11031" y="16750"/>
                </a:cubicBezTo>
                <a:cubicBezTo>
                  <a:pt x="10969" y="16750"/>
                  <a:pt x="10969" y="16782"/>
                  <a:pt x="10969" y="16844"/>
                </a:cubicBezTo>
                <a:cubicBezTo>
                  <a:pt x="10969" y="16782"/>
                  <a:pt x="10969" y="16750"/>
                  <a:pt x="11031" y="16750"/>
                </a:cubicBezTo>
                <a:cubicBezTo>
                  <a:pt x="11031" y="16719"/>
                  <a:pt x="11031" y="16719"/>
                  <a:pt x="11031" y="16688"/>
                </a:cubicBezTo>
                <a:cubicBezTo>
                  <a:pt x="11031" y="16688"/>
                  <a:pt x="11031" y="16688"/>
                  <a:pt x="11031" y="16688"/>
                </a:cubicBezTo>
                <a:cubicBezTo>
                  <a:pt x="11094" y="16625"/>
                  <a:pt x="11094" y="16625"/>
                  <a:pt x="11031" y="16594"/>
                </a:cubicBezTo>
                <a:cubicBezTo>
                  <a:pt x="11031" y="16594"/>
                  <a:pt x="11031" y="16594"/>
                  <a:pt x="11031" y="16594"/>
                </a:cubicBezTo>
                <a:cubicBezTo>
                  <a:pt x="11000" y="16594"/>
                  <a:pt x="10969" y="16594"/>
                  <a:pt x="10969" y="16625"/>
                </a:cubicBezTo>
                <a:cubicBezTo>
                  <a:pt x="10969" y="16594"/>
                  <a:pt x="11000" y="16594"/>
                  <a:pt x="11031" y="16594"/>
                </a:cubicBezTo>
                <a:cubicBezTo>
                  <a:pt x="10969" y="16532"/>
                  <a:pt x="10875" y="16563"/>
                  <a:pt x="10813" y="16625"/>
                </a:cubicBezTo>
                <a:cubicBezTo>
                  <a:pt x="10813" y="16657"/>
                  <a:pt x="10781" y="16719"/>
                  <a:pt x="10719" y="16688"/>
                </a:cubicBezTo>
                <a:cubicBezTo>
                  <a:pt x="10719" y="16719"/>
                  <a:pt x="10719" y="16719"/>
                  <a:pt x="10719" y="16750"/>
                </a:cubicBezTo>
                <a:cubicBezTo>
                  <a:pt x="10781" y="16750"/>
                  <a:pt x="10813" y="16750"/>
                  <a:pt x="10813" y="16813"/>
                </a:cubicBezTo>
                <a:cubicBezTo>
                  <a:pt x="10781" y="16813"/>
                  <a:pt x="10750" y="16813"/>
                  <a:pt x="10750" y="16875"/>
                </a:cubicBezTo>
                <a:cubicBezTo>
                  <a:pt x="10750" y="16938"/>
                  <a:pt x="10750" y="17032"/>
                  <a:pt x="10656" y="17000"/>
                </a:cubicBezTo>
                <a:cubicBezTo>
                  <a:pt x="10656" y="17000"/>
                  <a:pt x="10656" y="17000"/>
                  <a:pt x="10656" y="17000"/>
                </a:cubicBezTo>
                <a:cubicBezTo>
                  <a:pt x="10688" y="16938"/>
                  <a:pt x="10688" y="16875"/>
                  <a:pt x="10688" y="16813"/>
                </a:cubicBezTo>
                <a:cubicBezTo>
                  <a:pt x="10688" y="16782"/>
                  <a:pt x="10688" y="16750"/>
                  <a:pt x="10719" y="16750"/>
                </a:cubicBezTo>
                <a:cubicBezTo>
                  <a:pt x="10719" y="16719"/>
                  <a:pt x="10719" y="16719"/>
                  <a:pt x="10719" y="16688"/>
                </a:cubicBezTo>
                <a:cubicBezTo>
                  <a:pt x="10719" y="16563"/>
                  <a:pt x="10781" y="16438"/>
                  <a:pt x="10813" y="16282"/>
                </a:cubicBezTo>
                <a:cubicBezTo>
                  <a:pt x="10813" y="16282"/>
                  <a:pt x="10844" y="16250"/>
                  <a:pt x="10875" y="16250"/>
                </a:cubicBezTo>
                <a:cubicBezTo>
                  <a:pt x="10844" y="16313"/>
                  <a:pt x="10875" y="16344"/>
                  <a:pt x="10938" y="16313"/>
                </a:cubicBezTo>
                <a:cubicBezTo>
                  <a:pt x="10969" y="16313"/>
                  <a:pt x="10969" y="16313"/>
                  <a:pt x="11000" y="16313"/>
                </a:cubicBezTo>
                <a:cubicBezTo>
                  <a:pt x="11094" y="16282"/>
                  <a:pt x="11156" y="16344"/>
                  <a:pt x="11219" y="16407"/>
                </a:cubicBezTo>
                <a:cubicBezTo>
                  <a:pt x="11281" y="16438"/>
                  <a:pt x="11250" y="16500"/>
                  <a:pt x="11219" y="16532"/>
                </a:cubicBezTo>
                <a:close/>
                <a:moveTo>
                  <a:pt x="11313" y="16407"/>
                </a:moveTo>
                <a:cubicBezTo>
                  <a:pt x="11313" y="16344"/>
                  <a:pt x="11281" y="16313"/>
                  <a:pt x="11281" y="16250"/>
                </a:cubicBezTo>
                <a:cubicBezTo>
                  <a:pt x="11281" y="16188"/>
                  <a:pt x="11344" y="16094"/>
                  <a:pt x="11344" y="16032"/>
                </a:cubicBezTo>
                <a:cubicBezTo>
                  <a:pt x="11344" y="15844"/>
                  <a:pt x="11500" y="15719"/>
                  <a:pt x="11438" y="15563"/>
                </a:cubicBezTo>
                <a:cubicBezTo>
                  <a:pt x="11406" y="15469"/>
                  <a:pt x="11438" y="15375"/>
                  <a:pt x="11469" y="15282"/>
                </a:cubicBezTo>
                <a:cubicBezTo>
                  <a:pt x="11500" y="15313"/>
                  <a:pt x="11469" y="15375"/>
                  <a:pt x="11531" y="15375"/>
                </a:cubicBezTo>
                <a:cubicBezTo>
                  <a:pt x="11531" y="15375"/>
                  <a:pt x="11531" y="15344"/>
                  <a:pt x="11531" y="15344"/>
                </a:cubicBezTo>
                <a:cubicBezTo>
                  <a:pt x="11531" y="15344"/>
                  <a:pt x="11531" y="15375"/>
                  <a:pt x="11531" y="15375"/>
                </a:cubicBezTo>
                <a:cubicBezTo>
                  <a:pt x="11531" y="15438"/>
                  <a:pt x="11563" y="15532"/>
                  <a:pt x="11594" y="15594"/>
                </a:cubicBezTo>
                <a:cubicBezTo>
                  <a:pt x="11563" y="15657"/>
                  <a:pt x="11625" y="15750"/>
                  <a:pt x="11531" y="15813"/>
                </a:cubicBezTo>
                <a:cubicBezTo>
                  <a:pt x="11563" y="15813"/>
                  <a:pt x="11594" y="15813"/>
                  <a:pt x="11625" y="15813"/>
                </a:cubicBezTo>
                <a:cubicBezTo>
                  <a:pt x="11656" y="15844"/>
                  <a:pt x="11625" y="15907"/>
                  <a:pt x="11625" y="15938"/>
                </a:cubicBezTo>
                <a:cubicBezTo>
                  <a:pt x="11594" y="15969"/>
                  <a:pt x="11594" y="15969"/>
                  <a:pt x="11594" y="15969"/>
                </a:cubicBezTo>
                <a:cubicBezTo>
                  <a:pt x="11563" y="16000"/>
                  <a:pt x="11531" y="16000"/>
                  <a:pt x="11531" y="16063"/>
                </a:cubicBezTo>
                <a:cubicBezTo>
                  <a:pt x="11500" y="16094"/>
                  <a:pt x="11469" y="16125"/>
                  <a:pt x="11469" y="16188"/>
                </a:cubicBezTo>
                <a:cubicBezTo>
                  <a:pt x="11344" y="16250"/>
                  <a:pt x="11313" y="16344"/>
                  <a:pt x="11375" y="16469"/>
                </a:cubicBezTo>
                <a:cubicBezTo>
                  <a:pt x="11406" y="16532"/>
                  <a:pt x="11406" y="16563"/>
                  <a:pt x="11375" y="16625"/>
                </a:cubicBezTo>
                <a:cubicBezTo>
                  <a:pt x="11375" y="16625"/>
                  <a:pt x="11344" y="16625"/>
                  <a:pt x="11313" y="16625"/>
                </a:cubicBezTo>
                <a:cubicBezTo>
                  <a:pt x="11313" y="16594"/>
                  <a:pt x="11313" y="16563"/>
                  <a:pt x="11313" y="16532"/>
                </a:cubicBezTo>
                <a:cubicBezTo>
                  <a:pt x="11313" y="16532"/>
                  <a:pt x="11313" y="16532"/>
                  <a:pt x="11313" y="16532"/>
                </a:cubicBezTo>
                <a:cubicBezTo>
                  <a:pt x="11313" y="16500"/>
                  <a:pt x="11313" y="16469"/>
                  <a:pt x="11313" y="16407"/>
                </a:cubicBezTo>
                <a:close/>
                <a:moveTo>
                  <a:pt x="11375" y="16750"/>
                </a:moveTo>
                <a:cubicBezTo>
                  <a:pt x="11344" y="16719"/>
                  <a:pt x="11344" y="16688"/>
                  <a:pt x="11344" y="16688"/>
                </a:cubicBezTo>
                <a:cubicBezTo>
                  <a:pt x="11375" y="16688"/>
                  <a:pt x="11375" y="16719"/>
                  <a:pt x="11375" y="16750"/>
                </a:cubicBezTo>
                <a:close/>
                <a:moveTo>
                  <a:pt x="11406" y="17407"/>
                </a:moveTo>
                <a:cubicBezTo>
                  <a:pt x="11406" y="17375"/>
                  <a:pt x="11406" y="17313"/>
                  <a:pt x="11406" y="17250"/>
                </a:cubicBezTo>
                <a:cubicBezTo>
                  <a:pt x="11406" y="17313"/>
                  <a:pt x="11406" y="17375"/>
                  <a:pt x="11406" y="17407"/>
                </a:cubicBezTo>
                <a:cubicBezTo>
                  <a:pt x="11406" y="17407"/>
                  <a:pt x="11406" y="17407"/>
                  <a:pt x="11406" y="17407"/>
                </a:cubicBezTo>
                <a:close/>
                <a:moveTo>
                  <a:pt x="11875" y="20938"/>
                </a:moveTo>
                <a:cubicBezTo>
                  <a:pt x="11875" y="20938"/>
                  <a:pt x="11875" y="20907"/>
                  <a:pt x="11875" y="20875"/>
                </a:cubicBezTo>
                <a:cubicBezTo>
                  <a:pt x="11875" y="20907"/>
                  <a:pt x="11875" y="20938"/>
                  <a:pt x="11875" y="20938"/>
                </a:cubicBezTo>
                <a:cubicBezTo>
                  <a:pt x="11875" y="20938"/>
                  <a:pt x="11906" y="20938"/>
                  <a:pt x="11906" y="20969"/>
                </a:cubicBezTo>
                <a:cubicBezTo>
                  <a:pt x="11906" y="20938"/>
                  <a:pt x="11875" y="20938"/>
                  <a:pt x="11875" y="20938"/>
                </a:cubicBezTo>
                <a:close/>
                <a:moveTo>
                  <a:pt x="13344" y="23500"/>
                </a:moveTo>
                <a:cubicBezTo>
                  <a:pt x="13344" y="23500"/>
                  <a:pt x="13344" y="23500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ubicBezTo>
                  <a:pt x="13344" y="23500"/>
                  <a:pt x="13344" y="23500"/>
                  <a:pt x="13344" y="23500"/>
                </a:cubicBezTo>
                <a:close/>
                <a:moveTo>
                  <a:pt x="12125" y="21500"/>
                </a:moveTo>
                <a:cubicBezTo>
                  <a:pt x="12125" y="21500"/>
                  <a:pt x="12125" y="21500"/>
                  <a:pt x="12125" y="21500"/>
                </a:cubicBezTo>
                <a:cubicBezTo>
                  <a:pt x="12125" y="21500"/>
                  <a:pt x="12125" y="21500"/>
                  <a:pt x="12125" y="21500"/>
                </a:cubicBezTo>
                <a:cubicBezTo>
                  <a:pt x="12125" y="21532"/>
                  <a:pt x="12125" y="21532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56" y="21625"/>
                  <a:pt x="12188" y="21688"/>
                  <a:pt x="12188" y="21750"/>
                </a:cubicBezTo>
                <a:cubicBezTo>
                  <a:pt x="12188" y="21688"/>
                  <a:pt x="12156" y="21625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25" y="21563"/>
                  <a:pt x="12125" y="21563"/>
                  <a:pt x="12125" y="21563"/>
                </a:cubicBezTo>
                <a:cubicBezTo>
                  <a:pt x="12125" y="21532"/>
                  <a:pt x="12125" y="21532"/>
                  <a:pt x="12125" y="21500"/>
                </a:cubicBezTo>
                <a:cubicBezTo>
                  <a:pt x="12094" y="21500"/>
                  <a:pt x="12094" y="21469"/>
                  <a:pt x="12063" y="21438"/>
                </a:cubicBezTo>
                <a:cubicBezTo>
                  <a:pt x="12094" y="21469"/>
                  <a:pt x="12094" y="21500"/>
                  <a:pt x="12125" y="21500"/>
                </a:cubicBezTo>
                <a:close/>
                <a:moveTo>
                  <a:pt x="11844" y="20782"/>
                </a:moveTo>
                <a:cubicBezTo>
                  <a:pt x="11844" y="20750"/>
                  <a:pt x="11844" y="20750"/>
                  <a:pt x="11813" y="20750"/>
                </a:cubicBezTo>
                <a:cubicBezTo>
                  <a:pt x="11813" y="20719"/>
                  <a:pt x="11813" y="20719"/>
                  <a:pt x="11813" y="20688"/>
                </a:cubicBezTo>
                <a:cubicBezTo>
                  <a:pt x="11813" y="20719"/>
                  <a:pt x="11813" y="20719"/>
                  <a:pt x="11813" y="20750"/>
                </a:cubicBezTo>
                <a:cubicBezTo>
                  <a:pt x="11844" y="20750"/>
                  <a:pt x="11844" y="20750"/>
                  <a:pt x="11844" y="20782"/>
                </a:cubicBezTo>
                <a:close/>
                <a:moveTo>
                  <a:pt x="11750" y="20532"/>
                </a:moveTo>
                <a:cubicBezTo>
                  <a:pt x="11781" y="20563"/>
                  <a:pt x="11813" y="20594"/>
                  <a:pt x="11813" y="20625"/>
                </a:cubicBezTo>
                <a:cubicBezTo>
                  <a:pt x="11813" y="20594"/>
                  <a:pt x="11781" y="20563"/>
                  <a:pt x="11750" y="20532"/>
                </a:cubicBezTo>
                <a:cubicBezTo>
                  <a:pt x="11750" y="20500"/>
                  <a:pt x="11750" y="20500"/>
                  <a:pt x="11750" y="20469"/>
                </a:cubicBezTo>
                <a:cubicBezTo>
                  <a:pt x="11750" y="20500"/>
                  <a:pt x="11750" y="20500"/>
                  <a:pt x="11750" y="20532"/>
                </a:cubicBezTo>
                <a:close/>
                <a:moveTo>
                  <a:pt x="11688" y="20344"/>
                </a:moveTo>
                <a:cubicBezTo>
                  <a:pt x="11719" y="20344"/>
                  <a:pt x="11719" y="20344"/>
                  <a:pt x="11719" y="20344"/>
                </a:cubicBezTo>
                <a:cubicBezTo>
                  <a:pt x="11719" y="20344"/>
                  <a:pt x="11719" y="20344"/>
                  <a:pt x="11688" y="20344"/>
                </a:cubicBezTo>
                <a:cubicBezTo>
                  <a:pt x="11688" y="20313"/>
                  <a:pt x="11688" y="20313"/>
                  <a:pt x="11688" y="20282"/>
                </a:cubicBezTo>
                <a:cubicBezTo>
                  <a:pt x="11688" y="20282"/>
                  <a:pt x="11688" y="20282"/>
                  <a:pt x="11688" y="20250"/>
                </a:cubicBezTo>
                <a:cubicBezTo>
                  <a:pt x="11688" y="20282"/>
                  <a:pt x="11688" y="20282"/>
                  <a:pt x="11688" y="20282"/>
                </a:cubicBezTo>
                <a:cubicBezTo>
                  <a:pt x="11688" y="20313"/>
                  <a:pt x="11688" y="20313"/>
                  <a:pt x="11688" y="20344"/>
                </a:cubicBezTo>
                <a:close/>
                <a:moveTo>
                  <a:pt x="11656" y="19563"/>
                </a:moveTo>
                <a:cubicBezTo>
                  <a:pt x="11656" y="19594"/>
                  <a:pt x="11656" y="19594"/>
                  <a:pt x="11656" y="19625"/>
                </a:cubicBezTo>
                <a:cubicBezTo>
                  <a:pt x="11656" y="19594"/>
                  <a:pt x="11656" y="19594"/>
                  <a:pt x="11656" y="19563"/>
                </a:cubicBezTo>
                <a:close/>
                <a:moveTo>
                  <a:pt x="11750" y="19157"/>
                </a:moveTo>
                <a:cubicBezTo>
                  <a:pt x="11719" y="19313"/>
                  <a:pt x="11719" y="19469"/>
                  <a:pt x="11688" y="19625"/>
                </a:cubicBezTo>
                <a:cubicBezTo>
                  <a:pt x="11719" y="19469"/>
                  <a:pt x="11719" y="19313"/>
                  <a:pt x="11750" y="19157"/>
                </a:cubicBezTo>
                <a:cubicBezTo>
                  <a:pt x="11750" y="19157"/>
                  <a:pt x="11781" y="19157"/>
                  <a:pt x="11781" y="19157"/>
                </a:cubicBezTo>
                <a:cubicBezTo>
                  <a:pt x="11781" y="19157"/>
                  <a:pt x="11750" y="19157"/>
                  <a:pt x="11750" y="19157"/>
                </a:cubicBezTo>
                <a:close/>
                <a:moveTo>
                  <a:pt x="13563" y="17344"/>
                </a:moveTo>
                <a:cubicBezTo>
                  <a:pt x="13594" y="17344"/>
                  <a:pt x="13625" y="17344"/>
                  <a:pt x="13625" y="17344"/>
                </a:cubicBezTo>
                <a:cubicBezTo>
                  <a:pt x="13625" y="17344"/>
                  <a:pt x="13594" y="17344"/>
                  <a:pt x="13563" y="17344"/>
                </a:cubicBezTo>
                <a:close/>
                <a:moveTo>
                  <a:pt x="14094" y="17188"/>
                </a:moveTo>
                <a:cubicBezTo>
                  <a:pt x="14094" y="17188"/>
                  <a:pt x="14094" y="17188"/>
                  <a:pt x="14094" y="17188"/>
                </a:cubicBezTo>
                <a:cubicBezTo>
                  <a:pt x="14094" y="17188"/>
                  <a:pt x="14094" y="17188"/>
                  <a:pt x="14094" y="17188"/>
                </a:cubicBezTo>
                <a:cubicBezTo>
                  <a:pt x="14094" y="17188"/>
                  <a:pt x="14094" y="17188"/>
                  <a:pt x="14094" y="17188"/>
                </a:cubicBezTo>
                <a:cubicBezTo>
                  <a:pt x="14094" y="17157"/>
                  <a:pt x="14094" y="17157"/>
                  <a:pt x="14125" y="17157"/>
                </a:cubicBezTo>
                <a:cubicBezTo>
                  <a:pt x="14125" y="17157"/>
                  <a:pt x="14125" y="17157"/>
                  <a:pt x="14125" y="17157"/>
                </a:cubicBezTo>
                <a:cubicBezTo>
                  <a:pt x="14188" y="17125"/>
                  <a:pt x="14250" y="17094"/>
                  <a:pt x="14313" y="17063"/>
                </a:cubicBezTo>
                <a:cubicBezTo>
                  <a:pt x="14438" y="16969"/>
                  <a:pt x="14563" y="16938"/>
                  <a:pt x="14688" y="16907"/>
                </a:cubicBezTo>
                <a:cubicBezTo>
                  <a:pt x="14719" y="16875"/>
                  <a:pt x="14719" y="16875"/>
                  <a:pt x="14719" y="16875"/>
                </a:cubicBezTo>
                <a:cubicBezTo>
                  <a:pt x="14719" y="16875"/>
                  <a:pt x="14719" y="16875"/>
                  <a:pt x="14750" y="16875"/>
                </a:cubicBezTo>
                <a:cubicBezTo>
                  <a:pt x="14750" y="16875"/>
                  <a:pt x="14781" y="16875"/>
                  <a:pt x="14781" y="16875"/>
                </a:cubicBezTo>
                <a:cubicBezTo>
                  <a:pt x="14875" y="16875"/>
                  <a:pt x="14969" y="16875"/>
                  <a:pt x="15031" y="16875"/>
                </a:cubicBezTo>
                <a:cubicBezTo>
                  <a:pt x="15063" y="16844"/>
                  <a:pt x="15063" y="16844"/>
                  <a:pt x="15063" y="16813"/>
                </a:cubicBezTo>
                <a:cubicBezTo>
                  <a:pt x="15063" y="16813"/>
                  <a:pt x="15063" y="16813"/>
                  <a:pt x="15063" y="16813"/>
                </a:cubicBezTo>
                <a:cubicBezTo>
                  <a:pt x="15125" y="16844"/>
                  <a:pt x="15156" y="16844"/>
                  <a:pt x="15156" y="16907"/>
                </a:cubicBezTo>
                <a:cubicBezTo>
                  <a:pt x="15125" y="16969"/>
                  <a:pt x="15094" y="17000"/>
                  <a:pt x="15063" y="17032"/>
                </a:cubicBezTo>
                <a:cubicBezTo>
                  <a:pt x="15031" y="17063"/>
                  <a:pt x="15031" y="17032"/>
                  <a:pt x="15031" y="17000"/>
                </a:cubicBezTo>
                <a:cubicBezTo>
                  <a:pt x="15000" y="16969"/>
                  <a:pt x="15031" y="16907"/>
                  <a:pt x="15031" y="16875"/>
                </a:cubicBezTo>
                <a:cubicBezTo>
                  <a:pt x="14969" y="16875"/>
                  <a:pt x="14875" y="16875"/>
                  <a:pt x="14781" y="16875"/>
                </a:cubicBezTo>
                <a:cubicBezTo>
                  <a:pt x="14813" y="16969"/>
                  <a:pt x="14719" y="17094"/>
                  <a:pt x="14656" y="17063"/>
                </a:cubicBezTo>
                <a:cubicBezTo>
                  <a:pt x="14563" y="17032"/>
                  <a:pt x="14500" y="17032"/>
                  <a:pt x="14438" y="17125"/>
                </a:cubicBezTo>
                <a:cubicBezTo>
                  <a:pt x="14313" y="17125"/>
                  <a:pt x="14219" y="17250"/>
                  <a:pt x="14094" y="17188"/>
                </a:cubicBezTo>
                <a:close/>
                <a:moveTo>
                  <a:pt x="14688" y="19875"/>
                </a:moveTo>
                <a:cubicBezTo>
                  <a:pt x="14625" y="19844"/>
                  <a:pt x="14656" y="19750"/>
                  <a:pt x="14594" y="19688"/>
                </a:cubicBezTo>
                <a:cubicBezTo>
                  <a:pt x="14563" y="19688"/>
                  <a:pt x="14625" y="19657"/>
                  <a:pt x="14625" y="19657"/>
                </a:cubicBezTo>
                <a:cubicBezTo>
                  <a:pt x="14656" y="19625"/>
                  <a:pt x="14781" y="19594"/>
                  <a:pt x="14625" y="19532"/>
                </a:cubicBezTo>
                <a:cubicBezTo>
                  <a:pt x="14594" y="19532"/>
                  <a:pt x="14625" y="19438"/>
                  <a:pt x="14625" y="19407"/>
                </a:cubicBezTo>
                <a:cubicBezTo>
                  <a:pt x="14719" y="19344"/>
                  <a:pt x="14688" y="19250"/>
                  <a:pt x="14719" y="19157"/>
                </a:cubicBezTo>
                <a:cubicBezTo>
                  <a:pt x="14719" y="19157"/>
                  <a:pt x="14719" y="19125"/>
                  <a:pt x="14719" y="19125"/>
                </a:cubicBezTo>
                <a:cubicBezTo>
                  <a:pt x="14719" y="19094"/>
                  <a:pt x="14719" y="19094"/>
                  <a:pt x="14719" y="19094"/>
                </a:cubicBezTo>
                <a:cubicBezTo>
                  <a:pt x="14719" y="19032"/>
                  <a:pt x="14688" y="19000"/>
                  <a:pt x="14688" y="18969"/>
                </a:cubicBezTo>
                <a:cubicBezTo>
                  <a:pt x="14688" y="19000"/>
                  <a:pt x="14719" y="19032"/>
                  <a:pt x="14719" y="19094"/>
                </a:cubicBezTo>
                <a:cubicBezTo>
                  <a:pt x="14719" y="18969"/>
                  <a:pt x="14781" y="18875"/>
                  <a:pt x="14719" y="18782"/>
                </a:cubicBezTo>
                <a:cubicBezTo>
                  <a:pt x="14688" y="18625"/>
                  <a:pt x="14719" y="18500"/>
                  <a:pt x="14719" y="18344"/>
                </a:cubicBezTo>
                <a:cubicBezTo>
                  <a:pt x="14719" y="18219"/>
                  <a:pt x="14688" y="18125"/>
                  <a:pt x="14781" y="18032"/>
                </a:cubicBezTo>
                <a:cubicBezTo>
                  <a:pt x="14813" y="18000"/>
                  <a:pt x="14781" y="18000"/>
                  <a:pt x="14781" y="17969"/>
                </a:cubicBezTo>
                <a:cubicBezTo>
                  <a:pt x="14781" y="18000"/>
                  <a:pt x="14750" y="17938"/>
                  <a:pt x="14719" y="17969"/>
                </a:cubicBezTo>
                <a:cubicBezTo>
                  <a:pt x="14656" y="18032"/>
                  <a:pt x="14625" y="17969"/>
                  <a:pt x="14594" y="17938"/>
                </a:cubicBezTo>
                <a:cubicBezTo>
                  <a:pt x="14531" y="17875"/>
                  <a:pt x="14469" y="17907"/>
                  <a:pt x="14469" y="17969"/>
                </a:cubicBezTo>
                <a:cubicBezTo>
                  <a:pt x="14438" y="18063"/>
                  <a:pt x="14375" y="18094"/>
                  <a:pt x="14281" y="18125"/>
                </a:cubicBezTo>
                <a:cubicBezTo>
                  <a:pt x="14281" y="18000"/>
                  <a:pt x="14375" y="17938"/>
                  <a:pt x="14375" y="17813"/>
                </a:cubicBezTo>
                <a:cubicBezTo>
                  <a:pt x="14406" y="17782"/>
                  <a:pt x="14469" y="17750"/>
                  <a:pt x="14469" y="17688"/>
                </a:cubicBezTo>
                <a:cubicBezTo>
                  <a:pt x="14469" y="17688"/>
                  <a:pt x="14469" y="17688"/>
                  <a:pt x="14469" y="17688"/>
                </a:cubicBezTo>
                <a:cubicBezTo>
                  <a:pt x="14469" y="17688"/>
                  <a:pt x="14469" y="17688"/>
                  <a:pt x="14469" y="17688"/>
                </a:cubicBezTo>
                <a:cubicBezTo>
                  <a:pt x="14500" y="17688"/>
                  <a:pt x="14500" y="17688"/>
                  <a:pt x="14531" y="17719"/>
                </a:cubicBezTo>
                <a:cubicBezTo>
                  <a:pt x="14531" y="17750"/>
                  <a:pt x="14563" y="17750"/>
                  <a:pt x="14594" y="17750"/>
                </a:cubicBezTo>
                <a:cubicBezTo>
                  <a:pt x="14719" y="17657"/>
                  <a:pt x="14844" y="17657"/>
                  <a:pt x="15000" y="17625"/>
                </a:cubicBezTo>
                <a:cubicBezTo>
                  <a:pt x="15094" y="17625"/>
                  <a:pt x="15219" y="17625"/>
                  <a:pt x="15313" y="17657"/>
                </a:cubicBezTo>
                <a:cubicBezTo>
                  <a:pt x="15313" y="17657"/>
                  <a:pt x="15313" y="17657"/>
                  <a:pt x="15313" y="17657"/>
                </a:cubicBezTo>
                <a:cubicBezTo>
                  <a:pt x="15313" y="17688"/>
                  <a:pt x="15344" y="17688"/>
                  <a:pt x="15375" y="17657"/>
                </a:cubicBezTo>
                <a:cubicBezTo>
                  <a:pt x="15375" y="17657"/>
                  <a:pt x="15406" y="17657"/>
                  <a:pt x="15406" y="17657"/>
                </a:cubicBezTo>
                <a:cubicBezTo>
                  <a:pt x="15406" y="17750"/>
                  <a:pt x="15313" y="17875"/>
                  <a:pt x="15250" y="17907"/>
                </a:cubicBezTo>
                <a:cubicBezTo>
                  <a:pt x="15188" y="17907"/>
                  <a:pt x="15125" y="17938"/>
                  <a:pt x="15094" y="17938"/>
                </a:cubicBezTo>
                <a:cubicBezTo>
                  <a:pt x="15000" y="17875"/>
                  <a:pt x="14938" y="17938"/>
                  <a:pt x="14844" y="17907"/>
                </a:cubicBezTo>
                <a:cubicBezTo>
                  <a:pt x="14844" y="17875"/>
                  <a:pt x="14875" y="17844"/>
                  <a:pt x="14844" y="17844"/>
                </a:cubicBezTo>
                <a:cubicBezTo>
                  <a:pt x="14813" y="17844"/>
                  <a:pt x="14781" y="17875"/>
                  <a:pt x="14781" y="17907"/>
                </a:cubicBezTo>
                <a:cubicBezTo>
                  <a:pt x="14781" y="17938"/>
                  <a:pt x="14781" y="17938"/>
                  <a:pt x="14781" y="17969"/>
                </a:cubicBezTo>
                <a:cubicBezTo>
                  <a:pt x="14844" y="17969"/>
                  <a:pt x="14875" y="18000"/>
                  <a:pt x="14875" y="18032"/>
                </a:cubicBezTo>
                <a:cubicBezTo>
                  <a:pt x="14906" y="18094"/>
                  <a:pt x="14969" y="18125"/>
                  <a:pt x="14969" y="18188"/>
                </a:cubicBezTo>
                <a:cubicBezTo>
                  <a:pt x="14969" y="18188"/>
                  <a:pt x="15031" y="18188"/>
                  <a:pt x="15063" y="18188"/>
                </a:cubicBezTo>
                <a:cubicBezTo>
                  <a:pt x="15031" y="18250"/>
                  <a:pt x="15031" y="18313"/>
                  <a:pt x="15094" y="18344"/>
                </a:cubicBezTo>
                <a:cubicBezTo>
                  <a:pt x="15188" y="18407"/>
                  <a:pt x="15188" y="18407"/>
                  <a:pt x="15188" y="18500"/>
                </a:cubicBezTo>
                <a:cubicBezTo>
                  <a:pt x="15469" y="18407"/>
                  <a:pt x="15750" y="18344"/>
                  <a:pt x="16063" y="18438"/>
                </a:cubicBezTo>
                <a:cubicBezTo>
                  <a:pt x="16063" y="18438"/>
                  <a:pt x="16063" y="18438"/>
                  <a:pt x="16063" y="18438"/>
                </a:cubicBezTo>
                <a:cubicBezTo>
                  <a:pt x="16063" y="18438"/>
                  <a:pt x="16063" y="18438"/>
                  <a:pt x="16063" y="18438"/>
                </a:cubicBezTo>
                <a:cubicBezTo>
                  <a:pt x="16094" y="18438"/>
                  <a:pt x="16094" y="18438"/>
                  <a:pt x="16094" y="18438"/>
                </a:cubicBezTo>
                <a:cubicBezTo>
                  <a:pt x="16125" y="18438"/>
                  <a:pt x="16156" y="18438"/>
                  <a:pt x="16188" y="18438"/>
                </a:cubicBezTo>
                <a:cubicBezTo>
                  <a:pt x="16094" y="18469"/>
                  <a:pt x="16000" y="18500"/>
                  <a:pt x="15938" y="18563"/>
                </a:cubicBezTo>
                <a:cubicBezTo>
                  <a:pt x="15938" y="18563"/>
                  <a:pt x="15906" y="18563"/>
                  <a:pt x="15906" y="18563"/>
                </a:cubicBezTo>
                <a:cubicBezTo>
                  <a:pt x="15906" y="18563"/>
                  <a:pt x="15906" y="18563"/>
                  <a:pt x="15906" y="18563"/>
                </a:cubicBezTo>
                <a:cubicBezTo>
                  <a:pt x="15875" y="18532"/>
                  <a:pt x="15813" y="18500"/>
                  <a:pt x="15781" y="18563"/>
                </a:cubicBezTo>
                <a:cubicBezTo>
                  <a:pt x="15781" y="18594"/>
                  <a:pt x="15719" y="18594"/>
                  <a:pt x="15688" y="18594"/>
                </a:cubicBezTo>
                <a:cubicBezTo>
                  <a:pt x="15625" y="18625"/>
                  <a:pt x="15625" y="18469"/>
                  <a:pt x="15531" y="18532"/>
                </a:cubicBezTo>
                <a:cubicBezTo>
                  <a:pt x="15469" y="18438"/>
                  <a:pt x="15469" y="18532"/>
                  <a:pt x="15438" y="18532"/>
                </a:cubicBezTo>
                <a:cubicBezTo>
                  <a:pt x="15406" y="18563"/>
                  <a:pt x="15406" y="18563"/>
                  <a:pt x="15406" y="18563"/>
                </a:cubicBezTo>
                <a:cubicBezTo>
                  <a:pt x="15313" y="18594"/>
                  <a:pt x="15344" y="18657"/>
                  <a:pt x="15375" y="18688"/>
                </a:cubicBezTo>
                <a:cubicBezTo>
                  <a:pt x="15406" y="18750"/>
                  <a:pt x="15406" y="18782"/>
                  <a:pt x="15313" y="18813"/>
                </a:cubicBezTo>
                <a:cubicBezTo>
                  <a:pt x="15281" y="18813"/>
                  <a:pt x="15281" y="18813"/>
                  <a:pt x="15250" y="18813"/>
                </a:cubicBezTo>
                <a:cubicBezTo>
                  <a:pt x="15250" y="18813"/>
                  <a:pt x="15219" y="18813"/>
                  <a:pt x="15219" y="18813"/>
                </a:cubicBezTo>
                <a:cubicBezTo>
                  <a:pt x="15219" y="18813"/>
                  <a:pt x="15250" y="18813"/>
                  <a:pt x="15250" y="18813"/>
                </a:cubicBezTo>
                <a:cubicBezTo>
                  <a:pt x="15250" y="18813"/>
                  <a:pt x="15219" y="18782"/>
                  <a:pt x="15219" y="18782"/>
                </a:cubicBezTo>
                <a:cubicBezTo>
                  <a:pt x="15219" y="18782"/>
                  <a:pt x="15219" y="18750"/>
                  <a:pt x="15188" y="18750"/>
                </a:cubicBezTo>
                <a:cubicBezTo>
                  <a:pt x="15156" y="18719"/>
                  <a:pt x="15156" y="18719"/>
                  <a:pt x="15125" y="18688"/>
                </a:cubicBezTo>
                <a:cubicBezTo>
                  <a:pt x="15125" y="18688"/>
                  <a:pt x="15156" y="18688"/>
                  <a:pt x="15156" y="18657"/>
                </a:cubicBezTo>
                <a:cubicBezTo>
                  <a:pt x="15156" y="18657"/>
                  <a:pt x="15188" y="18625"/>
                  <a:pt x="15156" y="18594"/>
                </a:cubicBezTo>
                <a:cubicBezTo>
                  <a:pt x="15125" y="18563"/>
                  <a:pt x="15125" y="18594"/>
                  <a:pt x="15125" y="18625"/>
                </a:cubicBezTo>
                <a:cubicBezTo>
                  <a:pt x="15094" y="18625"/>
                  <a:pt x="15063" y="18625"/>
                  <a:pt x="15063" y="18594"/>
                </a:cubicBezTo>
                <a:cubicBezTo>
                  <a:pt x="15031" y="18500"/>
                  <a:pt x="14969" y="18532"/>
                  <a:pt x="14906" y="18532"/>
                </a:cubicBezTo>
                <a:cubicBezTo>
                  <a:pt x="14875" y="18532"/>
                  <a:pt x="14844" y="18532"/>
                  <a:pt x="14844" y="18563"/>
                </a:cubicBezTo>
                <a:cubicBezTo>
                  <a:pt x="14844" y="18594"/>
                  <a:pt x="14906" y="18563"/>
                  <a:pt x="14906" y="18594"/>
                </a:cubicBezTo>
                <a:cubicBezTo>
                  <a:pt x="14813" y="18625"/>
                  <a:pt x="14813" y="18719"/>
                  <a:pt x="14906" y="18782"/>
                </a:cubicBezTo>
                <a:cubicBezTo>
                  <a:pt x="14906" y="18782"/>
                  <a:pt x="14906" y="18782"/>
                  <a:pt x="14906" y="18782"/>
                </a:cubicBezTo>
                <a:cubicBezTo>
                  <a:pt x="14938" y="18782"/>
                  <a:pt x="14938" y="18782"/>
                  <a:pt x="14938" y="18782"/>
                </a:cubicBezTo>
                <a:cubicBezTo>
                  <a:pt x="14938" y="18782"/>
                  <a:pt x="14938" y="18782"/>
                  <a:pt x="14906" y="18782"/>
                </a:cubicBezTo>
                <a:cubicBezTo>
                  <a:pt x="14906" y="18782"/>
                  <a:pt x="14906" y="18782"/>
                  <a:pt x="14906" y="18782"/>
                </a:cubicBezTo>
                <a:cubicBezTo>
                  <a:pt x="14906" y="18813"/>
                  <a:pt x="14906" y="18813"/>
                  <a:pt x="14906" y="18844"/>
                </a:cubicBezTo>
                <a:cubicBezTo>
                  <a:pt x="14906" y="18875"/>
                  <a:pt x="14906" y="18907"/>
                  <a:pt x="14938" y="18907"/>
                </a:cubicBezTo>
                <a:cubicBezTo>
                  <a:pt x="14938" y="18938"/>
                  <a:pt x="14938" y="18938"/>
                  <a:pt x="14938" y="18938"/>
                </a:cubicBezTo>
                <a:cubicBezTo>
                  <a:pt x="14906" y="18969"/>
                  <a:pt x="14875" y="18969"/>
                  <a:pt x="14906" y="19000"/>
                </a:cubicBezTo>
                <a:cubicBezTo>
                  <a:pt x="14906" y="19032"/>
                  <a:pt x="14938" y="19032"/>
                  <a:pt x="14969" y="19032"/>
                </a:cubicBezTo>
                <a:cubicBezTo>
                  <a:pt x="14969" y="19032"/>
                  <a:pt x="14969" y="19032"/>
                  <a:pt x="14969" y="19032"/>
                </a:cubicBezTo>
                <a:cubicBezTo>
                  <a:pt x="15000" y="19063"/>
                  <a:pt x="15000" y="19125"/>
                  <a:pt x="14969" y="19125"/>
                </a:cubicBezTo>
                <a:cubicBezTo>
                  <a:pt x="14906" y="19125"/>
                  <a:pt x="14906" y="19188"/>
                  <a:pt x="14906" y="19219"/>
                </a:cubicBezTo>
                <a:cubicBezTo>
                  <a:pt x="14906" y="19282"/>
                  <a:pt x="14969" y="19219"/>
                  <a:pt x="14969" y="19250"/>
                </a:cubicBezTo>
                <a:cubicBezTo>
                  <a:pt x="14938" y="19282"/>
                  <a:pt x="14969" y="19344"/>
                  <a:pt x="15000" y="19375"/>
                </a:cubicBezTo>
                <a:cubicBezTo>
                  <a:pt x="15063" y="19438"/>
                  <a:pt x="15031" y="19469"/>
                  <a:pt x="15000" y="19532"/>
                </a:cubicBezTo>
                <a:cubicBezTo>
                  <a:pt x="15000" y="19532"/>
                  <a:pt x="15000" y="19500"/>
                  <a:pt x="15000" y="19500"/>
                </a:cubicBezTo>
                <a:cubicBezTo>
                  <a:pt x="14969" y="19469"/>
                  <a:pt x="14969" y="19438"/>
                  <a:pt x="14938" y="19375"/>
                </a:cubicBezTo>
                <a:cubicBezTo>
                  <a:pt x="14906" y="19407"/>
                  <a:pt x="14906" y="19469"/>
                  <a:pt x="14906" y="19500"/>
                </a:cubicBezTo>
                <a:cubicBezTo>
                  <a:pt x="14906" y="19532"/>
                  <a:pt x="14906" y="19563"/>
                  <a:pt x="14906" y="19563"/>
                </a:cubicBezTo>
                <a:cubicBezTo>
                  <a:pt x="14906" y="19657"/>
                  <a:pt x="14844" y="19750"/>
                  <a:pt x="14750" y="19782"/>
                </a:cubicBezTo>
                <a:cubicBezTo>
                  <a:pt x="14719" y="19782"/>
                  <a:pt x="14750" y="19813"/>
                  <a:pt x="14750" y="19844"/>
                </a:cubicBezTo>
                <a:cubicBezTo>
                  <a:pt x="14750" y="19875"/>
                  <a:pt x="14750" y="19907"/>
                  <a:pt x="14719" y="19907"/>
                </a:cubicBezTo>
                <a:cubicBezTo>
                  <a:pt x="14688" y="19907"/>
                  <a:pt x="14688" y="19875"/>
                  <a:pt x="14688" y="19875"/>
                </a:cubicBezTo>
                <a:close/>
                <a:moveTo>
                  <a:pt x="15094" y="18157"/>
                </a:moveTo>
                <a:cubicBezTo>
                  <a:pt x="15094" y="18188"/>
                  <a:pt x="15063" y="18188"/>
                  <a:pt x="15063" y="18188"/>
                </a:cubicBezTo>
                <a:cubicBezTo>
                  <a:pt x="15063" y="18157"/>
                  <a:pt x="15063" y="18157"/>
                  <a:pt x="15094" y="18157"/>
                </a:cubicBezTo>
                <a:cubicBezTo>
                  <a:pt x="15094" y="18157"/>
                  <a:pt x="15094" y="18157"/>
                  <a:pt x="15094" y="18157"/>
                </a:cubicBezTo>
                <a:close/>
                <a:moveTo>
                  <a:pt x="14844" y="17907"/>
                </a:moveTo>
                <a:cubicBezTo>
                  <a:pt x="14844" y="17907"/>
                  <a:pt x="14844" y="17907"/>
                  <a:pt x="14844" y="17907"/>
                </a:cubicBezTo>
                <a:cubicBezTo>
                  <a:pt x="14844" y="17907"/>
                  <a:pt x="14844" y="17907"/>
                  <a:pt x="14844" y="17907"/>
                </a:cubicBezTo>
                <a:cubicBezTo>
                  <a:pt x="14844" y="17907"/>
                  <a:pt x="14844" y="17907"/>
                  <a:pt x="14844" y="17907"/>
                </a:cubicBezTo>
                <a:close/>
                <a:moveTo>
                  <a:pt x="15000" y="19594"/>
                </a:moveTo>
                <a:cubicBezTo>
                  <a:pt x="15000" y="19625"/>
                  <a:pt x="15000" y="19625"/>
                  <a:pt x="15000" y="19625"/>
                </a:cubicBezTo>
                <a:cubicBezTo>
                  <a:pt x="15000" y="19625"/>
                  <a:pt x="15000" y="19625"/>
                  <a:pt x="15000" y="19594"/>
                </a:cubicBezTo>
                <a:close/>
                <a:moveTo>
                  <a:pt x="15781" y="20125"/>
                </a:moveTo>
                <a:cubicBezTo>
                  <a:pt x="15813" y="20125"/>
                  <a:pt x="15813" y="20094"/>
                  <a:pt x="15844" y="20063"/>
                </a:cubicBezTo>
                <a:cubicBezTo>
                  <a:pt x="15844" y="20032"/>
                  <a:pt x="15906" y="20000"/>
                  <a:pt x="15938" y="19969"/>
                </a:cubicBezTo>
                <a:cubicBezTo>
                  <a:pt x="15906" y="20000"/>
                  <a:pt x="15844" y="20032"/>
                  <a:pt x="15844" y="20063"/>
                </a:cubicBezTo>
                <a:cubicBezTo>
                  <a:pt x="15813" y="20094"/>
                  <a:pt x="15813" y="20125"/>
                  <a:pt x="15781" y="20125"/>
                </a:cubicBezTo>
                <a:close/>
                <a:moveTo>
                  <a:pt x="16375" y="20282"/>
                </a:moveTo>
                <a:cubicBezTo>
                  <a:pt x="16406" y="20313"/>
                  <a:pt x="16438" y="20344"/>
                  <a:pt x="16469" y="20375"/>
                </a:cubicBezTo>
                <a:cubicBezTo>
                  <a:pt x="16438" y="20344"/>
                  <a:pt x="16406" y="20313"/>
                  <a:pt x="16375" y="20282"/>
                </a:cubicBezTo>
                <a:close/>
                <a:moveTo>
                  <a:pt x="17063" y="16875"/>
                </a:moveTo>
                <a:cubicBezTo>
                  <a:pt x="17063" y="16938"/>
                  <a:pt x="17000" y="16907"/>
                  <a:pt x="16969" y="16907"/>
                </a:cubicBezTo>
                <a:cubicBezTo>
                  <a:pt x="16938" y="16938"/>
                  <a:pt x="16906" y="16907"/>
                  <a:pt x="16906" y="16875"/>
                </a:cubicBezTo>
                <a:cubicBezTo>
                  <a:pt x="16906" y="16844"/>
                  <a:pt x="16906" y="16813"/>
                  <a:pt x="16906" y="16813"/>
                </a:cubicBezTo>
                <a:cubicBezTo>
                  <a:pt x="16906" y="16782"/>
                  <a:pt x="16906" y="16719"/>
                  <a:pt x="16906" y="16688"/>
                </a:cubicBezTo>
                <a:cubicBezTo>
                  <a:pt x="16906" y="16688"/>
                  <a:pt x="16906" y="16688"/>
                  <a:pt x="16906" y="16688"/>
                </a:cubicBezTo>
                <a:cubicBezTo>
                  <a:pt x="16969" y="16688"/>
                  <a:pt x="17031" y="16750"/>
                  <a:pt x="17063" y="16782"/>
                </a:cubicBezTo>
                <a:cubicBezTo>
                  <a:pt x="17125" y="16813"/>
                  <a:pt x="17094" y="16844"/>
                  <a:pt x="17063" y="16875"/>
                </a:cubicBezTo>
                <a:close/>
                <a:moveTo>
                  <a:pt x="18563" y="17219"/>
                </a:moveTo>
                <a:cubicBezTo>
                  <a:pt x="18563" y="17188"/>
                  <a:pt x="18563" y="17188"/>
                  <a:pt x="18563" y="17188"/>
                </a:cubicBezTo>
                <a:cubicBezTo>
                  <a:pt x="18563" y="17125"/>
                  <a:pt x="18563" y="17094"/>
                  <a:pt x="18563" y="17063"/>
                </a:cubicBezTo>
                <a:cubicBezTo>
                  <a:pt x="18563" y="17094"/>
                  <a:pt x="18563" y="17125"/>
                  <a:pt x="18563" y="17188"/>
                </a:cubicBezTo>
                <a:cubicBezTo>
                  <a:pt x="18563" y="17188"/>
                  <a:pt x="18563" y="17188"/>
                  <a:pt x="18563" y="17219"/>
                </a:cubicBezTo>
                <a:cubicBezTo>
                  <a:pt x="18563" y="17219"/>
                  <a:pt x="18594" y="17250"/>
                  <a:pt x="18594" y="17250"/>
                </a:cubicBezTo>
                <a:cubicBezTo>
                  <a:pt x="18594" y="17250"/>
                  <a:pt x="18563" y="17219"/>
                  <a:pt x="18563" y="17219"/>
                </a:cubicBezTo>
                <a:close/>
                <a:moveTo>
                  <a:pt x="18781" y="17282"/>
                </a:moveTo>
                <a:cubicBezTo>
                  <a:pt x="18719" y="17282"/>
                  <a:pt x="18688" y="17250"/>
                  <a:pt x="18625" y="17250"/>
                </a:cubicBezTo>
                <a:cubicBezTo>
                  <a:pt x="18688" y="17250"/>
                  <a:pt x="18719" y="17282"/>
                  <a:pt x="18781" y="17282"/>
                </a:cubicBezTo>
                <a:cubicBezTo>
                  <a:pt x="18781" y="17250"/>
                  <a:pt x="18781" y="17250"/>
                  <a:pt x="18813" y="17250"/>
                </a:cubicBezTo>
                <a:cubicBezTo>
                  <a:pt x="18813" y="17250"/>
                  <a:pt x="18844" y="17250"/>
                  <a:pt x="18844" y="17250"/>
                </a:cubicBezTo>
                <a:cubicBezTo>
                  <a:pt x="18844" y="17219"/>
                  <a:pt x="18844" y="17219"/>
                  <a:pt x="18844" y="17219"/>
                </a:cubicBezTo>
                <a:cubicBezTo>
                  <a:pt x="18844" y="17219"/>
                  <a:pt x="18844" y="17219"/>
                  <a:pt x="18844" y="17250"/>
                </a:cubicBezTo>
                <a:cubicBezTo>
                  <a:pt x="18844" y="17250"/>
                  <a:pt x="18813" y="17250"/>
                  <a:pt x="18813" y="17250"/>
                </a:cubicBezTo>
                <a:cubicBezTo>
                  <a:pt x="18781" y="17250"/>
                  <a:pt x="18781" y="17250"/>
                  <a:pt x="18781" y="1728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D2D931D-8645-2D4F-B6F9-81B504DC748E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1FBEC5CA-5997-7F43-A24F-3A9C1E6E653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065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3474">
            <a:extLst>
              <a:ext uri="{FF2B5EF4-FFF2-40B4-BE49-F238E27FC236}">
                <a16:creationId xmlns:a16="http://schemas.microsoft.com/office/drawing/2014/main" id="{C44902BC-B372-7847-A106-55C01F5B64C4}"/>
              </a:ext>
            </a:extLst>
          </p:cNvPr>
          <p:cNvSpPr>
            <a:spLocks noGrp="1" noEditPoints="1"/>
          </p:cNvSpPr>
          <p:nvPr>
            <p:ph type="pic" sz="quarter" idx="22"/>
          </p:nvPr>
        </p:nvSpPr>
        <p:spPr bwMode="auto">
          <a:xfrm>
            <a:off x="744315" y="1602210"/>
            <a:ext cx="12458177" cy="11112526"/>
          </a:xfrm>
          <a:custGeom>
            <a:avLst/>
            <a:gdLst>
              <a:gd name="T0" fmla="*/ 678 w 707"/>
              <a:gd name="T1" fmla="*/ 172 h 614"/>
              <a:gd name="T2" fmla="*/ 676 w 707"/>
              <a:gd name="T3" fmla="*/ 147 h 614"/>
              <a:gd name="T4" fmla="*/ 609 w 707"/>
              <a:gd name="T5" fmla="*/ 54 h 614"/>
              <a:gd name="T6" fmla="*/ 393 w 707"/>
              <a:gd name="T7" fmla="*/ 87 h 614"/>
              <a:gd name="T8" fmla="*/ 68 w 707"/>
              <a:gd name="T9" fmla="*/ 55 h 614"/>
              <a:gd name="T10" fmla="*/ 26 w 707"/>
              <a:gd name="T11" fmla="*/ 315 h 614"/>
              <a:gd name="T12" fmla="*/ 163 w 707"/>
              <a:gd name="T13" fmla="*/ 502 h 614"/>
              <a:gd name="T14" fmla="*/ 225 w 707"/>
              <a:gd name="T15" fmla="*/ 560 h 614"/>
              <a:gd name="T16" fmla="*/ 373 w 707"/>
              <a:gd name="T17" fmla="*/ 600 h 614"/>
              <a:gd name="T18" fmla="*/ 478 w 707"/>
              <a:gd name="T19" fmla="*/ 505 h 614"/>
              <a:gd name="T20" fmla="*/ 525 w 707"/>
              <a:gd name="T21" fmla="*/ 447 h 614"/>
              <a:gd name="T22" fmla="*/ 568 w 707"/>
              <a:gd name="T23" fmla="*/ 413 h 614"/>
              <a:gd name="T24" fmla="*/ 603 w 707"/>
              <a:gd name="T25" fmla="*/ 367 h 614"/>
              <a:gd name="T26" fmla="*/ 477 w 707"/>
              <a:gd name="T27" fmla="*/ 481 h 614"/>
              <a:gd name="T28" fmla="*/ 367 w 707"/>
              <a:gd name="T29" fmla="*/ 337 h 614"/>
              <a:gd name="T30" fmla="*/ 123 w 707"/>
              <a:gd name="T31" fmla="*/ 397 h 614"/>
              <a:gd name="T32" fmla="*/ 241 w 707"/>
              <a:gd name="T33" fmla="*/ 505 h 614"/>
              <a:gd name="T34" fmla="*/ 660 w 707"/>
              <a:gd name="T35" fmla="*/ 312 h 614"/>
              <a:gd name="T36" fmla="*/ 642 w 707"/>
              <a:gd name="T37" fmla="*/ 306 h 614"/>
              <a:gd name="T38" fmla="*/ 610 w 707"/>
              <a:gd name="T39" fmla="*/ 351 h 614"/>
              <a:gd name="T40" fmla="*/ 680 w 707"/>
              <a:gd name="T41" fmla="*/ 200 h 614"/>
              <a:gd name="T42" fmla="*/ 561 w 707"/>
              <a:gd name="T43" fmla="*/ 396 h 614"/>
              <a:gd name="T44" fmla="*/ 520 w 707"/>
              <a:gd name="T45" fmla="*/ 320 h 614"/>
              <a:gd name="T46" fmla="*/ 475 w 707"/>
              <a:gd name="T47" fmla="*/ 262 h 614"/>
              <a:gd name="T48" fmla="*/ 437 w 707"/>
              <a:gd name="T49" fmla="*/ 253 h 614"/>
              <a:gd name="T50" fmla="*/ 501 w 707"/>
              <a:gd name="T51" fmla="*/ 212 h 614"/>
              <a:gd name="T52" fmla="*/ 429 w 707"/>
              <a:gd name="T53" fmla="*/ 378 h 614"/>
              <a:gd name="T54" fmla="*/ 331 w 707"/>
              <a:gd name="T55" fmla="*/ 368 h 614"/>
              <a:gd name="T56" fmla="*/ 221 w 707"/>
              <a:gd name="T57" fmla="*/ 389 h 614"/>
              <a:gd name="T58" fmla="*/ 295 w 707"/>
              <a:gd name="T59" fmla="*/ 380 h 614"/>
              <a:gd name="T60" fmla="*/ 294 w 707"/>
              <a:gd name="T61" fmla="*/ 373 h 614"/>
              <a:gd name="T62" fmla="*/ 549 w 707"/>
              <a:gd name="T63" fmla="*/ 138 h 614"/>
              <a:gd name="T64" fmla="*/ 535 w 707"/>
              <a:gd name="T65" fmla="*/ 157 h 614"/>
              <a:gd name="T66" fmla="*/ 441 w 707"/>
              <a:gd name="T67" fmla="*/ 149 h 614"/>
              <a:gd name="T68" fmla="*/ 474 w 707"/>
              <a:gd name="T69" fmla="*/ 193 h 614"/>
              <a:gd name="T70" fmla="*/ 92 w 707"/>
              <a:gd name="T71" fmla="*/ 316 h 614"/>
              <a:gd name="T72" fmla="*/ 51 w 707"/>
              <a:gd name="T73" fmla="*/ 305 h 614"/>
              <a:gd name="T74" fmla="*/ 88 w 707"/>
              <a:gd name="T75" fmla="*/ 419 h 614"/>
              <a:gd name="T76" fmla="*/ 91 w 707"/>
              <a:gd name="T77" fmla="*/ 392 h 614"/>
              <a:gd name="T78" fmla="*/ 79 w 707"/>
              <a:gd name="T79" fmla="*/ 336 h 614"/>
              <a:gd name="T80" fmla="*/ 147 w 707"/>
              <a:gd name="T81" fmla="*/ 454 h 614"/>
              <a:gd name="T82" fmla="*/ 260 w 707"/>
              <a:gd name="T83" fmla="*/ 545 h 614"/>
              <a:gd name="T84" fmla="*/ 162 w 707"/>
              <a:gd name="T85" fmla="*/ 478 h 614"/>
              <a:gd name="T86" fmla="*/ 199 w 707"/>
              <a:gd name="T87" fmla="*/ 478 h 614"/>
              <a:gd name="T88" fmla="*/ 272 w 707"/>
              <a:gd name="T89" fmla="*/ 519 h 614"/>
              <a:gd name="T90" fmla="*/ 295 w 707"/>
              <a:gd name="T91" fmla="*/ 536 h 614"/>
              <a:gd name="T92" fmla="*/ 307 w 707"/>
              <a:gd name="T93" fmla="*/ 398 h 614"/>
              <a:gd name="T94" fmla="*/ 355 w 707"/>
              <a:gd name="T95" fmla="*/ 383 h 614"/>
              <a:gd name="T96" fmla="*/ 346 w 707"/>
              <a:gd name="T97" fmla="*/ 346 h 614"/>
              <a:gd name="T98" fmla="*/ 405 w 707"/>
              <a:gd name="T99" fmla="*/ 306 h 614"/>
              <a:gd name="T100" fmla="*/ 375 w 707"/>
              <a:gd name="T101" fmla="*/ 365 h 614"/>
              <a:gd name="T102" fmla="*/ 403 w 707"/>
              <a:gd name="T103" fmla="*/ 440 h 614"/>
              <a:gd name="T104" fmla="*/ 477 w 707"/>
              <a:gd name="T105" fmla="*/ 417 h 614"/>
              <a:gd name="T106" fmla="*/ 475 w 707"/>
              <a:gd name="T107" fmla="*/ 480 h 614"/>
              <a:gd name="T108" fmla="*/ 413 w 707"/>
              <a:gd name="T109" fmla="*/ 413 h 614"/>
              <a:gd name="T110" fmla="*/ 456 w 707"/>
              <a:gd name="T111" fmla="*/ 370 h 614"/>
              <a:gd name="T112" fmla="*/ 512 w 707"/>
              <a:gd name="T113" fmla="*/ 334 h 614"/>
              <a:gd name="T114" fmla="*/ 485 w 707"/>
              <a:gd name="T115" fmla="*/ 415 h 614"/>
              <a:gd name="T116" fmla="*/ 526 w 707"/>
              <a:gd name="T117" fmla="*/ 413 h 614"/>
              <a:gd name="T118" fmla="*/ 551 w 707"/>
              <a:gd name="T119" fmla="*/ 274 h 614"/>
              <a:gd name="T120" fmla="*/ 566 w 707"/>
              <a:gd name="T121" fmla="*/ 257 h 614"/>
              <a:gd name="T122" fmla="*/ 583 w 707"/>
              <a:gd name="T123" fmla="*/ 222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7" h="614">
                <a:moveTo>
                  <a:pt x="644" y="266"/>
                </a:moveTo>
                <a:lnTo>
                  <a:pt x="644" y="264"/>
                </a:lnTo>
                <a:lnTo>
                  <a:pt x="644" y="263"/>
                </a:lnTo>
                <a:lnTo>
                  <a:pt x="645" y="262"/>
                </a:lnTo>
                <a:lnTo>
                  <a:pt x="648" y="260"/>
                </a:lnTo>
                <a:lnTo>
                  <a:pt x="651" y="259"/>
                </a:lnTo>
                <a:lnTo>
                  <a:pt x="653" y="258"/>
                </a:lnTo>
                <a:lnTo>
                  <a:pt x="654" y="256"/>
                </a:lnTo>
                <a:lnTo>
                  <a:pt x="656" y="253"/>
                </a:lnTo>
                <a:lnTo>
                  <a:pt x="657" y="249"/>
                </a:lnTo>
                <a:lnTo>
                  <a:pt x="657" y="247"/>
                </a:lnTo>
                <a:lnTo>
                  <a:pt x="657" y="246"/>
                </a:lnTo>
                <a:lnTo>
                  <a:pt x="656" y="243"/>
                </a:lnTo>
                <a:lnTo>
                  <a:pt x="656" y="242"/>
                </a:lnTo>
                <a:lnTo>
                  <a:pt x="658" y="242"/>
                </a:lnTo>
                <a:lnTo>
                  <a:pt x="659" y="245"/>
                </a:lnTo>
                <a:lnTo>
                  <a:pt x="662" y="246"/>
                </a:lnTo>
                <a:lnTo>
                  <a:pt x="662" y="241"/>
                </a:lnTo>
                <a:lnTo>
                  <a:pt x="659" y="235"/>
                </a:lnTo>
                <a:lnTo>
                  <a:pt x="656" y="230"/>
                </a:lnTo>
                <a:lnTo>
                  <a:pt x="653" y="226"/>
                </a:lnTo>
                <a:lnTo>
                  <a:pt x="657" y="228"/>
                </a:lnTo>
                <a:lnTo>
                  <a:pt x="660" y="226"/>
                </a:lnTo>
                <a:lnTo>
                  <a:pt x="664" y="225"/>
                </a:lnTo>
                <a:lnTo>
                  <a:pt x="666" y="223"/>
                </a:lnTo>
                <a:lnTo>
                  <a:pt x="664" y="222"/>
                </a:lnTo>
                <a:lnTo>
                  <a:pt x="662" y="218"/>
                </a:lnTo>
                <a:lnTo>
                  <a:pt x="662" y="216"/>
                </a:lnTo>
                <a:lnTo>
                  <a:pt x="665" y="213"/>
                </a:lnTo>
                <a:lnTo>
                  <a:pt x="667" y="210"/>
                </a:lnTo>
                <a:lnTo>
                  <a:pt x="669" y="207"/>
                </a:lnTo>
                <a:lnTo>
                  <a:pt x="668" y="206"/>
                </a:lnTo>
                <a:lnTo>
                  <a:pt x="668" y="205"/>
                </a:lnTo>
                <a:lnTo>
                  <a:pt x="668" y="204"/>
                </a:lnTo>
                <a:lnTo>
                  <a:pt x="669" y="201"/>
                </a:lnTo>
                <a:lnTo>
                  <a:pt x="670" y="198"/>
                </a:lnTo>
                <a:lnTo>
                  <a:pt x="670" y="193"/>
                </a:lnTo>
                <a:lnTo>
                  <a:pt x="670" y="191"/>
                </a:lnTo>
                <a:lnTo>
                  <a:pt x="670" y="190"/>
                </a:lnTo>
                <a:lnTo>
                  <a:pt x="672" y="188"/>
                </a:lnTo>
                <a:lnTo>
                  <a:pt x="673" y="185"/>
                </a:lnTo>
                <a:lnTo>
                  <a:pt x="675" y="181"/>
                </a:lnTo>
                <a:lnTo>
                  <a:pt x="675" y="176"/>
                </a:lnTo>
                <a:lnTo>
                  <a:pt x="674" y="174"/>
                </a:lnTo>
                <a:lnTo>
                  <a:pt x="675" y="173"/>
                </a:lnTo>
                <a:lnTo>
                  <a:pt x="676" y="172"/>
                </a:lnTo>
                <a:lnTo>
                  <a:pt x="678" y="171"/>
                </a:lnTo>
                <a:lnTo>
                  <a:pt x="678" y="172"/>
                </a:lnTo>
                <a:lnTo>
                  <a:pt x="678" y="172"/>
                </a:lnTo>
                <a:lnTo>
                  <a:pt x="678" y="174"/>
                </a:lnTo>
                <a:lnTo>
                  <a:pt x="678" y="177"/>
                </a:lnTo>
                <a:lnTo>
                  <a:pt x="681" y="180"/>
                </a:lnTo>
                <a:lnTo>
                  <a:pt x="684" y="181"/>
                </a:lnTo>
                <a:lnTo>
                  <a:pt x="686" y="182"/>
                </a:lnTo>
                <a:lnTo>
                  <a:pt x="689" y="181"/>
                </a:lnTo>
                <a:lnTo>
                  <a:pt x="689" y="180"/>
                </a:lnTo>
                <a:lnTo>
                  <a:pt x="690" y="179"/>
                </a:lnTo>
                <a:lnTo>
                  <a:pt x="690" y="175"/>
                </a:lnTo>
                <a:lnTo>
                  <a:pt x="689" y="171"/>
                </a:lnTo>
                <a:lnTo>
                  <a:pt x="689" y="167"/>
                </a:lnTo>
                <a:lnTo>
                  <a:pt x="687" y="163"/>
                </a:lnTo>
                <a:lnTo>
                  <a:pt x="687" y="160"/>
                </a:lnTo>
                <a:lnTo>
                  <a:pt x="686" y="158"/>
                </a:lnTo>
                <a:lnTo>
                  <a:pt x="686" y="157"/>
                </a:lnTo>
                <a:lnTo>
                  <a:pt x="684" y="157"/>
                </a:lnTo>
                <a:lnTo>
                  <a:pt x="683" y="158"/>
                </a:lnTo>
                <a:lnTo>
                  <a:pt x="682" y="159"/>
                </a:lnTo>
                <a:lnTo>
                  <a:pt x="682" y="162"/>
                </a:lnTo>
                <a:lnTo>
                  <a:pt x="683" y="163"/>
                </a:lnTo>
                <a:lnTo>
                  <a:pt x="684" y="167"/>
                </a:lnTo>
                <a:lnTo>
                  <a:pt x="685" y="171"/>
                </a:lnTo>
                <a:lnTo>
                  <a:pt x="684" y="170"/>
                </a:lnTo>
                <a:lnTo>
                  <a:pt x="685" y="171"/>
                </a:lnTo>
                <a:lnTo>
                  <a:pt x="683" y="172"/>
                </a:lnTo>
                <a:lnTo>
                  <a:pt x="682" y="173"/>
                </a:lnTo>
                <a:lnTo>
                  <a:pt x="681" y="173"/>
                </a:lnTo>
                <a:lnTo>
                  <a:pt x="678" y="172"/>
                </a:lnTo>
                <a:lnTo>
                  <a:pt x="678" y="170"/>
                </a:lnTo>
                <a:lnTo>
                  <a:pt x="681" y="167"/>
                </a:lnTo>
                <a:lnTo>
                  <a:pt x="681" y="165"/>
                </a:lnTo>
                <a:lnTo>
                  <a:pt x="681" y="164"/>
                </a:lnTo>
                <a:lnTo>
                  <a:pt x="681" y="162"/>
                </a:lnTo>
                <a:lnTo>
                  <a:pt x="680" y="160"/>
                </a:lnTo>
                <a:lnTo>
                  <a:pt x="678" y="159"/>
                </a:lnTo>
                <a:lnTo>
                  <a:pt x="677" y="159"/>
                </a:lnTo>
                <a:lnTo>
                  <a:pt x="676" y="160"/>
                </a:lnTo>
                <a:lnTo>
                  <a:pt x="676" y="162"/>
                </a:lnTo>
                <a:lnTo>
                  <a:pt x="676" y="164"/>
                </a:lnTo>
                <a:lnTo>
                  <a:pt x="675" y="166"/>
                </a:lnTo>
                <a:lnTo>
                  <a:pt x="673" y="164"/>
                </a:lnTo>
                <a:lnTo>
                  <a:pt x="672" y="160"/>
                </a:lnTo>
                <a:lnTo>
                  <a:pt x="673" y="158"/>
                </a:lnTo>
                <a:lnTo>
                  <a:pt x="674" y="155"/>
                </a:lnTo>
                <a:lnTo>
                  <a:pt x="676" y="152"/>
                </a:lnTo>
                <a:lnTo>
                  <a:pt x="677" y="150"/>
                </a:lnTo>
                <a:lnTo>
                  <a:pt x="676" y="147"/>
                </a:lnTo>
                <a:lnTo>
                  <a:pt x="675" y="145"/>
                </a:lnTo>
                <a:lnTo>
                  <a:pt x="677" y="140"/>
                </a:lnTo>
                <a:lnTo>
                  <a:pt x="678" y="134"/>
                </a:lnTo>
                <a:lnTo>
                  <a:pt x="675" y="132"/>
                </a:lnTo>
                <a:lnTo>
                  <a:pt x="669" y="132"/>
                </a:lnTo>
                <a:lnTo>
                  <a:pt x="668" y="130"/>
                </a:lnTo>
                <a:lnTo>
                  <a:pt x="667" y="129"/>
                </a:lnTo>
                <a:lnTo>
                  <a:pt x="666" y="126"/>
                </a:lnTo>
                <a:lnTo>
                  <a:pt x="667" y="125"/>
                </a:lnTo>
                <a:lnTo>
                  <a:pt x="674" y="124"/>
                </a:lnTo>
                <a:lnTo>
                  <a:pt x="682" y="124"/>
                </a:lnTo>
                <a:lnTo>
                  <a:pt x="683" y="122"/>
                </a:lnTo>
                <a:lnTo>
                  <a:pt x="684" y="118"/>
                </a:lnTo>
                <a:lnTo>
                  <a:pt x="687" y="116"/>
                </a:lnTo>
                <a:lnTo>
                  <a:pt x="689" y="114"/>
                </a:lnTo>
                <a:lnTo>
                  <a:pt x="686" y="110"/>
                </a:lnTo>
                <a:lnTo>
                  <a:pt x="684" y="106"/>
                </a:lnTo>
                <a:lnTo>
                  <a:pt x="678" y="104"/>
                </a:lnTo>
                <a:lnTo>
                  <a:pt x="674" y="102"/>
                </a:lnTo>
                <a:lnTo>
                  <a:pt x="673" y="101"/>
                </a:lnTo>
                <a:lnTo>
                  <a:pt x="670" y="99"/>
                </a:lnTo>
                <a:lnTo>
                  <a:pt x="670" y="98"/>
                </a:lnTo>
                <a:lnTo>
                  <a:pt x="670" y="96"/>
                </a:lnTo>
                <a:lnTo>
                  <a:pt x="672" y="97"/>
                </a:lnTo>
                <a:lnTo>
                  <a:pt x="674" y="98"/>
                </a:lnTo>
                <a:lnTo>
                  <a:pt x="674" y="97"/>
                </a:lnTo>
                <a:lnTo>
                  <a:pt x="674" y="96"/>
                </a:lnTo>
                <a:lnTo>
                  <a:pt x="674" y="94"/>
                </a:lnTo>
                <a:lnTo>
                  <a:pt x="673" y="94"/>
                </a:lnTo>
                <a:lnTo>
                  <a:pt x="669" y="93"/>
                </a:lnTo>
                <a:lnTo>
                  <a:pt x="667" y="93"/>
                </a:lnTo>
                <a:lnTo>
                  <a:pt x="664" y="92"/>
                </a:lnTo>
                <a:lnTo>
                  <a:pt x="661" y="91"/>
                </a:lnTo>
                <a:lnTo>
                  <a:pt x="659" y="89"/>
                </a:lnTo>
                <a:lnTo>
                  <a:pt x="657" y="87"/>
                </a:lnTo>
                <a:lnTo>
                  <a:pt x="657" y="84"/>
                </a:lnTo>
                <a:lnTo>
                  <a:pt x="657" y="82"/>
                </a:lnTo>
                <a:lnTo>
                  <a:pt x="658" y="79"/>
                </a:lnTo>
                <a:lnTo>
                  <a:pt x="657" y="75"/>
                </a:lnTo>
                <a:lnTo>
                  <a:pt x="654" y="73"/>
                </a:lnTo>
                <a:lnTo>
                  <a:pt x="652" y="69"/>
                </a:lnTo>
                <a:lnTo>
                  <a:pt x="645" y="65"/>
                </a:lnTo>
                <a:lnTo>
                  <a:pt x="640" y="63"/>
                </a:lnTo>
                <a:lnTo>
                  <a:pt x="631" y="60"/>
                </a:lnTo>
                <a:lnTo>
                  <a:pt x="623" y="57"/>
                </a:lnTo>
                <a:lnTo>
                  <a:pt x="618" y="55"/>
                </a:lnTo>
                <a:lnTo>
                  <a:pt x="614" y="54"/>
                </a:lnTo>
                <a:lnTo>
                  <a:pt x="609" y="54"/>
                </a:lnTo>
                <a:lnTo>
                  <a:pt x="603" y="54"/>
                </a:lnTo>
                <a:lnTo>
                  <a:pt x="594" y="56"/>
                </a:lnTo>
                <a:lnTo>
                  <a:pt x="584" y="56"/>
                </a:lnTo>
                <a:lnTo>
                  <a:pt x="583" y="55"/>
                </a:lnTo>
                <a:lnTo>
                  <a:pt x="582" y="55"/>
                </a:lnTo>
                <a:lnTo>
                  <a:pt x="582" y="54"/>
                </a:lnTo>
                <a:lnTo>
                  <a:pt x="582" y="52"/>
                </a:lnTo>
                <a:lnTo>
                  <a:pt x="584" y="50"/>
                </a:lnTo>
                <a:lnTo>
                  <a:pt x="586" y="48"/>
                </a:lnTo>
                <a:lnTo>
                  <a:pt x="577" y="47"/>
                </a:lnTo>
                <a:lnTo>
                  <a:pt x="568" y="46"/>
                </a:lnTo>
                <a:lnTo>
                  <a:pt x="575" y="44"/>
                </a:lnTo>
                <a:lnTo>
                  <a:pt x="579" y="41"/>
                </a:lnTo>
                <a:lnTo>
                  <a:pt x="571" y="41"/>
                </a:lnTo>
                <a:lnTo>
                  <a:pt x="562" y="41"/>
                </a:lnTo>
                <a:lnTo>
                  <a:pt x="565" y="39"/>
                </a:lnTo>
                <a:lnTo>
                  <a:pt x="567" y="38"/>
                </a:lnTo>
                <a:lnTo>
                  <a:pt x="569" y="38"/>
                </a:lnTo>
                <a:lnTo>
                  <a:pt x="573" y="36"/>
                </a:lnTo>
                <a:lnTo>
                  <a:pt x="575" y="36"/>
                </a:lnTo>
                <a:lnTo>
                  <a:pt x="576" y="35"/>
                </a:lnTo>
                <a:lnTo>
                  <a:pt x="574" y="34"/>
                </a:lnTo>
                <a:lnTo>
                  <a:pt x="571" y="34"/>
                </a:lnTo>
                <a:lnTo>
                  <a:pt x="560" y="33"/>
                </a:lnTo>
                <a:lnTo>
                  <a:pt x="550" y="34"/>
                </a:lnTo>
                <a:lnTo>
                  <a:pt x="540" y="36"/>
                </a:lnTo>
                <a:lnTo>
                  <a:pt x="529" y="40"/>
                </a:lnTo>
                <a:lnTo>
                  <a:pt x="520" y="43"/>
                </a:lnTo>
                <a:lnTo>
                  <a:pt x="511" y="47"/>
                </a:lnTo>
                <a:lnTo>
                  <a:pt x="502" y="51"/>
                </a:lnTo>
                <a:lnTo>
                  <a:pt x="493" y="56"/>
                </a:lnTo>
                <a:lnTo>
                  <a:pt x="484" y="59"/>
                </a:lnTo>
                <a:lnTo>
                  <a:pt x="476" y="64"/>
                </a:lnTo>
                <a:lnTo>
                  <a:pt x="467" y="67"/>
                </a:lnTo>
                <a:lnTo>
                  <a:pt x="458" y="71"/>
                </a:lnTo>
                <a:lnTo>
                  <a:pt x="448" y="75"/>
                </a:lnTo>
                <a:lnTo>
                  <a:pt x="439" y="80"/>
                </a:lnTo>
                <a:lnTo>
                  <a:pt x="430" y="85"/>
                </a:lnTo>
                <a:lnTo>
                  <a:pt x="422" y="91"/>
                </a:lnTo>
                <a:lnTo>
                  <a:pt x="414" y="97"/>
                </a:lnTo>
                <a:lnTo>
                  <a:pt x="408" y="101"/>
                </a:lnTo>
                <a:lnTo>
                  <a:pt x="405" y="102"/>
                </a:lnTo>
                <a:lnTo>
                  <a:pt x="404" y="102"/>
                </a:lnTo>
                <a:lnTo>
                  <a:pt x="403" y="101"/>
                </a:lnTo>
                <a:lnTo>
                  <a:pt x="402" y="101"/>
                </a:lnTo>
                <a:lnTo>
                  <a:pt x="401" y="98"/>
                </a:lnTo>
                <a:lnTo>
                  <a:pt x="398" y="96"/>
                </a:lnTo>
                <a:lnTo>
                  <a:pt x="393" y="87"/>
                </a:lnTo>
                <a:lnTo>
                  <a:pt x="386" y="77"/>
                </a:lnTo>
                <a:lnTo>
                  <a:pt x="379" y="68"/>
                </a:lnTo>
                <a:lnTo>
                  <a:pt x="372" y="60"/>
                </a:lnTo>
                <a:lnTo>
                  <a:pt x="360" y="47"/>
                </a:lnTo>
                <a:lnTo>
                  <a:pt x="346" y="36"/>
                </a:lnTo>
                <a:lnTo>
                  <a:pt x="331" y="27"/>
                </a:lnTo>
                <a:lnTo>
                  <a:pt x="316" y="19"/>
                </a:lnTo>
                <a:lnTo>
                  <a:pt x="318" y="19"/>
                </a:lnTo>
                <a:lnTo>
                  <a:pt x="318" y="18"/>
                </a:lnTo>
                <a:lnTo>
                  <a:pt x="316" y="17"/>
                </a:lnTo>
                <a:lnTo>
                  <a:pt x="315" y="16"/>
                </a:lnTo>
                <a:lnTo>
                  <a:pt x="311" y="15"/>
                </a:lnTo>
                <a:lnTo>
                  <a:pt x="309" y="14"/>
                </a:lnTo>
                <a:lnTo>
                  <a:pt x="309" y="16"/>
                </a:lnTo>
                <a:lnTo>
                  <a:pt x="310" y="17"/>
                </a:lnTo>
                <a:lnTo>
                  <a:pt x="304" y="16"/>
                </a:lnTo>
                <a:lnTo>
                  <a:pt x="299" y="13"/>
                </a:lnTo>
                <a:lnTo>
                  <a:pt x="297" y="10"/>
                </a:lnTo>
                <a:lnTo>
                  <a:pt x="295" y="8"/>
                </a:lnTo>
                <a:lnTo>
                  <a:pt x="291" y="9"/>
                </a:lnTo>
                <a:lnTo>
                  <a:pt x="288" y="10"/>
                </a:lnTo>
                <a:lnTo>
                  <a:pt x="282" y="9"/>
                </a:lnTo>
                <a:lnTo>
                  <a:pt x="277" y="7"/>
                </a:lnTo>
                <a:lnTo>
                  <a:pt x="272" y="4"/>
                </a:lnTo>
                <a:lnTo>
                  <a:pt x="266" y="1"/>
                </a:lnTo>
                <a:lnTo>
                  <a:pt x="261" y="0"/>
                </a:lnTo>
                <a:lnTo>
                  <a:pt x="255" y="0"/>
                </a:lnTo>
                <a:lnTo>
                  <a:pt x="241" y="1"/>
                </a:lnTo>
                <a:lnTo>
                  <a:pt x="228" y="4"/>
                </a:lnTo>
                <a:lnTo>
                  <a:pt x="214" y="5"/>
                </a:lnTo>
                <a:lnTo>
                  <a:pt x="200" y="6"/>
                </a:lnTo>
                <a:lnTo>
                  <a:pt x="186" y="7"/>
                </a:lnTo>
                <a:lnTo>
                  <a:pt x="172" y="9"/>
                </a:lnTo>
                <a:lnTo>
                  <a:pt x="161" y="13"/>
                </a:lnTo>
                <a:lnTo>
                  <a:pt x="149" y="16"/>
                </a:lnTo>
                <a:lnTo>
                  <a:pt x="137" y="18"/>
                </a:lnTo>
                <a:lnTo>
                  <a:pt x="125" y="24"/>
                </a:lnTo>
                <a:lnTo>
                  <a:pt x="130" y="24"/>
                </a:lnTo>
                <a:lnTo>
                  <a:pt x="134" y="25"/>
                </a:lnTo>
                <a:lnTo>
                  <a:pt x="128" y="30"/>
                </a:lnTo>
                <a:lnTo>
                  <a:pt x="121" y="33"/>
                </a:lnTo>
                <a:lnTo>
                  <a:pt x="114" y="36"/>
                </a:lnTo>
                <a:lnTo>
                  <a:pt x="106" y="39"/>
                </a:lnTo>
                <a:lnTo>
                  <a:pt x="98" y="41"/>
                </a:lnTo>
                <a:lnTo>
                  <a:pt x="90" y="43"/>
                </a:lnTo>
                <a:lnTo>
                  <a:pt x="83" y="46"/>
                </a:lnTo>
                <a:lnTo>
                  <a:pt x="75" y="50"/>
                </a:lnTo>
                <a:lnTo>
                  <a:pt x="68" y="55"/>
                </a:lnTo>
                <a:lnTo>
                  <a:pt x="63" y="60"/>
                </a:lnTo>
                <a:lnTo>
                  <a:pt x="56" y="67"/>
                </a:lnTo>
                <a:lnTo>
                  <a:pt x="50" y="74"/>
                </a:lnTo>
                <a:lnTo>
                  <a:pt x="40" y="88"/>
                </a:lnTo>
                <a:lnTo>
                  <a:pt x="32" y="102"/>
                </a:lnTo>
                <a:lnTo>
                  <a:pt x="24" y="119"/>
                </a:lnTo>
                <a:lnTo>
                  <a:pt x="17" y="135"/>
                </a:lnTo>
                <a:lnTo>
                  <a:pt x="14" y="143"/>
                </a:lnTo>
                <a:lnTo>
                  <a:pt x="13" y="151"/>
                </a:lnTo>
                <a:lnTo>
                  <a:pt x="9" y="159"/>
                </a:lnTo>
                <a:lnTo>
                  <a:pt x="7" y="167"/>
                </a:lnTo>
                <a:lnTo>
                  <a:pt x="5" y="176"/>
                </a:lnTo>
                <a:lnTo>
                  <a:pt x="3" y="185"/>
                </a:lnTo>
                <a:lnTo>
                  <a:pt x="2" y="196"/>
                </a:lnTo>
                <a:lnTo>
                  <a:pt x="2" y="204"/>
                </a:lnTo>
                <a:lnTo>
                  <a:pt x="1" y="213"/>
                </a:lnTo>
                <a:lnTo>
                  <a:pt x="1" y="223"/>
                </a:lnTo>
                <a:lnTo>
                  <a:pt x="1" y="226"/>
                </a:lnTo>
                <a:lnTo>
                  <a:pt x="1" y="230"/>
                </a:lnTo>
                <a:lnTo>
                  <a:pt x="0" y="234"/>
                </a:lnTo>
                <a:lnTo>
                  <a:pt x="1" y="239"/>
                </a:lnTo>
                <a:lnTo>
                  <a:pt x="3" y="240"/>
                </a:lnTo>
                <a:lnTo>
                  <a:pt x="7" y="241"/>
                </a:lnTo>
                <a:lnTo>
                  <a:pt x="8" y="245"/>
                </a:lnTo>
                <a:lnTo>
                  <a:pt x="8" y="248"/>
                </a:lnTo>
                <a:lnTo>
                  <a:pt x="8" y="251"/>
                </a:lnTo>
                <a:lnTo>
                  <a:pt x="8" y="256"/>
                </a:lnTo>
                <a:lnTo>
                  <a:pt x="6" y="259"/>
                </a:lnTo>
                <a:lnTo>
                  <a:pt x="6" y="264"/>
                </a:lnTo>
                <a:lnTo>
                  <a:pt x="6" y="266"/>
                </a:lnTo>
                <a:lnTo>
                  <a:pt x="7" y="266"/>
                </a:lnTo>
                <a:lnTo>
                  <a:pt x="8" y="266"/>
                </a:lnTo>
                <a:lnTo>
                  <a:pt x="9" y="266"/>
                </a:lnTo>
                <a:lnTo>
                  <a:pt x="10" y="266"/>
                </a:lnTo>
                <a:lnTo>
                  <a:pt x="11" y="266"/>
                </a:lnTo>
                <a:lnTo>
                  <a:pt x="11" y="266"/>
                </a:lnTo>
                <a:lnTo>
                  <a:pt x="13" y="268"/>
                </a:lnTo>
                <a:lnTo>
                  <a:pt x="15" y="279"/>
                </a:lnTo>
                <a:lnTo>
                  <a:pt x="18" y="290"/>
                </a:lnTo>
                <a:lnTo>
                  <a:pt x="14" y="288"/>
                </a:lnTo>
                <a:lnTo>
                  <a:pt x="10" y="283"/>
                </a:lnTo>
                <a:lnTo>
                  <a:pt x="10" y="288"/>
                </a:lnTo>
                <a:lnTo>
                  <a:pt x="11" y="291"/>
                </a:lnTo>
                <a:lnTo>
                  <a:pt x="15" y="292"/>
                </a:lnTo>
                <a:lnTo>
                  <a:pt x="18" y="295"/>
                </a:lnTo>
                <a:lnTo>
                  <a:pt x="22" y="300"/>
                </a:lnTo>
                <a:lnTo>
                  <a:pt x="23" y="307"/>
                </a:lnTo>
                <a:lnTo>
                  <a:pt x="26" y="315"/>
                </a:lnTo>
                <a:lnTo>
                  <a:pt x="30" y="322"/>
                </a:lnTo>
                <a:lnTo>
                  <a:pt x="33" y="332"/>
                </a:lnTo>
                <a:lnTo>
                  <a:pt x="38" y="342"/>
                </a:lnTo>
                <a:lnTo>
                  <a:pt x="41" y="351"/>
                </a:lnTo>
                <a:lnTo>
                  <a:pt x="46" y="361"/>
                </a:lnTo>
                <a:lnTo>
                  <a:pt x="50" y="368"/>
                </a:lnTo>
                <a:lnTo>
                  <a:pt x="55" y="378"/>
                </a:lnTo>
                <a:lnTo>
                  <a:pt x="59" y="387"/>
                </a:lnTo>
                <a:lnTo>
                  <a:pt x="66" y="396"/>
                </a:lnTo>
                <a:lnTo>
                  <a:pt x="68" y="397"/>
                </a:lnTo>
                <a:lnTo>
                  <a:pt x="69" y="399"/>
                </a:lnTo>
                <a:lnTo>
                  <a:pt x="69" y="401"/>
                </a:lnTo>
                <a:lnTo>
                  <a:pt x="71" y="405"/>
                </a:lnTo>
                <a:lnTo>
                  <a:pt x="74" y="409"/>
                </a:lnTo>
                <a:lnTo>
                  <a:pt x="79" y="413"/>
                </a:lnTo>
                <a:lnTo>
                  <a:pt x="82" y="421"/>
                </a:lnTo>
                <a:lnTo>
                  <a:pt x="85" y="429"/>
                </a:lnTo>
                <a:lnTo>
                  <a:pt x="90" y="431"/>
                </a:lnTo>
                <a:lnTo>
                  <a:pt x="95" y="432"/>
                </a:lnTo>
                <a:lnTo>
                  <a:pt x="98" y="432"/>
                </a:lnTo>
                <a:lnTo>
                  <a:pt x="99" y="433"/>
                </a:lnTo>
                <a:lnTo>
                  <a:pt x="99" y="436"/>
                </a:lnTo>
                <a:lnTo>
                  <a:pt x="100" y="439"/>
                </a:lnTo>
                <a:lnTo>
                  <a:pt x="104" y="446"/>
                </a:lnTo>
                <a:lnTo>
                  <a:pt x="109" y="453"/>
                </a:lnTo>
                <a:lnTo>
                  <a:pt x="115" y="459"/>
                </a:lnTo>
                <a:lnTo>
                  <a:pt x="121" y="465"/>
                </a:lnTo>
                <a:lnTo>
                  <a:pt x="125" y="471"/>
                </a:lnTo>
                <a:lnTo>
                  <a:pt x="131" y="475"/>
                </a:lnTo>
                <a:lnTo>
                  <a:pt x="138" y="478"/>
                </a:lnTo>
                <a:lnTo>
                  <a:pt x="142" y="479"/>
                </a:lnTo>
                <a:lnTo>
                  <a:pt x="140" y="474"/>
                </a:lnTo>
                <a:lnTo>
                  <a:pt x="138" y="471"/>
                </a:lnTo>
                <a:lnTo>
                  <a:pt x="145" y="473"/>
                </a:lnTo>
                <a:lnTo>
                  <a:pt x="149" y="478"/>
                </a:lnTo>
                <a:lnTo>
                  <a:pt x="151" y="481"/>
                </a:lnTo>
                <a:lnTo>
                  <a:pt x="150" y="484"/>
                </a:lnTo>
                <a:lnTo>
                  <a:pt x="149" y="484"/>
                </a:lnTo>
                <a:lnTo>
                  <a:pt x="148" y="483"/>
                </a:lnTo>
                <a:lnTo>
                  <a:pt x="147" y="483"/>
                </a:lnTo>
                <a:lnTo>
                  <a:pt x="147" y="484"/>
                </a:lnTo>
                <a:lnTo>
                  <a:pt x="148" y="488"/>
                </a:lnTo>
                <a:lnTo>
                  <a:pt x="151" y="491"/>
                </a:lnTo>
                <a:lnTo>
                  <a:pt x="156" y="495"/>
                </a:lnTo>
                <a:lnTo>
                  <a:pt x="159" y="497"/>
                </a:lnTo>
                <a:lnTo>
                  <a:pt x="161" y="499"/>
                </a:lnTo>
                <a:lnTo>
                  <a:pt x="162" y="500"/>
                </a:lnTo>
                <a:lnTo>
                  <a:pt x="163" y="502"/>
                </a:lnTo>
                <a:lnTo>
                  <a:pt x="164" y="504"/>
                </a:lnTo>
                <a:lnTo>
                  <a:pt x="169" y="506"/>
                </a:lnTo>
                <a:lnTo>
                  <a:pt x="173" y="507"/>
                </a:lnTo>
                <a:lnTo>
                  <a:pt x="172" y="505"/>
                </a:lnTo>
                <a:lnTo>
                  <a:pt x="170" y="503"/>
                </a:lnTo>
                <a:lnTo>
                  <a:pt x="172" y="502"/>
                </a:lnTo>
                <a:lnTo>
                  <a:pt x="175" y="502"/>
                </a:lnTo>
                <a:lnTo>
                  <a:pt x="176" y="504"/>
                </a:lnTo>
                <a:lnTo>
                  <a:pt x="178" y="506"/>
                </a:lnTo>
                <a:lnTo>
                  <a:pt x="181" y="507"/>
                </a:lnTo>
                <a:lnTo>
                  <a:pt x="183" y="506"/>
                </a:lnTo>
                <a:lnTo>
                  <a:pt x="187" y="507"/>
                </a:lnTo>
                <a:lnTo>
                  <a:pt x="189" y="511"/>
                </a:lnTo>
                <a:lnTo>
                  <a:pt x="192" y="514"/>
                </a:lnTo>
                <a:lnTo>
                  <a:pt x="199" y="520"/>
                </a:lnTo>
                <a:lnTo>
                  <a:pt x="203" y="522"/>
                </a:lnTo>
                <a:lnTo>
                  <a:pt x="205" y="525"/>
                </a:lnTo>
                <a:lnTo>
                  <a:pt x="207" y="528"/>
                </a:lnTo>
                <a:lnTo>
                  <a:pt x="207" y="530"/>
                </a:lnTo>
                <a:lnTo>
                  <a:pt x="208" y="529"/>
                </a:lnTo>
                <a:lnTo>
                  <a:pt x="209" y="529"/>
                </a:lnTo>
                <a:lnTo>
                  <a:pt x="211" y="529"/>
                </a:lnTo>
                <a:lnTo>
                  <a:pt x="212" y="530"/>
                </a:lnTo>
                <a:lnTo>
                  <a:pt x="213" y="532"/>
                </a:lnTo>
                <a:lnTo>
                  <a:pt x="212" y="536"/>
                </a:lnTo>
                <a:lnTo>
                  <a:pt x="208" y="536"/>
                </a:lnTo>
                <a:lnTo>
                  <a:pt x="205" y="533"/>
                </a:lnTo>
                <a:lnTo>
                  <a:pt x="202" y="530"/>
                </a:lnTo>
                <a:lnTo>
                  <a:pt x="198" y="528"/>
                </a:lnTo>
                <a:lnTo>
                  <a:pt x="192" y="523"/>
                </a:lnTo>
                <a:lnTo>
                  <a:pt x="187" y="516"/>
                </a:lnTo>
                <a:lnTo>
                  <a:pt x="184" y="514"/>
                </a:lnTo>
                <a:lnTo>
                  <a:pt x="182" y="513"/>
                </a:lnTo>
                <a:lnTo>
                  <a:pt x="179" y="511"/>
                </a:lnTo>
                <a:lnTo>
                  <a:pt x="175" y="511"/>
                </a:lnTo>
                <a:lnTo>
                  <a:pt x="179" y="514"/>
                </a:lnTo>
                <a:lnTo>
                  <a:pt x="187" y="522"/>
                </a:lnTo>
                <a:lnTo>
                  <a:pt x="196" y="530"/>
                </a:lnTo>
                <a:lnTo>
                  <a:pt x="202" y="533"/>
                </a:lnTo>
                <a:lnTo>
                  <a:pt x="205" y="540"/>
                </a:lnTo>
                <a:lnTo>
                  <a:pt x="208" y="546"/>
                </a:lnTo>
                <a:lnTo>
                  <a:pt x="209" y="549"/>
                </a:lnTo>
                <a:lnTo>
                  <a:pt x="213" y="552"/>
                </a:lnTo>
                <a:lnTo>
                  <a:pt x="215" y="553"/>
                </a:lnTo>
                <a:lnTo>
                  <a:pt x="220" y="553"/>
                </a:lnTo>
                <a:lnTo>
                  <a:pt x="223" y="554"/>
                </a:lnTo>
                <a:lnTo>
                  <a:pt x="224" y="556"/>
                </a:lnTo>
                <a:lnTo>
                  <a:pt x="225" y="560"/>
                </a:lnTo>
                <a:lnTo>
                  <a:pt x="228" y="562"/>
                </a:lnTo>
                <a:lnTo>
                  <a:pt x="233" y="565"/>
                </a:lnTo>
                <a:lnTo>
                  <a:pt x="240" y="566"/>
                </a:lnTo>
                <a:lnTo>
                  <a:pt x="245" y="570"/>
                </a:lnTo>
                <a:lnTo>
                  <a:pt x="249" y="573"/>
                </a:lnTo>
                <a:lnTo>
                  <a:pt x="249" y="577"/>
                </a:lnTo>
                <a:lnTo>
                  <a:pt x="249" y="580"/>
                </a:lnTo>
                <a:lnTo>
                  <a:pt x="252" y="583"/>
                </a:lnTo>
                <a:lnTo>
                  <a:pt x="254" y="586"/>
                </a:lnTo>
                <a:lnTo>
                  <a:pt x="261" y="589"/>
                </a:lnTo>
                <a:lnTo>
                  <a:pt x="266" y="592"/>
                </a:lnTo>
                <a:lnTo>
                  <a:pt x="272" y="596"/>
                </a:lnTo>
                <a:lnTo>
                  <a:pt x="277" y="602"/>
                </a:lnTo>
                <a:lnTo>
                  <a:pt x="280" y="605"/>
                </a:lnTo>
                <a:lnTo>
                  <a:pt x="283" y="608"/>
                </a:lnTo>
                <a:lnTo>
                  <a:pt x="287" y="611"/>
                </a:lnTo>
                <a:lnTo>
                  <a:pt x="291" y="612"/>
                </a:lnTo>
                <a:lnTo>
                  <a:pt x="301" y="614"/>
                </a:lnTo>
                <a:lnTo>
                  <a:pt x="310" y="613"/>
                </a:lnTo>
                <a:lnTo>
                  <a:pt x="314" y="613"/>
                </a:lnTo>
                <a:lnTo>
                  <a:pt x="320" y="612"/>
                </a:lnTo>
                <a:lnTo>
                  <a:pt x="321" y="608"/>
                </a:lnTo>
                <a:lnTo>
                  <a:pt x="322" y="606"/>
                </a:lnTo>
                <a:lnTo>
                  <a:pt x="324" y="606"/>
                </a:lnTo>
                <a:lnTo>
                  <a:pt x="329" y="605"/>
                </a:lnTo>
                <a:lnTo>
                  <a:pt x="330" y="603"/>
                </a:lnTo>
                <a:lnTo>
                  <a:pt x="332" y="602"/>
                </a:lnTo>
                <a:lnTo>
                  <a:pt x="335" y="602"/>
                </a:lnTo>
                <a:lnTo>
                  <a:pt x="337" y="602"/>
                </a:lnTo>
                <a:lnTo>
                  <a:pt x="336" y="598"/>
                </a:lnTo>
                <a:lnTo>
                  <a:pt x="334" y="596"/>
                </a:lnTo>
                <a:lnTo>
                  <a:pt x="335" y="595"/>
                </a:lnTo>
                <a:lnTo>
                  <a:pt x="336" y="594"/>
                </a:lnTo>
                <a:lnTo>
                  <a:pt x="337" y="594"/>
                </a:lnTo>
                <a:lnTo>
                  <a:pt x="337" y="595"/>
                </a:lnTo>
                <a:lnTo>
                  <a:pt x="339" y="597"/>
                </a:lnTo>
                <a:lnTo>
                  <a:pt x="339" y="599"/>
                </a:lnTo>
                <a:lnTo>
                  <a:pt x="346" y="604"/>
                </a:lnTo>
                <a:lnTo>
                  <a:pt x="353" y="608"/>
                </a:lnTo>
                <a:lnTo>
                  <a:pt x="355" y="610"/>
                </a:lnTo>
                <a:lnTo>
                  <a:pt x="356" y="611"/>
                </a:lnTo>
                <a:lnTo>
                  <a:pt x="357" y="612"/>
                </a:lnTo>
                <a:lnTo>
                  <a:pt x="357" y="611"/>
                </a:lnTo>
                <a:lnTo>
                  <a:pt x="360" y="608"/>
                </a:lnTo>
                <a:lnTo>
                  <a:pt x="363" y="605"/>
                </a:lnTo>
                <a:lnTo>
                  <a:pt x="368" y="605"/>
                </a:lnTo>
                <a:lnTo>
                  <a:pt x="371" y="603"/>
                </a:lnTo>
                <a:lnTo>
                  <a:pt x="373" y="600"/>
                </a:lnTo>
                <a:lnTo>
                  <a:pt x="375" y="598"/>
                </a:lnTo>
                <a:lnTo>
                  <a:pt x="378" y="598"/>
                </a:lnTo>
                <a:lnTo>
                  <a:pt x="381" y="598"/>
                </a:lnTo>
                <a:lnTo>
                  <a:pt x="384" y="597"/>
                </a:lnTo>
                <a:lnTo>
                  <a:pt x="386" y="595"/>
                </a:lnTo>
                <a:lnTo>
                  <a:pt x="392" y="591"/>
                </a:lnTo>
                <a:lnTo>
                  <a:pt x="396" y="588"/>
                </a:lnTo>
                <a:lnTo>
                  <a:pt x="401" y="585"/>
                </a:lnTo>
                <a:lnTo>
                  <a:pt x="405" y="581"/>
                </a:lnTo>
                <a:lnTo>
                  <a:pt x="406" y="580"/>
                </a:lnTo>
                <a:lnTo>
                  <a:pt x="408" y="578"/>
                </a:lnTo>
                <a:lnTo>
                  <a:pt x="409" y="575"/>
                </a:lnTo>
                <a:lnTo>
                  <a:pt x="409" y="572"/>
                </a:lnTo>
                <a:lnTo>
                  <a:pt x="412" y="574"/>
                </a:lnTo>
                <a:lnTo>
                  <a:pt x="414" y="575"/>
                </a:lnTo>
                <a:lnTo>
                  <a:pt x="419" y="575"/>
                </a:lnTo>
                <a:lnTo>
                  <a:pt x="422" y="574"/>
                </a:lnTo>
                <a:lnTo>
                  <a:pt x="425" y="571"/>
                </a:lnTo>
                <a:lnTo>
                  <a:pt x="428" y="567"/>
                </a:lnTo>
                <a:lnTo>
                  <a:pt x="431" y="565"/>
                </a:lnTo>
                <a:lnTo>
                  <a:pt x="435" y="564"/>
                </a:lnTo>
                <a:lnTo>
                  <a:pt x="441" y="560"/>
                </a:lnTo>
                <a:lnTo>
                  <a:pt x="444" y="553"/>
                </a:lnTo>
                <a:lnTo>
                  <a:pt x="447" y="550"/>
                </a:lnTo>
                <a:lnTo>
                  <a:pt x="450" y="548"/>
                </a:lnTo>
                <a:lnTo>
                  <a:pt x="452" y="545"/>
                </a:lnTo>
                <a:lnTo>
                  <a:pt x="453" y="540"/>
                </a:lnTo>
                <a:lnTo>
                  <a:pt x="450" y="541"/>
                </a:lnTo>
                <a:lnTo>
                  <a:pt x="447" y="542"/>
                </a:lnTo>
                <a:lnTo>
                  <a:pt x="446" y="538"/>
                </a:lnTo>
                <a:lnTo>
                  <a:pt x="447" y="533"/>
                </a:lnTo>
                <a:lnTo>
                  <a:pt x="448" y="531"/>
                </a:lnTo>
                <a:lnTo>
                  <a:pt x="451" y="530"/>
                </a:lnTo>
                <a:lnTo>
                  <a:pt x="453" y="528"/>
                </a:lnTo>
                <a:lnTo>
                  <a:pt x="456" y="528"/>
                </a:lnTo>
                <a:lnTo>
                  <a:pt x="460" y="530"/>
                </a:lnTo>
                <a:lnTo>
                  <a:pt x="463" y="533"/>
                </a:lnTo>
                <a:lnTo>
                  <a:pt x="467" y="531"/>
                </a:lnTo>
                <a:lnTo>
                  <a:pt x="469" y="528"/>
                </a:lnTo>
                <a:lnTo>
                  <a:pt x="472" y="523"/>
                </a:lnTo>
                <a:lnTo>
                  <a:pt x="477" y="519"/>
                </a:lnTo>
                <a:lnTo>
                  <a:pt x="479" y="516"/>
                </a:lnTo>
                <a:lnTo>
                  <a:pt x="481" y="514"/>
                </a:lnTo>
                <a:lnTo>
                  <a:pt x="483" y="512"/>
                </a:lnTo>
                <a:lnTo>
                  <a:pt x="483" y="509"/>
                </a:lnTo>
                <a:lnTo>
                  <a:pt x="481" y="506"/>
                </a:lnTo>
                <a:lnTo>
                  <a:pt x="479" y="505"/>
                </a:lnTo>
                <a:lnTo>
                  <a:pt x="478" y="505"/>
                </a:lnTo>
                <a:lnTo>
                  <a:pt x="476" y="506"/>
                </a:lnTo>
                <a:lnTo>
                  <a:pt x="474" y="507"/>
                </a:lnTo>
                <a:lnTo>
                  <a:pt x="474" y="508"/>
                </a:lnTo>
                <a:lnTo>
                  <a:pt x="475" y="509"/>
                </a:lnTo>
                <a:lnTo>
                  <a:pt x="476" y="512"/>
                </a:lnTo>
                <a:lnTo>
                  <a:pt x="477" y="513"/>
                </a:lnTo>
                <a:lnTo>
                  <a:pt x="477" y="515"/>
                </a:lnTo>
                <a:lnTo>
                  <a:pt x="476" y="516"/>
                </a:lnTo>
                <a:lnTo>
                  <a:pt x="474" y="516"/>
                </a:lnTo>
                <a:lnTo>
                  <a:pt x="470" y="513"/>
                </a:lnTo>
                <a:lnTo>
                  <a:pt x="467" y="509"/>
                </a:lnTo>
                <a:lnTo>
                  <a:pt x="467" y="505"/>
                </a:lnTo>
                <a:lnTo>
                  <a:pt x="468" y="499"/>
                </a:lnTo>
                <a:lnTo>
                  <a:pt x="471" y="498"/>
                </a:lnTo>
                <a:lnTo>
                  <a:pt x="476" y="499"/>
                </a:lnTo>
                <a:lnTo>
                  <a:pt x="479" y="498"/>
                </a:lnTo>
                <a:lnTo>
                  <a:pt x="483" y="496"/>
                </a:lnTo>
                <a:lnTo>
                  <a:pt x="487" y="494"/>
                </a:lnTo>
                <a:lnTo>
                  <a:pt x="492" y="494"/>
                </a:lnTo>
                <a:lnTo>
                  <a:pt x="494" y="495"/>
                </a:lnTo>
                <a:lnTo>
                  <a:pt x="496" y="495"/>
                </a:lnTo>
                <a:lnTo>
                  <a:pt x="497" y="495"/>
                </a:lnTo>
                <a:lnTo>
                  <a:pt x="499" y="492"/>
                </a:lnTo>
                <a:lnTo>
                  <a:pt x="497" y="488"/>
                </a:lnTo>
                <a:lnTo>
                  <a:pt x="497" y="486"/>
                </a:lnTo>
                <a:lnTo>
                  <a:pt x="497" y="482"/>
                </a:lnTo>
                <a:lnTo>
                  <a:pt x="500" y="479"/>
                </a:lnTo>
                <a:lnTo>
                  <a:pt x="502" y="478"/>
                </a:lnTo>
                <a:lnTo>
                  <a:pt x="503" y="477"/>
                </a:lnTo>
                <a:lnTo>
                  <a:pt x="503" y="475"/>
                </a:lnTo>
                <a:lnTo>
                  <a:pt x="502" y="473"/>
                </a:lnTo>
                <a:lnTo>
                  <a:pt x="500" y="471"/>
                </a:lnTo>
                <a:lnTo>
                  <a:pt x="499" y="470"/>
                </a:lnTo>
                <a:lnTo>
                  <a:pt x="499" y="467"/>
                </a:lnTo>
                <a:lnTo>
                  <a:pt x="500" y="466"/>
                </a:lnTo>
                <a:lnTo>
                  <a:pt x="508" y="465"/>
                </a:lnTo>
                <a:lnTo>
                  <a:pt x="517" y="464"/>
                </a:lnTo>
                <a:lnTo>
                  <a:pt x="518" y="462"/>
                </a:lnTo>
                <a:lnTo>
                  <a:pt x="519" y="459"/>
                </a:lnTo>
                <a:lnTo>
                  <a:pt x="518" y="453"/>
                </a:lnTo>
                <a:lnTo>
                  <a:pt x="519" y="447"/>
                </a:lnTo>
                <a:lnTo>
                  <a:pt x="519" y="446"/>
                </a:lnTo>
                <a:lnTo>
                  <a:pt x="520" y="445"/>
                </a:lnTo>
                <a:lnTo>
                  <a:pt x="521" y="444"/>
                </a:lnTo>
                <a:lnTo>
                  <a:pt x="522" y="444"/>
                </a:lnTo>
                <a:lnTo>
                  <a:pt x="522" y="445"/>
                </a:lnTo>
                <a:lnTo>
                  <a:pt x="524" y="447"/>
                </a:lnTo>
                <a:lnTo>
                  <a:pt x="525" y="447"/>
                </a:lnTo>
                <a:lnTo>
                  <a:pt x="525" y="447"/>
                </a:lnTo>
                <a:lnTo>
                  <a:pt x="526" y="447"/>
                </a:lnTo>
                <a:lnTo>
                  <a:pt x="527" y="448"/>
                </a:lnTo>
                <a:lnTo>
                  <a:pt x="528" y="449"/>
                </a:lnTo>
                <a:lnTo>
                  <a:pt x="529" y="450"/>
                </a:lnTo>
                <a:lnTo>
                  <a:pt x="532" y="451"/>
                </a:lnTo>
                <a:lnTo>
                  <a:pt x="534" y="451"/>
                </a:lnTo>
                <a:lnTo>
                  <a:pt x="535" y="450"/>
                </a:lnTo>
                <a:lnTo>
                  <a:pt x="537" y="449"/>
                </a:lnTo>
                <a:lnTo>
                  <a:pt x="541" y="446"/>
                </a:lnTo>
                <a:lnTo>
                  <a:pt x="544" y="442"/>
                </a:lnTo>
                <a:lnTo>
                  <a:pt x="545" y="441"/>
                </a:lnTo>
                <a:lnTo>
                  <a:pt x="545" y="439"/>
                </a:lnTo>
                <a:lnTo>
                  <a:pt x="545" y="437"/>
                </a:lnTo>
                <a:lnTo>
                  <a:pt x="545" y="433"/>
                </a:lnTo>
                <a:lnTo>
                  <a:pt x="542" y="430"/>
                </a:lnTo>
                <a:lnTo>
                  <a:pt x="540" y="425"/>
                </a:lnTo>
                <a:lnTo>
                  <a:pt x="540" y="423"/>
                </a:lnTo>
                <a:lnTo>
                  <a:pt x="540" y="421"/>
                </a:lnTo>
                <a:lnTo>
                  <a:pt x="540" y="419"/>
                </a:lnTo>
                <a:lnTo>
                  <a:pt x="542" y="417"/>
                </a:lnTo>
                <a:lnTo>
                  <a:pt x="544" y="416"/>
                </a:lnTo>
                <a:lnTo>
                  <a:pt x="545" y="417"/>
                </a:lnTo>
                <a:lnTo>
                  <a:pt x="546" y="419"/>
                </a:lnTo>
                <a:lnTo>
                  <a:pt x="546" y="420"/>
                </a:lnTo>
                <a:lnTo>
                  <a:pt x="546" y="424"/>
                </a:lnTo>
                <a:lnTo>
                  <a:pt x="548" y="429"/>
                </a:lnTo>
                <a:lnTo>
                  <a:pt x="549" y="430"/>
                </a:lnTo>
                <a:lnTo>
                  <a:pt x="551" y="431"/>
                </a:lnTo>
                <a:lnTo>
                  <a:pt x="553" y="431"/>
                </a:lnTo>
                <a:lnTo>
                  <a:pt x="554" y="431"/>
                </a:lnTo>
                <a:lnTo>
                  <a:pt x="557" y="429"/>
                </a:lnTo>
                <a:lnTo>
                  <a:pt x="555" y="428"/>
                </a:lnTo>
                <a:lnTo>
                  <a:pt x="554" y="426"/>
                </a:lnTo>
                <a:lnTo>
                  <a:pt x="552" y="425"/>
                </a:lnTo>
                <a:lnTo>
                  <a:pt x="550" y="424"/>
                </a:lnTo>
                <a:lnTo>
                  <a:pt x="549" y="423"/>
                </a:lnTo>
                <a:lnTo>
                  <a:pt x="550" y="422"/>
                </a:lnTo>
                <a:lnTo>
                  <a:pt x="551" y="420"/>
                </a:lnTo>
                <a:lnTo>
                  <a:pt x="553" y="420"/>
                </a:lnTo>
                <a:lnTo>
                  <a:pt x="555" y="420"/>
                </a:lnTo>
                <a:lnTo>
                  <a:pt x="557" y="417"/>
                </a:lnTo>
                <a:lnTo>
                  <a:pt x="558" y="415"/>
                </a:lnTo>
                <a:lnTo>
                  <a:pt x="561" y="414"/>
                </a:lnTo>
                <a:lnTo>
                  <a:pt x="565" y="415"/>
                </a:lnTo>
                <a:lnTo>
                  <a:pt x="566" y="415"/>
                </a:lnTo>
                <a:lnTo>
                  <a:pt x="567" y="414"/>
                </a:lnTo>
                <a:lnTo>
                  <a:pt x="568" y="413"/>
                </a:lnTo>
                <a:lnTo>
                  <a:pt x="568" y="409"/>
                </a:lnTo>
                <a:lnTo>
                  <a:pt x="565" y="411"/>
                </a:lnTo>
                <a:lnTo>
                  <a:pt x="561" y="411"/>
                </a:lnTo>
                <a:lnTo>
                  <a:pt x="557" y="412"/>
                </a:lnTo>
                <a:lnTo>
                  <a:pt x="553" y="412"/>
                </a:lnTo>
                <a:lnTo>
                  <a:pt x="549" y="409"/>
                </a:lnTo>
                <a:lnTo>
                  <a:pt x="545" y="406"/>
                </a:lnTo>
                <a:lnTo>
                  <a:pt x="546" y="405"/>
                </a:lnTo>
                <a:lnTo>
                  <a:pt x="548" y="405"/>
                </a:lnTo>
                <a:lnTo>
                  <a:pt x="545" y="403"/>
                </a:lnTo>
                <a:lnTo>
                  <a:pt x="544" y="399"/>
                </a:lnTo>
                <a:lnTo>
                  <a:pt x="545" y="397"/>
                </a:lnTo>
                <a:lnTo>
                  <a:pt x="548" y="396"/>
                </a:lnTo>
                <a:lnTo>
                  <a:pt x="550" y="394"/>
                </a:lnTo>
                <a:lnTo>
                  <a:pt x="552" y="391"/>
                </a:lnTo>
                <a:lnTo>
                  <a:pt x="555" y="387"/>
                </a:lnTo>
                <a:lnTo>
                  <a:pt x="558" y="383"/>
                </a:lnTo>
                <a:lnTo>
                  <a:pt x="560" y="382"/>
                </a:lnTo>
                <a:lnTo>
                  <a:pt x="565" y="382"/>
                </a:lnTo>
                <a:lnTo>
                  <a:pt x="568" y="384"/>
                </a:lnTo>
                <a:lnTo>
                  <a:pt x="573" y="386"/>
                </a:lnTo>
                <a:lnTo>
                  <a:pt x="575" y="386"/>
                </a:lnTo>
                <a:lnTo>
                  <a:pt x="578" y="386"/>
                </a:lnTo>
                <a:lnTo>
                  <a:pt x="582" y="386"/>
                </a:lnTo>
                <a:lnTo>
                  <a:pt x="584" y="383"/>
                </a:lnTo>
                <a:lnTo>
                  <a:pt x="584" y="380"/>
                </a:lnTo>
                <a:lnTo>
                  <a:pt x="581" y="376"/>
                </a:lnTo>
                <a:lnTo>
                  <a:pt x="578" y="374"/>
                </a:lnTo>
                <a:lnTo>
                  <a:pt x="576" y="373"/>
                </a:lnTo>
                <a:lnTo>
                  <a:pt x="574" y="370"/>
                </a:lnTo>
                <a:lnTo>
                  <a:pt x="574" y="367"/>
                </a:lnTo>
                <a:lnTo>
                  <a:pt x="575" y="366"/>
                </a:lnTo>
                <a:lnTo>
                  <a:pt x="578" y="366"/>
                </a:lnTo>
                <a:lnTo>
                  <a:pt x="585" y="367"/>
                </a:lnTo>
                <a:lnTo>
                  <a:pt x="592" y="370"/>
                </a:lnTo>
                <a:lnTo>
                  <a:pt x="595" y="371"/>
                </a:lnTo>
                <a:lnTo>
                  <a:pt x="599" y="373"/>
                </a:lnTo>
                <a:lnTo>
                  <a:pt x="600" y="374"/>
                </a:lnTo>
                <a:lnTo>
                  <a:pt x="602" y="375"/>
                </a:lnTo>
                <a:lnTo>
                  <a:pt x="603" y="375"/>
                </a:lnTo>
                <a:lnTo>
                  <a:pt x="604" y="374"/>
                </a:lnTo>
                <a:lnTo>
                  <a:pt x="602" y="372"/>
                </a:lnTo>
                <a:lnTo>
                  <a:pt x="600" y="370"/>
                </a:lnTo>
                <a:lnTo>
                  <a:pt x="599" y="368"/>
                </a:lnTo>
                <a:lnTo>
                  <a:pt x="599" y="367"/>
                </a:lnTo>
                <a:lnTo>
                  <a:pt x="600" y="367"/>
                </a:lnTo>
                <a:lnTo>
                  <a:pt x="601" y="366"/>
                </a:lnTo>
                <a:lnTo>
                  <a:pt x="603" y="367"/>
                </a:lnTo>
                <a:lnTo>
                  <a:pt x="606" y="367"/>
                </a:lnTo>
                <a:lnTo>
                  <a:pt x="606" y="367"/>
                </a:lnTo>
                <a:lnTo>
                  <a:pt x="606" y="365"/>
                </a:lnTo>
                <a:lnTo>
                  <a:pt x="602" y="362"/>
                </a:lnTo>
                <a:lnTo>
                  <a:pt x="598" y="359"/>
                </a:lnTo>
                <a:lnTo>
                  <a:pt x="594" y="358"/>
                </a:lnTo>
                <a:lnTo>
                  <a:pt x="590" y="356"/>
                </a:lnTo>
                <a:lnTo>
                  <a:pt x="586" y="354"/>
                </a:lnTo>
                <a:lnTo>
                  <a:pt x="585" y="350"/>
                </a:lnTo>
                <a:lnTo>
                  <a:pt x="587" y="347"/>
                </a:lnTo>
                <a:lnTo>
                  <a:pt x="588" y="345"/>
                </a:lnTo>
                <a:lnTo>
                  <a:pt x="590" y="343"/>
                </a:lnTo>
                <a:lnTo>
                  <a:pt x="590" y="342"/>
                </a:lnTo>
                <a:lnTo>
                  <a:pt x="588" y="341"/>
                </a:lnTo>
                <a:lnTo>
                  <a:pt x="585" y="340"/>
                </a:lnTo>
                <a:lnTo>
                  <a:pt x="590" y="339"/>
                </a:lnTo>
                <a:lnTo>
                  <a:pt x="593" y="339"/>
                </a:lnTo>
                <a:lnTo>
                  <a:pt x="596" y="340"/>
                </a:lnTo>
                <a:lnTo>
                  <a:pt x="601" y="341"/>
                </a:lnTo>
                <a:lnTo>
                  <a:pt x="603" y="341"/>
                </a:lnTo>
                <a:lnTo>
                  <a:pt x="607" y="341"/>
                </a:lnTo>
                <a:lnTo>
                  <a:pt x="609" y="340"/>
                </a:lnTo>
                <a:lnTo>
                  <a:pt x="610" y="337"/>
                </a:lnTo>
                <a:lnTo>
                  <a:pt x="608" y="333"/>
                </a:lnTo>
                <a:lnTo>
                  <a:pt x="607" y="329"/>
                </a:lnTo>
                <a:lnTo>
                  <a:pt x="612" y="324"/>
                </a:lnTo>
                <a:lnTo>
                  <a:pt x="617" y="318"/>
                </a:lnTo>
                <a:lnTo>
                  <a:pt x="610" y="321"/>
                </a:lnTo>
                <a:lnTo>
                  <a:pt x="603" y="324"/>
                </a:lnTo>
                <a:lnTo>
                  <a:pt x="610" y="317"/>
                </a:lnTo>
                <a:lnTo>
                  <a:pt x="617" y="312"/>
                </a:lnTo>
                <a:lnTo>
                  <a:pt x="620" y="309"/>
                </a:lnTo>
                <a:lnTo>
                  <a:pt x="624" y="307"/>
                </a:lnTo>
                <a:lnTo>
                  <a:pt x="627" y="305"/>
                </a:lnTo>
                <a:lnTo>
                  <a:pt x="629" y="300"/>
                </a:lnTo>
                <a:lnTo>
                  <a:pt x="629" y="297"/>
                </a:lnTo>
                <a:lnTo>
                  <a:pt x="631" y="293"/>
                </a:lnTo>
                <a:lnTo>
                  <a:pt x="633" y="291"/>
                </a:lnTo>
                <a:lnTo>
                  <a:pt x="636" y="289"/>
                </a:lnTo>
                <a:lnTo>
                  <a:pt x="640" y="287"/>
                </a:lnTo>
                <a:lnTo>
                  <a:pt x="643" y="285"/>
                </a:lnTo>
                <a:lnTo>
                  <a:pt x="647" y="284"/>
                </a:lnTo>
                <a:lnTo>
                  <a:pt x="651" y="284"/>
                </a:lnTo>
                <a:lnTo>
                  <a:pt x="647" y="275"/>
                </a:lnTo>
                <a:lnTo>
                  <a:pt x="644" y="266"/>
                </a:lnTo>
                <a:lnTo>
                  <a:pt x="645" y="267"/>
                </a:lnTo>
                <a:lnTo>
                  <a:pt x="644" y="266"/>
                </a:lnTo>
                <a:close/>
                <a:moveTo>
                  <a:pt x="477" y="481"/>
                </a:moveTo>
                <a:lnTo>
                  <a:pt x="478" y="481"/>
                </a:lnTo>
                <a:lnTo>
                  <a:pt x="478" y="481"/>
                </a:lnTo>
                <a:lnTo>
                  <a:pt x="478" y="480"/>
                </a:lnTo>
                <a:lnTo>
                  <a:pt x="477" y="481"/>
                </a:lnTo>
                <a:lnTo>
                  <a:pt x="477" y="480"/>
                </a:lnTo>
                <a:lnTo>
                  <a:pt x="477" y="481"/>
                </a:lnTo>
                <a:close/>
                <a:moveTo>
                  <a:pt x="271" y="336"/>
                </a:moveTo>
                <a:lnTo>
                  <a:pt x="270" y="337"/>
                </a:lnTo>
                <a:lnTo>
                  <a:pt x="266" y="337"/>
                </a:lnTo>
                <a:lnTo>
                  <a:pt x="265" y="338"/>
                </a:lnTo>
                <a:lnTo>
                  <a:pt x="265" y="339"/>
                </a:lnTo>
                <a:lnTo>
                  <a:pt x="265" y="340"/>
                </a:lnTo>
                <a:lnTo>
                  <a:pt x="265" y="341"/>
                </a:lnTo>
                <a:lnTo>
                  <a:pt x="268" y="342"/>
                </a:lnTo>
                <a:lnTo>
                  <a:pt x="269" y="342"/>
                </a:lnTo>
                <a:lnTo>
                  <a:pt x="270" y="341"/>
                </a:lnTo>
                <a:lnTo>
                  <a:pt x="272" y="340"/>
                </a:lnTo>
                <a:lnTo>
                  <a:pt x="272" y="338"/>
                </a:lnTo>
                <a:lnTo>
                  <a:pt x="273" y="337"/>
                </a:lnTo>
                <a:lnTo>
                  <a:pt x="272" y="336"/>
                </a:lnTo>
                <a:lnTo>
                  <a:pt x="271" y="336"/>
                </a:lnTo>
                <a:lnTo>
                  <a:pt x="271" y="337"/>
                </a:lnTo>
                <a:lnTo>
                  <a:pt x="271" y="336"/>
                </a:lnTo>
                <a:close/>
                <a:moveTo>
                  <a:pt x="497" y="343"/>
                </a:moveTo>
                <a:lnTo>
                  <a:pt x="501" y="342"/>
                </a:lnTo>
                <a:lnTo>
                  <a:pt x="503" y="339"/>
                </a:lnTo>
                <a:lnTo>
                  <a:pt x="500" y="339"/>
                </a:lnTo>
                <a:lnTo>
                  <a:pt x="497" y="339"/>
                </a:lnTo>
                <a:lnTo>
                  <a:pt x="496" y="341"/>
                </a:lnTo>
                <a:lnTo>
                  <a:pt x="497" y="343"/>
                </a:lnTo>
                <a:lnTo>
                  <a:pt x="499" y="343"/>
                </a:lnTo>
                <a:lnTo>
                  <a:pt x="497" y="343"/>
                </a:lnTo>
                <a:close/>
                <a:moveTo>
                  <a:pt x="364" y="331"/>
                </a:moveTo>
                <a:lnTo>
                  <a:pt x="364" y="330"/>
                </a:lnTo>
                <a:lnTo>
                  <a:pt x="364" y="329"/>
                </a:lnTo>
                <a:lnTo>
                  <a:pt x="363" y="331"/>
                </a:lnTo>
                <a:lnTo>
                  <a:pt x="364" y="331"/>
                </a:lnTo>
                <a:lnTo>
                  <a:pt x="364" y="331"/>
                </a:lnTo>
                <a:lnTo>
                  <a:pt x="364" y="331"/>
                </a:lnTo>
                <a:close/>
                <a:moveTo>
                  <a:pt x="367" y="337"/>
                </a:moveTo>
                <a:lnTo>
                  <a:pt x="364" y="337"/>
                </a:lnTo>
                <a:lnTo>
                  <a:pt x="362" y="338"/>
                </a:lnTo>
                <a:lnTo>
                  <a:pt x="360" y="339"/>
                </a:lnTo>
                <a:lnTo>
                  <a:pt x="359" y="340"/>
                </a:lnTo>
                <a:lnTo>
                  <a:pt x="363" y="341"/>
                </a:lnTo>
                <a:lnTo>
                  <a:pt x="365" y="340"/>
                </a:lnTo>
                <a:lnTo>
                  <a:pt x="367" y="339"/>
                </a:lnTo>
                <a:lnTo>
                  <a:pt x="367" y="337"/>
                </a:lnTo>
                <a:lnTo>
                  <a:pt x="365" y="337"/>
                </a:lnTo>
                <a:lnTo>
                  <a:pt x="367" y="337"/>
                </a:lnTo>
                <a:close/>
                <a:moveTo>
                  <a:pt x="587" y="193"/>
                </a:moveTo>
                <a:lnTo>
                  <a:pt x="587" y="195"/>
                </a:lnTo>
                <a:lnTo>
                  <a:pt x="586" y="196"/>
                </a:lnTo>
                <a:lnTo>
                  <a:pt x="587" y="197"/>
                </a:lnTo>
                <a:lnTo>
                  <a:pt x="588" y="196"/>
                </a:lnTo>
                <a:lnTo>
                  <a:pt x="588" y="195"/>
                </a:lnTo>
                <a:lnTo>
                  <a:pt x="587" y="193"/>
                </a:lnTo>
                <a:lnTo>
                  <a:pt x="587" y="193"/>
                </a:lnTo>
                <a:lnTo>
                  <a:pt x="587" y="193"/>
                </a:lnTo>
                <a:close/>
                <a:moveTo>
                  <a:pt x="585" y="201"/>
                </a:moveTo>
                <a:lnTo>
                  <a:pt x="584" y="204"/>
                </a:lnTo>
                <a:lnTo>
                  <a:pt x="584" y="208"/>
                </a:lnTo>
                <a:lnTo>
                  <a:pt x="583" y="213"/>
                </a:lnTo>
                <a:lnTo>
                  <a:pt x="584" y="216"/>
                </a:lnTo>
                <a:lnTo>
                  <a:pt x="586" y="213"/>
                </a:lnTo>
                <a:lnTo>
                  <a:pt x="587" y="208"/>
                </a:lnTo>
                <a:lnTo>
                  <a:pt x="587" y="205"/>
                </a:lnTo>
                <a:lnTo>
                  <a:pt x="587" y="202"/>
                </a:lnTo>
                <a:lnTo>
                  <a:pt x="586" y="201"/>
                </a:lnTo>
                <a:lnTo>
                  <a:pt x="585" y="201"/>
                </a:lnTo>
                <a:lnTo>
                  <a:pt x="585" y="201"/>
                </a:lnTo>
                <a:lnTo>
                  <a:pt x="585" y="201"/>
                </a:lnTo>
                <a:close/>
                <a:moveTo>
                  <a:pt x="121" y="396"/>
                </a:moveTo>
                <a:lnTo>
                  <a:pt x="118" y="395"/>
                </a:lnTo>
                <a:lnTo>
                  <a:pt x="117" y="395"/>
                </a:lnTo>
                <a:lnTo>
                  <a:pt x="115" y="395"/>
                </a:lnTo>
                <a:lnTo>
                  <a:pt x="114" y="397"/>
                </a:lnTo>
                <a:lnTo>
                  <a:pt x="115" y="399"/>
                </a:lnTo>
                <a:lnTo>
                  <a:pt x="116" y="401"/>
                </a:lnTo>
                <a:lnTo>
                  <a:pt x="115" y="403"/>
                </a:lnTo>
                <a:lnTo>
                  <a:pt x="114" y="404"/>
                </a:lnTo>
                <a:lnTo>
                  <a:pt x="114" y="406"/>
                </a:lnTo>
                <a:lnTo>
                  <a:pt x="115" y="409"/>
                </a:lnTo>
                <a:lnTo>
                  <a:pt x="117" y="412"/>
                </a:lnTo>
                <a:lnTo>
                  <a:pt x="120" y="415"/>
                </a:lnTo>
                <a:lnTo>
                  <a:pt x="126" y="421"/>
                </a:lnTo>
                <a:lnTo>
                  <a:pt x="130" y="424"/>
                </a:lnTo>
                <a:lnTo>
                  <a:pt x="129" y="420"/>
                </a:lnTo>
                <a:lnTo>
                  <a:pt x="128" y="415"/>
                </a:lnTo>
                <a:lnTo>
                  <a:pt x="130" y="412"/>
                </a:lnTo>
                <a:lnTo>
                  <a:pt x="131" y="409"/>
                </a:lnTo>
                <a:lnTo>
                  <a:pt x="129" y="406"/>
                </a:lnTo>
                <a:lnTo>
                  <a:pt x="126" y="403"/>
                </a:lnTo>
                <a:lnTo>
                  <a:pt x="125" y="400"/>
                </a:lnTo>
                <a:lnTo>
                  <a:pt x="124" y="398"/>
                </a:lnTo>
                <a:lnTo>
                  <a:pt x="123" y="397"/>
                </a:lnTo>
                <a:lnTo>
                  <a:pt x="121" y="396"/>
                </a:lnTo>
                <a:lnTo>
                  <a:pt x="123" y="396"/>
                </a:lnTo>
                <a:lnTo>
                  <a:pt x="121" y="396"/>
                </a:lnTo>
                <a:close/>
                <a:moveTo>
                  <a:pt x="472" y="212"/>
                </a:moveTo>
                <a:lnTo>
                  <a:pt x="474" y="212"/>
                </a:lnTo>
                <a:lnTo>
                  <a:pt x="475" y="212"/>
                </a:lnTo>
                <a:lnTo>
                  <a:pt x="474" y="210"/>
                </a:lnTo>
                <a:lnTo>
                  <a:pt x="472" y="212"/>
                </a:lnTo>
                <a:lnTo>
                  <a:pt x="474" y="212"/>
                </a:lnTo>
                <a:lnTo>
                  <a:pt x="472" y="212"/>
                </a:lnTo>
                <a:close/>
                <a:moveTo>
                  <a:pt x="461" y="246"/>
                </a:moveTo>
                <a:lnTo>
                  <a:pt x="460" y="247"/>
                </a:lnTo>
                <a:lnTo>
                  <a:pt x="460" y="249"/>
                </a:lnTo>
                <a:lnTo>
                  <a:pt x="462" y="251"/>
                </a:lnTo>
                <a:lnTo>
                  <a:pt x="463" y="251"/>
                </a:lnTo>
                <a:lnTo>
                  <a:pt x="466" y="250"/>
                </a:lnTo>
                <a:lnTo>
                  <a:pt x="464" y="248"/>
                </a:lnTo>
                <a:lnTo>
                  <a:pt x="463" y="247"/>
                </a:lnTo>
                <a:lnTo>
                  <a:pt x="461" y="246"/>
                </a:lnTo>
                <a:lnTo>
                  <a:pt x="461" y="246"/>
                </a:lnTo>
                <a:lnTo>
                  <a:pt x="461" y="246"/>
                </a:lnTo>
                <a:close/>
                <a:moveTo>
                  <a:pt x="219" y="514"/>
                </a:moveTo>
                <a:lnTo>
                  <a:pt x="216" y="514"/>
                </a:lnTo>
                <a:lnTo>
                  <a:pt x="215" y="515"/>
                </a:lnTo>
                <a:lnTo>
                  <a:pt x="214" y="517"/>
                </a:lnTo>
                <a:lnTo>
                  <a:pt x="214" y="520"/>
                </a:lnTo>
                <a:lnTo>
                  <a:pt x="219" y="520"/>
                </a:lnTo>
                <a:lnTo>
                  <a:pt x="221" y="519"/>
                </a:lnTo>
                <a:lnTo>
                  <a:pt x="222" y="516"/>
                </a:lnTo>
                <a:lnTo>
                  <a:pt x="221" y="515"/>
                </a:lnTo>
                <a:lnTo>
                  <a:pt x="220" y="514"/>
                </a:lnTo>
                <a:lnTo>
                  <a:pt x="219" y="514"/>
                </a:lnTo>
                <a:lnTo>
                  <a:pt x="217" y="514"/>
                </a:lnTo>
                <a:lnTo>
                  <a:pt x="219" y="514"/>
                </a:lnTo>
                <a:close/>
                <a:moveTo>
                  <a:pt x="254" y="504"/>
                </a:moveTo>
                <a:lnTo>
                  <a:pt x="250" y="505"/>
                </a:lnTo>
                <a:lnTo>
                  <a:pt x="247" y="506"/>
                </a:lnTo>
                <a:lnTo>
                  <a:pt x="246" y="500"/>
                </a:lnTo>
                <a:lnTo>
                  <a:pt x="246" y="496"/>
                </a:lnTo>
                <a:lnTo>
                  <a:pt x="244" y="494"/>
                </a:lnTo>
                <a:lnTo>
                  <a:pt x="240" y="492"/>
                </a:lnTo>
                <a:lnTo>
                  <a:pt x="237" y="492"/>
                </a:lnTo>
                <a:lnTo>
                  <a:pt x="235" y="494"/>
                </a:lnTo>
                <a:lnTo>
                  <a:pt x="233" y="496"/>
                </a:lnTo>
                <a:lnTo>
                  <a:pt x="233" y="499"/>
                </a:lnTo>
                <a:lnTo>
                  <a:pt x="236" y="502"/>
                </a:lnTo>
                <a:lnTo>
                  <a:pt x="238" y="504"/>
                </a:lnTo>
                <a:lnTo>
                  <a:pt x="241" y="505"/>
                </a:lnTo>
                <a:lnTo>
                  <a:pt x="244" y="507"/>
                </a:lnTo>
                <a:lnTo>
                  <a:pt x="242" y="509"/>
                </a:lnTo>
                <a:lnTo>
                  <a:pt x="240" y="512"/>
                </a:lnTo>
                <a:lnTo>
                  <a:pt x="241" y="514"/>
                </a:lnTo>
                <a:lnTo>
                  <a:pt x="244" y="516"/>
                </a:lnTo>
                <a:lnTo>
                  <a:pt x="246" y="519"/>
                </a:lnTo>
                <a:lnTo>
                  <a:pt x="248" y="517"/>
                </a:lnTo>
                <a:lnTo>
                  <a:pt x="249" y="516"/>
                </a:lnTo>
                <a:lnTo>
                  <a:pt x="249" y="513"/>
                </a:lnTo>
                <a:lnTo>
                  <a:pt x="250" y="512"/>
                </a:lnTo>
                <a:lnTo>
                  <a:pt x="253" y="508"/>
                </a:lnTo>
                <a:lnTo>
                  <a:pt x="254" y="506"/>
                </a:lnTo>
                <a:lnTo>
                  <a:pt x="254" y="504"/>
                </a:lnTo>
                <a:lnTo>
                  <a:pt x="254" y="504"/>
                </a:lnTo>
                <a:lnTo>
                  <a:pt x="254" y="504"/>
                </a:lnTo>
                <a:close/>
                <a:moveTo>
                  <a:pt x="163" y="503"/>
                </a:moveTo>
                <a:lnTo>
                  <a:pt x="163" y="503"/>
                </a:lnTo>
                <a:lnTo>
                  <a:pt x="163" y="503"/>
                </a:lnTo>
                <a:lnTo>
                  <a:pt x="162" y="503"/>
                </a:lnTo>
                <a:lnTo>
                  <a:pt x="161" y="503"/>
                </a:lnTo>
                <a:lnTo>
                  <a:pt x="161" y="503"/>
                </a:lnTo>
                <a:lnTo>
                  <a:pt x="161" y="503"/>
                </a:lnTo>
                <a:lnTo>
                  <a:pt x="161" y="504"/>
                </a:lnTo>
                <a:lnTo>
                  <a:pt x="163" y="503"/>
                </a:lnTo>
                <a:close/>
                <a:moveTo>
                  <a:pt x="145" y="481"/>
                </a:moveTo>
                <a:lnTo>
                  <a:pt x="143" y="480"/>
                </a:lnTo>
                <a:lnTo>
                  <a:pt x="143" y="480"/>
                </a:lnTo>
                <a:lnTo>
                  <a:pt x="143" y="482"/>
                </a:lnTo>
                <a:lnTo>
                  <a:pt x="145" y="484"/>
                </a:lnTo>
                <a:lnTo>
                  <a:pt x="147" y="483"/>
                </a:lnTo>
                <a:lnTo>
                  <a:pt x="147" y="482"/>
                </a:lnTo>
                <a:lnTo>
                  <a:pt x="146" y="481"/>
                </a:lnTo>
                <a:lnTo>
                  <a:pt x="145" y="481"/>
                </a:lnTo>
                <a:lnTo>
                  <a:pt x="145" y="481"/>
                </a:lnTo>
                <a:lnTo>
                  <a:pt x="145" y="481"/>
                </a:lnTo>
                <a:close/>
                <a:moveTo>
                  <a:pt x="600" y="383"/>
                </a:moveTo>
                <a:lnTo>
                  <a:pt x="596" y="384"/>
                </a:lnTo>
                <a:lnTo>
                  <a:pt x="594" y="387"/>
                </a:lnTo>
                <a:lnTo>
                  <a:pt x="595" y="388"/>
                </a:lnTo>
                <a:lnTo>
                  <a:pt x="596" y="388"/>
                </a:lnTo>
                <a:lnTo>
                  <a:pt x="598" y="388"/>
                </a:lnTo>
                <a:lnTo>
                  <a:pt x="600" y="387"/>
                </a:lnTo>
                <a:lnTo>
                  <a:pt x="600" y="384"/>
                </a:lnTo>
                <a:lnTo>
                  <a:pt x="600" y="383"/>
                </a:lnTo>
                <a:lnTo>
                  <a:pt x="600" y="383"/>
                </a:lnTo>
                <a:lnTo>
                  <a:pt x="600" y="383"/>
                </a:lnTo>
                <a:close/>
                <a:moveTo>
                  <a:pt x="662" y="311"/>
                </a:moveTo>
                <a:lnTo>
                  <a:pt x="660" y="312"/>
                </a:lnTo>
                <a:lnTo>
                  <a:pt x="659" y="314"/>
                </a:lnTo>
                <a:lnTo>
                  <a:pt x="659" y="316"/>
                </a:lnTo>
                <a:lnTo>
                  <a:pt x="659" y="317"/>
                </a:lnTo>
                <a:lnTo>
                  <a:pt x="662" y="317"/>
                </a:lnTo>
                <a:lnTo>
                  <a:pt x="665" y="315"/>
                </a:lnTo>
                <a:lnTo>
                  <a:pt x="665" y="314"/>
                </a:lnTo>
                <a:lnTo>
                  <a:pt x="665" y="312"/>
                </a:lnTo>
                <a:lnTo>
                  <a:pt x="665" y="311"/>
                </a:lnTo>
                <a:lnTo>
                  <a:pt x="662" y="311"/>
                </a:lnTo>
                <a:lnTo>
                  <a:pt x="661" y="311"/>
                </a:lnTo>
                <a:lnTo>
                  <a:pt x="662" y="311"/>
                </a:lnTo>
                <a:close/>
                <a:moveTo>
                  <a:pt x="680" y="210"/>
                </a:moveTo>
                <a:lnTo>
                  <a:pt x="677" y="210"/>
                </a:lnTo>
                <a:lnTo>
                  <a:pt x="677" y="214"/>
                </a:lnTo>
                <a:lnTo>
                  <a:pt x="678" y="215"/>
                </a:lnTo>
                <a:lnTo>
                  <a:pt x="680" y="216"/>
                </a:lnTo>
                <a:lnTo>
                  <a:pt x="681" y="216"/>
                </a:lnTo>
                <a:lnTo>
                  <a:pt x="683" y="216"/>
                </a:lnTo>
                <a:lnTo>
                  <a:pt x="684" y="215"/>
                </a:lnTo>
                <a:lnTo>
                  <a:pt x="685" y="215"/>
                </a:lnTo>
                <a:lnTo>
                  <a:pt x="685" y="214"/>
                </a:lnTo>
                <a:lnTo>
                  <a:pt x="684" y="213"/>
                </a:lnTo>
                <a:lnTo>
                  <a:pt x="682" y="212"/>
                </a:lnTo>
                <a:lnTo>
                  <a:pt x="680" y="210"/>
                </a:lnTo>
                <a:lnTo>
                  <a:pt x="680" y="210"/>
                </a:lnTo>
                <a:lnTo>
                  <a:pt x="680" y="210"/>
                </a:lnTo>
                <a:close/>
                <a:moveTo>
                  <a:pt x="706" y="175"/>
                </a:moveTo>
                <a:lnTo>
                  <a:pt x="703" y="176"/>
                </a:lnTo>
                <a:lnTo>
                  <a:pt x="701" y="180"/>
                </a:lnTo>
                <a:lnTo>
                  <a:pt x="701" y="181"/>
                </a:lnTo>
                <a:lnTo>
                  <a:pt x="701" y="183"/>
                </a:lnTo>
                <a:lnTo>
                  <a:pt x="702" y="184"/>
                </a:lnTo>
                <a:lnTo>
                  <a:pt x="703" y="185"/>
                </a:lnTo>
                <a:lnTo>
                  <a:pt x="706" y="185"/>
                </a:lnTo>
                <a:lnTo>
                  <a:pt x="707" y="184"/>
                </a:lnTo>
                <a:lnTo>
                  <a:pt x="707" y="183"/>
                </a:lnTo>
                <a:lnTo>
                  <a:pt x="707" y="182"/>
                </a:lnTo>
                <a:lnTo>
                  <a:pt x="707" y="177"/>
                </a:lnTo>
                <a:lnTo>
                  <a:pt x="706" y="175"/>
                </a:lnTo>
                <a:lnTo>
                  <a:pt x="705" y="176"/>
                </a:lnTo>
                <a:lnTo>
                  <a:pt x="706" y="175"/>
                </a:lnTo>
                <a:close/>
                <a:moveTo>
                  <a:pt x="645" y="295"/>
                </a:moveTo>
                <a:lnTo>
                  <a:pt x="642" y="297"/>
                </a:lnTo>
                <a:lnTo>
                  <a:pt x="639" y="301"/>
                </a:lnTo>
                <a:lnTo>
                  <a:pt x="637" y="303"/>
                </a:lnTo>
                <a:lnTo>
                  <a:pt x="639" y="305"/>
                </a:lnTo>
                <a:lnTo>
                  <a:pt x="640" y="307"/>
                </a:lnTo>
                <a:lnTo>
                  <a:pt x="642" y="306"/>
                </a:lnTo>
                <a:lnTo>
                  <a:pt x="644" y="304"/>
                </a:lnTo>
                <a:lnTo>
                  <a:pt x="645" y="299"/>
                </a:lnTo>
                <a:lnTo>
                  <a:pt x="647" y="298"/>
                </a:lnTo>
                <a:lnTo>
                  <a:pt x="648" y="297"/>
                </a:lnTo>
                <a:lnTo>
                  <a:pt x="648" y="296"/>
                </a:lnTo>
                <a:lnTo>
                  <a:pt x="645" y="295"/>
                </a:lnTo>
                <a:lnTo>
                  <a:pt x="644" y="296"/>
                </a:lnTo>
                <a:lnTo>
                  <a:pt x="645" y="295"/>
                </a:lnTo>
                <a:close/>
                <a:moveTo>
                  <a:pt x="675" y="245"/>
                </a:moveTo>
                <a:lnTo>
                  <a:pt x="670" y="247"/>
                </a:lnTo>
                <a:lnTo>
                  <a:pt x="666" y="249"/>
                </a:lnTo>
                <a:lnTo>
                  <a:pt x="666" y="253"/>
                </a:lnTo>
                <a:lnTo>
                  <a:pt x="668" y="257"/>
                </a:lnTo>
                <a:lnTo>
                  <a:pt x="670" y="253"/>
                </a:lnTo>
                <a:lnTo>
                  <a:pt x="673" y="249"/>
                </a:lnTo>
                <a:lnTo>
                  <a:pt x="674" y="248"/>
                </a:lnTo>
                <a:lnTo>
                  <a:pt x="676" y="247"/>
                </a:lnTo>
                <a:lnTo>
                  <a:pt x="676" y="246"/>
                </a:lnTo>
                <a:lnTo>
                  <a:pt x="677" y="246"/>
                </a:lnTo>
                <a:lnTo>
                  <a:pt x="676" y="245"/>
                </a:lnTo>
                <a:lnTo>
                  <a:pt x="675" y="245"/>
                </a:lnTo>
                <a:lnTo>
                  <a:pt x="674" y="245"/>
                </a:lnTo>
                <a:lnTo>
                  <a:pt x="675" y="245"/>
                </a:lnTo>
                <a:close/>
                <a:moveTo>
                  <a:pt x="699" y="182"/>
                </a:moveTo>
                <a:lnTo>
                  <a:pt x="698" y="181"/>
                </a:lnTo>
                <a:lnTo>
                  <a:pt x="697" y="180"/>
                </a:lnTo>
                <a:lnTo>
                  <a:pt x="695" y="182"/>
                </a:lnTo>
                <a:lnTo>
                  <a:pt x="697" y="184"/>
                </a:lnTo>
                <a:lnTo>
                  <a:pt x="697" y="188"/>
                </a:lnTo>
                <a:lnTo>
                  <a:pt x="695" y="190"/>
                </a:lnTo>
                <a:lnTo>
                  <a:pt x="695" y="191"/>
                </a:lnTo>
                <a:lnTo>
                  <a:pt x="697" y="193"/>
                </a:lnTo>
                <a:lnTo>
                  <a:pt x="698" y="196"/>
                </a:lnTo>
                <a:lnTo>
                  <a:pt x="700" y="196"/>
                </a:lnTo>
                <a:lnTo>
                  <a:pt x="701" y="196"/>
                </a:lnTo>
                <a:lnTo>
                  <a:pt x="702" y="193"/>
                </a:lnTo>
                <a:lnTo>
                  <a:pt x="701" y="191"/>
                </a:lnTo>
                <a:lnTo>
                  <a:pt x="699" y="188"/>
                </a:lnTo>
                <a:lnTo>
                  <a:pt x="699" y="185"/>
                </a:lnTo>
                <a:lnTo>
                  <a:pt x="699" y="182"/>
                </a:lnTo>
                <a:lnTo>
                  <a:pt x="699" y="183"/>
                </a:lnTo>
                <a:lnTo>
                  <a:pt x="699" y="182"/>
                </a:lnTo>
                <a:close/>
                <a:moveTo>
                  <a:pt x="615" y="345"/>
                </a:moveTo>
                <a:lnTo>
                  <a:pt x="611" y="346"/>
                </a:lnTo>
                <a:lnTo>
                  <a:pt x="609" y="348"/>
                </a:lnTo>
                <a:lnTo>
                  <a:pt x="609" y="349"/>
                </a:lnTo>
                <a:lnTo>
                  <a:pt x="609" y="350"/>
                </a:lnTo>
                <a:lnTo>
                  <a:pt x="610" y="351"/>
                </a:lnTo>
                <a:lnTo>
                  <a:pt x="614" y="353"/>
                </a:lnTo>
                <a:lnTo>
                  <a:pt x="617" y="351"/>
                </a:lnTo>
                <a:lnTo>
                  <a:pt x="620" y="349"/>
                </a:lnTo>
                <a:lnTo>
                  <a:pt x="623" y="347"/>
                </a:lnTo>
                <a:lnTo>
                  <a:pt x="625" y="343"/>
                </a:lnTo>
                <a:lnTo>
                  <a:pt x="623" y="345"/>
                </a:lnTo>
                <a:lnTo>
                  <a:pt x="620" y="346"/>
                </a:lnTo>
                <a:lnTo>
                  <a:pt x="618" y="346"/>
                </a:lnTo>
                <a:lnTo>
                  <a:pt x="615" y="345"/>
                </a:lnTo>
                <a:lnTo>
                  <a:pt x="615" y="345"/>
                </a:lnTo>
                <a:lnTo>
                  <a:pt x="615" y="345"/>
                </a:lnTo>
                <a:close/>
                <a:moveTo>
                  <a:pt x="682" y="220"/>
                </a:moveTo>
                <a:lnTo>
                  <a:pt x="678" y="221"/>
                </a:lnTo>
                <a:lnTo>
                  <a:pt x="676" y="222"/>
                </a:lnTo>
                <a:lnTo>
                  <a:pt x="675" y="224"/>
                </a:lnTo>
                <a:lnTo>
                  <a:pt x="674" y="228"/>
                </a:lnTo>
                <a:lnTo>
                  <a:pt x="673" y="230"/>
                </a:lnTo>
                <a:lnTo>
                  <a:pt x="674" y="231"/>
                </a:lnTo>
                <a:lnTo>
                  <a:pt x="674" y="232"/>
                </a:lnTo>
                <a:lnTo>
                  <a:pt x="675" y="232"/>
                </a:lnTo>
                <a:lnTo>
                  <a:pt x="678" y="230"/>
                </a:lnTo>
                <a:lnTo>
                  <a:pt x="682" y="226"/>
                </a:lnTo>
                <a:lnTo>
                  <a:pt x="683" y="224"/>
                </a:lnTo>
                <a:lnTo>
                  <a:pt x="684" y="222"/>
                </a:lnTo>
                <a:lnTo>
                  <a:pt x="683" y="221"/>
                </a:lnTo>
                <a:lnTo>
                  <a:pt x="682" y="220"/>
                </a:lnTo>
                <a:lnTo>
                  <a:pt x="682" y="221"/>
                </a:lnTo>
                <a:lnTo>
                  <a:pt x="682" y="220"/>
                </a:lnTo>
                <a:close/>
                <a:moveTo>
                  <a:pt x="662" y="282"/>
                </a:moveTo>
                <a:lnTo>
                  <a:pt x="664" y="276"/>
                </a:lnTo>
                <a:lnTo>
                  <a:pt x="662" y="271"/>
                </a:lnTo>
                <a:lnTo>
                  <a:pt x="658" y="272"/>
                </a:lnTo>
                <a:lnTo>
                  <a:pt x="654" y="275"/>
                </a:lnTo>
                <a:lnTo>
                  <a:pt x="654" y="280"/>
                </a:lnTo>
                <a:lnTo>
                  <a:pt x="656" y="284"/>
                </a:lnTo>
                <a:lnTo>
                  <a:pt x="660" y="284"/>
                </a:lnTo>
                <a:lnTo>
                  <a:pt x="662" y="282"/>
                </a:lnTo>
                <a:lnTo>
                  <a:pt x="662" y="282"/>
                </a:lnTo>
                <a:lnTo>
                  <a:pt x="662" y="282"/>
                </a:lnTo>
                <a:close/>
                <a:moveTo>
                  <a:pt x="689" y="192"/>
                </a:moveTo>
                <a:lnTo>
                  <a:pt x="684" y="192"/>
                </a:lnTo>
                <a:lnTo>
                  <a:pt x="680" y="192"/>
                </a:lnTo>
                <a:lnTo>
                  <a:pt x="677" y="193"/>
                </a:lnTo>
                <a:lnTo>
                  <a:pt x="676" y="195"/>
                </a:lnTo>
                <a:lnTo>
                  <a:pt x="675" y="196"/>
                </a:lnTo>
                <a:lnTo>
                  <a:pt x="675" y="198"/>
                </a:lnTo>
                <a:lnTo>
                  <a:pt x="676" y="199"/>
                </a:lnTo>
                <a:lnTo>
                  <a:pt x="680" y="200"/>
                </a:lnTo>
                <a:lnTo>
                  <a:pt x="683" y="202"/>
                </a:lnTo>
                <a:lnTo>
                  <a:pt x="685" y="206"/>
                </a:lnTo>
                <a:lnTo>
                  <a:pt x="686" y="202"/>
                </a:lnTo>
                <a:lnTo>
                  <a:pt x="689" y="198"/>
                </a:lnTo>
                <a:lnTo>
                  <a:pt x="690" y="196"/>
                </a:lnTo>
                <a:lnTo>
                  <a:pt x="690" y="193"/>
                </a:lnTo>
                <a:lnTo>
                  <a:pt x="690" y="192"/>
                </a:lnTo>
                <a:lnTo>
                  <a:pt x="689" y="192"/>
                </a:lnTo>
                <a:lnTo>
                  <a:pt x="687" y="192"/>
                </a:lnTo>
                <a:lnTo>
                  <a:pt x="689" y="192"/>
                </a:lnTo>
                <a:close/>
                <a:moveTo>
                  <a:pt x="629" y="318"/>
                </a:moveTo>
                <a:lnTo>
                  <a:pt x="629" y="316"/>
                </a:lnTo>
                <a:lnTo>
                  <a:pt x="629" y="315"/>
                </a:lnTo>
                <a:lnTo>
                  <a:pt x="628" y="314"/>
                </a:lnTo>
                <a:lnTo>
                  <a:pt x="626" y="314"/>
                </a:lnTo>
                <a:lnTo>
                  <a:pt x="624" y="317"/>
                </a:lnTo>
                <a:lnTo>
                  <a:pt x="623" y="320"/>
                </a:lnTo>
                <a:lnTo>
                  <a:pt x="620" y="322"/>
                </a:lnTo>
                <a:lnTo>
                  <a:pt x="618" y="324"/>
                </a:lnTo>
                <a:lnTo>
                  <a:pt x="619" y="326"/>
                </a:lnTo>
                <a:lnTo>
                  <a:pt x="620" y="329"/>
                </a:lnTo>
                <a:lnTo>
                  <a:pt x="621" y="330"/>
                </a:lnTo>
                <a:lnTo>
                  <a:pt x="624" y="331"/>
                </a:lnTo>
                <a:lnTo>
                  <a:pt x="628" y="329"/>
                </a:lnTo>
                <a:lnTo>
                  <a:pt x="633" y="325"/>
                </a:lnTo>
                <a:lnTo>
                  <a:pt x="629" y="325"/>
                </a:lnTo>
                <a:lnTo>
                  <a:pt x="627" y="324"/>
                </a:lnTo>
                <a:lnTo>
                  <a:pt x="627" y="322"/>
                </a:lnTo>
                <a:lnTo>
                  <a:pt x="629" y="318"/>
                </a:lnTo>
                <a:lnTo>
                  <a:pt x="628" y="321"/>
                </a:lnTo>
                <a:lnTo>
                  <a:pt x="629" y="318"/>
                </a:lnTo>
                <a:close/>
                <a:moveTo>
                  <a:pt x="565" y="391"/>
                </a:moveTo>
                <a:lnTo>
                  <a:pt x="567" y="390"/>
                </a:lnTo>
                <a:lnTo>
                  <a:pt x="567" y="389"/>
                </a:lnTo>
                <a:lnTo>
                  <a:pt x="565" y="389"/>
                </a:lnTo>
                <a:lnTo>
                  <a:pt x="561" y="390"/>
                </a:lnTo>
                <a:lnTo>
                  <a:pt x="559" y="392"/>
                </a:lnTo>
                <a:lnTo>
                  <a:pt x="553" y="395"/>
                </a:lnTo>
                <a:lnTo>
                  <a:pt x="552" y="397"/>
                </a:lnTo>
                <a:lnTo>
                  <a:pt x="550" y="398"/>
                </a:lnTo>
                <a:lnTo>
                  <a:pt x="550" y="400"/>
                </a:lnTo>
                <a:lnTo>
                  <a:pt x="550" y="401"/>
                </a:lnTo>
                <a:lnTo>
                  <a:pt x="553" y="403"/>
                </a:lnTo>
                <a:lnTo>
                  <a:pt x="558" y="404"/>
                </a:lnTo>
                <a:lnTo>
                  <a:pt x="563" y="403"/>
                </a:lnTo>
                <a:lnTo>
                  <a:pt x="566" y="401"/>
                </a:lnTo>
                <a:lnTo>
                  <a:pt x="565" y="398"/>
                </a:lnTo>
                <a:lnTo>
                  <a:pt x="561" y="396"/>
                </a:lnTo>
                <a:lnTo>
                  <a:pt x="561" y="395"/>
                </a:lnTo>
                <a:lnTo>
                  <a:pt x="561" y="394"/>
                </a:lnTo>
                <a:lnTo>
                  <a:pt x="562" y="392"/>
                </a:lnTo>
                <a:lnTo>
                  <a:pt x="565" y="391"/>
                </a:lnTo>
                <a:lnTo>
                  <a:pt x="563" y="392"/>
                </a:lnTo>
                <a:lnTo>
                  <a:pt x="565" y="391"/>
                </a:lnTo>
                <a:close/>
                <a:moveTo>
                  <a:pt x="695" y="218"/>
                </a:moveTo>
                <a:lnTo>
                  <a:pt x="693" y="220"/>
                </a:lnTo>
                <a:lnTo>
                  <a:pt x="692" y="224"/>
                </a:lnTo>
                <a:lnTo>
                  <a:pt x="693" y="228"/>
                </a:lnTo>
                <a:lnTo>
                  <a:pt x="693" y="231"/>
                </a:lnTo>
                <a:lnTo>
                  <a:pt x="695" y="238"/>
                </a:lnTo>
                <a:lnTo>
                  <a:pt x="697" y="245"/>
                </a:lnTo>
                <a:lnTo>
                  <a:pt x="698" y="243"/>
                </a:lnTo>
                <a:lnTo>
                  <a:pt x="699" y="241"/>
                </a:lnTo>
                <a:lnTo>
                  <a:pt x="700" y="237"/>
                </a:lnTo>
                <a:lnTo>
                  <a:pt x="700" y="232"/>
                </a:lnTo>
                <a:lnTo>
                  <a:pt x="699" y="226"/>
                </a:lnTo>
                <a:lnTo>
                  <a:pt x="698" y="222"/>
                </a:lnTo>
                <a:lnTo>
                  <a:pt x="697" y="220"/>
                </a:lnTo>
                <a:lnTo>
                  <a:pt x="695" y="218"/>
                </a:lnTo>
                <a:lnTo>
                  <a:pt x="694" y="218"/>
                </a:lnTo>
                <a:lnTo>
                  <a:pt x="695" y="218"/>
                </a:lnTo>
                <a:close/>
                <a:moveTo>
                  <a:pt x="682" y="163"/>
                </a:moveTo>
                <a:lnTo>
                  <a:pt x="682" y="163"/>
                </a:lnTo>
                <a:lnTo>
                  <a:pt x="682" y="163"/>
                </a:lnTo>
                <a:close/>
                <a:moveTo>
                  <a:pt x="660" y="104"/>
                </a:moveTo>
                <a:lnTo>
                  <a:pt x="664" y="105"/>
                </a:lnTo>
                <a:lnTo>
                  <a:pt x="667" y="108"/>
                </a:lnTo>
                <a:lnTo>
                  <a:pt x="669" y="109"/>
                </a:lnTo>
                <a:lnTo>
                  <a:pt x="670" y="112"/>
                </a:lnTo>
                <a:lnTo>
                  <a:pt x="670" y="113"/>
                </a:lnTo>
                <a:lnTo>
                  <a:pt x="670" y="114"/>
                </a:lnTo>
                <a:lnTo>
                  <a:pt x="668" y="114"/>
                </a:lnTo>
                <a:lnTo>
                  <a:pt x="667" y="114"/>
                </a:lnTo>
                <a:lnTo>
                  <a:pt x="665" y="113"/>
                </a:lnTo>
                <a:lnTo>
                  <a:pt x="662" y="110"/>
                </a:lnTo>
                <a:lnTo>
                  <a:pt x="660" y="108"/>
                </a:lnTo>
                <a:lnTo>
                  <a:pt x="659" y="106"/>
                </a:lnTo>
                <a:lnTo>
                  <a:pt x="659" y="105"/>
                </a:lnTo>
                <a:lnTo>
                  <a:pt x="660" y="104"/>
                </a:lnTo>
                <a:lnTo>
                  <a:pt x="660" y="104"/>
                </a:lnTo>
                <a:lnTo>
                  <a:pt x="660" y="104"/>
                </a:lnTo>
                <a:close/>
                <a:moveTo>
                  <a:pt x="526" y="320"/>
                </a:moveTo>
                <a:lnTo>
                  <a:pt x="526" y="321"/>
                </a:lnTo>
                <a:lnTo>
                  <a:pt x="524" y="322"/>
                </a:lnTo>
                <a:lnTo>
                  <a:pt x="521" y="322"/>
                </a:lnTo>
                <a:lnTo>
                  <a:pt x="520" y="320"/>
                </a:lnTo>
                <a:lnTo>
                  <a:pt x="522" y="316"/>
                </a:lnTo>
                <a:lnTo>
                  <a:pt x="526" y="312"/>
                </a:lnTo>
                <a:lnTo>
                  <a:pt x="526" y="316"/>
                </a:lnTo>
                <a:lnTo>
                  <a:pt x="526" y="320"/>
                </a:lnTo>
                <a:lnTo>
                  <a:pt x="526" y="318"/>
                </a:lnTo>
                <a:lnTo>
                  <a:pt x="526" y="320"/>
                </a:lnTo>
                <a:close/>
                <a:moveTo>
                  <a:pt x="524" y="297"/>
                </a:moveTo>
                <a:lnTo>
                  <a:pt x="521" y="297"/>
                </a:lnTo>
                <a:lnTo>
                  <a:pt x="520" y="296"/>
                </a:lnTo>
                <a:lnTo>
                  <a:pt x="520" y="293"/>
                </a:lnTo>
                <a:lnTo>
                  <a:pt x="520" y="292"/>
                </a:lnTo>
                <a:lnTo>
                  <a:pt x="521" y="290"/>
                </a:lnTo>
                <a:lnTo>
                  <a:pt x="522" y="289"/>
                </a:lnTo>
                <a:lnTo>
                  <a:pt x="524" y="288"/>
                </a:lnTo>
                <a:lnTo>
                  <a:pt x="525" y="288"/>
                </a:lnTo>
                <a:lnTo>
                  <a:pt x="526" y="290"/>
                </a:lnTo>
                <a:lnTo>
                  <a:pt x="526" y="293"/>
                </a:lnTo>
                <a:lnTo>
                  <a:pt x="525" y="296"/>
                </a:lnTo>
                <a:lnTo>
                  <a:pt x="524" y="297"/>
                </a:lnTo>
                <a:lnTo>
                  <a:pt x="525" y="297"/>
                </a:lnTo>
                <a:lnTo>
                  <a:pt x="524" y="297"/>
                </a:lnTo>
                <a:close/>
                <a:moveTo>
                  <a:pt x="525" y="282"/>
                </a:moveTo>
                <a:lnTo>
                  <a:pt x="524" y="281"/>
                </a:lnTo>
                <a:lnTo>
                  <a:pt x="524" y="280"/>
                </a:lnTo>
                <a:lnTo>
                  <a:pt x="525" y="279"/>
                </a:lnTo>
                <a:lnTo>
                  <a:pt x="527" y="280"/>
                </a:lnTo>
                <a:lnTo>
                  <a:pt x="528" y="282"/>
                </a:lnTo>
                <a:lnTo>
                  <a:pt x="529" y="285"/>
                </a:lnTo>
                <a:lnTo>
                  <a:pt x="527" y="284"/>
                </a:lnTo>
                <a:lnTo>
                  <a:pt x="525" y="282"/>
                </a:lnTo>
                <a:lnTo>
                  <a:pt x="526" y="282"/>
                </a:lnTo>
                <a:lnTo>
                  <a:pt x="525" y="282"/>
                </a:lnTo>
                <a:close/>
                <a:moveTo>
                  <a:pt x="494" y="238"/>
                </a:moveTo>
                <a:lnTo>
                  <a:pt x="496" y="239"/>
                </a:lnTo>
                <a:lnTo>
                  <a:pt x="496" y="240"/>
                </a:lnTo>
                <a:lnTo>
                  <a:pt x="495" y="241"/>
                </a:lnTo>
                <a:lnTo>
                  <a:pt x="494" y="241"/>
                </a:lnTo>
                <a:lnTo>
                  <a:pt x="491" y="242"/>
                </a:lnTo>
                <a:lnTo>
                  <a:pt x="488" y="243"/>
                </a:lnTo>
                <a:lnTo>
                  <a:pt x="491" y="248"/>
                </a:lnTo>
                <a:lnTo>
                  <a:pt x="493" y="253"/>
                </a:lnTo>
                <a:lnTo>
                  <a:pt x="493" y="255"/>
                </a:lnTo>
                <a:lnTo>
                  <a:pt x="492" y="256"/>
                </a:lnTo>
                <a:lnTo>
                  <a:pt x="489" y="257"/>
                </a:lnTo>
                <a:lnTo>
                  <a:pt x="487" y="258"/>
                </a:lnTo>
                <a:lnTo>
                  <a:pt x="484" y="260"/>
                </a:lnTo>
                <a:lnTo>
                  <a:pt x="479" y="260"/>
                </a:lnTo>
                <a:lnTo>
                  <a:pt x="475" y="262"/>
                </a:lnTo>
                <a:lnTo>
                  <a:pt x="470" y="262"/>
                </a:lnTo>
                <a:lnTo>
                  <a:pt x="469" y="262"/>
                </a:lnTo>
                <a:lnTo>
                  <a:pt x="468" y="260"/>
                </a:lnTo>
                <a:lnTo>
                  <a:pt x="468" y="262"/>
                </a:lnTo>
                <a:lnTo>
                  <a:pt x="467" y="263"/>
                </a:lnTo>
                <a:lnTo>
                  <a:pt x="464" y="268"/>
                </a:lnTo>
                <a:lnTo>
                  <a:pt x="460" y="274"/>
                </a:lnTo>
                <a:lnTo>
                  <a:pt x="454" y="275"/>
                </a:lnTo>
                <a:lnTo>
                  <a:pt x="446" y="276"/>
                </a:lnTo>
                <a:lnTo>
                  <a:pt x="438" y="280"/>
                </a:lnTo>
                <a:lnTo>
                  <a:pt x="430" y="285"/>
                </a:lnTo>
                <a:lnTo>
                  <a:pt x="426" y="290"/>
                </a:lnTo>
                <a:lnTo>
                  <a:pt x="421" y="295"/>
                </a:lnTo>
                <a:lnTo>
                  <a:pt x="418" y="298"/>
                </a:lnTo>
                <a:lnTo>
                  <a:pt x="414" y="299"/>
                </a:lnTo>
                <a:lnTo>
                  <a:pt x="411" y="299"/>
                </a:lnTo>
                <a:lnTo>
                  <a:pt x="406" y="299"/>
                </a:lnTo>
                <a:lnTo>
                  <a:pt x="397" y="298"/>
                </a:lnTo>
                <a:lnTo>
                  <a:pt x="389" y="296"/>
                </a:lnTo>
                <a:lnTo>
                  <a:pt x="388" y="293"/>
                </a:lnTo>
                <a:lnTo>
                  <a:pt x="389" y="292"/>
                </a:lnTo>
                <a:lnTo>
                  <a:pt x="389" y="292"/>
                </a:lnTo>
                <a:lnTo>
                  <a:pt x="390" y="291"/>
                </a:lnTo>
                <a:lnTo>
                  <a:pt x="394" y="291"/>
                </a:lnTo>
                <a:lnTo>
                  <a:pt x="396" y="291"/>
                </a:lnTo>
                <a:lnTo>
                  <a:pt x="400" y="289"/>
                </a:lnTo>
                <a:lnTo>
                  <a:pt x="402" y="289"/>
                </a:lnTo>
                <a:lnTo>
                  <a:pt x="403" y="291"/>
                </a:lnTo>
                <a:lnTo>
                  <a:pt x="403" y="293"/>
                </a:lnTo>
                <a:lnTo>
                  <a:pt x="405" y="296"/>
                </a:lnTo>
                <a:lnTo>
                  <a:pt x="408" y="296"/>
                </a:lnTo>
                <a:lnTo>
                  <a:pt x="411" y="295"/>
                </a:lnTo>
                <a:lnTo>
                  <a:pt x="414" y="292"/>
                </a:lnTo>
                <a:lnTo>
                  <a:pt x="417" y="287"/>
                </a:lnTo>
                <a:lnTo>
                  <a:pt x="419" y="280"/>
                </a:lnTo>
                <a:lnTo>
                  <a:pt x="422" y="274"/>
                </a:lnTo>
                <a:lnTo>
                  <a:pt x="427" y="268"/>
                </a:lnTo>
                <a:lnTo>
                  <a:pt x="435" y="265"/>
                </a:lnTo>
                <a:lnTo>
                  <a:pt x="443" y="260"/>
                </a:lnTo>
                <a:lnTo>
                  <a:pt x="439" y="258"/>
                </a:lnTo>
                <a:lnTo>
                  <a:pt x="437" y="257"/>
                </a:lnTo>
                <a:lnTo>
                  <a:pt x="434" y="258"/>
                </a:lnTo>
                <a:lnTo>
                  <a:pt x="431" y="258"/>
                </a:lnTo>
                <a:lnTo>
                  <a:pt x="429" y="257"/>
                </a:lnTo>
                <a:lnTo>
                  <a:pt x="428" y="255"/>
                </a:lnTo>
                <a:lnTo>
                  <a:pt x="430" y="254"/>
                </a:lnTo>
                <a:lnTo>
                  <a:pt x="433" y="253"/>
                </a:lnTo>
                <a:lnTo>
                  <a:pt x="437" y="253"/>
                </a:lnTo>
                <a:lnTo>
                  <a:pt x="442" y="254"/>
                </a:lnTo>
                <a:lnTo>
                  <a:pt x="446" y="256"/>
                </a:lnTo>
                <a:lnTo>
                  <a:pt x="451" y="257"/>
                </a:lnTo>
                <a:lnTo>
                  <a:pt x="453" y="254"/>
                </a:lnTo>
                <a:lnTo>
                  <a:pt x="454" y="250"/>
                </a:lnTo>
                <a:lnTo>
                  <a:pt x="451" y="249"/>
                </a:lnTo>
                <a:lnTo>
                  <a:pt x="447" y="249"/>
                </a:lnTo>
                <a:lnTo>
                  <a:pt x="448" y="247"/>
                </a:lnTo>
                <a:lnTo>
                  <a:pt x="451" y="243"/>
                </a:lnTo>
                <a:lnTo>
                  <a:pt x="447" y="241"/>
                </a:lnTo>
                <a:lnTo>
                  <a:pt x="443" y="239"/>
                </a:lnTo>
                <a:lnTo>
                  <a:pt x="452" y="235"/>
                </a:lnTo>
                <a:lnTo>
                  <a:pt x="462" y="232"/>
                </a:lnTo>
                <a:lnTo>
                  <a:pt x="467" y="232"/>
                </a:lnTo>
                <a:lnTo>
                  <a:pt x="470" y="232"/>
                </a:lnTo>
                <a:lnTo>
                  <a:pt x="472" y="228"/>
                </a:lnTo>
                <a:lnTo>
                  <a:pt x="472" y="223"/>
                </a:lnTo>
                <a:lnTo>
                  <a:pt x="474" y="221"/>
                </a:lnTo>
                <a:lnTo>
                  <a:pt x="475" y="221"/>
                </a:lnTo>
                <a:lnTo>
                  <a:pt x="476" y="220"/>
                </a:lnTo>
                <a:lnTo>
                  <a:pt x="478" y="220"/>
                </a:lnTo>
                <a:lnTo>
                  <a:pt x="479" y="218"/>
                </a:lnTo>
                <a:lnTo>
                  <a:pt x="480" y="217"/>
                </a:lnTo>
                <a:lnTo>
                  <a:pt x="481" y="216"/>
                </a:lnTo>
                <a:lnTo>
                  <a:pt x="480" y="215"/>
                </a:lnTo>
                <a:lnTo>
                  <a:pt x="474" y="217"/>
                </a:lnTo>
                <a:lnTo>
                  <a:pt x="467" y="220"/>
                </a:lnTo>
                <a:lnTo>
                  <a:pt x="471" y="212"/>
                </a:lnTo>
                <a:lnTo>
                  <a:pt x="476" y="204"/>
                </a:lnTo>
                <a:lnTo>
                  <a:pt x="477" y="201"/>
                </a:lnTo>
                <a:lnTo>
                  <a:pt x="478" y="200"/>
                </a:lnTo>
                <a:lnTo>
                  <a:pt x="480" y="200"/>
                </a:lnTo>
                <a:lnTo>
                  <a:pt x="481" y="201"/>
                </a:lnTo>
                <a:lnTo>
                  <a:pt x="484" y="207"/>
                </a:lnTo>
                <a:lnTo>
                  <a:pt x="485" y="213"/>
                </a:lnTo>
                <a:lnTo>
                  <a:pt x="488" y="210"/>
                </a:lnTo>
                <a:lnTo>
                  <a:pt x="493" y="207"/>
                </a:lnTo>
                <a:lnTo>
                  <a:pt x="496" y="205"/>
                </a:lnTo>
                <a:lnTo>
                  <a:pt x="500" y="202"/>
                </a:lnTo>
                <a:lnTo>
                  <a:pt x="504" y="205"/>
                </a:lnTo>
                <a:lnTo>
                  <a:pt x="508" y="209"/>
                </a:lnTo>
                <a:lnTo>
                  <a:pt x="507" y="212"/>
                </a:lnTo>
                <a:lnTo>
                  <a:pt x="504" y="215"/>
                </a:lnTo>
                <a:lnTo>
                  <a:pt x="503" y="216"/>
                </a:lnTo>
                <a:lnTo>
                  <a:pt x="502" y="216"/>
                </a:lnTo>
                <a:lnTo>
                  <a:pt x="501" y="216"/>
                </a:lnTo>
                <a:lnTo>
                  <a:pt x="500" y="215"/>
                </a:lnTo>
                <a:lnTo>
                  <a:pt x="501" y="212"/>
                </a:lnTo>
                <a:lnTo>
                  <a:pt x="499" y="208"/>
                </a:lnTo>
                <a:lnTo>
                  <a:pt x="495" y="209"/>
                </a:lnTo>
                <a:lnTo>
                  <a:pt x="491" y="212"/>
                </a:lnTo>
                <a:lnTo>
                  <a:pt x="489" y="213"/>
                </a:lnTo>
                <a:lnTo>
                  <a:pt x="488" y="213"/>
                </a:lnTo>
                <a:lnTo>
                  <a:pt x="488" y="214"/>
                </a:lnTo>
                <a:lnTo>
                  <a:pt x="489" y="215"/>
                </a:lnTo>
                <a:lnTo>
                  <a:pt x="491" y="216"/>
                </a:lnTo>
                <a:lnTo>
                  <a:pt x="493" y="217"/>
                </a:lnTo>
                <a:lnTo>
                  <a:pt x="494" y="218"/>
                </a:lnTo>
                <a:lnTo>
                  <a:pt x="495" y="220"/>
                </a:lnTo>
                <a:lnTo>
                  <a:pt x="496" y="221"/>
                </a:lnTo>
                <a:lnTo>
                  <a:pt x="495" y="223"/>
                </a:lnTo>
                <a:lnTo>
                  <a:pt x="494" y="223"/>
                </a:lnTo>
                <a:lnTo>
                  <a:pt x="493" y="223"/>
                </a:lnTo>
                <a:lnTo>
                  <a:pt x="492" y="224"/>
                </a:lnTo>
                <a:lnTo>
                  <a:pt x="493" y="225"/>
                </a:lnTo>
                <a:lnTo>
                  <a:pt x="497" y="224"/>
                </a:lnTo>
                <a:lnTo>
                  <a:pt x="501" y="223"/>
                </a:lnTo>
                <a:lnTo>
                  <a:pt x="501" y="228"/>
                </a:lnTo>
                <a:lnTo>
                  <a:pt x="500" y="231"/>
                </a:lnTo>
                <a:lnTo>
                  <a:pt x="496" y="233"/>
                </a:lnTo>
                <a:lnTo>
                  <a:pt x="493" y="235"/>
                </a:lnTo>
                <a:lnTo>
                  <a:pt x="493" y="237"/>
                </a:lnTo>
                <a:lnTo>
                  <a:pt x="494" y="238"/>
                </a:lnTo>
                <a:lnTo>
                  <a:pt x="495" y="239"/>
                </a:lnTo>
                <a:lnTo>
                  <a:pt x="494" y="238"/>
                </a:lnTo>
                <a:close/>
                <a:moveTo>
                  <a:pt x="450" y="283"/>
                </a:moveTo>
                <a:lnTo>
                  <a:pt x="450" y="285"/>
                </a:lnTo>
                <a:lnTo>
                  <a:pt x="447" y="288"/>
                </a:lnTo>
                <a:lnTo>
                  <a:pt x="445" y="288"/>
                </a:lnTo>
                <a:lnTo>
                  <a:pt x="444" y="285"/>
                </a:lnTo>
                <a:lnTo>
                  <a:pt x="445" y="283"/>
                </a:lnTo>
                <a:lnTo>
                  <a:pt x="447" y="282"/>
                </a:lnTo>
                <a:lnTo>
                  <a:pt x="448" y="281"/>
                </a:lnTo>
                <a:lnTo>
                  <a:pt x="450" y="282"/>
                </a:lnTo>
                <a:lnTo>
                  <a:pt x="450" y="282"/>
                </a:lnTo>
                <a:lnTo>
                  <a:pt x="450" y="283"/>
                </a:lnTo>
                <a:lnTo>
                  <a:pt x="450" y="283"/>
                </a:lnTo>
                <a:lnTo>
                  <a:pt x="450" y="283"/>
                </a:lnTo>
                <a:close/>
                <a:moveTo>
                  <a:pt x="437" y="382"/>
                </a:moveTo>
                <a:lnTo>
                  <a:pt x="434" y="383"/>
                </a:lnTo>
                <a:lnTo>
                  <a:pt x="430" y="382"/>
                </a:lnTo>
                <a:lnTo>
                  <a:pt x="429" y="382"/>
                </a:lnTo>
                <a:lnTo>
                  <a:pt x="428" y="382"/>
                </a:lnTo>
                <a:lnTo>
                  <a:pt x="427" y="381"/>
                </a:lnTo>
                <a:lnTo>
                  <a:pt x="427" y="380"/>
                </a:lnTo>
                <a:lnTo>
                  <a:pt x="429" y="378"/>
                </a:lnTo>
                <a:lnTo>
                  <a:pt x="431" y="376"/>
                </a:lnTo>
                <a:lnTo>
                  <a:pt x="435" y="379"/>
                </a:lnTo>
                <a:lnTo>
                  <a:pt x="437" y="382"/>
                </a:lnTo>
                <a:lnTo>
                  <a:pt x="436" y="382"/>
                </a:lnTo>
                <a:lnTo>
                  <a:pt x="437" y="382"/>
                </a:lnTo>
                <a:close/>
                <a:moveTo>
                  <a:pt x="418" y="349"/>
                </a:moveTo>
                <a:lnTo>
                  <a:pt x="413" y="353"/>
                </a:lnTo>
                <a:lnTo>
                  <a:pt x="408" y="356"/>
                </a:lnTo>
                <a:lnTo>
                  <a:pt x="406" y="354"/>
                </a:lnTo>
                <a:lnTo>
                  <a:pt x="406" y="353"/>
                </a:lnTo>
                <a:lnTo>
                  <a:pt x="408" y="350"/>
                </a:lnTo>
                <a:lnTo>
                  <a:pt x="410" y="349"/>
                </a:lnTo>
                <a:lnTo>
                  <a:pt x="412" y="348"/>
                </a:lnTo>
                <a:lnTo>
                  <a:pt x="414" y="348"/>
                </a:lnTo>
                <a:lnTo>
                  <a:pt x="417" y="348"/>
                </a:lnTo>
                <a:lnTo>
                  <a:pt x="418" y="349"/>
                </a:lnTo>
                <a:lnTo>
                  <a:pt x="415" y="349"/>
                </a:lnTo>
                <a:lnTo>
                  <a:pt x="418" y="349"/>
                </a:lnTo>
                <a:close/>
                <a:moveTo>
                  <a:pt x="377" y="237"/>
                </a:moveTo>
                <a:lnTo>
                  <a:pt x="375" y="239"/>
                </a:lnTo>
                <a:lnTo>
                  <a:pt x="372" y="241"/>
                </a:lnTo>
                <a:lnTo>
                  <a:pt x="371" y="242"/>
                </a:lnTo>
                <a:lnTo>
                  <a:pt x="370" y="242"/>
                </a:lnTo>
                <a:lnTo>
                  <a:pt x="369" y="242"/>
                </a:lnTo>
                <a:lnTo>
                  <a:pt x="368" y="241"/>
                </a:lnTo>
                <a:lnTo>
                  <a:pt x="369" y="239"/>
                </a:lnTo>
                <a:lnTo>
                  <a:pt x="371" y="238"/>
                </a:lnTo>
                <a:lnTo>
                  <a:pt x="375" y="237"/>
                </a:lnTo>
                <a:lnTo>
                  <a:pt x="377" y="237"/>
                </a:lnTo>
                <a:lnTo>
                  <a:pt x="375" y="238"/>
                </a:lnTo>
                <a:lnTo>
                  <a:pt x="377" y="237"/>
                </a:lnTo>
                <a:close/>
                <a:moveTo>
                  <a:pt x="362" y="254"/>
                </a:moveTo>
                <a:lnTo>
                  <a:pt x="362" y="256"/>
                </a:lnTo>
                <a:lnTo>
                  <a:pt x="360" y="258"/>
                </a:lnTo>
                <a:lnTo>
                  <a:pt x="359" y="258"/>
                </a:lnTo>
                <a:lnTo>
                  <a:pt x="357" y="258"/>
                </a:lnTo>
                <a:lnTo>
                  <a:pt x="354" y="257"/>
                </a:lnTo>
                <a:lnTo>
                  <a:pt x="351" y="258"/>
                </a:lnTo>
                <a:lnTo>
                  <a:pt x="353" y="255"/>
                </a:lnTo>
                <a:lnTo>
                  <a:pt x="355" y="254"/>
                </a:lnTo>
                <a:lnTo>
                  <a:pt x="359" y="254"/>
                </a:lnTo>
                <a:lnTo>
                  <a:pt x="362" y="254"/>
                </a:lnTo>
                <a:close/>
                <a:moveTo>
                  <a:pt x="321" y="372"/>
                </a:moveTo>
                <a:lnTo>
                  <a:pt x="322" y="368"/>
                </a:lnTo>
                <a:lnTo>
                  <a:pt x="323" y="366"/>
                </a:lnTo>
                <a:lnTo>
                  <a:pt x="326" y="367"/>
                </a:lnTo>
                <a:lnTo>
                  <a:pt x="329" y="368"/>
                </a:lnTo>
                <a:lnTo>
                  <a:pt x="331" y="368"/>
                </a:lnTo>
                <a:lnTo>
                  <a:pt x="334" y="367"/>
                </a:lnTo>
                <a:lnTo>
                  <a:pt x="332" y="372"/>
                </a:lnTo>
                <a:lnTo>
                  <a:pt x="329" y="375"/>
                </a:lnTo>
                <a:lnTo>
                  <a:pt x="326" y="378"/>
                </a:lnTo>
                <a:lnTo>
                  <a:pt x="321" y="379"/>
                </a:lnTo>
                <a:lnTo>
                  <a:pt x="322" y="375"/>
                </a:lnTo>
                <a:lnTo>
                  <a:pt x="321" y="372"/>
                </a:lnTo>
                <a:lnTo>
                  <a:pt x="321" y="371"/>
                </a:lnTo>
                <a:lnTo>
                  <a:pt x="321" y="372"/>
                </a:lnTo>
                <a:close/>
                <a:moveTo>
                  <a:pt x="332" y="342"/>
                </a:moveTo>
                <a:lnTo>
                  <a:pt x="328" y="349"/>
                </a:lnTo>
                <a:lnTo>
                  <a:pt x="322" y="354"/>
                </a:lnTo>
                <a:lnTo>
                  <a:pt x="320" y="357"/>
                </a:lnTo>
                <a:lnTo>
                  <a:pt x="318" y="359"/>
                </a:lnTo>
                <a:lnTo>
                  <a:pt x="315" y="358"/>
                </a:lnTo>
                <a:lnTo>
                  <a:pt x="313" y="356"/>
                </a:lnTo>
                <a:lnTo>
                  <a:pt x="311" y="354"/>
                </a:lnTo>
                <a:lnTo>
                  <a:pt x="309" y="353"/>
                </a:lnTo>
                <a:lnTo>
                  <a:pt x="309" y="350"/>
                </a:lnTo>
                <a:lnTo>
                  <a:pt x="310" y="350"/>
                </a:lnTo>
                <a:lnTo>
                  <a:pt x="311" y="350"/>
                </a:lnTo>
                <a:lnTo>
                  <a:pt x="312" y="350"/>
                </a:lnTo>
                <a:lnTo>
                  <a:pt x="315" y="349"/>
                </a:lnTo>
                <a:lnTo>
                  <a:pt x="316" y="348"/>
                </a:lnTo>
                <a:lnTo>
                  <a:pt x="319" y="346"/>
                </a:lnTo>
                <a:lnTo>
                  <a:pt x="320" y="343"/>
                </a:lnTo>
                <a:lnTo>
                  <a:pt x="322" y="338"/>
                </a:lnTo>
                <a:lnTo>
                  <a:pt x="326" y="331"/>
                </a:lnTo>
                <a:lnTo>
                  <a:pt x="327" y="329"/>
                </a:lnTo>
                <a:lnTo>
                  <a:pt x="329" y="326"/>
                </a:lnTo>
                <a:lnTo>
                  <a:pt x="332" y="324"/>
                </a:lnTo>
                <a:lnTo>
                  <a:pt x="336" y="323"/>
                </a:lnTo>
                <a:lnTo>
                  <a:pt x="338" y="323"/>
                </a:lnTo>
                <a:lnTo>
                  <a:pt x="339" y="325"/>
                </a:lnTo>
                <a:lnTo>
                  <a:pt x="340" y="328"/>
                </a:lnTo>
                <a:lnTo>
                  <a:pt x="339" y="330"/>
                </a:lnTo>
                <a:lnTo>
                  <a:pt x="337" y="332"/>
                </a:lnTo>
                <a:lnTo>
                  <a:pt x="335" y="334"/>
                </a:lnTo>
                <a:lnTo>
                  <a:pt x="334" y="338"/>
                </a:lnTo>
                <a:lnTo>
                  <a:pt x="332" y="342"/>
                </a:lnTo>
                <a:lnTo>
                  <a:pt x="331" y="343"/>
                </a:lnTo>
                <a:lnTo>
                  <a:pt x="332" y="342"/>
                </a:lnTo>
                <a:close/>
                <a:moveTo>
                  <a:pt x="227" y="380"/>
                </a:moveTo>
                <a:lnTo>
                  <a:pt x="227" y="383"/>
                </a:lnTo>
                <a:lnTo>
                  <a:pt x="225" y="386"/>
                </a:lnTo>
                <a:lnTo>
                  <a:pt x="224" y="388"/>
                </a:lnTo>
                <a:lnTo>
                  <a:pt x="223" y="389"/>
                </a:lnTo>
                <a:lnTo>
                  <a:pt x="221" y="389"/>
                </a:lnTo>
                <a:lnTo>
                  <a:pt x="219" y="388"/>
                </a:lnTo>
                <a:lnTo>
                  <a:pt x="219" y="386"/>
                </a:lnTo>
                <a:lnTo>
                  <a:pt x="219" y="383"/>
                </a:lnTo>
                <a:lnTo>
                  <a:pt x="219" y="382"/>
                </a:lnTo>
                <a:lnTo>
                  <a:pt x="221" y="379"/>
                </a:lnTo>
                <a:lnTo>
                  <a:pt x="222" y="376"/>
                </a:lnTo>
                <a:lnTo>
                  <a:pt x="224" y="376"/>
                </a:lnTo>
                <a:lnTo>
                  <a:pt x="225" y="376"/>
                </a:lnTo>
                <a:lnTo>
                  <a:pt x="227" y="378"/>
                </a:lnTo>
                <a:lnTo>
                  <a:pt x="227" y="379"/>
                </a:lnTo>
                <a:lnTo>
                  <a:pt x="227" y="380"/>
                </a:lnTo>
                <a:lnTo>
                  <a:pt x="227" y="382"/>
                </a:lnTo>
                <a:lnTo>
                  <a:pt x="227" y="380"/>
                </a:lnTo>
                <a:close/>
                <a:moveTo>
                  <a:pt x="165" y="440"/>
                </a:moveTo>
                <a:lnTo>
                  <a:pt x="166" y="440"/>
                </a:lnTo>
                <a:lnTo>
                  <a:pt x="167" y="440"/>
                </a:lnTo>
                <a:lnTo>
                  <a:pt x="170" y="441"/>
                </a:lnTo>
                <a:lnTo>
                  <a:pt x="171" y="442"/>
                </a:lnTo>
                <a:lnTo>
                  <a:pt x="173" y="446"/>
                </a:lnTo>
                <a:lnTo>
                  <a:pt x="172" y="448"/>
                </a:lnTo>
                <a:lnTo>
                  <a:pt x="171" y="448"/>
                </a:lnTo>
                <a:lnTo>
                  <a:pt x="169" y="446"/>
                </a:lnTo>
                <a:lnTo>
                  <a:pt x="166" y="442"/>
                </a:lnTo>
                <a:lnTo>
                  <a:pt x="165" y="440"/>
                </a:lnTo>
                <a:lnTo>
                  <a:pt x="165" y="441"/>
                </a:lnTo>
                <a:lnTo>
                  <a:pt x="165" y="440"/>
                </a:lnTo>
                <a:close/>
                <a:moveTo>
                  <a:pt x="170" y="436"/>
                </a:moveTo>
                <a:lnTo>
                  <a:pt x="170" y="434"/>
                </a:lnTo>
                <a:lnTo>
                  <a:pt x="169" y="433"/>
                </a:lnTo>
                <a:lnTo>
                  <a:pt x="170" y="433"/>
                </a:lnTo>
                <a:lnTo>
                  <a:pt x="171" y="432"/>
                </a:lnTo>
                <a:lnTo>
                  <a:pt x="173" y="432"/>
                </a:lnTo>
                <a:lnTo>
                  <a:pt x="174" y="432"/>
                </a:lnTo>
                <a:lnTo>
                  <a:pt x="178" y="433"/>
                </a:lnTo>
                <a:lnTo>
                  <a:pt x="181" y="436"/>
                </a:lnTo>
                <a:lnTo>
                  <a:pt x="179" y="437"/>
                </a:lnTo>
                <a:lnTo>
                  <a:pt x="175" y="437"/>
                </a:lnTo>
                <a:lnTo>
                  <a:pt x="173" y="437"/>
                </a:lnTo>
                <a:lnTo>
                  <a:pt x="170" y="436"/>
                </a:lnTo>
                <a:lnTo>
                  <a:pt x="170" y="436"/>
                </a:lnTo>
                <a:lnTo>
                  <a:pt x="170" y="436"/>
                </a:lnTo>
                <a:close/>
                <a:moveTo>
                  <a:pt x="298" y="391"/>
                </a:moveTo>
                <a:lnTo>
                  <a:pt x="296" y="391"/>
                </a:lnTo>
                <a:lnTo>
                  <a:pt x="294" y="390"/>
                </a:lnTo>
                <a:lnTo>
                  <a:pt x="294" y="388"/>
                </a:lnTo>
                <a:lnTo>
                  <a:pt x="293" y="386"/>
                </a:lnTo>
                <a:lnTo>
                  <a:pt x="294" y="382"/>
                </a:lnTo>
                <a:lnTo>
                  <a:pt x="295" y="380"/>
                </a:lnTo>
                <a:lnTo>
                  <a:pt x="296" y="376"/>
                </a:lnTo>
                <a:lnTo>
                  <a:pt x="298" y="375"/>
                </a:lnTo>
                <a:lnTo>
                  <a:pt x="301" y="374"/>
                </a:lnTo>
                <a:lnTo>
                  <a:pt x="302" y="375"/>
                </a:lnTo>
                <a:lnTo>
                  <a:pt x="302" y="376"/>
                </a:lnTo>
                <a:lnTo>
                  <a:pt x="301" y="379"/>
                </a:lnTo>
                <a:lnTo>
                  <a:pt x="301" y="381"/>
                </a:lnTo>
                <a:lnTo>
                  <a:pt x="302" y="383"/>
                </a:lnTo>
                <a:lnTo>
                  <a:pt x="304" y="384"/>
                </a:lnTo>
                <a:lnTo>
                  <a:pt x="306" y="386"/>
                </a:lnTo>
                <a:lnTo>
                  <a:pt x="303" y="389"/>
                </a:lnTo>
                <a:lnTo>
                  <a:pt x="298" y="391"/>
                </a:lnTo>
                <a:lnTo>
                  <a:pt x="298" y="391"/>
                </a:lnTo>
                <a:lnTo>
                  <a:pt x="298" y="391"/>
                </a:lnTo>
                <a:close/>
                <a:moveTo>
                  <a:pt x="303" y="511"/>
                </a:moveTo>
                <a:lnTo>
                  <a:pt x="299" y="512"/>
                </a:lnTo>
                <a:lnTo>
                  <a:pt x="297" y="511"/>
                </a:lnTo>
                <a:lnTo>
                  <a:pt x="295" y="511"/>
                </a:lnTo>
                <a:lnTo>
                  <a:pt x="293" y="509"/>
                </a:lnTo>
                <a:lnTo>
                  <a:pt x="288" y="507"/>
                </a:lnTo>
                <a:lnTo>
                  <a:pt x="285" y="505"/>
                </a:lnTo>
                <a:lnTo>
                  <a:pt x="286" y="503"/>
                </a:lnTo>
                <a:lnTo>
                  <a:pt x="288" y="502"/>
                </a:lnTo>
                <a:lnTo>
                  <a:pt x="291" y="502"/>
                </a:lnTo>
                <a:lnTo>
                  <a:pt x="294" y="502"/>
                </a:lnTo>
                <a:lnTo>
                  <a:pt x="296" y="504"/>
                </a:lnTo>
                <a:lnTo>
                  <a:pt x="298" y="505"/>
                </a:lnTo>
                <a:lnTo>
                  <a:pt x="301" y="507"/>
                </a:lnTo>
                <a:lnTo>
                  <a:pt x="303" y="511"/>
                </a:lnTo>
                <a:lnTo>
                  <a:pt x="298" y="509"/>
                </a:lnTo>
                <a:lnTo>
                  <a:pt x="303" y="511"/>
                </a:lnTo>
                <a:close/>
                <a:moveTo>
                  <a:pt x="294" y="373"/>
                </a:moveTo>
                <a:lnTo>
                  <a:pt x="294" y="371"/>
                </a:lnTo>
                <a:lnTo>
                  <a:pt x="296" y="368"/>
                </a:lnTo>
                <a:lnTo>
                  <a:pt x="299" y="366"/>
                </a:lnTo>
                <a:lnTo>
                  <a:pt x="303" y="364"/>
                </a:lnTo>
                <a:lnTo>
                  <a:pt x="305" y="363"/>
                </a:lnTo>
                <a:lnTo>
                  <a:pt x="307" y="362"/>
                </a:lnTo>
                <a:lnTo>
                  <a:pt x="309" y="362"/>
                </a:lnTo>
                <a:lnTo>
                  <a:pt x="309" y="363"/>
                </a:lnTo>
                <a:lnTo>
                  <a:pt x="310" y="364"/>
                </a:lnTo>
                <a:lnTo>
                  <a:pt x="310" y="366"/>
                </a:lnTo>
                <a:lnTo>
                  <a:pt x="310" y="368"/>
                </a:lnTo>
                <a:lnTo>
                  <a:pt x="309" y="370"/>
                </a:lnTo>
                <a:lnTo>
                  <a:pt x="306" y="370"/>
                </a:lnTo>
                <a:lnTo>
                  <a:pt x="305" y="370"/>
                </a:lnTo>
                <a:lnTo>
                  <a:pt x="299" y="372"/>
                </a:lnTo>
                <a:lnTo>
                  <a:pt x="294" y="373"/>
                </a:lnTo>
                <a:lnTo>
                  <a:pt x="295" y="372"/>
                </a:lnTo>
                <a:lnTo>
                  <a:pt x="294" y="373"/>
                </a:lnTo>
                <a:close/>
                <a:moveTo>
                  <a:pt x="301" y="308"/>
                </a:moveTo>
                <a:lnTo>
                  <a:pt x="302" y="306"/>
                </a:lnTo>
                <a:lnTo>
                  <a:pt x="302" y="306"/>
                </a:lnTo>
                <a:lnTo>
                  <a:pt x="302" y="307"/>
                </a:lnTo>
                <a:lnTo>
                  <a:pt x="303" y="309"/>
                </a:lnTo>
                <a:lnTo>
                  <a:pt x="303" y="314"/>
                </a:lnTo>
                <a:lnTo>
                  <a:pt x="303" y="315"/>
                </a:lnTo>
                <a:lnTo>
                  <a:pt x="301" y="314"/>
                </a:lnTo>
                <a:lnTo>
                  <a:pt x="299" y="313"/>
                </a:lnTo>
                <a:lnTo>
                  <a:pt x="299" y="311"/>
                </a:lnTo>
                <a:lnTo>
                  <a:pt x="301" y="308"/>
                </a:lnTo>
                <a:lnTo>
                  <a:pt x="301" y="308"/>
                </a:lnTo>
                <a:lnTo>
                  <a:pt x="301" y="308"/>
                </a:lnTo>
                <a:close/>
                <a:moveTo>
                  <a:pt x="339" y="279"/>
                </a:moveTo>
                <a:lnTo>
                  <a:pt x="338" y="279"/>
                </a:lnTo>
                <a:lnTo>
                  <a:pt x="337" y="278"/>
                </a:lnTo>
                <a:lnTo>
                  <a:pt x="336" y="275"/>
                </a:lnTo>
                <a:lnTo>
                  <a:pt x="338" y="274"/>
                </a:lnTo>
                <a:lnTo>
                  <a:pt x="340" y="274"/>
                </a:lnTo>
                <a:lnTo>
                  <a:pt x="342" y="276"/>
                </a:lnTo>
                <a:lnTo>
                  <a:pt x="342" y="278"/>
                </a:lnTo>
                <a:lnTo>
                  <a:pt x="342" y="279"/>
                </a:lnTo>
                <a:lnTo>
                  <a:pt x="342" y="279"/>
                </a:lnTo>
                <a:lnTo>
                  <a:pt x="339" y="279"/>
                </a:lnTo>
                <a:lnTo>
                  <a:pt x="339" y="279"/>
                </a:lnTo>
                <a:lnTo>
                  <a:pt x="339" y="279"/>
                </a:lnTo>
                <a:close/>
                <a:moveTo>
                  <a:pt x="511" y="167"/>
                </a:moveTo>
                <a:lnTo>
                  <a:pt x="505" y="171"/>
                </a:lnTo>
                <a:lnTo>
                  <a:pt x="501" y="172"/>
                </a:lnTo>
                <a:lnTo>
                  <a:pt x="502" y="170"/>
                </a:lnTo>
                <a:lnTo>
                  <a:pt x="505" y="167"/>
                </a:lnTo>
                <a:lnTo>
                  <a:pt x="508" y="164"/>
                </a:lnTo>
                <a:lnTo>
                  <a:pt x="510" y="163"/>
                </a:lnTo>
                <a:lnTo>
                  <a:pt x="512" y="164"/>
                </a:lnTo>
                <a:lnTo>
                  <a:pt x="512" y="165"/>
                </a:lnTo>
                <a:lnTo>
                  <a:pt x="512" y="167"/>
                </a:lnTo>
                <a:lnTo>
                  <a:pt x="511" y="167"/>
                </a:lnTo>
                <a:lnTo>
                  <a:pt x="510" y="168"/>
                </a:lnTo>
                <a:lnTo>
                  <a:pt x="511" y="167"/>
                </a:lnTo>
                <a:close/>
                <a:moveTo>
                  <a:pt x="557" y="138"/>
                </a:moveTo>
                <a:lnTo>
                  <a:pt x="555" y="140"/>
                </a:lnTo>
                <a:lnTo>
                  <a:pt x="553" y="141"/>
                </a:lnTo>
                <a:lnTo>
                  <a:pt x="552" y="142"/>
                </a:lnTo>
                <a:lnTo>
                  <a:pt x="550" y="141"/>
                </a:lnTo>
                <a:lnTo>
                  <a:pt x="549" y="140"/>
                </a:lnTo>
                <a:lnTo>
                  <a:pt x="549" y="138"/>
                </a:lnTo>
                <a:lnTo>
                  <a:pt x="548" y="137"/>
                </a:lnTo>
                <a:lnTo>
                  <a:pt x="545" y="135"/>
                </a:lnTo>
                <a:lnTo>
                  <a:pt x="540" y="137"/>
                </a:lnTo>
                <a:lnTo>
                  <a:pt x="536" y="135"/>
                </a:lnTo>
                <a:lnTo>
                  <a:pt x="536" y="133"/>
                </a:lnTo>
                <a:lnTo>
                  <a:pt x="537" y="132"/>
                </a:lnTo>
                <a:lnTo>
                  <a:pt x="540" y="132"/>
                </a:lnTo>
                <a:lnTo>
                  <a:pt x="542" y="132"/>
                </a:lnTo>
                <a:lnTo>
                  <a:pt x="545" y="131"/>
                </a:lnTo>
                <a:lnTo>
                  <a:pt x="549" y="129"/>
                </a:lnTo>
                <a:lnTo>
                  <a:pt x="552" y="125"/>
                </a:lnTo>
                <a:lnTo>
                  <a:pt x="554" y="123"/>
                </a:lnTo>
                <a:lnTo>
                  <a:pt x="557" y="123"/>
                </a:lnTo>
                <a:lnTo>
                  <a:pt x="559" y="124"/>
                </a:lnTo>
                <a:lnTo>
                  <a:pt x="558" y="126"/>
                </a:lnTo>
                <a:lnTo>
                  <a:pt x="557" y="129"/>
                </a:lnTo>
                <a:lnTo>
                  <a:pt x="557" y="133"/>
                </a:lnTo>
                <a:lnTo>
                  <a:pt x="557" y="138"/>
                </a:lnTo>
                <a:close/>
                <a:moveTo>
                  <a:pt x="540" y="124"/>
                </a:moveTo>
                <a:lnTo>
                  <a:pt x="538" y="126"/>
                </a:lnTo>
                <a:lnTo>
                  <a:pt x="537" y="129"/>
                </a:lnTo>
                <a:lnTo>
                  <a:pt x="535" y="130"/>
                </a:lnTo>
                <a:lnTo>
                  <a:pt x="532" y="130"/>
                </a:lnTo>
                <a:lnTo>
                  <a:pt x="530" y="127"/>
                </a:lnTo>
                <a:lnTo>
                  <a:pt x="530" y="124"/>
                </a:lnTo>
                <a:lnTo>
                  <a:pt x="530" y="122"/>
                </a:lnTo>
                <a:lnTo>
                  <a:pt x="532" y="121"/>
                </a:lnTo>
                <a:lnTo>
                  <a:pt x="532" y="119"/>
                </a:lnTo>
                <a:lnTo>
                  <a:pt x="535" y="118"/>
                </a:lnTo>
                <a:lnTo>
                  <a:pt x="536" y="119"/>
                </a:lnTo>
                <a:lnTo>
                  <a:pt x="537" y="121"/>
                </a:lnTo>
                <a:lnTo>
                  <a:pt x="538" y="122"/>
                </a:lnTo>
                <a:lnTo>
                  <a:pt x="540" y="124"/>
                </a:lnTo>
                <a:lnTo>
                  <a:pt x="540" y="124"/>
                </a:lnTo>
                <a:lnTo>
                  <a:pt x="540" y="124"/>
                </a:lnTo>
                <a:close/>
                <a:moveTo>
                  <a:pt x="533" y="148"/>
                </a:moveTo>
                <a:lnTo>
                  <a:pt x="536" y="147"/>
                </a:lnTo>
                <a:lnTo>
                  <a:pt x="537" y="146"/>
                </a:lnTo>
                <a:lnTo>
                  <a:pt x="537" y="143"/>
                </a:lnTo>
                <a:lnTo>
                  <a:pt x="540" y="141"/>
                </a:lnTo>
                <a:lnTo>
                  <a:pt x="541" y="141"/>
                </a:lnTo>
                <a:lnTo>
                  <a:pt x="543" y="141"/>
                </a:lnTo>
                <a:lnTo>
                  <a:pt x="544" y="141"/>
                </a:lnTo>
                <a:lnTo>
                  <a:pt x="544" y="142"/>
                </a:lnTo>
                <a:lnTo>
                  <a:pt x="544" y="145"/>
                </a:lnTo>
                <a:lnTo>
                  <a:pt x="544" y="148"/>
                </a:lnTo>
                <a:lnTo>
                  <a:pt x="540" y="152"/>
                </a:lnTo>
                <a:lnTo>
                  <a:pt x="535" y="157"/>
                </a:lnTo>
                <a:lnTo>
                  <a:pt x="533" y="156"/>
                </a:lnTo>
                <a:lnTo>
                  <a:pt x="530" y="154"/>
                </a:lnTo>
                <a:lnTo>
                  <a:pt x="527" y="152"/>
                </a:lnTo>
                <a:lnTo>
                  <a:pt x="522" y="152"/>
                </a:lnTo>
                <a:lnTo>
                  <a:pt x="525" y="150"/>
                </a:lnTo>
                <a:lnTo>
                  <a:pt x="527" y="149"/>
                </a:lnTo>
                <a:lnTo>
                  <a:pt x="529" y="148"/>
                </a:lnTo>
                <a:lnTo>
                  <a:pt x="533" y="148"/>
                </a:lnTo>
                <a:lnTo>
                  <a:pt x="533" y="147"/>
                </a:lnTo>
                <a:lnTo>
                  <a:pt x="533" y="148"/>
                </a:lnTo>
                <a:close/>
                <a:moveTo>
                  <a:pt x="561" y="138"/>
                </a:moveTo>
                <a:lnTo>
                  <a:pt x="560" y="134"/>
                </a:lnTo>
                <a:lnTo>
                  <a:pt x="561" y="132"/>
                </a:lnTo>
                <a:lnTo>
                  <a:pt x="562" y="130"/>
                </a:lnTo>
                <a:lnTo>
                  <a:pt x="563" y="129"/>
                </a:lnTo>
                <a:lnTo>
                  <a:pt x="563" y="124"/>
                </a:lnTo>
                <a:lnTo>
                  <a:pt x="565" y="121"/>
                </a:lnTo>
                <a:lnTo>
                  <a:pt x="568" y="119"/>
                </a:lnTo>
                <a:lnTo>
                  <a:pt x="570" y="119"/>
                </a:lnTo>
                <a:lnTo>
                  <a:pt x="573" y="121"/>
                </a:lnTo>
                <a:lnTo>
                  <a:pt x="575" y="123"/>
                </a:lnTo>
                <a:lnTo>
                  <a:pt x="578" y="129"/>
                </a:lnTo>
                <a:lnTo>
                  <a:pt x="579" y="134"/>
                </a:lnTo>
                <a:lnTo>
                  <a:pt x="577" y="132"/>
                </a:lnTo>
                <a:lnTo>
                  <a:pt x="575" y="132"/>
                </a:lnTo>
                <a:lnTo>
                  <a:pt x="573" y="132"/>
                </a:lnTo>
                <a:lnTo>
                  <a:pt x="570" y="132"/>
                </a:lnTo>
                <a:lnTo>
                  <a:pt x="566" y="134"/>
                </a:lnTo>
                <a:lnTo>
                  <a:pt x="561" y="138"/>
                </a:lnTo>
                <a:lnTo>
                  <a:pt x="563" y="134"/>
                </a:lnTo>
                <a:lnTo>
                  <a:pt x="561" y="138"/>
                </a:lnTo>
                <a:close/>
                <a:moveTo>
                  <a:pt x="464" y="174"/>
                </a:moveTo>
                <a:lnTo>
                  <a:pt x="453" y="182"/>
                </a:lnTo>
                <a:lnTo>
                  <a:pt x="444" y="191"/>
                </a:lnTo>
                <a:lnTo>
                  <a:pt x="444" y="188"/>
                </a:lnTo>
                <a:lnTo>
                  <a:pt x="445" y="183"/>
                </a:lnTo>
                <a:lnTo>
                  <a:pt x="442" y="180"/>
                </a:lnTo>
                <a:lnTo>
                  <a:pt x="438" y="176"/>
                </a:lnTo>
                <a:lnTo>
                  <a:pt x="439" y="172"/>
                </a:lnTo>
                <a:lnTo>
                  <a:pt x="438" y="168"/>
                </a:lnTo>
                <a:lnTo>
                  <a:pt x="435" y="166"/>
                </a:lnTo>
                <a:lnTo>
                  <a:pt x="430" y="165"/>
                </a:lnTo>
                <a:lnTo>
                  <a:pt x="430" y="164"/>
                </a:lnTo>
                <a:lnTo>
                  <a:pt x="430" y="160"/>
                </a:lnTo>
                <a:lnTo>
                  <a:pt x="431" y="158"/>
                </a:lnTo>
                <a:lnTo>
                  <a:pt x="433" y="156"/>
                </a:lnTo>
                <a:lnTo>
                  <a:pt x="436" y="151"/>
                </a:lnTo>
                <a:lnTo>
                  <a:pt x="441" y="149"/>
                </a:lnTo>
                <a:lnTo>
                  <a:pt x="443" y="149"/>
                </a:lnTo>
                <a:lnTo>
                  <a:pt x="444" y="150"/>
                </a:lnTo>
                <a:lnTo>
                  <a:pt x="444" y="152"/>
                </a:lnTo>
                <a:lnTo>
                  <a:pt x="445" y="155"/>
                </a:lnTo>
                <a:lnTo>
                  <a:pt x="448" y="156"/>
                </a:lnTo>
                <a:lnTo>
                  <a:pt x="452" y="156"/>
                </a:lnTo>
                <a:lnTo>
                  <a:pt x="453" y="152"/>
                </a:lnTo>
                <a:lnTo>
                  <a:pt x="455" y="148"/>
                </a:lnTo>
                <a:lnTo>
                  <a:pt x="461" y="147"/>
                </a:lnTo>
                <a:lnTo>
                  <a:pt x="467" y="146"/>
                </a:lnTo>
                <a:lnTo>
                  <a:pt x="469" y="146"/>
                </a:lnTo>
                <a:lnTo>
                  <a:pt x="470" y="146"/>
                </a:lnTo>
                <a:lnTo>
                  <a:pt x="470" y="146"/>
                </a:lnTo>
                <a:lnTo>
                  <a:pt x="471" y="147"/>
                </a:lnTo>
                <a:lnTo>
                  <a:pt x="470" y="149"/>
                </a:lnTo>
                <a:lnTo>
                  <a:pt x="469" y="151"/>
                </a:lnTo>
                <a:lnTo>
                  <a:pt x="475" y="151"/>
                </a:lnTo>
                <a:lnTo>
                  <a:pt x="479" y="149"/>
                </a:lnTo>
                <a:lnTo>
                  <a:pt x="480" y="151"/>
                </a:lnTo>
                <a:lnTo>
                  <a:pt x="483" y="155"/>
                </a:lnTo>
                <a:lnTo>
                  <a:pt x="478" y="158"/>
                </a:lnTo>
                <a:lnTo>
                  <a:pt x="472" y="162"/>
                </a:lnTo>
                <a:lnTo>
                  <a:pt x="471" y="163"/>
                </a:lnTo>
                <a:lnTo>
                  <a:pt x="468" y="165"/>
                </a:lnTo>
                <a:lnTo>
                  <a:pt x="464" y="167"/>
                </a:lnTo>
                <a:lnTo>
                  <a:pt x="464" y="170"/>
                </a:lnTo>
                <a:lnTo>
                  <a:pt x="469" y="167"/>
                </a:lnTo>
                <a:lnTo>
                  <a:pt x="476" y="165"/>
                </a:lnTo>
                <a:lnTo>
                  <a:pt x="470" y="170"/>
                </a:lnTo>
                <a:lnTo>
                  <a:pt x="464" y="174"/>
                </a:lnTo>
                <a:lnTo>
                  <a:pt x="462" y="175"/>
                </a:lnTo>
                <a:lnTo>
                  <a:pt x="464" y="174"/>
                </a:lnTo>
                <a:close/>
                <a:moveTo>
                  <a:pt x="441" y="249"/>
                </a:moveTo>
                <a:lnTo>
                  <a:pt x="438" y="249"/>
                </a:lnTo>
                <a:lnTo>
                  <a:pt x="437" y="247"/>
                </a:lnTo>
                <a:lnTo>
                  <a:pt x="437" y="245"/>
                </a:lnTo>
                <a:lnTo>
                  <a:pt x="441" y="243"/>
                </a:lnTo>
                <a:lnTo>
                  <a:pt x="442" y="245"/>
                </a:lnTo>
                <a:lnTo>
                  <a:pt x="442" y="247"/>
                </a:lnTo>
                <a:lnTo>
                  <a:pt x="442" y="249"/>
                </a:lnTo>
                <a:lnTo>
                  <a:pt x="441" y="249"/>
                </a:lnTo>
                <a:lnTo>
                  <a:pt x="441" y="249"/>
                </a:lnTo>
                <a:lnTo>
                  <a:pt x="441" y="249"/>
                </a:lnTo>
                <a:close/>
                <a:moveTo>
                  <a:pt x="488" y="177"/>
                </a:moveTo>
                <a:lnTo>
                  <a:pt x="486" y="183"/>
                </a:lnTo>
                <a:lnTo>
                  <a:pt x="484" y="188"/>
                </a:lnTo>
                <a:lnTo>
                  <a:pt x="479" y="191"/>
                </a:lnTo>
                <a:lnTo>
                  <a:pt x="474" y="193"/>
                </a:lnTo>
                <a:lnTo>
                  <a:pt x="474" y="189"/>
                </a:lnTo>
                <a:lnTo>
                  <a:pt x="474" y="187"/>
                </a:lnTo>
                <a:lnTo>
                  <a:pt x="475" y="184"/>
                </a:lnTo>
                <a:lnTo>
                  <a:pt x="477" y="183"/>
                </a:lnTo>
                <a:lnTo>
                  <a:pt x="483" y="181"/>
                </a:lnTo>
                <a:lnTo>
                  <a:pt x="488" y="177"/>
                </a:lnTo>
                <a:close/>
                <a:moveTo>
                  <a:pt x="410" y="206"/>
                </a:moveTo>
                <a:lnTo>
                  <a:pt x="408" y="208"/>
                </a:lnTo>
                <a:lnTo>
                  <a:pt x="405" y="209"/>
                </a:lnTo>
                <a:lnTo>
                  <a:pt x="404" y="210"/>
                </a:lnTo>
                <a:lnTo>
                  <a:pt x="403" y="210"/>
                </a:lnTo>
                <a:lnTo>
                  <a:pt x="403" y="209"/>
                </a:lnTo>
                <a:lnTo>
                  <a:pt x="402" y="207"/>
                </a:lnTo>
                <a:lnTo>
                  <a:pt x="403" y="205"/>
                </a:lnTo>
                <a:lnTo>
                  <a:pt x="406" y="204"/>
                </a:lnTo>
                <a:lnTo>
                  <a:pt x="409" y="205"/>
                </a:lnTo>
                <a:lnTo>
                  <a:pt x="410" y="206"/>
                </a:lnTo>
                <a:lnTo>
                  <a:pt x="410" y="206"/>
                </a:lnTo>
                <a:lnTo>
                  <a:pt x="410" y="206"/>
                </a:lnTo>
                <a:close/>
                <a:moveTo>
                  <a:pt x="136" y="388"/>
                </a:moveTo>
                <a:lnTo>
                  <a:pt x="138" y="389"/>
                </a:lnTo>
                <a:lnTo>
                  <a:pt x="140" y="390"/>
                </a:lnTo>
                <a:lnTo>
                  <a:pt x="141" y="392"/>
                </a:lnTo>
                <a:lnTo>
                  <a:pt x="140" y="395"/>
                </a:lnTo>
                <a:lnTo>
                  <a:pt x="139" y="395"/>
                </a:lnTo>
                <a:lnTo>
                  <a:pt x="137" y="394"/>
                </a:lnTo>
                <a:lnTo>
                  <a:pt x="134" y="392"/>
                </a:lnTo>
                <a:lnTo>
                  <a:pt x="134" y="391"/>
                </a:lnTo>
                <a:lnTo>
                  <a:pt x="134" y="390"/>
                </a:lnTo>
                <a:lnTo>
                  <a:pt x="136" y="388"/>
                </a:lnTo>
                <a:lnTo>
                  <a:pt x="137" y="389"/>
                </a:lnTo>
                <a:lnTo>
                  <a:pt x="136" y="388"/>
                </a:lnTo>
                <a:close/>
                <a:moveTo>
                  <a:pt x="124" y="92"/>
                </a:moveTo>
                <a:lnTo>
                  <a:pt x="125" y="90"/>
                </a:lnTo>
                <a:lnTo>
                  <a:pt x="128" y="88"/>
                </a:lnTo>
                <a:lnTo>
                  <a:pt x="129" y="87"/>
                </a:lnTo>
                <a:lnTo>
                  <a:pt x="130" y="87"/>
                </a:lnTo>
                <a:lnTo>
                  <a:pt x="131" y="87"/>
                </a:lnTo>
                <a:lnTo>
                  <a:pt x="131" y="88"/>
                </a:lnTo>
                <a:lnTo>
                  <a:pt x="130" y="91"/>
                </a:lnTo>
                <a:lnTo>
                  <a:pt x="128" y="93"/>
                </a:lnTo>
                <a:lnTo>
                  <a:pt x="125" y="93"/>
                </a:lnTo>
                <a:lnTo>
                  <a:pt x="124" y="92"/>
                </a:lnTo>
                <a:lnTo>
                  <a:pt x="124" y="92"/>
                </a:lnTo>
                <a:lnTo>
                  <a:pt x="124" y="92"/>
                </a:lnTo>
                <a:close/>
                <a:moveTo>
                  <a:pt x="92" y="314"/>
                </a:moveTo>
                <a:lnTo>
                  <a:pt x="93" y="316"/>
                </a:lnTo>
                <a:lnTo>
                  <a:pt x="92" y="316"/>
                </a:lnTo>
                <a:lnTo>
                  <a:pt x="90" y="315"/>
                </a:lnTo>
                <a:lnTo>
                  <a:pt x="89" y="314"/>
                </a:lnTo>
                <a:lnTo>
                  <a:pt x="87" y="313"/>
                </a:lnTo>
                <a:lnTo>
                  <a:pt x="85" y="309"/>
                </a:lnTo>
                <a:lnTo>
                  <a:pt x="84" y="307"/>
                </a:lnTo>
                <a:lnTo>
                  <a:pt x="84" y="305"/>
                </a:lnTo>
                <a:lnTo>
                  <a:pt x="89" y="309"/>
                </a:lnTo>
                <a:lnTo>
                  <a:pt x="92" y="314"/>
                </a:lnTo>
                <a:lnTo>
                  <a:pt x="91" y="314"/>
                </a:lnTo>
                <a:lnTo>
                  <a:pt x="92" y="314"/>
                </a:lnTo>
                <a:close/>
                <a:moveTo>
                  <a:pt x="67" y="265"/>
                </a:moveTo>
                <a:lnTo>
                  <a:pt x="71" y="268"/>
                </a:lnTo>
                <a:lnTo>
                  <a:pt x="73" y="273"/>
                </a:lnTo>
                <a:lnTo>
                  <a:pt x="74" y="275"/>
                </a:lnTo>
                <a:lnTo>
                  <a:pt x="75" y="278"/>
                </a:lnTo>
                <a:lnTo>
                  <a:pt x="75" y="280"/>
                </a:lnTo>
                <a:lnTo>
                  <a:pt x="74" y="282"/>
                </a:lnTo>
                <a:lnTo>
                  <a:pt x="69" y="278"/>
                </a:lnTo>
                <a:lnTo>
                  <a:pt x="67" y="274"/>
                </a:lnTo>
                <a:lnTo>
                  <a:pt x="67" y="271"/>
                </a:lnTo>
                <a:lnTo>
                  <a:pt x="67" y="265"/>
                </a:lnTo>
                <a:close/>
                <a:moveTo>
                  <a:pt x="60" y="293"/>
                </a:moveTo>
                <a:lnTo>
                  <a:pt x="62" y="291"/>
                </a:lnTo>
                <a:lnTo>
                  <a:pt x="63" y="289"/>
                </a:lnTo>
                <a:lnTo>
                  <a:pt x="64" y="289"/>
                </a:lnTo>
                <a:lnTo>
                  <a:pt x="65" y="291"/>
                </a:lnTo>
                <a:lnTo>
                  <a:pt x="65" y="295"/>
                </a:lnTo>
                <a:lnTo>
                  <a:pt x="63" y="296"/>
                </a:lnTo>
                <a:lnTo>
                  <a:pt x="62" y="297"/>
                </a:lnTo>
                <a:lnTo>
                  <a:pt x="62" y="296"/>
                </a:lnTo>
                <a:lnTo>
                  <a:pt x="60" y="295"/>
                </a:lnTo>
                <a:lnTo>
                  <a:pt x="60" y="293"/>
                </a:lnTo>
                <a:lnTo>
                  <a:pt x="60" y="293"/>
                </a:lnTo>
                <a:lnTo>
                  <a:pt x="60" y="293"/>
                </a:lnTo>
                <a:close/>
                <a:moveTo>
                  <a:pt x="48" y="345"/>
                </a:moveTo>
                <a:lnTo>
                  <a:pt x="47" y="343"/>
                </a:lnTo>
                <a:lnTo>
                  <a:pt x="44" y="341"/>
                </a:lnTo>
                <a:lnTo>
                  <a:pt x="44" y="339"/>
                </a:lnTo>
                <a:lnTo>
                  <a:pt x="44" y="339"/>
                </a:lnTo>
                <a:lnTo>
                  <a:pt x="44" y="338"/>
                </a:lnTo>
                <a:lnTo>
                  <a:pt x="46" y="337"/>
                </a:lnTo>
                <a:lnTo>
                  <a:pt x="48" y="338"/>
                </a:lnTo>
                <a:lnTo>
                  <a:pt x="49" y="341"/>
                </a:lnTo>
                <a:lnTo>
                  <a:pt x="49" y="343"/>
                </a:lnTo>
                <a:lnTo>
                  <a:pt x="48" y="345"/>
                </a:lnTo>
                <a:lnTo>
                  <a:pt x="48" y="345"/>
                </a:lnTo>
                <a:lnTo>
                  <a:pt x="48" y="345"/>
                </a:lnTo>
                <a:close/>
                <a:moveTo>
                  <a:pt x="51" y="305"/>
                </a:moveTo>
                <a:lnTo>
                  <a:pt x="50" y="297"/>
                </a:lnTo>
                <a:lnTo>
                  <a:pt x="52" y="289"/>
                </a:lnTo>
                <a:lnTo>
                  <a:pt x="55" y="289"/>
                </a:lnTo>
                <a:lnTo>
                  <a:pt x="56" y="290"/>
                </a:lnTo>
                <a:lnTo>
                  <a:pt x="56" y="291"/>
                </a:lnTo>
                <a:lnTo>
                  <a:pt x="56" y="293"/>
                </a:lnTo>
                <a:lnTo>
                  <a:pt x="58" y="300"/>
                </a:lnTo>
                <a:lnTo>
                  <a:pt x="60" y="307"/>
                </a:lnTo>
                <a:lnTo>
                  <a:pt x="62" y="308"/>
                </a:lnTo>
                <a:lnTo>
                  <a:pt x="64" y="309"/>
                </a:lnTo>
                <a:lnTo>
                  <a:pt x="63" y="312"/>
                </a:lnTo>
                <a:lnTo>
                  <a:pt x="63" y="314"/>
                </a:lnTo>
                <a:lnTo>
                  <a:pt x="65" y="317"/>
                </a:lnTo>
                <a:lnTo>
                  <a:pt x="68" y="318"/>
                </a:lnTo>
                <a:lnTo>
                  <a:pt x="68" y="322"/>
                </a:lnTo>
                <a:lnTo>
                  <a:pt x="67" y="325"/>
                </a:lnTo>
                <a:lnTo>
                  <a:pt x="64" y="329"/>
                </a:lnTo>
                <a:lnTo>
                  <a:pt x="62" y="330"/>
                </a:lnTo>
                <a:lnTo>
                  <a:pt x="59" y="329"/>
                </a:lnTo>
                <a:lnTo>
                  <a:pt x="58" y="326"/>
                </a:lnTo>
                <a:lnTo>
                  <a:pt x="57" y="323"/>
                </a:lnTo>
                <a:lnTo>
                  <a:pt x="57" y="321"/>
                </a:lnTo>
                <a:lnTo>
                  <a:pt x="55" y="313"/>
                </a:lnTo>
                <a:lnTo>
                  <a:pt x="51" y="305"/>
                </a:lnTo>
                <a:lnTo>
                  <a:pt x="51" y="305"/>
                </a:lnTo>
                <a:lnTo>
                  <a:pt x="51" y="305"/>
                </a:lnTo>
                <a:close/>
                <a:moveTo>
                  <a:pt x="67" y="349"/>
                </a:moveTo>
                <a:lnTo>
                  <a:pt x="64" y="346"/>
                </a:lnTo>
                <a:lnTo>
                  <a:pt x="60" y="343"/>
                </a:lnTo>
                <a:lnTo>
                  <a:pt x="58" y="343"/>
                </a:lnTo>
                <a:lnTo>
                  <a:pt x="58" y="342"/>
                </a:lnTo>
                <a:lnTo>
                  <a:pt x="58" y="342"/>
                </a:lnTo>
                <a:lnTo>
                  <a:pt x="59" y="340"/>
                </a:lnTo>
                <a:lnTo>
                  <a:pt x="62" y="339"/>
                </a:lnTo>
                <a:lnTo>
                  <a:pt x="64" y="339"/>
                </a:lnTo>
                <a:lnTo>
                  <a:pt x="65" y="339"/>
                </a:lnTo>
                <a:lnTo>
                  <a:pt x="66" y="340"/>
                </a:lnTo>
                <a:lnTo>
                  <a:pt x="68" y="345"/>
                </a:lnTo>
                <a:lnTo>
                  <a:pt x="67" y="349"/>
                </a:lnTo>
                <a:lnTo>
                  <a:pt x="67" y="346"/>
                </a:lnTo>
                <a:lnTo>
                  <a:pt x="67" y="349"/>
                </a:lnTo>
                <a:close/>
                <a:moveTo>
                  <a:pt x="96" y="419"/>
                </a:moveTo>
                <a:lnTo>
                  <a:pt x="93" y="419"/>
                </a:lnTo>
                <a:lnTo>
                  <a:pt x="93" y="416"/>
                </a:lnTo>
                <a:lnTo>
                  <a:pt x="92" y="419"/>
                </a:lnTo>
                <a:lnTo>
                  <a:pt x="92" y="422"/>
                </a:lnTo>
                <a:lnTo>
                  <a:pt x="90" y="421"/>
                </a:lnTo>
                <a:lnTo>
                  <a:pt x="88" y="419"/>
                </a:lnTo>
                <a:lnTo>
                  <a:pt x="85" y="416"/>
                </a:lnTo>
                <a:lnTo>
                  <a:pt x="84" y="414"/>
                </a:lnTo>
                <a:lnTo>
                  <a:pt x="89" y="413"/>
                </a:lnTo>
                <a:lnTo>
                  <a:pt x="92" y="413"/>
                </a:lnTo>
                <a:lnTo>
                  <a:pt x="95" y="415"/>
                </a:lnTo>
                <a:lnTo>
                  <a:pt x="96" y="419"/>
                </a:lnTo>
                <a:lnTo>
                  <a:pt x="96" y="419"/>
                </a:lnTo>
                <a:lnTo>
                  <a:pt x="96" y="419"/>
                </a:lnTo>
                <a:close/>
                <a:moveTo>
                  <a:pt x="125" y="461"/>
                </a:moveTo>
                <a:lnTo>
                  <a:pt x="123" y="461"/>
                </a:lnTo>
                <a:lnTo>
                  <a:pt x="123" y="458"/>
                </a:lnTo>
                <a:lnTo>
                  <a:pt x="122" y="456"/>
                </a:lnTo>
                <a:lnTo>
                  <a:pt x="122" y="454"/>
                </a:lnTo>
                <a:lnTo>
                  <a:pt x="124" y="455"/>
                </a:lnTo>
                <a:lnTo>
                  <a:pt x="126" y="457"/>
                </a:lnTo>
                <a:lnTo>
                  <a:pt x="126" y="458"/>
                </a:lnTo>
                <a:lnTo>
                  <a:pt x="126" y="459"/>
                </a:lnTo>
                <a:lnTo>
                  <a:pt x="126" y="461"/>
                </a:lnTo>
                <a:lnTo>
                  <a:pt x="125" y="461"/>
                </a:lnTo>
                <a:lnTo>
                  <a:pt x="125" y="461"/>
                </a:lnTo>
                <a:lnTo>
                  <a:pt x="125" y="461"/>
                </a:lnTo>
                <a:close/>
                <a:moveTo>
                  <a:pt x="129" y="463"/>
                </a:moveTo>
                <a:lnTo>
                  <a:pt x="130" y="462"/>
                </a:lnTo>
                <a:lnTo>
                  <a:pt x="131" y="462"/>
                </a:lnTo>
                <a:lnTo>
                  <a:pt x="133" y="464"/>
                </a:lnTo>
                <a:lnTo>
                  <a:pt x="134" y="466"/>
                </a:lnTo>
                <a:lnTo>
                  <a:pt x="132" y="466"/>
                </a:lnTo>
                <a:lnTo>
                  <a:pt x="131" y="465"/>
                </a:lnTo>
                <a:lnTo>
                  <a:pt x="130" y="464"/>
                </a:lnTo>
                <a:lnTo>
                  <a:pt x="129" y="463"/>
                </a:lnTo>
                <a:lnTo>
                  <a:pt x="129" y="464"/>
                </a:lnTo>
                <a:lnTo>
                  <a:pt x="129" y="463"/>
                </a:lnTo>
                <a:close/>
                <a:moveTo>
                  <a:pt x="130" y="446"/>
                </a:moveTo>
                <a:lnTo>
                  <a:pt x="129" y="439"/>
                </a:lnTo>
                <a:lnTo>
                  <a:pt x="125" y="432"/>
                </a:lnTo>
                <a:lnTo>
                  <a:pt x="123" y="431"/>
                </a:lnTo>
                <a:lnTo>
                  <a:pt x="120" y="430"/>
                </a:lnTo>
                <a:lnTo>
                  <a:pt x="117" y="428"/>
                </a:lnTo>
                <a:lnTo>
                  <a:pt x="114" y="424"/>
                </a:lnTo>
                <a:lnTo>
                  <a:pt x="110" y="419"/>
                </a:lnTo>
                <a:lnTo>
                  <a:pt x="106" y="413"/>
                </a:lnTo>
                <a:lnTo>
                  <a:pt x="104" y="411"/>
                </a:lnTo>
                <a:lnTo>
                  <a:pt x="101" y="408"/>
                </a:lnTo>
                <a:lnTo>
                  <a:pt x="99" y="408"/>
                </a:lnTo>
                <a:lnTo>
                  <a:pt x="98" y="409"/>
                </a:lnTo>
                <a:lnTo>
                  <a:pt x="97" y="405"/>
                </a:lnTo>
                <a:lnTo>
                  <a:pt x="96" y="399"/>
                </a:lnTo>
                <a:lnTo>
                  <a:pt x="91" y="392"/>
                </a:lnTo>
                <a:lnTo>
                  <a:pt x="88" y="387"/>
                </a:lnTo>
                <a:lnTo>
                  <a:pt x="82" y="378"/>
                </a:lnTo>
                <a:lnTo>
                  <a:pt x="76" y="370"/>
                </a:lnTo>
                <a:lnTo>
                  <a:pt x="74" y="365"/>
                </a:lnTo>
                <a:lnTo>
                  <a:pt x="71" y="361"/>
                </a:lnTo>
                <a:lnTo>
                  <a:pt x="68" y="355"/>
                </a:lnTo>
                <a:lnTo>
                  <a:pt x="68" y="351"/>
                </a:lnTo>
                <a:lnTo>
                  <a:pt x="71" y="354"/>
                </a:lnTo>
                <a:lnTo>
                  <a:pt x="73" y="356"/>
                </a:lnTo>
                <a:lnTo>
                  <a:pt x="74" y="356"/>
                </a:lnTo>
                <a:lnTo>
                  <a:pt x="75" y="354"/>
                </a:lnTo>
                <a:lnTo>
                  <a:pt x="75" y="353"/>
                </a:lnTo>
                <a:lnTo>
                  <a:pt x="75" y="350"/>
                </a:lnTo>
                <a:lnTo>
                  <a:pt x="73" y="345"/>
                </a:lnTo>
                <a:lnTo>
                  <a:pt x="69" y="340"/>
                </a:lnTo>
                <a:lnTo>
                  <a:pt x="68" y="338"/>
                </a:lnTo>
                <a:lnTo>
                  <a:pt x="67" y="336"/>
                </a:lnTo>
                <a:lnTo>
                  <a:pt x="67" y="332"/>
                </a:lnTo>
                <a:lnTo>
                  <a:pt x="67" y="330"/>
                </a:lnTo>
                <a:lnTo>
                  <a:pt x="69" y="331"/>
                </a:lnTo>
                <a:lnTo>
                  <a:pt x="72" y="332"/>
                </a:lnTo>
                <a:lnTo>
                  <a:pt x="74" y="331"/>
                </a:lnTo>
                <a:lnTo>
                  <a:pt x="76" y="330"/>
                </a:lnTo>
                <a:lnTo>
                  <a:pt x="79" y="325"/>
                </a:lnTo>
                <a:lnTo>
                  <a:pt x="82" y="323"/>
                </a:lnTo>
                <a:lnTo>
                  <a:pt x="84" y="325"/>
                </a:lnTo>
                <a:lnTo>
                  <a:pt x="88" y="328"/>
                </a:lnTo>
                <a:lnTo>
                  <a:pt x="90" y="324"/>
                </a:lnTo>
                <a:lnTo>
                  <a:pt x="90" y="321"/>
                </a:lnTo>
                <a:lnTo>
                  <a:pt x="93" y="325"/>
                </a:lnTo>
                <a:lnTo>
                  <a:pt x="97" y="330"/>
                </a:lnTo>
                <a:lnTo>
                  <a:pt x="97" y="331"/>
                </a:lnTo>
                <a:lnTo>
                  <a:pt x="98" y="333"/>
                </a:lnTo>
                <a:lnTo>
                  <a:pt x="98" y="336"/>
                </a:lnTo>
                <a:lnTo>
                  <a:pt x="96" y="337"/>
                </a:lnTo>
                <a:lnTo>
                  <a:pt x="93" y="334"/>
                </a:lnTo>
                <a:lnTo>
                  <a:pt x="90" y="334"/>
                </a:lnTo>
                <a:lnTo>
                  <a:pt x="90" y="340"/>
                </a:lnTo>
                <a:lnTo>
                  <a:pt x="91" y="347"/>
                </a:lnTo>
                <a:lnTo>
                  <a:pt x="89" y="342"/>
                </a:lnTo>
                <a:lnTo>
                  <a:pt x="87" y="338"/>
                </a:lnTo>
                <a:lnTo>
                  <a:pt x="85" y="336"/>
                </a:lnTo>
                <a:lnTo>
                  <a:pt x="83" y="333"/>
                </a:lnTo>
                <a:lnTo>
                  <a:pt x="81" y="333"/>
                </a:lnTo>
                <a:lnTo>
                  <a:pt x="79" y="333"/>
                </a:lnTo>
                <a:lnTo>
                  <a:pt x="77" y="332"/>
                </a:lnTo>
                <a:lnTo>
                  <a:pt x="76" y="332"/>
                </a:lnTo>
                <a:lnTo>
                  <a:pt x="79" y="336"/>
                </a:lnTo>
                <a:lnTo>
                  <a:pt x="80" y="341"/>
                </a:lnTo>
                <a:lnTo>
                  <a:pt x="82" y="347"/>
                </a:lnTo>
                <a:lnTo>
                  <a:pt x="84" y="353"/>
                </a:lnTo>
                <a:lnTo>
                  <a:pt x="87" y="359"/>
                </a:lnTo>
                <a:lnTo>
                  <a:pt x="89" y="365"/>
                </a:lnTo>
                <a:lnTo>
                  <a:pt x="90" y="371"/>
                </a:lnTo>
                <a:lnTo>
                  <a:pt x="91" y="376"/>
                </a:lnTo>
                <a:lnTo>
                  <a:pt x="93" y="378"/>
                </a:lnTo>
                <a:lnTo>
                  <a:pt x="96" y="379"/>
                </a:lnTo>
                <a:lnTo>
                  <a:pt x="98" y="379"/>
                </a:lnTo>
                <a:lnTo>
                  <a:pt x="100" y="379"/>
                </a:lnTo>
                <a:lnTo>
                  <a:pt x="102" y="375"/>
                </a:lnTo>
                <a:lnTo>
                  <a:pt x="104" y="372"/>
                </a:lnTo>
                <a:lnTo>
                  <a:pt x="106" y="371"/>
                </a:lnTo>
                <a:lnTo>
                  <a:pt x="108" y="371"/>
                </a:lnTo>
                <a:lnTo>
                  <a:pt x="110" y="371"/>
                </a:lnTo>
                <a:lnTo>
                  <a:pt x="113" y="373"/>
                </a:lnTo>
                <a:lnTo>
                  <a:pt x="116" y="376"/>
                </a:lnTo>
                <a:lnTo>
                  <a:pt x="120" y="380"/>
                </a:lnTo>
                <a:lnTo>
                  <a:pt x="124" y="384"/>
                </a:lnTo>
                <a:lnTo>
                  <a:pt x="129" y="389"/>
                </a:lnTo>
                <a:lnTo>
                  <a:pt x="129" y="394"/>
                </a:lnTo>
                <a:lnTo>
                  <a:pt x="130" y="398"/>
                </a:lnTo>
                <a:lnTo>
                  <a:pt x="137" y="404"/>
                </a:lnTo>
                <a:lnTo>
                  <a:pt x="141" y="411"/>
                </a:lnTo>
                <a:lnTo>
                  <a:pt x="140" y="415"/>
                </a:lnTo>
                <a:lnTo>
                  <a:pt x="138" y="420"/>
                </a:lnTo>
                <a:lnTo>
                  <a:pt x="137" y="424"/>
                </a:lnTo>
                <a:lnTo>
                  <a:pt x="134" y="429"/>
                </a:lnTo>
                <a:lnTo>
                  <a:pt x="136" y="433"/>
                </a:lnTo>
                <a:lnTo>
                  <a:pt x="137" y="438"/>
                </a:lnTo>
                <a:lnTo>
                  <a:pt x="136" y="440"/>
                </a:lnTo>
                <a:lnTo>
                  <a:pt x="134" y="442"/>
                </a:lnTo>
                <a:lnTo>
                  <a:pt x="133" y="445"/>
                </a:lnTo>
                <a:lnTo>
                  <a:pt x="130" y="446"/>
                </a:lnTo>
                <a:lnTo>
                  <a:pt x="133" y="442"/>
                </a:lnTo>
                <a:lnTo>
                  <a:pt x="130" y="446"/>
                </a:lnTo>
                <a:close/>
                <a:moveTo>
                  <a:pt x="149" y="467"/>
                </a:moveTo>
                <a:lnTo>
                  <a:pt x="150" y="466"/>
                </a:lnTo>
                <a:lnTo>
                  <a:pt x="149" y="467"/>
                </a:lnTo>
                <a:close/>
                <a:moveTo>
                  <a:pt x="147" y="465"/>
                </a:moveTo>
                <a:lnTo>
                  <a:pt x="145" y="464"/>
                </a:lnTo>
                <a:lnTo>
                  <a:pt x="141" y="461"/>
                </a:lnTo>
                <a:lnTo>
                  <a:pt x="139" y="458"/>
                </a:lnTo>
                <a:lnTo>
                  <a:pt x="137" y="455"/>
                </a:lnTo>
                <a:lnTo>
                  <a:pt x="140" y="454"/>
                </a:lnTo>
                <a:lnTo>
                  <a:pt x="145" y="454"/>
                </a:lnTo>
                <a:lnTo>
                  <a:pt x="147" y="454"/>
                </a:lnTo>
                <a:lnTo>
                  <a:pt x="149" y="455"/>
                </a:lnTo>
                <a:lnTo>
                  <a:pt x="150" y="456"/>
                </a:lnTo>
                <a:lnTo>
                  <a:pt x="150" y="458"/>
                </a:lnTo>
                <a:lnTo>
                  <a:pt x="148" y="462"/>
                </a:lnTo>
                <a:lnTo>
                  <a:pt x="147" y="465"/>
                </a:lnTo>
                <a:lnTo>
                  <a:pt x="145" y="463"/>
                </a:lnTo>
                <a:lnTo>
                  <a:pt x="147" y="465"/>
                </a:lnTo>
                <a:close/>
                <a:moveTo>
                  <a:pt x="169" y="499"/>
                </a:moveTo>
                <a:lnTo>
                  <a:pt x="169" y="500"/>
                </a:lnTo>
                <a:lnTo>
                  <a:pt x="166" y="500"/>
                </a:lnTo>
                <a:lnTo>
                  <a:pt x="165" y="499"/>
                </a:lnTo>
                <a:lnTo>
                  <a:pt x="163" y="498"/>
                </a:lnTo>
                <a:lnTo>
                  <a:pt x="159" y="494"/>
                </a:lnTo>
                <a:lnTo>
                  <a:pt x="158" y="491"/>
                </a:lnTo>
                <a:lnTo>
                  <a:pt x="162" y="492"/>
                </a:lnTo>
                <a:lnTo>
                  <a:pt x="165" y="494"/>
                </a:lnTo>
                <a:lnTo>
                  <a:pt x="167" y="495"/>
                </a:lnTo>
                <a:lnTo>
                  <a:pt x="169" y="496"/>
                </a:lnTo>
                <a:lnTo>
                  <a:pt x="170" y="497"/>
                </a:lnTo>
                <a:lnTo>
                  <a:pt x="169" y="499"/>
                </a:lnTo>
                <a:lnTo>
                  <a:pt x="169" y="499"/>
                </a:lnTo>
                <a:lnTo>
                  <a:pt x="169" y="499"/>
                </a:lnTo>
                <a:close/>
                <a:moveTo>
                  <a:pt x="250" y="554"/>
                </a:moveTo>
                <a:lnTo>
                  <a:pt x="256" y="555"/>
                </a:lnTo>
                <a:lnTo>
                  <a:pt x="260" y="558"/>
                </a:lnTo>
                <a:lnTo>
                  <a:pt x="263" y="562"/>
                </a:lnTo>
                <a:lnTo>
                  <a:pt x="266" y="565"/>
                </a:lnTo>
                <a:lnTo>
                  <a:pt x="262" y="563"/>
                </a:lnTo>
                <a:lnTo>
                  <a:pt x="258" y="561"/>
                </a:lnTo>
                <a:lnTo>
                  <a:pt x="255" y="557"/>
                </a:lnTo>
                <a:lnTo>
                  <a:pt x="250" y="554"/>
                </a:lnTo>
                <a:close/>
                <a:moveTo>
                  <a:pt x="269" y="531"/>
                </a:moveTo>
                <a:lnTo>
                  <a:pt x="268" y="534"/>
                </a:lnTo>
                <a:lnTo>
                  <a:pt x="268" y="537"/>
                </a:lnTo>
                <a:lnTo>
                  <a:pt x="266" y="538"/>
                </a:lnTo>
                <a:lnTo>
                  <a:pt x="265" y="538"/>
                </a:lnTo>
                <a:lnTo>
                  <a:pt x="263" y="537"/>
                </a:lnTo>
                <a:lnTo>
                  <a:pt x="258" y="533"/>
                </a:lnTo>
                <a:lnTo>
                  <a:pt x="256" y="532"/>
                </a:lnTo>
                <a:lnTo>
                  <a:pt x="254" y="531"/>
                </a:lnTo>
                <a:lnTo>
                  <a:pt x="253" y="531"/>
                </a:lnTo>
                <a:lnTo>
                  <a:pt x="250" y="532"/>
                </a:lnTo>
                <a:lnTo>
                  <a:pt x="250" y="534"/>
                </a:lnTo>
                <a:lnTo>
                  <a:pt x="253" y="537"/>
                </a:lnTo>
                <a:lnTo>
                  <a:pt x="255" y="539"/>
                </a:lnTo>
                <a:lnTo>
                  <a:pt x="257" y="540"/>
                </a:lnTo>
                <a:lnTo>
                  <a:pt x="258" y="542"/>
                </a:lnTo>
                <a:lnTo>
                  <a:pt x="260" y="545"/>
                </a:lnTo>
                <a:lnTo>
                  <a:pt x="260" y="545"/>
                </a:lnTo>
                <a:lnTo>
                  <a:pt x="256" y="545"/>
                </a:lnTo>
                <a:lnTo>
                  <a:pt x="250" y="540"/>
                </a:lnTo>
                <a:lnTo>
                  <a:pt x="244" y="538"/>
                </a:lnTo>
                <a:lnTo>
                  <a:pt x="240" y="539"/>
                </a:lnTo>
                <a:lnTo>
                  <a:pt x="240" y="541"/>
                </a:lnTo>
                <a:lnTo>
                  <a:pt x="241" y="544"/>
                </a:lnTo>
                <a:lnTo>
                  <a:pt x="242" y="546"/>
                </a:lnTo>
                <a:lnTo>
                  <a:pt x="244" y="547"/>
                </a:lnTo>
                <a:lnTo>
                  <a:pt x="246" y="548"/>
                </a:lnTo>
                <a:lnTo>
                  <a:pt x="246" y="550"/>
                </a:lnTo>
                <a:lnTo>
                  <a:pt x="245" y="550"/>
                </a:lnTo>
                <a:lnTo>
                  <a:pt x="244" y="552"/>
                </a:lnTo>
                <a:lnTo>
                  <a:pt x="241" y="550"/>
                </a:lnTo>
                <a:lnTo>
                  <a:pt x="238" y="547"/>
                </a:lnTo>
                <a:lnTo>
                  <a:pt x="235" y="542"/>
                </a:lnTo>
                <a:lnTo>
                  <a:pt x="231" y="541"/>
                </a:lnTo>
                <a:lnTo>
                  <a:pt x="228" y="541"/>
                </a:lnTo>
                <a:lnTo>
                  <a:pt x="225" y="541"/>
                </a:lnTo>
                <a:lnTo>
                  <a:pt x="224" y="541"/>
                </a:lnTo>
                <a:lnTo>
                  <a:pt x="223" y="542"/>
                </a:lnTo>
                <a:lnTo>
                  <a:pt x="221" y="544"/>
                </a:lnTo>
                <a:lnTo>
                  <a:pt x="219" y="542"/>
                </a:lnTo>
                <a:lnTo>
                  <a:pt x="219" y="539"/>
                </a:lnTo>
                <a:lnTo>
                  <a:pt x="221" y="539"/>
                </a:lnTo>
                <a:lnTo>
                  <a:pt x="222" y="539"/>
                </a:lnTo>
                <a:lnTo>
                  <a:pt x="223" y="536"/>
                </a:lnTo>
                <a:lnTo>
                  <a:pt x="223" y="533"/>
                </a:lnTo>
                <a:lnTo>
                  <a:pt x="222" y="530"/>
                </a:lnTo>
                <a:lnTo>
                  <a:pt x="221" y="528"/>
                </a:lnTo>
                <a:lnTo>
                  <a:pt x="219" y="527"/>
                </a:lnTo>
                <a:lnTo>
                  <a:pt x="216" y="525"/>
                </a:lnTo>
                <a:lnTo>
                  <a:pt x="211" y="523"/>
                </a:lnTo>
                <a:lnTo>
                  <a:pt x="206" y="520"/>
                </a:lnTo>
                <a:lnTo>
                  <a:pt x="202" y="515"/>
                </a:lnTo>
                <a:lnTo>
                  <a:pt x="199" y="509"/>
                </a:lnTo>
                <a:lnTo>
                  <a:pt x="198" y="506"/>
                </a:lnTo>
                <a:lnTo>
                  <a:pt x="196" y="505"/>
                </a:lnTo>
                <a:lnTo>
                  <a:pt x="194" y="503"/>
                </a:lnTo>
                <a:lnTo>
                  <a:pt x="191" y="502"/>
                </a:lnTo>
                <a:lnTo>
                  <a:pt x="183" y="499"/>
                </a:lnTo>
                <a:lnTo>
                  <a:pt x="176" y="495"/>
                </a:lnTo>
                <a:lnTo>
                  <a:pt x="172" y="490"/>
                </a:lnTo>
                <a:lnTo>
                  <a:pt x="167" y="486"/>
                </a:lnTo>
                <a:lnTo>
                  <a:pt x="165" y="483"/>
                </a:lnTo>
                <a:lnTo>
                  <a:pt x="164" y="481"/>
                </a:lnTo>
                <a:lnTo>
                  <a:pt x="163" y="479"/>
                </a:lnTo>
                <a:lnTo>
                  <a:pt x="162" y="478"/>
                </a:lnTo>
                <a:lnTo>
                  <a:pt x="158" y="475"/>
                </a:lnTo>
                <a:lnTo>
                  <a:pt x="155" y="473"/>
                </a:lnTo>
                <a:lnTo>
                  <a:pt x="153" y="471"/>
                </a:lnTo>
                <a:lnTo>
                  <a:pt x="150" y="467"/>
                </a:lnTo>
                <a:lnTo>
                  <a:pt x="155" y="470"/>
                </a:lnTo>
                <a:lnTo>
                  <a:pt x="159" y="473"/>
                </a:lnTo>
                <a:lnTo>
                  <a:pt x="162" y="473"/>
                </a:lnTo>
                <a:lnTo>
                  <a:pt x="164" y="474"/>
                </a:lnTo>
                <a:lnTo>
                  <a:pt x="165" y="473"/>
                </a:lnTo>
                <a:lnTo>
                  <a:pt x="166" y="474"/>
                </a:lnTo>
                <a:lnTo>
                  <a:pt x="166" y="477"/>
                </a:lnTo>
                <a:lnTo>
                  <a:pt x="167" y="478"/>
                </a:lnTo>
                <a:lnTo>
                  <a:pt x="170" y="483"/>
                </a:lnTo>
                <a:lnTo>
                  <a:pt x="174" y="489"/>
                </a:lnTo>
                <a:lnTo>
                  <a:pt x="176" y="491"/>
                </a:lnTo>
                <a:lnTo>
                  <a:pt x="179" y="492"/>
                </a:lnTo>
                <a:lnTo>
                  <a:pt x="182" y="492"/>
                </a:lnTo>
                <a:lnTo>
                  <a:pt x="184" y="491"/>
                </a:lnTo>
                <a:lnTo>
                  <a:pt x="180" y="487"/>
                </a:lnTo>
                <a:lnTo>
                  <a:pt x="175" y="481"/>
                </a:lnTo>
                <a:lnTo>
                  <a:pt x="173" y="478"/>
                </a:lnTo>
                <a:lnTo>
                  <a:pt x="170" y="475"/>
                </a:lnTo>
                <a:lnTo>
                  <a:pt x="169" y="474"/>
                </a:lnTo>
                <a:lnTo>
                  <a:pt x="166" y="474"/>
                </a:lnTo>
                <a:lnTo>
                  <a:pt x="166" y="472"/>
                </a:lnTo>
                <a:lnTo>
                  <a:pt x="165" y="470"/>
                </a:lnTo>
                <a:lnTo>
                  <a:pt x="161" y="467"/>
                </a:lnTo>
                <a:lnTo>
                  <a:pt x="155" y="464"/>
                </a:lnTo>
                <a:lnTo>
                  <a:pt x="154" y="463"/>
                </a:lnTo>
                <a:lnTo>
                  <a:pt x="154" y="461"/>
                </a:lnTo>
                <a:lnTo>
                  <a:pt x="155" y="458"/>
                </a:lnTo>
                <a:lnTo>
                  <a:pt x="156" y="457"/>
                </a:lnTo>
                <a:lnTo>
                  <a:pt x="161" y="455"/>
                </a:lnTo>
                <a:lnTo>
                  <a:pt x="165" y="455"/>
                </a:lnTo>
                <a:lnTo>
                  <a:pt x="166" y="456"/>
                </a:lnTo>
                <a:lnTo>
                  <a:pt x="167" y="457"/>
                </a:lnTo>
                <a:lnTo>
                  <a:pt x="167" y="458"/>
                </a:lnTo>
                <a:lnTo>
                  <a:pt x="167" y="459"/>
                </a:lnTo>
                <a:lnTo>
                  <a:pt x="166" y="462"/>
                </a:lnTo>
                <a:lnTo>
                  <a:pt x="165" y="464"/>
                </a:lnTo>
                <a:lnTo>
                  <a:pt x="169" y="467"/>
                </a:lnTo>
                <a:lnTo>
                  <a:pt x="173" y="470"/>
                </a:lnTo>
                <a:lnTo>
                  <a:pt x="179" y="472"/>
                </a:lnTo>
                <a:lnTo>
                  <a:pt x="182" y="472"/>
                </a:lnTo>
                <a:lnTo>
                  <a:pt x="190" y="473"/>
                </a:lnTo>
                <a:lnTo>
                  <a:pt x="197" y="477"/>
                </a:lnTo>
                <a:lnTo>
                  <a:pt x="199" y="477"/>
                </a:lnTo>
                <a:lnTo>
                  <a:pt x="199" y="478"/>
                </a:lnTo>
                <a:lnTo>
                  <a:pt x="199" y="480"/>
                </a:lnTo>
                <a:lnTo>
                  <a:pt x="199" y="482"/>
                </a:lnTo>
                <a:lnTo>
                  <a:pt x="197" y="484"/>
                </a:lnTo>
                <a:lnTo>
                  <a:pt x="196" y="484"/>
                </a:lnTo>
                <a:lnTo>
                  <a:pt x="194" y="483"/>
                </a:lnTo>
                <a:lnTo>
                  <a:pt x="192" y="482"/>
                </a:lnTo>
                <a:lnTo>
                  <a:pt x="191" y="481"/>
                </a:lnTo>
                <a:lnTo>
                  <a:pt x="190" y="481"/>
                </a:lnTo>
                <a:lnTo>
                  <a:pt x="190" y="482"/>
                </a:lnTo>
                <a:lnTo>
                  <a:pt x="190" y="484"/>
                </a:lnTo>
                <a:lnTo>
                  <a:pt x="191" y="490"/>
                </a:lnTo>
                <a:lnTo>
                  <a:pt x="195" y="495"/>
                </a:lnTo>
                <a:lnTo>
                  <a:pt x="198" y="497"/>
                </a:lnTo>
                <a:lnTo>
                  <a:pt x="199" y="496"/>
                </a:lnTo>
                <a:lnTo>
                  <a:pt x="200" y="495"/>
                </a:lnTo>
                <a:lnTo>
                  <a:pt x="203" y="492"/>
                </a:lnTo>
                <a:lnTo>
                  <a:pt x="207" y="491"/>
                </a:lnTo>
                <a:lnTo>
                  <a:pt x="211" y="492"/>
                </a:lnTo>
                <a:lnTo>
                  <a:pt x="214" y="495"/>
                </a:lnTo>
                <a:lnTo>
                  <a:pt x="217" y="496"/>
                </a:lnTo>
                <a:lnTo>
                  <a:pt x="220" y="496"/>
                </a:lnTo>
                <a:lnTo>
                  <a:pt x="221" y="496"/>
                </a:lnTo>
                <a:lnTo>
                  <a:pt x="222" y="496"/>
                </a:lnTo>
                <a:lnTo>
                  <a:pt x="223" y="494"/>
                </a:lnTo>
                <a:lnTo>
                  <a:pt x="222" y="491"/>
                </a:lnTo>
                <a:lnTo>
                  <a:pt x="221" y="488"/>
                </a:lnTo>
                <a:lnTo>
                  <a:pt x="223" y="486"/>
                </a:lnTo>
                <a:lnTo>
                  <a:pt x="224" y="483"/>
                </a:lnTo>
                <a:lnTo>
                  <a:pt x="230" y="482"/>
                </a:lnTo>
                <a:lnTo>
                  <a:pt x="237" y="483"/>
                </a:lnTo>
                <a:lnTo>
                  <a:pt x="240" y="484"/>
                </a:lnTo>
                <a:lnTo>
                  <a:pt x="244" y="486"/>
                </a:lnTo>
                <a:lnTo>
                  <a:pt x="248" y="487"/>
                </a:lnTo>
                <a:lnTo>
                  <a:pt x="254" y="487"/>
                </a:lnTo>
                <a:lnTo>
                  <a:pt x="255" y="487"/>
                </a:lnTo>
                <a:lnTo>
                  <a:pt x="256" y="488"/>
                </a:lnTo>
                <a:lnTo>
                  <a:pt x="256" y="488"/>
                </a:lnTo>
                <a:lnTo>
                  <a:pt x="256" y="489"/>
                </a:lnTo>
                <a:lnTo>
                  <a:pt x="255" y="491"/>
                </a:lnTo>
                <a:lnTo>
                  <a:pt x="254" y="494"/>
                </a:lnTo>
                <a:lnTo>
                  <a:pt x="257" y="497"/>
                </a:lnTo>
                <a:lnTo>
                  <a:pt x="261" y="500"/>
                </a:lnTo>
                <a:lnTo>
                  <a:pt x="263" y="504"/>
                </a:lnTo>
                <a:lnTo>
                  <a:pt x="265" y="507"/>
                </a:lnTo>
                <a:lnTo>
                  <a:pt x="266" y="511"/>
                </a:lnTo>
                <a:lnTo>
                  <a:pt x="269" y="513"/>
                </a:lnTo>
                <a:lnTo>
                  <a:pt x="271" y="516"/>
                </a:lnTo>
                <a:lnTo>
                  <a:pt x="272" y="519"/>
                </a:lnTo>
                <a:lnTo>
                  <a:pt x="273" y="527"/>
                </a:lnTo>
                <a:lnTo>
                  <a:pt x="275" y="533"/>
                </a:lnTo>
                <a:lnTo>
                  <a:pt x="272" y="532"/>
                </a:lnTo>
                <a:lnTo>
                  <a:pt x="269" y="531"/>
                </a:lnTo>
                <a:lnTo>
                  <a:pt x="269" y="534"/>
                </a:lnTo>
                <a:lnTo>
                  <a:pt x="269" y="531"/>
                </a:lnTo>
                <a:close/>
                <a:moveTo>
                  <a:pt x="279" y="343"/>
                </a:moveTo>
                <a:lnTo>
                  <a:pt x="279" y="346"/>
                </a:lnTo>
                <a:lnTo>
                  <a:pt x="278" y="347"/>
                </a:lnTo>
                <a:lnTo>
                  <a:pt x="277" y="349"/>
                </a:lnTo>
                <a:lnTo>
                  <a:pt x="274" y="350"/>
                </a:lnTo>
                <a:lnTo>
                  <a:pt x="270" y="353"/>
                </a:lnTo>
                <a:lnTo>
                  <a:pt x="266" y="353"/>
                </a:lnTo>
                <a:lnTo>
                  <a:pt x="265" y="349"/>
                </a:lnTo>
                <a:lnTo>
                  <a:pt x="264" y="345"/>
                </a:lnTo>
                <a:lnTo>
                  <a:pt x="263" y="340"/>
                </a:lnTo>
                <a:lnTo>
                  <a:pt x="263" y="337"/>
                </a:lnTo>
                <a:lnTo>
                  <a:pt x="264" y="333"/>
                </a:lnTo>
                <a:lnTo>
                  <a:pt x="265" y="331"/>
                </a:lnTo>
                <a:lnTo>
                  <a:pt x="266" y="330"/>
                </a:lnTo>
                <a:lnTo>
                  <a:pt x="270" y="329"/>
                </a:lnTo>
                <a:lnTo>
                  <a:pt x="275" y="328"/>
                </a:lnTo>
                <a:lnTo>
                  <a:pt x="281" y="325"/>
                </a:lnTo>
                <a:lnTo>
                  <a:pt x="283" y="324"/>
                </a:lnTo>
                <a:lnTo>
                  <a:pt x="285" y="322"/>
                </a:lnTo>
                <a:lnTo>
                  <a:pt x="286" y="322"/>
                </a:lnTo>
                <a:lnTo>
                  <a:pt x="287" y="324"/>
                </a:lnTo>
                <a:lnTo>
                  <a:pt x="283" y="334"/>
                </a:lnTo>
                <a:lnTo>
                  <a:pt x="279" y="343"/>
                </a:lnTo>
                <a:lnTo>
                  <a:pt x="279" y="343"/>
                </a:lnTo>
                <a:lnTo>
                  <a:pt x="279" y="343"/>
                </a:lnTo>
                <a:close/>
                <a:moveTo>
                  <a:pt x="297" y="549"/>
                </a:moveTo>
                <a:lnTo>
                  <a:pt x="296" y="549"/>
                </a:lnTo>
                <a:lnTo>
                  <a:pt x="295" y="548"/>
                </a:lnTo>
                <a:lnTo>
                  <a:pt x="294" y="547"/>
                </a:lnTo>
                <a:lnTo>
                  <a:pt x="293" y="546"/>
                </a:lnTo>
                <a:lnTo>
                  <a:pt x="293" y="544"/>
                </a:lnTo>
                <a:lnTo>
                  <a:pt x="293" y="542"/>
                </a:lnTo>
                <a:lnTo>
                  <a:pt x="294" y="540"/>
                </a:lnTo>
                <a:lnTo>
                  <a:pt x="295" y="539"/>
                </a:lnTo>
                <a:lnTo>
                  <a:pt x="296" y="541"/>
                </a:lnTo>
                <a:lnTo>
                  <a:pt x="297" y="544"/>
                </a:lnTo>
                <a:lnTo>
                  <a:pt x="298" y="547"/>
                </a:lnTo>
                <a:lnTo>
                  <a:pt x="297" y="549"/>
                </a:lnTo>
                <a:lnTo>
                  <a:pt x="297" y="549"/>
                </a:lnTo>
                <a:lnTo>
                  <a:pt x="297" y="549"/>
                </a:lnTo>
                <a:close/>
                <a:moveTo>
                  <a:pt x="295" y="539"/>
                </a:moveTo>
                <a:lnTo>
                  <a:pt x="295" y="536"/>
                </a:lnTo>
                <a:lnTo>
                  <a:pt x="293" y="534"/>
                </a:lnTo>
                <a:lnTo>
                  <a:pt x="290" y="533"/>
                </a:lnTo>
                <a:lnTo>
                  <a:pt x="288" y="533"/>
                </a:lnTo>
                <a:lnTo>
                  <a:pt x="286" y="536"/>
                </a:lnTo>
                <a:lnTo>
                  <a:pt x="283" y="537"/>
                </a:lnTo>
                <a:lnTo>
                  <a:pt x="283" y="532"/>
                </a:lnTo>
                <a:lnTo>
                  <a:pt x="283" y="527"/>
                </a:lnTo>
                <a:lnTo>
                  <a:pt x="285" y="525"/>
                </a:lnTo>
                <a:lnTo>
                  <a:pt x="286" y="524"/>
                </a:lnTo>
                <a:lnTo>
                  <a:pt x="285" y="523"/>
                </a:lnTo>
                <a:lnTo>
                  <a:pt x="283" y="522"/>
                </a:lnTo>
                <a:lnTo>
                  <a:pt x="282" y="520"/>
                </a:lnTo>
                <a:lnTo>
                  <a:pt x="283" y="516"/>
                </a:lnTo>
                <a:lnTo>
                  <a:pt x="286" y="516"/>
                </a:lnTo>
                <a:lnTo>
                  <a:pt x="287" y="517"/>
                </a:lnTo>
                <a:lnTo>
                  <a:pt x="286" y="520"/>
                </a:lnTo>
                <a:lnTo>
                  <a:pt x="286" y="520"/>
                </a:lnTo>
                <a:lnTo>
                  <a:pt x="293" y="527"/>
                </a:lnTo>
                <a:lnTo>
                  <a:pt x="299" y="532"/>
                </a:lnTo>
                <a:lnTo>
                  <a:pt x="304" y="534"/>
                </a:lnTo>
                <a:lnTo>
                  <a:pt x="309" y="538"/>
                </a:lnTo>
                <a:lnTo>
                  <a:pt x="312" y="541"/>
                </a:lnTo>
                <a:lnTo>
                  <a:pt x="314" y="546"/>
                </a:lnTo>
                <a:lnTo>
                  <a:pt x="309" y="544"/>
                </a:lnTo>
                <a:lnTo>
                  <a:pt x="304" y="540"/>
                </a:lnTo>
                <a:lnTo>
                  <a:pt x="302" y="539"/>
                </a:lnTo>
                <a:lnTo>
                  <a:pt x="299" y="538"/>
                </a:lnTo>
                <a:lnTo>
                  <a:pt x="297" y="538"/>
                </a:lnTo>
                <a:lnTo>
                  <a:pt x="295" y="539"/>
                </a:lnTo>
                <a:lnTo>
                  <a:pt x="297" y="537"/>
                </a:lnTo>
                <a:lnTo>
                  <a:pt x="295" y="539"/>
                </a:lnTo>
                <a:close/>
                <a:moveTo>
                  <a:pt x="307" y="398"/>
                </a:moveTo>
                <a:lnTo>
                  <a:pt x="310" y="392"/>
                </a:lnTo>
                <a:lnTo>
                  <a:pt x="310" y="387"/>
                </a:lnTo>
                <a:lnTo>
                  <a:pt x="310" y="384"/>
                </a:lnTo>
                <a:lnTo>
                  <a:pt x="310" y="383"/>
                </a:lnTo>
                <a:lnTo>
                  <a:pt x="311" y="383"/>
                </a:lnTo>
                <a:lnTo>
                  <a:pt x="313" y="384"/>
                </a:lnTo>
                <a:lnTo>
                  <a:pt x="316" y="381"/>
                </a:lnTo>
                <a:lnTo>
                  <a:pt x="321" y="379"/>
                </a:lnTo>
                <a:lnTo>
                  <a:pt x="319" y="386"/>
                </a:lnTo>
                <a:lnTo>
                  <a:pt x="316" y="392"/>
                </a:lnTo>
                <a:lnTo>
                  <a:pt x="315" y="396"/>
                </a:lnTo>
                <a:lnTo>
                  <a:pt x="314" y="398"/>
                </a:lnTo>
                <a:lnTo>
                  <a:pt x="311" y="398"/>
                </a:lnTo>
                <a:lnTo>
                  <a:pt x="307" y="398"/>
                </a:lnTo>
                <a:lnTo>
                  <a:pt x="310" y="396"/>
                </a:lnTo>
                <a:lnTo>
                  <a:pt x="307" y="398"/>
                </a:lnTo>
                <a:close/>
                <a:moveTo>
                  <a:pt x="329" y="508"/>
                </a:moveTo>
                <a:lnTo>
                  <a:pt x="327" y="511"/>
                </a:lnTo>
                <a:lnTo>
                  <a:pt x="326" y="512"/>
                </a:lnTo>
                <a:lnTo>
                  <a:pt x="328" y="514"/>
                </a:lnTo>
                <a:lnTo>
                  <a:pt x="329" y="516"/>
                </a:lnTo>
                <a:lnTo>
                  <a:pt x="328" y="519"/>
                </a:lnTo>
                <a:lnTo>
                  <a:pt x="328" y="520"/>
                </a:lnTo>
                <a:lnTo>
                  <a:pt x="326" y="519"/>
                </a:lnTo>
                <a:lnTo>
                  <a:pt x="324" y="519"/>
                </a:lnTo>
                <a:lnTo>
                  <a:pt x="321" y="516"/>
                </a:lnTo>
                <a:lnTo>
                  <a:pt x="318" y="513"/>
                </a:lnTo>
                <a:lnTo>
                  <a:pt x="319" y="509"/>
                </a:lnTo>
                <a:lnTo>
                  <a:pt x="322" y="506"/>
                </a:lnTo>
                <a:lnTo>
                  <a:pt x="323" y="503"/>
                </a:lnTo>
                <a:lnTo>
                  <a:pt x="326" y="499"/>
                </a:lnTo>
                <a:lnTo>
                  <a:pt x="328" y="495"/>
                </a:lnTo>
                <a:lnTo>
                  <a:pt x="330" y="494"/>
                </a:lnTo>
                <a:lnTo>
                  <a:pt x="332" y="496"/>
                </a:lnTo>
                <a:lnTo>
                  <a:pt x="334" y="498"/>
                </a:lnTo>
                <a:lnTo>
                  <a:pt x="335" y="499"/>
                </a:lnTo>
                <a:lnTo>
                  <a:pt x="335" y="500"/>
                </a:lnTo>
                <a:lnTo>
                  <a:pt x="334" y="502"/>
                </a:lnTo>
                <a:lnTo>
                  <a:pt x="332" y="504"/>
                </a:lnTo>
                <a:lnTo>
                  <a:pt x="330" y="506"/>
                </a:lnTo>
                <a:lnTo>
                  <a:pt x="329" y="508"/>
                </a:lnTo>
                <a:close/>
                <a:moveTo>
                  <a:pt x="345" y="395"/>
                </a:moveTo>
                <a:lnTo>
                  <a:pt x="345" y="396"/>
                </a:lnTo>
                <a:lnTo>
                  <a:pt x="344" y="397"/>
                </a:lnTo>
                <a:lnTo>
                  <a:pt x="343" y="397"/>
                </a:lnTo>
                <a:lnTo>
                  <a:pt x="342" y="397"/>
                </a:lnTo>
                <a:lnTo>
                  <a:pt x="339" y="397"/>
                </a:lnTo>
                <a:lnTo>
                  <a:pt x="339" y="396"/>
                </a:lnTo>
                <a:lnTo>
                  <a:pt x="339" y="395"/>
                </a:lnTo>
                <a:lnTo>
                  <a:pt x="339" y="394"/>
                </a:lnTo>
                <a:lnTo>
                  <a:pt x="339" y="391"/>
                </a:lnTo>
                <a:lnTo>
                  <a:pt x="339" y="389"/>
                </a:lnTo>
                <a:lnTo>
                  <a:pt x="337" y="389"/>
                </a:lnTo>
                <a:lnTo>
                  <a:pt x="335" y="389"/>
                </a:lnTo>
                <a:lnTo>
                  <a:pt x="331" y="387"/>
                </a:lnTo>
                <a:lnTo>
                  <a:pt x="330" y="383"/>
                </a:lnTo>
                <a:lnTo>
                  <a:pt x="330" y="381"/>
                </a:lnTo>
                <a:lnTo>
                  <a:pt x="332" y="380"/>
                </a:lnTo>
                <a:lnTo>
                  <a:pt x="334" y="379"/>
                </a:lnTo>
                <a:lnTo>
                  <a:pt x="336" y="379"/>
                </a:lnTo>
                <a:lnTo>
                  <a:pt x="340" y="379"/>
                </a:lnTo>
                <a:lnTo>
                  <a:pt x="344" y="379"/>
                </a:lnTo>
                <a:lnTo>
                  <a:pt x="349" y="382"/>
                </a:lnTo>
                <a:lnTo>
                  <a:pt x="355" y="383"/>
                </a:lnTo>
                <a:lnTo>
                  <a:pt x="351" y="388"/>
                </a:lnTo>
                <a:lnTo>
                  <a:pt x="345" y="395"/>
                </a:lnTo>
                <a:lnTo>
                  <a:pt x="345" y="394"/>
                </a:lnTo>
                <a:lnTo>
                  <a:pt x="345" y="395"/>
                </a:lnTo>
                <a:close/>
                <a:moveTo>
                  <a:pt x="348" y="370"/>
                </a:moveTo>
                <a:lnTo>
                  <a:pt x="349" y="370"/>
                </a:lnTo>
                <a:lnTo>
                  <a:pt x="351" y="371"/>
                </a:lnTo>
                <a:lnTo>
                  <a:pt x="351" y="372"/>
                </a:lnTo>
                <a:lnTo>
                  <a:pt x="349" y="374"/>
                </a:lnTo>
                <a:lnTo>
                  <a:pt x="347" y="378"/>
                </a:lnTo>
                <a:lnTo>
                  <a:pt x="344" y="379"/>
                </a:lnTo>
                <a:lnTo>
                  <a:pt x="346" y="374"/>
                </a:lnTo>
                <a:lnTo>
                  <a:pt x="348" y="370"/>
                </a:lnTo>
                <a:lnTo>
                  <a:pt x="349" y="371"/>
                </a:lnTo>
                <a:lnTo>
                  <a:pt x="348" y="370"/>
                </a:lnTo>
                <a:close/>
                <a:moveTo>
                  <a:pt x="362" y="399"/>
                </a:moveTo>
                <a:lnTo>
                  <a:pt x="362" y="403"/>
                </a:lnTo>
                <a:lnTo>
                  <a:pt x="360" y="406"/>
                </a:lnTo>
                <a:lnTo>
                  <a:pt x="357" y="409"/>
                </a:lnTo>
                <a:lnTo>
                  <a:pt x="354" y="412"/>
                </a:lnTo>
                <a:lnTo>
                  <a:pt x="352" y="412"/>
                </a:lnTo>
                <a:lnTo>
                  <a:pt x="348" y="412"/>
                </a:lnTo>
                <a:lnTo>
                  <a:pt x="347" y="411"/>
                </a:lnTo>
                <a:lnTo>
                  <a:pt x="346" y="409"/>
                </a:lnTo>
                <a:lnTo>
                  <a:pt x="346" y="408"/>
                </a:lnTo>
                <a:lnTo>
                  <a:pt x="347" y="406"/>
                </a:lnTo>
                <a:lnTo>
                  <a:pt x="351" y="406"/>
                </a:lnTo>
                <a:lnTo>
                  <a:pt x="354" y="405"/>
                </a:lnTo>
                <a:lnTo>
                  <a:pt x="356" y="403"/>
                </a:lnTo>
                <a:lnTo>
                  <a:pt x="357" y="399"/>
                </a:lnTo>
                <a:lnTo>
                  <a:pt x="357" y="398"/>
                </a:lnTo>
                <a:lnTo>
                  <a:pt x="357" y="397"/>
                </a:lnTo>
                <a:lnTo>
                  <a:pt x="359" y="396"/>
                </a:lnTo>
                <a:lnTo>
                  <a:pt x="360" y="396"/>
                </a:lnTo>
                <a:lnTo>
                  <a:pt x="362" y="396"/>
                </a:lnTo>
                <a:lnTo>
                  <a:pt x="362" y="397"/>
                </a:lnTo>
                <a:lnTo>
                  <a:pt x="363" y="398"/>
                </a:lnTo>
                <a:lnTo>
                  <a:pt x="362" y="399"/>
                </a:lnTo>
                <a:lnTo>
                  <a:pt x="362" y="401"/>
                </a:lnTo>
                <a:lnTo>
                  <a:pt x="362" y="399"/>
                </a:lnTo>
                <a:close/>
                <a:moveTo>
                  <a:pt x="361" y="350"/>
                </a:moveTo>
                <a:lnTo>
                  <a:pt x="357" y="349"/>
                </a:lnTo>
                <a:lnTo>
                  <a:pt x="354" y="349"/>
                </a:lnTo>
                <a:lnTo>
                  <a:pt x="351" y="349"/>
                </a:lnTo>
                <a:lnTo>
                  <a:pt x="347" y="348"/>
                </a:lnTo>
                <a:lnTo>
                  <a:pt x="346" y="347"/>
                </a:lnTo>
                <a:lnTo>
                  <a:pt x="345" y="347"/>
                </a:lnTo>
                <a:lnTo>
                  <a:pt x="346" y="346"/>
                </a:lnTo>
                <a:lnTo>
                  <a:pt x="348" y="343"/>
                </a:lnTo>
                <a:lnTo>
                  <a:pt x="351" y="340"/>
                </a:lnTo>
                <a:lnTo>
                  <a:pt x="352" y="337"/>
                </a:lnTo>
                <a:lnTo>
                  <a:pt x="353" y="333"/>
                </a:lnTo>
                <a:lnTo>
                  <a:pt x="353" y="332"/>
                </a:lnTo>
                <a:lnTo>
                  <a:pt x="354" y="330"/>
                </a:lnTo>
                <a:lnTo>
                  <a:pt x="355" y="329"/>
                </a:lnTo>
                <a:lnTo>
                  <a:pt x="360" y="325"/>
                </a:lnTo>
                <a:lnTo>
                  <a:pt x="363" y="322"/>
                </a:lnTo>
                <a:lnTo>
                  <a:pt x="364" y="320"/>
                </a:lnTo>
                <a:lnTo>
                  <a:pt x="365" y="318"/>
                </a:lnTo>
                <a:lnTo>
                  <a:pt x="364" y="316"/>
                </a:lnTo>
                <a:lnTo>
                  <a:pt x="362" y="314"/>
                </a:lnTo>
                <a:lnTo>
                  <a:pt x="360" y="314"/>
                </a:lnTo>
                <a:lnTo>
                  <a:pt x="356" y="314"/>
                </a:lnTo>
                <a:lnTo>
                  <a:pt x="353" y="314"/>
                </a:lnTo>
                <a:lnTo>
                  <a:pt x="351" y="315"/>
                </a:lnTo>
                <a:lnTo>
                  <a:pt x="346" y="321"/>
                </a:lnTo>
                <a:lnTo>
                  <a:pt x="343" y="325"/>
                </a:lnTo>
                <a:lnTo>
                  <a:pt x="343" y="321"/>
                </a:lnTo>
                <a:lnTo>
                  <a:pt x="345" y="318"/>
                </a:lnTo>
                <a:lnTo>
                  <a:pt x="348" y="315"/>
                </a:lnTo>
                <a:lnTo>
                  <a:pt x="351" y="312"/>
                </a:lnTo>
                <a:lnTo>
                  <a:pt x="354" y="309"/>
                </a:lnTo>
                <a:lnTo>
                  <a:pt x="356" y="306"/>
                </a:lnTo>
                <a:lnTo>
                  <a:pt x="360" y="301"/>
                </a:lnTo>
                <a:lnTo>
                  <a:pt x="363" y="298"/>
                </a:lnTo>
                <a:lnTo>
                  <a:pt x="364" y="298"/>
                </a:lnTo>
                <a:lnTo>
                  <a:pt x="367" y="298"/>
                </a:lnTo>
                <a:lnTo>
                  <a:pt x="367" y="300"/>
                </a:lnTo>
                <a:lnTo>
                  <a:pt x="365" y="301"/>
                </a:lnTo>
                <a:lnTo>
                  <a:pt x="363" y="304"/>
                </a:lnTo>
                <a:lnTo>
                  <a:pt x="362" y="306"/>
                </a:lnTo>
                <a:lnTo>
                  <a:pt x="362" y="308"/>
                </a:lnTo>
                <a:lnTo>
                  <a:pt x="363" y="309"/>
                </a:lnTo>
                <a:lnTo>
                  <a:pt x="365" y="311"/>
                </a:lnTo>
                <a:lnTo>
                  <a:pt x="368" y="311"/>
                </a:lnTo>
                <a:lnTo>
                  <a:pt x="373" y="311"/>
                </a:lnTo>
                <a:lnTo>
                  <a:pt x="378" y="311"/>
                </a:lnTo>
                <a:lnTo>
                  <a:pt x="371" y="320"/>
                </a:lnTo>
                <a:lnTo>
                  <a:pt x="365" y="330"/>
                </a:lnTo>
                <a:lnTo>
                  <a:pt x="372" y="326"/>
                </a:lnTo>
                <a:lnTo>
                  <a:pt x="379" y="321"/>
                </a:lnTo>
                <a:lnTo>
                  <a:pt x="382" y="315"/>
                </a:lnTo>
                <a:lnTo>
                  <a:pt x="386" y="309"/>
                </a:lnTo>
                <a:lnTo>
                  <a:pt x="394" y="307"/>
                </a:lnTo>
                <a:lnTo>
                  <a:pt x="404" y="307"/>
                </a:lnTo>
                <a:lnTo>
                  <a:pt x="405" y="306"/>
                </a:lnTo>
                <a:lnTo>
                  <a:pt x="408" y="305"/>
                </a:lnTo>
                <a:lnTo>
                  <a:pt x="409" y="305"/>
                </a:lnTo>
                <a:lnTo>
                  <a:pt x="411" y="306"/>
                </a:lnTo>
                <a:lnTo>
                  <a:pt x="411" y="308"/>
                </a:lnTo>
                <a:lnTo>
                  <a:pt x="410" y="309"/>
                </a:lnTo>
                <a:lnTo>
                  <a:pt x="408" y="311"/>
                </a:lnTo>
                <a:lnTo>
                  <a:pt x="406" y="312"/>
                </a:lnTo>
                <a:lnTo>
                  <a:pt x="400" y="317"/>
                </a:lnTo>
                <a:lnTo>
                  <a:pt x="393" y="324"/>
                </a:lnTo>
                <a:lnTo>
                  <a:pt x="387" y="331"/>
                </a:lnTo>
                <a:lnTo>
                  <a:pt x="380" y="338"/>
                </a:lnTo>
                <a:lnTo>
                  <a:pt x="376" y="343"/>
                </a:lnTo>
                <a:lnTo>
                  <a:pt x="372" y="349"/>
                </a:lnTo>
                <a:lnTo>
                  <a:pt x="370" y="350"/>
                </a:lnTo>
                <a:lnTo>
                  <a:pt x="368" y="351"/>
                </a:lnTo>
                <a:lnTo>
                  <a:pt x="364" y="351"/>
                </a:lnTo>
                <a:lnTo>
                  <a:pt x="361" y="350"/>
                </a:lnTo>
                <a:lnTo>
                  <a:pt x="362" y="351"/>
                </a:lnTo>
                <a:lnTo>
                  <a:pt x="361" y="350"/>
                </a:lnTo>
                <a:close/>
                <a:moveTo>
                  <a:pt x="404" y="363"/>
                </a:moveTo>
                <a:lnTo>
                  <a:pt x="403" y="364"/>
                </a:lnTo>
                <a:lnTo>
                  <a:pt x="402" y="364"/>
                </a:lnTo>
                <a:lnTo>
                  <a:pt x="401" y="363"/>
                </a:lnTo>
                <a:lnTo>
                  <a:pt x="401" y="361"/>
                </a:lnTo>
                <a:lnTo>
                  <a:pt x="401" y="356"/>
                </a:lnTo>
                <a:lnTo>
                  <a:pt x="401" y="354"/>
                </a:lnTo>
                <a:lnTo>
                  <a:pt x="403" y="355"/>
                </a:lnTo>
                <a:lnTo>
                  <a:pt x="404" y="357"/>
                </a:lnTo>
                <a:lnTo>
                  <a:pt x="405" y="361"/>
                </a:lnTo>
                <a:lnTo>
                  <a:pt x="404" y="363"/>
                </a:lnTo>
                <a:lnTo>
                  <a:pt x="404" y="363"/>
                </a:lnTo>
                <a:lnTo>
                  <a:pt x="404" y="363"/>
                </a:lnTo>
                <a:close/>
                <a:moveTo>
                  <a:pt x="381" y="368"/>
                </a:moveTo>
                <a:lnTo>
                  <a:pt x="380" y="365"/>
                </a:lnTo>
                <a:lnTo>
                  <a:pt x="380" y="363"/>
                </a:lnTo>
                <a:lnTo>
                  <a:pt x="381" y="362"/>
                </a:lnTo>
                <a:lnTo>
                  <a:pt x="381" y="361"/>
                </a:lnTo>
                <a:lnTo>
                  <a:pt x="382" y="362"/>
                </a:lnTo>
                <a:lnTo>
                  <a:pt x="384" y="362"/>
                </a:lnTo>
                <a:lnTo>
                  <a:pt x="384" y="365"/>
                </a:lnTo>
                <a:lnTo>
                  <a:pt x="381" y="368"/>
                </a:lnTo>
                <a:lnTo>
                  <a:pt x="380" y="366"/>
                </a:lnTo>
                <a:lnTo>
                  <a:pt x="381" y="368"/>
                </a:lnTo>
                <a:close/>
                <a:moveTo>
                  <a:pt x="368" y="373"/>
                </a:moveTo>
                <a:lnTo>
                  <a:pt x="367" y="372"/>
                </a:lnTo>
                <a:lnTo>
                  <a:pt x="368" y="368"/>
                </a:lnTo>
                <a:lnTo>
                  <a:pt x="371" y="366"/>
                </a:lnTo>
                <a:lnTo>
                  <a:pt x="375" y="365"/>
                </a:lnTo>
                <a:lnTo>
                  <a:pt x="375" y="367"/>
                </a:lnTo>
                <a:lnTo>
                  <a:pt x="375" y="370"/>
                </a:lnTo>
                <a:lnTo>
                  <a:pt x="371" y="372"/>
                </a:lnTo>
                <a:lnTo>
                  <a:pt x="368" y="373"/>
                </a:lnTo>
                <a:lnTo>
                  <a:pt x="369" y="373"/>
                </a:lnTo>
                <a:lnTo>
                  <a:pt x="368" y="373"/>
                </a:lnTo>
                <a:close/>
                <a:moveTo>
                  <a:pt x="384" y="389"/>
                </a:moveTo>
                <a:lnTo>
                  <a:pt x="381" y="389"/>
                </a:lnTo>
                <a:lnTo>
                  <a:pt x="378" y="389"/>
                </a:lnTo>
                <a:lnTo>
                  <a:pt x="377" y="389"/>
                </a:lnTo>
                <a:lnTo>
                  <a:pt x="376" y="388"/>
                </a:lnTo>
                <a:lnTo>
                  <a:pt x="375" y="387"/>
                </a:lnTo>
                <a:lnTo>
                  <a:pt x="376" y="386"/>
                </a:lnTo>
                <a:lnTo>
                  <a:pt x="380" y="382"/>
                </a:lnTo>
                <a:lnTo>
                  <a:pt x="386" y="380"/>
                </a:lnTo>
                <a:lnTo>
                  <a:pt x="386" y="382"/>
                </a:lnTo>
                <a:lnTo>
                  <a:pt x="386" y="384"/>
                </a:lnTo>
                <a:lnTo>
                  <a:pt x="386" y="387"/>
                </a:lnTo>
                <a:lnTo>
                  <a:pt x="384" y="389"/>
                </a:lnTo>
                <a:lnTo>
                  <a:pt x="384" y="388"/>
                </a:lnTo>
                <a:lnTo>
                  <a:pt x="384" y="389"/>
                </a:lnTo>
                <a:close/>
                <a:moveTo>
                  <a:pt x="390" y="376"/>
                </a:moveTo>
                <a:lnTo>
                  <a:pt x="389" y="374"/>
                </a:lnTo>
                <a:lnTo>
                  <a:pt x="392" y="373"/>
                </a:lnTo>
                <a:lnTo>
                  <a:pt x="394" y="373"/>
                </a:lnTo>
                <a:lnTo>
                  <a:pt x="396" y="373"/>
                </a:lnTo>
                <a:lnTo>
                  <a:pt x="394" y="376"/>
                </a:lnTo>
                <a:lnTo>
                  <a:pt x="390" y="376"/>
                </a:lnTo>
                <a:close/>
                <a:moveTo>
                  <a:pt x="406" y="447"/>
                </a:moveTo>
                <a:lnTo>
                  <a:pt x="404" y="450"/>
                </a:lnTo>
                <a:lnTo>
                  <a:pt x="401" y="454"/>
                </a:lnTo>
                <a:lnTo>
                  <a:pt x="400" y="455"/>
                </a:lnTo>
                <a:lnTo>
                  <a:pt x="398" y="455"/>
                </a:lnTo>
                <a:lnTo>
                  <a:pt x="396" y="455"/>
                </a:lnTo>
                <a:lnTo>
                  <a:pt x="394" y="455"/>
                </a:lnTo>
                <a:lnTo>
                  <a:pt x="393" y="453"/>
                </a:lnTo>
                <a:lnTo>
                  <a:pt x="392" y="451"/>
                </a:lnTo>
                <a:lnTo>
                  <a:pt x="393" y="450"/>
                </a:lnTo>
                <a:lnTo>
                  <a:pt x="394" y="449"/>
                </a:lnTo>
                <a:lnTo>
                  <a:pt x="397" y="449"/>
                </a:lnTo>
                <a:lnTo>
                  <a:pt x="401" y="448"/>
                </a:lnTo>
                <a:lnTo>
                  <a:pt x="398" y="448"/>
                </a:lnTo>
                <a:lnTo>
                  <a:pt x="398" y="447"/>
                </a:lnTo>
                <a:lnTo>
                  <a:pt x="397" y="446"/>
                </a:lnTo>
                <a:lnTo>
                  <a:pt x="398" y="445"/>
                </a:lnTo>
                <a:lnTo>
                  <a:pt x="400" y="441"/>
                </a:lnTo>
                <a:lnTo>
                  <a:pt x="398" y="439"/>
                </a:lnTo>
                <a:lnTo>
                  <a:pt x="403" y="440"/>
                </a:lnTo>
                <a:lnTo>
                  <a:pt x="406" y="441"/>
                </a:lnTo>
                <a:lnTo>
                  <a:pt x="408" y="442"/>
                </a:lnTo>
                <a:lnTo>
                  <a:pt x="409" y="444"/>
                </a:lnTo>
                <a:lnTo>
                  <a:pt x="409" y="445"/>
                </a:lnTo>
                <a:lnTo>
                  <a:pt x="406" y="447"/>
                </a:lnTo>
                <a:lnTo>
                  <a:pt x="406" y="447"/>
                </a:lnTo>
                <a:lnTo>
                  <a:pt x="406" y="447"/>
                </a:lnTo>
                <a:close/>
                <a:moveTo>
                  <a:pt x="447" y="438"/>
                </a:moveTo>
                <a:lnTo>
                  <a:pt x="448" y="436"/>
                </a:lnTo>
                <a:lnTo>
                  <a:pt x="451" y="434"/>
                </a:lnTo>
                <a:lnTo>
                  <a:pt x="453" y="433"/>
                </a:lnTo>
                <a:lnTo>
                  <a:pt x="456" y="432"/>
                </a:lnTo>
                <a:lnTo>
                  <a:pt x="461" y="432"/>
                </a:lnTo>
                <a:lnTo>
                  <a:pt x="466" y="432"/>
                </a:lnTo>
                <a:lnTo>
                  <a:pt x="466" y="429"/>
                </a:lnTo>
                <a:lnTo>
                  <a:pt x="468" y="425"/>
                </a:lnTo>
                <a:lnTo>
                  <a:pt x="469" y="424"/>
                </a:lnTo>
                <a:lnTo>
                  <a:pt x="470" y="424"/>
                </a:lnTo>
                <a:lnTo>
                  <a:pt x="470" y="424"/>
                </a:lnTo>
                <a:lnTo>
                  <a:pt x="470" y="425"/>
                </a:lnTo>
                <a:lnTo>
                  <a:pt x="469" y="428"/>
                </a:lnTo>
                <a:lnTo>
                  <a:pt x="468" y="430"/>
                </a:lnTo>
                <a:lnTo>
                  <a:pt x="474" y="429"/>
                </a:lnTo>
                <a:lnTo>
                  <a:pt x="478" y="428"/>
                </a:lnTo>
                <a:lnTo>
                  <a:pt x="479" y="429"/>
                </a:lnTo>
                <a:lnTo>
                  <a:pt x="479" y="430"/>
                </a:lnTo>
                <a:lnTo>
                  <a:pt x="478" y="431"/>
                </a:lnTo>
                <a:lnTo>
                  <a:pt x="477" y="432"/>
                </a:lnTo>
                <a:lnTo>
                  <a:pt x="475" y="434"/>
                </a:lnTo>
                <a:lnTo>
                  <a:pt x="472" y="436"/>
                </a:lnTo>
                <a:lnTo>
                  <a:pt x="468" y="437"/>
                </a:lnTo>
                <a:lnTo>
                  <a:pt x="459" y="439"/>
                </a:lnTo>
                <a:lnTo>
                  <a:pt x="455" y="440"/>
                </a:lnTo>
                <a:lnTo>
                  <a:pt x="451" y="440"/>
                </a:lnTo>
                <a:lnTo>
                  <a:pt x="448" y="439"/>
                </a:lnTo>
                <a:lnTo>
                  <a:pt x="447" y="438"/>
                </a:lnTo>
                <a:lnTo>
                  <a:pt x="447" y="438"/>
                </a:lnTo>
                <a:lnTo>
                  <a:pt x="447" y="438"/>
                </a:lnTo>
                <a:close/>
                <a:moveTo>
                  <a:pt x="476" y="414"/>
                </a:moveTo>
                <a:lnTo>
                  <a:pt x="479" y="416"/>
                </a:lnTo>
                <a:lnTo>
                  <a:pt x="480" y="420"/>
                </a:lnTo>
                <a:lnTo>
                  <a:pt x="480" y="422"/>
                </a:lnTo>
                <a:lnTo>
                  <a:pt x="481" y="425"/>
                </a:lnTo>
                <a:lnTo>
                  <a:pt x="479" y="425"/>
                </a:lnTo>
                <a:lnTo>
                  <a:pt x="478" y="423"/>
                </a:lnTo>
                <a:lnTo>
                  <a:pt x="477" y="422"/>
                </a:lnTo>
                <a:lnTo>
                  <a:pt x="477" y="421"/>
                </a:lnTo>
                <a:lnTo>
                  <a:pt x="477" y="417"/>
                </a:lnTo>
                <a:lnTo>
                  <a:pt x="476" y="414"/>
                </a:lnTo>
                <a:close/>
                <a:moveTo>
                  <a:pt x="455" y="511"/>
                </a:moveTo>
                <a:lnTo>
                  <a:pt x="453" y="509"/>
                </a:lnTo>
                <a:lnTo>
                  <a:pt x="452" y="507"/>
                </a:lnTo>
                <a:lnTo>
                  <a:pt x="453" y="506"/>
                </a:lnTo>
                <a:lnTo>
                  <a:pt x="454" y="505"/>
                </a:lnTo>
                <a:lnTo>
                  <a:pt x="456" y="506"/>
                </a:lnTo>
                <a:lnTo>
                  <a:pt x="458" y="508"/>
                </a:lnTo>
                <a:lnTo>
                  <a:pt x="458" y="509"/>
                </a:lnTo>
                <a:lnTo>
                  <a:pt x="458" y="511"/>
                </a:lnTo>
                <a:lnTo>
                  <a:pt x="456" y="511"/>
                </a:lnTo>
                <a:lnTo>
                  <a:pt x="455" y="511"/>
                </a:lnTo>
                <a:lnTo>
                  <a:pt x="454" y="512"/>
                </a:lnTo>
                <a:lnTo>
                  <a:pt x="455" y="511"/>
                </a:lnTo>
                <a:close/>
                <a:moveTo>
                  <a:pt x="459" y="454"/>
                </a:moveTo>
                <a:lnTo>
                  <a:pt x="458" y="454"/>
                </a:lnTo>
                <a:lnTo>
                  <a:pt x="456" y="454"/>
                </a:lnTo>
                <a:lnTo>
                  <a:pt x="456" y="453"/>
                </a:lnTo>
                <a:lnTo>
                  <a:pt x="456" y="450"/>
                </a:lnTo>
                <a:lnTo>
                  <a:pt x="459" y="448"/>
                </a:lnTo>
                <a:lnTo>
                  <a:pt x="461" y="447"/>
                </a:lnTo>
                <a:lnTo>
                  <a:pt x="463" y="448"/>
                </a:lnTo>
                <a:lnTo>
                  <a:pt x="464" y="449"/>
                </a:lnTo>
                <a:lnTo>
                  <a:pt x="466" y="449"/>
                </a:lnTo>
                <a:lnTo>
                  <a:pt x="467" y="448"/>
                </a:lnTo>
                <a:lnTo>
                  <a:pt x="470" y="447"/>
                </a:lnTo>
                <a:lnTo>
                  <a:pt x="472" y="446"/>
                </a:lnTo>
                <a:lnTo>
                  <a:pt x="474" y="447"/>
                </a:lnTo>
                <a:lnTo>
                  <a:pt x="476" y="450"/>
                </a:lnTo>
                <a:lnTo>
                  <a:pt x="467" y="450"/>
                </a:lnTo>
                <a:lnTo>
                  <a:pt x="459" y="454"/>
                </a:lnTo>
                <a:lnTo>
                  <a:pt x="460" y="453"/>
                </a:lnTo>
                <a:lnTo>
                  <a:pt x="459" y="454"/>
                </a:lnTo>
                <a:close/>
                <a:moveTo>
                  <a:pt x="479" y="494"/>
                </a:moveTo>
                <a:lnTo>
                  <a:pt x="477" y="495"/>
                </a:lnTo>
                <a:lnTo>
                  <a:pt x="475" y="496"/>
                </a:lnTo>
                <a:lnTo>
                  <a:pt x="472" y="496"/>
                </a:lnTo>
                <a:lnTo>
                  <a:pt x="471" y="494"/>
                </a:lnTo>
                <a:lnTo>
                  <a:pt x="472" y="491"/>
                </a:lnTo>
                <a:lnTo>
                  <a:pt x="476" y="490"/>
                </a:lnTo>
                <a:lnTo>
                  <a:pt x="477" y="490"/>
                </a:lnTo>
                <a:lnTo>
                  <a:pt x="478" y="490"/>
                </a:lnTo>
                <a:lnTo>
                  <a:pt x="479" y="491"/>
                </a:lnTo>
                <a:lnTo>
                  <a:pt x="479" y="494"/>
                </a:lnTo>
                <a:lnTo>
                  <a:pt x="479" y="494"/>
                </a:lnTo>
                <a:lnTo>
                  <a:pt x="479" y="494"/>
                </a:lnTo>
                <a:close/>
                <a:moveTo>
                  <a:pt x="476" y="481"/>
                </a:moveTo>
                <a:lnTo>
                  <a:pt x="475" y="480"/>
                </a:lnTo>
                <a:lnTo>
                  <a:pt x="475" y="478"/>
                </a:lnTo>
                <a:lnTo>
                  <a:pt x="476" y="475"/>
                </a:lnTo>
                <a:lnTo>
                  <a:pt x="478" y="475"/>
                </a:lnTo>
                <a:lnTo>
                  <a:pt x="480" y="478"/>
                </a:lnTo>
                <a:lnTo>
                  <a:pt x="484" y="480"/>
                </a:lnTo>
                <a:lnTo>
                  <a:pt x="481" y="481"/>
                </a:lnTo>
                <a:lnTo>
                  <a:pt x="479" y="482"/>
                </a:lnTo>
                <a:lnTo>
                  <a:pt x="478" y="483"/>
                </a:lnTo>
                <a:lnTo>
                  <a:pt x="476" y="481"/>
                </a:lnTo>
                <a:lnTo>
                  <a:pt x="477" y="482"/>
                </a:lnTo>
                <a:lnTo>
                  <a:pt x="476" y="481"/>
                </a:lnTo>
                <a:close/>
                <a:moveTo>
                  <a:pt x="458" y="390"/>
                </a:moveTo>
                <a:lnTo>
                  <a:pt x="455" y="395"/>
                </a:lnTo>
                <a:lnTo>
                  <a:pt x="453" y="399"/>
                </a:lnTo>
                <a:lnTo>
                  <a:pt x="448" y="404"/>
                </a:lnTo>
                <a:lnTo>
                  <a:pt x="444" y="407"/>
                </a:lnTo>
                <a:lnTo>
                  <a:pt x="439" y="413"/>
                </a:lnTo>
                <a:lnTo>
                  <a:pt x="434" y="419"/>
                </a:lnTo>
                <a:lnTo>
                  <a:pt x="427" y="423"/>
                </a:lnTo>
                <a:lnTo>
                  <a:pt x="420" y="426"/>
                </a:lnTo>
                <a:lnTo>
                  <a:pt x="419" y="428"/>
                </a:lnTo>
                <a:lnTo>
                  <a:pt x="418" y="430"/>
                </a:lnTo>
                <a:lnTo>
                  <a:pt x="415" y="431"/>
                </a:lnTo>
                <a:lnTo>
                  <a:pt x="415" y="431"/>
                </a:lnTo>
                <a:lnTo>
                  <a:pt x="415" y="431"/>
                </a:lnTo>
                <a:lnTo>
                  <a:pt x="414" y="430"/>
                </a:lnTo>
                <a:lnTo>
                  <a:pt x="413" y="429"/>
                </a:lnTo>
                <a:lnTo>
                  <a:pt x="411" y="428"/>
                </a:lnTo>
                <a:lnTo>
                  <a:pt x="411" y="426"/>
                </a:lnTo>
                <a:lnTo>
                  <a:pt x="412" y="425"/>
                </a:lnTo>
                <a:lnTo>
                  <a:pt x="414" y="424"/>
                </a:lnTo>
                <a:lnTo>
                  <a:pt x="417" y="424"/>
                </a:lnTo>
                <a:lnTo>
                  <a:pt x="420" y="423"/>
                </a:lnTo>
                <a:lnTo>
                  <a:pt x="421" y="421"/>
                </a:lnTo>
                <a:lnTo>
                  <a:pt x="425" y="419"/>
                </a:lnTo>
                <a:lnTo>
                  <a:pt x="427" y="417"/>
                </a:lnTo>
                <a:lnTo>
                  <a:pt x="429" y="416"/>
                </a:lnTo>
                <a:lnTo>
                  <a:pt x="430" y="412"/>
                </a:lnTo>
                <a:lnTo>
                  <a:pt x="431" y="409"/>
                </a:lnTo>
                <a:lnTo>
                  <a:pt x="431" y="407"/>
                </a:lnTo>
                <a:lnTo>
                  <a:pt x="429" y="406"/>
                </a:lnTo>
                <a:lnTo>
                  <a:pt x="427" y="406"/>
                </a:lnTo>
                <a:lnTo>
                  <a:pt x="423" y="404"/>
                </a:lnTo>
                <a:lnTo>
                  <a:pt x="421" y="403"/>
                </a:lnTo>
                <a:lnTo>
                  <a:pt x="418" y="401"/>
                </a:lnTo>
                <a:lnTo>
                  <a:pt x="415" y="403"/>
                </a:lnTo>
                <a:lnTo>
                  <a:pt x="413" y="408"/>
                </a:lnTo>
                <a:lnTo>
                  <a:pt x="413" y="413"/>
                </a:lnTo>
                <a:lnTo>
                  <a:pt x="411" y="415"/>
                </a:lnTo>
                <a:lnTo>
                  <a:pt x="410" y="414"/>
                </a:lnTo>
                <a:lnTo>
                  <a:pt x="409" y="412"/>
                </a:lnTo>
                <a:lnTo>
                  <a:pt x="408" y="409"/>
                </a:lnTo>
                <a:lnTo>
                  <a:pt x="408" y="407"/>
                </a:lnTo>
                <a:lnTo>
                  <a:pt x="410" y="404"/>
                </a:lnTo>
                <a:lnTo>
                  <a:pt x="412" y="401"/>
                </a:lnTo>
                <a:lnTo>
                  <a:pt x="414" y="399"/>
                </a:lnTo>
                <a:lnTo>
                  <a:pt x="418" y="399"/>
                </a:lnTo>
                <a:lnTo>
                  <a:pt x="422" y="399"/>
                </a:lnTo>
                <a:lnTo>
                  <a:pt x="425" y="399"/>
                </a:lnTo>
                <a:lnTo>
                  <a:pt x="427" y="398"/>
                </a:lnTo>
                <a:lnTo>
                  <a:pt x="428" y="397"/>
                </a:lnTo>
                <a:lnTo>
                  <a:pt x="430" y="397"/>
                </a:lnTo>
                <a:lnTo>
                  <a:pt x="431" y="396"/>
                </a:lnTo>
                <a:lnTo>
                  <a:pt x="431" y="396"/>
                </a:lnTo>
                <a:lnTo>
                  <a:pt x="431" y="395"/>
                </a:lnTo>
                <a:lnTo>
                  <a:pt x="430" y="394"/>
                </a:lnTo>
                <a:lnTo>
                  <a:pt x="427" y="394"/>
                </a:lnTo>
                <a:lnTo>
                  <a:pt x="423" y="394"/>
                </a:lnTo>
                <a:lnTo>
                  <a:pt x="422" y="394"/>
                </a:lnTo>
                <a:lnTo>
                  <a:pt x="421" y="394"/>
                </a:lnTo>
                <a:lnTo>
                  <a:pt x="420" y="392"/>
                </a:lnTo>
                <a:lnTo>
                  <a:pt x="420" y="390"/>
                </a:lnTo>
                <a:lnTo>
                  <a:pt x="422" y="390"/>
                </a:lnTo>
                <a:lnTo>
                  <a:pt x="425" y="390"/>
                </a:lnTo>
                <a:lnTo>
                  <a:pt x="426" y="388"/>
                </a:lnTo>
                <a:lnTo>
                  <a:pt x="428" y="387"/>
                </a:lnTo>
                <a:lnTo>
                  <a:pt x="430" y="389"/>
                </a:lnTo>
                <a:lnTo>
                  <a:pt x="435" y="390"/>
                </a:lnTo>
                <a:lnTo>
                  <a:pt x="437" y="388"/>
                </a:lnTo>
                <a:lnTo>
                  <a:pt x="441" y="386"/>
                </a:lnTo>
                <a:lnTo>
                  <a:pt x="443" y="387"/>
                </a:lnTo>
                <a:lnTo>
                  <a:pt x="444" y="389"/>
                </a:lnTo>
                <a:lnTo>
                  <a:pt x="446" y="389"/>
                </a:lnTo>
                <a:lnTo>
                  <a:pt x="446" y="388"/>
                </a:lnTo>
                <a:lnTo>
                  <a:pt x="447" y="388"/>
                </a:lnTo>
                <a:lnTo>
                  <a:pt x="450" y="387"/>
                </a:lnTo>
                <a:lnTo>
                  <a:pt x="453" y="383"/>
                </a:lnTo>
                <a:lnTo>
                  <a:pt x="456" y="380"/>
                </a:lnTo>
                <a:lnTo>
                  <a:pt x="459" y="379"/>
                </a:lnTo>
                <a:lnTo>
                  <a:pt x="459" y="378"/>
                </a:lnTo>
                <a:lnTo>
                  <a:pt x="459" y="376"/>
                </a:lnTo>
                <a:lnTo>
                  <a:pt x="456" y="375"/>
                </a:lnTo>
                <a:lnTo>
                  <a:pt x="450" y="373"/>
                </a:lnTo>
                <a:lnTo>
                  <a:pt x="443" y="371"/>
                </a:lnTo>
                <a:lnTo>
                  <a:pt x="450" y="370"/>
                </a:lnTo>
                <a:lnTo>
                  <a:pt x="456" y="370"/>
                </a:lnTo>
                <a:lnTo>
                  <a:pt x="462" y="372"/>
                </a:lnTo>
                <a:lnTo>
                  <a:pt x="468" y="373"/>
                </a:lnTo>
                <a:lnTo>
                  <a:pt x="470" y="373"/>
                </a:lnTo>
                <a:lnTo>
                  <a:pt x="471" y="371"/>
                </a:lnTo>
                <a:lnTo>
                  <a:pt x="472" y="368"/>
                </a:lnTo>
                <a:lnTo>
                  <a:pt x="474" y="366"/>
                </a:lnTo>
                <a:lnTo>
                  <a:pt x="475" y="366"/>
                </a:lnTo>
                <a:lnTo>
                  <a:pt x="476" y="367"/>
                </a:lnTo>
                <a:lnTo>
                  <a:pt x="477" y="366"/>
                </a:lnTo>
                <a:lnTo>
                  <a:pt x="478" y="364"/>
                </a:lnTo>
                <a:lnTo>
                  <a:pt x="480" y="363"/>
                </a:lnTo>
                <a:lnTo>
                  <a:pt x="483" y="361"/>
                </a:lnTo>
                <a:lnTo>
                  <a:pt x="485" y="357"/>
                </a:lnTo>
                <a:lnTo>
                  <a:pt x="487" y="354"/>
                </a:lnTo>
                <a:lnTo>
                  <a:pt x="491" y="347"/>
                </a:lnTo>
                <a:lnTo>
                  <a:pt x="493" y="339"/>
                </a:lnTo>
                <a:lnTo>
                  <a:pt x="492" y="337"/>
                </a:lnTo>
                <a:lnTo>
                  <a:pt x="492" y="333"/>
                </a:lnTo>
                <a:lnTo>
                  <a:pt x="491" y="331"/>
                </a:lnTo>
                <a:lnTo>
                  <a:pt x="493" y="330"/>
                </a:lnTo>
                <a:lnTo>
                  <a:pt x="494" y="331"/>
                </a:lnTo>
                <a:lnTo>
                  <a:pt x="495" y="332"/>
                </a:lnTo>
                <a:lnTo>
                  <a:pt x="497" y="333"/>
                </a:lnTo>
                <a:lnTo>
                  <a:pt x="500" y="333"/>
                </a:lnTo>
                <a:lnTo>
                  <a:pt x="499" y="330"/>
                </a:lnTo>
                <a:lnTo>
                  <a:pt x="499" y="329"/>
                </a:lnTo>
                <a:lnTo>
                  <a:pt x="499" y="326"/>
                </a:lnTo>
                <a:lnTo>
                  <a:pt x="500" y="325"/>
                </a:lnTo>
                <a:lnTo>
                  <a:pt x="502" y="322"/>
                </a:lnTo>
                <a:lnTo>
                  <a:pt x="505" y="320"/>
                </a:lnTo>
                <a:lnTo>
                  <a:pt x="509" y="316"/>
                </a:lnTo>
                <a:lnTo>
                  <a:pt x="511" y="314"/>
                </a:lnTo>
                <a:lnTo>
                  <a:pt x="512" y="313"/>
                </a:lnTo>
                <a:lnTo>
                  <a:pt x="515" y="313"/>
                </a:lnTo>
                <a:lnTo>
                  <a:pt x="516" y="313"/>
                </a:lnTo>
                <a:lnTo>
                  <a:pt x="519" y="314"/>
                </a:lnTo>
                <a:lnTo>
                  <a:pt x="515" y="315"/>
                </a:lnTo>
                <a:lnTo>
                  <a:pt x="512" y="318"/>
                </a:lnTo>
                <a:lnTo>
                  <a:pt x="509" y="322"/>
                </a:lnTo>
                <a:lnTo>
                  <a:pt x="507" y="325"/>
                </a:lnTo>
                <a:lnTo>
                  <a:pt x="507" y="328"/>
                </a:lnTo>
                <a:lnTo>
                  <a:pt x="507" y="330"/>
                </a:lnTo>
                <a:lnTo>
                  <a:pt x="504" y="331"/>
                </a:lnTo>
                <a:lnTo>
                  <a:pt x="501" y="332"/>
                </a:lnTo>
                <a:lnTo>
                  <a:pt x="503" y="333"/>
                </a:lnTo>
                <a:lnTo>
                  <a:pt x="507" y="336"/>
                </a:lnTo>
                <a:lnTo>
                  <a:pt x="509" y="336"/>
                </a:lnTo>
                <a:lnTo>
                  <a:pt x="512" y="334"/>
                </a:lnTo>
                <a:lnTo>
                  <a:pt x="509" y="339"/>
                </a:lnTo>
                <a:lnTo>
                  <a:pt x="505" y="342"/>
                </a:lnTo>
                <a:lnTo>
                  <a:pt x="502" y="346"/>
                </a:lnTo>
                <a:lnTo>
                  <a:pt x="496" y="348"/>
                </a:lnTo>
                <a:lnTo>
                  <a:pt x="495" y="349"/>
                </a:lnTo>
                <a:lnTo>
                  <a:pt x="493" y="350"/>
                </a:lnTo>
                <a:lnTo>
                  <a:pt x="493" y="351"/>
                </a:lnTo>
                <a:lnTo>
                  <a:pt x="492" y="354"/>
                </a:lnTo>
                <a:lnTo>
                  <a:pt x="492" y="358"/>
                </a:lnTo>
                <a:lnTo>
                  <a:pt x="488" y="362"/>
                </a:lnTo>
                <a:lnTo>
                  <a:pt x="481" y="368"/>
                </a:lnTo>
                <a:lnTo>
                  <a:pt x="476" y="376"/>
                </a:lnTo>
                <a:lnTo>
                  <a:pt x="471" y="381"/>
                </a:lnTo>
                <a:lnTo>
                  <a:pt x="468" y="384"/>
                </a:lnTo>
                <a:lnTo>
                  <a:pt x="463" y="388"/>
                </a:lnTo>
                <a:lnTo>
                  <a:pt x="458" y="390"/>
                </a:lnTo>
                <a:lnTo>
                  <a:pt x="462" y="389"/>
                </a:lnTo>
                <a:lnTo>
                  <a:pt x="458" y="390"/>
                </a:lnTo>
                <a:close/>
                <a:moveTo>
                  <a:pt x="507" y="389"/>
                </a:moveTo>
                <a:lnTo>
                  <a:pt x="504" y="394"/>
                </a:lnTo>
                <a:lnTo>
                  <a:pt x="500" y="396"/>
                </a:lnTo>
                <a:lnTo>
                  <a:pt x="499" y="396"/>
                </a:lnTo>
                <a:lnTo>
                  <a:pt x="499" y="395"/>
                </a:lnTo>
                <a:lnTo>
                  <a:pt x="499" y="395"/>
                </a:lnTo>
                <a:lnTo>
                  <a:pt x="499" y="392"/>
                </a:lnTo>
                <a:lnTo>
                  <a:pt x="500" y="390"/>
                </a:lnTo>
                <a:lnTo>
                  <a:pt x="502" y="388"/>
                </a:lnTo>
                <a:lnTo>
                  <a:pt x="504" y="388"/>
                </a:lnTo>
                <a:lnTo>
                  <a:pt x="507" y="389"/>
                </a:lnTo>
                <a:lnTo>
                  <a:pt x="505" y="390"/>
                </a:lnTo>
                <a:lnTo>
                  <a:pt x="507" y="389"/>
                </a:lnTo>
                <a:close/>
                <a:moveTo>
                  <a:pt x="491" y="474"/>
                </a:moveTo>
                <a:lnTo>
                  <a:pt x="488" y="472"/>
                </a:lnTo>
                <a:lnTo>
                  <a:pt x="487" y="470"/>
                </a:lnTo>
                <a:lnTo>
                  <a:pt x="488" y="469"/>
                </a:lnTo>
                <a:lnTo>
                  <a:pt x="488" y="467"/>
                </a:lnTo>
                <a:lnTo>
                  <a:pt x="489" y="467"/>
                </a:lnTo>
                <a:lnTo>
                  <a:pt x="492" y="467"/>
                </a:lnTo>
                <a:lnTo>
                  <a:pt x="493" y="469"/>
                </a:lnTo>
                <a:lnTo>
                  <a:pt x="494" y="471"/>
                </a:lnTo>
                <a:lnTo>
                  <a:pt x="493" y="473"/>
                </a:lnTo>
                <a:lnTo>
                  <a:pt x="491" y="474"/>
                </a:lnTo>
                <a:lnTo>
                  <a:pt x="491" y="474"/>
                </a:lnTo>
                <a:lnTo>
                  <a:pt x="491" y="474"/>
                </a:lnTo>
                <a:close/>
                <a:moveTo>
                  <a:pt x="496" y="413"/>
                </a:moveTo>
                <a:lnTo>
                  <a:pt x="489" y="416"/>
                </a:lnTo>
                <a:lnTo>
                  <a:pt x="485" y="417"/>
                </a:lnTo>
                <a:lnTo>
                  <a:pt x="485" y="415"/>
                </a:lnTo>
                <a:lnTo>
                  <a:pt x="486" y="414"/>
                </a:lnTo>
                <a:lnTo>
                  <a:pt x="487" y="412"/>
                </a:lnTo>
                <a:lnTo>
                  <a:pt x="489" y="411"/>
                </a:lnTo>
                <a:lnTo>
                  <a:pt x="495" y="408"/>
                </a:lnTo>
                <a:lnTo>
                  <a:pt x="499" y="407"/>
                </a:lnTo>
                <a:lnTo>
                  <a:pt x="503" y="407"/>
                </a:lnTo>
                <a:lnTo>
                  <a:pt x="508" y="408"/>
                </a:lnTo>
                <a:lnTo>
                  <a:pt x="512" y="409"/>
                </a:lnTo>
                <a:lnTo>
                  <a:pt x="515" y="413"/>
                </a:lnTo>
                <a:lnTo>
                  <a:pt x="515" y="415"/>
                </a:lnTo>
                <a:lnTo>
                  <a:pt x="513" y="416"/>
                </a:lnTo>
                <a:lnTo>
                  <a:pt x="511" y="417"/>
                </a:lnTo>
                <a:lnTo>
                  <a:pt x="508" y="417"/>
                </a:lnTo>
                <a:lnTo>
                  <a:pt x="501" y="415"/>
                </a:lnTo>
                <a:lnTo>
                  <a:pt x="496" y="413"/>
                </a:lnTo>
                <a:lnTo>
                  <a:pt x="497" y="414"/>
                </a:lnTo>
                <a:lnTo>
                  <a:pt x="496" y="413"/>
                </a:lnTo>
                <a:close/>
                <a:moveTo>
                  <a:pt x="515" y="438"/>
                </a:moveTo>
                <a:lnTo>
                  <a:pt x="512" y="437"/>
                </a:lnTo>
                <a:lnTo>
                  <a:pt x="509" y="433"/>
                </a:lnTo>
                <a:lnTo>
                  <a:pt x="508" y="432"/>
                </a:lnTo>
                <a:lnTo>
                  <a:pt x="508" y="431"/>
                </a:lnTo>
                <a:lnTo>
                  <a:pt x="508" y="430"/>
                </a:lnTo>
                <a:lnTo>
                  <a:pt x="509" y="429"/>
                </a:lnTo>
                <a:lnTo>
                  <a:pt x="513" y="430"/>
                </a:lnTo>
                <a:lnTo>
                  <a:pt x="516" y="433"/>
                </a:lnTo>
                <a:lnTo>
                  <a:pt x="517" y="434"/>
                </a:lnTo>
                <a:lnTo>
                  <a:pt x="517" y="436"/>
                </a:lnTo>
                <a:lnTo>
                  <a:pt x="518" y="436"/>
                </a:lnTo>
                <a:lnTo>
                  <a:pt x="517" y="437"/>
                </a:lnTo>
                <a:lnTo>
                  <a:pt x="516" y="438"/>
                </a:lnTo>
                <a:lnTo>
                  <a:pt x="515" y="438"/>
                </a:lnTo>
                <a:lnTo>
                  <a:pt x="513" y="438"/>
                </a:lnTo>
                <a:lnTo>
                  <a:pt x="515" y="438"/>
                </a:lnTo>
                <a:close/>
                <a:moveTo>
                  <a:pt x="526" y="416"/>
                </a:moveTo>
                <a:lnTo>
                  <a:pt x="524" y="420"/>
                </a:lnTo>
                <a:lnTo>
                  <a:pt x="522" y="422"/>
                </a:lnTo>
                <a:lnTo>
                  <a:pt x="519" y="424"/>
                </a:lnTo>
                <a:lnTo>
                  <a:pt x="516" y="424"/>
                </a:lnTo>
                <a:lnTo>
                  <a:pt x="513" y="423"/>
                </a:lnTo>
                <a:lnTo>
                  <a:pt x="512" y="422"/>
                </a:lnTo>
                <a:lnTo>
                  <a:pt x="513" y="421"/>
                </a:lnTo>
                <a:lnTo>
                  <a:pt x="515" y="419"/>
                </a:lnTo>
                <a:lnTo>
                  <a:pt x="516" y="415"/>
                </a:lnTo>
                <a:lnTo>
                  <a:pt x="519" y="412"/>
                </a:lnTo>
                <a:lnTo>
                  <a:pt x="521" y="411"/>
                </a:lnTo>
                <a:lnTo>
                  <a:pt x="525" y="412"/>
                </a:lnTo>
                <a:lnTo>
                  <a:pt x="526" y="413"/>
                </a:lnTo>
                <a:lnTo>
                  <a:pt x="526" y="414"/>
                </a:lnTo>
                <a:lnTo>
                  <a:pt x="526" y="415"/>
                </a:lnTo>
                <a:lnTo>
                  <a:pt x="526" y="416"/>
                </a:lnTo>
                <a:lnTo>
                  <a:pt x="526" y="416"/>
                </a:lnTo>
                <a:lnTo>
                  <a:pt x="526" y="416"/>
                </a:lnTo>
                <a:close/>
                <a:moveTo>
                  <a:pt x="532" y="361"/>
                </a:moveTo>
                <a:lnTo>
                  <a:pt x="529" y="359"/>
                </a:lnTo>
                <a:lnTo>
                  <a:pt x="527" y="357"/>
                </a:lnTo>
                <a:lnTo>
                  <a:pt x="526" y="356"/>
                </a:lnTo>
                <a:lnTo>
                  <a:pt x="525" y="355"/>
                </a:lnTo>
                <a:lnTo>
                  <a:pt x="526" y="355"/>
                </a:lnTo>
                <a:lnTo>
                  <a:pt x="527" y="354"/>
                </a:lnTo>
                <a:lnTo>
                  <a:pt x="529" y="355"/>
                </a:lnTo>
                <a:lnTo>
                  <a:pt x="532" y="357"/>
                </a:lnTo>
                <a:lnTo>
                  <a:pt x="533" y="359"/>
                </a:lnTo>
                <a:lnTo>
                  <a:pt x="532" y="361"/>
                </a:lnTo>
                <a:lnTo>
                  <a:pt x="532" y="359"/>
                </a:lnTo>
                <a:lnTo>
                  <a:pt x="532" y="361"/>
                </a:lnTo>
                <a:close/>
                <a:moveTo>
                  <a:pt x="541" y="384"/>
                </a:moveTo>
                <a:lnTo>
                  <a:pt x="537" y="387"/>
                </a:lnTo>
                <a:lnTo>
                  <a:pt x="534" y="387"/>
                </a:lnTo>
                <a:lnTo>
                  <a:pt x="536" y="384"/>
                </a:lnTo>
                <a:lnTo>
                  <a:pt x="538" y="383"/>
                </a:lnTo>
                <a:lnTo>
                  <a:pt x="541" y="383"/>
                </a:lnTo>
                <a:lnTo>
                  <a:pt x="541" y="384"/>
                </a:lnTo>
                <a:lnTo>
                  <a:pt x="540" y="386"/>
                </a:lnTo>
                <a:lnTo>
                  <a:pt x="541" y="384"/>
                </a:lnTo>
                <a:close/>
                <a:moveTo>
                  <a:pt x="559" y="279"/>
                </a:moveTo>
                <a:lnTo>
                  <a:pt x="557" y="280"/>
                </a:lnTo>
                <a:lnTo>
                  <a:pt x="554" y="280"/>
                </a:lnTo>
                <a:lnTo>
                  <a:pt x="552" y="280"/>
                </a:lnTo>
                <a:lnTo>
                  <a:pt x="550" y="279"/>
                </a:lnTo>
                <a:lnTo>
                  <a:pt x="548" y="276"/>
                </a:lnTo>
                <a:lnTo>
                  <a:pt x="545" y="274"/>
                </a:lnTo>
                <a:lnTo>
                  <a:pt x="543" y="274"/>
                </a:lnTo>
                <a:lnTo>
                  <a:pt x="542" y="274"/>
                </a:lnTo>
                <a:lnTo>
                  <a:pt x="541" y="272"/>
                </a:lnTo>
                <a:lnTo>
                  <a:pt x="542" y="270"/>
                </a:lnTo>
                <a:lnTo>
                  <a:pt x="543" y="268"/>
                </a:lnTo>
                <a:lnTo>
                  <a:pt x="545" y="268"/>
                </a:lnTo>
                <a:lnTo>
                  <a:pt x="549" y="268"/>
                </a:lnTo>
                <a:lnTo>
                  <a:pt x="550" y="271"/>
                </a:lnTo>
                <a:lnTo>
                  <a:pt x="551" y="271"/>
                </a:lnTo>
                <a:lnTo>
                  <a:pt x="550" y="272"/>
                </a:lnTo>
                <a:lnTo>
                  <a:pt x="550" y="272"/>
                </a:lnTo>
                <a:lnTo>
                  <a:pt x="548" y="272"/>
                </a:lnTo>
                <a:lnTo>
                  <a:pt x="550" y="274"/>
                </a:lnTo>
                <a:lnTo>
                  <a:pt x="551" y="274"/>
                </a:lnTo>
                <a:lnTo>
                  <a:pt x="553" y="274"/>
                </a:lnTo>
                <a:lnTo>
                  <a:pt x="555" y="273"/>
                </a:lnTo>
                <a:lnTo>
                  <a:pt x="557" y="274"/>
                </a:lnTo>
                <a:lnTo>
                  <a:pt x="558" y="275"/>
                </a:lnTo>
                <a:lnTo>
                  <a:pt x="559" y="276"/>
                </a:lnTo>
                <a:lnTo>
                  <a:pt x="559" y="279"/>
                </a:lnTo>
                <a:lnTo>
                  <a:pt x="559" y="279"/>
                </a:lnTo>
                <a:lnTo>
                  <a:pt x="559" y="279"/>
                </a:lnTo>
                <a:close/>
                <a:moveTo>
                  <a:pt x="560" y="237"/>
                </a:moveTo>
                <a:lnTo>
                  <a:pt x="559" y="239"/>
                </a:lnTo>
                <a:lnTo>
                  <a:pt x="557" y="238"/>
                </a:lnTo>
                <a:lnTo>
                  <a:pt x="555" y="238"/>
                </a:lnTo>
                <a:lnTo>
                  <a:pt x="553" y="237"/>
                </a:lnTo>
                <a:lnTo>
                  <a:pt x="552" y="238"/>
                </a:lnTo>
                <a:lnTo>
                  <a:pt x="554" y="239"/>
                </a:lnTo>
                <a:lnTo>
                  <a:pt x="555" y="240"/>
                </a:lnTo>
                <a:lnTo>
                  <a:pt x="558" y="241"/>
                </a:lnTo>
                <a:lnTo>
                  <a:pt x="559" y="245"/>
                </a:lnTo>
                <a:lnTo>
                  <a:pt x="559" y="250"/>
                </a:lnTo>
                <a:lnTo>
                  <a:pt x="560" y="255"/>
                </a:lnTo>
                <a:lnTo>
                  <a:pt x="559" y="258"/>
                </a:lnTo>
                <a:lnTo>
                  <a:pt x="557" y="259"/>
                </a:lnTo>
                <a:lnTo>
                  <a:pt x="554" y="258"/>
                </a:lnTo>
                <a:lnTo>
                  <a:pt x="552" y="257"/>
                </a:lnTo>
                <a:lnTo>
                  <a:pt x="551" y="256"/>
                </a:lnTo>
                <a:lnTo>
                  <a:pt x="550" y="254"/>
                </a:lnTo>
                <a:lnTo>
                  <a:pt x="550" y="253"/>
                </a:lnTo>
                <a:lnTo>
                  <a:pt x="546" y="251"/>
                </a:lnTo>
                <a:lnTo>
                  <a:pt x="544" y="250"/>
                </a:lnTo>
                <a:lnTo>
                  <a:pt x="544" y="248"/>
                </a:lnTo>
                <a:lnTo>
                  <a:pt x="545" y="245"/>
                </a:lnTo>
                <a:lnTo>
                  <a:pt x="549" y="241"/>
                </a:lnTo>
                <a:lnTo>
                  <a:pt x="551" y="239"/>
                </a:lnTo>
                <a:lnTo>
                  <a:pt x="554" y="235"/>
                </a:lnTo>
                <a:lnTo>
                  <a:pt x="557" y="232"/>
                </a:lnTo>
                <a:lnTo>
                  <a:pt x="558" y="232"/>
                </a:lnTo>
                <a:lnTo>
                  <a:pt x="560" y="233"/>
                </a:lnTo>
                <a:lnTo>
                  <a:pt x="560" y="235"/>
                </a:lnTo>
                <a:lnTo>
                  <a:pt x="560" y="237"/>
                </a:lnTo>
                <a:lnTo>
                  <a:pt x="560" y="238"/>
                </a:lnTo>
                <a:lnTo>
                  <a:pt x="560" y="237"/>
                </a:lnTo>
                <a:close/>
                <a:moveTo>
                  <a:pt x="558" y="231"/>
                </a:moveTo>
                <a:lnTo>
                  <a:pt x="560" y="229"/>
                </a:lnTo>
                <a:lnTo>
                  <a:pt x="561" y="226"/>
                </a:lnTo>
                <a:lnTo>
                  <a:pt x="560" y="229"/>
                </a:lnTo>
                <a:lnTo>
                  <a:pt x="558" y="231"/>
                </a:lnTo>
                <a:close/>
                <a:moveTo>
                  <a:pt x="568" y="257"/>
                </a:moveTo>
                <a:lnTo>
                  <a:pt x="566" y="257"/>
                </a:lnTo>
                <a:lnTo>
                  <a:pt x="566" y="257"/>
                </a:lnTo>
                <a:lnTo>
                  <a:pt x="566" y="256"/>
                </a:lnTo>
                <a:lnTo>
                  <a:pt x="567" y="255"/>
                </a:lnTo>
                <a:lnTo>
                  <a:pt x="569" y="254"/>
                </a:lnTo>
                <a:lnTo>
                  <a:pt x="570" y="253"/>
                </a:lnTo>
                <a:lnTo>
                  <a:pt x="571" y="248"/>
                </a:lnTo>
                <a:lnTo>
                  <a:pt x="574" y="246"/>
                </a:lnTo>
                <a:lnTo>
                  <a:pt x="576" y="246"/>
                </a:lnTo>
                <a:lnTo>
                  <a:pt x="577" y="247"/>
                </a:lnTo>
                <a:lnTo>
                  <a:pt x="577" y="249"/>
                </a:lnTo>
                <a:lnTo>
                  <a:pt x="576" y="251"/>
                </a:lnTo>
                <a:lnTo>
                  <a:pt x="571" y="256"/>
                </a:lnTo>
                <a:lnTo>
                  <a:pt x="568" y="257"/>
                </a:lnTo>
                <a:lnTo>
                  <a:pt x="568" y="257"/>
                </a:lnTo>
                <a:lnTo>
                  <a:pt x="568" y="257"/>
                </a:lnTo>
                <a:close/>
                <a:moveTo>
                  <a:pt x="579" y="334"/>
                </a:moveTo>
                <a:lnTo>
                  <a:pt x="576" y="333"/>
                </a:lnTo>
                <a:lnTo>
                  <a:pt x="574" y="331"/>
                </a:lnTo>
                <a:lnTo>
                  <a:pt x="574" y="329"/>
                </a:lnTo>
                <a:lnTo>
                  <a:pt x="574" y="328"/>
                </a:lnTo>
                <a:lnTo>
                  <a:pt x="575" y="326"/>
                </a:lnTo>
                <a:lnTo>
                  <a:pt x="577" y="325"/>
                </a:lnTo>
                <a:lnTo>
                  <a:pt x="578" y="325"/>
                </a:lnTo>
                <a:lnTo>
                  <a:pt x="579" y="325"/>
                </a:lnTo>
                <a:lnTo>
                  <a:pt x="581" y="326"/>
                </a:lnTo>
                <a:lnTo>
                  <a:pt x="581" y="328"/>
                </a:lnTo>
                <a:lnTo>
                  <a:pt x="581" y="330"/>
                </a:lnTo>
                <a:lnTo>
                  <a:pt x="582" y="331"/>
                </a:lnTo>
                <a:lnTo>
                  <a:pt x="582" y="333"/>
                </a:lnTo>
                <a:lnTo>
                  <a:pt x="579" y="334"/>
                </a:lnTo>
                <a:lnTo>
                  <a:pt x="578" y="334"/>
                </a:lnTo>
                <a:lnTo>
                  <a:pt x="579" y="334"/>
                </a:lnTo>
                <a:close/>
                <a:moveTo>
                  <a:pt x="603" y="183"/>
                </a:moveTo>
                <a:lnTo>
                  <a:pt x="601" y="192"/>
                </a:lnTo>
                <a:lnTo>
                  <a:pt x="599" y="200"/>
                </a:lnTo>
                <a:lnTo>
                  <a:pt x="598" y="208"/>
                </a:lnTo>
                <a:lnTo>
                  <a:pt x="594" y="215"/>
                </a:lnTo>
                <a:lnTo>
                  <a:pt x="593" y="216"/>
                </a:lnTo>
                <a:lnTo>
                  <a:pt x="592" y="217"/>
                </a:lnTo>
                <a:lnTo>
                  <a:pt x="592" y="220"/>
                </a:lnTo>
                <a:lnTo>
                  <a:pt x="592" y="221"/>
                </a:lnTo>
                <a:lnTo>
                  <a:pt x="592" y="222"/>
                </a:lnTo>
                <a:lnTo>
                  <a:pt x="590" y="223"/>
                </a:lnTo>
                <a:lnTo>
                  <a:pt x="587" y="223"/>
                </a:lnTo>
                <a:lnTo>
                  <a:pt x="586" y="222"/>
                </a:lnTo>
                <a:lnTo>
                  <a:pt x="584" y="220"/>
                </a:lnTo>
                <a:lnTo>
                  <a:pt x="581" y="220"/>
                </a:lnTo>
                <a:lnTo>
                  <a:pt x="583" y="222"/>
                </a:lnTo>
                <a:lnTo>
                  <a:pt x="585" y="224"/>
                </a:lnTo>
                <a:lnTo>
                  <a:pt x="587" y="225"/>
                </a:lnTo>
                <a:lnTo>
                  <a:pt x="587" y="226"/>
                </a:lnTo>
                <a:lnTo>
                  <a:pt x="586" y="230"/>
                </a:lnTo>
                <a:lnTo>
                  <a:pt x="583" y="233"/>
                </a:lnTo>
                <a:lnTo>
                  <a:pt x="579" y="237"/>
                </a:lnTo>
                <a:lnTo>
                  <a:pt x="577" y="239"/>
                </a:lnTo>
                <a:lnTo>
                  <a:pt x="575" y="237"/>
                </a:lnTo>
                <a:lnTo>
                  <a:pt x="575" y="235"/>
                </a:lnTo>
                <a:lnTo>
                  <a:pt x="576" y="233"/>
                </a:lnTo>
                <a:lnTo>
                  <a:pt x="576" y="232"/>
                </a:lnTo>
                <a:lnTo>
                  <a:pt x="577" y="226"/>
                </a:lnTo>
                <a:lnTo>
                  <a:pt x="576" y="221"/>
                </a:lnTo>
                <a:lnTo>
                  <a:pt x="576" y="217"/>
                </a:lnTo>
                <a:lnTo>
                  <a:pt x="577" y="213"/>
                </a:lnTo>
                <a:lnTo>
                  <a:pt x="577" y="212"/>
                </a:lnTo>
                <a:lnTo>
                  <a:pt x="576" y="209"/>
                </a:lnTo>
                <a:lnTo>
                  <a:pt x="575" y="209"/>
                </a:lnTo>
                <a:lnTo>
                  <a:pt x="573" y="209"/>
                </a:lnTo>
                <a:lnTo>
                  <a:pt x="574" y="206"/>
                </a:lnTo>
                <a:lnTo>
                  <a:pt x="577" y="202"/>
                </a:lnTo>
                <a:lnTo>
                  <a:pt x="579" y="199"/>
                </a:lnTo>
                <a:lnTo>
                  <a:pt x="582" y="197"/>
                </a:lnTo>
                <a:lnTo>
                  <a:pt x="590" y="188"/>
                </a:lnTo>
                <a:lnTo>
                  <a:pt x="599" y="180"/>
                </a:lnTo>
                <a:lnTo>
                  <a:pt x="599" y="182"/>
                </a:lnTo>
                <a:lnTo>
                  <a:pt x="599" y="183"/>
                </a:lnTo>
                <a:lnTo>
                  <a:pt x="600" y="182"/>
                </a:lnTo>
                <a:lnTo>
                  <a:pt x="601" y="180"/>
                </a:lnTo>
                <a:lnTo>
                  <a:pt x="602" y="180"/>
                </a:lnTo>
                <a:lnTo>
                  <a:pt x="603" y="181"/>
                </a:lnTo>
                <a:lnTo>
                  <a:pt x="604" y="182"/>
                </a:lnTo>
                <a:lnTo>
                  <a:pt x="603" y="183"/>
                </a:lnTo>
                <a:lnTo>
                  <a:pt x="602" y="185"/>
                </a:lnTo>
                <a:lnTo>
                  <a:pt x="603" y="183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9600" dirty="0"/>
            </a:lvl1pPr>
          </a:lstStyle>
          <a:p>
            <a:pPr lvl="0" algn="ctr"/>
            <a:endParaRPr lang="en-US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941FAD5-FA9A-BC44-B35A-740A39CBA663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C65232DA-9EDB-DC4F-9E25-9AF7653426F5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20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07">
            <a:extLst>
              <a:ext uri="{FF2B5EF4-FFF2-40B4-BE49-F238E27FC236}">
                <a16:creationId xmlns:a16="http://schemas.microsoft.com/office/drawing/2014/main" id="{339EB526-5BB3-3E4B-A80C-A8C2657D58F1}"/>
              </a:ext>
            </a:extLst>
          </p:cNvPr>
          <p:cNvSpPr>
            <a:spLocks noGrp="1" noEditPoints="1"/>
          </p:cNvSpPr>
          <p:nvPr>
            <p:ph type="pic" sz="quarter" idx="36"/>
          </p:nvPr>
        </p:nvSpPr>
        <p:spPr bwMode="auto">
          <a:xfrm>
            <a:off x="13489731" y="537487"/>
            <a:ext cx="7344816" cy="13195498"/>
          </a:xfrm>
          <a:custGeom>
            <a:avLst/>
            <a:gdLst>
              <a:gd name="T0" fmla="*/ 18657 w 22407"/>
              <a:gd name="T1" fmla="*/ 35156 h 43688"/>
              <a:gd name="T2" fmla="*/ 18344 w 22407"/>
              <a:gd name="T3" fmla="*/ 33156 h 43688"/>
              <a:gd name="T4" fmla="*/ 18375 w 22407"/>
              <a:gd name="T5" fmla="*/ 27938 h 43688"/>
              <a:gd name="T6" fmla="*/ 19500 w 22407"/>
              <a:gd name="T7" fmla="*/ 22844 h 43688"/>
              <a:gd name="T8" fmla="*/ 18282 w 22407"/>
              <a:gd name="T9" fmla="*/ 20469 h 43688"/>
              <a:gd name="T10" fmla="*/ 19219 w 22407"/>
              <a:gd name="T11" fmla="*/ 16844 h 43688"/>
              <a:gd name="T12" fmla="*/ 20625 w 22407"/>
              <a:gd name="T13" fmla="*/ 8000 h 43688"/>
              <a:gd name="T14" fmla="*/ 14157 w 22407"/>
              <a:gd name="T15" fmla="*/ 63 h 43688"/>
              <a:gd name="T16" fmla="*/ 188 w 22407"/>
              <a:gd name="T17" fmla="*/ 7531 h 43688"/>
              <a:gd name="T18" fmla="*/ 2657 w 22407"/>
              <a:gd name="T19" fmla="*/ 14156 h 43688"/>
              <a:gd name="T20" fmla="*/ 7657 w 22407"/>
              <a:gd name="T21" fmla="*/ 17031 h 43688"/>
              <a:gd name="T22" fmla="*/ 9500 w 22407"/>
              <a:gd name="T23" fmla="*/ 16938 h 43688"/>
              <a:gd name="T24" fmla="*/ 6844 w 22407"/>
              <a:gd name="T25" fmla="*/ 21844 h 43688"/>
              <a:gd name="T26" fmla="*/ 8844 w 22407"/>
              <a:gd name="T27" fmla="*/ 23438 h 43688"/>
              <a:gd name="T28" fmla="*/ 6532 w 22407"/>
              <a:gd name="T29" fmla="*/ 27938 h 43688"/>
              <a:gd name="T30" fmla="*/ 11688 w 22407"/>
              <a:gd name="T31" fmla="*/ 25406 h 43688"/>
              <a:gd name="T32" fmla="*/ 10969 w 22407"/>
              <a:gd name="T33" fmla="*/ 31563 h 43688"/>
              <a:gd name="T34" fmla="*/ 13469 w 22407"/>
              <a:gd name="T35" fmla="*/ 40375 h 43688"/>
              <a:gd name="T36" fmla="*/ 18438 w 22407"/>
              <a:gd name="T37" fmla="*/ 13219 h 43688"/>
              <a:gd name="T38" fmla="*/ 18063 w 22407"/>
              <a:gd name="T39" fmla="*/ 22844 h 43688"/>
              <a:gd name="T40" fmla="*/ 18344 w 22407"/>
              <a:gd name="T41" fmla="*/ 23977 h 43688"/>
              <a:gd name="T42" fmla="*/ 18344 w 22407"/>
              <a:gd name="T43" fmla="*/ 23991 h 43688"/>
              <a:gd name="T44" fmla="*/ 18344 w 22407"/>
              <a:gd name="T45" fmla="*/ 24000 h 43688"/>
              <a:gd name="T46" fmla="*/ 18344 w 22407"/>
              <a:gd name="T47" fmla="*/ 23995 h 43688"/>
              <a:gd name="T48" fmla="*/ 18344 w 22407"/>
              <a:gd name="T49" fmla="*/ 23980 h 43688"/>
              <a:gd name="T50" fmla="*/ 15375 w 22407"/>
              <a:gd name="T51" fmla="*/ 19844 h 43688"/>
              <a:gd name="T52" fmla="*/ 188 w 22407"/>
              <a:gd name="T53" fmla="*/ 6375 h 43688"/>
              <a:gd name="T54" fmla="*/ 22375 w 22407"/>
              <a:gd name="T55" fmla="*/ 11625 h 43688"/>
              <a:gd name="T56" fmla="*/ 18219 w 22407"/>
              <a:gd name="T57" fmla="*/ 32344 h 43688"/>
              <a:gd name="T58" fmla="*/ 18188 w 22407"/>
              <a:gd name="T59" fmla="*/ 19250 h 43688"/>
              <a:gd name="T60" fmla="*/ 18938 w 22407"/>
              <a:gd name="T61" fmla="*/ 34250 h 43688"/>
              <a:gd name="T62" fmla="*/ 3782 w 22407"/>
              <a:gd name="T63" fmla="*/ 12688 h 43688"/>
              <a:gd name="T64" fmla="*/ 9407 w 22407"/>
              <a:gd name="T65" fmla="*/ 16313 h 43688"/>
              <a:gd name="T66" fmla="*/ 8000 w 22407"/>
              <a:gd name="T67" fmla="*/ 23406 h 43688"/>
              <a:gd name="T68" fmla="*/ 8938 w 22407"/>
              <a:gd name="T69" fmla="*/ 23688 h 43688"/>
              <a:gd name="T70" fmla="*/ 9344 w 22407"/>
              <a:gd name="T71" fmla="*/ 22906 h 43688"/>
              <a:gd name="T72" fmla="*/ 11344 w 22407"/>
              <a:gd name="T73" fmla="*/ 27188 h 43688"/>
              <a:gd name="T74" fmla="*/ 12188 w 22407"/>
              <a:gd name="T75" fmla="*/ 30781 h 43688"/>
              <a:gd name="T76" fmla="*/ 17000 w 22407"/>
              <a:gd name="T77" fmla="*/ 32438 h 43688"/>
              <a:gd name="T78" fmla="*/ 17438 w 22407"/>
              <a:gd name="T79" fmla="*/ 21344 h 43688"/>
              <a:gd name="T80" fmla="*/ 15438 w 22407"/>
              <a:gd name="T81" fmla="*/ 19594 h 43688"/>
              <a:gd name="T82" fmla="*/ 15282 w 22407"/>
              <a:gd name="T83" fmla="*/ 20188 h 43688"/>
              <a:gd name="T84" fmla="*/ 15219 w 22407"/>
              <a:gd name="T85" fmla="*/ 16156 h 43688"/>
              <a:gd name="T86" fmla="*/ 16938 w 22407"/>
              <a:gd name="T87" fmla="*/ 15781 h 43688"/>
              <a:gd name="T88" fmla="*/ 17250 w 22407"/>
              <a:gd name="T89" fmla="*/ 19500 h 43688"/>
              <a:gd name="T90" fmla="*/ 17219 w 22407"/>
              <a:gd name="T91" fmla="*/ 22594 h 43688"/>
              <a:gd name="T92" fmla="*/ 17000 w 22407"/>
              <a:gd name="T93" fmla="*/ 23406 h 43688"/>
              <a:gd name="T94" fmla="*/ 18750 w 22407"/>
              <a:gd name="T95" fmla="*/ 23250 h 43688"/>
              <a:gd name="T96" fmla="*/ 18000 w 22407"/>
              <a:gd name="T97" fmla="*/ 18969 h 43688"/>
              <a:gd name="T98" fmla="*/ 17844 w 22407"/>
              <a:gd name="T99" fmla="*/ 15406 h 43688"/>
              <a:gd name="T100" fmla="*/ 17907 w 22407"/>
              <a:gd name="T101" fmla="*/ 13688 h 43688"/>
              <a:gd name="T102" fmla="*/ 18938 w 22407"/>
              <a:gd name="T103" fmla="*/ 14719 h 43688"/>
              <a:gd name="T104" fmla="*/ 17438 w 22407"/>
              <a:gd name="T105" fmla="*/ 4281 h 43688"/>
              <a:gd name="T106" fmla="*/ 15532 w 22407"/>
              <a:gd name="T107" fmla="*/ 5594 h 43688"/>
              <a:gd name="T108" fmla="*/ 14594 w 22407"/>
              <a:gd name="T109" fmla="*/ 9313 h 43688"/>
              <a:gd name="T110" fmla="*/ 13875 w 22407"/>
              <a:gd name="T111" fmla="*/ 20344 h 43688"/>
              <a:gd name="T112" fmla="*/ 12469 w 22407"/>
              <a:gd name="T113" fmla="*/ 22094 h 43688"/>
              <a:gd name="T114" fmla="*/ 13344 w 22407"/>
              <a:gd name="T115" fmla="*/ 21406 h 43688"/>
              <a:gd name="T116" fmla="*/ 13782 w 22407"/>
              <a:gd name="T117" fmla="*/ 21781 h 43688"/>
              <a:gd name="T118" fmla="*/ 15063 w 22407"/>
              <a:gd name="T119" fmla="*/ 20844 h 43688"/>
              <a:gd name="T120" fmla="*/ 16844 w 22407"/>
              <a:gd name="T121" fmla="*/ 33250 h 43688"/>
              <a:gd name="T122" fmla="*/ 18688 w 22407"/>
              <a:gd name="T123" fmla="*/ 33813 h 43688"/>
              <a:gd name="T124" fmla="*/ 18094 w 22407"/>
              <a:gd name="T125" fmla="*/ 35250 h 43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407" h="43688">
                <a:moveTo>
                  <a:pt x="19750" y="40938"/>
                </a:moveTo>
                <a:cubicBezTo>
                  <a:pt x="19719" y="40781"/>
                  <a:pt x="19657" y="40594"/>
                  <a:pt x="19594" y="40406"/>
                </a:cubicBezTo>
                <a:cubicBezTo>
                  <a:pt x="19594" y="40406"/>
                  <a:pt x="19594" y="40375"/>
                  <a:pt x="19563" y="40375"/>
                </a:cubicBezTo>
                <a:cubicBezTo>
                  <a:pt x="19594" y="40344"/>
                  <a:pt x="19594" y="40313"/>
                  <a:pt x="19563" y="40313"/>
                </a:cubicBezTo>
                <a:cubicBezTo>
                  <a:pt x="19563" y="40281"/>
                  <a:pt x="19563" y="40250"/>
                  <a:pt x="19563" y="40250"/>
                </a:cubicBezTo>
                <a:cubicBezTo>
                  <a:pt x="19469" y="40000"/>
                  <a:pt x="19407" y="39750"/>
                  <a:pt x="19375" y="39500"/>
                </a:cubicBezTo>
                <a:cubicBezTo>
                  <a:pt x="19250" y="38969"/>
                  <a:pt x="19063" y="38469"/>
                  <a:pt x="19000" y="37938"/>
                </a:cubicBezTo>
                <a:cubicBezTo>
                  <a:pt x="18969" y="37594"/>
                  <a:pt x="18938" y="37250"/>
                  <a:pt x="18875" y="36906"/>
                </a:cubicBezTo>
                <a:cubicBezTo>
                  <a:pt x="18875" y="36875"/>
                  <a:pt x="18875" y="36844"/>
                  <a:pt x="18907" y="36844"/>
                </a:cubicBezTo>
                <a:cubicBezTo>
                  <a:pt x="18907" y="36813"/>
                  <a:pt x="18938" y="36813"/>
                  <a:pt x="18938" y="36844"/>
                </a:cubicBezTo>
                <a:cubicBezTo>
                  <a:pt x="18969" y="36969"/>
                  <a:pt x="19094" y="37000"/>
                  <a:pt x="19157" y="37094"/>
                </a:cubicBezTo>
                <a:cubicBezTo>
                  <a:pt x="19282" y="37219"/>
                  <a:pt x="19375" y="37344"/>
                  <a:pt x="19500" y="37406"/>
                </a:cubicBezTo>
                <a:cubicBezTo>
                  <a:pt x="19657" y="37500"/>
                  <a:pt x="19782" y="37594"/>
                  <a:pt x="19938" y="37625"/>
                </a:cubicBezTo>
                <a:cubicBezTo>
                  <a:pt x="20000" y="37625"/>
                  <a:pt x="20032" y="37656"/>
                  <a:pt x="20063" y="37688"/>
                </a:cubicBezTo>
                <a:cubicBezTo>
                  <a:pt x="20094" y="37719"/>
                  <a:pt x="20125" y="37750"/>
                  <a:pt x="20188" y="37719"/>
                </a:cubicBezTo>
                <a:cubicBezTo>
                  <a:pt x="20219" y="37719"/>
                  <a:pt x="20250" y="37688"/>
                  <a:pt x="20219" y="37656"/>
                </a:cubicBezTo>
                <a:cubicBezTo>
                  <a:pt x="20219" y="37594"/>
                  <a:pt x="20157" y="37563"/>
                  <a:pt x="20125" y="37563"/>
                </a:cubicBezTo>
                <a:cubicBezTo>
                  <a:pt x="20000" y="37563"/>
                  <a:pt x="19907" y="37531"/>
                  <a:pt x="19844" y="37406"/>
                </a:cubicBezTo>
                <a:cubicBezTo>
                  <a:pt x="19844" y="37406"/>
                  <a:pt x="19813" y="37375"/>
                  <a:pt x="19782" y="37406"/>
                </a:cubicBezTo>
                <a:cubicBezTo>
                  <a:pt x="19688" y="37438"/>
                  <a:pt x="19688" y="37406"/>
                  <a:pt x="19625" y="37313"/>
                </a:cubicBezTo>
                <a:cubicBezTo>
                  <a:pt x="19563" y="37219"/>
                  <a:pt x="19407" y="37125"/>
                  <a:pt x="19313" y="37031"/>
                </a:cubicBezTo>
                <a:cubicBezTo>
                  <a:pt x="19313" y="37031"/>
                  <a:pt x="19282" y="37031"/>
                  <a:pt x="19282" y="37031"/>
                </a:cubicBezTo>
                <a:cubicBezTo>
                  <a:pt x="19188" y="37094"/>
                  <a:pt x="19188" y="37000"/>
                  <a:pt x="19157" y="36938"/>
                </a:cubicBezTo>
                <a:cubicBezTo>
                  <a:pt x="19157" y="36844"/>
                  <a:pt x="19157" y="36781"/>
                  <a:pt x="19063" y="36781"/>
                </a:cubicBezTo>
                <a:cubicBezTo>
                  <a:pt x="19000" y="36781"/>
                  <a:pt x="18969" y="36750"/>
                  <a:pt x="18969" y="36688"/>
                </a:cubicBezTo>
                <a:cubicBezTo>
                  <a:pt x="19000" y="36656"/>
                  <a:pt x="18969" y="36625"/>
                  <a:pt x="18969" y="36594"/>
                </a:cubicBezTo>
                <a:cubicBezTo>
                  <a:pt x="18844" y="36594"/>
                  <a:pt x="18844" y="36500"/>
                  <a:pt x="18813" y="36438"/>
                </a:cubicBezTo>
                <a:cubicBezTo>
                  <a:pt x="18907" y="36438"/>
                  <a:pt x="18938" y="36500"/>
                  <a:pt x="18969" y="36563"/>
                </a:cubicBezTo>
                <a:cubicBezTo>
                  <a:pt x="19000" y="36563"/>
                  <a:pt x="19032" y="36563"/>
                  <a:pt x="19032" y="36563"/>
                </a:cubicBezTo>
                <a:cubicBezTo>
                  <a:pt x="19250" y="36906"/>
                  <a:pt x="19532" y="37125"/>
                  <a:pt x="19938" y="37219"/>
                </a:cubicBezTo>
                <a:cubicBezTo>
                  <a:pt x="20063" y="37250"/>
                  <a:pt x="20157" y="37281"/>
                  <a:pt x="20282" y="37219"/>
                </a:cubicBezTo>
                <a:cubicBezTo>
                  <a:pt x="20250" y="37156"/>
                  <a:pt x="20188" y="37125"/>
                  <a:pt x="20125" y="37156"/>
                </a:cubicBezTo>
                <a:cubicBezTo>
                  <a:pt x="20063" y="37188"/>
                  <a:pt x="20000" y="37125"/>
                  <a:pt x="19907" y="37125"/>
                </a:cubicBezTo>
                <a:cubicBezTo>
                  <a:pt x="19844" y="37125"/>
                  <a:pt x="19782" y="36969"/>
                  <a:pt x="19719" y="37125"/>
                </a:cubicBezTo>
                <a:cubicBezTo>
                  <a:pt x="19719" y="37125"/>
                  <a:pt x="19688" y="37094"/>
                  <a:pt x="19657" y="37094"/>
                </a:cubicBezTo>
                <a:cubicBezTo>
                  <a:pt x="19594" y="37031"/>
                  <a:pt x="19563" y="37000"/>
                  <a:pt x="19594" y="36906"/>
                </a:cubicBezTo>
                <a:cubicBezTo>
                  <a:pt x="19500" y="37000"/>
                  <a:pt x="19469" y="36938"/>
                  <a:pt x="19438" y="36875"/>
                </a:cubicBezTo>
                <a:cubicBezTo>
                  <a:pt x="19407" y="36844"/>
                  <a:pt x="19375" y="36813"/>
                  <a:pt x="19344" y="36750"/>
                </a:cubicBezTo>
                <a:cubicBezTo>
                  <a:pt x="19250" y="36656"/>
                  <a:pt x="19125" y="36594"/>
                  <a:pt x="19094" y="36500"/>
                </a:cubicBezTo>
                <a:cubicBezTo>
                  <a:pt x="19032" y="36344"/>
                  <a:pt x="18907" y="36344"/>
                  <a:pt x="18782" y="36313"/>
                </a:cubicBezTo>
                <a:cubicBezTo>
                  <a:pt x="18782" y="36313"/>
                  <a:pt x="18782" y="36313"/>
                  <a:pt x="18782" y="36313"/>
                </a:cubicBezTo>
                <a:cubicBezTo>
                  <a:pt x="18782" y="36313"/>
                  <a:pt x="18782" y="36281"/>
                  <a:pt x="18750" y="36281"/>
                </a:cubicBezTo>
                <a:cubicBezTo>
                  <a:pt x="18750" y="36281"/>
                  <a:pt x="18719" y="36313"/>
                  <a:pt x="18719" y="36313"/>
                </a:cubicBezTo>
                <a:cubicBezTo>
                  <a:pt x="18719" y="36344"/>
                  <a:pt x="18750" y="36344"/>
                  <a:pt x="18782" y="36344"/>
                </a:cubicBezTo>
                <a:cubicBezTo>
                  <a:pt x="18688" y="36344"/>
                  <a:pt x="18688" y="36344"/>
                  <a:pt x="18563" y="36125"/>
                </a:cubicBezTo>
                <a:cubicBezTo>
                  <a:pt x="18532" y="36031"/>
                  <a:pt x="18594" y="36063"/>
                  <a:pt x="18625" y="36031"/>
                </a:cubicBezTo>
                <a:cubicBezTo>
                  <a:pt x="18657" y="36031"/>
                  <a:pt x="18657" y="36000"/>
                  <a:pt x="18625" y="35969"/>
                </a:cubicBezTo>
                <a:cubicBezTo>
                  <a:pt x="18594" y="35938"/>
                  <a:pt x="18594" y="35906"/>
                  <a:pt x="18625" y="35906"/>
                </a:cubicBezTo>
                <a:cubicBezTo>
                  <a:pt x="18657" y="35875"/>
                  <a:pt x="18719" y="35875"/>
                  <a:pt x="18719" y="35938"/>
                </a:cubicBezTo>
                <a:cubicBezTo>
                  <a:pt x="18719" y="36000"/>
                  <a:pt x="18750" y="36000"/>
                  <a:pt x="18813" y="36000"/>
                </a:cubicBezTo>
                <a:cubicBezTo>
                  <a:pt x="18813" y="35969"/>
                  <a:pt x="18782" y="35906"/>
                  <a:pt x="18813" y="35906"/>
                </a:cubicBezTo>
                <a:cubicBezTo>
                  <a:pt x="18875" y="35813"/>
                  <a:pt x="18813" y="35813"/>
                  <a:pt x="18750" y="35750"/>
                </a:cubicBezTo>
                <a:cubicBezTo>
                  <a:pt x="18625" y="35625"/>
                  <a:pt x="18532" y="35500"/>
                  <a:pt x="18469" y="35313"/>
                </a:cubicBezTo>
                <a:cubicBezTo>
                  <a:pt x="18532" y="35313"/>
                  <a:pt x="18532" y="35406"/>
                  <a:pt x="18594" y="35375"/>
                </a:cubicBezTo>
                <a:cubicBezTo>
                  <a:pt x="18625" y="35344"/>
                  <a:pt x="18625" y="35281"/>
                  <a:pt x="18594" y="35219"/>
                </a:cubicBezTo>
                <a:cubicBezTo>
                  <a:pt x="18594" y="35219"/>
                  <a:pt x="18594" y="35219"/>
                  <a:pt x="18594" y="35219"/>
                </a:cubicBezTo>
                <a:cubicBezTo>
                  <a:pt x="18532" y="35188"/>
                  <a:pt x="18594" y="35156"/>
                  <a:pt x="18625" y="35125"/>
                </a:cubicBezTo>
                <a:cubicBezTo>
                  <a:pt x="18625" y="35125"/>
                  <a:pt x="18657" y="35156"/>
                  <a:pt x="18657" y="35156"/>
                </a:cubicBezTo>
                <a:cubicBezTo>
                  <a:pt x="18688" y="35188"/>
                  <a:pt x="18688" y="35219"/>
                  <a:pt x="18719" y="35250"/>
                </a:cubicBezTo>
                <a:cubicBezTo>
                  <a:pt x="18750" y="35281"/>
                  <a:pt x="18782" y="35281"/>
                  <a:pt x="18813" y="35313"/>
                </a:cubicBezTo>
                <a:cubicBezTo>
                  <a:pt x="18782" y="35125"/>
                  <a:pt x="18782" y="35125"/>
                  <a:pt x="18688" y="34938"/>
                </a:cubicBezTo>
                <a:cubicBezTo>
                  <a:pt x="18625" y="34875"/>
                  <a:pt x="18563" y="34844"/>
                  <a:pt x="18532" y="34750"/>
                </a:cubicBezTo>
                <a:cubicBezTo>
                  <a:pt x="18532" y="34750"/>
                  <a:pt x="18532" y="34750"/>
                  <a:pt x="18532" y="34750"/>
                </a:cubicBezTo>
                <a:cubicBezTo>
                  <a:pt x="18532" y="34656"/>
                  <a:pt x="18563" y="34563"/>
                  <a:pt x="18532" y="34469"/>
                </a:cubicBezTo>
                <a:cubicBezTo>
                  <a:pt x="18532" y="34438"/>
                  <a:pt x="18469" y="34375"/>
                  <a:pt x="18438" y="34406"/>
                </a:cubicBezTo>
                <a:cubicBezTo>
                  <a:pt x="18407" y="34438"/>
                  <a:pt x="18282" y="34438"/>
                  <a:pt x="18407" y="34531"/>
                </a:cubicBezTo>
                <a:cubicBezTo>
                  <a:pt x="18407" y="34531"/>
                  <a:pt x="18407" y="34625"/>
                  <a:pt x="18375" y="34625"/>
                </a:cubicBezTo>
                <a:cubicBezTo>
                  <a:pt x="18313" y="34656"/>
                  <a:pt x="18313" y="34594"/>
                  <a:pt x="18313" y="34563"/>
                </a:cubicBezTo>
                <a:cubicBezTo>
                  <a:pt x="18282" y="34500"/>
                  <a:pt x="18250" y="34438"/>
                  <a:pt x="18250" y="34375"/>
                </a:cubicBezTo>
                <a:cubicBezTo>
                  <a:pt x="18250" y="34313"/>
                  <a:pt x="18188" y="34344"/>
                  <a:pt x="18188" y="34281"/>
                </a:cubicBezTo>
                <a:cubicBezTo>
                  <a:pt x="18282" y="34250"/>
                  <a:pt x="18344" y="34188"/>
                  <a:pt x="18344" y="34063"/>
                </a:cubicBezTo>
                <a:cubicBezTo>
                  <a:pt x="18344" y="34063"/>
                  <a:pt x="18344" y="34031"/>
                  <a:pt x="18375" y="34031"/>
                </a:cubicBezTo>
                <a:cubicBezTo>
                  <a:pt x="18438" y="33969"/>
                  <a:pt x="18438" y="33875"/>
                  <a:pt x="18407" y="33813"/>
                </a:cubicBezTo>
                <a:cubicBezTo>
                  <a:pt x="18407" y="33781"/>
                  <a:pt x="18407" y="33750"/>
                  <a:pt x="18438" y="33750"/>
                </a:cubicBezTo>
                <a:cubicBezTo>
                  <a:pt x="18469" y="33719"/>
                  <a:pt x="18500" y="33719"/>
                  <a:pt x="18500" y="33750"/>
                </a:cubicBezTo>
                <a:cubicBezTo>
                  <a:pt x="18532" y="33938"/>
                  <a:pt x="18688" y="34000"/>
                  <a:pt x="18750" y="34156"/>
                </a:cubicBezTo>
                <a:cubicBezTo>
                  <a:pt x="18782" y="34281"/>
                  <a:pt x="18844" y="34438"/>
                  <a:pt x="18938" y="34531"/>
                </a:cubicBezTo>
                <a:cubicBezTo>
                  <a:pt x="19032" y="34656"/>
                  <a:pt x="19094" y="34781"/>
                  <a:pt x="19125" y="34906"/>
                </a:cubicBezTo>
                <a:cubicBezTo>
                  <a:pt x="19219" y="35094"/>
                  <a:pt x="19344" y="35250"/>
                  <a:pt x="19344" y="35469"/>
                </a:cubicBezTo>
                <a:cubicBezTo>
                  <a:pt x="19344" y="35469"/>
                  <a:pt x="19375" y="35500"/>
                  <a:pt x="19407" y="35500"/>
                </a:cubicBezTo>
                <a:cubicBezTo>
                  <a:pt x="19438" y="35375"/>
                  <a:pt x="19313" y="35281"/>
                  <a:pt x="19313" y="35125"/>
                </a:cubicBezTo>
                <a:cubicBezTo>
                  <a:pt x="19438" y="35188"/>
                  <a:pt x="19500" y="35281"/>
                  <a:pt x="19594" y="35375"/>
                </a:cubicBezTo>
                <a:cubicBezTo>
                  <a:pt x="19594" y="35375"/>
                  <a:pt x="19594" y="35375"/>
                  <a:pt x="19594" y="35375"/>
                </a:cubicBezTo>
                <a:cubicBezTo>
                  <a:pt x="19594" y="35500"/>
                  <a:pt x="19657" y="35438"/>
                  <a:pt x="19688" y="35406"/>
                </a:cubicBezTo>
                <a:cubicBezTo>
                  <a:pt x="19782" y="35500"/>
                  <a:pt x="19907" y="35531"/>
                  <a:pt x="20000" y="35625"/>
                </a:cubicBezTo>
                <a:cubicBezTo>
                  <a:pt x="20000" y="35625"/>
                  <a:pt x="20032" y="35688"/>
                  <a:pt x="20063" y="35656"/>
                </a:cubicBezTo>
                <a:cubicBezTo>
                  <a:pt x="20094" y="35625"/>
                  <a:pt x="20063" y="35563"/>
                  <a:pt x="20063" y="35563"/>
                </a:cubicBezTo>
                <a:cubicBezTo>
                  <a:pt x="20000" y="35500"/>
                  <a:pt x="19938" y="35438"/>
                  <a:pt x="19938" y="35469"/>
                </a:cubicBezTo>
                <a:cubicBezTo>
                  <a:pt x="19813" y="35531"/>
                  <a:pt x="19782" y="35406"/>
                  <a:pt x="19719" y="35344"/>
                </a:cubicBezTo>
                <a:cubicBezTo>
                  <a:pt x="19719" y="35344"/>
                  <a:pt x="19688" y="35313"/>
                  <a:pt x="19688" y="35313"/>
                </a:cubicBezTo>
                <a:cubicBezTo>
                  <a:pt x="19563" y="35219"/>
                  <a:pt x="19563" y="35063"/>
                  <a:pt x="19532" y="34938"/>
                </a:cubicBezTo>
                <a:cubicBezTo>
                  <a:pt x="19407" y="35031"/>
                  <a:pt x="19407" y="35000"/>
                  <a:pt x="19313" y="34875"/>
                </a:cubicBezTo>
                <a:cubicBezTo>
                  <a:pt x="19250" y="34813"/>
                  <a:pt x="19250" y="34719"/>
                  <a:pt x="19219" y="34656"/>
                </a:cubicBezTo>
                <a:cubicBezTo>
                  <a:pt x="19157" y="34656"/>
                  <a:pt x="19094" y="34625"/>
                  <a:pt x="19094" y="34594"/>
                </a:cubicBezTo>
                <a:cubicBezTo>
                  <a:pt x="19063" y="34531"/>
                  <a:pt x="19125" y="34531"/>
                  <a:pt x="19157" y="34531"/>
                </a:cubicBezTo>
                <a:cubicBezTo>
                  <a:pt x="19219" y="34500"/>
                  <a:pt x="19219" y="34563"/>
                  <a:pt x="19250" y="34625"/>
                </a:cubicBezTo>
                <a:cubicBezTo>
                  <a:pt x="19344" y="34594"/>
                  <a:pt x="19282" y="34500"/>
                  <a:pt x="19313" y="34438"/>
                </a:cubicBezTo>
                <a:cubicBezTo>
                  <a:pt x="19282" y="34438"/>
                  <a:pt x="19250" y="34438"/>
                  <a:pt x="19250" y="34375"/>
                </a:cubicBezTo>
                <a:cubicBezTo>
                  <a:pt x="19313" y="34344"/>
                  <a:pt x="19344" y="34375"/>
                  <a:pt x="19313" y="34438"/>
                </a:cubicBezTo>
                <a:cubicBezTo>
                  <a:pt x="19344" y="34406"/>
                  <a:pt x="19375" y="34438"/>
                  <a:pt x="19375" y="34469"/>
                </a:cubicBezTo>
                <a:cubicBezTo>
                  <a:pt x="19438" y="34625"/>
                  <a:pt x="19625" y="34656"/>
                  <a:pt x="19657" y="34813"/>
                </a:cubicBezTo>
                <a:cubicBezTo>
                  <a:pt x="19688" y="34875"/>
                  <a:pt x="19688" y="34906"/>
                  <a:pt x="19750" y="34906"/>
                </a:cubicBezTo>
                <a:cubicBezTo>
                  <a:pt x="19813" y="34906"/>
                  <a:pt x="19844" y="34969"/>
                  <a:pt x="19875" y="35000"/>
                </a:cubicBezTo>
                <a:cubicBezTo>
                  <a:pt x="19813" y="34844"/>
                  <a:pt x="19688" y="34688"/>
                  <a:pt x="19563" y="34594"/>
                </a:cubicBezTo>
                <a:cubicBezTo>
                  <a:pt x="19563" y="34563"/>
                  <a:pt x="19500" y="34563"/>
                  <a:pt x="19500" y="34531"/>
                </a:cubicBezTo>
                <a:cubicBezTo>
                  <a:pt x="19469" y="34406"/>
                  <a:pt x="19344" y="34344"/>
                  <a:pt x="19250" y="34281"/>
                </a:cubicBezTo>
                <a:cubicBezTo>
                  <a:pt x="19250" y="34188"/>
                  <a:pt x="19219" y="34094"/>
                  <a:pt x="19094" y="34094"/>
                </a:cubicBezTo>
                <a:cubicBezTo>
                  <a:pt x="19063" y="34000"/>
                  <a:pt x="19000" y="33875"/>
                  <a:pt x="18938" y="33875"/>
                </a:cubicBezTo>
                <a:cubicBezTo>
                  <a:pt x="18782" y="33813"/>
                  <a:pt x="18813" y="33688"/>
                  <a:pt x="18719" y="33625"/>
                </a:cubicBezTo>
                <a:cubicBezTo>
                  <a:pt x="18688" y="33625"/>
                  <a:pt x="18750" y="33563"/>
                  <a:pt x="18688" y="33594"/>
                </a:cubicBezTo>
                <a:cubicBezTo>
                  <a:pt x="18625" y="33594"/>
                  <a:pt x="18594" y="33563"/>
                  <a:pt x="18563" y="33500"/>
                </a:cubicBezTo>
                <a:cubicBezTo>
                  <a:pt x="18500" y="33406"/>
                  <a:pt x="18438" y="33344"/>
                  <a:pt x="18344" y="33313"/>
                </a:cubicBezTo>
                <a:cubicBezTo>
                  <a:pt x="18313" y="33313"/>
                  <a:pt x="18313" y="33313"/>
                  <a:pt x="18313" y="33281"/>
                </a:cubicBezTo>
                <a:cubicBezTo>
                  <a:pt x="18313" y="33250"/>
                  <a:pt x="18313" y="33250"/>
                  <a:pt x="18344" y="33250"/>
                </a:cubicBezTo>
                <a:cubicBezTo>
                  <a:pt x="18375" y="33250"/>
                  <a:pt x="18407" y="33250"/>
                  <a:pt x="18407" y="33219"/>
                </a:cubicBezTo>
                <a:cubicBezTo>
                  <a:pt x="18407" y="33156"/>
                  <a:pt x="18375" y="33156"/>
                  <a:pt x="18344" y="33156"/>
                </a:cubicBezTo>
                <a:cubicBezTo>
                  <a:pt x="18282" y="33063"/>
                  <a:pt x="18313" y="32969"/>
                  <a:pt x="18282" y="32875"/>
                </a:cubicBezTo>
                <a:cubicBezTo>
                  <a:pt x="18250" y="32844"/>
                  <a:pt x="18250" y="32781"/>
                  <a:pt x="18219" y="32750"/>
                </a:cubicBezTo>
                <a:cubicBezTo>
                  <a:pt x="18188" y="32813"/>
                  <a:pt x="18157" y="32875"/>
                  <a:pt x="18157" y="32969"/>
                </a:cubicBezTo>
                <a:cubicBezTo>
                  <a:pt x="18125" y="33063"/>
                  <a:pt x="18063" y="33125"/>
                  <a:pt x="18000" y="33156"/>
                </a:cubicBezTo>
                <a:cubicBezTo>
                  <a:pt x="17907" y="33219"/>
                  <a:pt x="17875" y="33281"/>
                  <a:pt x="17938" y="33344"/>
                </a:cubicBezTo>
                <a:cubicBezTo>
                  <a:pt x="18000" y="33406"/>
                  <a:pt x="18000" y="33438"/>
                  <a:pt x="17938" y="33469"/>
                </a:cubicBezTo>
                <a:cubicBezTo>
                  <a:pt x="17907" y="33500"/>
                  <a:pt x="17782" y="33531"/>
                  <a:pt x="17875" y="33625"/>
                </a:cubicBezTo>
                <a:cubicBezTo>
                  <a:pt x="17907" y="33656"/>
                  <a:pt x="17875" y="33688"/>
                  <a:pt x="17844" y="33688"/>
                </a:cubicBezTo>
                <a:cubicBezTo>
                  <a:pt x="17813" y="33688"/>
                  <a:pt x="17813" y="33688"/>
                  <a:pt x="17813" y="33688"/>
                </a:cubicBezTo>
                <a:lnTo>
                  <a:pt x="17813" y="33688"/>
                </a:lnTo>
                <a:cubicBezTo>
                  <a:pt x="17813" y="33688"/>
                  <a:pt x="17813" y="33688"/>
                  <a:pt x="17844" y="33688"/>
                </a:cubicBezTo>
                <a:cubicBezTo>
                  <a:pt x="17813" y="33750"/>
                  <a:pt x="17875" y="33750"/>
                  <a:pt x="17907" y="33813"/>
                </a:cubicBezTo>
                <a:cubicBezTo>
                  <a:pt x="18000" y="33781"/>
                  <a:pt x="18000" y="33875"/>
                  <a:pt x="18063" y="33906"/>
                </a:cubicBezTo>
                <a:cubicBezTo>
                  <a:pt x="18063" y="33906"/>
                  <a:pt x="18063" y="33906"/>
                  <a:pt x="18063" y="33906"/>
                </a:cubicBezTo>
                <a:cubicBezTo>
                  <a:pt x="18063" y="33938"/>
                  <a:pt x="18063" y="33969"/>
                  <a:pt x="18063" y="34000"/>
                </a:cubicBezTo>
                <a:cubicBezTo>
                  <a:pt x="17969" y="34000"/>
                  <a:pt x="17938" y="33844"/>
                  <a:pt x="17813" y="33906"/>
                </a:cubicBezTo>
                <a:cubicBezTo>
                  <a:pt x="17813" y="33906"/>
                  <a:pt x="17813" y="33906"/>
                  <a:pt x="17813" y="33875"/>
                </a:cubicBezTo>
                <a:cubicBezTo>
                  <a:pt x="17813" y="33813"/>
                  <a:pt x="17844" y="33750"/>
                  <a:pt x="17719" y="33813"/>
                </a:cubicBezTo>
                <a:cubicBezTo>
                  <a:pt x="17688" y="33813"/>
                  <a:pt x="17657" y="33688"/>
                  <a:pt x="17594" y="33625"/>
                </a:cubicBezTo>
                <a:cubicBezTo>
                  <a:pt x="17532" y="33625"/>
                  <a:pt x="17594" y="33594"/>
                  <a:pt x="17625" y="33563"/>
                </a:cubicBezTo>
                <a:cubicBezTo>
                  <a:pt x="17625" y="33531"/>
                  <a:pt x="17625" y="33500"/>
                  <a:pt x="17594" y="33469"/>
                </a:cubicBezTo>
                <a:cubicBezTo>
                  <a:pt x="17563" y="33469"/>
                  <a:pt x="17563" y="33438"/>
                  <a:pt x="17532" y="33469"/>
                </a:cubicBezTo>
                <a:cubicBezTo>
                  <a:pt x="17469" y="33500"/>
                  <a:pt x="17438" y="33500"/>
                  <a:pt x="17438" y="33438"/>
                </a:cubicBezTo>
                <a:cubicBezTo>
                  <a:pt x="17438" y="33344"/>
                  <a:pt x="17375" y="33250"/>
                  <a:pt x="17344" y="33188"/>
                </a:cubicBezTo>
                <a:cubicBezTo>
                  <a:pt x="17282" y="33125"/>
                  <a:pt x="17282" y="33031"/>
                  <a:pt x="17219" y="32969"/>
                </a:cubicBezTo>
                <a:cubicBezTo>
                  <a:pt x="17188" y="32875"/>
                  <a:pt x="17188" y="32875"/>
                  <a:pt x="17250" y="32781"/>
                </a:cubicBezTo>
                <a:cubicBezTo>
                  <a:pt x="17219" y="32875"/>
                  <a:pt x="17375" y="32906"/>
                  <a:pt x="17344" y="33000"/>
                </a:cubicBezTo>
                <a:cubicBezTo>
                  <a:pt x="17344" y="33000"/>
                  <a:pt x="17407" y="33031"/>
                  <a:pt x="17438" y="33031"/>
                </a:cubicBezTo>
                <a:cubicBezTo>
                  <a:pt x="17469" y="33031"/>
                  <a:pt x="17469" y="33000"/>
                  <a:pt x="17438" y="32969"/>
                </a:cubicBezTo>
                <a:cubicBezTo>
                  <a:pt x="17438" y="32938"/>
                  <a:pt x="17438" y="32906"/>
                  <a:pt x="17469" y="32875"/>
                </a:cubicBezTo>
                <a:cubicBezTo>
                  <a:pt x="17500" y="32906"/>
                  <a:pt x="17532" y="32938"/>
                  <a:pt x="17563" y="32969"/>
                </a:cubicBezTo>
                <a:cubicBezTo>
                  <a:pt x="17594" y="33000"/>
                  <a:pt x="17625" y="33031"/>
                  <a:pt x="17657" y="33000"/>
                </a:cubicBezTo>
                <a:cubicBezTo>
                  <a:pt x="17688" y="32969"/>
                  <a:pt x="17657" y="32938"/>
                  <a:pt x="17625" y="32938"/>
                </a:cubicBezTo>
                <a:cubicBezTo>
                  <a:pt x="17532" y="32844"/>
                  <a:pt x="17625" y="32844"/>
                  <a:pt x="17657" y="32844"/>
                </a:cubicBezTo>
                <a:cubicBezTo>
                  <a:pt x="17719" y="32875"/>
                  <a:pt x="17782" y="32969"/>
                  <a:pt x="17782" y="33063"/>
                </a:cubicBezTo>
                <a:cubicBezTo>
                  <a:pt x="17782" y="33125"/>
                  <a:pt x="17813" y="33125"/>
                  <a:pt x="17844" y="33156"/>
                </a:cubicBezTo>
                <a:cubicBezTo>
                  <a:pt x="17844" y="33156"/>
                  <a:pt x="17875" y="33125"/>
                  <a:pt x="17875" y="33125"/>
                </a:cubicBezTo>
                <a:cubicBezTo>
                  <a:pt x="17938" y="33000"/>
                  <a:pt x="18094" y="32938"/>
                  <a:pt x="18125" y="32781"/>
                </a:cubicBezTo>
                <a:cubicBezTo>
                  <a:pt x="18125" y="32781"/>
                  <a:pt x="18094" y="32750"/>
                  <a:pt x="18094" y="32750"/>
                </a:cubicBezTo>
                <a:cubicBezTo>
                  <a:pt x="18125" y="32719"/>
                  <a:pt x="18125" y="32688"/>
                  <a:pt x="18157" y="32656"/>
                </a:cubicBezTo>
                <a:cubicBezTo>
                  <a:pt x="18157" y="32594"/>
                  <a:pt x="18157" y="32563"/>
                  <a:pt x="18125" y="32531"/>
                </a:cubicBezTo>
                <a:cubicBezTo>
                  <a:pt x="18094" y="32500"/>
                  <a:pt x="18094" y="32594"/>
                  <a:pt x="18063" y="32563"/>
                </a:cubicBezTo>
                <a:cubicBezTo>
                  <a:pt x="18032" y="32563"/>
                  <a:pt x="18032" y="32500"/>
                  <a:pt x="18063" y="32469"/>
                </a:cubicBezTo>
                <a:cubicBezTo>
                  <a:pt x="18094" y="32313"/>
                  <a:pt x="18125" y="32156"/>
                  <a:pt x="18157" y="31969"/>
                </a:cubicBezTo>
                <a:cubicBezTo>
                  <a:pt x="18157" y="31844"/>
                  <a:pt x="18157" y="31719"/>
                  <a:pt x="18188" y="31594"/>
                </a:cubicBezTo>
                <a:cubicBezTo>
                  <a:pt x="18250" y="31313"/>
                  <a:pt x="18313" y="31000"/>
                  <a:pt x="18344" y="30719"/>
                </a:cubicBezTo>
                <a:cubicBezTo>
                  <a:pt x="18313" y="30813"/>
                  <a:pt x="18313" y="30938"/>
                  <a:pt x="18157" y="30906"/>
                </a:cubicBezTo>
                <a:cubicBezTo>
                  <a:pt x="18157" y="30813"/>
                  <a:pt x="18188" y="30719"/>
                  <a:pt x="18157" y="30656"/>
                </a:cubicBezTo>
                <a:cubicBezTo>
                  <a:pt x="18188" y="30625"/>
                  <a:pt x="18188" y="30563"/>
                  <a:pt x="18157" y="30531"/>
                </a:cubicBezTo>
                <a:cubicBezTo>
                  <a:pt x="18188" y="30344"/>
                  <a:pt x="18188" y="30156"/>
                  <a:pt x="18157" y="29969"/>
                </a:cubicBezTo>
                <a:cubicBezTo>
                  <a:pt x="18188" y="29844"/>
                  <a:pt x="18188" y="29719"/>
                  <a:pt x="18157" y="29594"/>
                </a:cubicBezTo>
                <a:cubicBezTo>
                  <a:pt x="18188" y="29563"/>
                  <a:pt x="18188" y="29500"/>
                  <a:pt x="18157" y="29469"/>
                </a:cubicBezTo>
                <a:cubicBezTo>
                  <a:pt x="18219" y="29469"/>
                  <a:pt x="18219" y="29438"/>
                  <a:pt x="18219" y="29375"/>
                </a:cubicBezTo>
                <a:cubicBezTo>
                  <a:pt x="18219" y="29188"/>
                  <a:pt x="18219" y="29000"/>
                  <a:pt x="18282" y="28844"/>
                </a:cubicBezTo>
                <a:cubicBezTo>
                  <a:pt x="18344" y="28719"/>
                  <a:pt x="18344" y="28625"/>
                  <a:pt x="18313" y="28531"/>
                </a:cubicBezTo>
                <a:cubicBezTo>
                  <a:pt x="18282" y="28469"/>
                  <a:pt x="18250" y="28406"/>
                  <a:pt x="18282" y="28344"/>
                </a:cubicBezTo>
                <a:cubicBezTo>
                  <a:pt x="18344" y="28250"/>
                  <a:pt x="18344" y="28188"/>
                  <a:pt x="18313" y="28094"/>
                </a:cubicBezTo>
                <a:cubicBezTo>
                  <a:pt x="18282" y="28031"/>
                  <a:pt x="18250" y="27938"/>
                  <a:pt x="18375" y="27938"/>
                </a:cubicBezTo>
                <a:cubicBezTo>
                  <a:pt x="18438" y="27906"/>
                  <a:pt x="18438" y="27875"/>
                  <a:pt x="18438" y="27813"/>
                </a:cubicBezTo>
                <a:cubicBezTo>
                  <a:pt x="18438" y="27563"/>
                  <a:pt x="18407" y="27344"/>
                  <a:pt x="18344" y="27094"/>
                </a:cubicBezTo>
                <a:cubicBezTo>
                  <a:pt x="18313" y="27000"/>
                  <a:pt x="18282" y="26969"/>
                  <a:pt x="18188" y="26969"/>
                </a:cubicBezTo>
                <a:cubicBezTo>
                  <a:pt x="18313" y="27063"/>
                  <a:pt x="18188" y="26406"/>
                  <a:pt x="18094" y="26469"/>
                </a:cubicBezTo>
                <a:cubicBezTo>
                  <a:pt x="18157" y="26500"/>
                  <a:pt x="18188" y="26469"/>
                  <a:pt x="18157" y="26406"/>
                </a:cubicBezTo>
                <a:cubicBezTo>
                  <a:pt x="18157" y="26344"/>
                  <a:pt x="18125" y="26250"/>
                  <a:pt x="18125" y="26188"/>
                </a:cubicBezTo>
                <a:cubicBezTo>
                  <a:pt x="18188" y="26031"/>
                  <a:pt x="18157" y="25906"/>
                  <a:pt x="18063" y="25750"/>
                </a:cubicBezTo>
                <a:cubicBezTo>
                  <a:pt x="18063" y="25719"/>
                  <a:pt x="18063" y="25688"/>
                  <a:pt x="18063" y="25656"/>
                </a:cubicBezTo>
                <a:cubicBezTo>
                  <a:pt x="18188" y="25563"/>
                  <a:pt x="18094" y="25406"/>
                  <a:pt x="18188" y="25313"/>
                </a:cubicBezTo>
                <a:cubicBezTo>
                  <a:pt x="18219" y="25313"/>
                  <a:pt x="18188" y="25281"/>
                  <a:pt x="18157" y="25281"/>
                </a:cubicBezTo>
                <a:cubicBezTo>
                  <a:pt x="18157" y="25219"/>
                  <a:pt x="18157" y="25188"/>
                  <a:pt x="18157" y="25156"/>
                </a:cubicBezTo>
                <a:cubicBezTo>
                  <a:pt x="18250" y="25063"/>
                  <a:pt x="18313" y="25000"/>
                  <a:pt x="18313" y="24875"/>
                </a:cubicBezTo>
                <a:cubicBezTo>
                  <a:pt x="18438" y="24875"/>
                  <a:pt x="18344" y="24969"/>
                  <a:pt x="18407" y="25031"/>
                </a:cubicBezTo>
                <a:cubicBezTo>
                  <a:pt x="18438" y="25000"/>
                  <a:pt x="18438" y="24969"/>
                  <a:pt x="18438" y="24938"/>
                </a:cubicBezTo>
                <a:cubicBezTo>
                  <a:pt x="18407" y="24781"/>
                  <a:pt x="18313" y="24781"/>
                  <a:pt x="18188" y="24813"/>
                </a:cubicBezTo>
                <a:cubicBezTo>
                  <a:pt x="18188" y="24781"/>
                  <a:pt x="18188" y="24750"/>
                  <a:pt x="18219" y="24719"/>
                </a:cubicBezTo>
                <a:cubicBezTo>
                  <a:pt x="18250" y="24750"/>
                  <a:pt x="18282" y="24781"/>
                  <a:pt x="18344" y="24750"/>
                </a:cubicBezTo>
                <a:cubicBezTo>
                  <a:pt x="18344" y="24688"/>
                  <a:pt x="18313" y="24656"/>
                  <a:pt x="18313" y="24625"/>
                </a:cubicBezTo>
                <a:cubicBezTo>
                  <a:pt x="18313" y="24625"/>
                  <a:pt x="18313" y="24625"/>
                  <a:pt x="18313" y="24625"/>
                </a:cubicBezTo>
                <a:cubicBezTo>
                  <a:pt x="18313" y="24594"/>
                  <a:pt x="18313" y="24531"/>
                  <a:pt x="18313" y="24469"/>
                </a:cubicBezTo>
                <a:cubicBezTo>
                  <a:pt x="18344" y="24469"/>
                  <a:pt x="18375" y="24469"/>
                  <a:pt x="18407" y="24469"/>
                </a:cubicBezTo>
                <a:cubicBezTo>
                  <a:pt x="18438" y="24531"/>
                  <a:pt x="18469" y="24563"/>
                  <a:pt x="18469" y="24625"/>
                </a:cubicBezTo>
                <a:cubicBezTo>
                  <a:pt x="18469" y="24656"/>
                  <a:pt x="18563" y="24719"/>
                  <a:pt x="18625" y="24750"/>
                </a:cubicBezTo>
                <a:cubicBezTo>
                  <a:pt x="18688" y="24844"/>
                  <a:pt x="18688" y="24969"/>
                  <a:pt x="18719" y="25063"/>
                </a:cubicBezTo>
                <a:cubicBezTo>
                  <a:pt x="18719" y="25156"/>
                  <a:pt x="18750" y="25219"/>
                  <a:pt x="18844" y="25156"/>
                </a:cubicBezTo>
                <a:cubicBezTo>
                  <a:pt x="19125" y="25000"/>
                  <a:pt x="19375" y="24813"/>
                  <a:pt x="19532" y="24531"/>
                </a:cubicBezTo>
                <a:cubicBezTo>
                  <a:pt x="19563" y="24469"/>
                  <a:pt x="19625" y="24438"/>
                  <a:pt x="19625" y="24344"/>
                </a:cubicBezTo>
                <a:cubicBezTo>
                  <a:pt x="19719" y="24344"/>
                  <a:pt x="19782" y="24313"/>
                  <a:pt x="19782" y="24219"/>
                </a:cubicBezTo>
                <a:cubicBezTo>
                  <a:pt x="19782" y="24156"/>
                  <a:pt x="19813" y="24125"/>
                  <a:pt x="19813" y="24094"/>
                </a:cubicBezTo>
                <a:cubicBezTo>
                  <a:pt x="19844" y="24000"/>
                  <a:pt x="19938" y="23906"/>
                  <a:pt x="19844" y="23813"/>
                </a:cubicBezTo>
                <a:cubicBezTo>
                  <a:pt x="19750" y="23750"/>
                  <a:pt x="19688" y="23719"/>
                  <a:pt x="19594" y="23813"/>
                </a:cubicBezTo>
                <a:cubicBezTo>
                  <a:pt x="19563" y="23813"/>
                  <a:pt x="19563" y="23781"/>
                  <a:pt x="19532" y="23781"/>
                </a:cubicBezTo>
                <a:cubicBezTo>
                  <a:pt x="19625" y="23750"/>
                  <a:pt x="19625" y="23656"/>
                  <a:pt x="19688" y="23625"/>
                </a:cubicBezTo>
                <a:lnTo>
                  <a:pt x="19688" y="23625"/>
                </a:lnTo>
                <a:cubicBezTo>
                  <a:pt x="19907" y="23594"/>
                  <a:pt x="19875" y="23469"/>
                  <a:pt x="19844" y="23313"/>
                </a:cubicBezTo>
                <a:cubicBezTo>
                  <a:pt x="19844" y="23313"/>
                  <a:pt x="19844" y="23313"/>
                  <a:pt x="19844" y="23281"/>
                </a:cubicBezTo>
                <a:cubicBezTo>
                  <a:pt x="19844" y="23281"/>
                  <a:pt x="19875" y="23281"/>
                  <a:pt x="19875" y="23281"/>
                </a:cubicBezTo>
                <a:lnTo>
                  <a:pt x="19875" y="23281"/>
                </a:lnTo>
                <a:cubicBezTo>
                  <a:pt x="19875" y="23281"/>
                  <a:pt x="19875" y="23250"/>
                  <a:pt x="19875" y="23250"/>
                </a:cubicBezTo>
                <a:cubicBezTo>
                  <a:pt x="19844" y="23250"/>
                  <a:pt x="19844" y="23281"/>
                  <a:pt x="19844" y="23281"/>
                </a:cubicBezTo>
                <a:cubicBezTo>
                  <a:pt x="19844" y="23313"/>
                  <a:pt x="19813" y="23281"/>
                  <a:pt x="19813" y="23281"/>
                </a:cubicBezTo>
                <a:cubicBezTo>
                  <a:pt x="19813" y="23281"/>
                  <a:pt x="19813" y="23250"/>
                  <a:pt x="19782" y="23219"/>
                </a:cubicBezTo>
                <a:cubicBezTo>
                  <a:pt x="19782" y="23156"/>
                  <a:pt x="19782" y="23094"/>
                  <a:pt x="19782" y="23031"/>
                </a:cubicBezTo>
                <a:cubicBezTo>
                  <a:pt x="19750" y="23063"/>
                  <a:pt x="19813" y="23188"/>
                  <a:pt x="19750" y="23156"/>
                </a:cubicBezTo>
                <a:cubicBezTo>
                  <a:pt x="19657" y="23094"/>
                  <a:pt x="19688" y="23156"/>
                  <a:pt x="19688" y="23188"/>
                </a:cubicBezTo>
                <a:cubicBezTo>
                  <a:pt x="19657" y="23250"/>
                  <a:pt x="19657" y="23281"/>
                  <a:pt x="19657" y="23344"/>
                </a:cubicBezTo>
                <a:cubicBezTo>
                  <a:pt x="19657" y="23406"/>
                  <a:pt x="19688" y="23469"/>
                  <a:pt x="19594" y="23438"/>
                </a:cubicBezTo>
                <a:cubicBezTo>
                  <a:pt x="19532" y="23438"/>
                  <a:pt x="19500" y="23563"/>
                  <a:pt x="19532" y="23563"/>
                </a:cubicBezTo>
                <a:cubicBezTo>
                  <a:pt x="19657" y="23656"/>
                  <a:pt x="19500" y="23688"/>
                  <a:pt x="19500" y="23750"/>
                </a:cubicBezTo>
                <a:cubicBezTo>
                  <a:pt x="19469" y="23719"/>
                  <a:pt x="19438" y="23750"/>
                  <a:pt x="19407" y="23781"/>
                </a:cubicBezTo>
                <a:cubicBezTo>
                  <a:pt x="19500" y="23688"/>
                  <a:pt x="19375" y="23563"/>
                  <a:pt x="19407" y="23438"/>
                </a:cubicBezTo>
                <a:cubicBezTo>
                  <a:pt x="19407" y="23406"/>
                  <a:pt x="19375" y="23375"/>
                  <a:pt x="19438" y="23344"/>
                </a:cubicBezTo>
                <a:cubicBezTo>
                  <a:pt x="19469" y="23344"/>
                  <a:pt x="19438" y="23438"/>
                  <a:pt x="19500" y="23406"/>
                </a:cubicBezTo>
                <a:cubicBezTo>
                  <a:pt x="19438" y="23313"/>
                  <a:pt x="19532" y="23188"/>
                  <a:pt x="19438" y="23063"/>
                </a:cubicBezTo>
                <a:cubicBezTo>
                  <a:pt x="19407" y="23031"/>
                  <a:pt x="19469" y="23000"/>
                  <a:pt x="19532" y="23000"/>
                </a:cubicBezTo>
                <a:cubicBezTo>
                  <a:pt x="19532" y="23031"/>
                  <a:pt x="19563" y="23063"/>
                  <a:pt x="19563" y="23031"/>
                </a:cubicBezTo>
                <a:cubicBezTo>
                  <a:pt x="19594" y="23000"/>
                  <a:pt x="19563" y="23000"/>
                  <a:pt x="19532" y="23000"/>
                </a:cubicBezTo>
                <a:cubicBezTo>
                  <a:pt x="19532" y="22938"/>
                  <a:pt x="19500" y="22875"/>
                  <a:pt x="19500" y="22844"/>
                </a:cubicBezTo>
                <a:cubicBezTo>
                  <a:pt x="19500" y="22750"/>
                  <a:pt x="19532" y="22656"/>
                  <a:pt x="19438" y="22594"/>
                </a:cubicBezTo>
                <a:cubicBezTo>
                  <a:pt x="19500" y="22594"/>
                  <a:pt x="19532" y="22594"/>
                  <a:pt x="19594" y="22563"/>
                </a:cubicBezTo>
                <a:cubicBezTo>
                  <a:pt x="19563" y="22531"/>
                  <a:pt x="19532" y="22500"/>
                  <a:pt x="19500" y="22469"/>
                </a:cubicBezTo>
                <a:cubicBezTo>
                  <a:pt x="19469" y="22250"/>
                  <a:pt x="19407" y="22094"/>
                  <a:pt x="19282" y="21938"/>
                </a:cubicBezTo>
                <a:cubicBezTo>
                  <a:pt x="19282" y="21906"/>
                  <a:pt x="19250" y="21875"/>
                  <a:pt x="19250" y="21875"/>
                </a:cubicBezTo>
                <a:cubicBezTo>
                  <a:pt x="19344" y="21750"/>
                  <a:pt x="19219" y="21719"/>
                  <a:pt x="19188" y="21625"/>
                </a:cubicBezTo>
                <a:cubicBezTo>
                  <a:pt x="19250" y="21594"/>
                  <a:pt x="19282" y="21594"/>
                  <a:pt x="19344" y="21625"/>
                </a:cubicBezTo>
                <a:cubicBezTo>
                  <a:pt x="19344" y="21625"/>
                  <a:pt x="19375" y="21688"/>
                  <a:pt x="19407" y="21625"/>
                </a:cubicBezTo>
                <a:cubicBezTo>
                  <a:pt x="19407" y="21563"/>
                  <a:pt x="19375" y="21563"/>
                  <a:pt x="19344" y="21563"/>
                </a:cubicBezTo>
                <a:cubicBezTo>
                  <a:pt x="19250" y="21563"/>
                  <a:pt x="19188" y="21563"/>
                  <a:pt x="19094" y="21563"/>
                </a:cubicBezTo>
                <a:cubicBezTo>
                  <a:pt x="19063" y="21531"/>
                  <a:pt x="19063" y="21500"/>
                  <a:pt x="19032" y="21500"/>
                </a:cubicBezTo>
                <a:cubicBezTo>
                  <a:pt x="18969" y="21406"/>
                  <a:pt x="19032" y="21375"/>
                  <a:pt x="19094" y="21375"/>
                </a:cubicBezTo>
                <a:cubicBezTo>
                  <a:pt x="19157" y="21375"/>
                  <a:pt x="19250" y="21375"/>
                  <a:pt x="19313" y="21344"/>
                </a:cubicBezTo>
                <a:cubicBezTo>
                  <a:pt x="19219" y="21250"/>
                  <a:pt x="18782" y="21313"/>
                  <a:pt x="18657" y="21406"/>
                </a:cubicBezTo>
                <a:cubicBezTo>
                  <a:pt x="18657" y="21406"/>
                  <a:pt x="18657" y="21406"/>
                  <a:pt x="18657" y="21406"/>
                </a:cubicBezTo>
                <a:cubicBezTo>
                  <a:pt x="18657" y="21438"/>
                  <a:pt x="18688" y="21438"/>
                  <a:pt x="18688" y="21406"/>
                </a:cubicBezTo>
                <a:cubicBezTo>
                  <a:pt x="18688" y="21406"/>
                  <a:pt x="18719" y="21406"/>
                  <a:pt x="18719" y="21438"/>
                </a:cubicBezTo>
                <a:cubicBezTo>
                  <a:pt x="18657" y="21500"/>
                  <a:pt x="18750" y="21500"/>
                  <a:pt x="18782" y="21531"/>
                </a:cubicBezTo>
                <a:cubicBezTo>
                  <a:pt x="18907" y="21656"/>
                  <a:pt x="19032" y="21813"/>
                  <a:pt x="19032" y="22000"/>
                </a:cubicBezTo>
                <a:cubicBezTo>
                  <a:pt x="19032" y="22000"/>
                  <a:pt x="19032" y="22000"/>
                  <a:pt x="19032" y="22000"/>
                </a:cubicBezTo>
                <a:cubicBezTo>
                  <a:pt x="19032" y="22031"/>
                  <a:pt x="19063" y="22031"/>
                  <a:pt x="19063" y="22031"/>
                </a:cubicBezTo>
                <a:cubicBezTo>
                  <a:pt x="19063" y="22031"/>
                  <a:pt x="19063" y="22031"/>
                  <a:pt x="19063" y="22031"/>
                </a:cubicBezTo>
                <a:cubicBezTo>
                  <a:pt x="19063" y="22031"/>
                  <a:pt x="19063" y="22031"/>
                  <a:pt x="19063" y="22031"/>
                </a:cubicBezTo>
                <a:cubicBezTo>
                  <a:pt x="19063" y="22063"/>
                  <a:pt x="19094" y="22094"/>
                  <a:pt x="19094" y="22125"/>
                </a:cubicBezTo>
                <a:cubicBezTo>
                  <a:pt x="19032" y="22156"/>
                  <a:pt x="18969" y="22094"/>
                  <a:pt x="18938" y="22125"/>
                </a:cubicBezTo>
                <a:cubicBezTo>
                  <a:pt x="18907" y="22125"/>
                  <a:pt x="18907" y="22125"/>
                  <a:pt x="18907" y="22094"/>
                </a:cubicBezTo>
                <a:cubicBezTo>
                  <a:pt x="18907" y="22094"/>
                  <a:pt x="18907" y="22094"/>
                  <a:pt x="18907" y="22063"/>
                </a:cubicBezTo>
                <a:cubicBezTo>
                  <a:pt x="18907" y="22063"/>
                  <a:pt x="18875" y="22063"/>
                  <a:pt x="18875" y="22063"/>
                </a:cubicBezTo>
                <a:cubicBezTo>
                  <a:pt x="18844" y="22063"/>
                  <a:pt x="18844" y="22031"/>
                  <a:pt x="18844" y="22000"/>
                </a:cubicBezTo>
                <a:cubicBezTo>
                  <a:pt x="18844" y="22000"/>
                  <a:pt x="18844" y="21969"/>
                  <a:pt x="18844" y="21969"/>
                </a:cubicBezTo>
                <a:cubicBezTo>
                  <a:pt x="18844" y="21938"/>
                  <a:pt x="18813" y="21938"/>
                  <a:pt x="18782" y="21938"/>
                </a:cubicBezTo>
                <a:cubicBezTo>
                  <a:pt x="18782" y="21938"/>
                  <a:pt x="18782" y="21938"/>
                  <a:pt x="18782" y="21906"/>
                </a:cubicBezTo>
                <a:cubicBezTo>
                  <a:pt x="18782" y="21875"/>
                  <a:pt x="18750" y="21875"/>
                  <a:pt x="18719" y="21875"/>
                </a:cubicBezTo>
                <a:cubicBezTo>
                  <a:pt x="18719" y="21875"/>
                  <a:pt x="18719" y="21875"/>
                  <a:pt x="18719" y="21844"/>
                </a:cubicBezTo>
                <a:cubicBezTo>
                  <a:pt x="18719" y="21844"/>
                  <a:pt x="18719" y="21844"/>
                  <a:pt x="18719" y="21844"/>
                </a:cubicBezTo>
                <a:cubicBezTo>
                  <a:pt x="18719" y="21844"/>
                  <a:pt x="18719" y="21844"/>
                  <a:pt x="18719" y="21844"/>
                </a:cubicBezTo>
                <a:cubicBezTo>
                  <a:pt x="18688" y="21844"/>
                  <a:pt x="18688" y="21844"/>
                  <a:pt x="18657" y="21813"/>
                </a:cubicBezTo>
                <a:cubicBezTo>
                  <a:pt x="18688" y="21719"/>
                  <a:pt x="18625" y="21688"/>
                  <a:pt x="18532" y="21688"/>
                </a:cubicBezTo>
                <a:cubicBezTo>
                  <a:pt x="18532" y="21688"/>
                  <a:pt x="18532" y="21656"/>
                  <a:pt x="18532" y="21656"/>
                </a:cubicBezTo>
                <a:cubicBezTo>
                  <a:pt x="18532" y="21594"/>
                  <a:pt x="18500" y="21563"/>
                  <a:pt x="18438" y="21594"/>
                </a:cubicBezTo>
                <a:cubicBezTo>
                  <a:pt x="18407" y="21563"/>
                  <a:pt x="18407" y="21563"/>
                  <a:pt x="18407" y="21563"/>
                </a:cubicBezTo>
                <a:cubicBezTo>
                  <a:pt x="18407" y="21563"/>
                  <a:pt x="18407" y="21531"/>
                  <a:pt x="18407" y="21531"/>
                </a:cubicBezTo>
                <a:cubicBezTo>
                  <a:pt x="18344" y="21438"/>
                  <a:pt x="18282" y="21344"/>
                  <a:pt x="18407" y="21250"/>
                </a:cubicBezTo>
                <a:cubicBezTo>
                  <a:pt x="18469" y="21219"/>
                  <a:pt x="18407" y="21188"/>
                  <a:pt x="18375" y="21156"/>
                </a:cubicBezTo>
                <a:cubicBezTo>
                  <a:pt x="18344" y="21125"/>
                  <a:pt x="18250" y="21125"/>
                  <a:pt x="18282" y="21063"/>
                </a:cubicBezTo>
                <a:cubicBezTo>
                  <a:pt x="18313" y="21000"/>
                  <a:pt x="18375" y="20969"/>
                  <a:pt x="18407" y="21000"/>
                </a:cubicBezTo>
                <a:cubicBezTo>
                  <a:pt x="18563" y="21031"/>
                  <a:pt x="18719" y="21000"/>
                  <a:pt x="18844" y="21063"/>
                </a:cubicBezTo>
                <a:cubicBezTo>
                  <a:pt x="18938" y="21125"/>
                  <a:pt x="19063" y="21188"/>
                  <a:pt x="19188" y="21094"/>
                </a:cubicBezTo>
                <a:cubicBezTo>
                  <a:pt x="19094" y="21063"/>
                  <a:pt x="19125" y="21000"/>
                  <a:pt x="19094" y="20938"/>
                </a:cubicBezTo>
                <a:cubicBezTo>
                  <a:pt x="19063" y="20875"/>
                  <a:pt x="18969" y="20844"/>
                  <a:pt x="18938" y="20781"/>
                </a:cubicBezTo>
                <a:cubicBezTo>
                  <a:pt x="18907" y="20750"/>
                  <a:pt x="18875" y="20719"/>
                  <a:pt x="18844" y="20750"/>
                </a:cubicBezTo>
                <a:cubicBezTo>
                  <a:pt x="18782" y="20813"/>
                  <a:pt x="18719" y="20750"/>
                  <a:pt x="18688" y="20719"/>
                </a:cubicBezTo>
                <a:cubicBezTo>
                  <a:pt x="18625" y="20656"/>
                  <a:pt x="18719" y="20625"/>
                  <a:pt x="18719" y="20563"/>
                </a:cubicBezTo>
                <a:cubicBezTo>
                  <a:pt x="18719" y="20563"/>
                  <a:pt x="18750" y="20531"/>
                  <a:pt x="18719" y="20500"/>
                </a:cubicBezTo>
                <a:cubicBezTo>
                  <a:pt x="18719" y="20500"/>
                  <a:pt x="18719" y="20500"/>
                  <a:pt x="18719" y="20500"/>
                </a:cubicBezTo>
                <a:cubicBezTo>
                  <a:pt x="18750" y="20500"/>
                  <a:pt x="18750" y="20500"/>
                  <a:pt x="18750" y="20469"/>
                </a:cubicBezTo>
                <a:cubicBezTo>
                  <a:pt x="18750" y="20469"/>
                  <a:pt x="18719" y="20500"/>
                  <a:pt x="18719" y="20500"/>
                </a:cubicBezTo>
                <a:cubicBezTo>
                  <a:pt x="18563" y="20563"/>
                  <a:pt x="18407" y="20594"/>
                  <a:pt x="18282" y="20469"/>
                </a:cubicBezTo>
                <a:cubicBezTo>
                  <a:pt x="18188" y="20344"/>
                  <a:pt x="17938" y="20313"/>
                  <a:pt x="17969" y="20094"/>
                </a:cubicBezTo>
                <a:cubicBezTo>
                  <a:pt x="17969" y="20063"/>
                  <a:pt x="17938" y="20063"/>
                  <a:pt x="17907" y="20063"/>
                </a:cubicBezTo>
                <a:cubicBezTo>
                  <a:pt x="17875" y="20000"/>
                  <a:pt x="17782" y="19969"/>
                  <a:pt x="17875" y="19906"/>
                </a:cubicBezTo>
                <a:cubicBezTo>
                  <a:pt x="17938" y="19844"/>
                  <a:pt x="17875" y="19750"/>
                  <a:pt x="17938" y="19688"/>
                </a:cubicBezTo>
                <a:cubicBezTo>
                  <a:pt x="17969" y="19688"/>
                  <a:pt x="18000" y="19719"/>
                  <a:pt x="18000" y="19719"/>
                </a:cubicBezTo>
                <a:cubicBezTo>
                  <a:pt x="18032" y="19813"/>
                  <a:pt x="18094" y="19844"/>
                  <a:pt x="18157" y="19906"/>
                </a:cubicBezTo>
                <a:cubicBezTo>
                  <a:pt x="18188" y="19906"/>
                  <a:pt x="18282" y="19938"/>
                  <a:pt x="18219" y="20031"/>
                </a:cubicBezTo>
                <a:cubicBezTo>
                  <a:pt x="18219" y="20031"/>
                  <a:pt x="18219" y="20063"/>
                  <a:pt x="18250" y="20063"/>
                </a:cubicBezTo>
                <a:cubicBezTo>
                  <a:pt x="18250" y="20094"/>
                  <a:pt x="18282" y="20063"/>
                  <a:pt x="18282" y="20063"/>
                </a:cubicBezTo>
                <a:cubicBezTo>
                  <a:pt x="18282" y="20031"/>
                  <a:pt x="18282" y="19969"/>
                  <a:pt x="18313" y="20000"/>
                </a:cubicBezTo>
                <a:cubicBezTo>
                  <a:pt x="18375" y="20031"/>
                  <a:pt x="18375" y="20063"/>
                  <a:pt x="18375" y="20094"/>
                </a:cubicBezTo>
                <a:cubicBezTo>
                  <a:pt x="18375" y="20125"/>
                  <a:pt x="18375" y="20188"/>
                  <a:pt x="18407" y="20156"/>
                </a:cubicBezTo>
                <a:cubicBezTo>
                  <a:pt x="18469" y="20094"/>
                  <a:pt x="18500" y="20125"/>
                  <a:pt x="18532" y="20125"/>
                </a:cubicBezTo>
                <a:cubicBezTo>
                  <a:pt x="18625" y="20125"/>
                  <a:pt x="18750" y="20156"/>
                  <a:pt x="18844" y="20125"/>
                </a:cubicBezTo>
                <a:cubicBezTo>
                  <a:pt x="18938" y="20094"/>
                  <a:pt x="19032" y="20156"/>
                  <a:pt x="19125" y="20063"/>
                </a:cubicBezTo>
                <a:cubicBezTo>
                  <a:pt x="19282" y="20188"/>
                  <a:pt x="19344" y="19938"/>
                  <a:pt x="19500" y="19969"/>
                </a:cubicBezTo>
                <a:cubicBezTo>
                  <a:pt x="19500" y="19969"/>
                  <a:pt x="19500" y="19906"/>
                  <a:pt x="19469" y="19875"/>
                </a:cubicBezTo>
                <a:cubicBezTo>
                  <a:pt x="19313" y="19813"/>
                  <a:pt x="19157" y="19688"/>
                  <a:pt x="18969" y="19719"/>
                </a:cubicBezTo>
                <a:cubicBezTo>
                  <a:pt x="18844" y="19750"/>
                  <a:pt x="18782" y="19750"/>
                  <a:pt x="18688" y="19688"/>
                </a:cubicBezTo>
                <a:cubicBezTo>
                  <a:pt x="18594" y="19656"/>
                  <a:pt x="18532" y="19656"/>
                  <a:pt x="18469" y="19594"/>
                </a:cubicBezTo>
                <a:cubicBezTo>
                  <a:pt x="18438" y="19594"/>
                  <a:pt x="18407" y="19594"/>
                  <a:pt x="18375" y="19625"/>
                </a:cubicBezTo>
                <a:cubicBezTo>
                  <a:pt x="18375" y="19656"/>
                  <a:pt x="18407" y="19656"/>
                  <a:pt x="18407" y="19688"/>
                </a:cubicBezTo>
                <a:cubicBezTo>
                  <a:pt x="18625" y="19750"/>
                  <a:pt x="18844" y="19938"/>
                  <a:pt x="19094" y="19844"/>
                </a:cubicBezTo>
                <a:cubicBezTo>
                  <a:pt x="19125" y="19813"/>
                  <a:pt x="19188" y="19844"/>
                  <a:pt x="19219" y="19875"/>
                </a:cubicBezTo>
                <a:cubicBezTo>
                  <a:pt x="19125" y="19938"/>
                  <a:pt x="19063" y="20031"/>
                  <a:pt x="18938" y="19969"/>
                </a:cubicBezTo>
                <a:cubicBezTo>
                  <a:pt x="18907" y="19938"/>
                  <a:pt x="18500" y="19938"/>
                  <a:pt x="18469" y="19938"/>
                </a:cubicBezTo>
                <a:cubicBezTo>
                  <a:pt x="18469" y="19938"/>
                  <a:pt x="18438" y="19938"/>
                  <a:pt x="18438" y="19938"/>
                </a:cubicBezTo>
                <a:cubicBezTo>
                  <a:pt x="18282" y="19906"/>
                  <a:pt x="18188" y="19781"/>
                  <a:pt x="18063" y="19688"/>
                </a:cubicBezTo>
                <a:cubicBezTo>
                  <a:pt x="18000" y="19625"/>
                  <a:pt x="17969" y="19563"/>
                  <a:pt x="18032" y="19469"/>
                </a:cubicBezTo>
                <a:cubicBezTo>
                  <a:pt x="18063" y="19406"/>
                  <a:pt x="18094" y="19313"/>
                  <a:pt x="18063" y="19219"/>
                </a:cubicBezTo>
                <a:cubicBezTo>
                  <a:pt x="18063" y="19156"/>
                  <a:pt x="18094" y="19063"/>
                  <a:pt x="18188" y="19094"/>
                </a:cubicBezTo>
                <a:cubicBezTo>
                  <a:pt x="18188" y="19094"/>
                  <a:pt x="18188" y="19063"/>
                  <a:pt x="18188" y="19063"/>
                </a:cubicBezTo>
                <a:cubicBezTo>
                  <a:pt x="18125" y="19094"/>
                  <a:pt x="18094" y="19063"/>
                  <a:pt x="18063" y="19000"/>
                </a:cubicBezTo>
                <a:cubicBezTo>
                  <a:pt x="18063" y="18938"/>
                  <a:pt x="18032" y="18906"/>
                  <a:pt x="18000" y="18875"/>
                </a:cubicBezTo>
                <a:cubicBezTo>
                  <a:pt x="18000" y="18875"/>
                  <a:pt x="18000" y="18875"/>
                  <a:pt x="18000" y="18875"/>
                </a:cubicBezTo>
                <a:cubicBezTo>
                  <a:pt x="18000" y="18844"/>
                  <a:pt x="18000" y="18781"/>
                  <a:pt x="18000" y="18750"/>
                </a:cubicBezTo>
                <a:cubicBezTo>
                  <a:pt x="18000" y="18688"/>
                  <a:pt x="17969" y="18656"/>
                  <a:pt x="17969" y="18594"/>
                </a:cubicBezTo>
                <a:cubicBezTo>
                  <a:pt x="17969" y="18563"/>
                  <a:pt x="17938" y="18531"/>
                  <a:pt x="18000" y="18531"/>
                </a:cubicBezTo>
                <a:cubicBezTo>
                  <a:pt x="18157" y="18563"/>
                  <a:pt x="18125" y="18469"/>
                  <a:pt x="18094" y="18406"/>
                </a:cubicBezTo>
                <a:cubicBezTo>
                  <a:pt x="18063" y="18344"/>
                  <a:pt x="18094" y="18281"/>
                  <a:pt x="18000" y="18281"/>
                </a:cubicBezTo>
                <a:cubicBezTo>
                  <a:pt x="18000" y="18219"/>
                  <a:pt x="17844" y="18156"/>
                  <a:pt x="17969" y="18063"/>
                </a:cubicBezTo>
                <a:cubicBezTo>
                  <a:pt x="18000" y="18063"/>
                  <a:pt x="18000" y="18031"/>
                  <a:pt x="18000" y="18000"/>
                </a:cubicBezTo>
                <a:cubicBezTo>
                  <a:pt x="17969" y="17969"/>
                  <a:pt x="17938" y="17906"/>
                  <a:pt x="17907" y="17938"/>
                </a:cubicBezTo>
                <a:cubicBezTo>
                  <a:pt x="17844" y="17969"/>
                  <a:pt x="17750" y="18000"/>
                  <a:pt x="17813" y="18094"/>
                </a:cubicBezTo>
                <a:cubicBezTo>
                  <a:pt x="17844" y="18125"/>
                  <a:pt x="17844" y="18156"/>
                  <a:pt x="17813" y="18156"/>
                </a:cubicBezTo>
                <a:cubicBezTo>
                  <a:pt x="17782" y="18188"/>
                  <a:pt x="17750" y="18156"/>
                  <a:pt x="17750" y="18125"/>
                </a:cubicBezTo>
                <a:cubicBezTo>
                  <a:pt x="17594" y="18031"/>
                  <a:pt x="17532" y="17875"/>
                  <a:pt x="17407" y="17781"/>
                </a:cubicBezTo>
                <a:cubicBezTo>
                  <a:pt x="17375" y="17750"/>
                  <a:pt x="17375" y="17750"/>
                  <a:pt x="17407" y="17719"/>
                </a:cubicBezTo>
                <a:cubicBezTo>
                  <a:pt x="17500" y="17594"/>
                  <a:pt x="17500" y="17438"/>
                  <a:pt x="17438" y="17281"/>
                </a:cubicBezTo>
                <a:cubicBezTo>
                  <a:pt x="17438" y="17250"/>
                  <a:pt x="17438" y="17250"/>
                  <a:pt x="17438" y="17219"/>
                </a:cubicBezTo>
                <a:cubicBezTo>
                  <a:pt x="17563" y="17250"/>
                  <a:pt x="17563" y="17125"/>
                  <a:pt x="17625" y="17094"/>
                </a:cubicBezTo>
                <a:cubicBezTo>
                  <a:pt x="17782" y="16969"/>
                  <a:pt x="17938" y="16875"/>
                  <a:pt x="18063" y="16719"/>
                </a:cubicBezTo>
                <a:cubicBezTo>
                  <a:pt x="18125" y="16656"/>
                  <a:pt x="18157" y="16625"/>
                  <a:pt x="18250" y="16656"/>
                </a:cubicBezTo>
                <a:cubicBezTo>
                  <a:pt x="18313" y="16688"/>
                  <a:pt x="18375" y="16750"/>
                  <a:pt x="18438" y="16656"/>
                </a:cubicBezTo>
                <a:cubicBezTo>
                  <a:pt x="18469" y="16656"/>
                  <a:pt x="18500" y="16656"/>
                  <a:pt x="18563" y="16656"/>
                </a:cubicBezTo>
                <a:cubicBezTo>
                  <a:pt x="18563" y="16750"/>
                  <a:pt x="18625" y="16719"/>
                  <a:pt x="18688" y="16750"/>
                </a:cubicBezTo>
                <a:cubicBezTo>
                  <a:pt x="18844" y="16750"/>
                  <a:pt x="18969" y="16781"/>
                  <a:pt x="19063" y="16875"/>
                </a:cubicBezTo>
                <a:cubicBezTo>
                  <a:pt x="19125" y="16938"/>
                  <a:pt x="19188" y="16906"/>
                  <a:pt x="19219" y="16844"/>
                </a:cubicBezTo>
                <a:cubicBezTo>
                  <a:pt x="19407" y="16500"/>
                  <a:pt x="19625" y="16156"/>
                  <a:pt x="19719" y="15781"/>
                </a:cubicBezTo>
                <a:cubicBezTo>
                  <a:pt x="19750" y="15688"/>
                  <a:pt x="19782" y="15594"/>
                  <a:pt x="19782" y="15469"/>
                </a:cubicBezTo>
                <a:cubicBezTo>
                  <a:pt x="19782" y="15406"/>
                  <a:pt x="19813" y="15344"/>
                  <a:pt x="19844" y="15313"/>
                </a:cubicBezTo>
                <a:cubicBezTo>
                  <a:pt x="19969" y="15281"/>
                  <a:pt x="20000" y="15156"/>
                  <a:pt x="20032" y="15063"/>
                </a:cubicBezTo>
                <a:cubicBezTo>
                  <a:pt x="20063" y="14906"/>
                  <a:pt x="20157" y="14781"/>
                  <a:pt x="20188" y="14656"/>
                </a:cubicBezTo>
                <a:cubicBezTo>
                  <a:pt x="20250" y="14438"/>
                  <a:pt x="20344" y="14281"/>
                  <a:pt x="20500" y="14156"/>
                </a:cubicBezTo>
                <a:cubicBezTo>
                  <a:pt x="20563" y="14281"/>
                  <a:pt x="20500" y="14469"/>
                  <a:pt x="20563" y="14625"/>
                </a:cubicBezTo>
                <a:cubicBezTo>
                  <a:pt x="20688" y="14250"/>
                  <a:pt x="20657" y="13906"/>
                  <a:pt x="20625" y="13563"/>
                </a:cubicBezTo>
                <a:cubicBezTo>
                  <a:pt x="20625" y="13438"/>
                  <a:pt x="20625" y="13281"/>
                  <a:pt x="20594" y="13250"/>
                </a:cubicBezTo>
                <a:cubicBezTo>
                  <a:pt x="20438" y="13156"/>
                  <a:pt x="20532" y="13063"/>
                  <a:pt x="20500" y="12969"/>
                </a:cubicBezTo>
                <a:cubicBezTo>
                  <a:pt x="20500" y="12938"/>
                  <a:pt x="20500" y="12875"/>
                  <a:pt x="20500" y="12844"/>
                </a:cubicBezTo>
                <a:cubicBezTo>
                  <a:pt x="20469" y="12719"/>
                  <a:pt x="20469" y="12625"/>
                  <a:pt x="20438" y="12500"/>
                </a:cubicBezTo>
                <a:cubicBezTo>
                  <a:pt x="20438" y="12469"/>
                  <a:pt x="20532" y="12438"/>
                  <a:pt x="20469" y="12375"/>
                </a:cubicBezTo>
                <a:cubicBezTo>
                  <a:pt x="20375" y="12250"/>
                  <a:pt x="20375" y="12125"/>
                  <a:pt x="20375" y="12000"/>
                </a:cubicBezTo>
                <a:cubicBezTo>
                  <a:pt x="20375" y="11938"/>
                  <a:pt x="20282" y="11781"/>
                  <a:pt x="20219" y="11781"/>
                </a:cubicBezTo>
                <a:cubicBezTo>
                  <a:pt x="20157" y="11781"/>
                  <a:pt x="20157" y="11781"/>
                  <a:pt x="20157" y="11750"/>
                </a:cubicBezTo>
                <a:cubicBezTo>
                  <a:pt x="20157" y="11438"/>
                  <a:pt x="20157" y="11125"/>
                  <a:pt x="20094" y="10813"/>
                </a:cubicBezTo>
                <a:cubicBezTo>
                  <a:pt x="20188" y="10969"/>
                  <a:pt x="20375" y="11031"/>
                  <a:pt x="20438" y="11188"/>
                </a:cubicBezTo>
                <a:cubicBezTo>
                  <a:pt x="20438" y="11219"/>
                  <a:pt x="20438" y="11250"/>
                  <a:pt x="20469" y="11281"/>
                </a:cubicBezTo>
                <a:lnTo>
                  <a:pt x="20469" y="11281"/>
                </a:lnTo>
                <a:cubicBezTo>
                  <a:pt x="20500" y="11250"/>
                  <a:pt x="20500" y="11219"/>
                  <a:pt x="20469" y="11188"/>
                </a:cubicBezTo>
                <a:cubicBezTo>
                  <a:pt x="20438" y="10906"/>
                  <a:pt x="20375" y="10656"/>
                  <a:pt x="20344" y="10406"/>
                </a:cubicBezTo>
                <a:cubicBezTo>
                  <a:pt x="20438" y="10531"/>
                  <a:pt x="20469" y="10656"/>
                  <a:pt x="20500" y="10813"/>
                </a:cubicBezTo>
                <a:cubicBezTo>
                  <a:pt x="20532" y="10969"/>
                  <a:pt x="20469" y="11156"/>
                  <a:pt x="20625" y="11313"/>
                </a:cubicBezTo>
                <a:cubicBezTo>
                  <a:pt x="20657" y="11188"/>
                  <a:pt x="20719" y="11094"/>
                  <a:pt x="20657" y="11000"/>
                </a:cubicBezTo>
                <a:cubicBezTo>
                  <a:pt x="20625" y="10906"/>
                  <a:pt x="20657" y="10813"/>
                  <a:pt x="20594" y="10719"/>
                </a:cubicBezTo>
                <a:cubicBezTo>
                  <a:pt x="20594" y="10719"/>
                  <a:pt x="20594" y="10656"/>
                  <a:pt x="20625" y="10656"/>
                </a:cubicBezTo>
                <a:cubicBezTo>
                  <a:pt x="20657" y="10625"/>
                  <a:pt x="20657" y="10656"/>
                  <a:pt x="20688" y="10688"/>
                </a:cubicBezTo>
                <a:cubicBezTo>
                  <a:pt x="20782" y="10750"/>
                  <a:pt x="20844" y="10844"/>
                  <a:pt x="20938" y="10906"/>
                </a:cubicBezTo>
                <a:cubicBezTo>
                  <a:pt x="20938" y="10688"/>
                  <a:pt x="20782" y="10531"/>
                  <a:pt x="20719" y="10344"/>
                </a:cubicBezTo>
                <a:cubicBezTo>
                  <a:pt x="20625" y="10094"/>
                  <a:pt x="20407" y="9938"/>
                  <a:pt x="20375" y="9656"/>
                </a:cubicBezTo>
                <a:cubicBezTo>
                  <a:pt x="20375" y="9594"/>
                  <a:pt x="20282" y="9563"/>
                  <a:pt x="20344" y="9500"/>
                </a:cubicBezTo>
                <a:cubicBezTo>
                  <a:pt x="20407" y="9438"/>
                  <a:pt x="20438" y="9563"/>
                  <a:pt x="20500" y="9563"/>
                </a:cubicBezTo>
                <a:cubicBezTo>
                  <a:pt x="20750" y="9625"/>
                  <a:pt x="20938" y="9781"/>
                  <a:pt x="21094" y="9969"/>
                </a:cubicBezTo>
                <a:cubicBezTo>
                  <a:pt x="21125" y="10000"/>
                  <a:pt x="21125" y="10031"/>
                  <a:pt x="21188" y="10031"/>
                </a:cubicBezTo>
                <a:cubicBezTo>
                  <a:pt x="21188" y="9938"/>
                  <a:pt x="21094" y="9906"/>
                  <a:pt x="21063" y="9844"/>
                </a:cubicBezTo>
                <a:cubicBezTo>
                  <a:pt x="20969" y="9688"/>
                  <a:pt x="20844" y="9531"/>
                  <a:pt x="20750" y="9375"/>
                </a:cubicBezTo>
                <a:cubicBezTo>
                  <a:pt x="20657" y="9250"/>
                  <a:pt x="20500" y="9156"/>
                  <a:pt x="20407" y="9031"/>
                </a:cubicBezTo>
                <a:cubicBezTo>
                  <a:pt x="20282" y="8844"/>
                  <a:pt x="20157" y="8656"/>
                  <a:pt x="20000" y="8469"/>
                </a:cubicBezTo>
                <a:cubicBezTo>
                  <a:pt x="19875" y="8313"/>
                  <a:pt x="19657" y="8281"/>
                  <a:pt x="19532" y="8094"/>
                </a:cubicBezTo>
                <a:cubicBezTo>
                  <a:pt x="19532" y="8063"/>
                  <a:pt x="19469" y="8031"/>
                  <a:pt x="19438" y="8031"/>
                </a:cubicBezTo>
                <a:cubicBezTo>
                  <a:pt x="19219" y="7906"/>
                  <a:pt x="19000" y="7781"/>
                  <a:pt x="18750" y="7688"/>
                </a:cubicBezTo>
                <a:cubicBezTo>
                  <a:pt x="18719" y="7688"/>
                  <a:pt x="18688" y="7656"/>
                  <a:pt x="18688" y="7625"/>
                </a:cubicBezTo>
                <a:cubicBezTo>
                  <a:pt x="18657" y="7531"/>
                  <a:pt x="18657" y="7563"/>
                  <a:pt x="18594" y="7500"/>
                </a:cubicBezTo>
                <a:cubicBezTo>
                  <a:pt x="18500" y="7469"/>
                  <a:pt x="18375" y="7438"/>
                  <a:pt x="18313" y="7313"/>
                </a:cubicBezTo>
                <a:cubicBezTo>
                  <a:pt x="18532" y="7313"/>
                  <a:pt x="18750" y="7313"/>
                  <a:pt x="18969" y="7313"/>
                </a:cubicBezTo>
                <a:cubicBezTo>
                  <a:pt x="19032" y="7313"/>
                  <a:pt x="19125" y="7313"/>
                  <a:pt x="19188" y="7406"/>
                </a:cubicBezTo>
                <a:cubicBezTo>
                  <a:pt x="19188" y="7438"/>
                  <a:pt x="19219" y="7438"/>
                  <a:pt x="19250" y="7438"/>
                </a:cubicBezTo>
                <a:cubicBezTo>
                  <a:pt x="19250" y="7438"/>
                  <a:pt x="19250" y="7406"/>
                  <a:pt x="19250" y="7375"/>
                </a:cubicBezTo>
                <a:cubicBezTo>
                  <a:pt x="19219" y="7219"/>
                  <a:pt x="19344" y="7313"/>
                  <a:pt x="19375" y="7313"/>
                </a:cubicBezTo>
                <a:cubicBezTo>
                  <a:pt x="19469" y="7406"/>
                  <a:pt x="19594" y="7438"/>
                  <a:pt x="19719" y="7500"/>
                </a:cubicBezTo>
                <a:cubicBezTo>
                  <a:pt x="19813" y="7531"/>
                  <a:pt x="19907" y="7594"/>
                  <a:pt x="20032" y="7531"/>
                </a:cubicBezTo>
                <a:cubicBezTo>
                  <a:pt x="20063" y="7500"/>
                  <a:pt x="20094" y="7531"/>
                  <a:pt x="20094" y="7563"/>
                </a:cubicBezTo>
                <a:cubicBezTo>
                  <a:pt x="20250" y="7813"/>
                  <a:pt x="20438" y="8031"/>
                  <a:pt x="20563" y="8313"/>
                </a:cubicBezTo>
                <a:cubicBezTo>
                  <a:pt x="20563" y="8344"/>
                  <a:pt x="20563" y="8406"/>
                  <a:pt x="20625" y="8375"/>
                </a:cubicBezTo>
                <a:cubicBezTo>
                  <a:pt x="20688" y="8375"/>
                  <a:pt x="20657" y="8313"/>
                  <a:pt x="20625" y="8281"/>
                </a:cubicBezTo>
                <a:cubicBezTo>
                  <a:pt x="20594" y="8188"/>
                  <a:pt x="20657" y="8094"/>
                  <a:pt x="20594" y="8031"/>
                </a:cubicBezTo>
                <a:cubicBezTo>
                  <a:pt x="20594" y="8000"/>
                  <a:pt x="20594" y="8000"/>
                  <a:pt x="20625" y="8000"/>
                </a:cubicBezTo>
                <a:cubicBezTo>
                  <a:pt x="20782" y="8000"/>
                  <a:pt x="20719" y="7875"/>
                  <a:pt x="20688" y="7844"/>
                </a:cubicBezTo>
                <a:cubicBezTo>
                  <a:pt x="20625" y="7656"/>
                  <a:pt x="20594" y="7469"/>
                  <a:pt x="20532" y="7313"/>
                </a:cubicBezTo>
                <a:cubicBezTo>
                  <a:pt x="20469" y="7125"/>
                  <a:pt x="20375" y="6969"/>
                  <a:pt x="20250" y="6844"/>
                </a:cubicBezTo>
                <a:cubicBezTo>
                  <a:pt x="20219" y="6813"/>
                  <a:pt x="20157" y="6781"/>
                  <a:pt x="20157" y="6688"/>
                </a:cubicBezTo>
                <a:cubicBezTo>
                  <a:pt x="20344" y="6813"/>
                  <a:pt x="20532" y="6906"/>
                  <a:pt x="20688" y="7094"/>
                </a:cubicBezTo>
                <a:cubicBezTo>
                  <a:pt x="20719" y="7125"/>
                  <a:pt x="20750" y="7188"/>
                  <a:pt x="20813" y="7188"/>
                </a:cubicBezTo>
                <a:cubicBezTo>
                  <a:pt x="20844" y="7219"/>
                  <a:pt x="20844" y="7250"/>
                  <a:pt x="20875" y="7219"/>
                </a:cubicBezTo>
                <a:lnTo>
                  <a:pt x="20875" y="7219"/>
                </a:lnTo>
                <a:cubicBezTo>
                  <a:pt x="20875" y="7219"/>
                  <a:pt x="20875" y="7188"/>
                  <a:pt x="20844" y="7188"/>
                </a:cubicBezTo>
                <a:cubicBezTo>
                  <a:pt x="20844" y="7156"/>
                  <a:pt x="20844" y="7094"/>
                  <a:pt x="20813" y="7094"/>
                </a:cubicBezTo>
                <a:cubicBezTo>
                  <a:pt x="20750" y="7000"/>
                  <a:pt x="20657" y="6969"/>
                  <a:pt x="20594" y="6875"/>
                </a:cubicBezTo>
                <a:cubicBezTo>
                  <a:pt x="20219" y="6500"/>
                  <a:pt x="19875" y="6031"/>
                  <a:pt x="19438" y="5688"/>
                </a:cubicBezTo>
                <a:cubicBezTo>
                  <a:pt x="19407" y="5656"/>
                  <a:pt x="19375" y="5625"/>
                  <a:pt x="19375" y="5563"/>
                </a:cubicBezTo>
                <a:cubicBezTo>
                  <a:pt x="19407" y="5594"/>
                  <a:pt x="19438" y="5656"/>
                  <a:pt x="19469" y="5625"/>
                </a:cubicBezTo>
                <a:cubicBezTo>
                  <a:pt x="19500" y="5594"/>
                  <a:pt x="19500" y="5563"/>
                  <a:pt x="19500" y="5531"/>
                </a:cubicBezTo>
                <a:cubicBezTo>
                  <a:pt x="19469" y="5438"/>
                  <a:pt x="19375" y="5375"/>
                  <a:pt x="19313" y="5281"/>
                </a:cubicBezTo>
                <a:cubicBezTo>
                  <a:pt x="19094" y="5063"/>
                  <a:pt x="18813" y="4875"/>
                  <a:pt x="18594" y="4656"/>
                </a:cubicBezTo>
                <a:cubicBezTo>
                  <a:pt x="18438" y="4469"/>
                  <a:pt x="18250" y="4344"/>
                  <a:pt x="18094" y="4188"/>
                </a:cubicBezTo>
                <a:cubicBezTo>
                  <a:pt x="18188" y="4188"/>
                  <a:pt x="18313" y="4219"/>
                  <a:pt x="18407" y="4250"/>
                </a:cubicBezTo>
                <a:cubicBezTo>
                  <a:pt x="18563" y="4313"/>
                  <a:pt x="18719" y="4438"/>
                  <a:pt x="18875" y="4563"/>
                </a:cubicBezTo>
                <a:cubicBezTo>
                  <a:pt x="18907" y="4563"/>
                  <a:pt x="18907" y="4594"/>
                  <a:pt x="18907" y="4625"/>
                </a:cubicBezTo>
                <a:lnTo>
                  <a:pt x="18907" y="4625"/>
                </a:lnTo>
                <a:cubicBezTo>
                  <a:pt x="18875" y="4625"/>
                  <a:pt x="18875" y="4594"/>
                  <a:pt x="18875" y="4563"/>
                </a:cubicBezTo>
                <a:cubicBezTo>
                  <a:pt x="18875" y="4469"/>
                  <a:pt x="18813" y="4438"/>
                  <a:pt x="18750" y="4375"/>
                </a:cubicBezTo>
                <a:cubicBezTo>
                  <a:pt x="18594" y="4281"/>
                  <a:pt x="18407" y="4156"/>
                  <a:pt x="18313" y="3969"/>
                </a:cubicBezTo>
                <a:cubicBezTo>
                  <a:pt x="18188" y="3781"/>
                  <a:pt x="18032" y="3594"/>
                  <a:pt x="17875" y="3469"/>
                </a:cubicBezTo>
                <a:cubicBezTo>
                  <a:pt x="17688" y="3281"/>
                  <a:pt x="17469" y="3156"/>
                  <a:pt x="17282" y="3031"/>
                </a:cubicBezTo>
                <a:cubicBezTo>
                  <a:pt x="17094" y="2875"/>
                  <a:pt x="17094" y="2875"/>
                  <a:pt x="16938" y="3031"/>
                </a:cubicBezTo>
                <a:cubicBezTo>
                  <a:pt x="16938" y="3063"/>
                  <a:pt x="16907" y="3063"/>
                  <a:pt x="16907" y="3063"/>
                </a:cubicBezTo>
                <a:cubicBezTo>
                  <a:pt x="16969" y="2813"/>
                  <a:pt x="16844" y="2688"/>
                  <a:pt x="16657" y="2594"/>
                </a:cubicBezTo>
                <a:cubicBezTo>
                  <a:pt x="16563" y="2531"/>
                  <a:pt x="16438" y="2469"/>
                  <a:pt x="16282" y="2406"/>
                </a:cubicBezTo>
                <a:cubicBezTo>
                  <a:pt x="16282" y="2375"/>
                  <a:pt x="16188" y="2375"/>
                  <a:pt x="16219" y="2313"/>
                </a:cubicBezTo>
                <a:cubicBezTo>
                  <a:pt x="16250" y="2281"/>
                  <a:pt x="16282" y="2188"/>
                  <a:pt x="16344" y="2250"/>
                </a:cubicBezTo>
                <a:cubicBezTo>
                  <a:pt x="16500" y="2313"/>
                  <a:pt x="16657" y="2313"/>
                  <a:pt x="16750" y="2469"/>
                </a:cubicBezTo>
                <a:cubicBezTo>
                  <a:pt x="16782" y="2531"/>
                  <a:pt x="16844" y="2594"/>
                  <a:pt x="16907" y="2656"/>
                </a:cubicBezTo>
                <a:cubicBezTo>
                  <a:pt x="16938" y="2625"/>
                  <a:pt x="16907" y="2531"/>
                  <a:pt x="17000" y="2563"/>
                </a:cubicBezTo>
                <a:cubicBezTo>
                  <a:pt x="17125" y="2625"/>
                  <a:pt x="17188" y="2656"/>
                  <a:pt x="17250" y="2750"/>
                </a:cubicBezTo>
                <a:cubicBezTo>
                  <a:pt x="17282" y="2750"/>
                  <a:pt x="17313" y="2781"/>
                  <a:pt x="17344" y="2750"/>
                </a:cubicBezTo>
                <a:cubicBezTo>
                  <a:pt x="17344" y="2750"/>
                  <a:pt x="17344" y="2719"/>
                  <a:pt x="17344" y="2688"/>
                </a:cubicBezTo>
                <a:cubicBezTo>
                  <a:pt x="17250" y="2531"/>
                  <a:pt x="17157" y="2406"/>
                  <a:pt x="17032" y="2313"/>
                </a:cubicBezTo>
                <a:cubicBezTo>
                  <a:pt x="16969" y="2250"/>
                  <a:pt x="16844" y="2219"/>
                  <a:pt x="16907" y="2063"/>
                </a:cubicBezTo>
                <a:cubicBezTo>
                  <a:pt x="16907" y="2031"/>
                  <a:pt x="16875" y="2031"/>
                  <a:pt x="16844" y="2000"/>
                </a:cubicBezTo>
                <a:cubicBezTo>
                  <a:pt x="16844" y="2000"/>
                  <a:pt x="16844" y="1938"/>
                  <a:pt x="16813" y="1844"/>
                </a:cubicBezTo>
                <a:cubicBezTo>
                  <a:pt x="16813" y="1844"/>
                  <a:pt x="16844" y="1844"/>
                  <a:pt x="16907" y="1813"/>
                </a:cubicBezTo>
                <a:cubicBezTo>
                  <a:pt x="17032" y="1813"/>
                  <a:pt x="17000" y="1719"/>
                  <a:pt x="17000" y="1688"/>
                </a:cubicBezTo>
                <a:cubicBezTo>
                  <a:pt x="17000" y="1594"/>
                  <a:pt x="16938" y="1625"/>
                  <a:pt x="16875" y="1625"/>
                </a:cubicBezTo>
                <a:cubicBezTo>
                  <a:pt x="16813" y="1656"/>
                  <a:pt x="16750" y="1656"/>
                  <a:pt x="16688" y="1625"/>
                </a:cubicBezTo>
                <a:cubicBezTo>
                  <a:pt x="16563" y="1438"/>
                  <a:pt x="16375" y="1188"/>
                  <a:pt x="16032" y="1000"/>
                </a:cubicBezTo>
                <a:cubicBezTo>
                  <a:pt x="16000" y="969"/>
                  <a:pt x="15969" y="938"/>
                  <a:pt x="15938" y="906"/>
                </a:cubicBezTo>
                <a:cubicBezTo>
                  <a:pt x="15938" y="875"/>
                  <a:pt x="15907" y="875"/>
                  <a:pt x="15875" y="875"/>
                </a:cubicBezTo>
                <a:cubicBezTo>
                  <a:pt x="15813" y="875"/>
                  <a:pt x="15750" y="844"/>
                  <a:pt x="15719" y="813"/>
                </a:cubicBezTo>
                <a:cubicBezTo>
                  <a:pt x="15657" y="719"/>
                  <a:pt x="15532" y="688"/>
                  <a:pt x="15438" y="688"/>
                </a:cubicBezTo>
                <a:cubicBezTo>
                  <a:pt x="15313" y="656"/>
                  <a:pt x="15188" y="625"/>
                  <a:pt x="15094" y="594"/>
                </a:cubicBezTo>
                <a:cubicBezTo>
                  <a:pt x="15094" y="531"/>
                  <a:pt x="15188" y="500"/>
                  <a:pt x="15219" y="469"/>
                </a:cubicBezTo>
                <a:cubicBezTo>
                  <a:pt x="15188" y="438"/>
                  <a:pt x="15157" y="438"/>
                  <a:pt x="15125" y="406"/>
                </a:cubicBezTo>
                <a:cubicBezTo>
                  <a:pt x="14938" y="281"/>
                  <a:pt x="14750" y="156"/>
                  <a:pt x="14532" y="156"/>
                </a:cubicBezTo>
                <a:cubicBezTo>
                  <a:pt x="14469" y="156"/>
                  <a:pt x="14438" y="156"/>
                  <a:pt x="14407" y="125"/>
                </a:cubicBezTo>
                <a:cubicBezTo>
                  <a:pt x="14344" y="31"/>
                  <a:pt x="14250" y="63"/>
                  <a:pt x="14157" y="63"/>
                </a:cubicBezTo>
                <a:cubicBezTo>
                  <a:pt x="13750" y="188"/>
                  <a:pt x="13344" y="219"/>
                  <a:pt x="12969" y="31"/>
                </a:cubicBezTo>
                <a:cubicBezTo>
                  <a:pt x="12907" y="0"/>
                  <a:pt x="12844" y="0"/>
                  <a:pt x="12813" y="31"/>
                </a:cubicBezTo>
                <a:cubicBezTo>
                  <a:pt x="12782" y="63"/>
                  <a:pt x="12750" y="63"/>
                  <a:pt x="12688" y="94"/>
                </a:cubicBezTo>
                <a:cubicBezTo>
                  <a:pt x="12500" y="156"/>
                  <a:pt x="12282" y="188"/>
                  <a:pt x="12094" y="219"/>
                </a:cubicBezTo>
                <a:cubicBezTo>
                  <a:pt x="11969" y="281"/>
                  <a:pt x="11844" y="375"/>
                  <a:pt x="11688" y="344"/>
                </a:cubicBezTo>
                <a:cubicBezTo>
                  <a:pt x="11563" y="313"/>
                  <a:pt x="11438" y="344"/>
                  <a:pt x="11313" y="406"/>
                </a:cubicBezTo>
                <a:cubicBezTo>
                  <a:pt x="11344" y="344"/>
                  <a:pt x="11407" y="281"/>
                  <a:pt x="11375" y="219"/>
                </a:cubicBezTo>
                <a:cubicBezTo>
                  <a:pt x="11313" y="219"/>
                  <a:pt x="11282" y="281"/>
                  <a:pt x="11250" y="313"/>
                </a:cubicBezTo>
                <a:cubicBezTo>
                  <a:pt x="11157" y="375"/>
                  <a:pt x="11063" y="438"/>
                  <a:pt x="10938" y="344"/>
                </a:cubicBezTo>
                <a:cubicBezTo>
                  <a:pt x="10844" y="250"/>
                  <a:pt x="10719" y="281"/>
                  <a:pt x="10625" y="375"/>
                </a:cubicBezTo>
                <a:cubicBezTo>
                  <a:pt x="10594" y="438"/>
                  <a:pt x="10500" y="469"/>
                  <a:pt x="10438" y="438"/>
                </a:cubicBezTo>
                <a:cubicBezTo>
                  <a:pt x="10594" y="344"/>
                  <a:pt x="10782" y="250"/>
                  <a:pt x="10938" y="94"/>
                </a:cubicBezTo>
                <a:cubicBezTo>
                  <a:pt x="10750" y="63"/>
                  <a:pt x="10594" y="125"/>
                  <a:pt x="10469" y="156"/>
                </a:cubicBezTo>
                <a:cubicBezTo>
                  <a:pt x="10188" y="219"/>
                  <a:pt x="9969" y="406"/>
                  <a:pt x="9688" y="469"/>
                </a:cubicBezTo>
                <a:cubicBezTo>
                  <a:pt x="9438" y="531"/>
                  <a:pt x="9219" y="688"/>
                  <a:pt x="8969" y="781"/>
                </a:cubicBezTo>
                <a:cubicBezTo>
                  <a:pt x="8875" y="813"/>
                  <a:pt x="8813" y="844"/>
                  <a:pt x="8782" y="938"/>
                </a:cubicBezTo>
                <a:cubicBezTo>
                  <a:pt x="8657" y="1125"/>
                  <a:pt x="8532" y="1344"/>
                  <a:pt x="8500" y="1594"/>
                </a:cubicBezTo>
                <a:cubicBezTo>
                  <a:pt x="8500" y="1625"/>
                  <a:pt x="8500" y="1656"/>
                  <a:pt x="8469" y="1656"/>
                </a:cubicBezTo>
                <a:cubicBezTo>
                  <a:pt x="8407" y="1656"/>
                  <a:pt x="8438" y="1625"/>
                  <a:pt x="8438" y="1594"/>
                </a:cubicBezTo>
                <a:cubicBezTo>
                  <a:pt x="8438" y="1531"/>
                  <a:pt x="8438" y="1469"/>
                  <a:pt x="8438" y="1406"/>
                </a:cubicBezTo>
                <a:cubicBezTo>
                  <a:pt x="8438" y="1219"/>
                  <a:pt x="8438" y="1250"/>
                  <a:pt x="8219" y="1250"/>
                </a:cubicBezTo>
                <a:cubicBezTo>
                  <a:pt x="8032" y="1250"/>
                  <a:pt x="8032" y="1406"/>
                  <a:pt x="8000" y="1500"/>
                </a:cubicBezTo>
                <a:cubicBezTo>
                  <a:pt x="7907" y="1688"/>
                  <a:pt x="7875" y="1875"/>
                  <a:pt x="7813" y="2031"/>
                </a:cubicBezTo>
                <a:cubicBezTo>
                  <a:pt x="7750" y="2250"/>
                  <a:pt x="7657" y="2469"/>
                  <a:pt x="7688" y="2750"/>
                </a:cubicBezTo>
                <a:cubicBezTo>
                  <a:pt x="7719" y="2719"/>
                  <a:pt x="7719" y="2625"/>
                  <a:pt x="7782" y="2688"/>
                </a:cubicBezTo>
                <a:cubicBezTo>
                  <a:pt x="7813" y="2719"/>
                  <a:pt x="7844" y="2781"/>
                  <a:pt x="7782" y="2844"/>
                </a:cubicBezTo>
                <a:cubicBezTo>
                  <a:pt x="7750" y="2875"/>
                  <a:pt x="7719" y="2875"/>
                  <a:pt x="7688" y="2844"/>
                </a:cubicBezTo>
                <a:cubicBezTo>
                  <a:pt x="7594" y="2750"/>
                  <a:pt x="7532" y="2688"/>
                  <a:pt x="7407" y="2656"/>
                </a:cubicBezTo>
                <a:cubicBezTo>
                  <a:pt x="7219" y="2625"/>
                  <a:pt x="7032" y="2500"/>
                  <a:pt x="6907" y="2406"/>
                </a:cubicBezTo>
                <a:cubicBezTo>
                  <a:pt x="6750" y="2281"/>
                  <a:pt x="6657" y="2219"/>
                  <a:pt x="6469" y="2188"/>
                </a:cubicBezTo>
                <a:cubicBezTo>
                  <a:pt x="6407" y="2188"/>
                  <a:pt x="6344" y="2156"/>
                  <a:pt x="6313" y="2188"/>
                </a:cubicBezTo>
                <a:cubicBezTo>
                  <a:pt x="5813" y="2063"/>
                  <a:pt x="5000" y="2000"/>
                  <a:pt x="3782" y="2438"/>
                </a:cubicBezTo>
                <a:cubicBezTo>
                  <a:pt x="3782" y="2438"/>
                  <a:pt x="3782" y="2438"/>
                  <a:pt x="3782" y="2438"/>
                </a:cubicBezTo>
                <a:cubicBezTo>
                  <a:pt x="3563" y="2500"/>
                  <a:pt x="3344" y="2531"/>
                  <a:pt x="3125" y="2500"/>
                </a:cubicBezTo>
                <a:cubicBezTo>
                  <a:pt x="3063" y="2500"/>
                  <a:pt x="3000" y="2500"/>
                  <a:pt x="2938" y="2531"/>
                </a:cubicBezTo>
                <a:cubicBezTo>
                  <a:pt x="2844" y="2594"/>
                  <a:pt x="2750" y="2594"/>
                  <a:pt x="2625" y="2594"/>
                </a:cubicBezTo>
                <a:cubicBezTo>
                  <a:pt x="2563" y="2594"/>
                  <a:pt x="2532" y="2563"/>
                  <a:pt x="2407" y="2594"/>
                </a:cubicBezTo>
                <a:cubicBezTo>
                  <a:pt x="2594" y="2625"/>
                  <a:pt x="2500" y="2781"/>
                  <a:pt x="2563" y="2813"/>
                </a:cubicBezTo>
                <a:cubicBezTo>
                  <a:pt x="2563" y="2844"/>
                  <a:pt x="2532" y="2844"/>
                  <a:pt x="2500" y="2875"/>
                </a:cubicBezTo>
                <a:cubicBezTo>
                  <a:pt x="2469" y="2875"/>
                  <a:pt x="2407" y="2906"/>
                  <a:pt x="2375" y="2938"/>
                </a:cubicBezTo>
                <a:cubicBezTo>
                  <a:pt x="2282" y="2969"/>
                  <a:pt x="2219" y="3031"/>
                  <a:pt x="2219" y="3125"/>
                </a:cubicBezTo>
                <a:cubicBezTo>
                  <a:pt x="2219" y="3281"/>
                  <a:pt x="2125" y="3281"/>
                  <a:pt x="2032" y="3313"/>
                </a:cubicBezTo>
                <a:cubicBezTo>
                  <a:pt x="2000" y="3313"/>
                  <a:pt x="1938" y="3250"/>
                  <a:pt x="1907" y="3313"/>
                </a:cubicBezTo>
                <a:cubicBezTo>
                  <a:pt x="1907" y="3344"/>
                  <a:pt x="2032" y="3344"/>
                  <a:pt x="1969" y="3406"/>
                </a:cubicBezTo>
                <a:cubicBezTo>
                  <a:pt x="1875" y="3469"/>
                  <a:pt x="1938" y="3500"/>
                  <a:pt x="2000" y="3500"/>
                </a:cubicBezTo>
                <a:cubicBezTo>
                  <a:pt x="2125" y="3531"/>
                  <a:pt x="2219" y="3563"/>
                  <a:pt x="2344" y="3563"/>
                </a:cubicBezTo>
                <a:cubicBezTo>
                  <a:pt x="2407" y="3594"/>
                  <a:pt x="2469" y="3594"/>
                  <a:pt x="2500" y="3688"/>
                </a:cubicBezTo>
                <a:cubicBezTo>
                  <a:pt x="2375" y="3688"/>
                  <a:pt x="2282" y="3688"/>
                  <a:pt x="2188" y="3719"/>
                </a:cubicBezTo>
                <a:cubicBezTo>
                  <a:pt x="2188" y="3719"/>
                  <a:pt x="2032" y="3688"/>
                  <a:pt x="2125" y="3813"/>
                </a:cubicBezTo>
                <a:cubicBezTo>
                  <a:pt x="2157" y="3844"/>
                  <a:pt x="2125" y="3875"/>
                  <a:pt x="2094" y="3875"/>
                </a:cubicBezTo>
                <a:cubicBezTo>
                  <a:pt x="2032" y="3938"/>
                  <a:pt x="2000" y="4031"/>
                  <a:pt x="1969" y="4125"/>
                </a:cubicBezTo>
                <a:cubicBezTo>
                  <a:pt x="1938" y="4188"/>
                  <a:pt x="1907" y="4250"/>
                  <a:pt x="1844" y="4281"/>
                </a:cubicBezTo>
                <a:cubicBezTo>
                  <a:pt x="1344" y="4688"/>
                  <a:pt x="938" y="5125"/>
                  <a:pt x="782" y="5719"/>
                </a:cubicBezTo>
                <a:cubicBezTo>
                  <a:pt x="782" y="5719"/>
                  <a:pt x="782" y="5719"/>
                  <a:pt x="782" y="5719"/>
                </a:cubicBezTo>
                <a:cubicBezTo>
                  <a:pt x="750" y="5750"/>
                  <a:pt x="750" y="5750"/>
                  <a:pt x="750" y="5750"/>
                </a:cubicBezTo>
                <a:cubicBezTo>
                  <a:pt x="750" y="5781"/>
                  <a:pt x="719" y="5781"/>
                  <a:pt x="719" y="5813"/>
                </a:cubicBezTo>
                <a:cubicBezTo>
                  <a:pt x="563" y="6000"/>
                  <a:pt x="32" y="6719"/>
                  <a:pt x="219" y="7438"/>
                </a:cubicBezTo>
                <a:cubicBezTo>
                  <a:pt x="219" y="7469"/>
                  <a:pt x="219" y="7500"/>
                  <a:pt x="188" y="7531"/>
                </a:cubicBezTo>
                <a:cubicBezTo>
                  <a:pt x="219" y="7500"/>
                  <a:pt x="219" y="7500"/>
                  <a:pt x="250" y="7500"/>
                </a:cubicBezTo>
                <a:cubicBezTo>
                  <a:pt x="282" y="7531"/>
                  <a:pt x="282" y="7594"/>
                  <a:pt x="313" y="7656"/>
                </a:cubicBezTo>
                <a:cubicBezTo>
                  <a:pt x="282" y="7719"/>
                  <a:pt x="282" y="7844"/>
                  <a:pt x="188" y="7906"/>
                </a:cubicBezTo>
                <a:cubicBezTo>
                  <a:pt x="313" y="7875"/>
                  <a:pt x="407" y="7844"/>
                  <a:pt x="500" y="7813"/>
                </a:cubicBezTo>
                <a:cubicBezTo>
                  <a:pt x="532" y="7781"/>
                  <a:pt x="594" y="7781"/>
                  <a:pt x="625" y="7781"/>
                </a:cubicBezTo>
                <a:cubicBezTo>
                  <a:pt x="657" y="7781"/>
                  <a:pt x="594" y="7844"/>
                  <a:pt x="657" y="7875"/>
                </a:cubicBezTo>
                <a:cubicBezTo>
                  <a:pt x="719" y="7844"/>
                  <a:pt x="719" y="7688"/>
                  <a:pt x="813" y="7750"/>
                </a:cubicBezTo>
                <a:cubicBezTo>
                  <a:pt x="875" y="7781"/>
                  <a:pt x="813" y="7906"/>
                  <a:pt x="782" y="7969"/>
                </a:cubicBezTo>
                <a:cubicBezTo>
                  <a:pt x="782" y="8000"/>
                  <a:pt x="750" y="8000"/>
                  <a:pt x="750" y="8031"/>
                </a:cubicBezTo>
                <a:cubicBezTo>
                  <a:pt x="657" y="8156"/>
                  <a:pt x="594" y="8281"/>
                  <a:pt x="563" y="8438"/>
                </a:cubicBezTo>
                <a:cubicBezTo>
                  <a:pt x="688" y="8375"/>
                  <a:pt x="750" y="8125"/>
                  <a:pt x="969" y="8313"/>
                </a:cubicBezTo>
                <a:cubicBezTo>
                  <a:pt x="1000" y="8344"/>
                  <a:pt x="1157" y="8344"/>
                  <a:pt x="1250" y="8219"/>
                </a:cubicBezTo>
                <a:cubicBezTo>
                  <a:pt x="1282" y="8156"/>
                  <a:pt x="1407" y="8125"/>
                  <a:pt x="1500" y="8094"/>
                </a:cubicBezTo>
                <a:cubicBezTo>
                  <a:pt x="1438" y="8188"/>
                  <a:pt x="1407" y="8250"/>
                  <a:pt x="1344" y="8313"/>
                </a:cubicBezTo>
                <a:cubicBezTo>
                  <a:pt x="1282" y="8375"/>
                  <a:pt x="1219" y="8406"/>
                  <a:pt x="1344" y="8500"/>
                </a:cubicBezTo>
                <a:cubicBezTo>
                  <a:pt x="1375" y="8469"/>
                  <a:pt x="1375" y="8375"/>
                  <a:pt x="1438" y="8375"/>
                </a:cubicBezTo>
                <a:cubicBezTo>
                  <a:pt x="1438" y="8438"/>
                  <a:pt x="1407" y="8500"/>
                  <a:pt x="1407" y="8531"/>
                </a:cubicBezTo>
                <a:cubicBezTo>
                  <a:pt x="1407" y="8813"/>
                  <a:pt x="1188" y="8938"/>
                  <a:pt x="1063" y="9156"/>
                </a:cubicBezTo>
                <a:cubicBezTo>
                  <a:pt x="1063" y="9188"/>
                  <a:pt x="1000" y="9188"/>
                  <a:pt x="969" y="9188"/>
                </a:cubicBezTo>
                <a:cubicBezTo>
                  <a:pt x="875" y="9250"/>
                  <a:pt x="782" y="9313"/>
                  <a:pt x="719" y="9438"/>
                </a:cubicBezTo>
                <a:cubicBezTo>
                  <a:pt x="625" y="9781"/>
                  <a:pt x="594" y="10125"/>
                  <a:pt x="563" y="10500"/>
                </a:cubicBezTo>
                <a:cubicBezTo>
                  <a:pt x="500" y="10813"/>
                  <a:pt x="532" y="11156"/>
                  <a:pt x="563" y="11469"/>
                </a:cubicBezTo>
                <a:cubicBezTo>
                  <a:pt x="563" y="11469"/>
                  <a:pt x="594" y="11500"/>
                  <a:pt x="594" y="11500"/>
                </a:cubicBezTo>
                <a:cubicBezTo>
                  <a:pt x="594" y="11531"/>
                  <a:pt x="563" y="11531"/>
                  <a:pt x="563" y="11531"/>
                </a:cubicBezTo>
                <a:cubicBezTo>
                  <a:pt x="563" y="11531"/>
                  <a:pt x="563" y="11500"/>
                  <a:pt x="563" y="11469"/>
                </a:cubicBezTo>
                <a:cubicBezTo>
                  <a:pt x="532" y="11500"/>
                  <a:pt x="532" y="11531"/>
                  <a:pt x="563" y="11531"/>
                </a:cubicBezTo>
                <a:cubicBezTo>
                  <a:pt x="532" y="11656"/>
                  <a:pt x="407" y="11688"/>
                  <a:pt x="375" y="11813"/>
                </a:cubicBezTo>
                <a:cubicBezTo>
                  <a:pt x="532" y="11781"/>
                  <a:pt x="438" y="11906"/>
                  <a:pt x="469" y="11969"/>
                </a:cubicBezTo>
                <a:cubicBezTo>
                  <a:pt x="625" y="11781"/>
                  <a:pt x="782" y="11625"/>
                  <a:pt x="969" y="11531"/>
                </a:cubicBezTo>
                <a:cubicBezTo>
                  <a:pt x="750" y="12094"/>
                  <a:pt x="469" y="12656"/>
                  <a:pt x="813" y="13219"/>
                </a:cubicBezTo>
                <a:cubicBezTo>
                  <a:pt x="782" y="12938"/>
                  <a:pt x="875" y="12594"/>
                  <a:pt x="969" y="12281"/>
                </a:cubicBezTo>
                <a:cubicBezTo>
                  <a:pt x="1000" y="12219"/>
                  <a:pt x="969" y="12156"/>
                  <a:pt x="1063" y="12156"/>
                </a:cubicBezTo>
                <a:cubicBezTo>
                  <a:pt x="1063" y="12156"/>
                  <a:pt x="1063" y="12156"/>
                  <a:pt x="1063" y="12156"/>
                </a:cubicBezTo>
                <a:cubicBezTo>
                  <a:pt x="1094" y="12156"/>
                  <a:pt x="1094" y="12156"/>
                  <a:pt x="1063" y="12188"/>
                </a:cubicBezTo>
                <a:cubicBezTo>
                  <a:pt x="1125" y="12219"/>
                  <a:pt x="1000" y="12344"/>
                  <a:pt x="1125" y="12344"/>
                </a:cubicBezTo>
                <a:cubicBezTo>
                  <a:pt x="1250" y="12313"/>
                  <a:pt x="1250" y="12406"/>
                  <a:pt x="1250" y="12469"/>
                </a:cubicBezTo>
                <a:cubicBezTo>
                  <a:pt x="1250" y="12563"/>
                  <a:pt x="1250" y="12656"/>
                  <a:pt x="1282" y="12719"/>
                </a:cubicBezTo>
                <a:cubicBezTo>
                  <a:pt x="1313" y="12906"/>
                  <a:pt x="1282" y="13125"/>
                  <a:pt x="1438" y="13281"/>
                </a:cubicBezTo>
                <a:cubicBezTo>
                  <a:pt x="1469" y="13250"/>
                  <a:pt x="1438" y="13125"/>
                  <a:pt x="1500" y="13188"/>
                </a:cubicBezTo>
                <a:cubicBezTo>
                  <a:pt x="1594" y="13313"/>
                  <a:pt x="1625" y="13250"/>
                  <a:pt x="1719" y="13188"/>
                </a:cubicBezTo>
                <a:cubicBezTo>
                  <a:pt x="1719" y="13219"/>
                  <a:pt x="1719" y="13250"/>
                  <a:pt x="1719" y="13250"/>
                </a:cubicBezTo>
                <a:cubicBezTo>
                  <a:pt x="1688" y="13469"/>
                  <a:pt x="1688" y="13469"/>
                  <a:pt x="1875" y="13500"/>
                </a:cubicBezTo>
                <a:cubicBezTo>
                  <a:pt x="1938" y="13500"/>
                  <a:pt x="1969" y="13531"/>
                  <a:pt x="1969" y="13563"/>
                </a:cubicBezTo>
                <a:cubicBezTo>
                  <a:pt x="1969" y="13656"/>
                  <a:pt x="2000" y="13750"/>
                  <a:pt x="2000" y="13813"/>
                </a:cubicBezTo>
                <a:cubicBezTo>
                  <a:pt x="2000" y="13875"/>
                  <a:pt x="2000" y="13906"/>
                  <a:pt x="2063" y="13906"/>
                </a:cubicBezTo>
                <a:cubicBezTo>
                  <a:pt x="2063" y="13906"/>
                  <a:pt x="2063" y="13875"/>
                  <a:pt x="2094" y="13875"/>
                </a:cubicBezTo>
                <a:cubicBezTo>
                  <a:pt x="2094" y="13875"/>
                  <a:pt x="2094" y="13875"/>
                  <a:pt x="2094" y="13875"/>
                </a:cubicBezTo>
                <a:cubicBezTo>
                  <a:pt x="2094" y="13906"/>
                  <a:pt x="2094" y="13938"/>
                  <a:pt x="2063" y="13938"/>
                </a:cubicBezTo>
                <a:cubicBezTo>
                  <a:pt x="2125" y="13938"/>
                  <a:pt x="2157" y="13969"/>
                  <a:pt x="2157" y="14031"/>
                </a:cubicBezTo>
                <a:cubicBezTo>
                  <a:pt x="2188" y="14188"/>
                  <a:pt x="2063" y="14313"/>
                  <a:pt x="2094" y="14438"/>
                </a:cubicBezTo>
                <a:cubicBezTo>
                  <a:pt x="2094" y="14594"/>
                  <a:pt x="2094" y="14719"/>
                  <a:pt x="2094" y="14844"/>
                </a:cubicBezTo>
                <a:cubicBezTo>
                  <a:pt x="2063" y="15000"/>
                  <a:pt x="2125" y="15063"/>
                  <a:pt x="2219" y="15156"/>
                </a:cubicBezTo>
                <a:cubicBezTo>
                  <a:pt x="2250" y="15188"/>
                  <a:pt x="2282" y="15188"/>
                  <a:pt x="2313" y="15156"/>
                </a:cubicBezTo>
                <a:cubicBezTo>
                  <a:pt x="2344" y="15125"/>
                  <a:pt x="2344" y="15125"/>
                  <a:pt x="2313" y="15094"/>
                </a:cubicBezTo>
                <a:cubicBezTo>
                  <a:pt x="2188" y="14969"/>
                  <a:pt x="2219" y="14844"/>
                  <a:pt x="2219" y="14719"/>
                </a:cubicBezTo>
                <a:cubicBezTo>
                  <a:pt x="2188" y="14625"/>
                  <a:pt x="2219" y="14563"/>
                  <a:pt x="2344" y="14594"/>
                </a:cubicBezTo>
                <a:cubicBezTo>
                  <a:pt x="2375" y="14594"/>
                  <a:pt x="2407" y="14594"/>
                  <a:pt x="2407" y="14563"/>
                </a:cubicBezTo>
                <a:cubicBezTo>
                  <a:pt x="2469" y="14406"/>
                  <a:pt x="2594" y="14313"/>
                  <a:pt x="2657" y="14156"/>
                </a:cubicBezTo>
                <a:cubicBezTo>
                  <a:pt x="2719" y="13969"/>
                  <a:pt x="2813" y="13875"/>
                  <a:pt x="2938" y="13750"/>
                </a:cubicBezTo>
                <a:cubicBezTo>
                  <a:pt x="3032" y="13656"/>
                  <a:pt x="3188" y="13625"/>
                  <a:pt x="3282" y="13531"/>
                </a:cubicBezTo>
                <a:cubicBezTo>
                  <a:pt x="3344" y="13500"/>
                  <a:pt x="3438" y="13469"/>
                  <a:pt x="3469" y="13563"/>
                </a:cubicBezTo>
                <a:cubicBezTo>
                  <a:pt x="3532" y="13625"/>
                  <a:pt x="3532" y="13719"/>
                  <a:pt x="3438" y="13781"/>
                </a:cubicBezTo>
                <a:cubicBezTo>
                  <a:pt x="3407" y="13813"/>
                  <a:pt x="3407" y="13813"/>
                  <a:pt x="3407" y="13844"/>
                </a:cubicBezTo>
                <a:cubicBezTo>
                  <a:pt x="3407" y="13969"/>
                  <a:pt x="3344" y="14031"/>
                  <a:pt x="3282" y="14094"/>
                </a:cubicBezTo>
                <a:cubicBezTo>
                  <a:pt x="3219" y="14125"/>
                  <a:pt x="3219" y="14156"/>
                  <a:pt x="3282" y="14219"/>
                </a:cubicBezTo>
                <a:cubicBezTo>
                  <a:pt x="3375" y="14375"/>
                  <a:pt x="3469" y="14500"/>
                  <a:pt x="3375" y="14688"/>
                </a:cubicBezTo>
                <a:cubicBezTo>
                  <a:pt x="3282" y="14938"/>
                  <a:pt x="3344" y="15156"/>
                  <a:pt x="3375" y="15406"/>
                </a:cubicBezTo>
                <a:cubicBezTo>
                  <a:pt x="3407" y="15594"/>
                  <a:pt x="3500" y="15750"/>
                  <a:pt x="3500" y="15906"/>
                </a:cubicBezTo>
                <a:cubicBezTo>
                  <a:pt x="3469" y="16250"/>
                  <a:pt x="3594" y="16563"/>
                  <a:pt x="3719" y="16875"/>
                </a:cubicBezTo>
                <a:cubicBezTo>
                  <a:pt x="3750" y="16906"/>
                  <a:pt x="3782" y="16938"/>
                  <a:pt x="3813" y="16906"/>
                </a:cubicBezTo>
                <a:cubicBezTo>
                  <a:pt x="3938" y="16813"/>
                  <a:pt x="3938" y="16938"/>
                  <a:pt x="3938" y="17000"/>
                </a:cubicBezTo>
                <a:cubicBezTo>
                  <a:pt x="3969" y="17063"/>
                  <a:pt x="3938" y="17156"/>
                  <a:pt x="3969" y="17219"/>
                </a:cubicBezTo>
                <a:cubicBezTo>
                  <a:pt x="4094" y="17500"/>
                  <a:pt x="4313" y="17688"/>
                  <a:pt x="4532" y="17906"/>
                </a:cubicBezTo>
                <a:cubicBezTo>
                  <a:pt x="4375" y="17688"/>
                  <a:pt x="4219" y="17469"/>
                  <a:pt x="4094" y="17219"/>
                </a:cubicBezTo>
                <a:cubicBezTo>
                  <a:pt x="4094" y="17219"/>
                  <a:pt x="4094" y="17188"/>
                  <a:pt x="4094" y="17188"/>
                </a:cubicBezTo>
                <a:cubicBezTo>
                  <a:pt x="4063" y="17156"/>
                  <a:pt x="4032" y="17094"/>
                  <a:pt x="4094" y="17094"/>
                </a:cubicBezTo>
                <a:cubicBezTo>
                  <a:pt x="4157" y="17063"/>
                  <a:pt x="4125" y="17156"/>
                  <a:pt x="4157" y="17188"/>
                </a:cubicBezTo>
                <a:cubicBezTo>
                  <a:pt x="4250" y="17250"/>
                  <a:pt x="4282" y="17344"/>
                  <a:pt x="4344" y="17438"/>
                </a:cubicBezTo>
                <a:cubicBezTo>
                  <a:pt x="4500" y="17656"/>
                  <a:pt x="4688" y="17813"/>
                  <a:pt x="4782" y="18063"/>
                </a:cubicBezTo>
                <a:cubicBezTo>
                  <a:pt x="4907" y="18375"/>
                  <a:pt x="5157" y="18625"/>
                  <a:pt x="5438" y="18844"/>
                </a:cubicBezTo>
                <a:cubicBezTo>
                  <a:pt x="5438" y="18844"/>
                  <a:pt x="5438" y="18875"/>
                  <a:pt x="5469" y="18844"/>
                </a:cubicBezTo>
                <a:cubicBezTo>
                  <a:pt x="5438" y="18781"/>
                  <a:pt x="5344" y="18719"/>
                  <a:pt x="5313" y="18625"/>
                </a:cubicBezTo>
                <a:cubicBezTo>
                  <a:pt x="5375" y="18594"/>
                  <a:pt x="5407" y="18688"/>
                  <a:pt x="5469" y="18688"/>
                </a:cubicBezTo>
                <a:cubicBezTo>
                  <a:pt x="5469" y="18469"/>
                  <a:pt x="5344" y="18281"/>
                  <a:pt x="5407" y="18063"/>
                </a:cubicBezTo>
                <a:cubicBezTo>
                  <a:pt x="5594" y="18281"/>
                  <a:pt x="5813" y="18406"/>
                  <a:pt x="6032" y="18563"/>
                </a:cubicBezTo>
                <a:cubicBezTo>
                  <a:pt x="6094" y="18625"/>
                  <a:pt x="6188" y="18688"/>
                  <a:pt x="6282" y="18719"/>
                </a:cubicBezTo>
                <a:cubicBezTo>
                  <a:pt x="6282" y="18750"/>
                  <a:pt x="6313" y="18781"/>
                  <a:pt x="6344" y="18750"/>
                </a:cubicBezTo>
                <a:cubicBezTo>
                  <a:pt x="6375" y="18750"/>
                  <a:pt x="6344" y="18719"/>
                  <a:pt x="6313" y="18688"/>
                </a:cubicBezTo>
                <a:cubicBezTo>
                  <a:pt x="6219" y="18563"/>
                  <a:pt x="6157" y="18406"/>
                  <a:pt x="6000" y="18344"/>
                </a:cubicBezTo>
                <a:cubicBezTo>
                  <a:pt x="5969" y="18313"/>
                  <a:pt x="5938" y="18281"/>
                  <a:pt x="5938" y="18313"/>
                </a:cubicBezTo>
                <a:cubicBezTo>
                  <a:pt x="5907" y="18344"/>
                  <a:pt x="5907" y="18375"/>
                  <a:pt x="5938" y="18406"/>
                </a:cubicBezTo>
                <a:cubicBezTo>
                  <a:pt x="6032" y="18531"/>
                  <a:pt x="6125" y="18656"/>
                  <a:pt x="6282" y="18719"/>
                </a:cubicBezTo>
                <a:cubicBezTo>
                  <a:pt x="6282" y="18750"/>
                  <a:pt x="6313" y="18750"/>
                  <a:pt x="6344" y="18750"/>
                </a:cubicBezTo>
                <a:cubicBezTo>
                  <a:pt x="6469" y="18844"/>
                  <a:pt x="6594" y="18906"/>
                  <a:pt x="6688" y="19000"/>
                </a:cubicBezTo>
                <a:cubicBezTo>
                  <a:pt x="6750" y="18938"/>
                  <a:pt x="6719" y="18875"/>
                  <a:pt x="6688" y="18844"/>
                </a:cubicBezTo>
                <a:cubicBezTo>
                  <a:pt x="6625" y="18813"/>
                  <a:pt x="6563" y="18719"/>
                  <a:pt x="6469" y="18750"/>
                </a:cubicBezTo>
                <a:cubicBezTo>
                  <a:pt x="6407" y="18625"/>
                  <a:pt x="6250" y="18563"/>
                  <a:pt x="6282" y="18375"/>
                </a:cubicBezTo>
                <a:cubicBezTo>
                  <a:pt x="6375" y="18375"/>
                  <a:pt x="6375" y="18469"/>
                  <a:pt x="6469" y="18469"/>
                </a:cubicBezTo>
                <a:cubicBezTo>
                  <a:pt x="6407" y="18375"/>
                  <a:pt x="6375" y="18313"/>
                  <a:pt x="6344" y="18250"/>
                </a:cubicBezTo>
                <a:cubicBezTo>
                  <a:pt x="6313" y="18219"/>
                  <a:pt x="6282" y="18188"/>
                  <a:pt x="6344" y="18156"/>
                </a:cubicBezTo>
                <a:cubicBezTo>
                  <a:pt x="6375" y="18125"/>
                  <a:pt x="6407" y="18156"/>
                  <a:pt x="6438" y="18188"/>
                </a:cubicBezTo>
                <a:cubicBezTo>
                  <a:pt x="6625" y="18313"/>
                  <a:pt x="6813" y="18438"/>
                  <a:pt x="6969" y="18563"/>
                </a:cubicBezTo>
                <a:cubicBezTo>
                  <a:pt x="7250" y="18719"/>
                  <a:pt x="7500" y="18906"/>
                  <a:pt x="7782" y="19031"/>
                </a:cubicBezTo>
                <a:cubicBezTo>
                  <a:pt x="8219" y="19219"/>
                  <a:pt x="8657" y="19344"/>
                  <a:pt x="9157" y="19344"/>
                </a:cubicBezTo>
                <a:cubicBezTo>
                  <a:pt x="8969" y="19281"/>
                  <a:pt x="8782" y="19219"/>
                  <a:pt x="8625" y="19125"/>
                </a:cubicBezTo>
                <a:cubicBezTo>
                  <a:pt x="8469" y="19063"/>
                  <a:pt x="8344" y="18938"/>
                  <a:pt x="8188" y="18906"/>
                </a:cubicBezTo>
                <a:cubicBezTo>
                  <a:pt x="8157" y="18906"/>
                  <a:pt x="8125" y="18875"/>
                  <a:pt x="8094" y="18844"/>
                </a:cubicBezTo>
                <a:cubicBezTo>
                  <a:pt x="8063" y="18781"/>
                  <a:pt x="7969" y="18719"/>
                  <a:pt x="7907" y="18688"/>
                </a:cubicBezTo>
                <a:cubicBezTo>
                  <a:pt x="7782" y="18625"/>
                  <a:pt x="7657" y="18594"/>
                  <a:pt x="7532" y="18531"/>
                </a:cubicBezTo>
                <a:cubicBezTo>
                  <a:pt x="7188" y="18375"/>
                  <a:pt x="6938" y="18125"/>
                  <a:pt x="6688" y="17844"/>
                </a:cubicBezTo>
                <a:cubicBezTo>
                  <a:pt x="6532" y="17688"/>
                  <a:pt x="6469" y="17281"/>
                  <a:pt x="6625" y="17125"/>
                </a:cubicBezTo>
                <a:cubicBezTo>
                  <a:pt x="6844" y="16938"/>
                  <a:pt x="6969" y="16656"/>
                  <a:pt x="7188" y="16500"/>
                </a:cubicBezTo>
                <a:cubicBezTo>
                  <a:pt x="7313" y="16406"/>
                  <a:pt x="7438" y="16313"/>
                  <a:pt x="7563" y="16219"/>
                </a:cubicBezTo>
                <a:cubicBezTo>
                  <a:pt x="7594" y="16219"/>
                  <a:pt x="7625" y="16156"/>
                  <a:pt x="7657" y="16188"/>
                </a:cubicBezTo>
                <a:cubicBezTo>
                  <a:pt x="7688" y="16188"/>
                  <a:pt x="7688" y="16250"/>
                  <a:pt x="7657" y="16281"/>
                </a:cubicBezTo>
                <a:cubicBezTo>
                  <a:pt x="7625" y="16531"/>
                  <a:pt x="7625" y="16781"/>
                  <a:pt x="7657" y="17031"/>
                </a:cubicBezTo>
                <a:cubicBezTo>
                  <a:pt x="7688" y="17313"/>
                  <a:pt x="7719" y="17563"/>
                  <a:pt x="7750" y="17813"/>
                </a:cubicBezTo>
                <a:cubicBezTo>
                  <a:pt x="7750" y="18000"/>
                  <a:pt x="7750" y="18219"/>
                  <a:pt x="7875" y="18375"/>
                </a:cubicBezTo>
                <a:cubicBezTo>
                  <a:pt x="7907" y="18438"/>
                  <a:pt x="8000" y="18438"/>
                  <a:pt x="8032" y="18531"/>
                </a:cubicBezTo>
                <a:cubicBezTo>
                  <a:pt x="8063" y="18563"/>
                  <a:pt x="8063" y="18625"/>
                  <a:pt x="8125" y="18594"/>
                </a:cubicBezTo>
                <a:cubicBezTo>
                  <a:pt x="8188" y="18594"/>
                  <a:pt x="8125" y="18531"/>
                  <a:pt x="8125" y="18469"/>
                </a:cubicBezTo>
                <a:cubicBezTo>
                  <a:pt x="8125" y="18313"/>
                  <a:pt x="8063" y="18156"/>
                  <a:pt x="8094" y="18000"/>
                </a:cubicBezTo>
                <a:cubicBezTo>
                  <a:pt x="8125" y="17813"/>
                  <a:pt x="8157" y="17625"/>
                  <a:pt x="8094" y="17438"/>
                </a:cubicBezTo>
                <a:cubicBezTo>
                  <a:pt x="8032" y="17188"/>
                  <a:pt x="8125" y="17000"/>
                  <a:pt x="8188" y="16781"/>
                </a:cubicBezTo>
                <a:cubicBezTo>
                  <a:pt x="8282" y="16438"/>
                  <a:pt x="8469" y="16125"/>
                  <a:pt x="8532" y="15781"/>
                </a:cubicBezTo>
                <a:cubicBezTo>
                  <a:pt x="8313" y="16156"/>
                  <a:pt x="8125" y="16563"/>
                  <a:pt x="8000" y="16969"/>
                </a:cubicBezTo>
                <a:cubicBezTo>
                  <a:pt x="7938" y="16813"/>
                  <a:pt x="7907" y="16625"/>
                  <a:pt x="7907" y="16469"/>
                </a:cubicBezTo>
                <a:cubicBezTo>
                  <a:pt x="7907" y="16375"/>
                  <a:pt x="7938" y="16281"/>
                  <a:pt x="8032" y="16219"/>
                </a:cubicBezTo>
                <a:cubicBezTo>
                  <a:pt x="8219" y="16094"/>
                  <a:pt x="8344" y="15906"/>
                  <a:pt x="8344" y="15656"/>
                </a:cubicBezTo>
                <a:cubicBezTo>
                  <a:pt x="8375" y="15625"/>
                  <a:pt x="8375" y="15594"/>
                  <a:pt x="8407" y="15594"/>
                </a:cubicBezTo>
                <a:cubicBezTo>
                  <a:pt x="8469" y="15563"/>
                  <a:pt x="8532" y="15469"/>
                  <a:pt x="8594" y="15500"/>
                </a:cubicBezTo>
                <a:cubicBezTo>
                  <a:pt x="8657" y="15531"/>
                  <a:pt x="8688" y="15594"/>
                  <a:pt x="8657" y="15688"/>
                </a:cubicBezTo>
                <a:cubicBezTo>
                  <a:pt x="8657" y="15688"/>
                  <a:pt x="8657" y="15719"/>
                  <a:pt x="8688" y="15750"/>
                </a:cubicBezTo>
                <a:cubicBezTo>
                  <a:pt x="8719" y="15750"/>
                  <a:pt x="8750" y="15719"/>
                  <a:pt x="8750" y="15688"/>
                </a:cubicBezTo>
                <a:cubicBezTo>
                  <a:pt x="8782" y="15625"/>
                  <a:pt x="8844" y="15625"/>
                  <a:pt x="8875" y="15656"/>
                </a:cubicBezTo>
                <a:cubicBezTo>
                  <a:pt x="8907" y="15750"/>
                  <a:pt x="9032" y="15781"/>
                  <a:pt x="9094" y="15844"/>
                </a:cubicBezTo>
                <a:cubicBezTo>
                  <a:pt x="9157" y="15906"/>
                  <a:pt x="9219" y="15969"/>
                  <a:pt x="9125" y="16063"/>
                </a:cubicBezTo>
                <a:cubicBezTo>
                  <a:pt x="9063" y="16125"/>
                  <a:pt x="9032" y="16219"/>
                  <a:pt x="9000" y="16313"/>
                </a:cubicBezTo>
                <a:cubicBezTo>
                  <a:pt x="8938" y="16500"/>
                  <a:pt x="9000" y="16719"/>
                  <a:pt x="8938" y="16906"/>
                </a:cubicBezTo>
                <a:cubicBezTo>
                  <a:pt x="8875" y="17125"/>
                  <a:pt x="8938" y="17281"/>
                  <a:pt x="9094" y="17438"/>
                </a:cubicBezTo>
                <a:cubicBezTo>
                  <a:pt x="9188" y="17531"/>
                  <a:pt x="9250" y="17625"/>
                  <a:pt x="9157" y="17781"/>
                </a:cubicBezTo>
                <a:cubicBezTo>
                  <a:pt x="9094" y="17875"/>
                  <a:pt x="9125" y="18000"/>
                  <a:pt x="9157" y="18125"/>
                </a:cubicBezTo>
                <a:cubicBezTo>
                  <a:pt x="9157" y="18219"/>
                  <a:pt x="9219" y="18281"/>
                  <a:pt x="9313" y="18281"/>
                </a:cubicBezTo>
                <a:cubicBezTo>
                  <a:pt x="9219" y="18188"/>
                  <a:pt x="9157" y="17906"/>
                  <a:pt x="9219" y="17781"/>
                </a:cubicBezTo>
                <a:cubicBezTo>
                  <a:pt x="9219" y="17750"/>
                  <a:pt x="9219" y="17688"/>
                  <a:pt x="9282" y="17688"/>
                </a:cubicBezTo>
                <a:cubicBezTo>
                  <a:pt x="9344" y="17719"/>
                  <a:pt x="9313" y="17750"/>
                  <a:pt x="9313" y="17813"/>
                </a:cubicBezTo>
                <a:cubicBezTo>
                  <a:pt x="9313" y="17813"/>
                  <a:pt x="9313" y="17813"/>
                  <a:pt x="9313" y="17813"/>
                </a:cubicBezTo>
                <a:cubicBezTo>
                  <a:pt x="9313" y="17813"/>
                  <a:pt x="9313" y="17813"/>
                  <a:pt x="9313" y="17813"/>
                </a:cubicBezTo>
                <a:cubicBezTo>
                  <a:pt x="9282" y="17813"/>
                  <a:pt x="9282" y="17844"/>
                  <a:pt x="9282" y="17875"/>
                </a:cubicBezTo>
                <a:cubicBezTo>
                  <a:pt x="9313" y="17875"/>
                  <a:pt x="9313" y="17875"/>
                  <a:pt x="9313" y="17875"/>
                </a:cubicBezTo>
                <a:cubicBezTo>
                  <a:pt x="9313" y="17844"/>
                  <a:pt x="9313" y="17813"/>
                  <a:pt x="9313" y="17813"/>
                </a:cubicBezTo>
                <a:cubicBezTo>
                  <a:pt x="9344" y="17813"/>
                  <a:pt x="9375" y="17813"/>
                  <a:pt x="9407" y="17781"/>
                </a:cubicBezTo>
                <a:cubicBezTo>
                  <a:pt x="9438" y="17844"/>
                  <a:pt x="9469" y="17906"/>
                  <a:pt x="9407" y="17969"/>
                </a:cubicBezTo>
                <a:cubicBezTo>
                  <a:pt x="9375" y="18000"/>
                  <a:pt x="9375" y="18000"/>
                  <a:pt x="9344" y="18000"/>
                </a:cubicBezTo>
                <a:lnTo>
                  <a:pt x="9344" y="18000"/>
                </a:lnTo>
                <a:cubicBezTo>
                  <a:pt x="9344" y="18031"/>
                  <a:pt x="9282" y="18031"/>
                  <a:pt x="9282" y="18094"/>
                </a:cubicBezTo>
                <a:cubicBezTo>
                  <a:pt x="9282" y="18094"/>
                  <a:pt x="9313" y="18094"/>
                  <a:pt x="9313" y="18094"/>
                </a:cubicBezTo>
                <a:cubicBezTo>
                  <a:pt x="9375" y="18094"/>
                  <a:pt x="9375" y="18063"/>
                  <a:pt x="9407" y="18031"/>
                </a:cubicBezTo>
                <a:cubicBezTo>
                  <a:pt x="9407" y="18000"/>
                  <a:pt x="9407" y="18000"/>
                  <a:pt x="9407" y="18000"/>
                </a:cubicBezTo>
                <a:cubicBezTo>
                  <a:pt x="9532" y="17969"/>
                  <a:pt x="9500" y="17844"/>
                  <a:pt x="9532" y="17781"/>
                </a:cubicBezTo>
                <a:cubicBezTo>
                  <a:pt x="9563" y="17781"/>
                  <a:pt x="9563" y="17781"/>
                  <a:pt x="9563" y="17781"/>
                </a:cubicBezTo>
                <a:cubicBezTo>
                  <a:pt x="9625" y="17719"/>
                  <a:pt x="9625" y="17625"/>
                  <a:pt x="9625" y="17531"/>
                </a:cubicBezTo>
                <a:lnTo>
                  <a:pt x="9625" y="17531"/>
                </a:lnTo>
                <a:cubicBezTo>
                  <a:pt x="9594" y="17531"/>
                  <a:pt x="9594" y="17531"/>
                  <a:pt x="9563" y="17531"/>
                </a:cubicBezTo>
                <a:cubicBezTo>
                  <a:pt x="9563" y="17625"/>
                  <a:pt x="9563" y="17688"/>
                  <a:pt x="9563" y="17781"/>
                </a:cubicBezTo>
                <a:cubicBezTo>
                  <a:pt x="9563" y="17781"/>
                  <a:pt x="9563" y="17781"/>
                  <a:pt x="9532" y="17781"/>
                </a:cubicBezTo>
                <a:cubicBezTo>
                  <a:pt x="9532" y="17813"/>
                  <a:pt x="9500" y="17844"/>
                  <a:pt x="9469" y="17844"/>
                </a:cubicBezTo>
                <a:cubicBezTo>
                  <a:pt x="9438" y="17813"/>
                  <a:pt x="9438" y="17750"/>
                  <a:pt x="9438" y="17719"/>
                </a:cubicBezTo>
                <a:cubicBezTo>
                  <a:pt x="9469" y="17656"/>
                  <a:pt x="9469" y="17625"/>
                  <a:pt x="9407" y="17563"/>
                </a:cubicBezTo>
                <a:cubicBezTo>
                  <a:pt x="9313" y="17500"/>
                  <a:pt x="9407" y="17406"/>
                  <a:pt x="9438" y="17375"/>
                </a:cubicBezTo>
                <a:cubicBezTo>
                  <a:pt x="9500" y="17344"/>
                  <a:pt x="9500" y="17438"/>
                  <a:pt x="9532" y="17469"/>
                </a:cubicBezTo>
                <a:cubicBezTo>
                  <a:pt x="9532" y="17469"/>
                  <a:pt x="9563" y="17500"/>
                  <a:pt x="9594" y="17500"/>
                </a:cubicBezTo>
                <a:cubicBezTo>
                  <a:pt x="9594" y="17406"/>
                  <a:pt x="9563" y="17313"/>
                  <a:pt x="9532" y="17250"/>
                </a:cubicBezTo>
                <a:cubicBezTo>
                  <a:pt x="9500" y="17156"/>
                  <a:pt x="9469" y="17063"/>
                  <a:pt x="9500" y="16938"/>
                </a:cubicBezTo>
                <a:cubicBezTo>
                  <a:pt x="9563" y="16938"/>
                  <a:pt x="9594" y="16875"/>
                  <a:pt x="9594" y="16813"/>
                </a:cubicBezTo>
                <a:cubicBezTo>
                  <a:pt x="9657" y="16750"/>
                  <a:pt x="9625" y="16656"/>
                  <a:pt x="9657" y="16563"/>
                </a:cubicBezTo>
                <a:cubicBezTo>
                  <a:pt x="9657" y="16563"/>
                  <a:pt x="9688" y="16563"/>
                  <a:pt x="9688" y="16594"/>
                </a:cubicBezTo>
                <a:cubicBezTo>
                  <a:pt x="9782" y="16656"/>
                  <a:pt x="9875" y="17125"/>
                  <a:pt x="9813" y="17219"/>
                </a:cubicBezTo>
                <a:cubicBezTo>
                  <a:pt x="9782" y="17281"/>
                  <a:pt x="9657" y="17313"/>
                  <a:pt x="9750" y="17438"/>
                </a:cubicBezTo>
                <a:cubicBezTo>
                  <a:pt x="9782" y="17469"/>
                  <a:pt x="9719" y="17563"/>
                  <a:pt x="9719" y="17625"/>
                </a:cubicBezTo>
                <a:cubicBezTo>
                  <a:pt x="9750" y="17781"/>
                  <a:pt x="9719" y="17938"/>
                  <a:pt x="9657" y="18094"/>
                </a:cubicBezTo>
                <a:cubicBezTo>
                  <a:pt x="9500" y="18344"/>
                  <a:pt x="9532" y="18594"/>
                  <a:pt x="9625" y="18844"/>
                </a:cubicBezTo>
                <a:cubicBezTo>
                  <a:pt x="9657" y="19031"/>
                  <a:pt x="9657" y="19188"/>
                  <a:pt x="9532" y="19313"/>
                </a:cubicBezTo>
                <a:cubicBezTo>
                  <a:pt x="9375" y="19500"/>
                  <a:pt x="9188" y="19656"/>
                  <a:pt x="9188" y="19906"/>
                </a:cubicBezTo>
                <a:cubicBezTo>
                  <a:pt x="9188" y="19969"/>
                  <a:pt x="9157" y="20031"/>
                  <a:pt x="9157" y="20094"/>
                </a:cubicBezTo>
                <a:cubicBezTo>
                  <a:pt x="9125" y="20125"/>
                  <a:pt x="9157" y="20125"/>
                  <a:pt x="9188" y="20125"/>
                </a:cubicBezTo>
                <a:cubicBezTo>
                  <a:pt x="9157" y="20156"/>
                  <a:pt x="9157" y="20219"/>
                  <a:pt x="9094" y="20250"/>
                </a:cubicBezTo>
                <a:cubicBezTo>
                  <a:pt x="8969" y="20250"/>
                  <a:pt x="8938" y="20313"/>
                  <a:pt x="9032" y="20406"/>
                </a:cubicBezTo>
                <a:cubicBezTo>
                  <a:pt x="9032" y="20438"/>
                  <a:pt x="9032" y="20469"/>
                  <a:pt x="9032" y="20469"/>
                </a:cubicBezTo>
                <a:cubicBezTo>
                  <a:pt x="9000" y="20500"/>
                  <a:pt x="9000" y="20500"/>
                  <a:pt x="8969" y="20500"/>
                </a:cubicBezTo>
                <a:cubicBezTo>
                  <a:pt x="9000" y="20531"/>
                  <a:pt x="9032" y="20594"/>
                  <a:pt x="9094" y="20594"/>
                </a:cubicBezTo>
                <a:cubicBezTo>
                  <a:pt x="9032" y="20594"/>
                  <a:pt x="9000" y="20531"/>
                  <a:pt x="8969" y="20500"/>
                </a:cubicBezTo>
                <a:cubicBezTo>
                  <a:pt x="8969" y="20625"/>
                  <a:pt x="8907" y="20500"/>
                  <a:pt x="8875" y="20563"/>
                </a:cubicBezTo>
                <a:cubicBezTo>
                  <a:pt x="8844" y="20656"/>
                  <a:pt x="8750" y="20750"/>
                  <a:pt x="8782" y="20875"/>
                </a:cubicBezTo>
                <a:cubicBezTo>
                  <a:pt x="8782" y="20938"/>
                  <a:pt x="8813" y="21000"/>
                  <a:pt x="8750" y="21094"/>
                </a:cubicBezTo>
                <a:cubicBezTo>
                  <a:pt x="8750" y="21000"/>
                  <a:pt x="8625" y="21000"/>
                  <a:pt x="8594" y="20906"/>
                </a:cubicBezTo>
                <a:cubicBezTo>
                  <a:pt x="8594" y="21000"/>
                  <a:pt x="8500" y="21063"/>
                  <a:pt x="8500" y="21125"/>
                </a:cubicBezTo>
                <a:cubicBezTo>
                  <a:pt x="8500" y="21188"/>
                  <a:pt x="8532" y="21219"/>
                  <a:pt x="8469" y="21250"/>
                </a:cubicBezTo>
                <a:cubicBezTo>
                  <a:pt x="8407" y="21250"/>
                  <a:pt x="8375" y="21188"/>
                  <a:pt x="8375" y="21156"/>
                </a:cubicBezTo>
                <a:cubicBezTo>
                  <a:pt x="8375" y="21125"/>
                  <a:pt x="8375" y="21094"/>
                  <a:pt x="8344" y="21094"/>
                </a:cubicBezTo>
                <a:cubicBezTo>
                  <a:pt x="8313" y="21094"/>
                  <a:pt x="8313" y="21094"/>
                  <a:pt x="8282" y="21125"/>
                </a:cubicBezTo>
                <a:cubicBezTo>
                  <a:pt x="8188" y="21250"/>
                  <a:pt x="8313" y="21250"/>
                  <a:pt x="8375" y="21313"/>
                </a:cubicBezTo>
                <a:cubicBezTo>
                  <a:pt x="8313" y="21375"/>
                  <a:pt x="8282" y="21375"/>
                  <a:pt x="8250" y="21281"/>
                </a:cubicBezTo>
                <a:cubicBezTo>
                  <a:pt x="8219" y="21250"/>
                  <a:pt x="8157" y="21188"/>
                  <a:pt x="8157" y="21188"/>
                </a:cubicBezTo>
                <a:cubicBezTo>
                  <a:pt x="8063" y="21313"/>
                  <a:pt x="7969" y="21250"/>
                  <a:pt x="7875" y="21219"/>
                </a:cubicBezTo>
                <a:cubicBezTo>
                  <a:pt x="7844" y="21281"/>
                  <a:pt x="7750" y="21281"/>
                  <a:pt x="7719" y="21313"/>
                </a:cubicBezTo>
                <a:cubicBezTo>
                  <a:pt x="7750" y="21375"/>
                  <a:pt x="7782" y="21344"/>
                  <a:pt x="7813" y="21344"/>
                </a:cubicBezTo>
                <a:cubicBezTo>
                  <a:pt x="7875" y="21344"/>
                  <a:pt x="7969" y="21375"/>
                  <a:pt x="7969" y="21438"/>
                </a:cubicBezTo>
                <a:cubicBezTo>
                  <a:pt x="7969" y="21500"/>
                  <a:pt x="7875" y="21469"/>
                  <a:pt x="7844" y="21469"/>
                </a:cubicBezTo>
                <a:cubicBezTo>
                  <a:pt x="7813" y="21500"/>
                  <a:pt x="7813" y="21531"/>
                  <a:pt x="7782" y="21500"/>
                </a:cubicBezTo>
                <a:cubicBezTo>
                  <a:pt x="7750" y="21469"/>
                  <a:pt x="7782" y="21438"/>
                  <a:pt x="7750" y="21406"/>
                </a:cubicBezTo>
                <a:cubicBezTo>
                  <a:pt x="7688" y="21375"/>
                  <a:pt x="7688" y="21375"/>
                  <a:pt x="7688" y="21313"/>
                </a:cubicBezTo>
                <a:cubicBezTo>
                  <a:pt x="7657" y="21281"/>
                  <a:pt x="7719" y="21219"/>
                  <a:pt x="7625" y="21219"/>
                </a:cubicBezTo>
                <a:cubicBezTo>
                  <a:pt x="7532" y="21219"/>
                  <a:pt x="7469" y="21281"/>
                  <a:pt x="7469" y="21313"/>
                </a:cubicBezTo>
                <a:cubicBezTo>
                  <a:pt x="7532" y="21438"/>
                  <a:pt x="7375" y="21469"/>
                  <a:pt x="7375" y="21563"/>
                </a:cubicBezTo>
                <a:cubicBezTo>
                  <a:pt x="7313" y="21500"/>
                  <a:pt x="7344" y="21469"/>
                  <a:pt x="7375" y="21438"/>
                </a:cubicBezTo>
                <a:cubicBezTo>
                  <a:pt x="7438" y="21375"/>
                  <a:pt x="7500" y="21344"/>
                  <a:pt x="7438" y="21281"/>
                </a:cubicBezTo>
                <a:cubicBezTo>
                  <a:pt x="7344" y="21219"/>
                  <a:pt x="7313" y="21313"/>
                  <a:pt x="7282" y="21344"/>
                </a:cubicBezTo>
                <a:cubicBezTo>
                  <a:pt x="7282" y="21344"/>
                  <a:pt x="7250" y="21344"/>
                  <a:pt x="7250" y="21344"/>
                </a:cubicBezTo>
                <a:cubicBezTo>
                  <a:pt x="7188" y="21313"/>
                  <a:pt x="7282" y="21250"/>
                  <a:pt x="7219" y="21219"/>
                </a:cubicBezTo>
                <a:cubicBezTo>
                  <a:pt x="7188" y="21188"/>
                  <a:pt x="7125" y="21219"/>
                  <a:pt x="7063" y="21250"/>
                </a:cubicBezTo>
                <a:cubicBezTo>
                  <a:pt x="7032" y="21313"/>
                  <a:pt x="6969" y="21344"/>
                  <a:pt x="6907" y="21250"/>
                </a:cubicBezTo>
                <a:cubicBezTo>
                  <a:pt x="6875" y="21188"/>
                  <a:pt x="6813" y="21188"/>
                  <a:pt x="6750" y="21250"/>
                </a:cubicBezTo>
                <a:cubicBezTo>
                  <a:pt x="6719" y="21281"/>
                  <a:pt x="6657" y="21281"/>
                  <a:pt x="6625" y="21281"/>
                </a:cubicBezTo>
                <a:cubicBezTo>
                  <a:pt x="6500" y="21313"/>
                  <a:pt x="6407" y="21188"/>
                  <a:pt x="6282" y="21313"/>
                </a:cubicBezTo>
                <a:cubicBezTo>
                  <a:pt x="6282" y="21313"/>
                  <a:pt x="6250" y="21313"/>
                  <a:pt x="6250" y="21344"/>
                </a:cubicBezTo>
                <a:cubicBezTo>
                  <a:pt x="6219" y="21375"/>
                  <a:pt x="6282" y="21375"/>
                  <a:pt x="6282" y="21406"/>
                </a:cubicBezTo>
                <a:cubicBezTo>
                  <a:pt x="6438" y="21531"/>
                  <a:pt x="6625" y="21500"/>
                  <a:pt x="6782" y="21500"/>
                </a:cubicBezTo>
                <a:cubicBezTo>
                  <a:pt x="6844" y="21500"/>
                  <a:pt x="6875" y="21500"/>
                  <a:pt x="6907" y="21594"/>
                </a:cubicBezTo>
                <a:cubicBezTo>
                  <a:pt x="6938" y="21656"/>
                  <a:pt x="6907" y="21688"/>
                  <a:pt x="6844" y="21719"/>
                </a:cubicBezTo>
                <a:cubicBezTo>
                  <a:pt x="6813" y="21719"/>
                  <a:pt x="6750" y="21719"/>
                  <a:pt x="6750" y="21781"/>
                </a:cubicBezTo>
                <a:cubicBezTo>
                  <a:pt x="6750" y="21844"/>
                  <a:pt x="6813" y="21813"/>
                  <a:pt x="6844" y="21844"/>
                </a:cubicBezTo>
                <a:cubicBezTo>
                  <a:pt x="6875" y="21844"/>
                  <a:pt x="6907" y="21875"/>
                  <a:pt x="6938" y="21906"/>
                </a:cubicBezTo>
                <a:cubicBezTo>
                  <a:pt x="7000" y="21938"/>
                  <a:pt x="6969" y="22000"/>
                  <a:pt x="6938" y="22031"/>
                </a:cubicBezTo>
                <a:cubicBezTo>
                  <a:pt x="6907" y="22031"/>
                  <a:pt x="6907" y="22094"/>
                  <a:pt x="6875" y="22031"/>
                </a:cubicBezTo>
                <a:cubicBezTo>
                  <a:pt x="6844" y="22000"/>
                  <a:pt x="6844" y="21969"/>
                  <a:pt x="6813" y="22031"/>
                </a:cubicBezTo>
                <a:cubicBezTo>
                  <a:pt x="6782" y="22063"/>
                  <a:pt x="6719" y="22125"/>
                  <a:pt x="6813" y="22188"/>
                </a:cubicBezTo>
                <a:cubicBezTo>
                  <a:pt x="6813" y="22188"/>
                  <a:pt x="6875" y="22219"/>
                  <a:pt x="6907" y="22156"/>
                </a:cubicBezTo>
                <a:cubicBezTo>
                  <a:pt x="7032" y="22031"/>
                  <a:pt x="7157" y="22000"/>
                  <a:pt x="7313" y="22094"/>
                </a:cubicBezTo>
                <a:cubicBezTo>
                  <a:pt x="7344" y="22094"/>
                  <a:pt x="7375" y="22094"/>
                  <a:pt x="7407" y="22125"/>
                </a:cubicBezTo>
                <a:cubicBezTo>
                  <a:pt x="7469" y="22156"/>
                  <a:pt x="7469" y="22063"/>
                  <a:pt x="7500" y="22063"/>
                </a:cubicBezTo>
                <a:cubicBezTo>
                  <a:pt x="7563" y="22031"/>
                  <a:pt x="7500" y="22000"/>
                  <a:pt x="7469" y="22000"/>
                </a:cubicBezTo>
                <a:cubicBezTo>
                  <a:pt x="7469" y="21969"/>
                  <a:pt x="7438" y="21969"/>
                  <a:pt x="7469" y="21906"/>
                </a:cubicBezTo>
                <a:cubicBezTo>
                  <a:pt x="7500" y="21938"/>
                  <a:pt x="7625" y="21844"/>
                  <a:pt x="7625" y="22000"/>
                </a:cubicBezTo>
                <a:cubicBezTo>
                  <a:pt x="7594" y="22063"/>
                  <a:pt x="7625" y="22125"/>
                  <a:pt x="7688" y="22156"/>
                </a:cubicBezTo>
                <a:cubicBezTo>
                  <a:pt x="7719" y="22188"/>
                  <a:pt x="7750" y="22219"/>
                  <a:pt x="7719" y="22250"/>
                </a:cubicBezTo>
                <a:cubicBezTo>
                  <a:pt x="7688" y="22281"/>
                  <a:pt x="7657" y="22313"/>
                  <a:pt x="7625" y="22313"/>
                </a:cubicBezTo>
                <a:cubicBezTo>
                  <a:pt x="7625" y="22281"/>
                  <a:pt x="7625" y="22281"/>
                  <a:pt x="7594" y="22281"/>
                </a:cubicBezTo>
                <a:cubicBezTo>
                  <a:pt x="7594" y="22281"/>
                  <a:pt x="7594" y="22281"/>
                  <a:pt x="7563" y="22281"/>
                </a:cubicBezTo>
                <a:cubicBezTo>
                  <a:pt x="7469" y="22188"/>
                  <a:pt x="7344" y="22313"/>
                  <a:pt x="7219" y="22281"/>
                </a:cubicBezTo>
                <a:cubicBezTo>
                  <a:pt x="7157" y="22250"/>
                  <a:pt x="7032" y="22188"/>
                  <a:pt x="6938" y="22281"/>
                </a:cubicBezTo>
                <a:cubicBezTo>
                  <a:pt x="6969" y="22313"/>
                  <a:pt x="7000" y="22406"/>
                  <a:pt x="7094" y="22344"/>
                </a:cubicBezTo>
                <a:cubicBezTo>
                  <a:pt x="7125" y="22281"/>
                  <a:pt x="7219" y="22313"/>
                  <a:pt x="7250" y="22375"/>
                </a:cubicBezTo>
                <a:cubicBezTo>
                  <a:pt x="7282" y="22375"/>
                  <a:pt x="7282" y="22406"/>
                  <a:pt x="7313" y="22375"/>
                </a:cubicBezTo>
                <a:cubicBezTo>
                  <a:pt x="7438" y="22313"/>
                  <a:pt x="7500" y="22438"/>
                  <a:pt x="7625" y="22469"/>
                </a:cubicBezTo>
                <a:cubicBezTo>
                  <a:pt x="7625" y="22469"/>
                  <a:pt x="7625" y="22469"/>
                  <a:pt x="7625" y="22469"/>
                </a:cubicBezTo>
                <a:cubicBezTo>
                  <a:pt x="7500" y="22594"/>
                  <a:pt x="7500" y="22719"/>
                  <a:pt x="7594" y="22875"/>
                </a:cubicBezTo>
                <a:cubicBezTo>
                  <a:pt x="7625" y="22906"/>
                  <a:pt x="7625" y="22969"/>
                  <a:pt x="7563" y="23000"/>
                </a:cubicBezTo>
                <a:cubicBezTo>
                  <a:pt x="7407" y="23094"/>
                  <a:pt x="7219" y="23125"/>
                  <a:pt x="7125" y="23281"/>
                </a:cubicBezTo>
                <a:cubicBezTo>
                  <a:pt x="6907" y="23500"/>
                  <a:pt x="6844" y="23719"/>
                  <a:pt x="6969" y="23969"/>
                </a:cubicBezTo>
                <a:cubicBezTo>
                  <a:pt x="6969" y="24000"/>
                  <a:pt x="6969" y="24031"/>
                  <a:pt x="6938" y="24094"/>
                </a:cubicBezTo>
                <a:cubicBezTo>
                  <a:pt x="6813" y="24250"/>
                  <a:pt x="6813" y="24438"/>
                  <a:pt x="6750" y="24625"/>
                </a:cubicBezTo>
                <a:cubicBezTo>
                  <a:pt x="6844" y="24563"/>
                  <a:pt x="6875" y="24531"/>
                  <a:pt x="6875" y="24438"/>
                </a:cubicBezTo>
                <a:cubicBezTo>
                  <a:pt x="6875" y="24375"/>
                  <a:pt x="6907" y="24281"/>
                  <a:pt x="6969" y="24219"/>
                </a:cubicBezTo>
                <a:cubicBezTo>
                  <a:pt x="6969" y="24188"/>
                  <a:pt x="6969" y="24156"/>
                  <a:pt x="7032" y="24156"/>
                </a:cubicBezTo>
                <a:cubicBezTo>
                  <a:pt x="7063" y="24156"/>
                  <a:pt x="7063" y="24188"/>
                  <a:pt x="7063" y="24219"/>
                </a:cubicBezTo>
                <a:cubicBezTo>
                  <a:pt x="7125" y="24313"/>
                  <a:pt x="7157" y="24375"/>
                  <a:pt x="7219" y="24469"/>
                </a:cubicBezTo>
                <a:cubicBezTo>
                  <a:pt x="7250" y="24438"/>
                  <a:pt x="7250" y="24375"/>
                  <a:pt x="7219" y="24344"/>
                </a:cubicBezTo>
                <a:cubicBezTo>
                  <a:pt x="7157" y="24313"/>
                  <a:pt x="7157" y="24219"/>
                  <a:pt x="7094" y="24156"/>
                </a:cubicBezTo>
                <a:cubicBezTo>
                  <a:pt x="7063" y="24094"/>
                  <a:pt x="7094" y="24031"/>
                  <a:pt x="7157" y="24000"/>
                </a:cubicBezTo>
                <a:cubicBezTo>
                  <a:pt x="7219" y="23938"/>
                  <a:pt x="7282" y="23875"/>
                  <a:pt x="7407" y="23844"/>
                </a:cubicBezTo>
                <a:cubicBezTo>
                  <a:pt x="7407" y="23844"/>
                  <a:pt x="7407" y="23844"/>
                  <a:pt x="7407" y="23875"/>
                </a:cubicBezTo>
                <a:cubicBezTo>
                  <a:pt x="7438" y="23969"/>
                  <a:pt x="7500" y="23906"/>
                  <a:pt x="7532" y="23875"/>
                </a:cubicBezTo>
                <a:cubicBezTo>
                  <a:pt x="7594" y="23906"/>
                  <a:pt x="7625" y="23906"/>
                  <a:pt x="7657" y="23844"/>
                </a:cubicBezTo>
                <a:cubicBezTo>
                  <a:pt x="7688" y="23813"/>
                  <a:pt x="7688" y="23750"/>
                  <a:pt x="7750" y="23813"/>
                </a:cubicBezTo>
                <a:cubicBezTo>
                  <a:pt x="7782" y="23875"/>
                  <a:pt x="7782" y="23938"/>
                  <a:pt x="7719" y="23969"/>
                </a:cubicBezTo>
                <a:cubicBezTo>
                  <a:pt x="7594" y="24000"/>
                  <a:pt x="7532" y="24094"/>
                  <a:pt x="7500" y="24219"/>
                </a:cubicBezTo>
                <a:cubicBezTo>
                  <a:pt x="7563" y="24219"/>
                  <a:pt x="7625" y="24219"/>
                  <a:pt x="7657" y="24188"/>
                </a:cubicBezTo>
                <a:cubicBezTo>
                  <a:pt x="7782" y="24094"/>
                  <a:pt x="7907" y="23969"/>
                  <a:pt x="7969" y="23813"/>
                </a:cubicBezTo>
                <a:cubicBezTo>
                  <a:pt x="8063" y="23656"/>
                  <a:pt x="8219" y="23531"/>
                  <a:pt x="8282" y="23344"/>
                </a:cubicBezTo>
                <a:cubicBezTo>
                  <a:pt x="8282" y="23313"/>
                  <a:pt x="8313" y="23313"/>
                  <a:pt x="8344" y="23344"/>
                </a:cubicBezTo>
                <a:cubicBezTo>
                  <a:pt x="8407" y="23375"/>
                  <a:pt x="8407" y="23406"/>
                  <a:pt x="8375" y="23438"/>
                </a:cubicBezTo>
                <a:cubicBezTo>
                  <a:pt x="8344" y="23469"/>
                  <a:pt x="8313" y="23531"/>
                  <a:pt x="8407" y="23563"/>
                </a:cubicBezTo>
                <a:cubicBezTo>
                  <a:pt x="8438" y="23563"/>
                  <a:pt x="8438" y="23594"/>
                  <a:pt x="8438" y="23625"/>
                </a:cubicBezTo>
                <a:cubicBezTo>
                  <a:pt x="8375" y="23688"/>
                  <a:pt x="8438" y="23719"/>
                  <a:pt x="8469" y="23719"/>
                </a:cubicBezTo>
                <a:cubicBezTo>
                  <a:pt x="8532" y="23719"/>
                  <a:pt x="8594" y="23719"/>
                  <a:pt x="8594" y="23625"/>
                </a:cubicBezTo>
                <a:cubicBezTo>
                  <a:pt x="8594" y="23469"/>
                  <a:pt x="8719" y="23313"/>
                  <a:pt x="8750" y="23156"/>
                </a:cubicBezTo>
                <a:cubicBezTo>
                  <a:pt x="8782" y="23063"/>
                  <a:pt x="8844" y="22938"/>
                  <a:pt x="9000" y="23031"/>
                </a:cubicBezTo>
                <a:cubicBezTo>
                  <a:pt x="8875" y="23031"/>
                  <a:pt x="8938" y="23156"/>
                  <a:pt x="8875" y="23219"/>
                </a:cubicBezTo>
                <a:cubicBezTo>
                  <a:pt x="8813" y="23250"/>
                  <a:pt x="8750" y="23344"/>
                  <a:pt x="8844" y="23438"/>
                </a:cubicBezTo>
                <a:cubicBezTo>
                  <a:pt x="8844" y="23438"/>
                  <a:pt x="8875" y="23500"/>
                  <a:pt x="8844" y="23531"/>
                </a:cubicBezTo>
                <a:cubicBezTo>
                  <a:pt x="8750" y="23594"/>
                  <a:pt x="8750" y="23719"/>
                  <a:pt x="8625" y="23781"/>
                </a:cubicBezTo>
                <a:cubicBezTo>
                  <a:pt x="8563" y="23813"/>
                  <a:pt x="8688" y="23844"/>
                  <a:pt x="8657" y="23906"/>
                </a:cubicBezTo>
                <a:cubicBezTo>
                  <a:pt x="8625" y="23906"/>
                  <a:pt x="8563" y="23875"/>
                  <a:pt x="8532" y="23938"/>
                </a:cubicBezTo>
                <a:cubicBezTo>
                  <a:pt x="8532" y="24031"/>
                  <a:pt x="8594" y="23969"/>
                  <a:pt x="8625" y="24000"/>
                </a:cubicBezTo>
                <a:cubicBezTo>
                  <a:pt x="8657" y="24031"/>
                  <a:pt x="8625" y="24063"/>
                  <a:pt x="8625" y="24063"/>
                </a:cubicBezTo>
                <a:cubicBezTo>
                  <a:pt x="8625" y="24063"/>
                  <a:pt x="8625" y="24063"/>
                  <a:pt x="8625" y="24063"/>
                </a:cubicBezTo>
                <a:cubicBezTo>
                  <a:pt x="8594" y="24094"/>
                  <a:pt x="8563" y="24063"/>
                  <a:pt x="8532" y="24094"/>
                </a:cubicBezTo>
                <a:cubicBezTo>
                  <a:pt x="8563" y="24125"/>
                  <a:pt x="8594" y="24125"/>
                  <a:pt x="8625" y="24063"/>
                </a:cubicBezTo>
                <a:cubicBezTo>
                  <a:pt x="8719" y="24094"/>
                  <a:pt x="8782" y="24188"/>
                  <a:pt x="8875" y="24125"/>
                </a:cubicBezTo>
                <a:cubicBezTo>
                  <a:pt x="8907" y="24125"/>
                  <a:pt x="8875" y="24156"/>
                  <a:pt x="8875" y="24188"/>
                </a:cubicBezTo>
                <a:cubicBezTo>
                  <a:pt x="8907" y="24281"/>
                  <a:pt x="8844" y="24438"/>
                  <a:pt x="9000" y="24500"/>
                </a:cubicBezTo>
                <a:cubicBezTo>
                  <a:pt x="9032" y="24531"/>
                  <a:pt x="9032" y="24563"/>
                  <a:pt x="9032" y="24594"/>
                </a:cubicBezTo>
                <a:cubicBezTo>
                  <a:pt x="9000" y="24625"/>
                  <a:pt x="8907" y="24594"/>
                  <a:pt x="8938" y="24656"/>
                </a:cubicBezTo>
                <a:cubicBezTo>
                  <a:pt x="8969" y="24688"/>
                  <a:pt x="8938" y="24781"/>
                  <a:pt x="9000" y="24781"/>
                </a:cubicBezTo>
                <a:cubicBezTo>
                  <a:pt x="9063" y="24781"/>
                  <a:pt x="9063" y="24719"/>
                  <a:pt x="9063" y="24688"/>
                </a:cubicBezTo>
                <a:cubicBezTo>
                  <a:pt x="9094" y="24625"/>
                  <a:pt x="9157" y="24719"/>
                  <a:pt x="9219" y="24688"/>
                </a:cubicBezTo>
                <a:cubicBezTo>
                  <a:pt x="9063" y="24500"/>
                  <a:pt x="9094" y="24063"/>
                  <a:pt x="9188" y="23938"/>
                </a:cubicBezTo>
                <a:cubicBezTo>
                  <a:pt x="9188" y="24031"/>
                  <a:pt x="9282" y="24031"/>
                  <a:pt x="9344" y="24094"/>
                </a:cubicBezTo>
                <a:cubicBezTo>
                  <a:pt x="9375" y="24094"/>
                  <a:pt x="9375" y="24156"/>
                  <a:pt x="9375" y="24188"/>
                </a:cubicBezTo>
                <a:cubicBezTo>
                  <a:pt x="9375" y="24219"/>
                  <a:pt x="9344" y="24219"/>
                  <a:pt x="9344" y="24219"/>
                </a:cubicBezTo>
                <a:cubicBezTo>
                  <a:pt x="9313" y="24188"/>
                  <a:pt x="9282" y="24156"/>
                  <a:pt x="9250" y="24188"/>
                </a:cubicBezTo>
                <a:cubicBezTo>
                  <a:pt x="9219" y="24250"/>
                  <a:pt x="9282" y="24250"/>
                  <a:pt x="9282" y="24281"/>
                </a:cubicBezTo>
                <a:cubicBezTo>
                  <a:pt x="9313" y="24344"/>
                  <a:pt x="9344" y="24406"/>
                  <a:pt x="9407" y="24406"/>
                </a:cubicBezTo>
                <a:cubicBezTo>
                  <a:pt x="9407" y="24375"/>
                  <a:pt x="9375" y="24344"/>
                  <a:pt x="9375" y="24313"/>
                </a:cubicBezTo>
                <a:cubicBezTo>
                  <a:pt x="9375" y="24281"/>
                  <a:pt x="9344" y="24281"/>
                  <a:pt x="9407" y="24281"/>
                </a:cubicBezTo>
                <a:cubicBezTo>
                  <a:pt x="9469" y="24281"/>
                  <a:pt x="9469" y="24281"/>
                  <a:pt x="9469" y="24219"/>
                </a:cubicBezTo>
                <a:cubicBezTo>
                  <a:pt x="9469" y="24156"/>
                  <a:pt x="9407" y="24063"/>
                  <a:pt x="9500" y="24031"/>
                </a:cubicBezTo>
                <a:cubicBezTo>
                  <a:pt x="9625" y="23938"/>
                  <a:pt x="9594" y="23813"/>
                  <a:pt x="9532" y="23750"/>
                </a:cubicBezTo>
                <a:cubicBezTo>
                  <a:pt x="9500" y="23656"/>
                  <a:pt x="9500" y="23563"/>
                  <a:pt x="9500" y="23500"/>
                </a:cubicBezTo>
                <a:cubicBezTo>
                  <a:pt x="9500" y="23406"/>
                  <a:pt x="9375" y="23313"/>
                  <a:pt x="9532" y="23250"/>
                </a:cubicBezTo>
                <a:cubicBezTo>
                  <a:pt x="9532" y="23250"/>
                  <a:pt x="9500" y="23250"/>
                  <a:pt x="9500" y="23219"/>
                </a:cubicBezTo>
                <a:cubicBezTo>
                  <a:pt x="9469" y="23063"/>
                  <a:pt x="9500" y="22906"/>
                  <a:pt x="9500" y="22719"/>
                </a:cubicBezTo>
                <a:cubicBezTo>
                  <a:pt x="9500" y="22719"/>
                  <a:pt x="9469" y="22719"/>
                  <a:pt x="9469" y="22719"/>
                </a:cubicBezTo>
                <a:cubicBezTo>
                  <a:pt x="9469" y="22719"/>
                  <a:pt x="9500" y="22719"/>
                  <a:pt x="9500" y="22719"/>
                </a:cubicBezTo>
                <a:cubicBezTo>
                  <a:pt x="9500" y="22688"/>
                  <a:pt x="9469" y="22656"/>
                  <a:pt x="9532" y="22656"/>
                </a:cubicBezTo>
                <a:cubicBezTo>
                  <a:pt x="9532" y="22656"/>
                  <a:pt x="9532" y="22656"/>
                  <a:pt x="9532" y="22656"/>
                </a:cubicBezTo>
                <a:cubicBezTo>
                  <a:pt x="9657" y="22688"/>
                  <a:pt x="9594" y="22750"/>
                  <a:pt x="9594" y="22813"/>
                </a:cubicBezTo>
                <a:cubicBezTo>
                  <a:pt x="9594" y="22813"/>
                  <a:pt x="9625" y="22813"/>
                  <a:pt x="9657" y="22813"/>
                </a:cubicBezTo>
                <a:cubicBezTo>
                  <a:pt x="9625" y="22813"/>
                  <a:pt x="9594" y="22813"/>
                  <a:pt x="9594" y="22813"/>
                </a:cubicBezTo>
                <a:cubicBezTo>
                  <a:pt x="9594" y="22844"/>
                  <a:pt x="9688" y="22875"/>
                  <a:pt x="9657" y="22938"/>
                </a:cubicBezTo>
                <a:cubicBezTo>
                  <a:pt x="9563" y="23063"/>
                  <a:pt x="9563" y="23188"/>
                  <a:pt x="9657" y="23281"/>
                </a:cubicBezTo>
                <a:cubicBezTo>
                  <a:pt x="9657" y="23313"/>
                  <a:pt x="9657" y="23313"/>
                  <a:pt x="9657" y="23313"/>
                </a:cubicBezTo>
                <a:cubicBezTo>
                  <a:pt x="9625" y="23719"/>
                  <a:pt x="9719" y="24094"/>
                  <a:pt x="9688" y="24469"/>
                </a:cubicBezTo>
                <a:cubicBezTo>
                  <a:pt x="9657" y="24656"/>
                  <a:pt x="9625" y="24813"/>
                  <a:pt x="9563" y="24969"/>
                </a:cubicBezTo>
                <a:cubicBezTo>
                  <a:pt x="9469" y="25125"/>
                  <a:pt x="9407" y="25250"/>
                  <a:pt x="9344" y="25406"/>
                </a:cubicBezTo>
                <a:cubicBezTo>
                  <a:pt x="9250" y="25563"/>
                  <a:pt x="9157" y="25688"/>
                  <a:pt x="9000" y="25750"/>
                </a:cubicBezTo>
                <a:cubicBezTo>
                  <a:pt x="8907" y="25781"/>
                  <a:pt x="8813" y="25813"/>
                  <a:pt x="8750" y="25844"/>
                </a:cubicBezTo>
                <a:cubicBezTo>
                  <a:pt x="8750" y="25844"/>
                  <a:pt x="8750" y="25844"/>
                  <a:pt x="8750" y="25844"/>
                </a:cubicBezTo>
                <a:cubicBezTo>
                  <a:pt x="8719" y="25844"/>
                  <a:pt x="8688" y="25844"/>
                  <a:pt x="8657" y="25844"/>
                </a:cubicBezTo>
                <a:cubicBezTo>
                  <a:pt x="8657" y="25844"/>
                  <a:pt x="8657" y="25844"/>
                  <a:pt x="8657" y="25844"/>
                </a:cubicBezTo>
                <a:cubicBezTo>
                  <a:pt x="8625" y="25844"/>
                  <a:pt x="8625" y="25844"/>
                  <a:pt x="8625" y="25844"/>
                </a:cubicBezTo>
                <a:cubicBezTo>
                  <a:pt x="8594" y="25875"/>
                  <a:pt x="8532" y="25875"/>
                  <a:pt x="8500" y="25875"/>
                </a:cubicBezTo>
                <a:cubicBezTo>
                  <a:pt x="8032" y="26063"/>
                  <a:pt x="7657" y="26375"/>
                  <a:pt x="7469" y="26844"/>
                </a:cubicBezTo>
                <a:cubicBezTo>
                  <a:pt x="7438" y="26938"/>
                  <a:pt x="7375" y="27000"/>
                  <a:pt x="7375" y="27063"/>
                </a:cubicBezTo>
                <a:cubicBezTo>
                  <a:pt x="7219" y="27250"/>
                  <a:pt x="7032" y="27438"/>
                  <a:pt x="6844" y="27656"/>
                </a:cubicBezTo>
                <a:cubicBezTo>
                  <a:pt x="6750" y="27719"/>
                  <a:pt x="6625" y="27688"/>
                  <a:pt x="6657" y="27844"/>
                </a:cubicBezTo>
                <a:cubicBezTo>
                  <a:pt x="6625" y="27875"/>
                  <a:pt x="6563" y="27906"/>
                  <a:pt x="6532" y="27938"/>
                </a:cubicBezTo>
                <a:cubicBezTo>
                  <a:pt x="6469" y="27906"/>
                  <a:pt x="6407" y="27906"/>
                  <a:pt x="6407" y="28000"/>
                </a:cubicBezTo>
                <a:cubicBezTo>
                  <a:pt x="6407" y="28031"/>
                  <a:pt x="6407" y="28063"/>
                  <a:pt x="6407" y="28063"/>
                </a:cubicBezTo>
                <a:cubicBezTo>
                  <a:pt x="6344" y="28125"/>
                  <a:pt x="6282" y="28156"/>
                  <a:pt x="6219" y="28219"/>
                </a:cubicBezTo>
                <a:cubicBezTo>
                  <a:pt x="6219" y="28188"/>
                  <a:pt x="6219" y="28188"/>
                  <a:pt x="6219" y="28156"/>
                </a:cubicBezTo>
                <a:cubicBezTo>
                  <a:pt x="6157" y="28219"/>
                  <a:pt x="6094" y="28281"/>
                  <a:pt x="6063" y="28313"/>
                </a:cubicBezTo>
                <a:cubicBezTo>
                  <a:pt x="5344" y="28750"/>
                  <a:pt x="3875" y="29813"/>
                  <a:pt x="4063" y="30063"/>
                </a:cubicBezTo>
                <a:cubicBezTo>
                  <a:pt x="4000" y="30094"/>
                  <a:pt x="4000" y="30125"/>
                  <a:pt x="4032" y="30156"/>
                </a:cubicBezTo>
                <a:cubicBezTo>
                  <a:pt x="4032" y="30188"/>
                  <a:pt x="4063" y="30156"/>
                  <a:pt x="4094" y="30156"/>
                </a:cubicBezTo>
                <a:cubicBezTo>
                  <a:pt x="4094" y="30156"/>
                  <a:pt x="4094" y="30156"/>
                  <a:pt x="4125" y="30125"/>
                </a:cubicBezTo>
                <a:cubicBezTo>
                  <a:pt x="4188" y="30188"/>
                  <a:pt x="4282" y="30188"/>
                  <a:pt x="4375" y="30156"/>
                </a:cubicBezTo>
                <a:cubicBezTo>
                  <a:pt x="4407" y="30156"/>
                  <a:pt x="4407" y="30156"/>
                  <a:pt x="4407" y="30188"/>
                </a:cubicBezTo>
                <a:cubicBezTo>
                  <a:pt x="4469" y="30219"/>
                  <a:pt x="4532" y="30156"/>
                  <a:pt x="4594" y="30094"/>
                </a:cubicBezTo>
                <a:cubicBezTo>
                  <a:pt x="4594" y="30094"/>
                  <a:pt x="4594" y="30094"/>
                  <a:pt x="4563" y="30094"/>
                </a:cubicBezTo>
                <a:cubicBezTo>
                  <a:pt x="4625" y="30063"/>
                  <a:pt x="4688" y="30031"/>
                  <a:pt x="4719" y="30000"/>
                </a:cubicBezTo>
                <a:cubicBezTo>
                  <a:pt x="4750" y="30000"/>
                  <a:pt x="4750" y="30000"/>
                  <a:pt x="4782" y="30000"/>
                </a:cubicBezTo>
                <a:cubicBezTo>
                  <a:pt x="4813" y="30000"/>
                  <a:pt x="4875" y="30031"/>
                  <a:pt x="4938" y="30031"/>
                </a:cubicBezTo>
                <a:cubicBezTo>
                  <a:pt x="5000" y="30125"/>
                  <a:pt x="4938" y="30188"/>
                  <a:pt x="4813" y="30219"/>
                </a:cubicBezTo>
                <a:cubicBezTo>
                  <a:pt x="4782" y="30219"/>
                  <a:pt x="4750" y="30219"/>
                  <a:pt x="4719" y="30219"/>
                </a:cubicBezTo>
                <a:cubicBezTo>
                  <a:pt x="4625" y="30219"/>
                  <a:pt x="4532" y="30281"/>
                  <a:pt x="4532" y="30344"/>
                </a:cubicBezTo>
                <a:cubicBezTo>
                  <a:pt x="4500" y="30531"/>
                  <a:pt x="4375" y="30625"/>
                  <a:pt x="4250" y="30719"/>
                </a:cubicBezTo>
                <a:cubicBezTo>
                  <a:pt x="4188" y="30750"/>
                  <a:pt x="4188" y="30781"/>
                  <a:pt x="4250" y="30844"/>
                </a:cubicBezTo>
                <a:cubicBezTo>
                  <a:pt x="4344" y="30906"/>
                  <a:pt x="4469" y="30906"/>
                  <a:pt x="4563" y="30844"/>
                </a:cubicBezTo>
                <a:cubicBezTo>
                  <a:pt x="4688" y="30750"/>
                  <a:pt x="4813" y="30656"/>
                  <a:pt x="4938" y="30563"/>
                </a:cubicBezTo>
                <a:cubicBezTo>
                  <a:pt x="5219" y="30375"/>
                  <a:pt x="5407" y="30094"/>
                  <a:pt x="5657" y="29875"/>
                </a:cubicBezTo>
                <a:cubicBezTo>
                  <a:pt x="5719" y="29844"/>
                  <a:pt x="5750" y="29781"/>
                  <a:pt x="5844" y="29781"/>
                </a:cubicBezTo>
                <a:cubicBezTo>
                  <a:pt x="5813" y="30000"/>
                  <a:pt x="5719" y="30219"/>
                  <a:pt x="5657" y="30406"/>
                </a:cubicBezTo>
                <a:cubicBezTo>
                  <a:pt x="5532" y="30813"/>
                  <a:pt x="5313" y="31188"/>
                  <a:pt x="5125" y="31563"/>
                </a:cubicBezTo>
                <a:cubicBezTo>
                  <a:pt x="5094" y="31688"/>
                  <a:pt x="5125" y="31750"/>
                  <a:pt x="5219" y="31781"/>
                </a:cubicBezTo>
                <a:cubicBezTo>
                  <a:pt x="5344" y="31781"/>
                  <a:pt x="5438" y="31750"/>
                  <a:pt x="5532" y="31656"/>
                </a:cubicBezTo>
                <a:cubicBezTo>
                  <a:pt x="5813" y="31406"/>
                  <a:pt x="6063" y="31094"/>
                  <a:pt x="6188" y="30750"/>
                </a:cubicBezTo>
                <a:cubicBezTo>
                  <a:pt x="6344" y="30281"/>
                  <a:pt x="6688" y="30000"/>
                  <a:pt x="7000" y="29656"/>
                </a:cubicBezTo>
                <a:cubicBezTo>
                  <a:pt x="7000" y="29625"/>
                  <a:pt x="7032" y="29625"/>
                  <a:pt x="7032" y="29625"/>
                </a:cubicBezTo>
                <a:cubicBezTo>
                  <a:pt x="7063" y="29656"/>
                  <a:pt x="7063" y="29688"/>
                  <a:pt x="7063" y="29688"/>
                </a:cubicBezTo>
                <a:cubicBezTo>
                  <a:pt x="6875" y="29875"/>
                  <a:pt x="6844" y="30094"/>
                  <a:pt x="6750" y="30313"/>
                </a:cubicBezTo>
                <a:cubicBezTo>
                  <a:pt x="6563" y="30719"/>
                  <a:pt x="6313" y="31094"/>
                  <a:pt x="6125" y="31500"/>
                </a:cubicBezTo>
                <a:cubicBezTo>
                  <a:pt x="6094" y="31563"/>
                  <a:pt x="6125" y="31563"/>
                  <a:pt x="6157" y="31594"/>
                </a:cubicBezTo>
                <a:cubicBezTo>
                  <a:pt x="6282" y="31688"/>
                  <a:pt x="6407" y="31625"/>
                  <a:pt x="6500" y="31531"/>
                </a:cubicBezTo>
                <a:cubicBezTo>
                  <a:pt x="6782" y="31344"/>
                  <a:pt x="6969" y="31094"/>
                  <a:pt x="7157" y="30813"/>
                </a:cubicBezTo>
                <a:cubicBezTo>
                  <a:pt x="7344" y="30594"/>
                  <a:pt x="7500" y="30313"/>
                  <a:pt x="7688" y="30094"/>
                </a:cubicBezTo>
                <a:cubicBezTo>
                  <a:pt x="7938" y="29844"/>
                  <a:pt x="8094" y="29500"/>
                  <a:pt x="8313" y="29219"/>
                </a:cubicBezTo>
                <a:cubicBezTo>
                  <a:pt x="8375" y="29156"/>
                  <a:pt x="8438" y="29156"/>
                  <a:pt x="8500" y="29188"/>
                </a:cubicBezTo>
                <a:cubicBezTo>
                  <a:pt x="8688" y="29313"/>
                  <a:pt x="8688" y="29531"/>
                  <a:pt x="8688" y="29688"/>
                </a:cubicBezTo>
                <a:cubicBezTo>
                  <a:pt x="8625" y="30188"/>
                  <a:pt x="8563" y="30688"/>
                  <a:pt x="8688" y="31188"/>
                </a:cubicBezTo>
                <a:cubicBezTo>
                  <a:pt x="8750" y="31313"/>
                  <a:pt x="8750" y="31438"/>
                  <a:pt x="8875" y="31531"/>
                </a:cubicBezTo>
                <a:cubicBezTo>
                  <a:pt x="9000" y="31594"/>
                  <a:pt x="9032" y="31594"/>
                  <a:pt x="9063" y="31438"/>
                </a:cubicBezTo>
                <a:cubicBezTo>
                  <a:pt x="9063" y="31313"/>
                  <a:pt x="9063" y="31188"/>
                  <a:pt x="9094" y="31063"/>
                </a:cubicBezTo>
                <a:cubicBezTo>
                  <a:pt x="9157" y="30813"/>
                  <a:pt x="9188" y="30563"/>
                  <a:pt x="9219" y="30313"/>
                </a:cubicBezTo>
                <a:cubicBezTo>
                  <a:pt x="9282" y="30063"/>
                  <a:pt x="9344" y="29844"/>
                  <a:pt x="9344" y="29594"/>
                </a:cubicBezTo>
                <a:cubicBezTo>
                  <a:pt x="9375" y="29375"/>
                  <a:pt x="9500" y="29156"/>
                  <a:pt x="9500" y="28938"/>
                </a:cubicBezTo>
                <a:cubicBezTo>
                  <a:pt x="9563" y="28781"/>
                  <a:pt x="9532" y="28625"/>
                  <a:pt x="9532" y="28469"/>
                </a:cubicBezTo>
                <a:cubicBezTo>
                  <a:pt x="9532" y="28344"/>
                  <a:pt x="9563" y="28281"/>
                  <a:pt x="9688" y="28313"/>
                </a:cubicBezTo>
                <a:cubicBezTo>
                  <a:pt x="9750" y="28313"/>
                  <a:pt x="9844" y="28313"/>
                  <a:pt x="9907" y="28281"/>
                </a:cubicBezTo>
                <a:cubicBezTo>
                  <a:pt x="10094" y="28281"/>
                  <a:pt x="10313" y="28281"/>
                  <a:pt x="10500" y="28250"/>
                </a:cubicBezTo>
                <a:cubicBezTo>
                  <a:pt x="10813" y="28188"/>
                  <a:pt x="11219" y="27844"/>
                  <a:pt x="11282" y="27563"/>
                </a:cubicBezTo>
                <a:cubicBezTo>
                  <a:pt x="11375" y="27531"/>
                  <a:pt x="11344" y="27438"/>
                  <a:pt x="11375" y="27375"/>
                </a:cubicBezTo>
                <a:cubicBezTo>
                  <a:pt x="11438" y="27094"/>
                  <a:pt x="11438" y="26813"/>
                  <a:pt x="11438" y="26531"/>
                </a:cubicBezTo>
                <a:cubicBezTo>
                  <a:pt x="11438" y="26344"/>
                  <a:pt x="11469" y="26156"/>
                  <a:pt x="11500" y="25969"/>
                </a:cubicBezTo>
                <a:cubicBezTo>
                  <a:pt x="11563" y="25781"/>
                  <a:pt x="11657" y="25594"/>
                  <a:pt x="11688" y="25406"/>
                </a:cubicBezTo>
                <a:cubicBezTo>
                  <a:pt x="11750" y="25188"/>
                  <a:pt x="11750" y="25188"/>
                  <a:pt x="11938" y="25313"/>
                </a:cubicBezTo>
                <a:cubicBezTo>
                  <a:pt x="11938" y="25313"/>
                  <a:pt x="11969" y="25313"/>
                  <a:pt x="11969" y="25344"/>
                </a:cubicBezTo>
                <a:cubicBezTo>
                  <a:pt x="12094" y="25469"/>
                  <a:pt x="12313" y="25500"/>
                  <a:pt x="12407" y="25656"/>
                </a:cubicBezTo>
                <a:cubicBezTo>
                  <a:pt x="12469" y="25844"/>
                  <a:pt x="12594" y="25969"/>
                  <a:pt x="12750" y="25969"/>
                </a:cubicBezTo>
                <a:cubicBezTo>
                  <a:pt x="12782" y="26125"/>
                  <a:pt x="12938" y="26281"/>
                  <a:pt x="12907" y="26469"/>
                </a:cubicBezTo>
                <a:cubicBezTo>
                  <a:pt x="12875" y="26531"/>
                  <a:pt x="12907" y="26594"/>
                  <a:pt x="12938" y="26656"/>
                </a:cubicBezTo>
                <a:cubicBezTo>
                  <a:pt x="12938" y="26781"/>
                  <a:pt x="13000" y="26844"/>
                  <a:pt x="13125" y="26844"/>
                </a:cubicBezTo>
                <a:cubicBezTo>
                  <a:pt x="13157" y="26875"/>
                  <a:pt x="13157" y="26875"/>
                  <a:pt x="13188" y="26875"/>
                </a:cubicBezTo>
                <a:cubicBezTo>
                  <a:pt x="13157" y="26938"/>
                  <a:pt x="13188" y="26938"/>
                  <a:pt x="13219" y="26906"/>
                </a:cubicBezTo>
                <a:cubicBezTo>
                  <a:pt x="13250" y="26938"/>
                  <a:pt x="13250" y="26938"/>
                  <a:pt x="13282" y="26969"/>
                </a:cubicBezTo>
                <a:cubicBezTo>
                  <a:pt x="13250" y="26969"/>
                  <a:pt x="13282" y="26969"/>
                  <a:pt x="13282" y="27000"/>
                </a:cubicBezTo>
                <a:cubicBezTo>
                  <a:pt x="13282" y="27000"/>
                  <a:pt x="13282" y="26969"/>
                  <a:pt x="13313" y="26969"/>
                </a:cubicBezTo>
                <a:cubicBezTo>
                  <a:pt x="13313" y="27000"/>
                  <a:pt x="13344" y="27031"/>
                  <a:pt x="13375" y="27063"/>
                </a:cubicBezTo>
                <a:cubicBezTo>
                  <a:pt x="13313" y="27188"/>
                  <a:pt x="13219" y="27344"/>
                  <a:pt x="13313" y="27500"/>
                </a:cubicBezTo>
                <a:cubicBezTo>
                  <a:pt x="13344" y="27531"/>
                  <a:pt x="13375" y="27594"/>
                  <a:pt x="13407" y="27656"/>
                </a:cubicBezTo>
                <a:cubicBezTo>
                  <a:pt x="13469" y="27781"/>
                  <a:pt x="13469" y="27906"/>
                  <a:pt x="13375" y="28031"/>
                </a:cubicBezTo>
                <a:cubicBezTo>
                  <a:pt x="13313" y="28125"/>
                  <a:pt x="13219" y="28250"/>
                  <a:pt x="13282" y="28406"/>
                </a:cubicBezTo>
                <a:cubicBezTo>
                  <a:pt x="13282" y="28438"/>
                  <a:pt x="13250" y="28469"/>
                  <a:pt x="13250" y="28500"/>
                </a:cubicBezTo>
                <a:cubicBezTo>
                  <a:pt x="13157" y="28438"/>
                  <a:pt x="13157" y="28531"/>
                  <a:pt x="13157" y="28594"/>
                </a:cubicBezTo>
                <a:cubicBezTo>
                  <a:pt x="13157" y="28656"/>
                  <a:pt x="13157" y="28719"/>
                  <a:pt x="13125" y="28750"/>
                </a:cubicBezTo>
                <a:cubicBezTo>
                  <a:pt x="13063" y="28969"/>
                  <a:pt x="13000" y="29219"/>
                  <a:pt x="12875" y="29438"/>
                </a:cubicBezTo>
                <a:cubicBezTo>
                  <a:pt x="12875" y="29438"/>
                  <a:pt x="12875" y="29469"/>
                  <a:pt x="12875" y="29469"/>
                </a:cubicBezTo>
                <a:cubicBezTo>
                  <a:pt x="12844" y="29469"/>
                  <a:pt x="12844" y="29469"/>
                  <a:pt x="12844" y="29469"/>
                </a:cubicBezTo>
                <a:cubicBezTo>
                  <a:pt x="12813" y="29469"/>
                  <a:pt x="12813" y="29500"/>
                  <a:pt x="12844" y="29500"/>
                </a:cubicBezTo>
                <a:cubicBezTo>
                  <a:pt x="12688" y="29656"/>
                  <a:pt x="12563" y="29813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344" y="29781"/>
                  <a:pt x="12344" y="29781"/>
                  <a:pt x="12344" y="29781"/>
                </a:cubicBezTo>
                <a:cubicBezTo>
                  <a:pt x="12282" y="29813"/>
                  <a:pt x="12219" y="29781"/>
                  <a:pt x="12188" y="29875"/>
                </a:cubicBezTo>
                <a:cubicBezTo>
                  <a:pt x="12157" y="29969"/>
                  <a:pt x="12125" y="30094"/>
                  <a:pt x="12094" y="30219"/>
                </a:cubicBezTo>
                <a:cubicBezTo>
                  <a:pt x="12094" y="30281"/>
                  <a:pt x="12094" y="30344"/>
                  <a:pt x="12032" y="30375"/>
                </a:cubicBezTo>
                <a:cubicBezTo>
                  <a:pt x="11969" y="30406"/>
                  <a:pt x="11938" y="30344"/>
                  <a:pt x="11875" y="30281"/>
                </a:cubicBezTo>
                <a:cubicBezTo>
                  <a:pt x="11844" y="30250"/>
                  <a:pt x="11844" y="30250"/>
                  <a:pt x="11782" y="30281"/>
                </a:cubicBezTo>
                <a:cubicBezTo>
                  <a:pt x="11688" y="30344"/>
                  <a:pt x="11657" y="30625"/>
                  <a:pt x="11688" y="30750"/>
                </a:cubicBezTo>
                <a:cubicBezTo>
                  <a:pt x="11719" y="30844"/>
                  <a:pt x="11813" y="30938"/>
                  <a:pt x="11782" y="31094"/>
                </a:cubicBezTo>
                <a:cubicBezTo>
                  <a:pt x="11719" y="31063"/>
                  <a:pt x="11625" y="31063"/>
                  <a:pt x="11563" y="31000"/>
                </a:cubicBezTo>
                <a:cubicBezTo>
                  <a:pt x="11563" y="31031"/>
                  <a:pt x="11563" y="31063"/>
                  <a:pt x="11563" y="31094"/>
                </a:cubicBezTo>
                <a:cubicBezTo>
                  <a:pt x="11532" y="31125"/>
                  <a:pt x="11532" y="31156"/>
                  <a:pt x="11500" y="31125"/>
                </a:cubicBezTo>
                <a:cubicBezTo>
                  <a:pt x="11469" y="31125"/>
                  <a:pt x="11469" y="31094"/>
                  <a:pt x="11500" y="31063"/>
                </a:cubicBezTo>
                <a:cubicBezTo>
                  <a:pt x="11532" y="31000"/>
                  <a:pt x="11563" y="30969"/>
                  <a:pt x="11594" y="30906"/>
                </a:cubicBezTo>
                <a:cubicBezTo>
                  <a:pt x="11625" y="30875"/>
                  <a:pt x="11625" y="30844"/>
                  <a:pt x="11625" y="30781"/>
                </a:cubicBezTo>
                <a:cubicBezTo>
                  <a:pt x="11625" y="30781"/>
                  <a:pt x="11594" y="30750"/>
                  <a:pt x="11594" y="30750"/>
                </a:cubicBezTo>
                <a:cubicBezTo>
                  <a:pt x="11532" y="30781"/>
                  <a:pt x="11500" y="30813"/>
                  <a:pt x="11469" y="30875"/>
                </a:cubicBezTo>
                <a:cubicBezTo>
                  <a:pt x="11469" y="30906"/>
                  <a:pt x="11469" y="30938"/>
                  <a:pt x="11469" y="30938"/>
                </a:cubicBezTo>
                <a:cubicBezTo>
                  <a:pt x="11469" y="31000"/>
                  <a:pt x="11438" y="31000"/>
                  <a:pt x="11407" y="31000"/>
                </a:cubicBezTo>
                <a:cubicBezTo>
                  <a:pt x="11344" y="30969"/>
                  <a:pt x="11344" y="31000"/>
                  <a:pt x="11375" y="31063"/>
                </a:cubicBezTo>
                <a:cubicBezTo>
                  <a:pt x="11407" y="31156"/>
                  <a:pt x="11375" y="31156"/>
                  <a:pt x="11282" y="31219"/>
                </a:cubicBezTo>
                <a:cubicBezTo>
                  <a:pt x="11250" y="31219"/>
                  <a:pt x="11250" y="31219"/>
                  <a:pt x="11250" y="31250"/>
                </a:cubicBezTo>
                <a:cubicBezTo>
                  <a:pt x="11282" y="31344"/>
                  <a:pt x="11188" y="31406"/>
                  <a:pt x="11219" y="31500"/>
                </a:cubicBezTo>
                <a:cubicBezTo>
                  <a:pt x="11188" y="31563"/>
                  <a:pt x="11188" y="31625"/>
                  <a:pt x="11125" y="31594"/>
                </a:cubicBezTo>
                <a:cubicBezTo>
                  <a:pt x="11125" y="31625"/>
                  <a:pt x="11125" y="31656"/>
                  <a:pt x="11094" y="31688"/>
                </a:cubicBezTo>
                <a:cubicBezTo>
                  <a:pt x="11094" y="31656"/>
                  <a:pt x="11094" y="31625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94"/>
                  <a:pt x="11125" y="31594"/>
                  <a:pt x="11125" y="31594"/>
                </a:cubicBezTo>
                <a:cubicBezTo>
                  <a:pt x="11125" y="31563"/>
                  <a:pt x="11157" y="31531"/>
                  <a:pt x="11094" y="31500"/>
                </a:cubicBezTo>
                <a:cubicBezTo>
                  <a:pt x="11063" y="31469"/>
                  <a:pt x="11000" y="31531"/>
                  <a:pt x="10969" y="31563"/>
                </a:cubicBezTo>
                <a:cubicBezTo>
                  <a:pt x="10875" y="31625"/>
                  <a:pt x="10844" y="31781"/>
                  <a:pt x="10782" y="31875"/>
                </a:cubicBezTo>
                <a:cubicBezTo>
                  <a:pt x="10719" y="31938"/>
                  <a:pt x="10594" y="31938"/>
                  <a:pt x="10594" y="32000"/>
                </a:cubicBezTo>
                <a:cubicBezTo>
                  <a:pt x="10594" y="32188"/>
                  <a:pt x="10532" y="32313"/>
                  <a:pt x="10500" y="32500"/>
                </a:cubicBezTo>
                <a:cubicBezTo>
                  <a:pt x="10500" y="32531"/>
                  <a:pt x="10532" y="32563"/>
                  <a:pt x="10563" y="32563"/>
                </a:cubicBezTo>
                <a:cubicBezTo>
                  <a:pt x="10594" y="32563"/>
                  <a:pt x="10625" y="32531"/>
                  <a:pt x="10625" y="32500"/>
                </a:cubicBezTo>
                <a:cubicBezTo>
                  <a:pt x="10657" y="32438"/>
                  <a:pt x="10657" y="32344"/>
                  <a:pt x="10750" y="32313"/>
                </a:cubicBezTo>
                <a:cubicBezTo>
                  <a:pt x="10813" y="32500"/>
                  <a:pt x="10875" y="32656"/>
                  <a:pt x="10844" y="32844"/>
                </a:cubicBezTo>
                <a:cubicBezTo>
                  <a:pt x="10688" y="32844"/>
                  <a:pt x="10813" y="33031"/>
                  <a:pt x="10688" y="33063"/>
                </a:cubicBezTo>
                <a:cubicBezTo>
                  <a:pt x="10688" y="32938"/>
                  <a:pt x="10594" y="32813"/>
                  <a:pt x="10750" y="32719"/>
                </a:cubicBezTo>
                <a:cubicBezTo>
                  <a:pt x="10782" y="32719"/>
                  <a:pt x="10782" y="32625"/>
                  <a:pt x="10688" y="32594"/>
                </a:cubicBezTo>
                <a:cubicBezTo>
                  <a:pt x="10657" y="32656"/>
                  <a:pt x="10688" y="32750"/>
                  <a:pt x="10625" y="32781"/>
                </a:cubicBezTo>
                <a:cubicBezTo>
                  <a:pt x="10563" y="32906"/>
                  <a:pt x="10625" y="33000"/>
                  <a:pt x="10625" y="33125"/>
                </a:cubicBezTo>
                <a:cubicBezTo>
                  <a:pt x="10657" y="33219"/>
                  <a:pt x="10750" y="33313"/>
                  <a:pt x="10657" y="33406"/>
                </a:cubicBezTo>
                <a:cubicBezTo>
                  <a:pt x="10625" y="33406"/>
                  <a:pt x="10625" y="33375"/>
                  <a:pt x="10625" y="33375"/>
                </a:cubicBezTo>
                <a:cubicBezTo>
                  <a:pt x="10625" y="33344"/>
                  <a:pt x="10594" y="33344"/>
                  <a:pt x="10563" y="33344"/>
                </a:cubicBezTo>
                <a:cubicBezTo>
                  <a:pt x="10594" y="33469"/>
                  <a:pt x="10657" y="33625"/>
                  <a:pt x="10657" y="33781"/>
                </a:cubicBezTo>
                <a:cubicBezTo>
                  <a:pt x="10625" y="33719"/>
                  <a:pt x="10625" y="33656"/>
                  <a:pt x="10532" y="33656"/>
                </a:cubicBezTo>
                <a:cubicBezTo>
                  <a:pt x="10563" y="33719"/>
                  <a:pt x="10563" y="33781"/>
                  <a:pt x="10594" y="33844"/>
                </a:cubicBezTo>
                <a:cubicBezTo>
                  <a:pt x="10625" y="33906"/>
                  <a:pt x="10688" y="33969"/>
                  <a:pt x="10563" y="33969"/>
                </a:cubicBezTo>
                <a:cubicBezTo>
                  <a:pt x="10563" y="33969"/>
                  <a:pt x="10532" y="34000"/>
                  <a:pt x="10532" y="34000"/>
                </a:cubicBezTo>
                <a:cubicBezTo>
                  <a:pt x="10594" y="34094"/>
                  <a:pt x="10532" y="34188"/>
                  <a:pt x="10625" y="34250"/>
                </a:cubicBezTo>
                <a:cubicBezTo>
                  <a:pt x="10688" y="34250"/>
                  <a:pt x="10657" y="34313"/>
                  <a:pt x="10657" y="34344"/>
                </a:cubicBezTo>
                <a:cubicBezTo>
                  <a:pt x="10500" y="34438"/>
                  <a:pt x="10625" y="34500"/>
                  <a:pt x="10657" y="34563"/>
                </a:cubicBezTo>
                <a:cubicBezTo>
                  <a:pt x="10657" y="34563"/>
                  <a:pt x="10657" y="34563"/>
                  <a:pt x="10657" y="34563"/>
                </a:cubicBezTo>
                <a:cubicBezTo>
                  <a:pt x="10594" y="34625"/>
                  <a:pt x="10625" y="34688"/>
                  <a:pt x="10657" y="34750"/>
                </a:cubicBezTo>
                <a:cubicBezTo>
                  <a:pt x="10688" y="35063"/>
                  <a:pt x="10813" y="35344"/>
                  <a:pt x="10969" y="35594"/>
                </a:cubicBezTo>
                <a:cubicBezTo>
                  <a:pt x="11063" y="35719"/>
                  <a:pt x="11125" y="35875"/>
                  <a:pt x="11250" y="35969"/>
                </a:cubicBezTo>
                <a:cubicBezTo>
                  <a:pt x="11282" y="35969"/>
                  <a:pt x="11282" y="36000"/>
                  <a:pt x="11313" y="36031"/>
                </a:cubicBezTo>
                <a:cubicBezTo>
                  <a:pt x="11282" y="36063"/>
                  <a:pt x="11313" y="36063"/>
                  <a:pt x="11344" y="36063"/>
                </a:cubicBezTo>
                <a:cubicBezTo>
                  <a:pt x="11344" y="36063"/>
                  <a:pt x="11375" y="36094"/>
                  <a:pt x="11375" y="36125"/>
                </a:cubicBezTo>
                <a:cubicBezTo>
                  <a:pt x="11407" y="36156"/>
                  <a:pt x="11469" y="36188"/>
                  <a:pt x="11469" y="36219"/>
                </a:cubicBezTo>
                <a:cubicBezTo>
                  <a:pt x="11469" y="36219"/>
                  <a:pt x="11469" y="36219"/>
                  <a:pt x="11469" y="36219"/>
                </a:cubicBezTo>
                <a:cubicBezTo>
                  <a:pt x="11532" y="36250"/>
                  <a:pt x="11563" y="36313"/>
                  <a:pt x="11594" y="36344"/>
                </a:cubicBezTo>
                <a:cubicBezTo>
                  <a:pt x="12000" y="36750"/>
                  <a:pt x="12344" y="37219"/>
                  <a:pt x="12657" y="37719"/>
                </a:cubicBezTo>
                <a:cubicBezTo>
                  <a:pt x="12875" y="38156"/>
                  <a:pt x="13032" y="38594"/>
                  <a:pt x="13188" y="39063"/>
                </a:cubicBezTo>
                <a:cubicBezTo>
                  <a:pt x="13250" y="39219"/>
                  <a:pt x="13313" y="39375"/>
                  <a:pt x="13532" y="39344"/>
                </a:cubicBezTo>
                <a:cubicBezTo>
                  <a:pt x="13563" y="39344"/>
                  <a:pt x="13625" y="39344"/>
                  <a:pt x="13625" y="39438"/>
                </a:cubicBezTo>
                <a:cubicBezTo>
                  <a:pt x="13625" y="39500"/>
                  <a:pt x="13563" y="39500"/>
                  <a:pt x="13500" y="39500"/>
                </a:cubicBezTo>
                <a:cubicBezTo>
                  <a:pt x="13407" y="39500"/>
                  <a:pt x="13407" y="39531"/>
                  <a:pt x="13438" y="39625"/>
                </a:cubicBezTo>
                <a:cubicBezTo>
                  <a:pt x="13438" y="39656"/>
                  <a:pt x="13469" y="39719"/>
                  <a:pt x="13469" y="39750"/>
                </a:cubicBezTo>
                <a:cubicBezTo>
                  <a:pt x="13469" y="39781"/>
                  <a:pt x="13438" y="39781"/>
                  <a:pt x="13407" y="39813"/>
                </a:cubicBezTo>
                <a:cubicBezTo>
                  <a:pt x="13407" y="39813"/>
                  <a:pt x="13407" y="39813"/>
                  <a:pt x="13407" y="39781"/>
                </a:cubicBezTo>
                <a:cubicBezTo>
                  <a:pt x="13344" y="39656"/>
                  <a:pt x="13282" y="39781"/>
                  <a:pt x="13188" y="39781"/>
                </a:cubicBezTo>
                <a:cubicBezTo>
                  <a:pt x="13157" y="39781"/>
                  <a:pt x="13157" y="39844"/>
                  <a:pt x="13188" y="39844"/>
                </a:cubicBezTo>
                <a:cubicBezTo>
                  <a:pt x="13250" y="39844"/>
                  <a:pt x="13282" y="40031"/>
                  <a:pt x="13375" y="39906"/>
                </a:cubicBezTo>
                <a:cubicBezTo>
                  <a:pt x="13407" y="39844"/>
                  <a:pt x="13469" y="39906"/>
                  <a:pt x="13532" y="39875"/>
                </a:cubicBezTo>
                <a:cubicBezTo>
                  <a:pt x="13625" y="39938"/>
                  <a:pt x="13719" y="39938"/>
                  <a:pt x="13719" y="39781"/>
                </a:cubicBezTo>
                <a:cubicBezTo>
                  <a:pt x="13688" y="39719"/>
                  <a:pt x="13750" y="39719"/>
                  <a:pt x="13782" y="39719"/>
                </a:cubicBezTo>
                <a:cubicBezTo>
                  <a:pt x="13844" y="39719"/>
                  <a:pt x="13844" y="39750"/>
                  <a:pt x="13844" y="39781"/>
                </a:cubicBezTo>
                <a:cubicBezTo>
                  <a:pt x="13844" y="39906"/>
                  <a:pt x="13844" y="40031"/>
                  <a:pt x="13688" y="40063"/>
                </a:cubicBezTo>
                <a:cubicBezTo>
                  <a:pt x="13657" y="40094"/>
                  <a:pt x="13657" y="40094"/>
                  <a:pt x="13657" y="40125"/>
                </a:cubicBezTo>
                <a:cubicBezTo>
                  <a:pt x="13594" y="40156"/>
                  <a:pt x="13594" y="40250"/>
                  <a:pt x="13532" y="40313"/>
                </a:cubicBezTo>
                <a:cubicBezTo>
                  <a:pt x="13532" y="40156"/>
                  <a:pt x="13500" y="40125"/>
                  <a:pt x="13407" y="40219"/>
                </a:cubicBezTo>
                <a:cubicBezTo>
                  <a:pt x="13282" y="40281"/>
                  <a:pt x="13125" y="40313"/>
                  <a:pt x="13032" y="40438"/>
                </a:cubicBezTo>
                <a:cubicBezTo>
                  <a:pt x="13000" y="40469"/>
                  <a:pt x="12969" y="40500"/>
                  <a:pt x="12907" y="40500"/>
                </a:cubicBezTo>
                <a:cubicBezTo>
                  <a:pt x="12813" y="40500"/>
                  <a:pt x="12782" y="40625"/>
                  <a:pt x="12688" y="40688"/>
                </a:cubicBezTo>
                <a:cubicBezTo>
                  <a:pt x="12782" y="40688"/>
                  <a:pt x="12844" y="40656"/>
                  <a:pt x="12938" y="40625"/>
                </a:cubicBezTo>
                <a:cubicBezTo>
                  <a:pt x="13125" y="40594"/>
                  <a:pt x="13219" y="40281"/>
                  <a:pt x="13469" y="40375"/>
                </a:cubicBezTo>
                <a:cubicBezTo>
                  <a:pt x="13469" y="40375"/>
                  <a:pt x="13500" y="40375"/>
                  <a:pt x="13500" y="40344"/>
                </a:cubicBezTo>
                <a:cubicBezTo>
                  <a:pt x="13532" y="40250"/>
                  <a:pt x="13625" y="40281"/>
                  <a:pt x="13719" y="40281"/>
                </a:cubicBezTo>
                <a:cubicBezTo>
                  <a:pt x="13782" y="40344"/>
                  <a:pt x="13782" y="40469"/>
                  <a:pt x="13844" y="40531"/>
                </a:cubicBezTo>
                <a:cubicBezTo>
                  <a:pt x="14063" y="40969"/>
                  <a:pt x="14250" y="41406"/>
                  <a:pt x="14375" y="41844"/>
                </a:cubicBezTo>
                <a:cubicBezTo>
                  <a:pt x="14532" y="42250"/>
                  <a:pt x="14594" y="42688"/>
                  <a:pt x="14657" y="43094"/>
                </a:cubicBezTo>
                <a:cubicBezTo>
                  <a:pt x="14719" y="43281"/>
                  <a:pt x="14750" y="43469"/>
                  <a:pt x="14782" y="43688"/>
                </a:cubicBezTo>
                <a:cubicBezTo>
                  <a:pt x="20563" y="43688"/>
                  <a:pt x="20563" y="43688"/>
                  <a:pt x="20563" y="43688"/>
                </a:cubicBezTo>
                <a:cubicBezTo>
                  <a:pt x="19813" y="40969"/>
                  <a:pt x="19813" y="40969"/>
                  <a:pt x="19813" y="40969"/>
                </a:cubicBezTo>
                <a:cubicBezTo>
                  <a:pt x="19813" y="40969"/>
                  <a:pt x="19782" y="40938"/>
                  <a:pt x="19750" y="40938"/>
                </a:cubicBezTo>
                <a:close/>
                <a:moveTo>
                  <a:pt x="13344" y="23625"/>
                </a:moveTo>
                <a:cubicBezTo>
                  <a:pt x="13313" y="23625"/>
                  <a:pt x="13282" y="23594"/>
                  <a:pt x="13250" y="23656"/>
                </a:cubicBezTo>
                <a:cubicBezTo>
                  <a:pt x="13250" y="23656"/>
                  <a:pt x="13250" y="23656"/>
                  <a:pt x="13250" y="23656"/>
                </a:cubicBezTo>
                <a:cubicBezTo>
                  <a:pt x="13250" y="23656"/>
                  <a:pt x="13250" y="23656"/>
                  <a:pt x="13250" y="23656"/>
                </a:cubicBezTo>
                <a:cubicBezTo>
                  <a:pt x="13282" y="23656"/>
                  <a:pt x="13313" y="23625"/>
                  <a:pt x="13344" y="23625"/>
                </a:cubicBezTo>
                <a:close/>
                <a:moveTo>
                  <a:pt x="9344" y="23625"/>
                </a:moveTo>
                <a:cubicBezTo>
                  <a:pt x="9344" y="23625"/>
                  <a:pt x="9313" y="23625"/>
                  <a:pt x="9344" y="23656"/>
                </a:cubicBezTo>
                <a:cubicBezTo>
                  <a:pt x="9344" y="23688"/>
                  <a:pt x="9344" y="23688"/>
                  <a:pt x="9375" y="23688"/>
                </a:cubicBezTo>
                <a:cubicBezTo>
                  <a:pt x="9375" y="23688"/>
                  <a:pt x="9407" y="23719"/>
                  <a:pt x="9407" y="23719"/>
                </a:cubicBezTo>
                <a:lnTo>
                  <a:pt x="9407" y="23719"/>
                </a:lnTo>
                <a:cubicBezTo>
                  <a:pt x="9375" y="23781"/>
                  <a:pt x="9438" y="23906"/>
                  <a:pt x="9375" y="23906"/>
                </a:cubicBezTo>
                <a:cubicBezTo>
                  <a:pt x="9282" y="23938"/>
                  <a:pt x="9344" y="23813"/>
                  <a:pt x="9313" y="23750"/>
                </a:cubicBezTo>
                <a:cubicBezTo>
                  <a:pt x="9282" y="23719"/>
                  <a:pt x="9282" y="23688"/>
                  <a:pt x="9250" y="23656"/>
                </a:cubicBezTo>
                <a:cubicBezTo>
                  <a:pt x="9250" y="23594"/>
                  <a:pt x="9250" y="23531"/>
                  <a:pt x="9282" y="23500"/>
                </a:cubicBezTo>
                <a:cubicBezTo>
                  <a:pt x="9282" y="23500"/>
                  <a:pt x="9313" y="23469"/>
                  <a:pt x="9313" y="23500"/>
                </a:cubicBezTo>
                <a:cubicBezTo>
                  <a:pt x="9375" y="23531"/>
                  <a:pt x="9407" y="23563"/>
                  <a:pt x="9407" y="23594"/>
                </a:cubicBezTo>
                <a:cubicBezTo>
                  <a:pt x="9407" y="23625"/>
                  <a:pt x="9407" y="23656"/>
                  <a:pt x="9375" y="23688"/>
                </a:cubicBezTo>
                <a:cubicBezTo>
                  <a:pt x="9375" y="23656"/>
                  <a:pt x="9375" y="23625"/>
                  <a:pt x="9344" y="23625"/>
                </a:cubicBezTo>
                <a:close/>
                <a:moveTo>
                  <a:pt x="15813" y="19969"/>
                </a:moveTo>
                <a:cubicBezTo>
                  <a:pt x="15813" y="19969"/>
                  <a:pt x="15782" y="19969"/>
                  <a:pt x="15782" y="19969"/>
                </a:cubicBezTo>
                <a:cubicBezTo>
                  <a:pt x="15782" y="20000"/>
                  <a:pt x="15782" y="20000"/>
                  <a:pt x="15813" y="20000"/>
                </a:cubicBezTo>
                <a:cubicBezTo>
                  <a:pt x="15813" y="20000"/>
                  <a:pt x="15813" y="20000"/>
                  <a:pt x="15813" y="19969"/>
                </a:cubicBezTo>
                <a:cubicBezTo>
                  <a:pt x="15813" y="19969"/>
                  <a:pt x="15813" y="19969"/>
                  <a:pt x="15813" y="19969"/>
                </a:cubicBezTo>
                <a:close/>
                <a:moveTo>
                  <a:pt x="14469" y="23031"/>
                </a:moveTo>
                <a:cubicBezTo>
                  <a:pt x="14469" y="23031"/>
                  <a:pt x="14469" y="23063"/>
                  <a:pt x="14469" y="23063"/>
                </a:cubicBezTo>
                <a:cubicBezTo>
                  <a:pt x="14469" y="23094"/>
                  <a:pt x="14500" y="23094"/>
                  <a:pt x="14500" y="23125"/>
                </a:cubicBezTo>
                <a:cubicBezTo>
                  <a:pt x="14500" y="23094"/>
                  <a:pt x="14532" y="23094"/>
                  <a:pt x="14532" y="23063"/>
                </a:cubicBezTo>
                <a:cubicBezTo>
                  <a:pt x="14532" y="23063"/>
                  <a:pt x="14500" y="23031"/>
                  <a:pt x="14469" y="23031"/>
                </a:cubicBezTo>
                <a:close/>
                <a:moveTo>
                  <a:pt x="15813" y="18875"/>
                </a:moveTo>
                <a:cubicBezTo>
                  <a:pt x="15813" y="18875"/>
                  <a:pt x="15813" y="18844"/>
                  <a:pt x="15782" y="18844"/>
                </a:cubicBezTo>
                <a:cubicBezTo>
                  <a:pt x="15782" y="18844"/>
                  <a:pt x="15782" y="18875"/>
                  <a:pt x="15782" y="18875"/>
                </a:cubicBezTo>
                <a:cubicBezTo>
                  <a:pt x="15782" y="18906"/>
                  <a:pt x="15813" y="18906"/>
                  <a:pt x="15813" y="18875"/>
                </a:cubicBezTo>
                <a:cubicBezTo>
                  <a:pt x="15875" y="18969"/>
                  <a:pt x="15969" y="19031"/>
                  <a:pt x="16063" y="19063"/>
                </a:cubicBezTo>
                <a:cubicBezTo>
                  <a:pt x="16000" y="18969"/>
                  <a:pt x="15969" y="18875"/>
                  <a:pt x="15813" y="18875"/>
                </a:cubicBezTo>
                <a:close/>
                <a:moveTo>
                  <a:pt x="16844" y="20250"/>
                </a:moveTo>
                <a:cubicBezTo>
                  <a:pt x="16907" y="20125"/>
                  <a:pt x="16875" y="20031"/>
                  <a:pt x="16719" y="19938"/>
                </a:cubicBezTo>
                <a:cubicBezTo>
                  <a:pt x="16719" y="20000"/>
                  <a:pt x="16750" y="20031"/>
                  <a:pt x="16719" y="20063"/>
                </a:cubicBezTo>
                <a:cubicBezTo>
                  <a:pt x="16688" y="20125"/>
                  <a:pt x="16750" y="20188"/>
                  <a:pt x="16750" y="20281"/>
                </a:cubicBezTo>
                <a:cubicBezTo>
                  <a:pt x="16719" y="20313"/>
                  <a:pt x="16813" y="20344"/>
                  <a:pt x="16875" y="20344"/>
                </a:cubicBezTo>
                <a:cubicBezTo>
                  <a:pt x="16938" y="20313"/>
                  <a:pt x="16844" y="20250"/>
                  <a:pt x="16844" y="20250"/>
                </a:cubicBezTo>
                <a:close/>
                <a:moveTo>
                  <a:pt x="17000" y="13250"/>
                </a:moveTo>
                <a:cubicBezTo>
                  <a:pt x="17000" y="13313"/>
                  <a:pt x="17063" y="13344"/>
                  <a:pt x="17094" y="13344"/>
                </a:cubicBezTo>
                <a:cubicBezTo>
                  <a:pt x="17219" y="13344"/>
                  <a:pt x="17157" y="13406"/>
                  <a:pt x="17157" y="13469"/>
                </a:cubicBezTo>
                <a:cubicBezTo>
                  <a:pt x="17157" y="13469"/>
                  <a:pt x="17157" y="13469"/>
                  <a:pt x="17157" y="13469"/>
                </a:cubicBezTo>
                <a:cubicBezTo>
                  <a:pt x="17344" y="13563"/>
                  <a:pt x="17532" y="13625"/>
                  <a:pt x="17750" y="13625"/>
                </a:cubicBezTo>
                <a:cubicBezTo>
                  <a:pt x="17844" y="13625"/>
                  <a:pt x="17938" y="13563"/>
                  <a:pt x="18000" y="13594"/>
                </a:cubicBezTo>
                <a:cubicBezTo>
                  <a:pt x="18094" y="13688"/>
                  <a:pt x="18219" y="13656"/>
                  <a:pt x="18344" y="13625"/>
                </a:cubicBezTo>
                <a:cubicBezTo>
                  <a:pt x="18375" y="13531"/>
                  <a:pt x="18438" y="13438"/>
                  <a:pt x="18438" y="13313"/>
                </a:cubicBezTo>
                <a:cubicBezTo>
                  <a:pt x="18438" y="13281"/>
                  <a:pt x="18438" y="13250"/>
                  <a:pt x="18438" y="13219"/>
                </a:cubicBezTo>
                <a:cubicBezTo>
                  <a:pt x="18438" y="13250"/>
                  <a:pt x="18438" y="13281"/>
                  <a:pt x="18438" y="13313"/>
                </a:cubicBezTo>
                <a:cubicBezTo>
                  <a:pt x="18469" y="13563"/>
                  <a:pt x="18407" y="13813"/>
                  <a:pt x="18375" y="14063"/>
                </a:cubicBezTo>
                <a:cubicBezTo>
                  <a:pt x="18500" y="14094"/>
                  <a:pt x="18657" y="13938"/>
                  <a:pt x="18782" y="14094"/>
                </a:cubicBezTo>
                <a:cubicBezTo>
                  <a:pt x="18782" y="14094"/>
                  <a:pt x="18782" y="14094"/>
                  <a:pt x="18782" y="14094"/>
                </a:cubicBezTo>
                <a:cubicBezTo>
                  <a:pt x="18782" y="14031"/>
                  <a:pt x="18875" y="14031"/>
                  <a:pt x="18844" y="13969"/>
                </a:cubicBezTo>
                <a:cubicBezTo>
                  <a:pt x="18750" y="13813"/>
                  <a:pt x="18813" y="13625"/>
                  <a:pt x="18813" y="13438"/>
                </a:cubicBezTo>
                <a:cubicBezTo>
                  <a:pt x="18813" y="13219"/>
                  <a:pt x="18657" y="13125"/>
                  <a:pt x="18532" y="12969"/>
                </a:cubicBezTo>
                <a:cubicBezTo>
                  <a:pt x="18532" y="13094"/>
                  <a:pt x="18688" y="13188"/>
                  <a:pt x="18625" y="13313"/>
                </a:cubicBezTo>
                <a:cubicBezTo>
                  <a:pt x="18563" y="13219"/>
                  <a:pt x="18469" y="13094"/>
                  <a:pt x="18438" y="13094"/>
                </a:cubicBezTo>
                <a:lnTo>
                  <a:pt x="18438" y="13094"/>
                </a:lnTo>
                <a:cubicBezTo>
                  <a:pt x="18313" y="13156"/>
                  <a:pt x="18282" y="12969"/>
                  <a:pt x="18188" y="12969"/>
                </a:cubicBezTo>
                <a:cubicBezTo>
                  <a:pt x="18157" y="12938"/>
                  <a:pt x="18125" y="12906"/>
                  <a:pt x="18094" y="12906"/>
                </a:cubicBezTo>
                <a:cubicBezTo>
                  <a:pt x="17969" y="12875"/>
                  <a:pt x="17907" y="12781"/>
                  <a:pt x="17844" y="12688"/>
                </a:cubicBezTo>
                <a:cubicBezTo>
                  <a:pt x="17813" y="12594"/>
                  <a:pt x="17688" y="12594"/>
                  <a:pt x="17657" y="12531"/>
                </a:cubicBezTo>
                <a:cubicBezTo>
                  <a:pt x="17532" y="12563"/>
                  <a:pt x="17625" y="12656"/>
                  <a:pt x="17594" y="12719"/>
                </a:cubicBezTo>
                <a:cubicBezTo>
                  <a:pt x="17500" y="12656"/>
                  <a:pt x="17469" y="12594"/>
                  <a:pt x="17407" y="12531"/>
                </a:cubicBezTo>
                <a:cubicBezTo>
                  <a:pt x="17344" y="12438"/>
                  <a:pt x="17313" y="12469"/>
                  <a:pt x="17250" y="12563"/>
                </a:cubicBezTo>
                <a:cubicBezTo>
                  <a:pt x="17282" y="12406"/>
                  <a:pt x="17219" y="12313"/>
                  <a:pt x="17219" y="12188"/>
                </a:cubicBezTo>
                <a:cubicBezTo>
                  <a:pt x="17219" y="12094"/>
                  <a:pt x="17125" y="12156"/>
                  <a:pt x="17094" y="12188"/>
                </a:cubicBezTo>
                <a:cubicBezTo>
                  <a:pt x="16969" y="12250"/>
                  <a:pt x="16844" y="12344"/>
                  <a:pt x="16750" y="12500"/>
                </a:cubicBezTo>
                <a:cubicBezTo>
                  <a:pt x="16750" y="12344"/>
                  <a:pt x="16719" y="12344"/>
                  <a:pt x="16625" y="12438"/>
                </a:cubicBezTo>
                <a:cubicBezTo>
                  <a:pt x="16657" y="12375"/>
                  <a:pt x="16657" y="12313"/>
                  <a:pt x="16657" y="12250"/>
                </a:cubicBezTo>
                <a:cubicBezTo>
                  <a:pt x="16563" y="12219"/>
                  <a:pt x="16563" y="12375"/>
                  <a:pt x="16438" y="12344"/>
                </a:cubicBezTo>
                <a:cubicBezTo>
                  <a:pt x="16532" y="12375"/>
                  <a:pt x="16594" y="12438"/>
                  <a:pt x="16500" y="12500"/>
                </a:cubicBezTo>
                <a:cubicBezTo>
                  <a:pt x="16469" y="12563"/>
                  <a:pt x="16438" y="12625"/>
                  <a:pt x="16469" y="12688"/>
                </a:cubicBezTo>
                <a:cubicBezTo>
                  <a:pt x="16469" y="12719"/>
                  <a:pt x="16469" y="12750"/>
                  <a:pt x="16438" y="12750"/>
                </a:cubicBezTo>
                <a:cubicBezTo>
                  <a:pt x="16344" y="12781"/>
                  <a:pt x="16438" y="12781"/>
                  <a:pt x="16438" y="12813"/>
                </a:cubicBezTo>
                <a:cubicBezTo>
                  <a:pt x="16469" y="12844"/>
                  <a:pt x="16469" y="12906"/>
                  <a:pt x="16469" y="12938"/>
                </a:cubicBezTo>
                <a:cubicBezTo>
                  <a:pt x="16407" y="13125"/>
                  <a:pt x="16407" y="13313"/>
                  <a:pt x="16313" y="13469"/>
                </a:cubicBezTo>
                <a:cubicBezTo>
                  <a:pt x="16282" y="13500"/>
                  <a:pt x="16313" y="13500"/>
                  <a:pt x="16313" y="13531"/>
                </a:cubicBezTo>
                <a:cubicBezTo>
                  <a:pt x="16313" y="13531"/>
                  <a:pt x="16344" y="13531"/>
                  <a:pt x="16375" y="13563"/>
                </a:cubicBezTo>
                <a:cubicBezTo>
                  <a:pt x="16375" y="13563"/>
                  <a:pt x="16375" y="13563"/>
                  <a:pt x="16375" y="13563"/>
                </a:cubicBezTo>
                <a:cubicBezTo>
                  <a:pt x="16625" y="13469"/>
                  <a:pt x="16875" y="13375"/>
                  <a:pt x="17157" y="13469"/>
                </a:cubicBezTo>
                <a:cubicBezTo>
                  <a:pt x="17157" y="13406"/>
                  <a:pt x="17125" y="13375"/>
                  <a:pt x="17094" y="13344"/>
                </a:cubicBezTo>
                <a:cubicBezTo>
                  <a:pt x="17094" y="13281"/>
                  <a:pt x="17063" y="13250"/>
                  <a:pt x="17000" y="13250"/>
                </a:cubicBezTo>
                <a:close/>
                <a:moveTo>
                  <a:pt x="18344" y="23977"/>
                </a:moveTo>
                <a:lnTo>
                  <a:pt x="18344" y="23969"/>
                </a:lnTo>
                <a:cubicBezTo>
                  <a:pt x="18344" y="23938"/>
                  <a:pt x="18344" y="23875"/>
                  <a:pt x="18313" y="23813"/>
                </a:cubicBezTo>
                <a:cubicBezTo>
                  <a:pt x="18313" y="23781"/>
                  <a:pt x="18250" y="23719"/>
                  <a:pt x="18344" y="23719"/>
                </a:cubicBezTo>
                <a:cubicBezTo>
                  <a:pt x="18407" y="23719"/>
                  <a:pt x="18469" y="23688"/>
                  <a:pt x="18469" y="23781"/>
                </a:cubicBezTo>
                <a:cubicBezTo>
                  <a:pt x="18469" y="23844"/>
                  <a:pt x="18469" y="23875"/>
                  <a:pt x="18469" y="23906"/>
                </a:cubicBezTo>
                <a:cubicBezTo>
                  <a:pt x="18469" y="23938"/>
                  <a:pt x="18469" y="23938"/>
                  <a:pt x="18438" y="23969"/>
                </a:cubicBezTo>
                <a:cubicBezTo>
                  <a:pt x="18438" y="23969"/>
                  <a:pt x="18438" y="23969"/>
                  <a:pt x="18438" y="23969"/>
                </a:cubicBezTo>
                <a:cubicBezTo>
                  <a:pt x="18407" y="23969"/>
                  <a:pt x="18375" y="23969"/>
                  <a:pt x="18344" y="24000"/>
                </a:cubicBezTo>
                <a:cubicBezTo>
                  <a:pt x="18344" y="24031"/>
                  <a:pt x="18344" y="24094"/>
                  <a:pt x="18344" y="24156"/>
                </a:cubicBezTo>
                <a:cubicBezTo>
                  <a:pt x="18313" y="24188"/>
                  <a:pt x="18313" y="24188"/>
                  <a:pt x="18282" y="24219"/>
                </a:cubicBezTo>
                <a:cubicBezTo>
                  <a:pt x="18250" y="24219"/>
                  <a:pt x="18219" y="24219"/>
                  <a:pt x="18188" y="24188"/>
                </a:cubicBezTo>
                <a:cubicBezTo>
                  <a:pt x="18157" y="24125"/>
                  <a:pt x="18188" y="24063"/>
                  <a:pt x="18219" y="24000"/>
                </a:cubicBezTo>
                <a:cubicBezTo>
                  <a:pt x="18188" y="24000"/>
                  <a:pt x="18188" y="24000"/>
                  <a:pt x="18157" y="23969"/>
                </a:cubicBezTo>
                <a:cubicBezTo>
                  <a:pt x="18157" y="24000"/>
                  <a:pt x="18125" y="24000"/>
                  <a:pt x="18094" y="24000"/>
                </a:cubicBezTo>
                <a:cubicBezTo>
                  <a:pt x="18032" y="24000"/>
                  <a:pt x="18000" y="23969"/>
                  <a:pt x="18000" y="23875"/>
                </a:cubicBezTo>
                <a:cubicBezTo>
                  <a:pt x="18032" y="23625"/>
                  <a:pt x="18000" y="23375"/>
                  <a:pt x="18000" y="23125"/>
                </a:cubicBezTo>
                <a:cubicBezTo>
                  <a:pt x="18000" y="23063"/>
                  <a:pt x="18000" y="23000"/>
                  <a:pt x="17907" y="22969"/>
                </a:cubicBezTo>
                <a:cubicBezTo>
                  <a:pt x="17907" y="23000"/>
                  <a:pt x="17875" y="23031"/>
                  <a:pt x="17875" y="23063"/>
                </a:cubicBezTo>
                <a:cubicBezTo>
                  <a:pt x="17875" y="23031"/>
                  <a:pt x="17907" y="23000"/>
                  <a:pt x="17907" y="22969"/>
                </a:cubicBezTo>
                <a:cubicBezTo>
                  <a:pt x="17938" y="22906"/>
                  <a:pt x="17844" y="22844"/>
                  <a:pt x="17907" y="22813"/>
                </a:cubicBezTo>
                <a:cubicBezTo>
                  <a:pt x="17969" y="22750"/>
                  <a:pt x="18000" y="22844"/>
                  <a:pt x="18063" y="22813"/>
                </a:cubicBezTo>
                <a:cubicBezTo>
                  <a:pt x="18063" y="22844"/>
                  <a:pt x="18063" y="22844"/>
                  <a:pt x="18063" y="22844"/>
                </a:cubicBezTo>
                <a:cubicBezTo>
                  <a:pt x="18063" y="22844"/>
                  <a:pt x="18063" y="22844"/>
                  <a:pt x="18063" y="22844"/>
                </a:cubicBezTo>
                <a:cubicBezTo>
                  <a:pt x="18063" y="22938"/>
                  <a:pt x="18063" y="23000"/>
                  <a:pt x="18157" y="23125"/>
                </a:cubicBezTo>
                <a:cubicBezTo>
                  <a:pt x="18157" y="22969"/>
                  <a:pt x="18188" y="22875"/>
                  <a:pt x="18157" y="22781"/>
                </a:cubicBezTo>
                <a:cubicBezTo>
                  <a:pt x="18125" y="22625"/>
                  <a:pt x="18219" y="22750"/>
                  <a:pt x="18219" y="22719"/>
                </a:cubicBezTo>
                <a:cubicBezTo>
                  <a:pt x="18219" y="22813"/>
                  <a:pt x="18250" y="22844"/>
                  <a:pt x="18344" y="22844"/>
                </a:cubicBezTo>
                <a:cubicBezTo>
                  <a:pt x="18344" y="22875"/>
                  <a:pt x="18375" y="22875"/>
                  <a:pt x="18407" y="22875"/>
                </a:cubicBezTo>
                <a:cubicBezTo>
                  <a:pt x="18407" y="22906"/>
                  <a:pt x="18407" y="22906"/>
                  <a:pt x="18438" y="22938"/>
                </a:cubicBezTo>
                <a:cubicBezTo>
                  <a:pt x="18438" y="22938"/>
                  <a:pt x="18438" y="22906"/>
                  <a:pt x="18469" y="22906"/>
                </a:cubicBezTo>
                <a:cubicBezTo>
                  <a:pt x="18438" y="22781"/>
                  <a:pt x="18344" y="22688"/>
                  <a:pt x="18344" y="22563"/>
                </a:cubicBezTo>
                <a:cubicBezTo>
                  <a:pt x="18313" y="22438"/>
                  <a:pt x="18282" y="22438"/>
                  <a:pt x="18188" y="22469"/>
                </a:cubicBezTo>
                <a:cubicBezTo>
                  <a:pt x="18094" y="22500"/>
                  <a:pt x="18063" y="22375"/>
                  <a:pt x="17969" y="22375"/>
                </a:cubicBezTo>
                <a:cubicBezTo>
                  <a:pt x="17969" y="22438"/>
                  <a:pt x="18063" y="22531"/>
                  <a:pt x="17907" y="22563"/>
                </a:cubicBezTo>
                <a:cubicBezTo>
                  <a:pt x="17813" y="22469"/>
                  <a:pt x="17782" y="22375"/>
                  <a:pt x="17719" y="22250"/>
                </a:cubicBezTo>
                <a:cubicBezTo>
                  <a:pt x="17750" y="22219"/>
                  <a:pt x="17813" y="22188"/>
                  <a:pt x="17782" y="22094"/>
                </a:cubicBezTo>
                <a:cubicBezTo>
                  <a:pt x="17844" y="22125"/>
                  <a:pt x="17907" y="22219"/>
                  <a:pt x="17969" y="22125"/>
                </a:cubicBezTo>
                <a:cubicBezTo>
                  <a:pt x="18000" y="22094"/>
                  <a:pt x="18032" y="22094"/>
                  <a:pt x="18063" y="22125"/>
                </a:cubicBezTo>
                <a:cubicBezTo>
                  <a:pt x="18032" y="22094"/>
                  <a:pt x="18000" y="22094"/>
                  <a:pt x="17969" y="22125"/>
                </a:cubicBezTo>
                <a:cubicBezTo>
                  <a:pt x="17969" y="22188"/>
                  <a:pt x="18032" y="22219"/>
                  <a:pt x="18063" y="22219"/>
                </a:cubicBezTo>
                <a:cubicBezTo>
                  <a:pt x="18157" y="22250"/>
                  <a:pt x="18094" y="22188"/>
                  <a:pt x="18094" y="22156"/>
                </a:cubicBezTo>
                <a:cubicBezTo>
                  <a:pt x="18094" y="22125"/>
                  <a:pt x="18157" y="22125"/>
                  <a:pt x="18188" y="22094"/>
                </a:cubicBezTo>
                <a:cubicBezTo>
                  <a:pt x="18250" y="22344"/>
                  <a:pt x="18250" y="22375"/>
                  <a:pt x="18407" y="22344"/>
                </a:cubicBezTo>
                <a:cubicBezTo>
                  <a:pt x="18438" y="22313"/>
                  <a:pt x="18438" y="22313"/>
                  <a:pt x="18438" y="22281"/>
                </a:cubicBezTo>
                <a:cubicBezTo>
                  <a:pt x="18344" y="22250"/>
                  <a:pt x="18313" y="22094"/>
                  <a:pt x="18188" y="22094"/>
                </a:cubicBezTo>
                <a:cubicBezTo>
                  <a:pt x="18188" y="22063"/>
                  <a:pt x="18188" y="22063"/>
                  <a:pt x="18188" y="22031"/>
                </a:cubicBezTo>
                <a:cubicBezTo>
                  <a:pt x="18250" y="22094"/>
                  <a:pt x="18344" y="22125"/>
                  <a:pt x="18438" y="22156"/>
                </a:cubicBezTo>
                <a:lnTo>
                  <a:pt x="18438" y="22156"/>
                </a:lnTo>
                <a:cubicBezTo>
                  <a:pt x="18532" y="22219"/>
                  <a:pt x="18532" y="22250"/>
                  <a:pt x="18438" y="22281"/>
                </a:cubicBezTo>
                <a:cubicBezTo>
                  <a:pt x="18438" y="22313"/>
                  <a:pt x="18438" y="22313"/>
                  <a:pt x="18407" y="22344"/>
                </a:cubicBezTo>
                <a:cubicBezTo>
                  <a:pt x="18438" y="22438"/>
                  <a:pt x="18563" y="22406"/>
                  <a:pt x="18594" y="22438"/>
                </a:cubicBezTo>
                <a:cubicBezTo>
                  <a:pt x="18625" y="22594"/>
                  <a:pt x="18750" y="22656"/>
                  <a:pt x="18750" y="22719"/>
                </a:cubicBezTo>
                <a:cubicBezTo>
                  <a:pt x="18782" y="22875"/>
                  <a:pt x="18844" y="23000"/>
                  <a:pt x="18907" y="23125"/>
                </a:cubicBezTo>
                <a:cubicBezTo>
                  <a:pt x="18907" y="23156"/>
                  <a:pt x="18907" y="23156"/>
                  <a:pt x="18907" y="23188"/>
                </a:cubicBezTo>
                <a:cubicBezTo>
                  <a:pt x="18813" y="23156"/>
                  <a:pt x="18813" y="23031"/>
                  <a:pt x="18719" y="23000"/>
                </a:cubicBezTo>
                <a:cubicBezTo>
                  <a:pt x="18719" y="22813"/>
                  <a:pt x="18594" y="22688"/>
                  <a:pt x="18500" y="22531"/>
                </a:cubicBezTo>
                <a:cubicBezTo>
                  <a:pt x="18500" y="22656"/>
                  <a:pt x="18500" y="22781"/>
                  <a:pt x="18532" y="22875"/>
                </a:cubicBezTo>
                <a:cubicBezTo>
                  <a:pt x="18532" y="22875"/>
                  <a:pt x="18532" y="22875"/>
                  <a:pt x="18532" y="22875"/>
                </a:cubicBezTo>
                <a:cubicBezTo>
                  <a:pt x="18500" y="22906"/>
                  <a:pt x="18500" y="22906"/>
                  <a:pt x="18469" y="22906"/>
                </a:cubicBezTo>
                <a:cubicBezTo>
                  <a:pt x="18438" y="22906"/>
                  <a:pt x="18438" y="22938"/>
                  <a:pt x="18438" y="22938"/>
                </a:cubicBezTo>
                <a:cubicBezTo>
                  <a:pt x="18407" y="23031"/>
                  <a:pt x="18469" y="23063"/>
                  <a:pt x="18532" y="23094"/>
                </a:cubicBezTo>
                <a:cubicBezTo>
                  <a:pt x="18532" y="23094"/>
                  <a:pt x="18563" y="23094"/>
                  <a:pt x="18563" y="23094"/>
                </a:cubicBezTo>
                <a:cubicBezTo>
                  <a:pt x="18563" y="23094"/>
                  <a:pt x="18563" y="23125"/>
                  <a:pt x="18563" y="23156"/>
                </a:cubicBezTo>
                <a:cubicBezTo>
                  <a:pt x="18563" y="23188"/>
                  <a:pt x="18594" y="23250"/>
                  <a:pt x="18532" y="23250"/>
                </a:cubicBezTo>
                <a:cubicBezTo>
                  <a:pt x="18469" y="23281"/>
                  <a:pt x="18469" y="23219"/>
                  <a:pt x="18438" y="23188"/>
                </a:cubicBezTo>
                <a:cubicBezTo>
                  <a:pt x="18438" y="23125"/>
                  <a:pt x="18407" y="23063"/>
                  <a:pt x="18344" y="23063"/>
                </a:cubicBezTo>
                <a:cubicBezTo>
                  <a:pt x="18313" y="23219"/>
                  <a:pt x="18438" y="23281"/>
                  <a:pt x="18500" y="23375"/>
                </a:cubicBezTo>
                <a:cubicBezTo>
                  <a:pt x="18563" y="23469"/>
                  <a:pt x="18532" y="23563"/>
                  <a:pt x="18532" y="23656"/>
                </a:cubicBezTo>
                <a:cubicBezTo>
                  <a:pt x="18532" y="23656"/>
                  <a:pt x="18532" y="23656"/>
                  <a:pt x="18532" y="23656"/>
                </a:cubicBezTo>
                <a:cubicBezTo>
                  <a:pt x="18532" y="23688"/>
                  <a:pt x="18532" y="23719"/>
                  <a:pt x="18500" y="23750"/>
                </a:cubicBezTo>
                <a:cubicBezTo>
                  <a:pt x="18375" y="23719"/>
                  <a:pt x="18438" y="23563"/>
                  <a:pt x="18375" y="23531"/>
                </a:cubicBezTo>
                <a:cubicBezTo>
                  <a:pt x="18344" y="23469"/>
                  <a:pt x="18344" y="23406"/>
                  <a:pt x="18282" y="23438"/>
                </a:cubicBezTo>
                <a:cubicBezTo>
                  <a:pt x="18219" y="23469"/>
                  <a:pt x="18282" y="23500"/>
                  <a:pt x="18282" y="23563"/>
                </a:cubicBezTo>
                <a:cubicBezTo>
                  <a:pt x="18282" y="23625"/>
                  <a:pt x="18157" y="23594"/>
                  <a:pt x="18188" y="23656"/>
                </a:cubicBezTo>
                <a:cubicBezTo>
                  <a:pt x="18188" y="23781"/>
                  <a:pt x="18157" y="23875"/>
                  <a:pt x="18157" y="23969"/>
                </a:cubicBezTo>
                <a:cubicBezTo>
                  <a:pt x="18188" y="24000"/>
                  <a:pt x="18188" y="24000"/>
                  <a:pt x="18219" y="24000"/>
                </a:cubicBezTo>
                <a:cubicBezTo>
                  <a:pt x="18250" y="24000"/>
                  <a:pt x="18282" y="24000"/>
                  <a:pt x="18344" y="23969"/>
                </a:cubicBez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4000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9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8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7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6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5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4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3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2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1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90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9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8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7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6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5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4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3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2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1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80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9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8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lnTo>
                  <a:pt x="18344" y="23977"/>
                </a:lnTo>
                <a:close/>
                <a:moveTo>
                  <a:pt x="3969" y="13344"/>
                </a:moveTo>
                <a:cubicBezTo>
                  <a:pt x="3969" y="13344"/>
                  <a:pt x="3938" y="13375"/>
                  <a:pt x="3938" y="13375"/>
                </a:cubicBezTo>
                <a:cubicBezTo>
                  <a:pt x="3938" y="13375"/>
                  <a:pt x="3938" y="13375"/>
                  <a:pt x="3938" y="13375"/>
                </a:cubicBezTo>
                <a:cubicBezTo>
                  <a:pt x="3875" y="13438"/>
                  <a:pt x="3813" y="13469"/>
                  <a:pt x="3719" y="13469"/>
                </a:cubicBezTo>
                <a:cubicBezTo>
                  <a:pt x="3688" y="13469"/>
                  <a:pt x="3625" y="13469"/>
                  <a:pt x="3625" y="13406"/>
                </a:cubicBezTo>
                <a:cubicBezTo>
                  <a:pt x="3625" y="13375"/>
                  <a:pt x="3625" y="13344"/>
                  <a:pt x="3688" y="13344"/>
                </a:cubicBezTo>
                <a:cubicBezTo>
                  <a:pt x="3782" y="13313"/>
                  <a:pt x="3875" y="13281"/>
                  <a:pt x="3813" y="13156"/>
                </a:cubicBezTo>
                <a:cubicBezTo>
                  <a:pt x="3813" y="13094"/>
                  <a:pt x="3844" y="13094"/>
                  <a:pt x="3875" y="13094"/>
                </a:cubicBezTo>
                <a:cubicBezTo>
                  <a:pt x="3907" y="13094"/>
                  <a:pt x="3969" y="13063"/>
                  <a:pt x="3969" y="13156"/>
                </a:cubicBezTo>
                <a:cubicBezTo>
                  <a:pt x="3969" y="13219"/>
                  <a:pt x="3969" y="13281"/>
                  <a:pt x="3969" y="13344"/>
                </a:cubicBezTo>
                <a:close/>
                <a:moveTo>
                  <a:pt x="17750" y="23531"/>
                </a:moveTo>
                <a:cubicBezTo>
                  <a:pt x="17750" y="23438"/>
                  <a:pt x="17657" y="23438"/>
                  <a:pt x="17625" y="23375"/>
                </a:cubicBezTo>
                <a:cubicBezTo>
                  <a:pt x="17594" y="23344"/>
                  <a:pt x="17563" y="23313"/>
                  <a:pt x="17563" y="23281"/>
                </a:cubicBezTo>
                <a:cubicBezTo>
                  <a:pt x="17532" y="23188"/>
                  <a:pt x="17594" y="23156"/>
                  <a:pt x="17594" y="23094"/>
                </a:cubicBezTo>
                <a:cubicBezTo>
                  <a:pt x="17594" y="23094"/>
                  <a:pt x="17594" y="23094"/>
                  <a:pt x="17594" y="23094"/>
                </a:cubicBezTo>
                <a:cubicBezTo>
                  <a:pt x="17657" y="23031"/>
                  <a:pt x="17594" y="22969"/>
                  <a:pt x="17594" y="22938"/>
                </a:cubicBezTo>
                <a:cubicBezTo>
                  <a:pt x="17782" y="22969"/>
                  <a:pt x="17813" y="23156"/>
                  <a:pt x="17907" y="23281"/>
                </a:cubicBezTo>
                <a:cubicBezTo>
                  <a:pt x="17907" y="23406"/>
                  <a:pt x="17907" y="23563"/>
                  <a:pt x="17969" y="23688"/>
                </a:cubicBezTo>
                <a:cubicBezTo>
                  <a:pt x="18000" y="23781"/>
                  <a:pt x="17907" y="23875"/>
                  <a:pt x="17938" y="23969"/>
                </a:cubicBezTo>
                <a:cubicBezTo>
                  <a:pt x="17938" y="24000"/>
                  <a:pt x="17907" y="24063"/>
                  <a:pt x="17969" y="24125"/>
                </a:cubicBezTo>
                <a:cubicBezTo>
                  <a:pt x="18000" y="24188"/>
                  <a:pt x="17938" y="24188"/>
                  <a:pt x="17907" y="24219"/>
                </a:cubicBezTo>
                <a:lnTo>
                  <a:pt x="17907" y="24219"/>
                </a:lnTo>
                <a:cubicBezTo>
                  <a:pt x="17875" y="24250"/>
                  <a:pt x="17844" y="24250"/>
                  <a:pt x="17813" y="24219"/>
                </a:cubicBezTo>
                <a:cubicBezTo>
                  <a:pt x="17719" y="24125"/>
                  <a:pt x="17750" y="24000"/>
                  <a:pt x="17719" y="23906"/>
                </a:cubicBezTo>
                <a:cubicBezTo>
                  <a:pt x="17719" y="23844"/>
                  <a:pt x="17719" y="23781"/>
                  <a:pt x="17657" y="23750"/>
                </a:cubicBezTo>
                <a:cubicBezTo>
                  <a:pt x="17625" y="23719"/>
                  <a:pt x="17594" y="23719"/>
                  <a:pt x="17563" y="23688"/>
                </a:cubicBezTo>
                <a:cubicBezTo>
                  <a:pt x="17594" y="23719"/>
                  <a:pt x="17625" y="23719"/>
                  <a:pt x="17657" y="23750"/>
                </a:cubicBezTo>
                <a:cubicBezTo>
                  <a:pt x="17625" y="23656"/>
                  <a:pt x="17594" y="23563"/>
                  <a:pt x="17625" y="23469"/>
                </a:cubicBezTo>
                <a:cubicBezTo>
                  <a:pt x="17657" y="23469"/>
                  <a:pt x="17688" y="23594"/>
                  <a:pt x="17750" y="23531"/>
                </a:cubicBezTo>
                <a:close/>
                <a:moveTo>
                  <a:pt x="15407" y="20000"/>
                </a:moveTo>
                <a:cubicBezTo>
                  <a:pt x="15407" y="20031"/>
                  <a:pt x="15407" y="20031"/>
                  <a:pt x="15407" y="20031"/>
                </a:cubicBezTo>
                <a:cubicBezTo>
                  <a:pt x="15407" y="20031"/>
                  <a:pt x="15407" y="20031"/>
                  <a:pt x="15407" y="20063"/>
                </a:cubicBezTo>
                <a:lnTo>
                  <a:pt x="15407" y="20063"/>
                </a:lnTo>
                <a:cubicBezTo>
                  <a:pt x="15407" y="20063"/>
                  <a:pt x="15375" y="20063"/>
                  <a:pt x="15375" y="20063"/>
                </a:cubicBezTo>
                <a:cubicBezTo>
                  <a:pt x="15375" y="20063"/>
                  <a:pt x="15375" y="20063"/>
                  <a:pt x="15375" y="20063"/>
                </a:cubicBezTo>
                <a:cubicBezTo>
                  <a:pt x="15375" y="20031"/>
                  <a:pt x="15375" y="20000"/>
                  <a:pt x="15407" y="20000"/>
                </a:cubicBezTo>
                <a:close/>
                <a:moveTo>
                  <a:pt x="15407" y="20031"/>
                </a:moveTo>
                <a:cubicBezTo>
                  <a:pt x="15407" y="20031"/>
                  <a:pt x="15407" y="20031"/>
                  <a:pt x="15407" y="20000"/>
                </a:cubicBezTo>
                <a:cubicBezTo>
                  <a:pt x="15407" y="19969"/>
                  <a:pt x="15375" y="19906"/>
                  <a:pt x="15375" y="19844"/>
                </a:cubicBezTo>
                <a:cubicBezTo>
                  <a:pt x="15407" y="19875"/>
                  <a:pt x="15532" y="19813"/>
                  <a:pt x="15500" y="19938"/>
                </a:cubicBezTo>
                <a:cubicBezTo>
                  <a:pt x="15469" y="19938"/>
                  <a:pt x="15500" y="20031"/>
                  <a:pt x="15407" y="20031"/>
                </a:cubicBezTo>
                <a:close/>
                <a:moveTo>
                  <a:pt x="21219" y="10094"/>
                </a:move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ubicBezTo>
                  <a:pt x="21219" y="10094"/>
                  <a:pt x="21219" y="10094"/>
                  <a:pt x="21219" y="10094"/>
                </a:cubicBezTo>
                <a:close/>
                <a:moveTo>
                  <a:pt x="20938" y="10906"/>
                </a:moveTo>
                <a:cubicBezTo>
                  <a:pt x="20938" y="10906"/>
                  <a:pt x="20938" y="10938"/>
                  <a:pt x="20938" y="10938"/>
                </a:cubicBezTo>
                <a:cubicBezTo>
                  <a:pt x="20938" y="10938"/>
                  <a:pt x="20938" y="10938"/>
                  <a:pt x="20938" y="10938"/>
                </a:cubicBezTo>
                <a:lnTo>
                  <a:pt x="20938" y="10938"/>
                </a:lnTo>
                <a:cubicBezTo>
                  <a:pt x="20938" y="10938"/>
                  <a:pt x="20938" y="10906"/>
                  <a:pt x="20938" y="10906"/>
                </a:cubicBezTo>
                <a:close/>
                <a:moveTo>
                  <a:pt x="19313" y="7500"/>
                </a:moveTo>
                <a:lnTo>
                  <a:pt x="19313" y="7500"/>
                </a:lnTo>
                <a:lnTo>
                  <a:pt x="19313" y="7500"/>
                </a:lnTo>
                <a:close/>
                <a:moveTo>
                  <a:pt x="9250" y="17906"/>
                </a:moveTo>
                <a:cubicBezTo>
                  <a:pt x="9250" y="17906"/>
                  <a:pt x="9250" y="17906"/>
                  <a:pt x="9250" y="17938"/>
                </a:cubicBezTo>
                <a:cubicBezTo>
                  <a:pt x="9250" y="17906"/>
                  <a:pt x="9250" y="17906"/>
                  <a:pt x="9250" y="17906"/>
                </a:cubicBezTo>
                <a:cubicBezTo>
                  <a:pt x="9250" y="17906"/>
                  <a:pt x="9250" y="17906"/>
                  <a:pt x="9250" y="17906"/>
                </a:cubicBezTo>
                <a:cubicBezTo>
                  <a:pt x="9250" y="17906"/>
                  <a:pt x="9250" y="17906"/>
                  <a:pt x="9250" y="17906"/>
                </a:cubicBezTo>
                <a:close/>
                <a:moveTo>
                  <a:pt x="3875" y="16969"/>
                </a:moveTo>
                <a:lnTo>
                  <a:pt x="3875" y="16969"/>
                </a:lnTo>
                <a:lnTo>
                  <a:pt x="3875" y="16969"/>
                </a:lnTo>
                <a:close/>
                <a:moveTo>
                  <a:pt x="13188" y="27125"/>
                </a:moveTo>
                <a:cubicBezTo>
                  <a:pt x="13188" y="27125"/>
                  <a:pt x="13219" y="27125"/>
                  <a:pt x="13219" y="27125"/>
                </a:cubicBezTo>
                <a:cubicBezTo>
                  <a:pt x="13219" y="27094"/>
                  <a:pt x="13219" y="27094"/>
                  <a:pt x="13188" y="27094"/>
                </a:cubicBezTo>
                <a:cubicBezTo>
                  <a:pt x="13188" y="27094"/>
                  <a:pt x="13157" y="27094"/>
                  <a:pt x="13157" y="27125"/>
                </a:cubicBezTo>
                <a:cubicBezTo>
                  <a:pt x="13157" y="27125"/>
                  <a:pt x="13188" y="27125"/>
                  <a:pt x="13188" y="27125"/>
                </a:cubicBezTo>
                <a:close/>
                <a:moveTo>
                  <a:pt x="9500" y="16938"/>
                </a:moveTo>
                <a:cubicBezTo>
                  <a:pt x="9438" y="17000"/>
                  <a:pt x="9407" y="16969"/>
                  <a:pt x="9344" y="16938"/>
                </a:cubicBezTo>
                <a:cubicBezTo>
                  <a:pt x="9313" y="16906"/>
                  <a:pt x="9313" y="16875"/>
                  <a:pt x="9344" y="16844"/>
                </a:cubicBezTo>
                <a:cubicBezTo>
                  <a:pt x="9407" y="16781"/>
                  <a:pt x="9407" y="16719"/>
                  <a:pt x="9407" y="16656"/>
                </a:cubicBezTo>
                <a:cubicBezTo>
                  <a:pt x="9438" y="16594"/>
                  <a:pt x="9469" y="16531"/>
                  <a:pt x="9532" y="16531"/>
                </a:cubicBezTo>
                <a:cubicBezTo>
                  <a:pt x="9625" y="16563"/>
                  <a:pt x="9594" y="16625"/>
                  <a:pt x="9594" y="16656"/>
                </a:cubicBezTo>
                <a:cubicBezTo>
                  <a:pt x="9594" y="16719"/>
                  <a:pt x="9594" y="16750"/>
                  <a:pt x="9594" y="16813"/>
                </a:cubicBezTo>
                <a:cubicBezTo>
                  <a:pt x="9563" y="16844"/>
                  <a:pt x="9532" y="16906"/>
                  <a:pt x="9500" y="16938"/>
                </a:cubicBezTo>
                <a:close/>
                <a:moveTo>
                  <a:pt x="19375" y="20844"/>
                </a:moveTo>
                <a:cubicBezTo>
                  <a:pt x="19375" y="20844"/>
                  <a:pt x="19375" y="20875"/>
                  <a:pt x="19375" y="20875"/>
                </a:cubicBezTo>
                <a:cubicBezTo>
                  <a:pt x="19407" y="20875"/>
                  <a:pt x="19407" y="20844"/>
                  <a:pt x="19407" y="20844"/>
                </a:cubicBezTo>
                <a:cubicBezTo>
                  <a:pt x="19407" y="20844"/>
                  <a:pt x="19407" y="20813"/>
                  <a:pt x="19375" y="20813"/>
                </a:cubicBezTo>
                <a:cubicBezTo>
                  <a:pt x="19375" y="20813"/>
                  <a:pt x="19344" y="20813"/>
                  <a:pt x="19375" y="20844"/>
                </a:cubicBezTo>
                <a:close/>
                <a:moveTo>
                  <a:pt x="18688" y="35469"/>
                </a:moveTo>
                <a:cubicBezTo>
                  <a:pt x="18688" y="35469"/>
                  <a:pt x="18657" y="35500"/>
                  <a:pt x="18657" y="35500"/>
                </a:cubicBezTo>
                <a:cubicBezTo>
                  <a:pt x="18688" y="35531"/>
                  <a:pt x="18719" y="35531"/>
                  <a:pt x="18719" y="35531"/>
                </a:cubicBezTo>
                <a:cubicBezTo>
                  <a:pt x="18719" y="35531"/>
                  <a:pt x="18750" y="35469"/>
                  <a:pt x="18688" y="35469"/>
                </a:cubicBezTo>
                <a:close/>
                <a:moveTo>
                  <a:pt x="9563" y="17781"/>
                </a:moveTo>
                <a:close/>
                <a:moveTo>
                  <a:pt x="20282" y="35375"/>
                </a:moveTo>
                <a:cubicBezTo>
                  <a:pt x="20313" y="35438"/>
                  <a:pt x="20375" y="35438"/>
                  <a:pt x="20438" y="35531"/>
                </a:cubicBezTo>
                <a:cubicBezTo>
                  <a:pt x="20407" y="35406"/>
                  <a:pt x="20375" y="35375"/>
                  <a:pt x="20282" y="35375"/>
                </a:cubicBezTo>
                <a:close/>
                <a:moveTo>
                  <a:pt x="18219" y="19438"/>
                </a:moveTo>
                <a:cubicBezTo>
                  <a:pt x="18188" y="19438"/>
                  <a:pt x="18188" y="19406"/>
                  <a:pt x="18157" y="19438"/>
                </a:cubicBezTo>
                <a:cubicBezTo>
                  <a:pt x="18157" y="19469"/>
                  <a:pt x="18157" y="19469"/>
                  <a:pt x="18157" y="19500"/>
                </a:cubicBezTo>
                <a:cubicBezTo>
                  <a:pt x="18219" y="19500"/>
                  <a:pt x="18250" y="19594"/>
                  <a:pt x="18344" y="19594"/>
                </a:cubicBezTo>
                <a:cubicBezTo>
                  <a:pt x="18282" y="19531"/>
                  <a:pt x="18250" y="19469"/>
                  <a:pt x="18219" y="19438"/>
                </a:cubicBezTo>
                <a:close/>
                <a:moveTo>
                  <a:pt x="19438" y="34656"/>
                </a:moveTo>
                <a:cubicBezTo>
                  <a:pt x="19282" y="34750"/>
                  <a:pt x="19438" y="34813"/>
                  <a:pt x="19407" y="34906"/>
                </a:cubicBezTo>
                <a:cubicBezTo>
                  <a:pt x="19500" y="34813"/>
                  <a:pt x="19407" y="34750"/>
                  <a:pt x="19438" y="34656"/>
                </a:cubicBezTo>
                <a:close/>
                <a:moveTo>
                  <a:pt x="188" y="6375"/>
                </a:moveTo>
                <a:cubicBezTo>
                  <a:pt x="125" y="6375"/>
                  <a:pt x="63" y="6406"/>
                  <a:pt x="0" y="6469"/>
                </a:cubicBezTo>
                <a:cubicBezTo>
                  <a:pt x="125" y="6500"/>
                  <a:pt x="157" y="6469"/>
                  <a:pt x="188" y="6375"/>
                </a:cubicBezTo>
                <a:close/>
                <a:moveTo>
                  <a:pt x="8032" y="25031"/>
                </a:moveTo>
                <a:cubicBezTo>
                  <a:pt x="8063" y="25063"/>
                  <a:pt x="8063" y="25031"/>
                  <a:pt x="8094" y="25000"/>
                </a:cubicBezTo>
                <a:cubicBezTo>
                  <a:pt x="8188" y="24969"/>
                  <a:pt x="8125" y="24875"/>
                  <a:pt x="8094" y="24813"/>
                </a:cubicBezTo>
                <a:cubicBezTo>
                  <a:pt x="8063" y="24875"/>
                  <a:pt x="8032" y="24938"/>
                  <a:pt x="8032" y="25031"/>
                </a:cubicBezTo>
                <a:close/>
                <a:moveTo>
                  <a:pt x="18500" y="18125"/>
                </a:moveTo>
                <a:cubicBezTo>
                  <a:pt x="18532" y="18125"/>
                  <a:pt x="18563" y="18156"/>
                  <a:pt x="18594" y="18125"/>
                </a:cubicBezTo>
                <a:cubicBezTo>
                  <a:pt x="18625" y="18063"/>
                  <a:pt x="18532" y="18063"/>
                  <a:pt x="18500" y="18031"/>
                </a:cubicBezTo>
                <a:cubicBezTo>
                  <a:pt x="18500" y="18063"/>
                  <a:pt x="18500" y="18094"/>
                  <a:pt x="18500" y="18125"/>
                </a:cubicBezTo>
                <a:close/>
                <a:moveTo>
                  <a:pt x="19157" y="20781"/>
                </a:moveTo>
                <a:cubicBezTo>
                  <a:pt x="19125" y="20781"/>
                  <a:pt x="19125" y="20719"/>
                  <a:pt x="19063" y="20750"/>
                </a:cubicBezTo>
                <a:cubicBezTo>
                  <a:pt x="19063" y="20750"/>
                  <a:pt x="19063" y="20781"/>
                  <a:pt x="19094" y="20781"/>
                </a:cubicBezTo>
                <a:cubicBezTo>
                  <a:pt x="19125" y="20875"/>
                  <a:pt x="19219" y="20844"/>
                  <a:pt x="19282" y="20844"/>
                </a:cubicBezTo>
                <a:cubicBezTo>
                  <a:pt x="19282" y="20844"/>
                  <a:pt x="19282" y="20813"/>
                  <a:pt x="19282" y="20813"/>
                </a:cubicBezTo>
                <a:cubicBezTo>
                  <a:pt x="19250" y="20719"/>
                  <a:pt x="19219" y="20813"/>
                  <a:pt x="19157" y="20781"/>
                </a:cubicBezTo>
                <a:close/>
                <a:moveTo>
                  <a:pt x="17782" y="33219"/>
                </a:moveTo>
                <a:cubicBezTo>
                  <a:pt x="17719" y="33188"/>
                  <a:pt x="17657" y="33219"/>
                  <a:pt x="17625" y="33281"/>
                </a:cubicBezTo>
                <a:cubicBezTo>
                  <a:pt x="17813" y="33250"/>
                  <a:pt x="17657" y="33500"/>
                  <a:pt x="17813" y="33500"/>
                </a:cubicBezTo>
                <a:cubicBezTo>
                  <a:pt x="17813" y="33438"/>
                  <a:pt x="17813" y="33406"/>
                  <a:pt x="17813" y="33344"/>
                </a:cubicBezTo>
                <a:cubicBezTo>
                  <a:pt x="17782" y="33313"/>
                  <a:pt x="17844" y="33219"/>
                  <a:pt x="17782" y="33219"/>
                </a:cubicBezTo>
                <a:close/>
                <a:moveTo>
                  <a:pt x="94" y="6906"/>
                </a:moveTo>
                <a:cubicBezTo>
                  <a:pt x="0" y="7000"/>
                  <a:pt x="94" y="7125"/>
                  <a:pt x="32" y="7219"/>
                </a:cubicBezTo>
                <a:cubicBezTo>
                  <a:pt x="0" y="7250"/>
                  <a:pt x="32" y="7281"/>
                  <a:pt x="63" y="7281"/>
                </a:cubicBezTo>
                <a:cubicBezTo>
                  <a:pt x="125" y="7250"/>
                  <a:pt x="188" y="7219"/>
                  <a:pt x="125" y="7125"/>
                </a:cubicBezTo>
                <a:cubicBezTo>
                  <a:pt x="94" y="7094"/>
                  <a:pt x="63" y="7000"/>
                  <a:pt x="94" y="6906"/>
                </a:cubicBezTo>
                <a:close/>
                <a:moveTo>
                  <a:pt x="20594" y="12219"/>
                </a:moveTo>
                <a:cubicBezTo>
                  <a:pt x="20563" y="12500"/>
                  <a:pt x="20563" y="12563"/>
                  <a:pt x="20657" y="12656"/>
                </a:cubicBezTo>
                <a:cubicBezTo>
                  <a:pt x="20719" y="12625"/>
                  <a:pt x="20750" y="12563"/>
                  <a:pt x="20750" y="12500"/>
                </a:cubicBezTo>
                <a:cubicBezTo>
                  <a:pt x="20750" y="12406"/>
                  <a:pt x="20750" y="12281"/>
                  <a:pt x="20875" y="12219"/>
                </a:cubicBezTo>
                <a:cubicBezTo>
                  <a:pt x="20938" y="12188"/>
                  <a:pt x="20938" y="12094"/>
                  <a:pt x="20938" y="12000"/>
                </a:cubicBezTo>
                <a:cubicBezTo>
                  <a:pt x="20907" y="11875"/>
                  <a:pt x="21000" y="11781"/>
                  <a:pt x="21063" y="11688"/>
                </a:cubicBezTo>
                <a:cubicBezTo>
                  <a:pt x="21125" y="11594"/>
                  <a:pt x="21157" y="11531"/>
                  <a:pt x="21188" y="11438"/>
                </a:cubicBezTo>
                <a:cubicBezTo>
                  <a:pt x="21219" y="11313"/>
                  <a:pt x="21282" y="11313"/>
                  <a:pt x="21375" y="11375"/>
                </a:cubicBezTo>
                <a:cubicBezTo>
                  <a:pt x="21407" y="11406"/>
                  <a:pt x="21438" y="11438"/>
                  <a:pt x="21500" y="11406"/>
                </a:cubicBezTo>
                <a:cubicBezTo>
                  <a:pt x="21500" y="11375"/>
                  <a:pt x="21500" y="11375"/>
                  <a:pt x="21500" y="11344"/>
                </a:cubicBezTo>
                <a:cubicBezTo>
                  <a:pt x="21500" y="11344"/>
                  <a:pt x="21500" y="11344"/>
                  <a:pt x="21532" y="11344"/>
                </a:cubicBezTo>
                <a:cubicBezTo>
                  <a:pt x="21500" y="11344"/>
                  <a:pt x="21500" y="11344"/>
                  <a:pt x="21500" y="11344"/>
                </a:cubicBezTo>
                <a:cubicBezTo>
                  <a:pt x="21500" y="11219"/>
                  <a:pt x="21438" y="11156"/>
                  <a:pt x="21344" y="11063"/>
                </a:cubicBezTo>
                <a:cubicBezTo>
                  <a:pt x="21282" y="11031"/>
                  <a:pt x="21250" y="10969"/>
                  <a:pt x="21219" y="10906"/>
                </a:cubicBezTo>
                <a:cubicBezTo>
                  <a:pt x="21250" y="10875"/>
                  <a:pt x="21219" y="10844"/>
                  <a:pt x="21188" y="10844"/>
                </a:cubicBezTo>
                <a:lnTo>
                  <a:pt x="21188" y="10844"/>
                </a:lnTo>
                <a:cubicBezTo>
                  <a:pt x="21032" y="10781"/>
                  <a:pt x="21000" y="10656"/>
                  <a:pt x="20969" y="10531"/>
                </a:cubicBezTo>
                <a:cubicBezTo>
                  <a:pt x="20938" y="10500"/>
                  <a:pt x="20969" y="10469"/>
                  <a:pt x="20875" y="10438"/>
                </a:cubicBezTo>
                <a:cubicBezTo>
                  <a:pt x="20938" y="10625"/>
                  <a:pt x="21000" y="10813"/>
                  <a:pt x="21063" y="11000"/>
                </a:cubicBezTo>
                <a:cubicBezTo>
                  <a:pt x="21094" y="11000"/>
                  <a:pt x="21094" y="11000"/>
                  <a:pt x="21125" y="11031"/>
                </a:cubicBezTo>
                <a:cubicBezTo>
                  <a:pt x="21063" y="10813"/>
                  <a:pt x="21157" y="10844"/>
                  <a:pt x="21219" y="10906"/>
                </a:cubicBezTo>
                <a:cubicBezTo>
                  <a:pt x="21344" y="10938"/>
                  <a:pt x="21375" y="11031"/>
                  <a:pt x="21469" y="11094"/>
                </a:cubicBezTo>
                <a:cubicBezTo>
                  <a:pt x="21500" y="11125"/>
                  <a:pt x="21500" y="11219"/>
                  <a:pt x="21532" y="11188"/>
                </a:cubicBezTo>
                <a:cubicBezTo>
                  <a:pt x="21594" y="11156"/>
                  <a:pt x="21657" y="11063"/>
                  <a:pt x="21625" y="11000"/>
                </a:cubicBezTo>
                <a:cubicBezTo>
                  <a:pt x="21594" y="10938"/>
                  <a:pt x="21563" y="10844"/>
                  <a:pt x="21594" y="10844"/>
                </a:cubicBezTo>
                <a:cubicBezTo>
                  <a:pt x="21625" y="10781"/>
                  <a:pt x="21688" y="10813"/>
                  <a:pt x="21782" y="10844"/>
                </a:cubicBezTo>
                <a:cubicBezTo>
                  <a:pt x="21875" y="10875"/>
                  <a:pt x="22000" y="10813"/>
                  <a:pt x="22063" y="10750"/>
                </a:cubicBezTo>
                <a:cubicBezTo>
                  <a:pt x="22219" y="10719"/>
                  <a:pt x="22282" y="10781"/>
                  <a:pt x="22313" y="10906"/>
                </a:cubicBezTo>
                <a:cubicBezTo>
                  <a:pt x="22313" y="10969"/>
                  <a:pt x="22313" y="11031"/>
                  <a:pt x="22282" y="11063"/>
                </a:cubicBezTo>
                <a:cubicBezTo>
                  <a:pt x="22407" y="11094"/>
                  <a:pt x="22344" y="11188"/>
                  <a:pt x="22375" y="11250"/>
                </a:cubicBezTo>
                <a:lnTo>
                  <a:pt x="22375" y="11250"/>
                </a:lnTo>
                <a:cubicBezTo>
                  <a:pt x="22407" y="11375"/>
                  <a:pt x="22407" y="11500"/>
                  <a:pt x="22375" y="11625"/>
                </a:cubicBezTo>
                <a:cubicBezTo>
                  <a:pt x="22375" y="11750"/>
                  <a:pt x="22282" y="11781"/>
                  <a:pt x="22188" y="11719"/>
                </a:cubicBezTo>
                <a:cubicBezTo>
                  <a:pt x="22125" y="11688"/>
                  <a:pt x="22094" y="11719"/>
                  <a:pt x="22094" y="11781"/>
                </a:cubicBezTo>
                <a:cubicBezTo>
                  <a:pt x="22063" y="11938"/>
                  <a:pt x="21969" y="12031"/>
                  <a:pt x="21813" y="12094"/>
                </a:cubicBezTo>
                <a:cubicBezTo>
                  <a:pt x="21782" y="12125"/>
                  <a:pt x="21719" y="12156"/>
                  <a:pt x="21750" y="12219"/>
                </a:cubicBezTo>
                <a:cubicBezTo>
                  <a:pt x="21750" y="12531"/>
                  <a:pt x="21532" y="12688"/>
                  <a:pt x="21344" y="12875"/>
                </a:cubicBezTo>
                <a:cubicBezTo>
                  <a:pt x="21219" y="13031"/>
                  <a:pt x="21032" y="13125"/>
                  <a:pt x="20938" y="13313"/>
                </a:cubicBezTo>
                <a:cubicBezTo>
                  <a:pt x="20875" y="13375"/>
                  <a:pt x="20844" y="13500"/>
                  <a:pt x="20782" y="13563"/>
                </a:cubicBezTo>
                <a:cubicBezTo>
                  <a:pt x="20750" y="13531"/>
                  <a:pt x="20750" y="13469"/>
                  <a:pt x="20750" y="13438"/>
                </a:cubicBezTo>
                <a:cubicBezTo>
                  <a:pt x="20750" y="13156"/>
                  <a:pt x="20625" y="12938"/>
                  <a:pt x="20657" y="12656"/>
                </a:cubicBezTo>
                <a:cubicBezTo>
                  <a:pt x="20594" y="12531"/>
                  <a:pt x="20719" y="12344"/>
                  <a:pt x="20594" y="12219"/>
                </a:cubicBezTo>
                <a:close/>
                <a:moveTo>
                  <a:pt x="6719" y="21875"/>
                </a:moveTo>
                <a:cubicBezTo>
                  <a:pt x="6688" y="21844"/>
                  <a:pt x="6719" y="21781"/>
                  <a:pt x="6657" y="21719"/>
                </a:cubicBezTo>
                <a:cubicBezTo>
                  <a:pt x="6594" y="21781"/>
                  <a:pt x="6563" y="21813"/>
                  <a:pt x="6500" y="21844"/>
                </a:cubicBezTo>
                <a:cubicBezTo>
                  <a:pt x="6563" y="21875"/>
                  <a:pt x="6625" y="21906"/>
                  <a:pt x="6657" y="21938"/>
                </a:cubicBezTo>
                <a:cubicBezTo>
                  <a:pt x="6688" y="21938"/>
                  <a:pt x="6719" y="21906"/>
                  <a:pt x="6719" y="21875"/>
                </a:cubicBezTo>
                <a:close/>
                <a:moveTo>
                  <a:pt x="18125" y="18000"/>
                </a:moveTo>
                <a:cubicBezTo>
                  <a:pt x="18157" y="17813"/>
                  <a:pt x="18094" y="17719"/>
                  <a:pt x="17907" y="17625"/>
                </a:cubicBezTo>
                <a:cubicBezTo>
                  <a:pt x="17875" y="17719"/>
                  <a:pt x="17938" y="17719"/>
                  <a:pt x="17969" y="17750"/>
                </a:cubicBezTo>
                <a:cubicBezTo>
                  <a:pt x="18000" y="17781"/>
                  <a:pt x="18094" y="17750"/>
                  <a:pt x="18063" y="17813"/>
                </a:cubicBezTo>
                <a:cubicBezTo>
                  <a:pt x="18000" y="17938"/>
                  <a:pt x="18125" y="17906"/>
                  <a:pt x="18125" y="18000"/>
                </a:cubicBezTo>
                <a:close/>
                <a:moveTo>
                  <a:pt x="8282" y="24188"/>
                </a:moveTo>
                <a:cubicBezTo>
                  <a:pt x="8313" y="24156"/>
                  <a:pt x="8219" y="24188"/>
                  <a:pt x="8188" y="24156"/>
                </a:cubicBezTo>
                <a:cubicBezTo>
                  <a:pt x="8157" y="24188"/>
                  <a:pt x="8094" y="24250"/>
                  <a:pt x="8063" y="24313"/>
                </a:cubicBezTo>
                <a:cubicBezTo>
                  <a:pt x="8063" y="24375"/>
                  <a:pt x="8094" y="24406"/>
                  <a:pt x="8188" y="24438"/>
                </a:cubicBezTo>
                <a:cubicBezTo>
                  <a:pt x="8282" y="24406"/>
                  <a:pt x="8250" y="24281"/>
                  <a:pt x="8282" y="24188"/>
                </a:cubicBezTo>
                <a:close/>
                <a:moveTo>
                  <a:pt x="20657" y="35875"/>
                </a:moveTo>
                <a:cubicBezTo>
                  <a:pt x="20657" y="35875"/>
                  <a:pt x="20625" y="35875"/>
                  <a:pt x="20625" y="35875"/>
                </a:cubicBezTo>
                <a:cubicBezTo>
                  <a:pt x="20563" y="35781"/>
                  <a:pt x="20469" y="35875"/>
                  <a:pt x="20407" y="35875"/>
                </a:cubicBezTo>
                <a:cubicBezTo>
                  <a:pt x="20407" y="35875"/>
                  <a:pt x="20375" y="35844"/>
                  <a:pt x="20344" y="35844"/>
                </a:cubicBezTo>
                <a:cubicBezTo>
                  <a:pt x="20375" y="35875"/>
                  <a:pt x="20407" y="35875"/>
                  <a:pt x="20407" y="35875"/>
                </a:cubicBezTo>
                <a:cubicBezTo>
                  <a:pt x="20469" y="35906"/>
                  <a:pt x="20563" y="35938"/>
                  <a:pt x="20625" y="35969"/>
                </a:cubicBezTo>
                <a:cubicBezTo>
                  <a:pt x="20657" y="36000"/>
                  <a:pt x="20719" y="36031"/>
                  <a:pt x="20750" y="35969"/>
                </a:cubicBezTo>
                <a:cubicBezTo>
                  <a:pt x="20750" y="35906"/>
                  <a:pt x="20688" y="35906"/>
                  <a:pt x="20657" y="35875"/>
                </a:cubicBezTo>
                <a:close/>
                <a:moveTo>
                  <a:pt x="6469" y="25563"/>
                </a:moveTo>
                <a:cubicBezTo>
                  <a:pt x="6532" y="25531"/>
                  <a:pt x="6563" y="25500"/>
                  <a:pt x="6625" y="25469"/>
                </a:cubicBezTo>
                <a:cubicBezTo>
                  <a:pt x="6657" y="25469"/>
                  <a:pt x="6657" y="25438"/>
                  <a:pt x="6688" y="25406"/>
                </a:cubicBezTo>
                <a:cubicBezTo>
                  <a:pt x="6844" y="25281"/>
                  <a:pt x="6844" y="25281"/>
                  <a:pt x="6844" y="25188"/>
                </a:cubicBezTo>
                <a:lnTo>
                  <a:pt x="6844" y="25188"/>
                </a:lnTo>
                <a:cubicBezTo>
                  <a:pt x="6782" y="25250"/>
                  <a:pt x="6688" y="25281"/>
                  <a:pt x="6688" y="25375"/>
                </a:cubicBezTo>
                <a:cubicBezTo>
                  <a:pt x="6688" y="25406"/>
                  <a:pt x="6688" y="25406"/>
                  <a:pt x="6688" y="25406"/>
                </a:cubicBezTo>
                <a:cubicBezTo>
                  <a:pt x="6657" y="25438"/>
                  <a:pt x="6625" y="25438"/>
                  <a:pt x="6625" y="25469"/>
                </a:cubicBezTo>
                <a:cubicBezTo>
                  <a:pt x="6594" y="25469"/>
                  <a:pt x="6594" y="25469"/>
                  <a:pt x="6594" y="25469"/>
                </a:cubicBezTo>
                <a:cubicBezTo>
                  <a:pt x="6532" y="25438"/>
                  <a:pt x="6563" y="25406"/>
                  <a:pt x="6563" y="25375"/>
                </a:cubicBezTo>
                <a:cubicBezTo>
                  <a:pt x="6563" y="25344"/>
                  <a:pt x="6532" y="25281"/>
                  <a:pt x="6532" y="25250"/>
                </a:cubicBezTo>
                <a:cubicBezTo>
                  <a:pt x="6532" y="25313"/>
                  <a:pt x="6532" y="25344"/>
                  <a:pt x="6500" y="25406"/>
                </a:cubicBezTo>
                <a:cubicBezTo>
                  <a:pt x="6500" y="25469"/>
                  <a:pt x="6438" y="25500"/>
                  <a:pt x="6469" y="25563"/>
                </a:cubicBezTo>
                <a:close/>
                <a:moveTo>
                  <a:pt x="20282" y="11688"/>
                </a:moveTo>
                <a:cubicBezTo>
                  <a:pt x="20344" y="11438"/>
                  <a:pt x="20282" y="11250"/>
                  <a:pt x="20157" y="11063"/>
                </a:cubicBezTo>
                <a:cubicBezTo>
                  <a:pt x="20250" y="11250"/>
                  <a:pt x="20157" y="11469"/>
                  <a:pt x="20282" y="11688"/>
                </a:cubicBezTo>
                <a:close/>
                <a:moveTo>
                  <a:pt x="8157" y="24750"/>
                </a:moveTo>
                <a:cubicBezTo>
                  <a:pt x="8125" y="24781"/>
                  <a:pt x="8188" y="24813"/>
                  <a:pt x="8219" y="24813"/>
                </a:cubicBezTo>
                <a:cubicBezTo>
                  <a:pt x="8282" y="24813"/>
                  <a:pt x="8313" y="24719"/>
                  <a:pt x="8375" y="24656"/>
                </a:cubicBezTo>
                <a:cubicBezTo>
                  <a:pt x="8407" y="24594"/>
                  <a:pt x="8344" y="24594"/>
                  <a:pt x="8344" y="24594"/>
                </a:cubicBezTo>
                <a:cubicBezTo>
                  <a:pt x="8188" y="24656"/>
                  <a:pt x="8125" y="24500"/>
                  <a:pt x="8000" y="24500"/>
                </a:cubicBezTo>
                <a:cubicBezTo>
                  <a:pt x="7907" y="24656"/>
                  <a:pt x="8157" y="24625"/>
                  <a:pt x="8157" y="24750"/>
                </a:cubicBezTo>
                <a:close/>
                <a:moveTo>
                  <a:pt x="18407" y="32625"/>
                </a:moveTo>
                <a:cubicBezTo>
                  <a:pt x="18344" y="32531"/>
                  <a:pt x="18313" y="32438"/>
                  <a:pt x="18250" y="32375"/>
                </a:cubicBezTo>
                <a:cubicBezTo>
                  <a:pt x="18250" y="32344"/>
                  <a:pt x="18250" y="32313"/>
                  <a:pt x="18219" y="32344"/>
                </a:cubicBezTo>
                <a:cubicBezTo>
                  <a:pt x="18188" y="32344"/>
                  <a:pt x="18188" y="32375"/>
                  <a:pt x="18219" y="32406"/>
                </a:cubicBezTo>
                <a:cubicBezTo>
                  <a:pt x="18313" y="32594"/>
                  <a:pt x="18375" y="32781"/>
                  <a:pt x="18532" y="32969"/>
                </a:cubicBezTo>
                <a:cubicBezTo>
                  <a:pt x="18500" y="32813"/>
                  <a:pt x="18438" y="32625"/>
                  <a:pt x="18563" y="32469"/>
                </a:cubicBezTo>
                <a:cubicBezTo>
                  <a:pt x="18469" y="32469"/>
                  <a:pt x="18438" y="32531"/>
                  <a:pt x="18407" y="32625"/>
                </a:cubicBezTo>
                <a:close/>
                <a:moveTo>
                  <a:pt x="18157" y="17375"/>
                </a:moveTo>
                <a:cubicBezTo>
                  <a:pt x="18094" y="17375"/>
                  <a:pt x="18094" y="17469"/>
                  <a:pt x="18063" y="17438"/>
                </a:cubicBezTo>
                <a:cubicBezTo>
                  <a:pt x="18000" y="17344"/>
                  <a:pt x="17875" y="17469"/>
                  <a:pt x="17844" y="17344"/>
                </a:cubicBezTo>
                <a:cubicBezTo>
                  <a:pt x="17844" y="17344"/>
                  <a:pt x="17813" y="17375"/>
                  <a:pt x="17813" y="17406"/>
                </a:cubicBezTo>
                <a:cubicBezTo>
                  <a:pt x="17782" y="17531"/>
                  <a:pt x="17688" y="17563"/>
                  <a:pt x="17563" y="17438"/>
                </a:cubicBezTo>
                <a:cubicBezTo>
                  <a:pt x="17594" y="17531"/>
                  <a:pt x="17688" y="17656"/>
                  <a:pt x="17750" y="17656"/>
                </a:cubicBezTo>
                <a:cubicBezTo>
                  <a:pt x="17782" y="17656"/>
                  <a:pt x="17813" y="17625"/>
                  <a:pt x="17813" y="17594"/>
                </a:cubicBezTo>
                <a:cubicBezTo>
                  <a:pt x="17813" y="17531"/>
                  <a:pt x="17782" y="17469"/>
                  <a:pt x="17875" y="17500"/>
                </a:cubicBezTo>
                <a:cubicBezTo>
                  <a:pt x="17969" y="17531"/>
                  <a:pt x="18032" y="17438"/>
                  <a:pt x="18063" y="17500"/>
                </a:cubicBezTo>
                <a:cubicBezTo>
                  <a:pt x="18094" y="17531"/>
                  <a:pt x="18125" y="17563"/>
                  <a:pt x="18188" y="17500"/>
                </a:cubicBezTo>
                <a:cubicBezTo>
                  <a:pt x="18250" y="17469"/>
                  <a:pt x="18157" y="17406"/>
                  <a:pt x="18157" y="17375"/>
                </a:cubicBezTo>
                <a:close/>
                <a:moveTo>
                  <a:pt x="8657" y="24125"/>
                </a:moveTo>
                <a:cubicBezTo>
                  <a:pt x="8657" y="24125"/>
                  <a:pt x="8625" y="24125"/>
                  <a:pt x="8625" y="24156"/>
                </a:cubicBezTo>
                <a:cubicBezTo>
                  <a:pt x="8594" y="24156"/>
                  <a:pt x="8625" y="24188"/>
                  <a:pt x="8625" y="24188"/>
                </a:cubicBezTo>
                <a:cubicBezTo>
                  <a:pt x="8750" y="24313"/>
                  <a:pt x="8750" y="24406"/>
                  <a:pt x="8688" y="24563"/>
                </a:cubicBezTo>
                <a:cubicBezTo>
                  <a:pt x="8657" y="24594"/>
                  <a:pt x="8657" y="24688"/>
                  <a:pt x="8750" y="24750"/>
                </a:cubicBezTo>
                <a:cubicBezTo>
                  <a:pt x="8782" y="24750"/>
                  <a:pt x="8782" y="24813"/>
                  <a:pt x="8782" y="24844"/>
                </a:cubicBezTo>
                <a:cubicBezTo>
                  <a:pt x="8782" y="24875"/>
                  <a:pt x="8688" y="24875"/>
                  <a:pt x="8750" y="24938"/>
                </a:cubicBezTo>
                <a:cubicBezTo>
                  <a:pt x="8782" y="24938"/>
                  <a:pt x="8782" y="24938"/>
                  <a:pt x="8813" y="24938"/>
                </a:cubicBezTo>
                <a:cubicBezTo>
                  <a:pt x="8844" y="24906"/>
                  <a:pt x="8844" y="24875"/>
                  <a:pt x="8844" y="24844"/>
                </a:cubicBezTo>
                <a:cubicBezTo>
                  <a:pt x="8813" y="24688"/>
                  <a:pt x="8875" y="24500"/>
                  <a:pt x="8782" y="24313"/>
                </a:cubicBezTo>
                <a:cubicBezTo>
                  <a:pt x="8750" y="24313"/>
                  <a:pt x="8750" y="24281"/>
                  <a:pt x="8750" y="24281"/>
                </a:cubicBezTo>
                <a:cubicBezTo>
                  <a:pt x="8813" y="24156"/>
                  <a:pt x="8657" y="24188"/>
                  <a:pt x="8657" y="24125"/>
                </a:cubicBezTo>
                <a:close/>
                <a:moveTo>
                  <a:pt x="20594" y="36469"/>
                </a:moveTo>
                <a:cubicBezTo>
                  <a:pt x="20469" y="36500"/>
                  <a:pt x="20375" y="36438"/>
                  <a:pt x="20344" y="36406"/>
                </a:cubicBezTo>
                <a:cubicBezTo>
                  <a:pt x="20219" y="36313"/>
                  <a:pt x="20250" y="36469"/>
                  <a:pt x="20219" y="36438"/>
                </a:cubicBezTo>
                <a:cubicBezTo>
                  <a:pt x="20219" y="36469"/>
                  <a:pt x="20250" y="36500"/>
                  <a:pt x="20282" y="36500"/>
                </a:cubicBezTo>
                <a:cubicBezTo>
                  <a:pt x="20438" y="36563"/>
                  <a:pt x="20594" y="36625"/>
                  <a:pt x="20750" y="36625"/>
                </a:cubicBezTo>
                <a:cubicBezTo>
                  <a:pt x="20688" y="36563"/>
                  <a:pt x="20688" y="36469"/>
                  <a:pt x="20594" y="36469"/>
                </a:cubicBezTo>
                <a:close/>
                <a:moveTo>
                  <a:pt x="18313" y="30250"/>
                </a:moveTo>
                <a:cubicBezTo>
                  <a:pt x="18532" y="29938"/>
                  <a:pt x="18375" y="29656"/>
                  <a:pt x="18407" y="29375"/>
                </a:cubicBezTo>
                <a:cubicBezTo>
                  <a:pt x="18282" y="29625"/>
                  <a:pt x="18219" y="29906"/>
                  <a:pt x="18313" y="30250"/>
                </a:cubicBezTo>
                <a:close/>
                <a:moveTo>
                  <a:pt x="18188" y="19063"/>
                </a:moveTo>
                <a:cubicBezTo>
                  <a:pt x="18282" y="19063"/>
                  <a:pt x="18344" y="19094"/>
                  <a:pt x="18438" y="19125"/>
                </a:cubicBezTo>
                <a:cubicBezTo>
                  <a:pt x="18469" y="19156"/>
                  <a:pt x="18563" y="19188"/>
                  <a:pt x="18594" y="19188"/>
                </a:cubicBezTo>
                <a:lnTo>
                  <a:pt x="18594" y="19188"/>
                </a:lnTo>
                <a:cubicBezTo>
                  <a:pt x="18657" y="19125"/>
                  <a:pt x="18750" y="19063"/>
                  <a:pt x="18782" y="18938"/>
                </a:cubicBezTo>
                <a:cubicBezTo>
                  <a:pt x="18782" y="18813"/>
                  <a:pt x="18750" y="18719"/>
                  <a:pt x="18657" y="18625"/>
                </a:cubicBezTo>
                <a:cubicBezTo>
                  <a:pt x="18625" y="18625"/>
                  <a:pt x="18594" y="18625"/>
                  <a:pt x="18563" y="18656"/>
                </a:cubicBezTo>
                <a:cubicBezTo>
                  <a:pt x="18532" y="18719"/>
                  <a:pt x="18594" y="18688"/>
                  <a:pt x="18594" y="18719"/>
                </a:cubicBezTo>
                <a:cubicBezTo>
                  <a:pt x="18625" y="18781"/>
                  <a:pt x="18719" y="18750"/>
                  <a:pt x="18719" y="18844"/>
                </a:cubicBezTo>
                <a:cubicBezTo>
                  <a:pt x="18719" y="18938"/>
                  <a:pt x="18625" y="19031"/>
                  <a:pt x="18500" y="19031"/>
                </a:cubicBezTo>
                <a:cubicBezTo>
                  <a:pt x="18375" y="19031"/>
                  <a:pt x="18282" y="18969"/>
                  <a:pt x="18188" y="18969"/>
                </a:cubicBezTo>
                <a:cubicBezTo>
                  <a:pt x="18188" y="18969"/>
                  <a:pt x="18188" y="18969"/>
                  <a:pt x="18188" y="18969"/>
                </a:cubicBezTo>
                <a:cubicBezTo>
                  <a:pt x="18188" y="19000"/>
                  <a:pt x="18188" y="19031"/>
                  <a:pt x="18188" y="19063"/>
                </a:cubicBezTo>
                <a:close/>
                <a:moveTo>
                  <a:pt x="21219" y="10906"/>
                </a:moveTo>
                <a:cubicBezTo>
                  <a:pt x="21219" y="10906"/>
                  <a:pt x="21219" y="10906"/>
                  <a:pt x="21219" y="10906"/>
                </a:cubicBezTo>
                <a:cubicBezTo>
                  <a:pt x="21219" y="10906"/>
                  <a:pt x="21219" y="10906"/>
                  <a:pt x="21219" y="10906"/>
                </a:cubicBezTo>
                <a:lnTo>
                  <a:pt x="21219" y="10906"/>
                </a:lnTo>
                <a:cubicBezTo>
                  <a:pt x="21219" y="10906"/>
                  <a:pt x="21219" y="10906"/>
                  <a:pt x="21219" y="10906"/>
                </a:cubicBezTo>
                <a:cubicBezTo>
                  <a:pt x="21219" y="10906"/>
                  <a:pt x="21219" y="10906"/>
                  <a:pt x="21219" y="10906"/>
                </a:cubicBezTo>
                <a:close/>
                <a:moveTo>
                  <a:pt x="18188" y="19094"/>
                </a:moveTo>
                <a:cubicBezTo>
                  <a:pt x="18219" y="19156"/>
                  <a:pt x="18188" y="19188"/>
                  <a:pt x="18188" y="19250"/>
                </a:cubicBezTo>
                <a:lnTo>
                  <a:pt x="18188" y="19250"/>
                </a:lnTo>
                <a:cubicBezTo>
                  <a:pt x="18188" y="19250"/>
                  <a:pt x="18188" y="19250"/>
                  <a:pt x="18188" y="19250"/>
                </a:cubicBezTo>
                <a:cubicBezTo>
                  <a:pt x="18219" y="19250"/>
                  <a:pt x="18250" y="19219"/>
                  <a:pt x="18250" y="19250"/>
                </a:cubicBezTo>
                <a:cubicBezTo>
                  <a:pt x="18344" y="19438"/>
                  <a:pt x="18500" y="19438"/>
                  <a:pt x="18657" y="19438"/>
                </a:cubicBezTo>
                <a:cubicBezTo>
                  <a:pt x="18750" y="19438"/>
                  <a:pt x="18813" y="19469"/>
                  <a:pt x="18875" y="19406"/>
                </a:cubicBezTo>
                <a:cubicBezTo>
                  <a:pt x="18938" y="19313"/>
                  <a:pt x="19063" y="19344"/>
                  <a:pt x="19125" y="19281"/>
                </a:cubicBezTo>
                <a:cubicBezTo>
                  <a:pt x="19157" y="19281"/>
                  <a:pt x="19188" y="19344"/>
                  <a:pt x="19188" y="19281"/>
                </a:cubicBezTo>
                <a:cubicBezTo>
                  <a:pt x="19219" y="19219"/>
                  <a:pt x="19188" y="19188"/>
                  <a:pt x="19125" y="19188"/>
                </a:cubicBezTo>
                <a:cubicBezTo>
                  <a:pt x="19063" y="19188"/>
                  <a:pt x="19032" y="19219"/>
                  <a:pt x="18969" y="19219"/>
                </a:cubicBezTo>
                <a:cubicBezTo>
                  <a:pt x="18844" y="19219"/>
                  <a:pt x="18782" y="19344"/>
                  <a:pt x="18657" y="19344"/>
                </a:cubicBezTo>
                <a:cubicBezTo>
                  <a:pt x="18469" y="19344"/>
                  <a:pt x="18313" y="19219"/>
                  <a:pt x="18188" y="19094"/>
                </a:cubicBezTo>
                <a:close/>
                <a:moveTo>
                  <a:pt x="19157" y="35813"/>
                </a:moveTo>
                <a:cubicBezTo>
                  <a:pt x="19219" y="35813"/>
                  <a:pt x="19219" y="35875"/>
                  <a:pt x="19282" y="35938"/>
                </a:cubicBezTo>
                <a:cubicBezTo>
                  <a:pt x="19469" y="36094"/>
                  <a:pt x="19719" y="36188"/>
                  <a:pt x="19907" y="36344"/>
                </a:cubicBezTo>
                <a:cubicBezTo>
                  <a:pt x="19907" y="36344"/>
                  <a:pt x="19938" y="36313"/>
                  <a:pt x="19938" y="36313"/>
                </a:cubicBezTo>
                <a:cubicBezTo>
                  <a:pt x="19875" y="36219"/>
                  <a:pt x="19844" y="36125"/>
                  <a:pt x="19750" y="36094"/>
                </a:cubicBezTo>
                <a:cubicBezTo>
                  <a:pt x="19719" y="36094"/>
                  <a:pt x="19657" y="36063"/>
                  <a:pt x="19688" y="36031"/>
                </a:cubicBezTo>
                <a:cubicBezTo>
                  <a:pt x="19782" y="35938"/>
                  <a:pt x="19688" y="35906"/>
                  <a:pt x="19657" y="35875"/>
                </a:cubicBezTo>
                <a:cubicBezTo>
                  <a:pt x="19625" y="35906"/>
                  <a:pt x="19719" y="35969"/>
                  <a:pt x="19625" y="36000"/>
                </a:cubicBezTo>
                <a:cubicBezTo>
                  <a:pt x="19532" y="36000"/>
                  <a:pt x="19469" y="36031"/>
                  <a:pt x="19438" y="35938"/>
                </a:cubicBezTo>
                <a:cubicBezTo>
                  <a:pt x="19375" y="35813"/>
                  <a:pt x="19188" y="35781"/>
                  <a:pt x="19157" y="35625"/>
                </a:cubicBezTo>
                <a:cubicBezTo>
                  <a:pt x="19157" y="35625"/>
                  <a:pt x="19157" y="35625"/>
                  <a:pt x="19157" y="35625"/>
                </a:cubicBezTo>
                <a:cubicBezTo>
                  <a:pt x="19063" y="35594"/>
                  <a:pt x="18969" y="35531"/>
                  <a:pt x="18875" y="35469"/>
                </a:cubicBezTo>
                <a:cubicBezTo>
                  <a:pt x="18875" y="35438"/>
                  <a:pt x="18844" y="35406"/>
                  <a:pt x="18844" y="35469"/>
                </a:cubicBezTo>
                <a:cubicBezTo>
                  <a:pt x="18813" y="35469"/>
                  <a:pt x="18813" y="35500"/>
                  <a:pt x="18844" y="35500"/>
                </a:cubicBezTo>
                <a:cubicBezTo>
                  <a:pt x="18938" y="35500"/>
                  <a:pt x="18938" y="35625"/>
                  <a:pt x="19032" y="35625"/>
                </a:cubicBezTo>
                <a:cubicBezTo>
                  <a:pt x="19094" y="35625"/>
                  <a:pt x="19063" y="35656"/>
                  <a:pt x="19032" y="35719"/>
                </a:cubicBezTo>
                <a:cubicBezTo>
                  <a:pt x="19000" y="35750"/>
                  <a:pt x="18969" y="35813"/>
                  <a:pt x="18969" y="35906"/>
                </a:cubicBezTo>
                <a:cubicBezTo>
                  <a:pt x="19000" y="36031"/>
                  <a:pt x="19063" y="36125"/>
                  <a:pt x="19125" y="36219"/>
                </a:cubicBezTo>
                <a:cubicBezTo>
                  <a:pt x="19157" y="36344"/>
                  <a:pt x="19219" y="36500"/>
                  <a:pt x="19407" y="36531"/>
                </a:cubicBezTo>
                <a:cubicBezTo>
                  <a:pt x="19407" y="36469"/>
                  <a:pt x="19438" y="36406"/>
                  <a:pt x="19375" y="36344"/>
                </a:cubicBezTo>
                <a:cubicBezTo>
                  <a:pt x="19250" y="36281"/>
                  <a:pt x="19219" y="36156"/>
                  <a:pt x="19125" y="36094"/>
                </a:cubicBezTo>
                <a:cubicBezTo>
                  <a:pt x="19032" y="36031"/>
                  <a:pt x="19094" y="35969"/>
                  <a:pt x="19157" y="35969"/>
                </a:cubicBezTo>
                <a:cubicBezTo>
                  <a:pt x="19125" y="35938"/>
                  <a:pt x="19094" y="35906"/>
                  <a:pt x="19094" y="35906"/>
                </a:cubicBezTo>
                <a:cubicBezTo>
                  <a:pt x="19032" y="35875"/>
                  <a:pt x="19000" y="35813"/>
                  <a:pt x="19032" y="35781"/>
                </a:cubicBezTo>
                <a:cubicBezTo>
                  <a:pt x="19063" y="35719"/>
                  <a:pt x="19125" y="35781"/>
                  <a:pt x="19157" y="35813"/>
                </a:cubicBezTo>
                <a:close/>
                <a:moveTo>
                  <a:pt x="7625" y="22313"/>
                </a:moveTo>
                <a:cubicBezTo>
                  <a:pt x="7657" y="22344"/>
                  <a:pt x="7625" y="22375"/>
                  <a:pt x="7625" y="22406"/>
                </a:cubicBezTo>
                <a:cubicBezTo>
                  <a:pt x="7625" y="22406"/>
                  <a:pt x="7625" y="22406"/>
                  <a:pt x="7625" y="22406"/>
                </a:cubicBezTo>
                <a:cubicBezTo>
                  <a:pt x="7563" y="22406"/>
                  <a:pt x="7532" y="22375"/>
                  <a:pt x="7532" y="22313"/>
                </a:cubicBezTo>
                <a:cubicBezTo>
                  <a:pt x="7563" y="22281"/>
                  <a:pt x="7563" y="22281"/>
                  <a:pt x="7563" y="22281"/>
                </a:cubicBezTo>
                <a:cubicBezTo>
                  <a:pt x="7594" y="22281"/>
                  <a:pt x="7594" y="22281"/>
                  <a:pt x="7594" y="22313"/>
                </a:cubicBezTo>
                <a:cubicBezTo>
                  <a:pt x="7625" y="22313"/>
                  <a:pt x="7625" y="22313"/>
                  <a:pt x="7625" y="22313"/>
                </a:cubicBezTo>
                <a:close/>
                <a:moveTo>
                  <a:pt x="18469" y="37031"/>
                </a:moveTo>
                <a:cubicBezTo>
                  <a:pt x="18469" y="37031"/>
                  <a:pt x="18438" y="37031"/>
                  <a:pt x="18438" y="37031"/>
                </a:cubicBezTo>
                <a:cubicBezTo>
                  <a:pt x="18375" y="37063"/>
                  <a:pt x="18344" y="37000"/>
                  <a:pt x="18344" y="36938"/>
                </a:cubicBezTo>
                <a:cubicBezTo>
                  <a:pt x="18375" y="36906"/>
                  <a:pt x="18407" y="37000"/>
                  <a:pt x="18469" y="36938"/>
                </a:cubicBezTo>
                <a:cubicBezTo>
                  <a:pt x="18469" y="36969"/>
                  <a:pt x="18469" y="37000"/>
                  <a:pt x="18469" y="37031"/>
                </a:cubicBezTo>
                <a:cubicBezTo>
                  <a:pt x="18469" y="37000"/>
                  <a:pt x="18500" y="37000"/>
                  <a:pt x="18532" y="37000"/>
                </a:cubicBezTo>
                <a:cubicBezTo>
                  <a:pt x="18500" y="37031"/>
                  <a:pt x="18563" y="37094"/>
                  <a:pt x="18469" y="37125"/>
                </a:cubicBezTo>
                <a:lnTo>
                  <a:pt x="18469" y="37125"/>
                </a:lnTo>
                <a:cubicBezTo>
                  <a:pt x="18469" y="37094"/>
                  <a:pt x="18469" y="37063"/>
                  <a:pt x="18438" y="37031"/>
                </a:cubicBezTo>
                <a:cubicBezTo>
                  <a:pt x="18469" y="37031"/>
                  <a:pt x="18469" y="37031"/>
                  <a:pt x="18469" y="37031"/>
                </a:cubicBezTo>
                <a:close/>
                <a:moveTo>
                  <a:pt x="19094" y="34094"/>
                </a:moveTo>
                <a:cubicBezTo>
                  <a:pt x="19125" y="34156"/>
                  <a:pt x="19125" y="34281"/>
                  <a:pt x="19250" y="34281"/>
                </a:cubicBezTo>
                <a:cubicBezTo>
                  <a:pt x="19250" y="34313"/>
                  <a:pt x="19250" y="34344"/>
                  <a:pt x="19250" y="34375"/>
                </a:cubicBezTo>
                <a:cubicBezTo>
                  <a:pt x="19250" y="34375"/>
                  <a:pt x="19250" y="34375"/>
                  <a:pt x="19250" y="34375"/>
                </a:cubicBezTo>
                <a:cubicBezTo>
                  <a:pt x="19157" y="34406"/>
                  <a:pt x="19094" y="34344"/>
                  <a:pt x="19000" y="34344"/>
                </a:cubicBezTo>
                <a:cubicBezTo>
                  <a:pt x="18969" y="34375"/>
                  <a:pt x="18875" y="34344"/>
                  <a:pt x="18938" y="34250"/>
                </a:cubicBezTo>
                <a:cubicBezTo>
                  <a:pt x="19000" y="34188"/>
                  <a:pt x="18969" y="34063"/>
                  <a:pt x="18907" y="33969"/>
                </a:cubicBezTo>
                <a:cubicBezTo>
                  <a:pt x="19000" y="34000"/>
                  <a:pt x="19000" y="34094"/>
                  <a:pt x="19094" y="34094"/>
                </a:cubicBezTo>
                <a:close/>
                <a:moveTo>
                  <a:pt x="18875" y="20906"/>
                </a:moveTo>
                <a:cubicBezTo>
                  <a:pt x="18907" y="20906"/>
                  <a:pt x="18969" y="20938"/>
                  <a:pt x="19032" y="20938"/>
                </a:cubicBezTo>
                <a:cubicBezTo>
                  <a:pt x="18938" y="21094"/>
                  <a:pt x="18875" y="20906"/>
                  <a:pt x="18813" y="20969"/>
                </a:cubicBezTo>
                <a:cubicBezTo>
                  <a:pt x="18813" y="20906"/>
                  <a:pt x="18844" y="20906"/>
                  <a:pt x="18875" y="20906"/>
                </a:cubicBezTo>
                <a:close/>
                <a:moveTo>
                  <a:pt x="18500" y="20688"/>
                </a:moveTo>
                <a:cubicBezTo>
                  <a:pt x="18532" y="20656"/>
                  <a:pt x="18532" y="20656"/>
                  <a:pt x="18532" y="20656"/>
                </a:cubicBezTo>
                <a:cubicBezTo>
                  <a:pt x="18532" y="20656"/>
                  <a:pt x="18563" y="20688"/>
                  <a:pt x="18563" y="20688"/>
                </a:cubicBezTo>
                <a:cubicBezTo>
                  <a:pt x="18563" y="20688"/>
                  <a:pt x="18532" y="20688"/>
                  <a:pt x="18532" y="20688"/>
                </a:cubicBezTo>
                <a:cubicBezTo>
                  <a:pt x="18532" y="20688"/>
                  <a:pt x="18500" y="20688"/>
                  <a:pt x="18500" y="20688"/>
                </a:cubicBezTo>
                <a:close/>
                <a:moveTo>
                  <a:pt x="18438" y="20719"/>
                </a:moveTo>
                <a:cubicBezTo>
                  <a:pt x="18500" y="20781"/>
                  <a:pt x="18594" y="20781"/>
                  <a:pt x="18657" y="20781"/>
                </a:cubicBezTo>
                <a:cubicBezTo>
                  <a:pt x="18688" y="20781"/>
                  <a:pt x="18719" y="20813"/>
                  <a:pt x="18719" y="20844"/>
                </a:cubicBezTo>
                <a:cubicBezTo>
                  <a:pt x="18719" y="20844"/>
                  <a:pt x="18688" y="20875"/>
                  <a:pt x="18688" y="20875"/>
                </a:cubicBezTo>
                <a:cubicBezTo>
                  <a:pt x="18594" y="20844"/>
                  <a:pt x="18532" y="20938"/>
                  <a:pt x="18438" y="20875"/>
                </a:cubicBezTo>
                <a:cubicBezTo>
                  <a:pt x="18594" y="20813"/>
                  <a:pt x="18375" y="20781"/>
                  <a:pt x="18438" y="20719"/>
                </a:cubicBezTo>
                <a:close/>
                <a:moveTo>
                  <a:pt x="20344" y="13063"/>
                </a:moveTo>
                <a:cubicBezTo>
                  <a:pt x="20344" y="13031"/>
                  <a:pt x="20375" y="13000"/>
                  <a:pt x="20407" y="13000"/>
                </a:cubicBezTo>
                <a:cubicBezTo>
                  <a:pt x="20438" y="13000"/>
                  <a:pt x="20438" y="13031"/>
                  <a:pt x="20438" y="13063"/>
                </a:cubicBezTo>
                <a:cubicBezTo>
                  <a:pt x="20500" y="13219"/>
                  <a:pt x="20532" y="13375"/>
                  <a:pt x="20438" y="13563"/>
                </a:cubicBezTo>
                <a:cubicBezTo>
                  <a:pt x="20375" y="13656"/>
                  <a:pt x="20407" y="13844"/>
                  <a:pt x="20282" y="13969"/>
                </a:cubicBezTo>
                <a:cubicBezTo>
                  <a:pt x="20344" y="13656"/>
                  <a:pt x="20344" y="13344"/>
                  <a:pt x="20344" y="13063"/>
                </a:cubicBezTo>
                <a:close/>
                <a:moveTo>
                  <a:pt x="1157" y="8031"/>
                </a:moveTo>
                <a:cubicBezTo>
                  <a:pt x="1157" y="7938"/>
                  <a:pt x="1188" y="7906"/>
                  <a:pt x="1375" y="7750"/>
                </a:cubicBezTo>
                <a:cubicBezTo>
                  <a:pt x="1344" y="7906"/>
                  <a:pt x="1250" y="7969"/>
                  <a:pt x="1157" y="8031"/>
                </a:cubicBezTo>
                <a:close/>
                <a:moveTo>
                  <a:pt x="1407" y="7906"/>
                </a:moveTo>
                <a:cubicBezTo>
                  <a:pt x="1532" y="7781"/>
                  <a:pt x="1657" y="7688"/>
                  <a:pt x="1782" y="7656"/>
                </a:cubicBezTo>
                <a:cubicBezTo>
                  <a:pt x="1688" y="7875"/>
                  <a:pt x="1625" y="7906"/>
                  <a:pt x="1407" y="7906"/>
                </a:cubicBezTo>
                <a:close/>
                <a:moveTo>
                  <a:pt x="3907" y="12438"/>
                </a:moveTo>
                <a:cubicBezTo>
                  <a:pt x="3844" y="12531"/>
                  <a:pt x="3719" y="12563"/>
                  <a:pt x="3594" y="12531"/>
                </a:cubicBezTo>
                <a:cubicBezTo>
                  <a:pt x="3813" y="12344"/>
                  <a:pt x="3813" y="12344"/>
                  <a:pt x="3907" y="12438"/>
                </a:cubicBezTo>
                <a:close/>
                <a:moveTo>
                  <a:pt x="2844" y="11719"/>
                </a:moveTo>
                <a:cubicBezTo>
                  <a:pt x="2657" y="11844"/>
                  <a:pt x="2532" y="11906"/>
                  <a:pt x="2313" y="11906"/>
                </a:cubicBezTo>
                <a:cubicBezTo>
                  <a:pt x="2407" y="11750"/>
                  <a:pt x="2469" y="11719"/>
                  <a:pt x="2844" y="11719"/>
                </a:cubicBezTo>
                <a:close/>
                <a:moveTo>
                  <a:pt x="2032" y="12781"/>
                </a:moveTo>
                <a:cubicBezTo>
                  <a:pt x="2032" y="12781"/>
                  <a:pt x="2000" y="12781"/>
                  <a:pt x="2000" y="12781"/>
                </a:cubicBezTo>
                <a:cubicBezTo>
                  <a:pt x="1969" y="12781"/>
                  <a:pt x="1969" y="12781"/>
                  <a:pt x="1969" y="12750"/>
                </a:cubicBezTo>
                <a:cubicBezTo>
                  <a:pt x="1938" y="12625"/>
                  <a:pt x="2157" y="12344"/>
                  <a:pt x="2282" y="12344"/>
                </a:cubicBezTo>
                <a:cubicBezTo>
                  <a:pt x="2313" y="12313"/>
                  <a:pt x="2344" y="12344"/>
                  <a:pt x="2344" y="12375"/>
                </a:cubicBezTo>
                <a:cubicBezTo>
                  <a:pt x="2313" y="12438"/>
                  <a:pt x="2063" y="12781"/>
                  <a:pt x="2032" y="12781"/>
                </a:cubicBezTo>
                <a:close/>
                <a:moveTo>
                  <a:pt x="2282" y="13406"/>
                </a:moveTo>
                <a:cubicBezTo>
                  <a:pt x="2282" y="13438"/>
                  <a:pt x="2219" y="13469"/>
                  <a:pt x="2188" y="13438"/>
                </a:cubicBezTo>
                <a:cubicBezTo>
                  <a:pt x="2157" y="13406"/>
                  <a:pt x="2188" y="13375"/>
                  <a:pt x="2219" y="13344"/>
                </a:cubicBezTo>
                <a:cubicBezTo>
                  <a:pt x="2282" y="13250"/>
                  <a:pt x="2344" y="13156"/>
                  <a:pt x="2500" y="13156"/>
                </a:cubicBezTo>
                <a:cubicBezTo>
                  <a:pt x="2407" y="13250"/>
                  <a:pt x="2344" y="13313"/>
                  <a:pt x="2282" y="13406"/>
                </a:cubicBezTo>
                <a:close/>
                <a:moveTo>
                  <a:pt x="3532" y="13031"/>
                </a:moveTo>
                <a:cubicBezTo>
                  <a:pt x="3532" y="13063"/>
                  <a:pt x="3532" y="13125"/>
                  <a:pt x="3469" y="13125"/>
                </a:cubicBezTo>
                <a:cubicBezTo>
                  <a:pt x="3407" y="13125"/>
                  <a:pt x="3375" y="13094"/>
                  <a:pt x="3375" y="13031"/>
                </a:cubicBezTo>
                <a:cubicBezTo>
                  <a:pt x="3375" y="12938"/>
                  <a:pt x="3344" y="12969"/>
                  <a:pt x="3282" y="12969"/>
                </a:cubicBezTo>
                <a:cubicBezTo>
                  <a:pt x="3094" y="13063"/>
                  <a:pt x="2938" y="13219"/>
                  <a:pt x="2750" y="13344"/>
                </a:cubicBezTo>
                <a:cubicBezTo>
                  <a:pt x="2625" y="13406"/>
                  <a:pt x="2500" y="13469"/>
                  <a:pt x="2407" y="13594"/>
                </a:cubicBezTo>
                <a:cubicBezTo>
                  <a:pt x="2375" y="13625"/>
                  <a:pt x="2344" y="13625"/>
                  <a:pt x="2313" y="13594"/>
                </a:cubicBezTo>
                <a:cubicBezTo>
                  <a:pt x="2282" y="13563"/>
                  <a:pt x="2313" y="13531"/>
                  <a:pt x="2344" y="13500"/>
                </a:cubicBezTo>
                <a:cubicBezTo>
                  <a:pt x="2500" y="13219"/>
                  <a:pt x="2813" y="13063"/>
                  <a:pt x="3063" y="12875"/>
                </a:cubicBezTo>
                <a:cubicBezTo>
                  <a:pt x="3125" y="12844"/>
                  <a:pt x="3219" y="12781"/>
                  <a:pt x="3282" y="12719"/>
                </a:cubicBezTo>
                <a:cubicBezTo>
                  <a:pt x="3438" y="12563"/>
                  <a:pt x="3594" y="12625"/>
                  <a:pt x="3750" y="12688"/>
                </a:cubicBezTo>
                <a:cubicBezTo>
                  <a:pt x="3750" y="12688"/>
                  <a:pt x="3782" y="12688"/>
                  <a:pt x="3782" y="12688"/>
                </a:cubicBezTo>
                <a:cubicBezTo>
                  <a:pt x="3688" y="12719"/>
                  <a:pt x="3782" y="12906"/>
                  <a:pt x="3625" y="12875"/>
                </a:cubicBezTo>
                <a:cubicBezTo>
                  <a:pt x="3532" y="12875"/>
                  <a:pt x="3532" y="12969"/>
                  <a:pt x="3532" y="13031"/>
                </a:cubicBezTo>
                <a:close/>
                <a:moveTo>
                  <a:pt x="3969" y="13344"/>
                </a:moveTo>
                <a:cubicBezTo>
                  <a:pt x="3969" y="13344"/>
                  <a:pt x="3969" y="13344"/>
                  <a:pt x="3969" y="13344"/>
                </a:cubicBezTo>
                <a:cubicBezTo>
                  <a:pt x="3969" y="13344"/>
                  <a:pt x="3969" y="13375"/>
                  <a:pt x="3938" y="13375"/>
                </a:cubicBezTo>
                <a:moveTo>
                  <a:pt x="3969" y="13344"/>
                </a:moveTo>
                <a:cubicBezTo>
                  <a:pt x="4000" y="13313"/>
                  <a:pt x="4000" y="13313"/>
                  <a:pt x="4000" y="13281"/>
                </a:cubicBezTo>
                <a:cubicBezTo>
                  <a:pt x="4000" y="13313"/>
                  <a:pt x="4000" y="13313"/>
                  <a:pt x="3969" y="13344"/>
                </a:cubicBezTo>
                <a:close/>
                <a:moveTo>
                  <a:pt x="4688" y="17406"/>
                </a:moveTo>
                <a:cubicBezTo>
                  <a:pt x="4844" y="17688"/>
                  <a:pt x="4969" y="18000"/>
                  <a:pt x="5032" y="18313"/>
                </a:cubicBezTo>
                <a:cubicBezTo>
                  <a:pt x="4907" y="18031"/>
                  <a:pt x="4750" y="17750"/>
                  <a:pt x="4688" y="17406"/>
                </a:cubicBezTo>
                <a:close/>
                <a:moveTo>
                  <a:pt x="7157" y="14844"/>
                </a:moveTo>
                <a:cubicBezTo>
                  <a:pt x="7125" y="14844"/>
                  <a:pt x="7094" y="14875"/>
                  <a:pt x="7063" y="14875"/>
                </a:cubicBezTo>
                <a:cubicBezTo>
                  <a:pt x="7094" y="14875"/>
                  <a:pt x="7125" y="14844"/>
                  <a:pt x="7157" y="14844"/>
                </a:cubicBezTo>
                <a:cubicBezTo>
                  <a:pt x="7219" y="14719"/>
                  <a:pt x="7250" y="14625"/>
                  <a:pt x="7344" y="14531"/>
                </a:cubicBezTo>
                <a:cubicBezTo>
                  <a:pt x="7250" y="14625"/>
                  <a:pt x="7219" y="14719"/>
                  <a:pt x="7157" y="14844"/>
                </a:cubicBezTo>
                <a:close/>
                <a:moveTo>
                  <a:pt x="7719" y="14406"/>
                </a:moveTo>
                <a:cubicBezTo>
                  <a:pt x="7719" y="14406"/>
                  <a:pt x="7719" y="14406"/>
                  <a:pt x="7719" y="14406"/>
                </a:cubicBezTo>
                <a:cubicBezTo>
                  <a:pt x="7719" y="14406"/>
                  <a:pt x="7719" y="14406"/>
                  <a:pt x="7719" y="14406"/>
                </a:cubicBezTo>
                <a:cubicBezTo>
                  <a:pt x="7719" y="14406"/>
                  <a:pt x="7719" y="14406"/>
                  <a:pt x="7719" y="14406"/>
                </a:cubicBezTo>
                <a:close/>
                <a:moveTo>
                  <a:pt x="7969" y="12281"/>
                </a:moveTo>
                <a:cubicBezTo>
                  <a:pt x="8000" y="12281"/>
                  <a:pt x="8032" y="12281"/>
                  <a:pt x="8032" y="12281"/>
                </a:cubicBezTo>
                <a:cubicBezTo>
                  <a:pt x="8032" y="12281"/>
                  <a:pt x="8000" y="12281"/>
                  <a:pt x="7969" y="12281"/>
                </a:cubicBezTo>
                <a:close/>
                <a:moveTo>
                  <a:pt x="7969" y="12281"/>
                </a:moveTo>
                <a:cubicBezTo>
                  <a:pt x="7969" y="12281"/>
                  <a:pt x="7969" y="12281"/>
                  <a:pt x="7969" y="12281"/>
                </a:cubicBezTo>
                <a:cubicBezTo>
                  <a:pt x="7969" y="12313"/>
                  <a:pt x="7969" y="12313"/>
                  <a:pt x="7969" y="12313"/>
                </a:cubicBezTo>
                <a:cubicBezTo>
                  <a:pt x="7969" y="12313"/>
                  <a:pt x="7969" y="12313"/>
                  <a:pt x="7969" y="12281"/>
                </a:cubicBezTo>
                <a:close/>
                <a:moveTo>
                  <a:pt x="8219" y="15656"/>
                </a:moveTo>
                <a:cubicBezTo>
                  <a:pt x="8157" y="15719"/>
                  <a:pt x="8157" y="15813"/>
                  <a:pt x="8157" y="15906"/>
                </a:cubicBezTo>
                <a:cubicBezTo>
                  <a:pt x="8157" y="15938"/>
                  <a:pt x="8125" y="16000"/>
                  <a:pt x="8094" y="16031"/>
                </a:cubicBezTo>
                <a:cubicBezTo>
                  <a:pt x="7907" y="16188"/>
                  <a:pt x="7844" y="16375"/>
                  <a:pt x="7844" y="16625"/>
                </a:cubicBezTo>
                <a:cubicBezTo>
                  <a:pt x="7782" y="16625"/>
                  <a:pt x="7782" y="16594"/>
                  <a:pt x="7782" y="16563"/>
                </a:cubicBezTo>
                <a:cubicBezTo>
                  <a:pt x="7719" y="16344"/>
                  <a:pt x="7750" y="16125"/>
                  <a:pt x="7875" y="15938"/>
                </a:cubicBezTo>
                <a:cubicBezTo>
                  <a:pt x="7938" y="15844"/>
                  <a:pt x="7938" y="15750"/>
                  <a:pt x="7969" y="15656"/>
                </a:cubicBezTo>
                <a:cubicBezTo>
                  <a:pt x="7844" y="15719"/>
                  <a:pt x="7782" y="15719"/>
                  <a:pt x="7782" y="15625"/>
                </a:cubicBezTo>
                <a:cubicBezTo>
                  <a:pt x="7782" y="15719"/>
                  <a:pt x="7844" y="15719"/>
                  <a:pt x="7969" y="15656"/>
                </a:cubicBezTo>
                <a:cubicBezTo>
                  <a:pt x="8000" y="15625"/>
                  <a:pt x="8032" y="15563"/>
                  <a:pt x="8032" y="15500"/>
                </a:cubicBezTo>
                <a:cubicBezTo>
                  <a:pt x="8063" y="15500"/>
                  <a:pt x="8094" y="15500"/>
                  <a:pt x="8094" y="15500"/>
                </a:cubicBezTo>
                <a:cubicBezTo>
                  <a:pt x="8157" y="15531"/>
                  <a:pt x="8188" y="15406"/>
                  <a:pt x="8219" y="15500"/>
                </a:cubicBezTo>
                <a:cubicBezTo>
                  <a:pt x="8250" y="15563"/>
                  <a:pt x="8250" y="15625"/>
                  <a:pt x="8219" y="15656"/>
                </a:cubicBezTo>
                <a:close/>
                <a:moveTo>
                  <a:pt x="9094" y="16438"/>
                </a:moveTo>
                <a:cubicBezTo>
                  <a:pt x="9094" y="16375"/>
                  <a:pt x="9125" y="16344"/>
                  <a:pt x="9157" y="16313"/>
                </a:cubicBezTo>
                <a:cubicBezTo>
                  <a:pt x="9188" y="16281"/>
                  <a:pt x="9188" y="16313"/>
                  <a:pt x="9188" y="16313"/>
                </a:cubicBezTo>
                <a:cubicBezTo>
                  <a:pt x="9219" y="16375"/>
                  <a:pt x="9219" y="16469"/>
                  <a:pt x="9188" y="16500"/>
                </a:cubicBezTo>
                <a:cubicBezTo>
                  <a:pt x="9157" y="16531"/>
                  <a:pt x="9125" y="16563"/>
                  <a:pt x="9063" y="16625"/>
                </a:cubicBezTo>
                <a:cubicBezTo>
                  <a:pt x="9032" y="16531"/>
                  <a:pt x="9063" y="16469"/>
                  <a:pt x="9094" y="16438"/>
                </a:cubicBezTo>
                <a:close/>
                <a:moveTo>
                  <a:pt x="9313" y="16594"/>
                </a:moveTo>
                <a:cubicBezTo>
                  <a:pt x="9313" y="16719"/>
                  <a:pt x="9219" y="16750"/>
                  <a:pt x="9219" y="16844"/>
                </a:cubicBezTo>
                <a:cubicBezTo>
                  <a:pt x="9157" y="16781"/>
                  <a:pt x="9125" y="16750"/>
                  <a:pt x="9125" y="16719"/>
                </a:cubicBezTo>
                <a:cubicBezTo>
                  <a:pt x="9188" y="16625"/>
                  <a:pt x="9250" y="16625"/>
                  <a:pt x="9313" y="16594"/>
                </a:cubicBezTo>
                <a:close/>
                <a:moveTo>
                  <a:pt x="9344" y="17281"/>
                </a:moveTo>
                <a:cubicBezTo>
                  <a:pt x="9375" y="17344"/>
                  <a:pt x="9344" y="17406"/>
                  <a:pt x="9313" y="17438"/>
                </a:cubicBezTo>
                <a:cubicBezTo>
                  <a:pt x="9250" y="17500"/>
                  <a:pt x="9219" y="17406"/>
                  <a:pt x="9188" y="17406"/>
                </a:cubicBezTo>
                <a:cubicBezTo>
                  <a:pt x="9032" y="17281"/>
                  <a:pt x="8969" y="17125"/>
                  <a:pt x="9032" y="16906"/>
                </a:cubicBezTo>
                <a:cubicBezTo>
                  <a:pt x="9032" y="16875"/>
                  <a:pt x="9032" y="16844"/>
                  <a:pt x="9094" y="16813"/>
                </a:cubicBezTo>
                <a:cubicBezTo>
                  <a:pt x="9094" y="16844"/>
                  <a:pt x="9125" y="16844"/>
                  <a:pt x="9125" y="16875"/>
                </a:cubicBezTo>
                <a:cubicBezTo>
                  <a:pt x="9157" y="17031"/>
                  <a:pt x="9250" y="17156"/>
                  <a:pt x="9344" y="17281"/>
                </a:cubicBezTo>
                <a:close/>
                <a:moveTo>
                  <a:pt x="9407" y="16313"/>
                </a:moveTo>
                <a:cubicBezTo>
                  <a:pt x="9375" y="16344"/>
                  <a:pt x="9344" y="16375"/>
                  <a:pt x="9344" y="16344"/>
                </a:cubicBezTo>
                <a:cubicBezTo>
                  <a:pt x="9282" y="16281"/>
                  <a:pt x="9313" y="16219"/>
                  <a:pt x="9344" y="16156"/>
                </a:cubicBezTo>
                <a:cubicBezTo>
                  <a:pt x="9407" y="16188"/>
                  <a:pt x="9438" y="16250"/>
                  <a:pt x="9407" y="16313"/>
                </a:cubicBezTo>
                <a:close/>
                <a:moveTo>
                  <a:pt x="9344" y="2531"/>
                </a:moveTo>
                <a:cubicBezTo>
                  <a:pt x="9344" y="2563"/>
                  <a:pt x="9313" y="2594"/>
                  <a:pt x="9250" y="2594"/>
                </a:cubicBezTo>
                <a:cubicBezTo>
                  <a:pt x="9219" y="2563"/>
                  <a:pt x="9250" y="2531"/>
                  <a:pt x="9250" y="2500"/>
                </a:cubicBezTo>
                <a:cubicBezTo>
                  <a:pt x="9313" y="2281"/>
                  <a:pt x="9282" y="2031"/>
                  <a:pt x="9438" y="1813"/>
                </a:cubicBezTo>
                <a:cubicBezTo>
                  <a:pt x="9438" y="2094"/>
                  <a:pt x="9438" y="2313"/>
                  <a:pt x="9344" y="2531"/>
                </a:cubicBezTo>
                <a:close/>
                <a:moveTo>
                  <a:pt x="7500" y="21750"/>
                </a:moveTo>
                <a:cubicBezTo>
                  <a:pt x="7438" y="21656"/>
                  <a:pt x="7438" y="21656"/>
                  <a:pt x="7563" y="21531"/>
                </a:cubicBezTo>
                <a:cubicBezTo>
                  <a:pt x="7500" y="21594"/>
                  <a:pt x="7532" y="21656"/>
                  <a:pt x="7500" y="21750"/>
                </a:cubicBezTo>
                <a:close/>
                <a:moveTo>
                  <a:pt x="7719" y="22469"/>
                </a:moveTo>
                <a:cubicBezTo>
                  <a:pt x="7782" y="22469"/>
                  <a:pt x="7813" y="22531"/>
                  <a:pt x="7813" y="22594"/>
                </a:cubicBezTo>
                <a:cubicBezTo>
                  <a:pt x="7813" y="22688"/>
                  <a:pt x="7750" y="22750"/>
                  <a:pt x="7719" y="22844"/>
                </a:cubicBezTo>
                <a:cubicBezTo>
                  <a:pt x="7688" y="22875"/>
                  <a:pt x="7657" y="22875"/>
                  <a:pt x="7625" y="22813"/>
                </a:cubicBezTo>
                <a:cubicBezTo>
                  <a:pt x="7594" y="22781"/>
                  <a:pt x="7625" y="22469"/>
                  <a:pt x="7719" y="22469"/>
                </a:cubicBezTo>
                <a:close/>
                <a:moveTo>
                  <a:pt x="7532" y="23313"/>
                </a:moveTo>
                <a:cubicBezTo>
                  <a:pt x="7532" y="23344"/>
                  <a:pt x="7500" y="23375"/>
                  <a:pt x="7469" y="23375"/>
                </a:cubicBezTo>
                <a:cubicBezTo>
                  <a:pt x="7438" y="23375"/>
                  <a:pt x="7438" y="23344"/>
                  <a:pt x="7469" y="23313"/>
                </a:cubicBezTo>
                <a:cubicBezTo>
                  <a:pt x="7469" y="23281"/>
                  <a:pt x="7500" y="23281"/>
                  <a:pt x="7469" y="23281"/>
                </a:cubicBezTo>
                <a:cubicBezTo>
                  <a:pt x="7438" y="23281"/>
                  <a:pt x="7438" y="23281"/>
                  <a:pt x="7407" y="23281"/>
                </a:cubicBezTo>
                <a:cubicBezTo>
                  <a:pt x="7375" y="23344"/>
                  <a:pt x="7344" y="23406"/>
                  <a:pt x="7438" y="23469"/>
                </a:cubicBezTo>
                <a:cubicBezTo>
                  <a:pt x="7438" y="23500"/>
                  <a:pt x="7469" y="23531"/>
                  <a:pt x="7469" y="23531"/>
                </a:cubicBezTo>
                <a:cubicBezTo>
                  <a:pt x="7469" y="23531"/>
                  <a:pt x="7438" y="23500"/>
                  <a:pt x="7438" y="23469"/>
                </a:cubicBezTo>
                <a:cubicBezTo>
                  <a:pt x="7438" y="23594"/>
                  <a:pt x="7407" y="23688"/>
                  <a:pt x="7313" y="23750"/>
                </a:cubicBezTo>
                <a:cubicBezTo>
                  <a:pt x="7219" y="23781"/>
                  <a:pt x="7125" y="23875"/>
                  <a:pt x="7032" y="23969"/>
                </a:cubicBezTo>
                <a:cubicBezTo>
                  <a:pt x="7000" y="23969"/>
                  <a:pt x="7000" y="23969"/>
                  <a:pt x="7000" y="23938"/>
                </a:cubicBezTo>
                <a:cubicBezTo>
                  <a:pt x="7000" y="23969"/>
                  <a:pt x="7000" y="23969"/>
                  <a:pt x="7032" y="23969"/>
                </a:cubicBezTo>
                <a:cubicBezTo>
                  <a:pt x="7032" y="23938"/>
                  <a:pt x="7032" y="23906"/>
                  <a:pt x="7000" y="23938"/>
                </a:cubicBezTo>
                <a:cubicBezTo>
                  <a:pt x="7000" y="23906"/>
                  <a:pt x="7000" y="23906"/>
                  <a:pt x="6969" y="23906"/>
                </a:cubicBezTo>
                <a:cubicBezTo>
                  <a:pt x="6938" y="23656"/>
                  <a:pt x="7032" y="23469"/>
                  <a:pt x="7219" y="23313"/>
                </a:cubicBezTo>
                <a:cubicBezTo>
                  <a:pt x="7219" y="23313"/>
                  <a:pt x="7219" y="23313"/>
                  <a:pt x="7219" y="23313"/>
                </a:cubicBezTo>
                <a:cubicBezTo>
                  <a:pt x="7344" y="23219"/>
                  <a:pt x="7438" y="23125"/>
                  <a:pt x="7594" y="23094"/>
                </a:cubicBezTo>
                <a:cubicBezTo>
                  <a:pt x="7594" y="23094"/>
                  <a:pt x="7594" y="23125"/>
                  <a:pt x="7594" y="23156"/>
                </a:cubicBezTo>
                <a:cubicBezTo>
                  <a:pt x="7532" y="23188"/>
                  <a:pt x="7500" y="23250"/>
                  <a:pt x="7532" y="23313"/>
                </a:cubicBezTo>
                <a:close/>
                <a:moveTo>
                  <a:pt x="7688" y="23531"/>
                </a:moveTo>
                <a:cubicBezTo>
                  <a:pt x="7688" y="23563"/>
                  <a:pt x="7625" y="23531"/>
                  <a:pt x="7625" y="23500"/>
                </a:cubicBezTo>
                <a:cubicBezTo>
                  <a:pt x="7594" y="23438"/>
                  <a:pt x="7625" y="23375"/>
                  <a:pt x="7625" y="23313"/>
                </a:cubicBezTo>
                <a:cubicBezTo>
                  <a:pt x="7625" y="23313"/>
                  <a:pt x="7625" y="23313"/>
                  <a:pt x="7625" y="23313"/>
                </a:cubicBezTo>
                <a:cubicBezTo>
                  <a:pt x="7625" y="23313"/>
                  <a:pt x="7625" y="23313"/>
                  <a:pt x="7625" y="23313"/>
                </a:cubicBezTo>
                <a:cubicBezTo>
                  <a:pt x="7719" y="23281"/>
                  <a:pt x="7688" y="23156"/>
                  <a:pt x="7782" y="23156"/>
                </a:cubicBezTo>
                <a:cubicBezTo>
                  <a:pt x="7875" y="23313"/>
                  <a:pt x="7688" y="23406"/>
                  <a:pt x="7688" y="23531"/>
                </a:cubicBezTo>
                <a:close/>
                <a:moveTo>
                  <a:pt x="8563" y="21469"/>
                </a:moveTo>
                <a:cubicBezTo>
                  <a:pt x="8532" y="21625"/>
                  <a:pt x="8469" y="21625"/>
                  <a:pt x="8313" y="21531"/>
                </a:cubicBezTo>
                <a:cubicBezTo>
                  <a:pt x="8438" y="21563"/>
                  <a:pt x="8469" y="21438"/>
                  <a:pt x="8563" y="21469"/>
                </a:cubicBezTo>
                <a:close/>
                <a:moveTo>
                  <a:pt x="8563" y="22469"/>
                </a:moveTo>
                <a:cubicBezTo>
                  <a:pt x="8500" y="22531"/>
                  <a:pt x="8532" y="22625"/>
                  <a:pt x="8438" y="22656"/>
                </a:cubicBezTo>
                <a:cubicBezTo>
                  <a:pt x="8407" y="22500"/>
                  <a:pt x="8407" y="22500"/>
                  <a:pt x="8563" y="22469"/>
                </a:cubicBezTo>
                <a:close/>
                <a:moveTo>
                  <a:pt x="8094" y="21313"/>
                </a:moveTo>
                <a:cubicBezTo>
                  <a:pt x="8125" y="21313"/>
                  <a:pt x="8157" y="21313"/>
                  <a:pt x="8157" y="21344"/>
                </a:cubicBezTo>
                <a:cubicBezTo>
                  <a:pt x="8157" y="21375"/>
                  <a:pt x="8125" y="21375"/>
                  <a:pt x="8125" y="21406"/>
                </a:cubicBezTo>
                <a:cubicBezTo>
                  <a:pt x="8063" y="21406"/>
                  <a:pt x="8032" y="21375"/>
                  <a:pt x="8032" y="21344"/>
                </a:cubicBezTo>
                <a:cubicBezTo>
                  <a:pt x="8032" y="21313"/>
                  <a:pt x="8063" y="21313"/>
                  <a:pt x="8094" y="21313"/>
                </a:cubicBezTo>
                <a:close/>
                <a:moveTo>
                  <a:pt x="8094" y="23219"/>
                </a:moveTo>
                <a:cubicBezTo>
                  <a:pt x="8063" y="23281"/>
                  <a:pt x="8032" y="23313"/>
                  <a:pt x="8063" y="23375"/>
                </a:cubicBezTo>
                <a:cubicBezTo>
                  <a:pt x="8125" y="23438"/>
                  <a:pt x="8032" y="23469"/>
                  <a:pt x="8000" y="23531"/>
                </a:cubicBezTo>
                <a:cubicBezTo>
                  <a:pt x="7969" y="23500"/>
                  <a:pt x="8032" y="23438"/>
                  <a:pt x="8000" y="23406"/>
                </a:cubicBezTo>
                <a:cubicBezTo>
                  <a:pt x="8000" y="23406"/>
                  <a:pt x="8000" y="23406"/>
                  <a:pt x="8000" y="23406"/>
                </a:cubicBezTo>
                <a:cubicBezTo>
                  <a:pt x="8032" y="23406"/>
                  <a:pt x="8063" y="23375"/>
                  <a:pt x="8032" y="23375"/>
                </a:cubicBezTo>
                <a:cubicBezTo>
                  <a:pt x="8000" y="23313"/>
                  <a:pt x="8000" y="23344"/>
                  <a:pt x="7969" y="23375"/>
                </a:cubicBezTo>
                <a:cubicBezTo>
                  <a:pt x="7938" y="23344"/>
                  <a:pt x="8000" y="23250"/>
                  <a:pt x="7907" y="23250"/>
                </a:cubicBezTo>
                <a:cubicBezTo>
                  <a:pt x="7875" y="23250"/>
                  <a:pt x="7813" y="23156"/>
                  <a:pt x="7875" y="23094"/>
                </a:cubicBezTo>
                <a:cubicBezTo>
                  <a:pt x="7875" y="23094"/>
                  <a:pt x="7875" y="23094"/>
                  <a:pt x="7875" y="23063"/>
                </a:cubicBezTo>
                <a:cubicBezTo>
                  <a:pt x="7875" y="23063"/>
                  <a:pt x="7907" y="23063"/>
                  <a:pt x="7907" y="23094"/>
                </a:cubicBezTo>
                <a:cubicBezTo>
                  <a:pt x="7938" y="23094"/>
                  <a:pt x="7969" y="23094"/>
                  <a:pt x="8000" y="23094"/>
                </a:cubicBezTo>
                <a:cubicBezTo>
                  <a:pt x="8032" y="23063"/>
                  <a:pt x="8094" y="23063"/>
                  <a:pt x="8125" y="23094"/>
                </a:cubicBezTo>
                <a:cubicBezTo>
                  <a:pt x="8157" y="23125"/>
                  <a:pt x="8125" y="23188"/>
                  <a:pt x="8094" y="23219"/>
                </a:cubicBezTo>
                <a:close/>
                <a:moveTo>
                  <a:pt x="8094" y="22656"/>
                </a:moveTo>
                <a:cubicBezTo>
                  <a:pt x="8032" y="22625"/>
                  <a:pt x="8032" y="22688"/>
                  <a:pt x="8032" y="22719"/>
                </a:cubicBezTo>
                <a:cubicBezTo>
                  <a:pt x="8000" y="22781"/>
                  <a:pt x="8000" y="22813"/>
                  <a:pt x="7969" y="22844"/>
                </a:cubicBezTo>
                <a:cubicBezTo>
                  <a:pt x="7938" y="22875"/>
                  <a:pt x="7938" y="22938"/>
                  <a:pt x="7907" y="22938"/>
                </a:cubicBezTo>
                <a:cubicBezTo>
                  <a:pt x="7844" y="22938"/>
                  <a:pt x="7875" y="22875"/>
                  <a:pt x="7875" y="22844"/>
                </a:cubicBezTo>
                <a:cubicBezTo>
                  <a:pt x="7907" y="22781"/>
                  <a:pt x="7969" y="22750"/>
                  <a:pt x="7969" y="22656"/>
                </a:cubicBezTo>
                <a:cubicBezTo>
                  <a:pt x="7969" y="22563"/>
                  <a:pt x="8000" y="22469"/>
                  <a:pt x="8032" y="22375"/>
                </a:cubicBezTo>
                <a:cubicBezTo>
                  <a:pt x="8032" y="22375"/>
                  <a:pt x="8000" y="22375"/>
                  <a:pt x="8000" y="22375"/>
                </a:cubicBezTo>
                <a:cubicBezTo>
                  <a:pt x="7969" y="22406"/>
                  <a:pt x="7938" y="22406"/>
                  <a:pt x="7907" y="22406"/>
                </a:cubicBezTo>
                <a:cubicBezTo>
                  <a:pt x="7907" y="22406"/>
                  <a:pt x="7907" y="22406"/>
                  <a:pt x="7907" y="22406"/>
                </a:cubicBezTo>
                <a:cubicBezTo>
                  <a:pt x="7844" y="22281"/>
                  <a:pt x="7844" y="22250"/>
                  <a:pt x="8063" y="22188"/>
                </a:cubicBezTo>
                <a:cubicBezTo>
                  <a:pt x="8032" y="22250"/>
                  <a:pt x="7938" y="22281"/>
                  <a:pt x="8000" y="22375"/>
                </a:cubicBezTo>
                <a:cubicBezTo>
                  <a:pt x="8000" y="22375"/>
                  <a:pt x="8032" y="22375"/>
                  <a:pt x="8032" y="22375"/>
                </a:cubicBezTo>
                <a:cubicBezTo>
                  <a:pt x="8094" y="22375"/>
                  <a:pt x="8157" y="22375"/>
                  <a:pt x="8219" y="22406"/>
                </a:cubicBezTo>
                <a:cubicBezTo>
                  <a:pt x="8282" y="22438"/>
                  <a:pt x="8282" y="22469"/>
                  <a:pt x="8250" y="22469"/>
                </a:cubicBezTo>
                <a:cubicBezTo>
                  <a:pt x="8157" y="22531"/>
                  <a:pt x="8188" y="22656"/>
                  <a:pt x="8157" y="22719"/>
                </a:cubicBezTo>
                <a:cubicBezTo>
                  <a:pt x="8063" y="22719"/>
                  <a:pt x="8157" y="22656"/>
                  <a:pt x="8094" y="22656"/>
                </a:cubicBezTo>
                <a:close/>
                <a:moveTo>
                  <a:pt x="8313" y="23031"/>
                </a:moveTo>
                <a:cubicBezTo>
                  <a:pt x="8282" y="23063"/>
                  <a:pt x="8344" y="23125"/>
                  <a:pt x="8250" y="23156"/>
                </a:cubicBezTo>
                <a:cubicBezTo>
                  <a:pt x="8250" y="23094"/>
                  <a:pt x="8157" y="23063"/>
                  <a:pt x="8157" y="23000"/>
                </a:cubicBezTo>
                <a:cubicBezTo>
                  <a:pt x="8157" y="22938"/>
                  <a:pt x="8188" y="22906"/>
                  <a:pt x="8250" y="22906"/>
                </a:cubicBezTo>
                <a:cubicBezTo>
                  <a:pt x="8344" y="22906"/>
                  <a:pt x="8313" y="22969"/>
                  <a:pt x="8313" y="23031"/>
                </a:cubicBezTo>
                <a:close/>
                <a:moveTo>
                  <a:pt x="8344" y="22344"/>
                </a:moveTo>
                <a:cubicBezTo>
                  <a:pt x="8313" y="22250"/>
                  <a:pt x="8282" y="22219"/>
                  <a:pt x="8282" y="22156"/>
                </a:cubicBezTo>
                <a:cubicBezTo>
                  <a:pt x="8282" y="22125"/>
                  <a:pt x="8344" y="22094"/>
                  <a:pt x="8375" y="22094"/>
                </a:cubicBezTo>
                <a:cubicBezTo>
                  <a:pt x="8407" y="22063"/>
                  <a:pt x="8469" y="22094"/>
                  <a:pt x="8469" y="22125"/>
                </a:cubicBezTo>
                <a:cubicBezTo>
                  <a:pt x="8500" y="22156"/>
                  <a:pt x="8469" y="22156"/>
                  <a:pt x="8438" y="22188"/>
                </a:cubicBezTo>
                <a:cubicBezTo>
                  <a:pt x="8375" y="22188"/>
                  <a:pt x="8407" y="22281"/>
                  <a:pt x="8344" y="22344"/>
                </a:cubicBezTo>
                <a:close/>
                <a:moveTo>
                  <a:pt x="8532" y="23438"/>
                </a:moveTo>
                <a:cubicBezTo>
                  <a:pt x="8532" y="23375"/>
                  <a:pt x="8407" y="23406"/>
                  <a:pt x="8407" y="23313"/>
                </a:cubicBezTo>
                <a:cubicBezTo>
                  <a:pt x="8407" y="23281"/>
                  <a:pt x="8438" y="23250"/>
                  <a:pt x="8469" y="23219"/>
                </a:cubicBezTo>
                <a:cubicBezTo>
                  <a:pt x="8500" y="23188"/>
                  <a:pt x="8500" y="23250"/>
                  <a:pt x="8532" y="23281"/>
                </a:cubicBezTo>
                <a:cubicBezTo>
                  <a:pt x="8625" y="23375"/>
                  <a:pt x="8563" y="23219"/>
                  <a:pt x="8594" y="23219"/>
                </a:cubicBezTo>
                <a:cubicBezTo>
                  <a:pt x="8594" y="23250"/>
                  <a:pt x="8594" y="23281"/>
                  <a:pt x="8594" y="23313"/>
                </a:cubicBezTo>
                <a:cubicBezTo>
                  <a:pt x="8594" y="23375"/>
                  <a:pt x="8594" y="23438"/>
                  <a:pt x="8532" y="23438"/>
                </a:cubicBezTo>
                <a:close/>
                <a:moveTo>
                  <a:pt x="8625" y="22125"/>
                </a:moveTo>
                <a:cubicBezTo>
                  <a:pt x="8563" y="22125"/>
                  <a:pt x="8563" y="22094"/>
                  <a:pt x="8563" y="22063"/>
                </a:cubicBezTo>
                <a:cubicBezTo>
                  <a:pt x="8563" y="22000"/>
                  <a:pt x="8594" y="21938"/>
                  <a:pt x="8594" y="21875"/>
                </a:cubicBezTo>
                <a:cubicBezTo>
                  <a:pt x="8625" y="21938"/>
                  <a:pt x="8657" y="22000"/>
                  <a:pt x="8657" y="22063"/>
                </a:cubicBezTo>
                <a:cubicBezTo>
                  <a:pt x="8688" y="22094"/>
                  <a:pt x="8657" y="22094"/>
                  <a:pt x="8625" y="22125"/>
                </a:cubicBezTo>
                <a:close/>
                <a:moveTo>
                  <a:pt x="8688" y="21500"/>
                </a:moveTo>
                <a:cubicBezTo>
                  <a:pt x="8657" y="21469"/>
                  <a:pt x="8625" y="21469"/>
                  <a:pt x="8594" y="21469"/>
                </a:cubicBezTo>
                <a:cubicBezTo>
                  <a:pt x="8657" y="21313"/>
                  <a:pt x="8750" y="21406"/>
                  <a:pt x="8875" y="21438"/>
                </a:cubicBezTo>
                <a:cubicBezTo>
                  <a:pt x="8813" y="21500"/>
                  <a:pt x="8782" y="21625"/>
                  <a:pt x="8688" y="21500"/>
                </a:cubicBezTo>
                <a:close/>
                <a:moveTo>
                  <a:pt x="8969" y="21469"/>
                </a:moveTo>
                <a:cubicBezTo>
                  <a:pt x="8969" y="21406"/>
                  <a:pt x="8938" y="21313"/>
                  <a:pt x="8969" y="21250"/>
                </a:cubicBezTo>
                <a:cubicBezTo>
                  <a:pt x="9032" y="21344"/>
                  <a:pt x="9032" y="21344"/>
                  <a:pt x="8969" y="21469"/>
                </a:cubicBezTo>
                <a:close/>
                <a:moveTo>
                  <a:pt x="8969" y="23500"/>
                </a:moveTo>
                <a:cubicBezTo>
                  <a:pt x="8938" y="23563"/>
                  <a:pt x="9000" y="23656"/>
                  <a:pt x="8938" y="23688"/>
                </a:cubicBezTo>
                <a:cubicBezTo>
                  <a:pt x="8813" y="23594"/>
                  <a:pt x="9000" y="23469"/>
                  <a:pt x="8907" y="23313"/>
                </a:cubicBezTo>
                <a:cubicBezTo>
                  <a:pt x="9063" y="23406"/>
                  <a:pt x="9063" y="23406"/>
                  <a:pt x="8969" y="23500"/>
                </a:cubicBezTo>
                <a:close/>
                <a:moveTo>
                  <a:pt x="10907" y="6813"/>
                </a:moveTo>
                <a:cubicBezTo>
                  <a:pt x="10938" y="6813"/>
                  <a:pt x="10969" y="6813"/>
                  <a:pt x="10969" y="6813"/>
                </a:cubicBezTo>
                <a:cubicBezTo>
                  <a:pt x="10969" y="6813"/>
                  <a:pt x="10938" y="6813"/>
                  <a:pt x="10907" y="6813"/>
                </a:cubicBezTo>
                <a:cubicBezTo>
                  <a:pt x="10907" y="6813"/>
                  <a:pt x="10875" y="6813"/>
                  <a:pt x="10875" y="6813"/>
                </a:cubicBezTo>
                <a:cubicBezTo>
                  <a:pt x="10875" y="6813"/>
                  <a:pt x="10907" y="6813"/>
                  <a:pt x="10907" y="6813"/>
                </a:cubicBezTo>
                <a:close/>
                <a:moveTo>
                  <a:pt x="10469" y="281"/>
                </a:moveTo>
                <a:cubicBezTo>
                  <a:pt x="10469" y="313"/>
                  <a:pt x="10438" y="344"/>
                  <a:pt x="10407" y="344"/>
                </a:cubicBezTo>
                <a:cubicBezTo>
                  <a:pt x="10407" y="313"/>
                  <a:pt x="10407" y="281"/>
                  <a:pt x="10469" y="281"/>
                </a:cubicBezTo>
                <a:close/>
                <a:moveTo>
                  <a:pt x="10375" y="344"/>
                </a:moveTo>
                <a:cubicBezTo>
                  <a:pt x="10375" y="375"/>
                  <a:pt x="10375" y="375"/>
                  <a:pt x="10344" y="375"/>
                </a:cubicBezTo>
                <a:cubicBezTo>
                  <a:pt x="10344" y="375"/>
                  <a:pt x="10344" y="375"/>
                  <a:pt x="10344" y="375"/>
                </a:cubicBezTo>
                <a:cubicBezTo>
                  <a:pt x="10375" y="375"/>
                  <a:pt x="10375" y="375"/>
                  <a:pt x="10375" y="344"/>
                </a:cubicBezTo>
                <a:close/>
                <a:moveTo>
                  <a:pt x="9688" y="4156"/>
                </a:moveTo>
                <a:cubicBezTo>
                  <a:pt x="9688" y="4156"/>
                  <a:pt x="9688" y="4156"/>
                  <a:pt x="9688" y="4125"/>
                </a:cubicBezTo>
                <a:cubicBezTo>
                  <a:pt x="9688" y="4156"/>
                  <a:pt x="9688" y="4156"/>
                  <a:pt x="9688" y="4156"/>
                </a:cubicBezTo>
                <a:close/>
                <a:moveTo>
                  <a:pt x="9782" y="1375"/>
                </a:moveTo>
                <a:cubicBezTo>
                  <a:pt x="9813" y="1281"/>
                  <a:pt x="9875" y="1156"/>
                  <a:pt x="9969" y="1094"/>
                </a:cubicBezTo>
                <a:cubicBezTo>
                  <a:pt x="10250" y="969"/>
                  <a:pt x="10469" y="781"/>
                  <a:pt x="10750" y="625"/>
                </a:cubicBezTo>
                <a:cubicBezTo>
                  <a:pt x="10782" y="594"/>
                  <a:pt x="10782" y="594"/>
                  <a:pt x="10844" y="563"/>
                </a:cubicBezTo>
                <a:cubicBezTo>
                  <a:pt x="10844" y="656"/>
                  <a:pt x="10813" y="688"/>
                  <a:pt x="10782" y="719"/>
                </a:cubicBezTo>
                <a:cubicBezTo>
                  <a:pt x="10719" y="750"/>
                  <a:pt x="10657" y="781"/>
                  <a:pt x="10594" y="813"/>
                </a:cubicBezTo>
                <a:cubicBezTo>
                  <a:pt x="10375" y="844"/>
                  <a:pt x="10250" y="1063"/>
                  <a:pt x="10063" y="1188"/>
                </a:cubicBezTo>
                <a:cubicBezTo>
                  <a:pt x="10000" y="1219"/>
                  <a:pt x="9969" y="1344"/>
                  <a:pt x="9969" y="1406"/>
                </a:cubicBezTo>
                <a:cubicBezTo>
                  <a:pt x="9938" y="1469"/>
                  <a:pt x="9938" y="1500"/>
                  <a:pt x="9875" y="1531"/>
                </a:cubicBezTo>
                <a:cubicBezTo>
                  <a:pt x="9844" y="1500"/>
                  <a:pt x="9750" y="1469"/>
                  <a:pt x="9782" y="1375"/>
                </a:cubicBezTo>
                <a:close/>
                <a:moveTo>
                  <a:pt x="10657" y="19594"/>
                </a:moveTo>
                <a:cubicBezTo>
                  <a:pt x="10532" y="19469"/>
                  <a:pt x="10563" y="19375"/>
                  <a:pt x="10657" y="19281"/>
                </a:cubicBezTo>
                <a:cubicBezTo>
                  <a:pt x="10688" y="19375"/>
                  <a:pt x="10657" y="19469"/>
                  <a:pt x="10657" y="19594"/>
                </a:cubicBezTo>
                <a:close/>
                <a:moveTo>
                  <a:pt x="10219" y="16063"/>
                </a:moveTo>
                <a:cubicBezTo>
                  <a:pt x="10219" y="16063"/>
                  <a:pt x="10219" y="16063"/>
                  <a:pt x="10219" y="16063"/>
                </a:cubicBezTo>
                <a:cubicBezTo>
                  <a:pt x="10219" y="16063"/>
                  <a:pt x="10219" y="16063"/>
                  <a:pt x="10188" y="16063"/>
                </a:cubicBezTo>
                <a:cubicBezTo>
                  <a:pt x="10219" y="16063"/>
                  <a:pt x="10219" y="16063"/>
                  <a:pt x="10219" y="16063"/>
                </a:cubicBezTo>
                <a:close/>
                <a:moveTo>
                  <a:pt x="9938" y="18031"/>
                </a:moveTo>
                <a:cubicBezTo>
                  <a:pt x="10000" y="18031"/>
                  <a:pt x="10000" y="18000"/>
                  <a:pt x="10000" y="17969"/>
                </a:cubicBezTo>
                <a:cubicBezTo>
                  <a:pt x="10032" y="18000"/>
                  <a:pt x="10032" y="18094"/>
                  <a:pt x="10032" y="18156"/>
                </a:cubicBezTo>
                <a:cubicBezTo>
                  <a:pt x="10063" y="18219"/>
                  <a:pt x="10032" y="18313"/>
                  <a:pt x="9969" y="18313"/>
                </a:cubicBezTo>
                <a:cubicBezTo>
                  <a:pt x="9907" y="18313"/>
                  <a:pt x="9813" y="18281"/>
                  <a:pt x="9813" y="18156"/>
                </a:cubicBezTo>
                <a:cubicBezTo>
                  <a:pt x="9813" y="18094"/>
                  <a:pt x="9844" y="18031"/>
                  <a:pt x="9938" y="18031"/>
                </a:cubicBezTo>
                <a:close/>
                <a:moveTo>
                  <a:pt x="9188" y="20125"/>
                </a:moveTo>
                <a:cubicBezTo>
                  <a:pt x="9219" y="20125"/>
                  <a:pt x="9219" y="20125"/>
                  <a:pt x="9219" y="20125"/>
                </a:cubicBezTo>
                <a:cubicBezTo>
                  <a:pt x="9219" y="20125"/>
                  <a:pt x="9219" y="20125"/>
                  <a:pt x="9188" y="20125"/>
                </a:cubicBezTo>
                <a:close/>
                <a:moveTo>
                  <a:pt x="9188" y="23250"/>
                </a:moveTo>
                <a:cubicBezTo>
                  <a:pt x="9219" y="23219"/>
                  <a:pt x="9188" y="23156"/>
                  <a:pt x="9250" y="23156"/>
                </a:cubicBezTo>
                <a:cubicBezTo>
                  <a:pt x="9313" y="23156"/>
                  <a:pt x="9313" y="23250"/>
                  <a:pt x="9344" y="23281"/>
                </a:cubicBezTo>
                <a:cubicBezTo>
                  <a:pt x="9344" y="23313"/>
                  <a:pt x="9344" y="23375"/>
                  <a:pt x="9313" y="23344"/>
                </a:cubicBezTo>
                <a:cubicBezTo>
                  <a:pt x="9250" y="23313"/>
                  <a:pt x="9188" y="23313"/>
                  <a:pt x="9188" y="23250"/>
                </a:cubicBezTo>
                <a:close/>
                <a:moveTo>
                  <a:pt x="9344" y="22906"/>
                </a:moveTo>
                <a:cubicBezTo>
                  <a:pt x="9282" y="22906"/>
                  <a:pt x="9313" y="22969"/>
                  <a:pt x="9313" y="23000"/>
                </a:cubicBezTo>
                <a:cubicBezTo>
                  <a:pt x="9282" y="23031"/>
                  <a:pt x="9375" y="23063"/>
                  <a:pt x="9282" y="23094"/>
                </a:cubicBezTo>
                <a:cubicBezTo>
                  <a:pt x="9219" y="23094"/>
                  <a:pt x="9219" y="23063"/>
                  <a:pt x="9188" y="23000"/>
                </a:cubicBezTo>
                <a:cubicBezTo>
                  <a:pt x="9188" y="22938"/>
                  <a:pt x="9188" y="22844"/>
                  <a:pt x="9219" y="22781"/>
                </a:cubicBezTo>
                <a:cubicBezTo>
                  <a:pt x="9219" y="22688"/>
                  <a:pt x="9219" y="22625"/>
                  <a:pt x="9250" y="22563"/>
                </a:cubicBezTo>
                <a:cubicBezTo>
                  <a:pt x="9282" y="22594"/>
                  <a:pt x="9282" y="22656"/>
                  <a:pt x="9375" y="22656"/>
                </a:cubicBezTo>
                <a:cubicBezTo>
                  <a:pt x="9469" y="22625"/>
                  <a:pt x="9375" y="22750"/>
                  <a:pt x="9438" y="22750"/>
                </a:cubicBezTo>
                <a:cubicBezTo>
                  <a:pt x="9438" y="22750"/>
                  <a:pt x="9438" y="22750"/>
                  <a:pt x="9438" y="22750"/>
                </a:cubicBezTo>
                <a:cubicBezTo>
                  <a:pt x="9469" y="22844"/>
                  <a:pt x="9500" y="22938"/>
                  <a:pt x="9344" y="22906"/>
                </a:cubicBezTo>
                <a:close/>
                <a:moveTo>
                  <a:pt x="9594" y="20000"/>
                </a:moveTo>
                <a:cubicBezTo>
                  <a:pt x="9563" y="20000"/>
                  <a:pt x="9532" y="20063"/>
                  <a:pt x="9500" y="20063"/>
                </a:cubicBezTo>
                <a:cubicBezTo>
                  <a:pt x="9438" y="20094"/>
                  <a:pt x="9375" y="20156"/>
                  <a:pt x="9313" y="20063"/>
                </a:cubicBezTo>
                <a:cubicBezTo>
                  <a:pt x="9313" y="20063"/>
                  <a:pt x="9313" y="20063"/>
                  <a:pt x="9313" y="20063"/>
                </a:cubicBezTo>
                <a:cubicBezTo>
                  <a:pt x="9250" y="19750"/>
                  <a:pt x="9500" y="19563"/>
                  <a:pt x="9657" y="19344"/>
                </a:cubicBezTo>
                <a:cubicBezTo>
                  <a:pt x="9719" y="19500"/>
                  <a:pt x="9594" y="19625"/>
                  <a:pt x="9657" y="19781"/>
                </a:cubicBezTo>
                <a:cubicBezTo>
                  <a:pt x="9688" y="19563"/>
                  <a:pt x="9750" y="19406"/>
                  <a:pt x="9844" y="19250"/>
                </a:cubicBezTo>
                <a:cubicBezTo>
                  <a:pt x="9938" y="19031"/>
                  <a:pt x="9938" y="18813"/>
                  <a:pt x="9875" y="18594"/>
                </a:cubicBezTo>
                <a:cubicBezTo>
                  <a:pt x="9844" y="18531"/>
                  <a:pt x="9907" y="18469"/>
                  <a:pt x="9969" y="18438"/>
                </a:cubicBezTo>
                <a:cubicBezTo>
                  <a:pt x="10032" y="18406"/>
                  <a:pt x="10000" y="18469"/>
                  <a:pt x="10000" y="18500"/>
                </a:cubicBezTo>
                <a:cubicBezTo>
                  <a:pt x="10000" y="18594"/>
                  <a:pt x="9969" y="18688"/>
                  <a:pt x="9938" y="18781"/>
                </a:cubicBezTo>
                <a:cubicBezTo>
                  <a:pt x="9907" y="19000"/>
                  <a:pt x="10032" y="19156"/>
                  <a:pt x="10032" y="19375"/>
                </a:cubicBezTo>
                <a:cubicBezTo>
                  <a:pt x="10313" y="19500"/>
                  <a:pt x="10094" y="19594"/>
                  <a:pt x="10032" y="19688"/>
                </a:cubicBezTo>
                <a:cubicBezTo>
                  <a:pt x="10032" y="19750"/>
                  <a:pt x="10000" y="19781"/>
                  <a:pt x="10000" y="19813"/>
                </a:cubicBezTo>
                <a:cubicBezTo>
                  <a:pt x="9907" y="19969"/>
                  <a:pt x="9782" y="20094"/>
                  <a:pt x="9594" y="20000"/>
                </a:cubicBezTo>
                <a:close/>
                <a:moveTo>
                  <a:pt x="9844" y="22250"/>
                </a:moveTo>
                <a:cubicBezTo>
                  <a:pt x="9844" y="22250"/>
                  <a:pt x="9844" y="22250"/>
                  <a:pt x="9844" y="22250"/>
                </a:cubicBezTo>
                <a:cubicBezTo>
                  <a:pt x="9844" y="22250"/>
                  <a:pt x="9844" y="22250"/>
                  <a:pt x="9844" y="22250"/>
                </a:cubicBezTo>
                <a:cubicBezTo>
                  <a:pt x="9844" y="22250"/>
                  <a:pt x="9844" y="22250"/>
                  <a:pt x="9844" y="22250"/>
                </a:cubicBezTo>
                <a:close/>
                <a:moveTo>
                  <a:pt x="9407" y="27844"/>
                </a:moveTo>
                <a:cubicBezTo>
                  <a:pt x="9407" y="27969"/>
                  <a:pt x="9282" y="28000"/>
                  <a:pt x="9188" y="28000"/>
                </a:cubicBezTo>
                <a:cubicBezTo>
                  <a:pt x="9094" y="28031"/>
                  <a:pt x="9032" y="27938"/>
                  <a:pt x="9032" y="27813"/>
                </a:cubicBezTo>
                <a:cubicBezTo>
                  <a:pt x="9032" y="27781"/>
                  <a:pt x="9032" y="27750"/>
                  <a:pt x="9032" y="27719"/>
                </a:cubicBezTo>
                <a:cubicBezTo>
                  <a:pt x="9000" y="27594"/>
                  <a:pt x="9125" y="27500"/>
                  <a:pt x="9157" y="27406"/>
                </a:cubicBezTo>
                <a:cubicBezTo>
                  <a:pt x="9188" y="27375"/>
                  <a:pt x="9250" y="27375"/>
                  <a:pt x="9282" y="27406"/>
                </a:cubicBezTo>
                <a:cubicBezTo>
                  <a:pt x="9407" y="27531"/>
                  <a:pt x="9438" y="27688"/>
                  <a:pt x="9407" y="27844"/>
                </a:cubicBezTo>
                <a:close/>
                <a:moveTo>
                  <a:pt x="9625" y="27625"/>
                </a:moveTo>
                <a:cubicBezTo>
                  <a:pt x="9657" y="27594"/>
                  <a:pt x="9657" y="27594"/>
                  <a:pt x="9657" y="27563"/>
                </a:cubicBezTo>
                <a:cubicBezTo>
                  <a:pt x="9657" y="27594"/>
                  <a:pt x="9657" y="27594"/>
                  <a:pt x="9625" y="27625"/>
                </a:cubicBezTo>
                <a:close/>
                <a:moveTo>
                  <a:pt x="11344" y="27188"/>
                </a:moveTo>
                <a:cubicBezTo>
                  <a:pt x="11344" y="27313"/>
                  <a:pt x="11282" y="27406"/>
                  <a:pt x="11125" y="27375"/>
                </a:cubicBezTo>
                <a:cubicBezTo>
                  <a:pt x="10969" y="27375"/>
                  <a:pt x="10813" y="27406"/>
                  <a:pt x="10657" y="27313"/>
                </a:cubicBezTo>
                <a:cubicBezTo>
                  <a:pt x="10594" y="27281"/>
                  <a:pt x="10532" y="27344"/>
                  <a:pt x="10500" y="27344"/>
                </a:cubicBezTo>
                <a:cubicBezTo>
                  <a:pt x="10219" y="27469"/>
                  <a:pt x="9907" y="27313"/>
                  <a:pt x="9813" y="27031"/>
                </a:cubicBezTo>
                <a:cubicBezTo>
                  <a:pt x="9782" y="26938"/>
                  <a:pt x="9719" y="26844"/>
                  <a:pt x="9657" y="26750"/>
                </a:cubicBezTo>
                <a:cubicBezTo>
                  <a:pt x="9657" y="26938"/>
                  <a:pt x="9657" y="27156"/>
                  <a:pt x="9657" y="27344"/>
                </a:cubicBezTo>
                <a:cubicBezTo>
                  <a:pt x="9657" y="27375"/>
                  <a:pt x="9657" y="27406"/>
                  <a:pt x="9657" y="27438"/>
                </a:cubicBezTo>
                <a:cubicBezTo>
                  <a:pt x="9657" y="27438"/>
                  <a:pt x="9657" y="27438"/>
                  <a:pt x="9657" y="27438"/>
                </a:cubicBezTo>
                <a:cubicBezTo>
                  <a:pt x="9563" y="27500"/>
                  <a:pt x="9594" y="27563"/>
                  <a:pt x="9625" y="27656"/>
                </a:cubicBezTo>
                <a:cubicBezTo>
                  <a:pt x="9625" y="27688"/>
                  <a:pt x="9594" y="27719"/>
                  <a:pt x="9594" y="27750"/>
                </a:cubicBezTo>
                <a:cubicBezTo>
                  <a:pt x="9563" y="27750"/>
                  <a:pt x="9563" y="27719"/>
                  <a:pt x="9563" y="27688"/>
                </a:cubicBezTo>
                <a:cubicBezTo>
                  <a:pt x="9563" y="27469"/>
                  <a:pt x="9500" y="27250"/>
                  <a:pt x="9469" y="27031"/>
                </a:cubicBezTo>
                <a:cubicBezTo>
                  <a:pt x="9438" y="26813"/>
                  <a:pt x="9407" y="26594"/>
                  <a:pt x="9344" y="26375"/>
                </a:cubicBezTo>
                <a:cubicBezTo>
                  <a:pt x="9282" y="26250"/>
                  <a:pt x="9282" y="26125"/>
                  <a:pt x="9250" y="26000"/>
                </a:cubicBezTo>
                <a:cubicBezTo>
                  <a:pt x="9250" y="25938"/>
                  <a:pt x="9313" y="25906"/>
                  <a:pt x="9344" y="25938"/>
                </a:cubicBezTo>
                <a:cubicBezTo>
                  <a:pt x="9407" y="25938"/>
                  <a:pt x="9438" y="25969"/>
                  <a:pt x="9469" y="26000"/>
                </a:cubicBezTo>
                <a:cubicBezTo>
                  <a:pt x="9532" y="26094"/>
                  <a:pt x="9657" y="26094"/>
                  <a:pt x="9782" y="26063"/>
                </a:cubicBezTo>
                <a:cubicBezTo>
                  <a:pt x="9907" y="26063"/>
                  <a:pt x="10032" y="25969"/>
                  <a:pt x="10188" y="25938"/>
                </a:cubicBezTo>
                <a:cubicBezTo>
                  <a:pt x="10188" y="25938"/>
                  <a:pt x="10188" y="25938"/>
                  <a:pt x="10188" y="25938"/>
                </a:cubicBezTo>
                <a:cubicBezTo>
                  <a:pt x="10250" y="26000"/>
                  <a:pt x="10282" y="26125"/>
                  <a:pt x="10407" y="26156"/>
                </a:cubicBezTo>
                <a:cubicBezTo>
                  <a:pt x="10500" y="26156"/>
                  <a:pt x="10563" y="26156"/>
                  <a:pt x="10657" y="26125"/>
                </a:cubicBezTo>
                <a:cubicBezTo>
                  <a:pt x="10563" y="26156"/>
                  <a:pt x="10500" y="26156"/>
                  <a:pt x="10407" y="26156"/>
                </a:cubicBezTo>
                <a:cubicBezTo>
                  <a:pt x="10532" y="26375"/>
                  <a:pt x="10750" y="26500"/>
                  <a:pt x="10938" y="26656"/>
                </a:cubicBezTo>
                <a:cubicBezTo>
                  <a:pt x="11000" y="26719"/>
                  <a:pt x="11125" y="26688"/>
                  <a:pt x="11219" y="26719"/>
                </a:cubicBezTo>
                <a:cubicBezTo>
                  <a:pt x="11219" y="26625"/>
                  <a:pt x="11157" y="26563"/>
                  <a:pt x="11157" y="26500"/>
                </a:cubicBezTo>
                <a:cubicBezTo>
                  <a:pt x="11188" y="26469"/>
                  <a:pt x="11188" y="26438"/>
                  <a:pt x="11219" y="26438"/>
                </a:cubicBezTo>
                <a:cubicBezTo>
                  <a:pt x="11250" y="26438"/>
                  <a:pt x="11250" y="26469"/>
                  <a:pt x="11250" y="26469"/>
                </a:cubicBezTo>
                <a:cubicBezTo>
                  <a:pt x="11375" y="26719"/>
                  <a:pt x="11407" y="26938"/>
                  <a:pt x="11344" y="27188"/>
                </a:cubicBezTo>
                <a:close/>
                <a:moveTo>
                  <a:pt x="11875" y="21313"/>
                </a:moveTo>
                <a:cubicBezTo>
                  <a:pt x="11875" y="21281"/>
                  <a:pt x="11875" y="21281"/>
                  <a:pt x="11875" y="21250"/>
                </a:cubicBezTo>
                <a:cubicBezTo>
                  <a:pt x="11875" y="21250"/>
                  <a:pt x="11875" y="21219"/>
                  <a:pt x="11875" y="21219"/>
                </a:cubicBezTo>
                <a:cubicBezTo>
                  <a:pt x="11875" y="21219"/>
                  <a:pt x="11875" y="21250"/>
                  <a:pt x="11875" y="21250"/>
                </a:cubicBezTo>
                <a:cubicBezTo>
                  <a:pt x="11875" y="21281"/>
                  <a:pt x="11875" y="21281"/>
                  <a:pt x="11875" y="21313"/>
                </a:cubicBezTo>
                <a:close/>
                <a:moveTo>
                  <a:pt x="10719" y="34625"/>
                </a:moveTo>
                <a:cubicBezTo>
                  <a:pt x="10719" y="34656"/>
                  <a:pt x="10719" y="34688"/>
                  <a:pt x="10719" y="34688"/>
                </a:cubicBezTo>
                <a:cubicBezTo>
                  <a:pt x="10719" y="34688"/>
                  <a:pt x="10688" y="34656"/>
                  <a:pt x="10688" y="34656"/>
                </a:cubicBezTo>
                <a:cubicBezTo>
                  <a:pt x="10688" y="34625"/>
                  <a:pt x="10719" y="34625"/>
                  <a:pt x="10719" y="34625"/>
                </a:cubicBezTo>
                <a:cubicBezTo>
                  <a:pt x="10750" y="34563"/>
                  <a:pt x="10750" y="34563"/>
                  <a:pt x="10719" y="34563"/>
                </a:cubicBezTo>
                <a:cubicBezTo>
                  <a:pt x="10750" y="34563"/>
                  <a:pt x="10750" y="34563"/>
                  <a:pt x="10719" y="34625"/>
                </a:cubicBezTo>
                <a:close/>
                <a:moveTo>
                  <a:pt x="10813" y="32094"/>
                </a:moveTo>
                <a:cubicBezTo>
                  <a:pt x="10813" y="32094"/>
                  <a:pt x="10844" y="32031"/>
                  <a:pt x="10907" y="32063"/>
                </a:cubicBezTo>
                <a:cubicBezTo>
                  <a:pt x="10907" y="32125"/>
                  <a:pt x="10875" y="32219"/>
                  <a:pt x="10907" y="32281"/>
                </a:cubicBezTo>
                <a:cubicBezTo>
                  <a:pt x="10907" y="32281"/>
                  <a:pt x="10907" y="32281"/>
                  <a:pt x="10907" y="32281"/>
                </a:cubicBezTo>
                <a:cubicBezTo>
                  <a:pt x="10875" y="32313"/>
                  <a:pt x="10907" y="32375"/>
                  <a:pt x="10907" y="32406"/>
                </a:cubicBezTo>
                <a:cubicBezTo>
                  <a:pt x="10938" y="32406"/>
                  <a:pt x="10938" y="32438"/>
                  <a:pt x="10907" y="32469"/>
                </a:cubicBezTo>
                <a:cubicBezTo>
                  <a:pt x="10907" y="32438"/>
                  <a:pt x="10907" y="32406"/>
                  <a:pt x="10907" y="32406"/>
                </a:cubicBezTo>
                <a:cubicBezTo>
                  <a:pt x="10813" y="32313"/>
                  <a:pt x="10875" y="32188"/>
                  <a:pt x="10813" y="32094"/>
                </a:cubicBezTo>
                <a:close/>
                <a:moveTo>
                  <a:pt x="10907" y="32469"/>
                </a:moveTo>
                <a:cubicBezTo>
                  <a:pt x="10907" y="32469"/>
                  <a:pt x="10875" y="32469"/>
                  <a:pt x="10875" y="32500"/>
                </a:cubicBezTo>
                <a:cubicBezTo>
                  <a:pt x="10875" y="32500"/>
                  <a:pt x="10875" y="32500"/>
                  <a:pt x="10875" y="32469"/>
                </a:cubicBezTo>
                <a:cubicBezTo>
                  <a:pt x="10875" y="32469"/>
                  <a:pt x="10907" y="32469"/>
                  <a:pt x="10907" y="32469"/>
                </a:cubicBezTo>
                <a:close/>
                <a:moveTo>
                  <a:pt x="10907" y="32844"/>
                </a:moveTo>
                <a:cubicBezTo>
                  <a:pt x="10907" y="32875"/>
                  <a:pt x="10907" y="32906"/>
                  <a:pt x="10875" y="32938"/>
                </a:cubicBezTo>
                <a:cubicBezTo>
                  <a:pt x="10875" y="32938"/>
                  <a:pt x="10875" y="32938"/>
                  <a:pt x="10875" y="32938"/>
                </a:cubicBezTo>
                <a:cubicBezTo>
                  <a:pt x="10844" y="32906"/>
                  <a:pt x="10844" y="32875"/>
                  <a:pt x="10844" y="32844"/>
                </a:cubicBezTo>
                <a:cubicBezTo>
                  <a:pt x="10875" y="32844"/>
                  <a:pt x="10875" y="32844"/>
                  <a:pt x="10907" y="32844"/>
                </a:cubicBezTo>
                <a:cubicBezTo>
                  <a:pt x="10907" y="32813"/>
                  <a:pt x="10907" y="32781"/>
                  <a:pt x="10938" y="32750"/>
                </a:cubicBezTo>
                <a:cubicBezTo>
                  <a:pt x="10938" y="32750"/>
                  <a:pt x="10938" y="32750"/>
                  <a:pt x="10969" y="32750"/>
                </a:cubicBezTo>
                <a:cubicBezTo>
                  <a:pt x="10938" y="32750"/>
                  <a:pt x="10938" y="32750"/>
                  <a:pt x="10938" y="32750"/>
                </a:cubicBezTo>
                <a:cubicBezTo>
                  <a:pt x="10938" y="32781"/>
                  <a:pt x="10938" y="32813"/>
                  <a:pt x="10907" y="32844"/>
                </a:cubicBezTo>
                <a:close/>
                <a:moveTo>
                  <a:pt x="10938" y="32313"/>
                </a:moveTo>
                <a:cubicBezTo>
                  <a:pt x="10969" y="32313"/>
                  <a:pt x="11000" y="32281"/>
                  <a:pt x="11000" y="32250"/>
                </a:cubicBezTo>
                <a:cubicBezTo>
                  <a:pt x="11000" y="32281"/>
                  <a:pt x="10969" y="32313"/>
                  <a:pt x="10938" y="32313"/>
                </a:cubicBezTo>
                <a:close/>
                <a:moveTo>
                  <a:pt x="11032" y="31813"/>
                </a:moveTo>
                <a:cubicBezTo>
                  <a:pt x="11032" y="31813"/>
                  <a:pt x="11032" y="31813"/>
                  <a:pt x="11032" y="31813"/>
                </a:cubicBezTo>
                <a:cubicBezTo>
                  <a:pt x="11032" y="31813"/>
                  <a:pt x="11032" y="31813"/>
                  <a:pt x="11032" y="31813"/>
                </a:cubicBezTo>
                <a:cubicBezTo>
                  <a:pt x="11063" y="31813"/>
                  <a:pt x="11063" y="31781"/>
                  <a:pt x="11094" y="31750"/>
                </a:cubicBezTo>
                <a:cubicBezTo>
                  <a:pt x="11063" y="31781"/>
                  <a:pt x="11063" y="31813"/>
                  <a:pt x="11032" y="31813"/>
                </a:cubicBezTo>
                <a:close/>
                <a:moveTo>
                  <a:pt x="11782" y="30688"/>
                </a:moveTo>
                <a:cubicBezTo>
                  <a:pt x="11750" y="30688"/>
                  <a:pt x="11750" y="30688"/>
                  <a:pt x="11750" y="30688"/>
                </a:cubicBezTo>
                <a:cubicBezTo>
                  <a:pt x="11750" y="30625"/>
                  <a:pt x="11688" y="30563"/>
                  <a:pt x="11750" y="30500"/>
                </a:cubicBezTo>
                <a:cubicBezTo>
                  <a:pt x="11750" y="30500"/>
                  <a:pt x="11782" y="30500"/>
                  <a:pt x="11782" y="30500"/>
                </a:cubicBezTo>
                <a:cubicBezTo>
                  <a:pt x="11844" y="30563"/>
                  <a:pt x="11813" y="30625"/>
                  <a:pt x="11782" y="30688"/>
                </a:cubicBezTo>
                <a:close/>
                <a:moveTo>
                  <a:pt x="12625" y="30375"/>
                </a:moveTo>
                <a:cubicBezTo>
                  <a:pt x="12625" y="30375"/>
                  <a:pt x="12625" y="30375"/>
                  <a:pt x="12625" y="30375"/>
                </a:cubicBezTo>
                <a:cubicBezTo>
                  <a:pt x="12719" y="30406"/>
                  <a:pt x="12657" y="30469"/>
                  <a:pt x="12657" y="30500"/>
                </a:cubicBezTo>
                <a:cubicBezTo>
                  <a:pt x="12563" y="30500"/>
                  <a:pt x="12594" y="30438"/>
                  <a:pt x="12625" y="30375"/>
                </a:cubicBezTo>
                <a:close/>
                <a:moveTo>
                  <a:pt x="12344" y="31156"/>
                </a:moveTo>
                <a:cubicBezTo>
                  <a:pt x="12250" y="31156"/>
                  <a:pt x="12188" y="31125"/>
                  <a:pt x="12157" y="31063"/>
                </a:cubicBezTo>
                <a:cubicBezTo>
                  <a:pt x="12125" y="31031"/>
                  <a:pt x="12125" y="30906"/>
                  <a:pt x="12032" y="31031"/>
                </a:cubicBezTo>
                <a:cubicBezTo>
                  <a:pt x="12032" y="31000"/>
                  <a:pt x="11969" y="31000"/>
                  <a:pt x="11969" y="30938"/>
                </a:cubicBezTo>
                <a:cubicBezTo>
                  <a:pt x="12000" y="30844"/>
                  <a:pt x="11938" y="30844"/>
                  <a:pt x="11875" y="30875"/>
                </a:cubicBezTo>
                <a:cubicBezTo>
                  <a:pt x="12032" y="30781"/>
                  <a:pt x="11907" y="30656"/>
                  <a:pt x="11938" y="30500"/>
                </a:cubicBezTo>
                <a:cubicBezTo>
                  <a:pt x="12000" y="30594"/>
                  <a:pt x="12000" y="30688"/>
                  <a:pt x="12032" y="30813"/>
                </a:cubicBezTo>
                <a:cubicBezTo>
                  <a:pt x="12125" y="30625"/>
                  <a:pt x="12094" y="30438"/>
                  <a:pt x="12282" y="30281"/>
                </a:cubicBezTo>
                <a:cubicBezTo>
                  <a:pt x="12219" y="30469"/>
                  <a:pt x="12094" y="30625"/>
                  <a:pt x="12188" y="30781"/>
                </a:cubicBezTo>
                <a:cubicBezTo>
                  <a:pt x="12188" y="30781"/>
                  <a:pt x="12188" y="30781"/>
                  <a:pt x="12188" y="30781"/>
                </a:cubicBezTo>
                <a:cubicBezTo>
                  <a:pt x="12125" y="30906"/>
                  <a:pt x="12188" y="30969"/>
                  <a:pt x="12250" y="31031"/>
                </a:cubicBezTo>
                <a:cubicBezTo>
                  <a:pt x="12282" y="31063"/>
                  <a:pt x="12344" y="31094"/>
                  <a:pt x="12375" y="31125"/>
                </a:cubicBezTo>
                <a:cubicBezTo>
                  <a:pt x="12375" y="31156"/>
                  <a:pt x="12344" y="31156"/>
                  <a:pt x="12344" y="31156"/>
                </a:cubicBezTo>
                <a:close/>
                <a:moveTo>
                  <a:pt x="12407" y="30688"/>
                </a:moveTo>
                <a:cubicBezTo>
                  <a:pt x="12344" y="30688"/>
                  <a:pt x="12282" y="30688"/>
                  <a:pt x="12282" y="30625"/>
                </a:cubicBezTo>
                <a:cubicBezTo>
                  <a:pt x="12250" y="30531"/>
                  <a:pt x="12344" y="30531"/>
                  <a:pt x="12407" y="30531"/>
                </a:cubicBezTo>
                <a:cubicBezTo>
                  <a:pt x="12375" y="30563"/>
                  <a:pt x="12344" y="30625"/>
                  <a:pt x="12407" y="30688"/>
                </a:cubicBezTo>
                <a:cubicBezTo>
                  <a:pt x="12407" y="30719"/>
                  <a:pt x="12407" y="30750"/>
                  <a:pt x="12407" y="30750"/>
                </a:cubicBezTo>
                <a:cubicBezTo>
                  <a:pt x="12407" y="30750"/>
                  <a:pt x="12407" y="30719"/>
                  <a:pt x="12407" y="30688"/>
                </a:cubicBezTo>
                <a:close/>
                <a:moveTo>
                  <a:pt x="12563" y="31125"/>
                </a:moveTo>
                <a:cubicBezTo>
                  <a:pt x="12500" y="31125"/>
                  <a:pt x="12469" y="31063"/>
                  <a:pt x="12469" y="31000"/>
                </a:cubicBezTo>
                <a:cubicBezTo>
                  <a:pt x="12532" y="31000"/>
                  <a:pt x="12532" y="31063"/>
                  <a:pt x="12594" y="31063"/>
                </a:cubicBezTo>
                <a:cubicBezTo>
                  <a:pt x="12594" y="31094"/>
                  <a:pt x="12594" y="31125"/>
                  <a:pt x="12563" y="31125"/>
                </a:cubicBezTo>
                <a:close/>
                <a:moveTo>
                  <a:pt x="12625" y="30688"/>
                </a:moveTo>
                <a:cubicBezTo>
                  <a:pt x="12625" y="30688"/>
                  <a:pt x="12625" y="30688"/>
                  <a:pt x="12625" y="30688"/>
                </a:cubicBezTo>
                <a:cubicBezTo>
                  <a:pt x="12625" y="30656"/>
                  <a:pt x="12594" y="30625"/>
                  <a:pt x="12563" y="30625"/>
                </a:cubicBezTo>
                <a:cubicBezTo>
                  <a:pt x="12563" y="30625"/>
                  <a:pt x="12563" y="30625"/>
                  <a:pt x="12563" y="30625"/>
                </a:cubicBezTo>
                <a:cubicBezTo>
                  <a:pt x="12688" y="30500"/>
                  <a:pt x="12657" y="30656"/>
                  <a:pt x="12719" y="30688"/>
                </a:cubicBezTo>
                <a:cubicBezTo>
                  <a:pt x="12719" y="30688"/>
                  <a:pt x="12750" y="30656"/>
                  <a:pt x="12750" y="30594"/>
                </a:cubicBezTo>
                <a:cubicBezTo>
                  <a:pt x="12782" y="30719"/>
                  <a:pt x="12719" y="30750"/>
                  <a:pt x="12688" y="30781"/>
                </a:cubicBezTo>
                <a:cubicBezTo>
                  <a:pt x="12688" y="30813"/>
                  <a:pt x="12688" y="30813"/>
                  <a:pt x="12688" y="30813"/>
                </a:cubicBezTo>
                <a:cubicBezTo>
                  <a:pt x="12688" y="30813"/>
                  <a:pt x="12688" y="30813"/>
                  <a:pt x="12688" y="30781"/>
                </a:cubicBezTo>
                <a:cubicBezTo>
                  <a:pt x="12657" y="30750"/>
                  <a:pt x="12657" y="30719"/>
                  <a:pt x="12625" y="30688"/>
                </a:cubicBezTo>
                <a:close/>
                <a:moveTo>
                  <a:pt x="12657" y="30969"/>
                </a:moveTo>
                <a:cubicBezTo>
                  <a:pt x="12688" y="30938"/>
                  <a:pt x="12688" y="30875"/>
                  <a:pt x="12688" y="30844"/>
                </a:cubicBezTo>
                <a:cubicBezTo>
                  <a:pt x="12688" y="30875"/>
                  <a:pt x="12688" y="30938"/>
                  <a:pt x="12657" y="30969"/>
                </a:cubicBezTo>
                <a:close/>
                <a:moveTo>
                  <a:pt x="12844" y="31188"/>
                </a:moveTo>
                <a:cubicBezTo>
                  <a:pt x="12813" y="31250"/>
                  <a:pt x="12782" y="31250"/>
                  <a:pt x="12719" y="31219"/>
                </a:cubicBezTo>
                <a:cubicBezTo>
                  <a:pt x="12719" y="31156"/>
                  <a:pt x="12813" y="31156"/>
                  <a:pt x="12782" y="31125"/>
                </a:cubicBezTo>
                <a:cubicBezTo>
                  <a:pt x="12782" y="31125"/>
                  <a:pt x="12875" y="31156"/>
                  <a:pt x="12844" y="31188"/>
                </a:cubicBezTo>
                <a:close/>
                <a:moveTo>
                  <a:pt x="12907" y="30469"/>
                </a:moveTo>
                <a:cubicBezTo>
                  <a:pt x="12875" y="30500"/>
                  <a:pt x="12875" y="30469"/>
                  <a:pt x="12844" y="30469"/>
                </a:cubicBezTo>
                <a:cubicBezTo>
                  <a:pt x="12875" y="30406"/>
                  <a:pt x="12907" y="30344"/>
                  <a:pt x="12907" y="30313"/>
                </a:cubicBezTo>
                <a:cubicBezTo>
                  <a:pt x="12969" y="30375"/>
                  <a:pt x="12938" y="30438"/>
                  <a:pt x="12907" y="30469"/>
                </a:cubicBezTo>
                <a:close/>
                <a:moveTo>
                  <a:pt x="13032" y="31250"/>
                </a:moveTo>
                <a:cubicBezTo>
                  <a:pt x="13063" y="31250"/>
                  <a:pt x="13063" y="31219"/>
                  <a:pt x="13063" y="31219"/>
                </a:cubicBezTo>
                <a:cubicBezTo>
                  <a:pt x="13063" y="31219"/>
                  <a:pt x="13063" y="31219"/>
                  <a:pt x="13063" y="31219"/>
                </a:cubicBezTo>
                <a:cubicBezTo>
                  <a:pt x="13063" y="31219"/>
                  <a:pt x="13063" y="31250"/>
                  <a:pt x="13032" y="31250"/>
                </a:cubicBezTo>
                <a:close/>
                <a:moveTo>
                  <a:pt x="13157" y="31063"/>
                </a:moveTo>
                <a:cubicBezTo>
                  <a:pt x="13157" y="30938"/>
                  <a:pt x="13157" y="30813"/>
                  <a:pt x="13157" y="30688"/>
                </a:cubicBezTo>
                <a:cubicBezTo>
                  <a:pt x="13157" y="30688"/>
                  <a:pt x="13157" y="30688"/>
                  <a:pt x="13157" y="30688"/>
                </a:cubicBezTo>
                <a:cubicBezTo>
                  <a:pt x="13157" y="30813"/>
                  <a:pt x="13157" y="30938"/>
                  <a:pt x="13157" y="31063"/>
                </a:cubicBezTo>
                <a:close/>
                <a:moveTo>
                  <a:pt x="13188" y="30688"/>
                </a:moveTo>
                <a:cubicBezTo>
                  <a:pt x="13157" y="30688"/>
                  <a:pt x="13188" y="30656"/>
                  <a:pt x="13188" y="30656"/>
                </a:cubicBezTo>
                <a:cubicBezTo>
                  <a:pt x="13188" y="30656"/>
                  <a:pt x="13157" y="30688"/>
                  <a:pt x="13188" y="30688"/>
                </a:cubicBezTo>
                <a:close/>
                <a:moveTo>
                  <a:pt x="13407" y="30375"/>
                </a:moveTo>
                <a:cubicBezTo>
                  <a:pt x="13344" y="30406"/>
                  <a:pt x="13344" y="30313"/>
                  <a:pt x="13282" y="30344"/>
                </a:cubicBezTo>
                <a:cubicBezTo>
                  <a:pt x="13313" y="30313"/>
                  <a:pt x="13344" y="30250"/>
                  <a:pt x="13407" y="30250"/>
                </a:cubicBezTo>
                <a:cubicBezTo>
                  <a:pt x="13407" y="30281"/>
                  <a:pt x="13438" y="30344"/>
                  <a:pt x="13407" y="30375"/>
                </a:cubicBezTo>
                <a:close/>
                <a:moveTo>
                  <a:pt x="16907" y="32219"/>
                </a:moveTo>
                <a:cubicBezTo>
                  <a:pt x="16844" y="32063"/>
                  <a:pt x="16813" y="31875"/>
                  <a:pt x="16750" y="31688"/>
                </a:cubicBezTo>
                <a:cubicBezTo>
                  <a:pt x="16813" y="31719"/>
                  <a:pt x="16844" y="31750"/>
                  <a:pt x="16875" y="31781"/>
                </a:cubicBezTo>
                <a:cubicBezTo>
                  <a:pt x="16907" y="31781"/>
                  <a:pt x="16938" y="31813"/>
                  <a:pt x="16938" y="31813"/>
                </a:cubicBezTo>
                <a:cubicBezTo>
                  <a:pt x="16844" y="31938"/>
                  <a:pt x="16938" y="32031"/>
                  <a:pt x="17032" y="32094"/>
                </a:cubicBezTo>
                <a:cubicBezTo>
                  <a:pt x="17032" y="32094"/>
                  <a:pt x="17032" y="32156"/>
                  <a:pt x="17000" y="32188"/>
                </a:cubicBezTo>
                <a:cubicBezTo>
                  <a:pt x="16969" y="32219"/>
                  <a:pt x="17000" y="32281"/>
                  <a:pt x="17000" y="32281"/>
                </a:cubicBezTo>
                <a:cubicBezTo>
                  <a:pt x="17125" y="32313"/>
                  <a:pt x="17000" y="32375"/>
                  <a:pt x="17000" y="32438"/>
                </a:cubicBezTo>
                <a:cubicBezTo>
                  <a:pt x="16969" y="32406"/>
                  <a:pt x="16938" y="32375"/>
                  <a:pt x="16907" y="32313"/>
                </a:cubicBezTo>
                <a:cubicBezTo>
                  <a:pt x="16875" y="32344"/>
                  <a:pt x="16844" y="32406"/>
                  <a:pt x="16844" y="32469"/>
                </a:cubicBezTo>
                <a:cubicBezTo>
                  <a:pt x="16844" y="32406"/>
                  <a:pt x="16875" y="32344"/>
                  <a:pt x="16907" y="32313"/>
                </a:cubicBezTo>
                <a:cubicBezTo>
                  <a:pt x="16938" y="32281"/>
                  <a:pt x="16907" y="32250"/>
                  <a:pt x="16907" y="32219"/>
                </a:cubicBezTo>
                <a:close/>
                <a:moveTo>
                  <a:pt x="16813" y="32531"/>
                </a:moveTo>
                <a:cubicBezTo>
                  <a:pt x="16782" y="32563"/>
                  <a:pt x="16750" y="32531"/>
                  <a:pt x="16719" y="32563"/>
                </a:cubicBezTo>
                <a:cubicBezTo>
                  <a:pt x="16688" y="32625"/>
                  <a:pt x="16657" y="32563"/>
                  <a:pt x="16657" y="32531"/>
                </a:cubicBezTo>
                <a:cubicBezTo>
                  <a:pt x="16657" y="32406"/>
                  <a:pt x="16657" y="32281"/>
                  <a:pt x="16657" y="32156"/>
                </a:cubicBezTo>
                <a:cubicBezTo>
                  <a:pt x="16657" y="32125"/>
                  <a:pt x="16657" y="32094"/>
                  <a:pt x="16688" y="32094"/>
                </a:cubicBezTo>
                <a:cubicBezTo>
                  <a:pt x="16719" y="32094"/>
                  <a:pt x="16750" y="32125"/>
                  <a:pt x="16782" y="32125"/>
                </a:cubicBezTo>
                <a:cubicBezTo>
                  <a:pt x="16813" y="32156"/>
                  <a:pt x="16813" y="32188"/>
                  <a:pt x="16813" y="32250"/>
                </a:cubicBezTo>
                <a:cubicBezTo>
                  <a:pt x="16688" y="32313"/>
                  <a:pt x="16688" y="32344"/>
                  <a:pt x="16813" y="32531"/>
                </a:cubicBezTo>
                <a:close/>
                <a:moveTo>
                  <a:pt x="16813" y="32531"/>
                </a:moveTo>
                <a:cubicBezTo>
                  <a:pt x="16813" y="32563"/>
                  <a:pt x="16813" y="32563"/>
                  <a:pt x="16813" y="32563"/>
                </a:cubicBezTo>
                <a:cubicBezTo>
                  <a:pt x="16813" y="32563"/>
                  <a:pt x="16813" y="32563"/>
                  <a:pt x="16813" y="32531"/>
                </a:cubicBezTo>
                <a:close/>
                <a:moveTo>
                  <a:pt x="16657" y="31813"/>
                </a:moveTo>
                <a:cubicBezTo>
                  <a:pt x="16688" y="31813"/>
                  <a:pt x="16719" y="31813"/>
                  <a:pt x="16719" y="31875"/>
                </a:cubicBezTo>
                <a:cubicBezTo>
                  <a:pt x="16719" y="31938"/>
                  <a:pt x="16782" y="32031"/>
                  <a:pt x="16625" y="32031"/>
                </a:cubicBezTo>
                <a:cubicBezTo>
                  <a:pt x="16688" y="31969"/>
                  <a:pt x="16532" y="31906"/>
                  <a:pt x="16657" y="31813"/>
                </a:cubicBezTo>
                <a:close/>
                <a:moveTo>
                  <a:pt x="16438" y="31781"/>
                </a:moveTo>
                <a:cubicBezTo>
                  <a:pt x="16438" y="31844"/>
                  <a:pt x="16500" y="31875"/>
                  <a:pt x="16469" y="31938"/>
                </a:cubicBezTo>
                <a:cubicBezTo>
                  <a:pt x="16438" y="31969"/>
                  <a:pt x="16407" y="31969"/>
                  <a:pt x="16407" y="31938"/>
                </a:cubicBezTo>
                <a:cubicBezTo>
                  <a:pt x="16375" y="31875"/>
                  <a:pt x="16344" y="31813"/>
                  <a:pt x="16407" y="31750"/>
                </a:cubicBezTo>
                <a:cubicBezTo>
                  <a:pt x="16407" y="31750"/>
                  <a:pt x="16438" y="31750"/>
                  <a:pt x="16438" y="31750"/>
                </a:cubicBezTo>
                <a:cubicBezTo>
                  <a:pt x="16438" y="31781"/>
                  <a:pt x="16438" y="31781"/>
                  <a:pt x="16438" y="31781"/>
                </a:cubicBezTo>
                <a:close/>
                <a:moveTo>
                  <a:pt x="16438" y="31594"/>
                </a:moveTo>
                <a:cubicBezTo>
                  <a:pt x="16438" y="31594"/>
                  <a:pt x="16469" y="31594"/>
                  <a:pt x="16469" y="31625"/>
                </a:cubicBezTo>
                <a:cubicBezTo>
                  <a:pt x="16469" y="31594"/>
                  <a:pt x="16438" y="31594"/>
                  <a:pt x="16438" y="31594"/>
                </a:cubicBezTo>
                <a:close/>
                <a:moveTo>
                  <a:pt x="16469" y="31094"/>
                </a:moveTo>
                <a:cubicBezTo>
                  <a:pt x="16344" y="31063"/>
                  <a:pt x="16500" y="30906"/>
                  <a:pt x="16344" y="30906"/>
                </a:cubicBezTo>
                <a:cubicBezTo>
                  <a:pt x="16313" y="30906"/>
                  <a:pt x="16313" y="30938"/>
                  <a:pt x="16282" y="30969"/>
                </a:cubicBezTo>
                <a:cubicBezTo>
                  <a:pt x="16375" y="31000"/>
                  <a:pt x="16407" y="31063"/>
                  <a:pt x="16344" y="31094"/>
                </a:cubicBezTo>
                <a:cubicBezTo>
                  <a:pt x="16407" y="31063"/>
                  <a:pt x="16375" y="31000"/>
                  <a:pt x="16282" y="30969"/>
                </a:cubicBezTo>
                <a:cubicBezTo>
                  <a:pt x="16250" y="31000"/>
                  <a:pt x="16219" y="30969"/>
                  <a:pt x="16188" y="30969"/>
                </a:cubicBezTo>
                <a:cubicBezTo>
                  <a:pt x="16250" y="30906"/>
                  <a:pt x="16344" y="30875"/>
                  <a:pt x="16438" y="30844"/>
                </a:cubicBezTo>
                <a:cubicBezTo>
                  <a:pt x="16438" y="30844"/>
                  <a:pt x="16438" y="30844"/>
                  <a:pt x="16438" y="30844"/>
                </a:cubicBezTo>
                <a:cubicBezTo>
                  <a:pt x="16438" y="30844"/>
                  <a:pt x="16438" y="30844"/>
                  <a:pt x="16438" y="30844"/>
                </a:cubicBezTo>
                <a:cubicBezTo>
                  <a:pt x="16500" y="30906"/>
                  <a:pt x="16469" y="31000"/>
                  <a:pt x="16469" y="31094"/>
                </a:cubicBezTo>
                <a:close/>
                <a:moveTo>
                  <a:pt x="16032" y="21344"/>
                </a:moveTo>
                <a:cubicBezTo>
                  <a:pt x="16063" y="21281"/>
                  <a:pt x="16157" y="21250"/>
                  <a:pt x="16219" y="21313"/>
                </a:cubicBezTo>
                <a:cubicBezTo>
                  <a:pt x="16250" y="21313"/>
                  <a:pt x="16282" y="21313"/>
                  <a:pt x="16313" y="21313"/>
                </a:cubicBezTo>
                <a:cubicBezTo>
                  <a:pt x="16313" y="21344"/>
                  <a:pt x="16250" y="21344"/>
                  <a:pt x="16313" y="21375"/>
                </a:cubicBezTo>
                <a:cubicBezTo>
                  <a:pt x="16313" y="21531"/>
                  <a:pt x="16219" y="21438"/>
                  <a:pt x="16157" y="21406"/>
                </a:cubicBezTo>
                <a:cubicBezTo>
                  <a:pt x="16125" y="21406"/>
                  <a:pt x="16032" y="21406"/>
                  <a:pt x="16032" y="21344"/>
                </a:cubicBezTo>
                <a:close/>
                <a:moveTo>
                  <a:pt x="16125" y="21000"/>
                </a:moveTo>
                <a:cubicBezTo>
                  <a:pt x="16125" y="21031"/>
                  <a:pt x="16188" y="21000"/>
                  <a:pt x="16188" y="21031"/>
                </a:cubicBezTo>
                <a:cubicBezTo>
                  <a:pt x="16188" y="21031"/>
                  <a:pt x="16188" y="21031"/>
                  <a:pt x="16188" y="21031"/>
                </a:cubicBezTo>
                <a:cubicBezTo>
                  <a:pt x="16188" y="21094"/>
                  <a:pt x="16313" y="21156"/>
                  <a:pt x="16250" y="21188"/>
                </a:cubicBezTo>
                <a:cubicBezTo>
                  <a:pt x="16188" y="21250"/>
                  <a:pt x="16125" y="21156"/>
                  <a:pt x="16094" y="21125"/>
                </a:cubicBezTo>
                <a:cubicBezTo>
                  <a:pt x="15907" y="21000"/>
                  <a:pt x="16125" y="21031"/>
                  <a:pt x="16125" y="21000"/>
                </a:cubicBezTo>
                <a:close/>
                <a:moveTo>
                  <a:pt x="16407" y="21063"/>
                </a:moveTo>
                <a:cubicBezTo>
                  <a:pt x="16532" y="21000"/>
                  <a:pt x="16625" y="21063"/>
                  <a:pt x="16625" y="21188"/>
                </a:cubicBezTo>
                <a:cubicBezTo>
                  <a:pt x="16657" y="21250"/>
                  <a:pt x="16625" y="21344"/>
                  <a:pt x="16750" y="21281"/>
                </a:cubicBezTo>
                <a:cubicBezTo>
                  <a:pt x="16782" y="21281"/>
                  <a:pt x="16782" y="21281"/>
                  <a:pt x="16813" y="21281"/>
                </a:cubicBezTo>
                <a:cubicBezTo>
                  <a:pt x="16907" y="21375"/>
                  <a:pt x="17000" y="21219"/>
                  <a:pt x="17094" y="21281"/>
                </a:cubicBezTo>
                <a:cubicBezTo>
                  <a:pt x="17094" y="21313"/>
                  <a:pt x="17094" y="21281"/>
                  <a:pt x="17094" y="21250"/>
                </a:cubicBezTo>
                <a:cubicBezTo>
                  <a:pt x="17094" y="21188"/>
                  <a:pt x="17125" y="21188"/>
                  <a:pt x="17157" y="21219"/>
                </a:cubicBezTo>
                <a:cubicBezTo>
                  <a:pt x="17219" y="21313"/>
                  <a:pt x="17282" y="21375"/>
                  <a:pt x="17438" y="21344"/>
                </a:cubicBezTo>
                <a:cubicBezTo>
                  <a:pt x="17438" y="21344"/>
                  <a:pt x="17532" y="21406"/>
                  <a:pt x="17500" y="21500"/>
                </a:cubicBezTo>
                <a:cubicBezTo>
                  <a:pt x="17407" y="21438"/>
                  <a:pt x="17250" y="21531"/>
                  <a:pt x="17157" y="21406"/>
                </a:cubicBezTo>
                <a:cubicBezTo>
                  <a:pt x="17125" y="21375"/>
                  <a:pt x="17094" y="21406"/>
                  <a:pt x="17094" y="21469"/>
                </a:cubicBezTo>
                <a:cubicBezTo>
                  <a:pt x="17125" y="21531"/>
                  <a:pt x="17188" y="21594"/>
                  <a:pt x="17282" y="21625"/>
                </a:cubicBezTo>
                <a:cubicBezTo>
                  <a:pt x="17313" y="21625"/>
                  <a:pt x="17344" y="21625"/>
                  <a:pt x="17344" y="21594"/>
                </a:cubicBezTo>
                <a:cubicBezTo>
                  <a:pt x="17344" y="21469"/>
                  <a:pt x="17407" y="21531"/>
                  <a:pt x="17438" y="21563"/>
                </a:cubicBezTo>
                <a:cubicBezTo>
                  <a:pt x="17469" y="21625"/>
                  <a:pt x="17532" y="21656"/>
                  <a:pt x="17594" y="21656"/>
                </a:cubicBezTo>
                <a:cubicBezTo>
                  <a:pt x="17594" y="21594"/>
                  <a:pt x="17532" y="21563"/>
                  <a:pt x="17532" y="21531"/>
                </a:cubicBezTo>
                <a:cubicBezTo>
                  <a:pt x="17594" y="21531"/>
                  <a:pt x="17657" y="21563"/>
                  <a:pt x="17719" y="21594"/>
                </a:cubicBezTo>
                <a:cubicBezTo>
                  <a:pt x="17782" y="21594"/>
                  <a:pt x="17813" y="21656"/>
                  <a:pt x="17750" y="21719"/>
                </a:cubicBezTo>
                <a:cubicBezTo>
                  <a:pt x="17719" y="21750"/>
                  <a:pt x="17625" y="21719"/>
                  <a:pt x="17688" y="21875"/>
                </a:cubicBezTo>
                <a:cubicBezTo>
                  <a:pt x="17719" y="21938"/>
                  <a:pt x="17563" y="22000"/>
                  <a:pt x="17469" y="22000"/>
                </a:cubicBezTo>
                <a:cubicBezTo>
                  <a:pt x="17469" y="22000"/>
                  <a:pt x="17438" y="22000"/>
                  <a:pt x="17438" y="21969"/>
                </a:cubicBezTo>
                <a:cubicBezTo>
                  <a:pt x="17407" y="21938"/>
                  <a:pt x="17344" y="21938"/>
                  <a:pt x="17344" y="21875"/>
                </a:cubicBezTo>
                <a:cubicBezTo>
                  <a:pt x="17375" y="21813"/>
                  <a:pt x="17438" y="21844"/>
                  <a:pt x="17500" y="21813"/>
                </a:cubicBezTo>
                <a:cubicBezTo>
                  <a:pt x="17500" y="21781"/>
                  <a:pt x="17438" y="21719"/>
                  <a:pt x="17407" y="21750"/>
                </a:cubicBezTo>
                <a:cubicBezTo>
                  <a:pt x="17250" y="21750"/>
                  <a:pt x="17157" y="21656"/>
                  <a:pt x="17032" y="21656"/>
                </a:cubicBezTo>
                <a:cubicBezTo>
                  <a:pt x="16969" y="21656"/>
                  <a:pt x="16907" y="21656"/>
                  <a:pt x="16907" y="21625"/>
                </a:cubicBezTo>
                <a:cubicBezTo>
                  <a:pt x="16875" y="21531"/>
                  <a:pt x="17000" y="21594"/>
                  <a:pt x="17000" y="21531"/>
                </a:cubicBezTo>
                <a:cubicBezTo>
                  <a:pt x="16938" y="21531"/>
                  <a:pt x="16875" y="21406"/>
                  <a:pt x="16782" y="21500"/>
                </a:cubicBezTo>
                <a:cubicBezTo>
                  <a:pt x="16750" y="21531"/>
                  <a:pt x="16688" y="21469"/>
                  <a:pt x="16625" y="21438"/>
                </a:cubicBezTo>
                <a:cubicBezTo>
                  <a:pt x="16563" y="21406"/>
                  <a:pt x="16500" y="21375"/>
                  <a:pt x="16407" y="21406"/>
                </a:cubicBezTo>
                <a:cubicBezTo>
                  <a:pt x="16438" y="21375"/>
                  <a:pt x="16500" y="21344"/>
                  <a:pt x="16532" y="21344"/>
                </a:cubicBezTo>
                <a:cubicBezTo>
                  <a:pt x="16594" y="21313"/>
                  <a:pt x="16563" y="21250"/>
                  <a:pt x="16563" y="21219"/>
                </a:cubicBezTo>
                <a:cubicBezTo>
                  <a:pt x="16532" y="21188"/>
                  <a:pt x="16563" y="21125"/>
                  <a:pt x="16469" y="21156"/>
                </a:cubicBezTo>
                <a:cubicBezTo>
                  <a:pt x="16375" y="21219"/>
                  <a:pt x="16438" y="21094"/>
                  <a:pt x="16407" y="21063"/>
                </a:cubicBezTo>
                <a:close/>
                <a:moveTo>
                  <a:pt x="16750" y="20875"/>
                </a:moveTo>
                <a:cubicBezTo>
                  <a:pt x="16844" y="20906"/>
                  <a:pt x="16875" y="21031"/>
                  <a:pt x="16938" y="21125"/>
                </a:cubicBezTo>
                <a:cubicBezTo>
                  <a:pt x="16938" y="21156"/>
                  <a:pt x="16938" y="21219"/>
                  <a:pt x="16907" y="21219"/>
                </a:cubicBezTo>
                <a:cubicBezTo>
                  <a:pt x="16813" y="21219"/>
                  <a:pt x="16782" y="21094"/>
                  <a:pt x="16688" y="21125"/>
                </a:cubicBezTo>
                <a:cubicBezTo>
                  <a:pt x="16688" y="21125"/>
                  <a:pt x="16657" y="21063"/>
                  <a:pt x="16657" y="21031"/>
                </a:cubicBezTo>
                <a:cubicBezTo>
                  <a:pt x="16813" y="21031"/>
                  <a:pt x="16657" y="20906"/>
                  <a:pt x="16750" y="20875"/>
                </a:cubicBezTo>
                <a:close/>
                <a:moveTo>
                  <a:pt x="16407" y="20594"/>
                </a:moveTo>
                <a:cubicBezTo>
                  <a:pt x="16407" y="20531"/>
                  <a:pt x="16407" y="20500"/>
                  <a:pt x="16469" y="20531"/>
                </a:cubicBezTo>
                <a:cubicBezTo>
                  <a:pt x="16532" y="20563"/>
                  <a:pt x="16594" y="20563"/>
                  <a:pt x="16688" y="20531"/>
                </a:cubicBezTo>
                <a:cubicBezTo>
                  <a:pt x="16594" y="20438"/>
                  <a:pt x="16532" y="20375"/>
                  <a:pt x="16469" y="20313"/>
                </a:cubicBezTo>
                <a:cubicBezTo>
                  <a:pt x="16469" y="20281"/>
                  <a:pt x="16438" y="20281"/>
                  <a:pt x="16438" y="20281"/>
                </a:cubicBezTo>
                <a:cubicBezTo>
                  <a:pt x="16375" y="20281"/>
                  <a:pt x="16375" y="20313"/>
                  <a:pt x="16375" y="20344"/>
                </a:cubicBezTo>
                <a:cubicBezTo>
                  <a:pt x="16407" y="20406"/>
                  <a:pt x="16375" y="20469"/>
                  <a:pt x="16344" y="20438"/>
                </a:cubicBezTo>
                <a:cubicBezTo>
                  <a:pt x="16282" y="20438"/>
                  <a:pt x="16219" y="20438"/>
                  <a:pt x="16188" y="20375"/>
                </a:cubicBezTo>
                <a:cubicBezTo>
                  <a:pt x="16188" y="20281"/>
                  <a:pt x="16157" y="20219"/>
                  <a:pt x="16125" y="20125"/>
                </a:cubicBezTo>
                <a:cubicBezTo>
                  <a:pt x="16219" y="20156"/>
                  <a:pt x="16250" y="20250"/>
                  <a:pt x="16313" y="20219"/>
                </a:cubicBezTo>
                <a:cubicBezTo>
                  <a:pt x="16282" y="20125"/>
                  <a:pt x="16219" y="20063"/>
                  <a:pt x="16125" y="20031"/>
                </a:cubicBezTo>
                <a:cubicBezTo>
                  <a:pt x="16157" y="20000"/>
                  <a:pt x="16188" y="19969"/>
                  <a:pt x="16157" y="19938"/>
                </a:cubicBezTo>
                <a:cubicBezTo>
                  <a:pt x="16250" y="19813"/>
                  <a:pt x="16094" y="19813"/>
                  <a:pt x="16063" y="19750"/>
                </a:cubicBezTo>
                <a:cubicBezTo>
                  <a:pt x="16032" y="19719"/>
                  <a:pt x="16000" y="19656"/>
                  <a:pt x="16000" y="19594"/>
                </a:cubicBezTo>
                <a:cubicBezTo>
                  <a:pt x="15907" y="19594"/>
                  <a:pt x="15938" y="19688"/>
                  <a:pt x="15875" y="19688"/>
                </a:cubicBezTo>
                <a:cubicBezTo>
                  <a:pt x="15844" y="19656"/>
                  <a:pt x="15844" y="19594"/>
                  <a:pt x="15782" y="19563"/>
                </a:cubicBezTo>
                <a:cubicBezTo>
                  <a:pt x="15782" y="19531"/>
                  <a:pt x="15719" y="19469"/>
                  <a:pt x="15688" y="19563"/>
                </a:cubicBezTo>
                <a:cubicBezTo>
                  <a:pt x="15657" y="19625"/>
                  <a:pt x="15563" y="19563"/>
                  <a:pt x="15500" y="19625"/>
                </a:cubicBezTo>
                <a:cubicBezTo>
                  <a:pt x="15532" y="19656"/>
                  <a:pt x="15563" y="19656"/>
                  <a:pt x="15594" y="19688"/>
                </a:cubicBezTo>
                <a:cubicBezTo>
                  <a:pt x="15563" y="19688"/>
                  <a:pt x="15500" y="19688"/>
                  <a:pt x="15469" y="19688"/>
                </a:cubicBezTo>
                <a:cubicBezTo>
                  <a:pt x="15469" y="19688"/>
                  <a:pt x="15469" y="19688"/>
                  <a:pt x="15469" y="19688"/>
                </a:cubicBezTo>
                <a:cubicBezTo>
                  <a:pt x="15469" y="19750"/>
                  <a:pt x="15469" y="19813"/>
                  <a:pt x="15375" y="19719"/>
                </a:cubicBezTo>
                <a:cubicBezTo>
                  <a:pt x="15375" y="19719"/>
                  <a:pt x="15344" y="19688"/>
                  <a:pt x="15313" y="19719"/>
                </a:cubicBezTo>
                <a:cubicBezTo>
                  <a:pt x="15344" y="19500"/>
                  <a:pt x="15407" y="19688"/>
                  <a:pt x="15469" y="19688"/>
                </a:cubicBezTo>
                <a:cubicBezTo>
                  <a:pt x="15469" y="19688"/>
                  <a:pt x="15469" y="19688"/>
                  <a:pt x="15469" y="19688"/>
                </a:cubicBezTo>
                <a:cubicBezTo>
                  <a:pt x="15469" y="19656"/>
                  <a:pt x="15438" y="19625"/>
                  <a:pt x="15438" y="19594"/>
                </a:cubicBezTo>
                <a:cubicBezTo>
                  <a:pt x="15407" y="19531"/>
                  <a:pt x="15407" y="19438"/>
                  <a:pt x="15532" y="19438"/>
                </a:cubicBezTo>
                <a:cubicBezTo>
                  <a:pt x="15563" y="19438"/>
                  <a:pt x="15594" y="19438"/>
                  <a:pt x="15625" y="19406"/>
                </a:cubicBezTo>
                <a:cubicBezTo>
                  <a:pt x="15688" y="19406"/>
                  <a:pt x="15719" y="19375"/>
                  <a:pt x="15750" y="19375"/>
                </a:cubicBezTo>
                <a:cubicBezTo>
                  <a:pt x="15844" y="19313"/>
                  <a:pt x="15875" y="19281"/>
                  <a:pt x="15813" y="19156"/>
                </a:cubicBezTo>
                <a:cubicBezTo>
                  <a:pt x="15750" y="18969"/>
                  <a:pt x="15688" y="18781"/>
                  <a:pt x="15657" y="18563"/>
                </a:cubicBezTo>
                <a:cubicBezTo>
                  <a:pt x="15657" y="18563"/>
                  <a:pt x="15657" y="18563"/>
                  <a:pt x="15657" y="18563"/>
                </a:cubicBezTo>
                <a:cubicBezTo>
                  <a:pt x="15657" y="18563"/>
                  <a:pt x="15688" y="18594"/>
                  <a:pt x="15688" y="18594"/>
                </a:cubicBezTo>
                <a:cubicBezTo>
                  <a:pt x="15907" y="18594"/>
                  <a:pt x="15969" y="18781"/>
                  <a:pt x="16094" y="18906"/>
                </a:cubicBezTo>
                <a:cubicBezTo>
                  <a:pt x="16188" y="18969"/>
                  <a:pt x="16282" y="19063"/>
                  <a:pt x="16313" y="19219"/>
                </a:cubicBezTo>
                <a:cubicBezTo>
                  <a:pt x="16313" y="19219"/>
                  <a:pt x="16313" y="19219"/>
                  <a:pt x="16313" y="19219"/>
                </a:cubicBezTo>
                <a:cubicBezTo>
                  <a:pt x="16594" y="19375"/>
                  <a:pt x="16688" y="19719"/>
                  <a:pt x="16938" y="19875"/>
                </a:cubicBezTo>
                <a:cubicBezTo>
                  <a:pt x="16969" y="19875"/>
                  <a:pt x="16969" y="19875"/>
                  <a:pt x="16969" y="19875"/>
                </a:cubicBezTo>
                <a:cubicBezTo>
                  <a:pt x="16969" y="19906"/>
                  <a:pt x="17000" y="19938"/>
                  <a:pt x="17032" y="19969"/>
                </a:cubicBezTo>
                <a:cubicBezTo>
                  <a:pt x="17094" y="20063"/>
                  <a:pt x="17157" y="20125"/>
                  <a:pt x="17188" y="20250"/>
                </a:cubicBezTo>
                <a:cubicBezTo>
                  <a:pt x="17219" y="20344"/>
                  <a:pt x="17313" y="20375"/>
                  <a:pt x="17438" y="20375"/>
                </a:cubicBezTo>
                <a:cubicBezTo>
                  <a:pt x="17282" y="20469"/>
                  <a:pt x="17282" y="20688"/>
                  <a:pt x="17438" y="20781"/>
                </a:cubicBezTo>
                <a:cubicBezTo>
                  <a:pt x="17438" y="20813"/>
                  <a:pt x="17469" y="20813"/>
                  <a:pt x="17469" y="20844"/>
                </a:cubicBezTo>
                <a:cubicBezTo>
                  <a:pt x="17438" y="20875"/>
                  <a:pt x="17407" y="20875"/>
                  <a:pt x="17375" y="20906"/>
                </a:cubicBezTo>
                <a:cubicBezTo>
                  <a:pt x="17375" y="20844"/>
                  <a:pt x="17282" y="20875"/>
                  <a:pt x="17250" y="20844"/>
                </a:cubicBezTo>
                <a:cubicBezTo>
                  <a:pt x="17344" y="20656"/>
                  <a:pt x="17157" y="20656"/>
                  <a:pt x="17094" y="20625"/>
                </a:cubicBezTo>
                <a:cubicBezTo>
                  <a:pt x="17125" y="20500"/>
                  <a:pt x="17188" y="20656"/>
                  <a:pt x="17250" y="20594"/>
                </a:cubicBezTo>
                <a:cubicBezTo>
                  <a:pt x="17219" y="20500"/>
                  <a:pt x="17125" y="20469"/>
                  <a:pt x="17063" y="20406"/>
                </a:cubicBezTo>
                <a:cubicBezTo>
                  <a:pt x="17063" y="20406"/>
                  <a:pt x="17032" y="20375"/>
                  <a:pt x="17000" y="20406"/>
                </a:cubicBezTo>
                <a:cubicBezTo>
                  <a:pt x="17000" y="20406"/>
                  <a:pt x="17000" y="20438"/>
                  <a:pt x="17000" y="20469"/>
                </a:cubicBezTo>
                <a:cubicBezTo>
                  <a:pt x="17000" y="20500"/>
                  <a:pt x="17032" y="20563"/>
                  <a:pt x="17032" y="20625"/>
                </a:cubicBezTo>
                <a:cubicBezTo>
                  <a:pt x="16938" y="20688"/>
                  <a:pt x="16907" y="20750"/>
                  <a:pt x="16969" y="20750"/>
                </a:cubicBezTo>
                <a:cubicBezTo>
                  <a:pt x="17063" y="20750"/>
                  <a:pt x="17094" y="20844"/>
                  <a:pt x="17188" y="20844"/>
                </a:cubicBezTo>
                <a:cubicBezTo>
                  <a:pt x="17250" y="20969"/>
                  <a:pt x="17250" y="20969"/>
                  <a:pt x="17157" y="21063"/>
                </a:cubicBezTo>
                <a:cubicBezTo>
                  <a:pt x="17125" y="21063"/>
                  <a:pt x="17125" y="21063"/>
                  <a:pt x="17157" y="21094"/>
                </a:cubicBezTo>
                <a:cubicBezTo>
                  <a:pt x="17188" y="21094"/>
                  <a:pt x="17219" y="21125"/>
                  <a:pt x="17188" y="21156"/>
                </a:cubicBezTo>
                <a:cubicBezTo>
                  <a:pt x="17157" y="21188"/>
                  <a:pt x="17125" y="21188"/>
                  <a:pt x="17094" y="21188"/>
                </a:cubicBezTo>
                <a:cubicBezTo>
                  <a:pt x="17032" y="21156"/>
                  <a:pt x="16969" y="21156"/>
                  <a:pt x="17000" y="21125"/>
                </a:cubicBezTo>
                <a:cubicBezTo>
                  <a:pt x="17063" y="20969"/>
                  <a:pt x="16844" y="20969"/>
                  <a:pt x="16875" y="20844"/>
                </a:cubicBezTo>
                <a:cubicBezTo>
                  <a:pt x="16688" y="20813"/>
                  <a:pt x="16594" y="20594"/>
                  <a:pt x="16407" y="20594"/>
                </a:cubicBezTo>
                <a:close/>
                <a:moveTo>
                  <a:pt x="16657" y="20875"/>
                </a:moveTo>
                <a:cubicBezTo>
                  <a:pt x="16657" y="20875"/>
                  <a:pt x="16657" y="20875"/>
                  <a:pt x="16657" y="20875"/>
                </a:cubicBezTo>
                <a:cubicBezTo>
                  <a:pt x="16657" y="20875"/>
                  <a:pt x="16625" y="20875"/>
                  <a:pt x="16625" y="20875"/>
                </a:cubicBezTo>
                <a:cubicBezTo>
                  <a:pt x="16657" y="20875"/>
                  <a:pt x="16657" y="20875"/>
                  <a:pt x="16657" y="20844"/>
                </a:cubicBezTo>
                <a:cubicBezTo>
                  <a:pt x="16657" y="20844"/>
                  <a:pt x="16657" y="20875"/>
                  <a:pt x="16657" y="20875"/>
                </a:cubicBezTo>
                <a:close/>
                <a:moveTo>
                  <a:pt x="15813" y="20438"/>
                </a:moveTo>
                <a:cubicBezTo>
                  <a:pt x="15844" y="20469"/>
                  <a:pt x="15813" y="20563"/>
                  <a:pt x="15750" y="20563"/>
                </a:cubicBezTo>
                <a:cubicBezTo>
                  <a:pt x="15719" y="20594"/>
                  <a:pt x="15688" y="20531"/>
                  <a:pt x="15657" y="20500"/>
                </a:cubicBezTo>
                <a:cubicBezTo>
                  <a:pt x="15563" y="20375"/>
                  <a:pt x="15438" y="20313"/>
                  <a:pt x="15438" y="20125"/>
                </a:cubicBezTo>
                <a:cubicBezTo>
                  <a:pt x="15438" y="20125"/>
                  <a:pt x="15438" y="20156"/>
                  <a:pt x="15438" y="20156"/>
                </a:cubicBezTo>
                <a:cubicBezTo>
                  <a:pt x="15438" y="20156"/>
                  <a:pt x="15438" y="20125"/>
                  <a:pt x="15438" y="20125"/>
                </a:cubicBezTo>
                <a:cubicBezTo>
                  <a:pt x="15469" y="20156"/>
                  <a:pt x="15469" y="20156"/>
                  <a:pt x="15500" y="20188"/>
                </a:cubicBezTo>
                <a:cubicBezTo>
                  <a:pt x="15532" y="20250"/>
                  <a:pt x="15563" y="20344"/>
                  <a:pt x="15625" y="20375"/>
                </a:cubicBezTo>
                <a:cubicBezTo>
                  <a:pt x="15688" y="20375"/>
                  <a:pt x="15750" y="20313"/>
                  <a:pt x="15813" y="20250"/>
                </a:cubicBezTo>
                <a:cubicBezTo>
                  <a:pt x="15813" y="20344"/>
                  <a:pt x="15782" y="20375"/>
                  <a:pt x="15813" y="20438"/>
                </a:cubicBezTo>
                <a:close/>
                <a:moveTo>
                  <a:pt x="15657" y="24000"/>
                </a:moveTo>
                <a:cubicBezTo>
                  <a:pt x="15625" y="23938"/>
                  <a:pt x="15594" y="23875"/>
                  <a:pt x="15594" y="23813"/>
                </a:cubicBezTo>
                <a:cubicBezTo>
                  <a:pt x="15500" y="23844"/>
                  <a:pt x="15563" y="23719"/>
                  <a:pt x="15500" y="23719"/>
                </a:cubicBezTo>
                <a:cubicBezTo>
                  <a:pt x="15500" y="23719"/>
                  <a:pt x="15500" y="23719"/>
                  <a:pt x="15500" y="23719"/>
                </a:cubicBezTo>
                <a:cubicBezTo>
                  <a:pt x="15532" y="23688"/>
                  <a:pt x="15469" y="23656"/>
                  <a:pt x="15469" y="23625"/>
                </a:cubicBezTo>
                <a:cubicBezTo>
                  <a:pt x="15469" y="23625"/>
                  <a:pt x="15500" y="23625"/>
                  <a:pt x="15500" y="23625"/>
                </a:cubicBezTo>
                <a:cubicBezTo>
                  <a:pt x="15563" y="23656"/>
                  <a:pt x="15563" y="23750"/>
                  <a:pt x="15594" y="23813"/>
                </a:cubicBezTo>
                <a:cubicBezTo>
                  <a:pt x="15594" y="23875"/>
                  <a:pt x="15625" y="23938"/>
                  <a:pt x="15657" y="24000"/>
                </a:cubicBezTo>
                <a:close/>
                <a:moveTo>
                  <a:pt x="15282" y="20188"/>
                </a:moveTo>
                <a:cubicBezTo>
                  <a:pt x="15375" y="20219"/>
                  <a:pt x="15438" y="20219"/>
                  <a:pt x="15407" y="20313"/>
                </a:cubicBezTo>
                <a:cubicBezTo>
                  <a:pt x="15407" y="20344"/>
                  <a:pt x="15375" y="20313"/>
                  <a:pt x="15344" y="20313"/>
                </a:cubicBezTo>
                <a:cubicBezTo>
                  <a:pt x="15250" y="20313"/>
                  <a:pt x="15313" y="20250"/>
                  <a:pt x="15282" y="20188"/>
                </a:cubicBezTo>
                <a:close/>
                <a:moveTo>
                  <a:pt x="15219" y="19625"/>
                </a:moveTo>
                <a:cubicBezTo>
                  <a:pt x="15063" y="19625"/>
                  <a:pt x="14969" y="19563"/>
                  <a:pt x="14938" y="19406"/>
                </a:cubicBezTo>
                <a:cubicBezTo>
                  <a:pt x="14969" y="19406"/>
                  <a:pt x="15000" y="19406"/>
                  <a:pt x="15000" y="19406"/>
                </a:cubicBezTo>
                <a:cubicBezTo>
                  <a:pt x="15000" y="19375"/>
                  <a:pt x="14969" y="19375"/>
                  <a:pt x="14938" y="19344"/>
                </a:cubicBezTo>
                <a:cubicBezTo>
                  <a:pt x="14969" y="19344"/>
                  <a:pt x="14969" y="19344"/>
                  <a:pt x="14969" y="19344"/>
                </a:cubicBezTo>
                <a:cubicBezTo>
                  <a:pt x="15032" y="19344"/>
                  <a:pt x="15032" y="19406"/>
                  <a:pt x="15094" y="19406"/>
                </a:cubicBezTo>
                <a:cubicBezTo>
                  <a:pt x="15125" y="19344"/>
                  <a:pt x="15125" y="19281"/>
                  <a:pt x="15094" y="19219"/>
                </a:cubicBezTo>
                <a:cubicBezTo>
                  <a:pt x="15063" y="19156"/>
                  <a:pt x="15094" y="19156"/>
                  <a:pt x="15125" y="19156"/>
                </a:cubicBezTo>
                <a:cubicBezTo>
                  <a:pt x="15125" y="19156"/>
                  <a:pt x="15125" y="19156"/>
                  <a:pt x="15157" y="19156"/>
                </a:cubicBezTo>
                <a:cubicBezTo>
                  <a:pt x="15157" y="19219"/>
                  <a:pt x="15157" y="19219"/>
                  <a:pt x="15188" y="19188"/>
                </a:cubicBezTo>
                <a:cubicBezTo>
                  <a:pt x="15188" y="19188"/>
                  <a:pt x="15188" y="19156"/>
                  <a:pt x="15188" y="19156"/>
                </a:cubicBezTo>
                <a:cubicBezTo>
                  <a:pt x="15188" y="19156"/>
                  <a:pt x="15188" y="19188"/>
                  <a:pt x="15188" y="19188"/>
                </a:cubicBezTo>
                <a:cubicBezTo>
                  <a:pt x="15219" y="19250"/>
                  <a:pt x="15250" y="19250"/>
                  <a:pt x="15282" y="19250"/>
                </a:cubicBezTo>
                <a:cubicBezTo>
                  <a:pt x="15282" y="19250"/>
                  <a:pt x="15282" y="19250"/>
                  <a:pt x="15282" y="19250"/>
                </a:cubicBezTo>
                <a:cubicBezTo>
                  <a:pt x="15375" y="19344"/>
                  <a:pt x="15375" y="19438"/>
                  <a:pt x="15219" y="19438"/>
                </a:cubicBezTo>
                <a:cubicBezTo>
                  <a:pt x="15188" y="19438"/>
                  <a:pt x="15188" y="19469"/>
                  <a:pt x="15157" y="19500"/>
                </a:cubicBezTo>
                <a:cubicBezTo>
                  <a:pt x="15219" y="19500"/>
                  <a:pt x="15188" y="19594"/>
                  <a:pt x="15219" y="19625"/>
                </a:cubicBezTo>
                <a:close/>
                <a:moveTo>
                  <a:pt x="14688" y="21500"/>
                </a:moveTo>
                <a:cubicBezTo>
                  <a:pt x="14594" y="21406"/>
                  <a:pt x="14594" y="21344"/>
                  <a:pt x="14625" y="21250"/>
                </a:cubicBezTo>
                <a:cubicBezTo>
                  <a:pt x="14532" y="21219"/>
                  <a:pt x="14532" y="21125"/>
                  <a:pt x="14500" y="21094"/>
                </a:cubicBezTo>
                <a:cubicBezTo>
                  <a:pt x="14532" y="21125"/>
                  <a:pt x="14532" y="21219"/>
                  <a:pt x="14625" y="21250"/>
                </a:cubicBezTo>
                <a:cubicBezTo>
                  <a:pt x="14657" y="21250"/>
                  <a:pt x="14657" y="21313"/>
                  <a:pt x="14688" y="21344"/>
                </a:cubicBezTo>
                <a:cubicBezTo>
                  <a:pt x="14688" y="21375"/>
                  <a:pt x="14688" y="21406"/>
                  <a:pt x="14719" y="21406"/>
                </a:cubicBezTo>
                <a:cubicBezTo>
                  <a:pt x="14875" y="21438"/>
                  <a:pt x="14907" y="21594"/>
                  <a:pt x="15000" y="21688"/>
                </a:cubicBezTo>
                <a:cubicBezTo>
                  <a:pt x="14907" y="21719"/>
                  <a:pt x="14875" y="21625"/>
                  <a:pt x="14782" y="21656"/>
                </a:cubicBezTo>
                <a:cubicBezTo>
                  <a:pt x="14782" y="21656"/>
                  <a:pt x="14782" y="21656"/>
                  <a:pt x="14782" y="21656"/>
                </a:cubicBezTo>
                <a:cubicBezTo>
                  <a:pt x="14813" y="21563"/>
                  <a:pt x="14719" y="21531"/>
                  <a:pt x="14688" y="21500"/>
                </a:cubicBezTo>
                <a:close/>
                <a:moveTo>
                  <a:pt x="14407" y="20656"/>
                </a:moveTo>
                <a:cubicBezTo>
                  <a:pt x="14500" y="20688"/>
                  <a:pt x="14563" y="20688"/>
                  <a:pt x="14625" y="20594"/>
                </a:cubicBezTo>
                <a:cubicBezTo>
                  <a:pt x="14688" y="20656"/>
                  <a:pt x="14657" y="20719"/>
                  <a:pt x="14719" y="20781"/>
                </a:cubicBezTo>
                <a:cubicBezTo>
                  <a:pt x="14625" y="20688"/>
                  <a:pt x="14469" y="20813"/>
                  <a:pt x="14407" y="20656"/>
                </a:cubicBezTo>
                <a:close/>
                <a:moveTo>
                  <a:pt x="14469" y="21281"/>
                </a:moveTo>
                <a:cubicBezTo>
                  <a:pt x="14438" y="21250"/>
                  <a:pt x="14344" y="21344"/>
                  <a:pt x="14313" y="21250"/>
                </a:cubicBezTo>
                <a:cubicBezTo>
                  <a:pt x="14313" y="21250"/>
                  <a:pt x="14282" y="21188"/>
                  <a:pt x="14313" y="21188"/>
                </a:cubicBezTo>
                <a:cubicBezTo>
                  <a:pt x="14407" y="21156"/>
                  <a:pt x="14438" y="21219"/>
                  <a:pt x="14469" y="21281"/>
                </a:cubicBezTo>
                <a:close/>
                <a:moveTo>
                  <a:pt x="14594" y="19594"/>
                </a:moveTo>
                <a:cubicBezTo>
                  <a:pt x="14719" y="19594"/>
                  <a:pt x="14750" y="19719"/>
                  <a:pt x="14844" y="19781"/>
                </a:cubicBezTo>
                <a:cubicBezTo>
                  <a:pt x="14844" y="19781"/>
                  <a:pt x="14813" y="19781"/>
                  <a:pt x="14813" y="19781"/>
                </a:cubicBezTo>
                <a:cubicBezTo>
                  <a:pt x="14813" y="19781"/>
                  <a:pt x="14813" y="19781"/>
                  <a:pt x="14813" y="19781"/>
                </a:cubicBezTo>
                <a:cubicBezTo>
                  <a:pt x="14688" y="19844"/>
                  <a:pt x="14657" y="19719"/>
                  <a:pt x="14594" y="19594"/>
                </a:cubicBezTo>
                <a:close/>
                <a:moveTo>
                  <a:pt x="14938" y="19813"/>
                </a:moveTo>
                <a:cubicBezTo>
                  <a:pt x="14938" y="19813"/>
                  <a:pt x="14938" y="19813"/>
                  <a:pt x="14938" y="19813"/>
                </a:cubicBezTo>
                <a:cubicBezTo>
                  <a:pt x="14938" y="19813"/>
                  <a:pt x="14969" y="19813"/>
                  <a:pt x="14969" y="19781"/>
                </a:cubicBezTo>
                <a:cubicBezTo>
                  <a:pt x="14969" y="19781"/>
                  <a:pt x="14969" y="19781"/>
                  <a:pt x="14969" y="19781"/>
                </a:cubicBezTo>
                <a:cubicBezTo>
                  <a:pt x="15000" y="19781"/>
                  <a:pt x="15000" y="19781"/>
                  <a:pt x="15000" y="19781"/>
                </a:cubicBezTo>
                <a:cubicBezTo>
                  <a:pt x="15000" y="19781"/>
                  <a:pt x="15000" y="19781"/>
                  <a:pt x="14969" y="19781"/>
                </a:cubicBezTo>
                <a:cubicBezTo>
                  <a:pt x="14969" y="19781"/>
                  <a:pt x="14938" y="19750"/>
                  <a:pt x="14969" y="19719"/>
                </a:cubicBezTo>
                <a:cubicBezTo>
                  <a:pt x="15000" y="19719"/>
                  <a:pt x="15032" y="19750"/>
                  <a:pt x="15032" y="19750"/>
                </a:cubicBezTo>
                <a:cubicBezTo>
                  <a:pt x="15063" y="19781"/>
                  <a:pt x="15125" y="19781"/>
                  <a:pt x="15125" y="19844"/>
                </a:cubicBezTo>
                <a:cubicBezTo>
                  <a:pt x="15063" y="19875"/>
                  <a:pt x="14969" y="19938"/>
                  <a:pt x="14938" y="19813"/>
                </a:cubicBezTo>
                <a:close/>
                <a:moveTo>
                  <a:pt x="15094" y="16969"/>
                </a:moveTo>
                <a:cubicBezTo>
                  <a:pt x="15188" y="17000"/>
                  <a:pt x="15219" y="17031"/>
                  <a:pt x="15157" y="17125"/>
                </a:cubicBezTo>
                <a:cubicBezTo>
                  <a:pt x="15157" y="17125"/>
                  <a:pt x="15125" y="17156"/>
                  <a:pt x="15125" y="17156"/>
                </a:cubicBezTo>
                <a:cubicBezTo>
                  <a:pt x="15032" y="17094"/>
                  <a:pt x="15094" y="17031"/>
                  <a:pt x="15094" y="16969"/>
                </a:cubicBezTo>
                <a:close/>
                <a:moveTo>
                  <a:pt x="15219" y="16156"/>
                </a:moveTo>
                <a:cubicBezTo>
                  <a:pt x="15219" y="16063"/>
                  <a:pt x="15250" y="16031"/>
                  <a:pt x="15313" y="16031"/>
                </a:cubicBezTo>
                <a:cubicBezTo>
                  <a:pt x="15282" y="16219"/>
                  <a:pt x="15375" y="16375"/>
                  <a:pt x="15375" y="16594"/>
                </a:cubicBezTo>
                <a:cubicBezTo>
                  <a:pt x="15407" y="16844"/>
                  <a:pt x="15438" y="17125"/>
                  <a:pt x="15469" y="17375"/>
                </a:cubicBezTo>
                <a:cubicBezTo>
                  <a:pt x="15438" y="17438"/>
                  <a:pt x="15532" y="17531"/>
                  <a:pt x="15407" y="17563"/>
                </a:cubicBezTo>
                <a:cubicBezTo>
                  <a:pt x="15375" y="17250"/>
                  <a:pt x="15407" y="16938"/>
                  <a:pt x="15313" y="16625"/>
                </a:cubicBezTo>
                <a:cubicBezTo>
                  <a:pt x="15313" y="16594"/>
                  <a:pt x="15344" y="16531"/>
                  <a:pt x="15282" y="16563"/>
                </a:cubicBezTo>
                <a:cubicBezTo>
                  <a:pt x="15125" y="16625"/>
                  <a:pt x="15219" y="16500"/>
                  <a:pt x="15219" y="16469"/>
                </a:cubicBezTo>
                <a:cubicBezTo>
                  <a:pt x="15188" y="16375"/>
                  <a:pt x="15219" y="16250"/>
                  <a:pt x="15219" y="16156"/>
                </a:cubicBezTo>
                <a:close/>
                <a:moveTo>
                  <a:pt x="15375" y="15656"/>
                </a:moveTo>
                <a:cubicBezTo>
                  <a:pt x="15469" y="15813"/>
                  <a:pt x="15469" y="15938"/>
                  <a:pt x="15313" y="16031"/>
                </a:cubicBezTo>
                <a:cubicBezTo>
                  <a:pt x="15313" y="15906"/>
                  <a:pt x="15407" y="15813"/>
                  <a:pt x="15375" y="15656"/>
                </a:cubicBezTo>
                <a:close/>
                <a:moveTo>
                  <a:pt x="15500" y="21281"/>
                </a:moveTo>
                <a:cubicBezTo>
                  <a:pt x="15500" y="21250"/>
                  <a:pt x="15532" y="21219"/>
                  <a:pt x="15563" y="21250"/>
                </a:cubicBezTo>
                <a:cubicBezTo>
                  <a:pt x="15594" y="21281"/>
                  <a:pt x="15563" y="21313"/>
                  <a:pt x="15563" y="21313"/>
                </a:cubicBezTo>
                <a:cubicBezTo>
                  <a:pt x="15532" y="21375"/>
                  <a:pt x="15500" y="21406"/>
                  <a:pt x="15438" y="21406"/>
                </a:cubicBezTo>
                <a:cubicBezTo>
                  <a:pt x="15407" y="21344"/>
                  <a:pt x="15469" y="21313"/>
                  <a:pt x="15500" y="21281"/>
                </a:cubicBezTo>
                <a:close/>
                <a:moveTo>
                  <a:pt x="15594" y="20781"/>
                </a:moveTo>
                <a:cubicBezTo>
                  <a:pt x="15657" y="20750"/>
                  <a:pt x="15625" y="20656"/>
                  <a:pt x="15688" y="20688"/>
                </a:cubicBezTo>
                <a:cubicBezTo>
                  <a:pt x="15782" y="20719"/>
                  <a:pt x="15813" y="20813"/>
                  <a:pt x="15750" y="20938"/>
                </a:cubicBezTo>
                <a:cubicBezTo>
                  <a:pt x="15719" y="20844"/>
                  <a:pt x="15688" y="20781"/>
                  <a:pt x="15594" y="20781"/>
                </a:cubicBezTo>
                <a:close/>
                <a:moveTo>
                  <a:pt x="15782" y="10344"/>
                </a:moveTo>
                <a:cubicBezTo>
                  <a:pt x="15782" y="10344"/>
                  <a:pt x="15782" y="10344"/>
                  <a:pt x="15782" y="10344"/>
                </a:cubicBezTo>
                <a:cubicBezTo>
                  <a:pt x="15813" y="10344"/>
                  <a:pt x="15844" y="10313"/>
                  <a:pt x="15844" y="10313"/>
                </a:cubicBezTo>
                <a:cubicBezTo>
                  <a:pt x="15844" y="10313"/>
                  <a:pt x="15813" y="10344"/>
                  <a:pt x="15782" y="10344"/>
                </a:cubicBezTo>
                <a:close/>
                <a:moveTo>
                  <a:pt x="15875" y="14500"/>
                </a:moveTo>
                <a:cubicBezTo>
                  <a:pt x="15875" y="14500"/>
                  <a:pt x="15875" y="14500"/>
                  <a:pt x="15875" y="14500"/>
                </a:cubicBezTo>
                <a:cubicBezTo>
                  <a:pt x="15844" y="14500"/>
                  <a:pt x="15844" y="14500"/>
                  <a:pt x="15844" y="14531"/>
                </a:cubicBezTo>
                <a:cubicBezTo>
                  <a:pt x="15844" y="14500"/>
                  <a:pt x="15844" y="14500"/>
                  <a:pt x="15875" y="14500"/>
                </a:cubicBezTo>
                <a:close/>
                <a:moveTo>
                  <a:pt x="15938" y="14656"/>
                </a:moveTo>
                <a:cubicBezTo>
                  <a:pt x="15938" y="14656"/>
                  <a:pt x="15938" y="14656"/>
                  <a:pt x="15938" y="14625"/>
                </a:cubicBezTo>
                <a:cubicBezTo>
                  <a:pt x="15938" y="14656"/>
                  <a:pt x="15938" y="14656"/>
                  <a:pt x="15938" y="14656"/>
                </a:cubicBezTo>
                <a:cubicBezTo>
                  <a:pt x="15907" y="14719"/>
                  <a:pt x="15875" y="14781"/>
                  <a:pt x="15813" y="14844"/>
                </a:cubicBezTo>
                <a:cubicBezTo>
                  <a:pt x="15688" y="14781"/>
                  <a:pt x="15813" y="14719"/>
                  <a:pt x="15844" y="14688"/>
                </a:cubicBezTo>
                <a:cubicBezTo>
                  <a:pt x="15844" y="14594"/>
                  <a:pt x="15907" y="14625"/>
                  <a:pt x="15938" y="14656"/>
                </a:cubicBezTo>
                <a:close/>
                <a:moveTo>
                  <a:pt x="16063" y="15219"/>
                </a:moveTo>
                <a:cubicBezTo>
                  <a:pt x="16157" y="15281"/>
                  <a:pt x="16313" y="15281"/>
                  <a:pt x="16407" y="15344"/>
                </a:cubicBezTo>
                <a:cubicBezTo>
                  <a:pt x="16438" y="15344"/>
                  <a:pt x="16469" y="15344"/>
                  <a:pt x="16500" y="15375"/>
                </a:cubicBezTo>
                <a:cubicBezTo>
                  <a:pt x="16375" y="15438"/>
                  <a:pt x="16282" y="15375"/>
                  <a:pt x="16219" y="15375"/>
                </a:cubicBezTo>
                <a:cubicBezTo>
                  <a:pt x="16157" y="15375"/>
                  <a:pt x="16125" y="15344"/>
                  <a:pt x="16094" y="15344"/>
                </a:cubicBezTo>
                <a:cubicBezTo>
                  <a:pt x="16032" y="15375"/>
                  <a:pt x="15969" y="15344"/>
                  <a:pt x="15969" y="15281"/>
                </a:cubicBezTo>
                <a:cubicBezTo>
                  <a:pt x="15969" y="15219"/>
                  <a:pt x="15813" y="15188"/>
                  <a:pt x="15907" y="15125"/>
                </a:cubicBezTo>
                <a:cubicBezTo>
                  <a:pt x="16000" y="15063"/>
                  <a:pt x="16000" y="15188"/>
                  <a:pt x="16063" y="15219"/>
                </a:cubicBezTo>
                <a:close/>
                <a:moveTo>
                  <a:pt x="16032" y="14938"/>
                </a:moveTo>
                <a:cubicBezTo>
                  <a:pt x="16094" y="14938"/>
                  <a:pt x="16125" y="14969"/>
                  <a:pt x="16157" y="15031"/>
                </a:cubicBezTo>
                <a:cubicBezTo>
                  <a:pt x="16063" y="15031"/>
                  <a:pt x="16032" y="14969"/>
                  <a:pt x="16032" y="14938"/>
                </a:cubicBezTo>
                <a:close/>
                <a:moveTo>
                  <a:pt x="16688" y="15469"/>
                </a:moveTo>
                <a:cubicBezTo>
                  <a:pt x="16625" y="15531"/>
                  <a:pt x="16532" y="15531"/>
                  <a:pt x="16469" y="15469"/>
                </a:cubicBezTo>
                <a:cubicBezTo>
                  <a:pt x="16438" y="15469"/>
                  <a:pt x="16438" y="15438"/>
                  <a:pt x="16469" y="15438"/>
                </a:cubicBezTo>
                <a:cubicBezTo>
                  <a:pt x="16563" y="15406"/>
                  <a:pt x="16625" y="15438"/>
                  <a:pt x="16688" y="15469"/>
                </a:cubicBezTo>
                <a:close/>
                <a:moveTo>
                  <a:pt x="15969" y="14531"/>
                </a:moveTo>
                <a:cubicBezTo>
                  <a:pt x="15969" y="14531"/>
                  <a:pt x="15969" y="14563"/>
                  <a:pt x="15938" y="14594"/>
                </a:cubicBezTo>
                <a:cubicBezTo>
                  <a:pt x="15969" y="14500"/>
                  <a:pt x="15907" y="14500"/>
                  <a:pt x="15875" y="14500"/>
                </a:cubicBezTo>
                <a:cubicBezTo>
                  <a:pt x="15907" y="14500"/>
                  <a:pt x="15938" y="14500"/>
                  <a:pt x="15969" y="14531"/>
                </a:cubicBezTo>
                <a:cubicBezTo>
                  <a:pt x="16000" y="14500"/>
                  <a:pt x="16000" y="14469"/>
                  <a:pt x="16000" y="14469"/>
                </a:cubicBezTo>
                <a:cubicBezTo>
                  <a:pt x="16000" y="14469"/>
                  <a:pt x="16000" y="14500"/>
                  <a:pt x="15969" y="14531"/>
                </a:cubicBezTo>
                <a:close/>
                <a:moveTo>
                  <a:pt x="17094" y="15750"/>
                </a:moveTo>
                <a:cubicBezTo>
                  <a:pt x="17094" y="15781"/>
                  <a:pt x="17063" y="15844"/>
                  <a:pt x="17032" y="15844"/>
                </a:cubicBezTo>
                <a:cubicBezTo>
                  <a:pt x="16969" y="15844"/>
                  <a:pt x="16938" y="15781"/>
                  <a:pt x="16938" y="15781"/>
                </a:cubicBezTo>
                <a:cubicBezTo>
                  <a:pt x="16969" y="15719"/>
                  <a:pt x="17000" y="15688"/>
                  <a:pt x="17032" y="15688"/>
                </a:cubicBezTo>
                <a:cubicBezTo>
                  <a:pt x="17094" y="15656"/>
                  <a:pt x="17063" y="15719"/>
                  <a:pt x="17094" y="15750"/>
                </a:cubicBezTo>
                <a:close/>
                <a:moveTo>
                  <a:pt x="17250" y="18875"/>
                </a:moveTo>
                <a:cubicBezTo>
                  <a:pt x="17250" y="18875"/>
                  <a:pt x="17282" y="18875"/>
                  <a:pt x="17282" y="18875"/>
                </a:cubicBezTo>
                <a:cubicBezTo>
                  <a:pt x="17282" y="18875"/>
                  <a:pt x="17282" y="18875"/>
                  <a:pt x="17282" y="18875"/>
                </a:cubicBezTo>
                <a:cubicBezTo>
                  <a:pt x="17313" y="18969"/>
                  <a:pt x="17375" y="19031"/>
                  <a:pt x="17438" y="19094"/>
                </a:cubicBezTo>
                <a:cubicBezTo>
                  <a:pt x="17438" y="19094"/>
                  <a:pt x="17438" y="19125"/>
                  <a:pt x="17438" y="19125"/>
                </a:cubicBezTo>
                <a:cubicBezTo>
                  <a:pt x="17469" y="19125"/>
                  <a:pt x="17500" y="19125"/>
                  <a:pt x="17532" y="19156"/>
                </a:cubicBezTo>
                <a:cubicBezTo>
                  <a:pt x="17500" y="19125"/>
                  <a:pt x="17469" y="19125"/>
                  <a:pt x="17438" y="19125"/>
                </a:cubicBezTo>
                <a:cubicBezTo>
                  <a:pt x="17407" y="19188"/>
                  <a:pt x="17313" y="19156"/>
                  <a:pt x="17313" y="19125"/>
                </a:cubicBezTo>
                <a:cubicBezTo>
                  <a:pt x="17250" y="19031"/>
                  <a:pt x="17157" y="19000"/>
                  <a:pt x="17094" y="18906"/>
                </a:cubicBezTo>
                <a:cubicBezTo>
                  <a:pt x="17032" y="18813"/>
                  <a:pt x="17063" y="18750"/>
                  <a:pt x="17157" y="18719"/>
                </a:cubicBezTo>
                <a:cubicBezTo>
                  <a:pt x="17219" y="18719"/>
                  <a:pt x="17219" y="18719"/>
                  <a:pt x="17188" y="18625"/>
                </a:cubicBezTo>
                <a:cubicBezTo>
                  <a:pt x="17188" y="18625"/>
                  <a:pt x="17188" y="18625"/>
                  <a:pt x="17188" y="18625"/>
                </a:cubicBezTo>
                <a:cubicBezTo>
                  <a:pt x="17188" y="18625"/>
                  <a:pt x="17219" y="18594"/>
                  <a:pt x="17219" y="18563"/>
                </a:cubicBezTo>
                <a:cubicBezTo>
                  <a:pt x="17250" y="18563"/>
                  <a:pt x="17282" y="18594"/>
                  <a:pt x="17282" y="18594"/>
                </a:cubicBezTo>
                <a:cubicBezTo>
                  <a:pt x="17313" y="18625"/>
                  <a:pt x="17282" y="18688"/>
                  <a:pt x="17313" y="18750"/>
                </a:cubicBezTo>
                <a:cubicBezTo>
                  <a:pt x="17344" y="18781"/>
                  <a:pt x="17344" y="18781"/>
                  <a:pt x="17250" y="18781"/>
                </a:cubicBezTo>
                <a:cubicBezTo>
                  <a:pt x="17250" y="18750"/>
                  <a:pt x="17219" y="18750"/>
                  <a:pt x="17219" y="18750"/>
                </a:cubicBezTo>
                <a:cubicBezTo>
                  <a:pt x="17188" y="18813"/>
                  <a:pt x="17188" y="18844"/>
                  <a:pt x="17250" y="18875"/>
                </a:cubicBezTo>
                <a:close/>
                <a:moveTo>
                  <a:pt x="17532" y="20000"/>
                </a:moveTo>
                <a:cubicBezTo>
                  <a:pt x="17532" y="20000"/>
                  <a:pt x="17563" y="20000"/>
                  <a:pt x="17563" y="20000"/>
                </a:cubicBezTo>
                <a:cubicBezTo>
                  <a:pt x="17625" y="20063"/>
                  <a:pt x="17719" y="20094"/>
                  <a:pt x="17657" y="20188"/>
                </a:cubicBezTo>
                <a:cubicBezTo>
                  <a:pt x="17657" y="20188"/>
                  <a:pt x="17657" y="20188"/>
                  <a:pt x="17657" y="20188"/>
                </a:cubicBezTo>
                <a:cubicBezTo>
                  <a:pt x="17657" y="20188"/>
                  <a:pt x="17657" y="20188"/>
                  <a:pt x="17657" y="20188"/>
                </a:cubicBezTo>
                <a:cubicBezTo>
                  <a:pt x="17625" y="20188"/>
                  <a:pt x="17625" y="20219"/>
                  <a:pt x="17625" y="20250"/>
                </a:cubicBezTo>
                <a:cubicBezTo>
                  <a:pt x="17625" y="20281"/>
                  <a:pt x="17625" y="20313"/>
                  <a:pt x="17594" y="20313"/>
                </a:cubicBezTo>
                <a:cubicBezTo>
                  <a:pt x="17532" y="20313"/>
                  <a:pt x="17532" y="20281"/>
                  <a:pt x="17500" y="20250"/>
                </a:cubicBezTo>
                <a:cubicBezTo>
                  <a:pt x="17469" y="20188"/>
                  <a:pt x="17532" y="20094"/>
                  <a:pt x="17532" y="20000"/>
                </a:cubicBezTo>
                <a:close/>
                <a:moveTo>
                  <a:pt x="17813" y="20844"/>
                </a:moveTo>
                <a:cubicBezTo>
                  <a:pt x="17750" y="20906"/>
                  <a:pt x="17719" y="20844"/>
                  <a:pt x="17657" y="20813"/>
                </a:cubicBezTo>
                <a:cubicBezTo>
                  <a:pt x="17625" y="20781"/>
                  <a:pt x="17625" y="20750"/>
                  <a:pt x="17657" y="20719"/>
                </a:cubicBezTo>
                <a:cubicBezTo>
                  <a:pt x="17657" y="20719"/>
                  <a:pt x="17688" y="20688"/>
                  <a:pt x="17719" y="20719"/>
                </a:cubicBezTo>
                <a:cubicBezTo>
                  <a:pt x="17813" y="20781"/>
                  <a:pt x="17969" y="20781"/>
                  <a:pt x="18032" y="20969"/>
                </a:cubicBezTo>
                <a:cubicBezTo>
                  <a:pt x="17938" y="20938"/>
                  <a:pt x="17875" y="21000"/>
                  <a:pt x="17875" y="20875"/>
                </a:cubicBezTo>
                <a:cubicBezTo>
                  <a:pt x="17875" y="20844"/>
                  <a:pt x="17844" y="20844"/>
                  <a:pt x="17813" y="20844"/>
                </a:cubicBezTo>
                <a:close/>
                <a:moveTo>
                  <a:pt x="17938" y="20656"/>
                </a:moveTo>
                <a:cubicBezTo>
                  <a:pt x="17938" y="20688"/>
                  <a:pt x="17907" y="20688"/>
                  <a:pt x="17907" y="20688"/>
                </a:cubicBezTo>
                <a:cubicBezTo>
                  <a:pt x="17813" y="20656"/>
                  <a:pt x="17719" y="20656"/>
                  <a:pt x="17657" y="20625"/>
                </a:cubicBezTo>
                <a:cubicBezTo>
                  <a:pt x="17594" y="20594"/>
                  <a:pt x="17657" y="20563"/>
                  <a:pt x="17657" y="20531"/>
                </a:cubicBezTo>
                <a:cubicBezTo>
                  <a:pt x="17657" y="20531"/>
                  <a:pt x="17657" y="20531"/>
                  <a:pt x="17657" y="20531"/>
                </a:cubicBezTo>
                <a:cubicBezTo>
                  <a:pt x="17750" y="20469"/>
                  <a:pt x="17844" y="20594"/>
                  <a:pt x="17938" y="20594"/>
                </a:cubicBezTo>
                <a:cubicBezTo>
                  <a:pt x="17969" y="20594"/>
                  <a:pt x="17969" y="20625"/>
                  <a:pt x="17938" y="20656"/>
                </a:cubicBezTo>
                <a:close/>
                <a:moveTo>
                  <a:pt x="17594" y="20875"/>
                </a:moveTo>
                <a:cubicBezTo>
                  <a:pt x="17625" y="20938"/>
                  <a:pt x="17719" y="21000"/>
                  <a:pt x="17625" y="21031"/>
                </a:cubicBezTo>
                <a:cubicBezTo>
                  <a:pt x="17563" y="21031"/>
                  <a:pt x="17532" y="20938"/>
                  <a:pt x="17469" y="20938"/>
                </a:cubicBezTo>
                <a:cubicBezTo>
                  <a:pt x="17469" y="20906"/>
                  <a:pt x="17469" y="20875"/>
                  <a:pt x="17469" y="20844"/>
                </a:cubicBezTo>
                <a:cubicBezTo>
                  <a:pt x="17532" y="20844"/>
                  <a:pt x="17594" y="20813"/>
                  <a:pt x="17594" y="20875"/>
                </a:cubicBezTo>
                <a:close/>
                <a:moveTo>
                  <a:pt x="17375" y="21031"/>
                </a:moveTo>
                <a:cubicBezTo>
                  <a:pt x="17438" y="21063"/>
                  <a:pt x="17532" y="21156"/>
                  <a:pt x="17625" y="21125"/>
                </a:cubicBezTo>
                <a:cubicBezTo>
                  <a:pt x="17625" y="21188"/>
                  <a:pt x="17625" y="21250"/>
                  <a:pt x="17563" y="21313"/>
                </a:cubicBezTo>
                <a:cubicBezTo>
                  <a:pt x="17500" y="21313"/>
                  <a:pt x="17438" y="21250"/>
                  <a:pt x="17375" y="21281"/>
                </a:cubicBezTo>
                <a:cubicBezTo>
                  <a:pt x="17469" y="21188"/>
                  <a:pt x="17344" y="21125"/>
                  <a:pt x="17375" y="21031"/>
                </a:cubicBezTo>
                <a:close/>
                <a:moveTo>
                  <a:pt x="17407" y="20938"/>
                </a:moveTo>
                <a:cubicBezTo>
                  <a:pt x="17407" y="20938"/>
                  <a:pt x="17407" y="20969"/>
                  <a:pt x="17407" y="20969"/>
                </a:cubicBezTo>
                <a:cubicBezTo>
                  <a:pt x="17407" y="20969"/>
                  <a:pt x="17407" y="20938"/>
                  <a:pt x="17407" y="20938"/>
                </a:cubicBezTo>
                <a:close/>
                <a:moveTo>
                  <a:pt x="17282" y="19688"/>
                </a:moveTo>
                <a:cubicBezTo>
                  <a:pt x="17219" y="19625"/>
                  <a:pt x="17125" y="19594"/>
                  <a:pt x="17250" y="19500"/>
                </a:cubicBezTo>
                <a:cubicBezTo>
                  <a:pt x="17282" y="19500"/>
                  <a:pt x="17282" y="19469"/>
                  <a:pt x="17282" y="19469"/>
                </a:cubicBezTo>
                <a:cubicBezTo>
                  <a:pt x="17219" y="19281"/>
                  <a:pt x="17344" y="19344"/>
                  <a:pt x="17469" y="19344"/>
                </a:cubicBezTo>
                <a:cubicBezTo>
                  <a:pt x="17282" y="19406"/>
                  <a:pt x="17438" y="19500"/>
                  <a:pt x="17407" y="19594"/>
                </a:cubicBezTo>
                <a:cubicBezTo>
                  <a:pt x="17407" y="19594"/>
                  <a:pt x="17469" y="19625"/>
                  <a:pt x="17438" y="19625"/>
                </a:cubicBezTo>
                <a:cubicBezTo>
                  <a:pt x="17407" y="19656"/>
                  <a:pt x="17375" y="19656"/>
                  <a:pt x="17375" y="19625"/>
                </a:cubicBezTo>
                <a:cubicBezTo>
                  <a:pt x="17282" y="19531"/>
                  <a:pt x="17313" y="19656"/>
                  <a:pt x="17282" y="19688"/>
                </a:cubicBezTo>
                <a:cubicBezTo>
                  <a:pt x="17375" y="19656"/>
                  <a:pt x="17375" y="19750"/>
                  <a:pt x="17438" y="19750"/>
                </a:cubicBezTo>
                <a:cubicBezTo>
                  <a:pt x="17407" y="19813"/>
                  <a:pt x="17500" y="19844"/>
                  <a:pt x="17469" y="19906"/>
                </a:cubicBezTo>
                <a:cubicBezTo>
                  <a:pt x="17438" y="19938"/>
                  <a:pt x="17407" y="19938"/>
                  <a:pt x="17407" y="19938"/>
                </a:cubicBezTo>
                <a:cubicBezTo>
                  <a:pt x="17344" y="19875"/>
                  <a:pt x="17250" y="19875"/>
                  <a:pt x="17219" y="19813"/>
                </a:cubicBezTo>
                <a:cubicBezTo>
                  <a:pt x="17219" y="19781"/>
                  <a:pt x="17313" y="19750"/>
                  <a:pt x="17282" y="19688"/>
                </a:cubicBezTo>
                <a:close/>
                <a:moveTo>
                  <a:pt x="17125" y="19063"/>
                </a:moveTo>
                <a:cubicBezTo>
                  <a:pt x="17219" y="19063"/>
                  <a:pt x="17188" y="19125"/>
                  <a:pt x="17157" y="19156"/>
                </a:cubicBezTo>
                <a:cubicBezTo>
                  <a:pt x="17157" y="19188"/>
                  <a:pt x="17250" y="19219"/>
                  <a:pt x="17157" y="19250"/>
                </a:cubicBezTo>
                <a:cubicBezTo>
                  <a:pt x="17094" y="19250"/>
                  <a:pt x="17063" y="19219"/>
                  <a:pt x="17094" y="19156"/>
                </a:cubicBezTo>
                <a:cubicBezTo>
                  <a:pt x="17094" y="19125"/>
                  <a:pt x="17063" y="19063"/>
                  <a:pt x="17125" y="19063"/>
                </a:cubicBezTo>
                <a:close/>
                <a:moveTo>
                  <a:pt x="17094" y="18625"/>
                </a:moveTo>
                <a:cubicBezTo>
                  <a:pt x="17094" y="18625"/>
                  <a:pt x="17094" y="18625"/>
                  <a:pt x="17094" y="18625"/>
                </a:cubicBezTo>
                <a:cubicBezTo>
                  <a:pt x="17094" y="18625"/>
                  <a:pt x="17094" y="18625"/>
                  <a:pt x="17094" y="18625"/>
                </a:cubicBezTo>
                <a:close/>
                <a:moveTo>
                  <a:pt x="17188" y="16563"/>
                </a:moveTo>
                <a:cubicBezTo>
                  <a:pt x="17157" y="16656"/>
                  <a:pt x="17094" y="16688"/>
                  <a:pt x="17032" y="16719"/>
                </a:cubicBezTo>
                <a:cubicBezTo>
                  <a:pt x="17000" y="16750"/>
                  <a:pt x="17000" y="16688"/>
                  <a:pt x="17000" y="16656"/>
                </a:cubicBezTo>
                <a:cubicBezTo>
                  <a:pt x="17000" y="16594"/>
                  <a:pt x="17063" y="16563"/>
                  <a:pt x="17125" y="16531"/>
                </a:cubicBezTo>
                <a:cubicBezTo>
                  <a:pt x="17188" y="16531"/>
                  <a:pt x="17188" y="16531"/>
                  <a:pt x="17188" y="16563"/>
                </a:cubicBezTo>
                <a:close/>
                <a:moveTo>
                  <a:pt x="17000" y="19688"/>
                </a:moveTo>
                <a:cubicBezTo>
                  <a:pt x="17000" y="19750"/>
                  <a:pt x="17000" y="19813"/>
                  <a:pt x="17000" y="19875"/>
                </a:cubicBezTo>
                <a:cubicBezTo>
                  <a:pt x="17000" y="19875"/>
                  <a:pt x="17000" y="19875"/>
                  <a:pt x="17000" y="19875"/>
                </a:cubicBezTo>
                <a:cubicBezTo>
                  <a:pt x="17000" y="19813"/>
                  <a:pt x="17000" y="19750"/>
                  <a:pt x="17000" y="19688"/>
                </a:cubicBezTo>
                <a:close/>
                <a:moveTo>
                  <a:pt x="17219" y="23781"/>
                </a:moveTo>
                <a:cubicBezTo>
                  <a:pt x="17219" y="23813"/>
                  <a:pt x="17219" y="23813"/>
                  <a:pt x="17219" y="23813"/>
                </a:cubicBezTo>
                <a:cubicBezTo>
                  <a:pt x="17219" y="23813"/>
                  <a:pt x="17219" y="23813"/>
                  <a:pt x="17219" y="23781"/>
                </a:cubicBezTo>
                <a:cubicBezTo>
                  <a:pt x="17219" y="23781"/>
                  <a:pt x="17219" y="23781"/>
                  <a:pt x="17219" y="23781"/>
                </a:cubicBezTo>
                <a:cubicBezTo>
                  <a:pt x="17250" y="23781"/>
                  <a:pt x="17250" y="23688"/>
                  <a:pt x="17313" y="23750"/>
                </a:cubicBezTo>
                <a:cubicBezTo>
                  <a:pt x="17313" y="23813"/>
                  <a:pt x="17375" y="23844"/>
                  <a:pt x="17344" y="23906"/>
                </a:cubicBezTo>
                <a:cubicBezTo>
                  <a:pt x="17344" y="23938"/>
                  <a:pt x="17313" y="23906"/>
                  <a:pt x="17282" y="23906"/>
                </a:cubicBezTo>
                <a:cubicBezTo>
                  <a:pt x="17282" y="23875"/>
                  <a:pt x="17282" y="23875"/>
                  <a:pt x="17250" y="23844"/>
                </a:cubicBezTo>
                <a:cubicBezTo>
                  <a:pt x="17250" y="23813"/>
                  <a:pt x="17250" y="23781"/>
                  <a:pt x="17219" y="23781"/>
                </a:cubicBezTo>
                <a:close/>
                <a:moveTo>
                  <a:pt x="17375" y="23969"/>
                </a:moveTo>
                <a:cubicBezTo>
                  <a:pt x="17375" y="23969"/>
                  <a:pt x="17344" y="23969"/>
                  <a:pt x="17313" y="23938"/>
                </a:cubicBezTo>
                <a:cubicBezTo>
                  <a:pt x="17344" y="23969"/>
                  <a:pt x="17375" y="23969"/>
                  <a:pt x="17375" y="23969"/>
                </a:cubicBezTo>
                <a:close/>
                <a:moveTo>
                  <a:pt x="17219" y="22594"/>
                </a:moveTo>
                <a:cubicBezTo>
                  <a:pt x="17219" y="22594"/>
                  <a:pt x="17219" y="22594"/>
                  <a:pt x="17219" y="22594"/>
                </a:cubicBezTo>
                <a:cubicBezTo>
                  <a:pt x="17219" y="22563"/>
                  <a:pt x="17188" y="22563"/>
                  <a:pt x="17188" y="22563"/>
                </a:cubicBezTo>
                <a:cubicBezTo>
                  <a:pt x="17125" y="22594"/>
                  <a:pt x="17094" y="22594"/>
                  <a:pt x="17063" y="22594"/>
                </a:cubicBezTo>
                <a:cubicBezTo>
                  <a:pt x="17094" y="22594"/>
                  <a:pt x="17125" y="22594"/>
                  <a:pt x="17188" y="22563"/>
                </a:cubicBezTo>
                <a:cubicBezTo>
                  <a:pt x="17157" y="22531"/>
                  <a:pt x="17125" y="22563"/>
                  <a:pt x="17094" y="22531"/>
                </a:cubicBezTo>
                <a:cubicBezTo>
                  <a:pt x="17094" y="22531"/>
                  <a:pt x="17094" y="22531"/>
                  <a:pt x="17094" y="22531"/>
                </a:cubicBezTo>
                <a:cubicBezTo>
                  <a:pt x="17125" y="22531"/>
                  <a:pt x="17125" y="22500"/>
                  <a:pt x="17125" y="22469"/>
                </a:cubicBezTo>
                <a:cubicBezTo>
                  <a:pt x="17157" y="22469"/>
                  <a:pt x="17157" y="22469"/>
                  <a:pt x="17157" y="22469"/>
                </a:cubicBezTo>
                <a:cubicBezTo>
                  <a:pt x="17157" y="22438"/>
                  <a:pt x="17188" y="22406"/>
                  <a:pt x="17219" y="22406"/>
                </a:cubicBezTo>
                <a:cubicBezTo>
                  <a:pt x="17188" y="22406"/>
                  <a:pt x="17157" y="22438"/>
                  <a:pt x="17157" y="22469"/>
                </a:cubicBezTo>
                <a:cubicBezTo>
                  <a:pt x="17219" y="22469"/>
                  <a:pt x="17282" y="22469"/>
                  <a:pt x="17344" y="22469"/>
                </a:cubicBezTo>
                <a:cubicBezTo>
                  <a:pt x="17344" y="22438"/>
                  <a:pt x="17344" y="22438"/>
                  <a:pt x="17344" y="22438"/>
                </a:cubicBezTo>
                <a:cubicBezTo>
                  <a:pt x="17344" y="22438"/>
                  <a:pt x="17344" y="22438"/>
                  <a:pt x="17344" y="22469"/>
                </a:cubicBezTo>
                <a:cubicBezTo>
                  <a:pt x="17438" y="22500"/>
                  <a:pt x="17594" y="22469"/>
                  <a:pt x="17625" y="22625"/>
                </a:cubicBezTo>
                <a:cubicBezTo>
                  <a:pt x="17625" y="22656"/>
                  <a:pt x="17625" y="22688"/>
                  <a:pt x="17594" y="22688"/>
                </a:cubicBezTo>
                <a:cubicBezTo>
                  <a:pt x="17594" y="22688"/>
                  <a:pt x="17563" y="22688"/>
                  <a:pt x="17563" y="22656"/>
                </a:cubicBezTo>
                <a:cubicBezTo>
                  <a:pt x="17469" y="22469"/>
                  <a:pt x="17344" y="22531"/>
                  <a:pt x="17219" y="22594"/>
                </a:cubicBezTo>
                <a:close/>
                <a:moveTo>
                  <a:pt x="17219" y="22406"/>
                </a:moveTo>
                <a:cubicBezTo>
                  <a:pt x="17219" y="22375"/>
                  <a:pt x="17250" y="22375"/>
                  <a:pt x="17250" y="22375"/>
                </a:cubicBezTo>
                <a:cubicBezTo>
                  <a:pt x="17250" y="22375"/>
                  <a:pt x="17219" y="22375"/>
                  <a:pt x="17219" y="22406"/>
                </a:cubicBezTo>
                <a:close/>
                <a:moveTo>
                  <a:pt x="17032" y="31563"/>
                </a:moveTo>
                <a:cubicBezTo>
                  <a:pt x="17000" y="31531"/>
                  <a:pt x="16969" y="31500"/>
                  <a:pt x="16969" y="31469"/>
                </a:cubicBezTo>
                <a:cubicBezTo>
                  <a:pt x="16969" y="31500"/>
                  <a:pt x="17000" y="31531"/>
                  <a:pt x="17032" y="31563"/>
                </a:cubicBezTo>
                <a:close/>
                <a:moveTo>
                  <a:pt x="16844" y="21688"/>
                </a:moveTo>
                <a:cubicBezTo>
                  <a:pt x="16875" y="21688"/>
                  <a:pt x="16844" y="21719"/>
                  <a:pt x="16813" y="21719"/>
                </a:cubicBezTo>
                <a:cubicBezTo>
                  <a:pt x="16750" y="21688"/>
                  <a:pt x="16657" y="21688"/>
                  <a:pt x="16625" y="21594"/>
                </a:cubicBezTo>
                <a:cubicBezTo>
                  <a:pt x="16625" y="21531"/>
                  <a:pt x="16719" y="21563"/>
                  <a:pt x="16782" y="21563"/>
                </a:cubicBezTo>
                <a:cubicBezTo>
                  <a:pt x="16875" y="21531"/>
                  <a:pt x="16813" y="21625"/>
                  <a:pt x="16844" y="21688"/>
                </a:cubicBezTo>
                <a:close/>
                <a:moveTo>
                  <a:pt x="16688" y="22875"/>
                </a:moveTo>
                <a:cubicBezTo>
                  <a:pt x="16750" y="22906"/>
                  <a:pt x="16844" y="22844"/>
                  <a:pt x="16907" y="22906"/>
                </a:cubicBezTo>
                <a:cubicBezTo>
                  <a:pt x="16907" y="22906"/>
                  <a:pt x="16907" y="22906"/>
                  <a:pt x="16907" y="22938"/>
                </a:cubicBezTo>
                <a:cubicBezTo>
                  <a:pt x="16813" y="22969"/>
                  <a:pt x="16750" y="22969"/>
                  <a:pt x="16688" y="22906"/>
                </a:cubicBezTo>
                <a:cubicBezTo>
                  <a:pt x="16657" y="22906"/>
                  <a:pt x="16688" y="22875"/>
                  <a:pt x="16688" y="22875"/>
                </a:cubicBezTo>
                <a:close/>
                <a:moveTo>
                  <a:pt x="16500" y="22750"/>
                </a:moveTo>
                <a:cubicBezTo>
                  <a:pt x="16500" y="22750"/>
                  <a:pt x="16469" y="22750"/>
                  <a:pt x="16469" y="22750"/>
                </a:cubicBezTo>
                <a:cubicBezTo>
                  <a:pt x="16469" y="22750"/>
                  <a:pt x="16500" y="22750"/>
                  <a:pt x="16500" y="22750"/>
                </a:cubicBezTo>
                <a:close/>
                <a:moveTo>
                  <a:pt x="16407" y="21406"/>
                </a:moveTo>
                <a:cubicBezTo>
                  <a:pt x="16407" y="21406"/>
                  <a:pt x="16407" y="21406"/>
                  <a:pt x="16407" y="21406"/>
                </a:cubicBezTo>
                <a:cubicBezTo>
                  <a:pt x="16407" y="21406"/>
                  <a:pt x="16375" y="21406"/>
                  <a:pt x="16375" y="21375"/>
                </a:cubicBezTo>
                <a:cubicBezTo>
                  <a:pt x="16375" y="21406"/>
                  <a:pt x="16407" y="21406"/>
                  <a:pt x="16407" y="21406"/>
                </a:cubicBezTo>
                <a:close/>
                <a:moveTo>
                  <a:pt x="16375" y="22719"/>
                </a:moveTo>
                <a:cubicBezTo>
                  <a:pt x="16375" y="22719"/>
                  <a:pt x="16375" y="22719"/>
                  <a:pt x="16375" y="22719"/>
                </a:cubicBezTo>
                <a:cubicBezTo>
                  <a:pt x="16407" y="22750"/>
                  <a:pt x="16375" y="22813"/>
                  <a:pt x="16438" y="22813"/>
                </a:cubicBezTo>
                <a:cubicBezTo>
                  <a:pt x="16375" y="22844"/>
                  <a:pt x="16438" y="22938"/>
                  <a:pt x="16344" y="22938"/>
                </a:cubicBezTo>
                <a:cubicBezTo>
                  <a:pt x="16313" y="22938"/>
                  <a:pt x="16250" y="22906"/>
                  <a:pt x="16282" y="22875"/>
                </a:cubicBezTo>
                <a:cubicBezTo>
                  <a:pt x="16313" y="22844"/>
                  <a:pt x="16344" y="22844"/>
                  <a:pt x="16344" y="22813"/>
                </a:cubicBezTo>
                <a:cubicBezTo>
                  <a:pt x="16344" y="22781"/>
                  <a:pt x="16282" y="22781"/>
                  <a:pt x="16250" y="22781"/>
                </a:cubicBezTo>
                <a:cubicBezTo>
                  <a:pt x="16250" y="22750"/>
                  <a:pt x="16250" y="22719"/>
                  <a:pt x="16250" y="22719"/>
                </a:cubicBezTo>
                <a:cubicBezTo>
                  <a:pt x="16282" y="22688"/>
                  <a:pt x="16313" y="22688"/>
                  <a:pt x="16344" y="22688"/>
                </a:cubicBezTo>
                <a:cubicBezTo>
                  <a:pt x="16313" y="22688"/>
                  <a:pt x="16282" y="22656"/>
                  <a:pt x="16282" y="22688"/>
                </a:cubicBezTo>
                <a:cubicBezTo>
                  <a:pt x="16282" y="22656"/>
                  <a:pt x="16313" y="22688"/>
                  <a:pt x="16344" y="22688"/>
                </a:cubicBezTo>
                <a:cubicBezTo>
                  <a:pt x="16344" y="22688"/>
                  <a:pt x="16375" y="22719"/>
                  <a:pt x="16375" y="22719"/>
                </a:cubicBezTo>
                <a:close/>
                <a:moveTo>
                  <a:pt x="16438" y="30813"/>
                </a:moveTo>
                <a:cubicBezTo>
                  <a:pt x="16438" y="30813"/>
                  <a:pt x="16438" y="30813"/>
                  <a:pt x="16438" y="30813"/>
                </a:cubicBezTo>
                <a:cubicBezTo>
                  <a:pt x="16563" y="30906"/>
                  <a:pt x="16657" y="30969"/>
                  <a:pt x="16750" y="31094"/>
                </a:cubicBezTo>
                <a:cubicBezTo>
                  <a:pt x="16657" y="30969"/>
                  <a:pt x="16563" y="30906"/>
                  <a:pt x="16438" y="30813"/>
                </a:cubicBezTo>
                <a:close/>
                <a:moveTo>
                  <a:pt x="16594" y="31094"/>
                </a:moveTo>
                <a:cubicBezTo>
                  <a:pt x="16594" y="31063"/>
                  <a:pt x="16625" y="31031"/>
                  <a:pt x="16657" y="31031"/>
                </a:cubicBezTo>
                <a:cubicBezTo>
                  <a:pt x="16688" y="31094"/>
                  <a:pt x="16625" y="31094"/>
                  <a:pt x="16625" y="31125"/>
                </a:cubicBezTo>
                <a:cubicBezTo>
                  <a:pt x="16625" y="31156"/>
                  <a:pt x="16657" y="31219"/>
                  <a:pt x="16625" y="31250"/>
                </a:cubicBezTo>
                <a:cubicBezTo>
                  <a:pt x="16594" y="31250"/>
                  <a:pt x="16594" y="31250"/>
                  <a:pt x="16594" y="31219"/>
                </a:cubicBezTo>
                <a:cubicBezTo>
                  <a:pt x="16563" y="31188"/>
                  <a:pt x="16563" y="31125"/>
                  <a:pt x="16594" y="31094"/>
                </a:cubicBezTo>
                <a:close/>
                <a:moveTo>
                  <a:pt x="16688" y="31344"/>
                </a:moveTo>
                <a:cubicBezTo>
                  <a:pt x="16719" y="31344"/>
                  <a:pt x="16719" y="31281"/>
                  <a:pt x="16719" y="31250"/>
                </a:cubicBezTo>
                <a:cubicBezTo>
                  <a:pt x="16719" y="31188"/>
                  <a:pt x="16782" y="31219"/>
                  <a:pt x="16813" y="31219"/>
                </a:cubicBezTo>
                <a:cubicBezTo>
                  <a:pt x="16813" y="31250"/>
                  <a:pt x="16813" y="31281"/>
                  <a:pt x="16813" y="31313"/>
                </a:cubicBezTo>
                <a:cubicBezTo>
                  <a:pt x="16813" y="31344"/>
                  <a:pt x="16782" y="31375"/>
                  <a:pt x="16813" y="31406"/>
                </a:cubicBezTo>
                <a:cubicBezTo>
                  <a:pt x="16813" y="31500"/>
                  <a:pt x="16750" y="31531"/>
                  <a:pt x="16719" y="31563"/>
                </a:cubicBezTo>
                <a:cubicBezTo>
                  <a:pt x="16625" y="31563"/>
                  <a:pt x="16657" y="31469"/>
                  <a:pt x="16625" y="31406"/>
                </a:cubicBezTo>
                <a:cubicBezTo>
                  <a:pt x="16594" y="31344"/>
                  <a:pt x="16625" y="31344"/>
                  <a:pt x="16688" y="31344"/>
                </a:cubicBezTo>
                <a:close/>
                <a:moveTo>
                  <a:pt x="17000" y="31656"/>
                </a:moveTo>
                <a:cubicBezTo>
                  <a:pt x="17000" y="31625"/>
                  <a:pt x="17032" y="31625"/>
                  <a:pt x="17063" y="31625"/>
                </a:cubicBezTo>
                <a:cubicBezTo>
                  <a:pt x="17063" y="31656"/>
                  <a:pt x="17063" y="31656"/>
                  <a:pt x="17094" y="31688"/>
                </a:cubicBezTo>
                <a:cubicBezTo>
                  <a:pt x="17063" y="31688"/>
                  <a:pt x="17000" y="31719"/>
                  <a:pt x="17000" y="31656"/>
                </a:cubicBezTo>
                <a:close/>
                <a:moveTo>
                  <a:pt x="17000" y="23406"/>
                </a:moveTo>
                <a:cubicBezTo>
                  <a:pt x="17094" y="23531"/>
                  <a:pt x="17219" y="23563"/>
                  <a:pt x="17344" y="23594"/>
                </a:cubicBezTo>
                <a:cubicBezTo>
                  <a:pt x="17282" y="23625"/>
                  <a:pt x="17219" y="23594"/>
                  <a:pt x="17188" y="23625"/>
                </a:cubicBezTo>
                <a:cubicBezTo>
                  <a:pt x="17063" y="23594"/>
                  <a:pt x="17032" y="23531"/>
                  <a:pt x="17000" y="23406"/>
                </a:cubicBezTo>
                <a:close/>
                <a:moveTo>
                  <a:pt x="17625" y="32781"/>
                </a:moveTo>
                <a:cubicBezTo>
                  <a:pt x="17532" y="32813"/>
                  <a:pt x="17532" y="32813"/>
                  <a:pt x="17532" y="32750"/>
                </a:cubicBezTo>
                <a:cubicBezTo>
                  <a:pt x="17563" y="32719"/>
                  <a:pt x="17563" y="32688"/>
                  <a:pt x="17563" y="32656"/>
                </a:cubicBezTo>
                <a:cubicBezTo>
                  <a:pt x="17563" y="32656"/>
                  <a:pt x="17563" y="32656"/>
                  <a:pt x="17563" y="32625"/>
                </a:cubicBezTo>
                <a:cubicBezTo>
                  <a:pt x="17532" y="32656"/>
                  <a:pt x="17500" y="32656"/>
                  <a:pt x="17500" y="32625"/>
                </a:cubicBezTo>
                <a:cubicBezTo>
                  <a:pt x="17500" y="32594"/>
                  <a:pt x="17500" y="32563"/>
                  <a:pt x="17469" y="32563"/>
                </a:cubicBezTo>
                <a:cubicBezTo>
                  <a:pt x="17344" y="32563"/>
                  <a:pt x="17407" y="32469"/>
                  <a:pt x="17375" y="32406"/>
                </a:cubicBezTo>
                <a:cubicBezTo>
                  <a:pt x="17313" y="32375"/>
                  <a:pt x="17344" y="32438"/>
                  <a:pt x="17313" y="32469"/>
                </a:cubicBezTo>
                <a:cubicBezTo>
                  <a:pt x="17282" y="32406"/>
                  <a:pt x="17313" y="32313"/>
                  <a:pt x="17219" y="32281"/>
                </a:cubicBezTo>
                <a:cubicBezTo>
                  <a:pt x="17188" y="32281"/>
                  <a:pt x="17188" y="32250"/>
                  <a:pt x="17219" y="32250"/>
                </a:cubicBezTo>
                <a:cubicBezTo>
                  <a:pt x="17250" y="32219"/>
                  <a:pt x="17250" y="32250"/>
                  <a:pt x="17282" y="32250"/>
                </a:cubicBezTo>
                <a:cubicBezTo>
                  <a:pt x="17344" y="32375"/>
                  <a:pt x="17344" y="32281"/>
                  <a:pt x="17344" y="32219"/>
                </a:cubicBezTo>
                <a:cubicBezTo>
                  <a:pt x="17313" y="32156"/>
                  <a:pt x="17282" y="32063"/>
                  <a:pt x="17250" y="32000"/>
                </a:cubicBezTo>
                <a:cubicBezTo>
                  <a:pt x="17282" y="32063"/>
                  <a:pt x="17313" y="32156"/>
                  <a:pt x="17344" y="32219"/>
                </a:cubicBezTo>
                <a:cubicBezTo>
                  <a:pt x="17438" y="32344"/>
                  <a:pt x="17438" y="32469"/>
                  <a:pt x="17563" y="32563"/>
                </a:cubicBezTo>
                <a:cubicBezTo>
                  <a:pt x="17563" y="32563"/>
                  <a:pt x="17563" y="32594"/>
                  <a:pt x="17563" y="32625"/>
                </a:cubicBezTo>
                <a:cubicBezTo>
                  <a:pt x="17563" y="32656"/>
                  <a:pt x="17563" y="32656"/>
                  <a:pt x="17563" y="32656"/>
                </a:cubicBezTo>
                <a:cubicBezTo>
                  <a:pt x="17625" y="32688"/>
                  <a:pt x="17688" y="32688"/>
                  <a:pt x="17625" y="32781"/>
                </a:cubicBezTo>
                <a:close/>
                <a:moveTo>
                  <a:pt x="17625" y="24781"/>
                </a:moveTo>
                <a:cubicBezTo>
                  <a:pt x="17625" y="24813"/>
                  <a:pt x="17657" y="24875"/>
                  <a:pt x="17625" y="24875"/>
                </a:cubicBezTo>
                <a:cubicBezTo>
                  <a:pt x="17532" y="24906"/>
                  <a:pt x="17469" y="24875"/>
                  <a:pt x="17407" y="24813"/>
                </a:cubicBezTo>
                <a:cubicBezTo>
                  <a:pt x="17407" y="24813"/>
                  <a:pt x="17407" y="24813"/>
                  <a:pt x="17407" y="24813"/>
                </a:cubicBezTo>
                <a:cubicBezTo>
                  <a:pt x="17407" y="24781"/>
                  <a:pt x="17438" y="24781"/>
                  <a:pt x="17438" y="24781"/>
                </a:cubicBezTo>
                <a:cubicBezTo>
                  <a:pt x="17500" y="24781"/>
                  <a:pt x="17563" y="24781"/>
                  <a:pt x="17625" y="24781"/>
                </a:cubicBezTo>
                <a:cubicBezTo>
                  <a:pt x="17625" y="24750"/>
                  <a:pt x="17625" y="24719"/>
                  <a:pt x="17657" y="24688"/>
                </a:cubicBezTo>
                <a:cubicBezTo>
                  <a:pt x="17625" y="24719"/>
                  <a:pt x="17625" y="24750"/>
                  <a:pt x="17625" y="24781"/>
                </a:cubicBezTo>
                <a:close/>
                <a:moveTo>
                  <a:pt x="17688" y="24500"/>
                </a:moveTo>
                <a:cubicBezTo>
                  <a:pt x="17625" y="24500"/>
                  <a:pt x="17594" y="24469"/>
                  <a:pt x="17563" y="24469"/>
                </a:cubicBezTo>
                <a:cubicBezTo>
                  <a:pt x="17563" y="24469"/>
                  <a:pt x="17563" y="24469"/>
                  <a:pt x="17563" y="24469"/>
                </a:cubicBezTo>
                <a:cubicBezTo>
                  <a:pt x="17563" y="24406"/>
                  <a:pt x="17532" y="24344"/>
                  <a:pt x="17532" y="24313"/>
                </a:cubicBezTo>
                <a:cubicBezTo>
                  <a:pt x="17532" y="24250"/>
                  <a:pt x="17594" y="24219"/>
                  <a:pt x="17594" y="24250"/>
                </a:cubicBezTo>
                <a:cubicBezTo>
                  <a:pt x="17625" y="24344"/>
                  <a:pt x="17625" y="24406"/>
                  <a:pt x="17719" y="24469"/>
                </a:cubicBezTo>
                <a:cubicBezTo>
                  <a:pt x="17719" y="24469"/>
                  <a:pt x="17719" y="24531"/>
                  <a:pt x="17688" y="24500"/>
                </a:cubicBezTo>
                <a:close/>
                <a:moveTo>
                  <a:pt x="17844" y="24531"/>
                </a:moveTo>
                <a:cubicBezTo>
                  <a:pt x="17813" y="24531"/>
                  <a:pt x="17813" y="24531"/>
                  <a:pt x="17813" y="24531"/>
                </a:cubicBezTo>
                <a:cubicBezTo>
                  <a:pt x="17750" y="24531"/>
                  <a:pt x="17688" y="24500"/>
                  <a:pt x="17750" y="24438"/>
                </a:cubicBezTo>
                <a:cubicBezTo>
                  <a:pt x="17782" y="24406"/>
                  <a:pt x="17813" y="24344"/>
                  <a:pt x="17844" y="24313"/>
                </a:cubicBezTo>
                <a:cubicBezTo>
                  <a:pt x="17969" y="24406"/>
                  <a:pt x="17875" y="24469"/>
                  <a:pt x="17844" y="24531"/>
                </a:cubicBezTo>
                <a:close/>
                <a:moveTo>
                  <a:pt x="18219" y="24875"/>
                </a:moveTo>
                <a:cubicBezTo>
                  <a:pt x="18157" y="25000"/>
                  <a:pt x="18125" y="25000"/>
                  <a:pt x="18032" y="24875"/>
                </a:cubicBezTo>
                <a:cubicBezTo>
                  <a:pt x="18094" y="24875"/>
                  <a:pt x="18157" y="24875"/>
                  <a:pt x="18219" y="24875"/>
                </a:cubicBezTo>
                <a:close/>
                <a:moveTo>
                  <a:pt x="18250" y="24313"/>
                </a:moveTo>
                <a:cubicBezTo>
                  <a:pt x="18282" y="24313"/>
                  <a:pt x="18282" y="24281"/>
                  <a:pt x="18313" y="24281"/>
                </a:cubicBezTo>
                <a:cubicBezTo>
                  <a:pt x="18282" y="24281"/>
                  <a:pt x="18282" y="24313"/>
                  <a:pt x="18250" y="24313"/>
                </a:cubicBezTo>
                <a:close/>
                <a:moveTo>
                  <a:pt x="18563" y="24125"/>
                </a:moveTo>
                <a:cubicBezTo>
                  <a:pt x="18532" y="24188"/>
                  <a:pt x="18532" y="24250"/>
                  <a:pt x="18469" y="24313"/>
                </a:cubicBezTo>
                <a:cubicBezTo>
                  <a:pt x="18438" y="24344"/>
                  <a:pt x="18438" y="24406"/>
                  <a:pt x="18407" y="24375"/>
                </a:cubicBezTo>
                <a:cubicBezTo>
                  <a:pt x="18344" y="24344"/>
                  <a:pt x="18344" y="24250"/>
                  <a:pt x="18375" y="24219"/>
                </a:cubicBezTo>
                <a:cubicBezTo>
                  <a:pt x="18469" y="24188"/>
                  <a:pt x="18438" y="24125"/>
                  <a:pt x="18469" y="24063"/>
                </a:cubicBezTo>
                <a:cubicBezTo>
                  <a:pt x="18532" y="24031"/>
                  <a:pt x="18563" y="24063"/>
                  <a:pt x="18563" y="24125"/>
                </a:cubicBezTo>
                <a:close/>
                <a:moveTo>
                  <a:pt x="18563" y="23094"/>
                </a:moveTo>
                <a:cubicBezTo>
                  <a:pt x="18594" y="23156"/>
                  <a:pt x="18594" y="23188"/>
                  <a:pt x="18594" y="23250"/>
                </a:cubicBezTo>
                <a:cubicBezTo>
                  <a:pt x="18594" y="23188"/>
                  <a:pt x="18594" y="23156"/>
                  <a:pt x="18563" y="23094"/>
                </a:cubicBezTo>
                <a:close/>
                <a:moveTo>
                  <a:pt x="18782" y="23188"/>
                </a:moveTo>
                <a:cubicBezTo>
                  <a:pt x="18782" y="23219"/>
                  <a:pt x="18750" y="23219"/>
                  <a:pt x="18750" y="23250"/>
                </a:cubicBezTo>
                <a:cubicBezTo>
                  <a:pt x="18750" y="23250"/>
                  <a:pt x="18719" y="23250"/>
                  <a:pt x="18719" y="23250"/>
                </a:cubicBezTo>
                <a:cubicBezTo>
                  <a:pt x="18688" y="23156"/>
                  <a:pt x="18657" y="23094"/>
                  <a:pt x="18625" y="23031"/>
                </a:cubicBezTo>
                <a:cubicBezTo>
                  <a:pt x="18625" y="22969"/>
                  <a:pt x="18688" y="23000"/>
                  <a:pt x="18719" y="23000"/>
                </a:cubicBezTo>
                <a:cubicBezTo>
                  <a:pt x="18719" y="23063"/>
                  <a:pt x="18750" y="23125"/>
                  <a:pt x="18782" y="23188"/>
                </a:cubicBezTo>
                <a:close/>
                <a:moveTo>
                  <a:pt x="19063" y="24469"/>
                </a:moveTo>
                <a:cubicBezTo>
                  <a:pt x="19063" y="24469"/>
                  <a:pt x="19063" y="24469"/>
                  <a:pt x="19063" y="24469"/>
                </a:cubicBezTo>
                <a:cubicBezTo>
                  <a:pt x="19063" y="24438"/>
                  <a:pt x="19094" y="24438"/>
                  <a:pt x="19094" y="24438"/>
                </a:cubicBezTo>
                <a:cubicBezTo>
                  <a:pt x="19094" y="24438"/>
                  <a:pt x="19063" y="24438"/>
                  <a:pt x="19063" y="24469"/>
                </a:cubicBezTo>
                <a:cubicBezTo>
                  <a:pt x="19063" y="24469"/>
                  <a:pt x="19063" y="24500"/>
                  <a:pt x="19094" y="24500"/>
                </a:cubicBezTo>
                <a:cubicBezTo>
                  <a:pt x="19032" y="24594"/>
                  <a:pt x="19032" y="24688"/>
                  <a:pt x="19032" y="24750"/>
                </a:cubicBezTo>
                <a:cubicBezTo>
                  <a:pt x="19063" y="24906"/>
                  <a:pt x="18969" y="24938"/>
                  <a:pt x="18844" y="25000"/>
                </a:cubicBezTo>
                <a:cubicBezTo>
                  <a:pt x="18907" y="24813"/>
                  <a:pt x="18875" y="24656"/>
                  <a:pt x="18969" y="24531"/>
                </a:cubicBezTo>
                <a:cubicBezTo>
                  <a:pt x="19000" y="24500"/>
                  <a:pt x="19000" y="24469"/>
                  <a:pt x="19000" y="24438"/>
                </a:cubicBezTo>
                <a:cubicBezTo>
                  <a:pt x="19000" y="24469"/>
                  <a:pt x="19000" y="24500"/>
                  <a:pt x="18969" y="24531"/>
                </a:cubicBezTo>
                <a:cubicBezTo>
                  <a:pt x="19032" y="24531"/>
                  <a:pt x="19063" y="24500"/>
                  <a:pt x="19063" y="24469"/>
                </a:cubicBezTo>
                <a:close/>
                <a:moveTo>
                  <a:pt x="18938" y="23781"/>
                </a:moveTo>
                <a:cubicBezTo>
                  <a:pt x="18907" y="23844"/>
                  <a:pt x="18969" y="23813"/>
                  <a:pt x="19000" y="23813"/>
                </a:cubicBezTo>
                <a:cubicBezTo>
                  <a:pt x="19032" y="23875"/>
                  <a:pt x="19094" y="23969"/>
                  <a:pt x="18969" y="24031"/>
                </a:cubicBezTo>
                <a:cubicBezTo>
                  <a:pt x="18907" y="24063"/>
                  <a:pt x="18969" y="24063"/>
                  <a:pt x="19000" y="24063"/>
                </a:cubicBezTo>
                <a:cubicBezTo>
                  <a:pt x="19000" y="24125"/>
                  <a:pt x="18969" y="24188"/>
                  <a:pt x="18875" y="24156"/>
                </a:cubicBezTo>
                <a:cubicBezTo>
                  <a:pt x="18813" y="24125"/>
                  <a:pt x="18844" y="24094"/>
                  <a:pt x="18875" y="24031"/>
                </a:cubicBezTo>
                <a:cubicBezTo>
                  <a:pt x="18907" y="24000"/>
                  <a:pt x="18875" y="23906"/>
                  <a:pt x="18813" y="23875"/>
                </a:cubicBezTo>
                <a:cubicBezTo>
                  <a:pt x="18782" y="23906"/>
                  <a:pt x="18750" y="23938"/>
                  <a:pt x="18719" y="24000"/>
                </a:cubicBezTo>
                <a:cubicBezTo>
                  <a:pt x="18750" y="23938"/>
                  <a:pt x="18782" y="23906"/>
                  <a:pt x="18813" y="23875"/>
                </a:cubicBezTo>
                <a:cubicBezTo>
                  <a:pt x="18782" y="23875"/>
                  <a:pt x="18719" y="23906"/>
                  <a:pt x="18719" y="23875"/>
                </a:cubicBezTo>
                <a:cubicBezTo>
                  <a:pt x="18688" y="23844"/>
                  <a:pt x="18657" y="23750"/>
                  <a:pt x="18688" y="23719"/>
                </a:cubicBezTo>
                <a:cubicBezTo>
                  <a:pt x="18750" y="23688"/>
                  <a:pt x="18782" y="23750"/>
                  <a:pt x="18813" y="23781"/>
                </a:cubicBezTo>
                <a:cubicBezTo>
                  <a:pt x="18813" y="23781"/>
                  <a:pt x="18813" y="23781"/>
                  <a:pt x="18844" y="23781"/>
                </a:cubicBezTo>
                <a:cubicBezTo>
                  <a:pt x="18875" y="23750"/>
                  <a:pt x="18813" y="23688"/>
                  <a:pt x="18875" y="23688"/>
                </a:cubicBezTo>
                <a:cubicBezTo>
                  <a:pt x="18938" y="23719"/>
                  <a:pt x="18938" y="23719"/>
                  <a:pt x="18938" y="23781"/>
                </a:cubicBezTo>
                <a:close/>
                <a:moveTo>
                  <a:pt x="18563" y="22938"/>
                </a:moveTo>
                <a:cubicBezTo>
                  <a:pt x="18563" y="22969"/>
                  <a:pt x="18563" y="22969"/>
                  <a:pt x="18563" y="22969"/>
                </a:cubicBezTo>
                <a:cubicBezTo>
                  <a:pt x="18563" y="22969"/>
                  <a:pt x="18563" y="22969"/>
                  <a:pt x="18563" y="22938"/>
                </a:cubicBezTo>
                <a:close/>
                <a:moveTo>
                  <a:pt x="18344" y="20594"/>
                </a:moveTo>
                <a:cubicBezTo>
                  <a:pt x="18375" y="20594"/>
                  <a:pt x="18344" y="20625"/>
                  <a:pt x="18344" y="20656"/>
                </a:cubicBezTo>
                <a:cubicBezTo>
                  <a:pt x="18313" y="20688"/>
                  <a:pt x="18282" y="20688"/>
                  <a:pt x="18250" y="20656"/>
                </a:cubicBezTo>
                <a:cubicBezTo>
                  <a:pt x="18125" y="20531"/>
                  <a:pt x="17907" y="20500"/>
                  <a:pt x="17782" y="20313"/>
                </a:cubicBezTo>
                <a:cubicBezTo>
                  <a:pt x="17719" y="20250"/>
                  <a:pt x="17750" y="20219"/>
                  <a:pt x="17782" y="20156"/>
                </a:cubicBezTo>
                <a:cubicBezTo>
                  <a:pt x="17782" y="20156"/>
                  <a:pt x="17782" y="20156"/>
                  <a:pt x="17782" y="20156"/>
                </a:cubicBezTo>
                <a:cubicBezTo>
                  <a:pt x="17782" y="20156"/>
                  <a:pt x="17782" y="20156"/>
                  <a:pt x="17782" y="20156"/>
                </a:cubicBezTo>
                <a:cubicBezTo>
                  <a:pt x="17969" y="20281"/>
                  <a:pt x="18125" y="20469"/>
                  <a:pt x="18344" y="20594"/>
                </a:cubicBezTo>
                <a:close/>
                <a:moveTo>
                  <a:pt x="17813" y="19969"/>
                </a:moveTo>
                <a:cubicBezTo>
                  <a:pt x="17782" y="20000"/>
                  <a:pt x="17750" y="20031"/>
                  <a:pt x="17719" y="20031"/>
                </a:cubicBezTo>
                <a:cubicBezTo>
                  <a:pt x="17688" y="19938"/>
                  <a:pt x="17563" y="19969"/>
                  <a:pt x="17532" y="19875"/>
                </a:cubicBezTo>
                <a:cubicBezTo>
                  <a:pt x="17500" y="19844"/>
                  <a:pt x="17500" y="19813"/>
                  <a:pt x="17532" y="19781"/>
                </a:cubicBezTo>
                <a:cubicBezTo>
                  <a:pt x="17594" y="19750"/>
                  <a:pt x="17563" y="19719"/>
                  <a:pt x="17532" y="19688"/>
                </a:cubicBezTo>
                <a:cubicBezTo>
                  <a:pt x="17500" y="19656"/>
                  <a:pt x="17500" y="19625"/>
                  <a:pt x="17532" y="19594"/>
                </a:cubicBezTo>
                <a:cubicBezTo>
                  <a:pt x="17563" y="19594"/>
                  <a:pt x="17594" y="19594"/>
                  <a:pt x="17625" y="19625"/>
                </a:cubicBezTo>
                <a:cubicBezTo>
                  <a:pt x="17688" y="19750"/>
                  <a:pt x="17625" y="19906"/>
                  <a:pt x="17813" y="19969"/>
                </a:cubicBezTo>
                <a:close/>
                <a:moveTo>
                  <a:pt x="17875" y="19125"/>
                </a:moveTo>
                <a:cubicBezTo>
                  <a:pt x="17907" y="19063"/>
                  <a:pt x="17813" y="19063"/>
                  <a:pt x="17844" y="19031"/>
                </a:cubicBezTo>
                <a:cubicBezTo>
                  <a:pt x="17875" y="19000"/>
                  <a:pt x="17938" y="18938"/>
                  <a:pt x="17969" y="19000"/>
                </a:cubicBezTo>
                <a:cubicBezTo>
                  <a:pt x="18032" y="19125"/>
                  <a:pt x="18000" y="19156"/>
                  <a:pt x="17875" y="19125"/>
                </a:cubicBezTo>
                <a:close/>
                <a:moveTo>
                  <a:pt x="18000" y="18969"/>
                </a:moveTo>
                <a:cubicBezTo>
                  <a:pt x="18000" y="18969"/>
                  <a:pt x="17969" y="18938"/>
                  <a:pt x="17969" y="18938"/>
                </a:cubicBezTo>
                <a:cubicBezTo>
                  <a:pt x="17938" y="18938"/>
                  <a:pt x="17938" y="18938"/>
                  <a:pt x="17938" y="18938"/>
                </a:cubicBezTo>
                <a:cubicBezTo>
                  <a:pt x="17938" y="18938"/>
                  <a:pt x="17938" y="18938"/>
                  <a:pt x="17969" y="18938"/>
                </a:cubicBezTo>
                <a:cubicBezTo>
                  <a:pt x="17969" y="18938"/>
                  <a:pt x="18000" y="18969"/>
                  <a:pt x="18000" y="18969"/>
                </a:cubicBezTo>
                <a:close/>
                <a:moveTo>
                  <a:pt x="17688" y="18344"/>
                </a:moveTo>
                <a:cubicBezTo>
                  <a:pt x="17719" y="18313"/>
                  <a:pt x="17782" y="18313"/>
                  <a:pt x="17813" y="18313"/>
                </a:cubicBezTo>
                <a:cubicBezTo>
                  <a:pt x="17907" y="18281"/>
                  <a:pt x="17938" y="18406"/>
                  <a:pt x="18000" y="18375"/>
                </a:cubicBezTo>
                <a:cubicBezTo>
                  <a:pt x="18000" y="18438"/>
                  <a:pt x="17969" y="18469"/>
                  <a:pt x="17938" y="18469"/>
                </a:cubicBezTo>
                <a:cubicBezTo>
                  <a:pt x="17938" y="18500"/>
                  <a:pt x="17657" y="18438"/>
                  <a:pt x="17657" y="18406"/>
                </a:cubicBezTo>
                <a:cubicBezTo>
                  <a:pt x="17657" y="18375"/>
                  <a:pt x="17657" y="18344"/>
                  <a:pt x="17688" y="18344"/>
                </a:cubicBezTo>
                <a:close/>
                <a:moveTo>
                  <a:pt x="17625" y="19406"/>
                </a:moveTo>
                <a:cubicBezTo>
                  <a:pt x="17625" y="19469"/>
                  <a:pt x="17625" y="19531"/>
                  <a:pt x="17532" y="19500"/>
                </a:cubicBezTo>
                <a:cubicBezTo>
                  <a:pt x="17500" y="19500"/>
                  <a:pt x="17469" y="19500"/>
                  <a:pt x="17469" y="19469"/>
                </a:cubicBezTo>
                <a:cubicBezTo>
                  <a:pt x="17532" y="19406"/>
                  <a:pt x="17532" y="19313"/>
                  <a:pt x="17469" y="19250"/>
                </a:cubicBezTo>
                <a:cubicBezTo>
                  <a:pt x="17469" y="19219"/>
                  <a:pt x="17500" y="19219"/>
                  <a:pt x="17500" y="19219"/>
                </a:cubicBezTo>
                <a:cubicBezTo>
                  <a:pt x="17500" y="19219"/>
                  <a:pt x="17532" y="19219"/>
                  <a:pt x="17532" y="19250"/>
                </a:cubicBezTo>
                <a:cubicBezTo>
                  <a:pt x="17563" y="19281"/>
                  <a:pt x="17532" y="19344"/>
                  <a:pt x="17594" y="19375"/>
                </a:cubicBezTo>
                <a:cubicBezTo>
                  <a:pt x="17625" y="19375"/>
                  <a:pt x="17625" y="19375"/>
                  <a:pt x="17625" y="19406"/>
                </a:cubicBezTo>
                <a:cubicBezTo>
                  <a:pt x="17625" y="19406"/>
                  <a:pt x="17657" y="19438"/>
                  <a:pt x="17657" y="19438"/>
                </a:cubicBezTo>
                <a:cubicBezTo>
                  <a:pt x="17657" y="19438"/>
                  <a:pt x="17625" y="19406"/>
                  <a:pt x="17625" y="19406"/>
                </a:cubicBezTo>
                <a:close/>
                <a:moveTo>
                  <a:pt x="17657" y="19156"/>
                </a:moveTo>
                <a:cubicBezTo>
                  <a:pt x="17594" y="19156"/>
                  <a:pt x="17563" y="19156"/>
                  <a:pt x="17532" y="19156"/>
                </a:cubicBezTo>
                <a:cubicBezTo>
                  <a:pt x="17532" y="19125"/>
                  <a:pt x="17500" y="19094"/>
                  <a:pt x="17469" y="19063"/>
                </a:cubicBezTo>
                <a:cubicBezTo>
                  <a:pt x="17532" y="19063"/>
                  <a:pt x="17594" y="19063"/>
                  <a:pt x="17657" y="19094"/>
                </a:cubicBezTo>
                <a:cubicBezTo>
                  <a:pt x="17657" y="19094"/>
                  <a:pt x="17657" y="19125"/>
                  <a:pt x="17657" y="19156"/>
                </a:cubicBezTo>
                <a:close/>
                <a:moveTo>
                  <a:pt x="17500" y="18250"/>
                </a:moveTo>
                <a:cubicBezTo>
                  <a:pt x="17500" y="18250"/>
                  <a:pt x="17500" y="18250"/>
                  <a:pt x="17532" y="18250"/>
                </a:cubicBezTo>
                <a:cubicBezTo>
                  <a:pt x="17532" y="18250"/>
                  <a:pt x="17532" y="18250"/>
                  <a:pt x="17532" y="18250"/>
                </a:cubicBezTo>
                <a:cubicBezTo>
                  <a:pt x="17625" y="18344"/>
                  <a:pt x="17625" y="18375"/>
                  <a:pt x="17532" y="18406"/>
                </a:cubicBezTo>
                <a:cubicBezTo>
                  <a:pt x="17500" y="18375"/>
                  <a:pt x="17469" y="18375"/>
                  <a:pt x="17469" y="18344"/>
                </a:cubicBezTo>
                <a:cubicBezTo>
                  <a:pt x="17407" y="18344"/>
                  <a:pt x="17375" y="18344"/>
                  <a:pt x="17344" y="18344"/>
                </a:cubicBezTo>
                <a:cubicBezTo>
                  <a:pt x="17375" y="18344"/>
                  <a:pt x="17407" y="18344"/>
                  <a:pt x="17469" y="18344"/>
                </a:cubicBezTo>
                <a:cubicBezTo>
                  <a:pt x="17469" y="18313"/>
                  <a:pt x="17469" y="18281"/>
                  <a:pt x="17500" y="18250"/>
                </a:cubicBezTo>
                <a:cubicBezTo>
                  <a:pt x="17469" y="18250"/>
                  <a:pt x="17407" y="18250"/>
                  <a:pt x="17375" y="18250"/>
                </a:cubicBezTo>
                <a:cubicBezTo>
                  <a:pt x="17407" y="18250"/>
                  <a:pt x="17469" y="18250"/>
                  <a:pt x="17500" y="18250"/>
                </a:cubicBezTo>
                <a:close/>
                <a:moveTo>
                  <a:pt x="17844" y="16750"/>
                </a:moveTo>
                <a:cubicBezTo>
                  <a:pt x="17782" y="16813"/>
                  <a:pt x="17688" y="16750"/>
                  <a:pt x="17625" y="16719"/>
                </a:cubicBezTo>
                <a:cubicBezTo>
                  <a:pt x="17563" y="16656"/>
                  <a:pt x="17657" y="16625"/>
                  <a:pt x="17688" y="16563"/>
                </a:cubicBezTo>
                <a:cubicBezTo>
                  <a:pt x="17719" y="16625"/>
                  <a:pt x="17719" y="16750"/>
                  <a:pt x="17813" y="16656"/>
                </a:cubicBezTo>
                <a:cubicBezTo>
                  <a:pt x="17844" y="16656"/>
                  <a:pt x="17844" y="16656"/>
                  <a:pt x="17875" y="16688"/>
                </a:cubicBezTo>
                <a:cubicBezTo>
                  <a:pt x="17875" y="16719"/>
                  <a:pt x="17875" y="16719"/>
                  <a:pt x="17844" y="16750"/>
                </a:cubicBezTo>
                <a:close/>
                <a:moveTo>
                  <a:pt x="18125" y="15531"/>
                </a:moveTo>
                <a:cubicBezTo>
                  <a:pt x="18094" y="15563"/>
                  <a:pt x="18032" y="15625"/>
                  <a:pt x="18000" y="15719"/>
                </a:cubicBezTo>
                <a:cubicBezTo>
                  <a:pt x="18000" y="15719"/>
                  <a:pt x="18000" y="15719"/>
                  <a:pt x="18000" y="15719"/>
                </a:cubicBezTo>
                <a:cubicBezTo>
                  <a:pt x="17907" y="15844"/>
                  <a:pt x="17750" y="15781"/>
                  <a:pt x="17625" y="15844"/>
                </a:cubicBezTo>
                <a:cubicBezTo>
                  <a:pt x="17719" y="15875"/>
                  <a:pt x="17750" y="15875"/>
                  <a:pt x="17844" y="15875"/>
                </a:cubicBezTo>
                <a:cubicBezTo>
                  <a:pt x="17719" y="16031"/>
                  <a:pt x="17563" y="16063"/>
                  <a:pt x="17407" y="16125"/>
                </a:cubicBezTo>
                <a:cubicBezTo>
                  <a:pt x="17407" y="16125"/>
                  <a:pt x="17375" y="16094"/>
                  <a:pt x="17344" y="16094"/>
                </a:cubicBezTo>
                <a:cubicBezTo>
                  <a:pt x="17375" y="16094"/>
                  <a:pt x="17375" y="16063"/>
                  <a:pt x="17375" y="16063"/>
                </a:cubicBezTo>
                <a:cubicBezTo>
                  <a:pt x="17438" y="16000"/>
                  <a:pt x="17469" y="15969"/>
                  <a:pt x="17532" y="15938"/>
                </a:cubicBezTo>
                <a:cubicBezTo>
                  <a:pt x="17438" y="15750"/>
                  <a:pt x="17313" y="15969"/>
                  <a:pt x="17219" y="15875"/>
                </a:cubicBezTo>
                <a:cubicBezTo>
                  <a:pt x="17282" y="15750"/>
                  <a:pt x="17282" y="15750"/>
                  <a:pt x="17625" y="15750"/>
                </a:cubicBezTo>
                <a:cubicBezTo>
                  <a:pt x="17594" y="15719"/>
                  <a:pt x="17532" y="15719"/>
                  <a:pt x="17500" y="15719"/>
                </a:cubicBezTo>
                <a:cubicBezTo>
                  <a:pt x="17407" y="15750"/>
                  <a:pt x="17407" y="15688"/>
                  <a:pt x="17344" y="15656"/>
                </a:cubicBezTo>
                <a:cubicBezTo>
                  <a:pt x="17282" y="15656"/>
                  <a:pt x="17282" y="15688"/>
                  <a:pt x="17250" y="15719"/>
                </a:cubicBezTo>
                <a:cubicBezTo>
                  <a:pt x="17219" y="15750"/>
                  <a:pt x="17157" y="15781"/>
                  <a:pt x="17125" y="15719"/>
                </a:cubicBezTo>
                <a:cubicBezTo>
                  <a:pt x="17094" y="15688"/>
                  <a:pt x="17125" y="15656"/>
                  <a:pt x="17157" y="15625"/>
                </a:cubicBezTo>
                <a:cubicBezTo>
                  <a:pt x="17282" y="15563"/>
                  <a:pt x="17407" y="15531"/>
                  <a:pt x="17532" y="15594"/>
                </a:cubicBezTo>
                <a:cubicBezTo>
                  <a:pt x="17594" y="15625"/>
                  <a:pt x="17719" y="15656"/>
                  <a:pt x="17719" y="15531"/>
                </a:cubicBezTo>
                <a:cubicBezTo>
                  <a:pt x="17719" y="15531"/>
                  <a:pt x="17719" y="15531"/>
                  <a:pt x="17719" y="15531"/>
                </a:cubicBezTo>
                <a:cubicBezTo>
                  <a:pt x="17750" y="15500"/>
                  <a:pt x="17813" y="15469"/>
                  <a:pt x="17813" y="15438"/>
                </a:cubicBezTo>
                <a:cubicBezTo>
                  <a:pt x="17813" y="15406"/>
                  <a:pt x="17813" y="15406"/>
                  <a:pt x="17844" y="15406"/>
                </a:cubicBezTo>
                <a:cubicBezTo>
                  <a:pt x="17907" y="15375"/>
                  <a:pt x="17969" y="15344"/>
                  <a:pt x="18032" y="15344"/>
                </a:cubicBezTo>
                <a:cubicBezTo>
                  <a:pt x="18094" y="15313"/>
                  <a:pt x="18157" y="15313"/>
                  <a:pt x="18188" y="15375"/>
                </a:cubicBezTo>
                <a:cubicBezTo>
                  <a:pt x="18219" y="15438"/>
                  <a:pt x="18188" y="15469"/>
                  <a:pt x="18125" y="15531"/>
                </a:cubicBezTo>
                <a:close/>
                <a:moveTo>
                  <a:pt x="17657" y="15313"/>
                </a:moveTo>
                <a:cubicBezTo>
                  <a:pt x="17625" y="15188"/>
                  <a:pt x="17688" y="15156"/>
                  <a:pt x="17782" y="15125"/>
                </a:cubicBezTo>
                <a:cubicBezTo>
                  <a:pt x="17813" y="15250"/>
                  <a:pt x="17719" y="15281"/>
                  <a:pt x="17657" y="15313"/>
                </a:cubicBezTo>
                <a:close/>
                <a:moveTo>
                  <a:pt x="17688" y="15438"/>
                </a:moveTo>
                <a:cubicBezTo>
                  <a:pt x="17688" y="15469"/>
                  <a:pt x="17688" y="15469"/>
                  <a:pt x="17688" y="15500"/>
                </a:cubicBezTo>
                <a:cubicBezTo>
                  <a:pt x="17688" y="15469"/>
                  <a:pt x="17688" y="15469"/>
                  <a:pt x="17688" y="15438"/>
                </a:cubicBezTo>
                <a:close/>
                <a:moveTo>
                  <a:pt x="18219" y="15313"/>
                </a:moveTo>
                <a:cubicBezTo>
                  <a:pt x="18157" y="15281"/>
                  <a:pt x="18063" y="15281"/>
                  <a:pt x="18063" y="15219"/>
                </a:cubicBezTo>
                <a:cubicBezTo>
                  <a:pt x="18063" y="15125"/>
                  <a:pt x="18157" y="15125"/>
                  <a:pt x="18219" y="15125"/>
                </a:cubicBezTo>
                <a:cubicBezTo>
                  <a:pt x="18282" y="15125"/>
                  <a:pt x="18344" y="15125"/>
                  <a:pt x="18344" y="15188"/>
                </a:cubicBezTo>
                <a:cubicBezTo>
                  <a:pt x="18344" y="15250"/>
                  <a:pt x="18282" y="15313"/>
                  <a:pt x="18219" y="15313"/>
                </a:cubicBezTo>
                <a:close/>
                <a:moveTo>
                  <a:pt x="18313" y="15031"/>
                </a:moveTo>
                <a:cubicBezTo>
                  <a:pt x="18282" y="15000"/>
                  <a:pt x="18157" y="15031"/>
                  <a:pt x="18094" y="15063"/>
                </a:cubicBezTo>
                <a:cubicBezTo>
                  <a:pt x="18032" y="15125"/>
                  <a:pt x="18000" y="15094"/>
                  <a:pt x="17969" y="15031"/>
                </a:cubicBezTo>
                <a:cubicBezTo>
                  <a:pt x="17969" y="14938"/>
                  <a:pt x="17938" y="14938"/>
                  <a:pt x="17875" y="15000"/>
                </a:cubicBezTo>
                <a:cubicBezTo>
                  <a:pt x="17813" y="15094"/>
                  <a:pt x="17688" y="15156"/>
                  <a:pt x="17563" y="15219"/>
                </a:cubicBezTo>
                <a:cubicBezTo>
                  <a:pt x="17563" y="15219"/>
                  <a:pt x="17532" y="15219"/>
                  <a:pt x="17532" y="15281"/>
                </a:cubicBezTo>
                <a:cubicBezTo>
                  <a:pt x="17407" y="15469"/>
                  <a:pt x="17188" y="15344"/>
                  <a:pt x="17000" y="15438"/>
                </a:cubicBezTo>
                <a:cubicBezTo>
                  <a:pt x="16969" y="15438"/>
                  <a:pt x="16907" y="15375"/>
                  <a:pt x="16875" y="15313"/>
                </a:cubicBezTo>
                <a:cubicBezTo>
                  <a:pt x="16875" y="15313"/>
                  <a:pt x="16907" y="15250"/>
                  <a:pt x="16969" y="15281"/>
                </a:cubicBezTo>
                <a:cubicBezTo>
                  <a:pt x="17000" y="15313"/>
                  <a:pt x="17032" y="15250"/>
                  <a:pt x="17000" y="15250"/>
                </a:cubicBezTo>
                <a:cubicBezTo>
                  <a:pt x="17000" y="15188"/>
                  <a:pt x="16969" y="15188"/>
                  <a:pt x="16938" y="15219"/>
                </a:cubicBezTo>
                <a:cubicBezTo>
                  <a:pt x="16813" y="15313"/>
                  <a:pt x="16688" y="15281"/>
                  <a:pt x="16532" y="15281"/>
                </a:cubicBezTo>
                <a:cubicBezTo>
                  <a:pt x="16407" y="15250"/>
                  <a:pt x="16407" y="15250"/>
                  <a:pt x="16407" y="15125"/>
                </a:cubicBezTo>
                <a:cubicBezTo>
                  <a:pt x="16438" y="15031"/>
                  <a:pt x="16313" y="15000"/>
                  <a:pt x="16282" y="14938"/>
                </a:cubicBezTo>
                <a:cubicBezTo>
                  <a:pt x="16219" y="14875"/>
                  <a:pt x="16219" y="14781"/>
                  <a:pt x="16313" y="14781"/>
                </a:cubicBezTo>
                <a:cubicBezTo>
                  <a:pt x="16438" y="14750"/>
                  <a:pt x="16563" y="14719"/>
                  <a:pt x="16688" y="14688"/>
                </a:cubicBezTo>
                <a:cubicBezTo>
                  <a:pt x="16813" y="14656"/>
                  <a:pt x="16938" y="14656"/>
                  <a:pt x="17063" y="14750"/>
                </a:cubicBezTo>
                <a:cubicBezTo>
                  <a:pt x="17250" y="14875"/>
                  <a:pt x="17469" y="14875"/>
                  <a:pt x="17688" y="14719"/>
                </a:cubicBezTo>
                <a:cubicBezTo>
                  <a:pt x="17813" y="14625"/>
                  <a:pt x="17938" y="14719"/>
                  <a:pt x="18063" y="14719"/>
                </a:cubicBezTo>
                <a:cubicBezTo>
                  <a:pt x="18125" y="14750"/>
                  <a:pt x="18188" y="14750"/>
                  <a:pt x="18250" y="14750"/>
                </a:cubicBezTo>
                <a:cubicBezTo>
                  <a:pt x="18344" y="14781"/>
                  <a:pt x="18438" y="14813"/>
                  <a:pt x="18563" y="14813"/>
                </a:cubicBezTo>
                <a:cubicBezTo>
                  <a:pt x="18594" y="14813"/>
                  <a:pt x="18625" y="14813"/>
                  <a:pt x="18657" y="14875"/>
                </a:cubicBezTo>
                <a:cubicBezTo>
                  <a:pt x="18657" y="14906"/>
                  <a:pt x="18625" y="14938"/>
                  <a:pt x="18594" y="14938"/>
                </a:cubicBezTo>
                <a:cubicBezTo>
                  <a:pt x="18500" y="15000"/>
                  <a:pt x="18469" y="15125"/>
                  <a:pt x="18313" y="15031"/>
                </a:cubicBezTo>
                <a:close/>
                <a:moveTo>
                  <a:pt x="16469" y="14313"/>
                </a:moveTo>
                <a:cubicBezTo>
                  <a:pt x="16563" y="14219"/>
                  <a:pt x="16625" y="14281"/>
                  <a:pt x="16719" y="14344"/>
                </a:cubicBezTo>
                <a:cubicBezTo>
                  <a:pt x="16625" y="14344"/>
                  <a:pt x="16563" y="14375"/>
                  <a:pt x="16469" y="14313"/>
                </a:cubicBezTo>
                <a:close/>
                <a:moveTo>
                  <a:pt x="17750" y="14250"/>
                </a:moveTo>
                <a:cubicBezTo>
                  <a:pt x="17938" y="14313"/>
                  <a:pt x="18157" y="14344"/>
                  <a:pt x="18375" y="14281"/>
                </a:cubicBezTo>
                <a:cubicBezTo>
                  <a:pt x="18469" y="14219"/>
                  <a:pt x="18594" y="14219"/>
                  <a:pt x="18688" y="14219"/>
                </a:cubicBezTo>
                <a:cubicBezTo>
                  <a:pt x="18782" y="14219"/>
                  <a:pt x="18750" y="14313"/>
                  <a:pt x="18750" y="14344"/>
                </a:cubicBezTo>
                <a:cubicBezTo>
                  <a:pt x="18688" y="14469"/>
                  <a:pt x="18688" y="14563"/>
                  <a:pt x="18719" y="14688"/>
                </a:cubicBezTo>
                <a:cubicBezTo>
                  <a:pt x="18750" y="14750"/>
                  <a:pt x="18719" y="14781"/>
                  <a:pt x="18657" y="14781"/>
                </a:cubicBezTo>
                <a:cubicBezTo>
                  <a:pt x="18532" y="14750"/>
                  <a:pt x="18375" y="14781"/>
                  <a:pt x="18250" y="14719"/>
                </a:cubicBezTo>
                <a:cubicBezTo>
                  <a:pt x="18250" y="14719"/>
                  <a:pt x="18250" y="14719"/>
                  <a:pt x="18250" y="14719"/>
                </a:cubicBezTo>
                <a:cubicBezTo>
                  <a:pt x="18157" y="14688"/>
                  <a:pt x="18032" y="14688"/>
                  <a:pt x="17938" y="14625"/>
                </a:cubicBezTo>
                <a:cubicBezTo>
                  <a:pt x="17907" y="14625"/>
                  <a:pt x="17844" y="14594"/>
                  <a:pt x="17875" y="14563"/>
                </a:cubicBezTo>
                <a:cubicBezTo>
                  <a:pt x="17875" y="14500"/>
                  <a:pt x="17907" y="14500"/>
                  <a:pt x="17938" y="14500"/>
                </a:cubicBezTo>
                <a:cubicBezTo>
                  <a:pt x="18000" y="14531"/>
                  <a:pt x="18063" y="14500"/>
                  <a:pt x="18125" y="14500"/>
                </a:cubicBezTo>
                <a:cubicBezTo>
                  <a:pt x="18032" y="14344"/>
                  <a:pt x="17875" y="14281"/>
                  <a:pt x="17719" y="14375"/>
                </a:cubicBezTo>
                <a:cubicBezTo>
                  <a:pt x="17594" y="14406"/>
                  <a:pt x="17469" y="14406"/>
                  <a:pt x="17344" y="14406"/>
                </a:cubicBezTo>
                <a:cubicBezTo>
                  <a:pt x="17469" y="14219"/>
                  <a:pt x="17563" y="14188"/>
                  <a:pt x="17750" y="14250"/>
                </a:cubicBezTo>
                <a:close/>
                <a:moveTo>
                  <a:pt x="17719" y="13781"/>
                </a:moveTo>
                <a:cubicBezTo>
                  <a:pt x="17750" y="13719"/>
                  <a:pt x="17813" y="13688"/>
                  <a:pt x="17907" y="13688"/>
                </a:cubicBezTo>
                <a:cubicBezTo>
                  <a:pt x="18032" y="13688"/>
                  <a:pt x="18157" y="13719"/>
                  <a:pt x="18282" y="13688"/>
                </a:cubicBezTo>
                <a:cubicBezTo>
                  <a:pt x="18313" y="13813"/>
                  <a:pt x="18313" y="13875"/>
                  <a:pt x="18219" y="13938"/>
                </a:cubicBezTo>
                <a:cubicBezTo>
                  <a:pt x="18157" y="13844"/>
                  <a:pt x="18125" y="13906"/>
                  <a:pt x="18094" y="13906"/>
                </a:cubicBezTo>
                <a:cubicBezTo>
                  <a:pt x="18000" y="13938"/>
                  <a:pt x="17907" y="13969"/>
                  <a:pt x="17844" y="13906"/>
                </a:cubicBezTo>
                <a:cubicBezTo>
                  <a:pt x="17782" y="13875"/>
                  <a:pt x="17688" y="13844"/>
                  <a:pt x="17719" y="13781"/>
                </a:cubicBezTo>
                <a:close/>
                <a:moveTo>
                  <a:pt x="17563" y="14656"/>
                </a:moveTo>
                <a:cubicBezTo>
                  <a:pt x="17407" y="14719"/>
                  <a:pt x="17344" y="14719"/>
                  <a:pt x="17219" y="14594"/>
                </a:cubicBezTo>
                <a:cubicBezTo>
                  <a:pt x="17344" y="14594"/>
                  <a:pt x="17469" y="14563"/>
                  <a:pt x="17563" y="14656"/>
                </a:cubicBezTo>
                <a:close/>
                <a:moveTo>
                  <a:pt x="17125" y="14281"/>
                </a:moveTo>
                <a:cubicBezTo>
                  <a:pt x="17063" y="14250"/>
                  <a:pt x="17000" y="14250"/>
                  <a:pt x="16938" y="14188"/>
                </a:cubicBezTo>
                <a:cubicBezTo>
                  <a:pt x="17032" y="14188"/>
                  <a:pt x="17094" y="14125"/>
                  <a:pt x="17188" y="14156"/>
                </a:cubicBezTo>
                <a:cubicBezTo>
                  <a:pt x="17219" y="14156"/>
                  <a:pt x="17282" y="14156"/>
                  <a:pt x="17282" y="14219"/>
                </a:cubicBezTo>
                <a:cubicBezTo>
                  <a:pt x="17313" y="14219"/>
                  <a:pt x="17282" y="14250"/>
                  <a:pt x="17250" y="14250"/>
                </a:cubicBezTo>
                <a:cubicBezTo>
                  <a:pt x="17219" y="14281"/>
                  <a:pt x="17157" y="14344"/>
                  <a:pt x="17125" y="14281"/>
                </a:cubicBezTo>
                <a:close/>
                <a:moveTo>
                  <a:pt x="17344" y="13875"/>
                </a:moveTo>
                <a:cubicBezTo>
                  <a:pt x="17313" y="13875"/>
                  <a:pt x="17250" y="13875"/>
                  <a:pt x="17219" y="13875"/>
                </a:cubicBezTo>
                <a:cubicBezTo>
                  <a:pt x="17000" y="13813"/>
                  <a:pt x="16813" y="13813"/>
                  <a:pt x="16594" y="13844"/>
                </a:cubicBezTo>
                <a:cubicBezTo>
                  <a:pt x="16563" y="13844"/>
                  <a:pt x="16500" y="13813"/>
                  <a:pt x="16469" y="13813"/>
                </a:cubicBezTo>
                <a:cubicBezTo>
                  <a:pt x="16469" y="13750"/>
                  <a:pt x="16375" y="13813"/>
                  <a:pt x="16344" y="13750"/>
                </a:cubicBezTo>
                <a:cubicBezTo>
                  <a:pt x="16532" y="13594"/>
                  <a:pt x="16782" y="13563"/>
                  <a:pt x="17000" y="13594"/>
                </a:cubicBezTo>
                <a:cubicBezTo>
                  <a:pt x="17250" y="13594"/>
                  <a:pt x="17250" y="13625"/>
                  <a:pt x="17375" y="13781"/>
                </a:cubicBezTo>
                <a:cubicBezTo>
                  <a:pt x="17407" y="13813"/>
                  <a:pt x="17407" y="13844"/>
                  <a:pt x="17344" y="13875"/>
                </a:cubicBezTo>
                <a:close/>
                <a:moveTo>
                  <a:pt x="18500" y="15219"/>
                </a:moveTo>
                <a:cubicBezTo>
                  <a:pt x="18532" y="15063"/>
                  <a:pt x="18657" y="15000"/>
                  <a:pt x="18782" y="14906"/>
                </a:cubicBezTo>
                <a:cubicBezTo>
                  <a:pt x="18813" y="14906"/>
                  <a:pt x="18813" y="14906"/>
                  <a:pt x="18813" y="14875"/>
                </a:cubicBezTo>
                <a:cubicBezTo>
                  <a:pt x="18813" y="14906"/>
                  <a:pt x="18813" y="14906"/>
                  <a:pt x="18782" y="14906"/>
                </a:cubicBezTo>
                <a:cubicBezTo>
                  <a:pt x="18719" y="15031"/>
                  <a:pt x="18625" y="15125"/>
                  <a:pt x="18500" y="15219"/>
                </a:cubicBezTo>
                <a:close/>
                <a:moveTo>
                  <a:pt x="19907" y="15031"/>
                </a:moveTo>
                <a:cubicBezTo>
                  <a:pt x="19907" y="15031"/>
                  <a:pt x="19907" y="15000"/>
                  <a:pt x="19907" y="15000"/>
                </a:cubicBezTo>
                <a:cubicBezTo>
                  <a:pt x="19907" y="15000"/>
                  <a:pt x="19907" y="15000"/>
                  <a:pt x="19907" y="15000"/>
                </a:cubicBezTo>
                <a:cubicBezTo>
                  <a:pt x="19907" y="15000"/>
                  <a:pt x="19907" y="15031"/>
                  <a:pt x="19907" y="15031"/>
                </a:cubicBezTo>
                <a:close/>
                <a:moveTo>
                  <a:pt x="19657" y="13813"/>
                </a:moveTo>
                <a:cubicBezTo>
                  <a:pt x="19719" y="13656"/>
                  <a:pt x="19688" y="13469"/>
                  <a:pt x="19688" y="13313"/>
                </a:cubicBezTo>
                <a:cubicBezTo>
                  <a:pt x="19688" y="13188"/>
                  <a:pt x="19657" y="13094"/>
                  <a:pt x="19688" y="12969"/>
                </a:cubicBezTo>
                <a:cubicBezTo>
                  <a:pt x="19688" y="12938"/>
                  <a:pt x="19657" y="12906"/>
                  <a:pt x="19719" y="12906"/>
                </a:cubicBezTo>
                <a:cubicBezTo>
                  <a:pt x="19750" y="12906"/>
                  <a:pt x="19750" y="12938"/>
                  <a:pt x="19750" y="12969"/>
                </a:cubicBezTo>
                <a:cubicBezTo>
                  <a:pt x="19813" y="13125"/>
                  <a:pt x="19907" y="13313"/>
                  <a:pt x="19969" y="13500"/>
                </a:cubicBezTo>
                <a:cubicBezTo>
                  <a:pt x="20032" y="13688"/>
                  <a:pt x="19969" y="13813"/>
                  <a:pt x="19782" y="13969"/>
                </a:cubicBezTo>
                <a:cubicBezTo>
                  <a:pt x="19782" y="13781"/>
                  <a:pt x="19875" y="13625"/>
                  <a:pt x="19844" y="13438"/>
                </a:cubicBezTo>
                <a:cubicBezTo>
                  <a:pt x="19625" y="13688"/>
                  <a:pt x="19719" y="14000"/>
                  <a:pt x="19594" y="14281"/>
                </a:cubicBezTo>
                <a:cubicBezTo>
                  <a:pt x="19594" y="14281"/>
                  <a:pt x="19594" y="14281"/>
                  <a:pt x="19594" y="14281"/>
                </a:cubicBezTo>
                <a:cubicBezTo>
                  <a:pt x="19563" y="14313"/>
                  <a:pt x="19563" y="14344"/>
                  <a:pt x="19594" y="14406"/>
                </a:cubicBezTo>
                <a:cubicBezTo>
                  <a:pt x="19625" y="14375"/>
                  <a:pt x="19625" y="14344"/>
                  <a:pt x="19625" y="14313"/>
                </a:cubicBezTo>
                <a:cubicBezTo>
                  <a:pt x="19657" y="14313"/>
                  <a:pt x="19657" y="14313"/>
                  <a:pt x="19657" y="14313"/>
                </a:cubicBezTo>
                <a:cubicBezTo>
                  <a:pt x="19594" y="14563"/>
                  <a:pt x="19563" y="14813"/>
                  <a:pt x="19438" y="15063"/>
                </a:cubicBezTo>
                <a:cubicBezTo>
                  <a:pt x="19282" y="15375"/>
                  <a:pt x="19125" y="15688"/>
                  <a:pt x="18907" y="15969"/>
                </a:cubicBezTo>
                <a:cubicBezTo>
                  <a:pt x="18875" y="16000"/>
                  <a:pt x="18844" y="16031"/>
                  <a:pt x="18813" y="16031"/>
                </a:cubicBezTo>
                <a:cubicBezTo>
                  <a:pt x="18844" y="15969"/>
                  <a:pt x="18875" y="15875"/>
                  <a:pt x="18907" y="15813"/>
                </a:cubicBezTo>
                <a:cubicBezTo>
                  <a:pt x="18907" y="15813"/>
                  <a:pt x="18907" y="15813"/>
                  <a:pt x="18907" y="15813"/>
                </a:cubicBezTo>
                <a:cubicBezTo>
                  <a:pt x="19063" y="15625"/>
                  <a:pt x="19157" y="15406"/>
                  <a:pt x="19157" y="15156"/>
                </a:cubicBezTo>
                <a:cubicBezTo>
                  <a:pt x="19157" y="15094"/>
                  <a:pt x="19188" y="15063"/>
                  <a:pt x="19250" y="15031"/>
                </a:cubicBezTo>
                <a:cubicBezTo>
                  <a:pt x="19282" y="15000"/>
                  <a:pt x="19313" y="14969"/>
                  <a:pt x="19313" y="14906"/>
                </a:cubicBezTo>
                <a:cubicBezTo>
                  <a:pt x="19469" y="14563"/>
                  <a:pt x="19563" y="14188"/>
                  <a:pt x="19657" y="13813"/>
                </a:cubicBezTo>
                <a:close/>
                <a:moveTo>
                  <a:pt x="18907" y="15781"/>
                </a:moveTo>
                <a:cubicBezTo>
                  <a:pt x="18907" y="15781"/>
                  <a:pt x="18907" y="15781"/>
                  <a:pt x="18907" y="15813"/>
                </a:cubicBezTo>
                <a:cubicBezTo>
                  <a:pt x="18907" y="15781"/>
                  <a:pt x="18907" y="15781"/>
                  <a:pt x="18907" y="15781"/>
                </a:cubicBezTo>
                <a:close/>
                <a:moveTo>
                  <a:pt x="19313" y="14000"/>
                </a:moveTo>
                <a:cubicBezTo>
                  <a:pt x="19188" y="14250"/>
                  <a:pt x="19063" y="14500"/>
                  <a:pt x="18938" y="14719"/>
                </a:cubicBezTo>
                <a:cubicBezTo>
                  <a:pt x="18907" y="14688"/>
                  <a:pt x="18938" y="14594"/>
                  <a:pt x="18813" y="14625"/>
                </a:cubicBezTo>
                <a:cubicBezTo>
                  <a:pt x="18782" y="14656"/>
                  <a:pt x="18813" y="14531"/>
                  <a:pt x="18813" y="14500"/>
                </a:cubicBezTo>
                <a:cubicBezTo>
                  <a:pt x="18813" y="14469"/>
                  <a:pt x="18875" y="14406"/>
                  <a:pt x="18907" y="14469"/>
                </a:cubicBezTo>
                <a:cubicBezTo>
                  <a:pt x="19032" y="14563"/>
                  <a:pt x="19032" y="14406"/>
                  <a:pt x="19063" y="14375"/>
                </a:cubicBezTo>
                <a:cubicBezTo>
                  <a:pt x="19094" y="14219"/>
                  <a:pt x="19188" y="14125"/>
                  <a:pt x="19313" y="14000"/>
                </a:cubicBezTo>
                <a:close/>
                <a:moveTo>
                  <a:pt x="18782" y="10188"/>
                </a:moveTo>
                <a:cubicBezTo>
                  <a:pt x="18813" y="10219"/>
                  <a:pt x="18813" y="10219"/>
                  <a:pt x="18813" y="10219"/>
                </a:cubicBezTo>
                <a:cubicBezTo>
                  <a:pt x="18813" y="10219"/>
                  <a:pt x="18813" y="10219"/>
                  <a:pt x="18782" y="10188"/>
                </a:cubicBezTo>
                <a:cubicBezTo>
                  <a:pt x="18782" y="10188"/>
                  <a:pt x="18782" y="10156"/>
                  <a:pt x="18782" y="10125"/>
                </a:cubicBezTo>
                <a:cubicBezTo>
                  <a:pt x="18782" y="10156"/>
                  <a:pt x="18782" y="10188"/>
                  <a:pt x="18782" y="10188"/>
                </a:cubicBezTo>
                <a:close/>
                <a:moveTo>
                  <a:pt x="18813" y="10250"/>
                </a:moveTo>
                <a:cubicBezTo>
                  <a:pt x="18813" y="10250"/>
                  <a:pt x="18813" y="10250"/>
                  <a:pt x="18813" y="10250"/>
                </a:cubicBezTo>
                <a:cubicBezTo>
                  <a:pt x="18813" y="10250"/>
                  <a:pt x="18782" y="10219"/>
                  <a:pt x="18782" y="10219"/>
                </a:cubicBezTo>
                <a:cubicBezTo>
                  <a:pt x="18782" y="10219"/>
                  <a:pt x="18813" y="10250"/>
                  <a:pt x="18813" y="10250"/>
                </a:cubicBezTo>
                <a:close/>
                <a:moveTo>
                  <a:pt x="18719" y="10219"/>
                </a:moveTo>
                <a:cubicBezTo>
                  <a:pt x="18688" y="10219"/>
                  <a:pt x="18688" y="10219"/>
                  <a:pt x="18719" y="10250"/>
                </a:cubicBezTo>
                <a:cubicBezTo>
                  <a:pt x="18688" y="10219"/>
                  <a:pt x="18688" y="10219"/>
                  <a:pt x="18719" y="10219"/>
                </a:cubicBezTo>
                <a:close/>
                <a:moveTo>
                  <a:pt x="18344" y="12250"/>
                </a:moveTo>
                <a:cubicBezTo>
                  <a:pt x="18469" y="12406"/>
                  <a:pt x="18594" y="12531"/>
                  <a:pt x="18719" y="12688"/>
                </a:cubicBezTo>
                <a:cubicBezTo>
                  <a:pt x="18844" y="12813"/>
                  <a:pt x="19000" y="12906"/>
                  <a:pt x="19094" y="13094"/>
                </a:cubicBezTo>
                <a:cubicBezTo>
                  <a:pt x="19125" y="13125"/>
                  <a:pt x="19157" y="13156"/>
                  <a:pt x="19157" y="13188"/>
                </a:cubicBezTo>
                <a:cubicBezTo>
                  <a:pt x="19157" y="13250"/>
                  <a:pt x="19157" y="13344"/>
                  <a:pt x="19094" y="13375"/>
                </a:cubicBezTo>
                <a:cubicBezTo>
                  <a:pt x="19032" y="13375"/>
                  <a:pt x="19000" y="13313"/>
                  <a:pt x="19000" y="13250"/>
                </a:cubicBezTo>
                <a:cubicBezTo>
                  <a:pt x="18938" y="13094"/>
                  <a:pt x="18875" y="12969"/>
                  <a:pt x="18719" y="12875"/>
                </a:cubicBezTo>
                <a:cubicBezTo>
                  <a:pt x="18594" y="12844"/>
                  <a:pt x="18719" y="12781"/>
                  <a:pt x="18688" y="12719"/>
                </a:cubicBezTo>
                <a:cubicBezTo>
                  <a:pt x="18563" y="12688"/>
                  <a:pt x="18563" y="12531"/>
                  <a:pt x="18438" y="12531"/>
                </a:cubicBezTo>
                <a:cubicBezTo>
                  <a:pt x="18375" y="12625"/>
                  <a:pt x="18407" y="12688"/>
                  <a:pt x="18438" y="12781"/>
                </a:cubicBezTo>
                <a:cubicBezTo>
                  <a:pt x="18407" y="12688"/>
                  <a:pt x="18375" y="12625"/>
                  <a:pt x="18438" y="12531"/>
                </a:cubicBezTo>
                <a:cubicBezTo>
                  <a:pt x="18407" y="12500"/>
                  <a:pt x="18344" y="12500"/>
                  <a:pt x="18344" y="12438"/>
                </a:cubicBezTo>
                <a:cubicBezTo>
                  <a:pt x="18344" y="12375"/>
                  <a:pt x="18344" y="12344"/>
                  <a:pt x="18344" y="12250"/>
                </a:cubicBezTo>
                <a:close/>
                <a:moveTo>
                  <a:pt x="16313" y="10063"/>
                </a:moveTo>
                <a:cubicBezTo>
                  <a:pt x="16313" y="10125"/>
                  <a:pt x="16313" y="10156"/>
                  <a:pt x="16313" y="10188"/>
                </a:cubicBezTo>
                <a:cubicBezTo>
                  <a:pt x="16375" y="10188"/>
                  <a:pt x="16375" y="10281"/>
                  <a:pt x="16438" y="10281"/>
                </a:cubicBezTo>
                <a:cubicBezTo>
                  <a:pt x="16438" y="10313"/>
                  <a:pt x="16438" y="10344"/>
                  <a:pt x="16438" y="10344"/>
                </a:cubicBezTo>
                <a:cubicBezTo>
                  <a:pt x="16438" y="10344"/>
                  <a:pt x="16438" y="10344"/>
                  <a:pt x="16438" y="10344"/>
                </a:cubicBezTo>
                <a:cubicBezTo>
                  <a:pt x="16344" y="10406"/>
                  <a:pt x="16344" y="10406"/>
                  <a:pt x="16282" y="10250"/>
                </a:cubicBezTo>
                <a:cubicBezTo>
                  <a:pt x="16250" y="10219"/>
                  <a:pt x="16219" y="10219"/>
                  <a:pt x="16188" y="10219"/>
                </a:cubicBezTo>
                <a:cubicBezTo>
                  <a:pt x="16250" y="10219"/>
                  <a:pt x="16282" y="10188"/>
                  <a:pt x="16313" y="10188"/>
                </a:cubicBezTo>
                <a:cubicBezTo>
                  <a:pt x="16313" y="10156"/>
                  <a:pt x="16313" y="10125"/>
                  <a:pt x="16313" y="10063"/>
                </a:cubicBezTo>
                <a:close/>
                <a:moveTo>
                  <a:pt x="16407" y="10563"/>
                </a:moveTo>
                <a:cubicBezTo>
                  <a:pt x="16375" y="10594"/>
                  <a:pt x="16344" y="10594"/>
                  <a:pt x="16313" y="10625"/>
                </a:cubicBezTo>
                <a:cubicBezTo>
                  <a:pt x="16344" y="10594"/>
                  <a:pt x="16375" y="10594"/>
                  <a:pt x="16407" y="10563"/>
                </a:cubicBezTo>
                <a:cubicBezTo>
                  <a:pt x="16375" y="10531"/>
                  <a:pt x="16313" y="10469"/>
                  <a:pt x="16375" y="10406"/>
                </a:cubicBezTo>
                <a:cubicBezTo>
                  <a:pt x="16407" y="10469"/>
                  <a:pt x="16532" y="10438"/>
                  <a:pt x="16500" y="10563"/>
                </a:cubicBezTo>
                <a:cubicBezTo>
                  <a:pt x="16469" y="10625"/>
                  <a:pt x="16438" y="10531"/>
                  <a:pt x="16407" y="10563"/>
                </a:cubicBezTo>
                <a:close/>
                <a:moveTo>
                  <a:pt x="16469" y="11281"/>
                </a:moveTo>
                <a:cubicBezTo>
                  <a:pt x="16469" y="11313"/>
                  <a:pt x="16469" y="11375"/>
                  <a:pt x="16469" y="11438"/>
                </a:cubicBezTo>
                <a:cubicBezTo>
                  <a:pt x="16469" y="11375"/>
                  <a:pt x="16469" y="11313"/>
                  <a:pt x="16469" y="11281"/>
                </a:cubicBezTo>
                <a:close/>
                <a:moveTo>
                  <a:pt x="17719" y="4375"/>
                </a:moveTo>
                <a:cubicBezTo>
                  <a:pt x="17625" y="4375"/>
                  <a:pt x="17594" y="4344"/>
                  <a:pt x="17563" y="4281"/>
                </a:cubicBezTo>
                <a:cubicBezTo>
                  <a:pt x="17625" y="4281"/>
                  <a:pt x="17688" y="4313"/>
                  <a:pt x="17719" y="4375"/>
                </a:cubicBezTo>
                <a:close/>
                <a:moveTo>
                  <a:pt x="17469" y="4313"/>
                </a:moveTo>
                <a:cubicBezTo>
                  <a:pt x="17469" y="4313"/>
                  <a:pt x="17438" y="4313"/>
                  <a:pt x="17438" y="4313"/>
                </a:cubicBezTo>
                <a:cubicBezTo>
                  <a:pt x="17438" y="4313"/>
                  <a:pt x="17438" y="4313"/>
                  <a:pt x="17438" y="4281"/>
                </a:cubicBezTo>
                <a:cubicBezTo>
                  <a:pt x="17438" y="4281"/>
                  <a:pt x="17469" y="4313"/>
                  <a:pt x="17469" y="4313"/>
                </a:cubicBezTo>
                <a:close/>
                <a:moveTo>
                  <a:pt x="17438" y="4281"/>
                </a:moveTo>
                <a:cubicBezTo>
                  <a:pt x="17375" y="4313"/>
                  <a:pt x="17344" y="4250"/>
                  <a:pt x="17282" y="4188"/>
                </a:cubicBezTo>
                <a:cubicBezTo>
                  <a:pt x="17344" y="4188"/>
                  <a:pt x="17407" y="4219"/>
                  <a:pt x="17438" y="4281"/>
                </a:cubicBezTo>
                <a:close/>
                <a:moveTo>
                  <a:pt x="16094" y="4438"/>
                </a:moveTo>
                <a:cubicBezTo>
                  <a:pt x="16125" y="4375"/>
                  <a:pt x="16157" y="4344"/>
                  <a:pt x="16188" y="4344"/>
                </a:cubicBezTo>
                <a:cubicBezTo>
                  <a:pt x="16344" y="4375"/>
                  <a:pt x="16469" y="4344"/>
                  <a:pt x="16594" y="4281"/>
                </a:cubicBezTo>
                <a:cubicBezTo>
                  <a:pt x="16844" y="4188"/>
                  <a:pt x="17032" y="4281"/>
                  <a:pt x="17250" y="4344"/>
                </a:cubicBezTo>
                <a:cubicBezTo>
                  <a:pt x="17469" y="4406"/>
                  <a:pt x="17688" y="4469"/>
                  <a:pt x="17875" y="4563"/>
                </a:cubicBezTo>
                <a:cubicBezTo>
                  <a:pt x="18157" y="4750"/>
                  <a:pt x="18469" y="4906"/>
                  <a:pt x="18719" y="5156"/>
                </a:cubicBezTo>
                <a:cubicBezTo>
                  <a:pt x="18563" y="5156"/>
                  <a:pt x="18438" y="5063"/>
                  <a:pt x="18313" y="5000"/>
                </a:cubicBezTo>
                <a:cubicBezTo>
                  <a:pt x="18032" y="4844"/>
                  <a:pt x="17750" y="4750"/>
                  <a:pt x="17438" y="4719"/>
                </a:cubicBezTo>
                <a:cubicBezTo>
                  <a:pt x="17125" y="4656"/>
                  <a:pt x="16844" y="4625"/>
                  <a:pt x="16532" y="4625"/>
                </a:cubicBezTo>
                <a:cubicBezTo>
                  <a:pt x="16375" y="4625"/>
                  <a:pt x="16250" y="4500"/>
                  <a:pt x="16125" y="4469"/>
                </a:cubicBezTo>
                <a:cubicBezTo>
                  <a:pt x="16094" y="4469"/>
                  <a:pt x="16094" y="4438"/>
                  <a:pt x="16094" y="4438"/>
                </a:cubicBezTo>
                <a:close/>
                <a:moveTo>
                  <a:pt x="16000" y="12969"/>
                </a:moveTo>
                <a:cubicBezTo>
                  <a:pt x="16094" y="13000"/>
                  <a:pt x="15969" y="13125"/>
                  <a:pt x="16094" y="13125"/>
                </a:cubicBezTo>
                <a:cubicBezTo>
                  <a:pt x="16094" y="13125"/>
                  <a:pt x="16094" y="13156"/>
                  <a:pt x="16094" y="13156"/>
                </a:cubicBezTo>
                <a:cubicBezTo>
                  <a:pt x="16094" y="13156"/>
                  <a:pt x="16125" y="13156"/>
                  <a:pt x="16125" y="13156"/>
                </a:cubicBezTo>
                <a:cubicBezTo>
                  <a:pt x="16125" y="13156"/>
                  <a:pt x="16094" y="13156"/>
                  <a:pt x="16094" y="13156"/>
                </a:cubicBezTo>
                <a:cubicBezTo>
                  <a:pt x="16000" y="13125"/>
                  <a:pt x="15969" y="13063"/>
                  <a:pt x="16000" y="12969"/>
                </a:cubicBezTo>
                <a:close/>
                <a:moveTo>
                  <a:pt x="15969" y="14125"/>
                </a:moveTo>
                <a:cubicBezTo>
                  <a:pt x="15969" y="14000"/>
                  <a:pt x="16063" y="13906"/>
                  <a:pt x="16032" y="13781"/>
                </a:cubicBezTo>
                <a:cubicBezTo>
                  <a:pt x="16063" y="13781"/>
                  <a:pt x="16094" y="13781"/>
                  <a:pt x="16094" y="13781"/>
                </a:cubicBezTo>
                <a:cubicBezTo>
                  <a:pt x="16188" y="13906"/>
                  <a:pt x="16313" y="13875"/>
                  <a:pt x="16438" y="13875"/>
                </a:cubicBezTo>
                <a:cubicBezTo>
                  <a:pt x="16532" y="13875"/>
                  <a:pt x="16625" y="13875"/>
                  <a:pt x="16719" y="13906"/>
                </a:cubicBezTo>
                <a:cubicBezTo>
                  <a:pt x="16563" y="13969"/>
                  <a:pt x="16438" y="14000"/>
                  <a:pt x="16282" y="13969"/>
                </a:cubicBezTo>
                <a:cubicBezTo>
                  <a:pt x="16157" y="13938"/>
                  <a:pt x="16094" y="13969"/>
                  <a:pt x="16125" y="14094"/>
                </a:cubicBezTo>
                <a:cubicBezTo>
                  <a:pt x="16125" y="14219"/>
                  <a:pt x="16094" y="14313"/>
                  <a:pt x="16000" y="14406"/>
                </a:cubicBezTo>
                <a:cubicBezTo>
                  <a:pt x="15938" y="14406"/>
                  <a:pt x="15938" y="14344"/>
                  <a:pt x="15907" y="14313"/>
                </a:cubicBezTo>
                <a:cubicBezTo>
                  <a:pt x="15938" y="14250"/>
                  <a:pt x="15844" y="14250"/>
                  <a:pt x="15844" y="14219"/>
                </a:cubicBezTo>
                <a:cubicBezTo>
                  <a:pt x="15875" y="14188"/>
                  <a:pt x="15875" y="14188"/>
                  <a:pt x="15875" y="14156"/>
                </a:cubicBezTo>
                <a:cubicBezTo>
                  <a:pt x="15907" y="14156"/>
                  <a:pt x="15969" y="14219"/>
                  <a:pt x="15969" y="14125"/>
                </a:cubicBezTo>
                <a:close/>
                <a:moveTo>
                  <a:pt x="15750" y="4563"/>
                </a:moveTo>
                <a:cubicBezTo>
                  <a:pt x="15813" y="4500"/>
                  <a:pt x="15875" y="4563"/>
                  <a:pt x="15969" y="4594"/>
                </a:cubicBezTo>
                <a:cubicBezTo>
                  <a:pt x="15875" y="4625"/>
                  <a:pt x="15813" y="4656"/>
                  <a:pt x="15750" y="4625"/>
                </a:cubicBezTo>
                <a:cubicBezTo>
                  <a:pt x="15719" y="4594"/>
                  <a:pt x="15719" y="4594"/>
                  <a:pt x="15750" y="4563"/>
                </a:cubicBezTo>
                <a:close/>
                <a:moveTo>
                  <a:pt x="15688" y="13719"/>
                </a:moveTo>
                <a:cubicBezTo>
                  <a:pt x="15688" y="13750"/>
                  <a:pt x="15719" y="13750"/>
                  <a:pt x="15750" y="13750"/>
                </a:cubicBezTo>
                <a:cubicBezTo>
                  <a:pt x="15750" y="13750"/>
                  <a:pt x="15750" y="13750"/>
                  <a:pt x="15750" y="13750"/>
                </a:cubicBezTo>
                <a:cubicBezTo>
                  <a:pt x="15782" y="13750"/>
                  <a:pt x="15782" y="13781"/>
                  <a:pt x="15813" y="13781"/>
                </a:cubicBezTo>
                <a:cubicBezTo>
                  <a:pt x="15782" y="13813"/>
                  <a:pt x="15719" y="13781"/>
                  <a:pt x="15657" y="13781"/>
                </a:cubicBezTo>
                <a:cubicBezTo>
                  <a:pt x="15688" y="13813"/>
                  <a:pt x="15750" y="13844"/>
                  <a:pt x="15782" y="13844"/>
                </a:cubicBezTo>
                <a:cubicBezTo>
                  <a:pt x="15750" y="13844"/>
                  <a:pt x="15688" y="13813"/>
                  <a:pt x="15657" y="13781"/>
                </a:cubicBezTo>
                <a:cubicBezTo>
                  <a:pt x="15657" y="13781"/>
                  <a:pt x="15594" y="13781"/>
                  <a:pt x="15594" y="13750"/>
                </a:cubicBezTo>
                <a:cubicBezTo>
                  <a:pt x="15594" y="13719"/>
                  <a:pt x="15594" y="13688"/>
                  <a:pt x="15625" y="13688"/>
                </a:cubicBezTo>
                <a:cubicBezTo>
                  <a:pt x="15657" y="13688"/>
                  <a:pt x="15657" y="13719"/>
                  <a:pt x="15688" y="13719"/>
                </a:cubicBezTo>
                <a:close/>
                <a:moveTo>
                  <a:pt x="15594" y="8844"/>
                </a:moveTo>
                <a:cubicBezTo>
                  <a:pt x="15594" y="8844"/>
                  <a:pt x="15594" y="8844"/>
                  <a:pt x="15594" y="8875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lose/>
                <a:moveTo>
                  <a:pt x="15594" y="8844"/>
                </a:move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ubicBezTo>
                  <a:pt x="15594" y="8844"/>
                  <a:pt x="15594" y="8844"/>
                  <a:pt x="15594" y="8844"/>
                </a:cubicBezTo>
                <a:close/>
                <a:moveTo>
                  <a:pt x="15594" y="15031"/>
                </a:moveTo>
                <a:cubicBezTo>
                  <a:pt x="15594" y="15000"/>
                  <a:pt x="15625" y="15000"/>
                  <a:pt x="15657" y="15000"/>
                </a:cubicBezTo>
                <a:cubicBezTo>
                  <a:pt x="15719" y="15000"/>
                  <a:pt x="15688" y="15063"/>
                  <a:pt x="15688" y="15094"/>
                </a:cubicBezTo>
                <a:cubicBezTo>
                  <a:pt x="15688" y="15094"/>
                  <a:pt x="15657" y="15094"/>
                  <a:pt x="15657" y="15125"/>
                </a:cubicBezTo>
                <a:cubicBezTo>
                  <a:pt x="15625" y="15094"/>
                  <a:pt x="15563" y="15094"/>
                  <a:pt x="15594" y="15031"/>
                </a:cubicBezTo>
                <a:close/>
                <a:moveTo>
                  <a:pt x="15532" y="5594"/>
                </a:moveTo>
                <a:cubicBezTo>
                  <a:pt x="15532" y="5594"/>
                  <a:pt x="15532" y="5625"/>
                  <a:pt x="15532" y="5625"/>
                </a:cubicBezTo>
                <a:cubicBezTo>
                  <a:pt x="15532" y="5625"/>
                  <a:pt x="15532" y="5625"/>
                  <a:pt x="15532" y="5625"/>
                </a:cubicBezTo>
                <a:cubicBezTo>
                  <a:pt x="15532" y="5625"/>
                  <a:pt x="15532" y="5594"/>
                  <a:pt x="15532" y="5594"/>
                </a:cubicBezTo>
                <a:close/>
                <a:moveTo>
                  <a:pt x="15438" y="9156"/>
                </a:moveTo>
                <a:cubicBezTo>
                  <a:pt x="15407" y="9156"/>
                  <a:pt x="15407" y="9188"/>
                  <a:pt x="15407" y="9219"/>
                </a:cubicBezTo>
                <a:cubicBezTo>
                  <a:pt x="15438" y="9219"/>
                  <a:pt x="15469" y="9250"/>
                  <a:pt x="15500" y="9250"/>
                </a:cubicBezTo>
                <a:cubicBezTo>
                  <a:pt x="15469" y="9250"/>
                  <a:pt x="15438" y="9219"/>
                  <a:pt x="15407" y="9219"/>
                </a:cubicBezTo>
                <a:cubicBezTo>
                  <a:pt x="15407" y="9188"/>
                  <a:pt x="15407" y="9156"/>
                  <a:pt x="15438" y="9156"/>
                </a:cubicBezTo>
                <a:close/>
                <a:moveTo>
                  <a:pt x="15407" y="9219"/>
                </a:moveTo>
                <a:cubicBezTo>
                  <a:pt x="15407" y="9219"/>
                  <a:pt x="15407" y="9219"/>
                  <a:pt x="15407" y="9219"/>
                </a:cubicBezTo>
                <a:cubicBezTo>
                  <a:pt x="15407" y="9219"/>
                  <a:pt x="15407" y="9219"/>
                  <a:pt x="15407" y="9219"/>
                </a:cubicBezTo>
                <a:cubicBezTo>
                  <a:pt x="15407" y="9219"/>
                  <a:pt x="15407" y="9219"/>
                  <a:pt x="15407" y="9219"/>
                </a:cubicBezTo>
                <a:close/>
                <a:moveTo>
                  <a:pt x="15282" y="10281"/>
                </a:moveTo>
                <a:cubicBezTo>
                  <a:pt x="15282" y="10281"/>
                  <a:pt x="15282" y="10281"/>
                  <a:pt x="15282" y="10281"/>
                </a:cubicBezTo>
                <a:cubicBezTo>
                  <a:pt x="15282" y="10281"/>
                  <a:pt x="15282" y="10281"/>
                  <a:pt x="15282" y="10281"/>
                </a:cubicBezTo>
                <a:close/>
                <a:moveTo>
                  <a:pt x="15313" y="11844"/>
                </a:moveTo>
                <a:cubicBezTo>
                  <a:pt x="15313" y="11844"/>
                  <a:pt x="15313" y="11844"/>
                  <a:pt x="15313" y="11844"/>
                </a:cubicBezTo>
                <a:cubicBezTo>
                  <a:pt x="15282" y="11844"/>
                  <a:pt x="15282" y="11844"/>
                  <a:pt x="15250" y="11813"/>
                </a:cubicBezTo>
                <a:cubicBezTo>
                  <a:pt x="15282" y="11844"/>
                  <a:pt x="15282" y="11844"/>
                  <a:pt x="15313" y="11844"/>
                </a:cubicBezTo>
                <a:close/>
                <a:moveTo>
                  <a:pt x="15282" y="13813"/>
                </a:moveTo>
                <a:cubicBezTo>
                  <a:pt x="15282" y="13813"/>
                  <a:pt x="15282" y="13813"/>
                  <a:pt x="15282" y="13813"/>
                </a:cubicBezTo>
                <a:cubicBezTo>
                  <a:pt x="15282" y="13813"/>
                  <a:pt x="15282" y="13813"/>
                  <a:pt x="15282" y="13813"/>
                </a:cubicBezTo>
                <a:close/>
                <a:moveTo>
                  <a:pt x="15282" y="15438"/>
                </a:moveTo>
                <a:cubicBezTo>
                  <a:pt x="15219" y="15438"/>
                  <a:pt x="15157" y="15469"/>
                  <a:pt x="15157" y="15344"/>
                </a:cubicBezTo>
                <a:cubicBezTo>
                  <a:pt x="15188" y="15375"/>
                  <a:pt x="15250" y="15375"/>
                  <a:pt x="15282" y="15438"/>
                </a:cubicBezTo>
                <a:close/>
                <a:moveTo>
                  <a:pt x="15125" y="5063"/>
                </a:moveTo>
                <a:cubicBezTo>
                  <a:pt x="15125" y="5031"/>
                  <a:pt x="15125" y="5031"/>
                  <a:pt x="15157" y="5000"/>
                </a:cubicBezTo>
                <a:cubicBezTo>
                  <a:pt x="15125" y="5031"/>
                  <a:pt x="15125" y="5031"/>
                  <a:pt x="15125" y="5063"/>
                </a:cubicBezTo>
                <a:close/>
                <a:moveTo>
                  <a:pt x="15157" y="13781"/>
                </a:moveTo>
                <a:cubicBezTo>
                  <a:pt x="15157" y="13781"/>
                  <a:pt x="15125" y="13813"/>
                  <a:pt x="15125" y="13813"/>
                </a:cubicBezTo>
                <a:cubicBezTo>
                  <a:pt x="15125" y="13813"/>
                  <a:pt x="15157" y="13781"/>
                  <a:pt x="15157" y="13781"/>
                </a:cubicBezTo>
                <a:close/>
                <a:moveTo>
                  <a:pt x="15125" y="5063"/>
                </a:moveTo>
                <a:cubicBezTo>
                  <a:pt x="15125" y="5063"/>
                  <a:pt x="15125" y="5063"/>
                  <a:pt x="15125" y="5063"/>
                </a:cubicBezTo>
                <a:cubicBezTo>
                  <a:pt x="15094" y="5094"/>
                  <a:pt x="15094" y="5094"/>
                  <a:pt x="15094" y="5125"/>
                </a:cubicBezTo>
                <a:cubicBezTo>
                  <a:pt x="15094" y="5094"/>
                  <a:pt x="15094" y="5094"/>
                  <a:pt x="15125" y="5063"/>
                </a:cubicBezTo>
                <a:close/>
                <a:moveTo>
                  <a:pt x="14688" y="16781"/>
                </a:moveTo>
                <a:cubicBezTo>
                  <a:pt x="14750" y="16719"/>
                  <a:pt x="14813" y="16625"/>
                  <a:pt x="14813" y="16531"/>
                </a:cubicBezTo>
                <a:cubicBezTo>
                  <a:pt x="14782" y="16500"/>
                  <a:pt x="14813" y="16469"/>
                  <a:pt x="14844" y="16438"/>
                </a:cubicBezTo>
                <a:cubicBezTo>
                  <a:pt x="15032" y="16219"/>
                  <a:pt x="15157" y="16000"/>
                  <a:pt x="15157" y="15688"/>
                </a:cubicBezTo>
                <a:cubicBezTo>
                  <a:pt x="15157" y="15594"/>
                  <a:pt x="15125" y="15469"/>
                  <a:pt x="15282" y="15500"/>
                </a:cubicBezTo>
                <a:cubicBezTo>
                  <a:pt x="15157" y="15719"/>
                  <a:pt x="15188" y="15969"/>
                  <a:pt x="15125" y="16219"/>
                </a:cubicBezTo>
                <a:cubicBezTo>
                  <a:pt x="15032" y="16438"/>
                  <a:pt x="15032" y="16719"/>
                  <a:pt x="14875" y="16938"/>
                </a:cubicBezTo>
                <a:cubicBezTo>
                  <a:pt x="14844" y="17000"/>
                  <a:pt x="14875" y="17063"/>
                  <a:pt x="14875" y="17125"/>
                </a:cubicBezTo>
                <a:cubicBezTo>
                  <a:pt x="14813" y="17125"/>
                  <a:pt x="14782" y="17156"/>
                  <a:pt x="14782" y="17219"/>
                </a:cubicBezTo>
                <a:cubicBezTo>
                  <a:pt x="14750" y="17250"/>
                  <a:pt x="14750" y="17250"/>
                  <a:pt x="14719" y="17281"/>
                </a:cubicBezTo>
                <a:cubicBezTo>
                  <a:pt x="14719" y="17250"/>
                  <a:pt x="14688" y="17250"/>
                  <a:pt x="14688" y="17250"/>
                </a:cubicBezTo>
                <a:cubicBezTo>
                  <a:pt x="14719" y="17094"/>
                  <a:pt x="14688" y="16938"/>
                  <a:pt x="14688" y="16781"/>
                </a:cubicBezTo>
                <a:close/>
                <a:moveTo>
                  <a:pt x="15282" y="15500"/>
                </a:moveTo>
                <a:cubicBezTo>
                  <a:pt x="15313" y="15469"/>
                  <a:pt x="15344" y="15469"/>
                  <a:pt x="15375" y="15469"/>
                </a:cubicBezTo>
                <a:cubicBezTo>
                  <a:pt x="15438" y="15375"/>
                  <a:pt x="15532" y="15313"/>
                  <a:pt x="15594" y="15219"/>
                </a:cubicBezTo>
                <a:cubicBezTo>
                  <a:pt x="15532" y="15313"/>
                  <a:pt x="15438" y="15375"/>
                  <a:pt x="15375" y="15469"/>
                </a:cubicBezTo>
                <a:cubicBezTo>
                  <a:pt x="15375" y="15531"/>
                  <a:pt x="15313" y="15500"/>
                  <a:pt x="15282" y="15500"/>
                </a:cubicBezTo>
                <a:close/>
                <a:moveTo>
                  <a:pt x="14594" y="9313"/>
                </a:moveTo>
                <a:cubicBezTo>
                  <a:pt x="14594" y="9313"/>
                  <a:pt x="14594" y="9313"/>
                  <a:pt x="14594" y="9313"/>
                </a:cubicBezTo>
                <a:cubicBezTo>
                  <a:pt x="14594" y="9281"/>
                  <a:pt x="14594" y="9281"/>
                  <a:pt x="14594" y="9281"/>
                </a:cubicBezTo>
                <a:cubicBezTo>
                  <a:pt x="14594" y="9281"/>
                  <a:pt x="14594" y="9281"/>
                  <a:pt x="14594" y="9313"/>
                </a:cubicBezTo>
                <a:cubicBezTo>
                  <a:pt x="14563" y="9313"/>
                  <a:pt x="14563" y="9313"/>
                  <a:pt x="14563" y="9313"/>
                </a:cubicBezTo>
                <a:cubicBezTo>
                  <a:pt x="14563" y="9313"/>
                  <a:pt x="14563" y="9313"/>
                  <a:pt x="14594" y="9313"/>
                </a:cubicBezTo>
                <a:close/>
                <a:moveTo>
                  <a:pt x="14469" y="19906"/>
                </a:moveTo>
                <a:cubicBezTo>
                  <a:pt x="14563" y="19844"/>
                  <a:pt x="14563" y="19906"/>
                  <a:pt x="14594" y="19969"/>
                </a:cubicBezTo>
                <a:cubicBezTo>
                  <a:pt x="14594" y="20000"/>
                  <a:pt x="14625" y="20031"/>
                  <a:pt x="14594" y="20063"/>
                </a:cubicBezTo>
                <a:cubicBezTo>
                  <a:pt x="14563" y="20063"/>
                  <a:pt x="14532" y="20063"/>
                  <a:pt x="14532" y="20031"/>
                </a:cubicBezTo>
                <a:cubicBezTo>
                  <a:pt x="14469" y="19969"/>
                  <a:pt x="14375" y="19969"/>
                  <a:pt x="14344" y="19906"/>
                </a:cubicBezTo>
                <a:cubicBezTo>
                  <a:pt x="14344" y="19906"/>
                  <a:pt x="14344" y="19875"/>
                  <a:pt x="14344" y="19844"/>
                </a:cubicBezTo>
                <a:cubicBezTo>
                  <a:pt x="14375" y="19875"/>
                  <a:pt x="14407" y="19938"/>
                  <a:pt x="14469" y="19906"/>
                </a:cubicBezTo>
                <a:close/>
                <a:moveTo>
                  <a:pt x="14344" y="19500"/>
                </a:moveTo>
                <a:cubicBezTo>
                  <a:pt x="14313" y="19469"/>
                  <a:pt x="14282" y="19438"/>
                  <a:pt x="14250" y="19406"/>
                </a:cubicBezTo>
                <a:cubicBezTo>
                  <a:pt x="14282" y="19438"/>
                  <a:pt x="14313" y="19469"/>
                  <a:pt x="14344" y="19500"/>
                </a:cubicBezTo>
                <a:close/>
                <a:moveTo>
                  <a:pt x="14063" y="21313"/>
                </a:moveTo>
                <a:cubicBezTo>
                  <a:pt x="14000" y="21406"/>
                  <a:pt x="14063" y="21500"/>
                  <a:pt x="14188" y="21469"/>
                </a:cubicBezTo>
                <a:cubicBezTo>
                  <a:pt x="14219" y="21406"/>
                  <a:pt x="14094" y="21406"/>
                  <a:pt x="14157" y="21344"/>
                </a:cubicBezTo>
                <a:cubicBezTo>
                  <a:pt x="14219" y="21313"/>
                  <a:pt x="14313" y="21344"/>
                  <a:pt x="14375" y="21344"/>
                </a:cubicBezTo>
                <a:cubicBezTo>
                  <a:pt x="14438" y="21375"/>
                  <a:pt x="14375" y="21438"/>
                  <a:pt x="14407" y="21469"/>
                </a:cubicBezTo>
                <a:cubicBezTo>
                  <a:pt x="14344" y="21469"/>
                  <a:pt x="14313" y="21500"/>
                  <a:pt x="14282" y="21563"/>
                </a:cubicBezTo>
                <a:cubicBezTo>
                  <a:pt x="14344" y="21563"/>
                  <a:pt x="14375" y="21656"/>
                  <a:pt x="14438" y="21688"/>
                </a:cubicBezTo>
                <a:cubicBezTo>
                  <a:pt x="14407" y="21688"/>
                  <a:pt x="14500" y="21813"/>
                  <a:pt x="14375" y="21750"/>
                </a:cubicBezTo>
                <a:cubicBezTo>
                  <a:pt x="14375" y="21750"/>
                  <a:pt x="14344" y="21750"/>
                  <a:pt x="14344" y="21781"/>
                </a:cubicBezTo>
                <a:cubicBezTo>
                  <a:pt x="14344" y="21750"/>
                  <a:pt x="14375" y="21750"/>
                  <a:pt x="14375" y="21750"/>
                </a:cubicBezTo>
                <a:cubicBezTo>
                  <a:pt x="14344" y="21719"/>
                  <a:pt x="14282" y="21688"/>
                  <a:pt x="14250" y="21688"/>
                </a:cubicBezTo>
                <a:cubicBezTo>
                  <a:pt x="14219" y="21594"/>
                  <a:pt x="14157" y="21563"/>
                  <a:pt x="14063" y="21563"/>
                </a:cubicBezTo>
                <a:cubicBezTo>
                  <a:pt x="14063" y="21594"/>
                  <a:pt x="14063" y="21625"/>
                  <a:pt x="14063" y="21625"/>
                </a:cubicBezTo>
                <a:cubicBezTo>
                  <a:pt x="14063" y="21625"/>
                  <a:pt x="14063" y="21594"/>
                  <a:pt x="14063" y="21563"/>
                </a:cubicBezTo>
                <a:cubicBezTo>
                  <a:pt x="14000" y="21469"/>
                  <a:pt x="13938" y="21438"/>
                  <a:pt x="13875" y="21531"/>
                </a:cubicBezTo>
                <a:cubicBezTo>
                  <a:pt x="13875" y="21438"/>
                  <a:pt x="13875" y="21375"/>
                  <a:pt x="13813" y="21313"/>
                </a:cubicBezTo>
                <a:cubicBezTo>
                  <a:pt x="13750" y="21313"/>
                  <a:pt x="13719" y="21375"/>
                  <a:pt x="13688" y="21375"/>
                </a:cubicBezTo>
                <a:cubicBezTo>
                  <a:pt x="13719" y="21250"/>
                  <a:pt x="13657" y="21156"/>
                  <a:pt x="13563" y="21094"/>
                </a:cubicBezTo>
                <a:cubicBezTo>
                  <a:pt x="13500" y="21031"/>
                  <a:pt x="13469" y="20969"/>
                  <a:pt x="13532" y="20906"/>
                </a:cubicBezTo>
                <a:cubicBezTo>
                  <a:pt x="13594" y="20844"/>
                  <a:pt x="13657" y="20875"/>
                  <a:pt x="13719" y="20938"/>
                </a:cubicBezTo>
                <a:cubicBezTo>
                  <a:pt x="13782" y="20969"/>
                  <a:pt x="13844" y="21031"/>
                  <a:pt x="13875" y="21125"/>
                </a:cubicBezTo>
                <a:cubicBezTo>
                  <a:pt x="13907" y="21188"/>
                  <a:pt x="13938" y="21219"/>
                  <a:pt x="14032" y="21219"/>
                </a:cubicBezTo>
                <a:cubicBezTo>
                  <a:pt x="14063" y="21219"/>
                  <a:pt x="14063" y="21250"/>
                  <a:pt x="14063" y="21313"/>
                </a:cubicBezTo>
                <a:close/>
                <a:moveTo>
                  <a:pt x="14719" y="22156"/>
                </a:moveTo>
                <a:cubicBezTo>
                  <a:pt x="14594" y="22125"/>
                  <a:pt x="14500" y="22031"/>
                  <a:pt x="14469" y="21938"/>
                </a:cubicBezTo>
                <a:cubicBezTo>
                  <a:pt x="14375" y="21938"/>
                  <a:pt x="14313" y="21938"/>
                  <a:pt x="14282" y="21844"/>
                </a:cubicBezTo>
                <a:cubicBezTo>
                  <a:pt x="14313" y="21938"/>
                  <a:pt x="14375" y="21938"/>
                  <a:pt x="14469" y="21938"/>
                </a:cubicBezTo>
                <a:cubicBezTo>
                  <a:pt x="14469" y="21938"/>
                  <a:pt x="14500" y="21938"/>
                  <a:pt x="14500" y="21906"/>
                </a:cubicBezTo>
                <a:cubicBezTo>
                  <a:pt x="14500" y="21906"/>
                  <a:pt x="14500" y="21906"/>
                  <a:pt x="14500" y="21906"/>
                </a:cubicBezTo>
                <a:cubicBezTo>
                  <a:pt x="14500" y="21938"/>
                  <a:pt x="14469" y="21938"/>
                  <a:pt x="14469" y="21938"/>
                </a:cubicBezTo>
                <a:cubicBezTo>
                  <a:pt x="14500" y="22031"/>
                  <a:pt x="14594" y="22125"/>
                  <a:pt x="14719" y="22156"/>
                </a:cubicBezTo>
                <a:close/>
                <a:moveTo>
                  <a:pt x="14375" y="23844"/>
                </a:moveTo>
                <a:cubicBezTo>
                  <a:pt x="14407" y="23844"/>
                  <a:pt x="14375" y="23875"/>
                  <a:pt x="14375" y="23875"/>
                </a:cubicBezTo>
                <a:cubicBezTo>
                  <a:pt x="14375" y="23906"/>
                  <a:pt x="14344" y="23906"/>
                  <a:pt x="14344" y="23906"/>
                </a:cubicBezTo>
                <a:cubicBezTo>
                  <a:pt x="14344" y="23875"/>
                  <a:pt x="14344" y="23844"/>
                  <a:pt x="14375" y="23844"/>
                </a:cubicBezTo>
                <a:close/>
                <a:moveTo>
                  <a:pt x="14219" y="22969"/>
                </a:moveTo>
                <a:cubicBezTo>
                  <a:pt x="14250" y="22906"/>
                  <a:pt x="14250" y="22844"/>
                  <a:pt x="14344" y="22813"/>
                </a:cubicBezTo>
                <a:cubicBezTo>
                  <a:pt x="14313" y="22875"/>
                  <a:pt x="14313" y="22938"/>
                  <a:pt x="14219" y="22969"/>
                </a:cubicBezTo>
                <a:close/>
                <a:moveTo>
                  <a:pt x="13875" y="21531"/>
                </a:moveTo>
                <a:cubicBezTo>
                  <a:pt x="13844" y="21531"/>
                  <a:pt x="13813" y="21500"/>
                  <a:pt x="13782" y="21500"/>
                </a:cubicBezTo>
                <a:cubicBezTo>
                  <a:pt x="13813" y="21500"/>
                  <a:pt x="13844" y="21531"/>
                  <a:pt x="13875" y="21531"/>
                </a:cubicBezTo>
                <a:cubicBezTo>
                  <a:pt x="13875" y="21531"/>
                  <a:pt x="13875" y="21531"/>
                  <a:pt x="13875" y="21531"/>
                </a:cubicBezTo>
                <a:close/>
                <a:moveTo>
                  <a:pt x="14000" y="20344"/>
                </a:moveTo>
                <a:cubicBezTo>
                  <a:pt x="14032" y="20375"/>
                  <a:pt x="14032" y="20406"/>
                  <a:pt x="14032" y="20438"/>
                </a:cubicBezTo>
                <a:cubicBezTo>
                  <a:pt x="14000" y="20531"/>
                  <a:pt x="13969" y="20438"/>
                  <a:pt x="13938" y="20438"/>
                </a:cubicBezTo>
                <a:cubicBezTo>
                  <a:pt x="13844" y="20469"/>
                  <a:pt x="13813" y="20438"/>
                  <a:pt x="13875" y="20344"/>
                </a:cubicBezTo>
                <a:cubicBezTo>
                  <a:pt x="13844" y="20313"/>
                  <a:pt x="13813" y="20250"/>
                  <a:pt x="13782" y="20219"/>
                </a:cubicBezTo>
                <a:cubicBezTo>
                  <a:pt x="13813" y="20250"/>
                  <a:pt x="13844" y="20313"/>
                  <a:pt x="13875" y="20344"/>
                </a:cubicBezTo>
                <a:cubicBezTo>
                  <a:pt x="13907" y="20375"/>
                  <a:pt x="13938" y="20313"/>
                  <a:pt x="14000" y="20344"/>
                </a:cubicBezTo>
                <a:close/>
                <a:moveTo>
                  <a:pt x="13844" y="19250"/>
                </a:moveTo>
                <a:cubicBezTo>
                  <a:pt x="13907" y="19281"/>
                  <a:pt x="13907" y="19313"/>
                  <a:pt x="13875" y="19344"/>
                </a:cubicBezTo>
                <a:cubicBezTo>
                  <a:pt x="13844" y="19406"/>
                  <a:pt x="13844" y="19375"/>
                  <a:pt x="13782" y="19344"/>
                </a:cubicBezTo>
                <a:cubicBezTo>
                  <a:pt x="13750" y="19313"/>
                  <a:pt x="13657" y="19313"/>
                  <a:pt x="13657" y="19250"/>
                </a:cubicBezTo>
                <a:cubicBezTo>
                  <a:pt x="13719" y="19219"/>
                  <a:pt x="13782" y="19219"/>
                  <a:pt x="13844" y="19250"/>
                </a:cubicBezTo>
                <a:close/>
                <a:moveTo>
                  <a:pt x="13688" y="19500"/>
                </a:moveTo>
                <a:cubicBezTo>
                  <a:pt x="13594" y="19500"/>
                  <a:pt x="13500" y="19438"/>
                  <a:pt x="13438" y="19375"/>
                </a:cubicBezTo>
                <a:cubicBezTo>
                  <a:pt x="13594" y="19406"/>
                  <a:pt x="13594" y="19406"/>
                  <a:pt x="13688" y="19500"/>
                </a:cubicBezTo>
                <a:close/>
                <a:moveTo>
                  <a:pt x="12688" y="6750"/>
                </a:moveTo>
                <a:cubicBezTo>
                  <a:pt x="12657" y="6750"/>
                  <a:pt x="12657" y="6750"/>
                  <a:pt x="12625" y="6750"/>
                </a:cubicBezTo>
                <a:cubicBezTo>
                  <a:pt x="12657" y="6750"/>
                  <a:pt x="12657" y="6750"/>
                  <a:pt x="12688" y="6750"/>
                </a:cubicBezTo>
                <a:close/>
                <a:moveTo>
                  <a:pt x="12532" y="20094"/>
                </a:moveTo>
                <a:cubicBezTo>
                  <a:pt x="12532" y="20094"/>
                  <a:pt x="12532" y="20063"/>
                  <a:pt x="12532" y="20063"/>
                </a:cubicBezTo>
                <a:cubicBezTo>
                  <a:pt x="12563" y="19969"/>
                  <a:pt x="12657" y="20000"/>
                  <a:pt x="12719" y="20000"/>
                </a:cubicBezTo>
                <a:cubicBezTo>
                  <a:pt x="12782" y="20000"/>
                  <a:pt x="12719" y="20063"/>
                  <a:pt x="12750" y="20094"/>
                </a:cubicBezTo>
                <a:cubicBezTo>
                  <a:pt x="12750" y="20094"/>
                  <a:pt x="12782" y="20094"/>
                  <a:pt x="12782" y="20094"/>
                </a:cubicBezTo>
                <a:cubicBezTo>
                  <a:pt x="12813" y="20094"/>
                  <a:pt x="12813" y="20125"/>
                  <a:pt x="12844" y="20125"/>
                </a:cubicBezTo>
                <a:cubicBezTo>
                  <a:pt x="12813" y="20125"/>
                  <a:pt x="12813" y="20094"/>
                  <a:pt x="12782" y="20094"/>
                </a:cubicBezTo>
                <a:cubicBezTo>
                  <a:pt x="12719" y="20125"/>
                  <a:pt x="12688" y="20156"/>
                  <a:pt x="12625" y="20094"/>
                </a:cubicBezTo>
                <a:cubicBezTo>
                  <a:pt x="12594" y="20063"/>
                  <a:pt x="12594" y="20031"/>
                  <a:pt x="12532" y="20063"/>
                </a:cubicBezTo>
                <a:cubicBezTo>
                  <a:pt x="12500" y="20094"/>
                  <a:pt x="12532" y="20125"/>
                  <a:pt x="12532" y="20156"/>
                </a:cubicBezTo>
                <a:cubicBezTo>
                  <a:pt x="12469" y="20156"/>
                  <a:pt x="12375" y="20219"/>
                  <a:pt x="12375" y="20156"/>
                </a:cubicBezTo>
                <a:cubicBezTo>
                  <a:pt x="12375" y="20063"/>
                  <a:pt x="12500" y="20156"/>
                  <a:pt x="12532" y="20094"/>
                </a:cubicBezTo>
                <a:close/>
                <a:moveTo>
                  <a:pt x="12563" y="21125"/>
                </a:moveTo>
                <a:cubicBezTo>
                  <a:pt x="12563" y="21125"/>
                  <a:pt x="12594" y="21125"/>
                  <a:pt x="12594" y="21125"/>
                </a:cubicBezTo>
                <a:cubicBezTo>
                  <a:pt x="12657" y="21125"/>
                  <a:pt x="12625" y="21188"/>
                  <a:pt x="12625" y="21219"/>
                </a:cubicBezTo>
                <a:cubicBezTo>
                  <a:pt x="12657" y="21219"/>
                  <a:pt x="12688" y="21250"/>
                  <a:pt x="12688" y="21250"/>
                </a:cubicBezTo>
                <a:cubicBezTo>
                  <a:pt x="12719" y="21313"/>
                  <a:pt x="12719" y="21344"/>
                  <a:pt x="12688" y="21375"/>
                </a:cubicBezTo>
                <a:cubicBezTo>
                  <a:pt x="12688" y="21375"/>
                  <a:pt x="12657" y="21375"/>
                  <a:pt x="12657" y="21375"/>
                </a:cubicBezTo>
                <a:cubicBezTo>
                  <a:pt x="12594" y="21375"/>
                  <a:pt x="12594" y="21344"/>
                  <a:pt x="12594" y="21313"/>
                </a:cubicBezTo>
                <a:cubicBezTo>
                  <a:pt x="12594" y="21281"/>
                  <a:pt x="12594" y="21219"/>
                  <a:pt x="12594" y="21188"/>
                </a:cubicBezTo>
                <a:cubicBezTo>
                  <a:pt x="12532" y="21188"/>
                  <a:pt x="12469" y="21219"/>
                  <a:pt x="12469" y="21281"/>
                </a:cubicBezTo>
                <a:cubicBezTo>
                  <a:pt x="12469" y="21219"/>
                  <a:pt x="12532" y="21188"/>
                  <a:pt x="12594" y="21188"/>
                </a:cubicBezTo>
                <a:cubicBezTo>
                  <a:pt x="12594" y="21188"/>
                  <a:pt x="12563" y="21156"/>
                  <a:pt x="12563" y="21125"/>
                </a:cubicBezTo>
                <a:close/>
                <a:moveTo>
                  <a:pt x="12219" y="22281"/>
                </a:moveTo>
                <a:cubicBezTo>
                  <a:pt x="12250" y="22250"/>
                  <a:pt x="12282" y="22219"/>
                  <a:pt x="12282" y="22188"/>
                </a:cubicBezTo>
                <a:cubicBezTo>
                  <a:pt x="12282" y="22219"/>
                  <a:pt x="12250" y="22250"/>
                  <a:pt x="12219" y="22281"/>
                </a:cubicBezTo>
                <a:close/>
                <a:moveTo>
                  <a:pt x="11969" y="6875"/>
                </a:moveTo>
                <a:cubicBezTo>
                  <a:pt x="11969" y="6875"/>
                  <a:pt x="12000" y="6875"/>
                  <a:pt x="12000" y="6875"/>
                </a:cubicBezTo>
                <a:cubicBezTo>
                  <a:pt x="12000" y="6875"/>
                  <a:pt x="11969" y="6875"/>
                  <a:pt x="11969" y="6875"/>
                </a:cubicBezTo>
                <a:close/>
                <a:moveTo>
                  <a:pt x="12000" y="22906"/>
                </a:moveTo>
                <a:cubicBezTo>
                  <a:pt x="11969" y="22906"/>
                  <a:pt x="11969" y="22875"/>
                  <a:pt x="11969" y="22844"/>
                </a:cubicBezTo>
                <a:cubicBezTo>
                  <a:pt x="12000" y="22844"/>
                  <a:pt x="12063" y="22938"/>
                  <a:pt x="12094" y="22844"/>
                </a:cubicBezTo>
                <a:cubicBezTo>
                  <a:pt x="12094" y="22688"/>
                  <a:pt x="12157" y="22750"/>
                  <a:pt x="12219" y="22781"/>
                </a:cubicBezTo>
                <a:cubicBezTo>
                  <a:pt x="12125" y="22969"/>
                  <a:pt x="12094" y="23000"/>
                  <a:pt x="12000" y="22906"/>
                </a:cubicBezTo>
                <a:close/>
                <a:moveTo>
                  <a:pt x="12375" y="22375"/>
                </a:moveTo>
                <a:cubicBezTo>
                  <a:pt x="12375" y="22438"/>
                  <a:pt x="12375" y="22469"/>
                  <a:pt x="12375" y="22500"/>
                </a:cubicBezTo>
                <a:cubicBezTo>
                  <a:pt x="12313" y="22500"/>
                  <a:pt x="12250" y="22500"/>
                  <a:pt x="12313" y="22438"/>
                </a:cubicBezTo>
                <a:cubicBezTo>
                  <a:pt x="12375" y="22344"/>
                  <a:pt x="12282" y="22375"/>
                  <a:pt x="12250" y="22375"/>
                </a:cubicBezTo>
                <a:cubicBezTo>
                  <a:pt x="12125" y="22406"/>
                  <a:pt x="12094" y="22531"/>
                  <a:pt x="12063" y="22625"/>
                </a:cubicBezTo>
                <a:cubicBezTo>
                  <a:pt x="12094" y="22531"/>
                  <a:pt x="12125" y="22406"/>
                  <a:pt x="12250" y="22375"/>
                </a:cubicBezTo>
                <a:cubicBezTo>
                  <a:pt x="12250" y="22344"/>
                  <a:pt x="12219" y="22313"/>
                  <a:pt x="12219" y="22281"/>
                </a:cubicBezTo>
                <a:cubicBezTo>
                  <a:pt x="12282" y="22313"/>
                  <a:pt x="12313" y="22344"/>
                  <a:pt x="12375" y="22375"/>
                </a:cubicBezTo>
                <a:cubicBezTo>
                  <a:pt x="12469" y="22375"/>
                  <a:pt x="12438" y="22313"/>
                  <a:pt x="12438" y="22281"/>
                </a:cubicBezTo>
                <a:cubicBezTo>
                  <a:pt x="12438" y="22313"/>
                  <a:pt x="12469" y="22375"/>
                  <a:pt x="12375" y="22375"/>
                </a:cubicBezTo>
                <a:close/>
                <a:moveTo>
                  <a:pt x="12438" y="22156"/>
                </a:moveTo>
                <a:cubicBezTo>
                  <a:pt x="12438" y="22125"/>
                  <a:pt x="12407" y="22063"/>
                  <a:pt x="12469" y="22094"/>
                </a:cubicBezTo>
                <a:cubicBezTo>
                  <a:pt x="12532" y="22094"/>
                  <a:pt x="12469" y="22125"/>
                  <a:pt x="12469" y="22156"/>
                </a:cubicBezTo>
                <a:cubicBezTo>
                  <a:pt x="12469" y="22156"/>
                  <a:pt x="12469" y="22156"/>
                  <a:pt x="12469" y="22156"/>
                </a:cubicBezTo>
                <a:cubicBezTo>
                  <a:pt x="12500" y="22219"/>
                  <a:pt x="12532" y="22250"/>
                  <a:pt x="12469" y="22250"/>
                </a:cubicBezTo>
                <a:cubicBezTo>
                  <a:pt x="12438" y="22219"/>
                  <a:pt x="12407" y="22188"/>
                  <a:pt x="12438" y="22156"/>
                </a:cubicBezTo>
                <a:close/>
                <a:moveTo>
                  <a:pt x="12719" y="22500"/>
                </a:moveTo>
                <a:cubicBezTo>
                  <a:pt x="12750" y="22531"/>
                  <a:pt x="12688" y="22563"/>
                  <a:pt x="12688" y="22594"/>
                </a:cubicBezTo>
                <a:cubicBezTo>
                  <a:pt x="12625" y="22656"/>
                  <a:pt x="12594" y="22719"/>
                  <a:pt x="12625" y="22813"/>
                </a:cubicBezTo>
                <a:cubicBezTo>
                  <a:pt x="12563" y="22844"/>
                  <a:pt x="12532" y="22813"/>
                  <a:pt x="12563" y="22750"/>
                </a:cubicBezTo>
                <a:cubicBezTo>
                  <a:pt x="12563" y="22719"/>
                  <a:pt x="12594" y="22688"/>
                  <a:pt x="12532" y="22656"/>
                </a:cubicBezTo>
                <a:cubicBezTo>
                  <a:pt x="12532" y="22656"/>
                  <a:pt x="12532" y="22656"/>
                  <a:pt x="12532" y="22656"/>
                </a:cubicBezTo>
                <a:cubicBezTo>
                  <a:pt x="12532" y="22656"/>
                  <a:pt x="12532" y="22656"/>
                  <a:pt x="12532" y="22656"/>
                </a:cubicBezTo>
                <a:cubicBezTo>
                  <a:pt x="12500" y="22625"/>
                  <a:pt x="12469" y="22625"/>
                  <a:pt x="12469" y="22594"/>
                </a:cubicBezTo>
                <a:cubicBezTo>
                  <a:pt x="12469" y="22625"/>
                  <a:pt x="12500" y="22625"/>
                  <a:pt x="12532" y="22656"/>
                </a:cubicBezTo>
                <a:cubicBezTo>
                  <a:pt x="12594" y="22688"/>
                  <a:pt x="12594" y="22625"/>
                  <a:pt x="12625" y="22563"/>
                </a:cubicBezTo>
                <a:cubicBezTo>
                  <a:pt x="12625" y="22531"/>
                  <a:pt x="12625" y="22469"/>
                  <a:pt x="12719" y="22500"/>
                </a:cubicBezTo>
                <a:cubicBezTo>
                  <a:pt x="12719" y="22438"/>
                  <a:pt x="12719" y="22344"/>
                  <a:pt x="12750" y="22313"/>
                </a:cubicBezTo>
                <a:cubicBezTo>
                  <a:pt x="12719" y="22344"/>
                  <a:pt x="12719" y="22438"/>
                  <a:pt x="12719" y="22500"/>
                </a:cubicBezTo>
                <a:close/>
                <a:moveTo>
                  <a:pt x="13063" y="20406"/>
                </a:moveTo>
                <a:cubicBezTo>
                  <a:pt x="12938" y="20406"/>
                  <a:pt x="12938" y="20438"/>
                  <a:pt x="13000" y="20500"/>
                </a:cubicBezTo>
                <a:cubicBezTo>
                  <a:pt x="13063" y="20594"/>
                  <a:pt x="13063" y="20594"/>
                  <a:pt x="12969" y="20625"/>
                </a:cubicBezTo>
                <a:cubicBezTo>
                  <a:pt x="12938" y="20625"/>
                  <a:pt x="12938" y="20688"/>
                  <a:pt x="12907" y="20656"/>
                </a:cubicBezTo>
                <a:cubicBezTo>
                  <a:pt x="12907" y="20656"/>
                  <a:pt x="12907" y="20656"/>
                  <a:pt x="12907" y="20656"/>
                </a:cubicBezTo>
                <a:cubicBezTo>
                  <a:pt x="12907" y="20656"/>
                  <a:pt x="12907" y="20625"/>
                  <a:pt x="12907" y="20625"/>
                </a:cubicBezTo>
                <a:cubicBezTo>
                  <a:pt x="12875" y="20625"/>
                  <a:pt x="12844" y="20594"/>
                  <a:pt x="12844" y="20594"/>
                </a:cubicBezTo>
                <a:cubicBezTo>
                  <a:pt x="12844" y="20594"/>
                  <a:pt x="12875" y="20625"/>
                  <a:pt x="12907" y="20625"/>
                </a:cubicBezTo>
                <a:cubicBezTo>
                  <a:pt x="12907" y="20563"/>
                  <a:pt x="12969" y="20500"/>
                  <a:pt x="12907" y="20438"/>
                </a:cubicBezTo>
                <a:cubicBezTo>
                  <a:pt x="12813" y="20375"/>
                  <a:pt x="12782" y="20469"/>
                  <a:pt x="12719" y="20469"/>
                </a:cubicBezTo>
                <a:cubicBezTo>
                  <a:pt x="12719" y="20469"/>
                  <a:pt x="12719" y="20469"/>
                  <a:pt x="12688" y="20469"/>
                </a:cubicBezTo>
                <a:cubicBezTo>
                  <a:pt x="12688" y="20469"/>
                  <a:pt x="12688" y="20438"/>
                  <a:pt x="12688" y="20438"/>
                </a:cubicBezTo>
                <a:cubicBezTo>
                  <a:pt x="12688" y="20438"/>
                  <a:pt x="12688" y="20469"/>
                  <a:pt x="12688" y="20469"/>
                </a:cubicBezTo>
                <a:cubicBezTo>
                  <a:pt x="12688" y="20406"/>
                  <a:pt x="12719" y="20406"/>
                  <a:pt x="12750" y="20375"/>
                </a:cubicBezTo>
                <a:cubicBezTo>
                  <a:pt x="12782" y="20344"/>
                  <a:pt x="12813" y="20313"/>
                  <a:pt x="12782" y="20281"/>
                </a:cubicBezTo>
                <a:cubicBezTo>
                  <a:pt x="12750" y="20250"/>
                  <a:pt x="12719" y="20281"/>
                  <a:pt x="12688" y="20281"/>
                </a:cubicBezTo>
                <a:cubicBezTo>
                  <a:pt x="12657" y="20313"/>
                  <a:pt x="12594" y="20313"/>
                  <a:pt x="12563" y="20313"/>
                </a:cubicBezTo>
                <a:cubicBezTo>
                  <a:pt x="12563" y="20250"/>
                  <a:pt x="12563" y="20219"/>
                  <a:pt x="12532" y="20156"/>
                </a:cubicBezTo>
                <a:cubicBezTo>
                  <a:pt x="12657" y="20188"/>
                  <a:pt x="12750" y="20188"/>
                  <a:pt x="12813" y="20313"/>
                </a:cubicBezTo>
                <a:cubicBezTo>
                  <a:pt x="12813" y="20344"/>
                  <a:pt x="12875" y="20344"/>
                  <a:pt x="12875" y="20313"/>
                </a:cubicBezTo>
                <a:cubicBezTo>
                  <a:pt x="12907" y="20281"/>
                  <a:pt x="12969" y="20250"/>
                  <a:pt x="12907" y="20219"/>
                </a:cubicBezTo>
                <a:cubicBezTo>
                  <a:pt x="12875" y="20219"/>
                  <a:pt x="12907" y="20188"/>
                  <a:pt x="12875" y="20156"/>
                </a:cubicBezTo>
                <a:cubicBezTo>
                  <a:pt x="12938" y="20188"/>
                  <a:pt x="13000" y="20219"/>
                  <a:pt x="13063" y="20250"/>
                </a:cubicBezTo>
                <a:cubicBezTo>
                  <a:pt x="13032" y="20281"/>
                  <a:pt x="12969" y="20313"/>
                  <a:pt x="13000" y="20344"/>
                </a:cubicBezTo>
                <a:cubicBezTo>
                  <a:pt x="13032" y="20406"/>
                  <a:pt x="13094" y="20375"/>
                  <a:pt x="13125" y="20375"/>
                </a:cubicBezTo>
                <a:cubicBezTo>
                  <a:pt x="13094" y="20375"/>
                  <a:pt x="13063" y="20406"/>
                  <a:pt x="13063" y="20406"/>
                </a:cubicBezTo>
                <a:close/>
                <a:moveTo>
                  <a:pt x="13157" y="20688"/>
                </a:moveTo>
                <a:cubicBezTo>
                  <a:pt x="13157" y="20688"/>
                  <a:pt x="13157" y="20688"/>
                  <a:pt x="13157" y="20688"/>
                </a:cubicBezTo>
                <a:cubicBezTo>
                  <a:pt x="13157" y="20688"/>
                  <a:pt x="13157" y="20688"/>
                  <a:pt x="13157" y="20688"/>
                </a:cubicBezTo>
                <a:cubicBezTo>
                  <a:pt x="13188" y="20656"/>
                  <a:pt x="13188" y="20625"/>
                  <a:pt x="13188" y="20594"/>
                </a:cubicBezTo>
                <a:cubicBezTo>
                  <a:pt x="13250" y="20594"/>
                  <a:pt x="13219" y="20563"/>
                  <a:pt x="13250" y="20531"/>
                </a:cubicBezTo>
                <a:cubicBezTo>
                  <a:pt x="13250" y="20563"/>
                  <a:pt x="13313" y="20563"/>
                  <a:pt x="13313" y="20625"/>
                </a:cubicBezTo>
                <a:cubicBezTo>
                  <a:pt x="13313" y="20656"/>
                  <a:pt x="13250" y="20656"/>
                  <a:pt x="13219" y="20656"/>
                </a:cubicBezTo>
                <a:cubicBezTo>
                  <a:pt x="13188" y="20656"/>
                  <a:pt x="13188" y="20688"/>
                  <a:pt x="13157" y="20688"/>
                </a:cubicBezTo>
                <a:close/>
                <a:moveTo>
                  <a:pt x="13219" y="20781"/>
                </a:moveTo>
                <a:cubicBezTo>
                  <a:pt x="13313" y="20750"/>
                  <a:pt x="13375" y="20781"/>
                  <a:pt x="13438" y="20719"/>
                </a:cubicBezTo>
                <a:cubicBezTo>
                  <a:pt x="13469" y="20656"/>
                  <a:pt x="13375" y="20656"/>
                  <a:pt x="13375" y="20594"/>
                </a:cubicBezTo>
                <a:cubicBezTo>
                  <a:pt x="13407" y="20594"/>
                  <a:pt x="13469" y="20563"/>
                  <a:pt x="13500" y="20594"/>
                </a:cubicBezTo>
                <a:cubicBezTo>
                  <a:pt x="13500" y="20656"/>
                  <a:pt x="13532" y="20750"/>
                  <a:pt x="13438" y="20781"/>
                </a:cubicBezTo>
                <a:cubicBezTo>
                  <a:pt x="13375" y="20813"/>
                  <a:pt x="13282" y="20875"/>
                  <a:pt x="13219" y="20781"/>
                </a:cubicBezTo>
                <a:close/>
                <a:moveTo>
                  <a:pt x="13344" y="21406"/>
                </a:moveTo>
                <a:cubicBezTo>
                  <a:pt x="13282" y="21406"/>
                  <a:pt x="13250" y="21438"/>
                  <a:pt x="13250" y="21375"/>
                </a:cubicBezTo>
                <a:cubicBezTo>
                  <a:pt x="13250" y="21344"/>
                  <a:pt x="13250" y="21344"/>
                  <a:pt x="13219" y="21313"/>
                </a:cubicBezTo>
                <a:cubicBezTo>
                  <a:pt x="13250" y="21313"/>
                  <a:pt x="13282" y="21313"/>
                  <a:pt x="13313" y="21313"/>
                </a:cubicBezTo>
                <a:cubicBezTo>
                  <a:pt x="13344" y="21344"/>
                  <a:pt x="13344" y="21344"/>
                  <a:pt x="13344" y="21406"/>
                </a:cubicBezTo>
                <a:close/>
                <a:moveTo>
                  <a:pt x="13250" y="23656"/>
                </a:moveTo>
                <a:cubicBezTo>
                  <a:pt x="13250" y="23656"/>
                  <a:pt x="13219" y="23656"/>
                  <a:pt x="13219" y="23656"/>
                </a:cubicBezTo>
                <a:cubicBezTo>
                  <a:pt x="13219" y="23625"/>
                  <a:pt x="13219" y="23594"/>
                  <a:pt x="13250" y="23563"/>
                </a:cubicBezTo>
                <a:cubicBezTo>
                  <a:pt x="13250" y="23531"/>
                  <a:pt x="13282" y="23531"/>
                  <a:pt x="13282" y="23563"/>
                </a:cubicBezTo>
                <a:cubicBezTo>
                  <a:pt x="13313" y="23563"/>
                  <a:pt x="13313" y="23594"/>
                  <a:pt x="13344" y="23625"/>
                </a:cubicBezTo>
                <a:lnTo>
                  <a:pt x="13344" y="23625"/>
                </a:lnTo>
                <a:moveTo>
                  <a:pt x="13438" y="23438"/>
                </a:moveTo>
                <a:cubicBezTo>
                  <a:pt x="13375" y="23406"/>
                  <a:pt x="13344" y="23344"/>
                  <a:pt x="13375" y="23281"/>
                </a:cubicBezTo>
                <a:cubicBezTo>
                  <a:pt x="13375" y="23250"/>
                  <a:pt x="13438" y="23250"/>
                  <a:pt x="13438" y="23281"/>
                </a:cubicBezTo>
                <a:cubicBezTo>
                  <a:pt x="13532" y="23344"/>
                  <a:pt x="13407" y="23375"/>
                  <a:pt x="13438" y="23438"/>
                </a:cubicBezTo>
                <a:close/>
                <a:moveTo>
                  <a:pt x="13438" y="22344"/>
                </a:moveTo>
                <a:cubicBezTo>
                  <a:pt x="13438" y="22344"/>
                  <a:pt x="13438" y="22375"/>
                  <a:pt x="13438" y="22375"/>
                </a:cubicBezTo>
                <a:cubicBezTo>
                  <a:pt x="13438" y="22375"/>
                  <a:pt x="13438" y="22375"/>
                  <a:pt x="13438" y="22375"/>
                </a:cubicBezTo>
                <a:cubicBezTo>
                  <a:pt x="13438" y="22375"/>
                  <a:pt x="13438" y="22344"/>
                  <a:pt x="13438" y="22344"/>
                </a:cubicBezTo>
                <a:close/>
                <a:moveTo>
                  <a:pt x="13469" y="22156"/>
                </a:moveTo>
                <a:cubicBezTo>
                  <a:pt x="13469" y="22125"/>
                  <a:pt x="13500" y="22125"/>
                  <a:pt x="13500" y="22094"/>
                </a:cubicBezTo>
                <a:cubicBezTo>
                  <a:pt x="13500" y="22000"/>
                  <a:pt x="13344" y="22031"/>
                  <a:pt x="13344" y="21938"/>
                </a:cubicBezTo>
                <a:cubicBezTo>
                  <a:pt x="13407" y="21906"/>
                  <a:pt x="13407" y="21875"/>
                  <a:pt x="13375" y="21813"/>
                </a:cubicBezTo>
                <a:cubicBezTo>
                  <a:pt x="13375" y="21813"/>
                  <a:pt x="13344" y="21781"/>
                  <a:pt x="13344" y="21813"/>
                </a:cubicBezTo>
                <a:cubicBezTo>
                  <a:pt x="13313" y="21813"/>
                  <a:pt x="13313" y="21844"/>
                  <a:pt x="13313" y="21875"/>
                </a:cubicBezTo>
                <a:cubicBezTo>
                  <a:pt x="13313" y="21875"/>
                  <a:pt x="13313" y="21875"/>
                  <a:pt x="13313" y="21906"/>
                </a:cubicBezTo>
                <a:cubicBezTo>
                  <a:pt x="13282" y="21875"/>
                  <a:pt x="13282" y="21938"/>
                  <a:pt x="13250" y="21938"/>
                </a:cubicBezTo>
                <a:cubicBezTo>
                  <a:pt x="13219" y="21813"/>
                  <a:pt x="13250" y="21781"/>
                  <a:pt x="13375" y="21750"/>
                </a:cubicBezTo>
                <a:cubicBezTo>
                  <a:pt x="13438" y="21750"/>
                  <a:pt x="13438" y="21688"/>
                  <a:pt x="13500" y="21656"/>
                </a:cubicBezTo>
                <a:cubicBezTo>
                  <a:pt x="13563" y="21719"/>
                  <a:pt x="13688" y="21625"/>
                  <a:pt x="13750" y="21750"/>
                </a:cubicBezTo>
                <a:cubicBezTo>
                  <a:pt x="13750" y="21750"/>
                  <a:pt x="13750" y="21750"/>
                  <a:pt x="13750" y="21750"/>
                </a:cubicBezTo>
                <a:cubicBezTo>
                  <a:pt x="13750" y="21813"/>
                  <a:pt x="13750" y="21844"/>
                  <a:pt x="13657" y="21844"/>
                </a:cubicBezTo>
                <a:cubicBezTo>
                  <a:pt x="13532" y="21813"/>
                  <a:pt x="13532" y="21906"/>
                  <a:pt x="13532" y="22000"/>
                </a:cubicBezTo>
                <a:cubicBezTo>
                  <a:pt x="13657" y="22000"/>
                  <a:pt x="13657" y="22031"/>
                  <a:pt x="13657" y="22063"/>
                </a:cubicBezTo>
                <a:cubicBezTo>
                  <a:pt x="13657" y="22031"/>
                  <a:pt x="13657" y="22000"/>
                  <a:pt x="13532" y="22000"/>
                </a:cubicBezTo>
                <a:cubicBezTo>
                  <a:pt x="13532" y="22031"/>
                  <a:pt x="13532" y="22063"/>
                  <a:pt x="13532" y="22094"/>
                </a:cubicBezTo>
                <a:cubicBezTo>
                  <a:pt x="13500" y="22094"/>
                  <a:pt x="13500" y="22094"/>
                  <a:pt x="13500" y="22094"/>
                </a:cubicBezTo>
                <a:cubicBezTo>
                  <a:pt x="13500" y="22125"/>
                  <a:pt x="13469" y="22125"/>
                  <a:pt x="13469" y="22156"/>
                </a:cubicBezTo>
                <a:close/>
                <a:moveTo>
                  <a:pt x="13625" y="22406"/>
                </a:moveTo>
                <a:cubicBezTo>
                  <a:pt x="13625" y="22406"/>
                  <a:pt x="13625" y="22406"/>
                  <a:pt x="13594" y="22406"/>
                </a:cubicBezTo>
                <a:cubicBezTo>
                  <a:pt x="13625" y="22406"/>
                  <a:pt x="13625" y="22406"/>
                  <a:pt x="13625" y="22406"/>
                </a:cubicBezTo>
                <a:close/>
                <a:moveTo>
                  <a:pt x="13625" y="22906"/>
                </a:moveTo>
                <a:cubicBezTo>
                  <a:pt x="13688" y="23000"/>
                  <a:pt x="13563" y="23031"/>
                  <a:pt x="13563" y="23094"/>
                </a:cubicBezTo>
                <a:cubicBezTo>
                  <a:pt x="13500" y="23000"/>
                  <a:pt x="13563" y="22969"/>
                  <a:pt x="13594" y="22906"/>
                </a:cubicBezTo>
                <a:cubicBezTo>
                  <a:pt x="13625" y="22906"/>
                  <a:pt x="13625" y="22906"/>
                  <a:pt x="13625" y="22906"/>
                </a:cubicBezTo>
                <a:close/>
                <a:moveTo>
                  <a:pt x="13688" y="23688"/>
                </a:moveTo>
                <a:cubicBezTo>
                  <a:pt x="13625" y="23750"/>
                  <a:pt x="13594" y="23813"/>
                  <a:pt x="13500" y="23813"/>
                </a:cubicBezTo>
                <a:cubicBezTo>
                  <a:pt x="13469" y="23656"/>
                  <a:pt x="13594" y="23688"/>
                  <a:pt x="13688" y="23688"/>
                </a:cubicBezTo>
                <a:cubicBezTo>
                  <a:pt x="13688" y="23688"/>
                  <a:pt x="13688" y="23688"/>
                  <a:pt x="13688" y="23688"/>
                </a:cubicBezTo>
                <a:close/>
                <a:moveTo>
                  <a:pt x="13969" y="22188"/>
                </a:moveTo>
                <a:cubicBezTo>
                  <a:pt x="13969" y="22188"/>
                  <a:pt x="13969" y="22188"/>
                  <a:pt x="13969" y="22188"/>
                </a:cubicBezTo>
                <a:cubicBezTo>
                  <a:pt x="13969" y="22375"/>
                  <a:pt x="13844" y="22438"/>
                  <a:pt x="13688" y="22406"/>
                </a:cubicBezTo>
                <a:cubicBezTo>
                  <a:pt x="13688" y="22438"/>
                  <a:pt x="13688" y="22469"/>
                  <a:pt x="13688" y="22531"/>
                </a:cubicBezTo>
                <a:cubicBezTo>
                  <a:pt x="13688" y="22469"/>
                  <a:pt x="13688" y="22438"/>
                  <a:pt x="13688" y="22406"/>
                </a:cubicBezTo>
                <a:cubicBezTo>
                  <a:pt x="13657" y="22406"/>
                  <a:pt x="13657" y="22406"/>
                  <a:pt x="13625" y="22406"/>
                </a:cubicBezTo>
                <a:cubicBezTo>
                  <a:pt x="13625" y="22375"/>
                  <a:pt x="13625" y="22344"/>
                  <a:pt x="13625" y="22313"/>
                </a:cubicBezTo>
                <a:cubicBezTo>
                  <a:pt x="13750" y="22281"/>
                  <a:pt x="13875" y="22188"/>
                  <a:pt x="13844" y="22031"/>
                </a:cubicBezTo>
                <a:cubicBezTo>
                  <a:pt x="13844" y="22000"/>
                  <a:pt x="13875" y="21969"/>
                  <a:pt x="13907" y="22000"/>
                </a:cubicBezTo>
                <a:cubicBezTo>
                  <a:pt x="13875" y="21906"/>
                  <a:pt x="13875" y="21844"/>
                  <a:pt x="13782" y="21781"/>
                </a:cubicBezTo>
                <a:cubicBezTo>
                  <a:pt x="13875" y="21844"/>
                  <a:pt x="13875" y="21906"/>
                  <a:pt x="13907" y="22000"/>
                </a:cubicBezTo>
                <a:cubicBezTo>
                  <a:pt x="13938" y="22063"/>
                  <a:pt x="14000" y="22125"/>
                  <a:pt x="13969" y="22188"/>
                </a:cubicBezTo>
                <a:close/>
                <a:moveTo>
                  <a:pt x="14094" y="22156"/>
                </a:moveTo>
                <a:cubicBezTo>
                  <a:pt x="14063" y="22156"/>
                  <a:pt x="14063" y="22156"/>
                  <a:pt x="14032" y="22125"/>
                </a:cubicBezTo>
                <a:cubicBezTo>
                  <a:pt x="14032" y="22156"/>
                  <a:pt x="14032" y="22188"/>
                  <a:pt x="14032" y="22188"/>
                </a:cubicBezTo>
                <a:cubicBezTo>
                  <a:pt x="14032" y="22188"/>
                  <a:pt x="14032" y="22156"/>
                  <a:pt x="14032" y="22125"/>
                </a:cubicBezTo>
                <a:cubicBezTo>
                  <a:pt x="14032" y="22125"/>
                  <a:pt x="14032" y="22125"/>
                  <a:pt x="14032" y="22125"/>
                </a:cubicBezTo>
                <a:cubicBezTo>
                  <a:pt x="14032" y="22094"/>
                  <a:pt x="14032" y="22031"/>
                  <a:pt x="14063" y="22000"/>
                </a:cubicBezTo>
                <a:cubicBezTo>
                  <a:pt x="14094" y="22000"/>
                  <a:pt x="14125" y="22000"/>
                  <a:pt x="14125" y="22031"/>
                </a:cubicBezTo>
                <a:cubicBezTo>
                  <a:pt x="14157" y="22094"/>
                  <a:pt x="14125" y="22125"/>
                  <a:pt x="14094" y="22156"/>
                </a:cubicBezTo>
                <a:close/>
                <a:moveTo>
                  <a:pt x="14344" y="23906"/>
                </a:moveTo>
                <a:cubicBezTo>
                  <a:pt x="14313" y="23969"/>
                  <a:pt x="14282" y="24000"/>
                  <a:pt x="14188" y="24000"/>
                </a:cubicBezTo>
                <a:cubicBezTo>
                  <a:pt x="14219" y="23906"/>
                  <a:pt x="14282" y="23906"/>
                  <a:pt x="14344" y="23906"/>
                </a:cubicBezTo>
                <a:close/>
                <a:moveTo>
                  <a:pt x="14313" y="31281"/>
                </a:moveTo>
                <a:cubicBezTo>
                  <a:pt x="14313" y="31250"/>
                  <a:pt x="14282" y="31219"/>
                  <a:pt x="14250" y="31219"/>
                </a:cubicBezTo>
                <a:cubicBezTo>
                  <a:pt x="14282" y="31219"/>
                  <a:pt x="14313" y="31250"/>
                  <a:pt x="14313" y="31281"/>
                </a:cubicBezTo>
                <a:cubicBezTo>
                  <a:pt x="14344" y="31281"/>
                  <a:pt x="14375" y="31281"/>
                  <a:pt x="14407" y="31313"/>
                </a:cubicBezTo>
                <a:cubicBezTo>
                  <a:pt x="14375" y="31281"/>
                  <a:pt x="14344" y="31281"/>
                  <a:pt x="14313" y="31281"/>
                </a:cubicBezTo>
                <a:close/>
                <a:moveTo>
                  <a:pt x="14375" y="23906"/>
                </a:moveTo>
                <a:cubicBezTo>
                  <a:pt x="14375" y="23906"/>
                  <a:pt x="14375" y="23906"/>
                  <a:pt x="14375" y="23906"/>
                </a:cubicBezTo>
                <a:cubicBezTo>
                  <a:pt x="14407" y="23875"/>
                  <a:pt x="14438" y="23875"/>
                  <a:pt x="14469" y="23875"/>
                </a:cubicBezTo>
                <a:cubicBezTo>
                  <a:pt x="14438" y="23875"/>
                  <a:pt x="14407" y="23875"/>
                  <a:pt x="14375" y="23906"/>
                </a:cubicBezTo>
                <a:close/>
                <a:moveTo>
                  <a:pt x="14563" y="23219"/>
                </a:moveTo>
                <a:cubicBezTo>
                  <a:pt x="14563" y="23250"/>
                  <a:pt x="14532" y="23281"/>
                  <a:pt x="14500" y="23313"/>
                </a:cubicBezTo>
                <a:cubicBezTo>
                  <a:pt x="14438" y="23156"/>
                  <a:pt x="14469" y="23000"/>
                  <a:pt x="14438" y="22844"/>
                </a:cubicBezTo>
                <a:cubicBezTo>
                  <a:pt x="14438" y="22781"/>
                  <a:pt x="14500" y="22750"/>
                  <a:pt x="14563" y="22781"/>
                </a:cubicBezTo>
                <a:cubicBezTo>
                  <a:pt x="14594" y="22750"/>
                  <a:pt x="14594" y="22750"/>
                  <a:pt x="14594" y="22750"/>
                </a:cubicBezTo>
                <a:cubicBezTo>
                  <a:pt x="14594" y="22750"/>
                  <a:pt x="14594" y="22750"/>
                  <a:pt x="14563" y="22781"/>
                </a:cubicBezTo>
                <a:cubicBezTo>
                  <a:pt x="14532" y="22844"/>
                  <a:pt x="14532" y="22875"/>
                  <a:pt x="14563" y="22938"/>
                </a:cubicBezTo>
                <a:cubicBezTo>
                  <a:pt x="14657" y="23031"/>
                  <a:pt x="14532" y="23125"/>
                  <a:pt x="14563" y="23219"/>
                </a:cubicBezTo>
                <a:close/>
                <a:moveTo>
                  <a:pt x="14719" y="24000"/>
                </a:moveTo>
                <a:cubicBezTo>
                  <a:pt x="14719" y="24031"/>
                  <a:pt x="14657" y="24094"/>
                  <a:pt x="14594" y="24094"/>
                </a:cubicBezTo>
                <a:cubicBezTo>
                  <a:pt x="14594" y="23969"/>
                  <a:pt x="14625" y="23875"/>
                  <a:pt x="14657" y="23750"/>
                </a:cubicBezTo>
                <a:cubicBezTo>
                  <a:pt x="14688" y="23688"/>
                  <a:pt x="14719" y="23719"/>
                  <a:pt x="14750" y="23719"/>
                </a:cubicBezTo>
                <a:cubicBezTo>
                  <a:pt x="14750" y="23813"/>
                  <a:pt x="14688" y="23906"/>
                  <a:pt x="14719" y="24000"/>
                </a:cubicBezTo>
                <a:close/>
                <a:moveTo>
                  <a:pt x="14782" y="31500"/>
                </a:moveTo>
                <a:cubicBezTo>
                  <a:pt x="14782" y="31500"/>
                  <a:pt x="14782" y="31500"/>
                  <a:pt x="14782" y="31500"/>
                </a:cubicBezTo>
                <a:cubicBezTo>
                  <a:pt x="14782" y="31500"/>
                  <a:pt x="14782" y="31500"/>
                  <a:pt x="14782" y="31500"/>
                </a:cubicBezTo>
                <a:close/>
                <a:moveTo>
                  <a:pt x="14782" y="21938"/>
                </a:moveTo>
                <a:cubicBezTo>
                  <a:pt x="14782" y="21938"/>
                  <a:pt x="14782" y="21938"/>
                  <a:pt x="14782" y="21938"/>
                </a:cubicBezTo>
                <a:cubicBezTo>
                  <a:pt x="14625" y="21938"/>
                  <a:pt x="14594" y="21781"/>
                  <a:pt x="14469" y="21688"/>
                </a:cubicBezTo>
                <a:cubicBezTo>
                  <a:pt x="14469" y="21594"/>
                  <a:pt x="14344" y="21594"/>
                  <a:pt x="14407" y="21469"/>
                </a:cubicBezTo>
                <a:cubicBezTo>
                  <a:pt x="14407" y="21469"/>
                  <a:pt x="14438" y="21469"/>
                  <a:pt x="14469" y="21469"/>
                </a:cubicBezTo>
                <a:cubicBezTo>
                  <a:pt x="14469" y="21438"/>
                  <a:pt x="14500" y="21438"/>
                  <a:pt x="14500" y="21469"/>
                </a:cubicBezTo>
                <a:cubicBezTo>
                  <a:pt x="14500" y="21469"/>
                  <a:pt x="14500" y="21469"/>
                  <a:pt x="14500" y="21500"/>
                </a:cubicBezTo>
                <a:cubicBezTo>
                  <a:pt x="14500" y="21563"/>
                  <a:pt x="14500" y="21688"/>
                  <a:pt x="14625" y="21594"/>
                </a:cubicBezTo>
                <a:cubicBezTo>
                  <a:pt x="14657" y="21563"/>
                  <a:pt x="14688" y="21594"/>
                  <a:pt x="14688" y="21625"/>
                </a:cubicBezTo>
                <a:cubicBezTo>
                  <a:pt x="14688" y="21688"/>
                  <a:pt x="14750" y="21688"/>
                  <a:pt x="14782" y="21656"/>
                </a:cubicBezTo>
                <a:cubicBezTo>
                  <a:pt x="14782" y="21719"/>
                  <a:pt x="14813" y="21781"/>
                  <a:pt x="14844" y="21844"/>
                </a:cubicBezTo>
                <a:cubicBezTo>
                  <a:pt x="14875" y="21875"/>
                  <a:pt x="14938" y="21875"/>
                  <a:pt x="14907" y="21938"/>
                </a:cubicBezTo>
                <a:cubicBezTo>
                  <a:pt x="14875" y="22000"/>
                  <a:pt x="14844" y="21938"/>
                  <a:pt x="14782" y="21938"/>
                </a:cubicBezTo>
                <a:close/>
                <a:moveTo>
                  <a:pt x="14938" y="23000"/>
                </a:moveTo>
                <a:cubicBezTo>
                  <a:pt x="14907" y="22969"/>
                  <a:pt x="14907" y="22938"/>
                  <a:pt x="14907" y="22906"/>
                </a:cubicBezTo>
                <a:cubicBezTo>
                  <a:pt x="14969" y="22875"/>
                  <a:pt x="14969" y="23000"/>
                  <a:pt x="15032" y="23000"/>
                </a:cubicBezTo>
                <a:cubicBezTo>
                  <a:pt x="15000" y="23063"/>
                  <a:pt x="14969" y="23094"/>
                  <a:pt x="14938" y="23000"/>
                </a:cubicBezTo>
                <a:close/>
                <a:moveTo>
                  <a:pt x="15282" y="21000"/>
                </a:moveTo>
                <a:cubicBezTo>
                  <a:pt x="15219" y="21063"/>
                  <a:pt x="15250" y="20969"/>
                  <a:pt x="15219" y="20938"/>
                </a:cubicBezTo>
                <a:cubicBezTo>
                  <a:pt x="15188" y="20875"/>
                  <a:pt x="15125" y="20906"/>
                  <a:pt x="15063" y="20844"/>
                </a:cubicBezTo>
                <a:cubicBezTo>
                  <a:pt x="15157" y="20781"/>
                  <a:pt x="15219" y="20844"/>
                  <a:pt x="15282" y="20875"/>
                </a:cubicBezTo>
                <a:cubicBezTo>
                  <a:pt x="15313" y="20906"/>
                  <a:pt x="15344" y="20969"/>
                  <a:pt x="15282" y="21000"/>
                </a:cubicBezTo>
                <a:close/>
                <a:moveTo>
                  <a:pt x="15407" y="23719"/>
                </a:moveTo>
                <a:cubicBezTo>
                  <a:pt x="15407" y="23688"/>
                  <a:pt x="15407" y="23656"/>
                  <a:pt x="15407" y="23625"/>
                </a:cubicBezTo>
                <a:cubicBezTo>
                  <a:pt x="15407" y="23656"/>
                  <a:pt x="15407" y="23688"/>
                  <a:pt x="15407" y="23719"/>
                </a:cubicBezTo>
                <a:cubicBezTo>
                  <a:pt x="15407" y="23719"/>
                  <a:pt x="15407" y="23750"/>
                  <a:pt x="15407" y="23750"/>
                </a:cubicBezTo>
                <a:cubicBezTo>
                  <a:pt x="15407" y="23813"/>
                  <a:pt x="15500" y="23781"/>
                  <a:pt x="15500" y="23875"/>
                </a:cubicBezTo>
                <a:cubicBezTo>
                  <a:pt x="15438" y="23844"/>
                  <a:pt x="15407" y="23813"/>
                  <a:pt x="15375" y="23781"/>
                </a:cubicBezTo>
                <a:cubicBezTo>
                  <a:pt x="15313" y="23750"/>
                  <a:pt x="15344" y="23719"/>
                  <a:pt x="15407" y="23719"/>
                </a:cubicBezTo>
                <a:close/>
                <a:moveTo>
                  <a:pt x="15657" y="24094"/>
                </a:moveTo>
                <a:cubicBezTo>
                  <a:pt x="15657" y="24125"/>
                  <a:pt x="15688" y="24188"/>
                  <a:pt x="15625" y="24188"/>
                </a:cubicBezTo>
                <a:cubicBezTo>
                  <a:pt x="15500" y="24156"/>
                  <a:pt x="15500" y="24094"/>
                  <a:pt x="15469" y="23969"/>
                </a:cubicBezTo>
                <a:cubicBezTo>
                  <a:pt x="15532" y="24031"/>
                  <a:pt x="15594" y="24063"/>
                  <a:pt x="15688" y="24063"/>
                </a:cubicBezTo>
                <a:cubicBezTo>
                  <a:pt x="15688" y="24063"/>
                  <a:pt x="15688" y="24063"/>
                  <a:pt x="15688" y="24063"/>
                </a:cubicBezTo>
                <a:cubicBezTo>
                  <a:pt x="15657" y="24063"/>
                  <a:pt x="15657" y="24094"/>
                  <a:pt x="15657" y="24094"/>
                </a:cubicBezTo>
                <a:close/>
                <a:moveTo>
                  <a:pt x="15813" y="21219"/>
                </a:moveTo>
                <a:cubicBezTo>
                  <a:pt x="15750" y="21156"/>
                  <a:pt x="15750" y="21063"/>
                  <a:pt x="15657" y="21063"/>
                </a:cubicBezTo>
                <a:cubicBezTo>
                  <a:pt x="15625" y="21063"/>
                  <a:pt x="15625" y="21000"/>
                  <a:pt x="15657" y="20969"/>
                </a:cubicBezTo>
                <a:cubicBezTo>
                  <a:pt x="15657" y="20938"/>
                  <a:pt x="15688" y="20938"/>
                  <a:pt x="15719" y="20938"/>
                </a:cubicBezTo>
                <a:cubicBezTo>
                  <a:pt x="15844" y="21000"/>
                  <a:pt x="15844" y="21094"/>
                  <a:pt x="15813" y="21219"/>
                </a:cubicBezTo>
                <a:close/>
                <a:moveTo>
                  <a:pt x="15782" y="20094"/>
                </a:moveTo>
                <a:cubicBezTo>
                  <a:pt x="15782" y="20125"/>
                  <a:pt x="15750" y="20125"/>
                  <a:pt x="15719" y="20125"/>
                </a:cubicBezTo>
                <a:cubicBezTo>
                  <a:pt x="15750" y="20063"/>
                  <a:pt x="15750" y="20000"/>
                  <a:pt x="15688" y="19969"/>
                </a:cubicBezTo>
                <a:cubicBezTo>
                  <a:pt x="15625" y="19875"/>
                  <a:pt x="15625" y="19875"/>
                  <a:pt x="15719" y="19875"/>
                </a:cubicBezTo>
                <a:cubicBezTo>
                  <a:pt x="15782" y="19844"/>
                  <a:pt x="15688" y="19781"/>
                  <a:pt x="15719" y="19750"/>
                </a:cubicBezTo>
                <a:cubicBezTo>
                  <a:pt x="15813" y="19750"/>
                  <a:pt x="15813" y="19844"/>
                  <a:pt x="15844" y="19844"/>
                </a:cubicBezTo>
                <a:cubicBezTo>
                  <a:pt x="15875" y="19938"/>
                  <a:pt x="15969" y="19969"/>
                  <a:pt x="15907" y="20063"/>
                </a:cubicBezTo>
                <a:cubicBezTo>
                  <a:pt x="15875" y="20031"/>
                  <a:pt x="15813" y="20000"/>
                  <a:pt x="15782" y="20094"/>
                </a:cubicBezTo>
                <a:close/>
                <a:moveTo>
                  <a:pt x="15969" y="20156"/>
                </a:moveTo>
                <a:cubicBezTo>
                  <a:pt x="15969" y="20156"/>
                  <a:pt x="15969" y="20156"/>
                  <a:pt x="15969" y="20156"/>
                </a:cubicBezTo>
                <a:cubicBezTo>
                  <a:pt x="16000" y="20156"/>
                  <a:pt x="16000" y="20156"/>
                  <a:pt x="16000" y="20156"/>
                </a:cubicBezTo>
                <a:cubicBezTo>
                  <a:pt x="16032" y="20188"/>
                  <a:pt x="16094" y="20219"/>
                  <a:pt x="16094" y="20281"/>
                </a:cubicBezTo>
                <a:cubicBezTo>
                  <a:pt x="16094" y="20375"/>
                  <a:pt x="16094" y="20438"/>
                  <a:pt x="16125" y="20531"/>
                </a:cubicBezTo>
                <a:cubicBezTo>
                  <a:pt x="16125" y="20625"/>
                  <a:pt x="16188" y="20656"/>
                  <a:pt x="16250" y="20688"/>
                </a:cubicBezTo>
                <a:cubicBezTo>
                  <a:pt x="16344" y="20719"/>
                  <a:pt x="16282" y="20625"/>
                  <a:pt x="16313" y="20594"/>
                </a:cubicBezTo>
                <a:cubicBezTo>
                  <a:pt x="16344" y="20594"/>
                  <a:pt x="16375" y="20594"/>
                  <a:pt x="16407" y="20594"/>
                </a:cubicBezTo>
                <a:cubicBezTo>
                  <a:pt x="16469" y="20719"/>
                  <a:pt x="16500" y="20844"/>
                  <a:pt x="16625" y="20938"/>
                </a:cubicBezTo>
                <a:cubicBezTo>
                  <a:pt x="16688" y="20969"/>
                  <a:pt x="16657" y="21000"/>
                  <a:pt x="16657" y="21031"/>
                </a:cubicBezTo>
                <a:cubicBezTo>
                  <a:pt x="16532" y="21000"/>
                  <a:pt x="16500" y="20875"/>
                  <a:pt x="16407" y="20813"/>
                </a:cubicBezTo>
                <a:cubicBezTo>
                  <a:pt x="16313" y="20781"/>
                  <a:pt x="16219" y="20688"/>
                  <a:pt x="16125" y="20656"/>
                </a:cubicBezTo>
                <a:cubicBezTo>
                  <a:pt x="16094" y="20656"/>
                  <a:pt x="16094" y="20656"/>
                  <a:pt x="16094" y="20688"/>
                </a:cubicBezTo>
                <a:cubicBezTo>
                  <a:pt x="16094" y="20688"/>
                  <a:pt x="16094" y="20688"/>
                  <a:pt x="16094" y="20688"/>
                </a:cubicBezTo>
                <a:cubicBezTo>
                  <a:pt x="16094" y="20656"/>
                  <a:pt x="16094" y="20656"/>
                  <a:pt x="16125" y="20656"/>
                </a:cubicBezTo>
                <a:cubicBezTo>
                  <a:pt x="16094" y="20594"/>
                  <a:pt x="16125" y="20563"/>
                  <a:pt x="16000" y="20531"/>
                </a:cubicBezTo>
                <a:cubicBezTo>
                  <a:pt x="15875" y="20469"/>
                  <a:pt x="15875" y="20344"/>
                  <a:pt x="15969" y="20156"/>
                </a:cubicBezTo>
                <a:close/>
                <a:moveTo>
                  <a:pt x="16125" y="21750"/>
                </a:moveTo>
                <a:cubicBezTo>
                  <a:pt x="16063" y="21719"/>
                  <a:pt x="16032" y="21688"/>
                  <a:pt x="15969" y="21688"/>
                </a:cubicBezTo>
                <a:cubicBezTo>
                  <a:pt x="15938" y="21656"/>
                  <a:pt x="15938" y="21625"/>
                  <a:pt x="15969" y="21625"/>
                </a:cubicBezTo>
                <a:cubicBezTo>
                  <a:pt x="16000" y="21594"/>
                  <a:pt x="16032" y="21531"/>
                  <a:pt x="16032" y="21625"/>
                </a:cubicBezTo>
                <a:cubicBezTo>
                  <a:pt x="16063" y="21656"/>
                  <a:pt x="16157" y="21656"/>
                  <a:pt x="16125" y="21750"/>
                </a:cubicBezTo>
                <a:close/>
                <a:moveTo>
                  <a:pt x="16219" y="31250"/>
                </a:moveTo>
                <a:cubicBezTo>
                  <a:pt x="16219" y="31281"/>
                  <a:pt x="16188" y="31313"/>
                  <a:pt x="16157" y="31344"/>
                </a:cubicBezTo>
                <a:cubicBezTo>
                  <a:pt x="16188" y="31313"/>
                  <a:pt x="16219" y="31281"/>
                  <a:pt x="16219" y="31250"/>
                </a:cubicBezTo>
                <a:cubicBezTo>
                  <a:pt x="16250" y="31188"/>
                  <a:pt x="16188" y="31156"/>
                  <a:pt x="16188" y="31094"/>
                </a:cubicBezTo>
                <a:cubicBezTo>
                  <a:pt x="16250" y="31094"/>
                  <a:pt x="16250" y="31125"/>
                  <a:pt x="16282" y="31125"/>
                </a:cubicBezTo>
                <a:cubicBezTo>
                  <a:pt x="16313" y="31156"/>
                  <a:pt x="16375" y="31188"/>
                  <a:pt x="16344" y="31219"/>
                </a:cubicBezTo>
                <a:cubicBezTo>
                  <a:pt x="16313" y="31250"/>
                  <a:pt x="16282" y="31281"/>
                  <a:pt x="16219" y="31250"/>
                </a:cubicBezTo>
                <a:close/>
                <a:moveTo>
                  <a:pt x="16844" y="33250"/>
                </a:moveTo>
                <a:cubicBezTo>
                  <a:pt x="16938" y="33281"/>
                  <a:pt x="16844" y="33375"/>
                  <a:pt x="16938" y="33375"/>
                </a:cubicBezTo>
                <a:cubicBezTo>
                  <a:pt x="16938" y="33406"/>
                  <a:pt x="16938" y="33406"/>
                  <a:pt x="16938" y="33438"/>
                </a:cubicBezTo>
                <a:cubicBezTo>
                  <a:pt x="16782" y="33406"/>
                  <a:pt x="16875" y="33313"/>
                  <a:pt x="16844" y="33250"/>
                </a:cubicBezTo>
                <a:close/>
                <a:moveTo>
                  <a:pt x="17032" y="33125"/>
                </a:moveTo>
                <a:cubicBezTo>
                  <a:pt x="17032" y="33094"/>
                  <a:pt x="17000" y="33094"/>
                  <a:pt x="16969" y="33125"/>
                </a:cubicBezTo>
                <a:cubicBezTo>
                  <a:pt x="16938" y="33094"/>
                  <a:pt x="16907" y="33125"/>
                  <a:pt x="16907" y="33156"/>
                </a:cubicBezTo>
                <a:cubicBezTo>
                  <a:pt x="16875" y="33188"/>
                  <a:pt x="16844" y="33188"/>
                  <a:pt x="16844" y="33156"/>
                </a:cubicBezTo>
                <a:cubicBezTo>
                  <a:pt x="16844" y="33063"/>
                  <a:pt x="16875" y="33000"/>
                  <a:pt x="16907" y="32938"/>
                </a:cubicBezTo>
                <a:cubicBezTo>
                  <a:pt x="16907" y="32906"/>
                  <a:pt x="16907" y="32875"/>
                  <a:pt x="16907" y="32844"/>
                </a:cubicBezTo>
                <a:cubicBezTo>
                  <a:pt x="16844" y="32844"/>
                  <a:pt x="16750" y="32906"/>
                  <a:pt x="16750" y="32781"/>
                </a:cubicBezTo>
                <a:cubicBezTo>
                  <a:pt x="16750" y="32750"/>
                  <a:pt x="16688" y="32781"/>
                  <a:pt x="16688" y="32781"/>
                </a:cubicBezTo>
                <a:cubicBezTo>
                  <a:pt x="16688" y="32781"/>
                  <a:pt x="16688" y="32781"/>
                  <a:pt x="16688" y="32781"/>
                </a:cubicBezTo>
                <a:cubicBezTo>
                  <a:pt x="16625" y="32750"/>
                  <a:pt x="16719" y="32688"/>
                  <a:pt x="16625" y="32656"/>
                </a:cubicBezTo>
                <a:cubicBezTo>
                  <a:pt x="16563" y="32750"/>
                  <a:pt x="16438" y="32781"/>
                  <a:pt x="16344" y="32750"/>
                </a:cubicBezTo>
                <a:cubicBezTo>
                  <a:pt x="16438" y="32781"/>
                  <a:pt x="16563" y="32750"/>
                  <a:pt x="16625" y="32656"/>
                </a:cubicBezTo>
                <a:cubicBezTo>
                  <a:pt x="16688" y="32563"/>
                  <a:pt x="16719" y="32688"/>
                  <a:pt x="16750" y="32688"/>
                </a:cubicBezTo>
                <a:cubicBezTo>
                  <a:pt x="16782" y="32781"/>
                  <a:pt x="16907" y="32750"/>
                  <a:pt x="16907" y="32844"/>
                </a:cubicBezTo>
                <a:cubicBezTo>
                  <a:pt x="16907" y="32875"/>
                  <a:pt x="16907" y="32906"/>
                  <a:pt x="16907" y="32938"/>
                </a:cubicBezTo>
                <a:cubicBezTo>
                  <a:pt x="16907" y="33000"/>
                  <a:pt x="16938" y="33063"/>
                  <a:pt x="17032" y="33031"/>
                </a:cubicBezTo>
                <a:cubicBezTo>
                  <a:pt x="17063" y="33031"/>
                  <a:pt x="17063" y="33031"/>
                  <a:pt x="17063" y="33063"/>
                </a:cubicBezTo>
                <a:cubicBezTo>
                  <a:pt x="17094" y="33125"/>
                  <a:pt x="17157" y="32938"/>
                  <a:pt x="17157" y="33063"/>
                </a:cubicBezTo>
                <a:cubicBezTo>
                  <a:pt x="17157" y="33156"/>
                  <a:pt x="17063" y="33094"/>
                  <a:pt x="17032" y="33125"/>
                </a:cubicBezTo>
                <a:close/>
                <a:moveTo>
                  <a:pt x="17157" y="32750"/>
                </a:moveTo>
                <a:cubicBezTo>
                  <a:pt x="17125" y="32750"/>
                  <a:pt x="17094" y="32750"/>
                  <a:pt x="17094" y="32719"/>
                </a:cubicBezTo>
                <a:cubicBezTo>
                  <a:pt x="17094" y="32688"/>
                  <a:pt x="17094" y="32625"/>
                  <a:pt x="17063" y="32594"/>
                </a:cubicBezTo>
                <a:cubicBezTo>
                  <a:pt x="17032" y="32563"/>
                  <a:pt x="17000" y="32531"/>
                  <a:pt x="17063" y="32500"/>
                </a:cubicBezTo>
                <a:cubicBezTo>
                  <a:pt x="17125" y="32469"/>
                  <a:pt x="17125" y="32563"/>
                  <a:pt x="17125" y="32594"/>
                </a:cubicBezTo>
                <a:cubicBezTo>
                  <a:pt x="17125" y="32625"/>
                  <a:pt x="17157" y="32625"/>
                  <a:pt x="17188" y="32656"/>
                </a:cubicBezTo>
                <a:cubicBezTo>
                  <a:pt x="17219" y="32719"/>
                  <a:pt x="17188" y="32750"/>
                  <a:pt x="17157" y="32750"/>
                </a:cubicBezTo>
                <a:close/>
                <a:moveTo>
                  <a:pt x="18469" y="36125"/>
                </a:moveTo>
                <a:cubicBezTo>
                  <a:pt x="18500" y="36156"/>
                  <a:pt x="18532" y="36156"/>
                  <a:pt x="18500" y="36188"/>
                </a:cubicBezTo>
                <a:cubicBezTo>
                  <a:pt x="18469" y="36219"/>
                  <a:pt x="18438" y="36219"/>
                  <a:pt x="18407" y="36219"/>
                </a:cubicBezTo>
                <a:cubicBezTo>
                  <a:pt x="18344" y="36219"/>
                  <a:pt x="18375" y="36156"/>
                  <a:pt x="18375" y="36125"/>
                </a:cubicBezTo>
                <a:cubicBezTo>
                  <a:pt x="18375" y="36125"/>
                  <a:pt x="18407" y="36125"/>
                  <a:pt x="18407" y="36125"/>
                </a:cubicBezTo>
                <a:cubicBezTo>
                  <a:pt x="18407" y="36125"/>
                  <a:pt x="18407" y="36125"/>
                  <a:pt x="18407" y="36125"/>
                </a:cubicBezTo>
                <a:cubicBezTo>
                  <a:pt x="18407" y="36094"/>
                  <a:pt x="18438" y="36094"/>
                  <a:pt x="18469" y="36125"/>
                </a:cubicBezTo>
                <a:close/>
                <a:moveTo>
                  <a:pt x="18500" y="36281"/>
                </a:moveTo>
                <a:cubicBezTo>
                  <a:pt x="18469" y="36281"/>
                  <a:pt x="18469" y="36313"/>
                  <a:pt x="18469" y="36313"/>
                </a:cubicBezTo>
                <a:cubicBezTo>
                  <a:pt x="18469" y="36313"/>
                  <a:pt x="18438" y="36313"/>
                  <a:pt x="18438" y="36281"/>
                </a:cubicBezTo>
                <a:cubicBezTo>
                  <a:pt x="18438" y="36281"/>
                  <a:pt x="18469" y="36281"/>
                  <a:pt x="18469" y="36250"/>
                </a:cubicBezTo>
                <a:cubicBezTo>
                  <a:pt x="18469" y="36250"/>
                  <a:pt x="18500" y="36281"/>
                  <a:pt x="18500" y="36281"/>
                </a:cubicBezTo>
                <a:close/>
                <a:moveTo>
                  <a:pt x="18313" y="34688"/>
                </a:moveTo>
                <a:cubicBezTo>
                  <a:pt x="18313" y="34719"/>
                  <a:pt x="18313" y="34781"/>
                  <a:pt x="18375" y="34781"/>
                </a:cubicBezTo>
                <a:cubicBezTo>
                  <a:pt x="18438" y="34750"/>
                  <a:pt x="18407" y="34688"/>
                  <a:pt x="18438" y="34656"/>
                </a:cubicBezTo>
                <a:cubicBezTo>
                  <a:pt x="18469" y="34688"/>
                  <a:pt x="18500" y="34719"/>
                  <a:pt x="18532" y="34750"/>
                </a:cubicBezTo>
                <a:cubicBezTo>
                  <a:pt x="18438" y="34750"/>
                  <a:pt x="18407" y="34844"/>
                  <a:pt x="18375" y="34906"/>
                </a:cubicBezTo>
                <a:cubicBezTo>
                  <a:pt x="18407" y="34938"/>
                  <a:pt x="18438" y="34938"/>
                  <a:pt x="18469" y="34906"/>
                </a:cubicBezTo>
                <a:cubicBezTo>
                  <a:pt x="18532" y="34875"/>
                  <a:pt x="18563" y="34906"/>
                  <a:pt x="18563" y="34938"/>
                </a:cubicBezTo>
                <a:cubicBezTo>
                  <a:pt x="18594" y="34969"/>
                  <a:pt x="18594" y="35000"/>
                  <a:pt x="18563" y="35031"/>
                </a:cubicBezTo>
                <a:cubicBezTo>
                  <a:pt x="18469" y="35094"/>
                  <a:pt x="18469" y="35094"/>
                  <a:pt x="18500" y="35188"/>
                </a:cubicBezTo>
                <a:cubicBezTo>
                  <a:pt x="18344" y="35188"/>
                  <a:pt x="18344" y="35125"/>
                  <a:pt x="18313" y="34969"/>
                </a:cubicBezTo>
                <a:cubicBezTo>
                  <a:pt x="18313" y="34906"/>
                  <a:pt x="18344" y="34750"/>
                  <a:pt x="18188" y="34750"/>
                </a:cubicBezTo>
                <a:cubicBezTo>
                  <a:pt x="18188" y="34719"/>
                  <a:pt x="18188" y="34719"/>
                  <a:pt x="18188" y="34688"/>
                </a:cubicBezTo>
                <a:cubicBezTo>
                  <a:pt x="18188" y="34625"/>
                  <a:pt x="18125" y="34563"/>
                  <a:pt x="18188" y="34500"/>
                </a:cubicBezTo>
                <a:cubicBezTo>
                  <a:pt x="18219" y="34563"/>
                  <a:pt x="18250" y="34625"/>
                  <a:pt x="18313" y="34688"/>
                </a:cubicBezTo>
                <a:close/>
                <a:moveTo>
                  <a:pt x="18688" y="33813"/>
                </a:moveTo>
                <a:cubicBezTo>
                  <a:pt x="18750" y="33813"/>
                  <a:pt x="18813" y="33844"/>
                  <a:pt x="18844" y="33906"/>
                </a:cubicBezTo>
                <a:cubicBezTo>
                  <a:pt x="18657" y="33906"/>
                  <a:pt x="18657" y="33906"/>
                  <a:pt x="18688" y="33813"/>
                </a:cubicBezTo>
                <a:cubicBezTo>
                  <a:pt x="18594" y="33719"/>
                  <a:pt x="18500" y="33656"/>
                  <a:pt x="18438" y="33531"/>
                </a:cubicBezTo>
                <a:cubicBezTo>
                  <a:pt x="18563" y="33563"/>
                  <a:pt x="18688" y="33656"/>
                  <a:pt x="18688" y="33813"/>
                </a:cubicBezTo>
                <a:close/>
                <a:moveTo>
                  <a:pt x="18282" y="33406"/>
                </a:moveTo>
                <a:cubicBezTo>
                  <a:pt x="18375" y="33406"/>
                  <a:pt x="18438" y="33406"/>
                  <a:pt x="18438" y="33531"/>
                </a:cubicBezTo>
                <a:cubicBezTo>
                  <a:pt x="18375" y="33531"/>
                  <a:pt x="18375" y="33500"/>
                  <a:pt x="18344" y="33500"/>
                </a:cubicBezTo>
                <a:cubicBezTo>
                  <a:pt x="18313" y="33469"/>
                  <a:pt x="18250" y="33469"/>
                  <a:pt x="18282" y="33406"/>
                </a:cubicBezTo>
                <a:close/>
                <a:moveTo>
                  <a:pt x="18063" y="34031"/>
                </a:moveTo>
                <a:cubicBezTo>
                  <a:pt x="18094" y="34063"/>
                  <a:pt x="18094" y="34063"/>
                  <a:pt x="18094" y="34063"/>
                </a:cubicBezTo>
                <a:cubicBezTo>
                  <a:pt x="18157" y="34031"/>
                  <a:pt x="18250" y="34000"/>
                  <a:pt x="18250" y="33938"/>
                </a:cubicBezTo>
                <a:cubicBezTo>
                  <a:pt x="18250" y="34000"/>
                  <a:pt x="18157" y="34031"/>
                  <a:pt x="18094" y="34063"/>
                </a:cubicBezTo>
                <a:cubicBezTo>
                  <a:pt x="18125" y="34063"/>
                  <a:pt x="18157" y="34094"/>
                  <a:pt x="18157" y="34094"/>
                </a:cubicBezTo>
                <a:cubicBezTo>
                  <a:pt x="18219" y="34094"/>
                  <a:pt x="18250" y="34125"/>
                  <a:pt x="18219" y="34156"/>
                </a:cubicBezTo>
                <a:cubicBezTo>
                  <a:pt x="18219" y="34188"/>
                  <a:pt x="18157" y="34188"/>
                  <a:pt x="18125" y="34219"/>
                </a:cubicBezTo>
                <a:cubicBezTo>
                  <a:pt x="18094" y="34250"/>
                  <a:pt x="18094" y="34188"/>
                  <a:pt x="18063" y="34156"/>
                </a:cubicBezTo>
                <a:cubicBezTo>
                  <a:pt x="18063" y="34125"/>
                  <a:pt x="18063" y="34094"/>
                  <a:pt x="18063" y="34031"/>
                </a:cubicBezTo>
                <a:close/>
                <a:moveTo>
                  <a:pt x="17875" y="34094"/>
                </a:moveTo>
                <a:cubicBezTo>
                  <a:pt x="17844" y="34125"/>
                  <a:pt x="17813" y="34156"/>
                  <a:pt x="17782" y="34156"/>
                </a:cubicBezTo>
                <a:cubicBezTo>
                  <a:pt x="17750" y="34156"/>
                  <a:pt x="17688" y="34125"/>
                  <a:pt x="17688" y="34094"/>
                </a:cubicBezTo>
                <a:cubicBezTo>
                  <a:pt x="17688" y="34063"/>
                  <a:pt x="17719" y="34031"/>
                  <a:pt x="17782" y="34000"/>
                </a:cubicBezTo>
                <a:cubicBezTo>
                  <a:pt x="17813" y="34000"/>
                  <a:pt x="17844" y="34063"/>
                  <a:pt x="17875" y="34094"/>
                </a:cubicBezTo>
                <a:close/>
                <a:moveTo>
                  <a:pt x="17719" y="33938"/>
                </a:moveTo>
                <a:cubicBezTo>
                  <a:pt x="17719" y="33969"/>
                  <a:pt x="17719" y="34000"/>
                  <a:pt x="17688" y="34000"/>
                </a:cubicBezTo>
                <a:cubicBezTo>
                  <a:pt x="17657" y="34000"/>
                  <a:pt x="17657" y="34000"/>
                  <a:pt x="17657" y="33969"/>
                </a:cubicBezTo>
                <a:cubicBezTo>
                  <a:pt x="17625" y="33938"/>
                  <a:pt x="17594" y="33875"/>
                  <a:pt x="17563" y="33813"/>
                </a:cubicBezTo>
                <a:cubicBezTo>
                  <a:pt x="17657" y="33813"/>
                  <a:pt x="17657" y="33938"/>
                  <a:pt x="17719" y="33938"/>
                </a:cubicBezTo>
                <a:close/>
                <a:moveTo>
                  <a:pt x="17407" y="33938"/>
                </a:moveTo>
                <a:cubicBezTo>
                  <a:pt x="17563" y="33938"/>
                  <a:pt x="17500" y="34094"/>
                  <a:pt x="17625" y="34125"/>
                </a:cubicBezTo>
                <a:cubicBezTo>
                  <a:pt x="17469" y="34156"/>
                  <a:pt x="17469" y="34031"/>
                  <a:pt x="17407" y="33938"/>
                </a:cubicBezTo>
                <a:close/>
                <a:moveTo>
                  <a:pt x="17594" y="34500"/>
                </a:moveTo>
                <a:cubicBezTo>
                  <a:pt x="17532" y="34438"/>
                  <a:pt x="17532" y="34375"/>
                  <a:pt x="17563" y="34313"/>
                </a:cubicBezTo>
                <a:cubicBezTo>
                  <a:pt x="17563" y="34250"/>
                  <a:pt x="17625" y="34281"/>
                  <a:pt x="17657" y="34281"/>
                </a:cubicBezTo>
                <a:cubicBezTo>
                  <a:pt x="17750" y="34313"/>
                  <a:pt x="17688" y="34375"/>
                  <a:pt x="17719" y="34406"/>
                </a:cubicBezTo>
                <a:cubicBezTo>
                  <a:pt x="17688" y="34438"/>
                  <a:pt x="17688" y="34469"/>
                  <a:pt x="17657" y="34469"/>
                </a:cubicBezTo>
                <a:cubicBezTo>
                  <a:pt x="17657" y="34438"/>
                  <a:pt x="17657" y="34406"/>
                  <a:pt x="17625" y="34375"/>
                </a:cubicBezTo>
                <a:cubicBezTo>
                  <a:pt x="17594" y="34406"/>
                  <a:pt x="17625" y="34469"/>
                  <a:pt x="17594" y="34500"/>
                </a:cubicBezTo>
                <a:close/>
                <a:moveTo>
                  <a:pt x="17750" y="34750"/>
                </a:moveTo>
                <a:cubicBezTo>
                  <a:pt x="17719" y="34781"/>
                  <a:pt x="17719" y="34719"/>
                  <a:pt x="17719" y="34719"/>
                </a:cubicBezTo>
                <a:cubicBezTo>
                  <a:pt x="17688" y="34656"/>
                  <a:pt x="17657" y="34656"/>
                  <a:pt x="17625" y="34625"/>
                </a:cubicBezTo>
                <a:cubicBezTo>
                  <a:pt x="17625" y="34625"/>
                  <a:pt x="17625" y="34594"/>
                  <a:pt x="17625" y="34563"/>
                </a:cubicBezTo>
                <a:cubicBezTo>
                  <a:pt x="17657" y="34531"/>
                  <a:pt x="17719" y="34531"/>
                  <a:pt x="17719" y="34563"/>
                </a:cubicBezTo>
                <a:cubicBezTo>
                  <a:pt x="17719" y="34656"/>
                  <a:pt x="17875" y="34531"/>
                  <a:pt x="17875" y="34656"/>
                </a:cubicBezTo>
                <a:cubicBezTo>
                  <a:pt x="17875" y="34719"/>
                  <a:pt x="17782" y="34688"/>
                  <a:pt x="17750" y="34750"/>
                </a:cubicBezTo>
                <a:close/>
                <a:moveTo>
                  <a:pt x="17907" y="35313"/>
                </a:moveTo>
                <a:cubicBezTo>
                  <a:pt x="17907" y="35344"/>
                  <a:pt x="17875" y="35375"/>
                  <a:pt x="17875" y="35344"/>
                </a:cubicBezTo>
                <a:cubicBezTo>
                  <a:pt x="17813" y="35313"/>
                  <a:pt x="17844" y="35250"/>
                  <a:pt x="17813" y="35219"/>
                </a:cubicBezTo>
                <a:cubicBezTo>
                  <a:pt x="17875" y="35156"/>
                  <a:pt x="17782" y="35094"/>
                  <a:pt x="17813" y="35031"/>
                </a:cubicBezTo>
                <a:cubicBezTo>
                  <a:pt x="17813" y="35000"/>
                  <a:pt x="17813" y="34969"/>
                  <a:pt x="17844" y="34969"/>
                </a:cubicBezTo>
                <a:cubicBezTo>
                  <a:pt x="17844" y="34938"/>
                  <a:pt x="17875" y="34938"/>
                  <a:pt x="17875" y="34969"/>
                </a:cubicBezTo>
                <a:cubicBezTo>
                  <a:pt x="17907" y="34969"/>
                  <a:pt x="17907" y="35000"/>
                  <a:pt x="17875" y="35031"/>
                </a:cubicBezTo>
                <a:cubicBezTo>
                  <a:pt x="17844" y="35094"/>
                  <a:pt x="17875" y="35125"/>
                  <a:pt x="17907" y="35188"/>
                </a:cubicBezTo>
                <a:cubicBezTo>
                  <a:pt x="17938" y="35219"/>
                  <a:pt x="17969" y="35281"/>
                  <a:pt x="17907" y="35313"/>
                </a:cubicBezTo>
                <a:close/>
                <a:moveTo>
                  <a:pt x="18125" y="34375"/>
                </a:moveTo>
                <a:cubicBezTo>
                  <a:pt x="18125" y="34375"/>
                  <a:pt x="18125" y="34375"/>
                  <a:pt x="18125" y="34375"/>
                </a:cubicBezTo>
                <a:cubicBezTo>
                  <a:pt x="18125" y="34406"/>
                  <a:pt x="18157" y="34438"/>
                  <a:pt x="18125" y="34438"/>
                </a:cubicBezTo>
                <a:cubicBezTo>
                  <a:pt x="18125" y="34469"/>
                  <a:pt x="18094" y="34469"/>
                  <a:pt x="18063" y="34438"/>
                </a:cubicBezTo>
                <a:cubicBezTo>
                  <a:pt x="18032" y="34375"/>
                  <a:pt x="18032" y="34344"/>
                  <a:pt x="18000" y="34281"/>
                </a:cubicBezTo>
                <a:cubicBezTo>
                  <a:pt x="18094" y="34250"/>
                  <a:pt x="18032" y="34406"/>
                  <a:pt x="18125" y="34375"/>
                </a:cubicBezTo>
                <a:close/>
                <a:moveTo>
                  <a:pt x="18094" y="35250"/>
                </a:moveTo>
                <a:cubicBezTo>
                  <a:pt x="18063" y="35250"/>
                  <a:pt x="18063" y="35219"/>
                  <a:pt x="18063" y="35188"/>
                </a:cubicBezTo>
                <a:cubicBezTo>
                  <a:pt x="18063" y="35156"/>
                  <a:pt x="18094" y="35125"/>
                  <a:pt x="18125" y="35125"/>
                </a:cubicBezTo>
                <a:cubicBezTo>
                  <a:pt x="18157" y="35156"/>
                  <a:pt x="18188" y="35156"/>
                  <a:pt x="18188" y="35188"/>
                </a:cubicBezTo>
                <a:cubicBezTo>
                  <a:pt x="18157" y="35219"/>
                  <a:pt x="18157" y="35281"/>
                  <a:pt x="18094" y="35250"/>
                </a:cubicBezTo>
                <a:close/>
                <a:moveTo>
                  <a:pt x="18157" y="35375"/>
                </a:moveTo>
                <a:cubicBezTo>
                  <a:pt x="18157" y="35313"/>
                  <a:pt x="18188" y="35375"/>
                  <a:pt x="18188" y="35406"/>
                </a:cubicBezTo>
                <a:cubicBezTo>
                  <a:pt x="18313" y="35500"/>
                  <a:pt x="18219" y="35625"/>
                  <a:pt x="18282" y="35750"/>
                </a:cubicBezTo>
                <a:cubicBezTo>
                  <a:pt x="18313" y="35719"/>
                  <a:pt x="18344" y="35719"/>
                  <a:pt x="18344" y="35688"/>
                </a:cubicBezTo>
                <a:cubicBezTo>
                  <a:pt x="18344" y="35719"/>
                  <a:pt x="18313" y="35719"/>
                  <a:pt x="18282" y="35750"/>
                </a:cubicBezTo>
                <a:cubicBezTo>
                  <a:pt x="18188" y="35688"/>
                  <a:pt x="18094" y="35469"/>
                  <a:pt x="18157" y="35375"/>
                </a:cubicBezTo>
                <a:close/>
                <a:moveTo>
                  <a:pt x="18282" y="36000"/>
                </a:moveTo>
                <a:cubicBezTo>
                  <a:pt x="18282" y="35969"/>
                  <a:pt x="18282" y="35938"/>
                  <a:pt x="18250" y="35875"/>
                </a:cubicBezTo>
                <a:cubicBezTo>
                  <a:pt x="18250" y="35844"/>
                  <a:pt x="18250" y="35813"/>
                  <a:pt x="18313" y="35813"/>
                </a:cubicBezTo>
                <a:cubicBezTo>
                  <a:pt x="18344" y="35781"/>
                  <a:pt x="18375" y="35813"/>
                  <a:pt x="18375" y="35875"/>
                </a:cubicBezTo>
                <a:cubicBezTo>
                  <a:pt x="18375" y="35906"/>
                  <a:pt x="18375" y="35969"/>
                  <a:pt x="18344" y="36031"/>
                </a:cubicBezTo>
                <a:cubicBezTo>
                  <a:pt x="18313" y="36000"/>
                  <a:pt x="18313" y="36000"/>
                  <a:pt x="18282" y="36000"/>
                </a:cubicBezTo>
                <a:close/>
                <a:moveTo>
                  <a:pt x="18625" y="36781"/>
                </a:moveTo>
                <a:cubicBezTo>
                  <a:pt x="18625" y="36813"/>
                  <a:pt x="18625" y="36875"/>
                  <a:pt x="18594" y="36875"/>
                </a:cubicBezTo>
                <a:cubicBezTo>
                  <a:pt x="18625" y="36875"/>
                  <a:pt x="18625" y="36813"/>
                  <a:pt x="18625" y="36781"/>
                </a:cubicBezTo>
                <a:cubicBezTo>
                  <a:pt x="18625" y="36781"/>
                  <a:pt x="18625" y="36781"/>
                  <a:pt x="18625" y="36750"/>
                </a:cubicBezTo>
                <a:cubicBezTo>
                  <a:pt x="18625" y="36719"/>
                  <a:pt x="18532" y="36688"/>
                  <a:pt x="18532" y="36625"/>
                </a:cubicBezTo>
                <a:cubicBezTo>
                  <a:pt x="18532" y="36594"/>
                  <a:pt x="18500" y="36563"/>
                  <a:pt x="18532" y="36531"/>
                </a:cubicBezTo>
                <a:cubicBezTo>
                  <a:pt x="18563" y="36500"/>
                  <a:pt x="18625" y="36500"/>
                  <a:pt x="18657" y="36531"/>
                </a:cubicBezTo>
                <a:cubicBezTo>
                  <a:pt x="18688" y="36563"/>
                  <a:pt x="18657" y="36594"/>
                  <a:pt x="18657" y="36625"/>
                </a:cubicBezTo>
                <a:cubicBezTo>
                  <a:pt x="18625" y="36656"/>
                  <a:pt x="18625" y="36719"/>
                  <a:pt x="18688" y="36750"/>
                </a:cubicBezTo>
                <a:cubicBezTo>
                  <a:pt x="18719" y="36781"/>
                  <a:pt x="18657" y="36781"/>
                  <a:pt x="18625" y="36781"/>
                </a:cubicBezTo>
                <a:close/>
                <a:moveTo>
                  <a:pt x="18782" y="38125"/>
                </a:moveTo>
                <a:cubicBezTo>
                  <a:pt x="18782" y="38125"/>
                  <a:pt x="18782" y="38125"/>
                  <a:pt x="18782" y="38125"/>
                </a:cubicBezTo>
                <a:cubicBezTo>
                  <a:pt x="18782" y="38125"/>
                  <a:pt x="18813" y="38125"/>
                  <a:pt x="18813" y="38125"/>
                </a:cubicBezTo>
                <a:cubicBezTo>
                  <a:pt x="18813" y="38125"/>
                  <a:pt x="18782" y="38125"/>
                  <a:pt x="18782" y="38125"/>
                </a:cubicBezTo>
                <a:close/>
                <a:moveTo>
                  <a:pt x="18719" y="37313"/>
                </a:moveTo>
                <a:cubicBezTo>
                  <a:pt x="18813" y="37375"/>
                  <a:pt x="18844" y="37406"/>
                  <a:pt x="18844" y="37531"/>
                </a:cubicBezTo>
                <a:cubicBezTo>
                  <a:pt x="18750" y="37469"/>
                  <a:pt x="18750" y="37438"/>
                  <a:pt x="18719" y="37313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76002B5-C6B2-5F4E-93E2-3657A4475369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0F172AA3-0043-154D-AF85-5CA4139DAAF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05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99">
            <a:extLst>
              <a:ext uri="{FF2B5EF4-FFF2-40B4-BE49-F238E27FC236}">
                <a16:creationId xmlns:a16="http://schemas.microsoft.com/office/drawing/2014/main" id="{5164E42E-61EA-6B46-BA95-DDDDF89F1229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 flipH="1">
            <a:off x="-32962" y="1314178"/>
            <a:ext cx="12100011" cy="12043370"/>
          </a:xfrm>
          <a:custGeom>
            <a:avLst/>
            <a:gdLst>
              <a:gd name="T0" fmla="*/ 35468 w 39281"/>
              <a:gd name="T1" fmla="*/ 25219 h 39281"/>
              <a:gd name="T2" fmla="*/ 29687 w 39281"/>
              <a:gd name="T3" fmla="*/ 23469 h 39281"/>
              <a:gd name="T4" fmla="*/ 29187 w 39281"/>
              <a:gd name="T5" fmla="*/ 10812 h 39281"/>
              <a:gd name="T6" fmla="*/ 21968 w 39281"/>
              <a:gd name="T7" fmla="*/ 7625 h 39281"/>
              <a:gd name="T8" fmla="*/ 21593 w 39281"/>
              <a:gd name="T9" fmla="*/ 219 h 39281"/>
              <a:gd name="T10" fmla="*/ 13062 w 39281"/>
              <a:gd name="T11" fmla="*/ 1125 h 39281"/>
              <a:gd name="T12" fmla="*/ 13375 w 39281"/>
              <a:gd name="T13" fmla="*/ 1969 h 39281"/>
              <a:gd name="T14" fmla="*/ 13093 w 39281"/>
              <a:gd name="T15" fmla="*/ 6219 h 39281"/>
              <a:gd name="T16" fmla="*/ 9375 w 39281"/>
              <a:gd name="T17" fmla="*/ 23312 h 39281"/>
              <a:gd name="T18" fmla="*/ 7968 w 39281"/>
              <a:gd name="T19" fmla="*/ 26219 h 39281"/>
              <a:gd name="T20" fmla="*/ 16281 w 39281"/>
              <a:gd name="T21" fmla="*/ 26094 h 39281"/>
              <a:gd name="T22" fmla="*/ 14781 w 39281"/>
              <a:gd name="T23" fmla="*/ 26594 h 39281"/>
              <a:gd name="T24" fmla="*/ 36499 w 39281"/>
              <a:gd name="T25" fmla="*/ 38719 h 39281"/>
              <a:gd name="T26" fmla="*/ 32999 w 39281"/>
              <a:gd name="T27" fmla="*/ 23687 h 39281"/>
              <a:gd name="T28" fmla="*/ 11906 w 39281"/>
              <a:gd name="T29" fmla="*/ 26562 h 39281"/>
              <a:gd name="T30" fmla="*/ 17843 w 39281"/>
              <a:gd name="T31" fmla="*/ 28281 h 39281"/>
              <a:gd name="T32" fmla="*/ 32374 w 39281"/>
              <a:gd name="T33" fmla="*/ 23687 h 39281"/>
              <a:gd name="T34" fmla="*/ 28937 w 39281"/>
              <a:gd name="T35" fmla="*/ 23625 h 39281"/>
              <a:gd name="T36" fmla="*/ 24593 w 39281"/>
              <a:gd name="T37" fmla="*/ 24312 h 39281"/>
              <a:gd name="T38" fmla="*/ 23906 w 39281"/>
              <a:gd name="T39" fmla="*/ 24250 h 39281"/>
              <a:gd name="T40" fmla="*/ 23906 w 39281"/>
              <a:gd name="T41" fmla="*/ 8781 h 39281"/>
              <a:gd name="T42" fmla="*/ 23750 w 39281"/>
              <a:gd name="T43" fmla="*/ 15844 h 39281"/>
              <a:gd name="T44" fmla="*/ 23968 w 39281"/>
              <a:gd name="T45" fmla="*/ 21969 h 39281"/>
              <a:gd name="T46" fmla="*/ 25968 w 39281"/>
              <a:gd name="T47" fmla="*/ 7562 h 39281"/>
              <a:gd name="T48" fmla="*/ 26156 w 39281"/>
              <a:gd name="T49" fmla="*/ 18219 h 39281"/>
              <a:gd name="T50" fmla="*/ 24062 w 39281"/>
              <a:gd name="T51" fmla="*/ 9281 h 39281"/>
              <a:gd name="T52" fmla="*/ 23656 w 39281"/>
              <a:gd name="T53" fmla="*/ 7656 h 39281"/>
              <a:gd name="T54" fmla="*/ 23125 w 39281"/>
              <a:gd name="T55" fmla="*/ 9000 h 39281"/>
              <a:gd name="T56" fmla="*/ 22031 w 39281"/>
              <a:gd name="T57" fmla="*/ 9937 h 39281"/>
              <a:gd name="T58" fmla="*/ 21218 w 39281"/>
              <a:gd name="T59" fmla="*/ 21844 h 39281"/>
              <a:gd name="T60" fmla="*/ 20781 w 39281"/>
              <a:gd name="T61" fmla="*/ 22562 h 39281"/>
              <a:gd name="T62" fmla="*/ 18375 w 39281"/>
              <a:gd name="T63" fmla="*/ 7406 h 39281"/>
              <a:gd name="T64" fmla="*/ 18687 w 39281"/>
              <a:gd name="T65" fmla="*/ 8531 h 39281"/>
              <a:gd name="T66" fmla="*/ 18781 w 39281"/>
              <a:gd name="T67" fmla="*/ 6531 h 39281"/>
              <a:gd name="T68" fmla="*/ 19687 w 39281"/>
              <a:gd name="T69" fmla="*/ 5719 h 39281"/>
              <a:gd name="T70" fmla="*/ 20250 w 39281"/>
              <a:gd name="T71" fmla="*/ 22594 h 39281"/>
              <a:gd name="T72" fmla="*/ 20218 w 39281"/>
              <a:gd name="T73" fmla="*/ 6375 h 39281"/>
              <a:gd name="T74" fmla="*/ 19812 w 39281"/>
              <a:gd name="T75" fmla="*/ 11156 h 39281"/>
              <a:gd name="T76" fmla="*/ 18656 w 39281"/>
              <a:gd name="T77" fmla="*/ 11156 h 39281"/>
              <a:gd name="T78" fmla="*/ 17093 w 39281"/>
              <a:gd name="T79" fmla="*/ 22719 h 39281"/>
              <a:gd name="T80" fmla="*/ 16562 w 39281"/>
              <a:gd name="T81" fmla="*/ 21250 h 39281"/>
              <a:gd name="T82" fmla="*/ 15906 w 39281"/>
              <a:gd name="T83" fmla="*/ 10187 h 39281"/>
              <a:gd name="T84" fmla="*/ 15437 w 39281"/>
              <a:gd name="T85" fmla="*/ 6781 h 39281"/>
              <a:gd name="T86" fmla="*/ 14812 w 39281"/>
              <a:gd name="T87" fmla="*/ 22062 h 39281"/>
              <a:gd name="T88" fmla="*/ 14031 w 39281"/>
              <a:gd name="T89" fmla="*/ 8687 h 39281"/>
              <a:gd name="T90" fmla="*/ 19093 w 39281"/>
              <a:gd name="T91" fmla="*/ 23344 h 39281"/>
              <a:gd name="T92" fmla="*/ 14656 w 39281"/>
              <a:gd name="T93" fmla="*/ 23375 h 39281"/>
              <a:gd name="T94" fmla="*/ 13031 w 39281"/>
              <a:gd name="T95" fmla="*/ 22625 h 39281"/>
              <a:gd name="T96" fmla="*/ 13937 w 39281"/>
              <a:gd name="T97" fmla="*/ 22094 h 39281"/>
              <a:gd name="T98" fmla="*/ 13375 w 39281"/>
              <a:gd name="T99" fmla="*/ 21094 h 39281"/>
              <a:gd name="T100" fmla="*/ 13312 w 39281"/>
              <a:gd name="T101" fmla="*/ 21844 h 39281"/>
              <a:gd name="T102" fmla="*/ 13156 w 39281"/>
              <a:gd name="T103" fmla="*/ 15625 h 39281"/>
              <a:gd name="T104" fmla="*/ 12781 w 39281"/>
              <a:gd name="T105" fmla="*/ 22437 h 39281"/>
              <a:gd name="T106" fmla="*/ 6312 w 39281"/>
              <a:gd name="T107" fmla="*/ 23906 h 39281"/>
              <a:gd name="T108" fmla="*/ 5125 w 39281"/>
              <a:gd name="T109" fmla="*/ 26094 h 39281"/>
              <a:gd name="T110" fmla="*/ 16781 w 39281"/>
              <a:gd name="T111" fmla="*/ 25219 h 39281"/>
              <a:gd name="T112" fmla="*/ 9250 w 39281"/>
              <a:gd name="T113" fmla="*/ 24125 h 39281"/>
              <a:gd name="T114" fmla="*/ 21875 w 39281"/>
              <a:gd name="T115" fmla="*/ 30437 h 39281"/>
              <a:gd name="T116" fmla="*/ 24406 w 39281"/>
              <a:gd name="T117" fmla="*/ 26094 h 39281"/>
              <a:gd name="T118" fmla="*/ 12312 w 39281"/>
              <a:gd name="T119" fmla="*/ 3031 h 39281"/>
              <a:gd name="T120" fmla="*/ 6656 w 39281"/>
              <a:gd name="T121" fmla="*/ 24219 h 39281"/>
              <a:gd name="T122" fmla="*/ 24812 w 39281"/>
              <a:gd name="T123" fmla="*/ 4062 h 39281"/>
              <a:gd name="T124" fmla="*/ 22281 w 39281"/>
              <a:gd name="T125" fmla="*/ 687 h 39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281" h="39281">
                <a:moveTo>
                  <a:pt x="11000" y="26656"/>
                </a:moveTo>
                <a:cubicBezTo>
                  <a:pt x="11000" y="26656"/>
                  <a:pt x="11000" y="26687"/>
                  <a:pt x="11000" y="26687"/>
                </a:cubicBezTo>
                <a:cubicBezTo>
                  <a:pt x="11000" y="26687"/>
                  <a:pt x="11031" y="26656"/>
                  <a:pt x="11031" y="26656"/>
                </a:cubicBezTo>
                <a:cubicBezTo>
                  <a:pt x="11031" y="26656"/>
                  <a:pt x="11000" y="26656"/>
                  <a:pt x="11000" y="26625"/>
                </a:cubicBezTo>
                <a:cubicBezTo>
                  <a:pt x="11000" y="26656"/>
                  <a:pt x="10968" y="26656"/>
                  <a:pt x="11000" y="26656"/>
                </a:cubicBezTo>
                <a:close/>
                <a:moveTo>
                  <a:pt x="15531" y="6219"/>
                </a:moveTo>
                <a:cubicBezTo>
                  <a:pt x="15500" y="6219"/>
                  <a:pt x="15500" y="6187"/>
                  <a:pt x="15468" y="6187"/>
                </a:cubicBezTo>
                <a:cubicBezTo>
                  <a:pt x="15500" y="6219"/>
                  <a:pt x="15500" y="6219"/>
                  <a:pt x="15531" y="6219"/>
                </a:cubicBezTo>
                <a:close/>
                <a:moveTo>
                  <a:pt x="35687" y="34031"/>
                </a:moveTo>
                <a:cubicBezTo>
                  <a:pt x="35187" y="34000"/>
                  <a:pt x="34656" y="33937"/>
                  <a:pt x="34156" y="33906"/>
                </a:cubicBezTo>
                <a:cubicBezTo>
                  <a:pt x="33624" y="33844"/>
                  <a:pt x="33124" y="33781"/>
                  <a:pt x="32624" y="33719"/>
                </a:cubicBezTo>
                <a:cubicBezTo>
                  <a:pt x="32156" y="33687"/>
                  <a:pt x="31718" y="33625"/>
                  <a:pt x="31281" y="33531"/>
                </a:cubicBezTo>
                <a:cubicBezTo>
                  <a:pt x="30906" y="33469"/>
                  <a:pt x="30562" y="33406"/>
                  <a:pt x="30218" y="33312"/>
                </a:cubicBezTo>
                <a:cubicBezTo>
                  <a:pt x="30093" y="33281"/>
                  <a:pt x="30000" y="33219"/>
                  <a:pt x="29875" y="33219"/>
                </a:cubicBezTo>
                <a:cubicBezTo>
                  <a:pt x="29718" y="33156"/>
                  <a:pt x="29531" y="33094"/>
                  <a:pt x="29375" y="33031"/>
                </a:cubicBezTo>
                <a:cubicBezTo>
                  <a:pt x="29343" y="33031"/>
                  <a:pt x="29343" y="33000"/>
                  <a:pt x="29312" y="32969"/>
                </a:cubicBezTo>
                <a:cubicBezTo>
                  <a:pt x="29187" y="32594"/>
                  <a:pt x="28937" y="32250"/>
                  <a:pt x="28562" y="32062"/>
                </a:cubicBezTo>
                <a:cubicBezTo>
                  <a:pt x="28437" y="32000"/>
                  <a:pt x="28343" y="31906"/>
                  <a:pt x="28250" y="31781"/>
                </a:cubicBezTo>
                <a:cubicBezTo>
                  <a:pt x="28093" y="31531"/>
                  <a:pt x="27906" y="31281"/>
                  <a:pt x="27718" y="31062"/>
                </a:cubicBezTo>
                <a:cubicBezTo>
                  <a:pt x="27437" y="30750"/>
                  <a:pt x="27125" y="30531"/>
                  <a:pt x="26875" y="30250"/>
                </a:cubicBezTo>
                <a:cubicBezTo>
                  <a:pt x="26781" y="30156"/>
                  <a:pt x="26718" y="30062"/>
                  <a:pt x="26625" y="30000"/>
                </a:cubicBezTo>
                <a:cubicBezTo>
                  <a:pt x="26375" y="29719"/>
                  <a:pt x="26187" y="29406"/>
                  <a:pt x="25906" y="29187"/>
                </a:cubicBezTo>
                <a:cubicBezTo>
                  <a:pt x="25781" y="29062"/>
                  <a:pt x="25687" y="28969"/>
                  <a:pt x="25531" y="28937"/>
                </a:cubicBezTo>
                <a:cubicBezTo>
                  <a:pt x="25406" y="28969"/>
                  <a:pt x="25500" y="29062"/>
                  <a:pt x="25500" y="29156"/>
                </a:cubicBezTo>
                <a:cubicBezTo>
                  <a:pt x="25562" y="29187"/>
                  <a:pt x="25593" y="29219"/>
                  <a:pt x="25656" y="29250"/>
                </a:cubicBezTo>
                <a:cubicBezTo>
                  <a:pt x="25593" y="29219"/>
                  <a:pt x="25562" y="29187"/>
                  <a:pt x="25500" y="29156"/>
                </a:cubicBezTo>
                <a:cubicBezTo>
                  <a:pt x="25500" y="29062"/>
                  <a:pt x="25406" y="28969"/>
                  <a:pt x="25531" y="28937"/>
                </a:cubicBezTo>
                <a:cubicBezTo>
                  <a:pt x="25343" y="28687"/>
                  <a:pt x="25093" y="28469"/>
                  <a:pt x="24843" y="28250"/>
                </a:cubicBezTo>
                <a:cubicBezTo>
                  <a:pt x="24781" y="28094"/>
                  <a:pt x="24656" y="28000"/>
                  <a:pt x="24625" y="27844"/>
                </a:cubicBezTo>
                <a:cubicBezTo>
                  <a:pt x="24593" y="27781"/>
                  <a:pt x="24593" y="27719"/>
                  <a:pt x="24500" y="27687"/>
                </a:cubicBezTo>
                <a:cubicBezTo>
                  <a:pt x="24500" y="27656"/>
                  <a:pt x="24468" y="27594"/>
                  <a:pt x="24406" y="27562"/>
                </a:cubicBezTo>
                <a:cubicBezTo>
                  <a:pt x="24406" y="27562"/>
                  <a:pt x="24406" y="27562"/>
                  <a:pt x="24406" y="27562"/>
                </a:cubicBezTo>
                <a:cubicBezTo>
                  <a:pt x="24375" y="27375"/>
                  <a:pt x="24281" y="27187"/>
                  <a:pt x="24187" y="27031"/>
                </a:cubicBezTo>
                <a:cubicBezTo>
                  <a:pt x="24093" y="26844"/>
                  <a:pt x="24000" y="26687"/>
                  <a:pt x="23906" y="26531"/>
                </a:cubicBezTo>
                <a:cubicBezTo>
                  <a:pt x="23812" y="26469"/>
                  <a:pt x="23781" y="26344"/>
                  <a:pt x="23718" y="26281"/>
                </a:cubicBezTo>
                <a:cubicBezTo>
                  <a:pt x="23812" y="26219"/>
                  <a:pt x="23906" y="26250"/>
                  <a:pt x="24000" y="26250"/>
                </a:cubicBezTo>
                <a:cubicBezTo>
                  <a:pt x="24000" y="26250"/>
                  <a:pt x="24000" y="26250"/>
                  <a:pt x="24000" y="26250"/>
                </a:cubicBezTo>
                <a:cubicBezTo>
                  <a:pt x="24062" y="26281"/>
                  <a:pt x="24093" y="26219"/>
                  <a:pt x="24156" y="26250"/>
                </a:cubicBezTo>
                <a:cubicBezTo>
                  <a:pt x="24156" y="26250"/>
                  <a:pt x="24187" y="26250"/>
                  <a:pt x="24187" y="26250"/>
                </a:cubicBezTo>
                <a:cubicBezTo>
                  <a:pt x="24343" y="26250"/>
                  <a:pt x="24500" y="26250"/>
                  <a:pt x="24656" y="26250"/>
                </a:cubicBezTo>
                <a:cubicBezTo>
                  <a:pt x="24687" y="26250"/>
                  <a:pt x="24718" y="26250"/>
                  <a:pt x="24750" y="26250"/>
                </a:cubicBezTo>
                <a:cubicBezTo>
                  <a:pt x="24750" y="26250"/>
                  <a:pt x="24781" y="26250"/>
                  <a:pt x="24812" y="26250"/>
                </a:cubicBezTo>
                <a:cubicBezTo>
                  <a:pt x="24843" y="26250"/>
                  <a:pt x="24906" y="26250"/>
                  <a:pt x="24937" y="26250"/>
                </a:cubicBezTo>
                <a:cubicBezTo>
                  <a:pt x="24968" y="26250"/>
                  <a:pt x="25000" y="26250"/>
                  <a:pt x="25031" y="26250"/>
                </a:cubicBezTo>
                <a:cubicBezTo>
                  <a:pt x="25625" y="26250"/>
                  <a:pt x="26250" y="26250"/>
                  <a:pt x="26843" y="26250"/>
                </a:cubicBezTo>
                <a:cubicBezTo>
                  <a:pt x="26875" y="26250"/>
                  <a:pt x="26875" y="26250"/>
                  <a:pt x="26875" y="26250"/>
                </a:cubicBezTo>
                <a:cubicBezTo>
                  <a:pt x="26937" y="26187"/>
                  <a:pt x="26968" y="26219"/>
                  <a:pt x="27031" y="26219"/>
                </a:cubicBezTo>
                <a:cubicBezTo>
                  <a:pt x="27437" y="26219"/>
                  <a:pt x="27843" y="26219"/>
                  <a:pt x="28250" y="26219"/>
                </a:cubicBezTo>
                <a:cubicBezTo>
                  <a:pt x="28625" y="26187"/>
                  <a:pt x="29000" y="26187"/>
                  <a:pt x="29375" y="26187"/>
                </a:cubicBezTo>
                <a:cubicBezTo>
                  <a:pt x="29437" y="26187"/>
                  <a:pt x="29468" y="26187"/>
                  <a:pt x="29500" y="26156"/>
                </a:cubicBezTo>
                <a:cubicBezTo>
                  <a:pt x="29500" y="26156"/>
                  <a:pt x="29500" y="26156"/>
                  <a:pt x="29500" y="26156"/>
                </a:cubicBezTo>
                <a:cubicBezTo>
                  <a:pt x="29656" y="26156"/>
                  <a:pt x="29656" y="26156"/>
                  <a:pt x="29593" y="26281"/>
                </a:cubicBezTo>
                <a:cubicBezTo>
                  <a:pt x="29625" y="26344"/>
                  <a:pt x="29656" y="26344"/>
                  <a:pt x="29718" y="26344"/>
                </a:cubicBezTo>
                <a:cubicBezTo>
                  <a:pt x="29843" y="26250"/>
                  <a:pt x="29968" y="26281"/>
                  <a:pt x="30062" y="26406"/>
                </a:cubicBezTo>
                <a:cubicBezTo>
                  <a:pt x="30125" y="26375"/>
                  <a:pt x="30031" y="26281"/>
                  <a:pt x="30156" y="26281"/>
                </a:cubicBezTo>
                <a:cubicBezTo>
                  <a:pt x="30218" y="26281"/>
                  <a:pt x="30250" y="26312"/>
                  <a:pt x="30281" y="26406"/>
                </a:cubicBezTo>
                <a:cubicBezTo>
                  <a:pt x="30250" y="26281"/>
                  <a:pt x="30343" y="26312"/>
                  <a:pt x="30437" y="26281"/>
                </a:cubicBezTo>
                <a:cubicBezTo>
                  <a:pt x="31562" y="26281"/>
                  <a:pt x="32687" y="26281"/>
                  <a:pt x="33812" y="26312"/>
                </a:cubicBezTo>
                <a:cubicBezTo>
                  <a:pt x="34062" y="26312"/>
                  <a:pt x="34249" y="26250"/>
                  <a:pt x="34437" y="26094"/>
                </a:cubicBezTo>
                <a:cubicBezTo>
                  <a:pt x="34468" y="26031"/>
                  <a:pt x="34531" y="26000"/>
                  <a:pt x="34562" y="25969"/>
                </a:cubicBezTo>
                <a:cubicBezTo>
                  <a:pt x="34749" y="25812"/>
                  <a:pt x="34937" y="25719"/>
                  <a:pt x="35093" y="25562"/>
                </a:cubicBezTo>
                <a:cubicBezTo>
                  <a:pt x="34999" y="25437"/>
                  <a:pt x="35156" y="25437"/>
                  <a:pt x="35187" y="25406"/>
                </a:cubicBezTo>
                <a:cubicBezTo>
                  <a:pt x="35281" y="25375"/>
                  <a:pt x="35374" y="25344"/>
                  <a:pt x="35437" y="25250"/>
                </a:cubicBezTo>
                <a:cubicBezTo>
                  <a:pt x="35437" y="25250"/>
                  <a:pt x="35468" y="25219"/>
                  <a:pt x="35468" y="25219"/>
                </a:cubicBezTo>
                <a:cubicBezTo>
                  <a:pt x="35749" y="25156"/>
                  <a:pt x="35999" y="25031"/>
                  <a:pt x="36249" y="24906"/>
                </a:cubicBezTo>
                <a:cubicBezTo>
                  <a:pt x="36437" y="24781"/>
                  <a:pt x="36624" y="24687"/>
                  <a:pt x="36843" y="24594"/>
                </a:cubicBezTo>
                <a:cubicBezTo>
                  <a:pt x="37062" y="24531"/>
                  <a:pt x="37281" y="24469"/>
                  <a:pt x="37499" y="24469"/>
                </a:cubicBezTo>
                <a:cubicBezTo>
                  <a:pt x="37531" y="24469"/>
                  <a:pt x="37562" y="24469"/>
                  <a:pt x="37593" y="24406"/>
                </a:cubicBezTo>
                <a:cubicBezTo>
                  <a:pt x="37562" y="24406"/>
                  <a:pt x="37562" y="24406"/>
                  <a:pt x="37531" y="24406"/>
                </a:cubicBezTo>
                <a:cubicBezTo>
                  <a:pt x="37562" y="24406"/>
                  <a:pt x="37562" y="24406"/>
                  <a:pt x="37593" y="24406"/>
                </a:cubicBezTo>
                <a:cubicBezTo>
                  <a:pt x="37624" y="24406"/>
                  <a:pt x="37656" y="24406"/>
                  <a:pt x="37687" y="24406"/>
                </a:cubicBezTo>
                <a:cubicBezTo>
                  <a:pt x="37749" y="24406"/>
                  <a:pt x="37781" y="24437"/>
                  <a:pt x="37812" y="24344"/>
                </a:cubicBezTo>
                <a:cubicBezTo>
                  <a:pt x="37812" y="24344"/>
                  <a:pt x="37812" y="24344"/>
                  <a:pt x="37812" y="24344"/>
                </a:cubicBezTo>
                <a:cubicBezTo>
                  <a:pt x="37843" y="24344"/>
                  <a:pt x="37843" y="24344"/>
                  <a:pt x="37874" y="24344"/>
                </a:cubicBezTo>
                <a:cubicBezTo>
                  <a:pt x="37906" y="24344"/>
                  <a:pt x="37906" y="24312"/>
                  <a:pt x="37906" y="24281"/>
                </a:cubicBezTo>
                <a:cubicBezTo>
                  <a:pt x="37906" y="24250"/>
                  <a:pt x="37937" y="24250"/>
                  <a:pt x="37968" y="24250"/>
                </a:cubicBezTo>
                <a:cubicBezTo>
                  <a:pt x="37968" y="24219"/>
                  <a:pt x="37968" y="24187"/>
                  <a:pt x="37968" y="24156"/>
                </a:cubicBezTo>
                <a:cubicBezTo>
                  <a:pt x="37968" y="24094"/>
                  <a:pt x="37999" y="24094"/>
                  <a:pt x="38031" y="24062"/>
                </a:cubicBezTo>
                <a:cubicBezTo>
                  <a:pt x="38031" y="24000"/>
                  <a:pt x="38093" y="24000"/>
                  <a:pt x="38156" y="24000"/>
                </a:cubicBezTo>
                <a:cubicBezTo>
                  <a:pt x="38249" y="23969"/>
                  <a:pt x="38312" y="23937"/>
                  <a:pt x="38312" y="23844"/>
                </a:cubicBezTo>
                <a:cubicBezTo>
                  <a:pt x="38312" y="23750"/>
                  <a:pt x="38249" y="23750"/>
                  <a:pt x="38187" y="23719"/>
                </a:cubicBezTo>
                <a:cubicBezTo>
                  <a:pt x="38031" y="23687"/>
                  <a:pt x="37874" y="23687"/>
                  <a:pt x="37718" y="23656"/>
                </a:cubicBezTo>
                <a:cubicBezTo>
                  <a:pt x="37624" y="23656"/>
                  <a:pt x="37531" y="23656"/>
                  <a:pt x="37437" y="23687"/>
                </a:cubicBezTo>
                <a:cubicBezTo>
                  <a:pt x="37437" y="23687"/>
                  <a:pt x="37406" y="23687"/>
                  <a:pt x="37406" y="23687"/>
                </a:cubicBezTo>
                <a:cubicBezTo>
                  <a:pt x="37374" y="23656"/>
                  <a:pt x="37374" y="23656"/>
                  <a:pt x="37374" y="23687"/>
                </a:cubicBezTo>
                <a:cubicBezTo>
                  <a:pt x="37343" y="23687"/>
                  <a:pt x="37343" y="23687"/>
                  <a:pt x="37343" y="23719"/>
                </a:cubicBezTo>
                <a:cubicBezTo>
                  <a:pt x="37343" y="23687"/>
                  <a:pt x="37312" y="23687"/>
                  <a:pt x="37281" y="23687"/>
                </a:cubicBezTo>
                <a:cubicBezTo>
                  <a:pt x="37249" y="23625"/>
                  <a:pt x="37218" y="23656"/>
                  <a:pt x="37156" y="23656"/>
                </a:cubicBezTo>
                <a:cubicBezTo>
                  <a:pt x="37124" y="23687"/>
                  <a:pt x="37093" y="23687"/>
                  <a:pt x="37062" y="23687"/>
                </a:cubicBezTo>
                <a:cubicBezTo>
                  <a:pt x="37062" y="23687"/>
                  <a:pt x="37062" y="23687"/>
                  <a:pt x="37062" y="23687"/>
                </a:cubicBezTo>
                <a:cubicBezTo>
                  <a:pt x="36874" y="23687"/>
                  <a:pt x="36687" y="23656"/>
                  <a:pt x="36499" y="23656"/>
                </a:cubicBezTo>
                <a:cubicBezTo>
                  <a:pt x="36468" y="23625"/>
                  <a:pt x="36406" y="23625"/>
                  <a:pt x="36374" y="23625"/>
                </a:cubicBezTo>
                <a:cubicBezTo>
                  <a:pt x="36124" y="23625"/>
                  <a:pt x="35874" y="23625"/>
                  <a:pt x="35624" y="23594"/>
                </a:cubicBezTo>
                <a:cubicBezTo>
                  <a:pt x="35281" y="23594"/>
                  <a:pt x="34906" y="23562"/>
                  <a:pt x="34531" y="23594"/>
                </a:cubicBezTo>
                <a:cubicBezTo>
                  <a:pt x="34531" y="23594"/>
                  <a:pt x="34531" y="23562"/>
                  <a:pt x="34531" y="23562"/>
                </a:cubicBezTo>
                <a:cubicBezTo>
                  <a:pt x="34531" y="23562"/>
                  <a:pt x="34531" y="23562"/>
                  <a:pt x="34531" y="23562"/>
                </a:cubicBezTo>
                <a:cubicBezTo>
                  <a:pt x="34531" y="23562"/>
                  <a:pt x="34531" y="23531"/>
                  <a:pt x="34499" y="23531"/>
                </a:cubicBezTo>
                <a:cubicBezTo>
                  <a:pt x="34187" y="23531"/>
                  <a:pt x="33906" y="23500"/>
                  <a:pt x="33593" y="23531"/>
                </a:cubicBezTo>
                <a:cubicBezTo>
                  <a:pt x="33499" y="23531"/>
                  <a:pt x="33406" y="23531"/>
                  <a:pt x="33312" y="23531"/>
                </a:cubicBezTo>
                <a:cubicBezTo>
                  <a:pt x="33281" y="23500"/>
                  <a:pt x="33249" y="23500"/>
                  <a:pt x="33218" y="23531"/>
                </a:cubicBezTo>
                <a:cubicBezTo>
                  <a:pt x="33218" y="23531"/>
                  <a:pt x="33218" y="23531"/>
                  <a:pt x="33218" y="23531"/>
                </a:cubicBezTo>
                <a:cubicBezTo>
                  <a:pt x="33249" y="23562"/>
                  <a:pt x="33249" y="23562"/>
                  <a:pt x="33281" y="23562"/>
                </a:cubicBezTo>
                <a:cubicBezTo>
                  <a:pt x="33281" y="23594"/>
                  <a:pt x="33281" y="23625"/>
                  <a:pt x="33312" y="23656"/>
                </a:cubicBezTo>
                <a:cubicBezTo>
                  <a:pt x="33281" y="23625"/>
                  <a:pt x="33281" y="23594"/>
                  <a:pt x="33281" y="23562"/>
                </a:cubicBezTo>
                <a:cubicBezTo>
                  <a:pt x="33249" y="23562"/>
                  <a:pt x="33249" y="23562"/>
                  <a:pt x="33218" y="23531"/>
                </a:cubicBezTo>
                <a:cubicBezTo>
                  <a:pt x="33218" y="23531"/>
                  <a:pt x="33218" y="23531"/>
                  <a:pt x="33218" y="23531"/>
                </a:cubicBezTo>
                <a:cubicBezTo>
                  <a:pt x="33187" y="23531"/>
                  <a:pt x="33124" y="23531"/>
                  <a:pt x="33093" y="23531"/>
                </a:cubicBezTo>
                <a:cubicBezTo>
                  <a:pt x="33093" y="23531"/>
                  <a:pt x="33093" y="23531"/>
                  <a:pt x="33093" y="23562"/>
                </a:cubicBezTo>
                <a:cubicBezTo>
                  <a:pt x="33093" y="23531"/>
                  <a:pt x="33093" y="23531"/>
                  <a:pt x="33093" y="23531"/>
                </a:cubicBezTo>
                <a:cubicBezTo>
                  <a:pt x="33031" y="23500"/>
                  <a:pt x="32999" y="23469"/>
                  <a:pt x="32968" y="23531"/>
                </a:cubicBezTo>
                <a:cubicBezTo>
                  <a:pt x="32937" y="23531"/>
                  <a:pt x="32874" y="23531"/>
                  <a:pt x="32843" y="23531"/>
                </a:cubicBezTo>
                <a:cubicBezTo>
                  <a:pt x="32843" y="23531"/>
                  <a:pt x="32812" y="23562"/>
                  <a:pt x="32812" y="23562"/>
                </a:cubicBezTo>
                <a:cubicBezTo>
                  <a:pt x="32843" y="23562"/>
                  <a:pt x="32843" y="23562"/>
                  <a:pt x="32874" y="23594"/>
                </a:cubicBezTo>
                <a:cubicBezTo>
                  <a:pt x="32843" y="23562"/>
                  <a:pt x="32843" y="23562"/>
                  <a:pt x="32812" y="23562"/>
                </a:cubicBezTo>
                <a:cubicBezTo>
                  <a:pt x="32812" y="23562"/>
                  <a:pt x="32843" y="23531"/>
                  <a:pt x="32843" y="23531"/>
                </a:cubicBezTo>
                <a:cubicBezTo>
                  <a:pt x="32781" y="23469"/>
                  <a:pt x="32749" y="23469"/>
                  <a:pt x="32687" y="23531"/>
                </a:cubicBezTo>
                <a:cubicBezTo>
                  <a:pt x="32656" y="23531"/>
                  <a:pt x="32624" y="23531"/>
                  <a:pt x="32562" y="23531"/>
                </a:cubicBezTo>
                <a:cubicBezTo>
                  <a:pt x="32531" y="23500"/>
                  <a:pt x="32499" y="23500"/>
                  <a:pt x="32437" y="23531"/>
                </a:cubicBezTo>
                <a:cubicBezTo>
                  <a:pt x="32406" y="23531"/>
                  <a:pt x="32374" y="23531"/>
                  <a:pt x="32343" y="23531"/>
                </a:cubicBezTo>
                <a:cubicBezTo>
                  <a:pt x="32218" y="23469"/>
                  <a:pt x="32093" y="23500"/>
                  <a:pt x="31999" y="23500"/>
                </a:cubicBezTo>
                <a:cubicBezTo>
                  <a:pt x="31874" y="23500"/>
                  <a:pt x="31781" y="23500"/>
                  <a:pt x="31656" y="23500"/>
                </a:cubicBezTo>
                <a:cubicBezTo>
                  <a:pt x="31468" y="23500"/>
                  <a:pt x="31312" y="23500"/>
                  <a:pt x="31124" y="23500"/>
                </a:cubicBezTo>
                <a:cubicBezTo>
                  <a:pt x="31124" y="23500"/>
                  <a:pt x="31124" y="23500"/>
                  <a:pt x="31124" y="23500"/>
                </a:cubicBezTo>
                <a:cubicBezTo>
                  <a:pt x="31124" y="23469"/>
                  <a:pt x="31124" y="23469"/>
                  <a:pt x="31124" y="23500"/>
                </a:cubicBezTo>
                <a:cubicBezTo>
                  <a:pt x="31031" y="23500"/>
                  <a:pt x="30968" y="23500"/>
                  <a:pt x="30906" y="23500"/>
                </a:cubicBezTo>
                <a:cubicBezTo>
                  <a:pt x="30718" y="23406"/>
                  <a:pt x="30531" y="23437"/>
                  <a:pt x="30312" y="23469"/>
                </a:cubicBezTo>
                <a:cubicBezTo>
                  <a:pt x="30125" y="23469"/>
                  <a:pt x="29906" y="23469"/>
                  <a:pt x="29718" y="23469"/>
                </a:cubicBezTo>
                <a:cubicBezTo>
                  <a:pt x="29687" y="23437"/>
                  <a:pt x="29687" y="23437"/>
                  <a:pt x="29687" y="23469"/>
                </a:cubicBezTo>
                <a:cubicBezTo>
                  <a:pt x="29500" y="23469"/>
                  <a:pt x="29312" y="23469"/>
                  <a:pt x="29125" y="23469"/>
                </a:cubicBezTo>
                <a:cubicBezTo>
                  <a:pt x="29062" y="23406"/>
                  <a:pt x="29000" y="23406"/>
                  <a:pt x="28968" y="23406"/>
                </a:cubicBezTo>
                <a:cubicBezTo>
                  <a:pt x="28468" y="23406"/>
                  <a:pt x="27968" y="23406"/>
                  <a:pt x="27468" y="23406"/>
                </a:cubicBezTo>
                <a:cubicBezTo>
                  <a:pt x="27250" y="23406"/>
                  <a:pt x="27000" y="23437"/>
                  <a:pt x="26781" y="23406"/>
                </a:cubicBezTo>
                <a:cubicBezTo>
                  <a:pt x="26281" y="23375"/>
                  <a:pt x="25781" y="23375"/>
                  <a:pt x="25281" y="23375"/>
                </a:cubicBezTo>
                <a:cubicBezTo>
                  <a:pt x="25281" y="23375"/>
                  <a:pt x="25250" y="23375"/>
                  <a:pt x="25250" y="23375"/>
                </a:cubicBezTo>
                <a:cubicBezTo>
                  <a:pt x="25250" y="23406"/>
                  <a:pt x="25250" y="23406"/>
                  <a:pt x="25250" y="23437"/>
                </a:cubicBezTo>
                <a:cubicBezTo>
                  <a:pt x="25250" y="23437"/>
                  <a:pt x="25250" y="23437"/>
                  <a:pt x="25250" y="23437"/>
                </a:cubicBezTo>
                <a:cubicBezTo>
                  <a:pt x="25250" y="23406"/>
                  <a:pt x="25250" y="23406"/>
                  <a:pt x="25250" y="23375"/>
                </a:cubicBezTo>
                <a:cubicBezTo>
                  <a:pt x="25062" y="23375"/>
                  <a:pt x="24875" y="23375"/>
                  <a:pt x="24687" y="23375"/>
                </a:cubicBezTo>
                <a:cubicBezTo>
                  <a:pt x="24687" y="23375"/>
                  <a:pt x="24687" y="23375"/>
                  <a:pt x="24656" y="23375"/>
                </a:cubicBezTo>
                <a:cubicBezTo>
                  <a:pt x="24687" y="23375"/>
                  <a:pt x="24687" y="23375"/>
                  <a:pt x="24687" y="23375"/>
                </a:cubicBezTo>
                <a:cubicBezTo>
                  <a:pt x="24656" y="23219"/>
                  <a:pt x="24593" y="23031"/>
                  <a:pt x="24531" y="22875"/>
                </a:cubicBezTo>
                <a:cubicBezTo>
                  <a:pt x="24437" y="22656"/>
                  <a:pt x="24375" y="22437"/>
                  <a:pt x="24312" y="22219"/>
                </a:cubicBezTo>
                <a:cubicBezTo>
                  <a:pt x="24281" y="22219"/>
                  <a:pt x="24250" y="22219"/>
                  <a:pt x="24218" y="22219"/>
                </a:cubicBezTo>
                <a:cubicBezTo>
                  <a:pt x="24250" y="22219"/>
                  <a:pt x="24281" y="22219"/>
                  <a:pt x="24312" y="22219"/>
                </a:cubicBezTo>
                <a:cubicBezTo>
                  <a:pt x="24312" y="22156"/>
                  <a:pt x="24281" y="22125"/>
                  <a:pt x="24218" y="22094"/>
                </a:cubicBezTo>
                <a:cubicBezTo>
                  <a:pt x="24218" y="22062"/>
                  <a:pt x="24218" y="22062"/>
                  <a:pt x="24218" y="22031"/>
                </a:cubicBezTo>
                <a:cubicBezTo>
                  <a:pt x="24187" y="21844"/>
                  <a:pt x="24125" y="21656"/>
                  <a:pt x="24062" y="21500"/>
                </a:cubicBezTo>
                <a:cubicBezTo>
                  <a:pt x="24062" y="21500"/>
                  <a:pt x="24062" y="21500"/>
                  <a:pt x="24062" y="21500"/>
                </a:cubicBezTo>
                <a:cubicBezTo>
                  <a:pt x="24031" y="21406"/>
                  <a:pt x="24031" y="21344"/>
                  <a:pt x="24000" y="21281"/>
                </a:cubicBezTo>
                <a:cubicBezTo>
                  <a:pt x="23968" y="21187"/>
                  <a:pt x="24031" y="21125"/>
                  <a:pt x="24062" y="21031"/>
                </a:cubicBezTo>
                <a:cubicBezTo>
                  <a:pt x="24125" y="21031"/>
                  <a:pt x="24187" y="21000"/>
                  <a:pt x="24250" y="20937"/>
                </a:cubicBezTo>
                <a:cubicBezTo>
                  <a:pt x="24468" y="20875"/>
                  <a:pt x="24687" y="20750"/>
                  <a:pt x="24906" y="20656"/>
                </a:cubicBezTo>
                <a:cubicBezTo>
                  <a:pt x="25062" y="20625"/>
                  <a:pt x="25156" y="20500"/>
                  <a:pt x="25281" y="20437"/>
                </a:cubicBezTo>
                <a:cubicBezTo>
                  <a:pt x="25562" y="20281"/>
                  <a:pt x="25875" y="20094"/>
                  <a:pt x="26125" y="19875"/>
                </a:cubicBezTo>
                <a:cubicBezTo>
                  <a:pt x="26093" y="19844"/>
                  <a:pt x="26031" y="19844"/>
                  <a:pt x="26000" y="19875"/>
                </a:cubicBezTo>
                <a:cubicBezTo>
                  <a:pt x="25781" y="20031"/>
                  <a:pt x="25531" y="20094"/>
                  <a:pt x="25343" y="20219"/>
                </a:cubicBezTo>
                <a:cubicBezTo>
                  <a:pt x="25250" y="20281"/>
                  <a:pt x="25125" y="20375"/>
                  <a:pt x="25000" y="20312"/>
                </a:cubicBezTo>
                <a:cubicBezTo>
                  <a:pt x="25187" y="20187"/>
                  <a:pt x="25406" y="20094"/>
                  <a:pt x="25593" y="19969"/>
                </a:cubicBezTo>
                <a:cubicBezTo>
                  <a:pt x="25718" y="19875"/>
                  <a:pt x="25843" y="19812"/>
                  <a:pt x="25937" y="19719"/>
                </a:cubicBezTo>
                <a:cubicBezTo>
                  <a:pt x="25968" y="19687"/>
                  <a:pt x="26031" y="19687"/>
                  <a:pt x="26062" y="19687"/>
                </a:cubicBezTo>
                <a:cubicBezTo>
                  <a:pt x="26281" y="19687"/>
                  <a:pt x="26406" y="19562"/>
                  <a:pt x="26593" y="19437"/>
                </a:cubicBezTo>
                <a:cubicBezTo>
                  <a:pt x="26812" y="19281"/>
                  <a:pt x="26968" y="19094"/>
                  <a:pt x="27187" y="18969"/>
                </a:cubicBezTo>
                <a:cubicBezTo>
                  <a:pt x="27187" y="18969"/>
                  <a:pt x="27187" y="18969"/>
                  <a:pt x="27187" y="18969"/>
                </a:cubicBezTo>
                <a:cubicBezTo>
                  <a:pt x="27187" y="18844"/>
                  <a:pt x="27281" y="18844"/>
                  <a:pt x="27343" y="18812"/>
                </a:cubicBezTo>
                <a:cubicBezTo>
                  <a:pt x="27343" y="18812"/>
                  <a:pt x="27343" y="18812"/>
                  <a:pt x="27343" y="18812"/>
                </a:cubicBezTo>
                <a:cubicBezTo>
                  <a:pt x="27375" y="18687"/>
                  <a:pt x="27437" y="18594"/>
                  <a:pt x="27531" y="18562"/>
                </a:cubicBezTo>
                <a:cubicBezTo>
                  <a:pt x="27531" y="18562"/>
                  <a:pt x="27531" y="18562"/>
                  <a:pt x="27531" y="18562"/>
                </a:cubicBezTo>
                <a:cubicBezTo>
                  <a:pt x="27562" y="18500"/>
                  <a:pt x="27593" y="18406"/>
                  <a:pt x="27687" y="18406"/>
                </a:cubicBezTo>
                <a:cubicBezTo>
                  <a:pt x="27687" y="18406"/>
                  <a:pt x="27687" y="18406"/>
                  <a:pt x="27687" y="18406"/>
                </a:cubicBezTo>
                <a:cubicBezTo>
                  <a:pt x="27687" y="18312"/>
                  <a:pt x="27718" y="18281"/>
                  <a:pt x="27781" y="18250"/>
                </a:cubicBezTo>
                <a:cubicBezTo>
                  <a:pt x="27812" y="18250"/>
                  <a:pt x="27843" y="18219"/>
                  <a:pt x="27843" y="18187"/>
                </a:cubicBezTo>
                <a:cubicBezTo>
                  <a:pt x="28062" y="17875"/>
                  <a:pt x="28281" y="17594"/>
                  <a:pt x="28437" y="17250"/>
                </a:cubicBezTo>
                <a:cubicBezTo>
                  <a:pt x="28500" y="17156"/>
                  <a:pt x="28593" y="17062"/>
                  <a:pt x="28593" y="16906"/>
                </a:cubicBezTo>
                <a:cubicBezTo>
                  <a:pt x="28562" y="16875"/>
                  <a:pt x="28562" y="16844"/>
                  <a:pt x="28593" y="16781"/>
                </a:cubicBezTo>
                <a:cubicBezTo>
                  <a:pt x="28687" y="16500"/>
                  <a:pt x="28750" y="16219"/>
                  <a:pt x="28906" y="15937"/>
                </a:cubicBezTo>
                <a:cubicBezTo>
                  <a:pt x="28906" y="15937"/>
                  <a:pt x="28906" y="15906"/>
                  <a:pt x="28906" y="15906"/>
                </a:cubicBezTo>
                <a:cubicBezTo>
                  <a:pt x="28906" y="15719"/>
                  <a:pt x="29000" y="15531"/>
                  <a:pt x="29031" y="15344"/>
                </a:cubicBezTo>
                <a:cubicBezTo>
                  <a:pt x="29093" y="15156"/>
                  <a:pt x="29062" y="14937"/>
                  <a:pt x="29156" y="14750"/>
                </a:cubicBezTo>
                <a:cubicBezTo>
                  <a:pt x="29187" y="14687"/>
                  <a:pt x="29156" y="14562"/>
                  <a:pt x="29187" y="14469"/>
                </a:cubicBezTo>
                <a:cubicBezTo>
                  <a:pt x="29281" y="14062"/>
                  <a:pt x="29250" y="13656"/>
                  <a:pt x="29218" y="13250"/>
                </a:cubicBezTo>
                <a:cubicBezTo>
                  <a:pt x="29218" y="13156"/>
                  <a:pt x="29250" y="13031"/>
                  <a:pt x="29250" y="12937"/>
                </a:cubicBezTo>
                <a:cubicBezTo>
                  <a:pt x="29250" y="12656"/>
                  <a:pt x="29187" y="12375"/>
                  <a:pt x="29156" y="12094"/>
                </a:cubicBezTo>
                <a:cubicBezTo>
                  <a:pt x="29156" y="11906"/>
                  <a:pt x="29156" y="11750"/>
                  <a:pt x="29093" y="11594"/>
                </a:cubicBezTo>
                <a:cubicBezTo>
                  <a:pt x="29062" y="11562"/>
                  <a:pt x="29062" y="11562"/>
                  <a:pt x="29062" y="11531"/>
                </a:cubicBezTo>
                <a:cubicBezTo>
                  <a:pt x="29062" y="11469"/>
                  <a:pt x="28968" y="11437"/>
                  <a:pt x="29000" y="11406"/>
                </a:cubicBezTo>
                <a:cubicBezTo>
                  <a:pt x="29031" y="11344"/>
                  <a:pt x="29093" y="11281"/>
                  <a:pt x="29187" y="11250"/>
                </a:cubicBezTo>
                <a:cubicBezTo>
                  <a:pt x="29218" y="11250"/>
                  <a:pt x="29218" y="11219"/>
                  <a:pt x="29187" y="11187"/>
                </a:cubicBezTo>
                <a:cubicBezTo>
                  <a:pt x="29156" y="11125"/>
                  <a:pt x="29125" y="11031"/>
                  <a:pt x="29093" y="10937"/>
                </a:cubicBezTo>
                <a:cubicBezTo>
                  <a:pt x="29093" y="10906"/>
                  <a:pt x="29093" y="10875"/>
                  <a:pt x="29125" y="10875"/>
                </a:cubicBezTo>
                <a:cubicBezTo>
                  <a:pt x="29156" y="10875"/>
                  <a:pt x="29187" y="10875"/>
                  <a:pt x="29187" y="10906"/>
                </a:cubicBezTo>
                <a:cubicBezTo>
                  <a:pt x="29250" y="10937"/>
                  <a:pt x="29218" y="11000"/>
                  <a:pt x="29281" y="11062"/>
                </a:cubicBezTo>
                <a:cubicBezTo>
                  <a:pt x="29312" y="10937"/>
                  <a:pt x="29281" y="10906"/>
                  <a:pt x="29187" y="10812"/>
                </a:cubicBezTo>
                <a:cubicBezTo>
                  <a:pt x="29125" y="10781"/>
                  <a:pt x="29062" y="10719"/>
                  <a:pt x="29093" y="10625"/>
                </a:cubicBezTo>
                <a:cubicBezTo>
                  <a:pt x="29093" y="10531"/>
                  <a:pt x="29156" y="10687"/>
                  <a:pt x="29187" y="10594"/>
                </a:cubicBezTo>
                <a:cubicBezTo>
                  <a:pt x="29031" y="10531"/>
                  <a:pt x="28968" y="10406"/>
                  <a:pt x="29000" y="10281"/>
                </a:cubicBezTo>
                <a:cubicBezTo>
                  <a:pt x="29062" y="10125"/>
                  <a:pt x="28968" y="10062"/>
                  <a:pt x="28937" y="9969"/>
                </a:cubicBezTo>
                <a:cubicBezTo>
                  <a:pt x="28875" y="9750"/>
                  <a:pt x="28812" y="9531"/>
                  <a:pt x="28750" y="9312"/>
                </a:cubicBezTo>
                <a:cubicBezTo>
                  <a:pt x="28687" y="9094"/>
                  <a:pt x="28656" y="8875"/>
                  <a:pt x="28562" y="8687"/>
                </a:cubicBezTo>
                <a:cubicBezTo>
                  <a:pt x="28406" y="8281"/>
                  <a:pt x="28281" y="7875"/>
                  <a:pt x="28000" y="7531"/>
                </a:cubicBezTo>
                <a:cubicBezTo>
                  <a:pt x="27781" y="7219"/>
                  <a:pt x="27531" y="6937"/>
                  <a:pt x="27218" y="6719"/>
                </a:cubicBezTo>
                <a:cubicBezTo>
                  <a:pt x="27000" y="6562"/>
                  <a:pt x="26718" y="6437"/>
                  <a:pt x="26468" y="6375"/>
                </a:cubicBezTo>
                <a:cubicBezTo>
                  <a:pt x="26093" y="6250"/>
                  <a:pt x="25718" y="6281"/>
                  <a:pt x="25343" y="6312"/>
                </a:cubicBezTo>
                <a:cubicBezTo>
                  <a:pt x="25312" y="6312"/>
                  <a:pt x="25250" y="6344"/>
                  <a:pt x="25218" y="6344"/>
                </a:cubicBezTo>
                <a:cubicBezTo>
                  <a:pt x="24906" y="6406"/>
                  <a:pt x="24625" y="6562"/>
                  <a:pt x="24343" y="6687"/>
                </a:cubicBezTo>
                <a:cubicBezTo>
                  <a:pt x="24343" y="6687"/>
                  <a:pt x="24343" y="6687"/>
                  <a:pt x="24343" y="6687"/>
                </a:cubicBezTo>
                <a:cubicBezTo>
                  <a:pt x="24062" y="6750"/>
                  <a:pt x="23812" y="6406"/>
                  <a:pt x="23906" y="6094"/>
                </a:cubicBezTo>
                <a:cubicBezTo>
                  <a:pt x="24031" y="6031"/>
                  <a:pt x="24125" y="5969"/>
                  <a:pt x="24218" y="5844"/>
                </a:cubicBezTo>
                <a:cubicBezTo>
                  <a:pt x="24375" y="5625"/>
                  <a:pt x="24531" y="5406"/>
                  <a:pt x="24656" y="5156"/>
                </a:cubicBezTo>
                <a:cubicBezTo>
                  <a:pt x="24750" y="4969"/>
                  <a:pt x="24812" y="4781"/>
                  <a:pt x="24812" y="4562"/>
                </a:cubicBezTo>
                <a:cubicBezTo>
                  <a:pt x="24875" y="4562"/>
                  <a:pt x="24875" y="4531"/>
                  <a:pt x="24875" y="4500"/>
                </a:cubicBezTo>
                <a:cubicBezTo>
                  <a:pt x="24875" y="4406"/>
                  <a:pt x="24875" y="4312"/>
                  <a:pt x="24875" y="4250"/>
                </a:cubicBezTo>
                <a:cubicBezTo>
                  <a:pt x="24812" y="4250"/>
                  <a:pt x="24812" y="4281"/>
                  <a:pt x="24812" y="4344"/>
                </a:cubicBezTo>
                <a:cubicBezTo>
                  <a:pt x="24812" y="4406"/>
                  <a:pt x="24812" y="4500"/>
                  <a:pt x="24812" y="4562"/>
                </a:cubicBezTo>
                <a:cubicBezTo>
                  <a:pt x="24750" y="4562"/>
                  <a:pt x="24718" y="4562"/>
                  <a:pt x="24750" y="4500"/>
                </a:cubicBezTo>
                <a:cubicBezTo>
                  <a:pt x="24750" y="4437"/>
                  <a:pt x="24718" y="4375"/>
                  <a:pt x="24718" y="4281"/>
                </a:cubicBezTo>
                <a:cubicBezTo>
                  <a:pt x="24718" y="4125"/>
                  <a:pt x="24687" y="3969"/>
                  <a:pt x="24781" y="3844"/>
                </a:cubicBezTo>
                <a:cubicBezTo>
                  <a:pt x="24781" y="3844"/>
                  <a:pt x="24781" y="3875"/>
                  <a:pt x="24781" y="3875"/>
                </a:cubicBezTo>
                <a:cubicBezTo>
                  <a:pt x="24812" y="3906"/>
                  <a:pt x="24750" y="3937"/>
                  <a:pt x="24812" y="3969"/>
                </a:cubicBezTo>
                <a:cubicBezTo>
                  <a:pt x="24812" y="3969"/>
                  <a:pt x="24843" y="3969"/>
                  <a:pt x="24875" y="3937"/>
                </a:cubicBezTo>
                <a:cubicBezTo>
                  <a:pt x="24906" y="3906"/>
                  <a:pt x="24906" y="3875"/>
                  <a:pt x="24875" y="3844"/>
                </a:cubicBezTo>
                <a:cubicBezTo>
                  <a:pt x="24812" y="3812"/>
                  <a:pt x="24812" y="3750"/>
                  <a:pt x="24812" y="3687"/>
                </a:cubicBezTo>
                <a:cubicBezTo>
                  <a:pt x="24781" y="3594"/>
                  <a:pt x="24843" y="3500"/>
                  <a:pt x="24843" y="3406"/>
                </a:cubicBezTo>
                <a:cubicBezTo>
                  <a:pt x="24843" y="3312"/>
                  <a:pt x="24781" y="3281"/>
                  <a:pt x="24687" y="3281"/>
                </a:cubicBezTo>
                <a:cubicBezTo>
                  <a:pt x="24656" y="3250"/>
                  <a:pt x="24375" y="3469"/>
                  <a:pt x="24406" y="3500"/>
                </a:cubicBezTo>
                <a:cubicBezTo>
                  <a:pt x="24406" y="3594"/>
                  <a:pt x="24343" y="3625"/>
                  <a:pt x="24312" y="3687"/>
                </a:cubicBezTo>
                <a:cubicBezTo>
                  <a:pt x="24281" y="3750"/>
                  <a:pt x="24218" y="3812"/>
                  <a:pt x="24281" y="3906"/>
                </a:cubicBezTo>
                <a:cubicBezTo>
                  <a:pt x="24218" y="3969"/>
                  <a:pt x="24375" y="4125"/>
                  <a:pt x="24187" y="4187"/>
                </a:cubicBezTo>
                <a:cubicBezTo>
                  <a:pt x="24187" y="4187"/>
                  <a:pt x="24156" y="4219"/>
                  <a:pt x="24156" y="4219"/>
                </a:cubicBezTo>
                <a:cubicBezTo>
                  <a:pt x="24187" y="4312"/>
                  <a:pt x="24156" y="4406"/>
                  <a:pt x="24093" y="4469"/>
                </a:cubicBezTo>
                <a:cubicBezTo>
                  <a:pt x="24000" y="4562"/>
                  <a:pt x="24000" y="4750"/>
                  <a:pt x="23843" y="4812"/>
                </a:cubicBezTo>
                <a:cubicBezTo>
                  <a:pt x="23812" y="4844"/>
                  <a:pt x="23812" y="4937"/>
                  <a:pt x="23843" y="4969"/>
                </a:cubicBezTo>
                <a:cubicBezTo>
                  <a:pt x="23843" y="5094"/>
                  <a:pt x="23812" y="5187"/>
                  <a:pt x="23750" y="5281"/>
                </a:cubicBezTo>
                <a:cubicBezTo>
                  <a:pt x="23718" y="5375"/>
                  <a:pt x="23625" y="5469"/>
                  <a:pt x="23562" y="5594"/>
                </a:cubicBezTo>
                <a:cubicBezTo>
                  <a:pt x="23531" y="5687"/>
                  <a:pt x="23593" y="5781"/>
                  <a:pt x="23468" y="5875"/>
                </a:cubicBezTo>
                <a:cubicBezTo>
                  <a:pt x="23406" y="5906"/>
                  <a:pt x="23375" y="6062"/>
                  <a:pt x="23343" y="6156"/>
                </a:cubicBezTo>
                <a:cubicBezTo>
                  <a:pt x="23312" y="6219"/>
                  <a:pt x="23281" y="6312"/>
                  <a:pt x="23218" y="6344"/>
                </a:cubicBezTo>
                <a:cubicBezTo>
                  <a:pt x="23093" y="6406"/>
                  <a:pt x="23031" y="6531"/>
                  <a:pt x="23000" y="6656"/>
                </a:cubicBezTo>
                <a:cubicBezTo>
                  <a:pt x="23000" y="6656"/>
                  <a:pt x="23000" y="6656"/>
                  <a:pt x="23000" y="6656"/>
                </a:cubicBezTo>
                <a:cubicBezTo>
                  <a:pt x="22937" y="6625"/>
                  <a:pt x="22875" y="6687"/>
                  <a:pt x="22843" y="6656"/>
                </a:cubicBezTo>
                <a:cubicBezTo>
                  <a:pt x="22750" y="6562"/>
                  <a:pt x="22562" y="6594"/>
                  <a:pt x="22468" y="6656"/>
                </a:cubicBezTo>
                <a:cubicBezTo>
                  <a:pt x="22437" y="6687"/>
                  <a:pt x="22437" y="6719"/>
                  <a:pt x="22468" y="6750"/>
                </a:cubicBezTo>
                <a:cubicBezTo>
                  <a:pt x="22500" y="6906"/>
                  <a:pt x="22468" y="7062"/>
                  <a:pt x="22343" y="7156"/>
                </a:cubicBezTo>
                <a:cubicBezTo>
                  <a:pt x="22250" y="7219"/>
                  <a:pt x="22218" y="7344"/>
                  <a:pt x="22250" y="7406"/>
                </a:cubicBezTo>
                <a:cubicBezTo>
                  <a:pt x="22250" y="7562"/>
                  <a:pt x="22156" y="7625"/>
                  <a:pt x="22125" y="7719"/>
                </a:cubicBezTo>
                <a:cubicBezTo>
                  <a:pt x="22062" y="7781"/>
                  <a:pt x="22000" y="7906"/>
                  <a:pt x="22062" y="8000"/>
                </a:cubicBezTo>
                <a:cubicBezTo>
                  <a:pt x="22156" y="8156"/>
                  <a:pt x="22156" y="8281"/>
                  <a:pt x="22062" y="8437"/>
                </a:cubicBezTo>
                <a:cubicBezTo>
                  <a:pt x="22031" y="8437"/>
                  <a:pt x="22031" y="8500"/>
                  <a:pt x="22031" y="8531"/>
                </a:cubicBezTo>
                <a:cubicBezTo>
                  <a:pt x="22000" y="8656"/>
                  <a:pt x="22000" y="8812"/>
                  <a:pt x="21906" y="8906"/>
                </a:cubicBezTo>
                <a:cubicBezTo>
                  <a:pt x="21843" y="9000"/>
                  <a:pt x="21812" y="9094"/>
                  <a:pt x="21843" y="9219"/>
                </a:cubicBezTo>
                <a:cubicBezTo>
                  <a:pt x="21812" y="9219"/>
                  <a:pt x="21781" y="9219"/>
                  <a:pt x="21750" y="9250"/>
                </a:cubicBezTo>
                <a:cubicBezTo>
                  <a:pt x="21687" y="9250"/>
                  <a:pt x="21625" y="9281"/>
                  <a:pt x="21625" y="9250"/>
                </a:cubicBezTo>
                <a:cubicBezTo>
                  <a:pt x="21593" y="9187"/>
                  <a:pt x="21625" y="9187"/>
                  <a:pt x="21656" y="9156"/>
                </a:cubicBezTo>
                <a:cubicBezTo>
                  <a:pt x="21812" y="9031"/>
                  <a:pt x="21843" y="8875"/>
                  <a:pt x="21781" y="8687"/>
                </a:cubicBezTo>
                <a:cubicBezTo>
                  <a:pt x="21781" y="8625"/>
                  <a:pt x="21781" y="8594"/>
                  <a:pt x="21812" y="8531"/>
                </a:cubicBezTo>
                <a:cubicBezTo>
                  <a:pt x="21906" y="8375"/>
                  <a:pt x="21906" y="8156"/>
                  <a:pt x="21906" y="7969"/>
                </a:cubicBezTo>
                <a:cubicBezTo>
                  <a:pt x="21906" y="7844"/>
                  <a:pt x="21968" y="7750"/>
                  <a:pt x="21968" y="7625"/>
                </a:cubicBezTo>
                <a:cubicBezTo>
                  <a:pt x="21968" y="7594"/>
                  <a:pt x="22000" y="7594"/>
                  <a:pt x="22031" y="7562"/>
                </a:cubicBezTo>
                <a:cubicBezTo>
                  <a:pt x="22062" y="7531"/>
                  <a:pt x="22062" y="7500"/>
                  <a:pt x="22031" y="7469"/>
                </a:cubicBezTo>
                <a:cubicBezTo>
                  <a:pt x="22031" y="7469"/>
                  <a:pt x="22031" y="7437"/>
                  <a:pt x="22031" y="7437"/>
                </a:cubicBezTo>
                <a:cubicBezTo>
                  <a:pt x="22031" y="7406"/>
                  <a:pt x="22031" y="7406"/>
                  <a:pt x="22031" y="7406"/>
                </a:cubicBezTo>
                <a:cubicBezTo>
                  <a:pt x="22125" y="7312"/>
                  <a:pt x="21937" y="7156"/>
                  <a:pt x="22125" y="7094"/>
                </a:cubicBezTo>
                <a:cubicBezTo>
                  <a:pt x="22125" y="7094"/>
                  <a:pt x="22125" y="7062"/>
                  <a:pt x="22125" y="7062"/>
                </a:cubicBezTo>
                <a:cubicBezTo>
                  <a:pt x="22062" y="6906"/>
                  <a:pt x="22062" y="6781"/>
                  <a:pt x="22062" y="6625"/>
                </a:cubicBezTo>
                <a:cubicBezTo>
                  <a:pt x="22218" y="6562"/>
                  <a:pt x="22250" y="6437"/>
                  <a:pt x="22218" y="6281"/>
                </a:cubicBezTo>
                <a:cubicBezTo>
                  <a:pt x="22218" y="6281"/>
                  <a:pt x="22218" y="6281"/>
                  <a:pt x="22218" y="6281"/>
                </a:cubicBezTo>
                <a:cubicBezTo>
                  <a:pt x="22281" y="6125"/>
                  <a:pt x="22375" y="6000"/>
                  <a:pt x="22343" y="5844"/>
                </a:cubicBezTo>
                <a:cubicBezTo>
                  <a:pt x="22343" y="5781"/>
                  <a:pt x="22500" y="5781"/>
                  <a:pt x="22531" y="5687"/>
                </a:cubicBezTo>
                <a:cubicBezTo>
                  <a:pt x="22531" y="5656"/>
                  <a:pt x="22562" y="5656"/>
                  <a:pt x="22562" y="5625"/>
                </a:cubicBezTo>
                <a:cubicBezTo>
                  <a:pt x="22468" y="5469"/>
                  <a:pt x="22656" y="5437"/>
                  <a:pt x="22687" y="5312"/>
                </a:cubicBezTo>
                <a:cubicBezTo>
                  <a:pt x="22718" y="5219"/>
                  <a:pt x="22812" y="5094"/>
                  <a:pt x="22875" y="5000"/>
                </a:cubicBezTo>
                <a:cubicBezTo>
                  <a:pt x="22875" y="4969"/>
                  <a:pt x="22875" y="4969"/>
                  <a:pt x="22875" y="4969"/>
                </a:cubicBezTo>
                <a:cubicBezTo>
                  <a:pt x="23000" y="4906"/>
                  <a:pt x="23031" y="4844"/>
                  <a:pt x="22937" y="4750"/>
                </a:cubicBezTo>
                <a:cubicBezTo>
                  <a:pt x="22906" y="4719"/>
                  <a:pt x="22937" y="4687"/>
                  <a:pt x="22937" y="4656"/>
                </a:cubicBezTo>
                <a:cubicBezTo>
                  <a:pt x="22968" y="4656"/>
                  <a:pt x="23000" y="4656"/>
                  <a:pt x="23000" y="4687"/>
                </a:cubicBezTo>
                <a:cubicBezTo>
                  <a:pt x="23031" y="4687"/>
                  <a:pt x="23031" y="4719"/>
                  <a:pt x="23093" y="4719"/>
                </a:cubicBezTo>
                <a:cubicBezTo>
                  <a:pt x="23125" y="4687"/>
                  <a:pt x="23062" y="4625"/>
                  <a:pt x="23062" y="4594"/>
                </a:cubicBezTo>
                <a:cubicBezTo>
                  <a:pt x="23093" y="4531"/>
                  <a:pt x="23093" y="4500"/>
                  <a:pt x="23156" y="4500"/>
                </a:cubicBezTo>
                <a:cubicBezTo>
                  <a:pt x="23187" y="4500"/>
                  <a:pt x="23187" y="4531"/>
                  <a:pt x="23187" y="4562"/>
                </a:cubicBezTo>
                <a:cubicBezTo>
                  <a:pt x="23187" y="4656"/>
                  <a:pt x="23250" y="4687"/>
                  <a:pt x="23250" y="4781"/>
                </a:cubicBezTo>
                <a:cubicBezTo>
                  <a:pt x="23250" y="4812"/>
                  <a:pt x="23281" y="4812"/>
                  <a:pt x="23312" y="4812"/>
                </a:cubicBezTo>
                <a:cubicBezTo>
                  <a:pt x="23343" y="4781"/>
                  <a:pt x="23406" y="4781"/>
                  <a:pt x="23437" y="4687"/>
                </a:cubicBezTo>
                <a:cubicBezTo>
                  <a:pt x="23437" y="4531"/>
                  <a:pt x="23562" y="4406"/>
                  <a:pt x="23562" y="4250"/>
                </a:cubicBezTo>
                <a:cubicBezTo>
                  <a:pt x="23593" y="4094"/>
                  <a:pt x="23687" y="4000"/>
                  <a:pt x="23718" y="3844"/>
                </a:cubicBezTo>
                <a:cubicBezTo>
                  <a:pt x="23781" y="3719"/>
                  <a:pt x="23656" y="3719"/>
                  <a:pt x="23562" y="3687"/>
                </a:cubicBezTo>
                <a:cubicBezTo>
                  <a:pt x="23625" y="3625"/>
                  <a:pt x="23625" y="3594"/>
                  <a:pt x="23625" y="3531"/>
                </a:cubicBezTo>
                <a:cubicBezTo>
                  <a:pt x="23625" y="3406"/>
                  <a:pt x="23625" y="3281"/>
                  <a:pt x="23718" y="3187"/>
                </a:cubicBezTo>
                <a:cubicBezTo>
                  <a:pt x="23750" y="3156"/>
                  <a:pt x="23781" y="3094"/>
                  <a:pt x="23718" y="3062"/>
                </a:cubicBezTo>
                <a:cubicBezTo>
                  <a:pt x="23656" y="3000"/>
                  <a:pt x="23687" y="2937"/>
                  <a:pt x="23718" y="2875"/>
                </a:cubicBezTo>
                <a:cubicBezTo>
                  <a:pt x="23812" y="2781"/>
                  <a:pt x="23781" y="2625"/>
                  <a:pt x="23906" y="2531"/>
                </a:cubicBezTo>
                <a:cubicBezTo>
                  <a:pt x="23906" y="2531"/>
                  <a:pt x="23906" y="2500"/>
                  <a:pt x="23906" y="2500"/>
                </a:cubicBezTo>
                <a:cubicBezTo>
                  <a:pt x="23906" y="2437"/>
                  <a:pt x="23656" y="2125"/>
                  <a:pt x="23593" y="2125"/>
                </a:cubicBezTo>
                <a:cubicBezTo>
                  <a:pt x="23531" y="2094"/>
                  <a:pt x="23500" y="2156"/>
                  <a:pt x="23437" y="2219"/>
                </a:cubicBezTo>
                <a:cubicBezTo>
                  <a:pt x="23406" y="2094"/>
                  <a:pt x="23312" y="2094"/>
                  <a:pt x="23250" y="2031"/>
                </a:cubicBezTo>
                <a:cubicBezTo>
                  <a:pt x="23218" y="1969"/>
                  <a:pt x="23187" y="2031"/>
                  <a:pt x="23187" y="2062"/>
                </a:cubicBezTo>
                <a:cubicBezTo>
                  <a:pt x="23125" y="2219"/>
                  <a:pt x="23031" y="2156"/>
                  <a:pt x="22937" y="2125"/>
                </a:cubicBezTo>
                <a:cubicBezTo>
                  <a:pt x="22843" y="2125"/>
                  <a:pt x="22812" y="2062"/>
                  <a:pt x="22812" y="1969"/>
                </a:cubicBezTo>
                <a:cubicBezTo>
                  <a:pt x="22843" y="1875"/>
                  <a:pt x="22781" y="1812"/>
                  <a:pt x="22718" y="1750"/>
                </a:cubicBezTo>
                <a:cubicBezTo>
                  <a:pt x="22562" y="1656"/>
                  <a:pt x="22437" y="1531"/>
                  <a:pt x="22312" y="1406"/>
                </a:cubicBezTo>
                <a:cubicBezTo>
                  <a:pt x="22187" y="1312"/>
                  <a:pt x="22093" y="1187"/>
                  <a:pt x="21968" y="1094"/>
                </a:cubicBezTo>
                <a:cubicBezTo>
                  <a:pt x="21906" y="1031"/>
                  <a:pt x="21781" y="1031"/>
                  <a:pt x="21750" y="969"/>
                </a:cubicBezTo>
                <a:cubicBezTo>
                  <a:pt x="21718" y="937"/>
                  <a:pt x="21687" y="906"/>
                  <a:pt x="21718" y="906"/>
                </a:cubicBezTo>
                <a:cubicBezTo>
                  <a:pt x="21718" y="844"/>
                  <a:pt x="21750" y="875"/>
                  <a:pt x="21781" y="906"/>
                </a:cubicBezTo>
                <a:cubicBezTo>
                  <a:pt x="21812" y="937"/>
                  <a:pt x="21843" y="1000"/>
                  <a:pt x="21906" y="937"/>
                </a:cubicBezTo>
                <a:cubicBezTo>
                  <a:pt x="22000" y="906"/>
                  <a:pt x="21906" y="844"/>
                  <a:pt x="21906" y="781"/>
                </a:cubicBezTo>
                <a:cubicBezTo>
                  <a:pt x="21937" y="781"/>
                  <a:pt x="21937" y="781"/>
                  <a:pt x="21937" y="781"/>
                </a:cubicBezTo>
                <a:cubicBezTo>
                  <a:pt x="22031" y="812"/>
                  <a:pt x="22312" y="1062"/>
                  <a:pt x="22375" y="1125"/>
                </a:cubicBezTo>
                <a:cubicBezTo>
                  <a:pt x="22406" y="1156"/>
                  <a:pt x="22468" y="1219"/>
                  <a:pt x="22562" y="1219"/>
                </a:cubicBezTo>
                <a:cubicBezTo>
                  <a:pt x="22812" y="1250"/>
                  <a:pt x="22968" y="1406"/>
                  <a:pt x="23093" y="1625"/>
                </a:cubicBezTo>
                <a:cubicBezTo>
                  <a:pt x="23125" y="1656"/>
                  <a:pt x="23156" y="1687"/>
                  <a:pt x="23156" y="1719"/>
                </a:cubicBezTo>
                <a:cubicBezTo>
                  <a:pt x="23218" y="1594"/>
                  <a:pt x="23156" y="1500"/>
                  <a:pt x="23062" y="1406"/>
                </a:cubicBezTo>
                <a:cubicBezTo>
                  <a:pt x="22937" y="1219"/>
                  <a:pt x="22718" y="1187"/>
                  <a:pt x="22531" y="1094"/>
                </a:cubicBezTo>
                <a:cubicBezTo>
                  <a:pt x="22625" y="1000"/>
                  <a:pt x="22656" y="969"/>
                  <a:pt x="22656" y="969"/>
                </a:cubicBezTo>
                <a:cubicBezTo>
                  <a:pt x="22750" y="1031"/>
                  <a:pt x="22843" y="1031"/>
                  <a:pt x="22875" y="1125"/>
                </a:cubicBezTo>
                <a:cubicBezTo>
                  <a:pt x="22937" y="1031"/>
                  <a:pt x="22875" y="1000"/>
                  <a:pt x="22812" y="937"/>
                </a:cubicBezTo>
                <a:cubicBezTo>
                  <a:pt x="22687" y="875"/>
                  <a:pt x="22531" y="875"/>
                  <a:pt x="22406" y="844"/>
                </a:cubicBezTo>
                <a:cubicBezTo>
                  <a:pt x="22312" y="812"/>
                  <a:pt x="22250" y="781"/>
                  <a:pt x="22156" y="750"/>
                </a:cubicBezTo>
                <a:cubicBezTo>
                  <a:pt x="22093" y="750"/>
                  <a:pt x="22125" y="719"/>
                  <a:pt x="22156" y="687"/>
                </a:cubicBezTo>
                <a:cubicBezTo>
                  <a:pt x="22156" y="656"/>
                  <a:pt x="22156" y="625"/>
                  <a:pt x="22125" y="625"/>
                </a:cubicBezTo>
                <a:cubicBezTo>
                  <a:pt x="21875" y="594"/>
                  <a:pt x="21718" y="406"/>
                  <a:pt x="21625" y="187"/>
                </a:cubicBezTo>
                <a:cubicBezTo>
                  <a:pt x="21625" y="219"/>
                  <a:pt x="21593" y="219"/>
                  <a:pt x="21593" y="219"/>
                </a:cubicBezTo>
                <a:cubicBezTo>
                  <a:pt x="21593" y="312"/>
                  <a:pt x="21593" y="406"/>
                  <a:pt x="21500" y="312"/>
                </a:cubicBezTo>
                <a:cubicBezTo>
                  <a:pt x="21468" y="281"/>
                  <a:pt x="21437" y="312"/>
                  <a:pt x="21437" y="344"/>
                </a:cubicBezTo>
                <a:cubicBezTo>
                  <a:pt x="21406" y="437"/>
                  <a:pt x="21343" y="406"/>
                  <a:pt x="21281" y="406"/>
                </a:cubicBezTo>
                <a:cubicBezTo>
                  <a:pt x="21250" y="375"/>
                  <a:pt x="21187" y="344"/>
                  <a:pt x="21187" y="375"/>
                </a:cubicBezTo>
                <a:cubicBezTo>
                  <a:pt x="21125" y="437"/>
                  <a:pt x="21218" y="437"/>
                  <a:pt x="21218" y="500"/>
                </a:cubicBezTo>
                <a:cubicBezTo>
                  <a:pt x="21062" y="500"/>
                  <a:pt x="21031" y="469"/>
                  <a:pt x="21000" y="281"/>
                </a:cubicBezTo>
                <a:cubicBezTo>
                  <a:pt x="21031" y="281"/>
                  <a:pt x="21093" y="250"/>
                  <a:pt x="21156" y="250"/>
                </a:cubicBezTo>
                <a:cubicBezTo>
                  <a:pt x="21187" y="250"/>
                  <a:pt x="21250" y="250"/>
                  <a:pt x="21250" y="219"/>
                </a:cubicBezTo>
                <a:cubicBezTo>
                  <a:pt x="21250" y="156"/>
                  <a:pt x="21187" y="187"/>
                  <a:pt x="21187" y="187"/>
                </a:cubicBezTo>
                <a:cubicBezTo>
                  <a:pt x="21000" y="125"/>
                  <a:pt x="20812" y="187"/>
                  <a:pt x="20625" y="125"/>
                </a:cubicBezTo>
                <a:cubicBezTo>
                  <a:pt x="20562" y="125"/>
                  <a:pt x="20562" y="156"/>
                  <a:pt x="20593" y="219"/>
                </a:cubicBezTo>
                <a:cubicBezTo>
                  <a:pt x="20625" y="250"/>
                  <a:pt x="20656" y="250"/>
                  <a:pt x="20656" y="281"/>
                </a:cubicBezTo>
                <a:cubicBezTo>
                  <a:pt x="20593" y="281"/>
                  <a:pt x="20500" y="312"/>
                  <a:pt x="20468" y="281"/>
                </a:cubicBezTo>
                <a:cubicBezTo>
                  <a:pt x="20406" y="187"/>
                  <a:pt x="20343" y="219"/>
                  <a:pt x="20281" y="250"/>
                </a:cubicBezTo>
                <a:cubicBezTo>
                  <a:pt x="20156" y="375"/>
                  <a:pt x="20000" y="219"/>
                  <a:pt x="19843" y="281"/>
                </a:cubicBezTo>
                <a:cubicBezTo>
                  <a:pt x="19843" y="281"/>
                  <a:pt x="19843" y="281"/>
                  <a:pt x="19812" y="250"/>
                </a:cubicBezTo>
                <a:cubicBezTo>
                  <a:pt x="19781" y="187"/>
                  <a:pt x="19718" y="187"/>
                  <a:pt x="19656" y="219"/>
                </a:cubicBezTo>
                <a:cubicBezTo>
                  <a:pt x="19593" y="219"/>
                  <a:pt x="19562" y="250"/>
                  <a:pt x="19562" y="156"/>
                </a:cubicBezTo>
                <a:cubicBezTo>
                  <a:pt x="19531" y="156"/>
                  <a:pt x="19500" y="125"/>
                  <a:pt x="19500" y="125"/>
                </a:cubicBezTo>
                <a:cubicBezTo>
                  <a:pt x="19312" y="125"/>
                  <a:pt x="19125" y="94"/>
                  <a:pt x="18968" y="156"/>
                </a:cubicBezTo>
                <a:cubicBezTo>
                  <a:pt x="18937" y="187"/>
                  <a:pt x="18906" y="187"/>
                  <a:pt x="18875" y="156"/>
                </a:cubicBezTo>
                <a:cubicBezTo>
                  <a:pt x="18843" y="31"/>
                  <a:pt x="18781" y="31"/>
                  <a:pt x="18687" y="31"/>
                </a:cubicBezTo>
                <a:cubicBezTo>
                  <a:pt x="18656" y="62"/>
                  <a:pt x="18593" y="0"/>
                  <a:pt x="18593" y="94"/>
                </a:cubicBezTo>
                <a:cubicBezTo>
                  <a:pt x="18593" y="125"/>
                  <a:pt x="18625" y="187"/>
                  <a:pt x="18687" y="187"/>
                </a:cubicBezTo>
                <a:cubicBezTo>
                  <a:pt x="18750" y="187"/>
                  <a:pt x="18812" y="187"/>
                  <a:pt x="18875" y="250"/>
                </a:cubicBezTo>
                <a:cubicBezTo>
                  <a:pt x="18843" y="250"/>
                  <a:pt x="18812" y="250"/>
                  <a:pt x="18812" y="250"/>
                </a:cubicBezTo>
                <a:cubicBezTo>
                  <a:pt x="18687" y="250"/>
                  <a:pt x="18593" y="156"/>
                  <a:pt x="18500" y="219"/>
                </a:cubicBezTo>
                <a:cubicBezTo>
                  <a:pt x="18375" y="312"/>
                  <a:pt x="18281" y="281"/>
                  <a:pt x="18250" y="156"/>
                </a:cubicBezTo>
                <a:cubicBezTo>
                  <a:pt x="18218" y="125"/>
                  <a:pt x="18187" y="125"/>
                  <a:pt x="18156" y="125"/>
                </a:cubicBezTo>
                <a:cubicBezTo>
                  <a:pt x="18093" y="156"/>
                  <a:pt x="18125" y="187"/>
                  <a:pt x="18125" y="187"/>
                </a:cubicBezTo>
                <a:cubicBezTo>
                  <a:pt x="18125" y="250"/>
                  <a:pt x="18156" y="312"/>
                  <a:pt x="18125" y="344"/>
                </a:cubicBezTo>
                <a:cubicBezTo>
                  <a:pt x="18093" y="375"/>
                  <a:pt x="18062" y="406"/>
                  <a:pt x="18125" y="437"/>
                </a:cubicBezTo>
                <a:cubicBezTo>
                  <a:pt x="18156" y="469"/>
                  <a:pt x="18156" y="500"/>
                  <a:pt x="18125" y="500"/>
                </a:cubicBezTo>
                <a:cubicBezTo>
                  <a:pt x="18125" y="531"/>
                  <a:pt x="18093" y="531"/>
                  <a:pt x="18093" y="531"/>
                </a:cubicBezTo>
                <a:cubicBezTo>
                  <a:pt x="18062" y="437"/>
                  <a:pt x="17968" y="469"/>
                  <a:pt x="17937" y="437"/>
                </a:cubicBezTo>
                <a:cubicBezTo>
                  <a:pt x="18031" y="250"/>
                  <a:pt x="18031" y="250"/>
                  <a:pt x="17812" y="250"/>
                </a:cubicBezTo>
                <a:cubicBezTo>
                  <a:pt x="17781" y="281"/>
                  <a:pt x="17875" y="312"/>
                  <a:pt x="17843" y="344"/>
                </a:cubicBezTo>
                <a:cubicBezTo>
                  <a:pt x="17812" y="406"/>
                  <a:pt x="17750" y="344"/>
                  <a:pt x="17718" y="344"/>
                </a:cubicBezTo>
                <a:cubicBezTo>
                  <a:pt x="17656" y="344"/>
                  <a:pt x="17562" y="281"/>
                  <a:pt x="17500" y="344"/>
                </a:cubicBezTo>
                <a:cubicBezTo>
                  <a:pt x="17343" y="500"/>
                  <a:pt x="17156" y="437"/>
                  <a:pt x="17000" y="469"/>
                </a:cubicBezTo>
                <a:cubicBezTo>
                  <a:pt x="16906" y="469"/>
                  <a:pt x="16781" y="500"/>
                  <a:pt x="16687" y="500"/>
                </a:cubicBezTo>
                <a:cubicBezTo>
                  <a:pt x="16562" y="531"/>
                  <a:pt x="16406" y="594"/>
                  <a:pt x="16281" y="500"/>
                </a:cubicBezTo>
                <a:cubicBezTo>
                  <a:pt x="16343" y="437"/>
                  <a:pt x="16406" y="375"/>
                  <a:pt x="16500" y="375"/>
                </a:cubicBezTo>
                <a:cubicBezTo>
                  <a:pt x="16500" y="406"/>
                  <a:pt x="16406" y="469"/>
                  <a:pt x="16531" y="469"/>
                </a:cubicBezTo>
                <a:cubicBezTo>
                  <a:pt x="16625" y="437"/>
                  <a:pt x="16718" y="437"/>
                  <a:pt x="16781" y="375"/>
                </a:cubicBezTo>
                <a:cubicBezTo>
                  <a:pt x="16843" y="344"/>
                  <a:pt x="17000" y="469"/>
                  <a:pt x="16968" y="281"/>
                </a:cubicBezTo>
                <a:cubicBezTo>
                  <a:pt x="16968" y="281"/>
                  <a:pt x="16968" y="250"/>
                  <a:pt x="16968" y="250"/>
                </a:cubicBezTo>
                <a:cubicBezTo>
                  <a:pt x="17125" y="312"/>
                  <a:pt x="17218" y="250"/>
                  <a:pt x="17343" y="219"/>
                </a:cubicBezTo>
                <a:cubicBezTo>
                  <a:pt x="17468" y="156"/>
                  <a:pt x="17625" y="94"/>
                  <a:pt x="17750" y="125"/>
                </a:cubicBezTo>
                <a:cubicBezTo>
                  <a:pt x="17781" y="125"/>
                  <a:pt x="17812" y="125"/>
                  <a:pt x="17812" y="94"/>
                </a:cubicBezTo>
                <a:cubicBezTo>
                  <a:pt x="17843" y="62"/>
                  <a:pt x="17812" y="31"/>
                  <a:pt x="17781" y="31"/>
                </a:cubicBezTo>
                <a:cubicBezTo>
                  <a:pt x="17625" y="31"/>
                  <a:pt x="17500" y="31"/>
                  <a:pt x="17375" y="94"/>
                </a:cubicBezTo>
                <a:cubicBezTo>
                  <a:pt x="17156" y="219"/>
                  <a:pt x="16906" y="187"/>
                  <a:pt x="16718" y="94"/>
                </a:cubicBezTo>
                <a:cubicBezTo>
                  <a:pt x="16531" y="31"/>
                  <a:pt x="16375" y="125"/>
                  <a:pt x="16250" y="62"/>
                </a:cubicBezTo>
                <a:cubicBezTo>
                  <a:pt x="16093" y="187"/>
                  <a:pt x="15906" y="125"/>
                  <a:pt x="15718" y="125"/>
                </a:cubicBezTo>
                <a:cubicBezTo>
                  <a:pt x="15625" y="125"/>
                  <a:pt x="15531" y="125"/>
                  <a:pt x="15468" y="187"/>
                </a:cubicBezTo>
                <a:cubicBezTo>
                  <a:pt x="15312" y="375"/>
                  <a:pt x="15062" y="375"/>
                  <a:pt x="14843" y="437"/>
                </a:cubicBezTo>
                <a:cubicBezTo>
                  <a:pt x="14750" y="469"/>
                  <a:pt x="14625" y="437"/>
                  <a:pt x="14531" y="531"/>
                </a:cubicBezTo>
                <a:cubicBezTo>
                  <a:pt x="14531" y="531"/>
                  <a:pt x="14500" y="531"/>
                  <a:pt x="14468" y="531"/>
                </a:cubicBezTo>
                <a:cubicBezTo>
                  <a:pt x="14312" y="469"/>
                  <a:pt x="14156" y="531"/>
                  <a:pt x="14062" y="594"/>
                </a:cubicBezTo>
                <a:cubicBezTo>
                  <a:pt x="13875" y="656"/>
                  <a:pt x="13687" y="687"/>
                  <a:pt x="13500" y="781"/>
                </a:cubicBezTo>
                <a:cubicBezTo>
                  <a:pt x="13343" y="875"/>
                  <a:pt x="13187" y="937"/>
                  <a:pt x="13031" y="1031"/>
                </a:cubicBezTo>
                <a:cubicBezTo>
                  <a:pt x="13031" y="1031"/>
                  <a:pt x="13000" y="1062"/>
                  <a:pt x="13000" y="1094"/>
                </a:cubicBezTo>
                <a:cubicBezTo>
                  <a:pt x="13031" y="1125"/>
                  <a:pt x="13062" y="1125"/>
                  <a:pt x="13062" y="1125"/>
                </a:cubicBezTo>
                <a:cubicBezTo>
                  <a:pt x="13125" y="1094"/>
                  <a:pt x="13187" y="1094"/>
                  <a:pt x="13250" y="1062"/>
                </a:cubicBezTo>
                <a:cubicBezTo>
                  <a:pt x="13250" y="1062"/>
                  <a:pt x="13281" y="1062"/>
                  <a:pt x="13281" y="1062"/>
                </a:cubicBezTo>
                <a:cubicBezTo>
                  <a:pt x="13312" y="1094"/>
                  <a:pt x="13281" y="1125"/>
                  <a:pt x="13250" y="1125"/>
                </a:cubicBezTo>
                <a:cubicBezTo>
                  <a:pt x="13187" y="1156"/>
                  <a:pt x="13093" y="1250"/>
                  <a:pt x="13000" y="1156"/>
                </a:cubicBezTo>
                <a:cubicBezTo>
                  <a:pt x="12968" y="1125"/>
                  <a:pt x="12937" y="1125"/>
                  <a:pt x="12875" y="1156"/>
                </a:cubicBezTo>
                <a:cubicBezTo>
                  <a:pt x="12906" y="1219"/>
                  <a:pt x="12968" y="1187"/>
                  <a:pt x="12968" y="1250"/>
                </a:cubicBezTo>
                <a:cubicBezTo>
                  <a:pt x="12937" y="1281"/>
                  <a:pt x="12906" y="1312"/>
                  <a:pt x="12843" y="1312"/>
                </a:cubicBezTo>
                <a:cubicBezTo>
                  <a:pt x="12781" y="1312"/>
                  <a:pt x="12718" y="1312"/>
                  <a:pt x="12656" y="1281"/>
                </a:cubicBezTo>
                <a:cubicBezTo>
                  <a:pt x="12593" y="1281"/>
                  <a:pt x="12531" y="1250"/>
                  <a:pt x="12500" y="1312"/>
                </a:cubicBezTo>
                <a:cubicBezTo>
                  <a:pt x="12468" y="1375"/>
                  <a:pt x="12500" y="1406"/>
                  <a:pt x="12562" y="1437"/>
                </a:cubicBezTo>
                <a:cubicBezTo>
                  <a:pt x="12593" y="1469"/>
                  <a:pt x="12593" y="1500"/>
                  <a:pt x="12562" y="1562"/>
                </a:cubicBezTo>
                <a:cubicBezTo>
                  <a:pt x="12531" y="1594"/>
                  <a:pt x="12500" y="1594"/>
                  <a:pt x="12468" y="1562"/>
                </a:cubicBezTo>
                <a:cubicBezTo>
                  <a:pt x="12343" y="1469"/>
                  <a:pt x="12281" y="1562"/>
                  <a:pt x="12250" y="1625"/>
                </a:cubicBezTo>
                <a:cubicBezTo>
                  <a:pt x="12218" y="1656"/>
                  <a:pt x="12250" y="1719"/>
                  <a:pt x="12218" y="1719"/>
                </a:cubicBezTo>
                <a:cubicBezTo>
                  <a:pt x="12218" y="1719"/>
                  <a:pt x="12187" y="1719"/>
                  <a:pt x="12187" y="1719"/>
                </a:cubicBezTo>
                <a:lnTo>
                  <a:pt x="12187" y="1719"/>
                </a:lnTo>
                <a:cubicBezTo>
                  <a:pt x="12187" y="1656"/>
                  <a:pt x="12187" y="1625"/>
                  <a:pt x="12250" y="1625"/>
                </a:cubicBezTo>
                <a:cubicBezTo>
                  <a:pt x="12375" y="1594"/>
                  <a:pt x="12375" y="1625"/>
                  <a:pt x="12375" y="1750"/>
                </a:cubicBezTo>
                <a:cubicBezTo>
                  <a:pt x="12375" y="1875"/>
                  <a:pt x="12250" y="2000"/>
                  <a:pt x="12031" y="2031"/>
                </a:cubicBezTo>
                <a:cubicBezTo>
                  <a:pt x="12093" y="2062"/>
                  <a:pt x="12187" y="2094"/>
                  <a:pt x="12156" y="2187"/>
                </a:cubicBezTo>
                <a:cubicBezTo>
                  <a:pt x="12125" y="2250"/>
                  <a:pt x="12156" y="2344"/>
                  <a:pt x="12093" y="2406"/>
                </a:cubicBezTo>
                <a:cubicBezTo>
                  <a:pt x="12062" y="2437"/>
                  <a:pt x="12062" y="2500"/>
                  <a:pt x="12093" y="2531"/>
                </a:cubicBezTo>
                <a:cubicBezTo>
                  <a:pt x="12187" y="2562"/>
                  <a:pt x="12156" y="2625"/>
                  <a:pt x="12156" y="2687"/>
                </a:cubicBezTo>
                <a:cubicBezTo>
                  <a:pt x="12125" y="2781"/>
                  <a:pt x="12125" y="2875"/>
                  <a:pt x="12125" y="2969"/>
                </a:cubicBezTo>
                <a:cubicBezTo>
                  <a:pt x="12125" y="2906"/>
                  <a:pt x="12187" y="2875"/>
                  <a:pt x="12218" y="2781"/>
                </a:cubicBezTo>
                <a:cubicBezTo>
                  <a:pt x="12218" y="2594"/>
                  <a:pt x="12250" y="2406"/>
                  <a:pt x="12375" y="2250"/>
                </a:cubicBezTo>
                <a:cubicBezTo>
                  <a:pt x="12531" y="2062"/>
                  <a:pt x="12656" y="1906"/>
                  <a:pt x="12906" y="1844"/>
                </a:cubicBezTo>
                <a:cubicBezTo>
                  <a:pt x="13031" y="1812"/>
                  <a:pt x="13156" y="1687"/>
                  <a:pt x="13281" y="1625"/>
                </a:cubicBezTo>
                <a:cubicBezTo>
                  <a:pt x="13281" y="1625"/>
                  <a:pt x="13312" y="1625"/>
                  <a:pt x="13312" y="1594"/>
                </a:cubicBezTo>
                <a:cubicBezTo>
                  <a:pt x="13312" y="1562"/>
                  <a:pt x="13343" y="1531"/>
                  <a:pt x="13375" y="1500"/>
                </a:cubicBezTo>
                <a:cubicBezTo>
                  <a:pt x="13562" y="1406"/>
                  <a:pt x="13812" y="1344"/>
                  <a:pt x="14000" y="1187"/>
                </a:cubicBezTo>
                <a:cubicBezTo>
                  <a:pt x="14062" y="1156"/>
                  <a:pt x="14125" y="1125"/>
                  <a:pt x="14187" y="1125"/>
                </a:cubicBezTo>
                <a:cubicBezTo>
                  <a:pt x="14312" y="1125"/>
                  <a:pt x="14437" y="1031"/>
                  <a:pt x="14562" y="1000"/>
                </a:cubicBezTo>
                <a:cubicBezTo>
                  <a:pt x="14625" y="969"/>
                  <a:pt x="14625" y="906"/>
                  <a:pt x="14625" y="844"/>
                </a:cubicBezTo>
                <a:cubicBezTo>
                  <a:pt x="14593" y="781"/>
                  <a:pt x="14531" y="812"/>
                  <a:pt x="14468" y="844"/>
                </a:cubicBezTo>
                <a:cubicBezTo>
                  <a:pt x="14437" y="844"/>
                  <a:pt x="14406" y="875"/>
                  <a:pt x="14343" y="844"/>
                </a:cubicBezTo>
                <a:cubicBezTo>
                  <a:pt x="14250" y="781"/>
                  <a:pt x="14187" y="812"/>
                  <a:pt x="14093" y="844"/>
                </a:cubicBezTo>
                <a:cubicBezTo>
                  <a:pt x="13968" y="937"/>
                  <a:pt x="13812" y="1031"/>
                  <a:pt x="13656" y="906"/>
                </a:cubicBezTo>
                <a:cubicBezTo>
                  <a:pt x="13843" y="750"/>
                  <a:pt x="14093" y="687"/>
                  <a:pt x="14343" y="594"/>
                </a:cubicBezTo>
                <a:cubicBezTo>
                  <a:pt x="14406" y="594"/>
                  <a:pt x="14468" y="687"/>
                  <a:pt x="14531" y="656"/>
                </a:cubicBezTo>
                <a:cubicBezTo>
                  <a:pt x="14687" y="562"/>
                  <a:pt x="14812" y="656"/>
                  <a:pt x="14937" y="750"/>
                </a:cubicBezTo>
                <a:cubicBezTo>
                  <a:pt x="14968" y="781"/>
                  <a:pt x="15031" y="812"/>
                  <a:pt x="15093" y="781"/>
                </a:cubicBezTo>
                <a:cubicBezTo>
                  <a:pt x="15281" y="750"/>
                  <a:pt x="15468" y="719"/>
                  <a:pt x="15625" y="687"/>
                </a:cubicBezTo>
                <a:cubicBezTo>
                  <a:pt x="15812" y="656"/>
                  <a:pt x="15968" y="687"/>
                  <a:pt x="16125" y="594"/>
                </a:cubicBezTo>
                <a:cubicBezTo>
                  <a:pt x="16156" y="562"/>
                  <a:pt x="16187" y="594"/>
                  <a:pt x="16187" y="594"/>
                </a:cubicBezTo>
                <a:cubicBezTo>
                  <a:pt x="16093" y="656"/>
                  <a:pt x="16125" y="781"/>
                  <a:pt x="16000" y="812"/>
                </a:cubicBezTo>
                <a:cubicBezTo>
                  <a:pt x="15906" y="812"/>
                  <a:pt x="15812" y="875"/>
                  <a:pt x="15718" y="937"/>
                </a:cubicBezTo>
                <a:cubicBezTo>
                  <a:pt x="15656" y="969"/>
                  <a:pt x="15593" y="969"/>
                  <a:pt x="15531" y="969"/>
                </a:cubicBezTo>
                <a:cubicBezTo>
                  <a:pt x="15343" y="969"/>
                  <a:pt x="15187" y="937"/>
                  <a:pt x="15031" y="1094"/>
                </a:cubicBezTo>
                <a:cubicBezTo>
                  <a:pt x="15031" y="1125"/>
                  <a:pt x="14968" y="1125"/>
                  <a:pt x="14937" y="1125"/>
                </a:cubicBezTo>
                <a:cubicBezTo>
                  <a:pt x="14812" y="1125"/>
                  <a:pt x="14687" y="1156"/>
                  <a:pt x="14687" y="1312"/>
                </a:cubicBezTo>
                <a:cubicBezTo>
                  <a:pt x="14656" y="1344"/>
                  <a:pt x="14625" y="1375"/>
                  <a:pt x="14625" y="1375"/>
                </a:cubicBezTo>
                <a:cubicBezTo>
                  <a:pt x="14500" y="1375"/>
                  <a:pt x="14437" y="1437"/>
                  <a:pt x="14375" y="1531"/>
                </a:cubicBezTo>
                <a:cubicBezTo>
                  <a:pt x="14375" y="1562"/>
                  <a:pt x="14343" y="1594"/>
                  <a:pt x="14312" y="1594"/>
                </a:cubicBezTo>
                <a:cubicBezTo>
                  <a:pt x="14312" y="1625"/>
                  <a:pt x="14250" y="1625"/>
                  <a:pt x="14250" y="1594"/>
                </a:cubicBezTo>
                <a:cubicBezTo>
                  <a:pt x="14218" y="1594"/>
                  <a:pt x="14250" y="1562"/>
                  <a:pt x="14250" y="1531"/>
                </a:cubicBezTo>
                <a:cubicBezTo>
                  <a:pt x="14250" y="1531"/>
                  <a:pt x="14250" y="1500"/>
                  <a:pt x="14250" y="1500"/>
                </a:cubicBezTo>
                <a:cubicBezTo>
                  <a:pt x="14218" y="1469"/>
                  <a:pt x="14218" y="1469"/>
                  <a:pt x="14187" y="1500"/>
                </a:cubicBezTo>
                <a:cubicBezTo>
                  <a:pt x="14093" y="1531"/>
                  <a:pt x="14000" y="1625"/>
                  <a:pt x="13937" y="1750"/>
                </a:cubicBezTo>
                <a:cubicBezTo>
                  <a:pt x="13875" y="1656"/>
                  <a:pt x="13937" y="1594"/>
                  <a:pt x="13937" y="1562"/>
                </a:cubicBezTo>
                <a:cubicBezTo>
                  <a:pt x="13968" y="1469"/>
                  <a:pt x="13968" y="1406"/>
                  <a:pt x="13906" y="1406"/>
                </a:cubicBezTo>
                <a:cubicBezTo>
                  <a:pt x="13843" y="1406"/>
                  <a:pt x="13812" y="1469"/>
                  <a:pt x="13781" y="1500"/>
                </a:cubicBezTo>
                <a:cubicBezTo>
                  <a:pt x="13781" y="1562"/>
                  <a:pt x="13781" y="1656"/>
                  <a:pt x="13750" y="1687"/>
                </a:cubicBezTo>
                <a:cubicBezTo>
                  <a:pt x="13593" y="1750"/>
                  <a:pt x="13468" y="1844"/>
                  <a:pt x="13375" y="1969"/>
                </a:cubicBezTo>
                <a:cubicBezTo>
                  <a:pt x="13312" y="2062"/>
                  <a:pt x="13187" y="2094"/>
                  <a:pt x="13093" y="2187"/>
                </a:cubicBezTo>
                <a:cubicBezTo>
                  <a:pt x="13062" y="2219"/>
                  <a:pt x="13031" y="2219"/>
                  <a:pt x="13000" y="2187"/>
                </a:cubicBezTo>
                <a:cubicBezTo>
                  <a:pt x="12968" y="2187"/>
                  <a:pt x="12968" y="2156"/>
                  <a:pt x="13000" y="2125"/>
                </a:cubicBezTo>
                <a:cubicBezTo>
                  <a:pt x="13062" y="2062"/>
                  <a:pt x="13031" y="2031"/>
                  <a:pt x="12968" y="2000"/>
                </a:cubicBezTo>
                <a:cubicBezTo>
                  <a:pt x="12906" y="1969"/>
                  <a:pt x="12843" y="1937"/>
                  <a:pt x="12812" y="2031"/>
                </a:cubicBezTo>
                <a:cubicBezTo>
                  <a:pt x="12843" y="2000"/>
                  <a:pt x="12906" y="2000"/>
                  <a:pt x="12906" y="2062"/>
                </a:cubicBezTo>
                <a:cubicBezTo>
                  <a:pt x="12875" y="2094"/>
                  <a:pt x="12906" y="2125"/>
                  <a:pt x="12875" y="2156"/>
                </a:cubicBezTo>
                <a:cubicBezTo>
                  <a:pt x="12750" y="2281"/>
                  <a:pt x="12718" y="2469"/>
                  <a:pt x="12656" y="2625"/>
                </a:cubicBezTo>
                <a:cubicBezTo>
                  <a:pt x="12625" y="2750"/>
                  <a:pt x="12625" y="2875"/>
                  <a:pt x="12625" y="3031"/>
                </a:cubicBezTo>
                <a:cubicBezTo>
                  <a:pt x="12625" y="3031"/>
                  <a:pt x="12625" y="3031"/>
                  <a:pt x="12656" y="3062"/>
                </a:cubicBezTo>
                <a:cubicBezTo>
                  <a:pt x="12656" y="3062"/>
                  <a:pt x="12656" y="3094"/>
                  <a:pt x="12656" y="3094"/>
                </a:cubicBezTo>
                <a:cubicBezTo>
                  <a:pt x="13156" y="2906"/>
                  <a:pt x="13843" y="2937"/>
                  <a:pt x="13937" y="2906"/>
                </a:cubicBezTo>
                <a:cubicBezTo>
                  <a:pt x="12500" y="4156"/>
                  <a:pt x="12500" y="4156"/>
                  <a:pt x="12500" y="4156"/>
                </a:cubicBezTo>
                <a:cubicBezTo>
                  <a:pt x="12500" y="4187"/>
                  <a:pt x="12531" y="4219"/>
                  <a:pt x="12562" y="4250"/>
                </a:cubicBezTo>
                <a:cubicBezTo>
                  <a:pt x="12562" y="4312"/>
                  <a:pt x="12562" y="4344"/>
                  <a:pt x="12562" y="4375"/>
                </a:cubicBezTo>
                <a:cubicBezTo>
                  <a:pt x="12562" y="4500"/>
                  <a:pt x="12562" y="4594"/>
                  <a:pt x="12656" y="4687"/>
                </a:cubicBezTo>
                <a:cubicBezTo>
                  <a:pt x="12656" y="4625"/>
                  <a:pt x="12656" y="4562"/>
                  <a:pt x="12656" y="4500"/>
                </a:cubicBezTo>
                <a:cubicBezTo>
                  <a:pt x="12625" y="4406"/>
                  <a:pt x="12687" y="4375"/>
                  <a:pt x="12781" y="4375"/>
                </a:cubicBezTo>
                <a:cubicBezTo>
                  <a:pt x="12875" y="4406"/>
                  <a:pt x="12937" y="4406"/>
                  <a:pt x="13031" y="4437"/>
                </a:cubicBezTo>
                <a:cubicBezTo>
                  <a:pt x="13125" y="4437"/>
                  <a:pt x="13156" y="4406"/>
                  <a:pt x="13125" y="4312"/>
                </a:cubicBezTo>
                <a:cubicBezTo>
                  <a:pt x="13093" y="4281"/>
                  <a:pt x="13062" y="4219"/>
                  <a:pt x="13093" y="4187"/>
                </a:cubicBezTo>
                <a:cubicBezTo>
                  <a:pt x="13156" y="4125"/>
                  <a:pt x="13187" y="4219"/>
                  <a:pt x="13218" y="4219"/>
                </a:cubicBezTo>
                <a:cubicBezTo>
                  <a:pt x="13343" y="4312"/>
                  <a:pt x="13500" y="4281"/>
                  <a:pt x="13625" y="4312"/>
                </a:cubicBezTo>
                <a:cubicBezTo>
                  <a:pt x="13812" y="4406"/>
                  <a:pt x="14031" y="4469"/>
                  <a:pt x="14125" y="4656"/>
                </a:cubicBezTo>
                <a:cubicBezTo>
                  <a:pt x="14156" y="4719"/>
                  <a:pt x="14218" y="4781"/>
                  <a:pt x="14312" y="4750"/>
                </a:cubicBezTo>
                <a:cubicBezTo>
                  <a:pt x="14375" y="4719"/>
                  <a:pt x="14375" y="4812"/>
                  <a:pt x="14406" y="4844"/>
                </a:cubicBezTo>
                <a:cubicBezTo>
                  <a:pt x="14406" y="4937"/>
                  <a:pt x="14437" y="4969"/>
                  <a:pt x="14531" y="4937"/>
                </a:cubicBezTo>
                <a:cubicBezTo>
                  <a:pt x="14562" y="4906"/>
                  <a:pt x="14593" y="4906"/>
                  <a:pt x="14625" y="4937"/>
                </a:cubicBezTo>
                <a:cubicBezTo>
                  <a:pt x="14906" y="5219"/>
                  <a:pt x="15281" y="5375"/>
                  <a:pt x="15625" y="5594"/>
                </a:cubicBezTo>
                <a:cubicBezTo>
                  <a:pt x="15812" y="5687"/>
                  <a:pt x="16031" y="5781"/>
                  <a:pt x="16250" y="5875"/>
                </a:cubicBezTo>
                <a:cubicBezTo>
                  <a:pt x="16343" y="5906"/>
                  <a:pt x="16468" y="6062"/>
                  <a:pt x="16437" y="6187"/>
                </a:cubicBezTo>
                <a:cubicBezTo>
                  <a:pt x="16437" y="6187"/>
                  <a:pt x="16437" y="6187"/>
                  <a:pt x="16437" y="6219"/>
                </a:cubicBezTo>
                <a:cubicBezTo>
                  <a:pt x="16937" y="6469"/>
                  <a:pt x="17375" y="6906"/>
                  <a:pt x="17656" y="7562"/>
                </a:cubicBezTo>
                <a:cubicBezTo>
                  <a:pt x="18250" y="8875"/>
                  <a:pt x="18593" y="10094"/>
                  <a:pt x="19625" y="10094"/>
                </a:cubicBezTo>
                <a:cubicBezTo>
                  <a:pt x="20656" y="10125"/>
                  <a:pt x="18187" y="11031"/>
                  <a:pt x="17406" y="8094"/>
                </a:cubicBezTo>
                <a:cubicBezTo>
                  <a:pt x="17375" y="8062"/>
                  <a:pt x="17375" y="8031"/>
                  <a:pt x="17375" y="8000"/>
                </a:cubicBezTo>
                <a:cubicBezTo>
                  <a:pt x="17343" y="8000"/>
                  <a:pt x="17343" y="8000"/>
                  <a:pt x="17343" y="8000"/>
                </a:cubicBezTo>
                <a:cubicBezTo>
                  <a:pt x="17250" y="7906"/>
                  <a:pt x="17281" y="7750"/>
                  <a:pt x="17125" y="7719"/>
                </a:cubicBezTo>
                <a:cubicBezTo>
                  <a:pt x="17031" y="7594"/>
                  <a:pt x="16968" y="7437"/>
                  <a:pt x="16906" y="7281"/>
                </a:cubicBezTo>
                <a:cubicBezTo>
                  <a:pt x="16906" y="7250"/>
                  <a:pt x="16906" y="7187"/>
                  <a:pt x="16875" y="7156"/>
                </a:cubicBezTo>
                <a:cubicBezTo>
                  <a:pt x="16843" y="7094"/>
                  <a:pt x="16781" y="7062"/>
                  <a:pt x="16750" y="7031"/>
                </a:cubicBezTo>
                <a:cubicBezTo>
                  <a:pt x="16750" y="7000"/>
                  <a:pt x="16750" y="7000"/>
                  <a:pt x="16750" y="7000"/>
                </a:cubicBezTo>
                <a:cubicBezTo>
                  <a:pt x="16750" y="7000"/>
                  <a:pt x="16750" y="7000"/>
                  <a:pt x="16750" y="7000"/>
                </a:cubicBezTo>
                <a:cubicBezTo>
                  <a:pt x="16437" y="6687"/>
                  <a:pt x="16031" y="6437"/>
                  <a:pt x="15593" y="6250"/>
                </a:cubicBezTo>
                <a:cubicBezTo>
                  <a:pt x="15593" y="6281"/>
                  <a:pt x="15562" y="6281"/>
                  <a:pt x="15437" y="6312"/>
                </a:cubicBezTo>
                <a:cubicBezTo>
                  <a:pt x="15406" y="6312"/>
                  <a:pt x="15343" y="6312"/>
                  <a:pt x="15281" y="6312"/>
                </a:cubicBezTo>
                <a:cubicBezTo>
                  <a:pt x="15093" y="6281"/>
                  <a:pt x="14906" y="6281"/>
                  <a:pt x="14750" y="6312"/>
                </a:cubicBezTo>
                <a:cubicBezTo>
                  <a:pt x="14656" y="6344"/>
                  <a:pt x="14562" y="6344"/>
                  <a:pt x="14500" y="6281"/>
                </a:cubicBezTo>
                <a:cubicBezTo>
                  <a:pt x="14500" y="6250"/>
                  <a:pt x="14468" y="6250"/>
                  <a:pt x="14468" y="6281"/>
                </a:cubicBezTo>
                <a:cubicBezTo>
                  <a:pt x="14312" y="6375"/>
                  <a:pt x="14187" y="6344"/>
                  <a:pt x="14062" y="6250"/>
                </a:cubicBezTo>
                <a:cubicBezTo>
                  <a:pt x="14031" y="6250"/>
                  <a:pt x="14000" y="6250"/>
                  <a:pt x="14000" y="6250"/>
                </a:cubicBezTo>
                <a:cubicBezTo>
                  <a:pt x="13968" y="6375"/>
                  <a:pt x="13906" y="6281"/>
                  <a:pt x="13843" y="6312"/>
                </a:cubicBezTo>
                <a:cubicBezTo>
                  <a:pt x="13843" y="6312"/>
                  <a:pt x="13843" y="6312"/>
                  <a:pt x="13843" y="6312"/>
                </a:cubicBezTo>
                <a:cubicBezTo>
                  <a:pt x="13843" y="6312"/>
                  <a:pt x="13843" y="6312"/>
                  <a:pt x="13843" y="6312"/>
                </a:cubicBezTo>
                <a:cubicBezTo>
                  <a:pt x="13843" y="6250"/>
                  <a:pt x="13875" y="6187"/>
                  <a:pt x="13812" y="6250"/>
                </a:cubicBezTo>
                <a:cubicBezTo>
                  <a:pt x="13750" y="6312"/>
                  <a:pt x="13718" y="6281"/>
                  <a:pt x="13687" y="6312"/>
                </a:cubicBezTo>
                <a:cubicBezTo>
                  <a:pt x="13656" y="6281"/>
                  <a:pt x="13625" y="6281"/>
                  <a:pt x="13656" y="6219"/>
                </a:cubicBezTo>
                <a:cubicBezTo>
                  <a:pt x="13656" y="6219"/>
                  <a:pt x="13656" y="6219"/>
                  <a:pt x="13656" y="6219"/>
                </a:cubicBezTo>
                <a:lnTo>
                  <a:pt x="13656" y="6219"/>
                </a:lnTo>
                <a:cubicBezTo>
                  <a:pt x="13718" y="6219"/>
                  <a:pt x="13687" y="6281"/>
                  <a:pt x="13687" y="6312"/>
                </a:cubicBezTo>
                <a:cubicBezTo>
                  <a:pt x="13656" y="6406"/>
                  <a:pt x="13593" y="6437"/>
                  <a:pt x="13531" y="6375"/>
                </a:cubicBezTo>
                <a:cubicBezTo>
                  <a:pt x="13406" y="6250"/>
                  <a:pt x="13250" y="6250"/>
                  <a:pt x="13093" y="6187"/>
                </a:cubicBezTo>
                <a:cubicBezTo>
                  <a:pt x="13093" y="6187"/>
                  <a:pt x="13093" y="6219"/>
                  <a:pt x="13093" y="6219"/>
                </a:cubicBezTo>
                <a:cubicBezTo>
                  <a:pt x="13093" y="6219"/>
                  <a:pt x="13093" y="6219"/>
                  <a:pt x="13093" y="6219"/>
                </a:cubicBezTo>
                <a:cubicBezTo>
                  <a:pt x="13062" y="6219"/>
                  <a:pt x="13031" y="6219"/>
                  <a:pt x="13031" y="6250"/>
                </a:cubicBezTo>
                <a:cubicBezTo>
                  <a:pt x="13000" y="6281"/>
                  <a:pt x="13031" y="6281"/>
                  <a:pt x="13062" y="6312"/>
                </a:cubicBezTo>
                <a:cubicBezTo>
                  <a:pt x="13062" y="6344"/>
                  <a:pt x="13062" y="6375"/>
                  <a:pt x="13000" y="6375"/>
                </a:cubicBezTo>
                <a:cubicBezTo>
                  <a:pt x="12937" y="6375"/>
                  <a:pt x="13000" y="6281"/>
                  <a:pt x="12937" y="6281"/>
                </a:cubicBezTo>
                <a:cubicBezTo>
                  <a:pt x="12937" y="6312"/>
                  <a:pt x="12937" y="6344"/>
                  <a:pt x="12937" y="6344"/>
                </a:cubicBezTo>
                <a:cubicBezTo>
                  <a:pt x="12968" y="6437"/>
                  <a:pt x="12906" y="6469"/>
                  <a:pt x="12906" y="6562"/>
                </a:cubicBezTo>
                <a:cubicBezTo>
                  <a:pt x="12906" y="7219"/>
                  <a:pt x="12906" y="7906"/>
                  <a:pt x="12906" y="8594"/>
                </a:cubicBezTo>
                <a:cubicBezTo>
                  <a:pt x="12906" y="8594"/>
                  <a:pt x="12906" y="8625"/>
                  <a:pt x="12906" y="8625"/>
                </a:cubicBezTo>
                <a:cubicBezTo>
                  <a:pt x="12937" y="8906"/>
                  <a:pt x="12906" y="9219"/>
                  <a:pt x="12937" y="9500"/>
                </a:cubicBezTo>
                <a:cubicBezTo>
                  <a:pt x="12937" y="9500"/>
                  <a:pt x="12937" y="9531"/>
                  <a:pt x="12937" y="9562"/>
                </a:cubicBezTo>
                <a:cubicBezTo>
                  <a:pt x="12906" y="9625"/>
                  <a:pt x="12906" y="9687"/>
                  <a:pt x="12968" y="9750"/>
                </a:cubicBezTo>
                <a:cubicBezTo>
                  <a:pt x="12968" y="9781"/>
                  <a:pt x="12968" y="9781"/>
                  <a:pt x="12937" y="9781"/>
                </a:cubicBezTo>
                <a:cubicBezTo>
                  <a:pt x="12906" y="9906"/>
                  <a:pt x="12906" y="10000"/>
                  <a:pt x="12968" y="10094"/>
                </a:cubicBezTo>
                <a:cubicBezTo>
                  <a:pt x="12937" y="10375"/>
                  <a:pt x="12968" y="10625"/>
                  <a:pt x="12937" y="10875"/>
                </a:cubicBezTo>
                <a:cubicBezTo>
                  <a:pt x="12875" y="11219"/>
                  <a:pt x="12968" y="11531"/>
                  <a:pt x="12968" y="11875"/>
                </a:cubicBezTo>
                <a:cubicBezTo>
                  <a:pt x="12968" y="11875"/>
                  <a:pt x="12968" y="11875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06"/>
                  <a:pt x="12968" y="11906"/>
                  <a:pt x="12968" y="11906"/>
                </a:cubicBezTo>
                <a:cubicBezTo>
                  <a:pt x="12968" y="11969"/>
                  <a:pt x="12906" y="12062"/>
                  <a:pt x="12906" y="12156"/>
                </a:cubicBezTo>
                <a:cubicBezTo>
                  <a:pt x="12937" y="12250"/>
                  <a:pt x="12937" y="12375"/>
                  <a:pt x="12968" y="12469"/>
                </a:cubicBezTo>
                <a:cubicBezTo>
                  <a:pt x="12937" y="12469"/>
                  <a:pt x="12968" y="12500"/>
                  <a:pt x="12968" y="12500"/>
                </a:cubicBezTo>
                <a:cubicBezTo>
                  <a:pt x="12968" y="12500"/>
                  <a:pt x="12968" y="12500"/>
                  <a:pt x="12968" y="12500"/>
                </a:cubicBezTo>
                <a:cubicBezTo>
                  <a:pt x="12937" y="12656"/>
                  <a:pt x="12937" y="12844"/>
                  <a:pt x="12968" y="13000"/>
                </a:cubicBezTo>
                <a:cubicBezTo>
                  <a:pt x="12968" y="13094"/>
                  <a:pt x="12937" y="13187"/>
                  <a:pt x="12968" y="13250"/>
                </a:cubicBezTo>
                <a:cubicBezTo>
                  <a:pt x="12968" y="13281"/>
                  <a:pt x="12968" y="13281"/>
                  <a:pt x="12968" y="13312"/>
                </a:cubicBezTo>
                <a:cubicBezTo>
                  <a:pt x="12968" y="13437"/>
                  <a:pt x="12968" y="13562"/>
                  <a:pt x="12968" y="13687"/>
                </a:cubicBezTo>
                <a:cubicBezTo>
                  <a:pt x="12968" y="13937"/>
                  <a:pt x="12968" y="14187"/>
                  <a:pt x="13000" y="14437"/>
                </a:cubicBezTo>
                <a:cubicBezTo>
                  <a:pt x="12968" y="14469"/>
                  <a:pt x="12968" y="14531"/>
                  <a:pt x="13000" y="14562"/>
                </a:cubicBezTo>
                <a:cubicBezTo>
                  <a:pt x="12937" y="14656"/>
                  <a:pt x="12968" y="14750"/>
                  <a:pt x="12968" y="14812"/>
                </a:cubicBezTo>
                <a:cubicBezTo>
                  <a:pt x="13000" y="15031"/>
                  <a:pt x="12906" y="15250"/>
                  <a:pt x="12968" y="15469"/>
                </a:cubicBezTo>
                <a:cubicBezTo>
                  <a:pt x="13000" y="15469"/>
                  <a:pt x="12968" y="15500"/>
                  <a:pt x="12968" y="15531"/>
                </a:cubicBezTo>
                <a:cubicBezTo>
                  <a:pt x="12937" y="15656"/>
                  <a:pt x="12968" y="15781"/>
                  <a:pt x="12968" y="15937"/>
                </a:cubicBezTo>
                <a:cubicBezTo>
                  <a:pt x="13031" y="16000"/>
                  <a:pt x="13031" y="16094"/>
                  <a:pt x="13031" y="16156"/>
                </a:cubicBezTo>
                <a:cubicBezTo>
                  <a:pt x="13031" y="16094"/>
                  <a:pt x="13031" y="16000"/>
                  <a:pt x="12968" y="15937"/>
                </a:cubicBezTo>
                <a:cubicBezTo>
                  <a:pt x="12937" y="16094"/>
                  <a:pt x="12937" y="16250"/>
                  <a:pt x="12968" y="16406"/>
                </a:cubicBezTo>
                <a:cubicBezTo>
                  <a:pt x="12937" y="16562"/>
                  <a:pt x="12968" y="16719"/>
                  <a:pt x="12968" y="16875"/>
                </a:cubicBezTo>
                <a:cubicBezTo>
                  <a:pt x="12968" y="17031"/>
                  <a:pt x="12937" y="17156"/>
                  <a:pt x="12937" y="17281"/>
                </a:cubicBezTo>
                <a:cubicBezTo>
                  <a:pt x="12937" y="17375"/>
                  <a:pt x="12968" y="17469"/>
                  <a:pt x="12937" y="17562"/>
                </a:cubicBezTo>
                <a:cubicBezTo>
                  <a:pt x="12906" y="17656"/>
                  <a:pt x="12968" y="17781"/>
                  <a:pt x="12968" y="17875"/>
                </a:cubicBezTo>
                <a:cubicBezTo>
                  <a:pt x="12968" y="17906"/>
                  <a:pt x="13000" y="17969"/>
                  <a:pt x="13000" y="18000"/>
                </a:cubicBezTo>
                <a:cubicBezTo>
                  <a:pt x="12968" y="18187"/>
                  <a:pt x="12937" y="18344"/>
                  <a:pt x="13000" y="18500"/>
                </a:cubicBezTo>
                <a:cubicBezTo>
                  <a:pt x="12968" y="18500"/>
                  <a:pt x="12906" y="18500"/>
                  <a:pt x="12906" y="18531"/>
                </a:cubicBezTo>
                <a:cubicBezTo>
                  <a:pt x="12906" y="18656"/>
                  <a:pt x="12875" y="18781"/>
                  <a:pt x="13000" y="18875"/>
                </a:cubicBezTo>
                <a:cubicBezTo>
                  <a:pt x="12968" y="18906"/>
                  <a:pt x="12968" y="18906"/>
                  <a:pt x="12968" y="18937"/>
                </a:cubicBezTo>
                <a:cubicBezTo>
                  <a:pt x="12906" y="18969"/>
                  <a:pt x="12906" y="19031"/>
                  <a:pt x="12906" y="19062"/>
                </a:cubicBezTo>
                <a:cubicBezTo>
                  <a:pt x="12906" y="19219"/>
                  <a:pt x="12906" y="19375"/>
                  <a:pt x="12906" y="19531"/>
                </a:cubicBezTo>
                <a:cubicBezTo>
                  <a:pt x="12906" y="19687"/>
                  <a:pt x="12906" y="19875"/>
                  <a:pt x="12906" y="20031"/>
                </a:cubicBezTo>
                <a:cubicBezTo>
                  <a:pt x="12906" y="20219"/>
                  <a:pt x="12906" y="20375"/>
                  <a:pt x="12875" y="20531"/>
                </a:cubicBezTo>
                <a:cubicBezTo>
                  <a:pt x="12843" y="20625"/>
                  <a:pt x="12812" y="20687"/>
                  <a:pt x="12843" y="20750"/>
                </a:cubicBezTo>
                <a:cubicBezTo>
                  <a:pt x="12843" y="20750"/>
                  <a:pt x="12843" y="20750"/>
                  <a:pt x="12843" y="20750"/>
                </a:cubicBezTo>
                <a:cubicBezTo>
                  <a:pt x="12843" y="20781"/>
                  <a:pt x="12875" y="20844"/>
                  <a:pt x="12875" y="20875"/>
                </a:cubicBezTo>
                <a:cubicBezTo>
                  <a:pt x="12875" y="20875"/>
                  <a:pt x="12875" y="20875"/>
                  <a:pt x="12875" y="20875"/>
                </a:cubicBezTo>
                <a:cubicBezTo>
                  <a:pt x="12875" y="20875"/>
                  <a:pt x="12875" y="20875"/>
                  <a:pt x="12875" y="20875"/>
                </a:cubicBezTo>
                <a:cubicBezTo>
                  <a:pt x="12843" y="20875"/>
                  <a:pt x="12812" y="20875"/>
                  <a:pt x="12812" y="20906"/>
                </a:cubicBezTo>
                <a:cubicBezTo>
                  <a:pt x="12781" y="21187"/>
                  <a:pt x="12718" y="21469"/>
                  <a:pt x="12656" y="21750"/>
                </a:cubicBezTo>
                <a:cubicBezTo>
                  <a:pt x="12593" y="21844"/>
                  <a:pt x="12656" y="21906"/>
                  <a:pt x="12750" y="21969"/>
                </a:cubicBezTo>
                <a:cubicBezTo>
                  <a:pt x="12750" y="21969"/>
                  <a:pt x="12750" y="22000"/>
                  <a:pt x="12750" y="22000"/>
                </a:cubicBezTo>
                <a:cubicBezTo>
                  <a:pt x="12625" y="21969"/>
                  <a:pt x="12593" y="22062"/>
                  <a:pt x="12562" y="22125"/>
                </a:cubicBezTo>
                <a:cubicBezTo>
                  <a:pt x="12562" y="22281"/>
                  <a:pt x="12500" y="22437"/>
                  <a:pt x="12468" y="22594"/>
                </a:cubicBezTo>
                <a:cubicBezTo>
                  <a:pt x="12375" y="22812"/>
                  <a:pt x="12312" y="23031"/>
                  <a:pt x="12250" y="23281"/>
                </a:cubicBezTo>
                <a:cubicBezTo>
                  <a:pt x="12187" y="23312"/>
                  <a:pt x="12125" y="23312"/>
                  <a:pt x="12031" y="23312"/>
                </a:cubicBezTo>
                <a:cubicBezTo>
                  <a:pt x="11500" y="23312"/>
                  <a:pt x="10937" y="23312"/>
                  <a:pt x="10406" y="23312"/>
                </a:cubicBezTo>
                <a:cubicBezTo>
                  <a:pt x="10062" y="23312"/>
                  <a:pt x="9718" y="23312"/>
                  <a:pt x="9375" y="23312"/>
                </a:cubicBezTo>
                <a:cubicBezTo>
                  <a:pt x="8812" y="23312"/>
                  <a:pt x="8281" y="23281"/>
                  <a:pt x="7750" y="23281"/>
                </a:cubicBezTo>
                <a:cubicBezTo>
                  <a:pt x="7687" y="23281"/>
                  <a:pt x="7625" y="23312"/>
                  <a:pt x="7562" y="23312"/>
                </a:cubicBezTo>
                <a:cubicBezTo>
                  <a:pt x="7500" y="23312"/>
                  <a:pt x="7468" y="23312"/>
                  <a:pt x="7406" y="23281"/>
                </a:cubicBezTo>
                <a:cubicBezTo>
                  <a:pt x="7406" y="23281"/>
                  <a:pt x="7406" y="23281"/>
                  <a:pt x="7406" y="23281"/>
                </a:cubicBezTo>
                <a:cubicBezTo>
                  <a:pt x="7375" y="23281"/>
                  <a:pt x="7343" y="23281"/>
                  <a:pt x="7281" y="23281"/>
                </a:cubicBezTo>
                <a:cubicBezTo>
                  <a:pt x="7250" y="23281"/>
                  <a:pt x="7218" y="23250"/>
                  <a:pt x="7187" y="23281"/>
                </a:cubicBezTo>
                <a:cubicBezTo>
                  <a:pt x="7093" y="23281"/>
                  <a:pt x="7031" y="23281"/>
                  <a:pt x="6937" y="23281"/>
                </a:cubicBezTo>
                <a:cubicBezTo>
                  <a:pt x="6937" y="23281"/>
                  <a:pt x="6906" y="23281"/>
                  <a:pt x="6875" y="23281"/>
                </a:cubicBezTo>
                <a:cubicBezTo>
                  <a:pt x="6812" y="23281"/>
                  <a:pt x="6750" y="23281"/>
                  <a:pt x="6656" y="23281"/>
                </a:cubicBezTo>
                <a:cubicBezTo>
                  <a:pt x="6468" y="23281"/>
                  <a:pt x="6250" y="23281"/>
                  <a:pt x="6062" y="23281"/>
                </a:cubicBezTo>
                <a:cubicBezTo>
                  <a:pt x="6031" y="23281"/>
                  <a:pt x="6000" y="23281"/>
                  <a:pt x="6000" y="23281"/>
                </a:cubicBezTo>
                <a:cubicBezTo>
                  <a:pt x="5937" y="23281"/>
                  <a:pt x="5843" y="23281"/>
                  <a:pt x="5781" y="23281"/>
                </a:cubicBezTo>
                <a:cubicBezTo>
                  <a:pt x="5718" y="23250"/>
                  <a:pt x="5656" y="23250"/>
                  <a:pt x="5562" y="23281"/>
                </a:cubicBezTo>
                <a:cubicBezTo>
                  <a:pt x="5562" y="23281"/>
                  <a:pt x="5531" y="23281"/>
                  <a:pt x="5500" y="23281"/>
                </a:cubicBezTo>
                <a:cubicBezTo>
                  <a:pt x="5468" y="23281"/>
                  <a:pt x="5437" y="23281"/>
                  <a:pt x="5406" y="23312"/>
                </a:cubicBezTo>
                <a:cubicBezTo>
                  <a:pt x="5375" y="23312"/>
                  <a:pt x="5375" y="23312"/>
                  <a:pt x="5343" y="23312"/>
                </a:cubicBezTo>
                <a:cubicBezTo>
                  <a:pt x="5281" y="23312"/>
                  <a:pt x="5250" y="23250"/>
                  <a:pt x="5187" y="23312"/>
                </a:cubicBezTo>
                <a:cubicBezTo>
                  <a:pt x="5093" y="23281"/>
                  <a:pt x="5000" y="23281"/>
                  <a:pt x="4906" y="23281"/>
                </a:cubicBezTo>
                <a:cubicBezTo>
                  <a:pt x="4656" y="23281"/>
                  <a:pt x="4406" y="23312"/>
                  <a:pt x="4156" y="23281"/>
                </a:cubicBezTo>
                <a:cubicBezTo>
                  <a:pt x="3875" y="23312"/>
                  <a:pt x="3625" y="23312"/>
                  <a:pt x="3375" y="23312"/>
                </a:cubicBezTo>
                <a:cubicBezTo>
                  <a:pt x="3218" y="23344"/>
                  <a:pt x="3093" y="23312"/>
                  <a:pt x="2937" y="23344"/>
                </a:cubicBezTo>
                <a:cubicBezTo>
                  <a:pt x="2937" y="23344"/>
                  <a:pt x="2906" y="23344"/>
                  <a:pt x="2906" y="23344"/>
                </a:cubicBezTo>
                <a:cubicBezTo>
                  <a:pt x="2906" y="23344"/>
                  <a:pt x="2937" y="23344"/>
                  <a:pt x="2937" y="23344"/>
                </a:cubicBezTo>
                <a:cubicBezTo>
                  <a:pt x="2781" y="23344"/>
                  <a:pt x="2656" y="23344"/>
                  <a:pt x="2500" y="23312"/>
                </a:cubicBezTo>
                <a:cubicBezTo>
                  <a:pt x="2312" y="23344"/>
                  <a:pt x="2125" y="23312"/>
                  <a:pt x="1937" y="23375"/>
                </a:cubicBezTo>
                <a:cubicBezTo>
                  <a:pt x="1906" y="23375"/>
                  <a:pt x="1875" y="23375"/>
                  <a:pt x="1843" y="23375"/>
                </a:cubicBezTo>
                <a:cubicBezTo>
                  <a:pt x="1843" y="23375"/>
                  <a:pt x="1843" y="23406"/>
                  <a:pt x="1812" y="23406"/>
                </a:cubicBezTo>
                <a:cubicBezTo>
                  <a:pt x="1843" y="23406"/>
                  <a:pt x="1843" y="23375"/>
                  <a:pt x="1843" y="23375"/>
                </a:cubicBezTo>
                <a:cubicBezTo>
                  <a:pt x="1781" y="23344"/>
                  <a:pt x="1718" y="23375"/>
                  <a:pt x="1656" y="23375"/>
                </a:cubicBezTo>
                <a:cubicBezTo>
                  <a:pt x="1562" y="23406"/>
                  <a:pt x="1468" y="23406"/>
                  <a:pt x="1406" y="23375"/>
                </a:cubicBezTo>
                <a:cubicBezTo>
                  <a:pt x="1375" y="23375"/>
                  <a:pt x="1375" y="23375"/>
                  <a:pt x="1343" y="23375"/>
                </a:cubicBezTo>
                <a:cubicBezTo>
                  <a:pt x="1156" y="23437"/>
                  <a:pt x="968" y="23406"/>
                  <a:pt x="812" y="23406"/>
                </a:cubicBezTo>
                <a:cubicBezTo>
                  <a:pt x="718" y="23437"/>
                  <a:pt x="656" y="23437"/>
                  <a:pt x="593" y="23437"/>
                </a:cubicBezTo>
                <a:cubicBezTo>
                  <a:pt x="531" y="23469"/>
                  <a:pt x="468" y="23469"/>
                  <a:pt x="406" y="23500"/>
                </a:cubicBezTo>
                <a:cubicBezTo>
                  <a:pt x="281" y="23500"/>
                  <a:pt x="187" y="23531"/>
                  <a:pt x="62" y="23562"/>
                </a:cubicBezTo>
                <a:cubicBezTo>
                  <a:pt x="31" y="23594"/>
                  <a:pt x="0" y="23625"/>
                  <a:pt x="62" y="23656"/>
                </a:cubicBezTo>
                <a:cubicBezTo>
                  <a:pt x="62" y="23719"/>
                  <a:pt x="125" y="23719"/>
                  <a:pt x="156" y="23719"/>
                </a:cubicBezTo>
                <a:cubicBezTo>
                  <a:pt x="218" y="23719"/>
                  <a:pt x="281" y="23687"/>
                  <a:pt x="343" y="23750"/>
                </a:cubicBezTo>
                <a:cubicBezTo>
                  <a:pt x="312" y="23750"/>
                  <a:pt x="312" y="23750"/>
                  <a:pt x="312" y="23750"/>
                </a:cubicBezTo>
                <a:cubicBezTo>
                  <a:pt x="312" y="23750"/>
                  <a:pt x="312" y="23750"/>
                  <a:pt x="312" y="23750"/>
                </a:cubicBezTo>
                <a:cubicBezTo>
                  <a:pt x="218" y="23750"/>
                  <a:pt x="156" y="23750"/>
                  <a:pt x="62" y="23781"/>
                </a:cubicBezTo>
                <a:cubicBezTo>
                  <a:pt x="31" y="23812"/>
                  <a:pt x="31" y="23812"/>
                  <a:pt x="31" y="23844"/>
                </a:cubicBezTo>
                <a:cubicBezTo>
                  <a:pt x="31" y="23875"/>
                  <a:pt x="62" y="23875"/>
                  <a:pt x="62" y="23875"/>
                </a:cubicBezTo>
                <a:cubicBezTo>
                  <a:pt x="156" y="23812"/>
                  <a:pt x="250" y="23844"/>
                  <a:pt x="312" y="23812"/>
                </a:cubicBezTo>
                <a:cubicBezTo>
                  <a:pt x="312" y="23812"/>
                  <a:pt x="343" y="23844"/>
                  <a:pt x="343" y="23875"/>
                </a:cubicBezTo>
                <a:cubicBezTo>
                  <a:pt x="343" y="23875"/>
                  <a:pt x="343" y="23875"/>
                  <a:pt x="343" y="23875"/>
                </a:cubicBezTo>
                <a:cubicBezTo>
                  <a:pt x="375" y="23906"/>
                  <a:pt x="375" y="23969"/>
                  <a:pt x="437" y="24000"/>
                </a:cubicBezTo>
                <a:cubicBezTo>
                  <a:pt x="468" y="24094"/>
                  <a:pt x="531" y="24094"/>
                  <a:pt x="625" y="24094"/>
                </a:cubicBezTo>
                <a:cubicBezTo>
                  <a:pt x="781" y="24094"/>
                  <a:pt x="968" y="24094"/>
                  <a:pt x="1125" y="24094"/>
                </a:cubicBezTo>
                <a:cubicBezTo>
                  <a:pt x="1156" y="24062"/>
                  <a:pt x="1156" y="24062"/>
                  <a:pt x="1187" y="24062"/>
                </a:cubicBezTo>
                <a:cubicBezTo>
                  <a:pt x="1156" y="24062"/>
                  <a:pt x="1156" y="24062"/>
                  <a:pt x="1125" y="24094"/>
                </a:cubicBezTo>
                <a:cubicBezTo>
                  <a:pt x="1312" y="24094"/>
                  <a:pt x="1468" y="24125"/>
                  <a:pt x="1656" y="24125"/>
                </a:cubicBezTo>
                <a:cubicBezTo>
                  <a:pt x="1625" y="24187"/>
                  <a:pt x="1562" y="24156"/>
                  <a:pt x="1531" y="24156"/>
                </a:cubicBezTo>
                <a:cubicBezTo>
                  <a:pt x="1062" y="24156"/>
                  <a:pt x="625" y="24156"/>
                  <a:pt x="187" y="24125"/>
                </a:cubicBezTo>
                <a:cubicBezTo>
                  <a:pt x="218" y="24250"/>
                  <a:pt x="281" y="24312"/>
                  <a:pt x="375" y="24344"/>
                </a:cubicBezTo>
                <a:cubicBezTo>
                  <a:pt x="656" y="24437"/>
                  <a:pt x="968" y="24500"/>
                  <a:pt x="1250" y="24594"/>
                </a:cubicBezTo>
                <a:cubicBezTo>
                  <a:pt x="1375" y="24625"/>
                  <a:pt x="1500" y="24687"/>
                  <a:pt x="1593" y="24719"/>
                </a:cubicBezTo>
                <a:cubicBezTo>
                  <a:pt x="1718" y="24781"/>
                  <a:pt x="1843" y="24844"/>
                  <a:pt x="1968" y="24844"/>
                </a:cubicBezTo>
                <a:cubicBezTo>
                  <a:pt x="2156" y="24844"/>
                  <a:pt x="2312" y="24906"/>
                  <a:pt x="2468" y="25000"/>
                </a:cubicBezTo>
                <a:cubicBezTo>
                  <a:pt x="2687" y="25094"/>
                  <a:pt x="2781" y="25281"/>
                  <a:pt x="2968" y="25406"/>
                </a:cubicBezTo>
                <a:cubicBezTo>
                  <a:pt x="3281" y="25625"/>
                  <a:pt x="3531" y="25969"/>
                  <a:pt x="3906" y="26125"/>
                </a:cubicBezTo>
                <a:cubicBezTo>
                  <a:pt x="4000" y="26156"/>
                  <a:pt x="4125" y="26219"/>
                  <a:pt x="4250" y="26219"/>
                </a:cubicBezTo>
                <a:cubicBezTo>
                  <a:pt x="5218" y="26187"/>
                  <a:pt x="6218" y="26219"/>
                  <a:pt x="7187" y="26187"/>
                </a:cubicBezTo>
                <a:cubicBezTo>
                  <a:pt x="7437" y="26187"/>
                  <a:pt x="7718" y="26187"/>
                  <a:pt x="7968" y="26219"/>
                </a:cubicBezTo>
                <a:cubicBezTo>
                  <a:pt x="8125" y="26219"/>
                  <a:pt x="8281" y="26187"/>
                  <a:pt x="8406" y="26281"/>
                </a:cubicBezTo>
                <a:cubicBezTo>
                  <a:pt x="8468" y="26344"/>
                  <a:pt x="8562" y="26375"/>
                  <a:pt x="8625" y="26437"/>
                </a:cubicBezTo>
                <a:cubicBezTo>
                  <a:pt x="8625" y="26469"/>
                  <a:pt x="8656" y="26500"/>
                  <a:pt x="8687" y="26469"/>
                </a:cubicBezTo>
                <a:cubicBezTo>
                  <a:pt x="8750" y="26437"/>
                  <a:pt x="8687" y="26406"/>
                  <a:pt x="8656" y="26406"/>
                </a:cubicBezTo>
                <a:cubicBezTo>
                  <a:pt x="8625" y="26375"/>
                  <a:pt x="8625" y="26375"/>
                  <a:pt x="8593" y="26344"/>
                </a:cubicBezTo>
                <a:cubicBezTo>
                  <a:pt x="8562" y="26312"/>
                  <a:pt x="8500" y="26281"/>
                  <a:pt x="8531" y="26219"/>
                </a:cubicBezTo>
                <a:cubicBezTo>
                  <a:pt x="8531" y="26156"/>
                  <a:pt x="8593" y="26187"/>
                  <a:pt x="8656" y="26187"/>
                </a:cubicBezTo>
                <a:cubicBezTo>
                  <a:pt x="8687" y="26187"/>
                  <a:pt x="8750" y="26219"/>
                  <a:pt x="8781" y="26219"/>
                </a:cubicBezTo>
                <a:cubicBezTo>
                  <a:pt x="9187" y="26156"/>
                  <a:pt x="9562" y="26187"/>
                  <a:pt x="9937" y="26187"/>
                </a:cubicBezTo>
                <a:cubicBezTo>
                  <a:pt x="9968" y="26187"/>
                  <a:pt x="10031" y="26187"/>
                  <a:pt x="10031" y="26219"/>
                </a:cubicBezTo>
                <a:cubicBezTo>
                  <a:pt x="10125" y="26312"/>
                  <a:pt x="10250" y="26344"/>
                  <a:pt x="10343" y="26406"/>
                </a:cubicBezTo>
                <a:cubicBezTo>
                  <a:pt x="10625" y="26500"/>
                  <a:pt x="10625" y="26500"/>
                  <a:pt x="10625" y="26500"/>
                </a:cubicBezTo>
                <a:cubicBezTo>
                  <a:pt x="10593" y="26469"/>
                  <a:pt x="10593" y="26469"/>
                  <a:pt x="10593" y="26437"/>
                </a:cubicBezTo>
                <a:cubicBezTo>
                  <a:pt x="10593" y="26406"/>
                  <a:pt x="10562" y="26406"/>
                  <a:pt x="10562" y="26375"/>
                </a:cubicBezTo>
                <a:cubicBezTo>
                  <a:pt x="10500" y="26375"/>
                  <a:pt x="10468" y="26312"/>
                  <a:pt x="10500" y="26250"/>
                </a:cubicBezTo>
                <a:cubicBezTo>
                  <a:pt x="10562" y="26125"/>
                  <a:pt x="10468" y="26125"/>
                  <a:pt x="10375" y="26125"/>
                </a:cubicBezTo>
                <a:cubicBezTo>
                  <a:pt x="9750" y="26125"/>
                  <a:pt x="9093" y="26125"/>
                  <a:pt x="8437" y="26125"/>
                </a:cubicBezTo>
                <a:cubicBezTo>
                  <a:pt x="7781" y="26125"/>
                  <a:pt x="7156" y="26125"/>
                  <a:pt x="6500" y="26094"/>
                </a:cubicBezTo>
                <a:cubicBezTo>
                  <a:pt x="6468" y="26094"/>
                  <a:pt x="6437" y="26094"/>
                  <a:pt x="6406" y="26094"/>
                </a:cubicBezTo>
                <a:cubicBezTo>
                  <a:pt x="6343" y="26094"/>
                  <a:pt x="6250" y="26062"/>
                  <a:pt x="6156" y="26094"/>
                </a:cubicBezTo>
                <a:cubicBezTo>
                  <a:pt x="6156" y="26094"/>
                  <a:pt x="6156" y="26094"/>
                  <a:pt x="6156" y="26094"/>
                </a:cubicBezTo>
                <a:cubicBezTo>
                  <a:pt x="6250" y="26062"/>
                  <a:pt x="6343" y="26094"/>
                  <a:pt x="6406" y="26094"/>
                </a:cubicBezTo>
                <a:cubicBezTo>
                  <a:pt x="6468" y="26094"/>
                  <a:pt x="6531" y="26094"/>
                  <a:pt x="6593" y="26094"/>
                </a:cubicBezTo>
                <a:cubicBezTo>
                  <a:pt x="6906" y="26094"/>
                  <a:pt x="7218" y="26094"/>
                  <a:pt x="7531" y="26094"/>
                </a:cubicBezTo>
                <a:cubicBezTo>
                  <a:pt x="7625" y="26094"/>
                  <a:pt x="7718" y="26094"/>
                  <a:pt x="7781" y="26094"/>
                </a:cubicBezTo>
                <a:cubicBezTo>
                  <a:pt x="9000" y="26094"/>
                  <a:pt x="10250" y="26094"/>
                  <a:pt x="11468" y="26094"/>
                </a:cubicBezTo>
                <a:cubicBezTo>
                  <a:pt x="11468" y="26094"/>
                  <a:pt x="11500" y="26094"/>
                  <a:pt x="11500" y="26094"/>
                </a:cubicBezTo>
                <a:cubicBezTo>
                  <a:pt x="11500" y="26094"/>
                  <a:pt x="11468" y="26094"/>
                  <a:pt x="11468" y="26094"/>
                </a:cubicBezTo>
                <a:cubicBezTo>
                  <a:pt x="11531" y="26125"/>
                  <a:pt x="11593" y="26125"/>
                  <a:pt x="11625" y="26094"/>
                </a:cubicBezTo>
                <a:cubicBezTo>
                  <a:pt x="11656" y="26094"/>
                  <a:pt x="11687" y="26094"/>
                  <a:pt x="11718" y="26094"/>
                </a:cubicBezTo>
                <a:cubicBezTo>
                  <a:pt x="11718" y="26094"/>
                  <a:pt x="11718" y="26094"/>
                  <a:pt x="11718" y="26094"/>
                </a:cubicBezTo>
                <a:cubicBezTo>
                  <a:pt x="11781" y="26094"/>
                  <a:pt x="11812" y="26062"/>
                  <a:pt x="11875" y="26062"/>
                </a:cubicBezTo>
                <a:cubicBezTo>
                  <a:pt x="11875" y="26031"/>
                  <a:pt x="11875" y="26000"/>
                  <a:pt x="11843" y="25969"/>
                </a:cubicBezTo>
                <a:cubicBezTo>
                  <a:pt x="11812" y="25906"/>
                  <a:pt x="11843" y="25844"/>
                  <a:pt x="11875" y="25812"/>
                </a:cubicBezTo>
                <a:cubicBezTo>
                  <a:pt x="11843" y="25844"/>
                  <a:pt x="11812" y="25906"/>
                  <a:pt x="11843" y="25969"/>
                </a:cubicBezTo>
                <a:cubicBezTo>
                  <a:pt x="12000" y="25969"/>
                  <a:pt x="12187" y="25969"/>
                  <a:pt x="12343" y="25969"/>
                </a:cubicBezTo>
                <a:cubicBezTo>
                  <a:pt x="12375" y="25969"/>
                  <a:pt x="12406" y="25969"/>
                  <a:pt x="12437" y="25969"/>
                </a:cubicBezTo>
                <a:cubicBezTo>
                  <a:pt x="12437" y="26000"/>
                  <a:pt x="12437" y="26031"/>
                  <a:pt x="12437" y="26062"/>
                </a:cubicBezTo>
                <a:cubicBezTo>
                  <a:pt x="12437" y="26031"/>
                  <a:pt x="12437" y="26000"/>
                  <a:pt x="12437" y="25969"/>
                </a:cubicBezTo>
                <a:cubicBezTo>
                  <a:pt x="12406" y="25969"/>
                  <a:pt x="12375" y="25969"/>
                  <a:pt x="12343" y="25969"/>
                </a:cubicBezTo>
                <a:cubicBezTo>
                  <a:pt x="12343" y="25969"/>
                  <a:pt x="12343" y="25969"/>
                  <a:pt x="12343" y="25969"/>
                </a:cubicBezTo>
                <a:cubicBezTo>
                  <a:pt x="12187" y="25969"/>
                  <a:pt x="12000" y="25969"/>
                  <a:pt x="11843" y="25969"/>
                </a:cubicBezTo>
                <a:cubicBezTo>
                  <a:pt x="11875" y="26000"/>
                  <a:pt x="11875" y="26031"/>
                  <a:pt x="11875" y="26062"/>
                </a:cubicBezTo>
                <a:cubicBezTo>
                  <a:pt x="12000" y="26094"/>
                  <a:pt x="12125" y="26094"/>
                  <a:pt x="12218" y="26094"/>
                </a:cubicBezTo>
                <a:cubicBezTo>
                  <a:pt x="12250" y="26094"/>
                  <a:pt x="12250" y="26094"/>
                  <a:pt x="12250" y="26062"/>
                </a:cubicBezTo>
                <a:cubicBezTo>
                  <a:pt x="12281" y="26031"/>
                  <a:pt x="12312" y="26031"/>
                  <a:pt x="12343" y="26000"/>
                </a:cubicBezTo>
                <a:cubicBezTo>
                  <a:pt x="12343" y="26000"/>
                  <a:pt x="12343" y="26000"/>
                  <a:pt x="12343" y="26000"/>
                </a:cubicBezTo>
                <a:cubicBezTo>
                  <a:pt x="12343" y="26000"/>
                  <a:pt x="12343" y="26000"/>
                  <a:pt x="12343" y="26000"/>
                </a:cubicBezTo>
                <a:cubicBezTo>
                  <a:pt x="12375" y="26031"/>
                  <a:pt x="12406" y="26094"/>
                  <a:pt x="12437" y="26094"/>
                </a:cubicBezTo>
                <a:cubicBezTo>
                  <a:pt x="12500" y="26094"/>
                  <a:pt x="12562" y="26094"/>
                  <a:pt x="12593" y="26094"/>
                </a:cubicBezTo>
                <a:cubicBezTo>
                  <a:pt x="12593" y="26094"/>
                  <a:pt x="12593" y="26094"/>
                  <a:pt x="12593" y="26094"/>
                </a:cubicBezTo>
                <a:cubicBezTo>
                  <a:pt x="12593" y="26094"/>
                  <a:pt x="12625" y="26094"/>
                  <a:pt x="12625" y="26094"/>
                </a:cubicBezTo>
                <a:cubicBezTo>
                  <a:pt x="12687" y="26094"/>
                  <a:pt x="12750" y="26094"/>
                  <a:pt x="12812" y="26094"/>
                </a:cubicBezTo>
                <a:cubicBezTo>
                  <a:pt x="12875" y="26094"/>
                  <a:pt x="12968" y="26125"/>
                  <a:pt x="13031" y="26094"/>
                </a:cubicBezTo>
                <a:cubicBezTo>
                  <a:pt x="13687" y="26094"/>
                  <a:pt x="14343" y="26094"/>
                  <a:pt x="15000" y="26094"/>
                </a:cubicBezTo>
                <a:cubicBezTo>
                  <a:pt x="15000" y="26094"/>
                  <a:pt x="15031" y="26094"/>
                  <a:pt x="15031" y="26094"/>
                </a:cubicBezTo>
                <a:cubicBezTo>
                  <a:pt x="15031" y="26094"/>
                  <a:pt x="15031" y="26094"/>
                  <a:pt x="15031" y="26094"/>
                </a:cubicBezTo>
                <a:cubicBezTo>
                  <a:pt x="15093" y="26094"/>
                  <a:pt x="15156" y="26094"/>
                  <a:pt x="15218" y="26094"/>
                </a:cubicBezTo>
                <a:cubicBezTo>
                  <a:pt x="15218" y="26094"/>
                  <a:pt x="15218" y="26094"/>
                  <a:pt x="15218" y="26094"/>
                </a:cubicBezTo>
                <a:cubicBezTo>
                  <a:pt x="15250" y="26094"/>
                  <a:pt x="15281" y="26094"/>
                  <a:pt x="15281" y="26094"/>
                </a:cubicBezTo>
                <a:cubicBezTo>
                  <a:pt x="15437" y="26094"/>
                  <a:pt x="15593" y="26094"/>
                  <a:pt x="15781" y="26094"/>
                </a:cubicBezTo>
                <a:cubicBezTo>
                  <a:pt x="15781" y="26094"/>
                  <a:pt x="15781" y="26094"/>
                  <a:pt x="15812" y="26094"/>
                </a:cubicBezTo>
                <a:cubicBezTo>
                  <a:pt x="15906" y="26094"/>
                  <a:pt x="16031" y="26094"/>
                  <a:pt x="16125" y="26094"/>
                </a:cubicBezTo>
                <a:cubicBezTo>
                  <a:pt x="16187" y="26094"/>
                  <a:pt x="16218" y="26094"/>
                  <a:pt x="16281" y="26094"/>
                </a:cubicBezTo>
                <a:cubicBezTo>
                  <a:pt x="16500" y="26094"/>
                  <a:pt x="16718" y="26094"/>
                  <a:pt x="16968" y="26094"/>
                </a:cubicBezTo>
                <a:cubicBezTo>
                  <a:pt x="16968" y="26094"/>
                  <a:pt x="16968" y="26094"/>
                  <a:pt x="16968" y="26094"/>
                </a:cubicBezTo>
                <a:cubicBezTo>
                  <a:pt x="16968" y="26094"/>
                  <a:pt x="16968" y="26094"/>
                  <a:pt x="16968" y="26094"/>
                </a:cubicBezTo>
                <a:cubicBezTo>
                  <a:pt x="17562" y="26094"/>
                  <a:pt x="18156" y="26094"/>
                  <a:pt x="18781" y="26094"/>
                </a:cubicBezTo>
                <a:cubicBezTo>
                  <a:pt x="19125" y="26125"/>
                  <a:pt x="19468" y="26125"/>
                  <a:pt x="19843" y="26094"/>
                </a:cubicBezTo>
                <a:cubicBezTo>
                  <a:pt x="19968" y="26094"/>
                  <a:pt x="20093" y="26094"/>
                  <a:pt x="20218" y="26094"/>
                </a:cubicBezTo>
                <a:cubicBezTo>
                  <a:pt x="20406" y="26125"/>
                  <a:pt x="20593" y="26094"/>
                  <a:pt x="20781" y="26125"/>
                </a:cubicBezTo>
                <a:cubicBezTo>
                  <a:pt x="20375" y="26125"/>
                  <a:pt x="19968" y="26125"/>
                  <a:pt x="19562" y="26125"/>
                </a:cubicBezTo>
                <a:cubicBezTo>
                  <a:pt x="18375" y="26125"/>
                  <a:pt x="17187" y="26125"/>
                  <a:pt x="16031" y="26125"/>
                </a:cubicBezTo>
                <a:cubicBezTo>
                  <a:pt x="15968" y="26125"/>
                  <a:pt x="15875" y="26094"/>
                  <a:pt x="15843" y="26219"/>
                </a:cubicBezTo>
                <a:cubicBezTo>
                  <a:pt x="16250" y="26219"/>
                  <a:pt x="16656" y="26219"/>
                  <a:pt x="17062" y="26219"/>
                </a:cubicBezTo>
                <a:cubicBezTo>
                  <a:pt x="17031" y="26312"/>
                  <a:pt x="16937" y="26281"/>
                  <a:pt x="16875" y="26312"/>
                </a:cubicBezTo>
                <a:cubicBezTo>
                  <a:pt x="16937" y="26344"/>
                  <a:pt x="17000" y="26375"/>
                  <a:pt x="16906" y="26437"/>
                </a:cubicBezTo>
                <a:cubicBezTo>
                  <a:pt x="16875" y="26469"/>
                  <a:pt x="16843" y="26469"/>
                  <a:pt x="16875" y="26531"/>
                </a:cubicBezTo>
                <a:cubicBezTo>
                  <a:pt x="16875" y="26562"/>
                  <a:pt x="16906" y="26531"/>
                  <a:pt x="16937" y="26531"/>
                </a:cubicBezTo>
                <a:cubicBezTo>
                  <a:pt x="17187" y="26531"/>
                  <a:pt x="17437" y="26531"/>
                  <a:pt x="17687" y="26531"/>
                </a:cubicBezTo>
                <a:cubicBezTo>
                  <a:pt x="17781" y="26531"/>
                  <a:pt x="17875" y="26562"/>
                  <a:pt x="17875" y="26656"/>
                </a:cubicBezTo>
                <a:cubicBezTo>
                  <a:pt x="17906" y="26656"/>
                  <a:pt x="17906" y="26687"/>
                  <a:pt x="17875" y="26687"/>
                </a:cubicBezTo>
                <a:cubicBezTo>
                  <a:pt x="17812" y="26750"/>
                  <a:pt x="17812" y="26812"/>
                  <a:pt x="17875" y="26875"/>
                </a:cubicBezTo>
                <a:cubicBezTo>
                  <a:pt x="17875" y="26875"/>
                  <a:pt x="17906" y="26875"/>
                  <a:pt x="17906" y="26906"/>
                </a:cubicBezTo>
                <a:cubicBezTo>
                  <a:pt x="17906" y="26906"/>
                  <a:pt x="17906" y="26906"/>
                  <a:pt x="17906" y="26906"/>
                </a:cubicBezTo>
                <a:cubicBezTo>
                  <a:pt x="17906" y="26937"/>
                  <a:pt x="17937" y="26937"/>
                  <a:pt x="17968" y="26969"/>
                </a:cubicBezTo>
                <a:cubicBezTo>
                  <a:pt x="17937" y="26937"/>
                  <a:pt x="17906" y="26937"/>
                  <a:pt x="17906" y="26906"/>
                </a:cubicBezTo>
                <a:cubicBezTo>
                  <a:pt x="17906" y="26969"/>
                  <a:pt x="17906" y="27000"/>
                  <a:pt x="17968" y="27000"/>
                </a:cubicBezTo>
                <a:cubicBezTo>
                  <a:pt x="17968" y="27062"/>
                  <a:pt x="18000" y="27094"/>
                  <a:pt x="18093" y="27094"/>
                </a:cubicBezTo>
                <a:cubicBezTo>
                  <a:pt x="18093" y="27094"/>
                  <a:pt x="18125" y="27125"/>
                  <a:pt x="18125" y="27125"/>
                </a:cubicBezTo>
                <a:cubicBezTo>
                  <a:pt x="18156" y="27125"/>
                  <a:pt x="18156" y="27125"/>
                  <a:pt x="18156" y="27156"/>
                </a:cubicBezTo>
                <a:cubicBezTo>
                  <a:pt x="18156" y="27156"/>
                  <a:pt x="18187" y="27156"/>
                  <a:pt x="18187" y="27187"/>
                </a:cubicBezTo>
                <a:cubicBezTo>
                  <a:pt x="18187" y="27187"/>
                  <a:pt x="18218" y="27187"/>
                  <a:pt x="18218" y="27187"/>
                </a:cubicBezTo>
                <a:cubicBezTo>
                  <a:pt x="18312" y="27219"/>
                  <a:pt x="18375" y="27312"/>
                  <a:pt x="18468" y="27312"/>
                </a:cubicBezTo>
                <a:cubicBezTo>
                  <a:pt x="18468" y="27312"/>
                  <a:pt x="18468" y="27312"/>
                  <a:pt x="18468" y="27312"/>
                </a:cubicBezTo>
                <a:cubicBezTo>
                  <a:pt x="18500" y="27312"/>
                  <a:pt x="18531" y="27312"/>
                  <a:pt x="18531" y="27344"/>
                </a:cubicBezTo>
                <a:cubicBezTo>
                  <a:pt x="18531" y="27312"/>
                  <a:pt x="18500" y="27312"/>
                  <a:pt x="18468" y="27312"/>
                </a:cubicBezTo>
                <a:cubicBezTo>
                  <a:pt x="18468" y="27344"/>
                  <a:pt x="18500" y="27375"/>
                  <a:pt x="18562" y="27375"/>
                </a:cubicBezTo>
                <a:cubicBezTo>
                  <a:pt x="18718" y="27469"/>
                  <a:pt x="18812" y="27594"/>
                  <a:pt x="18968" y="27687"/>
                </a:cubicBezTo>
                <a:cubicBezTo>
                  <a:pt x="18968" y="27687"/>
                  <a:pt x="19000" y="27687"/>
                  <a:pt x="19000" y="27687"/>
                </a:cubicBezTo>
                <a:cubicBezTo>
                  <a:pt x="19000" y="27687"/>
                  <a:pt x="18968" y="27687"/>
                  <a:pt x="18968" y="27687"/>
                </a:cubicBezTo>
                <a:cubicBezTo>
                  <a:pt x="19000" y="27719"/>
                  <a:pt x="19000" y="27750"/>
                  <a:pt x="19031" y="27750"/>
                </a:cubicBezTo>
                <a:cubicBezTo>
                  <a:pt x="19062" y="27781"/>
                  <a:pt x="19093" y="27781"/>
                  <a:pt x="19125" y="27781"/>
                </a:cubicBezTo>
                <a:cubicBezTo>
                  <a:pt x="19125" y="27781"/>
                  <a:pt x="19125" y="27781"/>
                  <a:pt x="19125" y="27781"/>
                </a:cubicBezTo>
                <a:cubicBezTo>
                  <a:pt x="19187" y="27906"/>
                  <a:pt x="19343" y="27906"/>
                  <a:pt x="19406" y="28031"/>
                </a:cubicBezTo>
                <a:cubicBezTo>
                  <a:pt x="19437" y="28031"/>
                  <a:pt x="19437" y="28062"/>
                  <a:pt x="19468" y="28094"/>
                </a:cubicBezTo>
                <a:cubicBezTo>
                  <a:pt x="19500" y="28094"/>
                  <a:pt x="19500" y="28125"/>
                  <a:pt x="19531" y="28125"/>
                </a:cubicBezTo>
                <a:cubicBezTo>
                  <a:pt x="19562" y="28187"/>
                  <a:pt x="19656" y="28250"/>
                  <a:pt x="19718" y="28281"/>
                </a:cubicBezTo>
                <a:cubicBezTo>
                  <a:pt x="19937" y="28469"/>
                  <a:pt x="20093" y="28687"/>
                  <a:pt x="20281" y="28906"/>
                </a:cubicBezTo>
                <a:cubicBezTo>
                  <a:pt x="20406" y="29062"/>
                  <a:pt x="20500" y="29219"/>
                  <a:pt x="20625" y="29406"/>
                </a:cubicBezTo>
                <a:cubicBezTo>
                  <a:pt x="20656" y="29437"/>
                  <a:pt x="20687" y="29437"/>
                  <a:pt x="20656" y="29469"/>
                </a:cubicBezTo>
                <a:cubicBezTo>
                  <a:pt x="20656" y="29500"/>
                  <a:pt x="20625" y="29500"/>
                  <a:pt x="20593" y="29500"/>
                </a:cubicBezTo>
                <a:cubicBezTo>
                  <a:pt x="20375" y="29437"/>
                  <a:pt x="20156" y="29406"/>
                  <a:pt x="19968" y="29312"/>
                </a:cubicBezTo>
                <a:cubicBezTo>
                  <a:pt x="19562" y="29094"/>
                  <a:pt x="19187" y="28906"/>
                  <a:pt x="18781" y="28687"/>
                </a:cubicBezTo>
                <a:cubicBezTo>
                  <a:pt x="18687" y="28656"/>
                  <a:pt x="18593" y="28625"/>
                  <a:pt x="18500" y="28594"/>
                </a:cubicBezTo>
                <a:cubicBezTo>
                  <a:pt x="18500" y="28594"/>
                  <a:pt x="18500" y="28594"/>
                  <a:pt x="18500" y="28594"/>
                </a:cubicBezTo>
                <a:cubicBezTo>
                  <a:pt x="18281" y="28500"/>
                  <a:pt x="18093" y="28344"/>
                  <a:pt x="17875" y="28250"/>
                </a:cubicBezTo>
                <a:cubicBezTo>
                  <a:pt x="17656" y="28094"/>
                  <a:pt x="17406" y="28000"/>
                  <a:pt x="17156" y="27937"/>
                </a:cubicBezTo>
                <a:cubicBezTo>
                  <a:pt x="16812" y="27812"/>
                  <a:pt x="16500" y="27594"/>
                  <a:pt x="16187" y="27406"/>
                </a:cubicBezTo>
                <a:cubicBezTo>
                  <a:pt x="16031" y="27344"/>
                  <a:pt x="15906" y="27250"/>
                  <a:pt x="15781" y="27187"/>
                </a:cubicBezTo>
                <a:cubicBezTo>
                  <a:pt x="15781" y="27187"/>
                  <a:pt x="15750" y="27187"/>
                  <a:pt x="15750" y="27187"/>
                </a:cubicBezTo>
                <a:cubicBezTo>
                  <a:pt x="15750" y="27187"/>
                  <a:pt x="15781" y="27187"/>
                  <a:pt x="15781" y="27187"/>
                </a:cubicBezTo>
                <a:cubicBezTo>
                  <a:pt x="15531" y="27031"/>
                  <a:pt x="15281" y="26937"/>
                  <a:pt x="15031" y="26781"/>
                </a:cubicBezTo>
                <a:cubicBezTo>
                  <a:pt x="14968" y="26719"/>
                  <a:pt x="14906" y="26687"/>
                  <a:pt x="14843" y="26625"/>
                </a:cubicBezTo>
                <a:cubicBezTo>
                  <a:pt x="14843" y="26594"/>
                  <a:pt x="14812" y="26562"/>
                  <a:pt x="14781" y="26594"/>
                </a:cubicBezTo>
                <a:cubicBezTo>
                  <a:pt x="14781" y="26594"/>
                  <a:pt x="14781" y="26594"/>
                  <a:pt x="14781" y="26594"/>
                </a:cubicBezTo>
                <a:cubicBezTo>
                  <a:pt x="14656" y="26531"/>
                  <a:pt x="14562" y="26469"/>
                  <a:pt x="14437" y="26406"/>
                </a:cubicBezTo>
                <a:cubicBezTo>
                  <a:pt x="14562" y="26469"/>
                  <a:pt x="14656" y="26531"/>
                  <a:pt x="14781" y="26594"/>
                </a:cubicBezTo>
                <a:cubicBezTo>
                  <a:pt x="14812" y="26531"/>
                  <a:pt x="14875" y="26531"/>
                  <a:pt x="14937" y="26531"/>
                </a:cubicBezTo>
                <a:cubicBezTo>
                  <a:pt x="15156" y="26531"/>
                  <a:pt x="15406" y="26531"/>
                  <a:pt x="15656" y="26531"/>
                </a:cubicBezTo>
                <a:cubicBezTo>
                  <a:pt x="15718" y="26531"/>
                  <a:pt x="15750" y="26531"/>
                  <a:pt x="15812" y="26500"/>
                </a:cubicBezTo>
                <a:cubicBezTo>
                  <a:pt x="15843" y="26500"/>
                  <a:pt x="15875" y="26500"/>
                  <a:pt x="15875" y="26469"/>
                </a:cubicBezTo>
                <a:cubicBezTo>
                  <a:pt x="15875" y="26437"/>
                  <a:pt x="15843" y="26406"/>
                  <a:pt x="15812" y="26406"/>
                </a:cubicBezTo>
                <a:cubicBezTo>
                  <a:pt x="15718" y="26375"/>
                  <a:pt x="15593" y="26344"/>
                  <a:pt x="15500" y="26312"/>
                </a:cubicBezTo>
                <a:cubicBezTo>
                  <a:pt x="15437" y="26281"/>
                  <a:pt x="15406" y="26281"/>
                  <a:pt x="15406" y="26219"/>
                </a:cubicBezTo>
                <a:cubicBezTo>
                  <a:pt x="15437" y="26219"/>
                  <a:pt x="15468" y="26219"/>
                  <a:pt x="15500" y="26219"/>
                </a:cubicBezTo>
                <a:cubicBezTo>
                  <a:pt x="15468" y="26187"/>
                  <a:pt x="15437" y="26187"/>
                  <a:pt x="15406" y="26187"/>
                </a:cubicBezTo>
                <a:cubicBezTo>
                  <a:pt x="15125" y="26187"/>
                  <a:pt x="14812" y="26219"/>
                  <a:pt x="14500" y="26156"/>
                </a:cubicBezTo>
                <a:cubicBezTo>
                  <a:pt x="14468" y="26156"/>
                  <a:pt x="14406" y="26125"/>
                  <a:pt x="14343" y="26187"/>
                </a:cubicBezTo>
                <a:cubicBezTo>
                  <a:pt x="14031" y="26219"/>
                  <a:pt x="13718" y="26187"/>
                  <a:pt x="13406" y="26187"/>
                </a:cubicBezTo>
                <a:cubicBezTo>
                  <a:pt x="13375" y="26156"/>
                  <a:pt x="13343" y="26156"/>
                  <a:pt x="13312" y="26156"/>
                </a:cubicBezTo>
                <a:cubicBezTo>
                  <a:pt x="13031" y="26156"/>
                  <a:pt x="12750" y="26156"/>
                  <a:pt x="12468" y="26156"/>
                </a:cubicBezTo>
                <a:cubicBezTo>
                  <a:pt x="12406" y="26156"/>
                  <a:pt x="12343" y="26219"/>
                  <a:pt x="12250" y="26187"/>
                </a:cubicBezTo>
                <a:cubicBezTo>
                  <a:pt x="12125" y="26125"/>
                  <a:pt x="11968" y="26187"/>
                  <a:pt x="11843" y="26219"/>
                </a:cubicBezTo>
                <a:cubicBezTo>
                  <a:pt x="11718" y="26187"/>
                  <a:pt x="11562" y="26219"/>
                  <a:pt x="11437" y="26219"/>
                </a:cubicBezTo>
                <a:cubicBezTo>
                  <a:pt x="11375" y="26219"/>
                  <a:pt x="11343" y="26219"/>
                  <a:pt x="11281" y="26250"/>
                </a:cubicBezTo>
                <a:cubicBezTo>
                  <a:pt x="11250" y="26281"/>
                  <a:pt x="11250" y="26312"/>
                  <a:pt x="11281" y="26312"/>
                </a:cubicBezTo>
                <a:cubicBezTo>
                  <a:pt x="11500" y="26375"/>
                  <a:pt x="11375" y="26469"/>
                  <a:pt x="11312" y="26562"/>
                </a:cubicBezTo>
                <a:cubicBezTo>
                  <a:pt x="11281" y="26594"/>
                  <a:pt x="11250" y="26625"/>
                  <a:pt x="11218" y="26656"/>
                </a:cubicBezTo>
                <a:cubicBezTo>
                  <a:pt x="11218" y="26687"/>
                  <a:pt x="11218" y="26719"/>
                  <a:pt x="11218" y="26750"/>
                </a:cubicBezTo>
                <a:cubicBezTo>
                  <a:pt x="11218" y="26750"/>
                  <a:pt x="11218" y="26750"/>
                  <a:pt x="11218" y="26750"/>
                </a:cubicBezTo>
                <a:cubicBezTo>
                  <a:pt x="11218" y="26750"/>
                  <a:pt x="11187" y="26750"/>
                  <a:pt x="11187" y="26750"/>
                </a:cubicBezTo>
                <a:cubicBezTo>
                  <a:pt x="11187" y="26781"/>
                  <a:pt x="11218" y="26812"/>
                  <a:pt x="11218" y="26812"/>
                </a:cubicBezTo>
                <a:cubicBezTo>
                  <a:pt x="11218" y="26844"/>
                  <a:pt x="11218" y="26844"/>
                  <a:pt x="11218" y="26875"/>
                </a:cubicBezTo>
                <a:cubicBezTo>
                  <a:pt x="11218" y="26906"/>
                  <a:pt x="11218" y="26937"/>
                  <a:pt x="11218" y="26969"/>
                </a:cubicBezTo>
                <a:cubicBezTo>
                  <a:pt x="11250" y="27000"/>
                  <a:pt x="11250" y="27062"/>
                  <a:pt x="11312" y="27031"/>
                </a:cubicBezTo>
                <a:cubicBezTo>
                  <a:pt x="11343" y="27062"/>
                  <a:pt x="11343" y="27094"/>
                  <a:pt x="11375" y="27125"/>
                </a:cubicBezTo>
                <a:cubicBezTo>
                  <a:pt x="11500" y="27250"/>
                  <a:pt x="11656" y="27344"/>
                  <a:pt x="11812" y="27469"/>
                </a:cubicBezTo>
                <a:cubicBezTo>
                  <a:pt x="12062" y="27625"/>
                  <a:pt x="12343" y="27687"/>
                  <a:pt x="12531" y="27875"/>
                </a:cubicBezTo>
                <a:cubicBezTo>
                  <a:pt x="12562" y="27937"/>
                  <a:pt x="12625" y="28000"/>
                  <a:pt x="12718" y="28031"/>
                </a:cubicBezTo>
                <a:cubicBezTo>
                  <a:pt x="12718" y="28031"/>
                  <a:pt x="12718" y="28031"/>
                  <a:pt x="12718" y="28031"/>
                </a:cubicBezTo>
                <a:cubicBezTo>
                  <a:pt x="12906" y="28219"/>
                  <a:pt x="13156" y="28312"/>
                  <a:pt x="13375" y="28469"/>
                </a:cubicBezTo>
                <a:cubicBezTo>
                  <a:pt x="13375" y="28531"/>
                  <a:pt x="13437" y="28531"/>
                  <a:pt x="13468" y="28562"/>
                </a:cubicBezTo>
                <a:cubicBezTo>
                  <a:pt x="13812" y="28812"/>
                  <a:pt x="14187" y="29094"/>
                  <a:pt x="14562" y="29281"/>
                </a:cubicBezTo>
                <a:cubicBezTo>
                  <a:pt x="14781" y="29437"/>
                  <a:pt x="15031" y="29562"/>
                  <a:pt x="15250" y="29750"/>
                </a:cubicBezTo>
                <a:cubicBezTo>
                  <a:pt x="15406" y="29875"/>
                  <a:pt x="15593" y="30031"/>
                  <a:pt x="15781" y="30156"/>
                </a:cubicBezTo>
                <a:cubicBezTo>
                  <a:pt x="16093" y="30375"/>
                  <a:pt x="16468" y="30500"/>
                  <a:pt x="16812" y="30687"/>
                </a:cubicBezTo>
                <a:cubicBezTo>
                  <a:pt x="17218" y="30937"/>
                  <a:pt x="17687" y="31125"/>
                  <a:pt x="18125" y="31312"/>
                </a:cubicBezTo>
                <a:cubicBezTo>
                  <a:pt x="18468" y="31469"/>
                  <a:pt x="18843" y="31625"/>
                  <a:pt x="19156" y="31844"/>
                </a:cubicBezTo>
                <a:cubicBezTo>
                  <a:pt x="19468" y="32062"/>
                  <a:pt x="19750" y="32312"/>
                  <a:pt x="20062" y="32531"/>
                </a:cubicBezTo>
                <a:cubicBezTo>
                  <a:pt x="20468" y="32812"/>
                  <a:pt x="20906" y="33094"/>
                  <a:pt x="21343" y="33344"/>
                </a:cubicBezTo>
                <a:cubicBezTo>
                  <a:pt x="21875" y="33656"/>
                  <a:pt x="22375" y="33969"/>
                  <a:pt x="22906" y="34312"/>
                </a:cubicBezTo>
                <a:cubicBezTo>
                  <a:pt x="23531" y="34687"/>
                  <a:pt x="24125" y="35062"/>
                  <a:pt x="24718" y="35469"/>
                </a:cubicBezTo>
                <a:cubicBezTo>
                  <a:pt x="25312" y="35844"/>
                  <a:pt x="25875" y="36219"/>
                  <a:pt x="26468" y="36562"/>
                </a:cubicBezTo>
                <a:cubicBezTo>
                  <a:pt x="26968" y="36844"/>
                  <a:pt x="27437" y="37094"/>
                  <a:pt x="27968" y="37312"/>
                </a:cubicBezTo>
                <a:cubicBezTo>
                  <a:pt x="28093" y="37375"/>
                  <a:pt x="28250" y="37437"/>
                  <a:pt x="28406" y="37500"/>
                </a:cubicBezTo>
                <a:cubicBezTo>
                  <a:pt x="29062" y="37781"/>
                  <a:pt x="29750" y="37875"/>
                  <a:pt x="30468" y="37906"/>
                </a:cubicBezTo>
                <a:cubicBezTo>
                  <a:pt x="30812" y="37937"/>
                  <a:pt x="31187" y="37969"/>
                  <a:pt x="31531" y="38000"/>
                </a:cubicBezTo>
                <a:cubicBezTo>
                  <a:pt x="31999" y="38062"/>
                  <a:pt x="32468" y="38125"/>
                  <a:pt x="32968" y="38187"/>
                </a:cubicBezTo>
                <a:cubicBezTo>
                  <a:pt x="33343" y="38250"/>
                  <a:pt x="33749" y="38281"/>
                  <a:pt x="34156" y="38344"/>
                </a:cubicBezTo>
                <a:cubicBezTo>
                  <a:pt x="34531" y="38406"/>
                  <a:pt x="34937" y="38469"/>
                  <a:pt x="35312" y="38500"/>
                </a:cubicBezTo>
                <a:cubicBezTo>
                  <a:pt x="35374" y="38594"/>
                  <a:pt x="35437" y="38562"/>
                  <a:pt x="35499" y="38562"/>
                </a:cubicBezTo>
                <a:cubicBezTo>
                  <a:pt x="35499" y="38562"/>
                  <a:pt x="35499" y="38562"/>
                  <a:pt x="35499" y="38562"/>
                </a:cubicBezTo>
                <a:cubicBezTo>
                  <a:pt x="35624" y="38562"/>
                  <a:pt x="35718" y="38594"/>
                  <a:pt x="35843" y="38594"/>
                </a:cubicBezTo>
                <a:cubicBezTo>
                  <a:pt x="35906" y="38687"/>
                  <a:pt x="35999" y="38625"/>
                  <a:pt x="36062" y="38656"/>
                </a:cubicBezTo>
                <a:cubicBezTo>
                  <a:pt x="36062" y="38656"/>
                  <a:pt x="36062" y="38656"/>
                  <a:pt x="36062" y="38656"/>
                </a:cubicBezTo>
                <a:cubicBezTo>
                  <a:pt x="36093" y="38656"/>
                  <a:pt x="36093" y="38656"/>
                  <a:pt x="36093" y="38656"/>
                </a:cubicBezTo>
                <a:cubicBezTo>
                  <a:pt x="36124" y="38656"/>
                  <a:pt x="36124" y="38656"/>
                  <a:pt x="36156" y="38656"/>
                </a:cubicBezTo>
                <a:cubicBezTo>
                  <a:pt x="36156" y="38687"/>
                  <a:pt x="36187" y="38719"/>
                  <a:pt x="36249" y="38687"/>
                </a:cubicBezTo>
                <a:cubicBezTo>
                  <a:pt x="36249" y="38687"/>
                  <a:pt x="36281" y="38687"/>
                  <a:pt x="36312" y="38687"/>
                </a:cubicBezTo>
                <a:cubicBezTo>
                  <a:pt x="36343" y="38750"/>
                  <a:pt x="36437" y="38719"/>
                  <a:pt x="36499" y="38719"/>
                </a:cubicBezTo>
                <a:cubicBezTo>
                  <a:pt x="36499" y="38719"/>
                  <a:pt x="36499" y="38719"/>
                  <a:pt x="36499" y="38719"/>
                </a:cubicBezTo>
                <a:cubicBezTo>
                  <a:pt x="36781" y="38781"/>
                  <a:pt x="37093" y="38812"/>
                  <a:pt x="37406" y="38875"/>
                </a:cubicBezTo>
                <a:cubicBezTo>
                  <a:pt x="37843" y="38969"/>
                  <a:pt x="38281" y="39062"/>
                  <a:pt x="38718" y="39125"/>
                </a:cubicBezTo>
                <a:cubicBezTo>
                  <a:pt x="38906" y="39187"/>
                  <a:pt x="39093" y="39187"/>
                  <a:pt x="39281" y="39281"/>
                </a:cubicBezTo>
                <a:cubicBezTo>
                  <a:pt x="39281" y="39187"/>
                  <a:pt x="39281" y="39125"/>
                  <a:pt x="39281" y="39062"/>
                </a:cubicBezTo>
                <a:cubicBezTo>
                  <a:pt x="39281" y="38937"/>
                  <a:pt x="39281" y="38844"/>
                  <a:pt x="39281" y="38719"/>
                </a:cubicBezTo>
                <a:cubicBezTo>
                  <a:pt x="39281" y="38625"/>
                  <a:pt x="39281" y="38531"/>
                  <a:pt x="39281" y="38437"/>
                </a:cubicBezTo>
                <a:cubicBezTo>
                  <a:pt x="39281" y="37000"/>
                  <a:pt x="39281" y="35562"/>
                  <a:pt x="39281" y="34125"/>
                </a:cubicBezTo>
                <a:cubicBezTo>
                  <a:pt x="38093" y="34094"/>
                  <a:pt x="36874" y="34156"/>
                  <a:pt x="35687" y="34031"/>
                </a:cubicBezTo>
                <a:close/>
                <a:moveTo>
                  <a:pt x="37968" y="23906"/>
                </a:moveTo>
                <a:cubicBezTo>
                  <a:pt x="37968" y="23906"/>
                  <a:pt x="37968" y="23906"/>
                  <a:pt x="37937" y="23906"/>
                </a:cubicBezTo>
                <a:cubicBezTo>
                  <a:pt x="37968" y="23906"/>
                  <a:pt x="37968" y="23906"/>
                  <a:pt x="37968" y="23906"/>
                </a:cubicBezTo>
                <a:close/>
                <a:moveTo>
                  <a:pt x="37937" y="24000"/>
                </a:moveTo>
                <a:cubicBezTo>
                  <a:pt x="37906" y="24000"/>
                  <a:pt x="37906" y="24000"/>
                  <a:pt x="37874" y="24000"/>
                </a:cubicBezTo>
                <a:cubicBezTo>
                  <a:pt x="37812" y="23969"/>
                  <a:pt x="37749" y="23937"/>
                  <a:pt x="37687" y="23937"/>
                </a:cubicBezTo>
                <a:cubicBezTo>
                  <a:pt x="37749" y="23937"/>
                  <a:pt x="37812" y="23969"/>
                  <a:pt x="37874" y="24000"/>
                </a:cubicBezTo>
                <a:cubicBezTo>
                  <a:pt x="37906" y="24000"/>
                  <a:pt x="37906" y="24000"/>
                  <a:pt x="37937" y="24000"/>
                </a:cubicBezTo>
                <a:close/>
                <a:moveTo>
                  <a:pt x="37718" y="23812"/>
                </a:moveTo>
                <a:cubicBezTo>
                  <a:pt x="37687" y="23750"/>
                  <a:pt x="37624" y="23781"/>
                  <a:pt x="37562" y="23781"/>
                </a:cubicBezTo>
                <a:cubicBezTo>
                  <a:pt x="37624" y="23781"/>
                  <a:pt x="37687" y="23750"/>
                  <a:pt x="37718" y="23812"/>
                </a:cubicBezTo>
                <a:cubicBezTo>
                  <a:pt x="37718" y="23812"/>
                  <a:pt x="37718" y="23812"/>
                  <a:pt x="37718" y="23812"/>
                </a:cubicBezTo>
                <a:close/>
                <a:moveTo>
                  <a:pt x="37531" y="23750"/>
                </a:moveTo>
                <a:cubicBezTo>
                  <a:pt x="37531" y="23750"/>
                  <a:pt x="37562" y="23719"/>
                  <a:pt x="37593" y="23719"/>
                </a:cubicBezTo>
                <a:cubicBezTo>
                  <a:pt x="37562" y="23719"/>
                  <a:pt x="37531" y="23750"/>
                  <a:pt x="37531" y="23750"/>
                </a:cubicBezTo>
                <a:cubicBezTo>
                  <a:pt x="37531" y="23750"/>
                  <a:pt x="37531" y="23750"/>
                  <a:pt x="37531" y="23750"/>
                </a:cubicBezTo>
                <a:cubicBezTo>
                  <a:pt x="37531" y="23750"/>
                  <a:pt x="37531" y="23750"/>
                  <a:pt x="37531" y="23750"/>
                </a:cubicBezTo>
                <a:close/>
                <a:moveTo>
                  <a:pt x="35249" y="24375"/>
                </a:moveTo>
                <a:cubicBezTo>
                  <a:pt x="35249" y="24375"/>
                  <a:pt x="35281" y="24375"/>
                  <a:pt x="35281" y="24375"/>
                </a:cubicBezTo>
                <a:cubicBezTo>
                  <a:pt x="35281" y="24375"/>
                  <a:pt x="35249" y="24375"/>
                  <a:pt x="35249" y="24375"/>
                </a:cubicBezTo>
                <a:close/>
                <a:moveTo>
                  <a:pt x="35374" y="23719"/>
                </a:moveTo>
                <a:cubicBezTo>
                  <a:pt x="35374" y="23687"/>
                  <a:pt x="35374" y="23687"/>
                  <a:pt x="35406" y="23687"/>
                </a:cubicBezTo>
                <a:cubicBezTo>
                  <a:pt x="35374" y="23687"/>
                  <a:pt x="35374" y="23687"/>
                  <a:pt x="35374" y="23719"/>
                </a:cubicBezTo>
                <a:cubicBezTo>
                  <a:pt x="35374" y="23719"/>
                  <a:pt x="35374" y="23719"/>
                  <a:pt x="35374" y="23750"/>
                </a:cubicBezTo>
                <a:cubicBezTo>
                  <a:pt x="35374" y="23750"/>
                  <a:pt x="35374" y="23750"/>
                  <a:pt x="35374" y="23750"/>
                </a:cubicBezTo>
                <a:cubicBezTo>
                  <a:pt x="35374" y="23750"/>
                  <a:pt x="35374" y="23750"/>
                  <a:pt x="35374" y="23750"/>
                </a:cubicBezTo>
                <a:cubicBezTo>
                  <a:pt x="35374" y="23719"/>
                  <a:pt x="35374" y="23719"/>
                  <a:pt x="35374" y="23719"/>
                </a:cubicBezTo>
                <a:close/>
                <a:moveTo>
                  <a:pt x="35312" y="24344"/>
                </a:moveTo>
                <a:cubicBezTo>
                  <a:pt x="35312" y="24344"/>
                  <a:pt x="35312" y="24344"/>
                  <a:pt x="35312" y="24344"/>
                </a:cubicBezTo>
                <a:cubicBezTo>
                  <a:pt x="35312" y="24344"/>
                  <a:pt x="35343" y="24344"/>
                  <a:pt x="35343" y="24344"/>
                </a:cubicBezTo>
                <a:cubicBezTo>
                  <a:pt x="35343" y="24344"/>
                  <a:pt x="35312" y="24344"/>
                  <a:pt x="35312" y="24344"/>
                </a:cubicBezTo>
                <a:close/>
                <a:moveTo>
                  <a:pt x="35312" y="23750"/>
                </a:moveTo>
                <a:cubicBezTo>
                  <a:pt x="35218" y="23750"/>
                  <a:pt x="35124" y="23750"/>
                  <a:pt x="35031" y="23750"/>
                </a:cubicBezTo>
                <a:cubicBezTo>
                  <a:pt x="35062" y="23750"/>
                  <a:pt x="35062" y="23750"/>
                  <a:pt x="35062" y="23750"/>
                </a:cubicBezTo>
                <a:cubicBezTo>
                  <a:pt x="35062" y="23750"/>
                  <a:pt x="35062" y="23750"/>
                  <a:pt x="35031" y="23750"/>
                </a:cubicBezTo>
                <a:cubicBezTo>
                  <a:pt x="35124" y="23750"/>
                  <a:pt x="35218" y="23750"/>
                  <a:pt x="35312" y="23750"/>
                </a:cubicBezTo>
                <a:close/>
                <a:moveTo>
                  <a:pt x="34749" y="23656"/>
                </a:moveTo>
                <a:cubicBezTo>
                  <a:pt x="34812" y="23687"/>
                  <a:pt x="34843" y="23687"/>
                  <a:pt x="34874" y="23687"/>
                </a:cubicBezTo>
                <a:cubicBezTo>
                  <a:pt x="34843" y="23687"/>
                  <a:pt x="34812" y="23687"/>
                  <a:pt x="34749" y="23656"/>
                </a:cubicBezTo>
                <a:cubicBezTo>
                  <a:pt x="34749" y="23656"/>
                  <a:pt x="34749" y="23656"/>
                  <a:pt x="34749" y="23656"/>
                </a:cubicBezTo>
                <a:close/>
                <a:moveTo>
                  <a:pt x="33437" y="24375"/>
                </a:moveTo>
                <a:cubicBezTo>
                  <a:pt x="33468" y="24375"/>
                  <a:pt x="33499" y="24375"/>
                  <a:pt x="33531" y="24375"/>
                </a:cubicBezTo>
                <a:cubicBezTo>
                  <a:pt x="33499" y="24375"/>
                  <a:pt x="33468" y="24375"/>
                  <a:pt x="33437" y="24375"/>
                </a:cubicBezTo>
                <a:cubicBezTo>
                  <a:pt x="33406" y="24437"/>
                  <a:pt x="33374" y="24469"/>
                  <a:pt x="33343" y="24437"/>
                </a:cubicBezTo>
                <a:cubicBezTo>
                  <a:pt x="33374" y="24469"/>
                  <a:pt x="33406" y="24437"/>
                  <a:pt x="33437" y="24375"/>
                </a:cubicBezTo>
                <a:close/>
                <a:moveTo>
                  <a:pt x="33218" y="24375"/>
                </a:moveTo>
                <a:cubicBezTo>
                  <a:pt x="33249" y="24375"/>
                  <a:pt x="33249" y="24375"/>
                  <a:pt x="33281" y="24375"/>
                </a:cubicBezTo>
                <a:cubicBezTo>
                  <a:pt x="33249" y="24375"/>
                  <a:pt x="33249" y="24375"/>
                  <a:pt x="33218" y="24375"/>
                </a:cubicBezTo>
                <a:cubicBezTo>
                  <a:pt x="33218" y="24375"/>
                  <a:pt x="33218" y="24375"/>
                  <a:pt x="33218" y="24375"/>
                </a:cubicBezTo>
                <a:close/>
                <a:moveTo>
                  <a:pt x="33187" y="24437"/>
                </a:moveTo>
                <a:cubicBezTo>
                  <a:pt x="33156" y="24437"/>
                  <a:pt x="33124" y="24437"/>
                  <a:pt x="33093" y="24437"/>
                </a:cubicBezTo>
                <a:cubicBezTo>
                  <a:pt x="33124" y="24437"/>
                  <a:pt x="33156" y="24437"/>
                  <a:pt x="33187" y="24437"/>
                </a:cubicBezTo>
                <a:close/>
                <a:moveTo>
                  <a:pt x="33062" y="23687"/>
                </a:moveTo>
                <a:cubicBezTo>
                  <a:pt x="33031" y="23687"/>
                  <a:pt x="33031" y="23687"/>
                  <a:pt x="32999" y="23687"/>
                </a:cubicBezTo>
                <a:cubicBezTo>
                  <a:pt x="32999" y="23687"/>
                  <a:pt x="32999" y="23687"/>
                  <a:pt x="32999" y="23719"/>
                </a:cubicBezTo>
                <a:cubicBezTo>
                  <a:pt x="32999" y="23687"/>
                  <a:pt x="32999" y="23687"/>
                  <a:pt x="32999" y="23687"/>
                </a:cubicBezTo>
                <a:cubicBezTo>
                  <a:pt x="33031" y="23687"/>
                  <a:pt x="33031" y="23687"/>
                  <a:pt x="33062" y="23687"/>
                </a:cubicBezTo>
                <a:close/>
                <a:moveTo>
                  <a:pt x="32999" y="24375"/>
                </a:moveTo>
                <a:cubicBezTo>
                  <a:pt x="32999" y="24375"/>
                  <a:pt x="32999" y="24375"/>
                  <a:pt x="32999" y="24375"/>
                </a:cubicBezTo>
                <a:cubicBezTo>
                  <a:pt x="32874" y="24469"/>
                  <a:pt x="32749" y="24469"/>
                  <a:pt x="32593" y="24469"/>
                </a:cubicBezTo>
                <a:cubicBezTo>
                  <a:pt x="32749" y="24469"/>
                  <a:pt x="32874" y="24469"/>
                  <a:pt x="32999" y="24375"/>
                </a:cubicBezTo>
                <a:close/>
                <a:moveTo>
                  <a:pt x="22187" y="1750"/>
                </a:moveTo>
                <a:cubicBezTo>
                  <a:pt x="22218" y="1750"/>
                  <a:pt x="22250" y="1750"/>
                  <a:pt x="22250" y="1781"/>
                </a:cubicBezTo>
                <a:cubicBezTo>
                  <a:pt x="22218" y="1844"/>
                  <a:pt x="22187" y="1844"/>
                  <a:pt x="22187" y="1812"/>
                </a:cubicBezTo>
                <a:cubicBezTo>
                  <a:pt x="22125" y="1781"/>
                  <a:pt x="22031" y="1875"/>
                  <a:pt x="22031" y="1781"/>
                </a:cubicBezTo>
                <a:cubicBezTo>
                  <a:pt x="22031" y="1687"/>
                  <a:pt x="22125" y="1781"/>
                  <a:pt x="22187" y="1750"/>
                </a:cubicBezTo>
                <a:close/>
                <a:moveTo>
                  <a:pt x="22500" y="969"/>
                </a:moveTo>
                <a:cubicBezTo>
                  <a:pt x="22500" y="969"/>
                  <a:pt x="22500" y="969"/>
                  <a:pt x="22500" y="969"/>
                </a:cubicBezTo>
                <a:cubicBezTo>
                  <a:pt x="22500" y="969"/>
                  <a:pt x="22500" y="969"/>
                  <a:pt x="22500" y="969"/>
                </a:cubicBezTo>
                <a:cubicBezTo>
                  <a:pt x="22500" y="969"/>
                  <a:pt x="22500" y="969"/>
                  <a:pt x="22500" y="969"/>
                </a:cubicBezTo>
                <a:close/>
                <a:moveTo>
                  <a:pt x="13875" y="1937"/>
                </a:moveTo>
                <a:cubicBezTo>
                  <a:pt x="13875" y="1937"/>
                  <a:pt x="13875" y="1937"/>
                  <a:pt x="13875" y="1937"/>
                </a:cubicBezTo>
                <a:cubicBezTo>
                  <a:pt x="13906" y="1906"/>
                  <a:pt x="13906" y="1906"/>
                  <a:pt x="13906" y="1906"/>
                </a:cubicBezTo>
                <a:cubicBezTo>
                  <a:pt x="13906" y="1906"/>
                  <a:pt x="13906" y="1906"/>
                  <a:pt x="13875" y="1937"/>
                </a:cubicBezTo>
                <a:close/>
                <a:moveTo>
                  <a:pt x="13031" y="4219"/>
                </a:moveTo>
                <a:cubicBezTo>
                  <a:pt x="13031" y="4219"/>
                  <a:pt x="13000" y="4219"/>
                  <a:pt x="13000" y="4219"/>
                </a:cubicBezTo>
                <a:cubicBezTo>
                  <a:pt x="12968" y="4219"/>
                  <a:pt x="12968" y="4187"/>
                  <a:pt x="12968" y="4156"/>
                </a:cubicBezTo>
                <a:cubicBezTo>
                  <a:pt x="12968" y="4156"/>
                  <a:pt x="12968" y="4156"/>
                  <a:pt x="13000" y="4125"/>
                </a:cubicBezTo>
                <a:cubicBezTo>
                  <a:pt x="13031" y="4156"/>
                  <a:pt x="13031" y="4187"/>
                  <a:pt x="13031" y="4219"/>
                </a:cubicBezTo>
                <a:close/>
                <a:moveTo>
                  <a:pt x="14125" y="1750"/>
                </a:moveTo>
                <a:cubicBezTo>
                  <a:pt x="14125" y="1750"/>
                  <a:pt x="14125" y="1750"/>
                  <a:pt x="14156" y="1781"/>
                </a:cubicBezTo>
                <a:cubicBezTo>
                  <a:pt x="14125" y="1750"/>
                  <a:pt x="14125" y="1750"/>
                  <a:pt x="14125" y="1750"/>
                </a:cubicBezTo>
                <a:close/>
                <a:moveTo>
                  <a:pt x="2062" y="24125"/>
                </a:moveTo>
                <a:cubicBezTo>
                  <a:pt x="2031" y="24125"/>
                  <a:pt x="2031" y="24125"/>
                  <a:pt x="2031" y="24125"/>
                </a:cubicBezTo>
                <a:cubicBezTo>
                  <a:pt x="2031" y="24125"/>
                  <a:pt x="2031" y="24125"/>
                  <a:pt x="2031" y="24125"/>
                </a:cubicBezTo>
                <a:cubicBezTo>
                  <a:pt x="2031" y="24125"/>
                  <a:pt x="2062" y="24125"/>
                  <a:pt x="2062" y="24125"/>
                </a:cubicBezTo>
                <a:cubicBezTo>
                  <a:pt x="2093" y="24094"/>
                  <a:pt x="2125" y="24094"/>
                  <a:pt x="2187" y="24094"/>
                </a:cubicBezTo>
                <a:cubicBezTo>
                  <a:pt x="2125" y="24094"/>
                  <a:pt x="2093" y="24094"/>
                  <a:pt x="2062" y="24125"/>
                </a:cubicBezTo>
                <a:close/>
                <a:moveTo>
                  <a:pt x="2375" y="24125"/>
                </a:moveTo>
                <a:cubicBezTo>
                  <a:pt x="2343" y="24125"/>
                  <a:pt x="2312" y="24125"/>
                  <a:pt x="2281" y="24125"/>
                </a:cubicBezTo>
                <a:cubicBezTo>
                  <a:pt x="2312" y="24094"/>
                  <a:pt x="2343" y="24094"/>
                  <a:pt x="2375" y="24125"/>
                </a:cubicBezTo>
                <a:cubicBezTo>
                  <a:pt x="2437" y="24125"/>
                  <a:pt x="2500" y="24094"/>
                  <a:pt x="2531" y="24094"/>
                </a:cubicBezTo>
                <a:cubicBezTo>
                  <a:pt x="2500" y="24094"/>
                  <a:pt x="2437" y="24125"/>
                  <a:pt x="2375" y="24125"/>
                </a:cubicBezTo>
                <a:close/>
                <a:moveTo>
                  <a:pt x="17906" y="26281"/>
                </a:moveTo>
                <a:cubicBezTo>
                  <a:pt x="17906" y="26281"/>
                  <a:pt x="17906" y="26281"/>
                  <a:pt x="17906" y="26281"/>
                </a:cubicBezTo>
                <a:cubicBezTo>
                  <a:pt x="17937" y="26281"/>
                  <a:pt x="17937" y="26312"/>
                  <a:pt x="17937" y="26344"/>
                </a:cubicBezTo>
                <a:cubicBezTo>
                  <a:pt x="17937" y="26312"/>
                  <a:pt x="17937" y="26281"/>
                  <a:pt x="17906" y="26281"/>
                </a:cubicBezTo>
                <a:close/>
                <a:moveTo>
                  <a:pt x="17968" y="27000"/>
                </a:moveTo>
                <a:cubicBezTo>
                  <a:pt x="17968" y="27000"/>
                  <a:pt x="17968" y="27000"/>
                  <a:pt x="17968" y="27000"/>
                </a:cubicBezTo>
                <a:cubicBezTo>
                  <a:pt x="18000" y="27031"/>
                  <a:pt x="18031" y="27031"/>
                  <a:pt x="18062" y="27031"/>
                </a:cubicBezTo>
                <a:cubicBezTo>
                  <a:pt x="18031" y="27031"/>
                  <a:pt x="18000" y="27031"/>
                  <a:pt x="17968" y="27000"/>
                </a:cubicBezTo>
                <a:close/>
                <a:moveTo>
                  <a:pt x="18218" y="26187"/>
                </a:moveTo>
                <a:cubicBezTo>
                  <a:pt x="18187" y="26219"/>
                  <a:pt x="18125" y="26219"/>
                  <a:pt x="18093" y="26219"/>
                </a:cubicBezTo>
                <a:cubicBezTo>
                  <a:pt x="18125" y="26219"/>
                  <a:pt x="18187" y="26219"/>
                  <a:pt x="18218" y="26187"/>
                </a:cubicBezTo>
                <a:cubicBezTo>
                  <a:pt x="18500" y="26187"/>
                  <a:pt x="18781" y="26187"/>
                  <a:pt x="19062" y="26187"/>
                </a:cubicBezTo>
                <a:cubicBezTo>
                  <a:pt x="18781" y="26187"/>
                  <a:pt x="18500" y="26187"/>
                  <a:pt x="18218" y="26187"/>
                </a:cubicBezTo>
                <a:close/>
                <a:moveTo>
                  <a:pt x="11406" y="26969"/>
                </a:moveTo>
                <a:cubicBezTo>
                  <a:pt x="11406" y="26969"/>
                  <a:pt x="11406" y="26937"/>
                  <a:pt x="11406" y="26937"/>
                </a:cubicBezTo>
                <a:cubicBezTo>
                  <a:pt x="11406" y="26937"/>
                  <a:pt x="11406" y="26937"/>
                  <a:pt x="11406" y="26937"/>
                </a:cubicBezTo>
                <a:cubicBezTo>
                  <a:pt x="11406" y="26937"/>
                  <a:pt x="11406" y="26969"/>
                  <a:pt x="11406" y="26969"/>
                </a:cubicBezTo>
                <a:close/>
                <a:moveTo>
                  <a:pt x="11875" y="26312"/>
                </a:moveTo>
                <a:cubicBezTo>
                  <a:pt x="11875" y="26312"/>
                  <a:pt x="11875" y="26312"/>
                  <a:pt x="11875" y="26312"/>
                </a:cubicBezTo>
                <a:cubicBezTo>
                  <a:pt x="11875" y="26312"/>
                  <a:pt x="11843" y="26312"/>
                  <a:pt x="11812" y="26312"/>
                </a:cubicBezTo>
                <a:cubicBezTo>
                  <a:pt x="11812" y="26312"/>
                  <a:pt x="11812" y="26312"/>
                  <a:pt x="11812" y="26312"/>
                </a:cubicBezTo>
                <a:cubicBezTo>
                  <a:pt x="11843" y="26312"/>
                  <a:pt x="11875" y="26312"/>
                  <a:pt x="11875" y="26312"/>
                </a:cubicBezTo>
                <a:close/>
                <a:moveTo>
                  <a:pt x="11906" y="26594"/>
                </a:moveTo>
                <a:cubicBezTo>
                  <a:pt x="11906" y="26594"/>
                  <a:pt x="11906" y="26594"/>
                  <a:pt x="11906" y="26594"/>
                </a:cubicBezTo>
                <a:cubicBezTo>
                  <a:pt x="11875" y="26625"/>
                  <a:pt x="11843" y="26687"/>
                  <a:pt x="11781" y="26719"/>
                </a:cubicBezTo>
                <a:cubicBezTo>
                  <a:pt x="11843" y="26687"/>
                  <a:pt x="11875" y="26625"/>
                  <a:pt x="11906" y="26594"/>
                </a:cubicBezTo>
                <a:cubicBezTo>
                  <a:pt x="11906" y="26594"/>
                  <a:pt x="11906" y="26562"/>
                  <a:pt x="11906" y="26562"/>
                </a:cubicBezTo>
                <a:cubicBezTo>
                  <a:pt x="11906" y="26562"/>
                  <a:pt x="11906" y="26594"/>
                  <a:pt x="11906" y="26594"/>
                </a:cubicBezTo>
                <a:close/>
                <a:moveTo>
                  <a:pt x="12375" y="26250"/>
                </a:moveTo>
                <a:cubicBezTo>
                  <a:pt x="12375" y="26219"/>
                  <a:pt x="12406" y="26219"/>
                  <a:pt x="12406" y="26219"/>
                </a:cubicBezTo>
                <a:cubicBezTo>
                  <a:pt x="12406" y="26219"/>
                  <a:pt x="12375" y="26219"/>
                  <a:pt x="12375" y="26250"/>
                </a:cubicBezTo>
                <a:close/>
                <a:moveTo>
                  <a:pt x="12531" y="26656"/>
                </a:moveTo>
                <a:cubicBezTo>
                  <a:pt x="12593" y="26562"/>
                  <a:pt x="12687" y="26469"/>
                  <a:pt x="12781" y="26500"/>
                </a:cubicBezTo>
                <a:cubicBezTo>
                  <a:pt x="12687" y="26469"/>
                  <a:pt x="12593" y="26562"/>
                  <a:pt x="12531" y="26656"/>
                </a:cubicBezTo>
                <a:close/>
                <a:moveTo>
                  <a:pt x="13718" y="26406"/>
                </a:moveTo>
                <a:cubicBezTo>
                  <a:pt x="13781" y="26375"/>
                  <a:pt x="13781" y="26344"/>
                  <a:pt x="13812" y="26281"/>
                </a:cubicBezTo>
                <a:cubicBezTo>
                  <a:pt x="13812" y="26281"/>
                  <a:pt x="13812" y="26281"/>
                  <a:pt x="13812" y="26281"/>
                </a:cubicBezTo>
                <a:cubicBezTo>
                  <a:pt x="13781" y="26344"/>
                  <a:pt x="13781" y="26375"/>
                  <a:pt x="13718" y="26406"/>
                </a:cubicBezTo>
                <a:close/>
                <a:moveTo>
                  <a:pt x="14312" y="26281"/>
                </a:moveTo>
                <a:cubicBezTo>
                  <a:pt x="14312" y="26281"/>
                  <a:pt x="14312" y="26281"/>
                  <a:pt x="14312" y="26281"/>
                </a:cubicBezTo>
                <a:cubicBezTo>
                  <a:pt x="14281" y="26281"/>
                  <a:pt x="14281" y="26281"/>
                  <a:pt x="14281" y="26281"/>
                </a:cubicBezTo>
                <a:cubicBezTo>
                  <a:pt x="14281" y="26281"/>
                  <a:pt x="14281" y="26281"/>
                  <a:pt x="14312" y="26281"/>
                </a:cubicBezTo>
                <a:close/>
                <a:moveTo>
                  <a:pt x="14437" y="28344"/>
                </a:moveTo>
                <a:cubicBezTo>
                  <a:pt x="14375" y="28219"/>
                  <a:pt x="14281" y="28156"/>
                  <a:pt x="14156" y="28094"/>
                </a:cubicBezTo>
                <a:cubicBezTo>
                  <a:pt x="14281" y="28156"/>
                  <a:pt x="14375" y="28219"/>
                  <a:pt x="14437" y="28344"/>
                </a:cubicBezTo>
                <a:cubicBezTo>
                  <a:pt x="14500" y="28344"/>
                  <a:pt x="14562" y="28344"/>
                  <a:pt x="14625" y="28375"/>
                </a:cubicBezTo>
                <a:cubicBezTo>
                  <a:pt x="14562" y="28344"/>
                  <a:pt x="14500" y="28344"/>
                  <a:pt x="14437" y="28344"/>
                </a:cubicBezTo>
                <a:close/>
                <a:moveTo>
                  <a:pt x="14937" y="27750"/>
                </a:moveTo>
                <a:cubicBezTo>
                  <a:pt x="14937" y="27750"/>
                  <a:pt x="14937" y="27750"/>
                  <a:pt x="14937" y="27750"/>
                </a:cubicBezTo>
                <a:cubicBezTo>
                  <a:pt x="14937" y="27750"/>
                  <a:pt x="14937" y="27719"/>
                  <a:pt x="14937" y="27687"/>
                </a:cubicBezTo>
                <a:cubicBezTo>
                  <a:pt x="14937" y="27719"/>
                  <a:pt x="14937" y="27750"/>
                  <a:pt x="14937" y="27750"/>
                </a:cubicBezTo>
                <a:close/>
                <a:moveTo>
                  <a:pt x="15250" y="28375"/>
                </a:moveTo>
                <a:cubicBezTo>
                  <a:pt x="15250" y="28375"/>
                  <a:pt x="15250" y="28375"/>
                  <a:pt x="15218" y="28344"/>
                </a:cubicBezTo>
                <a:cubicBezTo>
                  <a:pt x="15250" y="28375"/>
                  <a:pt x="15250" y="28375"/>
                  <a:pt x="15250" y="28375"/>
                </a:cubicBezTo>
                <a:cubicBezTo>
                  <a:pt x="15250" y="28375"/>
                  <a:pt x="15250" y="28375"/>
                  <a:pt x="15250" y="28375"/>
                </a:cubicBezTo>
                <a:close/>
                <a:moveTo>
                  <a:pt x="15656" y="29375"/>
                </a:moveTo>
                <a:cubicBezTo>
                  <a:pt x="15656" y="29344"/>
                  <a:pt x="15656" y="29344"/>
                  <a:pt x="15625" y="29344"/>
                </a:cubicBezTo>
                <a:cubicBezTo>
                  <a:pt x="15656" y="29344"/>
                  <a:pt x="15656" y="29344"/>
                  <a:pt x="15656" y="29375"/>
                </a:cubicBezTo>
                <a:cubicBezTo>
                  <a:pt x="15656" y="29375"/>
                  <a:pt x="15656" y="29375"/>
                  <a:pt x="15656" y="29375"/>
                </a:cubicBezTo>
                <a:close/>
                <a:moveTo>
                  <a:pt x="16312" y="29094"/>
                </a:moveTo>
                <a:cubicBezTo>
                  <a:pt x="16312" y="29062"/>
                  <a:pt x="16312" y="29062"/>
                  <a:pt x="16312" y="29031"/>
                </a:cubicBezTo>
                <a:cubicBezTo>
                  <a:pt x="16312" y="29062"/>
                  <a:pt x="16312" y="29062"/>
                  <a:pt x="16312" y="29094"/>
                </a:cubicBezTo>
                <a:cubicBezTo>
                  <a:pt x="16343" y="29094"/>
                  <a:pt x="16343" y="29094"/>
                  <a:pt x="16343" y="29125"/>
                </a:cubicBezTo>
                <a:cubicBezTo>
                  <a:pt x="16343" y="29094"/>
                  <a:pt x="16343" y="29094"/>
                  <a:pt x="16312" y="29094"/>
                </a:cubicBezTo>
                <a:close/>
                <a:moveTo>
                  <a:pt x="16406" y="29156"/>
                </a:moveTo>
                <a:cubicBezTo>
                  <a:pt x="16437" y="29156"/>
                  <a:pt x="16468" y="29156"/>
                  <a:pt x="16468" y="29187"/>
                </a:cubicBezTo>
                <a:cubicBezTo>
                  <a:pt x="16468" y="29156"/>
                  <a:pt x="16437" y="29156"/>
                  <a:pt x="16406" y="29156"/>
                </a:cubicBezTo>
                <a:close/>
                <a:moveTo>
                  <a:pt x="16343" y="27750"/>
                </a:moveTo>
                <a:cubicBezTo>
                  <a:pt x="16437" y="27812"/>
                  <a:pt x="16500" y="27906"/>
                  <a:pt x="16625" y="27844"/>
                </a:cubicBezTo>
                <a:cubicBezTo>
                  <a:pt x="16625" y="27844"/>
                  <a:pt x="16625" y="27844"/>
                  <a:pt x="16625" y="27844"/>
                </a:cubicBezTo>
                <a:cubicBezTo>
                  <a:pt x="16500" y="27906"/>
                  <a:pt x="16437" y="27812"/>
                  <a:pt x="16343" y="27750"/>
                </a:cubicBezTo>
                <a:close/>
                <a:moveTo>
                  <a:pt x="16718" y="29594"/>
                </a:moveTo>
                <a:cubicBezTo>
                  <a:pt x="16750" y="29594"/>
                  <a:pt x="16781" y="29594"/>
                  <a:pt x="16781" y="29594"/>
                </a:cubicBezTo>
                <a:cubicBezTo>
                  <a:pt x="16781" y="29594"/>
                  <a:pt x="16750" y="29594"/>
                  <a:pt x="16718" y="29594"/>
                </a:cubicBezTo>
                <a:cubicBezTo>
                  <a:pt x="16718" y="29594"/>
                  <a:pt x="16718" y="29594"/>
                  <a:pt x="16718" y="29594"/>
                </a:cubicBezTo>
                <a:close/>
                <a:moveTo>
                  <a:pt x="17000" y="30031"/>
                </a:moveTo>
                <a:cubicBezTo>
                  <a:pt x="16906" y="29969"/>
                  <a:pt x="16812" y="29906"/>
                  <a:pt x="16750" y="29812"/>
                </a:cubicBezTo>
                <a:cubicBezTo>
                  <a:pt x="16812" y="29906"/>
                  <a:pt x="16906" y="29969"/>
                  <a:pt x="17000" y="30031"/>
                </a:cubicBezTo>
                <a:cubicBezTo>
                  <a:pt x="17000" y="30031"/>
                  <a:pt x="17000" y="30031"/>
                  <a:pt x="17000" y="30031"/>
                </a:cubicBezTo>
                <a:close/>
                <a:moveTo>
                  <a:pt x="17562" y="30125"/>
                </a:moveTo>
                <a:cubicBezTo>
                  <a:pt x="17562" y="30094"/>
                  <a:pt x="17562" y="30094"/>
                  <a:pt x="17562" y="30094"/>
                </a:cubicBezTo>
                <a:cubicBezTo>
                  <a:pt x="17562" y="30094"/>
                  <a:pt x="17562" y="30094"/>
                  <a:pt x="17562" y="30125"/>
                </a:cubicBezTo>
                <a:close/>
                <a:moveTo>
                  <a:pt x="17656" y="30156"/>
                </a:moveTo>
                <a:cubicBezTo>
                  <a:pt x="17656" y="30156"/>
                  <a:pt x="17656" y="30156"/>
                  <a:pt x="17656" y="30156"/>
                </a:cubicBezTo>
                <a:cubicBezTo>
                  <a:pt x="17656" y="30156"/>
                  <a:pt x="17656" y="30156"/>
                  <a:pt x="17656" y="30156"/>
                </a:cubicBezTo>
                <a:cubicBezTo>
                  <a:pt x="17656" y="30156"/>
                  <a:pt x="17656" y="30156"/>
                  <a:pt x="17656" y="30156"/>
                </a:cubicBezTo>
                <a:close/>
                <a:moveTo>
                  <a:pt x="17843" y="28281"/>
                </a:moveTo>
                <a:cubicBezTo>
                  <a:pt x="17812" y="28281"/>
                  <a:pt x="17750" y="28250"/>
                  <a:pt x="17718" y="28219"/>
                </a:cubicBezTo>
                <a:cubicBezTo>
                  <a:pt x="17750" y="28250"/>
                  <a:pt x="17812" y="28281"/>
                  <a:pt x="17843" y="28281"/>
                </a:cubicBezTo>
                <a:cubicBezTo>
                  <a:pt x="17875" y="28344"/>
                  <a:pt x="17906" y="28375"/>
                  <a:pt x="17937" y="28375"/>
                </a:cubicBezTo>
                <a:cubicBezTo>
                  <a:pt x="17906" y="28375"/>
                  <a:pt x="17875" y="28344"/>
                  <a:pt x="17843" y="28281"/>
                </a:cubicBezTo>
                <a:close/>
                <a:moveTo>
                  <a:pt x="25718" y="26062"/>
                </a:moveTo>
                <a:cubicBezTo>
                  <a:pt x="25687" y="26062"/>
                  <a:pt x="25656" y="26062"/>
                  <a:pt x="25625" y="26062"/>
                </a:cubicBezTo>
                <a:cubicBezTo>
                  <a:pt x="25593" y="26094"/>
                  <a:pt x="25562" y="26125"/>
                  <a:pt x="25531" y="26094"/>
                </a:cubicBezTo>
                <a:cubicBezTo>
                  <a:pt x="25562" y="26125"/>
                  <a:pt x="25593" y="26094"/>
                  <a:pt x="25625" y="26062"/>
                </a:cubicBezTo>
                <a:cubicBezTo>
                  <a:pt x="25656" y="26062"/>
                  <a:pt x="25687" y="26062"/>
                  <a:pt x="25718" y="26062"/>
                </a:cubicBezTo>
                <a:cubicBezTo>
                  <a:pt x="25812" y="26094"/>
                  <a:pt x="25937" y="26062"/>
                  <a:pt x="26062" y="26062"/>
                </a:cubicBezTo>
                <a:cubicBezTo>
                  <a:pt x="25937" y="26062"/>
                  <a:pt x="25812" y="26094"/>
                  <a:pt x="25718" y="26062"/>
                </a:cubicBezTo>
                <a:close/>
                <a:moveTo>
                  <a:pt x="28093" y="24406"/>
                </a:moveTo>
                <a:cubicBezTo>
                  <a:pt x="28093" y="24406"/>
                  <a:pt x="28093" y="24406"/>
                  <a:pt x="28093" y="24406"/>
                </a:cubicBezTo>
                <a:cubicBezTo>
                  <a:pt x="28093" y="24406"/>
                  <a:pt x="28093" y="24406"/>
                  <a:pt x="28093" y="24406"/>
                </a:cubicBezTo>
                <a:cubicBezTo>
                  <a:pt x="28125" y="24406"/>
                  <a:pt x="28125" y="24406"/>
                  <a:pt x="28156" y="24406"/>
                </a:cubicBezTo>
                <a:cubicBezTo>
                  <a:pt x="28125" y="24406"/>
                  <a:pt x="28125" y="24406"/>
                  <a:pt x="28093" y="24406"/>
                </a:cubicBezTo>
                <a:close/>
                <a:moveTo>
                  <a:pt x="28281" y="24406"/>
                </a:moveTo>
                <a:cubicBezTo>
                  <a:pt x="28281" y="24406"/>
                  <a:pt x="28250" y="24437"/>
                  <a:pt x="28250" y="24437"/>
                </a:cubicBezTo>
                <a:cubicBezTo>
                  <a:pt x="28250" y="24437"/>
                  <a:pt x="28281" y="24406"/>
                  <a:pt x="28281" y="24406"/>
                </a:cubicBezTo>
                <a:cubicBezTo>
                  <a:pt x="28312" y="24406"/>
                  <a:pt x="28312" y="24406"/>
                  <a:pt x="28343" y="24406"/>
                </a:cubicBezTo>
                <a:cubicBezTo>
                  <a:pt x="28312" y="24406"/>
                  <a:pt x="28312" y="24406"/>
                  <a:pt x="28281" y="24406"/>
                </a:cubicBezTo>
                <a:close/>
                <a:moveTo>
                  <a:pt x="28968" y="25344"/>
                </a:moveTo>
                <a:cubicBezTo>
                  <a:pt x="28906" y="25375"/>
                  <a:pt x="28843" y="25375"/>
                  <a:pt x="28781" y="25375"/>
                </a:cubicBezTo>
                <a:cubicBezTo>
                  <a:pt x="28843" y="25375"/>
                  <a:pt x="28906" y="25375"/>
                  <a:pt x="28968" y="25344"/>
                </a:cubicBezTo>
                <a:cubicBezTo>
                  <a:pt x="28968" y="25344"/>
                  <a:pt x="28968" y="25344"/>
                  <a:pt x="29000" y="25344"/>
                </a:cubicBezTo>
                <a:cubicBezTo>
                  <a:pt x="28968" y="25344"/>
                  <a:pt x="28968" y="25344"/>
                  <a:pt x="28968" y="25344"/>
                </a:cubicBezTo>
                <a:close/>
                <a:moveTo>
                  <a:pt x="29281" y="24406"/>
                </a:moveTo>
                <a:cubicBezTo>
                  <a:pt x="29281" y="24406"/>
                  <a:pt x="29281" y="24406"/>
                  <a:pt x="29281" y="24406"/>
                </a:cubicBezTo>
                <a:cubicBezTo>
                  <a:pt x="29406" y="24406"/>
                  <a:pt x="29562" y="24406"/>
                  <a:pt x="29718" y="24406"/>
                </a:cubicBezTo>
                <a:cubicBezTo>
                  <a:pt x="29562" y="24406"/>
                  <a:pt x="29406" y="24406"/>
                  <a:pt x="29281" y="24406"/>
                </a:cubicBezTo>
                <a:close/>
                <a:moveTo>
                  <a:pt x="29656" y="25406"/>
                </a:moveTo>
                <a:cubicBezTo>
                  <a:pt x="29625" y="25469"/>
                  <a:pt x="29562" y="25469"/>
                  <a:pt x="29500" y="25469"/>
                </a:cubicBezTo>
                <a:cubicBezTo>
                  <a:pt x="29562" y="25469"/>
                  <a:pt x="29625" y="25469"/>
                  <a:pt x="29656" y="25406"/>
                </a:cubicBezTo>
                <a:cubicBezTo>
                  <a:pt x="29750" y="25406"/>
                  <a:pt x="29843" y="25406"/>
                  <a:pt x="29937" y="25406"/>
                </a:cubicBezTo>
                <a:cubicBezTo>
                  <a:pt x="29843" y="25406"/>
                  <a:pt x="29750" y="25406"/>
                  <a:pt x="29656" y="25406"/>
                </a:cubicBezTo>
                <a:close/>
                <a:moveTo>
                  <a:pt x="30218" y="26156"/>
                </a:moveTo>
                <a:cubicBezTo>
                  <a:pt x="30218" y="26156"/>
                  <a:pt x="30218" y="26187"/>
                  <a:pt x="30187" y="26187"/>
                </a:cubicBezTo>
                <a:cubicBezTo>
                  <a:pt x="30125" y="26156"/>
                  <a:pt x="30062" y="26156"/>
                  <a:pt x="29968" y="26156"/>
                </a:cubicBezTo>
                <a:cubicBezTo>
                  <a:pt x="30062" y="26156"/>
                  <a:pt x="30125" y="26156"/>
                  <a:pt x="30187" y="26187"/>
                </a:cubicBezTo>
                <a:cubicBezTo>
                  <a:pt x="30218" y="26187"/>
                  <a:pt x="30218" y="26156"/>
                  <a:pt x="30218" y="26156"/>
                </a:cubicBezTo>
                <a:cubicBezTo>
                  <a:pt x="30218" y="26125"/>
                  <a:pt x="30218" y="26125"/>
                  <a:pt x="30218" y="26094"/>
                </a:cubicBezTo>
                <a:cubicBezTo>
                  <a:pt x="30218" y="26125"/>
                  <a:pt x="30218" y="26125"/>
                  <a:pt x="30218" y="26156"/>
                </a:cubicBezTo>
                <a:cubicBezTo>
                  <a:pt x="30250" y="26156"/>
                  <a:pt x="30250" y="26156"/>
                  <a:pt x="30250" y="26156"/>
                </a:cubicBezTo>
                <a:cubicBezTo>
                  <a:pt x="30250" y="26156"/>
                  <a:pt x="30250" y="26156"/>
                  <a:pt x="30218" y="26156"/>
                </a:cubicBezTo>
                <a:close/>
                <a:moveTo>
                  <a:pt x="30562" y="25406"/>
                </a:moveTo>
                <a:cubicBezTo>
                  <a:pt x="30531" y="25406"/>
                  <a:pt x="30531" y="25406"/>
                  <a:pt x="30500" y="25375"/>
                </a:cubicBezTo>
                <a:cubicBezTo>
                  <a:pt x="30312" y="25406"/>
                  <a:pt x="30156" y="25406"/>
                  <a:pt x="29968" y="25406"/>
                </a:cubicBezTo>
                <a:cubicBezTo>
                  <a:pt x="29937" y="25406"/>
                  <a:pt x="29937" y="25406"/>
                  <a:pt x="29937" y="25406"/>
                </a:cubicBezTo>
                <a:cubicBezTo>
                  <a:pt x="29937" y="25406"/>
                  <a:pt x="29937" y="25406"/>
                  <a:pt x="29968" y="25406"/>
                </a:cubicBezTo>
                <a:cubicBezTo>
                  <a:pt x="30156" y="25406"/>
                  <a:pt x="30312" y="25406"/>
                  <a:pt x="30500" y="25375"/>
                </a:cubicBezTo>
                <a:cubicBezTo>
                  <a:pt x="30531" y="25406"/>
                  <a:pt x="30531" y="25406"/>
                  <a:pt x="30562" y="25406"/>
                </a:cubicBezTo>
                <a:cubicBezTo>
                  <a:pt x="30656" y="25562"/>
                  <a:pt x="30781" y="25719"/>
                  <a:pt x="30906" y="25875"/>
                </a:cubicBezTo>
                <a:cubicBezTo>
                  <a:pt x="30781" y="25719"/>
                  <a:pt x="30656" y="25562"/>
                  <a:pt x="30562" y="25406"/>
                </a:cubicBezTo>
                <a:close/>
                <a:moveTo>
                  <a:pt x="31124" y="25406"/>
                </a:moveTo>
                <a:cubicBezTo>
                  <a:pt x="31093" y="25406"/>
                  <a:pt x="31062" y="25406"/>
                  <a:pt x="31031" y="25406"/>
                </a:cubicBezTo>
                <a:cubicBezTo>
                  <a:pt x="31031" y="25406"/>
                  <a:pt x="31031" y="25406"/>
                  <a:pt x="31031" y="25406"/>
                </a:cubicBezTo>
                <a:cubicBezTo>
                  <a:pt x="31031" y="25406"/>
                  <a:pt x="31031" y="25406"/>
                  <a:pt x="31031" y="25406"/>
                </a:cubicBezTo>
                <a:cubicBezTo>
                  <a:pt x="31062" y="25406"/>
                  <a:pt x="31093" y="25406"/>
                  <a:pt x="31124" y="25406"/>
                </a:cubicBezTo>
                <a:cubicBezTo>
                  <a:pt x="31156" y="25437"/>
                  <a:pt x="31187" y="25437"/>
                  <a:pt x="31218" y="25437"/>
                </a:cubicBezTo>
                <a:cubicBezTo>
                  <a:pt x="31187" y="25437"/>
                  <a:pt x="31156" y="25437"/>
                  <a:pt x="31124" y="25406"/>
                </a:cubicBezTo>
                <a:close/>
                <a:moveTo>
                  <a:pt x="31624" y="24312"/>
                </a:moveTo>
                <a:cubicBezTo>
                  <a:pt x="31656" y="24344"/>
                  <a:pt x="31656" y="24344"/>
                  <a:pt x="31687" y="24344"/>
                </a:cubicBezTo>
                <a:cubicBezTo>
                  <a:pt x="31656" y="24344"/>
                  <a:pt x="31656" y="24344"/>
                  <a:pt x="31624" y="24312"/>
                </a:cubicBezTo>
                <a:cubicBezTo>
                  <a:pt x="31843" y="24312"/>
                  <a:pt x="32031" y="24312"/>
                  <a:pt x="32218" y="24312"/>
                </a:cubicBezTo>
                <a:cubicBezTo>
                  <a:pt x="32031" y="24312"/>
                  <a:pt x="31843" y="24312"/>
                  <a:pt x="31624" y="24312"/>
                </a:cubicBezTo>
                <a:close/>
                <a:moveTo>
                  <a:pt x="32374" y="23687"/>
                </a:moveTo>
                <a:cubicBezTo>
                  <a:pt x="32406" y="23687"/>
                  <a:pt x="32406" y="23687"/>
                  <a:pt x="32437" y="23687"/>
                </a:cubicBezTo>
                <a:cubicBezTo>
                  <a:pt x="32406" y="23687"/>
                  <a:pt x="32406" y="23687"/>
                  <a:pt x="32374" y="23687"/>
                </a:cubicBezTo>
                <a:cubicBezTo>
                  <a:pt x="32343" y="23687"/>
                  <a:pt x="32312" y="23687"/>
                  <a:pt x="32281" y="23687"/>
                </a:cubicBezTo>
                <a:cubicBezTo>
                  <a:pt x="32312" y="23687"/>
                  <a:pt x="32343" y="23687"/>
                  <a:pt x="32374" y="23687"/>
                </a:cubicBezTo>
                <a:close/>
                <a:moveTo>
                  <a:pt x="32124" y="23687"/>
                </a:moveTo>
                <a:cubicBezTo>
                  <a:pt x="32187" y="23656"/>
                  <a:pt x="32218" y="23656"/>
                  <a:pt x="32249" y="23687"/>
                </a:cubicBezTo>
                <a:cubicBezTo>
                  <a:pt x="32218" y="23656"/>
                  <a:pt x="32187" y="23656"/>
                  <a:pt x="32124" y="23687"/>
                </a:cubicBezTo>
                <a:cubicBezTo>
                  <a:pt x="32124" y="23687"/>
                  <a:pt x="32093" y="23687"/>
                  <a:pt x="32093" y="23687"/>
                </a:cubicBezTo>
                <a:cubicBezTo>
                  <a:pt x="32093" y="23687"/>
                  <a:pt x="32124" y="23687"/>
                  <a:pt x="32124" y="23687"/>
                </a:cubicBezTo>
                <a:close/>
                <a:moveTo>
                  <a:pt x="31968" y="23687"/>
                </a:moveTo>
                <a:cubicBezTo>
                  <a:pt x="31999" y="23656"/>
                  <a:pt x="32031" y="23656"/>
                  <a:pt x="32062" y="23687"/>
                </a:cubicBezTo>
                <a:cubicBezTo>
                  <a:pt x="32031" y="23656"/>
                  <a:pt x="31999" y="23656"/>
                  <a:pt x="31968" y="23687"/>
                </a:cubicBezTo>
                <a:cubicBezTo>
                  <a:pt x="31937" y="23687"/>
                  <a:pt x="31937" y="23719"/>
                  <a:pt x="31906" y="23719"/>
                </a:cubicBezTo>
                <a:cubicBezTo>
                  <a:pt x="31937" y="23719"/>
                  <a:pt x="31937" y="23687"/>
                  <a:pt x="31968" y="23687"/>
                </a:cubicBezTo>
                <a:close/>
                <a:moveTo>
                  <a:pt x="31124" y="23625"/>
                </a:moveTo>
                <a:cubicBezTo>
                  <a:pt x="31187" y="23625"/>
                  <a:pt x="31249" y="23625"/>
                  <a:pt x="31312" y="23625"/>
                </a:cubicBezTo>
                <a:cubicBezTo>
                  <a:pt x="31249" y="23625"/>
                  <a:pt x="31187" y="23625"/>
                  <a:pt x="31124" y="23625"/>
                </a:cubicBezTo>
                <a:cubicBezTo>
                  <a:pt x="31156" y="23562"/>
                  <a:pt x="31124" y="23562"/>
                  <a:pt x="31124" y="23562"/>
                </a:cubicBezTo>
                <a:cubicBezTo>
                  <a:pt x="31124" y="23562"/>
                  <a:pt x="31156" y="23562"/>
                  <a:pt x="31124" y="23625"/>
                </a:cubicBezTo>
                <a:close/>
                <a:moveTo>
                  <a:pt x="31718" y="23656"/>
                </a:moveTo>
                <a:cubicBezTo>
                  <a:pt x="31499" y="23656"/>
                  <a:pt x="31249" y="23656"/>
                  <a:pt x="31031" y="23656"/>
                </a:cubicBezTo>
                <a:cubicBezTo>
                  <a:pt x="30999" y="23656"/>
                  <a:pt x="30968" y="23656"/>
                  <a:pt x="30937" y="23656"/>
                </a:cubicBezTo>
                <a:cubicBezTo>
                  <a:pt x="30937" y="23687"/>
                  <a:pt x="30968" y="23687"/>
                  <a:pt x="30999" y="23687"/>
                </a:cubicBezTo>
                <a:cubicBezTo>
                  <a:pt x="30968" y="23687"/>
                  <a:pt x="30937" y="23687"/>
                  <a:pt x="30937" y="23656"/>
                </a:cubicBezTo>
                <a:cubicBezTo>
                  <a:pt x="30906" y="23656"/>
                  <a:pt x="30906" y="23656"/>
                  <a:pt x="30906" y="23656"/>
                </a:cubicBezTo>
                <a:cubicBezTo>
                  <a:pt x="30906" y="23656"/>
                  <a:pt x="30906" y="23656"/>
                  <a:pt x="30937" y="23656"/>
                </a:cubicBezTo>
                <a:cubicBezTo>
                  <a:pt x="30968" y="23656"/>
                  <a:pt x="30999" y="23656"/>
                  <a:pt x="31031" y="23656"/>
                </a:cubicBezTo>
                <a:cubicBezTo>
                  <a:pt x="31249" y="23656"/>
                  <a:pt x="31499" y="23656"/>
                  <a:pt x="31718" y="23656"/>
                </a:cubicBezTo>
                <a:close/>
                <a:moveTo>
                  <a:pt x="31062" y="23750"/>
                </a:moveTo>
                <a:cubicBezTo>
                  <a:pt x="30999" y="23750"/>
                  <a:pt x="30937" y="23750"/>
                  <a:pt x="30906" y="23750"/>
                </a:cubicBezTo>
                <a:cubicBezTo>
                  <a:pt x="30937" y="23750"/>
                  <a:pt x="30999" y="23750"/>
                  <a:pt x="31062" y="23750"/>
                </a:cubicBezTo>
                <a:cubicBezTo>
                  <a:pt x="31062" y="23750"/>
                  <a:pt x="31062" y="23750"/>
                  <a:pt x="31062" y="23750"/>
                </a:cubicBezTo>
                <a:close/>
                <a:moveTo>
                  <a:pt x="31031" y="23625"/>
                </a:moveTo>
                <a:cubicBezTo>
                  <a:pt x="30968" y="23625"/>
                  <a:pt x="30937" y="23625"/>
                  <a:pt x="30906" y="23625"/>
                </a:cubicBezTo>
                <a:cubicBezTo>
                  <a:pt x="30906" y="23625"/>
                  <a:pt x="30906" y="23625"/>
                  <a:pt x="30906" y="23625"/>
                </a:cubicBezTo>
                <a:cubicBezTo>
                  <a:pt x="30937" y="23625"/>
                  <a:pt x="30968" y="23625"/>
                  <a:pt x="31031" y="23625"/>
                </a:cubicBezTo>
                <a:close/>
                <a:moveTo>
                  <a:pt x="30656" y="23781"/>
                </a:moveTo>
                <a:cubicBezTo>
                  <a:pt x="30656" y="23781"/>
                  <a:pt x="30656" y="23781"/>
                  <a:pt x="30656" y="23781"/>
                </a:cubicBezTo>
                <a:cubicBezTo>
                  <a:pt x="30656" y="23781"/>
                  <a:pt x="30656" y="23781"/>
                  <a:pt x="30656" y="23781"/>
                </a:cubicBezTo>
                <a:cubicBezTo>
                  <a:pt x="30656" y="23750"/>
                  <a:pt x="30656" y="23750"/>
                  <a:pt x="30625" y="23750"/>
                </a:cubicBezTo>
                <a:cubicBezTo>
                  <a:pt x="30656" y="23750"/>
                  <a:pt x="30656" y="23750"/>
                  <a:pt x="30656" y="23781"/>
                </a:cubicBezTo>
                <a:close/>
                <a:moveTo>
                  <a:pt x="29875" y="23750"/>
                </a:moveTo>
                <a:cubicBezTo>
                  <a:pt x="29562" y="23719"/>
                  <a:pt x="29281" y="23719"/>
                  <a:pt x="29000" y="23719"/>
                </a:cubicBezTo>
                <a:cubicBezTo>
                  <a:pt x="29000" y="23719"/>
                  <a:pt x="29000" y="23719"/>
                  <a:pt x="29000" y="23719"/>
                </a:cubicBezTo>
                <a:cubicBezTo>
                  <a:pt x="29000" y="23719"/>
                  <a:pt x="29000" y="23719"/>
                  <a:pt x="29000" y="23719"/>
                </a:cubicBezTo>
                <a:cubicBezTo>
                  <a:pt x="29281" y="23719"/>
                  <a:pt x="29562" y="23719"/>
                  <a:pt x="29875" y="23750"/>
                </a:cubicBezTo>
                <a:close/>
                <a:moveTo>
                  <a:pt x="29500" y="23625"/>
                </a:moveTo>
                <a:cubicBezTo>
                  <a:pt x="29562" y="23625"/>
                  <a:pt x="29625" y="23625"/>
                  <a:pt x="29656" y="23625"/>
                </a:cubicBezTo>
                <a:cubicBezTo>
                  <a:pt x="29687" y="23625"/>
                  <a:pt x="29687" y="23625"/>
                  <a:pt x="29718" y="23625"/>
                </a:cubicBezTo>
                <a:cubicBezTo>
                  <a:pt x="29687" y="23625"/>
                  <a:pt x="29687" y="23625"/>
                  <a:pt x="29656" y="23625"/>
                </a:cubicBezTo>
                <a:cubicBezTo>
                  <a:pt x="29625" y="23625"/>
                  <a:pt x="29562" y="23625"/>
                  <a:pt x="29500" y="23625"/>
                </a:cubicBezTo>
                <a:cubicBezTo>
                  <a:pt x="29500" y="23594"/>
                  <a:pt x="29468" y="23594"/>
                  <a:pt x="29437" y="23625"/>
                </a:cubicBezTo>
                <a:cubicBezTo>
                  <a:pt x="29312" y="23625"/>
                  <a:pt x="29156" y="23625"/>
                  <a:pt x="29000" y="23625"/>
                </a:cubicBezTo>
                <a:cubicBezTo>
                  <a:pt x="29156" y="23625"/>
                  <a:pt x="29312" y="23625"/>
                  <a:pt x="29437" y="23625"/>
                </a:cubicBezTo>
                <a:cubicBezTo>
                  <a:pt x="29468" y="23594"/>
                  <a:pt x="29500" y="23594"/>
                  <a:pt x="29500" y="23625"/>
                </a:cubicBezTo>
                <a:close/>
                <a:moveTo>
                  <a:pt x="28437" y="23500"/>
                </a:moveTo>
                <a:cubicBezTo>
                  <a:pt x="28718" y="23500"/>
                  <a:pt x="29000" y="23500"/>
                  <a:pt x="29281" y="23500"/>
                </a:cubicBezTo>
                <a:cubicBezTo>
                  <a:pt x="29000" y="23500"/>
                  <a:pt x="28718" y="23500"/>
                  <a:pt x="28437" y="23500"/>
                </a:cubicBezTo>
                <a:cubicBezTo>
                  <a:pt x="28437" y="23500"/>
                  <a:pt x="28437" y="23500"/>
                  <a:pt x="28437" y="23500"/>
                </a:cubicBezTo>
                <a:close/>
                <a:moveTo>
                  <a:pt x="29000" y="23719"/>
                </a:moveTo>
                <a:cubicBezTo>
                  <a:pt x="29000" y="23687"/>
                  <a:pt x="29000" y="23687"/>
                  <a:pt x="29000" y="23687"/>
                </a:cubicBezTo>
                <a:cubicBezTo>
                  <a:pt x="29000" y="23687"/>
                  <a:pt x="29000" y="23687"/>
                  <a:pt x="29000" y="23687"/>
                </a:cubicBezTo>
                <a:cubicBezTo>
                  <a:pt x="29000" y="23687"/>
                  <a:pt x="29000" y="23687"/>
                  <a:pt x="29000" y="23719"/>
                </a:cubicBezTo>
                <a:close/>
                <a:moveTo>
                  <a:pt x="28937" y="23625"/>
                </a:moveTo>
                <a:cubicBezTo>
                  <a:pt x="28906" y="23625"/>
                  <a:pt x="28906" y="23625"/>
                  <a:pt x="28875" y="23625"/>
                </a:cubicBezTo>
                <a:cubicBezTo>
                  <a:pt x="28906" y="23625"/>
                  <a:pt x="28906" y="23625"/>
                  <a:pt x="28937" y="23625"/>
                </a:cubicBezTo>
                <a:cubicBezTo>
                  <a:pt x="28937" y="23594"/>
                  <a:pt x="28968" y="23594"/>
                  <a:pt x="29000" y="23594"/>
                </a:cubicBezTo>
                <a:cubicBezTo>
                  <a:pt x="28968" y="23594"/>
                  <a:pt x="28937" y="23594"/>
                  <a:pt x="28937" y="23625"/>
                </a:cubicBezTo>
                <a:close/>
                <a:moveTo>
                  <a:pt x="28937" y="23719"/>
                </a:moveTo>
                <a:cubicBezTo>
                  <a:pt x="28937" y="23719"/>
                  <a:pt x="28906" y="23719"/>
                  <a:pt x="28875" y="23687"/>
                </a:cubicBezTo>
                <a:cubicBezTo>
                  <a:pt x="28843" y="23687"/>
                  <a:pt x="28781" y="23719"/>
                  <a:pt x="28718" y="23719"/>
                </a:cubicBezTo>
                <a:cubicBezTo>
                  <a:pt x="28781" y="23719"/>
                  <a:pt x="28843" y="23687"/>
                  <a:pt x="28875" y="23687"/>
                </a:cubicBezTo>
                <a:cubicBezTo>
                  <a:pt x="28906" y="23719"/>
                  <a:pt x="28937" y="23719"/>
                  <a:pt x="28937" y="23719"/>
                </a:cubicBezTo>
                <a:close/>
                <a:moveTo>
                  <a:pt x="28531" y="23687"/>
                </a:moveTo>
                <a:cubicBezTo>
                  <a:pt x="28562" y="23687"/>
                  <a:pt x="28593" y="23687"/>
                  <a:pt x="28625" y="23687"/>
                </a:cubicBezTo>
                <a:cubicBezTo>
                  <a:pt x="28593" y="23687"/>
                  <a:pt x="28562" y="23687"/>
                  <a:pt x="28531" y="23687"/>
                </a:cubicBezTo>
                <a:cubicBezTo>
                  <a:pt x="28437" y="23719"/>
                  <a:pt x="28312" y="23719"/>
                  <a:pt x="28218" y="23719"/>
                </a:cubicBezTo>
                <a:cubicBezTo>
                  <a:pt x="28312" y="23719"/>
                  <a:pt x="28437" y="23719"/>
                  <a:pt x="28531" y="23687"/>
                </a:cubicBezTo>
                <a:close/>
                <a:moveTo>
                  <a:pt x="27968" y="23656"/>
                </a:moveTo>
                <a:cubicBezTo>
                  <a:pt x="28000" y="23656"/>
                  <a:pt x="28062" y="23687"/>
                  <a:pt x="28125" y="23687"/>
                </a:cubicBezTo>
                <a:cubicBezTo>
                  <a:pt x="28062" y="23687"/>
                  <a:pt x="28000" y="23656"/>
                  <a:pt x="27968" y="23656"/>
                </a:cubicBezTo>
                <a:cubicBezTo>
                  <a:pt x="27968" y="23656"/>
                  <a:pt x="27968" y="23656"/>
                  <a:pt x="27968" y="23656"/>
                </a:cubicBezTo>
                <a:close/>
                <a:moveTo>
                  <a:pt x="26812" y="24312"/>
                </a:moveTo>
                <a:cubicBezTo>
                  <a:pt x="28375" y="24312"/>
                  <a:pt x="29937" y="24312"/>
                  <a:pt x="31499" y="24312"/>
                </a:cubicBezTo>
                <a:cubicBezTo>
                  <a:pt x="29937" y="24312"/>
                  <a:pt x="28375" y="24312"/>
                  <a:pt x="26812" y="24312"/>
                </a:cubicBezTo>
                <a:cubicBezTo>
                  <a:pt x="26812" y="24375"/>
                  <a:pt x="26750" y="24375"/>
                  <a:pt x="26718" y="24375"/>
                </a:cubicBezTo>
                <a:cubicBezTo>
                  <a:pt x="26750" y="24375"/>
                  <a:pt x="26812" y="24375"/>
                  <a:pt x="26812" y="24312"/>
                </a:cubicBezTo>
                <a:close/>
                <a:moveTo>
                  <a:pt x="26156" y="23562"/>
                </a:moveTo>
                <a:cubicBezTo>
                  <a:pt x="26187" y="23562"/>
                  <a:pt x="26250" y="23531"/>
                  <a:pt x="26281" y="23562"/>
                </a:cubicBezTo>
                <a:cubicBezTo>
                  <a:pt x="26250" y="23531"/>
                  <a:pt x="26187" y="23562"/>
                  <a:pt x="26156" y="23562"/>
                </a:cubicBezTo>
                <a:cubicBezTo>
                  <a:pt x="26093" y="23562"/>
                  <a:pt x="26062" y="23562"/>
                  <a:pt x="26031" y="23562"/>
                </a:cubicBezTo>
                <a:cubicBezTo>
                  <a:pt x="26062" y="23562"/>
                  <a:pt x="26093" y="23562"/>
                  <a:pt x="26156" y="23562"/>
                </a:cubicBezTo>
                <a:close/>
                <a:moveTo>
                  <a:pt x="26093" y="24281"/>
                </a:moveTo>
                <a:cubicBezTo>
                  <a:pt x="26031" y="24281"/>
                  <a:pt x="25968" y="24281"/>
                  <a:pt x="25906" y="24281"/>
                </a:cubicBezTo>
                <a:cubicBezTo>
                  <a:pt x="25875" y="24281"/>
                  <a:pt x="25843" y="24281"/>
                  <a:pt x="25812" y="24312"/>
                </a:cubicBezTo>
                <a:cubicBezTo>
                  <a:pt x="25843" y="24281"/>
                  <a:pt x="25875" y="24281"/>
                  <a:pt x="25906" y="24281"/>
                </a:cubicBezTo>
                <a:cubicBezTo>
                  <a:pt x="25968" y="24281"/>
                  <a:pt x="26031" y="24281"/>
                  <a:pt x="26093" y="24281"/>
                </a:cubicBezTo>
                <a:close/>
                <a:moveTo>
                  <a:pt x="25875" y="23562"/>
                </a:moveTo>
                <a:cubicBezTo>
                  <a:pt x="25843" y="23562"/>
                  <a:pt x="25843" y="23562"/>
                  <a:pt x="25812" y="23562"/>
                </a:cubicBezTo>
                <a:cubicBezTo>
                  <a:pt x="25843" y="23562"/>
                  <a:pt x="25843" y="23562"/>
                  <a:pt x="25875" y="23562"/>
                </a:cubicBezTo>
                <a:close/>
                <a:moveTo>
                  <a:pt x="25750" y="23562"/>
                </a:moveTo>
                <a:cubicBezTo>
                  <a:pt x="25781" y="23531"/>
                  <a:pt x="25812" y="23531"/>
                  <a:pt x="25843" y="23531"/>
                </a:cubicBezTo>
                <a:cubicBezTo>
                  <a:pt x="25812" y="23531"/>
                  <a:pt x="25781" y="23531"/>
                  <a:pt x="25750" y="23562"/>
                </a:cubicBezTo>
                <a:cubicBezTo>
                  <a:pt x="25625" y="23531"/>
                  <a:pt x="25500" y="23531"/>
                  <a:pt x="25343" y="23531"/>
                </a:cubicBezTo>
                <a:cubicBezTo>
                  <a:pt x="25500" y="23531"/>
                  <a:pt x="25625" y="23531"/>
                  <a:pt x="25750" y="23562"/>
                </a:cubicBezTo>
                <a:close/>
                <a:moveTo>
                  <a:pt x="25500" y="23750"/>
                </a:moveTo>
                <a:cubicBezTo>
                  <a:pt x="25343" y="23750"/>
                  <a:pt x="25218" y="23750"/>
                  <a:pt x="25093" y="23750"/>
                </a:cubicBezTo>
                <a:cubicBezTo>
                  <a:pt x="25093" y="23750"/>
                  <a:pt x="25093" y="23750"/>
                  <a:pt x="25093" y="23750"/>
                </a:cubicBezTo>
                <a:cubicBezTo>
                  <a:pt x="25218" y="23750"/>
                  <a:pt x="25343" y="23750"/>
                  <a:pt x="25500" y="23750"/>
                </a:cubicBezTo>
                <a:close/>
                <a:moveTo>
                  <a:pt x="25093" y="23531"/>
                </a:moveTo>
                <a:cubicBezTo>
                  <a:pt x="25156" y="23531"/>
                  <a:pt x="25218" y="23531"/>
                  <a:pt x="25250" y="23531"/>
                </a:cubicBezTo>
                <a:cubicBezTo>
                  <a:pt x="25218" y="23531"/>
                  <a:pt x="25156" y="23531"/>
                  <a:pt x="25093" y="23531"/>
                </a:cubicBezTo>
                <a:cubicBezTo>
                  <a:pt x="25093" y="23531"/>
                  <a:pt x="25062" y="23531"/>
                  <a:pt x="25031" y="23531"/>
                </a:cubicBezTo>
                <a:cubicBezTo>
                  <a:pt x="25062" y="23531"/>
                  <a:pt x="25093" y="23531"/>
                  <a:pt x="25093" y="23531"/>
                </a:cubicBezTo>
                <a:close/>
                <a:moveTo>
                  <a:pt x="25093" y="26094"/>
                </a:moveTo>
                <a:cubicBezTo>
                  <a:pt x="25218" y="26094"/>
                  <a:pt x="25343" y="26094"/>
                  <a:pt x="25468" y="26062"/>
                </a:cubicBezTo>
                <a:cubicBezTo>
                  <a:pt x="25343" y="26094"/>
                  <a:pt x="25218" y="26094"/>
                  <a:pt x="25093" y="26094"/>
                </a:cubicBezTo>
                <a:cubicBezTo>
                  <a:pt x="25062" y="26125"/>
                  <a:pt x="25031" y="26156"/>
                  <a:pt x="25000" y="26125"/>
                </a:cubicBezTo>
                <a:cubicBezTo>
                  <a:pt x="25031" y="26156"/>
                  <a:pt x="25062" y="26125"/>
                  <a:pt x="25093" y="26094"/>
                </a:cubicBezTo>
                <a:close/>
                <a:moveTo>
                  <a:pt x="24656" y="25344"/>
                </a:moveTo>
                <a:cubicBezTo>
                  <a:pt x="24750" y="25344"/>
                  <a:pt x="24812" y="25344"/>
                  <a:pt x="24875" y="25344"/>
                </a:cubicBezTo>
                <a:cubicBezTo>
                  <a:pt x="24906" y="25375"/>
                  <a:pt x="24937" y="25375"/>
                  <a:pt x="24968" y="25375"/>
                </a:cubicBezTo>
                <a:cubicBezTo>
                  <a:pt x="24937" y="25375"/>
                  <a:pt x="24906" y="25375"/>
                  <a:pt x="24875" y="25344"/>
                </a:cubicBezTo>
                <a:cubicBezTo>
                  <a:pt x="24812" y="25344"/>
                  <a:pt x="24750" y="25344"/>
                  <a:pt x="24656" y="25344"/>
                </a:cubicBezTo>
                <a:cubicBezTo>
                  <a:pt x="24625" y="25344"/>
                  <a:pt x="24625" y="25375"/>
                  <a:pt x="24593" y="25375"/>
                </a:cubicBezTo>
                <a:cubicBezTo>
                  <a:pt x="24625" y="25375"/>
                  <a:pt x="24625" y="25344"/>
                  <a:pt x="24656" y="25344"/>
                </a:cubicBezTo>
                <a:close/>
                <a:moveTo>
                  <a:pt x="24593" y="24312"/>
                </a:moveTo>
                <a:cubicBezTo>
                  <a:pt x="24593" y="24312"/>
                  <a:pt x="24593" y="24312"/>
                  <a:pt x="24593" y="24312"/>
                </a:cubicBezTo>
                <a:cubicBezTo>
                  <a:pt x="24031" y="24312"/>
                  <a:pt x="23500" y="24312"/>
                  <a:pt x="22937" y="24312"/>
                </a:cubicBezTo>
                <a:cubicBezTo>
                  <a:pt x="23500" y="24312"/>
                  <a:pt x="24031" y="24312"/>
                  <a:pt x="24593" y="24312"/>
                </a:cubicBezTo>
                <a:cubicBezTo>
                  <a:pt x="24593" y="24312"/>
                  <a:pt x="24593" y="24312"/>
                  <a:pt x="24593" y="24312"/>
                </a:cubicBezTo>
                <a:close/>
                <a:moveTo>
                  <a:pt x="24437" y="25375"/>
                </a:moveTo>
                <a:cubicBezTo>
                  <a:pt x="24281" y="25375"/>
                  <a:pt x="24093" y="25375"/>
                  <a:pt x="23906" y="25375"/>
                </a:cubicBezTo>
                <a:cubicBezTo>
                  <a:pt x="24093" y="25375"/>
                  <a:pt x="24281" y="25375"/>
                  <a:pt x="24437" y="25375"/>
                </a:cubicBezTo>
                <a:cubicBezTo>
                  <a:pt x="24468" y="25406"/>
                  <a:pt x="24500" y="25406"/>
                  <a:pt x="24500" y="25437"/>
                </a:cubicBezTo>
                <a:cubicBezTo>
                  <a:pt x="24500" y="25406"/>
                  <a:pt x="24468" y="25406"/>
                  <a:pt x="24437" y="25375"/>
                </a:cubicBezTo>
                <a:close/>
                <a:moveTo>
                  <a:pt x="22468" y="26187"/>
                </a:moveTo>
                <a:cubicBezTo>
                  <a:pt x="22468" y="26187"/>
                  <a:pt x="22468" y="26187"/>
                  <a:pt x="22468" y="26187"/>
                </a:cubicBezTo>
                <a:cubicBezTo>
                  <a:pt x="22500" y="26187"/>
                  <a:pt x="22500" y="26187"/>
                  <a:pt x="22531" y="26187"/>
                </a:cubicBezTo>
                <a:cubicBezTo>
                  <a:pt x="22500" y="26187"/>
                  <a:pt x="22500" y="26187"/>
                  <a:pt x="22468" y="26187"/>
                </a:cubicBezTo>
                <a:close/>
                <a:moveTo>
                  <a:pt x="22531" y="27031"/>
                </a:moveTo>
                <a:cubicBezTo>
                  <a:pt x="22531" y="27031"/>
                  <a:pt x="22531" y="27031"/>
                  <a:pt x="22531" y="27031"/>
                </a:cubicBezTo>
                <a:cubicBezTo>
                  <a:pt x="22531" y="27062"/>
                  <a:pt x="22500" y="27062"/>
                  <a:pt x="22500" y="27094"/>
                </a:cubicBezTo>
                <a:cubicBezTo>
                  <a:pt x="22500" y="27062"/>
                  <a:pt x="22531" y="27062"/>
                  <a:pt x="22531" y="27031"/>
                </a:cubicBezTo>
                <a:close/>
                <a:moveTo>
                  <a:pt x="22500" y="27281"/>
                </a:moveTo>
                <a:cubicBezTo>
                  <a:pt x="22500" y="27281"/>
                  <a:pt x="22500" y="27281"/>
                  <a:pt x="22500" y="27281"/>
                </a:cubicBezTo>
                <a:cubicBezTo>
                  <a:pt x="22500" y="27281"/>
                  <a:pt x="22500" y="27281"/>
                  <a:pt x="22500" y="27281"/>
                </a:cubicBezTo>
                <a:close/>
                <a:moveTo>
                  <a:pt x="22468" y="26187"/>
                </a:moveTo>
                <a:cubicBezTo>
                  <a:pt x="22437" y="26219"/>
                  <a:pt x="22406" y="26219"/>
                  <a:pt x="22406" y="26219"/>
                </a:cubicBezTo>
                <a:cubicBezTo>
                  <a:pt x="22406" y="26219"/>
                  <a:pt x="22437" y="26219"/>
                  <a:pt x="22468" y="26187"/>
                </a:cubicBezTo>
                <a:close/>
                <a:moveTo>
                  <a:pt x="22437" y="24250"/>
                </a:moveTo>
                <a:cubicBezTo>
                  <a:pt x="22437" y="24250"/>
                  <a:pt x="22468" y="24250"/>
                  <a:pt x="22468" y="24250"/>
                </a:cubicBezTo>
                <a:cubicBezTo>
                  <a:pt x="22468" y="24250"/>
                  <a:pt x="22437" y="24250"/>
                  <a:pt x="22437" y="24250"/>
                </a:cubicBezTo>
                <a:close/>
                <a:moveTo>
                  <a:pt x="22406" y="23406"/>
                </a:moveTo>
                <a:cubicBezTo>
                  <a:pt x="22093" y="23406"/>
                  <a:pt x="21750" y="23437"/>
                  <a:pt x="21437" y="23437"/>
                </a:cubicBezTo>
                <a:cubicBezTo>
                  <a:pt x="21437" y="23437"/>
                  <a:pt x="21437" y="23437"/>
                  <a:pt x="21437" y="23437"/>
                </a:cubicBezTo>
                <a:cubicBezTo>
                  <a:pt x="21750" y="23437"/>
                  <a:pt x="22093" y="23406"/>
                  <a:pt x="22406" y="23406"/>
                </a:cubicBezTo>
                <a:cubicBezTo>
                  <a:pt x="22468" y="23406"/>
                  <a:pt x="22531" y="23406"/>
                  <a:pt x="22593" y="23406"/>
                </a:cubicBezTo>
                <a:cubicBezTo>
                  <a:pt x="22593" y="23406"/>
                  <a:pt x="22593" y="23406"/>
                  <a:pt x="22593" y="23406"/>
                </a:cubicBezTo>
                <a:cubicBezTo>
                  <a:pt x="22531" y="23406"/>
                  <a:pt x="22468" y="23406"/>
                  <a:pt x="22406" y="23406"/>
                </a:cubicBezTo>
                <a:close/>
                <a:moveTo>
                  <a:pt x="21937" y="26219"/>
                </a:moveTo>
                <a:cubicBezTo>
                  <a:pt x="21937" y="26219"/>
                  <a:pt x="21937" y="26219"/>
                  <a:pt x="21937" y="26219"/>
                </a:cubicBezTo>
                <a:cubicBezTo>
                  <a:pt x="22093" y="26219"/>
                  <a:pt x="22218" y="26219"/>
                  <a:pt x="22343" y="26219"/>
                </a:cubicBezTo>
                <a:cubicBezTo>
                  <a:pt x="22218" y="26219"/>
                  <a:pt x="22093" y="26219"/>
                  <a:pt x="21937" y="26219"/>
                </a:cubicBezTo>
                <a:close/>
                <a:moveTo>
                  <a:pt x="22343" y="26906"/>
                </a:moveTo>
                <a:cubicBezTo>
                  <a:pt x="22343" y="26906"/>
                  <a:pt x="22343" y="26906"/>
                  <a:pt x="22343" y="26875"/>
                </a:cubicBezTo>
                <a:cubicBezTo>
                  <a:pt x="22343" y="26906"/>
                  <a:pt x="22343" y="26906"/>
                  <a:pt x="22343" y="26906"/>
                </a:cubicBezTo>
                <a:close/>
                <a:moveTo>
                  <a:pt x="21406" y="25250"/>
                </a:moveTo>
                <a:cubicBezTo>
                  <a:pt x="21406" y="25250"/>
                  <a:pt x="21406" y="25250"/>
                  <a:pt x="21406" y="25250"/>
                </a:cubicBezTo>
                <a:cubicBezTo>
                  <a:pt x="21406" y="25250"/>
                  <a:pt x="21406" y="25250"/>
                  <a:pt x="21406" y="25219"/>
                </a:cubicBezTo>
                <a:cubicBezTo>
                  <a:pt x="21468" y="25219"/>
                  <a:pt x="21531" y="25219"/>
                  <a:pt x="21593" y="25219"/>
                </a:cubicBezTo>
                <a:cubicBezTo>
                  <a:pt x="21718" y="25219"/>
                  <a:pt x="21843" y="25219"/>
                  <a:pt x="22000" y="25219"/>
                </a:cubicBezTo>
                <a:cubicBezTo>
                  <a:pt x="22031" y="25219"/>
                  <a:pt x="22093" y="25219"/>
                  <a:pt x="22125" y="25250"/>
                </a:cubicBezTo>
                <a:cubicBezTo>
                  <a:pt x="22125" y="25281"/>
                  <a:pt x="22125" y="25281"/>
                  <a:pt x="22125" y="25281"/>
                </a:cubicBezTo>
                <a:cubicBezTo>
                  <a:pt x="22125" y="25281"/>
                  <a:pt x="22125" y="25281"/>
                  <a:pt x="22125" y="25250"/>
                </a:cubicBezTo>
                <a:cubicBezTo>
                  <a:pt x="21875" y="25250"/>
                  <a:pt x="21625" y="25250"/>
                  <a:pt x="21406" y="25250"/>
                </a:cubicBezTo>
                <a:close/>
                <a:moveTo>
                  <a:pt x="21781" y="26156"/>
                </a:moveTo>
                <a:cubicBezTo>
                  <a:pt x="21750" y="26156"/>
                  <a:pt x="21687" y="26156"/>
                  <a:pt x="21656" y="26156"/>
                </a:cubicBezTo>
                <a:cubicBezTo>
                  <a:pt x="21687" y="26156"/>
                  <a:pt x="21750" y="26156"/>
                  <a:pt x="21781" y="26156"/>
                </a:cubicBezTo>
                <a:close/>
                <a:moveTo>
                  <a:pt x="21406" y="26156"/>
                </a:moveTo>
                <a:cubicBezTo>
                  <a:pt x="21406" y="26187"/>
                  <a:pt x="21375" y="26187"/>
                  <a:pt x="21375" y="26187"/>
                </a:cubicBezTo>
                <a:cubicBezTo>
                  <a:pt x="21343" y="26187"/>
                  <a:pt x="21312" y="26187"/>
                  <a:pt x="21281" y="26187"/>
                </a:cubicBezTo>
                <a:cubicBezTo>
                  <a:pt x="21312" y="26187"/>
                  <a:pt x="21343" y="26187"/>
                  <a:pt x="21375" y="26187"/>
                </a:cubicBezTo>
                <a:cubicBezTo>
                  <a:pt x="21375" y="26187"/>
                  <a:pt x="21406" y="26187"/>
                  <a:pt x="21406" y="26156"/>
                </a:cubicBezTo>
                <a:close/>
                <a:moveTo>
                  <a:pt x="21937" y="23375"/>
                </a:moveTo>
                <a:cubicBezTo>
                  <a:pt x="21968" y="23375"/>
                  <a:pt x="22000" y="23375"/>
                  <a:pt x="22031" y="23375"/>
                </a:cubicBezTo>
                <a:cubicBezTo>
                  <a:pt x="22031" y="23375"/>
                  <a:pt x="22031" y="23375"/>
                  <a:pt x="22031" y="23375"/>
                </a:cubicBezTo>
                <a:cubicBezTo>
                  <a:pt x="22000" y="23375"/>
                  <a:pt x="21968" y="23375"/>
                  <a:pt x="21937" y="23375"/>
                </a:cubicBezTo>
                <a:close/>
                <a:moveTo>
                  <a:pt x="22750" y="23500"/>
                </a:moveTo>
                <a:cubicBezTo>
                  <a:pt x="22750" y="23500"/>
                  <a:pt x="22750" y="23500"/>
                  <a:pt x="22750" y="23500"/>
                </a:cubicBezTo>
                <a:cubicBezTo>
                  <a:pt x="22687" y="23500"/>
                  <a:pt x="22656" y="23500"/>
                  <a:pt x="22593" y="23500"/>
                </a:cubicBezTo>
                <a:cubicBezTo>
                  <a:pt x="22656" y="23500"/>
                  <a:pt x="22687" y="23500"/>
                  <a:pt x="22750" y="23500"/>
                </a:cubicBezTo>
                <a:close/>
                <a:moveTo>
                  <a:pt x="23000" y="24250"/>
                </a:moveTo>
                <a:cubicBezTo>
                  <a:pt x="23281" y="24250"/>
                  <a:pt x="23593" y="24250"/>
                  <a:pt x="23906" y="24250"/>
                </a:cubicBezTo>
                <a:cubicBezTo>
                  <a:pt x="23906" y="24250"/>
                  <a:pt x="23906" y="24250"/>
                  <a:pt x="23906" y="24250"/>
                </a:cubicBezTo>
                <a:cubicBezTo>
                  <a:pt x="23593" y="24250"/>
                  <a:pt x="23281" y="24250"/>
                  <a:pt x="23000" y="24250"/>
                </a:cubicBezTo>
                <a:cubicBezTo>
                  <a:pt x="23000" y="24250"/>
                  <a:pt x="23000" y="24281"/>
                  <a:pt x="23000" y="24281"/>
                </a:cubicBezTo>
                <a:cubicBezTo>
                  <a:pt x="23000" y="24281"/>
                  <a:pt x="23000" y="24281"/>
                  <a:pt x="23000" y="24281"/>
                </a:cubicBezTo>
                <a:cubicBezTo>
                  <a:pt x="22906" y="24281"/>
                  <a:pt x="22843" y="24250"/>
                  <a:pt x="22781" y="24281"/>
                </a:cubicBezTo>
                <a:cubicBezTo>
                  <a:pt x="22750" y="24312"/>
                  <a:pt x="22718" y="24281"/>
                  <a:pt x="22718" y="24250"/>
                </a:cubicBezTo>
                <a:cubicBezTo>
                  <a:pt x="22812" y="24250"/>
                  <a:pt x="22906" y="24250"/>
                  <a:pt x="23000" y="24250"/>
                </a:cubicBezTo>
                <a:close/>
                <a:moveTo>
                  <a:pt x="23406" y="23687"/>
                </a:moveTo>
                <a:cubicBezTo>
                  <a:pt x="23406" y="23687"/>
                  <a:pt x="23437" y="23687"/>
                  <a:pt x="23437" y="23687"/>
                </a:cubicBezTo>
                <a:cubicBezTo>
                  <a:pt x="23437" y="23687"/>
                  <a:pt x="23406" y="23687"/>
                  <a:pt x="23406" y="23687"/>
                </a:cubicBezTo>
                <a:close/>
                <a:moveTo>
                  <a:pt x="23656" y="22594"/>
                </a:moveTo>
                <a:cubicBezTo>
                  <a:pt x="23656" y="22594"/>
                  <a:pt x="23656" y="22594"/>
                  <a:pt x="23687" y="22594"/>
                </a:cubicBezTo>
                <a:cubicBezTo>
                  <a:pt x="23656" y="22594"/>
                  <a:pt x="23656" y="22594"/>
                  <a:pt x="23656" y="22594"/>
                </a:cubicBezTo>
                <a:cubicBezTo>
                  <a:pt x="23656" y="22594"/>
                  <a:pt x="23656" y="22594"/>
                  <a:pt x="23656" y="22594"/>
                </a:cubicBezTo>
                <a:close/>
                <a:moveTo>
                  <a:pt x="23656" y="8781"/>
                </a:moveTo>
                <a:cubicBezTo>
                  <a:pt x="23656" y="8906"/>
                  <a:pt x="23656" y="9031"/>
                  <a:pt x="23656" y="9156"/>
                </a:cubicBezTo>
                <a:cubicBezTo>
                  <a:pt x="23656" y="9031"/>
                  <a:pt x="23656" y="8906"/>
                  <a:pt x="23656" y="8781"/>
                </a:cubicBezTo>
                <a:close/>
                <a:moveTo>
                  <a:pt x="23656" y="20344"/>
                </a:moveTo>
                <a:cubicBezTo>
                  <a:pt x="23625" y="20187"/>
                  <a:pt x="23687" y="20031"/>
                  <a:pt x="23656" y="19875"/>
                </a:cubicBezTo>
                <a:cubicBezTo>
                  <a:pt x="23656" y="19844"/>
                  <a:pt x="23656" y="19844"/>
                  <a:pt x="23687" y="19812"/>
                </a:cubicBezTo>
                <a:cubicBezTo>
                  <a:pt x="23656" y="19844"/>
                  <a:pt x="23656" y="19844"/>
                  <a:pt x="23656" y="19875"/>
                </a:cubicBezTo>
                <a:cubicBezTo>
                  <a:pt x="23687" y="20031"/>
                  <a:pt x="23625" y="20187"/>
                  <a:pt x="23656" y="20344"/>
                </a:cubicBezTo>
                <a:close/>
                <a:moveTo>
                  <a:pt x="23687" y="7437"/>
                </a:moveTo>
                <a:cubicBezTo>
                  <a:pt x="23687" y="7437"/>
                  <a:pt x="23687" y="7437"/>
                  <a:pt x="23687" y="7437"/>
                </a:cubicBezTo>
                <a:cubicBezTo>
                  <a:pt x="23687" y="7469"/>
                  <a:pt x="23687" y="7531"/>
                  <a:pt x="23656" y="7594"/>
                </a:cubicBezTo>
                <a:cubicBezTo>
                  <a:pt x="23687" y="7531"/>
                  <a:pt x="23687" y="7469"/>
                  <a:pt x="23687" y="7437"/>
                </a:cubicBezTo>
                <a:cubicBezTo>
                  <a:pt x="23687" y="7437"/>
                  <a:pt x="23687" y="7437"/>
                  <a:pt x="23687" y="7437"/>
                </a:cubicBezTo>
                <a:close/>
                <a:moveTo>
                  <a:pt x="23750" y="9562"/>
                </a:moveTo>
                <a:cubicBezTo>
                  <a:pt x="23750" y="9562"/>
                  <a:pt x="23750" y="9562"/>
                  <a:pt x="23750" y="9562"/>
                </a:cubicBezTo>
                <a:cubicBezTo>
                  <a:pt x="23687" y="9437"/>
                  <a:pt x="23687" y="9312"/>
                  <a:pt x="23656" y="9187"/>
                </a:cubicBezTo>
                <a:cubicBezTo>
                  <a:pt x="23687" y="9312"/>
                  <a:pt x="23687" y="9437"/>
                  <a:pt x="23750" y="9562"/>
                </a:cubicBezTo>
                <a:close/>
                <a:moveTo>
                  <a:pt x="23687" y="7406"/>
                </a:moveTo>
                <a:cubicBezTo>
                  <a:pt x="23687" y="7406"/>
                  <a:pt x="23687" y="7406"/>
                  <a:pt x="23687" y="7406"/>
                </a:cubicBezTo>
                <a:cubicBezTo>
                  <a:pt x="23718" y="7406"/>
                  <a:pt x="23718" y="7406"/>
                  <a:pt x="23718" y="7375"/>
                </a:cubicBezTo>
                <a:cubicBezTo>
                  <a:pt x="23718" y="7406"/>
                  <a:pt x="23718" y="7406"/>
                  <a:pt x="23687" y="7406"/>
                </a:cubicBezTo>
                <a:close/>
                <a:moveTo>
                  <a:pt x="23718" y="7375"/>
                </a:moveTo>
                <a:cubicBezTo>
                  <a:pt x="23718" y="7344"/>
                  <a:pt x="23718" y="7344"/>
                  <a:pt x="23718" y="7344"/>
                </a:cubicBezTo>
                <a:cubicBezTo>
                  <a:pt x="23718" y="7344"/>
                  <a:pt x="23718" y="7344"/>
                  <a:pt x="23718" y="7344"/>
                </a:cubicBezTo>
                <a:cubicBezTo>
                  <a:pt x="23718" y="7344"/>
                  <a:pt x="23718" y="7344"/>
                  <a:pt x="23718" y="7375"/>
                </a:cubicBezTo>
                <a:close/>
                <a:moveTo>
                  <a:pt x="23843" y="18187"/>
                </a:moveTo>
                <a:cubicBezTo>
                  <a:pt x="23843" y="18250"/>
                  <a:pt x="23812" y="18312"/>
                  <a:pt x="23812" y="18344"/>
                </a:cubicBezTo>
                <a:cubicBezTo>
                  <a:pt x="23812" y="18312"/>
                  <a:pt x="23843" y="18250"/>
                  <a:pt x="23843" y="18187"/>
                </a:cubicBezTo>
                <a:close/>
                <a:moveTo>
                  <a:pt x="23812" y="13281"/>
                </a:moveTo>
                <a:cubicBezTo>
                  <a:pt x="23812" y="13281"/>
                  <a:pt x="23812" y="13281"/>
                  <a:pt x="23812" y="13281"/>
                </a:cubicBezTo>
                <a:cubicBezTo>
                  <a:pt x="23812" y="13187"/>
                  <a:pt x="23812" y="13125"/>
                  <a:pt x="23812" y="13062"/>
                </a:cubicBezTo>
                <a:cubicBezTo>
                  <a:pt x="23812" y="13125"/>
                  <a:pt x="23812" y="13187"/>
                  <a:pt x="23812" y="13281"/>
                </a:cubicBezTo>
                <a:close/>
                <a:moveTo>
                  <a:pt x="23812" y="12906"/>
                </a:moveTo>
                <a:cubicBezTo>
                  <a:pt x="23812" y="12281"/>
                  <a:pt x="23812" y="11687"/>
                  <a:pt x="23812" y="11062"/>
                </a:cubicBezTo>
                <a:cubicBezTo>
                  <a:pt x="23812" y="11062"/>
                  <a:pt x="23812" y="11062"/>
                  <a:pt x="23812" y="11062"/>
                </a:cubicBezTo>
                <a:cubicBezTo>
                  <a:pt x="23812" y="11687"/>
                  <a:pt x="23812" y="12281"/>
                  <a:pt x="23812" y="12906"/>
                </a:cubicBezTo>
                <a:cubicBezTo>
                  <a:pt x="23812" y="12906"/>
                  <a:pt x="23812" y="12906"/>
                  <a:pt x="23812" y="12906"/>
                </a:cubicBezTo>
                <a:close/>
                <a:moveTo>
                  <a:pt x="23843" y="12937"/>
                </a:moveTo>
                <a:cubicBezTo>
                  <a:pt x="23843" y="12969"/>
                  <a:pt x="23843" y="13000"/>
                  <a:pt x="23812" y="13031"/>
                </a:cubicBezTo>
                <a:cubicBezTo>
                  <a:pt x="23843" y="13000"/>
                  <a:pt x="23843" y="12969"/>
                  <a:pt x="23843" y="12937"/>
                </a:cubicBezTo>
                <a:close/>
                <a:moveTo>
                  <a:pt x="23875" y="7906"/>
                </a:moveTo>
                <a:cubicBezTo>
                  <a:pt x="23875" y="7906"/>
                  <a:pt x="23875" y="7906"/>
                  <a:pt x="23875" y="7906"/>
                </a:cubicBezTo>
                <a:cubicBezTo>
                  <a:pt x="23906" y="7906"/>
                  <a:pt x="23906" y="7875"/>
                  <a:pt x="23906" y="7875"/>
                </a:cubicBezTo>
                <a:cubicBezTo>
                  <a:pt x="23906" y="7875"/>
                  <a:pt x="23906" y="7906"/>
                  <a:pt x="23875" y="7906"/>
                </a:cubicBezTo>
                <a:close/>
                <a:moveTo>
                  <a:pt x="23906" y="9687"/>
                </a:moveTo>
                <a:cubicBezTo>
                  <a:pt x="23906" y="9687"/>
                  <a:pt x="23906" y="9656"/>
                  <a:pt x="23875" y="9656"/>
                </a:cubicBezTo>
                <a:cubicBezTo>
                  <a:pt x="23875" y="9625"/>
                  <a:pt x="23843" y="9625"/>
                  <a:pt x="23843" y="9625"/>
                </a:cubicBezTo>
                <a:cubicBezTo>
                  <a:pt x="23843" y="9625"/>
                  <a:pt x="23875" y="9625"/>
                  <a:pt x="23875" y="9656"/>
                </a:cubicBezTo>
                <a:cubicBezTo>
                  <a:pt x="23906" y="9656"/>
                  <a:pt x="23906" y="9687"/>
                  <a:pt x="23906" y="9687"/>
                </a:cubicBezTo>
                <a:close/>
                <a:moveTo>
                  <a:pt x="23906" y="8781"/>
                </a:moveTo>
                <a:cubicBezTo>
                  <a:pt x="23906" y="8781"/>
                  <a:pt x="23906" y="8781"/>
                  <a:pt x="23906" y="8781"/>
                </a:cubicBezTo>
                <a:cubicBezTo>
                  <a:pt x="23875" y="8656"/>
                  <a:pt x="23843" y="8562"/>
                  <a:pt x="23843" y="8437"/>
                </a:cubicBezTo>
                <a:cubicBezTo>
                  <a:pt x="23843" y="8562"/>
                  <a:pt x="23875" y="8656"/>
                  <a:pt x="23906" y="8781"/>
                </a:cubicBezTo>
                <a:close/>
                <a:moveTo>
                  <a:pt x="23843" y="8000"/>
                </a:moveTo>
                <a:cubicBezTo>
                  <a:pt x="23843" y="7969"/>
                  <a:pt x="23843" y="7937"/>
                  <a:pt x="23875" y="7937"/>
                </a:cubicBezTo>
                <a:cubicBezTo>
                  <a:pt x="23843" y="7937"/>
                  <a:pt x="23843" y="7969"/>
                  <a:pt x="23843" y="8000"/>
                </a:cubicBezTo>
                <a:close/>
                <a:moveTo>
                  <a:pt x="23843" y="7531"/>
                </a:moveTo>
                <a:cubicBezTo>
                  <a:pt x="23843" y="7469"/>
                  <a:pt x="23843" y="7406"/>
                  <a:pt x="23843" y="7344"/>
                </a:cubicBezTo>
                <a:cubicBezTo>
                  <a:pt x="23843" y="7406"/>
                  <a:pt x="23843" y="7469"/>
                  <a:pt x="23843" y="7531"/>
                </a:cubicBezTo>
                <a:cubicBezTo>
                  <a:pt x="23843" y="7531"/>
                  <a:pt x="23843" y="7531"/>
                  <a:pt x="23843" y="7531"/>
                </a:cubicBezTo>
                <a:close/>
                <a:moveTo>
                  <a:pt x="23843" y="20594"/>
                </a:moveTo>
                <a:cubicBezTo>
                  <a:pt x="23812" y="20281"/>
                  <a:pt x="23750" y="20000"/>
                  <a:pt x="23718" y="19719"/>
                </a:cubicBezTo>
                <a:cubicBezTo>
                  <a:pt x="23718" y="19719"/>
                  <a:pt x="23718" y="19719"/>
                  <a:pt x="23718" y="19719"/>
                </a:cubicBezTo>
                <a:cubicBezTo>
                  <a:pt x="23750" y="20000"/>
                  <a:pt x="23812" y="20281"/>
                  <a:pt x="23843" y="20594"/>
                </a:cubicBezTo>
                <a:close/>
                <a:moveTo>
                  <a:pt x="23937" y="21594"/>
                </a:moveTo>
                <a:cubicBezTo>
                  <a:pt x="23937" y="21625"/>
                  <a:pt x="23906" y="21687"/>
                  <a:pt x="23843" y="21687"/>
                </a:cubicBezTo>
                <a:cubicBezTo>
                  <a:pt x="23812" y="21719"/>
                  <a:pt x="23812" y="21750"/>
                  <a:pt x="23781" y="21750"/>
                </a:cubicBezTo>
                <a:cubicBezTo>
                  <a:pt x="23812" y="21750"/>
                  <a:pt x="23812" y="21719"/>
                  <a:pt x="23843" y="21687"/>
                </a:cubicBezTo>
                <a:cubicBezTo>
                  <a:pt x="23906" y="21687"/>
                  <a:pt x="23937" y="21625"/>
                  <a:pt x="23937" y="21594"/>
                </a:cubicBezTo>
                <a:close/>
                <a:moveTo>
                  <a:pt x="23906" y="20219"/>
                </a:moveTo>
                <a:cubicBezTo>
                  <a:pt x="23906" y="20219"/>
                  <a:pt x="23906" y="20219"/>
                  <a:pt x="23906" y="20219"/>
                </a:cubicBezTo>
                <a:cubicBezTo>
                  <a:pt x="23906" y="20219"/>
                  <a:pt x="23906" y="20250"/>
                  <a:pt x="23906" y="20250"/>
                </a:cubicBezTo>
                <a:cubicBezTo>
                  <a:pt x="23906" y="20250"/>
                  <a:pt x="23906" y="20219"/>
                  <a:pt x="23906" y="20219"/>
                </a:cubicBezTo>
                <a:close/>
                <a:moveTo>
                  <a:pt x="23781" y="22187"/>
                </a:moveTo>
                <a:cubicBezTo>
                  <a:pt x="23781" y="22187"/>
                  <a:pt x="23781" y="22187"/>
                  <a:pt x="23750" y="22187"/>
                </a:cubicBezTo>
                <a:cubicBezTo>
                  <a:pt x="23781" y="22156"/>
                  <a:pt x="23781" y="22156"/>
                  <a:pt x="23781" y="22125"/>
                </a:cubicBezTo>
                <a:cubicBezTo>
                  <a:pt x="23781" y="22156"/>
                  <a:pt x="23781" y="22156"/>
                  <a:pt x="23750" y="22187"/>
                </a:cubicBezTo>
                <a:cubicBezTo>
                  <a:pt x="23781" y="22187"/>
                  <a:pt x="23781" y="22187"/>
                  <a:pt x="23781" y="22187"/>
                </a:cubicBezTo>
                <a:close/>
                <a:moveTo>
                  <a:pt x="23718" y="20687"/>
                </a:moveTo>
                <a:cubicBezTo>
                  <a:pt x="23750" y="20687"/>
                  <a:pt x="23750" y="20656"/>
                  <a:pt x="23750" y="20656"/>
                </a:cubicBezTo>
                <a:cubicBezTo>
                  <a:pt x="23750" y="20656"/>
                  <a:pt x="23750" y="20687"/>
                  <a:pt x="23718" y="20687"/>
                </a:cubicBezTo>
                <a:cubicBezTo>
                  <a:pt x="23781" y="20781"/>
                  <a:pt x="23843" y="20844"/>
                  <a:pt x="23906" y="20937"/>
                </a:cubicBezTo>
                <a:cubicBezTo>
                  <a:pt x="23843" y="20844"/>
                  <a:pt x="23781" y="20781"/>
                  <a:pt x="23718" y="20687"/>
                </a:cubicBezTo>
                <a:close/>
                <a:moveTo>
                  <a:pt x="23718" y="20625"/>
                </a:moveTo>
                <a:cubicBezTo>
                  <a:pt x="23718" y="20625"/>
                  <a:pt x="23718" y="20625"/>
                  <a:pt x="23718" y="20625"/>
                </a:cubicBezTo>
                <a:cubicBezTo>
                  <a:pt x="23718" y="20625"/>
                  <a:pt x="23718" y="20625"/>
                  <a:pt x="23718" y="20625"/>
                </a:cubicBezTo>
                <a:cubicBezTo>
                  <a:pt x="23718" y="20625"/>
                  <a:pt x="23750" y="20625"/>
                  <a:pt x="23750" y="20625"/>
                </a:cubicBezTo>
                <a:cubicBezTo>
                  <a:pt x="23750" y="20625"/>
                  <a:pt x="23718" y="20625"/>
                  <a:pt x="23718" y="20625"/>
                </a:cubicBezTo>
                <a:close/>
                <a:moveTo>
                  <a:pt x="23718" y="21781"/>
                </a:moveTo>
                <a:cubicBezTo>
                  <a:pt x="23718" y="21781"/>
                  <a:pt x="23718" y="21781"/>
                  <a:pt x="23718" y="21781"/>
                </a:cubicBezTo>
                <a:cubicBezTo>
                  <a:pt x="23718" y="21781"/>
                  <a:pt x="23718" y="21781"/>
                  <a:pt x="23718" y="21781"/>
                </a:cubicBezTo>
                <a:cubicBezTo>
                  <a:pt x="23718" y="21781"/>
                  <a:pt x="23718" y="21781"/>
                  <a:pt x="23718" y="21781"/>
                </a:cubicBezTo>
                <a:close/>
                <a:moveTo>
                  <a:pt x="23687" y="20594"/>
                </a:moveTo>
                <a:cubicBezTo>
                  <a:pt x="23687" y="20594"/>
                  <a:pt x="23687" y="20594"/>
                  <a:pt x="23687" y="20562"/>
                </a:cubicBezTo>
                <a:cubicBezTo>
                  <a:pt x="23718" y="20562"/>
                  <a:pt x="23718" y="20562"/>
                  <a:pt x="23718" y="20531"/>
                </a:cubicBezTo>
                <a:cubicBezTo>
                  <a:pt x="23718" y="20562"/>
                  <a:pt x="23718" y="20562"/>
                  <a:pt x="23687" y="20562"/>
                </a:cubicBezTo>
                <a:cubicBezTo>
                  <a:pt x="23687" y="20594"/>
                  <a:pt x="23687" y="20594"/>
                  <a:pt x="23687" y="20594"/>
                </a:cubicBezTo>
                <a:close/>
                <a:moveTo>
                  <a:pt x="23812" y="18500"/>
                </a:moveTo>
                <a:cubicBezTo>
                  <a:pt x="23812" y="18531"/>
                  <a:pt x="23781" y="18562"/>
                  <a:pt x="23718" y="18594"/>
                </a:cubicBezTo>
                <a:cubicBezTo>
                  <a:pt x="23781" y="18562"/>
                  <a:pt x="23812" y="18531"/>
                  <a:pt x="23812" y="18500"/>
                </a:cubicBezTo>
                <a:close/>
                <a:moveTo>
                  <a:pt x="23750" y="18062"/>
                </a:moveTo>
                <a:cubicBezTo>
                  <a:pt x="23750" y="18062"/>
                  <a:pt x="23750" y="18062"/>
                  <a:pt x="23750" y="18062"/>
                </a:cubicBezTo>
                <a:cubicBezTo>
                  <a:pt x="23750" y="18062"/>
                  <a:pt x="23750" y="18062"/>
                  <a:pt x="23750" y="18062"/>
                </a:cubicBezTo>
                <a:cubicBezTo>
                  <a:pt x="23750" y="18062"/>
                  <a:pt x="23750" y="18062"/>
                  <a:pt x="23750" y="18062"/>
                </a:cubicBezTo>
                <a:close/>
                <a:moveTo>
                  <a:pt x="23781" y="19250"/>
                </a:moveTo>
                <a:cubicBezTo>
                  <a:pt x="23781" y="19312"/>
                  <a:pt x="23750" y="19375"/>
                  <a:pt x="23750" y="19469"/>
                </a:cubicBezTo>
                <a:cubicBezTo>
                  <a:pt x="23750" y="19469"/>
                  <a:pt x="23750" y="19500"/>
                  <a:pt x="23750" y="19500"/>
                </a:cubicBezTo>
                <a:cubicBezTo>
                  <a:pt x="23750" y="19500"/>
                  <a:pt x="23750" y="19469"/>
                  <a:pt x="23750" y="19469"/>
                </a:cubicBezTo>
                <a:cubicBezTo>
                  <a:pt x="23750" y="19375"/>
                  <a:pt x="23781" y="19312"/>
                  <a:pt x="23781" y="19250"/>
                </a:cubicBezTo>
                <a:close/>
                <a:moveTo>
                  <a:pt x="23750" y="15844"/>
                </a:moveTo>
                <a:cubicBezTo>
                  <a:pt x="23718" y="15781"/>
                  <a:pt x="23718" y="15719"/>
                  <a:pt x="23750" y="15656"/>
                </a:cubicBezTo>
                <a:cubicBezTo>
                  <a:pt x="23718" y="15594"/>
                  <a:pt x="23718" y="15531"/>
                  <a:pt x="23718" y="15469"/>
                </a:cubicBezTo>
                <a:cubicBezTo>
                  <a:pt x="23718" y="15531"/>
                  <a:pt x="23718" y="15594"/>
                  <a:pt x="23750" y="15656"/>
                </a:cubicBezTo>
                <a:cubicBezTo>
                  <a:pt x="23718" y="15719"/>
                  <a:pt x="23718" y="15781"/>
                  <a:pt x="23750" y="15844"/>
                </a:cubicBezTo>
                <a:close/>
                <a:moveTo>
                  <a:pt x="23718" y="10562"/>
                </a:moveTo>
                <a:cubicBezTo>
                  <a:pt x="23656" y="10594"/>
                  <a:pt x="23687" y="10625"/>
                  <a:pt x="23656" y="10687"/>
                </a:cubicBezTo>
                <a:cubicBezTo>
                  <a:pt x="23687" y="10625"/>
                  <a:pt x="23656" y="10594"/>
                  <a:pt x="23718" y="10562"/>
                </a:cubicBezTo>
                <a:cubicBezTo>
                  <a:pt x="23718" y="10500"/>
                  <a:pt x="23718" y="10437"/>
                  <a:pt x="23750" y="10406"/>
                </a:cubicBezTo>
                <a:cubicBezTo>
                  <a:pt x="23718" y="10437"/>
                  <a:pt x="23718" y="10500"/>
                  <a:pt x="23718" y="10562"/>
                </a:cubicBezTo>
                <a:close/>
                <a:moveTo>
                  <a:pt x="23687" y="18594"/>
                </a:moveTo>
                <a:cubicBezTo>
                  <a:pt x="23687" y="18594"/>
                  <a:pt x="23687" y="18625"/>
                  <a:pt x="23687" y="18625"/>
                </a:cubicBezTo>
                <a:cubicBezTo>
                  <a:pt x="23687" y="18625"/>
                  <a:pt x="23687" y="18625"/>
                  <a:pt x="23687" y="18625"/>
                </a:cubicBezTo>
                <a:cubicBezTo>
                  <a:pt x="23687" y="18625"/>
                  <a:pt x="23687" y="18594"/>
                  <a:pt x="23687" y="18594"/>
                </a:cubicBezTo>
                <a:close/>
                <a:moveTo>
                  <a:pt x="23687" y="20437"/>
                </a:moveTo>
                <a:cubicBezTo>
                  <a:pt x="23718" y="20469"/>
                  <a:pt x="23718" y="20500"/>
                  <a:pt x="23718" y="20500"/>
                </a:cubicBezTo>
                <a:cubicBezTo>
                  <a:pt x="23718" y="20500"/>
                  <a:pt x="23718" y="20500"/>
                  <a:pt x="23718" y="20500"/>
                </a:cubicBezTo>
                <a:cubicBezTo>
                  <a:pt x="23718" y="20500"/>
                  <a:pt x="23718" y="20469"/>
                  <a:pt x="23687" y="20437"/>
                </a:cubicBezTo>
                <a:close/>
                <a:moveTo>
                  <a:pt x="23781" y="9594"/>
                </a:moveTo>
                <a:cubicBezTo>
                  <a:pt x="23781" y="9625"/>
                  <a:pt x="23781" y="9625"/>
                  <a:pt x="23812" y="9625"/>
                </a:cubicBezTo>
                <a:cubicBezTo>
                  <a:pt x="23781" y="9625"/>
                  <a:pt x="23781" y="9625"/>
                  <a:pt x="23781" y="9594"/>
                </a:cubicBezTo>
                <a:close/>
                <a:moveTo>
                  <a:pt x="23781" y="10250"/>
                </a:moveTo>
                <a:cubicBezTo>
                  <a:pt x="23781" y="10281"/>
                  <a:pt x="23781" y="10281"/>
                  <a:pt x="23781" y="10281"/>
                </a:cubicBezTo>
                <a:cubicBezTo>
                  <a:pt x="23781" y="10281"/>
                  <a:pt x="23781" y="10281"/>
                  <a:pt x="23781" y="10250"/>
                </a:cubicBezTo>
                <a:cubicBezTo>
                  <a:pt x="23718" y="10250"/>
                  <a:pt x="23718" y="10187"/>
                  <a:pt x="23750" y="10156"/>
                </a:cubicBezTo>
                <a:cubicBezTo>
                  <a:pt x="23718" y="10187"/>
                  <a:pt x="23718" y="10250"/>
                  <a:pt x="23781" y="10250"/>
                </a:cubicBezTo>
                <a:close/>
                <a:moveTo>
                  <a:pt x="23750" y="22250"/>
                </a:moveTo>
                <a:cubicBezTo>
                  <a:pt x="23750" y="22219"/>
                  <a:pt x="23781" y="22219"/>
                  <a:pt x="23812" y="22219"/>
                </a:cubicBezTo>
                <a:cubicBezTo>
                  <a:pt x="23781" y="22219"/>
                  <a:pt x="23750" y="22219"/>
                  <a:pt x="23750" y="22250"/>
                </a:cubicBezTo>
                <a:cubicBezTo>
                  <a:pt x="23718" y="22250"/>
                  <a:pt x="23687" y="22281"/>
                  <a:pt x="23687" y="22312"/>
                </a:cubicBezTo>
                <a:cubicBezTo>
                  <a:pt x="23687" y="22281"/>
                  <a:pt x="23718" y="22250"/>
                  <a:pt x="23750" y="22250"/>
                </a:cubicBezTo>
                <a:close/>
                <a:moveTo>
                  <a:pt x="23781" y="23969"/>
                </a:moveTo>
                <a:cubicBezTo>
                  <a:pt x="23687" y="23969"/>
                  <a:pt x="23593" y="23969"/>
                  <a:pt x="23500" y="23906"/>
                </a:cubicBezTo>
                <a:cubicBezTo>
                  <a:pt x="23500" y="23875"/>
                  <a:pt x="23500" y="23875"/>
                  <a:pt x="23500" y="23844"/>
                </a:cubicBezTo>
                <a:cubicBezTo>
                  <a:pt x="23500" y="23875"/>
                  <a:pt x="23500" y="23875"/>
                  <a:pt x="23500" y="23906"/>
                </a:cubicBezTo>
                <a:cubicBezTo>
                  <a:pt x="23593" y="23969"/>
                  <a:pt x="23687" y="23969"/>
                  <a:pt x="23781" y="23969"/>
                </a:cubicBezTo>
                <a:close/>
                <a:moveTo>
                  <a:pt x="23500" y="23531"/>
                </a:moveTo>
                <a:cubicBezTo>
                  <a:pt x="23500" y="23531"/>
                  <a:pt x="23500" y="23500"/>
                  <a:pt x="23500" y="23500"/>
                </a:cubicBezTo>
                <a:cubicBezTo>
                  <a:pt x="23500" y="23500"/>
                  <a:pt x="23500" y="23531"/>
                  <a:pt x="23500" y="23531"/>
                </a:cubicBezTo>
                <a:cubicBezTo>
                  <a:pt x="23562" y="23531"/>
                  <a:pt x="23593" y="23531"/>
                  <a:pt x="23625" y="23531"/>
                </a:cubicBezTo>
                <a:cubicBezTo>
                  <a:pt x="23593" y="23531"/>
                  <a:pt x="23562" y="23531"/>
                  <a:pt x="23500" y="23531"/>
                </a:cubicBezTo>
                <a:close/>
                <a:moveTo>
                  <a:pt x="24312" y="23375"/>
                </a:moveTo>
                <a:cubicBezTo>
                  <a:pt x="24312" y="23375"/>
                  <a:pt x="24312" y="23375"/>
                  <a:pt x="24312" y="23375"/>
                </a:cubicBezTo>
                <a:cubicBezTo>
                  <a:pt x="24312" y="23344"/>
                  <a:pt x="24312" y="23344"/>
                  <a:pt x="24281" y="23344"/>
                </a:cubicBezTo>
                <a:cubicBezTo>
                  <a:pt x="24312" y="23344"/>
                  <a:pt x="24312" y="23344"/>
                  <a:pt x="24312" y="23375"/>
                </a:cubicBezTo>
                <a:close/>
                <a:moveTo>
                  <a:pt x="24312" y="23406"/>
                </a:moveTo>
                <a:cubicBezTo>
                  <a:pt x="24312" y="23406"/>
                  <a:pt x="24312" y="23406"/>
                  <a:pt x="24312" y="23406"/>
                </a:cubicBezTo>
                <a:cubicBezTo>
                  <a:pt x="24312" y="23406"/>
                  <a:pt x="24312" y="23406"/>
                  <a:pt x="24312" y="23406"/>
                </a:cubicBezTo>
                <a:cubicBezTo>
                  <a:pt x="24312" y="23406"/>
                  <a:pt x="24312" y="23406"/>
                  <a:pt x="24312" y="23406"/>
                </a:cubicBezTo>
                <a:close/>
                <a:moveTo>
                  <a:pt x="24156" y="22250"/>
                </a:moveTo>
                <a:cubicBezTo>
                  <a:pt x="24156" y="22250"/>
                  <a:pt x="24156" y="22250"/>
                  <a:pt x="24156" y="22250"/>
                </a:cubicBezTo>
                <a:cubicBezTo>
                  <a:pt x="24187" y="22250"/>
                  <a:pt x="24218" y="22219"/>
                  <a:pt x="24218" y="22219"/>
                </a:cubicBezTo>
                <a:cubicBezTo>
                  <a:pt x="24218" y="22219"/>
                  <a:pt x="24218" y="22219"/>
                  <a:pt x="24218" y="22219"/>
                </a:cubicBezTo>
                <a:cubicBezTo>
                  <a:pt x="24218" y="22281"/>
                  <a:pt x="24250" y="22312"/>
                  <a:pt x="24250" y="22375"/>
                </a:cubicBezTo>
                <a:cubicBezTo>
                  <a:pt x="24250" y="22312"/>
                  <a:pt x="24218" y="22281"/>
                  <a:pt x="24218" y="22219"/>
                </a:cubicBezTo>
                <a:cubicBezTo>
                  <a:pt x="24218" y="22219"/>
                  <a:pt x="24187" y="22250"/>
                  <a:pt x="24156" y="22250"/>
                </a:cubicBezTo>
                <a:cubicBezTo>
                  <a:pt x="24156" y="22281"/>
                  <a:pt x="24125" y="22344"/>
                  <a:pt x="24156" y="22406"/>
                </a:cubicBezTo>
                <a:cubicBezTo>
                  <a:pt x="24125" y="22344"/>
                  <a:pt x="24156" y="22281"/>
                  <a:pt x="24156" y="22250"/>
                </a:cubicBezTo>
                <a:cubicBezTo>
                  <a:pt x="24156" y="22250"/>
                  <a:pt x="24156" y="22250"/>
                  <a:pt x="24156" y="22250"/>
                </a:cubicBezTo>
                <a:close/>
                <a:moveTo>
                  <a:pt x="24031" y="23375"/>
                </a:moveTo>
                <a:cubicBezTo>
                  <a:pt x="24062" y="23375"/>
                  <a:pt x="24093" y="23375"/>
                  <a:pt x="24093" y="23375"/>
                </a:cubicBezTo>
                <a:cubicBezTo>
                  <a:pt x="24093" y="23375"/>
                  <a:pt x="24062" y="23375"/>
                  <a:pt x="24031" y="23375"/>
                </a:cubicBezTo>
                <a:close/>
                <a:moveTo>
                  <a:pt x="24156" y="23531"/>
                </a:moveTo>
                <a:cubicBezTo>
                  <a:pt x="24218" y="23531"/>
                  <a:pt x="24312" y="23531"/>
                  <a:pt x="24375" y="23531"/>
                </a:cubicBezTo>
                <a:cubicBezTo>
                  <a:pt x="24312" y="23531"/>
                  <a:pt x="24218" y="23531"/>
                  <a:pt x="24156" y="23531"/>
                </a:cubicBezTo>
                <a:cubicBezTo>
                  <a:pt x="24062" y="23500"/>
                  <a:pt x="24000" y="23500"/>
                  <a:pt x="23937" y="23500"/>
                </a:cubicBezTo>
                <a:cubicBezTo>
                  <a:pt x="24000" y="23500"/>
                  <a:pt x="24062" y="23500"/>
                  <a:pt x="24156" y="23531"/>
                </a:cubicBezTo>
                <a:close/>
                <a:moveTo>
                  <a:pt x="23937" y="22000"/>
                </a:moveTo>
                <a:cubicBezTo>
                  <a:pt x="23968" y="22000"/>
                  <a:pt x="23968" y="21969"/>
                  <a:pt x="23968" y="21969"/>
                </a:cubicBezTo>
                <a:cubicBezTo>
                  <a:pt x="23968" y="21969"/>
                  <a:pt x="23968" y="22000"/>
                  <a:pt x="23937" y="22000"/>
                </a:cubicBezTo>
                <a:close/>
                <a:moveTo>
                  <a:pt x="24000" y="21031"/>
                </a:moveTo>
                <a:cubicBezTo>
                  <a:pt x="23968" y="21031"/>
                  <a:pt x="23937" y="21000"/>
                  <a:pt x="23906" y="21000"/>
                </a:cubicBezTo>
                <a:cubicBezTo>
                  <a:pt x="23937" y="21000"/>
                  <a:pt x="23968" y="21031"/>
                  <a:pt x="24000" y="21031"/>
                </a:cubicBezTo>
                <a:cubicBezTo>
                  <a:pt x="24031" y="21031"/>
                  <a:pt x="24031" y="21031"/>
                  <a:pt x="24062" y="21031"/>
                </a:cubicBezTo>
                <a:cubicBezTo>
                  <a:pt x="24031" y="21031"/>
                  <a:pt x="24031" y="21031"/>
                  <a:pt x="24000" y="21031"/>
                </a:cubicBezTo>
                <a:close/>
                <a:moveTo>
                  <a:pt x="24875" y="20375"/>
                </a:moveTo>
                <a:cubicBezTo>
                  <a:pt x="24843" y="20375"/>
                  <a:pt x="24812" y="20375"/>
                  <a:pt x="24781" y="20375"/>
                </a:cubicBezTo>
                <a:cubicBezTo>
                  <a:pt x="24812" y="20375"/>
                  <a:pt x="24843" y="20375"/>
                  <a:pt x="24875" y="20375"/>
                </a:cubicBezTo>
                <a:cubicBezTo>
                  <a:pt x="24875" y="20344"/>
                  <a:pt x="24906" y="20312"/>
                  <a:pt x="24937" y="20312"/>
                </a:cubicBezTo>
                <a:cubicBezTo>
                  <a:pt x="24937" y="20344"/>
                  <a:pt x="24906" y="20375"/>
                  <a:pt x="24875" y="20375"/>
                </a:cubicBezTo>
                <a:close/>
                <a:moveTo>
                  <a:pt x="28812" y="11312"/>
                </a:moveTo>
                <a:cubicBezTo>
                  <a:pt x="28812" y="11312"/>
                  <a:pt x="28812" y="11312"/>
                  <a:pt x="28812" y="11312"/>
                </a:cubicBezTo>
                <a:cubicBezTo>
                  <a:pt x="28812" y="11312"/>
                  <a:pt x="28812" y="11312"/>
                  <a:pt x="28812" y="11312"/>
                </a:cubicBezTo>
                <a:cubicBezTo>
                  <a:pt x="28843" y="11437"/>
                  <a:pt x="28843" y="11437"/>
                  <a:pt x="28937" y="11469"/>
                </a:cubicBezTo>
                <a:cubicBezTo>
                  <a:pt x="28875" y="11500"/>
                  <a:pt x="28843" y="11531"/>
                  <a:pt x="28812" y="11469"/>
                </a:cubicBezTo>
                <a:cubicBezTo>
                  <a:pt x="28812" y="11437"/>
                  <a:pt x="28687" y="11375"/>
                  <a:pt x="28812" y="11312"/>
                </a:cubicBezTo>
                <a:close/>
                <a:moveTo>
                  <a:pt x="28437" y="11000"/>
                </a:moveTo>
                <a:cubicBezTo>
                  <a:pt x="28468" y="10906"/>
                  <a:pt x="28468" y="10781"/>
                  <a:pt x="28593" y="10687"/>
                </a:cubicBezTo>
                <a:cubicBezTo>
                  <a:pt x="28562" y="10812"/>
                  <a:pt x="28468" y="10906"/>
                  <a:pt x="28531" y="11031"/>
                </a:cubicBezTo>
                <a:cubicBezTo>
                  <a:pt x="28531" y="11062"/>
                  <a:pt x="28500" y="11062"/>
                  <a:pt x="28500" y="11062"/>
                </a:cubicBezTo>
                <a:cubicBezTo>
                  <a:pt x="28468" y="11062"/>
                  <a:pt x="28437" y="11031"/>
                  <a:pt x="28437" y="11000"/>
                </a:cubicBezTo>
                <a:close/>
                <a:moveTo>
                  <a:pt x="28437" y="11094"/>
                </a:moveTo>
                <a:cubicBezTo>
                  <a:pt x="28375" y="11281"/>
                  <a:pt x="28531" y="11375"/>
                  <a:pt x="28593" y="11500"/>
                </a:cubicBezTo>
                <a:cubicBezTo>
                  <a:pt x="28468" y="11469"/>
                  <a:pt x="28406" y="11344"/>
                  <a:pt x="28343" y="11250"/>
                </a:cubicBezTo>
                <a:cubicBezTo>
                  <a:pt x="28281" y="11187"/>
                  <a:pt x="28375" y="11156"/>
                  <a:pt x="28437" y="11094"/>
                </a:cubicBezTo>
                <a:close/>
                <a:moveTo>
                  <a:pt x="25593" y="7375"/>
                </a:moveTo>
                <a:cubicBezTo>
                  <a:pt x="25781" y="7344"/>
                  <a:pt x="25968" y="7406"/>
                  <a:pt x="26156" y="7406"/>
                </a:cubicBezTo>
                <a:cubicBezTo>
                  <a:pt x="26187" y="7406"/>
                  <a:pt x="26187" y="7406"/>
                  <a:pt x="26187" y="7437"/>
                </a:cubicBezTo>
                <a:cubicBezTo>
                  <a:pt x="26062" y="7437"/>
                  <a:pt x="25968" y="7469"/>
                  <a:pt x="25843" y="7437"/>
                </a:cubicBezTo>
                <a:cubicBezTo>
                  <a:pt x="25625" y="7437"/>
                  <a:pt x="25406" y="7469"/>
                  <a:pt x="25218" y="7531"/>
                </a:cubicBezTo>
                <a:cubicBezTo>
                  <a:pt x="25312" y="7406"/>
                  <a:pt x="25468" y="7406"/>
                  <a:pt x="25593" y="7375"/>
                </a:cubicBezTo>
                <a:close/>
                <a:moveTo>
                  <a:pt x="25218" y="7531"/>
                </a:moveTo>
                <a:cubicBezTo>
                  <a:pt x="25187" y="7625"/>
                  <a:pt x="25125" y="7594"/>
                  <a:pt x="25062" y="7625"/>
                </a:cubicBezTo>
                <a:cubicBezTo>
                  <a:pt x="25062" y="7531"/>
                  <a:pt x="25156" y="7531"/>
                  <a:pt x="25218" y="7531"/>
                </a:cubicBezTo>
                <a:close/>
                <a:moveTo>
                  <a:pt x="24312" y="8656"/>
                </a:moveTo>
                <a:cubicBezTo>
                  <a:pt x="24343" y="8656"/>
                  <a:pt x="24343" y="8656"/>
                  <a:pt x="24343" y="8656"/>
                </a:cubicBezTo>
                <a:cubicBezTo>
                  <a:pt x="24343" y="8656"/>
                  <a:pt x="24343" y="8656"/>
                  <a:pt x="24343" y="8656"/>
                </a:cubicBezTo>
                <a:cubicBezTo>
                  <a:pt x="24312" y="8812"/>
                  <a:pt x="24312" y="8937"/>
                  <a:pt x="24312" y="9094"/>
                </a:cubicBezTo>
                <a:cubicBezTo>
                  <a:pt x="24312" y="9125"/>
                  <a:pt x="24312" y="9156"/>
                  <a:pt x="24312" y="9187"/>
                </a:cubicBezTo>
                <a:cubicBezTo>
                  <a:pt x="24312" y="9156"/>
                  <a:pt x="24312" y="9125"/>
                  <a:pt x="24312" y="9094"/>
                </a:cubicBezTo>
                <a:cubicBezTo>
                  <a:pt x="24312" y="8937"/>
                  <a:pt x="24312" y="8812"/>
                  <a:pt x="24343" y="8656"/>
                </a:cubicBezTo>
                <a:cubicBezTo>
                  <a:pt x="24343" y="8656"/>
                  <a:pt x="24343" y="8656"/>
                  <a:pt x="24312" y="8656"/>
                </a:cubicBezTo>
                <a:close/>
                <a:moveTo>
                  <a:pt x="24375" y="9375"/>
                </a:moveTo>
                <a:cubicBezTo>
                  <a:pt x="24406" y="9187"/>
                  <a:pt x="24437" y="9031"/>
                  <a:pt x="24468" y="8844"/>
                </a:cubicBezTo>
                <a:cubicBezTo>
                  <a:pt x="24468" y="8750"/>
                  <a:pt x="24468" y="8625"/>
                  <a:pt x="24531" y="8531"/>
                </a:cubicBezTo>
                <a:cubicBezTo>
                  <a:pt x="24531" y="8531"/>
                  <a:pt x="24562" y="8500"/>
                  <a:pt x="24562" y="8500"/>
                </a:cubicBezTo>
                <a:cubicBezTo>
                  <a:pt x="24562" y="8375"/>
                  <a:pt x="24593" y="8281"/>
                  <a:pt x="24687" y="8187"/>
                </a:cubicBezTo>
                <a:cubicBezTo>
                  <a:pt x="24687" y="8187"/>
                  <a:pt x="24687" y="8156"/>
                  <a:pt x="24687" y="8156"/>
                </a:cubicBezTo>
                <a:cubicBezTo>
                  <a:pt x="24687" y="8062"/>
                  <a:pt x="24687" y="8062"/>
                  <a:pt x="24625" y="8094"/>
                </a:cubicBezTo>
                <a:cubicBezTo>
                  <a:pt x="24593" y="8094"/>
                  <a:pt x="24562" y="8125"/>
                  <a:pt x="24562" y="8156"/>
                </a:cubicBezTo>
                <a:cubicBezTo>
                  <a:pt x="24500" y="8312"/>
                  <a:pt x="24406" y="8437"/>
                  <a:pt x="24343" y="8594"/>
                </a:cubicBezTo>
                <a:cubicBezTo>
                  <a:pt x="24281" y="8344"/>
                  <a:pt x="24406" y="8031"/>
                  <a:pt x="24625" y="7906"/>
                </a:cubicBezTo>
                <a:cubicBezTo>
                  <a:pt x="24687" y="7844"/>
                  <a:pt x="24750" y="7781"/>
                  <a:pt x="24781" y="7719"/>
                </a:cubicBezTo>
                <a:cubicBezTo>
                  <a:pt x="24875" y="7625"/>
                  <a:pt x="24937" y="7594"/>
                  <a:pt x="25062" y="7625"/>
                </a:cubicBezTo>
                <a:cubicBezTo>
                  <a:pt x="25031" y="7687"/>
                  <a:pt x="24968" y="7719"/>
                  <a:pt x="24937" y="7750"/>
                </a:cubicBezTo>
                <a:cubicBezTo>
                  <a:pt x="24843" y="7781"/>
                  <a:pt x="24812" y="7875"/>
                  <a:pt x="24750" y="7937"/>
                </a:cubicBezTo>
                <a:cubicBezTo>
                  <a:pt x="24718" y="7937"/>
                  <a:pt x="24718" y="7969"/>
                  <a:pt x="24750" y="8000"/>
                </a:cubicBezTo>
                <a:cubicBezTo>
                  <a:pt x="24750" y="8000"/>
                  <a:pt x="24781" y="8000"/>
                  <a:pt x="24781" y="8000"/>
                </a:cubicBezTo>
                <a:cubicBezTo>
                  <a:pt x="24875" y="7969"/>
                  <a:pt x="24875" y="7875"/>
                  <a:pt x="24968" y="7875"/>
                </a:cubicBezTo>
                <a:cubicBezTo>
                  <a:pt x="24968" y="7875"/>
                  <a:pt x="24968" y="7844"/>
                  <a:pt x="25000" y="7844"/>
                </a:cubicBezTo>
                <a:cubicBezTo>
                  <a:pt x="25000" y="7812"/>
                  <a:pt x="25000" y="7812"/>
                  <a:pt x="25031" y="7812"/>
                </a:cubicBezTo>
                <a:cubicBezTo>
                  <a:pt x="25062" y="7781"/>
                  <a:pt x="25093" y="7781"/>
                  <a:pt x="25125" y="7750"/>
                </a:cubicBezTo>
                <a:cubicBezTo>
                  <a:pt x="25375" y="7594"/>
                  <a:pt x="25656" y="7531"/>
                  <a:pt x="25968" y="7562"/>
                </a:cubicBezTo>
                <a:cubicBezTo>
                  <a:pt x="26062" y="7562"/>
                  <a:pt x="26187" y="7625"/>
                  <a:pt x="26281" y="7625"/>
                </a:cubicBezTo>
                <a:cubicBezTo>
                  <a:pt x="26312" y="7625"/>
                  <a:pt x="26312" y="7625"/>
                  <a:pt x="26343" y="7656"/>
                </a:cubicBezTo>
                <a:cubicBezTo>
                  <a:pt x="26343" y="7656"/>
                  <a:pt x="26375" y="7656"/>
                  <a:pt x="26375" y="7656"/>
                </a:cubicBezTo>
                <a:cubicBezTo>
                  <a:pt x="26437" y="7656"/>
                  <a:pt x="26437" y="7656"/>
                  <a:pt x="26437" y="7687"/>
                </a:cubicBezTo>
                <a:cubicBezTo>
                  <a:pt x="26468" y="7719"/>
                  <a:pt x="26500" y="7719"/>
                  <a:pt x="26531" y="7719"/>
                </a:cubicBezTo>
                <a:cubicBezTo>
                  <a:pt x="26562" y="7594"/>
                  <a:pt x="26406" y="7594"/>
                  <a:pt x="26343" y="7531"/>
                </a:cubicBezTo>
                <a:cubicBezTo>
                  <a:pt x="26312" y="7500"/>
                  <a:pt x="26250" y="7500"/>
                  <a:pt x="26250" y="7437"/>
                </a:cubicBezTo>
                <a:cubicBezTo>
                  <a:pt x="26500" y="7437"/>
                  <a:pt x="26843" y="7750"/>
                  <a:pt x="26843" y="7969"/>
                </a:cubicBezTo>
                <a:cubicBezTo>
                  <a:pt x="26875" y="8031"/>
                  <a:pt x="26906" y="8062"/>
                  <a:pt x="26968" y="8125"/>
                </a:cubicBezTo>
                <a:cubicBezTo>
                  <a:pt x="27125" y="8281"/>
                  <a:pt x="27187" y="8500"/>
                  <a:pt x="27281" y="8719"/>
                </a:cubicBezTo>
                <a:cubicBezTo>
                  <a:pt x="27375" y="8906"/>
                  <a:pt x="27437" y="9062"/>
                  <a:pt x="27468" y="9250"/>
                </a:cubicBezTo>
                <a:cubicBezTo>
                  <a:pt x="27468" y="9312"/>
                  <a:pt x="27500" y="9312"/>
                  <a:pt x="27531" y="9312"/>
                </a:cubicBezTo>
                <a:cubicBezTo>
                  <a:pt x="27531" y="9219"/>
                  <a:pt x="27500" y="9125"/>
                  <a:pt x="27562" y="9062"/>
                </a:cubicBezTo>
                <a:cubicBezTo>
                  <a:pt x="27625" y="9000"/>
                  <a:pt x="27656" y="9000"/>
                  <a:pt x="27687" y="9062"/>
                </a:cubicBezTo>
                <a:cubicBezTo>
                  <a:pt x="27750" y="9312"/>
                  <a:pt x="27843" y="9562"/>
                  <a:pt x="27875" y="9812"/>
                </a:cubicBezTo>
                <a:cubicBezTo>
                  <a:pt x="27875" y="9906"/>
                  <a:pt x="27875" y="10031"/>
                  <a:pt x="28031" y="9969"/>
                </a:cubicBezTo>
                <a:cubicBezTo>
                  <a:pt x="28093" y="9937"/>
                  <a:pt x="28125" y="9969"/>
                  <a:pt x="28093" y="10031"/>
                </a:cubicBezTo>
                <a:cubicBezTo>
                  <a:pt x="28062" y="10094"/>
                  <a:pt x="28031" y="10156"/>
                  <a:pt x="28000" y="10219"/>
                </a:cubicBezTo>
                <a:cubicBezTo>
                  <a:pt x="27937" y="10219"/>
                  <a:pt x="27937" y="10281"/>
                  <a:pt x="27968" y="10312"/>
                </a:cubicBezTo>
                <a:cubicBezTo>
                  <a:pt x="28031" y="10344"/>
                  <a:pt x="28031" y="10281"/>
                  <a:pt x="28062" y="10250"/>
                </a:cubicBezTo>
                <a:cubicBezTo>
                  <a:pt x="28093" y="10250"/>
                  <a:pt x="28093" y="10219"/>
                  <a:pt x="28093" y="10187"/>
                </a:cubicBezTo>
                <a:cubicBezTo>
                  <a:pt x="28125" y="10156"/>
                  <a:pt x="28156" y="10125"/>
                  <a:pt x="28187" y="10156"/>
                </a:cubicBezTo>
                <a:cubicBezTo>
                  <a:pt x="28250" y="10187"/>
                  <a:pt x="28281" y="10219"/>
                  <a:pt x="28218" y="10250"/>
                </a:cubicBezTo>
                <a:cubicBezTo>
                  <a:pt x="28156" y="10312"/>
                  <a:pt x="28187" y="10406"/>
                  <a:pt x="28218" y="10469"/>
                </a:cubicBezTo>
                <a:cubicBezTo>
                  <a:pt x="28281" y="10625"/>
                  <a:pt x="28218" y="10781"/>
                  <a:pt x="28312" y="10937"/>
                </a:cubicBezTo>
                <a:cubicBezTo>
                  <a:pt x="28343" y="10969"/>
                  <a:pt x="28281" y="11000"/>
                  <a:pt x="28281" y="11031"/>
                </a:cubicBezTo>
                <a:cubicBezTo>
                  <a:pt x="28125" y="11156"/>
                  <a:pt x="28125" y="11281"/>
                  <a:pt x="28281" y="11437"/>
                </a:cubicBezTo>
                <a:cubicBezTo>
                  <a:pt x="28375" y="11531"/>
                  <a:pt x="28437" y="11687"/>
                  <a:pt x="28562" y="11781"/>
                </a:cubicBezTo>
                <a:cubicBezTo>
                  <a:pt x="28625" y="11812"/>
                  <a:pt x="28593" y="11844"/>
                  <a:pt x="28562" y="11875"/>
                </a:cubicBezTo>
                <a:cubicBezTo>
                  <a:pt x="28531" y="11906"/>
                  <a:pt x="28500" y="11937"/>
                  <a:pt x="28500" y="12000"/>
                </a:cubicBezTo>
                <a:cubicBezTo>
                  <a:pt x="28468" y="12062"/>
                  <a:pt x="28500" y="12094"/>
                  <a:pt x="28562" y="12094"/>
                </a:cubicBezTo>
                <a:cubicBezTo>
                  <a:pt x="28656" y="12094"/>
                  <a:pt x="28625" y="12125"/>
                  <a:pt x="28593" y="12187"/>
                </a:cubicBezTo>
                <a:cubicBezTo>
                  <a:pt x="28562" y="12250"/>
                  <a:pt x="28531" y="12281"/>
                  <a:pt x="28531" y="12344"/>
                </a:cubicBezTo>
                <a:cubicBezTo>
                  <a:pt x="28500" y="12406"/>
                  <a:pt x="28468" y="12469"/>
                  <a:pt x="28562" y="12469"/>
                </a:cubicBezTo>
                <a:cubicBezTo>
                  <a:pt x="28625" y="12437"/>
                  <a:pt x="28625" y="12531"/>
                  <a:pt x="28625" y="12562"/>
                </a:cubicBezTo>
                <a:cubicBezTo>
                  <a:pt x="28656" y="12719"/>
                  <a:pt x="28656" y="12906"/>
                  <a:pt x="28562" y="13031"/>
                </a:cubicBezTo>
                <a:cubicBezTo>
                  <a:pt x="28531" y="13062"/>
                  <a:pt x="28468" y="13094"/>
                  <a:pt x="28562" y="13125"/>
                </a:cubicBezTo>
                <a:cubicBezTo>
                  <a:pt x="28625" y="13187"/>
                  <a:pt x="28718" y="13250"/>
                  <a:pt x="28593" y="13344"/>
                </a:cubicBezTo>
                <a:cubicBezTo>
                  <a:pt x="28562" y="13375"/>
                  <a:pt x="28562" y="13437"/>
                  <a:pt x="28531" y="13500"/>
                </a:cubicBezTo>
                <a:cubicBezTo>
                  <a:pt x="28562" y="13531"/>
                  <a:pt x="28593" y="13500"/>
                  <a:pt x="28593" y="13469"/>
                </a:cubicBezTo>
                <a:cubicBezTo>
                  <a:pt x="28625" y="13437"/>
                  <a:pt x="28625" y="13437"/>
                  <a:pt x="28656" y="13437"/>
                </a:cubicBezTo>
                <a:cubicBezTo>
                  <a:pt x="28687" y="13469"/>
                  <a:pt x="28687" y="13500"/>
                  <a:pt x="28687" y="13500"/>
                </a:cubicBezTo>
                <a:cubicBezTo>
                  <a:pt x="28656" y="13562"/>
                  <a:pt x="28656" y="13625"/>
                  <a:pt x="28718" y="13656"/>
                </a:cubicBezTo>
                <a:cubicBezTo>
                  <a:pt x="28718" y="13656"/>
                  <a:pt x="28750" y="13687"/>
                  <a:pt x="28718" y="13687"/>
                </a:cubicBezTo>
                <a:cubicBezTo>
                  <a:pt x="28625" y="13750"/>
                  <a:pt x="28718" y="13844"/>
                  <a:pt x="28718" y="13875"/>
                </a:cubicBezTo>
                <a:cubicBezTo>
                  <a:pt x="28687" y="14000"/>
                  <a:pt x="28687" y="14125"/>
                  <a:pt x="28687" y="14250"/>
                </a:cubicBezTo>
                <a:cubicBezTo>
                  <a:pt x="28687" y="14375"/>
                  <a:pt x="28656" y="14500"/>
                  <a:pt x="28625" y="14594"/>
                </a:cubicBezTo>
                <a:cubicBezTo>
                  <a:pt x="28562" y="14812"/>
                  <a:pt x="28593" y="15062"/>
                  <a:pt x="28406" y="15250"/>
                </a:cubicBezTo>
                <a:cubicBezTo>
                  <a:pt x="28406" y="15281"/>
                  <a:pt x="28437" y="15312"/>
                  <a:pt x="28406" y="15344"/>
                </a:cubicBezTo>
                <a:cubicBezTo>
                  <a:pt x="28406" y="15406"/>
                  <a:pt x="28406" y="15469"/>
                  <a:pt x="28343" y="15531"/>
                </a:cubicBezTo>
                <a:cubicBezTo>
                  <a:pt x="28312" y="15531"/>
                  <a:pt x="28281" y="15562"/>
                  <a:pt x="28312" y="15562"/>
                </a:cubicBezTo>
                <a:cubicBezTo>
                  <a:pt x="28406" y="15781"/>
                  <a:pt x="28187" y="15906"/>
                  <a:pt x="28125" y="16094"/>
                </a:cubicBezTo>
                <a:cubicBezTo>
                  <a:pt x="28062" y="16281"/>
                  <a:pt x="27937" y="16469"/>
                  <a:pt x="27843" y="16687"/>
                </a:cubicBezTo>
                <a:cubicBezTo>
                  <a:pt x="27843" y="16687"/>
                  <a:pt x="27812" y="16719"/>
                  <a:pt x="27812" y="16719"/>
                </a:cubicBezTo>
                <a:cubicBezTo>
                  <a:pt x="27593" y="16875"/>
                  <a:pt x="27500" y="17125"/>
                  <a:pt x="27343" y="17375"/>
                </a:cubicBezTo>
                <a:cubicBezTo>
                  <a:pt x="27312" y="17437"/>
                  <a:pt x="27250" y="17469"/>
                  <a:pt x="27187" y="17469"/>
                </a:cubicBezTo>
                <a:cubicBezTo>
                  <a:pt x="27062" y="17531"/>
                  <a:pt x="26968" y="17656"/>
                  <a:pt x="26843" y="17750"/>
                </a:cubicBezTo>
                <a:cubicBezTo>
                  <a:pt x="26812" y="17750"/>
                  <a:pt x="26781" y="17781"/>
                  <a:pt x="26812" y="17812"/>
                </a:cubicBezTo>
                <a:cubicBezTo>
                  <a:pt x="26843" y="17844"/>
                  <a:pt x="26875" y="17875"/>
                  <a:pt x="26812" y="17906"/>
                </a:cubicBezTo>
                <a:cubicBezTo>
                  <a:pt x="26781" y="17906"/>
                  <a:pt x="26750" y="17906"/>
                  <a:pt x="26718" y="17844"/>
                </a:cubicBezTo>
                <a:cubicBezTo>
                  <a:pt x="26718" y="17844"/>
                  <a:pt x="26718" y="17812"/>
                  <a:pt x="26718" y="17812"/>
                </a:cubicBezTo>
                <a:cubicBezTo>
                  <a:pt x="26625" y="17875"/>
                  <a:pt x="26562" y="17937"/>
                  <a:pt x="26500" y="18000"/>
                </a:cubicBezTo>
                <a:cubicBezTo>
                  <a:pt x="26500" y="18000"/>
                  <a:pt x="26468" y="18031"/>
                  <a:pt x="26468" y="18031"/>
                </a:cubicBezTo>
                <a:cubicBezTo>
                  <a:pt x="26281" y="18000"/>
                  <a:pt x="26250" y="18156"/>
                  <a:pt x="26156" y="18219"/>
                </a:cubicBezTo>
                <a:cubicBezTo>
                  <a:pt x="26093" y="18281"/>
                  <a:pt x="26062" y="18406"/>
                  <a:pt x="25937" y="18344"/>
                </a:cubicBezTo>
                <a:cubicBezTo>
                  <a:pt x="25937" y="18344"/>
                  <a:pt x="25875" y="18375"/>
                  <a:pt x="25875" y="18375"/>
                </a:cubicBezTo>
                <a:cubicBezTo>
                  <a:pt x="25843" y="18500"/>
                  <a:pt x="25750" y="18500"/>
                  <a:pt x="25656" y="18469"/>
                </a:cubicBezTo>
                <a:cubicBezTo>
                  <a:pt x="25625" y="18469"/>
                  <a:pt x="25593" y="18469"/>
                  <a:pt x="25531" y="18500"/>
                </a:cubicBezTo>
                <a:cubicBezTo>
                  <a:pt x="25437" y="18562"/>
                  <a:pt x="25375" y="18625"/>
                  <a:pt x="25437" y="18781"/>
                </a:cubicBezTo>
                <a:cubicBezTo>
                  <a:pt x="25468" y="18906"/>
                  <a:pt x="25375" y="19000"/>
                  <a:pt x="25187" y="18969"/>
                </a:cubicBezTo>
                <a:cubicBezTo>
                  <a:pt x="25125" y="18969"/>
                  <a:pt x="25062" y="18969"/>
                  <a:pt x="25000" y="18969"/>
                </a:cubicBezTo>
                <a:cubicBezTo>
                  <a:pt x="24937" y="18969"/>
                  <a:pt x="24843" y="19000"/>
                  <a:pt x="24812" y="18906"/>
                </a:cubicBezTo>
                <a:cubicBezTo>
                  <a:pt x="24781" y="18875"/>
                  <a:pt x="24718" y="18906"/>
                  <a:pt x="24687" y="18906"/>
                </a:cubicBezTo>
                <a:cubicBezTo>
                  <a:pt x="24625" y="18969"/>
                  <a:pt x="24500" y="19000"/>
                  <a:pt x="24437" y="18969"/>
                </a:cubicBezTo>
                <a:cubicBezTo>
                  <a:pt x="24343" y="18937"/>
                  <a:pt x="24250" y="18969"/>
                  <a:pt x="24156" y="18969"/>
                </a:cubicBezTo>
                <a:cubicBezTo>
                  <a:pt x="23968" y="18969"/>
                  <a:pt x="23968" y="18969"/>
                  <a:pt x="23968" y="18781"/>
                </a:cubicBezTo>
                <a:cubicBezTo>
                  <a:pt x="23968" y="18781"/>
                  <a:pt x="23968" y="18781"/>
                  <a:pt x="23968" y="18781"/>
                </a:cubicBezTo>
                <a:cubicBezTo>
                  <a:pt x="24031" y="18781"/>
                  <a:pt x="24062" y="18750"/>
                  <a:pt x="24093" y="18687"/>
                </a:cubicBezTo>
                <a:cubicBezTo>
                  <a:pt x="24187" y="18437"/>
                  <a:pt x="24406" y="18406"/>
                  <a:pt x="24593" y="18594"/>
                </a:cubicBezTo>
                <a:cubicBezTo>
                  <a:pt x="24593" y="18594"/>
                  <a:pt x="24625" y="18594"/>
                  <a:pt x="24656" y="18594"/>
                </a:cubicBezTo>
                <a:cubicBezTo>
                  <a:pt x="24750" y="18594"/>
                  <a:pt x="24843" y="18594"/>
                  <a:pt x="24906" y="18562"/>
                </a:cubicBezTo>
                <a:cubicBezTo>
                  <a:pt x="25125" y="18500"/>
                  <a:pt x="25312" y="18531"/>
                  <a:pt x="25500" y="18375"/>
                </a:cubicBezTo>
                <a:cubicBezTo>
                  <a:pt x="25531" y="18312"/>
                  <a:pt x="25625" y="18281"/>
                  <a:pt x="25687" y="18250"/>
                </a:cubicBezTo>
                <a:cubicBezTo>
                  <a:pt x="25718" y="18219"/>
                  <a:pt x="25781" y="18219"/>
                  <a:pt x="25781" y="18187"/>
                </a:cubicBezTo>
                <a:cubicBezTo>
                  <a:pt x="25750" y="18125"/>
                  <a:pt x="25687" y="18156"/>
                  <a:pt x="25656" y="18156"/>
                </a:cubicBezTo>
                <a:cubicBezTo>
                  <a:pt x="25625" y="18156"/>
                  <a:pt x="25593" y="18187"/>
                  <a:pt x="25562" y="18187"/>
                </a:cubicBezTo>
                <a:cubicBezTo>
                  <a:pt x="25437" y="18250"/>
                  <a:pt x="25281" y="18281"/>
                  <a:pt x="25125" y="18250"/>
                </a:cubicBezTo>
                <a:cubicBezTo>
                  <a:pt x="25062" y="18250"/>
                  <a:pt x="25062" y="18187"/>
                  <a:pt x="25062" y="18156"/>
                </a:cubicBezTo>
                <a:cubicBezTo>
                  <a:pt x="25031" y="18156"/>
                  <a:pt x="25000" y="18156"/>
                  <a:pt x="24968" y="18156"/>
                </a:cubicBezTo>
                <a:cubicBezTo>
                  <a:pt x="25000" y="18156"/>
                  <a:pt x="25031" y="18156"/>
                  <a:pt x="25062" y="18156"/>
                </a:cubicBezTo>
                <a:cubicBezTo>
                  <a:pt x="25125" y="18156"/>
                  <a:pt x="25187" y="18156"/>
                  <a:pt x="25250" y="18125"/>
                </a:cubicBezTo>
                <a:cubicBezTo>
                  <a:pt x="25062" y="18125"/>
                  <a:pt x="24875" y="18156"/>
                  <a:pt x="24718" y="18062"/>
                </a:cubicBezTo>
                <a:cubicBezTo>
                  <a:pt x="24625" y="18031"/>
                  <a:pt x="24562" y="17969"/>
                  <a:pt x="24468" y="17969"/>
                </a:cubicBezTo>
                <a:cubicBezTo>
                  <a:pt x="24468" y="17969"/>
                  <a:pt x="24468" y="18000"/>
                  <a:pt x="24468" y="18000"/>
                </a:cubicBezTo>
                <a:cubicBezTo>
                  <a:pt x="24468" y="18000"/>
                  <a:pt x="24468" y="18000"/>
                  <a:pt x="24468" y="18000"/>
                </a:cubicBezTo>
                <a:cubicBezTo>
                  <a:pt x="24468" y="18000"/>
                  <a:pt x="24468" y="17969"/>
                  <a:pt x="24468" y="17969"/>
                </a:cubicBezTo>
                <a:cubicBezTo>
                  <a:pt x="24468" y="17937"/>
                  <a:pt x="24437" y="17937"/>
                  <a:pt x="24406" y="17937"/>
                </a:cubicBezTo>
                <a:cubicBezTo>
                  <a:pt x="24281" y="17844"/>
                  <a:pt x="24187" y="17812"/>
                  <a:pt x="24062" y="17844"/>
                </a:cubicBezTo>
                <a:cubicBezTo>
                  <a:pt x="24093" y="17875"/>
                  <a:pt x="24125" y="17906"/>
                  <a:pt x="24125" y="17937"/>
                </a:cubicBezTo>
                <a:cubicBezTo>
                  <a:pt x="24125" y="17906"/>
                  <a:pt x="24093" y="17875"/>
                  <a:pt x="24062" y="17844"/>
                </a:cubicBezTo>
                <a:cubicBezTo>
                  <a:pt x="23906" y="17812"/>
                  <a:pt x="23875" y="17687"/>
                  <a:pt x="23875" y="17562"/>
                </a:cubicBezTo>
                <a:cubicBezTo>
                  <a:pt x="23843" y="17562"/>
                  <a:pt x="23843" y="17531"/>
                  <a:pt x="23843" y="17500"/>
                </a:cubicBezTo>
                <a:cubicBezTo>
                  <a:pt x="23843" y="17500"/>
                  <a:pt x="23843" y="17500"/>
                  <a:pt x="23843" y="17500"/>
                </a:cubicBezTo>
                <a:cubicBezTo>
                  <a:pt x="23843" y="17531"/>
                  <a:pt x="23843" y="17562"/>
                  <a:pt x="23875" y="17562"/>
                </a:cubicBezTo>
                <a:cubicBezTo>
                  <a:pt x="23875" y="17531"/>
                  <a:pt x="23906" y="17469"/>
                  <a:pt x="23906" y="17437"/>
                </a:cubicBezTo>
                <a:cubicBezTo>
                  <a:pt x="23906" y="16875"/>
                  <a:pt x="23906" y="16281"/>
                  <a:pt x="23906" y="15719"/>
                </a:cubicBezTo>
                <a:cubicBezTo>
                  <a:pt x="23906" y="15719"/>
                  <a:pt x="23906" y="15719"/>
                  <a:pt x="23906" y="15719"/>
                </a:cubicBezTo>
                <a:cubicBezTo>
                  <a:pt x="23906" y="15719"/>
                  <a:pt x="23906" y="15719"/>
                  <a:pt x="23906" y="15719"/>
                </a:cubicBezTo>
                <a:cubicBezTo>
                  <a:pt x="23906" y="15656"/>
                  <a:pt x="23843" y="15531"/>
                  <a:pt x="23968" y="15500"/>
                </a:cubicBezTo>
                <a:cubicBezTo>
                  <a:pt x="23968" y="15500"/>
                  <a:pt x="24000" y="15500"/>
                  <a:pt x="23968" y="15500"/>
                </a:cubicBezTo>
                <a:cubicBezTo>
                  <a:pt x="23843" y="15469"/>
                  <a:pt x="23906" y="15375"/>
                  <a:pt x="23906" y="15312"/>
                </a:cubicBezTo>
                <a:cubicBezTo>
                  <a:pt x="23875" y="15125"/>
                  <a:pt x="23906" y="14937"/>
                  <a:pt x="23906" y="14781"/>
                </a:cubicBezTo>
                <a:cubicBezTo>
                  <a:pt x="23906" y="13531"/>
                  <a:pt x="23906" y="12312"/>
                  <a:pt x="23906" y="11062"/>
                </a:cubicBezTo>
                <a:cubicBezTo>
                  <a:pt x="23875" y="11062"/>
                  <a:pt x="23875" y="11062"/>
                  <a:pt x="23875" y="11062"/>
                </a:cubicBezTo>
                <a:cubicBezTo>
                  <a:pt x="23875" y="11062"/>
                  <a:pt x="23875" y="11062"/>
                  <a:pt x="23906" y="11062"/>
                </a:cubicBezTo>
                <a:cubicBezTo>
                  <a:pt x="23906" y="10750"/>
                  <a:pt x="23937" y="10469"/>
                  <a:pt x="23906" y="10156"/>
                </a:cubicBezTo>
                <a:cubicBezTo>
                  <a:pt x="23906" y="9969"/>
                  <a:pt x="23875" y="9781"/>
                  <a:pt x="24062" y="9656"/>
                </a:cubicBezTo>
                <a:cubicBezTo>
                  <a:pt x="24250" y="9656"/>
                  <a:pt x="24343" y="9531"/>
                  <a:pt x="24375" y="9375"/>
                </a:cubicBezTo>
                <a:close/>
                <a:moveTo>
                  <a:pt x="24062" y="17969"/>
                </a:moveTo>
                <a:cubicBezTo>
                  <a:pt x="24062" y="18000"/>
                  <a:pt x="24062" y="18031"/>
                  <a:pt x="24062" y="18062"/>
                </a:cubicBezTo>
                <a:cubicBezTo>
                  <a:pt x="24000" y="18125"/>
                  <a:pt x="24000" y="18156"/>
                  <a:pt x="23968" y="18219"/>
                </a:cubicBezTo>
                <a:cubicBezTo>
                  <a:pt x="24000" y="18156"/>
                  <a:pt x="24000" y="18125"/>
                  <a:pt x="24062" y="18062"/>
                </a:cubicBezTo>
                <a:cubicBezTo>
                  <a:pt x="24062" y="18031"/>
                  <a:pt x="24062" y="18000"/>
                  <a:pt x="24062" y="17969"/>
                </a:cubicBezTo>
                <a:close/>
                <a:moveTo>
                  <a:pt x="24062" y="9281"/>
                </a:moveTo>
                <a:cubicBezTo>
                  <a:pt x="24062" y="9281"/>
                  <a:pt x="24062" y="9250"/>
                  <a:pt x="24062" y="9250"/>
                </a:cubicBezTo>
                <a:cubicBezTo>
                  <a:pt x="24062" y="9250"/>
                  <a:pt x="24062" y="9281"/>
                  <a:pt x="24062" y="9281"/>
                </a:cubicBezTo>
                <a:cubicBezTo>
                  <a:pt x="24125" y="9250"/>
                  <a:pt x="24187" y="9187"/>
                  <a:pt x="24250" y="9156"/>
                </a:cubicBezTo>
                <a:cubicBezTo>
                  <a:pt x="24187" y="9187"/>
                  <a:pt x="24125" y="9250"/>
                  <a:pt x="24062" y="9281"/>
                </a:cubicBezTo>
                <a:close/>
                <a:moveTo>
                  <a:pt x="24125" y="6875"/>
                </a:moveTo>
                <a:cubicBezTo>
                  <a:pt x="24156" y="6875"/>
                  <a:pt x="24187" y="6875"/>
                  <a:pt x="24187" y="6875"/>
                </a:cubicBezTo>
                <a:cubicBezTo>
                  <a:pt x="24187" y="6875"/>
                  <a:pt x="24156" y="6875"/>
                  <a:pt x="24125" y="6875"/>
                </a:cubicBezTo>
                <a:cubicBezTo>
                  <a:pt x="24125" y="6875"/>
                  <a:pt x="24125" y="6875"/>
                  <a:pt x="24125" y="6875"/>
                </a:cubicBezTo>
                <a:close/>
                <a:moveTo>
                  <a:pt x="24062" y="7125"/>
                </a:moveTo>
                <a:cubicBezTo>
                  <a:pt x="24062" y="7094"/>
                  <a:pt x="24062" y="7031"/>
                  <a:pt x="24062" y="7000"/>
                </a:cubicBezTo>
                <a:cubicBezTo>
                  <a:pt x="24062" y="7031"/>
                  <a:pt x="24062" y="7094"/>
                  <a:pt x="24062" y="7125"/>
                </a:cubicBezTo>
                <a:cubicBezTo>
                  <a:pt x="24062" y="7156"/>
                  <a:pt x="24062" y="7187"/>
                  <a:pt x="24062" y="7219"/>
                </a:cubicBezTo>
                <a:cubicBezTo>
                  <a:pt x="24062" y="7187"/>
                  <a:pt x="24062" y="7156"/>
                  <a:pt x="24062" y="7125"/>
                </a:cubicBezTo>
                <a:close/>
                <a:moveTo>
                  <a:pt x="24000" y="7344"/>
                </a:moveTo>
                <a:cubicBezTo>
                  <a:pt x="24062" y="7344"/>
                  <a:pt x="24093" y="7344"/>
                  <a:pt x="24125" y="7344"/>
                </a:cubicBezTo>
                <a:cubicBezTo>
                  <a:pt x="24093" y="7344"/>
                  <a:pt x="24062" y="7344"/>
                  <a:pt x="24000" y="7344"/>
                </a:cubicBezTo>
                <a:cubicBezTo>
                  <a:pt x="24000" y="7344"/>
                  <a:pt x="24000" y="7344"/>
                  <a:pt x="24000" y="7344"/>
                </a:cubicBezTo>
                <a:close/>
                <a:moveTo>
                  <a:pt x="24000" y="7437"/>
                </a:moveTo>
                <a:cubicBezTo>
                  <a:pt x="24000" y="7500"/>
                  <a:pt x="24000" y="7531"/>
                  <a:pt x="23968" y="7562"/>
                </a:cubicBezTo>
                <a:cubicBezTo>
                  <a:pt x="24000" y="7531"/>
                  <a:pt x="24000" y="7500"/>
                  <a:pt x="24000" y="7437"/>
                </a:cubicBezTo>
                <a:close/>
                <a:moveTo>
                  <a:pt x="23968" y="7594"/>
                </a:moveTo>
                <a:cubicBezTo>
                  <a:pt x="23968" y="7656"/>
                  <a:pt x="23968" y="7687"/>
                  <a:pt x="23968" y="7719"/>
                </a:cubicBezTo>
                <a:cubicBezTo>
                  <a:pt x="23968" y="7781"/>
                  <a:pt x="24000" y="7844"/>
                  <a:pt x="24000" y="7906"/>
                </a:cubicBezTo>
                <a:cubicBezTo>
                  <a:pt x="24000" y="7844"/>
                  <a:pt x="23968" y="7781"/>
                  <a:pt x="23968" y="7719"/>
                </a:cubicBezTo>
                <a:cubicBezTo>
                  <a:pt x="23968" y="7719"/>
                  <a:pt x="23968" y="7719"/>
                  <a:pt x="23968" y="7719"/>
                </a:cubicBezTo>
                <a:cubicBezTo>
                  <a:pt x="23968" y="7687"/>
                  <a:pt x="23968" y="7656"/>
                  <a:pt x="23968" y="7594"/>
                </a:cubicBezTo>
                <a:cubicBezTo>
                  <a:pt x="23968" y="7594"/>
                  <a:pt x="23968" y="7594"/>
                  <a:pt x="23968" y="7594"/>
                </a:cubicBezTo>
                <a:close/>
                <a:moveTo>
                  <a:pt x="23968" y="9031"/>
                </a:moveTo>
                <a:cubicBezTo>
                  <a:pt x="24000" y="9031"/>
                  <a:pt x="24000" y="9031"/>
                  <a:pt x="24000" y="9031"/>
                </a:cubicBezTo>
                <a:cubicBezTo>
                  <a:pt x="24000" y="8969"/>
                  <a:pt x="24000" y="8937"/>
                  <a:pt x="24000" y="8875"/>
                </a:cubicBezTo>
                <a:cubicBezTo>
                  <a:pt x="24000" y="8750"/>
                  <a:pt x="24000" y="8625"/>
                  <a:pt x="24000" y="8531"/>
                </a:cubicBezTo>
                <a:cubicBezTo>
                  <a:pt x="24000" y="8625"/>
                  <a:pt x="24000" y="8750"/>
                  <a:pt x="24000" y="8875"/>
                </a:cubicBezTo>
                <a:cubicBezTo>
                  <a:pt x="24031" y="8844"/>
                  <a:pt x="24093" y="8812"/>
                  <a:pt x="24125" y="8812"/>
                </a:cubicBezTo>
                <a:cubicBezTo>
                  <a:pt x="24093" y="8812"/>
                  <a:pt x="24031" y="8844"/>
                  <a:pt x="24000" y="8875"/>
                </a:cubicBezTo>
                <a:cubicBezTo>
                  <a:pt x="24000" y="8937"/>
                  <a:pt x="24000" y="8969"/>
                  <a:pt x="24000" y="9031"/>
                </a:cubicBezTo>
                <a:cubicBezTo>
                  <a:pt x="24000" y="9031"/>
                  <a:pt x="24000" y="9031"/>
                  <a:pt x="24000" y="9031"/>
                </a:cubicBezTo>
                <a:cubicBezTo>
                  <a:pt x="24000" y="9031"/>
                  <a:pt x="24000" y="9031"/>
                  <a:pt x="23968" y="9031"/>
                </a:cubicBezTo>
                <a:cubicBezTo>
                  <a:pt x="23968" y="9031"/>
                  <a:pt x="23968" y="9031"/>
                  <a:pt x="23968" y="9031"/>
                </a:cubicBezTo>
                <a:close/>
                <a:moveTo>
                  <a:pt x="24000" y="9312"/>
                </a:moveTo>
                <a:cubicBezTo>
                  <a:pt x="24000" y="9281"/>
                  <a:pt x="24000" y="9250"/>
                  <a:pt x="23968" y="9219"/>
                </a:cubicBezTo>
                <a:cubicBezTo>
                  <a:pt x="24000" y="9250"/>
                  <a:pt x="24000" y="9281"/>
                  <a:pt x="24000" y="9312"/>
                </a:cubicBezTo>
                <a:close/>
                <a:moveTo>
                  <a:pt x="23968" y="9062"/>
                </a:moveTo>
                <a:cubicBezTo>
                  <a:pt x="23937" y="9094"/>
                  <a:pt x="23906" y="9125"/>
                  <a:pt x="23937" y="9187"/>
                </a:cubicBezTo>
                <a:cubicBezTo>
                  <a:pt x="23937" y="9187"/>
                  <a:pt x="23937" y="9187"/>
                  <a:pt x="23937" y="9187"/>
                </a:cubicBezTo>
                <a:cubicBezTo>
                  <a:pt x="23906" y="9125"/>
                  <a:pt x="23937" y="9094"/>
                  <a:pt x="23968" y="9062"/>
                </a:cubicBezTo>
                <a:close/>
                <a:moveTo>
                  <a:pt x="23906" y="6781"/>
                </a:moveTo>
                <a:cubicBezTo>
                  <a:pt x="23906" y="6781"/>
                  <a:pt x="23906" y="6781"/>
                  <a:pt x="23937" y="6781"/>
                </a:cubicBezTo>
                <a:cubicBezTo>
                  <a:pt x="23906" y="6781"/>
                  <a:pt x="23906" y="6781"/>
                  <a:pt x="23906" y="6781"/>
                </a:cubicBezTo>
                <a:cubicBezTo>
                  <a:pt x="23906" y="6781"/>
                  <a:pt x="23906" y="6781"/>
                  <a:pt x="23906" y="6781"/>
                </a:cubicBezTo>
                <a:cubicBezTo>
                  <a:pt x="23875" y="6719"/>
                  <a:pt x="23812" y="6687"/>
                  <a:pt x="23750" y="6656"/>
                </a:cubicBezTo>
                <a:cubicBezTo>
                  <a:pt x="23718" y="6625"/>
                  <a:pt x="23718" y="6625"/>
                  <a:pt x="23718" y="6594"/>
                </a:cubicBezTo>
                <a:cubicBezTo>
                  <a:pt x="23718" y="6625"/>
                  <a:pt x="23718" y="6625"/>
                  <a:pt x="23750" y="6656"/>
                </a:cubicBezTo>
                <a:cubicBezTo>
                  <a:pt x="23812" y="6687"/>
                  <a:pt x="23875" y="6719"/>
                  <a:pt x="23906" y="6781"/>
                </a:cubicBezTo>
                <a:close/>
                <a:moveTo>
                  <a:pt x="23687" y="6531"/>
                </a:moveTo>
                <a:cubicBezTo>
                  <a:pt x="23718" y="6531"/>
                  <a:pt x="23718" y="6562"/>
                  <a:pt x="23718" y="6562"/>
                </a:cubicBezTo>
                <a:cubicBezTo>
                  <a:pt x="23718" y="6562"/>
                  <a:pt x="23718" y="6531"/>
                  <a:pt x="23687" y="6531"/>
                </a:cubicBezTo>
                <a:cubicBezTo>
                  <a:pt x="23687" y="6562"/>
                  <a:pt x="23687" y="6562"/>
                  <a:pt x="23687" y="6562"/>
                </a:cubicBezTo>
                <a:cubicBezTo>
                  <a:pt x="23687" y="6562"/>
                  <a:pt x="23687" y="6562"/>
                  <a:pt x="23687" y="6531"/>
                </a:cubicBezTo>
                <a:cubicBezTo>
                  <a:pt x="23687" y="6531"/>
                  <a:pt x="23656" y="6500"/>
                  <a:pt x="23656" y="6469"/>
                </a:cubicBezTo>
                <a:cubicBezTo>
                  <a:pt x="23656" y="6500"/>
                  <a:pt x="23687" y="6531"/>
                  <a:pt x="23687" y="6531"/>
                </a:cubicBezTo>
                <a:close/>
                <a:moveTo>
                  <a:pt x="23625" y="7094"/>
                </a:moveTo>
                <a:cubicBezTo>
                  <a:pt x="23625" y="7094"/>
                  <a:pt x="23625" y="7094"/>
                  <a:pt x="23625" y="7094"/>
                </a:cubicBezTo>
                <a:cubicBezTo>
                  <a:pt x="23625" y="7094"/>
                  <a:pt x="23625" y="7125"/>
                  <a:pt x="23625" y="7125"/>
                </a:cubicBezTo>
                <a:cubicBezTo>
                  <a:pt x="23625" y="7125"/>
                  <a:pt x="23625" y="7094"/>
                  <a:pt x="23625" y="7094"/>
                </a:cubicBezTo>
                <a:close/>
                <a:moveTo>
                  <a:pt x="23562" y="7437"/>
                </a:moveTo>
                <a:cubicBezTo>
                  <a:pt x="23562" y="7531"/>
                  <a:pt x="23562" y="7594"/>
                  <a:pt x="23656" y="7656"/>
                </a:cubicBezTo>
                <a:cubicBezTo>
                  <a:pt x="23687" y="7719"/>
                  <a:pt x="23656" y="7781"/>
                  <a:pt x="23625" y="7844"/>
                </a:cubicBezTo>
                <a:cubicBezTo>
                  <a:pt x="23656" y="7781"/>
                  <a:pt x="23687" y="7719"/>
                  <a:pt x="23656" y="7656"/>
                </a:cubicBezTo>
                <a:cubicBezTo>
                  <a:pt x="23562" y="7594"/>
                  <a:pt x="23562" y="7531"/>
                  <a:pt x="23562" y="7437"/>
                </a:cubicBezTo>
                <a:close/>
                <a:moveTo>
                  <a:pt x="23593" y="21937"/>
                </a:moveTo>
                <a:cubicBezTo>
                  <a:pt x="23593" y="21937"/>
                  <a:pt x="23593" y="21937"/>
                  <a:pt x="23593" y="21969"/>
                </a:cubicBezTo>
                <a:cubicBezTo>
                  <a:pt x="23593" y="21969"/>
                  <a:pt x="23593" y="21969"/>
                  <a:pt x="23593" y="21969"/>
                </a:cubicBezTo>
                <a:cubicBezTo>
                  <a:pt x="23593" y="21937"/>
                  <a:pt x="23593" y="21937"/>
                  <a:pt x="23593" y="21937"/>
                </a:cubicBezTo>
                <a:close/>
                <a:moveTo>
                  <a:pt x="23593" y="21031"/>
                </a:moveTo>
                <a:cubicBezTo>
                  <a:pt x="23562" y="21000"/>
                  <a:pt x="23562" y="20937"/>
                  <a:pt x="23562" y="20906"/>
                </a:cubicBezTo>
                <a:cubicBezTo>
                  <a:pt x="23562" y="20937"/>
                  <a:pt x="23562" y="21000"/>
                  <a:pt x="23593" y="21031"/>
                </a:cubicBezTo>
                <a:cubicBezTo>
                  <a:pt x="23593" y="21062"/>
                  <a:pt x="23593" y="21062"/>
                  <a:pt x="23593" y="21062"/>
                </a:cubicBezTo>
                <a:cubicBezTo>
                  <a:pt x="23593" y="21062"/>
                  <a:pt x="23593" y="21062"/>
                  <a:pt x="23593" y="21031"/>
                </a:cubicBezTo>
                <a:close/>
                <a:moveTo>
                  <a:pt x="23562" y="20750"/>
                </a:moveTo>
                <a:cubicBezTo>
                  <a:pt x="23562" y="20750"/>
                  <a:pt x="23562" y="20750"/>
                  <a:pt x="23562" y="20750"/>
                </a:cubicBezTo>
                <a:cubicBezTo>
                  <a:pt x="23562" y="20750"/>
                  <a:pt x="23562" y="20781"/>
                  <a:pt x="23562" y="20781"/>
                </a:cubicBezTo>
                <a:cubicBezTo>
                  <a:pt x="23562" y="20781"/>
                  <a:pt x="23562" y="20750"/>
                  <a:pt x="23562" y="20750"/>
                </a:cubicBezTo>
                <a:close/>
                <a:moveTo>
                  <a:pt x="23343" y="6719"/>
                </a:moveTo>
                <a:cubicBezTo>
                  <a:pt x="23406" y="6625"/>
                  <a:pt x="23468" y="6531"/>
                  <a:pt x="23562" y="6500"/>
                </a:cubicBezTo>
                <a:cubicBezTo>
                  <a:pt x="23468" y="6531"/>
                  <a:pt x="23406" y="6625"/>
                  <a:pt x="23343" y="6719"/>
                </a:cubicBezTo>
                <a:cubicBezTo>
                  <a:pt x="23312" y="6750"/>
                  <a:pt x="23281" y="6812"/>
                  <a:pt x="23218" y="6844"/>
                </a:cubicBezTo>
                <a:cubicBezTo>
                  <a:pt x="23281" y="6812"/>
                  <a:pt x="23312" y="6750"/>
                  <a:pt x="23343" y="6719"/>
                </a:cubicBezTo>
                <a:close/>
                <a:moveTo>
                  <a:pt x="23500" y="20594"/>
                </a:moveTo>
                <a:cubicBezTo>
                  <a:pt x="23468" y="20625"/>
                  <a:pt x="23468" y="20687"/>
                  <a:pt x="23437" y="20687"/>
                </a:cubicBezTo>
                <a:cubicBezTo>
                  <a:pt x="23437" y="20687"/>
                  <a:pt x="23437" y="20687"/>
                  <a:pt x="23437" y="20687"/>
                </a:cubicBezTo>
                <a:cubicBezTo>
                  <a:pt x="23468" y="20687"/>
                  <a:pt x="23468" y="20625"/>
                  <a:pt x="23500" y="20594"/>
                </a:cubicBezTo>
                <a:close/>
                <a:moveTo>
                  <a:pt x="23343" y="9219"/>
                </a:moveTo>
                <a:cubicBezTo>
                  <a:pt x="23343" y="9219"/>
                  <a:pt x="23343" y="9219"/>
                  <a:pt x="23343" y="9219"/>
                </a:cubicBezTo>
                <a:cubicBezTo>
                  <a:pt x="23375" y="9219"/>
                  <a:pt x="23375" y="9219"/>
                  <a:pt x="23375" y="9219"/>
                </a:cubicBezTo>
                <a:cubicBezTo>
                  <a:pt x="23375" y="9219"/>
                  <a:pt x="23375" y="9219"/>
                  <a:pt x="23343" y="9219"/>
                </a:cubicBezTo>
                <a:close/>
                <a:moveTo>
                  <a:pt x="23375" y="22219"/>
                </a:moveTo>
                <a:cubicBezTo>
                  <a:pt x="23375" y="22219"/>
                  <a:pt x="23375" y="22219"/>
                  <a:pt x="23375" y="22219"/>
                </a:cubicBezTo>
                <a:cubicBezTo>
                  <a:pt x="23343" y="22219"/>
                  <a:pt x="23312" y="22187"/>
                  <a:pt x="23281" y="22187"/>
                </a:cubicBezTo>
                <a:cubicBezTo>
                  <a:pt x="23281" y="22156"/>
                  <a:pt x="23281" y="22156"/>
                  <a:pt x="23281" y="22125"/>
                </a:cubicBezTo>
                <a:cubicBezTo>
                  <a:pt x="23281" y="22156"/>
                  <a:pt x="23281" y="22156"/>
                  <a:pt x="23281" y="22187"/>
                </a:cubicBezTo>
                <a:cubicBezTo>
                  <a:pt x="23312" y="22187"/>
                  <a:pt x="23343" y="22219"/>
                  <a:pt x="23375" y="22219"/>
                </a:cubicBezTo>
                <a:close/>
                <a:moveTo>
                  <a:pt x="23281" y="21187"/>
                </a:moveTo>
                <a:cubicBezTo>
                  <a:pt x="23281" y="21187"/>
                  <a:pt x="23281" y="21187"/>
                  <a:pt x="23281" y="21187"/>
                </a:cubicBezTo>
                <a:cubicBezTo>
                  <a:pt x="23250" y="21250"/>
                  <a:pt x="23187" y="21312"/>
                  <a:pt x="23125" y="21344"/>
                </a:cubicBezTo>
                <a:cubicBezTo>
                  <a:pt x="23187" y="21312"/>
                  <a:pt x="23250" y="21250"/>
                  <a:pt x="23281" y="21187"/>
                </a:cubicBezTo>
                <a:close/>
                <a:moveTo>
                  <a:pt x="23156" y="22031"/>
                </a:moveTo>
                <a:cubicBezTo>
                  <a:pt x="23156" y="22062"/>
                  <a:pt x="23125" y="22062"/>
                  <a:pt x="23125" y="22062"/>
                </a:cubicBezTo>
                <a:cubicBezTo>
                  <a:pt x="23125" y="22062"/>
                  <a:pt x="23125" y="22062"/>
                  <a:pt x="23093" y="22062"/>
                </a:cubicBezTo>
                <a:cubicBezTo>
                  <a:pt x="23125" y="22062"/>
                  <a:pt x="23125" y="22062"/>
                  <a:pt x="23125" y="22062"/>
                </a:cubicBezTo>
                <a:cubicBezTo>
                  <a:pt x="23125" y="22062"/>
                  <a:pt x="23156" y="22062"/>
                  <a:pt x="23156" y="22031"/>
                </a:cubicBezTo>
                <a:cubicBezTo>
                  <a:pt x="23156" y="22000"/>
                  <a:pt x="23156" y="21969"/>
                  <a:pt x="23187" y="21937"/>
                </a:cubicBezTo>
                <a:cubicBezTo>
                  <a:pt x="23156" y="21969"/>
                  <a:pt x="23156" y="22000"/>
                  <a:pt x="23156" y="22031"/>
                </a:cubicBezTo>
                <a:close/>
                <a:moveTo>
                  <a:pt x="23187" y="22094"/>
                </a:moveTo>
                <a:cubicBezTo>
                  <a:pt x="23187" y="22094"/>
                  <a:pt x="23187" y="22094"/>
                  <a:pt x="23187" y="22094"/>
                </a:cubicBezTo>
                <a:cubicBezTo>
                  <a:pt x="23187" y="22125"/>
                  <a:pt x="23156" y="22125"/>
                  <a:pt x="23156" y="22125"/>
                </a:cubicBezTo>
                <a:cubicBezTo>
                  <a:pt x="23156" y="22125"/>
                  <a:pt x="23187" y="22125"/>
                  <a:pt x="23187" y="22094"/>
                </a:cubicBezTo>
                <a:close/>
                <a:moveTo>
                  <a:pt x="23156" y="8969"/>
                </a:moveTo>
                <a:cubicBezTo>
                  <a:pt x="23156" y="8969"/>
                  <a:pt x="23156" y="9000"/>
                  <a:pt x="23156" y="9000"/>
                </a:cubicBezTo>
                <a:lnTo>
                  <a:pt x="23156" y="8969"/>
                </a:lnTo>
                <a:close/>
                <a:moveTo>
                  <a:pt x="23156" y="9000"/>
                </a:moveTo>
                <a:cubicBezTo>
                  <a:pt x="23156" y="9000"/>
                  <a:pt x="23156" y="9000"/>
                  <a:pt x="23156" y="9000"/>
                </a:cubicBezTo>
                <a:cubicBezTo>
                  <a:pt x="23156" y="9000"/>
                  <a:pt x="23156" y="9000"/>
                  <a:pt x="23156" y="9000"/>
                </a:cubicBezTo>
                <a:close/>
                <a:moveTo>
                  <a:pt x="23156" y="6969"/>
                </a:moveTo>
                <a:cubicBezTo>
                  <a:pt x="23156" y="6969"/>
                  <a:pt x="23156" y="6969"/>
                  <a:pt x="23156" y="6969"/>
                </a:cubicBezTo>
                <a:cubicBezTo>
                  <a:pt x="23156" y="6969"/>
                  <a:pt x="23156" y="6969"/>
                  <a:pt x="23156" y="6969"/>
                </a:cubicBezTo>
                <a:cubicBezTo>
                  <a:pt x="23156" y="6969"/>
                  <a:pt x="23156" y="6969"/>
                  <a:pt x="23156" y="6969"/>
                </a:cubicBezTo>
                <a:close/>
                <a:moveTo>
                  <a:pt x="23156" y="10031"/>
                </a:moveTo>
                <a:cubicBezTo>
                  <a:pt x="23156" y="10062"/>
                  <a:pt x="23125" y="10062"/>
                  <a:pt x="23125" y="10062"/>
                </a:cubicBezTo>
                <a:cubicBezTo>
                  <a:pt x="23125" y="10062"/>
                  <a:pt x="23156" y="10062"/>
                  <a:pt x="23156" y="10031"/>
                </a:cubicBezTo>
                <a:cubicBezTo>
                  <a:pt x="23156" y="10031"/>
                  <a:pt x="23156" y="10000"/>
                  <a:pt x="23125" y="10000"/>
                </a:cubicBezTo>
                <a:cubicBezTo>
                  <a:pt x="23156" y="10000"/>
                  <a:pt x="23156" y="10031"/>
                  <a:pt x="23156" y="10031"/>
                </a:cubicBezTo>
                <a:close/>
                <a:moveTo>
                  <a:pt x="23125" y="9000"/>
                </a:moveTo>
                <a:cubicBezTo>
                  <a:pt x="23125" y="9000"/>
                  <a:pt x="23093" y="9000"/>
                  <a:pt x="23093" y="9031"/>
                </a:cubicBezTo>
                <a:cubicBezTo>
                  <a:pt x="23093" y="9000"/>
                  <a:pt x="23125" y="9000"/>
                  <a:pt x="23125" y="9000"/>
                </a:cubicBezTo>
                <a:close/>
                <a:moveTo>
                  <a:pt x="23000" y="7281"/>
                </a:moveTo>
                <a:cubicBezTo>
                  <a:pt x="23000" y="7312"/>
                  <a:pt x="23000" y="7312"/>
                  <a:pt x="22968" y="7344"/>
                </a:cubicBezTo>
                <a:cubicBezTo>
                  <a:pt x="22968" y="7344"/>
                  <a:pt x="22968" y="7344"/>
                  <a:pt x="22968" y="7344"/>
                </a:cubicBezTo>
                <a:cubicBezTo>
                  <a:pt x="23000" y="7312"/>
                  <a:pt x="23000" y="7312"/>
                  <a:pt x="23000" y="7281"/>
                </a:cubicBezTo>
                <a:close/>
                <a:moveTo>
                  <a:pt x="23000" y="21375"/>
                </a:moveTo>
                <a:cubicBezTo>
                  <a:pt x="23000" y="21375"/>
                  <a:pt x="23000" y="21375"/>
                  <a:pt x="23000" y="21375"/>
                </a:cubicBezTo>
                <a:cubicBezTo>
                  <a:pt x="23031" y="21344"/>
                  <a:pt x="23062" y="21344"/>
                  <a:pt x="23062" y="21344"/>
                </a:cubicBezTo>
                <a:cubicBezTo>
                  <a:pt x="23062" y="21344"/>
                  <a:pt x="23031" y="21344"/>
                  <a:pt x="23000" y="21375"/>
                </a:cubicBezTo>
                <a:cubicBezTo>
                  <a:pt x="23000" y="21375"/>
                  <a:pt x="23000" y="21375"/>
                  <a:pt x="23000" y="21375"/>
                </a:cubicBezTo>
                <a:cubicBezTo>
                  <a:pt x="22937" y="21344"/>
                  <a:pt x="22875" y="21344"/>
                  <a:pt x="22812" y="21344"/>
                </a:cubicBezTo>
                <a:cubicBezTo>
                  <a:pt x="22875" y="21344"/>
                  <a:pt x="22937" y="21344"/>
                  <a:pt x="23000" y="21375"/>
                </a:cubicBezTo>
                <a:close/>
                <a:moveTo>
                  <a:pt x="22718" y="22406"/>
                </a:moveTo>
                <a:cubicBezTo>
                  <a:pt x="22812" y="22406"/>
                  <a:pt x="22906" y="22437"/>
                  <a:pt x="22968" y="22437"/>
                </a:cubicBezTo>
                <a:cubicBezTo>
                  <a:pt x="22906" y="22437"/>
                  <a:pt x="22812" y="22406"/>
                  <a:pt x="22718" y="22406"/>
                </a:cubicBezTo>
                <a:cubicBezTo>
                  <a:pt x="22718" y="22406"/>
                  <a:pt x="22718" y="22406"/>
                  <a:pt x="22718" y="22406"/>
                </a:cubicBezTo>
                <a:cubicBezTo>
                  <a:pt x="22718" y="22375"/>
                  <a:pt x="22687" y="22375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56" y="22344"/>
                  <a:pt x="22656" y="22344"/>
                  <a:pt x="22656" y="22344"/>
                </a:cubicBezTo>
                <a:cubicBezTo>
                  <a:pt x="22687" y="22375"/>
                  <a:pt x="22718" y="22375"/>
                  <a:pt x="22718" y="22406"/>
                </a:cubicBezTo>
                <a:close/>
                <a:moveTo>
                  <a:pt x="22718" y="22469"/>
                </a:moveTo>
                <a:cubicBezTo>
                  <a:pt x="22687" y="22469"/>
                  <a:pt x="22687" y="22469"/>
                  <a:pt x="22687" y="22437"/>
                </a:cubicBezTo>
                <a:cubicBezTo>
                  <a:pt x="22687" y="22469"/>
                  <a:pt x="22687" y="22469"/>
                  <a:pt x="22718" y="22469"/>
                </a:cubicBezTo>
                <a:close/>
                <a:moveTo>
                  <a:pt x="22625" y="8062"/>
                </a:moveTo>
                <a:cubicBezTo>
                  <a:pt x="22656" y="8062"/>
                  <a:pt x="22656" y="8031"/>
                  <a:pt x="22656" y="8031"/>
                </a:cubicBezTo>
                <a:cubicBezTo>
                  <a:pt x="22656" y="8000"/>
                  <a:pt x="22656" y="7969"/>
                  <a:pt x="22656" y="7937"/>
                </a:cubicBezTo>
                <a:cubicBezTo>
                  <a:pt x="22656" y="7969"/>
                  <a:pt x="22656" y="8000"/>
                  <a:pt x="22656" y="8031"/>
                </a:cubicBezTo>
                <a:cubicBezTo>
                  <a:pt x="22656" y="8031"/>
                  <a:pt x="22656" y="8031"/>
                  <a:pt x="22656" y="8031"/>
                </a:cubicBezTo>
                <a:cubicBezTo>
                  <a:pt x="22656" y="8031"/>
                  <a:pt x="22656" y="8062"/>
                  <a:pt x="22625" y="8062"/>
                </a:cubicBezTo>
                <a:cubicBezTo>
                  <a:pt x="22625" y="8062"/>
                  <a:pt x="22625" y="8062"/>
                  <a:pt x="22625" y="8062"/>
                </a:cubicBezTo>
                <a:close/>
                <a:moveTo>
                  <a:pt x="22593" y="22781"/>
                </a:moveTo>
                <a:cubicBezTo>
                  <a:pt x="22593" y="22781"/>
                  <a:pt x="22593" y="22781"/>
                  <a:pt x="22593" y="22781"/>
                </a:cubicBezTo>
                <a:cubicBezTo>
                  <a:pt x="22593" y="22781"/>
                  <a:pt x="22562" y="22781"/>
                  <a:pt x="22562" y="22781"/>
                </a:cubicBezTo>
                <a:cubicBezTo>
                  <a:pt x="22562" y="22781"/>
                  <a:pt x="22593" y="22781"/>
                  <a:pt x="22593" y="22781"/>
                </a:cubicBezTo>
                <a:close/>
                <a:moveTo>
                  <a:pt x="22500" y="8437"/>
                </a:moveTo>
                <a:cubicBezTo>
                  <a:pt x="22500" y="8469"/>
                  <a:pt x="22500" y="8500"/>
                  <a:pt x="22500" y="8500"/>
                </a:cubicBezTo>
                <a:cubicBezTo>
                  <a:pt x="22500" y="8500"/>
                  <a:pt x="22500" y="8469"/>
                  <a:pt x="22500" y="8437"/>
                </a:cubicBezTo>
                <a:cubicBezTo>
                  <a:pt x="22437" y="8437"/>
                  <a:pt x="22437" y="8406"/>
                  <a:pt x="22437" y="8375"/>
                </a:cubicBezTo>
                <a:cubicBezTo>
                  <a:pt x="22437" y="8406"/>
                  <a:pt x="22437" y="8437"/>
                  <a:pt x="22500" y="8437"/>
                </a:cubicBezTo>
                <a:close/>
                <a:moveTo>
                  <a:pt x="22375" y="22437"/>
                </a:moveTo>
                <a:cubicBezTo>
                  <a:pt x="22406" y="22437"/>
                  <a:pt x="22468" y="22437"/>
                  <a:pt x="22500" y="22437"/>
                </a:cubicBezTo>
                <a:cubicBezTo>
                  <a:pt x="22468" y="22437"/>
                  <a:pt x="22406" y="22437"/>
                  <a:pt x="22375" y="22437"/>
                </a:cubicBezTo>
                <a:cubicBezTo>
                  <a:pt x="22375" y="22469"/>
                  <a:pt x="22343" y="22469"/>
                  <a:pt x="22343" y="22469"/>
                </a:cubicBezTo>
                <a:cubicBezTo>
                  <a:pt x="22343" y="22469"/>
                  <a:pt x="22375" y="22469"/>
                  <a:pt x="22375" y="22437"/>
                </a:cubicBezTo>
                <a:close/>
                <a:moveTo>
                  <a:pt x="22312" y="22469"/>
                </a:moveTo>
                <a:cubicBezTo>
                  <a:pt x="22312" y="22469"/>
                  <a:pt x="22281" y="22469"/>
                  <a:pt x="22281" y="22469"/>
                </a:cubicBezTo>
                <a:cubicBezTo>
                  <a:pt x="22281" y="22500"/>
                  <a:pt x="22250" y="22531"/>
                  <a:pt x="22250" y="22562"/>
                </a:cubicBezTo>
                <a:cubicBezTo>
                  <a:pt x="22250" y="22562"/>
                  <a:pt x="22250" y="22562"/>
                  <a:pt x="22250" y="22562"/>
                </a:cubicBezTo>
                <a:cubicBezTo>
                  <a:pt x="22250" y="22531"/>
                  <a:pt x="22281" y="22500"/>
                  <a:pt x="22281" y="22469"/>
                </a:cubicBezTo>
                <a:cubicBezTo>
                  <a:pt x="22281" y="22469"/>
                  <a:pt x="22312" y="22469"/>
                  <a:pt x="22312" y="22469"/>
                </a:cubicBezTo>
                <a:close/>
                <a:moveTo>
                  <a:pt x="22312" y="22562"/>
                </a:moveTo>
                <a:cubicBezTo>
                  <a:pt x="22281" y="22562"/>
                  <a:pt x="22281" y="22562"/>
                  <a:pt x="22281" y="22562"/>
                </a:cubicBezTo>
                <a:cubicBezTo>
                  <a:pt x="22281" y="22562"/>
                  <a:pt x="22281" y="22562"/>
                  <a:pt x="22312" y="22562"/>
                </a:cubicBezTo>
                <a:close/>
                <a:moveTo>
                  <a:pt x="22187" y="21469"/>
                </a:moveTo>
                <a:cubicBezTo>
                  <a:pt x="22187" y="21469"/>
                  <a:pt x="22187" y="21469"/>
                  <a:pt x="22187" y="21469"/>
                </a:cubicBezTo>
                <a:cubicBezTo>
                  <a:pt x="22187" y="21469"/>
                  <a:pt x="22187" y="21469"/>
                  <a:pt x="22187" y="21469"/>
                </a:cubicBezTo>
                <a:close/>
                <a:moveTo>
                  <a:pt x="22156" y="22437"/>
                </a:moveTo>
                <a:cubicBezTo>
                  <a:pt x="22093" y="22437"/>
                  <a:pt x="22031" y="22437"/>
                  <a:pt x="22000" y="22469"/>
                </a:cubicBezTo>
                <a:cubicBezTo>
                  <a:pt x="22031" y="22437"/>
                  <a:pt x="22093" y="22437"/>
                  <a:pt x="22156" y="22437"/>
                </a:cubicBezTo>
                <a:close/>
                <a:moveTo>
                  <a:pt x="22031" y="9937"/>
                </a:moveTo>
                <a:cubicBezTo>
                  <a:pt x="22031" y="9937"/>
                  <a:pt x="22031" y="9937"/>
                  <a:pt x="22031" y="9937"/>
                </a:cubicBezTo>
                <a:cubicBezTo>
                  <a:pt x="21968" y="10031"/>
                  <a:pt x="21937" y="10094"/>
                  <a:pt x="21875" y="10187"/>
                </a:cubicBezTo>
                <a:cubicBezTo>
                  <a:pt x="21937" y="10094"/>
                  <a:pt x="21968" y="10031"/>
                  <a:pt x="22031" y="9937"/>
                </a:cubicBezTo>
                <a:close/>
                <a:moveTo>
                  <a:pt x="21968" y="22500"/>
                </a:moveTo>
                <a:cubicBezTo>
                  <a:pt x="21968" y="22500"/>
                  <a:pt x="21968" y="22500"/>
                  <a:pt x="21968" y="22500"/>
                </a:cubicBezTo>
                <a:cubicBezTo>
                  <a:pt x="21968" y="22500"/>
                  <a:pt x="21968" y="22500"/>
                  <a:pt x="21937" y="22500"/>
                </a:cubicBezTo>
                <a:cubicBezTo>
                  <a:pt x="21968" y="22500"/>
                  <a:pt x="21968" y="22500"/>
                  <a:pt x="21968" y="22500"/>
                </a:cubicBezTo>
                <a:close/>
                <a:moveTo>
                  <a:pt x="21750" y="16687"/>
                </a:moveTo>
                <a:cubicBezTo>
                  <a:pt x="21781" y="16687"/>
                  <a:pt x="21781" y="16719"/>
                  <a:pt x="21781" y="16719"/>
                </a:cubicBezTo>
                <a:cubicBezTo>
                  <a:pt x="21781" y="16750"/>
                  <a:pt x="21750" y="16750"/>
                  <a:pt x="21750" y="16750"/>
                </a:cubicBezTo>
                <a:cubicBezTo>
                  <a:pt x="21750" y="16750"/>
                  <a:pt x="21781" y="16750"/>
                  <a:pt x="21781" y="16719"/>
                </a:cubicBezTo>
                <a:cubicBezTo>
                  <a:pt x="21781" y="16719"/>
                  <a:pt x="21781" y="16687"/>
                  <a:pt x="21750" y="16687"/>
                </a:cubicBezTo>
                <a:close/>
                <a:moveTo>
                  <a:pt x="21750" y="22437"/>
                </a:moveTo>
                <a:cubicBezTo>
                  <a:pt x="21750" y="22437"/>
                  <a:pt x="21750" y="22437"/>
                  <a:pt x="21750" y="22437"/>
                </a:cubicBezTo>
                <a:cubicBezTo>
                  <a:pt x="21750" y="22437"/>
                  <a:pt x="21750" y="22437"/>
                  <a:pt x="21750" y="22437"/>
                </a:cubicBezTo>
                <a:cubicBezTo>
                  <a:pt x="21750" y="22437"/>
                  <a:pt x="21750" y="22437"/>
                  <a:pt x="21750" y="22437"/>
                </a:cubicBezTo>
                <a:close/>
                <a:moveTo>
                  <a:pt x="21656" y="21844"/>
                </a:moveTo>
                <a:cubicBezTo>
                  <a:pt x="21656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56" y="21812"/>
                  <a:pt x="21656" y="21844"/>
                </a:cubicBezTo>
                <a:close/>
                <a:moveTo>
                  <a:pt x="21625" y="21812"/>
                </a:move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ubicBezTo>
                  <a:pt x="21625" y="21812"/>
                  <a:pt x="21625" y="21812"/>
                  <a:pt x="21625" y="21812"/>
                </a:cubicBezTo>
                <a:close/>
                <a:moveTo>
                  <a:pt x="21593" y="22656"/>
                </a:moveTo>
                <a:cubicBezTo>
                  <a:pt x="21562" y="22687"/>
                  <a:pt x="21531" y="22687"/>
                  <a:pt x="21531" y="22750"/>
                </a:cubicBezTo>
                <a:cubicBezTo>
                  <a:pt x="21531" y="22750"/>
                  <a:pt x="21500" y="22750"/>
                  <a:pt x="21500" y="22750"/>
                </a:cubicBezTo>
                <a:cubicBezTo>
                  <a:pt x="21500" y="22750"/>
                  <a:pt x="21531" y="22750"/>
                  <a:pt x="21531" y="22750"/>
                </a:cubicBezTo>
                <a:cubicBezTo>
                  <a:pt x="21531" y="22687"/>
                  <a:pt x="21562" y="22687"/>
                  <a:pt x="21593" y="22656"/>
                </a:cubicBezTo>
                <a:close/>
                <a:moveTo>
                  <a:pt x="21437" y="22469"/>
                </a:moveTo>
                <a:cubicBezTo>
                  <a:pt x="21437" y="22531"/>
                  <a:pt x="21437" y="22562"/>
                  <a:pt x="21468" y="22625"/>
                </a:cubicBezTo>
                <a:cubicBezTo>
                  <a:pt x="21468" y="22625"/>
                  <a:pt x="21500" y="22625"/>
                  <a:pt x="21500" y="22656"/>
                </a:cubicBezTo>
                <a:cubicBezTo>
                  <a:pt x="21500" y="22625"/>
                  <a:pt x="21468" y="22625"/>
                  <a:pt x="21468" y="22625"/>
                </a:cubicBezTo>
                <a:cubicBezTo>
                  <a:pt x="21437" y="22562"/>
                  <a:pt x="21437" y="22531"/>
                  <a:pt x="21437" y="22469"/>
                </a:cubicBezTo>
                <a:close/>
                <a:moveTo>
                  <a:pt x="21437" y="9437"/>
                </a:moveTo>
                <a:cubicBezTo>
                  <a:pt x="21437" y="9437"/>
                  <a:pt x="21437" y="9406"/>
                  <a:pt x="21437" y="9406"/>
                </a:cubicBezTo>
                <a:cubicBezTo>
                  <a:pt x="21437" y="9406"/>
                  <a:pt x="21468" y="9406"/>
                  <a:pt x="21468" y="9406"/>
                </a:cubicBezTo>
                <a:cubicBezTo>
                  <a:pt x="21468" y="9437"/>
                  <a:pt x="21468" y="9437"/>
                  <a:pt x="21468" y="9437"/>
                </a:cubicBezTo>
                <a:cubicBezTo>
                  <a:pt x="21468" y="9437"/>
                  <a:pt x="21437" y="9437"/>
                  <a:pt x="21437" y="9437"/>
                </a:cubicBezTo>
                <a:close/>
                <a:moveTo>
                  <a:pt x="21343" y="2625"/>
                </a:moveTo>
                <a:cubicBezTo>
                  <a:pt x="21343" y="2594"/>
                  <a:pt x="21375" y="2562"/>
                  <a:pt x="21375" y="2531"/>
                </a:cubicBezTo>
                <a:cubicBezTo>
                  <a:pt x="21375" y="2500"/>
                  <a:pt x="21343" y="2437"/>
                  <a:pt x="21406" y="2437"/>
                </a:cubicBezTo>
                <a:cubicBezTo>
                  <a:pt x="21468" y="2437"/>
                  <a:pt x="21468" y="2562"/>
                  <a:pt x="21562" y="2562"/>
                </a:cubicBezTo>
                <a:cubicBezTo>
                  <a:pt x="21437" y="2594"/>
                  <a:pt x="21500" y="2656"/>
                  <a:pt x="21500" y="2687"/>
                </a:cubicBezTo>
                <a:cubicBezTo>
                  <a:pt x="21500" y="2719"/>
                  <a:pt x="21437" y="2719"/>
                  <a:pt x="21406" y="2687"/>
                </a:cubicBezTo>
                <a:cubicBezTo>
                  <a:pt x="21375" y="2687"/>
                  <a:pt x="21343" y="2687"/>
                  <a:pt x="21343" y="2625"/>
                </a:cubicBezTo>
                <a:close/>
                <a:moveTo>
                  <a:pt x="21406" y="22656"/>
                </a:moveTo>
                <a:cubicBezTo>
                  <a:pt x="21406" y="22656"/>
                  <a:pt x="21375" y="22656"/>
                  <a:pt x="21375" y="22656"/>
                </a:cubicBezTo>
                <a:cubicBezTo>
                  <a:pt x="21375" y="22656"/>
                  <a:pt x="21406" y="22656"/>
                  <a:pt x="21406" y="22656"/>
                </a:cubicBezTo>
                <a:close/>
                <a:moveTo>
                  <a:pt x="21375" y="22062"/>
                </a:moveTo>
                <a:cubicBezTo>
                  <a:pt x="21375" y="22062"/>
                  <a:pt x="21375" y="22062"/>
                  <a:pt x="21375" y="22062"/>
                </a:cubicBezTo>
                <a:cubicBezTo>
                  <a:pt x="21375" y="22062"/>
                  <a:pt x="21375" y="22062"/>
                  <a:pt x="21375" y="22062"/>
                </a:cubicBezTo>
                <a:cubicBezTo>
                  <a:pt x="21375" y="22062"/>
                  <a:pt x="21343" y="22062"/>
                  <a:pt x="21343" y="22062"/>
                </a:cubicBezTo>
                <a:cubicBezTo>
                  <a:pt x="21343" y="22062"/>
                  <a:pt x="21375" y="22062"/>
                  <a:pt x="21375" y="22062"/>
                </a:cubicBezTo>
                <a:close/>
                <a:moveTo>
                  <a:pt x="21187" y="6469"/>
                </a:moveTo>
                <a:cubicBezTo>
                  <a:pt x="21187" y="6437"/>
                  <a:pt x="21218" y="6437"/>
                  <a:pt x="21218" y="6437"/>
                </a:cubicBezTo>
                <a:cubicBezTo>
                  <a:pt x="21218" y="6437"/>
                  <a:pt x="21187" y="6437"/>
                  <a:pt x="21187" y="6469"/>
                </a:cubicBezTo>
                <a:close/>
                <a:moveTo>
                  <a:pt x="21187" y="21687"/>
                </a:moveTo>
                <a:cubicBezTo>
                  <a:pt x="21218" y="21687"/>
                  <a:pt x="21218" y="21687"/>
                  <a:pt x="21218" y="21687"/>
                </a:cubicBezTo>
                <a:cubicBezTo>
                  <a:pt x="21218" y="21687"/>
                  <a:pt x="21218" y="21687"/>
                  <a:pt x="21218" y="21687"/>
                </a:cubicBezTo>
                <a:cubicBezTo>
                  <a:pt x="21218" y="21687"/>
                  <a:pt x="21218" y="21687"/>
                  <a:pt x="21187" y="21687"/>
                </a:cubicBezTo>
                <a:close/>
                <a:moveTo>
                  <a:pt x="21218" y="21844"/>
                </a:move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218" y="21844"/>
                </a:cubicBezTo>
                <a:close/>
                <a:moveTo>
                  <a:pt x="21187" y="21812"/>
                </a:moveTo>
                <a:cubicBezTo>
                  <a:pt x="21187" y="21812"/>
                  <a:pt x="21187" y="21812"/>
                  <a:pt x="21187" y="21812"/>
                </a:cubicBezTo>
                <a:cubicBezTo>
                  <a:pt x="21187" y="21812"/>
                  <a:pt x="21187" y="21812"/>
                  <a:pt x="21187" y="21812"/>
                </a:cubicBezTo>
                <a:cubicBezTo>
                  <a:pt x="21187" y="21812"/>
                  <a:pt x="21187" y="21812"/>
                  <a:pt x="21187" y="21812"/>
                </a:cubicBezTo>
                <a:close/>
                <a:moveTo>
                  <a:pt x="21187" y="21844"/>
                </a:move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ubicBezTo>
                  <a:pt x="21187" y="21844"/>
                  <a:pt x="21187" y="21844"/>
                  <a:pt x="21187" y="21844"/>
                </a:cubicBezTo>
                <a:close/>
                <a:moveTo>
                  <a:pt x="21187" y="19094"/>
                </a:moveTo>
                <a:cubicBezTo>
                  <a:pt x="21187" y="19094"/>
                  <a:pt x="21156" y="19125"/>
                  <a:pt x="21156" y="19125"/>
                </a:cubicBezTo>
                <a:cubicBezTo>
                  <a:pt x="21156" y="19125"/>
                  <a:pt x="21187" y="19094"/>
                  <a:pt x="21187" y="19094"/>
                </a:cubicBezTo>
                <a:cubicBezTo>
                  <a:pt x="21187" y="19094"/>
                  <a:pt x="21156" y="19062"/>
                  <a:pt x="21156" y="19062"/>
                </a:cubicBezTo>
                <a:cubicBezTo>
                  <a:pt x="21156" y="19062"/>
                  <a:pt x="21187" y="19094"/>
                  <a:pt x="21187" y="19094"/>
                </a:cubicBezTo>
                <a:close/>
                <a:moveTo>
                  <a:pt x="21125" y="19250"/>
                </a:moveTo>
                <a:cubicBezTo>
                  <a:pt x="21125" y="19250"/>
                  <a:pt x="21125" y="19219"/>
                  <a:pt x="21125" y="19219"/>
                </a:cubicBezTo>
                <a:cubicBezTo>
                  <a:pt x="21125" y="19219"/>
                  <a:pt x="21125" y="19250"/>
                  <a:pt x="21125" y="19250"/>
                </a:cubicBezTo>
                <a:cubicBezTo>
                  <a:pt x="21125" y="19250"/>
                  <a:pt x="21125" y="19250"/>
                  <a:pt x="21125" y="19250"/>
                </a:cubicBezTo>
                <a:cubicBezTo>
                  <a:pt x="21125" y="19250"/>
                  <a:pt x="21125" y="19250"/>
                  <a:pt x="21125" y="19250"/>
                </a:cubicBezTo>
                <a:cubicBezTo>
                  <a:pt x="21125" y="19250"/>
                  <a:pt x="21093" y="19250"/>
                  <a:pt x="21093" y="19250"/>
                </a:cubicBezTo>
                <a:cubicBezTo>
                  <a:pt x="21093" y="19250"/>
                  <a:pt x="21125" y="19250"/>
                  <a:pt x="21125" y="19250"/>
                </a:cubicBezTo>
                <a:close/>
                <a:moveTo>
                  <a:pt x="20968" y="22625"/>
                </a:moveTo>
                <a:cubicBezTo>
                  <a:pt x="20968" y="22625"/>
                  <a:pt x="20937" y="22625"/>
                  <a:pt x="20937" y="22625"/>
                </a:cubicBezTo>
                <a:cubicBezTo>
                  <a:pt x="20937" y="22625"/>
                  <a:pt x="20968" y="22625"/>
                  <a:pt x="20968" y="22625"/>
                </a:cubicBezTo>
                <a:close/>
                <a:moveTo>
                  <a:pt x="20937" y="22750"/>
                </a:move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lose/>
                <a:moveTo>
                  <a:pt x="20937" y="22750"/>
                </a:move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ubicBezTo>
                  <a:pt x="20937" y="22750"/>
                  <a:pt x="20937" y="22750"/>
                  <a:pt x="20937" y="22750"/>
                </a:cubicBezTo>
                <a:close/>
                <a:moveTo>
                  <a:pt x="20906" y="7406"/>
                </a:moveTo>
                <a:cubicBezTo>
                  <a:pt x="20906" y="7406"/>
                  <a:pt x="20906" y="7406"/>
                  <a:pt x="20906" y="7406"/>
                </a:cubicBezTo>
                <a:cubicBezTo>
                  <a:pt x="20906" y="7406"/>
                  <a:pt x="20906" y="7406"/>
                  <a:pt x="20906" y="7406"/>
                </a:cubicBezTo>
                <a:cubicBezTo>
                  <a:pt x="20906" y="7406"/>
                  <a:pt x="20937" y="7406"/>
                  <a:pt x="20937" y="7406"/>
                </a:cubicBezTo>
                <a:cubicBezTo>
                  <a:pt x="20937" y="7406"/>
                  <a:pt x="20906" y="7406"/>
                  <a:pt x="20906" y="7406"/>
                </a:cubicBezTo>
                <a:close/>
                <a:moveTo>
                  <a:pt x="20906" y="7219"/>
                </a:moveTo>
                <a:cubicBezTo>
                  <a:pt x="20937" y="7187"/>
                  <a:pt x="20875" y="7187"/>
                  <a:pt x="20843" y="7187"/>
                </a:cubicBezTo>
                <a:cubicBezTo>
                  <a:pt x="20843" y="7187"/>
                  <a:pt x="20843" y="7156"/>
                  <a:pt x="20843" y="7156"/>
                </a:cubicBezTo>
                <a:cubicBezTo>
                  <a:pt x="20843" y="7156"/>
                  <a:pt x="20843" y="7156"/>
                  <a:pt x="20843" y="7125"/>
                </a:cubicBezTo>
                <a:cubicBezTo>
                  <a:pt x="20843" y="7156"/>
                  <a:pt x="20843" y="7156"/>
                  <a:pt x="20843" y="7156"/>
                </a:cubicBezTo>
                <a:cubicBezTo>
                  <a:pt x="20843" y="7187"/>
                  <a:pt x="20843" y="7187"/>
                  <a:pt x="20843" y="7187"/>
                </a:cubicBezTo>
                <a:cubicBezTo>
                  <a:pt x="20875" y="7187"/>
                  <a:pt x="20937" y="7187"/>
                  <a:pt x="20906" y="7219"/>
                </a:cubicBezTo>
                <a:close/>
                <a:moveTo>
                  <a:pt x="20781" y="8312"/>
                </a:moveTo>
                <a:cubicBezTo>
                  <a:pt x="20812" y="8312"/>
                  <a:pt x="20843" y="8312"/>
                  <a:pt x="20843" y="8344"/>
                </a:cubicBezTo>
                <a:cubicBezTo>
                  <a:pt x="20843" y="8375"/>
                  <a:pt x="20843" y="8406"/>
                  <a:pt x="20812" y="8406"/>
                </a:cubicBezTo>
                <a:cubicBezTo>
                  <a:pt x="20843" y="8406"/>
                  <a:pt x="20843" y="8375"/>
                  <a:pt x="20843" y="8344"/>
                </a:cubicBezTo>
                <a:cubicBezTo>
                  <a:pt x="20843" y="8312"/>
                  <a:pt x="20812" y="8312"/>
                  <a:pt x="20781" y="8312"/>
                </a:cubicBezTo>
                <a:close/>
                <a:moveTo>
                  <a:pt x="20781" y="7062"/>
                </a:moveTo>
                <a:cubicBezTo>
                  <a:pt x="20781" y="7062"/>
                  <a:pt x="20781" y="7062"/>
                  <a:pt x="20781" y="7062"/>
                </a:cubicBezTo>
                <a:cubicBezTo>
                  <a:pt x="20781" y="7062"/>
                  <a:pt x="20781" y="7094"/>
                  <a:pt x="20781" y="7094"/>
                </a:cubicBezTo>
                <a:cubicBezTo>
                  <a:pt x="20781" y="7094"/>
                  <a:pt x="20781" y="7062"/>
                  <a:pt x="20781" y="7062"/>
                </a:cubicBezTo>
                <a:close/>
                <a:moveTo>
                  <a:pt x="20781" y="8531"/>
                </a:moveTo>
                <a:cubicBezTo>
                  <a:pt x="20750" y="8531"/>
                  <a:pt x="20718" y="8500"/>
                  <a:pt x="20687" y="8437"/>
                </a:cubicBezTo>
                <a:cubicBezTo>
                  <a:pt x="20687" y="8437"/>
                  <a:pt x="20687" y="8437"/>
                  <a:pt x="20687" y="8437"/>
                </a:cubicBezTo>
                <a:cubicBezTo>
                  <a:pt x="20718" y="8500"/>
                  <a:pt x="20750" y="8531"/>
                  <a:pt x="20781" y="8531"/>
                </a:cubicBezTo>
                <a:close/>
                <a:moveTo>
                  <a:pt x="20718" y="19125"/>
                </a:moveTo>
                <a:cubicBezTo>
                  <a:pt x="20718" y="19125"/>
                  <a:pt x="20718" y="19125"/>
                  <a:pt x="20718" y="19125"/>
                </a:cubicBezTo>
                <a:cubicBezTo>
                  <a:pt x="20718" y="19125"/>
                  <a:pt x="20718" y="19125"/>
                  <a:pt x="20718" y="19125"/>
                </a:cubicBezTo>
                <a:cubicBezTo>
                  <a:pt x="20718" y="19125"/>
                  <a:pt x="20718" y="19125"/>
                  <a:pt x="20718" y="19125"/>
                </a:cubicBezTo>
                <a:close/>
                <a:moveTo>
                  <a:pt x="20781" y="22562"/>
                </a:moveTo>
                <a:cubicBezTo>
                  <a:pt x="20843" y="22594"/>
                  <a:pt x="20843" y="22562"/>
                  <a:pt x="20875" y="22562"/>
                </a:cubicBezTo>
                <a:cubicBezTo>
                  <a:pt x="20843" y="22562"/>
                  <a:pt x="20843" y="22594"/>
                  <a:pt x="20781" y="22562"/>
                </a:cubicBezTo>
                <a:cubicBezTo>
                  <a:pt x="20750" y="22500"/>
                  <a:pt x="20718" y="22437"/>
                  <a:pt x="20687" y="22375"/>
                </a:cubicBezTo>
                <a:cubicBezTo>
                  <a:pt x="20718" y="22437"/>
                  <a:pt x="20750" y="22500"/>
                  <a:pt x="20781" y="22562"/>
                </a:cubicBezTo>
                <a:close/>
                <a:moveTo>
                  <a:pt x="19437" y="500"/>
                </a:moveTo>
                <a:cubicBezTo>
                  <a:pt x="19468" y="531"/>
                  <a:pt x="19500" y="531"/>
                  <a:pt x="19531" y="531"/>
                </a:cubicBezTo>
                <a:cubicBezTo>
                  <a:pt x="19562" y="531"/>
                  <a:pt x="19625" y="531"/>
                  <a:pt x="19593" y="594"/>
                </a:cubicBezTo>
                <a:cubicBezTo>
                  <a:pt x="19593" y="594"/>
                  <a:pt x="19593" y="719"/>
                  <a:pt x="19531" y="625"/>
                </a:cubicBezTo>
                <a:cubicBezTo>
                  <a:pt x="19500" y="625"/>
                  <a:pt x="19468" y="656"/>
                  <a:pt x="19468" y="656"/>
                </a:cubicBezTo>
                <a:cubicBezTo>
                  <a:pt x="19406" y="719"/>
                  <a:pt x="19406" y="687"/>
                  <a:pt x="19406" y="625"/>
                </a:cubicBezTo>
                <a:cubicBezTo>
                  <a:pt x="19406" y="562"/>
                  <a:pt x="19375" y="500"/>
                  <a:pt x="19281" y="500"/>
                </a:cubicBezTo>
                <a:cubicBezTo>
                  <a:pt x="19343" y="437"/>
                  <a:pt x="19406" y="437"/>
                  <a:pt x="19437" y="500"/>
                </a:cubicBezTo>
                <a:close/>
                <a:moveTo>
                  <a:pt x="19281" y="5406"/>
                </a:moveTo>
                <a:cubicBezTo>
                  <a:pt x="19343" y="5375"/>
                  <a:pt x="19375" y="5437"/>
                  <a:pt x="19437" y="5406"/>
                </a:cubicBezTo>
                <a:cubicBezTo>
                  <a:pt x="19468" y="5375"/>
                  <a:pt x="19500" y="5406"/>
                  <a:pt x="19531" y="5437"/>
                </a:cubicBezTo>
                <a:cubicBezTo>
                  <a:pt x="19531" y="5469"/>
                  <a:pt x="19500" y="5469"/>
                  <a:pt x="19468" y="5469"/>
                </a:cubicBezTo>
                <a:cubicBezTo>
                  <a:pt x="19406" y="5469"/>
                  <a:pt x="19343" y="5500"/>
                  <a:pt x="19312" y="5562"/>
                </a:cubicBezTo>
                <a:cubicBezTo>
                  <a:pt x="19250" y="5500"/>
                  <a:pt x="19281" y="5437"/>
                  <a:pt x="19281" y="5406"/>
                </a:cubicBezTo>
                <a:cubicBezTo>
                  <a:pt x="19281" y="5375"/>
                  <a:pt x="19281" y="5375"/>
                  <a:pt x="19281" y="5344"/>
                </a:cubicBezTo>
                <a:cubicBezTo>
                  <a:pt x="19281" y="5375"/>
                  <a:pt x="19281" y="5375"/>
                  <a:pt x="19281" y="5406"/>
                </a:cubicBezTo>
                <a:close/>
                <a:moveTo>
                  <a:pt x="18968" y="5469"/>
                </a:moveTo>
                <a:cubicBezTo>
                  <a:pt x="19000" y="5500"/>
                  <a:pt x="19000" y="5531"/>
                  <a:pt x="19000" y="5531"/>
                </a:cubicBezTo>
                <a:cubicBezTo>
                  <a:pt x="19000" y="5531"/>
                  <a:pt x="19000" y="5500"/>
                  <a:pt x="18968" y="5469"/>
                </a:cubicBezTo>
                <a:cubicBezTo>
                  <a:pt x="18968" y="5469"/>
                  <a:pt x="18968" y="5437"/>
                  <a:pt x="18968" y="5406"/>
                </a:cubicBezTo>
                <a:cubicBezTo>
                  <a:pt x="18968" y="5437"/>
                  <a:pt x="18968" y="5469"/>
                  <a:pt x="18968" y="5469"/>
                </a:cubicBezTo>
                <a:close/>
                <a:moveTo>
                  <a:pt x="18000" y="4844"/>
                </a:moveTo>
                <a:cubicBezTo>
                  <a:pt x="18031" y="4844"/>
                  <a:pt x="18062" y="4812"/>
                  <a:pt x="18062" y="4844"/>
                </a:cubicBezTo>
                <a:cubicBezTo>
                  <a:pt x="18093" y="4875"/>
                  <a:pt x="18093" y="4906"/>
                  <a:pt x="18062" y="4906"/>
                </a:cubicBezTo>
                <a:cubicBezTo>
                  <a:pt x="18031" y="4937"/>
                  <a:pt x="17968" y="4937"/>
                  <a:pt x="18031" y="4969"/>
                </a:cubicBezTo>
                <a:cubicBezTo>
                  <a:pt x="18093" y="5031"/>
                  <a:pt x="18093" y="5062"/>
                  <a:pt x="18062" y="5125"/>
                </a:cubicBezTo>
                <a:cubicBezTo>
                  <a:pt x="18031" y="5156"/>
                  <a:pt x="17968" y="5156"/>
                  <a:pt x="17937" y="5125"/>
                </a:cubicBezTo>
                <a:cubicBezTo>
                  <a:pt x="17906" y="5094"/>
                  <a:pt x="17906" y="5062"/>
                  <a:pt x="17875" y="5000"/>
                </a:cubicBezTo>
                <a:cubicBezTo>
                  <a:pt x="17875" y="4906"/>
                  <a:pt x="17937" y="4875"/>
                  <a:pt x="18000" y="4844"/>
                </a:cubicBezTo>
                <a:close/>
                <a:moveTo>
                  <a:pt x="17625" y="6312"/>
                </a:moveTo>
                <a:cubicBezTo>
                  <a:pt x="17625" y="6375"/>
                  <a:pt x="17562" y="6375"/>
                  <a:pt x="17531" y="6375"/>
                </a:cubicBezTo>
                <a:cubicBezTo>
                  <a:pt x="17406" y="6375"/>
                  <a:pt x="17312" y="6281"/>
                  <a:pt x="17312" y="6156"/>
                </a:cubicBezTo>
                <a:cubicBezTo>
                  <a:pt x="17312" y="6031"/>
                  <a:pt x="17250" y="5937"/>
                  <a:pt x="17156" y="5875"/>
                </a:cubicBezTo>
                <a:cubicBezTo>
                  <a:pt x="17093" y="5812"/>
                  <a:pt x="17125" y="5781"/>
                  <a:pt x="17156" y="5750"/>
                </a:cubicBezTo>
                <a:cubicBezTo>
                  <a:pt x="17250" y="5687"/>
                  <a:pt x="17406" y="5719"/>
                  <a:pt x="17500" y="5875"/>
                </a:cubicBezTo>
                <a:cubicBezTo>
                  <a:pt x="17531" y="5906"/>
                  <a:pt x="17656" y="5969"/>
                  <a:pt x="17500" y="6062"/>
                </a:cubicBezTo>
                <a:cubicBezTo>
                  <a:pt x="17406" y="6094"/>
                  <a:pt x="17531" y="6156"/>
                  <a:pt x="17562" y="6219"/>
                </a:cubicBezTo>
                <a:cubicBezTo>
                  <a:pt x="17593" y="6250"/>
                  <a:pt x="17656" y="6250"/>
                  <a:pt x="17625" y="6312"/>
                </a:cubicBezTo>
                <a:close/>
                <a:moveTo>
                  <a:pt x="17843" y="6844"/>
                </a:moveTo>
                <a:cubicBezTo>
                  <a:pt x="17812" y="6781"/>
                  <a:pt x="17843" y="6781"/>
                  <a:pt x="17906" y="6750"/>
                </a:cubicBezTo>
                <a:cubicBezTo>
                  <a:pt x="17906" y="6750"/>
                  <a:pt x="17906" y="6719"/>
                  <a:pt x="17906" y="6719"/>
                </a:cubicBezTo>
                <a:cubicBezTo>
                  <a:pt x="17906" y="6656"/>
                  <a:pt x="17906" y="6594"/>
                  <a:pt x="17875" y="6531"/>
                </a:cubicBezTo>
                <a:cubicBezTo>
                  <a:pt x="17906" y="6594"/>
                  <a:pt x="17906" y="6656"/>
                  <a:pt x="17906" y="6719"/>
                </a:cubicBezTo>
                <a:cubicBezTo>
                  <a:pt x="17968" y="6719"/>
                  <a:pt x="18000" y="6750"/>
                  <a:pt x="18000" y="6781"/>
                </a:cubicBezTo>
                <a:cubicBezTo>
                  <a:pt x="17968" y="6781"/>
                  <a:pt x="17968" y="6781"/>
                  <a:pt x="17937" y="6812"/>
                </a:cubicBezTo>
                <a:cubicBezTo>
                  <a:pt x="17906" y="6812"/>
                  <a:pt x="17906" y="6906"/>
                  <a:pt x="17843" y="6844"/>
                </a:cubicBezTo>
                <a:close/>
                <a:moveTo>
                  <a:pt x="18031" y="7344"/>
                </a:moveTo>
                <a:cubicBezTo>
                  <a:pt x="18000" y="7344"/>
                  <a:pt x="17937" y="7312"/>
                  <a:pt x="17906" y="7281"/>
                </a:cubicBezTo>
                <a:cubicBezTo>
                  <a:pt x="17843" y="7156"/>
                  <a:pt x="17937" y="7062"/>
                  <a:pt x="17906" y="6937"/>
                </a:cubicBezTo>
                <a:cubicBezTo>
                  <a:pt x="17875" y="6937"/>
                  <a:pt x="17906" y="6906"/>
                  <a:pt x="17937" y="6906"/>
                </a:cubicBezTo>
                <a:cubicBezTo>
                  <a:pt x="17968" y="6937"/>
                  <a:pt x="17968" y="6969"/>
                  <a:pt x="17968" y="7031"/>
                </a:cubicBezTo>
                <a:cubicBezTo>
                  <a:pt x="17937" y="7125"/>
                  <a:pt x="17937" y="7187"/>
                  <a:pt x="18093" y="7125"/>
                </a:cubicBezTo>
                <a:cubicBezTo>
                  <a:pt x="18093" y="7125"/>
                  <a:pt x="18125" y="7125"/>
                  <a:pt x="18125" y="7156"/>
                </a:cubicBezTo>
                <a:cubicBezTo>
                  <a:pt x="18156" y="7250"/>
                  <a:pt x="18031" y="7250"/>
                  <a:pt x="18031" y="7344"/>
                </a:cubicBezTo>
                <a:close/>
                <a:moveTo>
                  <a:pt x="18250" y="7969"/>
                </a:moveTo>
                <a:cubicBezTo>
                  <a:pt x="18187" y="7969"/>
                  <a:pt x="18187" y="7906"/>
                  <a:pt x="18187" y="7875"/>
                </a:cubicBezTo>
                <a:cubicBezTo>
                  <a:pt x="18187" y="7781"/>
                  <a:pt x="18187" y="7687"/>
                  <a:pt x="18093" y="7594"/>
                </a:cubicBezTo>
                <a:cubicBezTo>
                  <a:pt x="18031" y="7531"/>
                  <a:pt x="18156" y="7437"/>
                  <a:pt x="18156" y="7344"/>
                </a:cubicBezTo>
                <a:cubicBezTo>
                  <a:pt x="18218" y="7375"/>
                  <a:pt x="18250" y="7437"/>
                  <a:pt x="18281" y="7500"/>
                </a:cubicBezTo>
                <a:cubicBezTo>
                  <a:pt x="18281" y="7500"/>
                  <a:pt x="18312" y="7531"/>
                  <a:pt x="18343" y="7531"/>
                </a:cubicBezTo>
                <a:cubicBezTo>
                  <a:pt x="18406" y="7500"/>
                  <a:pt x="18375" y="7469"/>
                  <a:pt x="18375" y="7437"/>
                </a:cubicBezTo>
                <a:cubicBezTo>
                  <a:pt x="18375" y="7437"/>
                  <a:pt x="18375" y="7437"/>
                  <a:pt x="18375" y="7406"/>
                </a:cubicBezTo>
                <a:cubicBezTo>
                  <a:pt x="18312" y="7250"/>
                  <a:pt x="18312" y="7250"/>
                  <a:pt x="18468" y="7281"/>
                </a:cubicBezTo>
                <a:cubicBezTo>
                  <a:pt x="18500" y="7281"/>
                  <a:pt x="18531" y="7250"/>
                  <a:pt x="18531" y="7219"/>
                </a:cubicBezTo>
                <a:cubicBezTo>
                  <a:pt x="18531" y="7187"/>
                  <a:pt x="18531" y="7125"/>
                  <a:pt x="18531" y="7094"/>
                </a:cubicBezTo>
                <a:cubicBezTo>
                  <a:pt x="18562" y="7156"/>
                  <a:pt x="18656" y="7187"/>
                  <a:pt x="18656" y="7281"/>
                </a:cubicBezTo>
                <a:cubicBezTo>
                  <a:pt x="18656" y="7281"/>
                  <a:pt x="18656" y="7281"/>
                  <a:pt x="18656" y="7281"/>
                </a:cubicBezTo>
                <a:cubicBezTo>
                  <a:pt x="18593" y="7281"/>
                  <a:pt x="18562" y="7312"/>
                  <a:pt x="18531" y="7375"/>
                </a:cubicBezTo>
                <a:cubicBezTo>
                  <a:pt x="18437" y="7562"/>
                  <a:pt x="18531" y="7719"/>
                  <a:pt x="18750" y="7656"/>
                </a:cubicBezTo>
                <a:cubicBezTo>
                  <a:pt x="18750" y="7687"/>
                  <a:pt x="18750" y="7750"/>
                  <a:pt x="18781" y="7750"/>
                </a:cubicBezTo>
                <a:cubicBezTo>
                  <a:pt x="18843" y="7781"/>
                  <a:pt x="18875" y="7812"/>
                  <a:pt x="18875" y="7875"/>
                </a:cubicBezTo>
                <a:cubicBezTo>
                  <a:pt x="18875" y="7875"/>
                  <a:pt x="18875" y="7875"/>
                  <a:pt x="18875" y="7875"/>
                </a:cubicBezTo>
                <a:cubicBezTo>
                  <a:pt x="18812" y="7844"/>
                  <a:pt x="18718" y="7750"/>
                  <a:pt x="18656" y="7844"/>
                </a:cubicBezTo>
                <a:cubicBezTo>
                  <a:pt x="18593" y="7906"/>
                  <a:pt x="18593" y="8000"/>
                  <a:pt x="18656" y="8094"/>
                </a:cubicBezTo>
                <a:cubicBezTo>
                  <a:pt x="18656" y="8125"/>
                  <a:pt x="18687" y="8125"/>
                  <a:pt x="18687" y="8125"/>
                </a:cubicBezTo>
                <a:cubicBezTo>
                  <a:pt x="18687" y="8187"/>
                  <a:pt x="18687" y="8219"/>
                  <a:pt x="18718" y="8281"/>
                </a:cubicBezTo>
                <a:cubicBezTo>
                  <a:pt x="18687" y="8281"/>
                  <a:pt x="18656" y="8281"/>
                  <a:pt x="18625" y="8312"/>
                </a:cubicBezTo>
                <a:cubicBezTo>
                  <a:pt x="18625" y="8219"/>
                  <a:pt x="18562" y="8156"/>
                  <a:pt x="18531" y="8125"/>
                </a:cubicBezTo>
                <a:cubicBezTo>
                  <a:pt x="18468" y="8062"/>
                  <a:pt x="18406" y="8031"/>
                  <a:pt x="18406" y="7969"/>
                </a:cubicBezTo>
                <a:cubicBezTo>
                  <a:pt x="18437" y="7906"/>
                  <a:pt x="18500" y="7937"/>
                  <a:pt x="18562" y="7906"/>
                </a:cubicBezTo>
                <a:cubicBezTo>
                  <a:pt x="18562" y="7844"/>
                  <a:pt x="18500" y="7844"/>
                  <a:pt x="18500" y="7812"/>
                </a:cubicBezTo>
                <a:cubicBezTo>
                  <a:pt x="18437" y="7781"/>
                  <a:pt x="18437" y="7719"/>
                  <a:pt x="18375" y="7719"/>
                </a:cubicBezTo>
                <a:cubicBezTo>
                  <a:pt x="18312" y="7750"/>
                  <a:pt x="18312" y="7812"/>
                  <a:pt x="18312" y="7875"/>
                </a:cubicBezTo>
                <a:cubicBezTo>
                  <a:pt x="18281" y="7906"/>
                  <a:pt x="18312" y="7969"/>
                  <a:pt x="18250" y="7969"/>
                </a:cubicBezTo>
                <a:close/>
                <a:moveTo>
                  <a:pt x="18593" y="7031"/>
                </a:moveTo>
                <a:cubicBezTo>
                  <a:pt x="18593" y="7000"/>
                  <a:pt x="18625" y="7000"/>
                  <a:pt x="18656" y="6969"/>
                </a:cubicBezTo>
                <a:cubicBezTo>
                  <a:pt x="18656" y="7031"/>
                  <a:pt x="18656" y="7062"/>
                  <a:pt x="18593" y="7062"/>
                </a:cubicBezTo>
                <a:cubicBezTo>
                  <a:pt x="18593" y="7062"/>
                  <a:pt x="18593" y="7062"/>
                  <a:pt x="18593" y="7031"/>
                </a:cubicBezTo>
                <a:close/>
                <a:moveTo>
                  <a:pt x="18781" y="7594"/>
                </a:moveTo>
                <a:cubicBezTo>
                  <a:pt x="18781" y="7594"/>
                  <a:pt x="18781" y="7625"/>
                  <a:pt x="18781" y="7656"/>
                </a:cubicBezTo>
                <a:cubicBezTo>
                  <a:pt x="18781" y="7656"/>
                  <a:pt x="18750" y="7656"/>
                  <a:pt x="18750" y="7656"/>
                </a:cubicBezTo>
                <a:cubicBezTo>
                  <a:pt x="18750" y="7656"/>
                  <a:pt x="18750" y="7656"/>
                  <a:pt x="18750" y="7656"/>
                </a:cubicBezTo>
                <a:cubicBezTo>
                  <a:pt x="18750" y="7625"/>
                  <a:pt x="18781" y="7594"/>
                  <a:pt x="18781" y="7594"/>
                </a:cubicBezTo>
                <a:close/>
                <a:moveTo>
                  <a:pt x="18781" y="7469"/>
                </a:moveTo>
                <a:cubicBezTo>
                  <a:pt x="18781" y="7437"/>
                  <a:pt x="18781" y="7406"/>
                  <a:pt x="18812" y="7406"/>
                </a:cubicBezTo>
                <a:cubicBezTo>
                  <a:pt x="18781" y="7406"/>
                  <a:pt x="18781" y="7437"/>
                  <a:pt x="18781" y="7469"/>
                </a:cubicBezTo>
                <a:cubicBezTo>
                  <a:pt x="18781" y="7469"/>
                  <a:pt x="18781" y="7469"/>
                  <a:pt x="18781" y="7469"/>
                </a:cubicBezTo>
                <a:close/>
                <a:moveTo>
                  <a:pt x="18875" y="6625"/>
                </a:moveTo>
                <a:cubicBezTo>
                  <a:pt x="18875" y="6594"/>
                  <a:pt x="18875" y="6531"/>
                  <a:pt x="18875" y="6500"/>
                </a:cubicBezTo>
                <a:cubicBezTo>
                  <a:pt x="18843" y="6469"/>
                  <a:pt x="18843" y="6469"/>
                  <a:pt x="18875" y="6469"/>
                </a:cubicBezTo>
                <a:cubicBezTo>
                  <a:pt x="18875" y="6469"/>
                  <a:pt x="18875" y="6469"/>
                  <a:pt x="18875" y="6500"/>
                </a:cubicBezTo>
                <a:cubicBezTo>
                  <a:pt x="18875" y="6531"/>
                  <a:pt x="18875" y="6594"/>
                  <a:pt x="18875" y="6625"/>
                </a:cubicBezTo>
                <a:close/>
                <a:moveTo>
                  <a:pt x="18875" y="6625"/>
                </a:moveTo>
                <a:cubicBezTo>
                  <a:pt x="18875" y="6625"/>
                  <a:pt x="18875" y="6625"/>
                  <a:pt x="18875" y="6625"/>
                </a:cubicBezTo>
                <a:cubicBezTo>
                  <a:pt x="18875" y="6625"/>
                  <a:pt x="18875" y="6625"/>
                  <a:pt x="18875" y="6625"/>
                </a:cubicBezTo>
                <a:cubicBezTo>
                  <a:pt x="18875" y="6625"/>
                  <a:pt x="18875" y="6625"/>
                  <a:pt x="18875" y="6625"/>
                </a:cubicBezTo>
                <a:close/>
                <a:moveTo>
                  <a:pt x="18875" y="6625"/>
                </a:moveTo>
                <a:cubicBezTo>
                  <a:pt x="18875" y="6625"/>
                  <a:pt x="18875" y="6656"/>
                  <a:pt x="18875" y="6656"/>
                </a:cubicBezTo>
                <a:cubicBezTo>
                  <a:pt x="18843" y="6656"/>
                  <a:pt x="18843" y="6625"/>
                  <a:pt x="18875" y="6625"/>
                </a:cubicBezTo>
                <a:close/>
                <a:moveTo>
                  <a:pt x="18781" y="8281"/>
                </a:moveTo>
                <a:cubicBezTo>
                  <a:pt x="18781" y="8281"/>
                  <a:pt x="18781" y="8281"/>
                  <a:pt x="18750" y="8281"/>
                </a:cubicBezTo>
                <a:cubicBezTo>
                  <a:pt x="18781" y="8250"/>
                  <a:pt x="18781" y="8250"/>
                  <a:pt x="18781" y="8250"/>
                </a:cubicBezTo>
                <a:cubicBezTo>
                  <a:pt x="18781" y="8250"/>
                  <a:pt x="18781" y="8250"/>
                  <a:pt x="18781" y="8281"/>
                </a:cubicBezTo>
                <a:close/>
                <a:moveTo>
                  <a:pt x="19093" y="8656"/>
                </a:moveTo>
                <a:cubicBezTo>
                  <a:pt x="19000" y="8719"/>
                  <a:pt x="18968" y="8812"/>
                  <a:pt x="18843" y="8781"/>
                </a:cubicBezTo>
                <a:cubicBezTo>
                  <a:pt x="18843" y="8812"/>
                  <a:pt x="18843" y="8812"/>
                  <a:pt x="18843" y="8844"/>
                </a:cubicBezTo>
                <a:cubicBezTo>
                  <a:pt x="18843" y="8812"/>
                  <a:pt x="18843" y="8812"/>
                  <a:pt x="18843" y="8781"/>
                </a:cubicBezTo>
                <a:cubicBezTo>
                  <a:pt x="18781" y="8781"/>
                  <a:pt x="18750" y="8656"/>
                  <a:pt x="18625" y="8719"/>
                </a:cubicBezTo>
                <a:cubicBezTo>
                  <a:pt x="18656" y="8625"/>
                  <a:pt x="18750" y="8594"/>
                  <a:pt x="18687" y="8531"/>
                </a:cubicBezTo>
                <a:cubicBezTo>
                  <a:pt x="18687" y="8531"/>
                  <a:pt x="18687" y="8531"/>
                  <a:pt x="18687" y="8531"/>
                </a:cubicBezTo>
                <a:cubicBezTo>
                  <a:pt x="18468" y="8531"/>
                  <a:pt x="18312" y="8406"/>
                  <a:pt x="18312" y="8219"/>
                </a:cubicBezTo>
                <a:cubicBezTo>
                  <a:pt x="18343" y="8187"/>
                  <a:pt x="18312" y="8156"/>
                  <a:pt x="18375" y="8156"/>
                </a:cubicBezTo>
                <a:cubicBezTo>
                  <a:pt x="18406" y="8125"/>
                  <a:pt x="18406" y="8187"/>
                  <a:pt x="18406" y="8187"/>
                </a:cubicBezTo>
                <a:cubicBezTo>
                  <a:pt x="18437" y="8312"/>
                  <a:pt x="18531" y="8375"/>
                  <a:pt x="18625" y="8437"/>
                </a:cubicBezTo>
                <a:cubicBezTo>
                  <a:pt x="18656" y="8469"/>
                  <a:pt x="18656" y="8500"/>
                  <a:pt x="18687" y="8531"/>
                </a:cubicBezTo>
                <a:cubicBezTo>
                  <a:pt x="18687" y="8531"/>
                  <a:pt x="18687" y="8531"/>
                  <a:pt x="18687" y="8531"/>
                </a:cubicBezTo>
                <a:cubicBezTo>
                  <a:pt x="18750" y="8531"/>
                  <a:pt x="18843" y="8500"/>
                  <a:pt x="18906" y="8469"/>
                </a:cubicBezTo>
                <a:cubicBezTo>
                  <a:pt x="18937" y="8500"/>
                  <a:pt x="18968" y="8562"/>
                  <a:pt x="19031" y="8562"/>
                </a:cubicBezTo>
                <a:cubicBezTo>
                  <a:pt x="19125" y="8562"/>
                  <a:pt x="19125" y="8625"/>
                  <a:pt x="19093" y="8656"/>
                </a:cubicBezTo>
                <a:close/>
                <a:moveTo>
                  <a:pt x="18906" y="7875"/>
                </a:moveTo>
                <a:cubicBezTo>
                  <a:pt x="18906" y="7844"/>
                  <a:pt x="18906" y="7844"/>
                  <a:pt x="18937" y="7875"/>
                </a:cubicBezTo>
                <a:cubicBezTo>
                  <a:pt x="18968" y="7875"/>
                  <a:pt x="18968" y="7906"/>
                  <a:pt x="18968" y="7906"/>
                </a:cubicBezTo>
                <a:cubicBezTo>
                  <a:pt x="18937" y="7937"/>
                  <a:pt x="18937" y="7937"/>
                  <a:pt x="18906" y="7969"/>
                </a:cubicBezTo>
                <a:cubicBezTo>
                  <a:pt x="18906" y="7969"/>
                  <a:pt x="18906" y="8000"/>
                  <a:pt x="18906" y="8000"/>
                </a:cubicBezTo>
                <a:cubicBezTo>
                  <a:pt x="18906" y="8000"/>
                  <a:pt x="18906" y="8000"/>
                  <a:pt x="18906" y="8000"/>
                </a:cubicBezTo>
                <a:cubicBezTo>
                  <a:pt x="18906" y="8000"/>
                  <a:pt x="18906" y="7969"/>
                  <a:pt x="18906" y="7969"/>
                </a:cubicBezTo>
                <a:cubicBezTo>
                  <a:pt x="18906" y="7937"/>
                  <a:pt x="18906" y="7906"/>
                  <a:pt x="18906" y="7875"/>
                </a:cubicBezTo>
                <a:cubicBezTo>
                  <a:pt x="18906" y="7875"/>
                  <a:pt x="18875" y="7875"/>
                  <a:pt x="18875" y="7875"/>
                </a:cubicBezTo>
                <a:cubicBezTo>
                  <a:pt x="18875" y="7875"/>
                  <a:pt x="18906" y="7875"/>
                  <a:pt x="18906" y="7875"/>
                </a:cubicBezTo>
                <a:close/>
                <a:moveTo>
                  <a:pt x="18968" y="7531"/>
                </a:moveTo>
                <a:cubicBezTo>
                  <a:pt x="18968" y="7531"/>
                  <a:pt x="18968" y="7500"/>
                  <a:pt x="18968" y="7500"/>
                </a:cubicBezTo>
                <a:cubicBezTo>
                  <a:pt x="18968" y="7500"/>
                  <a:pt x="18968" y="7500"/>
                  <a:pt x="18968" y="7500"/>
                </a:cubicBezTo>
                <a:cubicBezTo>
                  <a:pt x="18968" y="7500"/>
                  <a:pt x="18968" y="7531"/>
                  <a:pt x="18968" y="7531"/>
                </a:cubicBezTo>
                <a:close/>
                <a:moveTo>
                  <a:pt x="18968" y="6594"/>
                </a:moveTo>
                <a:cubicBezTo>
                  <a:pt x="18968" y="6594"/>
                  <a:pt x="18968" y="6594"/>
                  <a:pt x="18968" y="6562"/>
                </a:cubicBezTo>
                <a:cubicBezTo>
                  <a:pt x="19000" y="6562"/>
                  <a:pt x="19000" y="6562"/>
                  <a:pt x="19031" y="6562"/>
                </a:cubicBezTo>
                <a:cubicBezTo>
                  <a:pt x="19000" y="6562"/>
                  <a:pt x="19000" y="6562"/>
                  <a:pt x="18968" y="6562"/>
                </a:cubicBezTo>
                <a:cubicBezTo>
                  <a:pt x="18968" y="6594"/>
                  <a:pt x="18968" y="6594"/>
                  <a:pt x="18968" y="6594"/>
                </a:cubicBezTo>
                <a:close/>
                <a:moveTo>
                  <a:pt x="18937" y="8000"/>
                </a:moveTo>
                <a:cubicBezTo>
                  <a:pt x="18937" y="8031"/>
                  <a:pt x="18968" y="8031"/>
                  <a:pt x="18968" y="8031"/>
                </a:cubicBezTo>
                <a:cubicBezTo>
                  <a:pt x="18968" y="8031"/>
                  <a:pt x="18937" y="8031"/>
                  <a:pt x="18937" y="8000"/>
                </a:cubicBezTo>
                <a:close/>
                <a:moveTo>
                  <a:pt x="18937" y="8375"/>
                </a:moveTo>
                <a:cubicBezTo>
                  <a:pt x="18937" y="8344"/>
                  <a:pt x="18906" y="8312"/>
                  <a:pt x="18906" y="8281"/>
                </a:cubicBezTo>
                <a:cubicBezTo>
                  <a:pt x="18906" y="8281"/>
                  <a:pt x="18906" y="8281"/>
                  <a:pt x="18906" y="8281"/>
                </a:cubicBezTo>
                <a:cubicBezTo>
                  <a:pt x="18906" y="8312"/>
                  <a:pt x="18937" y="8344"/>
                  <a:pt x="18937" y="8375"/>
                </a:cubicBezTo>
                <a:close/>
                <a:moveTo>
                  <a:pt x="19156" y="6656"/>
                </a:moveTo>
                <a:cubicBezTo>
                  <a:pt x="19156" y="6656"/>
                  <a:pt x="19156" y="6656"/>
                  <a:pt x="19156" y="6656"/>
                </a:cubicBezTo>
                <a:cubicBezTo>
                  <a:pt x="19156" y="6656"/>
                  <a:pt x="19156" y="6656"/>
                  <a:pt x="19156" y="6656"/>
                </a:cubicBezTo>
                <a:close/>
                <a:moveTo>
                  <a:pt x="19312" y="9469"/>
                </a:moveTo>
                <a:cubicBezTo>
                  <a:pt x="19312" y="9469"/>
                  <a:pt x="19281" y="9469"/>
                  <a:pt x="19281" y="9469"/>
                </a:cubicBezTo>
                <a:cubicBezTo>
                  <a:pt x="19281" y="9469"/>
                  <a:pt x="19312" y="9469"/>
                  <a:pt x="19312" y="9469"/>
                </a:cubicBezTo>
                <a:close/>
                <a:moveTo>
                  <a:pt x="19312" y="7719"/>
                </a:moveTo>
                <a:cubicBezTo>
                  <a:pt x="19312" y="7687"/>
                  <a:pt x="19312" y="7687"/>
                  <a:pt x="19312" y="7656"/>
                </a:cubicBezTo>
                <a:cubicBezTo>
                  <a:pt x="19312" y="7656"/>
                  <a:pt x="19312" y="7656"/>
                  <a:pt x="19312" y="7656"/>
                </a:cubicBezTo>
                <a:cubicBezTo>
                  <a:pt x="19312" y="7687"/>
                  <a:pt x="19312" y="7687"/>
                  <a:pt x="19312" y="7719"/>
                </a:cubicBezTo>
                <a:close/>
                <a:moveTo>
                  <a:pt x="19312" y="9469"/>
                </a:moveTo>
                <a:cubicBezTo>
                  <a:pt x="19312" y="9469"/>
                  <a:pt x="19312" y="9469"/>
                  <a:pt x="19312" y="9469"/>
                </a:cubicBezTo>
                <a:cubicBezTo>
                  <a:pt x="19312" y="9500"/>
                  <a:pt x="19312" y="9531"/>
                  <a:pt x="19312" y="9531"/>
                </a:cubicBezTo>
                <a:cubicBezTo>
                  <a:pt x="19312" y="9531"/>
                  <a:pt x="19312" y="9500"/>
                  <a:pt x="19312" y="9469"/>
                </a:cubicBezTo>
                <a:close/>
                <a:moveTo>
                  <a:pt x="19437" y="9250"/>
                </a:moveTo>
                <a:cubicBezTo>
                  <a:pt x="19437" y="9250"/>
                  <a:pt x="19437" y="9250"/>
                  <a:pt x="19437" y="9250"/>
                </a:cubicBezTo>
                <a:cubicBezTo>
                  <a:pt x="19437" y="9250"/>
                  <a:pt x="19437" y="9250"/>
                  <a:pt x="19437" y="9250"/>
                </a:cubicBezTo>
                <a:close/>
                <a:moveTo>
                  <a:pt x="19656" y="6406"/>
                </a:moveTo>
                <a:cubicBezTo>
                  <a:pt x="19625" y="6437"/>
                  <a:pt x="19562" y="6375"/>
                  <a:pt x="19531" y="6344"/>
                </a:cubicBezTo>
                <a:cubicBezTo>
                  <a:pt x="19437" y="6344"/>
                  <a:pt x="19437" y="6344"/>
                  <a:pt x="19437" y="6406"/>
                </a:cubicBezTo>
                <a:cubicBezTo>
                  <a:pt x="19468" y="6531"/>
                  <a:pt x="19468" y="6625"/>
                  <a:pt x="19312" y="6531"/>
                </a:cubicBezTo>
                <a:cubicBezTo>
                  <a:pt x="19281" y="6500"/>
                  <a:pt x="19250" y="6531"/>
                  <a:pt x="19218" y="6531"/>
                </a:cubicBezTo>
                <a:cubicBezTo>
                  <a:pt x="19218" y="6531"/>
                  <a:pt x="19218" y="6531"/>
                  <a:pt x="19218" y="6531"/>
                </a:cubicBezTo>
                <a:cubicBezTo>
                  <a:pt x="19218" y="6500"/>
                  <a:pt x="19218" y="6469"/>
                  <a:pt x="19218" y="6469"/>
                </a:cubicBezTo>
                <a:cubicBezTo>
                  <a:pt x="19187" y="6406"/>
                  <a:pt x="19156" y="6469"/>
                  <a:pt x="19125" y="6469"/>
                </a:cubicBezTo>
                <a:cubicBezTo>
                  <a:pt x="19093" y="6406"/>
                  <a:pt x="19000" y="6406"/>
                  <a:pt x="19031" y="6375"/>
                </a:cubicBezTo>
                <a:cubicBezTo>
                  <a:pt x="19062" y="6312"/>
                  <a:pt x="19000" y="6312"/>
                  <a:pt x="18968" y="6281"/>
                </a:cubicBezTo>
                <a:cubicBezTo>
                  <a:pt x="18937" y="6281"/>
                  <a:pt x="18906" y="6281"/>
                  <a:pt x="18906" y="6250"/>
                </a:cubicBezTo>
                <a:cubicBezTo>
                  <a:pt x="18906" y="6219"/>
                  <a:pt x="18906" y="6156"/>
                  <a:pt x="18843" y="6187"/>
                </a:cubicBezTo>
                <a:cubicBezTo>
                  <a:pt x="18812" y="6219"/>
                  <a:pt x="18781" y="6250"/>
                  <a:pt x="18812" y="6281"/>
                </a:cubicBezTo>
                <a:cubicBezTo>
                  <a:pt x="18875" y="6406"/>
                  <a:pt x="18875" y="6437"/>
                  <a:pt x="18750" y="6469"/>
                </a:cubicBezTo>
                <a:cubicBezTo>
                  <a:pt x="18718" y="6437"/>
                  <a:pt x="18750" y="6437"/>
                  <a:pt x="18718" y="6437"/>
                </a:cubicBezTo>
                <a:lnTo>
                  <a:pt x="18718" y="6437"/>
                </a:lnTo>
                <a:cubicBezTo>
                  <a:pt x="18718" y="6437"/>
                  <a:pt x="18718" y="6437"/>
                  <a:pt x="18750" y="6469"/>
                </a:cubicBezTo>
                <a:cubicBezTo>
                  <a:pt x="18750" y="6500"/>
                  <a:pt x="18781" y="6531"/>
                  <a:pt x="18781" y="6531"/>
                </a:cubicBezTo>
                <a:cubicBezTo>
                  <a:pt x="18781" y="6562"/>
                  <a:pt x="18750" y="6562"/>
                  <a:pt x="18718" y="6562"/>
                </a:cubicBezTo>
                <a:cubicBezTo>
                  <a:pt x="18750" y="6562"/>
                  <a:pt x="18781" y="6562"/>
                  <a:pt x="18781" y="6562"/>
                </a:cubicBezTo>
                <a:cubicBezTo>
                  <a:pt x="18750" y="6719"/>
                  <a:pt x="18656" y="6562"/>
                  <a:pt x="18562" y="6594"/>
                </a:cubicBezTo>
                <a:cubicBezTo>
                  <a:pt x="18593" y="6656"/>
                  <a:pt x="18593" y="6687"/>
                  <a:pt x="18625" y="6750"/>
                </a:cubicBezTo>
                <a:cubicBezTo>
                  <a:pt x="18593" y="6719"/>
                  <a:pt x="18531" y="6750"/>
                  <a:pt x="18500" y="6719"/>
                </a:cubicBezTo>
                <a:cubicBezTo>
                  <a:pt x="18375" y="6687"/>
                  <a:pt x="18312" y="6719"/>
                  <a:pt x="18312" y="6844"/>
                </a:cubicBezTo>
                <a:cubicBezTo>
                  <a:pt x="18312" y="6875"/>
                  <a:pt x="18312" y="6906"/>
                  <a:pt x="18312" y="6937"/>
                </a:cubicBezTo>
                <a:cubicBezTo>
                  <a:pt x="18312" y="6937"/>
                  <a:pt x="18312" y="6937"/>
                  <a:pt x="18312" y="6969"/>
                </a:cubicBezTo>
                <a:cubicBezTo>
                  <a:pt x="18343" y="6969"/>
                  <a:pt x="18343" y="7000"/>
                  <a:pt x="18375" y="7031"/>
                </a:cubicBezTo>
                <a:cubicBezTo>
                  <a:pt x="18343" y="7000"/>
                  <a:pt x="18343" y="6969"/>
                  <a:pt x="18312" y="6969"/>
                </a:cubicBezTo>
                <a:cubicBezTo>
                  <a:pt x="18312" y="6937"/>
                  <a:pt x="18312" y="6937"/>
                  <a:pt x="18312" y="6937"/>
                </a:cubicBezTo>
                <a:cubicBezTo>
                  <a:pt x="18312" y="6906"/>
                  <a:pt x="18312" y="6875"/>
                  <a:pt x="18312" y="6844"/>
                </a:cubicBezTo>
                <a:cubicBezTo>
                  <a:pt x="18250" y="6844"/>
                  <a:pt x="18218" y="6781"/>
                  <a:pt x="18156" y="6781"/>
                </a:cubicBezTo>
                <a:cubicBezTo>
                  <a:pt x="18187" y="6719"/>
                  <a:pt x="18187" y="6656"/>
                  <a:pt x="18125" y="6594"/>
                </a:cubicBezTo>
                <a:cubicBezTo>
                  <a:pt x="18062" y="6562"/>
                  <a:pt x="18031" y="6500"/>
                  <a:pt x="18062" y="6406"/>
                </a:cubicBezTo>
                <a:cubicBezTo>
                  <a:pt x="18093" y="6344"/>
                  <a:pt x="18093" y="6281"/>
                  <a:pt x="18000" y="6250"/>
                </a:cubicBezTo>
                <a:cubicBezTo>
                  <a:pt x="17937" y="6250"/>
                  <a:pt x="17875" y="6281"/>
                  <a:pt x="17875" y="6375"/>
                </a:cubicBezTo>
                <a:cubicBezTo>
                  <a:pt x="17812" y="6375"/>
                  <a:pt x="17843" y="6312"/>
                  <a:pt x="17843" y="6281"/>
                </a:cubicBezTo>
                <a:cubicBezTo>
                  <a:pt x="17843" y="6219"/>
                  <a:pt x="17875" y="6219"/>
                  <a:pt x="17906" y="6219"/>
                </a:cubicBezTo>
                <a:cubicBezTo>
                  <a:pt x="18031" y="6187"/>
                  <a:pt x="18125" y="6062"/>
                  <a:pt x="18093" y="5937"/>
                </a:cubicBezTo>
                <a:cubicBezTo>
                  <a:pt x="18062" y="5875"/>
                  <a:pt x="18093" y="5844"/>
                  <a:pt x="18156" y="5812"/>
                </a:cubicBezTo>
                <a:cubicBezTo>
                  <a:pt x="18250" y="5812"/>
                  <a:pt x="18250" y="5719"/>
                  <a:pt x="18250" y="5656"/>
                </a:cubicBezTo>
                <a:cubicBezTo>
                  <a:pt x="18281" y="5562"/>
                  <a:pt x="18218" y="5562"/>
                  <a:pt x="18125" y="5562"/>
                </a:cubicBezTo>
                <a:cubicBezTo>
                  <a:pt x="18031" y="5562"/>
                  <a:pt x="18062" y="5437"/>
                  <a:pt x="18031" y="5375"/>
                </a:cubicBezTo>
                <a:cubicBezTo>
                  <a:pt x="17968" y="5406"/>
                  <a:pt x="17968" y="5469"/>
                  <a:pt x="18000" y="5531"/>
                </a:cubicBezTo>
                <a:cubicBezTo>
                  <a:pt x="18000" y="5594"/>
                  <a:pt x="18000" y="5656"/>
                  <a:pt x="17937" y="5719"/>
                </a:cubicBezTo>
                <a:cubicBezTo>
                  <a:pt x="17843" y="5781"/>
                  <a:pt x="17781" y="5781"/>
                  <a:pt x="17718" y="5719"/>
                </a:cubicBezTo>
                <a:cubicBezTo>
                  <a:pt x="17656" y="5687"/>
                  <a:pt x="17625" y="5656"/>
                  <a:pt x="17656" y="5594"/>
                </a:cubicBezTo>
                <a:cubicBezTo>
                  <a:pt x="17656" y="5562"/>
                  <a:pt x="17687" y="5500"/>
                  <a:pt x="17656" y="5469"/>
                </a:cubicBezTo>
                <a:cubicBezTo>
                  <a:pt x="17625" y="5406"/>
                  <a:pt x="17625" y="5344"/>
                  <a:pt x="17656" y="5281"/>
                </a:cubicBezTo>
                <a:cubicBezTo>
                  <a:pt x="17718" y="5219"/>
                  <a:pt x="17812" y="5250"/>
                  <a:pt x="17875" y="5250"/>
                </a:cubicBezTo>
                <a:cubicBezTo>
                  <a:pt x="18000" y="5312"/>
                  <a:pt x="18093" y="5219"/>
                  <a:pt x="18218" y="5250"/>
                </a:cubicBezTo>
                <a:cubicBezTo>
                  <a:pt x="18250" y="5281"/>
                  <a:pt x="18218" y="5187"/>
                  <a:pt x="18250" y="5187"/>
                </a:cubicBezTo>
                <a:cubicBezTo>
                  <a:pt x="18375" y="5062"/>
                  <a:pt x="18406" y="4937"/>
                  <a:pt x="18343" y="4781"/>
                </a:cubicBezTo>
                <a:cubicBezTo>
                  <a:pt x="18343" y="4750"/>
                  <a:pt x="18406" y="4719"/>
                  <a:pt x="18437" y="4719"/>
                </a:cubicBezTo>
                <a:cubicBezTo>
                  <a:pt x="18500" y="4687"/>
                  <a:pt x="18562" y="4719"/>
                  <a:pt x="18593" y="4750"/>
                </a:cubicBezTo>
                <a:cubicBezTo>
                  <a:pt x="18593" y="4812"/>
                  <a:pt x="18593" y="4844"/>
                  <a:pt x="18562" y="4844"/>
                </a:cubicBezTo>
                <a:cubicBezTo>
                  <a:pt x="18500" y="4875"/>
                  <a:pt x="18531" y="4906"/>
                  <a:pt x="18531" y="4937"/>
                </a:cubicBezTo>
                <a:cubicBezTo>
                  <a:pt x="18593" y="4969"/>
                  <a:pt x="18625" y="5000"/>
                  <a:pt x="18656" y="5031"/>
                </a:cubicBezTo>
                <a:cubicBezTo>
                  <a:pt x="18656" y="5094"/>
                  <a:pt x="18625" y="5125"/>
                  <a:pt x="18593" y="5156"/>
                </a:cubicBezTo>
                <a:cubicBezTo>
                  <a:pt x="18562" y="5187"/>
                  <a:pt x="18562" y="5250"/>
                  <a:pt x="18625" y="5250"/>
                </a:cubicBezTo>
                <a:cubicBezTo>
                  <a:pt x="18750" y="5250"/>
                  <a:pt x="18718" y="5344"/>
                  <a:pt x="18718" y="5406"/>
                </a:cubicBezTo>
                <a:cubicBezTo>
                  <a:pt x="18718" y="5531"/>
                  <a:pt x="18718" y="5625"/>
                  <a:pt x="18718" y="5750"/>
                </a:cubicBezTo>
                <a:cubicBezTo>
                  <a:pt x="18718" y="5750"/>
                  <a:pt x="18718" y="5750"/>
                  <a:pt x="18718" y="5750"/>
                </a:cubicBezTo>
                <a:cubicBezTo>
                  <a:pt x="18718" y="5750"/>
                  <a:pt x="18718" y="5750"/>
                  <a:pt x="18718" y="5750"/>
                </a:cubicBezTo>
                <a:cubicBezTo>
                  <a:pt x="18625" y="5750"/>
                  <a:pt x="18562" y="5844"/>
                  <a:pt x="18437" y="5812"/>
                </a:cubicBezTo>
                <a:cubicBezTo>
                  <a:pt x="18406" y="5812"/>
                  <a:pt x="18375" y="5875"/>
                  <a:pt x="18375" y="5906"/>
                </a:cubicBezTo>
                <a:cubicBezTo>
                  <a:pt x="18406" y="6000"/>
                  <a:pt x="18406" y="6094"/>
                  <a:pt x="18437" y="6187"/>
                </a:cubicBezTo>
                <a:cubicBezTo>
                  <a:pt x="18468" y="6250"/>
                  <a:pt x="18500" y="6312"/>
                  <a:pt x="18593" y="6312"/>
                </a:cubicBezTo>
                <a:cubicBezTo>
                  <a:pt x="18718" y="6312"/>
                  <a:pt x="18750" y="6219"/>
                  <a:pt x="18781" y="6125"/>
                </a:cubicBezTo>
                <a:cubicBezTo>
                  <a:pt x="18812" y="6062"/>
                  <a:pt x="18812" y="6000"/>
                  <a:pt x="18750" y="5937"/>
                </a:cubicBezTo>
                <a:cubicBezTo>
                  <a:pt x="18687" y="5937"/>
                  <a:pt x="18687" y="5875"/>
                  <a:pt x="18687" y="5844"/>
                </a:cubicBezTo>
                <a:cubicBezTo>
                  <a:pt x="18687" y="5844"/>
                  <a:pt x="18687" y="5812"/>
                  <a:pt x="18656" y="5812"/>
                </a:cubicBezTo>
                <a:cubicBezTo>
                  <a:pt x="18687" y="5812"/>
                  <a:pt x="18687" y="5812"/>
                  <a:pt x="18687" y="5844"/>
                </a:cubicBezTo>
                <a:cubicBezTo>
                  <a:pt x="18781" y="5844"/>
                  <a:pt x="18812" y="5906"/>
                  <a:pt x="18843" y="5969"/>
                </a:cubicBezTo>
                <a:cubicBezTo>
                  <a:pt x="18906" y="6062"/>
                  <a:pt x="19031" y="6062"/>
                  <a:pt x="19093" y="6031"/>
                </a:cubicBezTo>
                <a:cubicBezTo>
                  <a:pt x="19187" y="6000"/>
                  <a:pt x="19218" y="5906"/>
                  <a:pt x="19125" y="5844"/>
                </a:cubicBezTo>
                <a:cubicBezTo>
                  <a:pt x="19125" y="5812"/>
                  <a:pt x="19125" y="5781"/>
                  <a:pt x="19125" y="5781"/>
                </a:cubicBezTo>
                <a:cubicBezTo>
                  <a:pt x="19187" y="5781"/>
                  <a:pt x="19250" y="5844"/>
                  <a:pt x="19312" y="5844"/>
                </a:cubicBezTo>
                <a:cubicBezTo>
                  <a:pt x="19437" y="5844"/>
                  <a:pt x="19468" y="5844"/>
                  <a:pt x="19531" y="5937"/>
                </a:cubicBezTo>
                <a:cubicBezTo>
                  <a:pt x="19531" y="5969"/>
                  <a:pt x="19531" y="6000"/>
                  <a:pt x="19562" y="6000"/>
                </a:cubicBezTo>
                <a:cubicBezTo>
                  <a:pt x="19593" y="6000"/>
                  <a:pt x="19625" y="5969"/>
                  <a:pt x="19625" y="5937"/>
                </a:cubicBezTo>
                <a:cubicBezTo>
                  <a:pt x="19593" y="5906"/>
                  <a:pt x="19625" y="5906"/>
                  <a:pt x="19656" y="5875"/>
                </a:cubicBezTo>
                <a:cubicBezTo>
                  <a:pt x="19718" y="5844"/>
                  <a:pt x="19750" y="5781"/>
                  <a:pt x="19687" y="5719"/>
                </a:cubicBezTo>
                <a:cubicBezTo>
                  <a:pt x="19625" y="5656"/>
                  <a:pt x="19656" y="5656"/>
                  <a:pt x="19718" y="5625"/>
                </a:cubicBezTo>
                <a:cubicBezTo>
                  <a:pt x="19750" y="5625"/>
                  <a:pt x="19781" y="5625"/>
                  <a:pt x="19812" y="5594"/>
                </a:cubicBezTo>
                <a:cubicBezTo>
                  <a:pt x="19906" y="5562"/>
                  <a:pt x="20031" y="5625"/>
                  <a:pt x="20031" y="5750"/>
                </a:cubicBezTo>
                <a:cubicBezTo>
                  <a:pt x="20031" y="5781"/>
                  <a:pt x="20093" y="5812"/>
                  <a:pt x="20062" y="5875"/>
                </a:cubicBezTo>
                <a:cubicBezTo>
                  <a:pt x="20125" y="5844"/>
                  <a:pt x="20125" y="5781"/>
                  <a:pt x="20093" y="5719"/>
                </a:cubicBezTo>
                <a:cubicBezTo>
                  <a:pt x="20093" y="5594"/>
                  <a:pt x="20156" y="5500"/>
                  <a:pt x="20281" y="5500"/>
                </a:cubicBezTo>
                <a:cubicBezTo>
                  <a:pt x="20375" y="5500"/>
                  <a:pt x="20500" y="5500"/>
                  <a:pt x="20531" y="5656"/>
                </a:cubicBezTo>
                <a:cubicBezTo>
                  <a:pt x="20531" y="5687"/>
                  <a:pt x="20562" y="5687"/>
                  <a:pt x="20593" y="5687"/>
                </a:cubicBezTo>
                <a:cubicBezTo>
                  <a:pt x="20750" y="5625"/>
                  <a:pt x="20843" y="5687"/>
                  <a:pt x="20843" y="5844"/>
                </a:cubicBezTo>
                <a:cubicBezTo>
                  <a:pt x="20875" y="6000"/>
                  <a:pt x="20781" y="6062"/>
                  <a:pt x="20687" y="6125"/>
                </a:cubicBezTo>
                <a:cubicBezTo>
                  <a:pt x="20625" y="6156"/>
                  <a:pt x="20625" y="6094"/>
                  <a:pt x="20625" y="6062"/>
                </a:cubicBezTo>
                <a:cubicBezTo>
                  <a:pt x="20625" y="6062"/>
                  <a:pt x="20625" y="6062"/>
                  <a:pt x="20625" y="6062"/>
                </a:cubicBezTo>
                <a:cubicBezTo>
                  <a:pt x="20656" y="6062"/>
                  <a:pt x="20687" y="6062"/>
                  <a:pt x="20687" y="6031"/>
                </a:cubicBezTo>
                <a:cubicBezTo>
                  <a:pt x="20687" y="6000"/>
                  <a:pt x="20656" y="6000"/>
                  <a:pt x="20656" y="6000"/>
                </a:cubicBezTo>
                <a:cubicBezTo>
                  <a:pt x="20625" y="6000"/>
                  <a:pt x="20625" y="6031"/>
                  <a:pt x="20625" y="6062"/>
                </a:cubicBezTo>
                <a:cubicBezTo>
                  <a:pt x="20562" y="5969"/>
                  <a:pt x="20500" y="6062"/>
                  <a:pt x="20437" y="6094"/>
                </a:cubicBezTo>
                <a:cubicBezTo>
                  <a:pt x="20343" y="6125"/>
                  <a:pt x="20187" y="6125"/>
                  <a:pt x="20125" y="6031"/>
                </a:cubicBezTo>
                <a:cubicBezTo>
                  <a:pt x="20125" y="6031"/>
                  <a:pt x="20125" y="6031"/>
                  <a:pt x="20093" y="6000"/>
                </a:cubicBezTo>
                <a:cubicBezTo>
                  <a:pt x="20093" y="5969"/>
                  <a:pt x="20062" y="5969"/>
                  <a:pt x="20031" y="5969"/>
                </a:cubicBezTo>
                <a:cubicBezTo>
                  <a:pt x="19937" y="6094"/>
                  <a:pt x="19781" y="6000"/>
                  <a:pt x="19718" y="6125"/>
                </a:cubicBezTo>
                <a:cubicBezTo>
                  <a:pt x="19718" y="6125"/>
                  <a:pt x="19781" y="6156"/>
                  <a:pt x="19750" y="6219"/>
                </a:cubicBezTo>
                <a:cubicBezTo>
                  <a:pt x="19781" y="6219"/>
                  <a:pt x="19781" y="6219"/>
                  <a:pt x="19812" y="6219"/>
                </a:cubicBezTo>
                <a:cubicBezTo>
                  <a:pt x="19812" y="6187"/>
                  <a:pt x="19812" y="6187"/>
                  <a:pt x="19843" y="6156"/>
                </a:cubicBezTo>
                <a:cubicBezTo>
                  <a:pt x="19812" y="6187"/>
                  <a:pt x="19812" y="6187"/>
                  <a:pt x="19812" y="6219"/>
                </a:cubicBezTo>
                <a:cubicBezTo>
                  <a:pt x="19781" y="6219"/>
                  <a:pt x="19781" y="6219"/>
                  <a:pt x="19750" y="6219"/>
                </a:cubicBezTo>
                <a:cubicBezTo>
                  <a:pt x="19750" y="6219"/>
                  <a:pt x="19750" y="6219"/>
                  <a:pt x="19718" y="6250"/>
                </a:cubicBezTo>
                <a:cubicBezTo>
                  <a:pt x="19718" y="6312"/>
                  <a:pt x="19718" y="6375"/>
                  <a:pt x="19656" y="6406"/>
                </a:cubicBezTo>
                <a:close/>
                <a:moveTo>
                  <a:pt x="20593" y="7781"/>
                </a:moveTo>
                <a:cubicBezTo>
                  <a:pt x="20593" y="7781"/>
                  <a:pt x="20593" y="7781"/>
                  <a:pt x="20593" y="7781"/>
                </a:cubicBezTo>
                <a:cubicBezTo>
                  <a:pt x="20593" y="7781"/>
                  <a:pt x="20593" y="7750"/>
                  <a:pt x="20593" y="7750"/>
                </a:cubicBezTo>
                <a:cubicBezTo>
                  <a:pt x="20593" y="7750"/>
                  <a:pt x="20593" y="7781"/>
                  <a:pt x="20593" y="7781"/>
                </a:cubicBezTo>
                <a:close/>
                <a:moveTo>
                  <a:pt x="20593" y="6687"/>
                </a:moveTo>
                <a:cubicBezTo>
                  <a:pt x="20625" y="6656"/>
                  <a:pt x="20625" y="6656"/>
                  <a:pt x="20625" y="6656"/>
                </a:cubicBezTo>
                <a:cubicBezTo>
                  <a:pt x="20656" y="6656"/>
                  <a:pt x="20656" y="6625"/>
                  <a:pt x="20656" y="6625"/>
                </a:cubicBezTo>
                <a:cubicBezTo>
                  <a:pt x="20656" y="6625"/>
                  <a:pt x="20656" y="6594"/>
                  <a:pt x="20656" y="6594"/>
                </a:cubicBezTo>
                <a:cubicBezTo>
                  <a:pt x="20656" y="6594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ubicBezTo>
                  <a:pt x="20656" y="6625"/>
                  <a:pt x="20656" y="6656"/>
                  <a:pt x="20625" y="6656"/>
                </a:cubicBezTo>
                <a:cubicBezTo>
                  <a:pt x="20625" y="6656"/>
                  <a:pt x="20625" y="6656"/>
                  <a:pt x="20593" y="6687"/>
                </a:cubicBezTo>
                <a:close/>
                <a:moveTo>
                  <a:pt x="20593" y="19281"/>
                </a:moveTo>
                <a:cubicBezTo>
                  <a:pt x="20593" y="19281"/>
                  <a:pt x="20593" y="19281"/>
                  <a:pt x="20593" y="19312"/>
                </a:cubicBezTo>
                <a:cubicBezTo>
                  <a:pt x="20593" y="19312"/>
                  <a:pt x="20593" y="19312"/>
                  <a:pt x="20593" y="19312"/>
                </a:cubicBezTo>
                <a:cubicBezTo>
                  <a:pt x="20593" y="19281"/>
                  <a:pt x="20593" y="19281"/>
                  <a:pt x="20593" y="19281"/>
                </a:cubicBezTo>
                <a:close/>
                <a:moveTo>
                  <a:pt x="20656" y="6625"/>
                </a:moveTo>
                <a:cubicBezTo>
                  <a:pt x="20656" y="6625"/>
                  <a:pt x="20656" y="6656"/>
                  <a:pt x="20656" y="6656"/>
                </a:cubicBezTo>
                <a:cubicBezTo>
                  <a:pt x="20656" y="6656"/>
                  <a:pt x="20656" y="6625"/>
                  <a:pt x="20656" y="6625"/>
                </a:cubicBezTo>
                <a:cubicBezTo>
                  <a:pt x="20656" y="6625"/>
                  <a:pt x="20656" y="6625"/>
                  <a:pt x="20656" y="6625"/>
                </a:cubicBezTo>
                <a:close/>
                <a:moveTo>
                  <a:pt x="20656" y="7875"/>
                </a:moveTo>
                <a:cubicBezTo>
                  <a:pt x="20656" y="7906"/>
                  <a:pt x="20656" y="7969"/>
                  <a:pt x="20625" y="8000"/>
                </a:cubicBezTo>
                <a:cubicBezTo>
                  <a:pt x="20656" y="7969"/>
                  <a:pt x="20656" y="7906"/>
                  <a:pt x="20656" y="7875"/>
                </a:cubicBezTo>
                <a:close/>
                <a:moveTo>
                  <a:pt x="20656" y="8437"/>
                </a:moveTo>
                <a:cubicBezTo>
                  <a:pt x="20625" y="8437"/>
                  <a:pt x="20625" y="8406"/>
                  <a:pt x="20625" y="8375"/>
                </a:cubicBezTo>
                <a:cubicBezTo>
                  <a:pt x="20625" y="8406"/>
                  <a:pt x="20625" y="8437"/>
                  <a:pt x="20656" y="8437"/>
                </a:cubicBezTo>
                <a:close/>
                <a:moveTo>
                  <a:pt x="20593" y="22812"/>
                </a:moveTo>
                <a:cubicBezTo>
                  <a:pt x="20562" y="22781"/>
                  <a:pt x="20500" y="22781"/>
                  <a:pt x="20468" y="22781"/>
                </a:cubicBezTo>
                <a:cubicBezTo>
                  <a:pt x="20437" y="22812"/>
                  <a:pt x="20406" y="22844"/>
                  <a:pt x="20375" y="22844"/>
                </a:cubicBezTo>
                <a:cubicBezTo>
                  <a:pt x="20406" y="22844"/>
                  <a:pt x="20437" y="22812"/>
                  <a:pt x="20468" y="22781"/>
                </a:cubicBezTo>
                <a:cubicBezTo>
                  <a:pt x="20500" y="22781"/>
                  <a:pt x="20562" y="22781"/>
                  <a:pt x="20593" y="22812"/>
                </a:cubicBezTo>
                <a:close/>
                <a:moveTo>
                  <a:pt x="20218" y="19312"/>
                </a:moveTo>
                <a:cubicBezTo>
                  <a:pt x="20250" y="19312"/>
                  <a:pt x="20250" y="19312"/>
                  <a:pt x="20281" y="19312"/>
                </a:cubicBezTo>
                <a:cubicBezTo>
                  <a:pt x="20281" y="19312"/>
                  <a:pt x="20281" y="19312"/>
                  <a:pt x="20281" y="19312"/>
                </a:cubicBezTo>
                <a:cubicBezTo>
                  <a:pt x="20250" y="19312"/>
                  <a:pt x="20250" y="19312"/>
                  <a:pt x="20218" y="19312"/>
                </a:cubicBezTo>
                <a:close/>
                <a:moveTo>
                  <a:pt x="20250" y="22594"/>
                </a:moveTo>
                <a:cubicBezTo>
                  <a:pt x="20250" y="22594"/>
                  <a:pt x="20218" y="22594"/>
                  <a:pt x="20218" y="22594"/>
                </a:cubicBezTo>
                <a:cubicBezTo>
                  <a:pt x="20218" y="22594"/>
                  <a:pt x="20218" y="22594"/>
                  <a:pt x="20218" y="22594"/>
                </a:cubicBezTo>
                <a:cubicBezTo>
                  <a:pt x="20218" y="22594"/>
                  <a:pt x="20250" y="22594"/>
                  <a:pt x="20250" y="22594"/>
                </a:cubicBezTo>
                <a:close/>
                <a:moveTo>
                  <a:pt x="20281" y="22594"/>
                </a:moveTo>
                <a:cubicBezTo>
                  <a:pt x="20281" y="22625"/>
                  <a:pt x="20281" y="22656"/>
                  <a:pt x="20312" y="22656"/>
                </a:cubicBezTo>
                <a:cubicBezTo>
                  <a:pt x="20281" y="22656"/>
                  <a:pt x="20281" y="22625"/>
                  <a:pt x="20281" y="22594"/>
                </a:cubicBezTo>
                <a:cubicBezTo>
                  <a:pt x="20281" y="22594"/>
                  <a:pt x="20281" y="22594"/>
                  <a:pt x="20281" y="22594"/>
                </a:cubicBezTo>
                <a:close/>
                <a:moveTo>
                  <a:pt x="20281" y="7219"/>
                </a:moveTo>
                <a:cubicBezTo>
                  <a:pt x="20250" y="7281"/>
                  <a:pt x="20218" y="7312"/>
                  <a:pt x="20187" y="7312"/>
                </a:cubicBezTo>
                <a:cubicBezTo>
                  <a:pt x="20218" y="7312"/>
                  <a:pt x="20250" y="7281"/>
                  <a:pt x="20281" y="7219"/>
                </a:cubicBezTo>
                <a:cubicBezTo>
                  <a:pt x="20312" y="7156"/>
                  <a:pt x="20312" y="7125"/>
                  <a:pt x="20312" y="7094"/>
                </a:cubicBezTo>
                <a:cubicBezTo>
                  <a:pt x="20312" y="7125"/>
                  <a:pt x="20312" y="7156"/>
                  <a:pt x="20281" y="7219"/>
                </a:cubicBezTo>
                <a:close/>
                <a:moveTo>
                  <a:pt x="20031" y="6625"/>
                </a:moveTo>
                <a:cubicBezTo>
                  <a:pt x="20000" y="6625"/>
                  <a:pt x="19968" y="6625"/>
                  <a:pt x="19937" y="6656"/>
                </a:cubicBezTo>
                <a:cubicBezTo>
                  <a:pt x="19968" y="6625"/>
                  <a:pt x="20000" y="6625"/>
                  <a:pt x="20031" y="6625"/>
                </a:cubicBezTo>
                <a:cubicBezTo>
                  <a:pt x="20031" y="6625"/>
                  <a:pt x="20062" y="6625"/>
                  <a:pt x="20093" y="6625"/>
                </a:cubicBezTo>
                <a:cubicBezTo>
                  <a:pt x="20062" y="6625"/>
                  <a:pt x="20031" y="6625"/>
                  <a:pt x="20031" y="6625"/>
                </a:cubicBezTo>
                <a:close/>
                <a:moveTo>
                  <a:pt x="20031" y="19531"/>
                </a:moveTo>
                <a:cubicBezTo>
                  <a:pt x="20031" y="19531"/>
                  <a:pt x="20031" y="19531"/>
                  <a:pt x="20031" y="19531"/>
                </a:cubicBezTo>
                <a:cubicBezTo>
                  <a:pt x="20031" y="19531"/>
                  <a:pt x="20031" y="19531"/>
                  <a:pt x="20031" y="19531"/>
                </a:cubicBezTo>
                <a:close/>
                <a:moveTo>
                  <a:pt x="19937" y="7937"/>
                </a:moveTo>
                <a:cubicBezTo>
                  <a:pt x="19937" y="7937"/>
                  <a:pt x="19937" y="7937"/>
                  <a:pt x="19937" y="7906"/>
                </a:cubicBezTo>
                <a:cubicBezTo>
                  <a:pt x="19937" y="7937"/>
                  <a:pt x="19937" y="7937"/>
                  <a:pt x="19937" y="7937"/>
                </a:cubicBezTo>
                <a:cubicBezTo>
                  <a:pt x="19937" y="7969"/>
                  <a:pt x="19937" y="7969"/>
                  <a:pt x="19937" y="7969"/>
                </a:cubicBezTo>
                <a:cubicBezTo>
                  <a:pt x="19937" y="7969"/>
                  <a:pt x="19937" y="7969"/>
                  <a:pt x="19937" y="7937"/>
                </a:cubicBezTo>
                <a:cubicBezTo>
                  <a:pt x="19937" y="7937"/>
                  <a:pt x="19906" y="7937"/>
                  <a:pt x="19906" y="7937"/>
                </a:cubicBezTo>
                <a:cubicBezTo>
                  <a:pt x="19906" y="7937"/>
                  <a:pt x="19937" y="7937"/>
                  <a:pt x="19937" y="7937"/>
                </a:cubicBezTo>
                <a:close/>
                <a:moveTo>
                  <a:pt x="19906" y="6781"/>
                </a:moveTo>
                <a:cubicBezTo>
                  <a:pt x="19906" y="6812"/>
                  <a:pt x="19937" y="6844"/>
                  <a:pt x="19937" y="6844"/>
                </a:cubicBezTo>
                <a:cubicBezTo>
                  <a:pt x="19937" y="6844"/>
                  <a:pt x="19906" y="6812"/>
                  <a:pt x="19906" y="6781"/>
                </a:cubicBezTo>
                <a:close/>
                <a:moveTo>
                  <a:pt x="19937" y="10000"/>
                </a:moveTo>
                <a:cubicBezTo>
                  <a:pt x="19968" y="10000"/>
                  <a:pt x="19968" y="9969"/>
                  <a:pt x="19937" y="9937"/>
                </a:cubicBezTo>
                <a:cubicBezTo>
                  <a:pt x="19906" y="9906"/>
                  <a:pt x="19875" y="9875"/>
                  <a:pt x="19875" y="9844"/>
                </a:cubicBezTo>
                <a:cubicBezTo>
                  <a:pt x="19875" y="9875"/>
                  <a:pt x="19906" y="9906"/>
                  <a:pt x="19937" y="9937"/>
                </a:cubicBezTo>
                <a:cubicBezTo>
                  <a:pt x="19968" y="9969"/>
                  <a:pt x="19968" y="10000"/>
                  <a:pt x="19937" y="10000"/>
                </a:cubicBezTo>
                <a:close/>
                <a:moveTo>
                  <a:pt x="19937" y="22594"/>
                </a:moveTo>
                <a:cubicBezTo>
                  <a:pt x="19937" y="22562"/>
                  <a:pt x="19968" y="22531"/>
                  <a:pt x="19968" y="22531"/>
                </a:cubicBezTo>
                <a:cubicBezTo>
                  <a:pt x="19968" y="22531"/>
                  <a:pt x="19937" y="22562"/>
                  <a:pt x="19937" y="22594"/>
                </a:cubicBezTo>
                <a:cubicBezTo>
                  <a:pt x="19937" y="22625"/>
                  <a:pt x="19937" y="22625"/>
                  <a:pt x="19937" y="22625"/>
                </a:cubicBezTo>
                <a:cubicBezTo>
                  <a:pt x="19937" y="22625"/>
                  <a:pt x="19937" y="22625"/>
                  <a:pt x="19937" y="22594"/>
                </a:cubicBezTo>
                <a:close/>
                <a:moveTo>
                  <a:pt x="20093" y="8094"/>
                </a:moveTo>
                <a:cubicBezTo>
                  <a:pt x="20062" y="8094"/>
                  <a:pt x="20062" y="8094"/>
                  <a:pt x="20062" y="8094"/>
                </a:cubicBezTo>
                <a:cubicBezTo>
                  <a:pt x="20062" y="8094"/>
                  <a:pt x="20062" y="8094"/>
                  <a:pt x="20062" y="8094"/>
                </a:cubicBezTo>
                <a:cubicBezTo>
                  <a:pt x="20062" y="8094"/>
                  <a:pt x="20062" y="8094"/>
                  <a:pt x="20093" y="8094"/>
                </a:cubicBezTo>
                <a:close/>
                <a:moveTo>
                  <a:pt x="20125" y="22594"/>
                </a:moveTo>
                <a:cubicBezTo>
                  <a:pt x="20125" y="22594"/>
                  <a:pt x="20125" y="22594"/>
                  <a:pt x="20125" y="22594"/>
                </a:cubicBezTo>
                <a:cubicBezTo>
                  <a:pt x="20125" y="22594"/>
                  <a:pt x="20093" y="22594"/>
                  <a:pt x="20062" y="22594"/>
                </a:cubicBezTo>
                <a:cubicBezTo>
                  <a:pt x="20093" y="22594"/>
                  <a:pt x="20125" y="22594"/>
                  <a:pt x="20125" y="22594"/>
                </a:cubicBezTo>
                <a:close/>
                <a:moveTo>
                  <a:pt x="20093" y="8062"/>
                </a:moveTo>
                <a:cubicBezTo>
                  <a:pt x="20093" y="8094"/>
                  <a:pt x="20093" y="8094"/>
                  <a:pt x="20093" y="8094"/>
                </a:cubicBezTo>
                <a:cubicBezTo>
                  <a:pt x="20093" y="8094"/>
                  <a:pt x="20093" y="8094"/>
                  <a:pt x="20093" y="8094"/>
                </a:cubicBezTo>
                <a:cubicBezTo>
                  <a:pt x="20093" y="8094"/>
                  <a:pt x="20093" y="8094"/>
                  <a:pt x="20093" y="8062"/>
                </a:cubicBezTo>
                <a:close/>
                <a:moveTo>
                  <a:pt x="20093" y="6531"/>
                </a:moveTo>
                <a:cubicBezTo>
                  <a:pt x="20093" y="6531"/>
                  <a:pt x="20062" y="6531"/>
                  <a:pt x="20031" y="6531"/>
                </a:cubicBezTo>
                <a:cubicBezTo>
                  <a:pt x="20031" y="6531"/>
                  <a:pt x="20031" y="6500"/>
                  <a:pt x="20031" y="6500"/>
                </a:cubicBezTo>
                <a:cubicBezTo>
                  <a:pt x="20031" y="6469"/>
                  <a:pt x="20031" y="6469"/>
                  <a:pt x="20062" y="6469"/>
                </a:cubicBezTo>
                <a:cubicBezTo>
                  <a:pt x="20062" y="6375"/>
                  <a:pt x="20031" y="6281"/>
                  <a:pt x="19906" y="6312"/>
                </a:cubicBezTo>
                <a:cubicBezTo>
                  <a:pt x="19906" y="6312"/>
                  <a:pt x="19906" y="6312"/>
                  <a:pt x="19906" y="6312"/>
                </a:cubicBezTo>
                <a:cubicBezTo>
                  <a:pt x="19906" y="6281"/>
                  <a:pt x="19906" y="6250"/>
                  <a:pt x="19906" y="6219"/>
                </a:cubicBezTo>
                <a:cubicBezTo>
                  <a:pt x="19906" y="6187"/>
                  <a:pt x="19906" y="6187"/>
                  <a:pt x="19906" y="6156"/>
                </a:cubicBezTo>
                <a:cubicBezTo>
                  <a:pt x="20031" y="6094"/>
                  <a:pt x="20031" y="6219"/>
                  <a:pt x="20062" y="6250"/>
                </a:cubicBezTo>
                <a:cubicBezTo>
                  <a:pt x="20125" y="6250"/>
                  <a:pt x="20125" y="6156"/>
                  <a:pt x="20187" y="6156"/>
                </a:cubicBezTo>
                <a:cubicBezTo>
                  <a:pt x="20218" y="6187"/>
                  <a:pt x="20218" y="6281"/>
                  <a:pt x="20312" y="6250"/>
                </a:cubicBezTo>
                <a:cubicBezTo>
                  <a:pt x="20312" y="6312"/>
                  <a:pt x="20250" y="6344"/>
                  <a:pt x="20218" y="6375"/>
                </a:cubicBezTo>
                <a:cubicBezTo>
                  <a:pt x="20031" y="6344"/>
                  <a:pt x="20125" y="6500"/>
                  <a:pt x="20093" y="6531"/>
                </a:cubicBezTo>
                <a:close/>
                <a:moveTo>
                  <a:pt x="20281" y="6531"/>
                </a:moveTo>
                <a:cubicBezTo>
                  <a:pt x="20250" y="6531"/>
                  <a:pt x="20250" y="6531"/>
                  <a:pt x="20250" y="6562"/>
                </a:cubicBezTo>
                <a:cubicBezTo>
                  <a:pt x="20250" y="6531"/>
                  <a:pt x="20250" y="6531"/>
                  <a:pt x="20281" y="6531"/>
                </a:cubicBezTo>
                <a:cubicBezTo>
                  <a:pt x="20281" y="6531"/>
                  <a:pt x="20281" y="6531"/>
                  <a:pt x="20281" y="6531"/>
                </a:cubicBezTo>
                <a:close/>
                <a:moveTo>
                  <a:pt x="20218" y="22625"/>
                </a:moveTo>
                <a:cubicBezTo>
                  <a:pt x="20187" y="22656"/>
                  <a:pt x="20187" y="22656"/>
                  <a:pt x="20187" y="22656"/>
                </a:cubicBezTo>
                <a:cubicBezTo>
                  <a:pt x="20187" y="22656"/>
                  <a:pt x="20187" y="22656"/>
                  <a:pt x="20218" y="22625"/>
                </a:cubicBezTo>
                <a:close/>
                <a:moveTo>
                  <a:pt x="20187" y="8625"/>
                </a:moveTo>
                <a:cubicBezTo>
                  <a:pt x="20187" y="8625"/>
                  <a:pt x="20187" y="8625"/>
                  <a:pt x="20187" y="8625"/>
                </a:cubicBezTo>
                <a:cubicBezTo>
                  <a:pt x="20187" y="8625"/>
                  <a:pt x="20187" y="8625"/>
                  <a:pt x="20187" y="8625"/>
                </a:cubicBezTo>
                <a:cubicBezTo>
                  <a:pt x="20187" y="8625"/>
                  <a:pt x="20187" y="8625"/>
                  <a:pt x="20187" y="8625"/>
                </a:cubicBezTo>
                <a:close/>
                <a:moveTo>
                  <a:pt x="20187" y="8594"/>
                </a:moveTo>
                <a:cubicBezTo>
                  <a:pt x="20187" y="8594"/>
                  <a:pt x="20187" y="8594"/>
                  <a:pt x="20218" y="8594"/>
                </a:cubicBezTo>
                <a:cubicBezTo>
                  <a:pt x="20218" y="8594"/>
                  <a:pt x="20218" y="8594"/>
                  <a:pt x="20218" y="8594"/>
                </a:cubicBezTo>
                <a:cubicBezTo>
                  <a:pt x="20187" y="8594"/>
                  <a:pt x="20187" y="8594"/>
                  <a:pt x="20187" y="8594"/>
                </a:cubicBezTo>
                <a:close/>
                <a:moveTo>
                  <a:pt x="20218" y="6719"/>
                </a:moveTo>
                <a:cubicBezTo>
                  <a:pt x="20218" y="6719"/>
                  <a:pt x="20218" y="6719"/>
                  <a:pt x="20218" y="6719"/>
                </a:cubicBezTo>
                <a:cubicBezTo>
                  <a:pt x="20218" y="6719"/>
                  <a:pt x="20218" y="6719"/>
                  <a:pt x="20218" y="6750"/>
                </a:cubicBezTo>
                <a:cubicBezTo>
                  <a:pt x="20218" y="6719"/>
                  <a:pt x="20218" y="6719"/>
                  <a:pt x="20218" y="6719"/>
                </a:cubicBezTo>
                <a:cubicBezTo>
                  <a:pt x="20218" y="6719"/>
                  <a:pt x="20218" y="6719"/>
                  <a:pt x="20218" y="6719"/>
                </a:cubicBezTo>
                <a:cubicBezTo>
                  <a:pt x="20250" y="6687"/>
                  <a:pt x="20281" y="6687"/>
                  <a:pt x="20312" y="6687"/>
                </a:cubicBezTo>
                <a:cubicBezTo>
                  <a:pt x="20281" y="6687"/>
                  <a:pt x="20250" y="6687"/>
                  <a:pt x="20218" y="6719"/>
                </a:cubicBezTo>
                <a:close/>
                <a:moveTo>
                  <a:pt x="19875" y="7812"/>
                </a:moveTo>
                <a:cubicBezTo>
                  <a:pt x="19875" y="7781"/>
                  <a:pt x="19875" y="7781"/>
                  <a:pt x="19875" y="7781"/>
                </a:cubicBezTo>
                <a:cubicBezTo>
                  <a:pt x="19875" y="7781"/>
                  <a:pt x="19875" y="7781"/>
                  <a:pt x="19875" y="7812"/>
                </a:cubicBezTo>
                <a:cubicBezTo>
                  <a:pt x="19875" y="7812"/>
                  <a:pt x="19875" y="7844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43" y="7875"/>
                  <a:pt x="19812" y="7906"/>
                  <a:pt x="19812" y="7906"/>
                </a:cubicBezTo>
                <a:cubicBezTo>
                  <a:pt x="19812" y="7906"/>
                  <a:pt x="19843" y="7875"/>
                  <a:pt x="19875" y="7875"/>
                </a:cubicBezTo>
                <a:cubicBezTo>
                  <a:pt x="19875" y="7875"/>
                  <a:pt x="19875" y="7875"/>
                  <a:pt x="19875" y="7875"/>
                </a:cubicBezTo>
                <a:cubicBezTo>
                  <a:pt x="19875" y="7844"/>
                  <a:pt x="19875" y="7812"/>
                  <a:pt x="19875" y="7812"/>
                </a:cubicBezTo>
                <a:close/>
                <a:moveTo>
                  <a:pt x="19875" y="6750"/>
                </a:move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ubicBezTo>
                  <a:pt x="19875" y="6750"/>
                  <a:pt x="19875" y="6750"/>
                  <a:pt x="19875" y="6750"/>
                </a:cubicBezTo>
                <a:close/>
                <a:moveTo>
                  <a:pt x="19812" y="7937"/>
                </a:moveTo>
                <a:cubicBezTo>
                  <a:pt x="19781" y="7937"/>
                  <a:pt x="19781" y="7937"/>
                  <a:pt x="19781" y="7937"/>
                </a:cubicBezTo>
                <a:cubicBezTo>
                  <a:pt x="19781" y="7937"/>
                  <a:pt x="19781" y="7937"/>
                  <a:pt x="19781" y="7937"/>
                </a:cubicBezTo>
                <a:cubicBezTo>
                  <a:pt x="19781" y="7937"/>
                  <a:pt x="19781" y="7937"/>
                  <a:pt x="19812" y="7937"/>
                </a:cubicBezTo>
                <a:close/>
                <a:moveTo>
                  <a:pt x="19812" y="8187"/>
                </a:moveTo>
                <a:cubicBezTo>
                  <a:pt x="19812" y="8219"/>
                  <a:pt x="19843" y="8250"/>
                  <a:pt x="19875" y="8281"/>
                </a:cubicBezTo>
                <a:cubicBezTo>
                  <a:pt x="19843" y="8250"/>
                  <a:pt x="19812" y="8219"/>
                  <a:pt x="19812" y="8187"/>
                </a:cubicBezTo>
                <a:cubicBezTo>
                  <a:pt x="19750" y="8156"/>
                  <a:pt x="19718" y="8125"/>
                  <a:pt x="19718" y="8062"/>
                </a:cubicBezTo>
                <a:cubicBezTo>
                  <a:pt x="19718" y="8125"/>
                  <a:pt x="19750" y="8156"/>
                  <a:pt x="19812" y="8187"/>
                </a:cubicBezTo>
                <a:close/>
                <a:moveTo>
                  <a:pt x="19750" y="9219"/>
                </a:moveTo>
                <a:cubicBezTo>
                  <a:pt x="19781" y="9187"/>
                  <a:pt x="19843" y="9156"/>
                  <a:pt x="19906" y="9094"/>
                </a:cubicBezTo>
                <a:cubicBezTo>
                  <a:pt x="19906" y="9094"/>
                  <a:pt x="19906" y="9094"/>
                  <a:pt x="19906" y="9094"/>
                </a:cubicBezTo>
                <a:cubicBezTo>
                  <a:pt x="19843" y="9156"/>
                  <a:pt x="19781" y="9187"/>
                  <a:pt x="19750" y="9219"/>
                </a:cubicBezTo>
                <a:close/>
                <a:moveTo>
                  <a:pt x="19812" y="22781"/>
                </a:moveTo>
                <a:cubicBezTo>
                  <a:pt x="19812" y="22781"/>
                  <a:pt x="19812" y="22781"/>
                  <a:pt x="19812" y="22781"/>
                </a:cubicBezTo>
                <a:cubicBezTo>
                  <a:pt x="19812" y="22750"/>
                  <a:pt x="19812" y="22750"/>
                  <a:pt x="19812" y="22719"/>
                </a:cubicBezTo>
                <a:cubicBezTo>
                  <a:pt x="19812" y="22750"/>
                  <a:pt x="19812" y="22750"/>
                  <a:pt x="19812" y="22781"/>
                </a:cubicBezTo>
                <a:close/>
                <a:moveTo>
                  <a:pt x="19781" y="11156"/>
                </a:moveTo>
                <a:cubicBezTo>
                  <a:pt x="19781" y="11156"/>
                  <a:pt x="19781" y="11156"/>
                  <a:pt x="19781" y="11156"/>
                </a:cubicBezTo>
                <a:cubicBezTo>
                  <a:pt x="19781" y="11156"/>
                  <a:pt x="19812" y="11156"/>
                  <a:pt x="19812" y="11156"/>
                </a:cubicBezTo>
                <a:cubicBezTo>
                  <a:pt x="19812" y="11156"/>
                  <a:pt x="19781" y="11156"/>
                  <a:pt x="19781" y="11156"/>
                </a:cubicBezTo>
                <a:close/>
                <a:moveTo>
                  <a:pt x="19562" y="10844"/>
                </a:moveTo>
                <a:cubicBezTo>
                  <a:pt x="19562" y="10844"/>
                  <a:pt x="19562" y="10844"/>
                  <a:pt x="19562" y="10844"/>
                </a:cubicBezTo>
                <a:cubicBezTo>
                  <a:pt x="19687" y="10875"/>
                  <a:pt x="19750" y="10875"/>
                  <a:pt x="19781" y="10906"/>
                </a:cubicBezTo>
                <a:cubicBezTo>
                  <a:pt x="19750" y="10875"/>
                  <a:pt x="19687" y="10875"/>
                  <a:pt x="19562" y="10844"/>
                </a:cubicBezTo>
                <a:cubicBezTo>
                  <a:pt x="19500" y="10844"/>
                  <a:pt x="19437" y="10844"/>
                  <a:pt x="19406" y="10844"/>
                </a:cubicBezTo>
                <a:cubicBezTo>
                  <a:pt x="19437" y="10844"/>
                  <a:pt x="19500" y="10844"/>
                  <a:pt x="19562" y="10844"/>
                </a:cubicBezTo>
                <a:close/>
                <a:moveTo>
                  <a:pt x="19750" y="19750"/>
                </a:moveTo>
                <a:cubicBezTo>
                  <a:pt x="19750" y="19719"/>
                  <a:pt x="19750" y="19656"/>
                  <a:pt x="19750" y="19625"/>
                </a:cubicBezTo>
                <a:cubicBezTo>
                  <a:pt x="19750" y="19656"/>
                  <a:pt x="19750" y="19719"/>
                  <a:pt x="19750" y="19750"/>
                </a:cubicBezTo>
                <a:close/>
                <a:moveTo>
                  <a:pt x="19187" y="22844"/>
                </a:moveTo>
                <a:cubicBezTo>
                  <a:pt x="19312" y="22844"/>
                  <a:pt x="19406" y="22844"/>
                  <a:pt x="19531" y="22844"/>
                </a:cubicBezTo>
                <a:cubicBezTo>
                  <a:pt x="19406" y="22844"/>
                  <a:pt x="19312" y="22844"/>
                  <a:pt x="19187" y="22844"/>
                </a:cubicBezTo>
                <a:cubicBezTo>
                  <a:pt x="19187" y="22844"/>
                  <a:pt x="19156" y="22844"/>
                  <a:pt x="19156" y="22844"/>
                </a:cubicBezTo>
                <a:cubicBezTo>
                  <a:pt x="19125" y="22844"/>
                  <a:pt x="19093" y="22844"/>
                  <a:pt x="19093" y="22844"/>
                </a:cubicBezTo>
                <a:cubicBezTo>
                  <a:pt x="19093" y="22844"/>
                  <a:pt x="19125" y="22844"/>
                  <a:pt x="19156" y="22844"/>
                </a:cubicBezTo>
                <a:cubicBezTo>
                  <a:pt x="19156" y="22844"/>
                  <a:pt x="19156" y="22844"/>
                  <a:pt x="19156" y="22844"/>
                </a:cubicBezTo>
                <a:cubicBezTo>
                  <a:pt x="19156" y="22844"/>
                  <a:pt x="19187" y="22844"/>
                  <a:pt x="19187" y="22844"/>
                </a:cubicBezTo>
                <a:close/>
                <a:moveTo>
                  <a:pt x="19468" y="19594"/>
                </a:moveTo>
                <a:cubicBezTo>
                  <a:pt x="19468" y="19625"/>
                  <a:pt x="19468" y="19625"/>
                  <a:pt x="19468" y="19656"/>
                </a:cubicBezTo>
                <a:cubicBezTo>
                  <a:pt x="19468" y="19750"/>
                  <a:pt x="19406" y="19844"/>
                  <a:pt x="19312" y="19844"/>
                </a:cubicBezTo>
                <a:cubicBezTo>
                  <a:pt x="19406" y="19844"/>
                  <a:pt x="19468" y="19750"/>
                  <a:pt x="19468" y="19656"/>
                </a:cubicBezTo>
                <a:cubicBezTo>
                  <a:pt x="19468" y="19625"/>
                  <a:pt x="19468" y="19625"/>
                  <a:pt x="19468" y="19594"/>
                </a:cubicBezTo>
                <a:close/>
                <a:moveTo>
                  <a:pt x="19500" y="11562"/>
                </a:moveTo>
                <a:cubicBezTo>
                  <a:pt x="19500" y="11531"/>
                  <a:pt x="19500" y="11469"/>
                  <a:pt x="19500" y="11437"/>
                </a:cubicBezTo>
                <a:cubicBezTo>
                  <a:pt x="19500" y="11437"/>
                  <a:pt x="19500" y="11437"/>
                  <a:pt x="19500" y="11437"/>
                </a:cubicBezTo>
                <a:cubicBezTo>
                  <a:pt x="19500" y="11469"/>
                  <a:pt x="19500" y="11531"/>
                  <a:pt x="19500" y="11562"/>
                </a:cubicBezTo>
                <a:close/>
                <a:moveTo>
                  <a:pt x="18968" y="11281"/>
                </a:moveTo>
                <a:cubicBezTo>
                  <a:pt x="19000" y="11219"/>
                  <a:pt x="18968" y="11156"/>
                  <a:pt x="18968" y="11062"/>
                </a:cubicBezTo>
                <a:cubicBezTo>
                  <a:pt x="18968" y="11062"/>
                  <a:pt x="18968" y="11062"/>
                  <a:pt x="18968" y="11062"/>
                </a:cubicBezTo>
                <a:cubicBezTo>
                  <a:pt x="19031" y="11031"/>
                  <a:pt x="19093" y="11031"/>
                  <a:pt x="19156" y="11000"/>
                </a:cubicBezTo>
                <a:cubicBezTo>
                  <a:pt x="19281" y="11000"/>
                  <a:pt x="19312" y="11031"/>
                  <a:pt x="19312" y="11156"/>
                </a:cubicBezTo>
                <a:cubicBezTo>
                  <a:pt x="19312" y="11156"/>
                  <a:pt x="19312" y="11156"/>
                  <a:pt x="19281" y="11156"/>
                </a:cubicBezTo>
                <a:cubicBezTo>
                  <a:pt x="19156" y="11156"/>
                  <a:pt x="19093" y="11219"/>
                  <a:pt x="19062" y="11344"/>
                </a:cubicBezTo>
                <a:cubicBezTo>
                  <a:pt x="19187" y="11375"/>
                  <a:pt x="19281" y="11406"/>
                  <a:pt x="19375" y="11437"/>
                </a:cubicBezTo>
                <a:cubicBezTo>
                  <a:pt x="19406" y="11375"/>
                  <a:pt x="19406" y="11375"/>
                  <a:pt x="19437" y="11375"/>
                </a:cubicBezTo>
                <a:cubicBezTo>
                  <a:pt x="19406" y="11375"/>
                  <a:pt x="19406" y="11375"/>
                  <a:pt x="19375" y="11437"/>
                </a:cubicBezTo>
                <a:cubicBezTo>
                  <a:pt x="19281" y="11406"/>
                  <a:pt x="19187" y="11375"/>
                  <a:pt x="19062" y="11344"/>
                </a:cubicBezTo>
                <a:cubicBezTo>
                  <a:pt x="19031" y="11344"/>
                  <a:pt x="18968" y="11375"/>
                  <a:pt x="18968" y="11281"/>
                </a:cubicBezTo>
                <a:cubicBezTo>
                  <a:pt x="18937" y="11281"/>
                  <a:pt x="18875" y="11281"/>
                  <a:pt x="18875" y="11281"/>
                </a:cubicBezTo>
                <a:cubicBezTo>
                  <a:pt x="18875" y="11281"/>
                  <a:pt x="18937" y="11281"/>
                  <a:pt x="18968" y="11281"/>
                </a:cubicBezTo>
                <a:close/>
                <a:moveTo>
                  <a:pt x="19062" y="20750"/>
                </a:moveTo>
                <a:cubicBezTo>
                  <a:pt x="19062" y="20750"/>
                  <a:pt x="19031" y="20750"/>
                  <a:pt x="19031" y="20750"/>
                </a:cubicBezTo>
                <a:cubicBezTo>
                  <a:pt x="19031" y="20750"/>
                  <a:pt x="19031" y="20750"/>
                  <a:pt x="19031" y="20750"/>
                </a:cubicBezTo>
                <a:cubicBezTo>
                  <a:pt x="19031" y="20750"/>
                  <a:pt x="19062" y="20750"/>
                  <a:pt x="19062" y="20750"/>
                </a:cubicBezTo>
                <a:close/>
                <a:moveTo>
                  <a:pt x="19031" y="20875"/>
                </a:moveTo>
                <a:cubicBezTo>
                  <a:pt x="19031" y="20844"/>
                  <a:pt x="19031" y="20781"/>
                  <a:pt x="19031" y="20750"/>
                </a:cubicBezTo>
                <a:cubicBezTo>
                  <a:pt x="19031" y="20750"/>
                  <a:pt x="19031" y="20750"/>
                  <a:pt x="19031" y="20750"/>
                </a:cubicBezTo>
                <a:cubicBezTo>
                  <a:pt x="19031" y="20781"/>
                  <a:pt x="19031" y="20844"/>
                  <a:pt x="19031" y="20875"/>
                </a:cubicBezTo>
                <a:close/>
                <a:moveTo>
                  <a:pt x="18750" y="10750"/>
                </a:moveTo>
                <a:cubicBezTo>
                  <a:pt x="18718" y="10781"/>
                  <a:pt x="18718" y="10812"/>
                  <a:pt x="18718" y="10906"/>
                </a:cubicBezTo>
                <a:cubicBezTo>
                  <a:pt x="18718" y="10937"/>
                  <a:pt x="18718" y="10937"/>
                  <a:pt x="18718" y="10969"/>
                </a:cubicBezTo>
                <a:cubicBezTo>
                  <a:pt x="18718" y="10969"/>
                  <a:pt x="18718" y="10969"/>
                  <a:pt x="18718" y="10969"/>
                </a:cubicBezTo>
                <a:cubicBezTo>
                  <a:pt x="18718" y="10937"/>
                  <a:pt x="18718" y="10937"/>
                  <a:pt x="18718" y="10906"/>
                </a:cubicBezTo>
                <a:cubicBezTo>
                  <a:pt x="18718" y="10906"/>
                  <a:pt x="18718" y="10906"/>
                  <a:pt x="18718" y="10906"/>
                </a:cubicBezTo>
                <a:cubicBezTo>
                  <a:pt x="18718" y="10812"/>
                  <a:pt x="18718" y="10781"/>
                  <a:pt x="18750" y="10750"/>
                </a:cubicBezTo>
                <a:close/>
                <a:moveTo>
                  <a:pt x="18562" y="11062"/>
                </a:moveTo>
                <a:cubicBezTo>
                  <a:pt x="18593" y="11062"/>
                  <a:pt x="18625" y="11094"/>
                  <a:pt x="18656" y="11156"/>
                </a:cubicBezTo>
                <a:cubicBezTo>
                  <a:pt x="18656" y="11156"/>
                  <a:pt x="18656" y="11156"/>
                  <a:pt x="18656" y="11156"/>
                </a:cubicBezTo>
                <a:cubicBezTo>
                  <a:pt x="18656" y="11125"/>
                  <a:pt x="18687" y="11125"/>
                  <a:pt x="18687" y="11125"/>
                </a:cubicBezTo>
                <a:cubicBezTo>
                  <a:pt x="18687" y="11125"/>
                  <a:pt x="18687" y="11094"/>
                  <a:pt x="18687" y="11094"/>
                </a:cubicBezTo>
                <a:cubicBezTo>
                  <a:pt x="18687" y="11094"/>
                  <a:pt x="18687" y="11125"/>
                  <a:pt x="18687" y="11125"/>
                </a:cubicBezTo>
                <a:cubicBezTo>
                  <a:pt x="18687" y="11125"/>
                  <a:pt x="18656" y="11125"/>
                  <a:pt x="18656" y="11156"/>
                </a:cubicBezTo>
                <a:cubicBezTo>
                  <a:pt x="18656" y="11156"/>
                  <a:pt x="18656" y="11156"/>
                  <a:pt x="18656" y="11156"/>
                </a:cubicBezTo>
                <a:cubicBezTo>
                  <a:pt x="18625" y="11094"/>
                  <a:pt x="18593" y="11062"/>
                  <a:pt x="18562" y="11062"/>
                </a:cubicBezTo>
                <a:cubicBezTo>
                  <a:pt x="18500" y="11000"/>
                  <a:pt x="18437" y="10969"/>
                  <a:pt x="18375" y="10906"/>
                </a:cubicBezTo>
                <a:cubicBezTo>
                  <a:pt x="18437" y="10969"/>
                  <a:pt x="18500" y="11000"/>
                  <a:pt x="18562" y="11062"/>
                </a:cubicBezTo>
                <a:close/>
                <a:moveTo>
                  <a:pt x="18156" y="22656"/>
                </a:moveTo>
                <a:cubicBezTo>
                  <a:pt x="18156" y="22656"/>
                  <a:pt x="18156" y="22656"/>
                  <a:pt x="18156" y="22656"/>
                </a:cubicBezTo>
                <a:cubicBezTo>
                  <a:pt x="18125" y="22656"/>
                  <a:pt x="18093" y="22687"/>
                  <a:pt x="18062" y="22687"/>
                </a:cubicBezTo>
                <a:cubicBezTo>
                  <a:pt x="18093" y="22687"/>
                  <a:pt x="18125" y="22656"/>
                  <a:pt x="18156" y="22656"/>
                </a:cubicBezTo>
                <a:close/>
                <a:moveTo>
                  <a:pt x="18218" y="22750"/>
                </a:moveTo>
                <a:cubicBezTo>
                  <a:pt x="18218" y="22750"/>
                  <a:pt x="18218" y="22750"/>
                  <a:pt x="18218" y="22750"/>
                </a:cubicBezTo>
                <a:cubicBezTo>
                  <a:pt x="18156" y="22781"/>
                  <a:pt x="18093" y="22812"/>
                  <a:pt x="18031" y="22844"/>
                </a:cubicBezTo>
                <a:cubicBezTo>
                  <a:pt x="18093" y="22812"/>
                  <a:pt x="18156" y="22781"/>
                  <a:pt x="18218" y="22750"/>
                </a:cubicBezTo>
                <a:close/>
                <a:moveTo>
                  <a:pt x="18000" y="22844"/>
                </a:moveTo>
                <a:cubicBezTo>
                  <a:pt x="18000" y="22844"/>
                  <a:pt x="17968" y="22844"/>
                  <a:pt x="17968" y="22844"/>
                </a:cubicBezTo>
                <a:cubicBezTo>
                  <a:pt x="17968" y="22844"/>
                  <a:pt x="18000" y="22844"/>
                  <a:pt x="18000" y="22844"/>
                </a:cubicBezTo>
                <a:cubicBezTo>
                  <a:pt x="18000" y="22844"/>
                  <a:pt x="18000" y="22844"/>
                  <a:pt x="18000" y="22844"/>
                </a:cubicBezTo>
                <a:close/>
                <a:moveTo>
                  <a:pt x="17968" y="10125"/>
                </a:moveTo>
                <a:cubicBezTo>
                  <a:pt x="17968" y="10094"/>
                  <a:pt x="17968" y="10094"/>
                  <a:pt x="17906" y="10094"/>
                </a:cubicBezTo>
                <a:cubicBezTo>
                  <a:pt x="17906" y="10094"/>
                  <a:pt x="17906" y="10094"/>
                  <a:pt x="17906" y="10094"/>
                </a:cubicBezTo>
                <a:cubicBezTo>
                  <a:pt x="17968" y="10094"/>
                  <a:pt x="17968" y="10094"/>
                  <a:pt x="17968" y="10125"/>
                </a:cubicBezTo>
                <a:close/>
                <a:moveTo>
                  <a:pt x="17906" y="20156"/>
                </a:moveTo>
                <a:cubicBezTo>
                  <a:pt x="17906" y="20156"/>
                  <a:pt x="17937" y="20156"/>
                  <a:pt x="17937" y="20156"/>
                </a:cubicBezTo>
                <a:cubicBezTo>
                  <a:pt x="17937" y="20156"/>
                  <a:pt x="17906" y="20156"/>
                  <a:pt x="17906" y="20156"/>
                </a:cubicBezTo>
                <a:close/>
                <a:moveTo>
                  <a:pt x="17750" y="9687"/>
                </a:moveTo>
                <a:cubicBezTo>
                  <a:pt x="17750" y="9687"/>
                  <a:pt x="17750" y="9687"/>
                  <a:pt x="17750" y="9687"/>
                </a:cubicBezTo>
                <a:cubicBezTo>
                  <a:pt x="17812" y="9781"/>
                  <a:pt x="17875" y="9875"/>
                  <a:pt x="17906" y="9969"/>
                </a:cubicBezTo>
                <a:cubicBezTo>
                  <a:pt x="17875" y="9875"/>
                  <a:pt x="17812" y="9781"/>
                  <a:pt x="17750" y="9687"/>
                </a:cubicBezTo>
                <a:cubicBezTo>
                  <a:pt x="17750" y="9687"/>
                  <a:pt x="17750" y="9687"/>
                  <a:pt x="17750" y="9687"/>
                </a:cubicBezTo>
                <a:close/>
                <a:moveTo>
                  <a:pt x="17906" y="22719"/>
                </a:moveTo>
                <a:cubicBezTo>
                  <a:pt x="17906" y="22719"/>
                  <a:pt x="17906" y="22719"/>
                  <a:pt x="17875" y="22719"/>
                </a:cubicBezTo>
                <a:cubicBezTo>
                  <a:pt x="17875" y="22719"/>
                  <a:pt x="17875" y="22719"/>
                  <a:pt x="17875" y="22719"/>
                </a:cubicBezTo>
                <a:cubicBezTo>
                  <a:pt x="17906" y="22719"/>
                  <a:pt x="17906" y="22719"/>
                  <a:pt x="17906" y="22719"/>
                </a:cubicBezTo>
                <a:close/>
                <a:moveTo>
                  <a:pt x="17718" y="22750"/>
                </a:moveTo>
                <a:cubicBezTo>
                  <a:pt x="17718" y="22750"/>
                  <a:pt x="17718" y="22750"/>
                  <a:pt x="17718" y="22750"/>
                </a:cubicBezTo>
                <a:cubicBezTo>
                  <a:pt x="17718" y="22750"/>
                  <a:pt x="17718" y="22750"/>
                  <a:pt x="17718" y="22719"/>
                </a:cubicBezTo>
                <a:cubicBezTo>
                  <a:pt x="17718" y="22750"/>
                  <a:pt x="17718" y="22750"/>
                  <a:pt x="17718" y="22750"/>
                </a:cubicBezTo>
                <a:close/>
                <a:moveTo>
                  <a:pt x="17500" y="22875"/>
                </a:move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468" y="22875"/>
                </a:cubicBezTo>
                <a:cubicBezTo>
                  <a:pt x="17500" y="22875"/>
                  <a:pt x="17500" y="22875"/>
                  <a:pt x="17500" y="22875"/>
                </a:cubicBezTo>
                <a:close/>
                <a:moveTo>
                  <a:pt x="17500" y="22875"/>
                </a:move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ubicBezTo>
                  <a:pt x="17500" y="22875"/>
                  <a:pt x="17500" y="22875"/>
                  <a:pt x="17500" y="22875"/>
                </a:cubicBezTo>
                <a:close/>
                <a:moveTo>
                  <a:pt x="17250" y="8062"/>
                </a:moveTo>
                <a:cubicBezTo>
                  <a:pt x="17312" y="8281"/>
                  <a:pt x="17375" y="8469"/>
                  <a:pt x="17406" y="8687"/>
                </a:cubicBezTo>
                <a:cubicBezTo>
                  <a:pt x="17375" y="8469"/>
                  <a:pt x="17312" y="8281"/>
                  <a:pt x="17250" y="8062"/>
                </a:cubicBezTo>
                <a:cubicBezTo>
                  <a:pt x="17250" y="8062"/>
                  <a:pt x="17218" y="8031"/>
                  <a:pt x="17218" y="8031"/>
                </a:cubicBezTo>
                <a:cubicBezTo>
                  <a:pt x="17218" y="8031"/>
                  <a:pt x="17250" y="8062"/>
                  <a:pt x="17250" y="8062"/>
                </a:cubicBezTo>
                <a:close/>
                <a:moveTo>
                  <a:pt x="17468" y="22656"/>
                </a:moveTo>
                <a:cubicBezTo>
                  <a:pt x="17406" y="22656"/>
                  <a:pt x="17375" y="22687"/>
                  <a:pt x="17312" y="22687"/>
                </a:cubicBezTo>
                <a:cubicBezTo>
                  <a:pt x="17312" y="22687"/>
                  <a:pt x="17312" y="22687"/>
                  <a:pt x="17312" y="22687"/>
                </a:cubicBezTo>
                <a:cubicBezTo>
                  <a:pt x="17375" y="22687"/>
                  <a:pt x="17406" y="22656"/>
                  <a:pt x="17468" y="22656"/>
                </a:cubicBezTo>
                <a:close/>
                <a:moveTo>
                  <a:pt x="17281" y="22656"/>
                </a:moveTo>
                <a:cubicBezTo>
                  <a:pt x="17250" y="22656"/>
                  <a:pt x="17250" y="22687"/>
                  <a:pt x="17218" y="22719"/>
                </a:cubicBezTo>
                <a:cubicBezTo>
                  <a:pt x="17250" y="22687"/>
                  <a:pt x="17250" y="22656"/>
                  <a:pt x="17281" y="22656"/>
                </a:cubicBezTo>
                <a:close/>
                <a:moveTo>
                  <a:pt x="17156" y="22687"/>
                </a:moveTo>
                <a:cubicBezTo>
                  <a:pt x="17156" y="22750"/>
                  <a:pt x="17187" y="22750"/>
                  <a:pt x="17218" y="22719"/>
                </a:cubicBezTo>
                <a:cubicBezTo>
                  <a:pt x="17187" y="22750"/>
                  <a:pt x="17156" y="22750"/>
                  <a:pt x="17156" y="22687"/>
                </a:cubicBezTo>
                <a:cubicBezTo>
                  <a:pt x="17125" y="22719"/>
                  <a:pt x="17125" y="22719"/>
                  <a:pt x="17093" y="22719"/>
                </a:cubicBezTo>
                <a:cubicBezTo>
                  <a:pt x="17062" y="22719"/>
                  <a:pt x="17031" y="22750"/>
                  <a:pt x="17000" y="22750"/>
                </a:cubicBezTo>
                <a:cubicBezTo>
                  <a:pt x="17031" y="22750"/>
                  <a:pt x="17062" y="22719"/>
                  <a:pt x="17093" y="22719"/>
                </a:cubicBezTo>
                <a:cubicBezTo>
                  <a:pt x="17093" y="22719"/>
                  <a:pt x="17093" y="22719"/>
                  <a:pt x="17093" y="22687"/>
                </a:cubicBezTo>
                <a:cubicBezTo>
                  <a:pt x="17093" y="22719"/>
                  <a:pt x="17093" y="22719"/>
                  <a:pt x="17093" y="22719"/>
                </a:cubicBezTo>
                <a:cubicBezTo>
                  <a:pt x="17125" y="22719"/>
                  <a:pt x="17125" y="22719"/>
                  <a:pt x="17156" y="22687"/>
                </a:cubicBezTo>
                <a:close/>
                <a:moveTo>
                  <a:pt x="16906" y="20531"/>
                </a:moveTo>
                <a:cubicBezTo>
                  <a:pt x="16968" y="20500"/>
                  <a:pt x="17062" y="20500"/>
                  <a:pt x="17125" y="20531"/>
                </a:cubicBezTo>
                <a:cubicBezTo>
                  <a:pt x="17062" y="20500"/>
                  <a:pt x="16968" y="20500"/>
                  <a:pt x="16906" y="20531"/>
                </a:cubicBezTo>
                <a:cubicBezTo>
                  <a:pt x="16906" y="20531"/>
                  <a:pt x="16906" y="20531"/>
                  <a:pt x="16906" y="20531"/>
                </a:cubicBezTo>
                <a:close/>
                <a:moveTo>
                  <a:pt x="16625" y="22500"/>
                </a:moveTo>
                <a:cubicBezTo>
                  <a:pt x="16625" y="22531"/>
                  <a:pt x="16625" y="22531"/>
                  <a:pt x="16593" y="22500"/>
                </a:cubicBezTo>
                <a:cubicBezTo>
                  <a:pt x="16593" y="22500"/>
                  <a:pt x="16593" y="22469"/>
                  <a:pt x="16593" y="22469"/>
                </a:cubicBezTo>
                <a:cubicBezTo>
                  <a:pt x="16593" y="22469"/>
                  <a:pt x="16593" y="22500"/>
                  <a:pt x="16593" y="22500"/>
                </a:cubicBezTo>
                <a:cubicBezTo>
                  <a:pt x="16625" y="22531"/>
                  <a:pt x="16625" y="22531"/>
                  <a:pt x="16625" y="22500"/>
                </a:cubicBezTo>
                <a:close/>
                <a:moveTo>
                  <a:pt x="16875" y="22844"/>
                </a:moveTo>
                <a:cubicBezTo>
                  <a:pt x="16843" y="22844"/>
                  <a:pt x="16781" y="22844"/>
                  <a:pt x="16750" y="22812"/>
                </a:cubicBezTo>
                <a:cubicBezTo>
                  <a:pt x="16718" y="22812"/>
                  <a:pt x="16718" y="22844"/>
                  <a:pt x="16687" y="22844"/>
                </a:cubicBezTo>
                <a:cubicBezTo>
                  <a:pt x="16718" y="22844"/>
                  <a:pt x="16718" y="22812"/>
                  <a:pt x="16750" y="22812"/>
                </a:cubicBezTo>
                <a:cubicBezTo>
                  <a:pt x="16781" y="22844"/>
                  <a:pt x="16843" y="22844"/>
                  <a:pt x="16875" y="22844"/>
                </a:cubicBezTo>
                <a:close/>
                <a:moveTo>
                  <a:pt x="16812" y="22031"/>
                </a:moveTo>
                <a:cubicBezTo>
                  <a:pt x="16812" y="22031"/>
                  <a:pt x="16812" y="22031"/>
                  <a:pt x="16812" y="22031"/>
                </a:cubicBezTo>
                <a:cubicBezTo>
                  <a:pt x="16812" y="22031"/>
                  <a:pt x="16843" y="22031"/>
                  <a:pt x="16843" y="22031"/>
                </a:cubicBezTo>
                <a:cubicBezTo>
                  <a:pt x="16843" y="22031"/>
                  <a:pt x="16812" y="22031"/>
                  <a:pt x="16812" y="22031"/>
                </a:cubicBezTo>
                <a:close/>
                <a:moveTo>
                  <a:pt x="16875" y="22531"/>
                </a:moveTo>
                <a:cubicBezTo>
                  <a:pt x="16875" y="22562"/>
                  <a:pt x="16875" y="22562"/>
                  <a:pt x="16843" y="22594"/>
                </a:cubicBezTo>
                <a:cubicBezTo>
                  <a:pt x="16843" y="22594"/>
                  <a:pt x="16843" y="22594"/>
                  <a:pt x="16843" y="22594"/>
                </a:cubicBezTo>
                <a:cubicBezTo>
                  <a:pt x="16875" y="22562"/>
                  <a:pt x="16875" y="22562"/>
                  <a:pt x="16875" y="22531"/>
                </a:cubicBezTo>
                <a:close/>
                <a:moveTo>
                  <a:pt x="16843" y="22625"/>
                </a:moveTo>
                <a:cubicBezTo>
                  <a:pt x="16843" y="22625"/>
                  <a:pt x="16843" y="22625"/>
                  <a:pt x="16843" y="22625"/>
                </a:cubicBezTo>
                <a:cubicBezTo>
                  <a:pt x="16843" y="22625"/>
                  <a:pt x="16843" y="22625"/>
                  <a:pt x="16843" y="22625"/>
                </a:cubicBezTo>
                <a:cubicBezTo>
                  <a:pt x="16843" y="22625"/>
                  <a:pt x="16843" y="22625"/>
                  <a:pt x="16843" y="22625"/>
                </a:cubicBezTo>
                <a:close/>
                <a:moveTo>
                  <a:pt x="16843" y="22437"/>
                </a:moveTo>
                <a:cubicBezTo>
                  <a:pt x="16843" y="22437"/>
                  <a:pt x="16843" y="22437"/>
                  <a:pt x="16843" y="22437"/>
                </a:cubicBezTo>
                <a:cubicBezTo>
                  <a:pt x="16843" y="22406"/>
                  <a:pt x="16875" y="22375"/>
                  <a:pt x="16875" y="22375"/>
                </a:cubicBezTo>
                <a:cubicBezTo>
                  <a:pt x="16875" y="22375"/>
                  <a:pt x="16843" y="22406"/>
                  <a:pt x="16843" y="22437"/>
                </a:cubicBezTo>
                <a:close/>
                <a:moveTo>
                  <a:pt x="16906" y="22750"/>
                </a:moveTo>
                <a:cubicBezTo>
                  <a:pt x="16906" y="22750"/>
                  <a:pt x="16875" y="22750"/>
                  <a:pt x="16875" y="22750"/>
                </a:cubicBezTo>
                <a:cubicBezTo>
                  <a:pt x="16875" y="22750"/>
                  <a:pt x="16906" y="22750"/>
                  <a:pt x="16906" y="22750"/>
                </a:cubicBezTo>
                <a:close/>
                <a:moveTo>
                  <a:pt x="16906" y="21781"/>
                </a:moveTo>
                <a:cubicBezTo>
                  <a:pt x="16937" y="21781"/>
                  <a:pt x="16968" y="21750"/>
                  <a:pt x="17000" y="21750"/>
                </a:cubicBezTo>
                <a:cubicBezTo>
                  <a:pt x="16968" y="21750"/>
                  <a:pt x="16937" y="21781"/>
                  <a:pt x="16906" y="21781"/>
                </a:cubicBezTo>
                <a:close/>
                <a:moveTo>
                  <a:pt x="16875" y="20562"/>
                </a:moveTo>
                <a:cubicBezTo>
                  <a:pt x="16906" y="20562"/>
                  <a:pt x="16937" y="20562"/>
                  <a:pt x="16937" y="20594"/>
                </a:cubicBezTo>
                <a:cubicBezTo>
                  <a:pt x="16937" y="20562"/>
                  <a:pt x="16906" y="20562"/>
                  <a:pt x="16875" y="20562"/>
                </a:cubicBezTo>
                <a:cubicBezTo>
                  <a:pt x="16875" y="20562"/>
                  <a:pt x="16875" y="20562"/>
                  <a:pt x="16875" y="20562"/>
                </a:cubicBezTo>
                <a:close/>
                <a:moveTo>
                  <a:pt x="16875" y="21781"/>
                </a:moveTo>
                <a:cubicBezTo>
                  <a:pt x="16875" y="21781"/>
                  <a:pt x="16875" y="21781"/>
                  <a:pt x="16875" y="21781"/>
                </a:cubicBezTo>
                <a:cubicBezTo>
                  <a:pt x="16875" y="21781"/>
                  <a:pt x="16875" y="21781"/>
                  <a:pt x="16843" y="21812"/>
                </a:cubicBezTo>
                <a:cubicBezTo>
                  <a:pt x="16812" y="21812"/>
                  <a:pt x="16812" y="21781"/>
                  <a:pt x="16781" y="21781"/>
                </a:cubicBezTo>
                <a:cubicBezTo>
                  <a:pt x="16812" y="21781"/>
                  <a:pt x="16812" y="21812"/>
                  <a:pt x="16843" y="21812"/>
                </a:cubicBezTo>
                <a:cubicBezTo>
                  <a:pt x="16875" y="21781"/>
                  <a:pt x="16875" y="21781"/>
                  <a:pt x="16875" y="21781"/>
                </a:cubicBezTo>
                <a:close/>
                <a:moveTo>
                  <a:pt x="16750" y="21312"/>
                </a:moveTo>
                <a:cubicBezTo>
                  <a:pt x="16750" y="21312"/>
                  <a:pt x="16781" y="21312"/>
                  <a:pt x="16781" y="21281"/>
                </a:cubicBezTo>
                <a:cubicBezTo>
                  <a:pt x="16781" y="21312"/>
                  <a:pt x="16750" y="21312"/>
                  <a:pt x="16750" y="21312"/>
                </a:cubicBezTo>
                <a:cubicBezTo>
                  <a:pt x="16781" y="21312"/>
                  <a:pt x="16812" y="21344"/>
                  <a:pt x="16875" y="21344"/>
                </a:cubicBezTo>
                <a:cubicBezTo>
                  <a:pt x="16812" y="21344"/>
                  <a:pt x="16781" y="21312"/>
                  <a:pt x="16750" y="21312"/>
                </a:cubicBezTo>
                <a:close/>
                <a:moveTo>
                  <a:pt x="16843" y="7656"/>
                </a:moveTo>
                <a:cubicBezTo>
                  <a:pt x="16843" y="7531"/>
                  <a:pt x="16843" y="7437"/>
                  <a:pt x="16843" y="7344"/>
                </a:cubicBezTo>
                <a:cubicBezTo>
                  <a:pt x="16843" y="7437"/>
                  <a:pt x="16843" y="7531"/>
                  <a:pt x="16843" y="7656"/>
                </a:cubicBezTo>
                <a:cubicBezTo>
                  <a:pt x="16843" y="7656"/>
                  <a:pt x="16843" y="7687"/>
                  <a:pt x="16843" y="7687"/>
                </a:cubicBezTo>
                <a:cubicBezTo>
                  <a:pt x="16843" y="7687"/>
                  <a:pt x="16843" y="7656"/>
                  <a:pt x="16843" y="7656"/>
                </a:cubicBezTo>
                <a:close/>
                <a:moveTo>
                  <a:pt x="16812" y="20719"/>
                </a:moveTo>
                <a:cubicBezTo>
                  <a:pt x="16781" y="20687"/>
                  <a:pt x="16812" y="20625"/>
                  <a:pt x="16812" y="20562"/>
                </a:cubicBezTo>
                <a:cubicBezTo>
                  <a:pt x="16812" y="20625"/>
                  <a:pt x="16781" y="20687"/>
                  <a:pt x="16812" y="20719"/>
                </a:cubicBezTo>
                <a:cubicBezTo>
                  <a:pt x="16750" y="20719"/>
                  <a:pt x="16718" y="20719"/>
                  <a:pt x="16656" y="20719"/>
                </a:cubicBezTo>
                <a:cubicBezTo>
                  <a:pt x="16718" y="20719"/>
                  <a:pt x="16750" y="20719"/>
                  <a:pt x="16812" y="20719"/>
                </a:cubicBezTo>
                <a:close/>
                <a:moveTo>
                  <a:pt x="16718" y="21219"/>
                </a:moveTo>
                <a:cubicBezTo>
                  <a:pt x="16656" y="21219"/>
                  <a:pt x="16625" y="21219"/>
                  <a:pt x="16562" y="21250"/>
                </a:cubicBezTo>
                <a:cubicBezTo>
                  <a:pt x="16625" y="21219"/>
                  <a:pt x="16656" y="21219"/>
                  <a:pt x="16718" y="21219"/>
                </a:cubicBezTo>
                <a:close/>
                <a:moveTo>
                  <a:pt x="16531" y="7875"/>
                </a:moveTo>
                <a:cubicBezTo>
                  <a:pt x="16531" y="7875"/>
                  <a:pt x="16531" y="7875"/>
                  <a:pt x="16531" y="7875"/>
                </a:cubicBezTo>
                <a:cubicBezTo>
                  <a:pt x="16531" y="7875"/>
                  <a:pt x="16531" y="7875"/>
                  <a:pt x="16531" y="7906"/>
                </a:cubicBezTo>
                <a:cubicBezTo>
                  <a:pt x="16531" y="7875"/>
                  <a:pt x="16531" y="7875"/>
                  <a:pt x="16531" y="7875"/>
                </a:cubicBezTo>
                <a:close/>
                <a:moveTo>
                  <a:pt x="16500" y="22062"/>
                </a:moveTo>
                <a:cubicBezTo>
                  <a:pt x="16500" y="22062"/>
                  <a:pt x="16500" y="22062"/>
                  <a:pt x="16500" y="22062"/>
                </a:cubicBezTo>
                <a:cubicBezTo>
                  <a:pt x="16500" y="22062"/>
                  <a:pt x="16500" y="22062"/>
                  <a:pt x="16500" y="22062"/>
                </a:cubicBezTo>
                <a:close/>
                <a:moveTo>
                  <a:pt x="16500" y="10531"/>
                </a:moveTo>
                <a:cubicBezTo>
                  <a:pt x="16500" y="10531"/>
                  <a:pt x="16500" y="10531"/>
                  <a:pt x="16500" y="10531"/>
                </a:cubicBezTo>
                <a:cubicBezTo>
                  <a:pt x="16500" y="10531"/>
                  <a:pt x="16500" y="10531"/>
                  <a:pt x="16500" y="10531"/>
                </a:cubicBezTo>
                <a:close/>
                <a:moveTo>
                  <a:pt x="16312" y="7156"/>
                </a:moveTo>
                <a:cubicBezTo>
                  <a:pt x="16343" y="7156"/>
                  <a:pt x="16343" y="7125"/>
                  <a:pt x="16343" y="7125"/>
                </a:cubicBezTo>
                <a:cubicBezTo>
                  <a:pt x="16343" y="7125"/>
                  <a:pt x="16343" y="7156"/>
                  <a:pt x="16312" y="7156"/>
                </a:cubicBezTo>
                <a:cubicBezTo>
                  <a:pt x="16312" y="7156"/>
                  <a:pt x="16312" y="7156"/>
                  <a:pt x="16312" y="7156"/>
                </a:cubicBezTo>
                <a:close/>
                <a:moveTo>
                  <a:pt x="16093" y="20562"/>
                </a:moveTo>
                <a:cubicBezTo>
                  <a:pt x="16093" y="20562"/>
                  <a:pt x="16093" y="20594"/>
                  <a:pt x="16093" y="20625"/>
                </a:cubicBezTo>
                <a:cubicBezTo>
                  <a:pt x="16156" y="20625"/>
                  <a:pt x="16218" y="20687"/>
                  <a:pt x="16281" y="20719"/>
                </a:cubicBezTo>
                <a:cubicBezTo>
                  <a:pt x="16218" y="20687"/>
                  <a:pt x="16156" y="20625"/>
                  <a:pt x="16093" y="20625"/>
                </a:cubicBezTo>
                <a:cubicBezTo>
                  <a:pt x="16093" y="20594"/>
                  <a:pt x="16093" y="20562"/>
                  <a:pt x="16093" y="20562"/>
                </a:cubicBezTo>
                <a:close/>
                <a:moveTo>
                  <a:pt x="16093" y="11344"/>
                </a:moveTo>
                <a:cubicBezTo>
                  <a:pt x="16093" y="11344"/>
                  <a:pt x="16093" y="11375"/>
                  <a:pt x="16125" y="11375"/>
                </a:cubicBezTo>
                <a:cubicBezTo>
                  <a:pt x="16125" y="11375"/>
                  <a:pt x="16156" y="11375"/>
                  <a:pt x="16156" y="11344"/>
                </a:cubicBezTo>
                <a:cubicBezTo>
                  <a:pt x="16156" y="11375"/>
                  <a:pt x="16125" y="11375"/>
                  <a:pt x="16125" y="11375"/>
                </a:cubicBezTo>
                <a:cubicBezTo>
                  <a:pt x="16093" y="11375"/>
                  <a:pt x="16093" y="11344"/>
                  <a:pt x="16093" y="11344"/>
                </a:cubicBezTo>
                <a:close/>
                <a:moveTo>
                  <a:pt x="16281" y="9531"/>
                </a:moveTo>
                <a:cubicBezTo>
                  <a:pt x="16281" y="9531"/>
                  <a:pt x="16250" y="9500"/>
                  <a:pt x="16250" y="9500"/>
                </a:cubicBezTo>
                <a:cubicBezTo>
                  <a:pt x="16250" y="9500"/>
                  <a:pt x="16250" y="9500"/>
                  <a:pt x="16250" y="9500"/>
                </a:cubicBezTo>
                <a:cubicBezTo>
                  <a:pt x="16250" y="9500"/>
                  <a:pt x="16281" y="9531"/>
                  <a:pt x="16281" y="9531"/>
                </a:cubicBezTo>
                <a:close/>
                <a:moveTo>
                  <a:pt x="16281" y="20969"/>
                </a:moveTo>
                <a:cubicBezTo>
                  <a:pt x="16281" y="20969"/>
                  <a:pt x="16312" y="20969"/>
                  <a:pt x="16312" y="20969"/>
                </a:cubicBezTo>
                <a:cubicBezTo>
                  <a:pt x="16312" y="20969"/>
                  <a:pt x="16281" y="20969"/>
                  <a:pt x="16281" y="20969"/>
                </a:cubicBezTo>
                <a:close/>
                <a:moveTo>
                  <a:pt x="16281" y="8844"/>
                </a:moveTo>
                <a:cubicBezTo>
                  <a:pt x="16281" y="8844"/>
                  <a:pt x="16281" y="8844"/>
                  <a:pt x="16281" y="8844"/>
                </a:cubicBezTo>
                <a:cubicBezTo>
                  <a:pt x="16281" y="8844"/>
                  <a:pt x="16281" y="8844"/>
                  <a:pt x="16281" y="8844"/>
                </a:cubicBezTo>
                <a:close/>
                <a:moveTo>
                  <a:pt x="16062" y="6875"/>
                </a:moveTo>
                <a:cubicBezTo>
                  <a:pt x="16125" y="6875"/>
                  <a:pt x="16187" y="6875"/>
                  <a:pt x="16250" y="6875"/>
                </a:cubicBezTo>
                <a:cubicBezTo>
                  <a:pt x="16187" y="6875"/>
                  <a:pt x="16125" y="6875"/>
                  <a:pt x="16062" y="6875"/>
                </a:cubicBezTo>
                <a:cubicBezTo>
                  <a:pt x="16062" y="6906"/>
                  <a:pt x="16062" y="6937"/>
                  <a:pt x="16062" y="6969"/>
                </a:cubicBezTo>
                <a:cubicBezTo>
                  <a:pt x="16062" y="6937"/>
                  <a:pt x="16062" y="6906"/>
                  <a:pt x="16062" y="6875"/>
                </a:cubicBezTo>
                <a:close/>
                <a:moveTo>
                  <a:pt x="16000" y="21406"/>
                </a:moveTo>
                <a:cubicBezTo>
                  <a:pt x="16000" y="21406"/>
                  <a:pt x="16000" y="21437"/>
                  <a:pt x="16000" y="21437"/>
                </a:cubicBezTo>
                <a:cubicBezTo>
                  <a:pt x="16000" y="21437"/>
                  <a:pt x="16031" y="21437"/>
                  <a:pt x="16031" y="21437"/>
                </a:cubicBezTo>
                <a:cubicBezTo>
                  <a:pt x="16031" y="21437"/>
                  <a:pt x="16000" y="21437"/>
                  <a:pt x="16000" y="21437"/>
                </a:cubicBezTo>
                <a:cubicBezTo>
                  <a:pt x="16000" y="21437"/>
                  <a:pt x="16000" y="21437"/>
                  <a:pt x="16000" y="21437"/>
                </a:cubicBezTo>
                <a:cubicBezTo>
                  <a:pt x="16000" y="21437"/>
                  <a:pt x="16000" y="21437"/>
                  <a:pt x="16000" y="21437"/>
                </a:cubicBezTo>
                <a:cubicBezTo>
                  <a:pt x="16000" y="21437"/>
                  <a:pt x="16000" y="21406"/>
                  <a:pt x="16000" y="21406"/>
                </a:cubicBezTo>
                <a:close/>
                <a:moveTo>
                  <a:pt x="16000" y="12437"/>
                </a:moveTo>
                <a:cubicBezTo>
                  <a:pt x="16000" y="12437"/>
                  <a:pt x="16000" y="12437"/>
                  <a:pt x="16000" y="12437"/>
                </a:cubicBezTo>
                <a:cubicBezTo>
                  <a:pt x="16000" y="12437"/>
                  <a:pt x="16000" y="12437"/>
                  <a:pt x="16000" y="12437"/>
                </a:cubicBezTo>
                <a:close/>
                <a:moveTo>
                  <a:pt x="15968" y="11937"/>
                </a:moveTo>
                <a:cubicBezTo>
                  <a:pt x="15968" y="11906"/>
                  <a:pt x="15937" y="11906"/>
                  <a:pt x="15937" y="11875"/>
                </a:cubicBezTo>
                <a:cubicBezTo>
                  <a:pt x="15937" y="11906"/>
                  <a:pt x="15968" y="11906"/>
                  <a:pt x="15968" y="11937"/>
                </a:cubicBezTo>
                <a:close/>
                <a:moveTo>
                  <a:pt x="16218" y="22687"/>
                </a:moveTo>
                <a:cubicBezTo>
                  <a:pt x="16250" y="22656"/>
                  <a:pt x="16250" y="22656"/>
                  <a:pt x="16250" y="22656"/>
                </a:cubicBezTo>
                <a:cubicBezTo>
                  <a:pt x="16250" y="22656"/>
                  <a:pt x="16250" y="22656"/>
                  <a:pt x="16218" y="22687"/>
                </a:cubicBezTo>
                <a:cubicBezTo>
                  <a:pt x="16093" y="22656"/>
                  <a:pt x="15968" y="22656"/>
                  <a:pt x="15812" y="22656"/>
                </a:cubicBezTo>
                <a:cubicBezTo>
                  <a:pt x="15968" y="22656"/>
                  <a:pt x="16093" y="22656"/>
                  <a:pt x="16218" y="22687"/>
                </a:cubicBezTo>
                <a:close/>
                <a:moveTo>
                  <a:pt x="15875" y="11312"/>
                </a:moveTo>
                <a:cubicBezTo>
                  <a:pt x="15875" y="11312"/>
                  <a:pt x="15875" y="11312"/>
                  <a:pt x="15843" y="11281"/>
                </a:cubicBezTo>
                <a:cubicBezTo>
                  <a:pt x="15875" y="11312"/>
                  <a:pt x="15875" y="11312"/>
                  <a:pt x="15875" y="11312"/>
                </a:cubicBezTo>
                <a:cubicBezTo>
                  <a:pt x="15875" y="11312"/>
                  <a:pt x="15906" y="11312"/>
                  <a:pt x="15906" y="11312"/>
                </a:cubicBezTo>
                <a:cubicBezTo>
                  <a:pt x="15906" y="11312"/>
                  <a:pt x="15875" y="11312"/>
                  <a:pt x="15875" y="11312"/>
                </a:cubicBezTo>
                <a:close/>
                <a:moveTo>
                  <a:pt x="15906" y="10187"/>
                </a:moveTo>
                <a:cubicBezTo>
                  <a:pt x="15906" y="10187"/>
                  <a:pt x="15906" y="10156"/>
                  <a:pt x="15906" y="10156"/>
                </a:cubicBezTo>
                <a:cubicBezTo>
                  <a:pt x="15906" y="10156"/>
                  <a:pt x="15906" y="10187"/>
                  <a:pt x="15906" y="10187"/>
                </a:cubicBezTo>
                <a:cubicBezTo>
                  <a:pt x="15906" y="10187"/>
                  <a:pt x="15906" y="10187"/>
                  <a:pt x="15906" y="10187"/>
                </a:cubicBezTo>
                <a:cubicBezTo>
                  <a:pt x="15906" y="10187"/>
                  <a:pt x="15906" y="10187"/>
                  <a:pt x="15906" y="10187"/>
                </a:cubicBezTo>
                <a:close/>
                <a:moveTo>
                  <a:pt x="15906" y="13969"/>
                </a:moveTo>
                <a:cubicBezTo>
                  <a:pt x="15906" y="13969"/>
                  <a:pt x="15906" y="13969"/>
                  <a:pt x="15906" y="13969"/>
                </a:cubicBezTo>
                <a:cubicBezTo>
                  <a:pt x="15906" y="13937"/>
                  <a:pt x="15906" y="13937"/>
                  <a:pt x="15906" y="13937"/>
                </a:cubicBezTo>
                <a:cubicBezTo>
                  <a:pt x="15906" y="13937"/>
                  <a:pt x="15906" y="13969"/>
                  <a:pt x="15906" y="13969"/>
                </a:cubicBezTo>
                <a:close/>
                <a:moveTo>
                  <a:pt x="15875" y="6937"/>
                </a:moveTo>
                <a:cubicBezTo>
                  <a:pt x="15906" y="6906"/>
                  <a:pt x="15906" y="6906"/>
                  <a:pt x="15906" y="6906"/>
                </a:cubicBezTo>
                <a:cubicBezTo>
                  <a:pt x="15906" y="6906"/>
                  <a:pt x="15906" y="6906"/>
                  <a:pt x="15875" y="6937"/>
                </a:cubicBezTo>
                <a:cubicBezTo>
                  <a:pt x="15875" y="6937"/>
                  <a:pt x="15875" y="6937"/>
                  <a:pt x="15843" y="6937"/>
                </a:cubicBezTo>
                <a:cubicBezTo>
                  <a:pt x="15875" y="6937"/>
                  <a:pt x="15875" y="6937"/>
                  <a:pt x="15875" y="6937"/>
                </a:cubicBezTo>
                <a:close/>
                <a:moveTo>
                  <a:pt x="15843" y="6937"/>
                </a:moveTo>
                <a:cubicBezTo>
                  <a:pt x="15843" y="6937"/>
                  <a:pt x="15843" y="6937"/>
                  <a:pt x="15843" y="6937"/>
                </a:cubicBezTo>
                <a:cubicBezTo>
                  <a:pt x="15843" y="6906"/>
                  <a:pt x="15812" y="6906"/>
                  <a:pt x="15812" y="6906"/>
                </a:cubicBezTo>
                <a:cubicBezTo>
                  <a:pt x="15812" y="6906"/>
                  <a:pt x="15843" y="6906"/>
                  <a:pt x="15843" y="6937"/>
                </a:cubicBezTo>
                <a:close/>
                <a:moveTo>
                  <a:pt x="15906" y="7312"/>
                </a:moveTo>
                <a:cubicBezTo>
                  <a:pt x="15906" y="7312"/>
                  <a:pt x="15906" y="7312"/>
                  <a:pt x="15906" y="7312"/>
                </a:cubicBezTo>
                <a:cubicBezTo>
                  <a:pt x="15906" y="7312"/>
                  <a:pt x="15906" y="7312"/>
                  <a:pt x="15906" y="7312"/>
                </a:cubicBezTo>
                <a:cubicBezTo>
                  <a:pt x="15875" y="7375"/>
                  <a:pt x="15812" y="7375"/>
                  <a:pt x="15750" y="7375"/>
                </a:cubicBezTo>
                <a:cubicBezTo>
                  <a:pt x="15812" y="7375"/>
                  <a:pt x="15875" y="7375"/>
                  <a:pt x="15906" y="7312"/>
                </a:cubicBezTo>
                <a:close/>
                <a:moveTo>
                  <a:pt x="15843" y="11719"/>
                </a:moveTo>
                <a:cubicBezTo>
                  <a:pt x="15843" y="11719"/>
                  <a:pt x="15843" y="11719"/>
                  <a:pt x="15843" y="11719"/>
                </a:cubicBezTo>
                <a:cubicBezTo>
                  <a:pt x="15843" y="11719"/>
                  <a:pt x="15843" y="11719"/>
                  <a:pt x="15843" y="11719"/>
                </a:cubicBezTo>
                <a:cubicBezTo>
                  <a:pt x="15843" y="11719"/>
                  <a:pt x="15843" y="11719"/>
                  <a:pt x="15843" y="11719"/>
                </a:cubicBezTo>
                <a:close/>
                <a:moveTo>
                  <a:pt x="15750" y="10000"/>
                </a:moveTo>
                <a:cubicBezTo>
                  <a:pt x="15750" y="10000"/>
                  <a:pt x="15750" y="10000"/>
                  <a:pt x="15750" y="10031"/>
                </a:cubicBezTo>
                <a:cubicBezTo>
                  <a:pt x="15750" y="10000"/>
                  <a:pt x="15750" y="10000"/>
                  <a:pt x="15750" y="10000"/>
                </a:cubicBezTo>
                <a:close/>
                <a:moveTo>
                  <a:pt x="15781" y="21344"/>
                </a:moveTo>
                <a:cubicBezTo>
                  <a:pt x="15812" y="21312"/>
                  <a:pt x="15843" y="21281"/>
                  <a:pt x="15875" y="21250"/>
                </a:cubicBezTo>
                <a:cubicBezTo>
                  <a:pt x="15843" y="21281"/>
                  <a:pt x="15812" y="21312"/>
                  <a:pt x="15781" y="21344"/>
                </a:cubicBezTo>
                <a:cubicBezTo>
                  <a:pt x="15750" y="21375"/>
                  <a:pt x="15750" y="21406"/>
                  <a:pt x="15718" y="21375"/>
                </a:cubicBezTo>
                <a:cubicBezTo>
                  <a:pt x="15750" y="21406"/>
                  <a:pt x="15750" y="21375"/>
                  <a:pt x="15781" y="21344"/>
                </a:cubicBezTo>
                <a:close/>
                <a:moveTo>
                  <a:pt x="15656" y="21156"/>
                </a:moveTo>
                <a:cubicBezTo>
                  <a:pt x="15656" y="21156"/>
                  <a:pt x="15625" y="21156"/>
                  <a:pt x="15625" y="21125"/>
                </a:cubicBezTo>
                <a:cubicBezTo>
                  <a:pt x="15625" y="21125"/>
                  <a:pt x="15625" y="21125"/>
                  <a:pt x="15625" y="21125"/>
                </a:cubicBezTo>
                <a:cubicBezTo>
                  <a:pt x="15625" y="21156"/>
                  <a:pt x="15656" y="21156"/>
                  <a:pt x="15656" y="21156"/>
                </a:cubicBezTo>
                <a:close/>
                <a:moveTo>
                  <a:pt x="15625" y="21062"/>
                </a:moveTo>
                <a:cubicBezTo>
                  <a:pt x="15625" y="21094"/>
                  <a:pt x="15625" y="21094"/>
                  <a:pt x="15625" y="21094"/>
                </a:cubicBezTo>
                <a:cubicBezTo>
                  <a:pt x="15625" y="21094"/>
                  <a:pt x="15625" y="21094"/>
                  <a:pt x="15625" y="21062"/>
                </a:cubicBezTo>
                <a:close/>
                <a:moveTo>
                  <a:pt x="15625" y="21375"/>
                </a:moveTo>
                <a:cubicBezTo>
                  <a:pt x="15625" y="21375"/>
                  <a:pt x="15625" y="21375"/>
                  <a:pt x="15593" y="21375"/>
                </a:cubicBezTo>
                <a:cubicBezTo>
                  <a:pt x="15625" y="21375"/>
                  <a:pt x="15625" y="21375"/>
                  <a:pt x="15625" y="21375"/>
                </a:cubicBezTo>
                <a:close/>
                <a:moveTo>
                  <a:pt x="15718" y="22750"/>
                </a:moveTo>
                <a:cubicBezTo>
                  <a:pt x="15718" y="22750"/>
                  <a:pt x="15718" y="22750"/>
                  <a:pt x="15718" y="22750"/>
                </a:cubicBezTo>
                <a:cubicBezTo>
                  <a:pt x="15625" y="22719"/>
                  <a:pt x="15531" y="22750"/>
                  <a:pt x="15437" y="22719"/>
                </a:cubicBezTo>
                <a:cubicBezTo>
                  <a:pt x="15531" y="22750"/>
                  <a:pt x="15625" y="22719"/>
                  <a:pt x="15718" y="22750"/>
                </a:cubicBezTo>
                <a:close/>
                <a:moveTo>
                  <a:pt x="15375" y="7312"/>
                </a:moveTo>
                <a:cubicBezTo>
                  <a:pt x="15406" y="7344"/>
                  <a:pt x="15468" y="7344"/>
                  <a:pt x="15500" y="7344"/>
                </a:cubicBezTo>
                <a:cubicBezTo>
                  <a:pt x="15468" y="7344"/>
                  <a:pt x="15406" y="7344"/>
                  <a:pt x="15375" y="7312"/>
                </a:cubicBezTo>
                <a:close/>
                <a:moveTo>
                  <a:pt x="15500" y="22531"/>
                </a:move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ubicBezTo>
                  <a:pt x="15500" y="22531"/>
                  <a:pt x="15500" y="22531"/>
                  <a:pt x="15500" y="22531"/>
                </a:cubicBezTo>
                <a:close/>
                <a:moveTo>
                  <a:pt x="15500" y="21594"/>
                </a:moveTo>
                <a:cubicBezTo>
                  <a:pt x="15500" y="21594"/>
                  <a:pt x="15500" y="21594"/>
                  <a:pt x="15500" y="21594"/>
                </a:cubicBezTo>
                <a:cubicBezTo>
                  <a:pt x="15500" y="21594"/>
                  <a:pt x="15531" y="21594"/>
                  <a:pt x="15531" y="21594"/>
                </a:cubicBezTo>
                <a:cubicBezTo>
                  <a:pt x="15531" y="21594"/>
                  <a:pt x="15500" y="21594"/>
                  <a:pt x="15500" y="21594"/>
                </a:cubicBezTo>
                <a:close/>
                <a:moveTo>
                  <a:pt x="15468" y="6969"/>
                </a:moveTo>
                <a:cubicBezTo>
                  <a:pt x="15500" y="7000"/>
                  <a:pt x="15500" y="7000"/>
                  <a:pt x="15531" y="7000"/>
                </a:cubicBezTo>
                <a:cubicBezTo>
                  <a:pt x="15500" y="7000"/>
                  <a:pt x="15500" y="7000"/>
                  <a:pt x="15468" y="6969"/>
                </a:cubicBezTo>
                <a:close/>
                <a:moveTo>
                  <a:pt x="15437" y="6781"/>
                </a:move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812"/>
                  <a:pt x="15437" y="6812"/>
                  <a:pt x="15437" y="6844"/>
                </a:cubicBezTo>
                <a:cubicBezTo>
                  <a:pt x="15437" y="6812"/>
                  <a:pt x="15437" y="6812"/>
                  <a:pt x="15437" y="6781"/>
                </a:cubicBezTo>
                <a:close/>
                <a:moveTo>
                  <a:pt x="15375" y="7000"/>
                </a:moveTo>
                <a:cubicBezTo>
                  <a:pt x="15406" y="7000"/>
                  <a:pt x="15437" y="7000"/>
                  <a:pt x="15468" y="6969"/>
                </a:cubicBezTo>
                <a:cubicBezTo>
                  <a:pt x="15437" y="7000"/>
                  <a:pt x="15406" y="7000"/>
                  <a:pt x="15375" y="7000"/>
                </a:cubicBezTo>
                <a:cubicBezTo>
                  <a:pt x="15343" y="7031"/>
                  <a:pt x="15312" y="7062"/>
                  <a:pt x="15281" y="7125"/>
                </a:cubicBezTo>
                <a:cubicBezTo>
                  <a:pt x="15312" y="7062"/>
                  <a:pt x="15343" y="7031"/>
                  <a:pt x="15375" y="7000"/>
                </a:cubicBezTo>
                <a:cubicBezTo>
                  <a:pt x="15375" y="7000"/>
                  <a:pt x="15375" y="7000"/>
                  <a:pt x="15375" y="7000"/>
                </a:cubicBezTo>
                <a:close/>
                <a:moveTo>
                  <a:pt x="15406" y="21500"/>
                </a:moveTo>
                <a:cubicBezTo>
                  <a:pt x="15437" y="21437"/>
                  <a:pt x="15437" y="21344"/>
                  <a:pt x="15437" y="21281"/>
                </a:cubicBezTo>
                <a:cubicBezTo>
                  <a:pt x="15437" y="21344"/>
                  <a:pt x="15437" y="21437"/>
                  <a:pt x="15406" y="21500"/>
                </a:cubicBezTo>
                <a:cubicBezTo>
                  <a:pt x="15343" y="21500"/>
                  <a:pt x="15281" y="21500"/>
                  <a:pt x="15250" y="21469"/>
                </a:cubicBezTo>
                <a:cubicBezTo>
                  <a:pt x="15281" y="21500"/>
                  <a:pt x="15343" y="21500"/>
                  <a:pt x="15406" y="21500"/>
                </a:cubicBezTo>
                <a:close/>
                <a:moveTo>
                  <a:pt x="15375" y="21594"/>
                </a:moveTo>
                <a:cubicBezTo>
                  <a:pt x="15375" y="21625"/>
                  <a:pt x="15343" y="21625"/>
                  <a:pt x="15343" y="21625"/>
                </a:cubicBezTo>
                <a:cubicBezTo>
                  <a:pt x="15343" y="21625"/>
                  <a:pt x="15375" y="21625"/>
                  <a:pt x="15375" y="21594"/>
                </a:cubicBezTo>
                <a:close/>
                <a:moveTo>
                  <a:pt x="15218" y="7125"/>
                </a:move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125"/>
                  <a:pt x="15218" y="7125"/>
                </a:cubicBezTo>
                <a:cubicBezTo>
                  <a:pt x="15218" y="7125"/>
                  <a:pt x="15218" y="7094"/>
                  <a:pt x="15218" y="7094"/>
                </a:cubicBezTo>
                <a:cubicBezTo>
                  <a:pt x="15218" y="7094"/>
                  <a:pt x="15218" y="7125"/>
                  <a:pt x="15218" y="7125"/>
                </a:cubicBezTo>
                <a:close/>
                <a:moveTo>
                  <a:pt x="15250" y="7187"/>
                </a:moveTo>
                <a:cubicBezTo>
                  <a:pt x="15250" y="7156"/>
                  <a:pt x="15218" y="7156"/>
                  <a:pt x="15218" y="7156"/>
                </a:cubicBezTo>
                <a:cubicBezTo>
                  <a:pt x="15218" y="7156"/>
                  <a:pt x="15250" y="7156"/>
                  <a:pt x="15250" y="7187"/>
                </a:cubicBezTo>
                <a:close/>
                <a:moveTo>
                  <a:pt x="15250" y="7187"/>
                </a:moveTo>
                <a:cubicBezTo>
                  <a:pt x="15250" y="7187"/>
                  <a:pt x="15250" y="7187"/>
                  <a:pt x="15250" y="7187"/>
                </a:cubicBezTo>
                <a:cubicBezTo>
                  <a:pt x="15218" y="7187"/>
                  <a:pt x="15187" y="7187"/>
                  <a:pt x="15156" y="7156"/>
                </a:cubicBezTo>
                <a:cubicBezTo>
                  <a:pt x="15187" y="7187"/>
                  <a:pt x="15218" y="7187"/>
                  <a:pt x="15250" y="7187"/>
                </a:cubicBezTo>
                <a:close/>
                <a:moveTo>
                  <a:pt x="15187" y="21781"/>
                </a:moveTo>
                <a:cubicBezTo>
                  <a:pt x="15187" y="21781"/>
                  <a:pt x="15187" y="21781"/>
                  <a:pt x="15187" y="21781"/>
                </a:cubicBezTo>
                <a:cubicBezTo>
                  <a:pt x="15187" y="21750"/>
                  <a:pt x="15187" y="21750"/>
                  <a:pt x="15187" y="21750"/>
                </a:cubicBezTo>
                <a:cubicBezTo>
                  <a:pt x="15187" y="21750"/>
                  <a:pt x="15187" y="21750"/>
                  <a:pt x="15187" y="21781"/>
                </a:cubicBezTo>
                <a:close/>
                <a:moveTo>
                  <a:pt x="15031" y="21281"/>
                </a:moveTo>
                <a:cubicBezTo>
                  <a:pt x="15031" y="21281"/>
                  <a:pt x="15031" y="21281"/>
                  <a:pt x="15031" y="21281"/>
                </a:cubicBezTo>
                <a:cubicBezTo>
                  <a:pt x="15031" y="21281"/>
                  <a:pt x="15031" y="21281"/>
                  <a:pt x="15031" y="21281"/>
                </a:cubicBezTo>
                <a:cubicBezTo>
                  <a:pt x="15031" y="21281"/>
                  <a:pt x="15031" y="21281"/>
                  <a:pt x="15031" y="21281"/>
                </a:cubicBezTo>
                <a:close/>
                <a:moveTo>
                  <a:pt x="14875" y="6844"/>
                </a:moveTo>
                <a:cubicBezTo>
                  <a:pt x="14875" y="6844"/>
                  <a:pt x="14875" y="6844"/>
                  <a:pt x="14875" y="6875"/>
                </a:cubicBezTo>
                <a:cubicBezTo>
                  <a:pt x="14937" y="6937"/>
                  <a:pt x="14968" y="7031"/>
                  <a:pt x="15031" y="7094"/>
                </a:cubicBezTo>
                <a:cubicBezTo>
                  <a:pt x="14968" y="7031"/>
                  <a:pt x="14937" y="6937"/>
                  <a:pt x="14875" y="6875"/>
                </a:cubicBezTo>
                <a:cubicBezTo>
                  <a:pt x="14875" y="6844"/>
                  <a:pt x="14875" y="6844"/>
                  <a:pt x="14875" y="6844"/>
                </a:cubicBezTo>
                <a:close/>
                <a:moveTo>
                  <a:pt x="14937" y="22094"/>
                </a:moveTo>
                <a:cubicBezTo>
                  <a:pt x="14937" y="22094"/>
                  <a:pt x="14968" y="22094"/>
                  <a:pt x="15000" y="22094"/>
                </a:cubicBezTo>
                <a:cubicBezTo>
                  <a:pt x="14968" y="22094"/>
                  <a:pt x="14937" y="22094"/>
                  <a:pt x="14937" y="22094"/>
                </a:cubicBezTo>
                <a:cubicBezTo>
                  <a:pt x="14906" y="22125"/>
                  <a:pt x="14906" y="22125"/>
                  <a:pt x="14906" y="22125"/>
                </a:cubicBezTo>
                <a:cubicBezTo>
                  <a:pt x="14906" y="22125"/>
                  <a:pt x="14906" y="22125"/>
                  <a:pt x="14937" y="22094"/>
                </a:cubicBezTo>
                <a:close/>
                <a:moveTo>
                  <a:pt x="14875" y="7031"/>
                </a:moveTo>
                <a:cubicBezTo>
                  <a:pt x="14875" y="7000"/>
                  <a:pt x="14843" y="7000"/>
                  <a:pt x="14812" y="6969"/>
                </a:cubicBezTo>
                <a:cubicBezTo>
                  <a:pt x="14843" y="7000"/>
                  <a:pt x="14875" y="7000"/>
                  <a:pt x="14875" y="7031"/>
                </a:cubicBezTo>
                <a:cubicBezTo>
                  <a:pt x="14906" y="7062"/>
                  <a:pt x="14906" y="7062"/>
                  <a:pt x="14937" y="7094"/>
                </a:cubicBezTo>
                <a:cubicBezTo>
                  <a:pt x="14906" y="7062"/>
                  <a:pt x="14906" y="7062"/>
                  <a:pt x="14875" y="7031"/>
                </a:cubicBezTo>
                <a:close/>
                <a:moveTo>
                  <a:pt x="14843" y="6875"/>
                </a:moveTo>
                <a:cubicBezTo>
                  <a:pt x="14812" y="6875"/>
                  <a:pt x="14812" y="6906"/>
                  <a:pt x="14812" y="6937"/>
                </a:cubicBezTo>
                <a:cubicBezTo>
                  <a:pt x="14812" y="6937"/>
                  <a:pt x="14812" y="6937"/>
                  <a:pt x="14812" y="6937"/>
                </a:cubicBezTo>
                <a:cubicBezTo>
                  <a:pt x="14812" y="6906"/>
                  <a:pt x="14812" y="6875"/>
                  <a:pt x="14843" y="6875"/>
                </a:cubicBezTo>
                <a:close/>
                <a:moveTo>
                  <a:pt x="14781" y="7031"/>
                </a:moveTo>
                <a:cubicBezTo>
                  <a:pt x="14781" y="7062"/>
                  <a:pt x="14781" y="7094"/>
                  <a:pt x="14781" y="7125"/>
                </a:cubicBezTo>
                <a:cubicBezTo>
                  <a:pt x="14781" y="7125"/>
                  <a:pt x="14781" y="7125"/>
                  <a:pt x="14781" y="7125"/>
                </a:cubicBezTo>
                <a:cubicBezTo>
                  <a:pt x="14781" y="7094"/>
                  <a:pt x="14781" y="7062"/>
                  <a:pt x="14781" y="7031"/>
                </a:cubicBezTo>
                <a:close/>
                <a:moveTo>
                  <a:pt x="14781" y="22094"/>
                </a:moveTo>
                <a:cubicBezTo>
                  <a:pt x="14812" y="22062"/>
                  <a:pt x="14812" y="22062"/>
                  <a:pt x="14812" y="22062"/>
                </a:cubicBezTo>
                <a:cubicBezTo>
                  <a:pt x="14812" y="22062"/>
                  <a:pt x="14812" y="22062"/>
                  <a:pt x="14781" y="22094"/>
                </a:cubicBezTo>
                <a:cubicBezTo>
                  <a:pt x="14781" y="22094"/>
                  <a:pt x="14781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50" y="22125"/>
                  <a:pt x="14750" y="22125"/>
                  <a:pt x="14750" y="22125"/>
                </a:cubicBezTo>
                <a:cubicBezTo>
                  <a:pt x="14781" y="22125"/>
                  <a:pt x="14781" y="22094"/>
                  <a:pt x="14781" y="22094"/>
                </a:cubicBezTo>
                <a:close/>
                <a:moveTo>
                  <a:pt x="14718" y="7312"/>
                </a:moveTo>
                <a:cubicBezTo>
                  <a:pt x="14718" y="7344"/>
                  <a:pt x="14718" y="7344"/>
                  <a:pt x="14718" y="7375"/>
                </a:cubicBezTo>
                <a:cubicBezTo>
                  <a:pt x="14718" y="7344"/>
                  <a:pt x="14718" y="7344"/>
                  <a:pt x="14718" y="7312"/>
                </a:cubicBezTo>
                <a:cubicBezTo>
                  <a:pt x="14687" y="7312"/>
                  <a:pt x="14687" y="7312"/>
                  <a:pt x="14656" y="7281"/>
                </a:cubicBezTo>
                <a:cubicBezTo>
                  <a:pt x="14687" y="7312"/>
                  <a:pt x="14687" y="7312"/>
                  <a:pt x="14718" y="7312"/>
                </a:cubicBezTo>
                <a:close/>
                <a:moveTo>
                  <a:pt x="14718" y="8187"/>
                </a:moveTo>
                <a:cubicBezTo>
                  <a:pt x="14718" y="8187"/>
                  <a:pt x="14718" y="8187"/>
                  <a:pt x="14718" y="8187"/>
                </a:cubicBezTo>
                <a:cubicBezTo>
                  <a:pt x="14718" y="8187"/>
                  <a:pt x="14718" y="8187"/>
                  <a:pt x="14687" y="8187"/>
                </a:cubicBezTo>
                <a:cubicBezTo>
                  <a:pt x="14718" y="8187"/>
                  <a:pt x="14718" y="8187"/>
                  <a:pt x="14718" y="8187"/>
                </a:cubicBezTo>
                <a:close/>
                <a:moveTo>
                  <a:pt x="14750" y="22125"/>
                </a:moveTo>
                <a:cubicBezTo>
                  <a:pt x="14750" y="22125"/>
                  <a:pt x="14750" y="22125"/>
                  <a:pt x="14750" y="22125"/>
                </a:cubicBezTo>
                <a:cubicBezTo>
                  <a:pt x="14687" y="22125"/>
                  <a:pt x="14656" y="22156"/>
                  <a:pt x="14625" y="22156"/>
                </a:cubicBezTo>
                <a:cubicBezTo>
                  <a:pt x="14656" y="22156"/>
                  <a:pt x="14687" y="22125"/>
                  <a:pt x="14750" y="22125"/>
                </a:cubicBezTo>
                <a:close/>
                <a:moveTo>
                  <a:pt x="14593" y="22094"/>
                </a:moveTo>
                <a:cubicBezTo>
                  <a:pt x="14593" y="22094"/>
                  <a:pt x="14593" y="22094"/>
                  <a:pt x="14593" y="22094"/>
                </a:cubicBezTo>
                <a:cubicBezTo>
                  <a:pt x="14593" y="22094"/>
                  <a:pt x="14625" y="22094"/>
                  <a:pt x="14625" y="22094"/>
                </a:cubicBezTo>
                <a:cubicBezTo>
                  <a:pt x="14625" y="22125"/>
                  <a:pt x="14625" y="22125"/>
                  <a:pt x="14593" y="22125"/>
                </a:cubicBezTo>
                <a:cubicBezTo>
                  <a:pt x="14625" y="22125"/>
                  <a:pt x="14625" y="22125"/>
                  <a:pt x="14625" y="22094"/>
                </a:cubicBezTo>
                <a:cubicBezTo>
                  <a:pt x="14625" y="22094"/>
                  <a:pt x="14593" y="22094"/>
                  <a:pt x="14593" y="22094"/>
                </a:cubicBezTo>
                <a:cubicBezTo>
                  <a:pt x="14593" y="22094"/>
                  <a:pt x="14562" y="22094"/>
                  <a:pt x="14562" y="22094"/>
                </a:cubicBezTo>
                <a:cubicBezTo>
                  <a:pt x="14562" y="22094"/>
                  <a:pt x="14593" y="22094"/>
                  <a:pt x="14593" y="22094"/>
                </a:cubicBezTo>
                <a:close/>
                <a:moveTo>
                  <a:pt x="14531" y="7969"/>
                </a:moveTo>
                <a:cubicBezTo>
                  <a:pt x="14500" y="8000"/>
                  <a:pt x="14500" y="8031"/>
                  <a:pt x="14500" y="8062"/>
                </a:cubicBezTo>
                <a:cubicBezTo>
                  <a:pt x="14500" y="8031"/>
                  <a:pt x="14500" y="8000"/>
                  <a:pt x="14531" y="7969"/>
                </a:cubicBezTo>
                <a:close/>
                <a:moveTo>
                  <a:pt x="14531" y="22062"/>
                </a:moveTo>
                <a:cubicBezTo>
                  <a:pt x="14531" y="22062"/>
                  <a:pt x="14531" y="22062"/>
                  <a:pt x="14531" y="22031"/>
                </a:cubicBezTo>
                <a:cubicBezTo>
                  <a:pt x="14531" y="22062"/>
                  <a:pt x="14531" y="22062"/>
                  <a:pt x="14531" y="22062"/>
                </a:cubicBezTo>
                <a:close/>
                <a:moveTo>
                  <a:pt x="14468" y="7125"/>
                </a:moveTo>
                <a:cubicBezTo>
                  <a:pt x="14468" y="7125"/>
                  <a:pt x="14468" y="7125"/>
                  <a:pt x="14468" y="7125"/>
                </a:cubicBezTo>
                <a:cubicBezTo>
                  <a:pt x="14468" y="7125"/>
                  <a:pt x="14468" y="7125"/>
                  <a:pt x="14468" y="7125"/>
                </a:cubicBezTo>
                <a:cubicBezTo>
                  <a:pt x="14468" y="7125"/>
                  <a:pt x="14468" y="7125"/>
                  <a:pt x="14468" y="7125"/>
                </a:cubicBezTo>
                <a:cubicBezTo>
                  <a:pt x="14437" y="7094"/>
                  <a:pt x="14437" y="7062"/>
                  <a:pt x="14437" y="7031"/>
                </a:cubicBezTo>
                <a:cubicBezTo>
                  <a:pt x="14437" y="7062"/>
                  <a:pt x="14437" y="7094"/>
                  <a:pt x="14468" y="7125"/>
                </a:cubicBezTo>
                <a:close/>
                <a:moveTo>
                  <a:pt x="14468" y="7531"/>
                </a:moveTo>
                <a:cubicBezTo>
                  <a:pt x="14468" y="7531"/>
                  <a:pt x="14468" y="7531"/>
                  <a:pt x="14468" y="7531"/>
                </a:cubicBezTo>
                <a:cubicBezTo>
                  <a:pt x="14406" y="7469"/>
                  <a:pt x="14343" y="7406"/>
                  <a:pt x="14312" y="7312"/>
                </a:cubicBezTo>
                <a:cubicBezTo>
                  <a:pt x="14343" y="7406"/>
                  <a:pt x="14406" y="7469"/>
                  <a:pt x="14468" y="7531"/>
                </a:cubicBezTo>
                <a:close/>
                <a:moveTo>
                  <a:pt x="14437" y="6812"/>
                </a:moveTo>
                <a:cubicBezTo>
                  <a:pt x="14437" y="6844"/>
                  <a:pt x="14437" y="6844"/>
                  <a:pt x="14437" y="6875"/>
                </a:cubicBezTo>
                <a:cubicBezTo>
                  <a:pt x="14437" y="6875"/>
                  <a:pt x="14437" y="6875"/>
                  <a:pt x="14437" y="6875"/>
                </a:cubicBezTo>
                <a:cubicBezTo>
                  <a:pt x="14437" y="6844"/>
                  <a:pt x="14437" y="6844"/>
                  <a:pt x="14437" y="6812"/>
                </a:cubicBezTo>
                <a:close/>
                <a:moveTo>
                  <a:pt x="14343" y="7187"/>
                </a:moveTo>
                <a:cubicBezTo>
                  <a:pt x="14343" y="7187"/>
                  <a:pt x="14375" y="7187"/>
                  <a:pt x="14375" y="7187"/>
                </a:cubicBezTo>
                <a:cubicBezTo>
                  <a:pt x="14375" y="7187"/>
                  <a:pt x="14343" y="7187"/>
                  <a:pt x="14343" y="7187"/>
                </a:cubicBezTo>
                <a:cubicBezTo>
                  <a:pt x="14406" y="7125"/>
                  <a:pt x="14375" y="7094"/>
                  <a:pt x="14312" y="7062"/>
                </a:cubicBezTo>
                <a:cubicBezTo>
                  <a:pt x="14375" y="7094"/>
                  <a:pt x="14406" y="7125"/>
                  <a:pt x="14343" y="7187"/>
                </a:cubicBezTo>
                <a:close/>
                <a:moveTo>
                  <a:pt x="14250" y="22437"/>
                </a:moveTo>
                <a:cubicBezTo>
                  <a:pt x="14250" y="22437"/>
                  <a:pt x="14281" y="22437"/>
                  <a:pt x="14281" y="22437"/>
                </a:cubicBezTo>
                <a:cubicBezTo>
                  <a:pt x="14281" y="22437"/>
                  <a:pt x="14250" y="22437"/>
                  <a:pt x="14250" y="22437"/>
                </a:cubicBezTo>
                <a:close/>
                <a:moveTo>
                  <a:pt x="14125" y="21625"/>
                </a:moveTo>
                <a:cubicBezTo>
                  <a:pt x="14125" y="21625"/>
                  <a:pt x="14125" y="21625"/>
                  <a:pt x="14125" y="21625"/>
                </a:cubicBezTo>
                <a:cubicBezTo>
                  <a:pt x="14125" y="21625"/>
                  <a:pt x="14125" y="21625"/>
                  <a:pt x="14125" y="21625"/>
                </a:cubicBezTo>
                <a:cubicBezTo>
                  <a:pt x="14125" y="21625"/>
                  <a:pt x="14125" y="21625"/>
                  <a:pt x="14125" y="21625"/>
                </a:cubicBezTo>
                <a:close/>
                <a:moveTo>
                  <a:pt x="14125" y="22250"/>
                </a:moveTo>
                <a:cubicBezTo>
                  <a:pt x="14093" y="22250"/>
                  <a:pt x="14062" y="22250"/>
                  <a:pt x="14031" y="22250"/>
                </a:cubicBezTo>
                <a:cubicBezTo>
                  <a:pt x="14031" y="22250"/>
                  <a:pt x="14031" y="22250"/>
                  <a:pt x="14031" y="22250"/>
                </a:cubicBezTo>
                <a:cubicBezTo>
                  <a:pt x="14062" y="22250"/>
                  <a:pt x="14093" y="22250"/>
                  <a:pt x="14125" y="22250"/>
                </a:cubicBezTo>
                <a:close/>
                <a:moveTo>
                  <a:pt x="14031" y="8687"/>
                </a:moveTo>
                <a:cubicBezTo>
                  <a:pt x="14031" y="8687"/>
                  <a:pt x="14031" y="8687"/>
                  <a:pt x="14031" y="8687"/>
                </a:cubicBezTo>
                <a:cubicBezTo>
                  <a:pt x="14031" y="8687"/>
                  <a:pt x="14031" y="8719"/>
                  <a:pt x="14031" y="8719"/>
                </a:cubicBezTo>
                <a:cubicBezTo>
                  <a:pt x="14031" y="8719"/>
                  <a:pt x="14031" y="8687"/>
                  <a:pt x="14031" y="8687"/>
                </a:cubicBezTo>
                <a:close/>
                <a:moveTo>
                  <a:pt x="14031" y="22437"/>
                </a:moveTo>
                <a:cubicBezTo>
                  <a:pt x="14031" y="22437"/>
                  <a:pt x="14031" y="22437"/>
                  <a:pt x="14031" y="22437"/>
                </a:cubicBezTo>
                <a:cubicBezTo>
                  <a:pt x="14031" y="22437"/>
                  <a:pt x="14031" y="22437"/>
                  <a:pt x="14031" y="22437"/>
                </a:cubicBezTo>
                <a:close/>
                <a:moveTo>
                  <a:pt x="14031" y="23094"/>
                </a:moveTo>
                <a:cubicBezTo>
                  <a:pt x="14062" y="23094"/>
                  <a:pt x="14062" y="23094"/>
                  <a:pt x="14093" y="23094"/>
                </a:cubicBezTo>
                <a:cubicBezTo>
                  <a:pt x="14218" y="23250"/>
                  <a:pt x="14343" y="23187"/>
                  <a:pt x="14468" y="23125"/>
                </a:cubicBezTo>
                <a:cubicBezTo>
                  <a:pt x="14593" y="23062"/>
                  <a:pt x="14718" y="23062"/>
                  <a:pt x="14781" y="23156"/>
                </a:cubicBezTo>
                <a:cubicBezTo>
                  <a:pt x="14812" y="23219"/>
                  <a:pt x="14843" y="23219"/>
                  <a:pt x="14906" y="23219"/>
                </a:cubicBezTo>
                <a:cubicBezTo>
                  <a:pt x="15062" y="23219"/>
                  <a:pt x="15187" y="23219"/>
                  <a:pt x="15312" y="23219"/>
                </a:cubicBezTo>
                <a:cubicBezTo>
                  <a:pt x="15468" y="23219"/>
                  <a:pt x="15656" y="23281"/>
                  <a:pt x="15812" y="23250"/>
                </a:cubicBezTo>
                <a:cubicBezTo>
                  <a:pt x="15968" y="23219"/>
                  <a:pt x="16125" y="23219"/>
                  <a:pt x="16312" y="23250"/>
                </a:cubicBezTo>
                <a:cubicBezTo>
                  <a:pt x="16500" y="23250"/>
                  <a:pt x="16718" y="23250"/>
                  <a:pt x="16937" y="23250"/>
                </a:cubicBezTo>
                <a:cubicBezTo>
                  <a:pt x="17281" y="23219"/>
                  <a:pt x="17625" y="23250"/>
                  <a:pt x="17968" y="23187"/>
                </a:cubicBezTo>
                <a:cubicBezTo>
                  <a:pt x="18125" y="23187"/>
                  <a:pt x="18250" y="23281"/>
                  <a:pt x="18406" y="23250"/>
                </a:cubicBezTo>
                <a:cubicBezTo>
                  <a:pt x="18562" y="23219"/>
                  <a:pt x="18750" y="23250"/>
                  <a:pt x="18906" y="23250"/>
                </a:cubicBezTo>
                <a:cubicBezTo>
                  <a:pt x="19375" y="23250"/>
                  <a:pt x="19843" y="23250"/>
                  <a:pt x="20312" y="23250"/>
                </a:cubicBezTo>
                <a:cubicBezTo>
                  <a:pt x="20750" y="23281"/>
                  <a:pt x="21218" y="23187"/>
                  <a:pt x="21656" y="23187"/>
                </a:cubicBezTo>
                <a:cubicBezTo>
                  <a:pt x="21750" y="23187"/>
                  <a:pt x="21843" y="23156"/>
                  <a:pt x="21937" y="23156"/>
                </a:cubicBezTo>
                <a:cubicBezTo>
                  <a:pt x="22125" y="23187"/>
                  <a:pt x="22312" y="23156"/>
                  <a:pt x="22500" y="23125"/>
                </a:cubicBezTo>
                <a:cubicBezTo>
                  <a:pt x="22593" y="23094"/>
                  <a:pt x="22687" y="23094"/>
                  <a:pt x="22781" y="23094"/>
                </a:cubicBezTo>
                <a:cubicBezTo>
                  <a:pt x="22875" y="23125"/>
                  <a:pt x="22968" y="23125"/>
                  <a:pt x="23031" y="23031"/>
                </a:cubicBezTo>
                <a:cubicBezTo>
                  <a:pt x="23125" y="23000"/>
                  <a:pt x="23062" y="23125"/>
                  <a:pt x="23125" y="23187"/>
                </a:cubicBezTo>
                <a:cubicBezTo>
                  <a:pt x="23125" y="23062"/>
                  <a:pt x="23218" y="23031"/>
                  <a:pt x="23156" y="22937"/>
                </a:cubicBezTo>
                <a:cubicBezTo>
                  <a:pt x="23156" y="22906"/>
                  <a:pt x="23156" y="22875"/>
                  <a:pt x="23156" y="22844"/>
                </a:cubicBezTo>
                <a:cubicBezTo>
                  <a:pt x="23156" y="22844"/>
                  <a:pt x="23187" y="22844"/>
                  <a:pt x="23218" y="22844"/>
                </a:cubicBezTo>
                <a:cubicBezTo>
                  <a:pt x="23218" y="22844"/>
                  <a:pt x="23218" y="22844"/>
                  <a:pt x="23250" y="22844"/>
                </a:cubicBezTo>
                <a:cubicBezTo>
                  <a:pt x="23250" y="22844"/>
                  <a:pt x="23250" y="22844"/>
                  <a:pt x="23250" y="22844"/>
                </a:cubicBezTo>
                <a:cubicBezTo>
                  <a:pt x="23250" y="22844"/>
                  <a:pt x="23250" y="22875"/>
                  <a:pt x="23250" y="22875"/>
                </a:cubicBezTo>
                <a:cubicBezTo>
                  <a:pt x="23312" y="22875"/>
                  <a:pt x="23312" y="22844"/>
                  <a:pt x="23312" y="22812"/>
                </a:cubicBezTo>
                <a:cubicBezTo>
                  <a:pt x="23343" y="22812"/>
                  <a:pt x="23375" y="22812"/>
                  <a:pt x="23437" y="22812"/>
                </a:cubicBezTo>
                <a:cubicBezTo>
                  <a:pt x="23500" y="22875"/>
                  <a:pt x="23625" y="22812"/>
                  <a:pt x="23687" y="22844"/>
                </a:cubicBezTo>
                <a:cubicBezTo>
                  <a:pt x="23656" y="22906"/>
                  <a:pt x="23531" y="22875"/>
                  <a:pt x="23593" y="23000"/>
                </a:cubicBezTo>
                <a:cubicBezTo>
                  <a:pt x="23625" y="23031"/>
                  <a:pt x="23593" y="23031"/>
                  <a:pt x="23562" y="23031"/>
                </a:cubicBezTo>
                <a:cubicBezTo>
                  <a:pt x="23468" y="23031"/>
                  <a:pt x="23500" y="23062"/>
                  <a:pt x="23562" y="23094"/>
                </a:cubicBezTo>
                <a:cubicBezTo>
                  <a:pt x="23625" y="23156"/>
                  <a:pt x="23593" y="23156"/>
                  <a:pt x="23531" y="23187"/>
                </a:cubicBezTo>
                <a:cubicBezTo>
                  <a:pt x="23375" y="23219"/>
                  <a:pt x="23250" y="23219"/>
                  <a:pt x="23093" y="23250"/>
                </a:cubicBezTo>
                <a:cubicBezTo>
                  <a:pt x="23062" y="23250"/>
                  <a:pt x="22968" y="23219"/>
                  <a:pt x="23031" y="23312"/>
                </a:cubicBezTo>
                <a:cubicBezTo>
                  <a:pt x="23062" y="23344"/>
                  <a:pt x="23031" y="23344"/>
                  <a:pt x="23000" y="23344"/>
                </a:cubicBezTo>
                <a:cubicBezTo>
                  <a:pt x="22968" y="23344"/>
                  <a:pt x="22937" y="23344"/>
                  <a:pt x="22906" y="23344"/>
                </a:cubicBezTo>
                <a:cubicBezTo>
                  <a:pt x="22906" y="23344"/>
                  <a:pt x="22906" y="23344"/>
                  <a:pt x="22906" y="23344"/>
                </a:cubicBezTo>
                <a:cubicBezTo>
                  <a:pt x="22875" y="23344"/>
                  <a:pt x="22843" y="23344"/>
                  <a:pt x="22812" y="23344"/>
                </a:cubicBezTo>
                <a:cubicBezTo>
                  <a:pt x="22812" y="23312"/>
                  <a:pt x="22843" y="23281"/>
                  <a:pt x="22812" y="23281"/>
                </a:cubicBezTo>
                <a:cubicBezTo>
                  <a:pt x="22781" y="23281"/>
                  <a:pt x="22781" y="23312"/>
                  <a:pt x="22781" y="23344"/>
                </a:cubicBezTo>
                <a:cubicBezTo>
                  <a:pt x="22750" y="23344"/>
                  <a:pt x="22750" y="23344"/>
                  <a:pt x="22718" y="23344"/>
                </a:cubicBezTo>
                <a:cubicBezTo>
                  <a:pt x="22687" y="23344"/>
                  <a:pt x="22625" y="23312"/>
                  <a:pt x="22593" y="23344"/>
                </a:cubicBezTo>
                <a:cubicBezTo>
                  <a:pt x="22562" y="23344"/>
                  <a:pt x="22531" y="23344"/>
                  <a:pt x="22500" y="23344"/>
                </a:cubicBezTo>
                <a:cubicBezTo>
                  <a:pt x="22500" y="23344"/>
                  <a:pt x="22500" y="23344"/>
                  <a:pt x="22500" y="23344"/>
                </a:cubicBezTo>
                <a:cubicBezTo>
                  <a:pt x="22468" y="23312"/>
                  <a:pt x="22437" y="23344"/>
                  <a:pt x="22406" y="23344"/>
                </a:cubicBezTo>
                <a:cubicBezTo>
                  <a:pt x="22375" y="23344"/>
                  <a:pt x="22375" y="23344"/>
                  <a:pt x="22343" y="23344"/>
                </a:cubicBezTo>
                <a:cubicBezTo>
                  <a:pt x="22312" y="23344"/>
                  <a:pt x="22281" y="23312"/>
                  <a:pt x="22250" y="23344"/>
                </a:cubicBezTo>
                <a:cubicBezTo>
                  <a:pt x="22187" y="23375"/>
                  <a:pt x="22156" y="23375"/>
                  <a:pt x="22093" y="23344"/>
                </a:cubicBezTo>
                <a:cubicBezTo>
                  <a:pt x="22093" y="23312"/>
                  <a:pt x="22062" y="23344"/>
                  <a:pt x="22031" y="23344"/>
                </a:cubicBezTo>
                <a:cubicBezTo>
                  <a:pt x="21875" y="23344"/>
                  <a:pt x="21718" y="23344"/>
                  <a:pt x="21593" y="23344"/>
                </a:cubicBezTo>
                <a:cubicBezTo>
                  <a:pt x="21031" y="23344"/>
                  <a:pt x="20437" y="23344"/>
                  <a:pt x="19875" y="23344"/>
                </a:cubicBezTo>
                <a:cubicBezTo>
                  <a:pt x="19875" y="23344"/>
                  <a:pt x="19843" y="23344"/>
                  <a:pt x="19843" y="23344"/>
                </a:cubicBezTo>
                <a:cubicBezTo>
                  <a:pt x="19812" y="23375"/>
                  <a:pt x="19812" y="23375"/>
                  <a:pt x="19812" y="23375"/>
                </a:cubicBezTo>
                <a:cubicBezTo>
                  <a:pt x="19812" y="23375"/>
                  <a:pt x="19812" y="23375"/>
                  <a:pt x="19843" y="23344"/>
                </a:cubicBezTo>
                <a:cubicBezTo>
                  <a:pt x="19812" y="23344"/>
                  <a:pt x="19812" y="23344"/>
                  <a:pt x="19781" y="23344"/>
                </a:cubicBezTo>
                <a:cubicBezTo>
                  <a:pt x="19656" y="23344"/>
                  <a:pt x="19531" y="23344"/>
                  <a:pt x="19406" y="23344"/>
                </a:cubicBezTo>
                <a:cubicBezTo>
                  <a:pt x="19343" y="23344"/>
                  <a:pt x="19281" y="23344"/>
                  <a:pt x="19218" y="23344"/>
                </a:cubicBezTo>
                <a:cubicBezTo>
                  <a:pt x="19156" y="23344"/>
                  <a:pt x="19125" y="23344"/>
                  <a:pt x="19093" y="23344"/>
                </a:cubicBezTo>
                <a:cubicBezTo>
                  <a:pt x="19062" y="23344"/>
                  <a:pt x="19062" y="23344"/>
                  <a:pt x="19031" y="23344"/>
                </a:cubicBezTo>
                <a:cubicBezTo>
                  <a:pt x="18968" y="23344"/>
                  <a:pt x="18906" y="23344"/>
                  <a:pt x="18843" y="23344"/>
                </a:cubicBezTo>
                <a:cubicBezTo>
                  <a:pt x="18843" y="23344"/>
                  <a:pt x="18843" y="23344"/>
                  <a:pt x="18843" y="23344"/>
                </a:cubicBezTo>
                <a:cubicBezTo>
                  <a:pt x="18812" y="23344"/>
                  <a:pt x="18781" y="23344"/>
                  <a:pt x="18750" y="23344"/>
                </a:cubicBezTo>
                <a:cubicBezTo>
                  <a:pt x="18687" y="23344"/>
                  <a:pt x="18625" y="23344"/>
                  <a:pt x="18562" y="23344"/>
                </a:cubicBezTo>
                <a:cubicBezTo>
                  <a:pt x="18531" y="23344"/>
                  <a:pt x="18500" y="23312"/>
                  <a:pt x="18500" y="23344"/>
                </a:cubicBezTo>
                <a:cubicBezTo>
                  <a:pt x="17937" y="23344"/>
                  <a:pt x="17343" y="23312"/>
                  <a:pt x="16781" y="23344"/>
                </a:cubicBezTo>
                <a:cubicBezTo>
                  <a:pt x="16687" y="23344"/>
                  <a:pt x="16593" y="23344"/>
                  <a:pt x="16500" y="23344"/>
                </a:cubicBezTo>
                <a:cubicBezTo>
                  <a:pt x="16437" y="23344"/>
                  <a:pt x="16406" y="23344"/>
                  <a:pt x="16375" y="23344"/>
                </a:cubicBezTo>
                <a:cubicBezTo>
                  <a:pt x="16062" y="23344"/>
                  <a:pt x="15750" y="23344"/>
                  <a:pt x="15437" y="23344"/>
                </a:cubicBezTo>
                <a:cubicBezTo>
                  <a:pt x="15406" y="23344"/>
                  <a:pt x="15343" y="23344"/>
                  <a:pt x="15312" y="23344"/>
                </a:cubicBezTo>
                <a:cubicBezTo>
                  <a:pt x="15000" y="23344"/>
                  <a:pt x="14687" y="23344"/>
                  <a:pt x="14406" y="23312"/>
                </a:cubicBezTo>
                <a:cubicBezTo>
                  <a:pt x="14375" y="23250"/>
                  <a:pt x="14312" y="23281"/>
                  <a:pt x="14281" y="23281"/>
                </a:cubicBezTo>
                <a:cubicBezTo>
                  <a:pt x="14000" y="23281"/>
                  <a:pt x="13750" y="23281"/>
                  <a:pt x="13468" y="23281"/>
                </a:cubicBezTo>
                <a:cubicBezTo>
                  <a:pt x="13468" y="23219"/>
                  <a:pt x="13531" y="23187"/>
                  <a:pt x="13500" y="23187"/>
                </a:cubicBezTo>
                <a:cubicBezTo>
                  <a:pt x="13406" y="23219"/>
                  <a:pt x="13312" y="23062"/>
                  <a:pt x="13218" y="23156"/>
                </a:cubicBezTo>
                <a:cubicBezTo>
                  <a:pt x="13250" y="23062"/>
                  <a:pt x="13312" y="23000"/>
                  <a:pt x="13343" y="22906"/>
                </a:cubicBezTo>
                <a:cubicBezTo>
                  <a:pt x="13437" y="22937"/>
                  <a:pt x="13531" y="22875"/>
                  <a:pt x="13625" y="22906"/>
                </a:cubicBezTo>
                <a:cubicBezTo>
                  <a:pt x="13750" y="22906"/>
                  <a:pt x="13843" y="22937"/>
                  <a:pt x="13937" y="22937"/>
                </a:cubicBezTo>
                <a:cubicBezTo>
                  <a:pt x="13843" y="22937"/>
                  <a:pt x="13750" y="22906"/>
                  <a:pt x="13625" y="22906"/>
                </a:cubicBezTo>
                <a:cubicBezTo>
                  <a:pt x="13656" y="23156"/>
                  <a:pt x="13843" y="23250"/>
                  <a:pt x="14031" y="23094"/>
                </a:cubicBezTo>
                <a:close/>
                <a:moveTo>
                  <a:pt x="21156" y="23406"/>
                </a:moveTo>
                <a:cubicBezTo>
                  <a:pt x="21156" y="23406"/>
                  <a:pt x="21156" y="23406"/>
                  <a:pt x="21156" y="23406"/>
                </a:cubicBezTo>
                <a:cubicBezTo>
                  <a:pt x="21031" y="23406"/>
                  <a:pt x="20875" y="23406"/>
                  <a:pt x="20750" y="23406"/>
                </a:cubicBezTo>
                <a:cubicBezTo>
                  <a:pt x="20875" y="23406"/>
                  <a:pt x="21031" y="23406"/>
                  <a:pt x="21156" y="23406"/>
                </a:cubicBezTo>
                <a:close/>
                <a:moveTo>
                  <a:pt x="17875" y="24125"/>
                </a:moveTo>
                <a:cubicBezTo>
                  <a:pt x="17843" y="24125"/>
                  <a:pt x="17812" y="24125"/>
                  <a:pt x="17781" y="24156"/>
                </a:cubicBezTo>
                <a:cubicBezTo>
                  <a:pt x="17437" y="24156"/>
                  <a:pt x="17093" y="24156"/>
                  <a:pt x="16750" y="24156"/>
                </a:cubicBezTo>
                <a:cubicBezTo>
                  <a:pt x="17093" y="24156"/>
                  <a:pt x="17437" y="24156"/>
                  <a:pt x="17781" y="24156"/>
                </a:cubicBezTo>
                <a:cubicBezTo>
                  <a:pt x="17812" y="24125"/>
                  <a:pt x="17843" y="24125"/>
                  <a:pt x="17875" y="24125"/>
                </a:cubicBezTo>
                <a:close/>
                <a:moveTo>
                  <a:pt x="15437" y="23375"/>
                </a:moveTo>
                <a:cubicBezTo>
                  <a:pt x="15437" y="23375"/>
                  <a:pt x="15437" y="23375"/>
                  <a:pt x="15437" y="23375"/>
                </a:cubicBezTo>
                <a:cubicBezTo>
                  <a:pt x="15437" y="23375"/>
                  <a:pt x="15437" y="23375"/>
                  <a:pt x="15437" y="23375"/>
                </a:cubicBezTo>
                <a:cubicBezTo>
                  <a:pt x="15437" y="23375"/>
                  <a:pt x="15437" y="23375"/>
                  <a:pt x="15437" y="23375"/>
                </a:cubicBezTo>
                <a:close/>
                <a:moveTo>
                  <a:pt x="15343" y="23406"/>
                </a:moveTo>
                <a:cubicBezTo>
                  <a:pt x="15343" y="23406"/>
                  <a:pt x="15312" y="23406"/>
                  <a:pt x="15312" y="23406"/>
                </a:cubicBezTo>
                <a:cubicBezTo>
                  <a:pt x="15312" y="23406"/>
                  <a:pt x="15312" y="23406"/>
                  <a:pt x="15312" y="23406"/>
                </a:cubicBezTo>
                <a:cubicBezTo>
                  <a:pt x="15312" y="23406"/>
                  <a:pt x="15343" y="23406"/>
                  <a:pt x="15343" y="23406"/>
                </a:cubicBezTo>
                <a:close/>
                <a:moveTo>
                  <a:pt x="15281" y="23406"/>
                </a:moveTo>
                <a:cubicBezTo>
                  <a:pt x="15281" y="23406"/>
                  <a:pt x="15250" y="23406"/>
                  <a:pt x="15250" y="23406"/>
                </a:cubicBezTo>
                <a:cubicBezTo>
                  <a:pt x="15250" y="23406"/>
                  <a:pt x="15250" y="23406"/>
                  <a:pt x="15250" y="23406"/>
                </a:cubicBezTo>
                <a:cubicBezTo>
                  <a:pt x="15250" y="23406"/>
                  <a:pt x="15250" y="23406"/>
                  <a:pt x="15250" y="23406"/>
                </a:cubicBezTo>
                <a:cubicBezTo>
                  <a:pt x="15250" y="23406"/>
                  <a:pt x="15281" y="23406"/>
                  <a:pt x="15281" y="23406"/>
                </a:cubicBezTo>
                <a:close/>
                <a:moveTo>
                  <a:pt x="15125" y="23937"/>
                </a:moveTo>
                <a:cubicBezTo>
                  <a:pt x="15093" y="23937"/>
                  <a:pt x="15093" y="23937"/>
                  <a:pt x="15093" y="23937"/>
                </a:cubicBezTo>
                <a:cubicBezTo>
                  <a:pt x="15093" y="23937"/>
                  <a:pt x="15093" y="23937"/>
                  <a:pt x="15125" y="23937"/>
                </a:cubicBezTo>
                <a:cubicBezTo>
                  <a:pt x="15125" y="24000"/>
                  <a:pt x="15093" y="24031"/>
                  <a:pt x="15031" y="24031"/>
                </a:cubicBezTo>
                <a:cubicBezTo>
                  <a:pt x="15093" y="24031"/>
                  <a:pt x="15125" y="24000"/>
                  <a:pt x="15125" y="23937"/>
                </a:cubicBezTo>
                <a:close/>
                <a:moveTo>
                  <a:pt x="14968" y="23594"/>
                </a:moveTo>
                <a:cubicBezTo>
                  <a:pt x="14968" y="23594"/>
                  <a:pt x="14968" y="23594"/>
                  <a:pt x="14968" y="23594"/>
                </a:cubicBezTo>
                <a:cubicBezTo>
                  <a:pt x="14968" y="23594"/>
                  <a:pt x="14968" y="23594"/>
                  <a:pt x="14968" y="23594"/>
                </a:cubicBezTo>
                <a:cubicBezTo>
                  <a:pt x="14968" y="23562"/>
                  <a:pt x="14968" y="23531"/>
                  <a:pt x="14968" y="23500"/>
                </a:cubicBezTo>
                <a:cubicBezTo>
                  <a:pt x="14968" y="23500"/>
                  <a:pt x="14968" y="23500"/>
                  <a:pt x="14968" y="23500"/>
                </a:cubicBezTo>
                <a:cubicBezTo>
                  <a:pt x="14968" y="23531"/>
                  <a:pt x="14968" y="23562"/>
                  <a:pt x="14968" y="23594"/>
                </a:cubicBezTo>
                <a:cubicBezTo>
                  <a:pt x="14968" y="23594"/>
                  <a:pt x="14968" y="23594"/>
                  <a:pt x="14968" y="23594"/>
                </a:cubicBezTo>
                <a:close/>
                <a:moveTo>
                  <a:pt x="14968" y="23875"/>
                </a:moveTo>
                <a:cubicBezTo>
                  <a:pt x="14968" y="23875"/>
                  <a:pt x="14968" y="23906"/>
                  <a:pt x="14937" y="23906"/>
                </a:cubicBezTo>
                <a:cubicBezTo>
                  <a:pt x="14968" y="23906"/>
                  <a:pt x="14968" y="23875"/>
                  <a:pt x="14968" y="23875"/>
                </a:cubicBezTo>
                <a:close/>
                <a:moveTo>
                  <a:pt x="14875" y="23906"/>
                </a:moveTo>
                <a:cubicBezTo>
                  <a:pt x="14875" y="23906"/>
                  <a:pt x="14875" y="23906"/>
                  <a:pt x="14875" y="23906"/>
                </a:cubicBezTo>
                <a:cubicBezTo>
                  <a:pt x="14781" y="23937"/>
                  <a:pt x="14718" y="23969"/>
                  <a:pt x="14625" y="23969"/>
                </a:cubicBezTo>
                <a:cubicBezTo>
                  <a:pt x="14718" y="23969"/>
                  <a:pt x="14781" y="23937"/>
                  <a:pt x="14875" y="23906"/>
                </a:cubicBezTo>
                <a:close/>
                <a:moveTo>
                  <a:pt x="14593" y="23406"/>
                </a:moveTo>
                <a:cubicBezTo>
                  <a:pt x="14625" y="23406"/>
                  <a:pt x="14625" y="23406"/>
                  <a:pt x="14656" y="23375"/>
                </a:cubicBezTo>
                <a:cubicBezTo>
                  <a:pt x="14656" y="23375"/>
                  <a:pt x="14656" y="23375"/>
                  <a:pt x="14656" y="23375"/>
                </a:cubicBezTo>
                <a:cubicBezTo>
                  <a:pt x="14625" y="23406"/>
                  <a:pt x="14625" y="23406"/>
                  <a:pt x="14593" y="23406"/>
                </a:cubicBezTo>
                <a:close/>
                <a:moveTo>
                  <a:pt x="14500" y="23375"/>
                </a:moveTo>
                <a:cubicBezTo>
                  <a:pt x="14468" y="23375"/>
                  <a:pt x="14437" y="23375"/>
                  <a:pt x="14406" y="23375"/>
                </a:cubicBezTo>
                <a:cubicBezTo>
                  <a:pt x="14375" y="23406"/>
                  <a:pt x="14375" y="23406"/>
                  <a:pt x="14343" y="23406"/>
                </a:cubicBezTo>
                <a:cubicBezTo>
                  <a:pt x="14375" y="23406"/>
                  <a:pt x="14375" y="23406"/>
                  <a:pt x="14406" y="23375"/>
                </a:cubicBezTo>
                <a:cubicBezTo>
                  <a:pt x="14437" y="23375"/>
                  <a:pt x="14468" y="23375"/>
                  <a:pt x="14500" y="23375"/>
                </a:cubicBezTo>
                <a:close/>
                <a:moveTo>
                  <a:pt x="14281" y="23375"/>
                </a:moveTo>
                <a:cubicBezTo>
                  <a:pt x="14281" y="23375"/>
                  <a:pt x="14281" y="23375"/>
                  <a:pt x="14281" y="23375"/>
                </a:cubicBezTo>
                <a:cubicBezTo>
                  <a:pt x="14250" y="23375"/>
                  <a:pt x="14218" y="23375"/>
                  <a:pt x="14187" y="23375"/>
                </a:cubicBezTo>
                <a:cubicBezTo>
                  <a:pt x="14156" y="23375"/>
                  <a:pt x="14156" y="23406"/>
                  <a:pt x="14156" y="23375"/>
                </a:cubicBezTo>
                <a:cubicBezTo>
                  <a:pt x="14156" y="23406"/>
                  <a:pt x="14156" y="23375"/>
                  <a:pt x="14187" y="23375"/>
                </a:cubicBezTo>
                <a:cubicBezTo>
                  <a:pt x="14218" y="23375"/>
                  <a:pt x="14250" y="23375"/>
                  <a:pt x="14281" y="23375"/>
                </a:cubicBezTo>
                <a:cubicBezTo>
                  <a:pt x="14281" y="23375"/>
                  <a:pt x="14281" y="23375"/>
                  <a:pt x="14281" y="23375"/>
                </a:cubicBezTo>
                <a:cubicBezTo>
                  <a:pt x="14281" y="23375"/>
                  <a:pt x="14281" y="23375"/>
                  <a:pt x="14281" y="23375"/>
                </a:cubicBezTo>
                <a:close/>
                <a:moveTo>
                  <a:pt x="13906" y="23906"/>
                </a:moveTo>
                <a:cubicBezTo>
                  <a:pt x="13906" y="23906"/>
                  <a:pt x="13906" y="23906"/>
                  <a:pt x="13906" y="23906"/>
                </a:cubicBezTo>
                <a:cubicBezTo>
                  <a:pt x="13843" y="23906"/>
                  <a:pt x="13750" y="23906"/>
                  <a:pt x="13656" y="23906"/>
                </a:cubicBezTo>
                <a:cubicBezTo>
                  <a:pt x="13750" y="23906"/>
                  <a:pt x="13843" y="23906"/>
                  <a:pt x="13906" y="23906"/>
                </a:cubicBezTo>
                <a:close/>
                <a:moveTo>
                  <a:pt x="13625" y="23844"/>
                </a:moveTo>
                <a:cubicBezTo>
                  <a:pt x="13625" y="23844"/>
                  <a:pt x="13593" y="23844"/>
                  <a:pt x="13593" y="23844"/>
                </a:cubicBezTo>
                <a:cubicBezTo>
                  <a:pt x="13593" y="23844"/>
                  <a:pt x="13625" y="23844"/>
                  <a:pt x="13625" y="23844"/>
                </a:cubicBezTo>
                <a:close/>
                <a:moveTo>
                  <a:pt x="13250" y="23906"/>
                </a:moveTo>
                <a:cubicBezTo>
                  <a:pt x="13343" y="23906"/>
                  <a:pt x="13468" y="23906"/>
                  <a:pt x="13562" y="23906"/>
                </a:cubicBezTo>
                <a:cubicBezTo>
                  <a:pt x="13562" y="23906"/>
                  <a:pt x="13562" y="23906"/>
                  <a:pt x="13562" y="23906"/>
                </a:cubicBezTo>
                <a:cubicBezTo>
                  <a:pt x="13468" y="23906"/>
                  <a:pt x="13343" y="23906"/>
                  <a:pt x="13250" y="23906"/>
                </a:cubicBezTo>
                <a:close/>
                <a:moveTo>
                  <a:pt x="13531" y="24031"/>
                </a:moveTo>
                <a:cubicBezTo>
                  <a:pt x="13531" y="24031"/>
                  <a:pt x="13531" y="24062"/>
                  <a:pt x="13500" y="24062"/>
                </a:cubicBezTo>
                <a:cubicBezTo>
                  <a:pt x="13531" y="24062"/>
                  <a:pt x="13531" y="24031"/>
                  <a:pt x="13531" y="24031"/>
                </a:cubicBezTo>
                <a:cubicBezTo>
                  <a:pt x="13531" y="24031"/>
                  <a:pt x="13531" y="24031"/>
                  <a:pt x="13531" y="24031"/>
                </a:cubicBezTo>
                <a:close/>
                <a:moveTo>
                  <a:pt x="13218" y="23156"/>
                </a:moveTo>
                <a:cubicBezTo>
                  <a:pt x="13250" y="23156"/>
                  <a:pt x="13281" y="23156"/>
                  <a:pt x="13312" y="23156"/>
                </a:cubicBezTo>
                <a:cubicBezTo>
                  <a:pt x="13281" y="23219"/>
                  <a:pt x="13250" y="23187"/>
                  <a:pt x="13218" y="23156"/>
                </a:cubicBezTo>
                <a:close/>
                <a:moveTo>
                  <a:pt x="13343" y="23344"/>
                </a:moveTo>
                <a:cubicBezTo>
                  <a:pt x="13343" y="23344"/>
                  <a:pt x="13343" y="23344"/>
                  <a:pt x="13343" y="23375"/>
                </a:cubicBezTo>
                <a:cubicBezTo>
                  <a:pt x="13343" y="23375"/>
                  <a:pt x="13343" y="23375"/>
                  <a:pt x="13343" y="23375"/>
                </a:cubicBezTo>
                <a:cubicBezTo>
                  <a:pt x="13343" y="23344"/>
                  <a:pt x="13343" y="23344"/>
                  <a:pt x="13343" y="23344"/>
                </a:cubicBezTo>
                <a:close/>
                <a:moveTo>
                  <a:pt x="13156" y="22344"/>
                </a:moveTo>
                <a:cubicBezTo>
                  <a:pt x="13156" y="22344"/>
                  <a:pt x="13125" y="22344"/>
                  <a:pt x="13125" y="22344"/>
                </a:cubicBezTo>
                <a:cubicBezTo>
                  <a:pt x="13125" y="22344"/>
                  <a:pt x="13125" y="22344"/>
                  <a:pt x="13125" y="22344"/>
                </a:cubicBezTo>
                <a:cubicBezTo>
                  <a:pt x="13093" y="22344"/>
                  <a:pt x="13031" y="22344"/>
                  <a:pt x="12968" y="22312"/>
                </a:cubicBezTo>
                <a:cubicBezTo>
                  <a:pt x="12968" y="22312"/>
                  <a:pt x="12968" y="22312"/>
                  <a:pt x="12968" y="22312"/>
                </a:cubicBezTo>
                <a:cubicBezTo>
                  <a:pt x="12937" y="22312"/>
                  <a:pt x="12843" y="22281"/>
                  <a:pt x="12875" y="22375"/>
                </a:cubicBezTo>
                <a:cubicBezTo>
                  <a:pt x="12843" y="22281"/>
                  <a:pt x="12937" y="22312"/>
                  <a:pt x="12968" y="22312"/>
                </a:cubicBezTo>
                <a:cubicBezTo>
                  <a:pt x="12968" y="22312"/>
                  <a:pt x="12968" y="22281"/>
                  <a:pt x="12968" y="22250"/>
                </a:cubicBezTo>
                <a:cubicBezTo>
                  <a:pt x="13000" y="22250"/>
                  <a:pt x="13031" y="22219"/>
                  <a:pt x="13062" y="22187"/>
                </a:cubicBezTo>
                <a:cubicBezTo>
                  <a:pt x="13062" y="22187"/>
                  <a:pt x="13062" y="22187"/>
                  <a:pt x="13062" y="22187"/>
                </a:cubicBezTo>
                <a:cubicBezTo>
                  <a:pt x="13125" y="22219"/>
                  <a:pt x="13156" y="22219"/>
                  <a:pt x="13218" y="22250"/>
                </a:cubicBezTo>
                <a:cubicBezTo>
                  <a:pt x="13156" y="22250"/>
                  <a:pt x="13125" y="22281"/>
                  <a:pt x="13156" y="22344"/>
                </a:cubicBezTo>
                <a:close/>
                <a:moveTo>
                  <a:pt x="13218" y="23875"/>
                </a:moveTo>
                <a:cubicBezTo>
                  <a:pt x="13187" y="23844"/>
                  <a:pt x="13156" y="23844"/>
                  <a:pt x="13125" y="23875"/>
                </a:cubicBezTo>
                <a:cubicBezTo>
                  <a:pt x="13156" y="23844"/>
                  <a:pt x="13187" y="23844"/>
                  <a:pt x="13218" y="23875"/>
                </a:cubicBezTo>
                <a:close/>
                <a:moveTo>
                  <a:pt x="13093" y="23906"/>
                </a:moveTo>
                <a:cubicBezTo>
                  <a:pt x="13093" y="23906"/>
                  <a:pt x="13093" y="23906"/>
                  <a:pt x="13093" y="23906"/>
                </a:cubicBezTo>
                <a:cubicBezTo>
                  <a:pt x="12843" y="23906"/>
                  <a:pt x="12625" y="23906"/>
                  <a:pt x="12375" y="23906"/>
                </a:cubicBezTo>
                <a:cubicBezTo>
                  <a:pt x="12625" y="23906"/>
                  <a:pt x="12843" y="23906"/>
                  <a:pt x="13093" y="23906"/>
                </a:cubicBezTo>
                <a:close/>
                <a:moveTo>
                  <a:pt x="12812" y="22344"/>
                </a:moveTo>
                <a:cubicBezTo>
                  <a:pt x="12812" y="22344"/>
                  <a:pt x="12812" y="22344"/>
                  <a:pt x="12812" y="22344"/>
                </a:cubicBezTo>
                <a:cubicBezTo>
                  <a:pt x="12812" y="22375"/>
                  <a:pt x="12812" y="22406"/>
                  <a:pt x="12875" y="22406"/>
                </a:cubicBezTo>
                <a:cubicBezTo>
                  <a:pt x="12875" y="22406"/>
                  <a:pt x="12875" y="22406"/>
                  <a:pt x="12875" y="22406"/>
                </a:cubicBezTo>
                <a:cubicBezTo>
                  <a:pt x="12812" y="22406"/>
                  <a:pt x="12812" y="22375"/>
                  <a:pt x="12812" y="22344"/>
                </a:cubicBezTo>
                <a:close/>
                <a:moveTo>
                  <a:pt x="12875" y="22437"/>
                </a:moveTo>
                <a:cubicBezTo>
                  <a:pt x="12875" y="22469"/>
                  <a:pt x="12875" y="22469"/>
                  <a:pt x="12875" y="22500"/>
                </a:cubicBezTo>
                <a:cubicBezTo>
                  <a:pt x="12906" y="22562"/>
                  <a:pt x="12968" y="22594"/>
                  <a:pt x="13031" y="22625"/>
                </a:cubicBezTo>
                <a:cubicBezTo>
                  <a:pt x="12968" y="22594"/>
                  <a:pt x="12906" y="22562"/>
                  <a:pt x="12875" y="22500"/>
                </a:cubicBezTo>
                <a:cubicBezTo>
                  <a:pt x="12875" y="22469"/>
                  <a:pt x="12875" y="22469"/>
                  <a:pt x="12875" y="22437"/>
                </a:cubicBezTo>
                <a:close/>
                <a:moveTo>
                  <a:pt x="13218" y="23156"/>
                </a:moveTo>
                <a:cubicBezTo>
                  <a:pt x="13218" y="23156"/>
                  <a:pt x="13218" y="23156"/>
                  <a:pt x="13218" y="23156"/>
                </a:cubicBezTo>
                <a:cubicBezTo>
                  <a:pt x="13218" y="23156"/>
                  <a:pt x="13218" y="23156"/>
                  <a:pt x="13218" y="23156"/>
                </a:cubicBezTo>
                <a:close/>
                <a:moveTo>
                  <a:pt x="13187" y="22125"/>
                </a:moveTo>
                <a:cubicBezTo>
                  <a:pt x="13187" y="22125"/>
                  <a:pt x="13218" y="22125"/>
                  <a:pt x="13218" y="22156"/>
                </a:cubicBezTo>
                <a:cubicBezTo>
                  <a:pt x="13250" y="22156"/>
                  <a:pt x="13281" y="22125"/>
                  <a:pt x="13312" y="22125"/>
                </a:cubicBezTo>
                <a:cubicBezTo>
                  <a:pt x="13281" y="22125"/>
                  <a:pt x="13250" y="22156"/>
                  <a:pt x="13218" y="22156"/>
                </a:cubicBezTo>
                <a:cubicBezTo>
                  <a:pt x="13218" y="22125"/>
                  <a:pt x="13187" y="22125"/>
                  <a:pt x="13187" y="22125"/>
                </a:cubicBezTo>
                <a:close/>
                <a:moveTo>
                  <a:pt x="13375" y="21844"/>
                </a:moveTo>
                <a:cubicBezTo>
                  <a:pt x="13375" y="21844"/>
                  <a:pt x="13375" y="21844"/>
                  <a:pt x="13375" y="21844"/>
                </a:cubicBezTo>
                <a:cubicBezTo>
                  <a:pt x="13375" y="21875"/>
                  <a:pt x="13375" y="21875"/>
                  <a:pt x="13375" y="21875"/>
                </a:cubicBezTo>
                <a:cubicBezTo>
                  <a:pt x="13375" y="21875"/>
                  <a:pt x="13375" y="21875"/>
                  <a:pt x="13375" y="21844"/>
                </a:cubicBezTo>
                <a:close/>
                <a:moveTo>
                  <a:pt x="13375" y="21844"/>
                </a:moveTo>
                <a:cubicBezTo>
                  <a:pt x="13375" y="21844"/>
                  <a:pt x="13375" y="21844"/>
                  <a:pt x="13375" y="21844"/>
                </a:cubicBezTo>
                <a:cubicBezTo>
                  <a:pt x="13375" y="21844"/>
                  <a:pt x="13375" y="21844"/>
                  <a:pt x="13375" y="21844"/>
                </a:cubicBezTo>
                <a:cubicBezTo>
                  <a:pt x="13375" y="21844"/>
                  <a:pt x="13375" y="21844"/>
                  <a:pt x="13375" y="21844"/>
                </a:cubicBezTo>
                <a:close/>
                <a:moveTo>
                  <a:pt x="13375" y="22312"/>
                </a:moveTo>
                <a:cubicBezTo>
                  <a:pt x="13375" y="22312"/>
                  <a:pt x="13343" y="22312"/>
                  <a:pt x="13312" y="22344"/>
                </a:cubicBezTo>
                <a:cubicBezTo>
                  <a:pt x="13343" y="22312"/>
                  <a:pt x="13375" y="22312"/>
                  <a:pt x="13375" y="22312"/>
                </a:cubicBezTo>
                <a:close/>
                <a:moveTo>
                  <a:pt x="13500" y="20906"/>
                </a:moveTo>
                <a:cubicBezTo>
                  <a:pt x="13468" y="20875"/>
                  <a:pt x="13437" y="20844"/>
                  <a:pt x="13375" y="20875"/>
                </a:cubicBezTo>
                <a:cubicBezTo>
                  <a:pt x="13437" y="20844"/>
                  <a:pt x="13468" y="20875"/>
                  <a:pt x="13500" y="20906"/>
                </a:cubicBezTo>
                <a:close/>
                <a:moveTo>
                  <a:pt x="13437" y="13562"/>
                </a:moveTo>
                <a:cubicBezTo>
                  <a:pt x="13437" y="13562"/>
                  <a:pt x="13437" y="13562"/>
                  <a:pt x="13437" y="13562"/>
                </a:cubicBezTo>
                <a:cubicBezTo>
                  <a:pt x="13437" y="13562"/>
                  <a:pt x="13437" y="13562"/>
                  <a:pt x="13437" y="13562"/>
                </a:cubicBezTo>
                <a:cubicBezTo>
                  <a:pt x="13437" y="13562"/>
                  <a:pt x="13437" y="13562"/>
                  <a:pt x="13437" y="13562"/>
                </a:cubicBezTo>
                <a:close/>
                <a:moveTo>
                  <a:pt x="13500" y="22312"/>
                </a:moveTo>
                <a:cubicBezTo>
                  <a:pt x="13531" y="22312"/>
                  <a:pt x="13531" y="22344"/>
                  <a:pt x="13562" y="22344"/>
                </a:cubicBezTo>
                <a:cubicBezTo>
                  <a:pt x="13500" y="22344"/>
                  <a:pt x="13437" y="22344"/>
                  <a:pt x="13406" y="22312"/>
                </a:cubicBezTo>
                <a:cubicBezTo>
                  <a:pt x="13437" y="22344"/>
                  <a:pt x="13500" y="22344"/>
                  <a:pt x="13562" y="22344"/>
                </a:cubicBezTo>
                <a:cubicBezTo>
                  <a:pt x="13531" y="22344"/>
                  <a:pt x="13531" y="22312"/>
                  <a:pt x="13500" y="22312"/>
                </a:cubicBezTo>
                <a:close/>
                <a:moveTo>
                  <a:pt x="13562" y="22687"/>
                </a:moveTo>
                <a:cubicBezTo>
                  <a:pt x="13531" y="22687"/>
                  <a:pt x="13531" y="22687"/>
                  <a:pt x="13531" y="22719"/>
                </a:cubicBezTo>
                <a:cubicBezTo>
                  <a:pt x="13500" y="22719"/>
                  <a:pt x="13468" y="22719"/>
                  <a:pt x="13437" y="22719"/>
                </a:cubicBezTo>
                <a:cubicBezTo>
                  <a:pt x="13468" y="22719"/>
                  <a:pt x="13500" y="22719"/>
                  <a:pt x="13531" y="22719"/>
                </a:cubicBezTo>
                <a:cubicBezTo>
                  <a:pt x="13531" y="22687"/>
                  <a:pt x="13531" y="22687"/>
                  <a:pt x="13562" y="22687"/>
                </a:cubicBezTo>
                <a:close/>
                <a:moveTo>
                  <a:pt x="13468" y="21156"/>
                </a:moveTo>
                <a:cubicBezTo>
                  <a:pt x="13437" y="21187"/>
                  <a:pt x="13406" y="21156"/>
                  <a:pt x="13406" y="21156"/>
                </a:cubicBezTo>
                <a:cubicBezTo>
                  <a:pt x="13406" y="21156"/>
                  <a:pt x="13437" y="21187"/>
                  <a:pt x="13468" y="21156"/>
                </a:cubicBezTo>
                <a:cubicBezTo>
                  <a:pt x="13468" y="21125"/>
                  <a:pt x="13468" y="21094"/>
                  <a:pt x="13500" y="21094"/>
                </a:cubicBezTo>
                <a:cubicBezTo>
                  <a:pt x="13468" y="21094"/>
                  <a:pt x="13468" y="21125"/>
                  <a:pt x="13468" y="21156"/>
                </a:cubicBezTo>
                <a:close/>
                <a:moveTo>
                  <a:pt x="13718" y="22312"/>
                </a:moveTo>
                <a:cubicBezTo>
                  <a:pt x="13750" y="22312"/>
                  <a:pt x="13750" y="22312"/>
                  <a:pt x="13750" y="22312"/>
                </a:cubicBezTo>
                <a:cubicBezTo>
                  <a:pt x="13750" y="22312"/>
                  <a:pt x="13750" y="22312"/>
                  <a:pt x="13718" y="22312"/>
                </a:cubicBezTo>
                <a:close/>
                <a:moveTo>
                  <a:pt x="13750" y="22312"/>
                </a:moveTo>
                <a:cubicBezTo>
                  <a:pt x="13781" y="22312"/>
                  <a:pt x="13781" y="22312"/>
                  <a:pt x="13781" y="22312"/>
                </a:cubicBezTo>
                <a:cubicBezTo>
                  <a:pt x="13781" y="22312"/>
                  <a:pt x="13781" y="22312"/>
                  <a:pt x="13781" y="22312"/>
                </a:cubicBezTo>
                <a:cubicBezTo>
                  <a:pt x="13781" y="22312"/>
                  <a:pt x="13781" y="22312"/>
                  <a:pt x="13750" y="22312"/>
                </a:cubicBezTo>
                <a:close/>
                <a:moveTo>
                  <a:pt x="13968" y="22406"/>
                </a:moveTo>
                <a:cubicBezTo>
                  <a:pt x="13968" y="22406"/>
                  <a:pt x="13937" y="22375"/>
                  <a:pt x="13937" y="22375"/>
                </a:cubicBezTo>
                <a:cubicBezTo>
                  <a:pt x="13906" y="22375"/>
                  <a:pt x="13875" y="22344"/>
                  <a:pt x="13843" y="22344"/>
                </a:cubicBezTo>
                <a:cubicBezTo>
                  <a:pt x="13875" y="22344"/>
                  <a:pt x="13906" y="22375"/>
                  <a:pt x="13937" y="22375"/>
                </a:cubicBezTo>
                <a:cubicBezTo>
                  <a:pt x="13937" y="22375"/>
                  <a:pt x="13968" y="22406"/>
                  <a:pt x="13968" y="22406"/>
                </a:cubicBezTo>
                <a:close/>
                <a:moveTo>
                  <a:pt x="13875" y="22125"/>
                </a:moveTo>
                <a:cubicBezTo>
                  <a:pt x="13875" y="22125"/>
                  <a:pt x="13875" y="22156"/>
                  <a:pt x="13875" y="22156"/>
                </a:cubicBezTo>
                <a:cubicBezTo>
                  <a:pt x="13875" y="22156"/>
                  <a:pt x="13875" y="22125"/>
                  <a:pt x="13875" y="22125"/>
                </a:cubicBezTo>
                <a:cubicBezTo>
                  <a:pt x="13906" y="22125"/>
                  <a:pt x="13906" y="22125"/>
                  <a:pt x="13906" y="22125"/>
                </a:cubicBezTo>
                <a:cubicBezTo>
                  <a:pt x="13906" y="22125"/>
                  <a:pt x="13906" y="22125"/>
                  <a:pt x="13875" y="22125"/>
                </a:cubicBezTo>
                <a:close/>
                <a:moveTo>
                  <a:pt x="13937" y="22094"/>
                </a:moveTo>
                <a:cubicBezTo>
                  <a:pt x="13937" y="22094"/>
                  <a:pt x="13937" y="22094"/>
                  <a:pt x="13937" y="22094"/>
                </a:cubicBezTo>
                <a:cubicBezTo>
                  <a:pt x="13937" y="22094"/>
                  <a:pt x="13937" y="22094"/>
                  <a:pt x="13937" y="22094"/>
                </a:cubicBezTo>
                <a:cubicBezTo>
                  <a:pt x="13937" y="22094"/>
                  <a:pt x="13937" y="22094"/>
                  <a:pt x="13937" y="22094"/>
                </a:cubicBezTo>
                <a:close/>
                <a:moveTo>
                  <a:pt x="13906" y="9125"/>
                </a:moveTo>
                <a:cubicBezTo>
                  <a:pt x="13906" y="9125"/>
                  <a:pt x="13906" y="9125"/>
                  <a:pt x="13906" y="9125"/>
                </a:cubicBezTo>
                <a:cubicBezTo>
                  <a:pt x="13906" y="9156"/>
                  <a:pt x="13906" y="9156"/>
                  <a:pt x="13906" y="9156"/>
                </a:cubicBezTo>
                <a:cubicBezTo>
                  <a:pt x="13906" y="9156"/>
                  <a:pt x="13906" y="9156"/>
                  <a:pt x="13906" y="9125"/>
                </a:cubicBezTo>
                <a:close/>
                <a:moveTo>
                  <a:pt x="13843" y="18469"/>
                </a:moveTo>
                <a:cubicBezTo>
                  <a:pt x="13843" y="18469"/>
                  <a:pt x="13843" y="18469"/>
                  <a:pt x="13843" y="18469"/>
                </a:cubicBezTo>
                <a:cubicBezTo>
                  <a:pt x="13843" y="18469"/>
                  <a:pt x="13843" y="18469"/>
                  <a:pt x="13843" y="18469"/>
                </a:cubicBezTo>
                <a:cubicBezTo>
                  <a:pt x="13843" y="18469"/>
                  <a:pt x="13843" y="18469"/>
                  <a:pt x="13843" y="18469"/>
                </a:cubicBezTo>
                <a:close/>
                <a:moveTo>
                  <a:pt x="13937" y="22062"/>
                </a:moveTo>
                <a:cubicBezTo>
                  <a:pt x="13906" y="22000"/>
                  <a:pt x="13843" y="22031"/>
                  <a:pt x="13812" y="22031"/>
                </a:cubicBezTo>
                <a:cubicBezTo>
                  <a:pt x="13843" y="22031"/>
                  <a:pt x="13906" y="22000"/>
                  <a:pt x="13937" y="22062"/>
                </a:cubicBezTo>
                <a:close/>
                <a:moveTo>
                  <a:pt x="13875" y="22156"/>
                </a:moveTo>
                <a:cubicBezTo>
                  <a:pt x="13875" y="22156"/>
                  <a:pt x="13843" y="22156"/>
                  <a:pt x="13843" y="22125"/>
                </a:cubicBezTo>
                <a:cubicBezTo>
                  <a:pt x="13843" y="22156"/>
                  <a:pt x="13875" y="22156"/>
                  <a:pt x="13875" y="22156"/>
                </a:cubicBezTo>
                <a:close/>
                <a:moveTo>
                  <a:pt x="13812" y="22219"/>
                </a:moveTo>
                <a:cubicBezTo>
                  <a:pt x="13843" y="22219"/>
                  <a:pt x="13875" y="22219"/>
                  <a:pt x="13875" y="22219"/>
                </a:cubicBezTo>
                <a:cubicBezTo>
                  <a:pt x="13875" y="22219"/>
                  <a:pt x="13843" y="22219"/>
                  <a:pt x="13812" y="22219"/>
                </a:cubicBezTo>
                <a:cubicBezTo>
                  <a:pt x="13750" y="22219"/>
                  <a:pt x="13687" y="22219"/>
                  <a:pt x="13625" y="22219"/>
                </a:cubicBezTo>
                <a:cubicBezTo>
                  <a:pt x="13687" y="22219"/>
                  <a:pt x="13750" y="22219"/>
                  <a:pt x="13812" y="22219"/>
                </a:cubicBezTo>
                <a:close/>
                <a:moveTo>
                  <a:pt x="13718" y="8469"/>
                </a:move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718" y="8469"/>
                  <a:pt x="13718" y="8469"/>
                </a:cubicBezTo>
                <a:close/>
                <a:moveTo>
                  <a:pt x="13718" y="20375"/>
                </a:moveTo>
                <a:cubicBezTo>
                  <a:pt x="13718" y="20375"/>
                  <a:pt x="13687" y="20375"/>
                  <a:pt x="13687" y="20375"/>
                </a:cubicBezTo>
                <a:cubicBezTo>
                  <a:pt x="13687" y="20375"/>
                  <a:pt x="13687" y="20375"/>
                  <a:pt x="13687" y="20344"/>
                </a:cubicBezTo>
                <a:cubicBezTo>
                  <a:pt x="13687" y="20375"/>
                  <a:pt x="13687" y="20375"/>
                  <a:pt x="13687" y="20375"/>
                </a:cubicBezTo>
                <a:cubicBezTo>
                  <a:pt x="13687" y="20375"/>
                  <a:pt x="13718" y="20375"/>
                  <a:pt x="13718" y="20375"/>
                </a:cubicBezTo>
                <a:close/>
                <a:moveTo>
                  <a:pt x="13718" y="8469"/>
                </a:moveTo>
                <a:cubicBezTo>
                  <a:pt x="13718" y="8469"/>
                  <a:pt x="13718" y="8469"/>
                  <a:pt x="13718" y="8469"/>
                </a:cubicBezTo>
                <a:cubicBezTo>
                  <a:pt x="13718" y="8469"/>
                  <a:pt x="13687" y="8437"/>
                  <a:pt x="13687" y="8437"/>
                </a:cubicBezTo>
                <a:cubicBezTo>
                  <a:pt x="13687" y="8437"/>
                  <a:pt x="13718" y="8469"/>
                  <a:pt x="13718" y="8469"/>
                </a:cubicBezTo>
                <a:close/>
                <a:moveTo>
                  <a:pt x="13687" y="21062"/>
                </a:moveTo>
                <a:cubicBezTo>
                  <a:pt x="13656" y="21062"/>
                  <a:pt x="13593" y="21094"/>
                  <a:pt x="13562" y="21094"/>
                </a:cubicBezTo>
                <a:cubicBezTo>
                  <a:pt x="13531" y="21094"/>
                  <a:pt x="13531" y="21094"/>
                  <a:pt x="13531" y="21094"/>
                </a:cubicBezTo>
                <a:cubicBezTo>
                  <a:pt x="13531" y="21094"/>
                  <a:pt x="13531" y="21094"/>
                  <a:pt x="13531" y="21094"/>
                </a:cubicBezTo>
                <a:cubicBezTo>
                  <a:pt x="13531" y="21094"/>
                  <a:pt x="13531" y="21094"/>
                  <a:pt x="13562" y="21094"/>
                </a:cubicBezTo>
                <a:cubicBezTo>
                  <a:pt x="13593" y="21094"/>
                  <a:pt x="13656" y="21062"/>
                  <a:pt x="13687" y="21062"/>
                </a:cubicBezTo>
                <a:close/>
                <a:moveTo>
                  <a:pt x="13562" y="19562"/>
                </a:moveTo>
                <a:cubicBezTo>
                  <a:pt x="13531" y="19531"/>
                  <a:pt x="13531" y="19531"/>
                  <a:pt x="13531" y="19531"/>
                </a:cubicBezTo>
                <a:cubicBezTo>
                  <a:pt x="13531" y="19531"/>
                  <a:pt x="13531" y="19531"/>
                  <a:pt x="13562" y="19562"/>
                </a:cubicBezTo>
                <a:close/>
                <a:moveTo>
                  <a:pt x="13562" y="20875"/>
                </a:moveTo>
                <a:cubicBezTo>
                  <a:pt x="13562" y="20875"/>
                  <a:pt x="13562" y="20875"/>
                  <a:pt x="13562" y="20875"/>
                </a:cubicBezTo>
                <a:cubicBezTo>
                  <a:pt x="13531" y="20812"/>
                  <a:pt x="13531" y="20781"/>
                  <a:pt x="13531" y="20781"/>
                </a:cubicBezTo>
                <a:cubicBezTo>
                  <a:pt x="13531" y="20781"/>
                  <a:pt x="13531" y="20812"/>
                  <a:pt x="13562" y="20875"/>
                </a:cubicBezTo>
                <a:close/>
                <a:moveTo>
                  <a:pt x="13531" y="10281"/>
                </a:moveTo>
                <a:cubicBezTo>
                  <a:pt x="13562" y="10281"/>
                  <a:pt x="13593" y="10312"/>
                  <a:pt x="13625" y="10312"/>
                </a:cubicBezTo>
                <a:cubicBezTo>
                  <a:pt x="13593" y="10312"/>
                  <a:pt x="13562" y="10281"/>
                  <a:pt x="13531" y="10281"/>
                </a:cubicBezTo>
                <a:cubicBezTo>
                  <a:pt x="13531" y="10281"/>
                  <a:pt x="13531" y="10281"/>
                  <a:pt x="13531" y="10281"/>
                </a:cubicBezTo>
                <a:close/>
                <a:moveTo>
                  <a:pt x="13500" y="21312"/>
                </a:moveTo>
                <a:cubicBezTo>
                  <a:pt x="13562" y="21250"/>
                  <a:pt x="13562" y="21187"/>
                  <a:pt x="13562" y="21125"/>
                </a:cubicBezTo>
                <a:cubicBezTo>
                  <a:pt x="13562" y="21187"/>
                  <a:pt x="13562" y="21250"/>
                  <a:pt x="13500" y="21312"/>
                </a:cubicBezTo>
                <a:cubicBezTo>
                  <a:pt x="13531" y="21344"/>
                  <a:pt x="13500" y="21344"/>
                  <a:pt x="13468" y="21344"/>
                </a:cubicBezTo>
                <a:cubicBezTo>
                  <a:pt x="13500" y="21344"/>
                  <a:pt x="13531" y="21344"/>
                  <a:pt x="13500" y="21312"/>
                </a:cubicBezTo>
                <a:close/>
                <a:moveTo>
                  <a:pt x="13375" y="8937"/>
                </a:moveTo>
                <a:cubicBezTo>
                  <a:pt x="13437" y="8937"/>
                  <a:pt x="13468" y="8937"/>
                  <a:pt x="13500" y="8969"/>
                </a:cubicBezTo>
                <a:cubicBezTo>
                  <a:pt x="13468" y="8937"/>
                  <a:pt x="13437" y="8937"/>
                  <a:pt x="13375" y="8937"/>
                </a:cubicBezTo>
                <a:close/>
                <a:moveTo>
                  <a:pt x="13375" y="8937"/>
                </a:moveTo>
                <a:cubicBezTo>
                  <a:pt x="13375" y="8937"/>
                  <a:pt x="13375" y="8937"/>
                  <a:pt x="13375" y="8937"/>
                </a:cubicBezTo>
                <a:cubicBezTo>
                  <a:pt x="13375" y="8937"/>
                  <a:pt x="13375" y="8937"/>
                  <a:pt x="13375" y="8906"/>
                </a:cubicBezTo>
                <a:cubicBezTo>
                  <a:pt x="13375" y="8937"/>
                  <a:pt x="13375" y="8937"/>
                  <a:pt x="13375" y="8937"/>
                </a:cubicBezTo>
                <a:close/>
                <a:moveTo>
                  <a:pt x="13375" y="21094"/>
                </a:moveTo>
                <a:cubicBezTo>
                  <a:pt x="13343" y="21094"/>
                  <a:pt x="13312" y="21125"/>
                  <a:pt x="13312" y="21125"/>
                </a:cubicBezTo>
                <a:cubicBezTo>
                  <a:pt x="13312" y="21125"/>
                  <a:pt x="13343" y="21094"/>
                  <a:pt x="13375" y="21094"/>
                </a:cubicBezTo>
                <a:close/>
                <a:moveTo>
                  <a:pt x="13281" y="10562"/>
                </a:moveTo>
                <a:cubicBezTo>
                  <a:pt x="13281" y="10719"/>
                  <a:pt x="13281" y="10906"/>
                  <a:pt x="13281" y="11062"/>
                </a:cubicBezTo>
                <a:cubicBezTo>
                  <a:pt x="13281" y="11125"/>
                  <a:pt x="13281" y="11156"/>
                  <a:pt x="13281" y="11219"/>
                </a:cubicBezTo>
                <a:cubicBezTo>
                  <a:pt x="13281" y="11219"/>
                  <a:pt x="13312" y="11250"/>
                  <a:pt x="13312" y="11281"/>
                </a:cubicBezTo>
                <a:cubicBezTo>
                  <a:pt x="13312" y="11250"/>
                  <a:pt x="13281" y="11219"/>
                  <a:pt x="13281" y="11219"/>
                </a:cubicBezTo>
                <a:cubicBezTo>
                  <a:pt x="13281" y="11156"/>
                  <a:pt x="13281" y="11125"/>
                  <a:pt x="13281" y="11062"/>
                </a:cubicBezTo>
                <a:cubicBezTo>
                  <a:pt x="13281" y="10906"/>
                  <a:pt x="13281" y="10719"/>
                  <a:pt x="13281" y="10562"/>
                </a:cubicBezTo>
                <a:close/>
                <a:moveTo>
                  <a:pt x="13156" y="17219"/>
                </a:moveTo>
                <a:cubicBezTo>
                  <a:pt x="13156" y="17219"/>
                  <a:pt x="13187" y="17219"/>
                  <a:pt x="13187" y="17219"/>
                </a:cubicBezTo>
                <a:cubicBezTo>
                  <a:pt x="13187" y="17281"/>
                  <a:pt x="13187" y="17312"/>
                  <a:pt x="13187" y="17375"/>
                </a:cubicBezTo>
                <a:cubicBezTo>
                  <a:pt x="13187" y="17312"/>
                  <a:pt x="13187" y="17281"/>
                  <a:pt x="13187" y="17219"/>
                </a:cubicBezTo>
                <a:cubicBezTo>
                  <a:pt x="13187" y="17219"/>
                  <a:pt x="13156" y="17219"/>
                  <a:pt x="13156" y="17219"/>
                </a:cubicBezTo>
                <a:close/>
                <a:moveTo>
                  <a:pt x="13187" y="8469"/>
                </a:moveTo>
                <a:cubicBezTo>
                  <a:pt x="13187" y="8437"/>
                  <a:pt x="13187" y="8406"/>
                  <a:pt x="13187" y="8375"/>
                </a:cubicBezTo>
                <a:cubicBezTo>
                  <a:pt x="13187" y="8406"/>
                  <a:pt x="13187" y="8437"/>
                  <a:pt x="13187" y="8469"/>
                </a:cubicBezTo>
                <a:cubicBezTo>
                  <a:pt x="13187" y="8469"/>
                  <a:pt x="13187" y="8469"/>
                  <a:pt x="13187" y="8469"/>
                </a:cubicBezTo>
                <a:close/>
                <a:moveTo>
                  <a:pt x="13187" y="14844"/>
                </a:moveTo>
                <a:cubicBezTo>
                  <a:pt x="13187" y="14844"/>
                  <a:pt x="13187" y="14844"/>
                  <a:pt x="13187" y="14812"/>
                </a:cubicBezTo>
                <a:cubicBezTo>
                  <a:pt x="13187" y="14844"/>
                  <a:pt x="13187" y="14844"/>
                  <a:pt x="13187" y="14844"/>
                </a:cubicBezTo>
                <a:close/>
                <a:moveTo>
                  <a:pt x="13187" y="17219"/>
                </a:moveTo>
                <a:cubicBezTo>
                  <a:pt x="13187" y="17219"/>
                  <a:pt x="13187" y="17219"/>
                  <a:pt x="13187" y="17219"/>
                </a:cubicBezTo>
                <a:cubicBezTo>
                  <a:pt x="13187" y="17219"/>
                  <a:pt x="13187" y="17219"/>
                  <a:pt x="13187" y="17219"/>
                </a:cubicBezTo>
                <a:cubicBezTo>
                  <a:pt x="13187" y="17219"/>
                  <a:pt x="13187" y="17219"/>
                  <a:pt x="13187" y="17219"/>
                </a:cubicBezTo>
                <a:close/>
                <a:moveTo>
                  <a:pt x="13187" y="14781"/>
                </a:moveTo>
                <a:cubicBezTo>
                  <a:pt x="13187" y="14781"/>
                  <a:pt x="13187" y="14781"/>
                  <a:pt x="13187" y="14781"/>
                </a:cubicBezTo>
                <a:cubicBezTo>
                  <a:pt x="13218" y="14781"/>
                  <a:pt x="13218" y="14781"/>
                  <a:pt x="13218" y="14781"/>
                </a:cubicBezTo>
                <a:cubicBezTo>
                  <a:pt x="13218" y="14781"/>
                  <a:pt x="13218" y="14781"/>
                  <a:pt x="13187" y="14781"/>
                </a:cubicBezTo>
                <a:close/>
                <a:moveTo>
                  <a:pt x="13218" y="14562"/>
                </a:moveTo>
                <a:cubicBezTo>
                  <a:pt x="13250" y="14594"/>
                  <a:pt x="13281" y="14625"/>
                  <a:pt x="13281" y="14656"/>
                </a:cubicBezTo>
                <a:cubicBezTo>
                  <a:pt x="13281" y="14687"/>
                  <a:pt x="13281" y="14687"/>
                  <a:pt x="13281" y="14719"/>
                </a:cubicBezTo>
                <a:cubicBezTo>
                  <a:pt x="13250" y="14750"/>
                  <a:pt x="13250" y="14750"/>
                  <a:pt x="13218" y="14781"/>
                </a:cubicBezTo>
                <a:cubicBezTo>
                  <a:pt x="13250" y="14750"/>
                  <a:pt x="13250" y="14750"/>
                  <a:pt x="13281" y="14719"/>
                </a:cubicBezTo>
                <a:cubicBezTo>
                  <a:pt x="13281" y="14687"/>
                  <a:pt x="13281" y="14687"/>
                  <a:pt x="13281" y="14656"/>
                </a:cubicBezTo>
                <a:cubicBezTo>
                  <a:pt x="13281" y="14625"/>
                  <a:pt x="13250" y="14594"/>
                  <a:pt x="13218" y="14562"/>
                </a:cubicBezTo>
                <a:close/>
                <a:moveTo>
                  <a:pt x="13281" y="14406"/>
                </a:moveTo>
                <a:cubicBezTo>
                  <a:pt x="13218" y="14250"/>
                  <a:pt x="13187" y="14094"/>
                  <a:pt x="13250" y="13937"/>
                </a:cubicBezTo>
                <a:cubicBezTo>
                  <a:pt x="13187" y="14094"/>
                  <a:pt x="13218" y="14250"/>
                  <a:pt x="13281" y="14406"/>
                </a:cubicBezTo>
                <a:cubicBezTo>
                  <a:pt x="13281" y="14437"/>
                  <a:pt x="13281" y="14437"/>
                  <a:pt x="13281" y="14469"/>
                </a:cubicBezTo>
                <a:cubicBezTo>
                  <a:pt x="13281" y="14437"/>
                  <a:pt x="13281" y="14437"/>
                  <a:pt x="13281" y="14406"/>
                </a:cubicBezTo>
                <a:close/>
                <a:moveTo>
                  <a:pt x="13250" y="13844"/>
                </a:moveTo>
                <a:cubicBezTo>
                  <a:pt x="13187" y="13812"/>
                  <a:pt x="13218" y="13719"/>
                  <a:pt x="13218" y="13687"/>
                </a:cubicBezTo>
                <a:cubicBezTo>
                  <a:pt x="13218" y="13719"/>
                  <a:pt x="13187" y="13812"/>
                  <a:pt x="13250" y="13844"/>
                </a:cubicBezTo>
                <a:cubicBezTo>
                  <a:pt x="13250" y="13844"/>
                  <a:pt x="13250" y="13844"/>
                  <a:pt x="13250" y="13875"/>
                </a:cubicBezTo>
                <a:cubicBezTo>
                  <a:pt x="13250" y="13844"/>
                  <a:pt x="13250" y="13844"/>
                  <a:pt x="13250" y="13844"/>
                </a:cubicBezTo>
                <a:close/>
                <a:moveTo>
                  <a:pt x="13218" y="10500"/>
                </a:moveTo>
                <a:cubicBezTo>
                  <a:pt x="13218" y="10500"/>
                  <a:pt x="13218" y="10500"/>
                  <a:pt x="13218" y="10500"/>
                </a:cubicBezTo>
                <a:cubicBezTo>
                  <a:pt x="13218" y="10500"/>
                  <a:pt x="13250" y="10500"/>
                  <a:pt x="13250" y="10500"/>
                </a:cubicBezTo>
                <a:cubicBezTo>
                  <a:pt x="13250" y="10500"/>
                  <a:pt x="13218" y="10500"/>
                  <a:pt x="13218" y="10500"/>
                </a:cubicBezTo>
                <a:close/>
                <a:moveTo>
                  <a:pt x="13187" y="7187"/>
                </a:moveTo>
                <a:cubicBezTo>
                  <a:pt x="13187" y="7187"/>
                  <a:pt x="13187" y="7187"/>
                  <a:pt x="13187" y="7187"/>
                </a:cubicBezTo>
                <a:cubicBezTo>
                  <a:pt x="13218" y="7125"/>
                  <a:pt x="13218" y="7094"/>
                  <a:pt x="13218" y="7031"/>
                </a:cubicBezTo>
                <a:cubicBezTo>
                  <a:pt x="13218" y="7031"/>
                  <a:pt x="13218" y="7031"/>
                  <a:pt x="13218" y="7031"/>
                </a:cubicBezTo>
                <a:cubicBezTo>
                  <a:pt x="13218" y="7094"/>
                  <a:pt x="13218" y="7125"/>
                  <a:pt x="13187" y="7187"/>
                </a:cubicBezTo>
                <a:close/>
                <a:moveTo>
                  <a:pt x="13312" y="16969"/>
                </a:moveTo>
                <a:cubicBezTo>
                  <a:pt x="13312" y="16937"/>
                  <a:pt x="13312" y="16937"/>
                  <a:pt x="13312" y="16906"/>
                </a:cubicBezTo>
                <a:cubicBezTo>
                  <a:pt x="13312" y="16906"/>
                  <a:pt x="13312" y="16906"/>
                  <a:pt x="13312" y="16906"/>
                </a:cubicBezTo>
                <a:cubicBezTo>
                  <a:pt x="13312" y="16781"/>
                  <a:pt x="13312" y="16625"/>
                  <a:pt x="13312" y="16469"/>
                </a:cubicBezTo>
                <a:cubicBezTo>
                  <a:pt x="13312" y="16625"/>
                  <a:pt x="13312" y="16781"/>
                  <a:pt x="13312" y="16906"/>
                </a:cubicBezTo>
                <a:cubicBezTo>
                  <a:pt x="13312" y="16937"/>
                  <a:pt x="13312" y="16937"/>
                  <a:pt x="13312" y="16969"/>
                </a:cubicBezTo>
                <a:cubicBezTo>
                  <a:pt x="13250" y="17000"/>
                  <a:pt x="13250" y="17094"/>
                  <a:pt x="13218" y="17156"/>
                </a:cubicBezTo>
                <a:cubicBezTo>
                  <a:pt x="13250" y="17094"/>
                  <a:pt x="13250" y="17000"/>
                  <a:pt x="13312" y="16969"/>
                </a:cubicBezTo>
                <a:close/>
                <a:moveTo>
                  <a:pt x="13281" y="21906"/>
                </a:moveTo>
                <a:cubicBezTo>
                  <a:pt x="13281" y="21875"/>
                  <a:pt x="13312" y="21875"/>
                  <a:pt x="13312" y="21844"/>
                </a:cubicBezTo>
                <a:cubicBezTo>
                  <a:pt x="13312" y="21844"/>
                  <a:pt x="13312" y="21844"/>
                  <a:pt x="13312" y="21844"/>
                </a:cubicBezTo>
                <a:cubicBezTo>
                  <a:pt x="13312" y="21875"/>
                  <a:pt x="13281" y="21875"/>
                  <a:pt x="13281" y="21906"/>
                </a:cubicBezTo>
                <a:cubicBezTo>
                  <a:pt x="13281" y="21906"/>
                  <a:pt x="13250" y="21906"/>
                  <a:pt x="13250" y="21937"/>
                </a:cubicBezTo>
                <a:cubicBezTo>
                  <a:pt x="13250" y="21906"/>
                  <a:pt x="13281" y="21906"/>
                  <a:pt x="13281" y="21906"/>
                </a:cubicBezTo>
                <a:close/>
                <a:moveTo>
                  <a:pt x="13312" y="20312"/>
                </a:moveTo>
                <a:cubicBezTo>
                  <a:pt x="13312" y="20312"/>
                  <a:pt x="13312" y="20312"/>
                  <a:pt x="13312" y="20312"/>
                </a:cubicBezTo>
                <a:cubicBezTo>
                  <a:pt x="13312" y="20187"/>
                  <a:pt x="13312" y="20062"/>
                  <a:pt x="13312" y="19937"/>
                </a:cubicBezTo>
                <a:cubicBezTo>
                  <a:pt x="13312" y="20062"/>
                  <a:pt x="13312" y="20187"/>
                  <a:pt x="13312" y="20312"/>
                </a:cubicBezTo>
                <a:close/>
                <a:moveTo>
                  <a:pt x="13281" y="11281"/>
                </a:moveTo>
                <a:cubicBezTo>
                  <a:pt x="13281" y="11281"/>
                  <a:pt x="13281" y="11281"/>
                  <a:pt x="13281" y="11281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281"/>
                  <a:pt x="13281" y="11281"/>
                  <a:pt x="13312" y="11281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312"/>
                  <a:pt x="13281" y="11312"/>
                  <a:pt x="13281" y="11312"/>
                </a:cubicBezTo>
                <a:cubicBezTo>
                  <a:pt x="13281" y="11281"/>
                  <a:pt x="13281" y="11281"/>
                  <a:pt x="13281" y="11281"/>
                </a:cubicBezTo>
                <a:cubicBezTo>
                  <a:pt x="13281" y="11250"/>
                  <a:pt x="13250" y="11250"/>
                  <a:pt x="13250" y="11250"/>
                </a:cubicBezTo>
                <a:cubicBezTo>
                  <a:pt x="13250" y="11250"/>
                  <a:pt x="13281" y="11250"/>
                  <a:pt x="13281" y="11281"/>
                </a:cubicBezTo>
                <a:close/>
                <a:moveTo>
                  <a:pt x="13093" y="6219"/>
                </a:moveTo>
                <a:cubicBezTo>
                  <a:pt x="13125" y="6250"/>
                  <a:pt x="13125" y="6281"/>
                  <a:pt x="13062" y="6312"/>
                </a:cubicBezTo>
                <a:cubicBezTo>
                  <a:pt x="13062" y="6281"/>
                  <a:pt x="13062" y="6250"/>
                  <a:pt x="13093" y="6219"/>
                </a:cubicBezTo>
                <a:close/>
                <a:moveTo>
                  <a:pt x="12968" y="9687"/>
                </a:moveTo>
                <a:cubicBezTo>
                  <a:pt x="12968" y="9687"/>
                  <a:pt x="12968" y="9687"/>
                  <a:pt x="12968" y="9687"/>
                </a:cubicBezTo>
                <a:cubicBezTo>
                  <a:pt x="13000" y="9687"/>
                  <a:pt x="13000" y="9687"/>
                  <a:pt x="13031" y="9687"/>
                </a:cubicBezTo>
                <a:cubicBezTo>
                  <a:pt x="13000" y="9687"/>
                  <a:pt x="13000" y="9687"/>
                  <a:pt x="12968" y="9687"/>
                </a:cubicBezTo>
                <a:close/>
                <a:moveTo>
                  <a:pt x="12968" y="6875"/>
                </a:moveTo>
                <a:cubicBezTo>
                  <a:pt x="12968" y="6906"/>
                  <a:pt x="12968" y="6906"/>
                  <a:pt x="12937" y="6937"/>
                </a:cubicBezTo>
                <a:cubicBezTo>
                  <a:pt x="12968" y="6906"/>
                  <a:pt x="12968" y="6906"/>
                  <a:pt x="12968" y="6875"/>
                </a:cubicBezTo>
                <a:cubicBezTo>
                  <a:pt x="12968" y="6875"/>
                  <a:pt x="12968" y="6875"/>
                  <a:pt x="12968" y="6875"/>
                </a:cubicBezTo>
                <a:cubicBezTo>
                  <a:pt x="13031" y="6875"/>
                  <a:pt x="13031" y="6875"/>
                  <a:pt x="13062" y="6812"/>
                </a:cubicBezTo>
                <a:cubicBezTo>
                  <a:pt x="13125" y="6844"/>
                  <a:pt x="13187" y="6875"/>
                  <a:pt x="13250" y="6875"/>
                </a:cubicBezTo>
                <a:cubicBezTo>
                  <a:pt x="13187" y="6875"/>
                  <a:pt x="13125" y="6844"/>
                  <a:pt x="13062" y="6812"/>
                </a:cubicBezTo>
                <a:cubicBezTo>
                  <a:pt x="13031" y="6875"/>
                  <a:pt x="13031" y="6875"/>
                  <a:pt x="12968" y="6875"/>
                </a:cubicBezTo>
                <a:close/>
                <a:moveTo>
                  <a:pt x="13062" y="17094"/>
                </a:moveTo>
                <a:cubicBezTo>
                  <a:pt x="13062" y="17156"/>
                  <a:pt x="13062" y="17187"/>
                  <a:pt x="13093" y="17187"/>
                </a:cubicBezTo>
                <a:cubicBezTo>
                  <a:pt x="13062" y="17187"/>
                  <a:pt x="13062" y="17156"/>
                  <a:pt x="13062" y="17094"/>
                </a:cubicBezTo>
                <a:cubicBezTo>
                  <a:pt x="13031" y="17094"/>
                  <a:pt x="13031" y="17062"/>
                  <a:pt x="13031" y="17031"/>
                </a:cubicBezTo>
                <a:cubicBezTo>
                  <a:pt x="13031" y="17062"/>
                  <a:pt x="13031" y="17094"/>
                  <a:pt x="13062" y="17094"/>
                </a:cubicBezTo>
                <a:close/>
                <a:moveTo>
                  <a:pt x="13125" y="16875"/>
                </a:moveTo>
                <a:cubicBezTo>
                  <a:pt x="13125" y="16875"/>
                  <a:pt x="13125" y="16875"/>
                  <a:pt x="13125" y="16875"/>
                </a:cubicBezTo>
                <a:cubicBezTo>
                  <a:pt x="13062" y="16844"/>
                  <a:pt x="13031" y="16781"/>
                  <a:pt x="13031" y="16719"/>
                </a:cubicBezTo>
                <a:cubicBezTo>
                  <a:pt x="13031" y="16781"/>
                  <a:pt x="13062" y="16844"/>
                  <a:pt x="13125" y="16875"/>
                </a:cubicBezTo>
                <a:close/>
                <a:moveTo>
                  <a:pt x="13062" y="14437"/>
                </a:moveTo>
                <a:cubicBezTo>
                  <a:pt x="13062" y="14437"/>
                  <a:pt x="13062" y="14437"/>
                  <a:pt x="13062" y="14437"/>
                </a:cubicBezTo>
                <a:cubicBezTo>
                  <a:pt x="13062" y="14437"/>
                  <a:pt x="13062" y="14406"/>
                  <a:pt x="13062" y="14406"/>
                </a:cubicBezTo>
                <a:cubicBezTo>
                  <a:pt x="13062" y="14406"/>
                  <a:pt x="13062" y="14437"/>
                  <a:pt x="13062" y="14437"/>
                </a:cubicBezTo>
                <a:close/>
                <a:moveTo>
                  <a:pt x="13093" y="17219"/>
                </a:moveTo>
                <a:cubicBezTo>
                  <a:pt x="13093" y="17219"/>
                  <a:pt x="13093" y="17187"/>
                  <a:pt x="13093" y="17187"/>
                </a:cubicBezTo>
                <a:cubicBezTo>
                  <a:pt x="13093" y="17187"/>
                  <a:pt x="13093" y="17187"/>
                  <a:pt x="13093" y="17187"/>
                </a:cubicBezTo>
                <a:cubicBezTo>
                  <a:pt x="13093" y="17187"/>
                  <a:pt x="13093" y="17219"/>
                  <a:pt x="13093" y="17219"/>
                </a:cubicBezTo>
                <a:close/>
                <a:moveTo>
                  <a:pt x="13093" y="16906"/>
                </a:moveTo>
                <a:cubicBezTo>
                  <a:pt x="13062" y="16906"/>
                  <a:pt x="13062" y="16906"/>
                  <a:pt x="13062" y="16906"/>
                </a:cubicBezTo>
                <a:cubicBezTo>
                  <a:pt x="13062" y="16906"/>
                  <a:pt x="13062" y="16906"/>
                  <a:pt x="13062" y="16906"/>
                </a:cubicBezTo>
                <a:cubicBezTo>
                  <a:pt x="13062" y="16906"/>
                  <a:pt x="13062" y="16906"/>
                  <a:pt x="13093" y="16906"/>
                </a:cubicBezTo>
                <a:close/>
                <a:moveTo>
                  <a:pt x="13031" y="20281"/>
                </a:moveTo>
                <a:cubicBezTo>
                  <a:pt x="13062" y="20344"/>
                  <a:pt x="13031" y="20406"/>
                  <a:pt x="13062" y="20437"/>
                </a:cubicBezTo>
                <a:cubicBezTo>
                  <a:pt x="13031" y="20406"/>
                  <a:pt x="13062" y="20344"/>
                  <a:pt x="13031" y="20281"/>
                </a:cubicBezTo>
                <a:cubicBezTo>
                  <a:pt x="13031" y="20281"/>
                  <a:pt x="13031" y="20281"/>
                  <a:pt x="13031" y="20281"/>
                </a:cubicBezTo>
                <a:cubicBezTo>
                  <a:pt x="13031" y="20281"/>
                  <a:pt x="13031" y="20281"/>
                  <a:pt x="13031" y="20281"/>
                </a:cubicBezTo>
                <a:close/>
                <a:moveTo>
                  <a:pt x="13093" y="21031"/>
                </a:moveTo>
                <a:cubicBezTo>
                  <a:pt x="13125" y="21031"/>
                  <a:pt x="13125" y="21031"/>
                  <a:pt x="13125" y="21031"/>
                </a:cubicBezTo>
                <a:cubicBezTo>
                  <a:pt x="13125" y="21031"/>
                  <a:pt x="13125" y="21031"/>
                  <a:pt x="13093" y="21031"/>
                </a:cubicBezTo>
                <a:cubicBezTo>
                  <a:pt x="13093" y="21031"/>
                  <a:pt x="13062" y="21031"/>
                  <a:pt x="13031" y="21031"/>
                </a:cubicBezTo>
                <a:cubicBezTo>
                  <a:pt x="13062" y="21031"/>
                  <a:pt x="13093" y="21031"/>
                  <a:pt x="13093" y="21031"/>
                </a:cubicBezTo>
                <a:close/>
                <a:moveTo>
                  <a:pt x="13125" y="15594"/>
                </a:moveTo>
                <a:cubicBezTo>
                  <a:pt x="13125" y="15594"/>
                  <a:pt x="13125" y="15625"/>
                  <a:pt x="13156" y="15625"/>
                </a:cubicBezTo>
                <a:cubicBezTo>
                  <a:pt x="13156" y="15625"/>
                  <a:pt x="13156" y="15625"/>
                  <a:pt x="13156" y="15625"/>
                </a:cubicBezTo>
                <a:cubicBezTo>
                  <a:pt x="13125" y="15625"/>
                  <a:pt x="13125" y="15594"/>
                  <a:pt x="13125" y="15594"/>
                </a:cubicBezTo>
                <a:close/>
                <a:moveTo>
                  <a:pt x="13125" y="8312"/>
                </a:moveTo>
                <a:cubicBezTo>
                  <a:pt x="13125" y="8281"/>
                  <a:pt x="13156" y="8281"/>
                  <a:pt x="13156" y="8281"/>
                </a:cubicBezTo>
                <a:cubicBezTo>
                  <a:pt x="13156" y="8281"/>
                  <a:pt x="13156" y="8281"/>
                  <a:pt x="13156" y="8281"/>
                </a:cubicBezTo>
                <a:cubicBezTo>
                  <a:pt x="13156" y="8281"/>
                  <a:pt x="13125" y="8281"/>
                  <a:pt x="13125" y="8312"/>
                </a:cubicBezTo>
                <a:close/>
                <a:moveTo>
                  <a:pt x="13062" y="21937"/>
                </a:moveTo>
                <a:cubicBezTo>
                  <a:pt x="13062" y="21937"/>
                  <a:pt x="13062" y="21937"/>
                  <a:pt x="13062" y="21969"/>
                </a:cubicBezTo>
                <a:cubicBezTo>
                  <a:pt x="13062" y="21937"/>
                  <a:pt x="13062" y="21937"/>
                  <a:pt x="13062" y="21937"/>
                </a:cubicBezTo>
                <a:cubicBezTo>
                  <a:pt x="13000" y="21937"/>
                  <a:pt x="12968" y="21906"/>
                  <a:pt x="12968" y="21906"/>
                </a:cubicBezTo>
                <a:cubicBezTo>
                  <a:pt x="12968" y="21906"/>
                  <a:pt x="13000" y="21937"/>
                  <a:pt x="13062" y="21937"/>
                </a:cubicBezTo>
                <a:close/>
                <a:moveTo>
                  <a:pt x="13031" y="20937"/>
                </a:moveTo>
                <a:cubicBezTo>
                  <a:pt x="13000" y="20937"/>
                  <a:pt x="12968" y="20937"/>
                  <a:pt x="12937" y="20937"/>
                </a:cubicBezTo>
                <a:cubicBezTo>
                  <a:pt x="12937" y="20937"/>
                  <a:pt x="12937" y="20906"/>
                  <a:pt x="12937" y="20906"/>
                </a:cubicBezTo>
                <a:cubicBezTo>
                  <a:pt x="12937" y="20906"/>
                  <a:pt x="12937" y="20937"/>
                  <a:pt x="12937" y="20937"/>
                </a:cubicBezTo>
                <a:cubicBezTo>
                  <a:pt x="12968" y="20937"/>
                  <a:pt x="13000" y="20937"/>
                  <a:pt x="13031" y="20937"/>
                </a:cubicBezTo>
                <a:close/>
                <a:moveTo>
                  <a:pt x="12937" y="20937"/>
                </a:moveTo>
                <a:cubicBezTo>
                  <a:pt x="12937" y="20937"/>
                  <a:pt x="12937" y="20937"/>
                  <a:pt x="12937" y="20937"/>
                </a:cubicBezTo>
                <a:cubicBezTo>
                  <a:pt x="12937" y="20937"/>
                  <a:pt x="12937" y="20937"/>
                  <a:pt x="12937" y="20937"/>
                </a:cubicBezTo>
                <a:cubicBezTo>
                  <a:pt x="12937" y="20937"/>
                  <a:pt x="12937" y="20937"/>
                  <a:pt x="12937" y="20937"/>
                </a:cubicBezTo>
                <a:close/>
                <a:moveTo>
                  <a:pt x="12937" y="20687"/>
                </a:moveTo>
                <a:cubicBezTo>
                  <a:pt x="12937" y="20687"/>
                  <a:pt x="12937" y="20687"/>
                  <a:pt x="12937" y="20687"/>
                </a:cubicBezTo>
                <a:cubicBezTo>
                  <a:pt x="12937" y="20719"/>
                  <a:pt x="12937" y="20719"/>
                  <a:pt x="12937" y="20719"/>
                </a:cubicBezTo>
                <a:cubicBezTo>
                  <a:pt x="12937" y="20719"/>
                  <a:pt x="12937" y="20719"/>
                  <a:pt x="12937" y="20687"/>
                </a:cubicBezTo>
                <a:close/>
                <a:moveTo>
                  <a:pt x="12937" y="21562"/>
                </a:moveTo>
                <a:cubicBezTo>
                  <a:pt x="12937" y="21594"/>
                  <a:pt x="12937" y="21625"/>
                  <a:pt x="12937" y="21656"/>
                </a:cubicBezTo>
                <a:cubicBezTo>
                  <a:pt x="12937" y="21625"/>
                  <a:pt x="12937" y="21594"/>
                  <a:pt x="12937" y="21562"/>
                </a:cubicBezTo>
                <a:cubicBezTo>
                  <a:pt x="12906" y="21562"/>
                  <a:pt x="12875" y="21562"/>
                  <a:pt x="12843" y="21562"/>
                </a:cubicBezTo>
                <a:cubicBezTo>
                  <a:pt x="12843" y="21562"/>
                  <a:pt x="12812" y="21594"/>
                  <a:pt x="12812" y="21594"/>
                </a:cubicBezTo>
                <a:cubicBezTo>
                  <a:pt x="12812" y="21594"/>
                  <a:pt x="12843" y="21562"/>
                  <a:pt x="12843" y="21562"/>
                </a:cubicBezTo>
                <a:cubicBezTo>
                  <a:pt x="12875" y="21562"/>
                  <a:pt x="12906" y="21562"/>
                  <a:pt x="12937" y="21562"/>
                </a:cubicBezTo>
                <a:close/>
                <a:moveTo>
                  <a:pt x="12906" y="20875"/>
                </a:moveTo>
                <a:cubicBezTo>
                  <a:pt x="12906" y="20875"/>
                  <a:pt x="12906" y="20875"/>
                  <a:pt x="12906" y="20875"/>
                </a:cubicBezTo>
                <a:cubicBezTo>
                  <a:pt x="12906" y="20875"/>
                  <a:pt x="12906" y="20875"/>
                  <a:pt x="12875" y="20906"/>
                </a:cubicBezTo>
                <a:cubicBezTo>
                  <a:pt x="12906" y="20875"/>
                  <a:pt x="12906" y="20875"/>
                  <a:pt x="12906" y="20875"/>
                </a:cubicBezTo>
                <a:close/>
                <a:moveTo>
                  <a:pt x="12875" y="21125"/>
                </a:moveTo>
                <a:cubicBezTo>
                  <a:pt x="12875" y="21250"/>
                  <a:pt x="12875" y="21406"/>
                  <a:pt x="12812" y="21531"/>
                </a:cubicBezTo>
                <a:cubicBezTo>
                  <a:pt x="12812" y="21531"/>
                  <a:pt x="12843" y="21531"/>
                  <a:pt x="12843" y="21562"/>
                </a:cubicBezTo>
                <a:cubicBezTo>
                  <a:pt x="12843" y="21531"/>
                  <a:pt x="12812" y="21531"/>
                  <a:pt x="12812" y="21531"/>
                </a:cubicBezTo>
                <a:cubicBezTo>
                  <a:pt x="12875" y="21406"/>
                  <a:pt x="12875" y="21250"/>
                  <a:pt x="12875" y="21125"/>
                </a:cubicBezTo>
                <a:close/>
                <a:moveTo>
                  <a:pt x="12812" y="22000"/>
                </a:moveTo>
                <a:cubicBezTo>
                  <a:pt x="12843" y="21937"/>
                  <a:pt x="12875" y="22000"/>
                  <a:pt x="12906" y="22000"/>
                </a:cubicBezTo>
                <a:cubicBezTo>
                  <a:pt x="12937" y="21969"/>
                  <a:pt x="13000" y="22000"/>
                  <a:pt x="13031" y="22000"/>
                </a:cubicBezTo>
                <a:cubicBezTo>
                  <a:pt x="13031" y="22000"/>
                  <a:pt x="13031" y="22031"/>
                  <a:pt x="13031" y="22062"/>
                </a:cubicBezTo>
                <a:cubicBezTo>
                  <a:pt x="13062" y="22062"/>
                  <a:pt x="13062" y="22062"/>
                  <a:pt x="13062" y="22031"/>
                </a:cubicBezTo>
                <a:cubicBezTo>
                  <a:pt x="13062" y="22000"/>
                  <a:pt x="13093" y="22031"/>
                  <a:pt x="13125" y="22031"/>
                </a:cubicBezTo>
                <a:cubicBezTo>
                  <a:pt x="13218" y="22000"/>
                  <a:pt x="13281" y="22000"/>
                  <a:pt x="13343" y="22000"/>
                </a:cubicBezTo>
                <a:cubicBezTo>
                  <a:pt x="13281" y="22000"/>
                  <a:pt x="13218" y="22000"/>
                  <a:pt x="13125" y="22031"/>
                </a:cubicBezTo>
                <a:cubicBezTo>
                  <a:pt x="13125" y="22062"/>
                  <a:pt x="13125" y="22094"/>
                  <a:pt x="13125" y="22125"/>
                </a:cubicBezTo>
                <a:cubicBezTo>
                  <a:pt x="13156" y="22125"/>
                  <a:pt x="13156" y="22125"/>
                  <a:pt x="13156" y="22125"/>
                </a:cubicBezTo>
                <a:cubicBezTo>
                  <a:pt x="13156" y="22125"/>
                  <a:pt x="13156" y="22125"/>
                  <a:pt x="13125" y="22125"/>
                </a:cubicBezTo>
                <a:cubicBezTo>
                  <a:pt x="13125" y="22125"/>
                  <a:pt x="13093" y="22125"/>
                  <a:pt x="13062" y="22125"/>
                </a:cubicBezTo>
                <a:cubicBezTo>
                  <a:pt x="13000" y="22125"/>
                  <a:pt x="12937" y="22125"/>
                  <a:pt x="12906" y="22094"/>
                </a:cubicBezTo>
                <a:cubicBezTo>
                  <a:pt x="12843" y="22094"/>
                  <a:pt x="12781" y="22062"/>
                  <a:pt x="12812" y="22000"/>
                </a:cubicBezTo>
                <a:close/>
                <a:moveTo>
                  <a:pt x="12812" y="22312"/>
                </a:moveTo>
                <a:cubicBezTo>
                  <a:pt x="12812" y="22281"/>
                  <a:pt x="12781" y="22281"/>
                  <a:pt x="12750" y="22281"/>
                </a:cubicBezTo>
                <a:cubicBezTo>
                  <a:pt x="12781" y="22281"/>
                  <a:pt x="12812" y="22281"/>
                  <a:pt x="12812" y="22312"/>
                </a:cubicBezTo>
                <a:close/>
                <a:moveTo>
                  <a:pt x="12781" y="22437"/>
                </a:moveTo>
                <a:cubicBezTo>
                  <a:pt x="12781" y="22406"/>
                  <a:pt x="12781" y="22375"/>
                  <a:pt x="12781" y="22375"/>
                </a:cubicBezTo>
                <a:cubicBezTo>
                  <a:pt x="12781" y="22375"/>
                  <a:pt x="12781" y="22375"/>
                  <a:pt x="12781" y="22344"/>
                </a:cubicBezTo>
                <a:cubicBezTo>
                  <a:pt x="12781" y="22375"/>
                  <a:pt x="12781" y="22375"/>
                  <a:pt x="12781" y="22375"/>
                </a:cubicBezTo>
                <a:cubicBezTo>
                  <a:pt x="12781" y="22375"/>
                  <a:pt x="12781" y="22406"/>
                  <a:pt x="12781" y="22437"/>
                </a:cubicBezTo>
                <a:cubicBezTo>
                  <a:pt x="12750" y="22437"/>
                  <a:pt x="12750" y="22437"/>
                  <a:pt x="12750" y="22437"/>
                </a:cubicBezTo>
                <a:cubicBezTo>
                  <a:pt x="12750" y="22437"/>
                  <a:pt x="12750" y="22437"/>
                  <a:pt x="12781" y="22437"/>
                </a:cubicBezTo>
                <a:close/>
                <a:moveTo>
                  <a:pt x="12531" y="23156"/>
                </a:moveTo>
                <a:cubicBezTo>
                  <a:pt x="12562" y="23156"/>
                  <a:pt x="12562" y="23156"/>
                  <a:pt x="12562" y="23125"/>
                </a:cubicBezTo>
                <a:cubicBezTo>
                  <a:pt x="12562" y="23156"/>
                  <a:pt x="12562" y="23156"/>
                  <a:pt x="12531" y="23156"/>
                </a:cubicBezTo>
                <a:cubicBezTo>
                  <a:pt x="12531" y="23156"/>
                  <a:pt x="12531" y="23156"/>
                  <a:pt x="12531" y="23156"/>
                </a:cubicBezTo>
                <a:close/>
                <a:moveTo>
                  <a:pt x="11156" y="23594"/>
                </a:moveTo>
                <a:cubicBezTo>
                  <a:pt x="11687" y="23594"/>
                  <a:pt x="12218" y="23594"/>
                  <a:pt x="12750" y="23594"/>
                </a:cubicBezTo>
                <a:cubicBezTo>
                  <a:pt x="12218" y="23594"/>
                  <a:pt x="11687" y="23594"/>
                  <a:pt x="11156" y="23594"/>
                </a:cubicBezTo>
                <a:cubicBezTo>
                  <a:pt x="11156" y="23594"/>
                  <a:pt x="11156" y="23594"/>
                  <a:pt x="11156" y="23594"/>
                </a:cubicBezTo>
                <a:close/>
                <a:moveTo>
                  <a:pt x="12312" y="23906"/>
                </a:moveTo>
                <a:cubicBezTo>
                  <a:pt x="12312" y="23906"/>
                  <a:pt x="12312" y="23906"/>
                  <a:pt x="12312" y="23906"/>
                </a:cubicBezTo>
                <a:cubicBezTo>
                  <a:pt x="12250" y="23906"/>
                  <a:pt x="12187" y="23906"/>
                  <a:pt x="12125" y="23906"/>
                </a:cubicBezTo>
                <a:cubicBezTo>
                  <a:pt x="12187" y="23906"/>
                  <a:pt x="12250" y="23906"/>
                  <a:pt x="12312" y="23906"/>
                </a:cubicBezTo>
                <a:close/>
                <a:moveTo>
                  <a:pt x="11375" y="23906"/>
                </a:moveTo>
                <a:cubicBezTo>
                  <a:pt x="11375" y="23906"/>
                  <a:pt x="11375" y="23906"/>
                  <a:pt x="11375" y="23906"/>
                </a:cubicBezTo>
                <a:cubicBezTo>
                  <a:pt x="11343" y="23906"/>
                  <a:pt x="11312" y="23906"/>
                  <a:pt x="11281" y="23906"/>
                </a:cubicBezTo>
                <a:cubicBezTo>
                  <a:pt x="11312" y="23906"/>
                  <a:pt x="11343" y="23906"/>
                  <a:pt x="11375" y="23906"/>
                </a:cubicBezTo>
                <a:close/>
                <a:moveTo>
                  <a:pt x="10406" y="23344"/>
                </a:moveTo>
                <a:cubicBezTo>
                  <a:pt x="10625" y="23344"/>
                  <a:pt x="10843" y="23344"/>
                  <a:pt x="11062" y="23344"/>
                </a:cubicBezTo>
                <a:cubicBezTo>
                  <a:pt x="10843" y="23344"/>
                  <a:pt x="10625" y="23344"/>
                  <a:pt x="10406" y="23344"/>
                </a:cubicBezTo>
                <a:cubicBezTo>
                  <a:pt x="10406" y="23344"/>
                  <a:pt x="10406" y="23344"/>
                  <a:pt x="10406" y="23344"/>
                </a:cubicBezTo>
                <a:close/>
                <a:moveTo>
                  <a:pt x="8968" y="23844"/>
                </a:moveTo>
                <a:cubicBezTo>
                  <a:pt x="8937" y="23844"/>
                  <a:pt x="8875" y="23875"/>
                  <a:pt x="8843" y="23875"/>
                </a:cubicBezTo>
                <a:cubicBezTo>
                  <a:pt x="8843" y="23875"/>
                  <a:pt x="8843" y="23906"/>
                  <a:pt x="8843" y="23906"/>
                </a:cubicBezTo>
                <a:cubicBezTo>
                  <a:pt x="8843" y="23906"/>
                  <a:pt x="8843" y="23875"/>
                  <a:pt x="8843" y="23875"/>
                </a:cubicBezTo>
                <a:cubicBezTo>
                  <a:pt x="8843" y="23875"/>
                  <a:pt x="8843" y="23875"/>
                  <a:pt x="8843" y="23875"/>
                </a:cubicBezTo>
                <a:cubicBezTo>
                  <a:pt x="8875" y="23875"/>
                  <a:pt x="8937" y="23844"/>
                  <a:pt x="8968" y="23844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ubicBezTo>
                  <a:pt x="7750" y="23531"/>
                  <a:pt x="7750" y="23531"/>
                  <a:pt x="7750" y="23531"/>
                </a:cubicBezTo>
                <a:cubicBezTo>
                  <a:pt x="7750" y="23531"/>
                  <a:pt x="7750" y="23531"/>
                  <a:pt x="7750" y="23562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lose/>
                <a:moveTo>
                  <a:pt x="7750" y="23562"/>
                </a:moveTo>
                <a:cubicBezTo>
                  <a:pt x="7750" y="23562"/>
                  <a:pt x="7750" y="23562"/>
                  <a:pt x="7750" y="23562"/>
                </a:cubicBezTo>
                <a:cubicBezTo>
                  <a:pt x="7750" y="23562"/>
                  <a:pt x="7750" y="23562"/>
                  <a:pt x="7750" y="23562"/>
                </a:cubicBezTo>
                <a:close/>
                <a:moveTo>
                  <a:pt x="7718" y="23937"/>
                </a:moveTo>
                <a:cubicBezTo>
                  <a:pt x="7718" y="23937"/>
                  <a:pt x="7718" y="23937"/>
                  <a:pt x="7718" y="23937"/>
                </a:cubicBezTo>
                <a:cubicBezTo>
                  <a:pt x="7718" y="23937"/>
                  <a:pt x="7718" y="23969"/>
                  <a:pt x="7687" y="23969"/>
                </a:cubicBezTo>
                <a:cubicBezTo>
                  <a:pt x="7718" y="23969"/>
                  <a:pt x="7718" y="23937"/>
                  <a:pt x="7718" y="23937"/>
                </a:cubicBezTo>
                <a:close/>
                <a:moveTo>
                  <a:pt x="7000" y="23812"/>
                </a:moveTo>
                <a:cubicBezTo>
                  <a:pt x="7000" y="23812"/>
                  <a:pt x="7000" y="23812"/>
                  <a:pt x="7000" y="23812"/>
                </a:cubicBezTo>
                <a:cubicBezTo>
                  <a:pt x="6968" y="23812"/>
                  <a:pt x="6906" y="23812"/>
                  <a:pt x="6875" y="23812"/>
                </a:cubicBezTo>
                <a:cubicBezTo>
                  <a:pt x="6906" y="23812"/>
                  <a:pt x="6968" y="23812"/>
                  <a:pt x="7000" y="23812"/>
                </a:cubicBezTo>
                <a:close/>
                <a:moveTo>
                  <a:pt x="6875" y="23812"/>
                </a:moveTo>
                <a:cubicBezTo>
                  <a:pt x="6843" y="23812"/>
                  <a:pt x="6843" y="23812"/>
                  <a:pt x="6843" y="23812"/>
                </a:cubicBezTo>
                <a:cubicBezTo>
                  <a:pt x="6843" y="23812"/>
                  <a:pt x="6843" y="23812"/>
                  <a:pt x="6875" y="23812"/>
                </a:cubicBezTo>
                <a:close/>
                <a:moveTo>
                  <a:pt x="6812" y="23812"/>
                </a:moveTo>
                <a:cubicBezTo>
                  <a:pt x="6812" y="23812"/>
                  <a:pt x="6812" y="23812"/>
                  <a:pt x="6812" y="23812"/>
                </a:cubicBezTo>
                <a:cubicBezTo>
                  <a:pt x="6781" y="23812"/>
                  <a:pt x="6718" y="23812"/>
                  <a:pt x="6687" y="23812"/>
                </a:cubicBezTo>
                <a:cubicBezTo>
                  <a:pt x="6718" y="23812"/>
                  <a:pt x="6781" y="23812"/>
                  <a:pt x="6812" y="23812"/>
                </a:cubicBezTo>
                <a:close/>
                <a:moveTo>
                  <a:pt x="6687" y="23812"/>
                </a:moveTo>
                <a:cubicBezTo>
                  <a:pt x="6687" y="23812"/>
                  <a:pt x="6687" y="23812"/>
                  <a:pt x="6687" y="23812"/>
                </a:cubicBezTo>
                <a:cubicBezTo>
                  <a:pt x="6656" y="23812"/>
                  <a:pt x="6625" y="23812"/>
                  <a:pt x="6593" y="23812"/>
                </a:cubicBezTo>
                <a:cubicBezTo>
                  <a:pt x="6625" y="23812"/>
                  <a:pt x="6656" y="23812"/>
                  <a:pt x="6687" y="23812"/>
                </a:cubicBezTo>
                <a:close/>
                <a:moveTo>
                  <a:pt x="7125" y="23906"/>
                </a:moveTo>
                <a:cubicBezTo>
                  <a:pt x="7125" y="23906"/>
                  <a:pt x="7125" y="23906"/>
                  <a:pt x="7125" y="23906"/>
                </a:cubicBezTo>
                <a:cubicBezTo>
                  <a:pt x="7093" y="23937"/>
                  <a:pt x="7093" y="23969"/>
                  <a:pt x="7031" y="23969"/>
                </a:cubicBezTo>
                <a:cubicBezTo>
                  <a:pt x="7093" y="23969"/>
                  <a:pt x="7093" y="23937"/>
                  <a:pt x="7125" y="23906"/>
                </a:cubicBezTo>
                <a:cubicBezTo>
                  <a:pt x="6875" y="23906"/>
                  <a:pt x="6593" y="23906"/>
                  <a:pt x="6343" y="23906"/>
                </a:cubicBezTo>
                <a:cubicBezTo>
                  <a:pt x="6593" y="23906"/>
                  <a:pt x="6875" y="23906"/>
                  <a:pt x="7125" y="23906"/>
                </a:cubicBezTo>
                <a:close/>
                <a:moveTo>
                  <a:pt x="6312" y="23437"/>
                </a:moveTo>
                <a:cubicBezTo>
                  <a:pt x="6312" y="23437"/>
                  <a:pt x="6281" y="23437"/>
                  <a:pt x="6281" y="23437"/>
                </a:cubicBezTo>
                <a:cubicBezTo>
                  <a:pt x="6281" y="23437"/>
                  <a:pt x="6312" y="23437"/>
                  <a:pt x="6312" y="23437"/>
                </a:cubicBezTo>
                <a:close/>
                <a:moveTo>
                  <a:pt x="6312" y="23906"/>
                </a:moveTo>
                <a:cubicBezTo>
                  <a:pt x="6281" y="23906"/>
                  <a:pt x="6281" y="23906"/>
                  <a:pt x="6250" y="23906"/>
                </a:cubicBezTo>
                <a:cubicBezTo>
                  <a:pt x="6281" y="23906"/>
                  <a:pt x="6281" y="23906"/>
                  <a:pt x="6312" y="23906"/>
                </a:cubicBezTo>
                <a:close/>
                <a:moveTo>
                  <a:pt x="6281" y="23469"/>
                </a:moveTo>
                <a:cubicBezTo>
                  <a:pt x="6281" y="23469"/>
                  <a:pt x="6281" y="23469"/>
                  <a:pt x="6281" y="23469"/>
                </a:cubicBezTo>
                <a:cubicBezTo>
                  <a:pt x="6218" y="23469"/>
                  <a:pt x="6156" y="23469"/>
                  <a:pt x="6093" y="23469"/>
                </a:cubicBezTo>
                <a:cubicBezTo>
                  <a:pt x="6156" y="23469"/>
                  <a:pt x="6218" y="23469"/>
                  <a:pt x="6281" y="23469"/>
                </a:cubicBezTo>
                <a:close/>
                <a:moveTo>
                  <a:pt x="6218" y="23844"/>
                </a:moveTo>
                <a:cubicBezTo>
                  <a:pt x="6187" y="23844"/>
                  <a:pt x="6156" y="23844"/>
                  <a:pt x="6125" y="23844"/>
                </a:cubicBezTo>
                <a:cubicBezTo>
                  <a:pt x="6156" y="23844"/>
                  <a:pt x="6187" y="23844"/>
                  <a:pt x="6218" y="23844"/>
                </a:cubicBezTo>
                <a:cubicBezTo>
                  <a:pt x="6218" y="23844"/>
                  <a:pt x="6218" y="23844"/>
                  <a:pt x="6218" y="23844"/>
                </a:cubicBezTo>
                <a:close/>
                <a:moveTo>
                  <a:pt x="6000" y="23469"/>
                </a:moveTo>
                <a:cubicBezTo>
                  <a:pt x="6000" y="23469"/>
                  <a:pt x="6000" y="23469"/>
                  <a:pt x="6000" y="23469"/>
                </a:cubicBezTo>
                <a:cubicBezTo>
                  <a:pt x="5937" y="23469"/>
                  <a:pt x="5875" y="23469"/>
                  <a:pt x="5781" y="23469"/>
                </a:cubicBezTo>
                <a:cubicBezTo>
                  <a:pt x="5875" y="23469"/>
                  <a:pt x="5937" y="23469"/>
                  <a:pt x="6000" y="23469"/>
                </a:cubicBezTo>
                <a:close/>
                <a:moveTo>
                  <a:pt x="5812" y="23406"/>
                </a:moveTo>
                <a:cubicBezTo>
                  <a:pt x="5750" y="23406"/>
                  <a:pt x="5656" y="23437"/>
                  <a:pt x="5593" y="23437"/>
                </a:cubicBezTo>
                <a:cubicBezTo>
                  <a:pt x="5593" y="23437"/>
                  <a:pt x="5593" y="23437"/>
                  <a:pt x="5593" y="23437"/>
                </a:cubicBezTo>
                <a:cubicBezTo>
                  <a:pt x="5656" y="23437"/>
                  <a:pt x="5750" y="23406"/>
                  <a:pt x="5812" y="23406"/>
                </a:cubicBezTo>
                <a:close/>
                <a:moveTo>
                  <a:pt x="5687" y="23781"/>
                </a:moveTo>
                <a:cubicBezTo>
                  <a:pt x="5656" y="23781"/>
                  <a:pt x="5656" y="23781"/>
                  <a:pt x="5625" y="23812"/>
                </a:cubicBezTo>
                <a:cubicBezTo>
                  <a:pt x="5656" y="23781"/>
                  <a:pt x="5656" y="23781"/>
                  <a:pt x="5687" y="23781"/>
                </a:cubicBezTo>
                <a:close/>
                <a:moveTo>
                  <a:pt x="5593" y="23812"/>
                </a:moveTo>
                <a:cubicBezTo>
                  <a:pt x="5593" y="23812"/>
                  <a:pt x="5593" y="23812"/>
                  <a:pt x="5593" y="23812"/>
                </a:cubicBezTo>
                <a:cubicBezTo>
                  <a:pt x="5562" y="23812"/>
                  <a:pt x="5531" y="23844"/>
                  <a:pt x="5500" y="23844"/>
                </a:cubicBezTo>
                <a:cubicBezTo>
                  <a:pt x="5531" y="23844"/>
                  <a:pt x="5562" y="23812"/>
                  <a:pt x="5593" y="23812"/>
                </a:cubicBezTo>
                <a:close/>
                <a:moveTo>
                  <a:pt x="5406" y="23812"/>
                </a:moveTo>
                <a:cubicBezTo>
                  <a:pt x="5406" y="23812"/>
                  <a:pt x="5406" y="23812"/>
                  <a:pt x="5406" y="23812"/>
                </a:cubicBezTo>
                <a:cubicBezTo>
                  <a:pt x="5406" y="23812"/>
                  <a:pt x="5406" y="23812"/>
                  <a:pt x="5406" y="23812"/>
                </a:cubicBezTo>
                <a:cubicBezTo>
                  <a:pt x="5406" y="23812"/>
                  <a:pt x="5406" y="23812"/>
                  <a:pt x="5406" y="23812"/>
                </a:cubicBezTo>
                <a:close/>
                <a:moveTo>
                  <a:pt x="5250" y="23531"/>
                </a:moveTo>
                <a:cubicBezTo>
                  <a:pt x="5250" y="23531"/>
                  <a:pt x="5281" y="23562"/>
                  <a:pt x="5281" y="23562"/>
                </a:cubicBezTo>
                <a:cubicBezTo>
                  <a:pt x="5281" y="23594"/>
                  <a:pt x="5250" y="23562"/>
                  <a:pt x="5218" y="23594"/>
                </a:cubicBezTo>
                <a:cubicBezTo>
                  <a:pt x="5250" y="23562"/>
                  <a:pt x="5281" y="23594"/>
                  <a:pt x="5281" y="23562"/>
                </a:cubicBezTo>
                <a:cubicBezTo>
                  <a:pt x="5281" y="23562"/>
                  <a:pt x="5250" y="23531"/>
                  <a:pt x="5250" y="23531"/>
                </a:cubicBezTo>
                <a:close/>
                <a:moveTo>
                  <a:pt x="5187" y="23437"/>
                </a:moveTo>
                <a:cubicBezTo>
                  <a:pt x="5156" y="23437"/>
                  <a:pt x="5125" y="23406"/>
                  <a:pt x="5093" y="23406"/>
                </a:cubicBezTo>
                <a:cubicBezTo>
                  <a:pt x="5125" y="23406"/>
                  <a:pt x="5156" y="23437"/>
                  <a:pt x="5187" y="23437"/>
                </a:cubicBezTo>
                <a:close/>
                <a:moveTo>
                  <a:pt x="3937" y="23719"/>
                </a:moveTo>
                <a:cubicBezTo>
                  <a:pt x="3937" y="23719"/>
                  <a:pt x="3906" y="23719"/>
                  <a:pt x="3906" y="23687"/>
                </a:cubicBezTo>
                <a:cubicBezTo>
                  <a:pt x="3906" y="23719"/>
                  <a:pt x="3937" y="23719"/>
                  <a:pt x="3937" y="23719"/>
                </a:cubicBezTo>
                <a:cubicBezTo>
                  <a:pt x="3968" y="23719"/>
                  <a:pt x="4000" y="23719"/>
                  <a:pt x="4031" y="23719"/>
                </a:cubicBezTo>
                <a:cubicBezTo>
                  <a:pt x="4031" y="23656"/>
                  <a:pt x="4000" y="23656"/>
                  <a:pt x="3968" y="23656"/>
                </a:cubicBezTo>
                <a:cubicBezTo>
                  <a:pt x="4000" y="23656"/>
                  <a:pt x="4031" y="23656"/>
                  <a:pt x="4031" y="23719"/>
                </a:cubicBezTo>
                <a:cubicBezTo>
                  <a:pt x="4125" y="23719"/>
                  <a:pt x="4250" y="23719"/>
                  <a:pt x="4343" y="23719"/>
                </a:cubicBezTo>
                <a:cubicBezTo>
                  <a:pt x="4250" y="23719"/>
                  <a:pt x="4125" y="23719"/>
                  <a:pt x="4031" y="23719"/>
                </a:cubicBezTo>
                <a:cubicBezTo>
                  <a:pt x="4000" y="23719"/>
                  <a:pt x="3968" y="23719"/>
                  <a:pt x="3937" y="23719"/>
                </a:cubicBezTo>
                <a:close/>
                <a:moveTo>
                  <a:pt x="4406" y="23781"/>
                </a:moveTo>
                <a:cubicBezTo>
                  <a:pt x="4343" y="23781"/>
                  <a:pt x="4281" y="23781"/>
                  <a:pt x="4218" y="23781"/>
                </a:cubicBezTo>
                <a:cubicBezTo>
                  <a:pt x="4218" y="23781"/>
                  <a:pt x="4218" y="23781"/>
                  <a:pt x="4187" y="23781"/>
                </a:cubicBezTo>
                <a:cubicBezTo>
                  <a:pt x="4218" y="23781"/>
                  <a:pt x="4218" y="23781"/>
                  <a:pt x="4218" y="23781"/>
                </a:cubicBezTo>
                <a:cubicBezTo>
                  <a:pt x="4281" y="23781"/>
                  <a:pt x="4343" y="23781"/>
                  <a:pt x="4406" y="23781"/>
                </a:cubicBezTo>
                <a:close/>
                <a:moveTo>
                  <a:pt x="4093" y="25250"/>
                </a:moveTo>
                <a:cubicBezTo>
                  <a:pt x="4468" y="25250"/>
                  <a:pt x="4875" y="25219"/>
                  <a:pt x="5281" y="25219"/>
                </a:cubicBezTo>
                <a:cubicBezTo>
                  <a:pt x="5281" y="25219"/>
                  <a:pt x="5281" y="25219"/>
                  <a:pt x="5312" y="25219"/>
                </a:cubicBezTo>
                <a:cubicBezTo>
                  <a:pt x="5281" y="25219"/>
                  <a:pt x="5281" y="25219"/>
                  <a:pt x="5281" y="25219"/>
                </a:cubicBezTo>
                <a:cubicBezTo>
                  <a:pt x="4875" y="25219"/>
                  <a:pt x="4468" y="25250"/>
                  <a:pt x="4093" y="25250"/>
                </a:cubicBezTo>
                <a:close/>
                <a:moveTo>
                  <a:pt x="5125" y="26094"/>
                </a:moveTo>
                <a:cubicBezTo>
                  <a:pt x="5093" y="26094"/>
                  <a:pt x="5062" y="26094"/>
                  <a:pt x="5062" y="26062"/>
                </a:cubicBezTo>
                <a:cubicBezTo>
                  <a:pt x="5125" y="26062"/>
                  <a:pt x="5218" y="26062"/>
                  <a:pt x="5312" y="26062"/>
                </a:cubicBezTo>
                <a:cubicBezTo>
                  <a:pt x="5343" y="26031"/>
                  <a:pt x="5406" y="26031"/>
                  <a:pt x="5437" y="26000"/>
                </a:cubicBezTo>
                <a:cubicBezTo>
                  <a:pt x="5406" y="26031"/>
                  <a:pt x="5343" y="26031"/>
                  <a:pt x="5312" y="26062"/>
                </a:cubicBezTo>
                <a:cubicBezTo>
                  <a:pt x="5437" y="26062"/>
                  <a:pt x="5593" y="26062"/>
                  <a:pt x="5718" y="26062"/>
                </a:cubicBezTo>
                <a:cubicBezTo>
                  <a:pt x="5718" y="26062"/>
                  <a:pt x="5718" y="26062"/>
                  <a:pt x="5718" y="26094"/>
                </a:cubicBezTo>
                <a:cubicBezTo>
                  <a:pt x="5531" y="26125"/>
                  <a:pt x="5343" y="26094"/>
                  <a:pt x="5125" y="26094"/>
                </a:cubicBezTo>
                <a:close/>
                <a:moveTo>
                  <a:pt x="5968" y="26125"/>
                </a:moveTo>
                <a:cubicBezTo>
                  <a:pt x="5968" y="26125"/>
                  <a:pt x="6000" y="26125"/>
                  <a:pt x="6000" y="26125"/>
                </a:cubicBezTo>
                <a:cubicBezTo>
                  <a:pt x="6000" y="26125"/>
                  <a:pt x="5968" y="26125"/>
                  <a:pt x="5968" y="26125"/>
                </a:cubicBezTo>
                <a:close/>
                <a:moveTo>
                  <a:pt x="6000" y="26094"/>
                </a:moveTo>
                <a:cubicBezTo>
                  <a:pt x="6000" y="26094"/>
                  <a:pt x="6000" y="26094"/>
                  <a:pt x="6000" y="26094"/>
                </a:cubicBezTo>
                <a:cubicBezTo>
                  <a:pt x="6031" y="26094"/>
                  <a:pt x="6062" y="26094"/>
                  <a:pt x="6062" y="26094"/>
                </a:cubicBezTo>
                <a:cubicBezTo>
                  <a:pt x="6062" y="26094"/>
                  <a:pt x="6031" y="26094"/>
                  <a:pt x="6000" y="26094"/>
                </a:cubicBezTo>
                <a:close/>
                <a:moveTo>
                  <a:pt x="7906" y="25156"/>
                </a:moveTo>
                <a:cubicBezTo>
                  <a:pt x="7875" y="25187"/>
                  <a:pt x="7843" y="25187"/>
                  <a:pt x="7843" y="25187"/>
                </a:cubicBezTo>
                <a:cubicBezTo>
                  <a:pt x="7843" y="25187"/>
                  <a:pt x="7875" y="25187"/>
                  <a:pt x="7906" y="25156"/>
                </a:cubicBezTo>
                <a:cubicBezTo>
                  <a:pt x="7937" y="25156"/>
                  <a:pt x="7968" y="25156"/>
                  <a:pt x="7968" y="25156"/>
                </a:cubicBezTo>
                <a:cubicBezTo>
                  <a:pt x="7968" y="25156"/>
                  <a:pt x="7937" y="25156"/>
                  <a:pt x="7906" y="25156"/>
                </a:cubicBezTo>
                <a:close/>
                <a:moveTo>
                  <a:pt x="8343" y="25187"/>
                </a:moveTo>
                <a:cubicBezTo>
                  <a:pt x="8281" y="25156"/>
                  <a:pt x="8218" y="25187"/>
                  <a:pt x="8156" y="25187"/>
                </a:cubicBezTo>
                <a:cubicBezTo>
                  <a:pt x="8218" y="25187"/>
                  <a:pt x="8281" y="25156"/>
                  <a:pt x="8343" y="25187"/>
                </a:cubicBezTo>
                <a:cubicBezTo>
                  <a:pt x="8500" y="25187"/>
                  <a:pt x="8656" y="25219"/>
                  <a:pt x="8812" y="25187"/>
                </a:cubicBezTo>
                <a:cubicBezTo>
                  <a:pt x="8656" y="25219"/>
                  <a:pt x="8500" y="25187"/>
                  <a:pt x="8343" y="25187"/>
                </a:cubicBezTo>
                <a:close/>
                <a:moveTo>
                  <a:pt x="10437" y="25187"/>
                </a:moveTo>
                <a:cubicBezTo>
                  <a:pt x="10500" y="25187"/>
                  <a:pt x="10562" y="25187"/>
                  <a:pt x="10625" y="25187"/>
                </a:cubicBezTo>
                <a:cubicBezTo>
                  <a:pt x="10625" y="25187"/>
                  <a:pt x="10625" y="25187"/>
                  <a:pt x="10625" y="25187"/>
                </a:cubicBezTo>
                <a:cubicBezTo>
                  <a:pt x="10562" y="25187"/>
                  <a:pt x="10500" y="25187"/>
                  <a:pt x="10437" y="25187"/>
                </a:cubicBezTo>
                <a:close/>
                <a:moveTo>
                  <a:pt x="10625" y="25187"/>
                </a:moveTo>
                <a:cubicBezTo>
                  <a:pt x="10625" y="25187"/>
                  <a:pt x="10625" y="25187"/>
                  <a:pt x="10625" y="25187"/>
                </a:cubicBezTo>
                <a:cubicBezTo>
                  <a:pt x="10687" y="25187"/>
                  <a:pt x="10750" y="25187"/>
                  <a:pt x="10843" y="25187"/>
                </a:cubicBezTo>
                <a:cubicBezTo>
                  <a:pt x="10750" y="25187"/>
                  <a:pt x="10687" y="25187"/>
                  <a:pt x="10625" y="25187"/>
                </a:cubicBezTo>
                <a:close/>
                <a:moveTo>
                  <a:pt x="11656" y="25906"/>
                </a:moveTo>
                <a:cubicBezTo>
                  <a:pt x="11562" y="25906"/>
                  <a:pt x="11500" y="25906"/>
                  <a:pt x="11437" y="25906"/>
                </a:cubicBezTo>
                <a:cubicBezTo>
                  <a:pt x="11500" y="25906"/>
                  <a:pt x="11562" y="25906"/>
                  <a:pt x="11656" y="25906"/>
                </a:cubicBezTo>
                <a:close/>
                <a:moveTo>
                  <a:pt x="11906" y="25187"/>
                </a:moveTo>
                <a:cubicBezTo>
                  <a:pt x="11906" y="25187"/>
                  <a:pt x="11906" y="25187"/>
                  <a:pt x="11906" y="25187"/>
                </a:cubicBezTo>
                <a:cubicBezTo>
                  <a:pt x="11906" y="25187"/>
                  <a:pt x="11906" y="25187"/>
                  <a:pt x="11906" y="25187"/>
                </a:cubicBezTo>
                <a:close/>
                <a:moveTo>
                  <a:pt x="12125" y="25219"/>
                </a:moveTo>
                <a:cubicBezTo>
                  <a:pt x="12093" y="25219"/>
                  <a:pt x="12062" y="25219"/>
                  <a:pt x="12031" y="25219"/>
                </a:cubicBezTo>
                <a:cubicBezTo>
                  <a:pt x="12062" y="25219"/>
                  <a:pt x="12093" y="25219"/>
                  <a:pt x="12125" y="25219"/>
                </a:cubicBezTo>
                <a:cubicBezTo>
                  <a:pt x="12187" y="25312"/>
                  <a:pt x="12281" y="25406"/>
                  <a:pt x="12343" y="25500"/>
                </a:cubicBezTo>
                <a:cubicBezTo>
                  <a:pt x="12281" y="25406"/>
                  <a:pt x="12187" y="25312"/>
                  <a:pt x="12125" y="25219"/>
                </a:cubicBezTo>
                <a:close/>
                <a:moveTo>
                  <a:pt x="12437" y="25219"/>
                </a:moveTo>
                <a:cubicBezTo>
                  <a:pt x="12437" y="25312"/>
                  <a:pt x="12437" y="25375"/>
                  <a:pt x="12437" y="25469"/>
                </a:cubicBezTo>
                <a:cubicBezTo>
                  <a:pt x="12437" y="25375"/>
                  <a:pt x="12437" y="25312"/>
                  <a:pt x="12437" y="25219"/>
                </a:cubicBezTo>
                <a:cubicBezTo>
                  <a:pt x="12500" y="25219"/>
                  <a:pt x="12531" y="25219"/>
                  <a:pt x="12593" y="25219"/>
                </a:cubicBezTo>
                <a:cubicBezTo>
                  <a:pt x="12531" y="25219"/>
                  <a:pt x="12500" y="25219"/>
                  <a:pt x="12437" y="25219"/>
                </a:cubicBezTo>
                <a:close/>
                <a:moveTo>
                  <a:pt x="12500" y="25969"/>
                </a:moveTo>
                <a:cubicBezTo>
                  <a:pt x="12500" y="25969"/>
                  <a:pt x="12500" y="25969"/>
                  <a:pt x="12500" y="25969"/>
                </a:cubicBezTo>
                <a:cubicBezTo>
                  <a:pt x="12500" y="25969"/>
                  <a:pt x="12500" y="25969"/>
                  <a:pt x="12500" y="25969"/>
                </a:cubicBezTo>
                <a:cubicBezTo>
                  <a:pt x="12500" y="26000"/>
                  <a:pt x="12531" y="26031"/>
                  <a:pt x="12562" y="26031"/>
                </a:cubicBezTo>
                <a:cubicBezTo>
                  <a:pt x="12531" y="26031"/>
                  <a:pt x="12500" y="26000"/>
                  <a:pt x="12500" y="25969"/>
                </a:cubicBezTo>
                <a:close/>
                <a:moveTo>
                  <a:pt x="12593" y="25219"/>
                </a:moveTo>
                <a:cubicBezTo>
                  <a:pt x="12593" y="25219"/>
                  <a:pt x="12593" y="25219"/>
                  <a:pt x="12593" y="25219"/>
                </a:cubicBezTo>
                <a:cubicBezTo>
                  <a:pt x="12593" y="25250"/>
                  <a:pt x="12593" y="25250"/>
                  <a:pt x="12593" y="25281"/>
                </a:cubicBezTo>
                <a:cubicBezTo>
                  <a:pt x="12593" y="25250"/>
                  <a:pt x="12593" y="25250"/>
                  <a:pt x="12593" y="25219"/>
                </a:cubicBezTo>
                <a:close/>
                <a:moveTo>
                  <a:pt x="20718" y="25250"/>
                </a:moveTo>
                <a:cubicBezTo>
                  <a:pt x="20531" y="25281"/>
                  <a:pt x="20375" y="25219"/>
                  <a:pt x="20187" y="25281"/>
                </a:cubicBezTo>
                <a:cubicBezTo>
                  <a:pt x="20093" y="25281"/>
                  <a:pt x="19968" y="25250"/>
                  <a:pt x="19875" y="25250"/>
                </a:cubicBezTo>
                <a:cubicBezTo>
                  <a:pt x="19781" y="25281"/>
                  <a:pt x="19656" y="25281"/>
                  <a:pt x="19562" y="25281"/>
                </a:cubicBezTo>
                <a:cubicBezTo>
                  <a:pt x="19656" y="25281"/>
                  <a:pt x="19781" y="25281"/>
                  <a:pt x="19875" y="25250"/>
                </a:cubicBezTo>
                <a:cubicBezTo>
                  <a:pt x="19875" y="25250"/>
                  <a:pt x="19843" y="25250"/>
                  <a:pt x="19843" y="25219"/>
                </a:cubicBezTo>
                <a:cubicBezTo>
                  <a:pt x="19937" y="25219"/>
                  <a:pt x="20031" y="25219"/>
                  <a:pt x="20093" y="25219"/>
                </a:cubicBezTo>
                <a:cubicBezTo>
                  <a:pt x="19843" y="25250"/>
                  <a:pt x="19593" y="25187"/>
                  <a:pt x="19312" y="25187"/>
                </a:cubicBezTo>
                <a:cubicBezTo>
                  <a:pt x="19031" y="25187"/>
                  <a:pt x="18718" y="25187"/>
                  <a:pt x="18406" y="25187"/>
                </a:cubicBezTo>
                <a:cubicBezTo>
                  <a:pt x="18125" y="25156"/>
                  <a:pt x="17875" y="25156"/>
                  <a:pt x="17625" y="25219"/>
                </a:cubicBezTo>
                <a:cubicBezTo>
                  <a:pt x="17531" y="25219"/>
                  <a:pt x="17468" y="25219"/>
                  <a:pt x="17406" y="25219"/>
                </a:cubicBezTo>
                <a:cubicBezTo>
                  <a:pt x="17406" y="25219"/>
                  <a:pt x="17406" y="25219"/>
                  <a:pt x="17406" y="25219"/>
                </a:cubicBezTo>
                <a:cubicBezTo>
                  <a:pt x="17187" y="25219"/>
                  <a:pt x="16968" y="25219"/>
                  <a:pt x="16781" y="25219"/>
                </a:cubicBezTo>
                <a:cubicBezTo>
                  <a:pt x="16781" y="25219"/>
                  <a:pt x="16781" y="25219"/>
                  <a:pt x="16781" y="25219"/>
                </a:cubicBezTo>
                <a:cubicBezTo>
                  <a:pt x="16750" y="25219"/>
                  <a:pt x="16750" y="25219"/>
                  <a:pt x="16750" y="25187"/>
                </a:cubicBezTo>
                <a:cubicBezTo>
                  <a:pt x="16875" y="25125"/>
                  <a:pt x="17000" y="25187"/>
                  <a:pt x="17125" y="25156"/>
                </a:cubicBezTo>
                <a:cubicBezTo>
                  <a:pt x="17062" y="25156"/>
                  <a:pt x="17031" y="25156"/>
                  <a:pt x="17031" y="25156"/>
                </a:cubicBezTo>
                <a:cubicBezTo>
                  <a:pt x="15937" y="25156"/>
                  <a:pt x="14875" y="25156"/>
                  <a:pt x="13812" y="25156"/>
                </a:cubicBezTo>
                <a:cubicBezTo>
                  <a:pt x="13781" y="25156"/>
                  <a:pt x="13718" y="25125"/>
                  <a:pt x="13687" y="25156"/>
                </a:cubicBezTo>
                <a:cubicBezTo>
                  <a:pt x="13687" y="25156"/>
                  <a:pt x="13656" y="25156"/>
                  <a:pt x="13625" y="25156"/>
                </a:cubicBezTo>
                <a:cubicBezTo>
                  <a:pt x="13625" y="25094"/>
                  <a:pt x="13562" y="25125"/>
                  <a:pt x="13500" y="25125"/>
                </a:cubicBezTo>
                <a:cubicBezTo>
                  <a:pt x="13250" y="25094"/>
                  <a:pt x="12968" y="25156"/>
                  <a:pt x="12718" y="25094"/>
                </a:cubicBezTo>
                <a:cubicBezTo>
                  <a:pt x="12687" y="25094"/>
                  <a:pt x="12656" y="25094"/>
                  <a:pt x="12656" y="25156"/>
                </a:cubicBezTo>
                <a:cubicBezTo>
                  <a:pt x="12625" y="25156"/>
                  <a:pt x="12625" y="25156"/>
                  <a:pt x="12593" y="25156"/>
                </a:cubicBezTo>
                <a:cubicBezTo>
                  <a:pt x="12593" y="25125"/>
                  <a:pt x="12593" y="25094"/>
                  <a:pt x="12562" y="25094"/>
                </a:cubicBezTo>
                <a:cubicBezTo>
                  <a:pt x="12531" y="25094"/>
                  <a:pt x="12468" y="25094"/>
                  <a:pt x="12468" y="25156"/>
                </a:cubicBezTo>
                <a:cubicBezTo>
                  <a:pt x="12437" y="25156"/>
                  <a:pt x="12437" y="25187"/>
                  <a:pt x="12406" y="25187"/>
                </a:cubicBezTo>
                <a:cubicBezTo>
                  <a:pt x="12406" y="25187"/>
                  <a:pt x="12406" y="25187"/>
                  <a:pt x="12375" y="25187"/>
                </a:cubicBezTo>
                <a:cubicBezTo>
                  <a:pt x="12343" y="25187"/>
                  <a:pt x="12281" y="25187"/>
                  <a:pt x="12250" y="25156"/>
                </a:cubicBezTo>
                <a:cubicBezTo>
                  <a:pt x="12156" y="25156"/>
                  <a:pt x="12062" y="25219"/>
                  <a:pt x="11968" y="25156"/>
                </a:cubicBezTo>
                <a:cubicBezTo>
                  <a:pt x="11906" y="25094"/>
                  <a:pt x="11843" y="25094"/>
                  <a:pt x="11781" y="25156"/>
                </a:cubicBezTo>
                <a:cubicBezTo>
                  <a:pt x="11750" y="25156"/>
                  <a:pt x="11718" y="25156"/>
                  <a:pt x="11687" y="25156"/>
                </a:cubicBezTo>
                <a:cubicBezTo>
                  <a:pt x="11656" y="25094"/>
                  <a:pt x="11593" y="25094"/>
                  <a:pt x="11562" y="25156"/>
                </a:cubicBezTo>
                <a:cubicBezTo>
                  <a:pt x="11343" y="25156"/>
                  <a:pt x="11125" y="25156"/>
                  <a:pt x="10906" y="25156"/>
                </a:cubicBezTo>
                <a:cubicBezTo>
                  <a:pt x="10906" y="25094"/>
                  <a:pt x="10875" y="25094"/>
                  <a:pt x="10843" y="25156"/>
                </a:cubicBezTo>
                <a:cubicBezTo>
                  <a:pt x="10843" y="25156"/>
                  <a:pt x="10843" y="25156"/>
                  <a:pt x="10843" y="25156"/>
                </a:cubicBezTo>
                <a:cubicBezTo>
                  <a:pt x="10781" y="25156"/>
                  <a:pt x="10718" y="25156"/>
                  <a:pt x="10656" y="25125"/>
                </a:cubicBezTo>
                <a:cubicBezTo>
                  <a:pt x="10625" y="25125"/>
                  <a:pt x="10593" y="25125"/>
                  <a:pt x="10593" y="25125"/>
                </a:cubicBezTo>
                <a:cubicBezTo>
                  <a:pt x="10375" y="25156"/>
                  <a:pt x="10156" y="25156"/>
                  <a:pt x="9968" y="25156"/>
                </a:cubicBezTo>
                <a:cubicBezTo>
                  <a:pt x="9968" y="25156"/>
                  <a:pt x="9968" y="25156"/>
                  <a:pt x="9968" y="25156"/>
                </a:cubicBezTo>
                <a:cubicBezTo>
                  <a:pt x="9906" y="25094"/>
                  <a:pt x="9875" y="25094"/>
                  <a:pt x="9812" y="25156"/>
                </a:cubicBezTo>
                <a:cubicBezTo>
                  <a:pt x="9781" y="25156"/>
                  <a:pt x="9781" y="25156"/>
                  <a:pt x="9750" y="25156"/>
                </a:cubicBezTo>
                <a:cubicBezTo>
                  <a:pt x="9562" y="25156"/>
                  <a:pt x="9375" y="25125"/>
                  <a:pt x="9187" y="25156"/>
                </a:cubicBezTo>
                <a:cubicBezTo>
                  <a:pt x="9218" y="25156"/>
                  <a:pt x="9281" y="25156"/>
                  <a:pt x="9312" y="25156"/>
                </a:cubicBezTo>
                <a:cubicBezTo>
                  <a:pt x="9281" y="25156"/>
                  <a:pt x="9218" y="25156"/>
                  <a:pt x="9187" y="25156"/>
                </a:cubicBezTo>
                <a:cubicBezTo>
                  <a:pt x="9156" y="25156"/>
                  <a:pt x="9125" y="25156"/>
                  <a:pt x="9093" y="25156"/>
                </a:cubicBezTo>
                <a:cubicBezTo>
                  <a:pt x="9093" y="25156"/>
                  <a:pt x="9093" y="25156"/>
                  <a:pt x="9093" y="25156"/>
                </a:cubicBezTo>
                <a:cubicBezTo>
                  <a:pt x="9093" y="25156"/>
                  <a:pt x="9093" y="25156"/>
                  <a:pt x="9093" y="25156"/>
                </a:cubicBezTo>
                <a:cubicBezTo>
                  <a:pt x="8937" y="25125"/>
                  <a:pt x="8750" y="25156"/>
                  <a:pt x="8593" y="25156"/>
                </a:cubicBezTo>
                <a:cubicBezTo>
                  <a:pt x="8531" y="25156"/>
                  <a:pt x="8468" y="25156"/>
                  <a:pt x="8437" y="25156"/>
                </a:cubicBezTo>
                <a:cubicBezTo>
                  <a:pt x="8406" y="25062"/>
                  <a:pt x="8312" y="25094"/>
                  <a:pt x="8281" y="25094"/>
                </a:cubicBezTo>
                <a:cubicBezTo>
                  <a:pt x="8125" y="25125"/>
                  <a:pt x="7968" y="25125"/>
                  <a:pt x="7812" y="25094"/>
                </a:cubicBezTo>
                <a:cubicBezTo>
                  <a:pt x="7781" y="25094"/>
                  <a:pt x="7750" y="25125"/>
                  <a:pt x="7718" y="25156"/>
                </a:cubicBezTo>
                <a:cubicBezTo>
                  <a:pt x="7718" y="25156"/>
                  <a:pt x="7687" y="25156"/>
                  <a:pt x="7687" y="25156"/>
                </a:cubicBezTo>
                <a:cubicBezTo>
                  <a:pt x="7687" y="25125"/>
                  <a:pt x="7687" y="25094"/>
                  <a:pt x="7656" y="25094"/>
                </a:cubicBezTo>
                <a:cubicBezTo>
                  <a:pt x="7625" y="25094"/>
                  <a:pt x="7625" y="25125"/>
                  <a:pt x="7625" y="25156"/>
                </a:cubicBezTo>
                <a:cubicBezTo>
                  <a:pt x="7625" y="25156"/>
                  <a:pt x="7593" y="25156"/>
                  <a:pt x="7562" y="25156"/>
                </a:cubicBezTo>
                <a:cubicBezTo>
                  <a:pt x="7500" y="25094"/>
                  <a:pt x="7406" y="25094"/>
                  <a:pt x="7312" y="25094"/>
                </a:cubicBezTo>
                <a:cubicBezTo>
                  <a:pt x="7218" y="25094"/>
                  <a:pt x="7156" y="25094"/>
                  <a:pt x="7062" y="25094"/>
                </a:cubicBezTo>
                <a:cubicBezTo>
                  <a:pt x="6906" y="25094"/>
                  <a:pt x="6812" y="25062"/>
                  <a:pt x="6718" y="25000"/>
                </a:cubicBezTo>
                <a:cubicBezTo>
                  <a:pt x="6625" y="24937"/>
                  <a:pt x="6500" y="24937"/>
                  <a:pt x="6406" y="24906"/>
                </a:cubicBezTo>
                <a:cubicBezTo>
                  <a:pt x="6156" y="24844"/>
                  <a:pt x="5937" y="24781"/>
                  <a:pt x="5687" y="24687"/>
                </a:cubicBezTo>
                <a:cubicBezTo>
                  <a:pt x="5593" y="24656"/>
                  <a:pt x="5531" y="24500"/>
                  <a:pt x="5625" y="24406"/>
                </a:cubicBezTo>
                <a:cubicBezTo>
                  <a:pt x="5656" y="24344"/>
                  <a:pt x="5656" y="24312"/>
                  <a:pt x="5593" y="24281"/>
                </a:cubicBezTo>
                <a:cubicBezTo>
                  <a:pt x="5562" y="24250"/>
                  <a:pt x="5562" y="24219"/>
                  <a:pt x="5593" y="24187"/>
                </a:cubicBezTo>
                <a:cubicBezTo>
                  <a:pt x="5593" y="24156"/>
                  <a:pt x="5625" y="24156"/>
                  <a:pt x="5656" y="24156"/>
                </a:cubicBezTo>
                <a:cubicBezTo>
                  <a:pt x="5750" y="24156"/>
                  <a:pt x="5875" y="24156"/>
                  <a:pt x="6000" y="24156"/>
                </a:cubicBezTo>
                <a:cubicBezTo>
                  <a:pt x="6031" y="24156"/>
                  <a:pt x="6093" y="24187"/>
                  <a:pt x="6125" y="24125"/>
                </a:cubicBezTo>
                <a:cubicBezTo>
                  <a:pt x="6125" y="24125"/>
                  <a:pt x="6125" y="24125"/>
                  <a:pt x="6125" y="24125"/>
                </a:cubicBezTo>
                <a:cubicBezTo>
                  <a:pt x="6187" y="24125"/>
                  <a:pt x="6218" y="24125"/>
                  <a:pt x="6281" y="24125"/>
                </a:cubicBezTo>
                <a:cubicBezTo>
                  <a:pt x="6312" y="24250"/>
                  <a:pt x="6437" y="24156"/>
                  <a:pt x="6500" y="24187"/>
                </a:cubicBezTo>
                <a:cubicBezTo>
                  <a:pt x="6468" y="24156"/>
                  <a:pt x="6468" y="24156"/>
                  <a:pt x="6437" y="24125"/>
                </a:cubicBezTo>
                <a:cubicBezTo>
                  <a:pt x="6656" y="24094"/>
                  <a:pt x="6906" y="24156"/>
                  <a:pt x="7125" y="24094"/>
                </a:cubicBezTo>
                <a:cubicBezTo>
                  <a:pt x="7187" y="24094"/>
                  <a:pt x="7250" y="24094"/>
                  <a:pt x="7312" y="24094"/>
                </a:cubicBezTo>
                <a:cubicBezTo>
                  <a:pt x="7312" y="24094"/>
                  <a:pt x="7312" y="24094"/>
                  <a:pt x="7312" y="24094"/>
                </a:cubicBezTo>
                <a:cubicBezTo>
                  <a:pt x="7343" y="24125"/>
                  <a:pt x="7343" y="24125"/>
                  <a:pt x="7375" y="24094"/>
                </a:cubicBezTo>
                <a:cubicBezTo>
                  <a:pt x="8000" y="24125"/>
                  <a:pt x="8625" y="24125"/>
                  <a:pt x="9250" y="24125"/>
                </a:cubicBezTo>
                <a:cubicBezTo>
                  <a:pt x="9250" y="24125"/>
                  <a:pt x="9250" y="24125"/>
                  <a:pt x="9250" y="24125"/>
                </a:cubicBezTo>
                <a:cubicBezTo>
                  <a:pt x="9281" y="24125"/>
                  <a:pt x="9281" y="24125"/>
                  <a:pt x="9312" y="24125"/>
                </a:cubicBezTo>
                <a:cubicBezTo>
                  <a:pt x="9687" y="24125"/>
                  <a:pt x="10093" y="24125"/>
                  <a:pt x="10468" y="24125"/>
                </a:cubicBezTo>
                <a:cubicBezTo>
                  <a:pt x="10843" y="24156"/>
                  <a:pt x="11218" y="24156"/>
                  <a:pt x="11593" y="24156"/>
                </a:cubicBezTo>
                <a:cubicBezTo>
                  <a:pt x="11718" y="24156"/>
                  <a:pt x="11843" y="24156"/>
                  <a:pt x="11968" y="24156"/>
                </a:cubicBezTo>
                <a:cubicBezTo>
                  <a:pt x="11968" y="24156"/>
                  <a:pt x="11968" y="24156"/>
                  <a:pt x="11968" y="24156"/>
                </a:cubicBezTo>
                <a:cubicBezTo>
                  <a:pt x="12437" y="24156"/>
                  <a:pt x="12906" y="24156"/>
                  <a:pt x="13375" y="24156"/>
                </a:cubicBezTo>
                <a:cubicBezTo>
                  <a:pt x="13500" y="24156"/>
                  <a:pt x="13593" y="24156"/>
                  <a:pt x="13687" y="24156"/>
                </a:cubicBezTo>
                <a:cubicBezTo>
                  <a:pt x="13750" y="24187"/>
                  <a:pt x="13812" y="24187"/>
                  <a:pt x="13875" y="24156"/>
                </a:cubicBezTo>
                <a:cubicBezTo>
                  <a:pt x="13906" y="24156"/>
                  <a:pt x="13906" y="24156"/>
                  <a:pt x="13937" y="24156"/>
                </a:cubicBezTo>
                <a:cubicBezTo>
                  <a:pt x="14000" y="24187"/>
                  <a:pt x="14031" y="24187"/>
                  <a:pt x="14093" y="24156"/>
                </a:cubicBezTo>
                <a:cubicBezTo>
                  <a:pt x="14250" y="24156"/>
                  <a:pt x="14406" y="24156"/>
                  <a:pt x="14562" y="24156"/>
                </a:cubicBezTo>
                <a:cubicBezTo>
                  <a:pt x="14656" y="24187"/>
                  <a:pt x="14750" y="24187"/>
                  <a:pt x="14843" y="24156"/>
                </a:cubicBezTo>
                <a:cubicBezTo>
                  <a:pt x="14875" y="24156"/>
                  <a:pt x="14937" y="24156"/>
                  <a:pt x="14968" y="24156"/>
                </a:cubicBezTo>
                <a:cubicBezTo>
                  <a:pt x="15000" y="24187"/>
                  <a:pt x="15000" y="24187"/>
                  <a:pt x="15000" y="24156"/>
                </a:cubicBezTo>
                <a:cubicBezTo>
                  <a:pt x="15062" y="24156"/>
                  <a:pt x="15093" y="24156"/>
                  <a:pt x="15156" y="24156"/>
                </a:cubicBezTo>
                <a:cubicBezTo>
                  <a:pt x="15156" y="24250"/>
                  <a:pt x="15250" y="24219"/>
                  <a:pt x="15281" y="24219"/>
                </a:cubicBezTo>
                <a:cubicBezTo>
                  <a:pt x="16093" y="24219"/>
                  <a:pt x="16875" y="24219"/>
                  <a:pt x="17687" y="24219"/>
                </a:cubicBezTo>
                <a:cubicBezTo>
                  <a:pt x="17718" y="24219"/>
                  <a:pt x="17750" y="24219"/>
                  <a:pt x="17812" y="24187"/>
                </a:cubicBezTo>
                <a:cubicBezTo>
                  <a:pt x="17968" y="24187"/>
                  <a:pt x="18125" y="24187"/>
                  <a:pt x="18312" y="24187"/>
                </a:cubicBezTo>
                <a:cubicBezTo>
                  <a:pt x="18312" y="24219"/>
                  <a:pt x="18312" y="24219"/>
                  <a:pt x="18312" y="24187"/>
                </a:cubicBezTo>
                <a:cubicBezTo>
                  <a:pt x="18500" y="24187"/>
                  <a:pt x="18687" y="24187"/>
                  <a:pt x="18875" y="24219"/>
                </a:cubicBezTo>
                <a:cubicBezTo>
                  <a:pt x="18968" y="24281"/>
                  <a:pt x="19062" y="24250"/>
                  <a:pt x="19187" y="24219"/>
                </a:cubicBezTo>
                <a:cubicBezTo>
                  <a:pt x="19250" y="24187"/>
                  <a:pt x="19343" y="24187"/>
                  <a:pt x="19406" y="24219"/>
                </a:cubicBezTo>
                <a:cubicBezTo>
                  <a:pt x="19656" y="24250"/>
                  <a:pt x="19875" y="24250"/>
                  <a:pt x="20093" y="24219"/>
                </a:cubicBezTo>
                <a:cubicBezTo>
                  <a:pt x="20375" y="24219"/>
                  <a:pt x="20625" y="24219"/>
                  <a:pt x="20906" y="24219"/>
                </a:cubicBezTo>
                <a:cubicBezTo>
                  <a:pt x="20937" y="24219"/>
                  <a:pt x="20937" y="24219"/>
                  <a:pt x="20937" y="24219"/>
                </a:cubicBezTo>
                <a:cubicBezTo>
                  <a:pt x="20937" y="24219"/>
                  <a:pt x="20937" y="24219"/>
                  <a:pt x="20906" y="24219"/>
                </a:cubicBezTo>
                <a:cubicBezTo>
                  <a:pt x="20937" y="24219"/>
                  <a:pt x="20968" y="24219"/>
                  <a:pt x="20968" y="24219"/>
                </a:cubicBezTo>
                <a:cubicBezTo>
                  <a:pt x="21406" y="24250"/>
                  <a:pt x="21843" y="24250"/>
                  <a:pt x="22281" y="24250"/>
                </a:cubicBezTo>
                <a:cubicBezTo>
                  <a:pt x="22281" y="24250"/>
                  <a:pt x="22281" y="24250"/>
                  <a:pt x="22281" y="24250"/>
                </a:cubicBezTo>
                <a:cubicBezTo>
                  <a:pt x="22156" y="24312"/>
                  <a:pt x="22000" y="24281"/>
                  <a:pt x="21875" y="24281"/>
                </a:cubicBezTo>
                <a:cubicBezTo>
                  <a:pt x="21812" y="24312"/>
                  <a:pt x="21718" y="24312"/>
                  <a:pt x="21718" y="24375"/>
                </a:cubicBezTo>
                <a:cubicBezTo>
                  <a:pt x="21687" y="24469"/>
                  <a:pt x="21781" y="24500"/>
                  <a:pt x="21812" y="24531"/>
                </a:cubicBezTo>
                <a:cubicBezTo>
                  <a:pt x="21875" y="24562"/>
                  <a:pt x="21937" y="24562"/>
                  <a:pt x="21906" y="24656"/>
                </a:cubicBezTo>
                <a:cubicBezTo>
                  <a:pt x="21906" y="24719"/>
                  <a:pt x="21843" y="24750"/>
                  <a:pt x="21812" y="24750"/>
                </a:cubicBezTo>
                <a:cubicBezTo>
                  <a:pt x="21718" y="24750"/>
                  <a:pt x="21656" y="24812"/>
                  <a:pt x="21593" y="24906"/>
                </a:cubicBezTo>
                <a:cubicBezTo>
                  <a:pt x="21593" y="24906"/>
                  <a:pt x="21562" y="24937"/>
                  <a:pt x="21531" y="24937"/>
                </a:cubicBezTo>
                <a:cubicBezTo>
                  <a:pt x="21281" y="25000"/>
                  <a:pt x="21062" y="25062"/>
                  <a:pt x="20781" y="25094"/>
                </a:cubicBezTo>
                <a:cubicBezTo>
                  <a:pt x="20750" y="25094"/>
                  <a:pt x="20687" y="25062"/>
                  <a:pt x="20656" y="25125"/>
                </a:cubicBezTo>
                <a:cubicBezTo>
                  <a:pt x="20625" y="25187"/>
                  <a:pt x="20718" y="25156"/>
                  <a:pt x="20718" y="25219"/>
                </a:cubicBezTo>
                <a:cubicBezTo>
                  <a:pt x="20718" y="25219"/>
                  <a:pt x="20718" y="25219"/>
                  <a:pt x="20718" y="25219"/>
                </a:cubicBezTo>
                <a:cubicBezTo>
                  <a:pt x="20718" y="25219"/>
                  <a:pt x="20718" y="25219"/>
                  <a:pt x="20718" y="25219"/>
                </a:cubicBezTo>
                <a:cubicBezTo>
                  <a:pt x="20718" y="25250"/>
                  <a:pt x="20718" y="25250"/>
                  <a:pt x="20718" y="25250"/>
                </a:cubicBezTo>
                <a:cubicBezTo>
                  <a:pt x="20750" y="25250"/>
                  <a:pt x="20781" y="25250"/>
                  <a:pt x="20812" y="25250"/>
                </a:cubicBezTo>
                <a:cubicBezTo>
                  <a:pt x="20812" y="25250"/>
                  <a:pt x="20812" y="25250"/>
                  <a:pt x="20812" y="25219"/>
                </a:cubicBezTo>
                <a:cubicBezTo>
                  <a:pt x="20875" y="25187"/>
                  <a:pt x="20906" y="25187"/>
                  <a:pt x="20937" y="25219"/>
                </a:cubicBezTo>
                <a:cubicBezTo>
                  <a:pt x="20937" y="25250"/>
                  <a:pt x="20937" y="25250"/>
                  <a:pt x="20937" y="25250"/>
                </a:cubicBezTo>
                <a:cubicBezTo>
                  <a:pt x="20906" y="25250"/>
                  <a:pt x="20843" y="25250"/>
                  <a:pt x="20812" y="25250"/>
                </a:cubicBezTo>
                <a:cubicBezTo>
                  <a:pt x="20781" y="25250"/>
                  <a:pt x="20750" y="25250"/>
                  <a:pt x="20718" y="25250"/>
                </a:cubicBezTo>
                <a:close/>
                <a:moveTo>
                  <a:pt x="21187" y="26187"/>
                </a:moveTo>
                <a:cubicBezTo>
                  <a:pt x="21187" y="26187"/>
                  <a:pt x="21187" y="26187"/>
                  <a:pt x="21187" y="26187"/>
                </a:cubicBezTo>
                <a:cubicBezTo>
                  <a:pt x="21031" y="26187"/>
                  <a:pt x="20875" y="26187"/>
                  <a:pt x="20718" y="26187"/>
                </a:cubicBezTo>
                <a:cubicBezTo>
                  <a:pt x="20875" y="26187"/>
                  <a:pt x="21031" y="26187"/>
                  <a:pt x="21187" y="26187"/>
                </a:cubicBezTo>
                <a:close/>
                <a:moveTo>
                  <a:pt x="20500" y="26187"/>
                </a:moveTo>
                <a:cubicBezTo>
                  <a:pt x="20562" y="26187"/>
                  <a:pt x="20625" y="26187"/>
                  <a:pt x="20687" y="26187"/>
                </a:cubicBezTo>
                <a:cubicBezTo>
                  <a:pt x="20687" y="26187"/>
                  <a:pt x="20687" y="26187"/>
                  <a:pt x="20687" y="26187"/>
                </a:cubicBezTo>
                <a:cubicBezTo>
                  <a:pt x="20625" y="26187"/>
                  <a:pt x="20562" y="26187"/>
                  <a:pt x="20500" y="26187"/>
                </a:cubicBezTo>
                <a:cubicBezTo>
                  <a:pt x="20468" y="26187"/>
                  <a:pt x="20468" y="26187"/>
                  <a:pt x="20437" y="26187"/>
                </a:cubicBezTo>
                <a:cubicBezTo>
                  <a:pt x="20468" y="26187"/>
                  <a:pt x="20468" y="26187"/>
                  <a:pt x="20500" y="26187"/>
                </a:cubicBezTo>
                <a:close/>
                <a:moveTo>
                  <a:pt x="21875" y="30437"/>
                </a:moveTo>
                <a:cubicBezTo>
                  <a:pt x="21875" y="30469"/>
                  <a:pt x="21843" y="30500"/>
                  <a:pt x="21812" y="30500"/>
                </a:cubicBezTo>
                <a:cubicBezTo>
                  <a:pt x="21843" y="30500"/>
                  <a:pt x="21875" y="30469"/>
                  <a:pt x="21875" y="30437"/>
                </a:cubicBezTo>
                <a:cubicBezTo>
                  <a:pt x="21875" y="30437"/>
                  <a:pt x="21875" y="30437"/>
                  <a:pt x="21875" y="30437"/>
                </a:cubicBezTo>
                <a:cubicBezTo>
                  <a:pt x="21875" y="30437"/>
                  <a:pt x="21875" y="30437"/>
                  <a:pt x="21875" y="30437"/>
                </a:cubicBezTo>
                <a:close/>
                <a:moveTo>
                  <a:pt x="21937" y="30406"/>
                </a:moveTo>
                <a:cubicBezTo>
                  <a:pt x="21937" y="30437"/>
                  <a:pt x="21937" y="30437"/>
                  <a:pt x="21906" y="30437"/>
                </a:cubicBezTo>
                <a:cubicBezTo>
                  <a:pt x="21937" y="30437"/>
                  <a:pt x="21937" y="30437"/>
                  <a:pt x="21937" y="30406"/>
                </a:cubicBezTo>
                <a:cubicBezTo>
                  <a:pt x="21937" y="30406"/>
                  <a:pt x="21937" y="30406"/>
                  <a:pt x="21937" y="30406"/>
                </a:cubicBezTo>
                <a:cubicBezTo>
                  <a:pt x="21937" y="30406"/>
                  <a:pt x="21937" y="30406"/>
                  <a:pt x="21937" y="30406"/>
                </a:cubicBezTo>
                <a:cubicBezTo>
                  <a:pt x="22000" y="30406"/>
                  <a:pt x="22062" y="30406"/>
                  <a:pt x="22125" y="30375"/>
                </a:cubicBezTo>
                <a:cubicBezTo>
                  <a:pt x="22062" y="30406"/>
                  <a:pt x="22000" y="30406"/>
                  <a:pt x="21937" y="30406"/>
                </a:cubicBezTo>
                <a:close/>
                <a:moveTo>
                  <a:pt x="22593" y="30062"/>
                </a:moveTo>
                <a:cubicBezTo>
                  <a:pt x="22593" y="30062"/>
                  <a:pt x="22593" y="30062"/>
                  <a:pt x="22593" y="30062"/>
                </a:cubicBezTo>
                <a:cubicBezTo>
                  <a:pt x="22593" y="30062"/>
                  <a:pt x="22593" y="30062"/>
                  <a:pt x="22593" y="30062"/>
                </a:cubicBezTo>
                <a:close/>
                <a:moveTo>
                  <a:pt x="22750" y="29156"/>
                </a:moveTo>
                <a:cubicBezTo>
                  <a:pt x="22593" y="29000"/>
                  <a:pt x="22437" y="28844"/>
                  <a:pt x="22250" y="28687"/>
                </a:cubicBezTo>
                <a:cubicBezTo>
                  <a:pt x="22093" y="28562"/>
                  <a:pt x="21937" y="28375"/>
                  <a:pt x="21750" y="28281"/>
                </a:cubicBezTo>
                <a:cubicBezTo>
                  <a:pt x="21375" y="28031"/>
                  <a:pt x="21093" y="27656"/>
                  <a:pt x="20687" y="27406"/>
                </a:cubicBezTo>
                <a:cubicBezTo>
                  <a:pt x="20312" y="27187"/>
                  <a:pt x="19937" y="26906"/>
                  <a:pt x="19531" y="26687"/>
                </a:cubicBezTo>
                <a:cubicBezTo>
                  <a:pt x="19500" y="26656"/>
                  <a:pt x="19437" y="26625"/>
                  <a:pt x="19406" y="26562"/>
                </a:cubicBezTo>
                <a:cubicBezTo>
                  <a:pt x="19343" y="26562"/>
                  <a:pt x="19312" y="26562"/>
                  <a:pt x="19281" y="26531"/>
                </a:cubicBezTo>
                <a:cubicBezTo>
                  <a:pt x="19312" y="26562"/>
                  <a:pt x="19343" y="26562"/>
                  <a:pt x="19406" y="26562"/>
                </a:cubicBezTo>
                <a:cubicBezTo>
                  <a:pt x="19437" y="26531"/>
                  <a:pt x="19468" y="26531"/>
                  <a:pt x="19531" y="26531"/>
                </a:cubicBezTo>
                <a:cubicBezTo>
                  <a:pt x="19750" y="26531"/>
                  <a:pt x="19968" y="26531"/>
                  <a:pt x="20187" y="26531"/>
                </a:cubicBezTo>
                <a:cubicBezTo>
                  <a:pt x="20281" y="26531"/>
                  <a:pt x="20375" y="26531"/>
                  <a:pt x="20500" y="26469"/>
                </a:cubicBezTo>
                <a:cubicBezTo>
                  <a:pt x="20343" y="26437"/>
                  <a:pt x="20312" y="26312"/>
                  <a:pt x="20250" y="26219"/>
                </a:cubicBezTo>
                <a:cubicBezTo>
                  <a:pt x="20343" y="26219"/>
                  <a:pt x="20406" y="26219"/>
                  <a:pt x="20500" y="26219"/>
                </a:cubicBezTo>
                <a:cubicBezTo>
                  <a:pt x="20500" y="26219"/>
                  <a:pt x="20500" y="26219"/>
                  <a:pt x="20500" y="26219"/>
                </a:cubicBezTo>
                <a:cubicBezTo>
                  <a:pt x="20718" y="26219"/>
                  <a:pt x="20906" y="26219"/>
                  <a:pt x="21125" y="26219"/>
                </a:cubicBezTo>
                <a:cubicBezTo>
                  <a:pt x="21125" y="26219"/>
                  <a:pt x="21125" y="26250"/>
                  <a:pt x="21125" y="26250"/>
                </a:cubicBezTo>
                <a:cubicBezTo>
                  <a:pt x="21250" y="26312"/>
                  <a:pt x="21250" y="26312"/>
                  <a:pt x="21125" y="26437"/>
                </a:cubicBezTo>
                <a:cubicBezTo>
                  <a:pt x="21125" y="26437"/>
                  <a:pt x="21093" y="26437"/>
                  <a:pt x="21125" y="26469"/>
                </a:cubicBezTo>
                <a:cubicBezTo>
                  <a:pt x="21437" y="26531"/>
                  <a:pt x="21781" y="26531"/>
                  <a:pt x="22125" y="26531"/>
                </a:cubicBezTo>
                <a:cubicBezTo>
                  <a:pt x="22125" y="26531"/>
                  <a:pt x="22125" y="26562"/>
                  <a:pt x="22093" y="26562"/>
                </a:cubicBezTo>
                <a:cubicBezTo>
                  <a:pt x="22093" y="26562"/>
                  <a:pt x="22093" y="26562"/>
                  <a:pt x="22093" y="26562"/>
                </a:cubicBezTo>
                <a:cubicBezTo>
                  <a:pt x="22093" y="26594"/>
                  <a:pt x="22093" y="26594"/>
                  <a:pt x="22093" y="26594"/>
                </a:cubicBezTo>
                <a:cubicBezTo>
                  <a:pt x="22031" y="26750"/>
                  <a:pt x="21968" y="26906"/>
                  <a:pt x="21937" y="27062"/>
                </a:cubicBezTo>
                <a:cubicBezTo>
                  <a:pt x="21906" y="27406"/>
                  <a:pt x="22062" y="27687"/>
                  <a:pt x="22218" y="27937"/>
                </a:cubicBezTo>
                <a:cubicBezTo>
                  <a:pt x="22500" y="28281"/>
                  <a:pt x="22750" y="28625"/>
                  <a:pt x="22968" y="29031"/>
                </a:cubicBezTo>
                <a:cubicBezTo>
                  <a:pt x="23000" y="29094"/>
                  <a:pt x="23062" y="29187"/>
                  <a:pt x="23062" y="29281"/>
                </a:cubicBezTo>
                <a:cubicBezTo>
                  <a:pt x="22968" y="29250"/>
                  <a:pt x="22843" y="29250"/>
                  <a:pt x="22750" y="29156"/>
                </a:cubicBezTo>
                <a:close/>
                <a:moveTo>
                  <a:pt x="23437" y="26125"/>
                </a:moveTo>
                <a:cubicBezTo>
                  <a:pt x="23468" y="26125"/>
                  <a:pt x="23468" y="26094"/>
                  <a:pt x="23468" y="26094"/>
                </a:cubicBezTo>
                <a:cubicBezTo>
                  <a:pt x="23468" y="26094"/>
                  <a:pt x="23468" y="26125"/>
                  <a:pt x="23437" y="26125"/>
                </a:cubicBezTo>
                <a:cubicBezTo>
                  <a:pt x="23343" y="26125"/>
                  <a:pt x="23218" y="26125"/>
                  <a:pt x="23125" y="26125"/>
                </a:cubicBezTo>
                <a:cubicBezTo>
                  <a:pt x="23218" y="26125"/>
                  <a:pt x="23343" y="26125"/>
                  <a:pt x="23437" y="26125"/>
                </a:cubicBezTo>
                <a:close/>
                <a:moveTo>
                  <a:pt x="23156" y="29437"/>
                </a:moveTo>
                <a:cubicBezTo>
                  <a:pt x="23187" y="29437"/>
                  <a:pt x="23218" y="29437"/>
                  <a:pt x="23218" y="29437"/>
                </a:cubicBezTo>
                <a:cubicBezTo>
                  <a:pt x="23218" y="29437"/>
                  <a:pt x="23187" y="29437"/>
                  <a:pt x="23156" y="29437"/>
                </a:cubicBezTo>
                <a:cubicBezTo>
                  <a:pt x="23156" y="29437"/>
                  <a:pt x="23156" y="29437"/>
                  <a:pt x="23156" y="29437"/>
                </a:cubicBezTo>
                <a:close/>
                <a:moveTo>
                  <a:pt x="23156" y="29500"/>
                </a:moveTo>
                <a:cubicBezTo>
                  <a:pt x="23156" y="29469"/>
                  <a:pt x="23156" y="29469"/>
                  <a:pt x="23156" y="29437"/>
                </a:cubicBezTo>
                <a:cubicBezTo>
                  <a:pt x="23156" y="29469"/>
                  <a:pt x="23156" y="29469"/>
                  <a:pt x="23156" y="29500"/>
                </a:cubicBezTo>
                <a:cubicBezTo>
                  <a:pt x="23218" y="29500"/>
                  <a:pt x="23250" y="29531"/>
                  <a:pt x="23250" y="29594"/>
                </a:cubicBezTo>
                <a:cubicBezTo>
                  <a:pt x="23250" y="29531"/>
                  <a:pt x="23218" y="29500"/>
                  <a:pt x="23156" y="29500"/>
                </a:cubicBezTo>
                <a:close/>
                <a:moveTo>
                  <a:pt x="23437" y="26437"/>
                </a:moveTo>
                <a:cubicBezTo>
                  <a:pt x="23406" y="26437"/>
                  <a:pt x="23375" y="26437"/>
                  <a:pt x="23375" y="26437"/>
                </a:cubicBezTo>
                <a:cubicBezTo>
                  <a:pt x="23375" y="26437"/>
                  <a:pt x="23406" y="26437"/>
                  <a:pt x="23437" y="26437"/>
                </a:cubicBezTo>
                <a:cubicBezTo>
                  <a:pt x="23437" y="26437"/>
                  <a:pt x="23437" y="26437"/>
                  <a:pt x="23437" y="26437"/>
                </a:cubicBezTo>
                <a:close/>
                <a:moveTo>
                  <a:pt x="23468" y="26375"/>
                </a:moveTo>
                <a:cubicBezTo>
                  <a:pt x="23468" y="26375"/>
                  <a:pt x="23500" y="26375"/>
                  <a:pt x="23500" y="26375"/>
                </a:cubicBezTo>
                <a:cubicBezTo>
                  <a:pt x="23500" y="26375"/>
                  <a:pt x="23468" y="26375"/>
                  <a:pt x="23468" y="26375"/>
                </a:cubicBezTo>
                <a:close/>
                <a:moveTo>
                  <a:pt x="24406" y="26094"/>
                </a:moveTo>
                <a:cubicBezTo>
                  <a:pt x="24500" y="26094"/>
                  <a:pt x="24593" y="26094"/>
                  <a:pt x="24656" y="26094"/>
                </a:cubicBezTo>
                <a:cubicBezTo>
                  <a:pt x="24750" y="26031"/>
                  <a:pt x="24875" y="25969"/>
                  <a:pt x="24968" y="25906"/>
                </a:cubicBezTo>
                <a:cubicBezTo>
                  <a:pt x="24875" y="25969"/>
                  <a:pt x="24750" y="26031"/>
                  <a:pt x="24656" y="26094"/>
                </a:cubicBezTo>
                <a:cubicBezTo>
                  <a:pt x="24656" y="26094"/>
                  <a:pt x="24656" y="26094"/>
                  <a:pt x="24656" y="26094"/>
                </a:cubicBezTo>
                <a:cubicBezTo>
                  <a:pt x="24593" y="26094"/>
                  <a:pt x="24500" y="26094"/>
                  <a:pt x="24406" y="26094"/>
                </a:cubicBezTo>
                <a:cubicBezTo>
                  <a:pt x="24187" y="26062"/>
                  <a:pt x="23968" y="26062"/>
                  <a:pt x="23718" y="26094"/>
                </a:cubicBezTo>
                <a:cubicBezTo>
                  <a:pt x="23968" y="26062"/>
                  <a:pt x="24187" y="26062"/>
                  <a:pt x="24406" y="26094"/>
                </a:cubicBezTo>
                <a:close/>
                <a:moveTo>
                  <a:pt x="24687" y="34000"/>
                </a:moveTo>
                <a:cubicBezTo>
                  <a:pt x="24687" y="34000"/>
                  <a:pt x="24687" y="34000"/>
                  <a:pt x="24687" y="34000"/>
                </a:cubicBezTo>
                <a:cubicBezTo>
                  <a:pt x="24687" y="34000"/>
                  <a:pt x="24687" y="34000"/>
                  <a:pt x="24687" y="34000"/>
                </a:cubicBezTo>
                <a:cubicBezTo>
                  <a:pt x="24687" y="34000"/>
                  <a:pt x="24687" y="34000"/>
                  <a:pt x="24687" y="34000"/>
                </a:cubicBezTo>
                <a:close/>
                <a:moveTo>
                  <a:pt x="25562" y="29656"/>
                </a:moveTo>
                <a:cubicBezTo>
                  <a:pt x="25562" y="29656"/>
                  <a:pt x="25562" y="29656"/>
                  <a:pt x="25562" y="29656"/>
                </a:cubicBezTo>
                <a:cubicBezTo>
                  <a:pt x="25562" y="29625"/>
                  <a:pt x="25562" y="29625"/>
                  <a:pt x="25562" y="29594"/>
                </a:cubicBezTo>
                <a:cubicBezTo>
                  <a:pt x="25562" y="29625"/>
                  <a:pt x="25562" y="29625"/>
                  <a:pt x="25562" y="29656"/>
                </a:cubicBezTo>
                <a:close/>
                <a:moveTo>
                  <a:pt x="25843" y="29156"/>
                </a:moveTo>
                <a:cubicBezTo>
                  <a:pt x="25843" y="29156"/>
                  <a:pt x="25843" y="29156"/>
                  <a:pt x="25843" y="29156"/>
                </a:cubicBezTo>
                <a:cubicBezTo>
                  <a:pt x="25843" y="29156"/>
                  <a:pt x="25843" y="29156"/>
                  <a:pt x="25843" y="29156"/>
                </a:cubicBezTo>
                <a:cubicBezTo>
                  <a:pt x="25843" y="29156"/>
                  <a:pt x="25843" y="29156"/>
                  <a:pt x="25843" y="29156"/>
                </a:cubicBezTo>
                <a:close/>
                <a:moveTo>
                  <a:pt x="26375" y="29844"/>
                </a:moveTo>
                <a:cubicBezTo>
                  <a:pt x="26375" y="29844"/>
                  <a:pt x="26375" y="29844"/>
                  <a:pt x="26375" y="29844"/>
                </a:cubicBezTo>
                <a:cubicBezTo>
                  <a:pt x="26375" y="29844"/>
                  <a:pt x="26375" y="29875"/>
                  <a:pt x="26406" y="29906"/>
                </a:cubicBezTo>
                <a:cubicBezTo>
                  <a:pt x="26375" y="29875"/>
                  <a:pt x="26375" y="29844"/>
                  <a:pt x="26375" y="29844"/>
                </a:cubicBezTo>
                <a:close/>
                <a:moveTo>
                  <a:pt x="26437" y="29937"/>
                </a:moveTo>
                <a:cubicBezTo>
                  <a:pt x="26437" y="29937"/>
                  <a:pt x="26437" y="29937"/>
                  <a:pt x="26437" y="29937"/>
                </a:cubicBezTo>
                <a:cubicBezTo>
                  <a:pt x="26437" y="29969"/>
                  <a:pt x="26437" y="29969"/>
                  <a:pt x="26437" y="29969"/>
                </a:cubicBezTo>
                <a:cubicBezTo>
                  <a:pt x="26437" y="29969"/>
                  <a:pt x="26437" y="29969"/>
                  <a:pt x="26437" y="29937"/>
                </a:cubicBezTo>
                <a:close/>
                <a:moveTo>
                  <a:pt x="26468" y="30000"/>
                </a:moveTo>
                <a:cubicBezTo>
                  <a:pt x="26468" y="30000"/>
                  <a:pt x="26468" y="30000"/>
                  <a:pt x="26468" y="30000"/>
                </a:cubicBezTo>
                <a:cubicBezTo>
                  <a:pt x="26468" y="30000"/>
                  <a:pt x="26468" y="30000"/>
                  <a:pt x="26468" y="30000"/>
                </a:cubicBezTo>
                <a:close/>
                <a:moveTo>
                  <a:pt x="28031" y="34812"/>
                </a:moveTo>
                <a:cubicBezTo>
                  <a:pt x="28031" y="34812"/>
                  <a:pt x="28031" y="34781"/>
                  <a:pt x="28031" y="34781"/>
                </a:cubicBezTo>
                <a:cubicBezTo>
                  <a:pt x="28031" y="34781"/>
                  <a:pt x="28031" y="34812"/>
                  <a:pt x="28031" y="34812"/>
                </a:cubicBezTo>
                <a:cubicBezTo>
                  <a:pt x="28031" y="34812"/>
                  <a:pt x="28031" y="34812"/>
                  <a:pt x="28031" y="34812"/>
                </a:cubicBezTo>
                <a:close/>
                <a:moveTo>
                  <a:pt x="28406" y="35750"/>
                </a:moveTo>
                <a:cubicBezTo>
                  <a:pt x="28406" y="35812"/>
                  <a:pt x="28375" y="35875"/>
                  <a:pt x="28312" y="35875"/>
                </a:cubicBezTo>
                <a:cubicBezTo>
                  <a:pt x="28218" y="35875"/>
                  <a:pt x="28250" y="35812"/>
                  <a:pt x="28218" y="35750"/>
                </a:cubicBezTo>
                <a:cubicBezTo>
                  <a:pt x="28218" y="35594"/>
                  <a:pt x="28343" y="35469"/>
                  <a:pt x="28468" y="35500"/>
                </a:cubicBezTo>
                <a:cubicBezTo>
                  <a:pt x="28531" y="35500"/>
                  <a:pt x="28593" y="35500"/>
                  <a:pt x="28593" y="35562"/>
                </a:cubicBezTo>
                <a:cubicBezTo>
                  <a:pt x="28593" y="35625"/>
                  <a:pt x="28562" y="35656"/>
                  <a:pt x="28500" y="35656"/>
                </a:cubicBezTo>
                <a:cubicBezTo>
                  <a:pt x="28406" y="35656"/>
                  <a:pt x="28375" y="35687"/>
                  <a:pt x="28406" y="35750"/>
                </a:cubicBezTo>
                <a:close/>
                <a:moveTo>
                  <a:pt x="28500" y="36187"/>
                </a:moveTo>
                <a:cubicBezTo>
                  <a:pt x="28468" y="36156"/>
                  <a:pt x="28437" y="36156"/>
                  <a:pt x="28437" y="36125"/>
                </a:cubicBezTo>
                <a:cubicBezTo>
                  <a:pt x="28437" y="36062"/>
                  <a:pt x="28437" y="36031"/>
                  <a:pt x="28500" y="36031"/>
                </a:cubicBezTo>
                <a:cubicBezTo>
                  <a:pt x="28625" y="36062"/>
                  <a:pt x="28656" y="36000"/>
                  <a:pt x="28656" y="35875"/>
                </a:cubicBezTo>
                <a:cubicBezTo>
                  <a:pt x="28625" y="35844"/>
                  <a:pt x="28687" y="35812"/>
                  <a:pt x="28718" y="35812"/>
                </a:cubicBezTo>
                <a:cubicBezTo>
                  <a:pt x="28781" y="35812"/>
                  <a:pt x="28781" y="35875"/>
                  <a:pt x="28781" y="35937"/>
                </a:cubicBezTo>
                <a:cubicBezTo>
                  <a:pt x="28781" y="36062"/>
                  <a:pt x="28656" y="36187"/>
                  <a:pt x="28500" y="36187"/>
                </a:cubicBezTo>
                <a:close/>
                <a:moveTo>
                  <a:pt x="29031" y="36187"/>
                </a:moveTo>
                <a:cubicBezTo>
                  <a:pt x="29031" y="36031"/>
                  <a:pt x="29031" y="35875"/>
                  <a:pt x="29062" y="35719"/>
                </a:cubicBezTo>
                <a:cubicBezTo>
                  <a:pt x="29062" y="35719"/>
                  <a:pt x="29062" y="35719"/>
                  <a:pt x="29062" y="35719"/>
                </a:cubicBezTo>
                <a:cubicBezTo>
                  <a:pt x="29031" y="35875"/>
                  <a:pt x="29031" y="36031"/>
                  <a:pt x="29031" y="36187"/>
                </a:cubicBezTo>
                <a:close/>
                <a:moveTo>
                  <a:pt x="36249" y="36344"/>
                </a:moveTo>
                <a:cubicBezTo>
                  <a:pt x="36249" y="36344"/>
                  <a:pt x="36249" y="36344"/>
                  <a:pt x="36249" y="36344"/>
                </a:cubicBezTo>
                <a:cubicBezTo>
                  <a:pt x="36281" y="36344"/>
                  <a:pt x="36281" y="36344"/>
                  <a:pt x="36281" y="36312"/>
                </a:cubicBezTo>
                <a:cubicBezTo>
                  <a:pt x="36281" y="36344"/>
                  <a:pt x="36281" y="36344"/>
                  <a:pt x="36249" y="36344"/>
                </a:cubicBezTo>
                <a:close/>
                <a:moveTo>
                  <a:pt x="36531" y="35750"/>
                </a:moveTo>
                <a:cubicBezTo>
                  <a:pt x="36531" y="35750"/>
                  <a:pt x="36531" y="35750"/>
                  <a:pt x="36531" y="35750"/>
                </a:cubicBezTo>
                <a:cubicBezTo>
                  <a:pt x="36531" y="35750"/>
                  <a:pt x="36531" y="35750"/>
                  <a:pt x="36531" y="35750"/>
                </a:cubicBezTo>
                <a:cubicBezTo>
                  <a:pt x="36531" y="35719"/>
                  <a:pt x="36531" y="35719"/>
                  <a:pt x="36531" y="35719"/>
                </a:cubicBezTo>
                <a:cubicBezTo>
                  <a:pt x="36531" y="35719"/>
                  <a:pt x="36531" y="35719"/>
                  <a:pt x="36531" y="35750"/>
                </a:cubicBezTo>
                <a:close/>
                <a:moveTo>
                  <a:pt x="37031" y="35656"/>
                </a:moveTo>
                <a:cubicBezTo>
                  <a:pt x="37031" y="35656"/>
                  <a:pt x="36999" y="35625"/>
                  <a:pt x="36999" y="35625"/>
                </a:cubicBezTo>
                <a:cubicBezTo>
                  <a:pt x="36999" y="35625"/>
                  <a:pt x="37031" y="35656"/>
                  <a:pt x="37031" y="35656"/>
                </a:cubicBezTo>
                <a:cubicBezTo>
                  <a:pt x="37031" y="35656"/>
                  <a:pt x="37031" y="35656"/>
                  <a:pt x="37031" y="35656"/>
                </a:cubicBezTo>
                <a:close/>
                <a:moveTo>
                  <a:pt x="12281" y="3281"/>
                </a:moveTo>
                <a:cubicBezTo>
                  <a:pt x="12281" y="3281"/>
                  <a:pt x="12281" y="3312"/>
                  <a:pt x="12281" y="3312"/>
                </a:cubicBezTo>
                <a:cubicBezTo>
                  <a:pt x="12312" y="3281"/>
                  <a:pt x="12343" y="3250"/>
                  <a:pt x="12406" y="3219"/>
                </a:cubicBezTo>
                <a:cubicBezTo>
                  <a:pt x="12406" y="3156"/>
                  <a:pt x="12343" y="3094"/>
                  <a:pt x="12312" y="3031"/>
                </a:cubicBezTo>
                <a:cubicBezTo>
                  <a:pt x="12218" y="3094"/>
                  <a:pt x="12218" y="3187"/>
                  <a:pt x="12281" y="3281"/>
                </a:cubicBezTo>
                <a:close/>
                <a:moveTo>
                  <a:pt x="15750" y="5875"/>
                </a:moveTo>
                <a:cubicBezTo>
                  <a:pt x="15625" y="5906"/>
                  <a:pt x="15562" y="5781"/>
                  <a:pt x="15468" y="5719"/>
                </a:cubicBezTo>
                <a:cubicBezTo>
                  <a:pt x="15437" y="5750"/>
                  <a:pt x="15437" y="5781"/>
                  <a:pt x="15437" y="5812"/>
                </a:cubicBezTo>
                <a:cubicBezTo>
                  <a:pt x="15625" y="5875"/>
                  <a:pt x="15812" y="5937"/>
                  <a:pt x="16000" y="6000"/>
                </a:cubicBezTo>
                <a:cubicBezTo>
                  <a:pt x="15937" y="5937"/>
                  <a:pt x="15843" y="5906"/>
                  <a:pt x="15750" y="5875"/>
                </a:cubicBezTo>
                <a:close/>
                <a:moveTo>
                  <a:pt x="23312" y="23000"/>
                </a:moveTo>
                <a:cubicBezTo>
                  <a:pt x="23281" y="23000"/>
                  <a:pt x="23281" y="23000"/>
                  <a:pt x="23281" y="23000"/>
                </a:cubicBezTo>
                <a:cubicBezTo>
                  <a:pt x="23281" y="23000"/>
                  <a:pt x="23250" y="23000"/>
                  <a:pt x="23250" y="23000"/>
                </a:cubicBezTo>
                <a:cubicBezTo>
                  <a:pt x="23250" y="23000"/>
                  <a:pt x="23250" y="23031"/>
                  <a:pt x="23281" y="23031"/>
                </a:cubicBezTo>
                <a:cubicBezTo>
                  <a:pt x="23281" y="23031"/>
                  <a:pt x="23312" y="23031"/>
                  <a:pt x="23312" y="23000"/>
                </a:cubicBezTo>
                <a:close/>
                <a:moveTo>
                  <a:pt x="22937" y="23219"/>
                </a:moveTo>
                <a:cubicBezTo>
                  <a:pt x="22968" y="23219"/>
                  <a:pt x="22968" y="23219"/>
                  <a:pt x="23000" y="23187"/>
                </a:cubicBezTo>
                <a:cubicBezTo>
                  <a:pt x="22968" y="23187"/>
                  <a:pt x="22968" y="23187"/>
                  <a:pt x="22968" y="23187"/>
                </a:cubicBezTo>
                <a:cubicBezTo>
                  <a:pt x="22937" y="23187"/>
                  <a:pt x="22937" y="23187"/>
                  <a:pt x="22937" y="23187"/>
                </a:cubicBezTo>
                <a:cubicBezTo>
                  <a:pt x="22906" y="23219"/>
                  <a:pt x="22937" y="23219"/>
                  <a:pt x="22937" y="23219"/>
                </a:cubicBezTo>
                <a:close/>
                <a:moveTo>
                  <a:pt x="18531" y="24937"/>
                </a:moveTo>
                <a:cubicBezTo>
                  <a:pt x="18562" y="24937"/>
                  <a:pt x="18562" y="24906"/>
                  <a:pt x="18562" y="24906"/>
                </a:cubicBezTo>
                <a:cubicBezTo>
                  <a:pt x="18593" y="24906"/>
                  <a:pt x="18593" y="24906"/>
                  <a:pt x="18593" y="24906"/>
                </a:cubicBezTo>
                <a:cubicBezTo>
                  <a:pt x="19031" y="24906"/>
                  <a:pt x="19437" y="24875"/>
                  <a:pt x="19843" y="24781"/>
                </a:cubicBezTo>
                <a:cubicBezTo>
                  <a:pt x="19906" y="24781"/>
                  <a:pt x="19968" y="24781"/>
                  <a:pt x="19968" y="24687"/>
                </a:cubicBezTo>
                <a:cubicBezTo>
                  <a:pt x="19968" y="24625"/>
                  <a:pt x="19906" y="24625"/>
                  <a:pt x="19843" y="24625"/>
                </a:cubicBezTo>
                <a:lnTo>
                  <a:pt x="19843" y="24625"/>
                </a:lnTo>
                <a:cubicBezTo>
                  <a:pt x="19562" y="24531"/>
                  <a:pt x="19281" y="24531"/>
                  <a:pt x="19000" y="24500"/>
                </a:cubicBezTo>
                <a:cubicBezTo>
                  <a:pt x="18812" y="24469"/>
                  <a:pt x="18625" y="24469"/>
                  <a:pt x="18406" y="24437"/>
                </a:cubicBezTo>
                <a:cubicBezTo>
                  <a:pt x="18250" y="24406"/>
                  <a:pt x="18062" y="24437"/>
                  <a:pt x="17906" y="24375"/>
                </a:cubicBezTo>
                <a:cubicBezTo>
                  <a:pt x="17687" y="24281"/>
                  <a:pt x="17468" y="24219"/>
                  <a:pt x="17250" y="24250"/>
                </a:cubicBezTo>
                <a:cubicBezTo>
                  <a:pt x="17062" y="24250"/>
                  <a:pt x="16875" y="24250"/>
                  <a:pt x="16687" y="24250"/>
                </a:cubicBezTo>
                <a:cubicBezTo>
                  <a:pt x="16406" y="24250"/>
                  <a:pt x="16125" y="24250"/>
                  <a:pt x="15875" y="24250"/>
                </a:cubicBezTo>
                <a:cubicBezTo>
                  <a:pt x="15593" y="24250"/>
                  <a:pt x="15312" y="24250"/>
                  <a:pt x="15062" y="24250"/>
                </a:cubicBezTo>
                <a:cubicBezTo>
                  <a:pt x="14781" y="24250"/>
                  <a:pt x="14500" y="24250"/>
                  <a:pt x="14250" y="24250"/>
                </a:cubicBezTo>
                <a:cubicBezTo>
                  <a:pt x="13968" y="24250"/>
                  <a:pt x="13687" y="24281"/>
                  <a:pt x="13437" y="24219"/>
                </a:cubicBezTo>
                <a:cubicBezTo>
                  <a:pt x="13156" y="24187"/>
                  <a:pt x="12906" y="24375"/>
                  <a:pt x="12656" y="24250"/>
                </a:cubicBezTo>
                <a:cubicBezTo>
                  <a:pt x="12656" y="24250"/>
                  <a:pt x="12625" y="24250"/>
                  <a:pt x="12625" y="24250"/>
                </a:cubicBezTo>
                <a:cubicBezTo>
                  <a:pt x="12406" y="24344"/>
                  <a:pt x="12156" y="24344"/>
                  <a:pt x="11937" y="24344"/>
                </a:cubicBezTo>
                <a:cubicBezTo>
                  <a:pt x="11656" y="24344"/>
                  <a:pt x="11406" y="24375"/>
                  <a:pt x="11125" y="24344"/>
                </a:cubicBezTo>
                <a:cubicBezTo>
                  <a:pt x="10687" y="24344"/>
                  <a:pt x="10250" y="24406"/>
                  <a:pt x="9781" y="24406"/>
                </a:cubicBezTo>
                <a:cubicBezTo>
                  <a:pt x="9406" y="24406"/>
                  <a:pt x="9062" y="24500"/>
                  <a:pt x="8687" y="24500"/>
                </a:cubicBezTo>
                <a:cubicBezTo>
                  <a:pt x="8531" y="24500"/>
                  <a:pt x="8406" y="24500"/>
                  <a:pt x="8312" y="24562"/>
                </a:cubicBezTo>
                <a:cubicBezTo>
                  <a:pt x="8250" y="24594"/>
                  <a:pt x="8187" y="24562"/>
                  <a:pt x="8187" y="24625"/>
                </a:cubicBezTo>
                <a:cubicBezTo>
                  <a:pt x="8187" y="24687"/>
                  <a:pt x="8250" y="24719"/>
                  <a:pt x="8312" y="24750"/>
                </a:cubicBezTo>
                <a:cubicBezTo>
                  <a:pt x="8468" y="24812"/>
                  <a:pt x="8656" y="24812"/>
                  <a:pt x="8843" y="24812"/>
                </a:cubicBezTo>
                <a:cubicBezTo>
                  <a:pt x="9406" y="24781"/>
                  <a:pt x="10000" y="24875"/>
                  <a:pt x="10593" y="24906"/>
                </a:cubicBezTo>
                <a:cubicBezTo>
                  <a:pt x="11218" y="24906"/>
                  <a:pt x="11875" y="24906"/>
                  <a:pt x="12500" y="24906"/>
                </a:cubicBezTo>
                <a:cubicBezTo>
                  <a:pt x="12562" y="24906"/>
                  <a:pt x="12656" y="24875"/>
                  <a:pt x="12656" y="25000"/>
                </a:cubicBezTo>
                <a:cubicBezTo>
                  <a:pt x="12687" y="24937"/>
                  <a:pt x="12718" y="24875"/>
                  <a:pt x="12781" y="24875"/>
                </a:cubicBezTo>
                <a:cubicBezTo>
                  <a:pt x="12906" y="24906"/>
                  <a:pt x="13031" y="24875"/>
                  <a:pt x="13125" y="24906"/>
                </a:cubicBezTo>
                <a:cubicBezTo>
                  <a:pt x="13750" y="24937"/>
                  <a:pt x="14375" y="24875"/>
                  <a:pt x="15000" y="24937"/>
                </a:cubicBezTo>
                <a:cubicBezTo>
                  <a:pt x="15468" y="25000"/>
                  <a:pt x="15937" y="24937"/>
                  <a:pt x="16406" y="24969"/>
                </a:cubicBezTo>
                <a:cubicBezTo>
                  <a:pt x="16656" y="24969"/>
                  <a:pt x="16906" y="24969"/>
                  <a:pt x="17156" y="24969"/>
                </a:cubicBezTo>
                <a:cubicBezTo>
                  <a:pt x="17156" y="25000"/>
                  <a:pt x="17187" y="25000"/>
                  <a:pt x="17187" y="24969"/>
                </a:cubicBezTo>
                <a:cubicBezTo>
                  <a:pt x="17437" y="25000"/>
                  <a:pt x="17656" y="24937"/>
                  <a:pt x="17875" y="24969"/>
                </a:cubicBezTo>
                <a:cubicBezTo>
                  <a:pt x="18031" y="25000"/>
                  <a:pt x="18187" y="24937"/>
                  <a:pt x="18312" y="24969"/>
                </a:cubicBezTo>
                <a:cubicBezTo>
                  <a:pt x="18375" y="24969"/>
                  <a:pt x="18437" y="25000"/>
                  <a:pt x="18468" y="24906"/>
                </a:cubicBezTo>
                <a:cubicBezTo>
                  <a:pt x="18468" y="24906"/>
                  <a:pt x="18500" y="24906"/>
                  <a:pt x="18531" y="24906"/>
                </a:cubicBezTo>
                <a:cubicBezTo>
                  <a:pt x="18531" y="24906"/>
                  <a:pt x="18531" y="24937"/>
                  <a:pt x="18531" y="24937"/>
                </a:cubicBezTo>
                <a:close/>
                <a:moveTo>
                  <a:pt x="6843" y="24156"/>
                </a:moveTo>
                <a:cubicBezTo>
                  <a:pt x="6843" y="24156"/>
                  <a:pt x="6812" y="24156"/>
                  <a:pt x="6812" y="24187"/>
                </a:cubicBezTo>
                <a:cubicBezTo>
                  <a:pt x="6812" y="24187"/>
                  <a:pt x="6812" y="24219"/>
                  <a:pt x="6843" y="24219"/>
                </a:cubicBezTo>
                <a:cubicBezTo>
                  <a:pt x="6843" y="24219"/>
                  <a:pt x="6875" y="24187"/>
                  <a:pt x="6875" y="24187"/>
                </a:cubicBezTo>
                <a:cubicBezTo>
                  <a:pt x="6875" y="24187"/>
                  <a:pt x="6875" y="24156"/>
                  <a:pt x="6843" y="24156"/>
                </a:cubicBezTo>
                <a:close/>
                <a:moveTo>
                  <a:pt x="6656" y="24156"/>
                </a:moveTo>
                <a:cubicBezTo>
                  <a:pt x="6656" y="24156"/>
                  <a:pt x="6625" y="24156"/>
                  <a:pt x="6625" y="24187"/>
                </a:cubicBezTo>
                <a:cubicBezTo>
                  <a:pt x="6625" y="24219"/>
                  <a:pt x="6656" y="24219"/>
                  <a:pt x="6656" y="24219"/>
                </a:cubicBezTo>
                <a:cubicBezTo>
                  <a:pt x="6687" y="24219"/>
                  <a:pt x="6687" y="24219"/>
                  <a:pt x="6718" y="24187"/>
                </a:cubicBezTo>
                <a:cubicBezTo>
                  <a:pt x="6718" y="24156"/>
                  <a:pt x="6687" y="24156"/>
                  <a:pt x="6656" y="24156"/>
                </a:cubicBezTo>
                <a:close/>
                <a:moveTo>
                  <a:pt x="16593" y="24875"/>
                </a:moveTo>
                <a:cubicBezTo>
                  <a:pt x="16593" y="24875"/>
                  <a:pt x="16625" y="24875"/>
                  <a:pt x="16656" y="24844"/>
                </a:cubicBezTo>
                <a:cubicBezTo>
                  <a:pt x="16625" y="24875"/>
                  <a:pt x="16593" y="24875"/>
                  <a:pt x="16593" y="24875"/>
                </a:cubicBezTo>
                <a:close/>
                <a:moveTo>
                  <a:pt x="16656" y="24812"/>
                </a:moveTo>
                <a:cubicBezTo>
                  <a:pt x="16656" y="24812"/>
                  <a:pt x="16656" y="24812"/>
                  <a:pt x="16656" y="24812"/>
                </a:cubicBezTo>
                <a:cubicBezTo>
                  <a:pt x="16718" y="24812"/>
                  <a:pt x="16781" y="24812"/>
                  <a:pt x="16843" y="24812"/>
                </a:cubicBezTo>
                <a:cubicBezTo>
                  <a:pt x="16781" y="24812"/>
                  <a:pt x="16718" y="24812"/>
                  <a:pt x="16656" y="24812"/>
                </a:cubicBezTo>
                <a:close/>
                <a:moveTo>
                  <a:pt x="27812" y="12000"/>
                </a:move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ubicBezTo>
                  <a:pt x="27812" y="12000"/>
                  <a:pt x="27812" y="12000"/>
                  <a:pt x="27812" y="12000"/>
                </a:cubicBezTo>
                <a:close/>
                <a:moveTo>
                  <a:pt x="27750" y="12437"/>
                </a:moveTo>
                <a:cubicBezTo>
                  <a:pt x="27750" y="12437"/>
                  <a:pt x="27750" y="12406"/>
                  <a:pt x="27750" y="12406"/>
                </a:cubicBezTo>
                <a:cubicBezTo>
                  <a:pt x="27750" y="12406"/>
                  <a:pt x="27750" y="12406"/>
                  <a:pt x="27718" y="12406"/>
                </a:cubicBezTo>
                <a:cubicBezTo>
                  <a:pt x="27718" y="12406"/>
                  <a:pt x="27718" y="12406"/>
                  <a:pt x="27718" y="12437"/>
                </a:cubicBezTo>
                <a:cubicBezTo>
                  <a:pt x="27718" y="12437"/>
                  <a:pt x="27750" y="12437"/>
                  <a:pt x="27750" y="12437"/>
                </a:cubicBezTo>
                <a:close/>
                <a:moveTo>
                  <a:pt x="28156" y="11844"/>
                </a:moveTo>
                <a:cubicBezTo>
                  <a:pt x="28000" y="11937"/>
                  <a:pt x="28000" y="11937"/>
                  <a:pt x="28000" y="11937"/>
                </a:cubicBezTo>
                <a:cubicBezTo>
                  <a:pt x="28093" y="11969"/>
                  <a:pt x="28156" y="11937"/>
                  <a:pt x="28156" y="11844"/>
                </a:cubicBezTo>
                <a:close/>
                <a:moveTo>
                  <a:pt x="28218" y="11562"/>
                </a:moveTo>
                <a:cubicBezTo>
                  <a:pt x="28187" y="11687"/>
                  <a:pt x="28187" y="11687"/>
                  <a:pt x="28187" y="11687"/>
                </a:cubicBezTo>
                <a:cubicBezTo>
                  <a:pt x="28218" y="11656"/>
                  <a:pt x="28250" y="11625"/>
                  <a:pt x="28218" y="11562"/>
                </a:cubicBezTo>
                <a:close/>
                <a:moveTo>
                  <a:pt x="26093" y="17875"/>
                </a:moveTo>
                <a:cubicBezTo>
                  <a:pt x="26343" y="17750"/>
                  <a:pt x="26468" y="17594"/>
                  <a:pt x="26593" y="17344"/>
                </a:cubicBezTo>
                <a:cubicBezTo>
                  <a:pt x="26687" y="17125"/>
                  <a:pt x="26843" y="16969"/>
                  <a:pt x="27031" y="16844"/>
                </a:cubicBezTo>
                <a:cubicBezTo>
                  <a:pt x="27062" y="16844"/>
                  <a:pt x="27093" y="16812"/>
                  <a:pt x="27093" y="16750"/>
                </a:cubicBezTo>
                <a:cubicBezTo>
                  <a:pt x="27125" y="16562"/>
                  <a:pt x="27250" y="16406"/>
                  <a:pt x="27343" y="16250"/>
                </a:cubicBezTo>
                <a:cubicBezTo>
                  <a:pt x="27406" y="16125"/>
                  <a:pt x="27500" y="16031"/>
                  <a:pt x="27593" y="15906"/>
                </a:cubicBezTo>
                <a:cubicBezTo>
                  <a:pt x="27687" y="15719"/>
                  <a:pt x="27750" y="15500"/>
                  <a:pt x="27843" y="15312"/>
                </a:cubicBezTo>
                <a:cubicBezTo>
                  <a:pt x="27937" y="15094"/>
                  <a:pt x="28031" y="14875"/>
                  <a:pt x="28031" y="14656"/>
                </a:cubicBezTo>
                <a:cubicBezTo>
                  <a:pt x="28031" y="14562"/>
                  <a:pt x="28062" y="14437"/>
                  <a:pt x="28093" y="14344"/>
                </a:cubicBezTo>
                <a:cubicBezTo>
                  <a:pt x="28125" y="14312"/>
                  <a:pt x="28187" y="14281"/>
                  <a:pt x="28187" y="14219"/>
                </a:cubicBezTo>
                <a:cubicBezTo>
                  <a:pt x="28187" y="14031"/>
                  <a:pt x="28187" y="13812"/>
                  <a:pt x="28187" y="13625"/>
                </a:cubicBezTo>
                <a:cubicBezTo>
                  <a:pt x="28156" y="13375"/>
                  <a:pt x="28187" y="13125"/>
                  <a:pt x="28187" y="12875"/>
                </a:cubicBezTo>
                <a:cubicBezTo>
                  <a:pt x="28187" y="12844"/>
                  <a:pt x="28187" y="12781"/>
                  <a:pt x="28218" y="12719"/>
                </a:cubicBezTo>
                <a:cubicBezTo>
                  <a:pt x="28281" y="12625"/>
                  <a:pt x="28281" y="12531"/>
                  <a:pt x="28281" y="12406"/>
                </a:cubicBezTo>
                <a:cubicBezTo>
                  <a:pt x="28250" y="12281"/>
                  <a:pt x="28250" y="12187"/>
                  <a:pt x="28125" y="12156"/>
                </a:cubicBezTo>
                <a:cubicBezTo>
                  <a:pt x="28125" y="12156"/>
                  <a:pt x="28125" y="12156"/>
                  <a:pt x="28125" y="12156"/>
                </a:cubicBezTo>
                <a:cubicBezTo>
                  <a:pt x="28062" y="12156"/>
                  <a:pt x="27968" y="12125"/>
                  <a:pt x="27906" y="12094"/>
                </a:cubicBezTo>
                <a:cubicBezTo>
                  <a:pt x="27937" y="12187"/>
                  <a:pt x="28000" y="12281"/>
                  <a:pt x="27906" y="12375"/>
                </a:cubicBezTo>
                <a:cubicBezTo>
                  <a:pt x="27875" y="12375"/>
                  <a:pt x="27875" y="12406"/>
                  <a:pt x="27906" y="12406"/>
                </a:cubicBezTo>
                <a:cubicBezTo>
                  <a:pt x="28000" y="12437"/>
                  <a:pt x="27937" y="12500"/>
                  <a:pt x="27937" y="12562"/>
                </a:cubicBezTo>
                <a:cubicBezTo>
                  <a:pt x="27937" y="12750"/>
                  <a:pt x="27968" y="12937"/>
                  <a:pt x="27968" y="13156"/>
                </a:cubicBezTo>
                <a:cubicBezTo>
                  <a:pt x="27937" y="13562"/>
                  <a:pt x="27968" y="13969"/>
                  <a:pt x="27875" y="14375"/>
                </a:cubicBezTo>
                <a:cubicBezTo>
                  <a:pt x="27843" y="14469"/>
                  <a:pt x="27875" y="14594"/>
                  <a:pt x="27843" y="14719"/>
                </a:cubicBezTo>
                <a:cubicBezTo>
                  <a:pt x="27750" y="14875"/>
                  <a:pt x="27750" y="15062"/>
                  <a:pt x="27687" y="15219"/>
                </a:cubicBezTo>
                <a:cubicBezTo>
                  <a:pt x="27593" y="15531"/>
                  <a:pt x="27468" y="15812"/>
                  <a:pt x="27312" y="16094"/>
                </a:cubicBezTo>
                <a:cubicBezTo>
                  <a:pt x="27187" y="16281"/>
                  <a:pt x="27093" y="16469"/>
                  <a:pt x="26968" y="16656"/>
                </a:cubicBezTo>
                <a:cubicBezTo>
                  <a:pt x="26687" y="17031"/>
                  <a:pt x="26406" y="17375"/>
                  <a:pt x="26031" y="17656"/>
                </a:cubicBezTo>
                <a:cubicBezTo>
                  <a:pt x="25968" y="17750"/>
                  <a:pt x="25843" y="17781"/>
                  <a:pt x="25781" y="17906"/>
                </a:cubicBezTo>
                <a:cubicBezTo>
                  <a:pt x="25906" y="17969"/>
                  <a:pt x="26000" y="17906"/>
                  <a:pt x="26093" y="17875"/>
                </a:cubicBezTo>
                <a:close/>
                <a:moveTo>
                  <a:pt x="20281" y="5812"/>
                </a:moveTo>
                <a:cubicBezTo>
                  <a:pt x="20312" y="5812"/>
                  <a:pt x="20343" y="5812"/>
                  <a:pt x="20343" y="5750"/>
                </a:cubicBezTo>
                <a:cubicBezTo>
                  <a:pt x="20343" y="5719"/>
                  <a:pt x="20312" y="5719"/>
                  <a:pt x="20281" y="5687"/>
                </a:cubicBezTo>
                <a:cubicBezTo>
                  <a:pt x="20250" y="5719"/>
                  <a:pt x="20218" y="5719"/>
                  <a:pt x="20218" y="5750"/>
                </a:cubicBezTo>
                <a:cubicBezTo>
                  <a:pt x="20218" y="5781"/>
                  <a:pt x="20250" y="5812"/>
                  <a:pt x="20281" y="5812"/>
                </a:cubicBezTo>
                <a:close/>
                <a:moveTo>
                  <a:pt x="15562" y="26219"/>
                </a:moveTo>
                <a:cubicBezTo>
                  <a:pt x="15625" y="26219"/>
                  <a:pt x="15687" y="26219"/>
                  <a:pt x="15781" y="26219"/>
                </a:cubicBezTo>
                <a:cubicBezTo>
                  <a:pt x="15687" y="26187"/>
                  <a:pt x="15625" y="26187"/>
                  <a:pt x="15562" y="26219"/>
                </a:cubicBezTo>
                <a:close/>
                <a:moveTo>
                  <a:pt x="24812" y="4031"/>
                </a:moveTo>
                <a:cubicBezTo>
                  <a:pt x="24812" y="4062"/>
                  <a:pt x="24812" y="4062"/>
                  <a:pt x="24812" y="4062"/>
                </a:cubicBezTo>
                <a:cubicBezTo>
                  <a:pt x="24812" y="4062"/>
                  <a:pt x="24812" y="4062"/>
                  <a:pt x="24812" y="4094"/>
                </a:cubicBezTo>
                <a:cubicBezTo>
                  <a:pt x="24812" y="4062"/>
                  <a:pt x="24812" y="4062"/>
                  <a:pt x="24812" y="4062"/>
                </a:cubicBezTo>
                <a:cubicBezTo>
                  <a:pt x="24812" y="4062"/>
                  <a:pt x="24812" y="4062"/>
                  <a:pt x="24812" y="4031"/>
                </a:cubicBezTo>
                <a:close/>
                <a:moveTo>
                  <a:pt x="24750" y="3156"/>
                </a:moveTo>
                <a:cubicBezTo>
                  <a:pt x="24750" y="3187"/>
                  <a:pt x="24750" y="3219"/>
                  <a:pt x="24781" y="3219"/>
                </a:cubicBezTo>
                <a:cubicBezTo>
                  <a:pt x="24812" y="3156"/>
                  <a:pt x="24812" y="3094"/>
                  <a:pt x="24781" y="3031"/>
                </a:cubicBezTo>
                <a:cubicBezTo>
                  <a:pt x="24781" y="3031"/>
                  <a:pt x="24750" y="3031"/>
                  <a:pt x="24750" y="3031"/>
                </a:cubicBezTo>
                <a:cubicBezTo>
                  <a:pt x="24687" y="3062"/>
                  <a:pt x="24750" y="3125"/>
                  <a:pt x="24750" y="3156"/>
                </a:cubicBezTo>
                <a:close/>
                <a:moveTo>
                  <a:pt x="22031" y="969"/>
                </a:moveTo>
                <a:cubicBezTo>
                  <a:pt x="22031" y="969"/>
                  <a:pt x="22031" y="969"/>
                  <a:pt x="22031" y="969"/>
                </a:cubicBezTo>
                <a:cubicBezTo>
                  <a:pt x="22031" y="969"/>
                  <a:pt x="22000" y="969"/>
                  <a:pt x="22000" y="969"/>
                </a:cubicBezTo>
                <a:cubicBezTo>
                  <a:pt x="22000" y="969"/>
                  <a:pt x="22000" y="969"/>
                  <a:pt x="22000" y="969"/>
                </a:cubicBezTo>
                <a:cubicBezTo>
                  <a:pt x="22000" y="969"/>
                  <a:pt x="22031" y="969"/>
                  <a:pt x="22031" y="969"/>
                </a:cubicBezTo>
                <a:cubicBezTo>
                  <a:pt x="22031" y="1031"/>
                  <a:pt x="22093" y="1062"/>
                  <a:pt x="22125" y="1094"/>
                </a:cubicBezTo>
                <a:cubicBezTo>
                  <a:pt x="22156" y="1125"/>
                  <a:pt x="22187" y="1125"/>
                  <a:pt x="22218" y="1062"/>
                </a:cubicBezTo>
                <a:cubicBezTo>
                  <a:pt x="22250" y="1031"/>
                  <a:pt x="22187" y="1031"/>
                  <a:pt x="22156" y="1031"/>
                </a:cubicBezTo>
                <a:cubicBezTo>
                  <a:pt x="22125" y="1000"/>
                  <a:pt x="22062" y="1000"/>
                  <a:pt x="22031" y="969"/>
                </a:cubicBezTo>
                <a:close/>
                <a:moveTo>
                  <a:pt x="12125" y="1812"/>
                </a:moveTo>
                <a:cubicBezTo>
                  <a:pt x="12093" y="1844"/>
                  <a:pt x="12125" y="1844"/>
                  <a:pt x="12125" y="1844"/>
                </a:cubicBezTo>
                <a:cubicBezTo>
                  <a:pt x="12125" y="1844"/>
                  <a:pt x="12156" y="1844"/>
                  <a:pt x="12156" y="1812"/>
                </a:cubicBezTo>
                <a:cubicBezTo>
                  <a:pt x="12156" y="1812"/>
                  <a:pt x="12156" y="1812"/>
                  <a:pt x="12125" y="1812"/>
                </a:cubicBezTo>
                <a:cubicBezTo>
                  <a:pt x="12125" y="1812"/>
                  <a:pt x="12125" y="1812"/>
                  <a:pt x="12125" y="1812"/>
                </a:cubicBezTo>
                <a:close/>
                <a:moveTo>
                  <a:pt x="12000" y="1781"/>
                </a:moveTo>
                <a:cubicBezTo>
                  <a:pt x="11968" y="1750"/>
                  <a:pt x="11968" y="1781"/>
                  <a:pt x="11968" y="1781"/>
                </a:cubicBezTo>
                <a:cubicBezTo>
                  <a:pt x="11968" y="1812"/>
                  <a:pt x="11968" y="1812"/>
                  <a:pt x="12000" y="1812"/>
                </a:cubicBezTo>
                <a:cubicBezTo>
                  <a:pt x="12000" y="1812"/>
                  <a:pt x="12031" y="1812"/>
                  <a:pt x="12031" y="1781"/>
                </a:cubicBezTo>
                <a:cubicBezTo>
                  <a:pt x="12000" y="1781"/>
                  <a:pt x="12000" y="1781"/>
                  <a:pt x="12000" y="1781"/>
                </a:cubicBezTo>
                <a:close/>
                <a:moveTo>
                  <a:pt x="29125" y="10250"/>
                </a:moveTo>
                <a:cubicBezTo>
                  <a:pt x="29125" y="10250"/>
                  <a:pt x="29156" y="10219"/>
                  <a:pt x="29156" y="10219"/>
                </a:cubicBezTo>
                <a:cubicBezTo>
                  <a:pt x="29156" y="10219"/>
                  <a:pt x="29156" y="10187"/>
                  <a:pt x="29125" y="10187"/>
                </a:cubicBezTo>
                <a:cubicBezTo>
                  <a:pt x="29125" y="10187"/>
                  <a:pt x="29093" y="10219"/>
                  <a:pt x="29093" y="10219"/>
                </a:cubicBezTo>
                <a:cubicBezTo>
                  <a:pt x="29093" y="10219"/>
                  <a:pt x="29093" y="10250"/>
                  <a:pt x="29125" y="10250"/>
                </a:cubicBezTo>
                <a:close/>
                <a:moveTo>
                  <a:pt x="12031" y="1375"/>
                </a:moveTo>
                <a:cubicBezTo>
                  <a:pt x="11968" y="1375"/>
                  <a:pt x="11906" y="1375"/>
                  <a:pt x="11843" y="1375"/>
                </a:cubicBezTo>
                <a:cubicBezTo>
                  <a:pt x="11906" y="1406"/>
                  <a:pt x="11968" y="1437"/>
                  <a:pt x="12031" y="1375"/>
                </a:cubicBezTo>
                <a:cubicBezTo>
                  <a:pt x="12093" y="1375"/>
                  <a:pt x="12093" y="1281"/>
                  <a:pt x="12125" y="1250"/>
                </a:cubicBezTo>
                <a:cubicBezTo>
                  <a:pt x="12125" y="1219"/>
                  <a:pt x="12125" y="1156"/>
                  <a:pt x="12093" y="1187"/>
                </a:cubicBezTo>
                <a:cubicBezTo>
                  <a:pt x="12000" y="1219"/>
                  <a:pt x="11875" y="1125"/>
                  <a:pt x="11781" y="1219"/>
                </a:cubicBezTo>
                <a:cubicBezTo>
                  <a:pt x="12062" y="1219"/>
                  <a:pt x="12062" y="1219"/>
                  <a:pt x="12031" y="1375"/>
                </a:cubicBezTo>
                <a:close/>
                <a:moveTo>
                  <a:pt x="12250" y="1625"/>
                </a:moveTo>
                <a:cubicBezTo>
                  <a:pt x="12250" y="1625"/>
                  <a:pt x="12250" y="1625"/>
                  <a:pt x="12250" y="1625"/>
                </a:cubicBezTo>
                <a:cubicBezTo>
                  <a:pt x="12250" y="1625"/>
                  <a:pt x="12250" y="1625"/>
                  <a:pt x="12250" y="1625"/>
                </a:cubicBezTo>
                <a:lnTo>
                  <a:pt x="12250" y="1625"/>
                </a:lnTo>
                <a:cubicBezTo>
                  <a:pt x="12250" y="1625"/>
                  <a:pt x="12250" y="1625"/>
                  <a:pt x="12250" y="1625"/>
                </a:cubicBezTo>
                <a:close/>
                <a:moveTo>
                  <a:pt x="21312" y="375"/>
                </a:moveTo>
                <a:cubicBezTo>
                  <a:pt x="21343" y="375"/>
                  <a:pt x="21343" y="344"/>
                  <a:pt x="21343" y="344"/>
                </a:cubicBezTo>
                <a:cubicBezTo>
                  <a:pt x="21343" y="312"/>
                  <a:pt x="21343" y="281"/>
                  <a:pt x="21312" y="281"/>
                </a:cubicBezTo>
                <a:cubicBezTo>
                  <a:pt x="21312" y="281"/>
                  <a:pt x="21281" y="312"/>
                  <a:pt x="21281" y="312"/>
                </a:cubicBezTo>
                <a:cubicBezTo>
                  <a:pt x="21281" y="344"/>
                  <a:pt x="21281" y="375"/>
                  <a:pt x="21312" y="375"/>
                </a:cubicBezTo>
                <a:close/>
                <a:moveTo>
                  <a:pt x="11812" y="1594"/>
                </a:moveTo>
                <a:cubicBezTo>
                  <a:pt x="11812" y="1531"/>
                  <a:pt x="11781" y="1500"/>
                  <a:pt x="11781" y="1437"/>
                </a:cubicBezTo>
                <a:cubicBezTo>
                  <a:pt x="11750" y="1531"/>
                  <a:pt x="11750" y="1562"/>
                  <a:pt x="11812" y="1594"/>
                </a:cubicBezTo>
                <a:close/>
                <a:moveTo>
                  <a:pt x="12312" y="1406"/>
                </a:moveTo>
                <a:cubicBezTo>
                  <a:pt x="12250" y="1344"/>
                  <a:pt x="12218" y="1281"/>
                  <a:pt x="12156" y="1281"/>
                </a:cubicBezTo>
                <a:cubicBezTo>
                  <a:pt x="12187" y="1344"/>
                  <a:pt x="12218" y="1406"/>
                  <a:pt x="12312" y="1406"/>
                </a:cubicBezTo>
                <a:close/>
                <a:moveTo>
                  <a:pt x="29281" y="14031"/>
                </a:moveTo>
                <a:cubicBezTo>
                  <a:pt x="29375" y="14000"/>
                  <a:pt x="29312" y="13906"/>
                  <a:pt x="29312" y="13844"/>
                </a:cubicBezTo>
                <a:cubicBezTo>
                  <a:pt x="29218" y="13875"/>
                  <a:pt x="29281" y="13969"/>
                  <a:pt x="29281" y="14031"/>
                </a:cubicBezTo>
                <a:close/>
                <a:moveTo>
                  <a:pt x="12468" y="3125"/>
                </a:moveTo>
                <a:cubicBezTo>
                  <a:pt x="12468" y="3031"/>
                  <a:pt x="12500" y="2969"/>
                  <a:pt x="12406" y="2937"/>
                </a:cubicBezTo>
                <a:cubicBezTo>
                  <a:pt x="12406" y="3000"/>
                  <a:pt x="12343" y="3094"/>
                  <a:pt x="12468" y="3125"/>
                </a:cubicBezTo>
                <a:close/>
                <a:moveTo>
                  <a:pt x="22406" y="687"/>
                </a:moveTo>
                <a:cubicBezTo>
                  <a:pt x="22375" y="687"/>
                  <a:pt x="22406" y="594"/>
                  <a:pt x="22343" y="625"/>
                </a:cubicBezTo>
                <a:cubicBezTo>
                  <a:pt x="22312" y="625"/>
                  <a:pt x="22281" y="656"/>
                  <a:pt x="22281" y="687"/>
                </a:cubicBezTo>
                <a:cubicBezTo>
                  <a:pt x="22312" y="750"/>
                  <a:pt x="22375" y="750"/>
                  <a:pt x="22406" y="687"/>
                </a:cubicBezTo>
                <a:close/>
                <a:moveTo>
                  <a:pt x="29031" y="26312"/>
                </a:moveTo>
                <a:cubicBezTo>
                  <a:pt x="29062" y="26344"/>
                  <a:pt x="29125" y="26375"/>
                  <a:pt x="29093" y="26437"/>
                </a:cubicBezTo>
                <a:cubicBezTo>
                  <a:pt x="29125" y="26469"/>
                  <a:pt x="29156" y="26437"/>
                  <a:pt x="29187" y="26437"/>
                </a:cubicBezTo>
                <a:cubicBezTo>
                  <a:pt x="29187" y="26375"/>
                  <a:pt x="29218" y="26344"/>
                  <a:pt x="29218" y="26312"/>
                </a:cubicBezTo>
                <a:cubicBezTo>
                  <a:pt x="29156" y="26312"/>
                  <a:pt x="29093" y="26312"/>
                  <a:pt x="29031" y="26312"/>
                </a:cubicBezTo>
                <a:close/>
                <a:moveTo>
                  <a:pt x="22500" y="531"/>
                </a:moveTo>
                <a:cubicBezTo>
                  <a:pt x="22562" y="531"/>
                  <a:pt x="22656" y="562"/>
                  <a:pt x="22718" y="562"/>
                </a:cubicBezTo>
                <a:cubicBezTo>
                  <a:pt x="22781" y="562"/>
                  <a:pt x="22812" y="562"/>
                  <a:pt x="22812" y="500"/>
                </a:cubicBezTo>
                <a:cubicBezTo>
                  <a:pt x="22812" y="437"/>
                  <a:pt x="22750" y="437"/>
                  <a:pt x="22718" y="469"/>
                </a:cubicBezTo>
                <a:cubicBezTo>
                  <a:pt x="22625" y="500"/>
                  <a:pt x="22593" y="469"/>
                  <a:pt x="22562" y="375"/>
                </a:cubicBezTo>
                <a:cubicBezTo>
                  <a:pt x="22562" y="344"/>
                  <a:pt x="22562" y="344"/>
                  <a:pt x="22500" y="312"/>
                </a:cubicBezTo>
                <a:cubicBezTo>
                  <a:pt x="22531" y="375"/>
                  <a:pt x="22500" y="437"/>
                  <a:pt x="22468" y="469"/>
                </a:cubicBezTo>
                <a:cubicBezTo>
                  <a:pt x="22468" y="500"/>
                  <a:pt x="22437" y="531"/>
                  <a:pt x="22500" y="531"/>
                </a:cubicBezTo>
                <a:close/>
                <a:moveTo>
                  <a:pt x="12500" y="969"/>
                </a:moveTo>
                <a:cubicBezTo>
                  <a:pt x="12468" y="1031"/>
                  <a:pt x="12468" y="1125"/>
                  <a:pt x="12531" y="1125"/>
                </a:cubicBezTo>
                <a:cubicBezTo>
                  <a:pt x="12625" y="1156"/>
                  <a:pt x="12687" y="1187"/>
                  <a:pt x="12812" y="1156"/>
                </a:cubicBezTo>
                <a:cubicBezTo>
                  <a:pt x="12781" y="1094"/>
                  <a:pt x="12750" y="1125"/>
                  <a:pt x="12718" y="1125"/>
                </a:cubicBezTo>
                <a:cubicBezTo>
                  <a:pt x="12531" y="1094"/>
                  <a:pt x="12531" y="1094"/>
                  <a:pt x="12531" y="937"/>
                </a:cubicBezTo>
                <a:cubicBezTo>
                  <a:pt x="12531" y="844"/>
                  <a:pt x="12562" y="781"/>
                  <a:pt x="12562" y="687"/>
                </a:cubicBezTo>
                <a:cubicBezTo>
                  <a:pt x="12562" y="656"/>
                  <a:pt x="12562" y="625"/>
                  <a:pt x="12500" y="625"/>
                </a:cubicBezTo>
                <a:cubicBezTo>
                  <a:pt x="12468" y="656"/>
                  <a:pt x="12468" y="656"/>
                  <a:pt x="12468" y="687"/>
                </a:cubicBezTo>
                <a:cubicBezTo>
                  <a:pt x="12531" y="781"/>
                  <a:pt x="12500" y="875"/>
                  <a:pt x="12500" y="969"/>
                </a:cubicBezTo>
                <a:close/>
                <a:moveTo>
                  <a:pt x="21843" y="250"/>
                </a:moveTo>
                <a:cubicBezTo>
                  <a:pt x="21875" y="312"/>
                  <a:pt x="21937" y="375"/>
                  <a:pt x="21968" y="469"/>
                </a:cubicBezTo>
                <a:cubicBezTo>
                  <a:pt x="22031" y="531"/>
                  <a:pt x="22093" y="562"/>
                  <a:pt x="22187" y="531"/>
                </a:cubicBezTo>
                <a:cubicBezTo>
                  <a:pt x="22062" y="500"/>
                  <a:pt x="22062" y="375"/>
                  <a:pt x="21968" y="312"/>
                </a:cubicBezTo>
                <a:cubicBezTo>
                  <a:pt x="21875" y="250"/>
                  <a:pt x="21875" y="94"/>
                  <a:pt x="21718" y="125"/>
                </a:cubicBezTo>
                <a:cubicBezTo>
                  <a:pt x="21750" y="156"/>
                  <a:pt x="21812" y="187"/>
                  <a:pt x="21843" y="250"/>
                </a:cubicBezTo>
                <a:close/>
                <a:moveTo>
                  <a:pt x="27531" y="18562"/>
                </a:moveTo>
                <a:cubicBezTo>
                  <a:pt x="27531" y="18562"/>
                  <a:pt x="27531" y="18562"/>
                  <a:pt x="27531" y="18562"/>
                </a:cubicBezTo>
                <a:lnTo>
                  <a:pt x="27531" y="18562"/>
                </a:lnTo>
                <a:cubicBezTo>
                  <a:pt x="27531" y="18562"/>
                  <a:pt x="27531" y="18562"/>
                  <a:pt x="27531" y="1856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70F8EA-53CB-2241-A5E9-4DBFEFEF15C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F4FF2426-61ED-A941-B1B3-3FF624BC4AC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440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112">
            <a:extLst>
              <a:ext uri="{FF2B5EF4-FFF2-40B4-BE49-F238E27FC236}">
                <a16:creationId xmlns:a16="http://schemas.microsoft.com/office/drawing/2014/main" id="{0A763A19-DAD0-B045-A562-572857D05A2B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10897443" y="4266506"/>
            <a:ext cx="12100011" cy="7146826"/>
          </a:xfrm>
          <a:custGeom>
            <a:avLst/>
            <a:gdLst>
              <a:gd name="T0" fmla="*/ 27344 w 29906"/>
              <a:gd name="T1" fmla="*/ 6656 h 20125"/>
              <a:gd name="T2" fmla="*/ 16281 w 29906"/>
              <a:gd name="T3" fmla="*/ 250 h 20125"/>
              <a:gd name="T4" fmla="*/ 16687 w 29906"/>
              <a:gd name="T5" fmla="*/ 1375 h 20125"/>
              <a:gd name="T6" fmla="*/ 12437 w 29906"/>
              <a:gd name="T7" fmla="*/ 2250 h 20125"/>
              <a:gd name="T8" fmla="*/ 15531 w 29906"/>
              <a:gd name="T9" fmla="*/ 4656 h 20125"/>
              <a:gd name="T10" fmla="*/ 17125 w 29906"/>
              <a:gd name="T11" fmla="*/ 5156 h 20125"/>
              <a:gd name="T12" fmla="*/ 8656 w 29906"/>
              <a:gd name="T13" fmla="*/ 4062 h 20125"/>
              <a:gd name="T14" fmla="*/ 6500 w 29906"/>
              <a:gd name="T15" fmla="*/ 2219 h 20125"/>
              <a:gd name="T16" fmla="*/ 5437 w 29906"/>
              <a:gd name="T17" fmla="*/ 5812 h 20125"/>
              <a:gd name="T18" fmla="*/ 8125 w 29906"/>
              <a:gd name="T19" fmla="*/ 4844 h 20125"/>
              <a:gd name="T20" fmla="*/ 687 w 29906"/>
              <a:gd name="T21" fmla="*/ 8969 h 20125"/>
              <a:gd name="T22" fmla="*/ 4719 w 29906"/>
              <a:gd name="T23" fmla="*/ 15094 h 20125"/>
              <a:gd name="T24" fmla="*/ 12594 w 29906"/>
              <a:gd name="T25" fmla="*/ 12562 h 20125"/>
              <a:gd name="T26" fmla="*/ 25344 w 29906"/>
              <a:gd name="T27" fmla="*/ 13062 h 20125"/>
              <a:gd name="T28" fmla="*/ 20312 w 29906"/>
              <a:gd name="T29" fmla="*/ 12687 h 20125"/>
              <a:gd name="T30" fmla="*/ 15250 w 29906"/>
              <a:gd name="T31" fmla="*/ 14625 h 20125"/>
              <a:gd name="T32" fmla="*/ 21219 w 29906"/>
              <a:gd name="T33" fmla="*/ 15281 h 20125"/>
              <a:gd name="T34" fmla="*/ 7531 w 29906"/>
              <a:gd name="T35" fmla="*/ 16031 h 20125"/>
              <a:gd name="T36" fmla="*/ 9062 w 29906"/>
              <a:gd name="T37" fmla="*/ 20000 h 20125"/>
              <a:gd name="T38" fmla="*/ 29031 w 29906"/>
              <a:gd name="T39" fmla="*/ 13187 h 20125"/>
              <a:gd name="T40" fmla="*/ 19312 w 29906"/>
              <a:gd name="T41" fmla="*/ 15750 h 20125"/>
              <a:gd name="T42" fmla="*/ 13375 w 29906"/>
              <a:gd name="T43" fmla="*/ 13469 h 20125"/>
              <a:gd name="T44" fmla="*/ 19687 w 29906"/>
              <a:gd name="T45" fmla="*/ 14687 h 20125"/>
              <a:gd name="T46" fmla="*/ 17969 w 29906"/>
              <a:gd name="T47" fmla="*/ 16937 h 20125"/>
              <a:gd name="T48" fmla="*/ 13969 w 29906"/>
              <a:gd name="T49" fmla="*/ 844 h 20125"/>
              <a:gd name="T50" fmla="*/ 750 w 29906"/>
              <a:gd name="T51" fmla="*/ 15812 h 20125"/>
              <a:gd name="T52" fmla="*/ 15062 w 29906"/>
              <a:gd name="T53" fmla="*/ 3469 h 20125"/>
              <a:gd name="T54" fmla="*/ 1594 w 29906"/>
              <a:gd name="T55" fmla="*/ 13344 h 20125"/>
              <a:gd name="T56" fmla="*/ 2437 w 29906"/>
              <a:gd name="T57" fmla="*/ 8906 h 20125"/>
              <a:gd name="T58" fmla="*/ 4625 w 29906"/>
              <a:gd name="T59" fmla="*/ 8531 h 20125"/>
              <a:gd name="T60" fmla="*/ 6250 w 29906"/>
              <a:gd name="T61" fmla="*/ 8531 h 20125"/>
              <a:gd name="T62" fmla="*/ 8937 w 29906"/>
              <a:gd name="T63" fmla="*/ 8656 h 20125"/>
              <a:gd name="T64" fmla="*/ 7687 w 29906"/>
              <a:gd name="T65" fmla="*/ 8281 h 20125"/>
              <a:gd name="T66" fmla="*/ 8187 w 29906"/>
              <a:gd name="T67" fmla="*/ 10750 h 20125"/>
              <a:gd name="T68" fmla="*/ 9531 w 29906"/>
              <a:gd name="T69" fmla="*/ 8156 h 20125"/>
              <a:gd name="T70" fmla="*/ 10969 w 29906"/>
              <a:gd name="T71" fmla="*/ 8250 h 20125"/>
              <a:gd name="T72" fmla="*/ 12500 w 29906"/>
              <a:gd name="T73" fmla="*/ 11062 h 20125"/>
              <a:gd name="T74" fmla="*/ 11750 w 29906"/>
              <a:gd name="T75" fmla="*/ 10031 h 20125"/>
              <a:gd name="T76" fmla="*/ 15906 w 29906"/>
              <a:gd name="T77" fmla="*/ 5187 h 20125"/>
              <a:gd name="T78" fmla="*/ 14812 w 29906"/>
              <a:gd name="T79" fmla="*/ 6562 h 20125"/>
              <a:gd name="T80" fmla="*/ 13594 w 29906"/>
              <a:gd name="T81" fmla="*/ 10187 h 20125"/>
              <a:gd name="T82" fmla="*/ 14906 w 29906"/>
              <a:gd name="T83" fmla="*/ 9906 h 20125"/>
              <a:gd name="T84" fmla="*/ 16219 w 29906"/>
              <a:gd name="T85" fmla="*/ 8906 h 20125"/>
              <a:gd name="T86" fmla="*/ 17500 w 29906"/>
              <a:gd name="T87" fmla="*/ 9312 h 20125"/>
              <a:gd name="T88" fmla="*/ 18062 w 29906"/>
              <a:gd name="T89" fmla="*/ 11125 h 20125"/>
              <a:gd name="T90" fmla="*/ 24312 w 29906"/>
              <a:gd name="T91" fmla="*/ 4969 h 20125"/>
              <a:gd name="T92" fmla="*/ 20031 w 29906"/>
              <a:gd name="T93" fmla="*/ 969 h 20125"/>
              <a:gd name="T94" fmla="*/ 18687 w 29906"/>
              <a:gd name="T95" fmla="*/ 8750 h 20125"/>
              <a:gd name="T96" fmla="*/ 20094 w 29906"/>
              <a:gd name="T97" fmla="*/ 9312 h 20125"/>
              <a:gd name="T98" fmla="*/ 19250 w 29906"/>
              <a:gd name="T99" fmla="*/ 5344 h 20125"/>
              <a:gd name="T100" fmla="*/ 23687 w 29906"/>
              <a:gd name="T101" fmla="*/ 10937 h 20125"/>
              <a:gd name="T102" fmla="*/ 24937 w 29906"/>
              <a:gd name="T103" fmla="*/ 11437 h 20125"/>
              <a:gd name="T104" fmla="*/ 26875 w 29906"/>
              <a:gd name="T105" fmla="*/ 10000 h 20125"/>
              <a:gd name="T106" fmla="*/ 4625 w 29906"/>
              <a:gd name="T107" fmla="*/ 15937 h 20125"/>
              <a:gd name="T108" fmla="*/ 6344 w 29906"/>
              <a:gd name="T109" fmla="*/ 15812 h 20125"/>
              <a:gd name="T110" fmla="*/ 9469 w 29906"/>
              <a:gd name="T111" fmla="*/ 16844 h 20125"/>
              <a:gd name="T112" fmla="*/ 12375 w 29906"/>
              <a:gd name="T113" fmla="*/ 17281 h 20125"/>
              <a:gd name="T114" fmla="*/ 17031 w 29906"/>
              <a:gd name="T115" fmla="*/ 19469 h 20125"/>
              <a:gd name="T116" fmla="*/ 21875 w 29906"/>
              <a:gd name="T117" fmla="*/ 18750 h 20125"/>
              <a:gd name="T118" fmla="*/ 23531 w 29906"/>
              <a:gd name="T119" fmla="*/ 17594 h 20125"/>
              <a:gd name="T120" fmla="*/ 27156 w 29906"/>
              <a:gd name="T121" fmla="*/ 16344 h 20125"/>
              <a:gd name="T122" fmla="*/ 27437 w 29906"/>
              <a:gd name="T123" fmla="*/ 10219 h 20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906" h="20125">
                <a:moveTo>
                  <a:pt x="29500" y="11875"/>
                </a:moveTo>
                <a:cubicBezTo>
                  <a:pt x="29500" y="11750"/>
                  <a:pt x="29625" y="11594"/>
                  <a:pt x="29406" y="11531"/>
                </a:cubicBezTo>
                <a:cubicBezTo>
                  <a:pt x="29125" y="11437"/>
                  <a:pt x="28844" y="11375"/>
                  <a:pt x="28594" y="11312"/>
                </a:cubicBezTo>
                <a:cubicBezTo>
                  <a:pt x="28562" y="11281"/>
                  <a:pt x="28531" y="11281"/>
                  <a:pt x="28531" y="11250"/>
                </a:cubicBezTo>
                <a:cubicBezTo>
                  <a:pt x="28500" y="11250"/>
                  <a:pt x="28500" y="11250"/>
                  <a:pt x="28469" y="11250"/>
                </a:cubicBezTo>
                <a:cubicBezTo>
                  <a:pt x="28500" y="11250"/>
                  <a:pt x="28500" y="11250"/>
                  <a:pt x="28531" y="11250"/>
                </a:cubicBezTo>
                <a:cubicBezTo>
                  <a:pt x="28625" y="11125"/>
                  <a:pt x="28844" y="11125"/>
                  <a:pt x="28969" y="11000"/>
                </a:cubicBezTo>
                <a:cubicBezTo>
                  <a:pt x="28781" y="10969"/>
                  <a:pt x="28812" y="10875"/>
                  <a:pt x="28875" y="10781"/>
                </a:cubicBezTo>
                <a:cubicBezTo>
                  <a:pt x="28906" y="10750"/>
                  <a:pt x="28937" y="10687"/>
                  <a:pt x="28969" y="10656"/>
                </a:cubicBezTo>
                <a:cubicBezTo>
                  <a:pt x="29000" y="10594"/>
                  <a:pt x="29000" y="10531"/>
                  <a:pt x="28937" y="10500"/>
                </a:cubicBezTo>
                <a:cubicBezTo>
                  <a:pt x="28875" y="10437"/>
                  <a:pt x="28844" y="10500"/>
                  <a:pt x="28812" y="10531"/>
                </a:cubicBezTo>
                <a:cubicBezTo>
                  <a:pt x="28844" y="10406"/>
                  <a:pt x="28844" y="10281"/>
                  <a:pt x="28812" y="10156"/>
                </a:cubicBezTo>
                <a:cubicBezTo>
                  <a:pt x="29062" y="9812"/>
                  <a:pt x="29469" y="9531"/>
                  <a:pt x="29187" y="9031"/>
                </a:cubicBezTo>
                <a:cubicBezTo>
                  <a:pt x="29187" y="8969"/>
                  <a:pt x="29187" y="8906"/>
                  <a:pt x="29187" y="8875"/>
                </a:cubicBezTo>
                <a:cubicBezTo>
                  <a:pt x="29187" y="8750"/>
                  <a:pt x="29156" y="8656"/>
                  <a:pt x="29031" y="8625"/>
                </a:cubicBezTo>
                <a:cubicBezTo>
                  <a:pt x="28844" y="8594"/>
                  <a:pt x="28906" y="8531"/>
                  <a:pt x="29000" y="8437"/>
                </a:cubicBezTo>
                <a:cubicBezTo>
                  <a:pt x="29094" y="8344"/>
                  <a:pt x="29187" y="8219"/>
                  <a:pt x="29281" y="8125"/>
                </a:cubicBezTo>
                <a:cubicBezTo>
                  <a:pt x="29219" y="8062"/>
                  <a:pt x="29125" y="8125"/>
                  <a:pt x="29031" y="8094"/>
                </a:cubicBezTo>
                <a:cubicBezTo>
                  <a:pt x="28969" y="8094"/>
                  <a:pt x="28906" y="8094"/>
                  <a:pt x="28844" y="8094"/>
                </a:cubicBezTo>
                <a:cubicBezTo>
                  <a:pt x="28750" y="8125"/>
                  <a:pt x="28687" y="8125"/>
                  <a:pt x="28594" y="8156"/>
                </a:cubicBezTo>
                <a:cubicBezTo>
                  <a:pt x="28687" y="8125"/>
                  <a:pt x="28750" y="8125"/>
                  <a:pt x="28844" y="8094"/>
                </a:cubicBezTo>
                <a:cubicBezTo>
                  <a:pt x="28906" y="8094"/>
                  <a:pt x="28969" y="8094"/>
                  <a:pt x="29031" y="8094"/>
                </a:cubicBezTo>
                <a:cubicBezTo>
                  <a:pt x="29000" y="7875"/>
                  <a:pt x="28812" y="7781"/>
                  <a:pt x="28594" y="7875"/>
                </a:cubicBezTo>
                <a:cubicBezTo>
                  <a:pt x="28500" y="7906"/>
                  <a:pt x="28469" y="8000"/>
                  <a:pt x="28344" y="8000"/>
                </a:cubicBezTo>
                <a:cubicBezTo>
                  <a:pt x="28344" y="8000"/>
                  <a:pt x="28344" y="8000"/>
                  <a:pt x="28344" y="8000"/>
                </a:cubicBezTo>
                <a:cubicBezTo>
                  <a:pt x="28344" y="8000"/>
                  <a:pt x="28312" y="8000"/>
                  <a:pt x="28281" y="8000"/>
                </a:cubicBezTo>
                <a:cubicBezTo>
                  <a:pt x="28281" y="7906"/>
                  <a:pt x="28312" y="7844"/>
                  <a:pt x="28281" y="7750"/>
                </a:cubicBezTo>
                <a:cubicBezTo>
                  <a:pt x="28281" y="7656"/>
                  <a:pt x="28250" y="7687"/>
                  <a:pt x="28187" y="7719"/>
                </a:cubicBezTo>
                <a:cubicBezTo>
                  <a:pt x="28125" y="7687"/>
                  <a:pt x="28187" y="7562"/>
                  <a:pt x="28062" y="7562"/>
                </a:cubicBezTo>
                <a:cubicBezTo>
                  <a:pt x="27844" y="7531"/>
                  <a:pt x="27625" y="7469"/>
                  <a:pt x="27406" y="7437"/>
                </a:cubicBezTo>
                <a:cubicBezTo>
                  <a:pt x="27281" y="7437"/>
                  <a:pt x="27156" y="7469"/>
                  <a:pt x="27062" y="7562"/>
                </a:cubicBezTo>
                <a:cubicBezTo>
                  <a:pt x="27000" y="7531"/>
                  <a:pt x="26969" y="7469"/>
                  <a:pt x="26937" y="7406"/>
                </a:cubicBezTo>
                <a:cubicBezTo>
                  <a:pt x="26969" y="7281"/>
                  <a:pt x="27031" y="7219"/>
                  <a:pt x="27187" y="7250"/>
                </a:cubicBezTo>
                <a:cubicBezTo>
                  <a:pt x="27187" y="7187"/>
                  <a:pt x="27250" y="7187"/>
                  <a:pt x="27312" y="7156"/>
                </a:cubicBezTo>
                <a:cubicBezTo>
                  <a:pt x="27562" y="7000"/>
                  <a:pt x="27562" y="6844"/>
                  <a:pt x="27344" y="6656"/>
                </a:cubicBezTo>
                <a:cubicBezTo>
                  <a:pt x="27187" y="6562"/>
                  <a:pt x="27125" y="6437"/>
                  <a:pt x="27062" y="6312"/>
                </a:cubicBezTo>
                <a:cubicBezTo>
                  <a:pt x="27094" y="6250"/>
                  <a:pt x="27062" y="6187"/>
                  <a:pt x="27062" y="6125"/>
                </a:cubicBezTo>
                <a:cubicBezTo>
                  <a:pt x="26937" y="5719"/>
                  <a:pt x="26719" y="5344"/>
                  <a:pt x="26469" y="5000"/>
                </a:cubicBezTo>
                <a:cubicBezTo>
                  <a:pt x="26500" y="4812"/>
                  <a:pt x="26531" y="4594"/>
                  <a:pt x="26219" y="4687"/>
                </a:cubicBezTo>
                <a:cubicBezTo>
                  <a:pt x="26187" y="4687"/>
                  <a:pt x="26156" y="4625"/>
                  <a:pt x="26125" y="4625"/>
                </a:cubicBezTo>
                <a:cubicBezTo>
                  <a:pt x="26125" y="4625"/>
                  <a:pt x="26125" y="4625"/>
                  <a:pt x="26125" y="4656"/>
                </a:cubicBezTo>
                <a:cubicBezTo>
                  <a:pt x="26125" y="4625"/>
                  <a:pt x="26125" y="4625"/>
                  <a:pt x="26125" y="4625"/>
                </a:cubicBezTo>
                <a:cubicBezTo>
                  <a:pt x="26125" y="4562"/>
                  <a:pt x="26094" y="4500"/>
                  <a:pt x="26062" y="4437"/>
                </a:cubicBezTo>
                <a:cubicBezTo>
                  <a:pt x="25562" y="3781"/>
                  <a:pt x="24937" y="3250"/>
                  <a:pt x="24250" y="2781"/>
                </a:cubicBezTo>
                <a:cubicBezTo>
                  <a:pt x="23875" y="2500"/>
                  <a:pt x="23469" y="2281"/>
                  <a:pt x="23031" y="2062"/>
                </a:cubicBezTo>
                <a:cubicBezTo>
                  <a:pt x="22594" y="1812"/>
                  <a:pt x="22125" y="1562"/>
                  <a:pt x="21656" y="1344"/>
                </a:cubicBezTo>
                <a:cubicBezTo>
                  <a:pt x="21375" y="1219"/>
                  <a:pt x="21094" y="1094"/>
                  <a:pt x="20781" y="969"/>
                </a:cubicBezTo>
                <a:cubicBezTo>
                  <a:pt x="20719" y="812"/>
                  <a:pt x="20594" y="812"/>
                  <a:pt x="20500" y="781"/>
                </a:cubicBezTo>
                <a:cubicBezTo>
                  <a:pt x="20031" y="719"/>
                  <a:pt x="19594" y="562"/>
                  <a:pt x="19219" y="312"/>
                </a:cubicBezTo>
                <a:cubicBezTo>
                  <a:pt x="19156" y="281"/>
                  <a:pt x="19062" y="219"/>
                  <a:pt x="19031" y="250"/>
                </a:cubicBezTo>
                <a:cubicBezTo>
                  <a:pt x="18844" y="375"/>
                  <a:pt x="18687" y="281"/>
                  <a:pt x="18531" y="250"/>
                </a:cubicBezTo>
                <a:cubicBezTo>
                  <a:pt x="18406" y="219"/>
                  <a:pt x="18281" y="187"/>
                  <a:pt x="18156" y="250"/>
                </a:cubicBezTo>
                <a:cubicBezTo>
                  <a:pt x="18125" y="250"/>
                  <a:pt x="18094" y="250"/>
                  <a:pt x="18062" y="219"/>
                </a:cubicBezTo>
                <a:cubicBezTo>
                  <a:pt x="18000" y="156"/>
                  <a:pt x="17906" y="187"/>
                  <a:pt x="17844" y="219"/>
                </a:cubicBezTo>
                <a:cubicBezTo>
                  <a:pt x="17750" y="281"/>
                  <a:pt x="17656" y="250"/>
                  <a:pt x="17562" y="281"/>
                </a:cubicBezTo>
                <a:cubicBezTo>
                  <a:pt x="17531" y="312"/>
                  <a:pt x="17469" y="312"/>
                  <a:pt x="17469" y="250"/>
                </a:cubicBezTo>
                <a:cubicBezTo>
                  <a:pt x="17437" y="156"/>
                  <a:pt x="17500" y="187"/>
                  <a:pt x="17562" y="187"/>
                </a:cubicBezTo>
                <a:cubicBezTo>
                  <a:pt x="17594" y="187"/>
                  <a:pt x="17625" y="219"/>
                  <a:pt x="17625" y="156"/>
                </a:cubicBezTo>
                <a:cubicBezTo>
                  <a:pt x="17437" y="62"/>
                  <a:pt x="17406" y="94"/>
                  <a:pt x="17375" y="344"/>
                </a:cubicBezTo>
                <a:cubicBezTo>
                  <a:pt x="17281" y="344"/>
                  <a:pt x="17344" y="562"/>
                  <a:pt x="17250" y="469"/>
                </a:cubicBezTo>
                <a:cubicBezTo>
                  <a:pt x="17156" y="344"/>
                  <a:pt x="17156" y="469"/>
                  <a:pt x="17094" y="469"/>
                </a:cubicBezTo>
                <a:cubicBezTo>
                  <a:pt x="17094" y="469"/>
                  <a:pt x="17094" y="469"/>
                  <a:pt x="17062" y="469"/>
                </a:cubicBezTo>
                <a:cubicBezTo>
                  <a:pt x="17062" y="406"/>
                  <a:pt x="17000" y="437"/>
                  <a:pt x="16969" y="437"/>
                </a:cubicBezTo>
                <a:cubicBezTo>
                  <a:pt x="16906" y="437"/>
                  <a:pt x="16844" y="500"/>
                  <a:pt x="16812" y="437"/>
                </a:cubicBezTo>
                <a:cubicBezTo>
                  <a:pt x="16781" y="375"/>
                  <a:pt x="16844" y="312"/>
                  <a:pt x="16906" y="281"/>
                </a:cubicBezTo>
                <a:cubicBezTo>
                  <a:pt x="16906" y="250"/>
                  <a:pt x="16937" y="250"/>
                  <a:pt x="16969" y="219"/>
                </a:cubicBezTo>
                <a:cubicBezTo>
                  <a:pt x="17062" y="156"/>
                  <a:pt x="16969" y="62"/>
                  <a:pt x="16937" y="31"/>
                </a:cubicBezTo>
                <a:cubicBezTo>
                  <a:pt x="16906" y="0"/>
                  <a:pt x="16844" y="0"/>
                  <a:pt x="16812" y="94"/>
                </a:cubicBezTo>
                <a:cubicBezTo>
                  <a:pt x="16750" y="187"/>
                  <a:pt x="16687" y="281"/>
                  <a:pt x="16594" y="375"/>
                </a:cubicBezTo>
                <a:cubicBezTo>
                  <a:pt x="16562" y="156"/>
                  <a:pt x="16437" y="156"/>
                  <a:pt x="16281" y="250"/>
                </a:cubicBezTo>
                <a:cubicBezTo>
                  <a:pt x="16250" y="281"/>
                  <a:pt x="16187" y="312"/>
                  <a:pt x="16156" y="344"/>
                </a:cubicBezTo>
                <a:cubicBezTo>
                  <a:pt x="16125" y="344"/>
                  <a:pt x="16125" y="312"/>
                  <a:pt x="16094" y="312"/>
                </a:cubicBezTo>
                <a:cubicBezTo>
                  <a:pt x="16094" y="281"/>
                  <a:pt x="16094" y="281"/>
                  <a:pt x="16094" y="250"/>
                </a:cubicBezTo>
                <a:cubicBezTo>
                  <a:pt x="16125" y="219"/>
                  <a:pt x="16219" y="156"/>
                  <a:pt x="16156" y="94"/>
                </a:cubicBezTo>
                <a:cubicBezTo>
                  <a:pt x="16156" y="94"/>
                  <a:pt x="16125" y="62"/>
                  <a:pt x="16094" y="94"/>
                </a:cubicBezTo>
                <a:cubicBezTo>
                  <a:pt x="16031" y="94"/>
                  <a:pt x="16031" y="156"/>
                  <a:pt x="16031" y="250"/>
                </a:cubicBezTo>
                <a:cubicBezTo>
                  <a:pt x="16031" y="250"/>
                  <a:pt x="16000" y="250"/>
                  <a:pt x="15969" y="250"/>
                </a:cubicBezTo>
                <a:cubicBezTo>
                  <a:pt x="15937" y="0"/>
                  <a:pt x="15750" y="0"/>
                  <a:pt x="15562" y="31"/>
                </a:cubicBezTo>
                <a:cubicBezTo>
                  <a:pt x="15437" y="62"/>
                  <a:pt x="15281" y="62"/>
                  <a:pt x="15156" y="94"/>
                </a:cubicBezTo>
                <a:cubicBezTo>
                  <a:pt x="14875" y="187"/>
                  <a:pt x="14531" y="125"/>
                  <a:pt x="14250" y="344"/>
                </a:cubicBezTo>
                <a:cubicBezTo>
                  <a:pt x="14375" y="312"/>
                  <a:pt x="14469" y="531"/>
                  <a:pt x="14594" y="406"/>
                </a:cubicBezTo>
                <a:cubicBezTo>
                  <a:pt x="14656" y="281"/>
                  <a:pt x="14719" y="344"/>
                  <a:pt x="14812" y="344"/>
                </a:cubicBezTo>
                <a:cubicBezTo>
                  <a:pt x="14969" y="375"/>
                  <a:pt x="15125" y="469"/>
                  <a:pt x="15250" y="344"/>
                </a:cubicBezTo>
                <a:cubicBezTo>
                  <a:pt x="15281" y="344"/>
                  <a:pt x="15344" y="344"/>
                  <a:pt x="15344" y="344"/>
                </a:cubicBezTo>
                <a:cubicBezTo>
                  <a:pt x="15375" y="406"/>
                  <a:pt x="15281" y="406"/>
                  <a:pt x="15281" y="469"/>
                </a:cubicBezTo>
                <a:cubicBezTo>
                  <a:pt x="15281" y="469"/>
                  <a:pt x="15281" y="469"/>
                  <a:pt x="15281" y="469"/>
                </a:cubicBezTo>
                <a:cubicBezTo>
                  <a:pt x="15281" y="469"/>
                  <a:pt x="15281" y="500"/>
                  <a:pt x="15281" y="500"/>
                </a:cubicBezTo>
                <a:cubicBezTo>
                  <a:pt x="15281" y="531"/>
                  <a:pt x="15312" y="500"/>
                  <a:pt x="15344" y="500"/>
                </a:cubicBezTo>
                <a:cubicBezTo>
                  <a:pt x="15406" y="500"/>
                  <a:pt x="15469" y="437"/>
                  <a:pt x="15562" y="469"/>
                </a:cubicBezTo>
                <a:cubicBezTo>
                  <a:pt x="15531" y="562"/>
                  <a:pt x="15500" y="625"/>
                  <a:pt x="15406" y="594"/>
                </a:cubicBezTo>
                <a:cubicBezTo>
                  <a:pt x="15281" y="594"/>
                  <a:pt x="15187" y="687"/>
                  <a:pt x="15094" y="687"/>
                </a:cubicBezTo>
                <a:cubicBezTo>
                  <a:pt x="15031" y="687"/>
                  <a:pt x="14969" y="687"/>
                  <a:pt x="15000" y="750"/>
                </a:cubicBezTo>
                <a:cubicBezTo>
                  <a:pt x="15000" y="812"/>
                  <a:pt x="15031" y="812"/>
                  <a:pt x="15094" y="781"/>
                </a:cubicBezTo>
                <a:cubicBezTo>
                  <a:pt x="15219" y="750"/>
                  <a:pt x="15344" y="812"/>
                  <a:pt x="15437" y="906"/>
                </a:cubicBezTo>
                <a:cubicBezTo>
                  <a:pt x="15562" y="1031"/>
                  <a:pt x="15719" y="1094"/>
                  <a:pt x="15875" y="1156"/>
                </a:cubicBezTo>
                <a:cubicBezTo>
                  <a:pt x="15937" y="1187"/>
                  <a:pt x="16094" y="1187"/>
                  <a:pt x="16125" y="1156"/>
                </a:cubicBezTo>
                <a:cubicBezTo>
                  <a:pt x="16344" y="969"/>
                  <a:pt x="16531" y="844"/>
                  <a:pt x="16750" y="1187"/>
                </a:cubicBezTo>
                <a:cubicBezTo>
                  <a:pt x="16750" y="1219"/>
                  <a:pt x="16875" y="1156"/>
                  <a:pt x="16812" y="1250"/>
                </a:cubicBezTo>
                <a:cubicBezTo>
                  <a:pt x="16781" y="1312"/>
                  <a:pt x="16719" y="1281"/>
                  <a:pt x="16687" y="1250"/>
                </a:cubicBezTo>
                <a:cubicBezTo>
                  <a:pt x="16625" y="1219"/>
                  <a:pt x="16562" y="1187"/>
                  <a:pt x="16531" y="1156"/>
                </a:cubicBezTo>
                <a:cubicBezTo>
                  <a:pt x="16437" y="937"/>
                  <a:pt x="16375" y="1094"/>
                  <a:pt x="16281" y="1156"/>
                </a:cubicBezTo>
                <a:cubicBezTo>
                  <a:pt x="16344" y="1250"/>
                  <a:pt x="16437" y="1094"/>
                  <a:pt x="16437" y="1187"/>
                </a:cubicBezTo>
                <a:cubicBezTo>
                  <a:pt x="16437" y="1312"/>
                  <a:pt x="16312" y="1312"/>
                  <a:pt x="16187" y="1344"/>
                </a:cubicBezTo>
                <a:cubicBezTo>
                  <a:pt x="16281" y="1469"/>
                  <a:pt x="16344" y="1469"/>
                  <a:pt x="16437" y="1406"/>
                </a:cubicBezTo>
                <a:cubicBezTo>
                  <a:pt x="16531" y="1344"/>
                  <a:pt x="16594" y="1375"/>
                  <a:pt x="16687" y="1375"/>
                </a:cubicBezTo>
                <a:cubicBezTo>
                  <a:pt x="16625" y="1500"/>
                  <a:pt x="16781" y="1531"/>
                  <a:pt x="16781" y="1625"/>
                </a:cubicBezTo>
                <a:cubicBezTo>
                  <a:pt x="16781" y="1687"/>
                  <a:pt x="16750" y="1719"/>
                  <a:pt x="16719" y="1687"/>
                </a:cubicBezTo>
                <a:cubicBezTo>
                  <a:pt x="16625" y="1594"/>
                  <a:pt x="16594" y="1656"/>
                  <a:pt x="16562" y="1750"/>
                </a:cubicBezTo>
                <a:cubicBezTo>
                  <a:pt x="16531" y="1781"/>
                  <a:pt x="16531" y="1844"/>
                  <a:pt x="16437" y="1812"/>
                </a:cubicBezTo>
                <a:cubicBezTo>
                  <a:pt x="16344" y="1750"/>
                  <a:pt x="16312" y="1781"/>
                  <a:pt x="16281" y="1906"/>
                </a:cubicBezTo>
                <a:cubicBezTo>
                  <a:pt x="16281" y="1969"/>
                  <a:pt x="16219" y="2187"/>
                  <a:pt x="16062" y="2062"/>
                </a:cubicBezTo>
                <a:cubicBezTo>
                  <a:pt x="15969" y="2000"/>
                  <a:pt x="15906" y="2000"/>
                  <a:pt x="15781" y="2000"/>
                </a:cubicBezTo>
                <a:cubicBezTo>
                  <a:pt x="15844" y="1875"/>
                  <a:pt x="15781" y="1781"/>
                  <a:pt x="15750" y="1656"/>
                </a:cubicBezTo>
                <a:cubicBezTo>
                  <a:pt x="15750" y="1625"/>
                  <a:pt x="15844" y="1500"/>
                  <a:pt x="15750" y="1500"/>
                </a:cubicBezTo>
                <a:cubicBezTo>
                  <a:pt x="15625" y="1500"/>
                  <a:pt x="15437" y="1531"/>
                  <a:pt x="15406" y="1594"/>
                </a:cubicBezTo>
                <a:cubicBezTo>
                  <a:pt x="15344" y="1750"/>
                  <a:pt x="15156" y="1719"/>
                  <a:pt x="15094" y="1844"/>
                </a:cubicBezTo>
                <a:cubicBezTo>
                  <a:pt x="15062" y="1844"/>
                  <a:pt x="15031" y="1844"/>
                  <a:pt x="15000" y="1844"/>
                </a:cubicBezTo>
                <a:cubicBezTo>
                  <a:pt x="14875" y="1719"/>
                  <a:pt x="14781" y="1812"/>
                  <a:pt x="14687" y="1906"/>
                </a:cubicBezTo>
                <a:cubicBezTo>
                  <a:pt x="14562" y="2000"/>
                  <a:pt x="14531" y="1969"/>
                  <a:pt x="14469" y="1844"/>
                </a:cubicBezTo>
                <a:cubicBezTo>
                  <a:pt x="14469" y="1750"/>
                  <a:pt x="14562" y="1687"/>
                  <a:pt x="14437" y="1625"/>
                </a:cubicBezTo>
                <a:cubicBezTo>
                  <a:pt x="14437" y="1625"/>
                  <a:pt x="14344" y="1625"/>
                  <a:pt x="14344" y="1625"/>
                </a:cubicBezTo>
                <a:cubicBezTo>
                  <a:pt x="14312" y="1719"/>
                  <a:pt x="14406" y="1781"/>
                  <a:pt x="14437" y="1844"/>
                </a:cubicBezTo>
                <a:cubicBezTo>
                  <a:pt x="14375" y="1906"/>
                  <a:pt x="14312" y="1875"/>
                  <a:pt x="14250" y="1844"/>
                </a:cubicBezTo>
                <a:cubicBezTo>
                  <a:pt x="14125" y="1812"/>
                  <a:pt x="14281" y="1719"/>
                  <a:pt x="14219" y="1687"/>
                </a:cubicBezTo>
                <a:cubicBezTo>
                  <a:pt x="14156" y="1656"/>
                  <a:pt x="14156" y="1781"/>
                  <a:pt x="14062" y="1719"/>
                </a:cubicBezTo>
                <a:cubicBezTo>
                  <a:pt x="13937" y="1656"/>
                  <a:pt x="13969" y="1781"/>
                  <a:pt x="13969" y="1844"/>
                </a:cubicBezTo>
                <a:cubicBezTo>
                  <a:pt x="13906" y="1875"/>
                  <a:pt x="13937" y="1969"/>
                  <a:pt x="13844" y="1969"/>
                </a:cubicBezTo>
                <a:cubicBezTo>
                  <a:pt x="13812" y="1906"/>
                  <a:pt x="13750" y="1906"/>
                  <a:pt x="13687" y="1937"/>
                </a:cubicBezTo>
                <a:cubicBezTo>
                  <a:pt x="13594" y="1969"/>
                  <a:pt x="13562" y="2031"/>
                  <a:pt x="13500" y="2094"/>
                </a:cubicBezTo>
                <a:cubicBezTo>
                  <a:pt x="13406" y="2187"/>
                  <a:pt x="13312" y="2094"/>
                  <a:pt x="13219" y="2125"/>
                </a:cubicBezTo>
                <a:cubicBezTo>
                  <a:pt x="13187" y="2125"/>
                  <a:pt x="13156" y="2062"/>
                  <a:pt x="13187" y="2031"/>
                </a:cubicBezTo>
                <a:cubicBezTo>
                  <a:pt x="13219" y="1906"/>
                  <a:pt x="13312" y="2000"/>
                  <a:pt x="13375" y="2000"/>
                </a:cubicBezTo>
                <a:cubicBezTo>
                  <a:pt x="13437" y="2000"/>
                  <a:pt x="13469" y="1969"/>
                  <a:pt x="13469" y="1875"/>
                </a:cubicBezTo>
                <a:cubicBezTo>
                  <a:pt x="13469" y="1781"/>
                  <a:pt x="13406" y="1750"/>
                  <a:pt x="13344" y="1781"/>
                </a:cubicBezTo>
                <a:cubicBezTo>
                  <a:pt x="13250" y="1812"/>
                  <a:pt x="13125" y="1812"/>
                  <a:pt x="13031" y="1875"/>
                </a:cubicBezTo>
                <a:cubicBezTo>
                  <a:pt x="12906" y="1969"/>
                  <a:pt x="12687" y="1875"/>
                  <a:pt x="12687" y="1687"/>
                </a:cubicBezTo>
                <a:cubicBezTo>
                  <a:pt x="12656" y="1656"/>
                  <a:pt x="12687" y="1594"/>
                  <a:pt x="12625" y="1594"/>
                </a:cubicBezTo>
                <a:cubicBezTo>
                  <a:pt x="12562" y="1594"/>
                  <a:pt x="12562" y="1656"/>
                  <a:pt x="12562" y="1687"/>
                </a:cubicBezTo>
                <a:cubicBezTo>
                  <a:pt x="12656" y="1875"/>
                  <a:pt x="12531" y="2062"/>
                  <a:pt x="12500" y="2250"/>
                </a:cubicBezTo>
                <a:cubicBezTo>
                  <a:pt x="12469" y="2250"/>
                  <a:pt x="12437" y="2250"/>
                  <a:pt x="12437" y="2250"/>
                </a:cubicBezTo>
                <a:cubicBezTo>
                  <a:pt x="12312" y="2250"/>
                  <a:pt x="12187" y="2281"/>
                  <a:pt x="12062" y="2375"/>
                </a:cubicBezTo>
                <a:cubicBezTo>
                  <a:pt x="12094" y="2250"/>
                  <a:pt x="12125" y="2156"/>
                  <a:pt x="12062" y="2125"/>
                </a:cubicBezTo>
                <a:cubicBezTo>
                  <a:pt x="11969" y="2094"/>
                  <a:pt x="11969" y="2219"/>
                  <a:pt x="11937" y="2281"/>
                </a:cubicBezTo>
                <a:cubicBezTo>
                  <a:pt x="11875" y="2406"/>
                  <a:pt x="11781" y="2406"/>
                  <a:pt x="11687" y="2344"/>
                </a:cubicBezTo>
                <a:cubicBezTo>
                  <a:pt x="11594" y="2187"/>
                  <a:pt x="11500" y="2281"/>
                  <a:pt x="11469" y="2344"/>
                </a:cubicBezTo>
                <a:cubicBezTo>
                  <a:pt x="11469" y="2437"/>
                  <a:pt x="11375" y="2469"/>
                  <a:pt x="11344" y="2531"/>
                </a:cubicBezTo>
                <a:cubicBezTo>
                  <a:pt x="11250" y="2531"/>
                  <a:pt x="11187" y="2594"/>
                  <a:pt x="11125" y="2656"/>
                </a:cubicBezTo>
                <a:cubicBezTo>
                  <a:pt x="11094" y="2687"/>
                  <a:pt x="11000" y="2750"/>
                  <a:pt x="11125" y="2812"/>
                </a:cubicBezTo>
                <a:cubicBezTo>
                  <a:pt x="11125" y="2906"/>
                  <a:pt x="10969" y="2969"/>
                  <a:pt x="11094" y="3094"/>
                </a:cubicBezTo>
                <a:cubicBezTo>
                  <a:pt x="11156" y="3156"/>
                  <a:pt x="10969" y="3250"/>
                  <a:pt x="10875" y="3312"/>
                </a:cubicBezTo>
                <a:cubicBezTo>
                  <a:pt x="10750" y="3375"/>
                  <a:pt x="10875" y="3219"/>
                  <a:pt x="10812" y="3219"/>
                </a:cubicBezTo>
                <a:cubicBezTo>
                  <a:pt x="10781" y="3219"/>
                  <a:pt x="10750" y="3156"/>
                  <a:pt x="10719" y="3187"/>
                </a:cubicBezTo>
                <a:cubicBezTo>
                  <a:pt x="10656" y="3187"/>
                  <a:pt x="10687" y="3250"/>
                  <a:pt x="10687" y="3281"/>
                </a:cubicBezTo>
                <a:cubicBezTo>
                  <a:pt x="10687" y="3344"/>
                  <a:pt x="10750" y="3375"/>
                  <a:pt x="10719" y="3437"/>
                </a:cubicBezTo>
                <a:cubicBezTo>
                  <a:pt x="10562" y="3625"/>
                  <a:pt x="10719" y="3656"/>
                  <a:pt x="10844" y="3687"/>
                </a:cubicBezTo>
                <a:cubicBezTo>
                  <a:pt x="11031" y="3750"/>
                  <a:pt x="11062" y="4000"/>
                  <a:pt x="11250" y="4031"/>
                </a:cubicBezTo>
                <a:cubicBezTo>
                  <a:pt x="11250" y="4094"/>
                  <a:pt x="11250" y="4156"/>
                  <a:pt x="11344" y="4187"/>
                </a:cubicBezTo>
                <a:lnTo>
                  <a:pt x="11344" y="4187"/>
                </a:lnTo>
                <a:cubicBezTo>
                  <a:pt x="11375" y="4187"/>
                  <a:pt x="11406" y="4156"/>
                  <a:pt x="11406" y="4094"/>
                </a:cubicBezTo>
                <a:cubicBezTo>
                  <a:pt x="11375" y="4031"/>
                  <a:pt x="11312" y="4031"/>
                  <a:pt x="11250" y="4031"/>
                </a:cubicBezTo>
                <a:cubicBezTo>
                  <a:pt x="11312" y="3875"/>
                  <a:pt x="11500" y="3937"/>
                  <a:pt x="11594" y="3812"/>
                </a:cubicBezTo>
                <a:cubicBezTo>
                  <a:pt x="11437" y="4219"/>
                  <a:pt x="11844" y="4125"/>
                  <a:pt x="11969" y="4375"/>
                </a:cubicBezTo>
                <a:cubicBezTo>
                  <a:pt x="11937" y="4125"/>
                  <a:pt x="12031" y="4094"/>
                  <a:pt x="12187" y="4125"/>
                </a:cubicBezTo>
                <a:cubicBezTo>
                  <a:pt x="12281" y="4156"/>
                  <a:pt x="12406" y="4250"/>
                  <a:pt x="12531" y="4125"/>
                </a:cubicBezTo>
                <a:cubicBezTo>
                  <a:pt x="12531" y="4094"/>
                  <a:pt x="12594" y="4125"/>
                  <a:pt x="12625" y="4156"/>
                </a:cubicBezTo>
                <a:cubicBezTo>
                  <a:pt x="12812" y="4281"/>
                  <a:pt x="13094" y="4281"/>
                  <a:pt x="13187" y="4562"/>
                </a:cubicBezTo>
                <a:cubicBezTo>
                  <a:pt x="13156" y="4344"/>
                  <a:pt x="13281" y="4344"/>
                  <a:pt x="13437" y="4312"/>
                </a:cubicBezTo>
                <a:cubicBezTo>
                  <a:pt x="13625" y="4250"/>
                  <a:pt x="13812" y="4219"/>
                  <a:pt x="13969" y="4375"/>
                </a:cubicBezTo>
                <a:cubicBezTo>
                  <a:pt x="14094" y="4469"/>
                  <a:pt x="14375" y="4469"/>
                  <a:pt x="14500" y="4375"/>
                </a:cubicBezTo>
                <a:cubicBezTo>
                  <a:pt x="14562" y="4344"/>
                  <a:pt x="14531" y="4281"/>
                  <a:pt x="14531" y="4250"/>
                </a:cubicBezTo>
                <a:cubicBezTo>
                  <a:pt x="14625" y="4312"/>
                  <a:pt x="14875" y="4250"/>
                  <a:pt x="14812" y="4500"/>
                </a:cubicBezTo>
                <a:cubicBezTo>
                  <a:pt x="14812" y="4562"/>
                  <a:pt x="14969" y="4656"/>
                  <a:pt x="15031" y="4625"/>
                </a:cubicBezTo>
                <a:cubicBezTo>
                  <a:pt x="15219" y="4469"/>
                  <a:pt x="15406" y="4437"/>
                  <a:pt x="15562" y="4562"/>
                </a:cubicBezTo>
                <a:cubicBezTo>
                  <a:pt x="15562" y="4562"/>
                  <a:pt x="15531" y="4625"/>
                  <a:pt x="15531" y="4625"/>
                </a:cubicBezTo>
                <a:cubicBezTo>
                  <a:pt x="15531" y="4656"/>
                  <a:pt x="15531" y="4656"/>
                  <a:pt x="15531" y="4656"/>
                </a:cubicBezTo>
                <a:cubicBezTo>
                  <a:pt x="15500" y="4656"/>
                  <a:pt x="15437" y="4625"/>
                  <a:pt x="15437" y="4687"/>
                </a:cubicBezTo>
                <a:lnTo>
                  <a:pt x="15437" y="4687"/>
                </a:lnTo>
                <a:cubicBezTo>
                  <a:pt x="15437" y="4687"/>
                  <a:pt x="15437" y="4719"/>
                  <a:pt x="15437" y="4719"/>
                </a:cubicBezTo>
                <a:cubicBezTo>
                  <a:pt x="15500" y="4719"/>
                  <a:pt x="15531" y="4687"/>
                  <a:pt x="15531" y="4656"/>
                </a:cubicBezTo>
                <a:cubicBezTo>
                  <a:pt x="15531" y="4625"/>
                  <a:pt x="15531" y="4625"/>
                  <a:pt x="15531" y="4625"/>
                </a:cubicBezTo>
                <a:cubicBezTo>
                  <a:pt x="15656" y="4625"/>
                  <a:pt x="15750" y="4531"/>
                  <a:pt x="15875" y="4656"/>
                </a:cubicBezTo>
                <a:cubicBezTo>
                  <a:pt x="15906" y="4719"/>
                  <a:pt x="15937" y="4656"/>
                  <a:pt x="15969" y="4594"/>
                </a:cubicBezTo>
                <a:cubicBezTo>
                  <a:pt x="16094" y="4469"/>
                  <a:pt x="16062" y="4344"/>
                  <a:pt x="16094" y="4187"/>
                </a:cubicBezTo>
                <a:cubicBezTo>
                  <a:pt x="16281" y="4312"/>
                  <a:pt x="16281" y="4687"/>
                  <a:pt x="16625" y="4625"/>
                </a:cubicBezTo>
                <a:cubicBezTo>
                  <a:pt x="16625" y="4625"/>
                  <a:pt x="16656" y="4656"/>
                  <a:pt x="16687" y="4687"/>
                </a:cubicBezTo>
                <a:cubicBezTo>
                  <a:pt x="16719" y="4781"/>
                  <a:pt x="16750" y="4719"/>
                  <a:pt x="16812" y="4719"/>
                </a:cubicBezTo>
                <a:cubicBezTo>
                  <a:pt x="16812" y="4719"/>
                  <a:pt x="16812" y="4719"/>
                  <a:pt x="16812" y="4719"/>
                </a:cubicBezTo>
                <a:cubicBezTo>
                  <a:pt x="16812" y="4719"/>
                  <a:pt x="16812" y="4719"/>
                  <a:pt x="16812" y="4750"/>
                </a:cubicBezTo>
                <a:cubicBezTo>
                  <a:pt x="16812" y="4750"/>
                  <a:pt x="16812" y="4750"/>
                  <a:pt x="16812" y="4781"/>
                </a:cubicBezTo>
                <a:cubicBezTo>
                  <a:pt x="16812" y="4781"/>
                  <a:pt x="16844" y="4781"/>
                  <a:pt x="16844" y="4781"/>
                </a:cubicBezTo>
                <a:lnTo>
                  <a:pt x="16844" y="4781"/>
                </a:lnTo>
                <a:cubicBezTo>
                  <a:pt x="16812" y="4750"/>
                  <a:pt x="16812" y="4750"/>
                  <a:pt x="16812" y="4750"/>
                </a:cubicBezTo>
                <a:cubicBezTo>
                  <a:pt x="16812" y="4719"/>
                  <a:pt x="16812" y="4719"/>
                  <a:pt x="16812" y="4719"/>
                </a:cubicBezTo>
                <a:cubicBezTo>
                  <a:pt x="16969" y="4656"/>
                  <a:pt x="16719" y="4562"/>
                  <a:pt x="16812" y="4469"/>
                </a:cubicBezTo>
                <a:cubicBezTo>
                  <a:pt x="16875" y="4562"/>
                  <a:pt x="17062" y="4531"/>
                  <a:pt x="16969" y="4719"/>
                </a:cubicBezTo>
                <a:cubicBezTo>
                  <a:pt x="16937" y="4750"/>
                  <a:pt x="17031" y="4750"/>
                  <a:pt x="17062" y="4781"/>
                </a:cubicBezTo>
                <a:cubicBezTo>
                  <a:pt x="17094" y="4781"/>
                  <a:pt x="17094" y="4812"/>
                  <a:pt x="17125" y="4812"/>
                </a:cubicBezTo>
                <a:cubicBezTo>
                  <a:pt x="17125" y="4812"/>
                  <a:pt x="17125" y="4812"/>
                  <a:pt x="17125" y="4812"/>
                </a:cubicBezTo>
                <a:lnTo>
                  <a:pt x="17125" y="4812"/>
                </a:lnTo>
                <a:cubicBezTo>
                  <a:pt x="17125" y="4781"/>
                  <a:pt x="17094" y="4781"/>
                  <a:pt x="17062" y="4781"/>
                </a:cubicBezTo>
                <a:cubicBezTo>
                  <a:pt x="17094" y="4656"/>
                  <a:pt x="17062" y="4531"/>
                  <a:pt x="17250" y="4687"/>
                </a:cubicBezTo>
                <a:cubicBezTo>
                  <a:pt x="17375" y="4812"/>
                  <a:pt x="17562" y="4875"/>
                  <a:pt x="17750" y="4812"/>
                </a:cubicBezTo>
                <a:cubicBezTo>
                  <a:pt x="17906" y="4781"/>
                  <a:pt x="18031" y="4875"/>
                  <a:pt x="18062" y="4969"/>
                </a:cubicBezTo>
                <a:cubicBezTo>
                  <a:pt x="18125" y="5125"/>
                  <a:pt x="17906" y="4969"/>
                  <a:pt x="17875" y="5062"/>
                </a:cubicBezTo>
                <a:cubicBezTo>
                  <a:pt x="17875" y="5062"/>
                  <a:pt x="17875" y="5062"/>
                  <a:pt x="17844" y="5062"/>
                </a:cubicBezTo>
                <a:cubicBezTo>
                  <a:pt x="17844" y="5187"/>
                  <a:pt x="17844" y="5281"/>
                  <a:pt x="17937" y="5375"/>
                </a:cubicBezTo>
                <a:cubicBezTo>
                  <a:pt x="17812" y="5344"/>
                  <a:pt x="17719" y="5219"/>
                  <a:pt x="17562" y="5250"/>
                </a:cubicBezTo>
                <a:cubicBezTo>
                  <a:pt x="17625" y="5125"/>
                  <a:pt x="17531" y="5125"/>
                  <a:pt x="17437" y="5094"/>
                </a:cubicBezTo>
                <a:cubicBezTo>
                  <a:pt x="17312" y="5031"/>
                  <a:pt x="17281" y="5125"/>
                  <a:pt x="17219" y="5219"/>
                </a:cubicBezTo>
                <a:cubicBezTo>
                  <a:pt x="17187" y="5187"/>
                  <a:pt x="17156" y="5187"/>
                  <a:pt x="17125" y="5156"/>
                </a:cubicBezTo>
                <a:cubicBezTo>
                  <a:pt x="17125" y="5125"/>
                  <a:pt x="17187" y="5031"/>
                  <a:pt x="17094" y="5031"/>
                </a:cubicBezTo>
                <a:cubicBezTo>
                  <a:pt x="16875" y="5062"/>
                  <a:pt x="16656" y="4875"/>
                  <a:pt x="16437" y="4937"/>
                </a:cubicBezTo>
                <a:cubicBezTo>
                  <a:pt x="16125" y="5000"/>
                  <a:pt x="15812" y="4969"/>
                  <a:pt x="15500" y="5031"/>
                </a:cubicBezTo>
                <a:cubicBezTo>
                  <a:pt x="15406" y="5031"/>
                  <a:pt x="15344" y="5062"/>
                  <a:pt x="15281" y="5125"/>
                </a:cubicBezTo>
                <a:cubicBezTo>
                  <a:pt x="15281" y="5125"/>
                  <a:pt x="15281" y="5125"/>
                  <a:pt x="15281" y="5125"/>
                </a:cubicBezTo>
                <a:cubicBezTo>
                  <a:pt x="15219" y="5062"/>
                  <a:pt x="15156" y="5031"/>
                  <a:pt x="15062" y="5062"/>
                </a:cubicBezTo>
                <a:cubicBezTo>
                  <a:pt x="14625" y="5219"/>
                  <a:pt x="14125" y="5312"/>
                  <a:pt x="13719" y="5594"/>
                </a:cubicBezTo>
                <a:cubicBezTo>
                  <a:pt x="13625" y="5687"/>
                  <a:pt x="13656" y="5750"/>
                  <a:pt x="13719" y="5781"/>
                </a:cubicBezTo>
                <a:cubicBezTo>
                  <a:pt x="13875" y="5812"/>
                  <a:pt x="14000" y="5844"/>
                  <a:pt x="14156" y="5781"/>
                </a:cubicBezTo>
                <a:cubicBezTo>
                  <a:pt x="14312" y="5687"/>
                  <a:pt x="14437" y="5594"/>
                  <a:pt x="14625" y="5781"/>
                </a:cubicBezTo>
                <a:cubicBezTo>
                  <a:pt x="14687" y="5844"/>
                  <a:pt x="14719" y="5875"/>
                  <a:pt x="14656" y="5937"/>
                </a:cubicBezTo>
                <a:cubicBezTo>
                  <a:pt x="14531" y="6062"/>
                  <a:pt x="14375" y="6125"/>
                  <a:pt x="14250" y="6187"/>
                </a:cubicBezTo>
                <a:cubicBezTo>
                  <a:pt x="14062" y="6281"/>
                  <a:pt x="13875" y="6250"/>
                  <a:pt x="13687" y="6312"/>
                </a:cubicBezTo>
                <a:cubicBezTo>
                  <a:pt x="13562" y="6219"/>
                  <a:pt x="13437" y="6062"/>
                  <a:pt x="13281" y="6000"/>
                </a:cubicBezTo>
                <a:cubicBezTo>
                  <a:pt x="12937" y="5906"/>
                  <a:pt x="12562" y="6062"/>
                  <a:pt x="12219" y="6000"/>
                </a:cubicBezTo>
                <a:cubicBezTo>
                  <a:pt x="12219" y="6000"/>
                  <a:pt x="12219" y="6000"/>
                  <a:pt x="12219" y="6000"/>
                </a:cubicBezTo>
                <a:cubicBezTo>
                  <a:pt x="12219" y="6000"/>
                  <a:pt x="12219" y="6000"/>
                  <a:pt x="12219" y="6000"/>
                </a:cubicBezTo>
                <a:cubicBezTo>
                  <a:pt x="12250" y="5875"/>
                  <a:pt x="12344" y="5875"/>
                  <a:pt x="12469" y="5844"/>
                </a:cubicBezTo>
                <a:cubicBezTo>
                  <a:pt x="12250" y="5719"/>
                  <a:pt x="12187" y="5500"/>
                  <a:pt x="12062" y="5375"/>
                </a:cubicBezTo>
                <a:cubicBezTo>
                  <a:pt x="11937" y="5250"/>
                  <a:pt x="11906" y="5094"/>
                  <a:pt x="11875" y="4937"/>
                </a:cubicBezTo>
                <a:cubicBezTo>
                  <a:pt x="11875" y="4875"/>
                  <a:pt x="11906" y="4844"/>
                  <a:pt x="11844" y="4844"/>
                </a:cubicBezTo>
                <a:cubicBezTo>
                  <a:pt x="11625" y="4844"/>
                  <a:pt x="11469" y="4656"/>
                  <a:pt x="11469" y="4562"/>
                </a:cubicBezTo>
                <a:cubicBezTo>
                  <a:pt x="11469" y="4312"/>
                  <a:pt x="11281" y="4281"/>
                  <a:pt x="11156" y="4187"/>
                </a:cubicBezTo>
                <a:cubicBezTo>
                  <a:pt x="10969" y="4031"/>
                  <a:pt x="10719" y="4031"/>
                  <a:pt x="10500" y="4125"/>
                </a:cubicBezTo>
                <a:cubicBezTo>
                  <a:pt x="10500" y="4219"/>
                  <a:pt x="10625" y="4250"/>
                  <a:pt x="10594" y="4344"/>
                </a:cubicBezTo>
                <a:cubicBezTo>
                  <a:pt x="10531" y="4375"/>
                  <a:pt x="10469" y="4375"/>
                  <a:pt x="10437" y="4344"/>
                </a:cubicBezTo>
                <a:cubicBezTo>
                  <a:pt x="10187" y="4062"/>
                  <a:pt x="10187" y="4062"/>
                  <a:pt x="9937" y="4281"/>
                </a:cubicBezTo>
                <a:cubicBezTo>
                  <a:pt x="9906" y="4156"/>
                  <a:pt x="9812" y="4187"/>
                  <a:pt x="9781" y="4219"/>
                </a:cubicBezTo>
                <a:cubicBezTo>
                  <a:pt x="9656" y="4344"/>
                  <a:pt x="9562" y="4250"/>
                  <a:pt x="9500" y="4187"/>
                </a:cubicBezTo>
                <a:cubicBezTo>
                  <a:pt x="9375" y="4062"/>
                  <a:pt x="9281" y="4062"/>
                  <a:pt x="9156" y="4156"/>
                </a:cubicBezTo>
                <a:cubicBezTo>
                  <a:pt x="9094" y="4219"/>
                  <a:pt x="9000" y="4187"/>
                  <a:pt x="8937" y="4156"/>
                </a:cubicBezTo>
                <a:cubicBezTo>
                  <a:pt x="8844" y="4125"/>
                  <a:pt x="8750" y="4094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62"/>
                  <a:pt x="8656" y="4062"/>
                  <a:pt x="8656" y="4062"/>
                </a:cubicBezTo>
                <a:cubicBezTo>
                  <a:pt x="8656" y="4094"/>
                  <a:pt x="8625" y="4187"/>
                  <a:pt x="8594" y="4156"/>
                </a:cubicBezTo>
                <a:cubicBezTo>
                  <a:pt x="8500" y="4000"/>
                  <a:pt x="8344" y="4031"/>
                  <a:pt x="8250" y="3937"/>
                </a:cubicBezTo>
                <a:cubicBezTo>
                  <a:pt x="8187" y="3906"/>
                  <a:pt x="8094" y="3937"/>
                  <a:pt x="8094" y="3844"/>
                </a:cubicBezTo>
                <a:cubicBezTo>
                  <a:pt x="8094" y="3781"/>
                  <a:pt x="8156" y="3750"/>
                  <a:pt x="8219" y="3719"/>
                </a:cubicBezTo>
                <a:cubicBezTo>
                  <a:pt x="8406" y="3687"/>
                  <a:pt x="8469" y="3562"/>
                  <a:pt x="8469" y="3375"/>
                </a:cubicBezTo>
                <a:cubicBezTo>
                  <a:pt x="8469" y="3281"/>
                  <a:pt x="8500" y="3219"/>
                  <a:pt x="8531" y="3156"/>
                </a:cubicBezTo>
                <a:cubicBezTo>
                  <a:pt x="8562" y="3125"/>
                  <a:pt x="8594" y="3125"/>
                  <a:pt x="8562" y="3094"/>
                </a:cubicBezTo>
                <a:lnTo>
                  <a:pt x="8562" y="3094"/>
                </a:lnTo>
                <a:cubicBezTo>
                  <a:pt x="8562" y="3125"/>
                  <a:pt x="8531" y="3125"/>
                  <a:pt x="8531" y="3156"/>
                </a:cubicBezTo>
                <a:cubicBezTo>
                  <a:pt x="8469" y="3156"/>
                  <a:pt x="8437" y="3219"/>
                  <a:pt x="8406" y="3156"/>
                </a:cubicBezTo>
                <a:cubicBezTo>
                  <a:pt x="8312" y="3062"/>
                  <a:pt x="8250" y="3062"/>
                  <a:pt x="8156" y="3125"/>
                </a:cubicBezTo>
                <a:cubicBezTo>
                  <a:pt x="8031" y="3187"/>
                  <a:pt x="7969" y="3156"/>
                  <a:pt x="8031" y="3000"/>
                </a:cubicBezTo>
                <a:cubicBezTo>
                  <a:pt x="8094" y="2844"/>
                  <a:pt x="7937" y="2812"/>
                  <a:pt x="7875" y="2719"/>
                </a:cubicBezTo>
                <a:cubicBezTo>
                  <a:pt x="7844" y="2656"/>
                  <a:pt x="7812" y="2844"/>
                  <a:pt x="7750" y="2812"/>
                </a:cubicBezTo>
                <a:cubicBezTo>
                  <a:pt x="7687" y="2750"/>
                  <a:pt x="7656" y="2562"/>
                  <a:pt x="7562" y="2781"/>
                </a:cubicBezTo>
                <a:cubicBezTo>
                  <a:pt x="7531" y="2844"/>
                  <a:pt x="7469" y="2812"/>
                  <a:pt x="7469" y="2750"/>
                </a:cubicBezTo>
                <a:cubicBezTo>
                  <a:pt x="7469" y="2687"/>
                  <a:pt x="7469" y="2625"/>
                  <a:pt x="7406" y="2562"/>
                </a:cubicBezTo>
                <a:cubicBezTo>
                  <a:pt x="7406" y="2562"/>
                  <a:pt x="7406" y="2531"/>
                  <a:pt x="7437" y="2500"/>
                </a:cubicBezTo>
                <a:cubicBezTo>
                  <a:pt x="7469" y="2469"/>
                  <a:pt x="7500" y="2469"/>
                  <a:pt x="7500" y="2500"/>
                </a:cubicBezTo>
                <a:cubicBezTo>
                  <a:pt x="7625" y="2656"/>
                  <a:pt x="7687" y="2531"/>
                  <a:pt x="7750" y="2437"/>
                </a:cubicBezTo>
                <a:cubicBezTo>
                  <a:pt x="7781" y="2344"/>
                  <a:pt x="7812" y="2375"/>
                  <a:pt x="7906" y="2406"/>
                </a:cubicBezTo>
                <a:cubicBezTo>
                  <a:pt x="7937" y="2406"/>
                  <a:pt x="8000" y="2469"/>
                  <a:pt x="8062" y="2437"/>
                </a:cubicBezTo>
                <a:cubicBezTo>
                  <a:pt x="7937" y="2281"/>
                  <a:pt x="7844" y="2125"/>
                  <a:pt x="7625" y="2344"/>
                </a:cubicBezTo>
                <a:cubicBezTo>
                  <a:pt x="7594" y="2375"/>
                  <a:pt x="7469" y="2469"/>
                  <a:pt x="7375" y="2375"/>
                </a:cubicBezTo>
                <a:cubicBezTo>
                  <a:pt x="7312" y="2312"/>
                  <a:pt x="7281" y="2406"/>
                  <a:pt x="7250" y="2437"/>
                </a:cubicBezTo>
                <a:cubicBezTo>
                  <a:pt x="7125" y="2500"/>
                  <a:pt x="6937" y="2469"/>
                  <a:pt x="6781" y="2500"/>
                </a:cubicBezTo>
                <a:cubicBezTo>
                  <a:pt x="6719" y="2531"/>
                  <a:pt x="6594" y="2437"/>
                  <a:pt x="6469" y="2375"/>
                </a:cubicBezTo>
                <a:cubicBezTo>
                  <a:pt x="6406" y="2344"/>
                  <a:pt x="6531" y="2281"/>
                  <a:pt x="6500" y="2219"/>
                </a:cubicBezTo>
                <a:cubicBezTo>
                  <a:pt x="6500" y="2219"/>
                  <a:pt x="6531" y="2219"/>
                  <a:pt x="6531" y="2219"/>
                </a:cubicBezTo>
                <a:cubicBezTo>
                  <a:pt x="6531" y="2219"/>
                  <a:pt x="6531" y="2219"/>
                  <a:pt x="6562" y="2219"/>
                </a:cubicBezTo>
                <a:cubicBezTo>
                  <a:pt x="6562" y="2219"/>
                  <a:pt x="6562" y="2219"/>
                  <a:pt x="6562" y="2219"/>
                </a:cubicBezTo>
                <a:lnTo>
                  <a:pt x="6562" y="2219"/>
                </a:lnTo>
                <a:cubicBezTo>
                  <a:pt x="6531" y="2219"/>
                  <a:pt x="6531" y="2219"/>
                  <a:pt x="6531" y="2219"/>
                </a:cubicBezTo>
                <a:cubicBezTo>
                  <a:pt x="6531" y="2219"/>
                  <a:pt x="6531" y="2219"/>
                  <a:pt x="6500" y="2219"/>
                </a:cubicBezTo>
                <a:cubicBezTo>
                  <a:pt x="5906" y="2531"/>
                  <a:pt x="5437" y="3000"/>
                  <a:pt x="4937" y="3500"/>
                </a:cubicBezTo>
                <a:cubicBezTo>
                  <a:pt x="4500" y="3937"/>
                  <a:pt x="4125" y="4469"/>
                  <a:pt x="3781" y="5031"/>
                </a:cubicBezTo>
                <a:cubicBezTo>
                  <a:pt x="3750" y="5125"/>
                  <a:pt x="3687" y="5219"/>
                  <a:pt x="3719" y="5344"/>
                </a:cubicBezTo>
                <a:cubicBezTo>
                  <a:pt x="3719" y="5344"/>
                  <a:pt x="3719" y="5344"/>
                  <a:pt x="3719" y="5344"/>
                </a:cubicBezTo>
                <a:cubicBezTo>
                  <a:pt x="3594" y="5281"/>
                  <a:pt x="3500" y="5250"/>
                  <a:pt x="3375" y="5344"/>
                </a:cubicBezTo>
                <a:cubicBezTo>
                  <a:pt x="3281" y="5437"/>
                  <a:pt x="3187" y="5406"/>
                  <a:pt x="3094" y="5344"/>
                </a:cubicBezTo>
                <a:cubicBezTo>
                  <a:pt x="3000" y="5281"/>
                  <a:pt x="2969" y="5219"/>
                  <a:pt x="3000" y="5094"/>
                </a:cubicBezTo>
                <a:cubicBezTo>
                  <a:pt x="3000" y="4969"/>
                  <a:pt x="2937" y="4844"/>
                  <a:pt x="2906" y="4719"/>
                </a:cubicBezTo>
                <a:cubicBezTo>
                  <a:pt x="2812" y="4531"/>
                  <a:pt x="2625" y="4531"/>
                  <a:pt x="2500" y="4469"/>
                </a:cubicBezTo>
                <a:cubicBezTo>
                  <a:pt x="2250" y="4312"/>
                  <a:pt x="2000" y="4437"/>
                  <a:pt x="1750" y="4469"/>
                </a:cubicBezTo>
                <a:cubicBezTo>
                  <a:pt x="1750" y="4469"/>
                  <a:pt x="1719" y="4531"/>
                  <a:pt x="1719" y="4562"/>
                </a:cubicBezTo>
                <a:cubicBezTo>
                  <a:pt x="1750" y="4625"/>
                  <a:pt x="1812" y="4687"/>
                  <a:pt x="1844" y="4750"/>
                </a:cubicBezTo>
                <a:cubicBezTo>
                  <a:pt x="2062" y="4812"/>
                  <a:pt x="2187" y="4937"/>
                  <a:pt x="2312" y="5094"/>
                </a:cubicBezTo>
                <a:cubicBezTo>
                  <a:pt x="2187" y="4937"/>
                  <a:pt x="2062" y="4812"/>
                  <a:pt x="1844" y="4750"/>
                </a:cubicBezTo>
                <a:cubicBezTo>
                  <a:pt x="1812" y="4687"/>
                  <a:pt x="1750" y="4625"/>
                  <a:pt x="1719" y="4562"/>
                </a:cubicBezTo>
                <a:cubicBezTo>
                  <a:pt x="1687" y="4562"/>
                  <a:pt x="1687" y="4625"/>
                  <a:pt x="1656" y="4625"/>
                </a:cubicBezTo>
                <a:cubicBezTo>
                  <a:pt x="1531" y="4656"/>
                  <a:pt x="1531" y="4719"/>
                  <a:pt x="1625" y="4781"/>
                </a:cubicBezTo>
                <a:cubicBezTo>
                  <a:pt x="1687" y="4812"/>
                  <a:pt x="1719" y="4844"/>
                  <a:pt x="1750" y="4844"/>
                </a:cubicBezTo>
                <a:cubicBezTo>
                  <a:pt x="1750" y="4844"/>
                  <a:pt x="1750" y="4844"/>
                  <a:pt x="1750" y="4844"/>
                </a:cubicBezTo>
                <a:cubicBezTo>
                  <a:pt x="1750" y="4844"/>
                  <a:pt x="1750" y="4844"/>
                  <a:pt x="1750" y="4844"/>
                </a:cubicBezTo>
                <a:cubicBezTo>
                  <a:pt x="1875" y="5000"/>
                  <a:pt x="2000" y="5125"/>
                  <a:pt x="2156" y="5250"/>
                </a:cubicBezTo>
                <a:cubicBezTo>
                  <a:pt x="2250" y="5312"/>
                  <a:pt x="2312" y="5344"/>
                  <a:pt x="2344" y="5469"/>
                </a:cubicBezTo>
                <a:cubicBezTo>
                  <a:pt x="2219" y="5781"/>
                  <a:pt x="2406" y="6062"/>
                  <a:pt x="2437" y="6344"/>
                </a:cubicBezTo>
                <a:cubicBezTo>
                  <a:pt x="2719" y="6344"/>
                  <a:pt x="2781" y="6062"/>
                  <a:pt x="2969" y="5969"/>
                </a:cubicBezTo>
                <a:cubicBezTo>
                  <a:pt x="3031" y="6000"/>
                  <a:pt x="3094" y="6031"/>
                  <a:pt x="3125" y="6094"/>
                </a:cubicBezTo>
                <a:cubicBezTo>
                  <a:pt x="3125" y="6281"/>
                  <a:pt x="3156" y="6469"/>
                  <a:pt x="3312" y="6625"/>
                </a:cubicBezTo>
                <a:cubicBezTo>
                  <a:pt x="3312" y="6531"/>
                  <a:pt x="3312" y="6469"/>
                  <a:pt x="3375" y="6437"/>
                </a:cubicBezTo>
                <a:cubicBezTo>
                  <a:pt x="3406" y="6375"/>
                  <a:pt x="3437" y="6344"/>
                  <a:pt x="3500" y="6312"/>
                </a:cubicBezTo>
                <a:cubicBezTo>
                  <a:pt x="3531" y="6281"/>
                  <a:pt x="3594" y="6250"/>
                  <a:pt x="3625" y="6219"/>
                </a:cubicBezTo>
                <a:cubicBezTo>
                  <a:pt x="4000" y="5969"/>
                  <a:pt x="4406" y="6219"/>
                  <a:pt x="4781" y="6156"/>
                </a:cubicBezTo>
                <a:cubicBezTo>
                  <a:pt x="4781" y="6125"/>
                  <a:pt x="4781" y="6125"/>
                  <a:pt x="4781" y="6094"/>
                </a:cubicBezTo>
                <a:cubicBezTo>
                  <a:pt x="4594" y="6031"/>
                  <a:pt x="4406" y="5969"/>
                  <a:pt x="4250" y="5906"/>
                </a:cubicBezTo>
                <a:cubicBezTo>
                  <a:pt x="4250" y="5875"/>
                  <a:pt x="4250" y="5875"/>
                  <a:pt x="4250" y="5875"/>
                </a:cubicBezTo>
                <a:cubicBezTo>
                  <a:pt x="4281" y="5875"/>
                  <a:pt x="4312" y="5875"/>
                  <a:pt x="4312" y="5875"/>
                </a:cubicBezTo>
                <a:cubicBezTo>
                  <a:pt x="4719" y="6000"/>
                  <a:pt x="5094" y="6219"/>
                  <a:pt x="5437" y="5812"/>
                </a:cubicBezTo>
                <a:cubicBezTo>
                  <a:pt x="5469" y="5812"/>
                  <a:pt x="5469" y="5812"/>
                  <a:pt x="5500" y="5812"/>
                </a:cubicBezTo>
                <a:cubicBezTo>
                  <a:pt x="5625" y="5781"/>
                  <a:pt x="5625" y="5687"/>
                  <a:pt x="5562" y="5625"/>
                </a:cubicBezTo>
                <a:cubicBezTo>
                  <a:pt x="5500" y="5562"/>
                  <a:pt x="5531" y="5469"/>
                  <a:pt x="5437" y="5406"/>
                </a:cubicBezTo>
                <a:cubicBezTo>
                  <a:pt x="5344" y="5375"/>
                  <a:pt x="5406" y="5250"/>
                  <a:pt x="5469" y="5250"/>
                </a:cubicBezTo>
                <a:cubicBezTo>
                  <a:pt x="5625" y="5281"/>
                  <a:pt x="5719" y="5219"/>
                  <a:pt x="5812" y="5094"/>
                </a:cubicBezTo>
                <a:cubicBezTo>
                  <a:pt x="5906" y="5000"/>
                  <a:pt x="6187" y="5094"/>
                  <a:pt x="6156" y="4844"/>
                </a:cubicBezTo>
                <a:cubicBezTo>
                  <a:pt x="6156" y="4781"/>
                  <a:pt x="6312" y="4656"/>
                  <a:pt x="6344" y="4687"/>
                </a:cubicBezTo>
                <a:cubicBezTo>
                  <a:pt x="6531" y="4750"/>
                  <a:pt x="6594" y="4562"/>
                  <a:pt x="6719" y="4531"/>
                </a:cubicBezTo>
                <a:cubicBezTo>
                  <a:pt x="6781" y="4500"/>
                  <a:pt x="6906" y="4344"/>
                  <a:pt x="6906" y="4562"/>
                </a:cubicBezTo>
                <a:cubicBezTo>
                  <a:pt x="6906" y="4594"/>
                  <a:pt x="6937" y="4594"/>
                  <a:pt x="6969" y="4562"/>
                </a:cubicBezTo>
                <a:cubicBezTo>
                  <a:pt x="7031" y="4500"/>
                  <a:pt x="7156" y="4500"/>
                  <a:pt x="7187" y="4375"/>
                </a:cubicBezTo>
                <a:cubicBezTo>
                  <a:pt x="7250" y="4156"/>
                  <a:pt x="7406" y="4062"/>
                  <a:pt x="7625" y="4062"/>
                </a:cubicBezTo>
                <a:cubicBezTo>
                  <a:pt x="7656" y="4094"/>
                  <a:pt x="7687" y="4125"/>
                  <a:pt x="7719" y="4062"/>
                </a:cubicBezTo>
                <a:cubicBezTo>
                  <a:pt x="7781" y="3937"/>
                  <a:pt x="7906" y="3969"/>
                  <a:pt x="8000" y="3937"/>
                </a:cubicBezTo>
                <a:cubicBezTo>
                  <a:pt x="8000" y="4156"/>
                  <a:pt x="8000" y="4375"/>
                  <a:pt x="8250" y="4500"/>
                </a:cubicBezTo>
                <a:cubicBezTo>
                  <a:pt x="8312" y="4531"/>
                  <a:pt x="8469" y="4531"/>
                  <a:pt x="8406" y="4687"/>
                </a:cubicBezTo>
                <a:cubicBezTo>
                  <a:pt x="8406" y="4719"/>
                  <a:pt x="8469" y="4719"/>
                  <a:pt x="8469" y="4719"/>
                </a:cubicBezTo>
                <a:cubicBezTo>
                  <a:pt x="8812" y="4719"/>
                  <a:pt x="9094" y="4906"/>
                  <a:pt x="9375" y="5094"/>
                </a:cubicBezTo>
                <a:cubicBezTo>
                  <a:pt x="9344" y="5187"/>
                  <a:pt x="9406" y="5219"/>
                  <a:pt x="9437" y="5312"/>
                </a:cubicBezTo>
                <a:cubicBezTo>
                  <a:pt x="9500" y="5437"/>
                  <a:pt x="9656" y="5531"/>
                  <a:pt x="9687" y="5656"/>
                </a:cubicBezTo>
                <a:cubicBezTo>
                  <a:pt x="9531" y="5719"/>
                  <a:pt x="9406" y="5781"/>
                  <a:pt x="9219" y="5687"/>
                </a:cubicBezTo>
                <a:cubicBezTo>
                  <a:pt x="9219" y="5687"/>
                  <a:pt x="9250" y="5687"/>
                  <a:pt x="9250" y="5687"/>
                </a:cubicBezTo>
                <a:cubicBezTo>
                  <a:pt x="9250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219" y="5687"/>
                  <a:pt x="9219" y="5687"/>
                  <a:pt x="9219" y="5687"/>
                </a:cubicBezTo>
                <a:cubicBezTo>
                  <a:pt x="9156" y="5750"/>
                  <a:pt x="9062" y="5906"/>
                  <a:pt x="9031" y="5656"/>
                </a:cubicBezTo>
                <a:cubicBezTo>
                  <a:pt x="9031" y="5594"/>
                  <a:pt x="8969" y="5594"/>
                  <a:pt x="8937" y="5594"/>
                </a:cubicBezTo>
                <a:cubicBezTo>
                  <a:pt x="8812" y="5531"/>
                  <a:pt x="8656" y="5469"/>
                  <a:pt x="8562" y="5375"/>
                </a:cubicBezTo>
                <a:cubicBezTo>
                  <a:pt x="8437" y="5250"/>
                  <a:pt x="8312" y="5281"/>
                  <a:pt x="8219" y="5344"/>
                </a:cubicBezTo>
                <a:cubicBezTo>
                  <a:pt x="8094" y="5375"/>
                  <a:pt x="8094" y="5500"/>
                  <a:pt x="8125" y="5625"/>
                </a:cubicBezTo>
                <a:cubicBezTo>
                  <a:pt x="8187" y="5781"/>
                  <a:pt x="8062" y="5844"/>
                  <a:pt x="7937" y="5875"/>
                </a:cubicBezTo>
                <a:cubicBezTo>
                  <a:pt x="7719" y="5906"/>
                  <a:pt x="7469" y="5906"/>
                  <a:pt x="7250" y="6062"/>
                </a:cubicBezTo>
                <a:cubicBezTo>
                  <a:pt x="7312" y="5906"/>
                  <a:pt x="7375" y="5781"/>
                  <a:pt x="7531" y="5719"/>
                </a:cubicBezTo>
                <a:cubicBezTo>
                  <a:pt x="7875" y="5531"/>
                  <a:pt x="8094" y="5250"/>
                  <a:pt x="8125" y="4844"/>
                </a:cubicBezTo>
                <a:cubicBezTo>
                  <a:pt x="7687" y="4906"/>
                  <a:pt x="7281" y="5062"/>
                  <a:pt x="6844" y="4969"/>
                </a:cubicBezTo>
                <a:cubicBezTo>
                  <a:pt x="6781" y="4937"/>
                  <a:pt x="6656" y="4937"/>
                  <a:pt x="6656" y="4969"/>
                </a:cubicBezTo>
                <a:cubicBezTo>
                  <a:pt x="6500" y="5219"/>
                  <a:pt x="6250" y="5125"/>
                  <a:pt x="6062" y="5156"/>
                </a:cubicBezTo>
                <a:cubicBezTo>
                  <a:pt x="6000" y="5187"/>
                  <a:pt x="5969" y="5156"/>
                  <a:pt x="5969" y="5219"/>
                </a:cubicBezTo>
                <a:cubicBezTo>
                  <a:pt x="5969" y="5375"/>
                  <a:pt x="5875" y="5500"/>
                  <a:pt x="5906" y="5625"/>
                </a:cubicBezTo>
                <a:cubicBezTo>
                  <a:pt x="6000" y="5906"/>
                  <a:pt x="5844" y="6094"/>
                  <a:pt x="5625" y="6250"/>
                </a:cubicBezTo>
                <a:cubicBezTo>
                  <a:pt x="5469" y="6344"/>
                  <a:pt x="5375" y="6531"/>
                  <a:pt x="5375" y="6719"/>
                </a:cubicBezTo>
                <a:cubicBezTo>
                  <a:pt x="5375" y="7000"/>
                  <a:pt x="5312" y="7094"/>
                  <a:pt x="5094" y="7219"/>
                </a:cubicBezTo>
                <a:cubicBezTo>
                  <a:pt x="4844" y="7375"/>
                  <a:pt x="4594" y="7375"/>
                  <a:pt x="4344" y="7187"/>
                </a:cubicBezTo>
                <a:cubicBezTo>
                  <a:pt x="4219" y="7094"/>
                  <a:pt x="4219" y="7094"/>
                  <a:pt x="4062" y="7125"/>
                </a:cubicBezTo>
                <a:cubicBezTo>
                  <a:pt x="4437" y="7406"/>
                  <a:pt x="4437" y="7406"/>
                  <a:pt x="4469" y="7656"/>
                </a:cubicBezTo>
                <a:cubicBezTo>
                  <a:pt x="4375" y="7656"/>
                  <a:pt x="4344" y="7594"/>
                  <a:pt x="4312" y="7531"/>
                </a:cubicBezTo>
                <a:cubicBezTo>
                  <a:pt x="4187" y="7281"/>
                  <a:pt x="3969" y="7187"/>
                  <a:pt x="3781" y="7031"/>
                </a:cubicBezTo>
                <a:cubicBezTo>
                  <a:pt x="3594" y="6969"/>
                  <a:pt x="3437" y="6750"/>
                  <a:pt x="3219" y="6875"/>
                </a:cubicBezTo>
                <a:cubicBezTo>
                  <a:pt x="3250" y="6906"/>
                  <a:pt x="3281" y="6937"/>
                  <a:pt x="3312" y="7000"/>
                </a:cubicBezTo>
                <a:cubicBezTo>
                  <a:pt x="3281" y="7062"/>
                  <a:pt x="3344" y="7094"/>
                  <a:pt x="3406" y="7094"/>
                </a:cubicBezTo>
                <a:cubicBezTo>
                  <a:pt x="3406" y="7125"/>
                  <a:pt x="3406" y="7156"/>
                  <a:pt x="3437" y="7125"/>
                </a:cubicBezTo>
                <a:cubicBezTo>
                  <a:pt x="3437" y="7125"/>
                  <a:pt x="3437" y="7156"/>
                  <a:pt x="3437" y="7156"/>
                </a:cubicBezTo>
                <a:cubicBezTo>
                  <a:pt x="3469" y="7312"/>
                  <a:pt x="3312" y="7500"/>
                  <a:pt x="3094" y="7531"/>
                </a:cubicBezTo>
                <a:cubicBezTo>
                  <a:pt x="3062" y="7500"/>
                  <a:pt x="3000" y="7437"/>
                  <a:pt x="2969" y="7406"/>
                </a:cubicBezTo>
                <a:cubicBezTo>
                  <a:pt x="2625" y="6969"/>
                  <a:pt x="2281" y="6562"/>
                  <a:pt x="2094" y="6000"/>
                </a:cubicBezTo>
                <a:cubicBezTo>
                  <a:pt x="1969" y="6187"/>
                  <a:pt x="1781" y="6219"/>
                  <a:pt x="1625" y="6312"/>
                </a:cubicBezTo>
                <a:cubicBezTo>
                  <a:pt x="1437" y="6437"/>
                  <a:pt x="1281" y="6312"/>
                  <a:pt x="1094" y="6281"/>
                </a:cubicBezTo>
                <a:cubicBezTo>
                  <a:pt x="1344" y="6406"/>
                  <a:pt x="1312" y="6531"/>
                  <a:pt x="1156" y="6719"/>
                </a:cubicBezTo>
                <a:cubicBezTo>
                  <a:pt x="1062" y="6781"/>
                  <a:pt x="1031" y="6844"/>
                  <a:pt x="1000" y="6937"/>
                </a:cubicBezTo>
                <a:cubicBezTo>
                  <a:pt x="1000" y="7062"/>
                  <a:pt x="969" y="7125"/>
                  <a:pt x="1125" y="7062"/>
                </a:cubicBezTo>
                <a:cubicBezTo>
                  <a:pt x="1219" y="7031"/>
                  <a:pt x="1281" y="7000"/>
                  <a:pt x="1375" y="7000"/>
                </a:cubicBezTo>
                <a:cubicBezTo>
                  <a:pt x="1437" y="7000"/>
                  <a:pt x="1562" y="7000"/>
                  <a:pt x="1562" y="7094"/>
                </a:cubicBezTo>
                <a:cubicBezTo>
                  <a:pt x="1562" y="7156"/>
                  <a:pt x="1562" y="7250"/>
                  <a:pt x="1469" y="7281"/>
                </a:cubicBezTo>
                <a:cubicBezTo>
                  <a:pt x="1312" y="7375"/>
                  <a:pt x="1250" y="7469"/>
                  <a:pt x="1344" y="7656"/>
                </a:cubicBezTo>
                <a:cubicBezTo>
                  <a:pt x="1344" y="7687"/>
                  <a:pt x="1344" y="7750"/>
                  <a:pt x="1344" y="7781"/>
                </a:cubicBezTo>
                <a:cubicBezTo>
                  <a:pt x="1250" y="8000"/>
                  <a:pt x="1187" y="8187"/>
                  <a:pt x="1094" y="8406"/>
                </a:cubicBezTo>
                <a:cubicBezTo>
                  <a:pt x="1031" y="8531"/>
                  <a:pt x="1000" y="8656"/>
                  <a:pt x="1031" y="8781"/>
                </a:cubicBezTo>
                <a:cubicBezTo>
                  <a:pt x="1094" y="8969"/>
                  <a:pt x="1000" y="9031"/>
                  <a:pt x="844" y="9000"/>
                </a:cubicBezTo>
                <a:cubicBezTo>
                  <a:pt x="781" y="9000"/>
                  <a:pt x="719" y="9000"/>
                  <a:pt x="687" y="8969"/>
                </a:cubicBezTo>
                <a:cubicBezTo>
                  <a:pt x="531" y="8937"/>
                  <a:pt x="406" y="8937"/>
                  <a:pt x="406" y="8750"/>
                </a:cubicBezTo>
                <a:cubicBezTo>
                  <a:pt x="406" y="8687"/>
                  <a:pt x="375" y="8625"/>
                  <a:pt x="312" y="8625"/>
                </a:cubicBezTo>
                <a:cubicBezTo>
                  <a:pt x="250" y="8594"/>
                  <a:pt x="219" y="8656"/>
                  <a:pt x="187" y="8687"/>
                </a:cubicBezTo>
                <a:cubicBezTo>
                  <a:pt x="0" y="8812"/>
                  <a:pt x="31" y="9000"/>
                  <a:pt x="94" y="9156"/>
                </a:cubicBezTo>
                <a:cubicBezTo>
                  <a:pt x="156" y="9281"/>
                  <a:pt x="187" y="9312"/>
                  <a:pt x="312" y="9219"/>
                </a:cubicBezTo>
                <a:cubicBezTo>
                  <a:pt x="437" y="9062"/>
                  <a:pt x="469" y="9094"/>
                  <a:pt x="562" y="9312"/>
                </a:cubicBezTo>
                <a:cubicBezTo>
                  <a:pt x="281" y="9312"/>
                  <a:pt x="281" y="9312"/>
                  <a:pt x="406" y="9562"/>
                </a:cubicBezTo>
                <a:cubicBezTo>
                  <a:pt x="469" y="9625"/>
                  <a:pt x="469" y="9687"/>
                  <a:pt x="531" y="9781"/>
                </a:cubicBezTo>
                <a:cubicBezTo>
                  <a:pt x="562" y="9656"/>
                  <a:pt x="719" y="9687"/>
                  <a:pt x="781" y="9562"/>
                </a:cubicBezTo>
                <a:cubicBezTo>
                  <a:pt x="906" y="9250"/>
                  <a:pt x="1219" y="9219"/>
                  <a:pt x="1500" y="9094"/>
                </a:cubicBezTo>
                <a:cubicBezTo>
                  <a:pt x="1531" y="9094"/>
                  <a:pt x="1594" y="9125"/>
                  <a:pt x="1625" y="9156"/>
                </a:cubicBezTo>
                <a:cubicBezTo>
                  <a:pt x="1625" y="9156"/>
                  <a:pt x="1625" y="9156"/>
                  <a:pt x="1625" y="9156"/>
                </a:cubicBezTo>
                <a:cubicBezTo>
                  <a:pt x="1594" y="9187"/>
                  <a:pt x="1562" y="9250"/>
                  <a:pt x="1531" y="9281"/>
                </a:cubicBezTo>
                <a:cubicBezTo>
                  <a:pt x="1500" y="9437"/>
                  <a:pt x="1406" y="9562"/>
                  <a:pt x="1437" y="9719"/>
                </a:cubicBezTo>
                <a:cubicBezTo>
                  <a:pt x="1437" y="9844"/>
                  <a:pt x="1437" y="9969"/>
                  <a:pt x="1437" y="10094"/>
                </a:cubicBezTo>
                <a:cubicBezTo>
                  <a:pt x="1250" y="10250"/>
                  <a:pt x="1031" y="10406"/>
                  <a:pt x="1000" y="10687"/>
                </a:cubicBezTo>
                <a:cubicBezTo>
                  <a:pt x="1000" y="10937"/>
                  <a:pt x="969" y="11187"/>
                  <a:pt x="906" y="11437"/>
                </a:cubicBezTo>
                <a:cubicBezTo>
                  <a:pt x="875" y="11812"/>
                  <a:pt x="937" y="12156"/>
                  <a:pt x="1219" y="12437"/>
                </a:cubicBezTo>
                <a:cubicBezTo>
                  <a:pt x="1312" y="12531"/>
                  <a:pt x="1500" y="12500"/>
                  <a:pt x="1469" y="12687"/>
                </a:cubicBezTo>
                <a:cubicBezTo>
                  <a:pt x="1562" y="12719"/>
                  <a:pt x="1625" y="12625"/>
                  <a:pt x="1719" y="12625"/>
                </a:cubicBezTo>
                <a:cubicBezTo>
                  <a:pt x="1625" y="12625"/>
                  <a:pt x="1562" y="12719"/>
                  <a:pt x="1469" y="12687"/>
                </a:cubicBezTo>
                <a:cubicBezTo>
                  <a:pt x="1406" y="12750"/>
                  <a:pt x="1312" y="12844"/>
                  <a:pt x="1219" y="12937"/>
                </a:cubicBezTo>
                <a:cubicBezTo>
                  <a:pt x="906" y="13250"/>
                  <a:pt x="719" y="13625"/>
                  <a:pt x="781" y="14125"/>
                </a:cubicBezTo>
                <a:cubicBezTo>
                  <a:pt x="781" y="14312"/>
                  <a:pt x="812" y="14469"/>
                  <a:pt x="875" y="14656"/>
                </a:cubicBezTo>
                <a:cubicBezTo>
                  <a:pt x="875" y="14781"/>
                  <a:pt x="875" y="14906"/>
                  <a:pt x="1062" y="14937"/>
                </a:cubicBezTo>
                <a:cubicBezTo>
                  <a:pt x="1187" y="14969"/>
                  <a:pt x="1312" y="14906"/>
                  <a:pt x="1375" y="14781"/>
                </a:cubicBezTo>
                <a:cubicBezTo>
                  <a:pt x="1531" y="14469"/>
                  <a:pt x="1531" y="14469"/>
                  <a:pt x="1844" y="14625"/>
                </a:cubicBezTo>
                <a:cubicBezTo>
                  <a:pt x="1844" y="14625"/>
                  <a:pt x="1844" y="14625"/>
                  <a:pt x="1875" y="14625"/>
                </a:cubicBezTo>
                <a:cubicBezTo>
                  <a:pt x="2031" y="14750"/>
                  <a:pt x="2187" y="14875"/>
                  <a:pt x="2406" y="14750"/>
                </a:cubicBezTo>
                <a:cubicBezTo>
                  <a:pt x="2469" y="14719"/>
                  <a:pt x="2531" y="14781"/>
                  <a:pt x="2562" y="14781"/>
                </a:cubicBezTo>
                <a:cubicBezTo>
                  <a:pt x="2562" y="14844"/>
                  <a:pt x="2531" y="14875"/>
                  <a:pt x="2531" y="14937"/>
                </a:cubicBezTo>
                <a:cubicBezTo>
                  <a:pt x="2594" y="14969"/>
                  <a:pt x="2656" y="15000"/>
                  <a:pt x="2719" y="15062"/>
                </a:cubicBezTo>
                <a:cubicBezTo>
                  <a:pt x="2906" y="15281"/>
                  <a:pt x="3187" y="15312"/>
                  <a:pt x="3437" y="15250"/>
                </a:cubicBezTo>
                <a:cubicBezTo>
                  <a:pt x="3812" y="15156"/>
                  <a:pt x="4219" y="15094"/>
                  <a:pt x="4625" y="15094"/>
                </a:cubicBezTo>
                <a:cubicBezTo>
                  <a:pt x="4656" y="15094"/>
                  <a:pt x="4687" y="15094"/>
                  <a:pt x="4719" y="15094"/>
                </a:cubicBezTo>
                <a:cubicBezTo>
                  <a:pt x="4937" y="15125"/>
                  <a:pt x="5187" y="15156"/>
                  <a:pt x="5375" y="15031"/>
                </a:cubicBezTo>
                <a:cubicBezTo>
                  <a:pt x="5594" y="15031"/>
                  <a:pt x="5812" y="14969"/>
                  <a:pt x="6000" y="14937"/>
                </a:cubicBezTo>
                <a:cubicBezTo>
                  <a:pt x="6187" y="14875"/>
                  <a:pt x="6187" y="14812"/>
                  <a:pt x="6062" y="14719"/>
                </a:cubicBezTo>
                <a:cubicBezTo>
                  <a:pt x="5937" y="14594"/>
                  <a:pt x="5844" y="14500"/>
                  <a:pt x="5750" y="14375"/>
                </a:cubicBezTo>
                <a:cubicBezTo>
                  <a:pt x="5406" y="13969"/>
                  <a:pt x="5031" y="13594"/>
                  <a:pt x="4625" y="13219"/>
                </a:cubicBezTo>
                <a:cubicBezTo>
                  <a:pt x="4594" y="13219"/>
                  <a:pt x="4531" y="13187"/>
                  <a:pt x="4469" y="13187"/>
                </a:cubicBezTo>
                <a:cubicBezTo>
                  <a:pt x="4531" y="13187"/>
                  <a:pt x="4594" y="13219"/>
                  <a:pt x="4625" y="13219"/>
                </a:cubicBezTo>
                <a:cubicBezTo>
                  <a:pt x="4687" y="13156"/>
                  <a:pt x="4687" y="13094"/>
                  <a:pt x="4656" y="13031"/>
                </a:cubicBezTo>
                <a:cubicBezTo>
                  <a:pt x="4594" y="12781"/>
                  <a:pt x="4687" y="12656"/>
                  <a:pt x="4937" y="12656"/>
                </a:cubicBezTo>
                <a:cubicBezTo>
                  <a:pt x="5000" y="12656"/>
                  <a:pt x="5094" y="12656"/>
                  <a:pt x="5156" y="12625"/>
                </a:cubicBezTo>
                <a:cubicBezTo>
                  <a:pt x="5187" y="12625"/>
                  <a:pt x="5219" y="12625"/>
                  <a:pt x="5250" y="12625"/>
                </a:cubicBezTo>
                <a:cubicBezTo>
                  <a:pt x="5281" y="12656"/>
                  <a:pt x="5344" y="12656"/>
                  <a:pt x="5375" y="12625"/>
                </a:cubicBezTo>
                <a:cubicBezTo>
                  <a:pt x="5562" y="12625"/>
                  <a:pt x="5750" y="12562"/>
                  <a:pt x="5906" y="12594"/>
                </a:cubicBezTo>
                <a:cubicBezTo>
                  <a:pt x="6500" y="12625"/>
                  <a:pt x="7094" y="12687"/>
                  <a:pt x="7687" y="12719"/>
                </a:cubicBezTo>
                <a:cubicBezTo>
                  <a:pt x="8000" y="12750"/>
                  <a:pt x="8281" y="12750"/>
                  <a:pt x="8562" y="12625"/>
                </a:cubicBezTo>
                <a:cubicBezTo>
                  <a:pt x="8500" y="12469"/>
                  <a:pt x="8250" y="12500"/>
                  <a:pt x="8219" y="12312"/>
                </a:cubicBezTo>
                <a:cubicBezTo>
                  <a:pt x="8219" y="12312"/>
                  <a:pt x="8219" y="12312"/>
                  <a:pt x="8219" y="12312"/>
                </a:cubicBezTo>
                <a:cubicBezTo>
                  <a:pt x="8219" y="12312"/>
                  <a:pt x="8250" y="12344"/>
                  <a:pt x="8250" y="12344"/>
                </a:cubicBezTo>
                <a:cubicBezTo>
                  <a:pt x="8406" y="12469"/>
                  <a:pt x="8437" y="12281"/>
                  <a:pt x="8531" y="12250"/>
                </a:cubicBezTo>
                <a:cubicBezTo>
                  <a:pt x="8625" y="12250"/>
                  <a:pt x="8719" y="12219"/>
                  <a:pt x="8781" y="12281"/>
                </a:cubicBezTo>
                <a:cubicBezTo>
                  <a:pt x="9000" y="12406"/>
                  <a:pt x="9187" y="12375"/>
                  <a:pt x="9344" y="12187"/>
                </a:cubicBezTo>
                <a:cubicBezTo>
                  <a:pt x="9469" y="12219"/>
                  <a:pt x="9562" y="12187"/>
                  <a:pt x="9625" y="12125"/>
                </a:cubicBezTo>
                <a:cubicBezTo>
                  <a:pt x="9687" y="12062"/>
                  <a:pt x="9719" y="12031"/>
                  <a:pt x="9750" y="12156"/>
                </a:cubicBezTo>
                <a:cubicBezTo>
                  <a:pt x="9781" y="12219"/>
                  <a:pt x="9812" y="12125"/>
                  <a:pt x="9844" y="12125"/>
                </a:cubicBezTo>
                <a:cubicBezTo>
                  <a:pt x="9875" y="12062"/>
                  <a:pt x="9906" y="12031"/>
                  <a:pt x="9875" y="11969"/>
                </a:cubicBezTo>
                <a:cubicBezTo>
                  <a:pt x="9906" y="12031"/>
                  <a:pt x="9875" y="12062"/>
                  <a:pt x="9844" y="12125"/>
                </a:cubicBezTo>
                <a:cubicBezTo>
                  <a:pt x="9875" y="12125"/>
                  <a:pt x="9937" y="12125"/>
                  <a:pt x="9969" y="12062"/>
                </a:cubicBezTo>
                <a:cubicBezTo>
                  <a:pt x="10031" y="11875"/>
                  <a:pt x="10094" y="11937"/>
                  <a:pt x="10187" y="12031"/>
                </a:cubicBezTo>
                <a:cubicBezTo>
                  <a:pt x="10125" y="12156"/>
                  <a:pt x="10187" y="12281"/>
                  <a:pt x="10125" y="12406"/>
                </a:cubicBezTo>
                <a:cubicBezTo>
                  <a:pt x="10062" y="12562"/>
                  <a:pt x="10156" y="12562"/>
                  <a:pt x="10281" y="12562"/>
                </a:cubicBezTo>
                <a:cubicBezTo>
                  <a:pt x="11031" y="12562"/>
                  <a:pt x="11781" y="12562"/>
                  <a:pt x="12531" y="12562"/>
                </a:cubicBezTo>
                <a:cubicBezTo>
                  <a:pt x="12531" y="12562"/>
                  <a:pt x="12562" y="12562"/>
                  <a:pt x="12562" y="12562"/>
                </a:cubicBezTo>
                <a:cubicBezTo>
                  <a:pt x="12594" y="12562"/>
                  <a:pt x="12594" y="12562"/>
                  <a:pt x="12594" y="12562"/>
                </a:cubicBezTo>
                <a:cubicBezTo>
                  <a:pt x="12687" y="12562"/>
                  <a:pt x="12781" y="12562"/>
                  <a:pt x="12875" y="12562"/>
                </a:cubicBezTo>
                <a:cubicBezTo>
                  <a:pt x="12781" y="12562"/>
                  <a:pt x="12687" y="12562"/>
                  <a:pt x="12594" y="12562"/>
                </a:cubicBezTo>
                <a:cubicBezTo>
                  <a:pt x="12687" y="12625"/>
                  <a:pt x="12781" y="12594"/>
                  <a:pt x="12906" y="12625"/>
                </a:cubicBezTo>
                <a:cubicBezTo>
                  <a:pt x="12906" y="12625"/>
                  <a:pt x="12937" y="12625"/>
                  <a:pt x="12969" y="12625"/>
                </a:cubicBezTo>
                <a:cubicBezTo>
                  <a:pt x="13062" y="12625"/>
                  <a:pt x="13156" y="12656"/>
                  <a:pt x="13250" y="12656"/>
                </a:cubicBezTo>
                <a:cubicBezTo>
                  <a:pt x="13281" y="12687"/>
                  <a:pt x="13281" y="12687"/>
                  <a:pt x="13312" y="12656"/>
                </a:cubicBezTo>
                <a:cubicBezTo>
                  <a:pt x="13344" y="12656"/>
                  <a:pt x="13344" y="12656"/>
                  <a:pt x="13375" y="12656"/>
                </a:cubicBezTo>
                <a:cubicBezTo>
                  <a:pt x="13562" y="12781"/>
                  <a:pt x="13781" y="12781"/>
                  <a:pt x="13969" y="12844"/>
                </a:cubicBezTo>
                <a:cubicBezTo>
                  <a:pt x="14312" y="12937"/>
                  <a:pt x="15062" y="12875"/>
                  <a:pt x="15375" y="12719"/>
                </a:cubicBezTo>
                <a:cubicBezTo>
                  <a:pt x="15187" y="12656"/>
                  <a:pt x="15000" y="12750"/>
                  <a:pt x="14844" y="12656"/>
                </a:cubicBezTo>
                <a:cubicBezTo>
                  <a:pt x="14844" y="12625"/>
                  <a:pt x="14875" y="12625"/>
                  <a:pt x="14875" y="12594"/>
                </a:cubicBezTo>
                <a:cubicBezTo>
                  <a:pt x="14969" y="12594"/>
                  <a:pt x="15031" y="12594"/>
                  <a:pt x="15094" y="12594"/>
                </a:cubicBezTo>
                <a:cubicBezTo>
                  <a:pt x="15281" y="12594"/>
                  <a:pt x="15500" y="12687"/>
                  <a:pt x="15687" y="12625"/>
                </a:cubicBezTo>
                <a:cubicBezTo>
                  <a:pt x="15781" y="12594"/>
                  <a:pt x="15875" y="12562"/>
                  <a:pt x="16000" y="12594"/>
                </a:cubicBezTo>
                <a:cubicBezTo>
                  <a:pt x="16000" y="12594"/>
                  <a:pt x="16000" y="12594"/>
                  <a:pt x="16000" y="12625"/>
                </a:cubicBezTo>
                <a:cubicBezTo>
                  <a:pt x="16000" y="12625"/>
                  <a:pt x="16000" y="12625"/>
                  <a:pt x="16000" y="12625"/>
                </a:cubicBezTo>
                <a:cubicBezTo>
                  <a:pt x="16187" y="12656"/>
                  <a:pt x="16344" y="12625"/>
                  <a:pt x="16531" y="12594"/>
                </a:cubicBezTo>
                <a:cubicBezTo>
                  <a:pt x="16531" y="12594"/>
                  <a:pt x="16531" y="12594"/>
                  <a:pt x="16531" y="12562"/>
                </a:cubicBezTo>
                <a:cubicBezTo>
                  <a:pt x="16500" y="12562"/>
                  <a:pt x="16500" y="12562"/>
                  <a:pt x="16500" y="12562"/>
                </a:cubicBezTo>
                <a:cubicBezTo>
                  <a:pt x="16750" y="12531"/>
                  <a:pt x="16969" y="12594"/>
                  <a:pt x="17156" y="12750"/>
                </a:cubicBezTo>
                <a:cubicBezTo>
                  <a:pt x="17062" y="12844"/>
                  <a:pt x="16875" y="12750"/>
                  <a:pt x="16781" y="12906"/>
                </a:cubicBezTo>
                <a:cubicBezTo>
                  <a:pt x="16906" y="12906"/>
                  <a:pt x="16969" y="12875"/>
                  <a:pt x="17062" y="12875"/>
                </a:cubicBezTo>
                <a:cubicBezTo>
                  <a:pt x="17375" y="12844"/>
                  <a:pt x="17687" y="12844"/>
                  <a:pt x="17969" y="12812"/>
                </a:cubicBezTo>
                <a:cubicBezTo>
                  <a:pt x="18062" y="12687"/>
                  <a:pt x="18219" y="12812"/>
                  <a:pt x="18281" y="12719"/>
                </a:cubicBezTo>
                <a:cubicBezTo>
                  <a:pt x="18094" y="12656"/>
                  <a:pt x="17906" y="12719"/>
                  <a:pt x="17687" y="12719"/>
                </a:cubicBezTo>
                <a:cubicBezTo>
                  <a:pt x="17750" y="12531"/>
                  <a:pt x="17906" y="12469"/>
                  <a:pt x="18094" y="12500"/>
                </a:cubicBezTo>
                <a:cubicBezTo>
                  <a:pt x="18094" y="12500"/>
                  <a:pt x="18094" y="12500"/>
                  <a:pt x="18094" y="12500"/>
                </a:cubicBezTo>
                <a:cubicBezTo>
                  <a:pt x="18562" y="12531"/>
                  <a:pt x="19031" y="12437"/>
                  <a:pt x="19500" y="12344"/>
                </a:cubicBezTo>
                <a:cubicBezTo>
                  <a:pt x="19437" y="12312"/>
                  <a:pt x="19406" y="12281"/>
                  <a:pt x="19375" y="12250"/>
                </a:cubicBezTo>
                <a:cubicBezTo>
                  <a:pt x="19531" y="12187"/>
                  <a:pt x="19750" y="12250"/>
                  <a:pt x="19875" y="12094"/>
                </a:cubicBezTo>
                <a:cubicBezTo>
                  <a:pt x="20094" y="12125"/>
                  <a:pt x="20250" y="12031"/>
                  <a:pt x="20437" y="12031"/>
                </a:cubicBezTo>
                <a:cubicBezTo>
                  <a:pt x="20969" y="12000"/>
                  <a:pt x="21469" y="12156"/>
                  <a:pt x="21969" y="12312"/>
                </a:cubicBezTo>
                <a:cubicBezTo>
                  <a:pt x="22062" y="12375"/>
                  <a:pt x="22156" y="12375"/>
                  <a:pt x="22281" y="12406"/>
                </a:cubicBezTo>
                <a:cubicBezTo>
                  <a:pt x="22281" y="12406"/>
                  <a:pt x="22281" y="12406"/>
                  <a:pt x="22281" y="12406"/>
                </a:cubicBezTo>
                <a:cubicBezTo>
                  <a:pt x="22375" y="12500"/>
                  <a:pt x="22469" y="12500"/>
                  <a:pt x="22562" y="12500"/>
                </a:cubicBezTo>
                <a:cubicBezTo>
                  <a:pt x="22969" y="12531"/>
                  <a:pt x="23375" y="12531"/>
                  <a:pt x="23781" y="12656"/>
                </a:cubicBezTo>
                <a:cubicBezTo>
                  <a:pt x="24281" y="12875"/>
                  <a:pt x="24812" y="13000"/>
                  <a:pt x="25344" y="13062"/>
                </a:cubicBezTo>
                <a:cubicBezTo>
                  <a:pt x="25531" y="13094"/>
                  <a:pt x="25719" y="13094"/>
                  <a:pt x="25875" y="13219"/>
                </a:cubicBezTo>
                <a:cubicBezTo>
                  <a:pt x="25969" y="13219"/>
                  <a:pt x="26094" y="13250"/>
                  <a:pt x="26187" y="13312"/>
                </a:cubicBezTo>
                <a:cubicBezTo>
                  <a:pt x="26375" y="13250"/>
                  <a:pt x="26625" y="13281"/>
                  <a:pt x="26687" y="13406"/>
                </a:cubicBezTo>
                <a:cubicBezTo>
                  <a:pt x="26687" y="13437"/>
                  <a:pt x="26687" y="13469"/>
                  <a:pt x="26687" y="13469"/>
                </a:cubicBezTo>
                <a:cubicBezTo>
                  <a:pt x="26625" y="13875"/>
                  <a:pt x="26500" y="14281"/>
                  <a:pt x="26344" y="14656"/>
                </a:cubicBezTo>
                <a:cubicBezTo>
                  <a:pt x="26344" y="14656"/>
                  <a:pt x="26344" y="14656"/>
                  <a:pt x="26375" y="14687"/>
                </a:cubicBezTo>
                <a:cubicBezTo>
                  <a:pt x="26312" y="14781"/>
                  <a:pt x="26281" y="14875"/>
                  <a:pt x="26250" y="14969"/>
                </a:cubicBezTo>
                <a:cubicBezTo>
                  <a:pt x="26469" y="15031"/>
                  <a:pt x="26687" y="14969"/>
                  <a:pt x="26906" y="14969"/>
                </a:cubicBezTo>
                <a:cubicBezTo>
                  <a:pt x="27000" y="14937"/>
                  <a:pt x="27094" y="14906"/>
                  <a:pt x="27156" y="14937"/>
                </a:cubicBezTo>
                <a:cubicBezTo>
                  <a:pt x="27156" y="14937"/>
                  <a:pt x="27156" y="14937"/>
                  <a:pt x="27156" y="14937"/>
                </a:cubicBezTo>
                <a:cubicBezTo>
                  <a:pt x="27250" y="14969"/>
                  <a:pt x="27312" y="15000"/>
                  <a:pt x="27375" y="15031"/>
                </a:cubicBezTo>
                <a:cubicBezTo>
                  <a:pt x="27375" y="15062"/>
                  <a:pt x="27344" y="15062"/>
                  <a:pt x="27344" y="15062"/>
                </a:cubicBezTo>
                <a:cubicBezTo>
                  <a:pt x="27062" y="14937"/>
                  <a:pt x="26844" y="15125"/>
                  <a:pt x="26625" y="15187"/>
                </a:cubicBezTo>
                <a:cubicBezTo>
                  <a:pt x="26625" y="15187"/>
                  <a:pt x="26625" y="15187"/>
                  <a:pt x="26625" y="15187"/>
                </a:cubicBezTo>
                <a:cubicBezTo>
                  <a:pt x="26531" y="15250"/>
                  <a:pt x="26406" y="15250"/>
                  <a:pt x="26406" y="15219"/>
                </a:cubicBezTo>
                <a:cubicBezTo>
                  <a:pt x="26375" y="15062"/>
                  <a:pt x="26312" y="15094"/>
                  <a:pt x="26219" y="15094"/>
                </a:cubicBezTo>
                <a:cubicBezTo>
                  <a:pt x="26125" y="15125"/>
                  <a:pt x="26062" y="15187"/>
                  <a:pt x="26094" y="15312"/>
                </a:cubicBezTo>
                <a:cubicBezTo>
                  <a:pt x="26062" y="15344"/>
                  <a:pt x="26031" y="15375"/>
                  <a:pt x="26000" y="15406"/>
                </a:cubicBezTo>
                <a:cubicBezTo>
                  <a:pt x="26094" y="15406"/>
                  <a:pt x="26156" y="15437"/>
                  <a:pt x="26250" y="15437"/>
                </a:cubicBezTo>
                <a:cubicBezTo>
                  <a:pt x="26156" y="15437"/>
                  <a:pt x="26094" y="15406"/>
                  <a:pt x="26000" y="15406"/>
                </a:cubicBezTo>
                <a:cubicBezTo>
                  <a:pt x="25906" y="15469"/>
                  <a:pt x="25906" y="15562"/>
                  <a:pt x="25844" y="15656"/>
                </a:cubicBezTo>
                <a:cubicBezTo>
                  <a:pt x="25844" y="15656"/>
                  <a:pt x="25844" y="15656"/>
                  <a:pt x="25844" y="15687"/>
                </a:cubicBezTo>
                <a:cubicBezTo>
                  <a:pt x="25812" y="15687"/>
                  <a:pt x="25812" y="15687"/>
                  <a:pt x="25812" y="15687"/>
                </a:cubicBezTo>
                <a:cubicBezTo>
                  <a:pt x="25719" y="15687"/>
                  <a:pt x="25750" y="15812"/>
                  <a:pt x="25656" y="15844"/>
                </a:cubicBezTo>
                <a:cubicBezTo>
                  <a:pt x="25594" y="16000"/>
                  <a:pt x="25469" y="16000"/>
                  <a:pt x="25344" y="15969"/>
                </a:cubicBezTo>
                <a:cubicBezTo>
                  <a:pt x="25125" y="15812"/>
                  <a:pt x="24906" y="15625"/>
                  <a:pt x="24719" y="15437"/>
                </a:cubicBezTo>
                <a:cubicBezTo>
                  <a:pt x="24562" y="15219"/>
                  <a:pt x="24375" y="15031"/>
                  <a:pt x="24156" y="14844"/>
                </a:cubicBezTo>
                <a:cubicBezTo>
                  <a:pt x="23719" y="14281"/>
                  <a:pt x="23250" y="13687"/>
                  <a:pt x="22625" y="13281"/>
                </a:cubicBezTo>
                <a:cubicBezTo>
                  <a:pt x="22312" y="13094"/>
                  <a:pt x="21969" y="12969"/>
                  <a:pt x="21625" y="12906"/>
                </a:cubicBezTo>
                <a:cubicBezTo>
                  <a:pt x="21625" y="12906"/>
                  <a:pt x="21625" y="12906"/>
                  <a:pt x="21625" y="12906"/>
                </a:cubicBezTo>
                <a:cubicBezTo>
                  <a:pt x="21594" y="12844"/>
                  <a:pt x="21562" y="12844"/>
                  <a:pt x="21500" y="12812"/>
                </a:cubicBezTo>
                <a:cubicBezTo>
                  <a:pt x="21187" y="12750"/>
                  <a:pt x="20875" y="12656"/>
                  <a:pt x="20531" y="12656"/>
                </a:cubicBezTo>
                <a:cubicBezTo>
                  <a:pt x="20531" y="12656"/>
                  <a:pt x="20531" y="12656"/>
                  <a:pt x="20531" y="12656"/>
                </a:cubicBezTo>
                <a:cubicBezTo>
                  <a:pt x="20500" y="12656"/>
                  <a:pt x="20469" y="12656"/>
                  <a:pt x="20437" y="12656"/>
                </a:cubicBezTo>
                <a:cubicBezTo>
                  <a:pt x="20375" y="12656"/>
                  <a:pt x="20344" y="12656"/>
                  <a:pt x="20312" y="12687"/>
                </a:cubicBezTo>
                <a:cubicBezTo>
                  <a:pt x="19875" y="12781"/>
                  <a:pt x="19469" y="12875"/>
                  <a:pt x="19031" y="12969"/>
                </a:cubicBezTo>
                <a:cubicBezTo>
                  <a:pt x="19031" y="12969"/>
                  <a:pt x="19031" y="12969"/>
                  <a:pt x="19031" y="12969"/>
                </a:cubicBezTo>
                <a:cubicBezTo>
                  <a:pt x="18781" y="12969"/>
                  <a:pt x="18531" y="12969"/>
                  <a:pt x="18281" y="13031"/>
                </a:cubicBezTo>
                <a:cubicBezTo>
                  <a:pt x="18187" y="13062"/>
                  <a:pt x="18094" y="13062"/>
                  <a:pt x="18000" y="13031"/>
                </a:cubicBezTo>
                <a:cubicBezTo>
                  <a:pt x="18000" y="13000"/>
                  <a:pt x="18000" y="12937"/>
                  <a:pt x="17937" y="12937"/>
                </a:cubicBezTo>
                <a:cubicBezTo>
                  <a:pt x="17875" y="12969"/>
                  <a:pt x="17906" y="13000"/>
                  <a:pt x="17906" y="13062"/>
                </a:cubicBezTo>
                <a:cubicBezTo>
                  <a:pt x="17625" y="13094"/>
                  <a:pt x="17344" y="13094"/>
                  <a:pt x="17062" y="13187"/>
                </a:cubicBezTo>
                <a:cubicBezTo>
                  <a:pt x="17062" y="13187"/>
                  <a:pt x="17031" y="13187"/>
                  <a:pt x="17000" y="13187"/>
                </a:cubicBezTo>
                <a:cubicBezTo>
                  <a:pt x="16781" y="13281"/>
                  <a:pt x="16594" y="13187"/>
                  <a:pt x="16406" y="13125"/>
                </a:cubicBezTo>
                <a:cubicBezTo>
                  <a:pt x="16406" y="13125"/>
                  <a:pt x="16375" y="13125"/>
                  <a:pt x="16375" y="13125"/>
                </a:cubicBezTo>
                <a:cubicBezTo>
                  <a:pt x="16250" y="13000"/>
                  <a:pt x="16156" y="13000"/>
                  <a:pt x="16062" y="13125"/>
                </a:cubicBezTo>
                <a:cubicBezTo>
                  <a:pt x="15844" y="13125"/>
                  <a:pt x="15625" y="13125"/>
                  <a:pt x="15406" y="13156"/>
                </a:cubicBezTo>
                <a:cubicBezTo>
                  <a:pt x="15375" y="13156"/>
                  <a:pt x="15375" y="13156"/>
                  <a:pt x="15344" y="13156"/>
                </a:cubicBezTo>
                <a:cubicBezTo>
                  <a:pt x="15250" y="13250"/>
                  <a:pt x="15094" y="13250"/>
                  <a:pt x="14969" y="13219"/>
                </a:cubicBezTo>
                <a:cubicBezTo>
                  <a:pt x="14906" y="13187"/>
                  <a:pt x="14875" y="13187"/>
                  <a:pt x="14812" y="13219"/>
                </a:cubicBezTo>
                <a:cubicBezTo>
                  <a:pt x="14719" y="13281"/>
                  <a:pt x="14625" y="13281"/>
                  <a:pt x="14500" y="13250"/>
                </a:cubicBezTo>
                <a:cubicBezTo>
                  <a:pt x="14250" y="13156"/>
                  <a:pt x="13969" y="13219"/>
                  <a:pt x="13687" y="13219"/>
                </a:cubicBezTo>
                <a:cubicBezTo>
                  <a:pt x="13437" y="13219"/>
                  <a:pt x="13187" y="13469"/>
                  <a:pt x="12875" y="13281"/>
                </a:cubicBezTo>
                <a:cubicBezTo>
                  <a:pt x="12875" y="13281"/>
                  <a:pt x="12844" y="13281"/>
                  <a:pt x="12812" y="13312"/>
                </a:cubicBezTo>
                <a:cubicBezTo>
                  <a:pt x="12656" y="13344"/>
                  <a:pt x="12531" y="13344"/>
                  <a:pt x="12406" y="13312"/>
                </a:cubicBezTo>
                <a:cubicBezTo>
                  <a:pt x="11844" y="13219"/>
                  <a:pt x="11312" y="13375"/>
                  <a:pt x="10781" y="13344"/>
                </a:cubicBezTo>
                <a:cubicBezTo>
                  <a:pt x="10312" y="13344"/>
                  <a:pt x="10000" y="13625"/>
                  <a:pt x="9719" y="13969"/>
                </a:cubicBezTo>
                <a:cubicBezTo>
                  <a:pt x="9750" y="14000"/>
                  <a:pt x="9781" y="14031"/>
                  <a:pt x="9812" y="14062"/>
                </a:cubicBezTo>
                <a:cubicBezTo>
                  <a:pt x="9812" y="14062"/>
                  <a:pt x="9812" y="14062"/>
                  <a:pt x="9812" y="14062"/>
                </a:cubicBezTo>
                <a:cubicBezTo>
                  <a:pt x="9781" y="14031"/>
                  <a:pt x="9750" y="14000"/>
                  <a:pt x="9719" y="13969"/>
                </a:cubicBezTo>
                <a:cubicBezTo>
                  <a:pt x="9625" y="14031"/>
                  <a:pt x="9562" y="14125"/>
                  <a:pt x="9500" y="14250"/>
                </a:cubicBezTo>
                <a:cubicBezTo>
                  <a:pt x="9406" y="14344"/>
                  <a:pt x="9312" y="14469"/>
                  <a:pt x="9250" y="14625"/>
                </a:cubicBezTo>
                <a:cubicBezTo>
                  <a:pt x="9344" y="14625"/>
                  <a:pt x="9375" y="14625"/>
                  <a:pt x="9437" y="14625"/>
                </a:cubicBezTo>
                <a:cubicBezTo>
                  <a:pt x="9687" y="14625"/>
                  <a:pt x="9937" y="14625"/>
                  <a:pt x="10156" y="14625"/>
                </a:cubicBezTo>
                <a:cubicBezTo>
                  <a:pt x="10187" y="14625"/>
                  <a:pt x="10219" y="14656"/>
                  <a:pt x="10250" y="14656"/>
                </a:cubicBezTo>
                <a:cubicBezTo>
                  <a:pt x="10562" y="14781"/>
                  <a:pt x="10906" y="14687"/>
                  <a:pt x="11219" y="14750"/>
                </a:cubicBezTo>
                <a:cubicBezTo>
                  <a:pt x="11594" y="14844"/>
                  <a:pt x="11937" y="14781"/>
                  <a:pt x="12281" y="14719"/>
                </a:cubicBezTo>
                <a:cubicBezTo>
                  <a:pt x="12562" y="14656"/>
                  <a:pt x="12812" y="14562"/>
                  <a:pt x="13094" y="14531"/>
                </a:cubicBezTo>
                <a:cubicBezTo>
                  <a:pt x="13469" y="14531"/>
                  <a:pt x="13844" y="14500"/>
                  <a:pt x="14219" y="14531"/>
                </a:cubicBezTo>
                <a:cubicBezTo>
                  <a:pt x="14562" y="14562"/>
                  <a:pt x="14906" y="14562"/>
                  <a:pt x="15250" y="14625"/>
                </a:cubicBezTo>
                <a:cubicBezTo>
                  <a:pt x="15250" y="14625"/>
                  <a:pt x="15250" y="14625"/>
                  <a:pt x="15250" y="14625"/>
                </a:cubicBezTo>
                <a:cubicBezTo>
                  <a:pt x="15375" y="14625"/>
                  <a:pt x="15500" y="14625"/>
                  <a:pt x="15656" y="14625"/>
                </a:cubicBezTo>
                <a:cubicBezTo>
                  <a:pt x="16094" y="14594"/>
                  <a:pt x="16562" y="14656"/>
                  <a:pt x="17031" y="14594"/>
                </a:cubicBezTo>
                <a:cubicBezTo>
                  <a:pt x="17031" y="14594"/>
                  <a:pt x="17031" y="14594"/>
                  <a:pt x="17031" y="14594"/>
                </a:cubicBezTo>
                <a:cubicBezTo>
                  <a:pt x="17750" y="14500"/>
                  <a:pt x="18437" y="14656"/>
                  <a:pt x="19125" y="14812"/>
                </a:cubicBezTo>
                <a:cubicBezTo>
                  <a:pt x="19187" y="14844"/>
                  <a:pt x="19281" y="14906"/>
                  <a:pt x="19344" y="14906"/>
                </a:cubicBezTo>
                <a:cubicBezTo>
                  <a:pt x="19531" y="14937"/>
                  <a:pt x="19781" y="15031"/>
                  <a:pt x="19906" y="14844"/>
                </a:cubicBezTo>
                <a:cubicBezTo>
                  <a:pt x="20000" y="14719"/>
                  <a:pt x="20062" y="14687"/>
                  <a:pt x="20187" y="14625"/>
                </a:cubicBezTo>
                <a:cubicBezTo>
                  <a:pt x="20469" y="14562"/>
                  <a:pt x="20781" y="14531"/>
                  <a:pt x="21094" y="14469"/>
                </a:cubicBezTo>
                <a:cubicBezTo>
                  <a:pt x="21344" y="14437"/>
                  <a:pt x="21594" y="14406"/>
                  <a:pt x="21875" y="14500"/>
                </a:cubicBezTo>
                <a:cubicBezTo>
                  <a:pt x="22187" y="14594"/>
                  <a:pt x="22500" y="14812"/>
                  <a:pt x="22844" y="14875"/>
                </a:cubicBezTo>
                <a:cubicBezTo>
                  <a:pt x="22781" y="15031"/>
                  <a:pt x="22906" y="15000"/>
                  <a:pt x="22969" y="15031"/>
                </a:cubicBezTo>
                <a:cubicBezTo>
                  <a:pt x="23219" y="15062"/>
                  <a:pt x="23406" y="14906"/>
                  <a:pt x="23656" y="14875"/>
                </a:cubicBezTo>
                <a:cubicBezTo>
                  <a:pt x="23406" y="14812"/>
                  <a:pt x="23219" y="14906"/>
                  <a:pt x="23031" y="14875"/>
                </a:cubicBezTo>
                <a:cubicBezTo>
                  <a:pt x="23375" y="14781"/>
                  <a:pt x="23719" y="14750"/>
                  <a:pt x="24062" y="14844"/>
                </a:cubicBezTo>
                <a:cubicBezTo>
                  <a:pt x="24094" y="14875"/>
                  <a:pt x="24094" y="14875"/>
                  <a:pt x="24125" y="14875"/>
                </a:cubicBezTo>
                <a:cubicBezTo>
                  <a:pt x="24094" y="14937"/>
                  <a:pt x="24094" y="14969"/>
                  <a:pt x="24156" y="14969"/>
                </a:cubicBezTo>
                <a:cubicBezTo>
                  <a:pt x="24187" y="15000"/>
                  <a:pt x="24187" y="15031"/>
                  <a:pt x="24219" y="15062"/>
                </a:cubicBezTo>
                <a:cubicBezTo>
                  <a:pt x="24125" y="15125"/>
                  <a:pt x="24031" y="15187"/>
                  <a:pt x="23937" y="15250"/>
                </a:cubicBezTo>
                <a:cubicBezTo>
                  <a:pt x="23906" y="15281"/>
                  <a:pt x="23812" y="15281"/>
                  <a:pt x="23844" y="15312"/>
                </a:cubicBezTo>
                <a:cubicBezTo>
                  <a:pt x="23812" y="15281"/>
                  <a:pt x="23906" y="15281"/>
                  <a:pt x="23937" y="15250"/>
                </a:cubicBezTo>
                <a:cubicBezTo>
                  <a:pt x="23844" y="15250"/>
                  <a:pt x="23750" y="15187"/>
                  <a:pt x="23687" y="15281"/>
                </a:cubicBezTo>
                <a:cubicBezTo>
                  <a:pt x="23687" y="15281"/>
                  <a:pt x="23687" y="15281"/>
                  <a:pt x="23687" y="15281"/>
                </a:cubicBezTo>
                <a:cubicBezTo>
                  <a:pt x="23375" y="15437"/>
                  <a:pt x="23062" y="15562"/>
                  <a:pt x="22781" y="15219"/>
                </a:cubicBezTo>
                <a:cubicBezTo>
                  <a:pt x="22781" y="15219"/>
                  <a:pt x="22750" y="15219"/>
                  <a:pt x="22750" y="15187"/>
                </a:cubicBezTo>
                <a:cubicBezTo>
                  <a:pt x="22750" y="15187"/>
                  <a:pt x="22750" y="15156"/>
                  <a:pt x="22719" y="15187"/>
                </a:cubicBezTo>
                <a:cubicBezTo>
                  <a:pt x="22719" y="15187"/>
                  <a:pt x="22719" y="15187"/>
                  <a:pt x="22719" y="15187"/>
                </a:cubicBezTo>
                <a:cubicBezTo>
                  <a:pt x="22656" y="15219"/>
                  <a:pt x="22656" y="15250"/>
                  <a:pt x="22656" y="15281"/>
                </a:cubicBezTo>
                <a:cubicBezTo>
                  <a:pt x="22656" y="15281"/>
                  <a:pt x="22656" y="15281"/>
                  <a:pt x="22625" y="15281"/>
                </a:cubicBezTo>
                <a:cubicBezTo>
                  <a:pt x="22562" y="15281"/>
                  <a:pt x="22531" y="15312"/>
                  <a:pt x="22562" y="15375"/>
                </a:cubicBezTo>
                <a:cubicBezTo>
                  <a:pt x="22562" y="15375"/>
                  <a:pt x="22531" y="15375"/>
                  <a:pt x="22531" y="15375"/>
                </a:cubicBezTo>
                <a:cubicBezTo>
                  <a:pt x="22406" y="15344"/>
                  <a:pt x="22312" y="15250"/>
                  <a:pt x="22219" y="15156"/>
                </a:cubicBezTo>
                <a:cubicBezTo>
                  <a:pt x="22062" y="15000"/>
                  <a:pt x="21844" y="14969"/>
                  <a:pt x="21625" y="14937"/>
                </a:cubicBezTo>
                <a:cubicBezTo>
                  <a:pt x="21469" y="14906"/>
                  <a:pt x="21375" y="14969"/>
                  <a:pt x="21344" y="15125"/>
                </a:cubicBezTo>
                <a:cubicBezTo>
                  <a:pt x="21312" y="15187"/>
                  <a:pt x="21219" y="15187"/>
                  <a:pt x="21219" y="15281"/>
                </a:cubicBezTo>
                <a:cubicBezTo>
                  <a:pt x="21375" y="15281"/>
                  <a:pt x="21531" y="15250"/>
                  <a:pt x="21687" y="15219"/>
                </a:cubicBezTo>
                <a:cubicBezTo>
                  <a:pt x="21687" y="15219"/>
                  <a:pt x="21687" y="15219"/>
                  <a:pt x="21687" y="15219"/>
                </a:cubicBezTo>
                <a:cubicBezTo>
                  <a:pt x="21750" y="15250"/>
                  <a:pt x="21781" y="15250"/>
                  <a:pt x="21844" y="15281"/>
                </a:cubicBezTo>
                <a:cubicBezTo>
                  <a:pt x="21969" y="15312"/>
                  <a:pt x="22094" y="15375"/>
                  <a:pt x="22219" y="15406"/>
                </a:cubicBezTo>
                <a:cubicBezTo>
                  <a:pt x="22187" y="15500"/>
                  <a:pt x="22156" y="15500"/>
                  <a:pt x="22094" y="15500"/>
                </a:cubicBezTo>
                <a:cubicBezTo>
                  <a:pt x="22156" y="15500"/>
                  <a:pt x="22187" y="15500"/>
                  <a:pt x="22219" y="15406"/>
                </a:cubicBezTo>
                <a:cubicBezTo>
                  <a:pt x="22094" y="15375"/>
                  <a:pt x="21969" y="15312"/>
                  <a:pt x="21844" y="15281"/>
                </a:cubicBezTo>
                <a:cubicBezTo>
                  <a:pt x="21781" y="15250"/>
                  <a:pt x="21750" y="15250"/>
                  <a:pt x="21687" y="15219"/>
                </a:cubicBezTo>
                <a:cubicBezTo>
                  <a:pt x="21687" y="15219"/>
                  <a:pt x="21687" y="15219"/>
                  <a:pt x="21687" y="15219"/>
                </a:cubicBezTo>
                <a:cubicBezTo>
                  <a:pt x="21531" y="15250"/>
                  <a:pt x="21375" y="15281"/>
                  <a:pt x="21219" y="15281"/>
                </a:cubicBezTo>
                <a:cubicBezTo>
                  <a:pt x="21125" y="15437"/>
                  <a:pt x="20969" y="15531"/>
                  <a:pt x="20812" y="15562"/>
                </a:cubicBezTo>
                <a:cubicBezTo>
                  <a:pt x="20437" y="15625"/>
                  <a:pt x="20187" y="15875"/>
                  <a:pt x="19937" y="16125"/>
                </a:cubicBezTo>
                <a:cubicBezTo>
                  <a:pt x="19594" y="16469"/>
                  <a:pt x="19375" y="16906"/>
                  <a:pt x="19125" y="17281"/>
                </a:cubicBezTo>
                <a:cubicBezTo>
                  <a:pt x="19125" y="17281"/>
                  <a:pt x="19125" y="17281"/>
                  <a:pt x="19125" y="17281"/>
                </a:cubicBezTo>
                <a:cubicBezTo>
                  <a:pt x="19094" y="17312"/>
                  <a:pt x="19094" y="17312"/>
                  <a:pt x="19094" y="17312"/>
                </a:cubicBezTo>
                <a:cubicBezTo>
                  <a:pt x="19000" y="17406"/>
                  <a:pt x="18937" y="17469"/>
                  <a:pt x="18875" y="17562"/>
                </a:cubicBezTo>
                <a:cubicBezTo>
                  <a:pt x="18531" y="17906"/>
                  <a:pt x="18219" y="18250"/>
                  <a:pt x="17781" y="18531"/>
                </a:cubicBezTo>
                <a:cubicBezTo>
                  <a:pt x="17469" y="18719"/>
                  <a:pt x="17156" y="18687"/>
                  <a:pt x="16906" y="18437"/>
                </a:cubicBezTo>
                <a:cubicBezTo>
                  <a:pt x="16687" y="18187"/>
                  <a:pt x="16469" y="17969"/>
                  <a:pt x="16312" y="17687"/>
                </a:cubicBezTo>
                <a:cubicBezTo>
                  <a:pt x="16219" y="17531"/>
                  <a:pt x="16094" y="17375"/>
                  <a:pt x="15969" y="17250"/>
                </a:cubicBezTo>
                <a:cubicBezTo>
                  <a:pt x="15687" y="16844"/>
                  <a:pt x="15312" y="16594"/>
                  <a:pt x="14906" y="16375"/>
                </a:cubicBezTo>
                <a:cubicBezTo>
                  <a:pt x="14906" y="16375"/>
                  <a:pt x="14906" y="16375"/>
                  <a:pt x="14906" y="16375"/>
                </a:cubicBezTo>
                <a:cubicBezTo>
                  <a:pt x="14875" y="16281"/>
                  <a:pt x="14844" y="16250"/>
                  <a:pt x="14781" y="16187"/>
                </a:cubicBezTo>
                <a:cubicBezTo>
                  <a:pt x="14344" y="15906"/>
                  <a:pt x="13875" y="15656"/>
                  <a:pt x="13375" y="15500"/>
                </a:cubicBezTo>
                <a:cubicBezTo>
                  <a:pt x="12906" y="15312"/>
                  <a:pt x="12469" y="15187"/>
                  <a:pt x="11969" y="15281"/>
                </a:cubicBezTo>
                <a:cubicBezTo>
                  <a:pt x="11719" y="15344"/>
                  <a:pt x="11500" y="15406"/>
                  <a:pt x="11250" y="15375"/>
                </a:cubicBezTo>
                <a:cubicBezTo>
                  <a:pt x="11062" y="15344"/>
                  <a:pt x="10875" y="15312"/>
                  <a:pt x="10656" y="15281"/>
                </a:cubicBezTo>
                <a:cubicBezTo>
                  <a:pt x="10656" y="15281"/>
                  <a:pt x="10625" y="15281"/>
                  <a:pt x="10594" y="15281"/>
                </a:cubicBezTo>
                <a:cubicBezTo>
                  <a:pt x="10281" y="15312"/>
                  <a:pt x="9969" y="15156"/>
                  <a:pt x="9656" y="15156"/>
                </a:cubicBezTo>
                <a:cubicBezTo>
                  <a:pt x="9531" y="15156"/>
                  <a:pt x="9375" y="15187"/>
                  <a:pt x="9250" y="15094"/>
                </a:cubicBezTo>
                <a:cubicBezTo>
                  <a:pt x="9031" y="14937"/>
                  <a:pt x="9000" y="14937"/>
                  <a:pt x="8875" y="15187"/>
                </a:cubicBezTo>
                <a:cubicBezTo>
                  <a:pt x="8719" y="15562"/>
                  <a:pt x="8500" y="15937"/>
                  <a:pt x="8250" y="16281"/>
                </a:cubicBezTo>
                <a:cubicBezTo>
                  <a:pt x="8250" y="16281"/>
                  <a:pt x="8250" y="16281"/>
                  <a:pt x="8250" y="16281"/>
                </a:cubicBezTo>
                <a:cubicBezTo>
                  <a:pt x="8094" y="16344"/>
                  <a:pt x="7969" y="16312"/>
                  <a:pt x="7812" y="16250"/>
                </a:cubicBezTo>
                <a:cubicBezTo>
                  <a:pt x="7687" y="16187"/>
                  <a:pt x="7625" y="16062"/>
                  <a:pt x="7531" y="16031"/>
                </a:cubicBezTo>
                <a:cubicBezTo>
                  <a:pt x="7531" y="16031"/>
                  <a:pt x="7531" y="16031"/>
                  <a:pt x="7531" y="16031"/>
                </a:cubicBezTo>
                <a:cubicBezTo>
                  <a:pt x="7500" y="16031"/>
                  <a:pt x="7437" y="16031"/>
                  <a:pt x="7406" y="16062"/>
                </a:cubicBezTo>
                <a:cubicBezTo>
                  <a:pt x="7250" y="16156"/>
                  <a:pt x="7219" y="16156"/>
                  <a:pt x="7094" y="16000"/>
                </a:cubicBezTo>
                <a:cubicBezTo>
                  <a:pt x="7187" y="15906"/>
                  <a:pt x="7312" y="16031"/>
                  <a:pt x="7406" y="15906"/>
                </a:cubicBezTo>
                <a:cubicBezTo>
                  <a:pt x="7281" y="15875"/>
                  <a:pt x="7250" y="15781"/>
                  <a:pt x="7156" y="15719"/>
                </a:cubicBezTo>
                <a:cubicBezTo>
                  <a:pt x="7094" y="15656"/>
                  <a:pt x="7000" y="15594"/>
                  <a:pt x="6906" y="15594"/>
                </a:cubicBezTo>
                <a:cubicBezTo>
                  <a:pt x="6781" y="15344"/>
                  <a:pt x="6594" y="15250"/>
                  <a:pt x="6312" y="15344"/>
                </a:cubicBezTo>
                <a:cubicBezTo>
                  <a:pt x="6312" y="15344"/>
                  <a:pt x="6281" y="15344"/>
                  <a:pt x="6281" y="15344"/>
                </a:cubicBezTo>
                <a:cubicBezTo>
                  <a:pt x="6156" y="15375"/>
                  <a:pt x="6031" y="15312"/>
                  <a:pt x="5937" y="15406"/>
                </a:cubicBezTo>
                <a:cubicBezTo>
                  <a:pt x="5781" y="15406"/>
                  <a:pt x="5656" y="15500"/>
                  <a:pt x="5562" y="15594"/>
                </a:cubicBezTo>
                <a:cubicBezTo>
                  <a:pt x="5375" y="15750"/>
                  <a:pt x="5156" y="15781"/>
                  <a:pt x="4937" y="15781"/>
                </a:cubicBezTo>
                <a:cubicBezTo>
                  <a:pt x="4875" y="15812"/>
                  <a:pt x="4750" y="15750"/>
                  <a:pt x="4687" y="15812"/>
                </a:cubicBezTo>
                <a:cubicBezTo>
                  <a:pt x="4656" y="15812"/>
                  <a:pt x="4656" y="15812"/>
                  <a:pt x="4625" y="15812"/>
                </a:cubicBezTo>
                <a:cubicBezTo>
                  <a:pt x="4531" y="15750"/>
                  <a:pt x="4469" y="15844"/>
                  <a:pt x="4406" y="15875"/>
                </a:cubicBezTo>
                <a:cubicBezTo>
                  <a:pt x="4344" y="15937"/>
                  <a:pt x="4312" y="15906"/>
                  <a:pt x="4250" y="15906"/>
                </a:cubicBezTo>
                <a:cubicBezTo>
                  <a:pt x="4094" y="15906"/>
                  <a:pt x="3937" y="15906"/>
                  <a:pt x="3812" y="16031"/>
                </a:cubicBezTo>
                <a:cubicBezTo>
                  <a:pt x="3656" y="16156"/>
                  <a:pt x="3437" y="16219"/>
                  <a:pt x="3312" y="16375"/>
                </a:cubicBezTo>
                <a:cubicBezTo>
                  <a:pt x="3000" y="16469"/>
                  <a:pt x="2687" y="16594"/>
                  <a:pt x="2406" y="16812"/>
                </a:cubicBezTo>
                <a:cubicBezTo>
                  <a:pt x="2375" y="16812"/>
                  <a:pt x="2375" y="16844"/>
                  <a:pt x="2344" y="16844"/>
                </a:cubicBezTo>
                <a:cubicBezTo>
                  <a:pt x="2375" y="16875"/>
                  <a:pt x="2375" y="16906"/>
                  <a:pt x="2406" y="16937"/>
                </a:cubicBezTo>
                <a:cubicBezTo>
                  <a:pt x="2437" y="17187"/>
                  <a:pt x="2469" y="17406"/>
                  <a:pt x="2469" y="17625"/>
                </a:cubicBezTo>
                <a:cubicBezTo>
                  <a:pt x="2469" y="17719"/>
                  <a:pt x="2469" y="17781"/>
                  <a:pt x="2500" y="17875"/>
                </a:cubicBezTo>
                <a:cubicBezTo>
                  <a:pt x="2531" y="18250"/>
                  <a:pt x="2531" y="18594"/>
                  <a:pt x="2656" y="18969"/>
                </a:cubicBezTo>
                <a:cubicBezTo>
                  <a:pt x="2719" y="19219"/>
                  <a:pt x="2906" y="19344"/>
                  <a:pt x="3094" y="19531"/>
                </a:cubicBezTo>
                <a:cubicBezTo>
                  <a:pt x="3187" y="19687"/>
                  <a:pt x="3375" y="19781"/>
                  <a:pt x="3531" y="19781"/>
                </a:cubicBezTo>
                <a:cubicBezTo>
                  <a:pt x="4125" y="19844"/>
                  <a:pt x="4750" y="19906"/>
                  <a:pt x="5344" y="19906"/>
                </a:cubicBezTo>
                <a:cubicBezTo>
                  <a:pt x="5469" y="19937"/>
                  <a:pt x="5562" y="19937"/>
                  <a:pt x="5656" y="19906"/>
                </a:cubicBezTo>
                <a:cubicBezTo>
                  <a:pt x="5719" y="19937"/>
                  <a:pt x="5750" y="19937"/>
                  <a:pt x="5781" y="19906"/>
                </a:cubicBezTo>
                <a:cubicBezTo>
                  <a:pt x="5906" y="19937"/>
                  <a:pt x="6000" y="19937"/>
                  <a:pt x="6125" y="19937"/>
                </a:cubicBezTo>
                <a:cubicBezTo>
                  <a:pt x="6656" y="19969"/>
                  <a:pt x="7219" y="20000"/>
                  <a:pt x="7750" y="19969"/>
                </a:cubicBezTo>
                <a:cubicBezTo>
                  <a:pt x="7906" y="19969"/>
                  <a:pt x="8062" y="19969"/>
                  <a:pt x="8187" y="19969"/>
                </a:cubicBezTo>
                <a:cubicBezTo>
                  <a:pt x="8187" y="19937"/>
                  <a:pt x="8187" y="19906"/>
                  <a:pt x="8187" y="19875"/>
                </a:cubicBezTo>
                <a:cubicBezTo>
                  <a:pt x="8187" y="19906"/>
                  <a:pt x="8187" y="19937"/>
                  <a:pt x="8187" y="19969"/>
                </a:cubicBezTo>
                <a:cubicBezTo>
                  <a:pt x="8062" y="19969"/>
                  <a:pt x="7906" y="19969"/>
                  <a:pt x="7750" y="19969"/>
                </a:cubicBezTo>
                <a:cubicBezTo>
                  <a:pt x="8187" y="20031"/>
                  <a:pt x="8625" y="20031"/>
                  <a:pt x="9062" y="20000"/>
                </a:cubicBezTo>
                <a:cubicBezTo>
                  <a:pt x="9750" y="20031"/>
                  <a:pt x="10406" y="20062"/>
                  <a:pt x="11062" y="20031"/>
                </a:cubicBezTo>
                <a:cubicBezTo>
                  <a:pt x="11562" y="20062"/>
                  <a:pt x="12062" y="20062"/>
                  <a:pt x="12594" y="20062"/>
                </a:cubicBezTo>
                <a:cubicBezTo>
                  <a:pt x="12750" y="20062"/>
                  <a:pt x="12937" y="20094"/>
                  <a:pt x="13094" y="20000"/>
                </a:cubicBezTo>
                <a:cubicBezTo>
                  <a:pt x="13094" y="20000"/>
                  <a:pt x="13094" y="20000"/>
                  <a:pt x="13094" y="20000"/>
                </a:cubicBezTo>
                <a:cubicBezTo>
                  <a:pt x="13219" y="20125"/>
                  <a:pt x="13375" y="20094"/>
                  <a:pt x="13500" y="20062"/>
                </a:cubicBezTo>
                <a:cubicBezTo>
                  <a:pt x="14969" y="20062"/>
                  <a:pt x="16437" y="20031"/>
                  <a:pt x="17906" y="20031"/>
                </a:cubicBezTo>
                <a:cubicBezTo>
                  <a:pt x="18906" y="20000"/>
                  <a:pt x="19906" y="20031"/>
                  <a:pt x="20906" y="20000"/>
                </a:cubicBezTo>
                <a:cubicBezTo>
                  <a:pt x="21219" y="20000"/>
                  <a:pt x="21562" y="20031"/>
                  <a:pt x="21875" y="19906"/>
                </a:cubicBezTo>
                <a:cubicBezTo>
                  <a:pt x="21906" y="19937"/>
                  <a:pt x="21906" y="19937"/>
                  <a:pt x="21937" y="19937"/>
                </a:cubicBezTo>
                <a:cubicBezTo>
                  <a:pt x="22000" y="19937"/>
                  <a:pt x="22062" y="19937"/>
                  <a:pt x="22125" y="19937"/>
                </a:cubicBezTo>
                <a:cubicBezTo>
                  <a:pt x="23312" y="19937"/>
                  <a:pt x="24469" y="19906"/>
                  <a:pt x="25656" y="19781"/>
                </a:cubicBezTo>
                <a:cubicBezTo>
                  <a:pt x="25875" y="19781"/>
                  <a:pt x="26094" y="19812"/>
                  <a:pt x="26281" y="19656"/>
                </a:cubicBezTo>
                <a:cubicBezTo>
                  <a:pt x="26562" y="19656"/>
                  <a:pt x="26719" y="19469"/>
                  <a:pt x="26875" y="19312"/>
                </a:cubicBezTo>
                <a:cubicBezTo>
                  <a:pt x="26875" y="19312"/>
                  <a:pt x="26875" y="19312"/>
                  <a:pt x="26875" y="19312"/>
                </a:cubicBezTo>
                <a:cubicBezTo>
                  <a:pt x="26906" y="19250"/>
                  <a:pt x="26937" y="19219"/>
                  <a:pt x="26969" y="19156"/>
                </a:cubicBezTo>
                <a:cubicBezTo>
                  <a:pt x="27219" y="18812"/>
                  <a:pt x="27250" y="18406"/>
                  <a:pt x="27156" y="18031"/>
                </a:cubicBezTo>
                <a:cubicBezTo>
                  <a:pt x="27031" y="17656"/>
                  <a:pt x="26906" y="17312"/>
                  <a:pt x="27000" y="16937"/>
                </a:cubicBezTo>
                <a:cubicBezTo>
                  <a:pt x="27375" y="16750"/>
                  <a:pt x="27687" y="16500"/>
                  <a:pt x="28000" y="16281"/>
                </a:cubicBezTo>
                <a:cubicBezTo>
                  <a:pt x="28094" y="16250"/>
                  <a:pt x="28156" y="16250"/>
                  <a:pt x="28219" y="16312"/>
                </a:cubicBezTo>
                <a:cubicBezTo>
                  <a:pt x="28281" y="16437"/>
                  <a:pt x="28406" y="16531"/>
                  <a:pt x="28437" y="16656"/>
                </a:cubicBezTo>
                <a:cubicBezTo>
                  <a:pt x="28562" y="16875"/>
                  <a:pt x="28750" y="16969"/>
                  <a:pt x="28969" y="17062"/>
                </a:cubicBezTo>
                <a:cubicBezTo>
                  <a:pt x="29031" y="17094"/>
                  <a:pt x="29094" y="17125"/>
                  <a:pt x="29156" y="17062"/>
                </a:cubicBezTo>
                <a:cubicBezTo>
                  <a:pt x="29219" y="17000"/>
                  <a:pt x="29187" y="16937"/>
                  <a:pt x="29125" y="16875"/>
                </a:cubicBezTo>
                <a:cubicBezTo>
                  <a:pt x="29062" y="16750"/>
                  <a:pt x="28969" y="16625"/>
                  <a:pt x="28906" y="16531"/>
                </a:cubicBezTo>
                <a:cubicBezTo>
                  <a:pt x="28594" y="16062"/>
                  <a:pt x="28344" y="15594"/>
                  <a:pt x="27906" y="15219"/>
                </a:cubicBezTo>
                <a:cubicBezTo>
                  <a:pt x="27812" y="15156"/>
                  <a:pt x="27719" y="15062"/>
                  <a:pt x="27750" y="14906"/>
                </a:cubicBezTo>
                <a:cubicBezTo>
                  <a:pt x="27844" y="14844"/>
                  <a:pt x="27969" y="14781"/>
                  <a:pt x="28062" y="14781"/>
                </a:cubicBezTo>
                <a:cubicBezTo>
                  <a:pt x="28062" y="14781"/>
                  <a:pt x="28062" y="14781"/>
                  <a:pt x="28062" y="14781"/>
                </a:cubicBezTo>
                <a:cubicBezTo>
                  <a:pt x="28219" y="14844"/>
                  <a:pt x="28281" y="14750"/>
                  <a:pt x="28344" y="14625"/>
                </a:cubicBezTo>
                <a:cubicBezTo>
                  <a:pt x="28437" y="14531"/>
                  <a:pt x="28406" y="14437"/>
                  <a:pt x="28406" y="14312"/>
                </a:cubicBezTo>
                <a:cubicBezTo>
                  <a:pt x="28375" y="14125"/>
                  <a:pt x="28219" y="14062"/>
                  <a:pt x="28094" y="13937"/>
                </a:cubicBezTo>
                <a:cubicBezTo>
                  <a:pt x="28094" y="13875"/>
                  <a:pt x="28031" y="13812"/>
                  <a:pt x="28031" y="13719"/>
                </a:cubicBezTo>
                <a:cubicBezTo>
                  <a:pt x="28094" y="13656"/>
                  <a:pt x="28187" y="13594"/>
                  <a:pt x="28281" y="13625"/>
                </a:cubicBezTo>
                <a:cubicBezTo>
                  <a:pt x="28562" y="13625"/>
                  <a:pt x="28781" y="13500"/>
                  <a:pt x="29000" y="13281"/>
                </a:cubicBezTo>
                <a:cubicBezTo>
                  <a:pt x="29031" y="13281"/>
                  <a:pt x="29031" y="13219"/>
                  <a:pt x="29031" y="13187"/>
                </a:cubicBezTo>
                <a:cubicBezTo>
                  <a:pt x="29031" y="12906"/>
                  <a:pt x="29094" y="12844"/>
                  <a:pt x="29375" y="12969"/>
                </a:cubicBezTo>
                <a:cubicBezTo>
                  <a:pt x="29469" y="13000"/>
                  <a:pt x="29562" y="13000"/>
                  <a:pt x="29656" y="12969"/>
                </a:cubicBezTo>
                <a:cubicBezTo>
                  <a:pt x="29812" y="12875"/>
                  <a:pt x="29781" y="12719"/>
                  <a:pt x="29812" y="12594"/>
                </a:cubicBezTo>
                <a:cubicBezTo>
                  <a:pt x="29844" y="12594"/>
                  <a:pt x="29844" y="12531"/>
                  <a:pt x="29906" y="12531"/>
                </a:cubicBezTo>
                <a:cubicBezTo>
                  <a:pt x="29906" y="12469"/>
                  <a:pt x="29906" y="12406"/>
                  <a:pt x="29906" y="12344"/>
                </a:cubicBezTo>
                <a:cubicBezTo>
                  <a:pt x="29781" y="12187"/>
                  <a:pt x="29625" y="12031"/>
                  <a:pt x="29500" y="11875"/>
                </a:cubicBezTo>
                <a:close/>
                <a:moveTo>
                  <a:pt x="26250" y="14969"/>
                </a:moveTo>
                <a:cubicBezTo>
                  <a:pt x="26250" y="14969"/>
                  <a:pt x="26250" y="14969"/>
                  <a:pt x="26250" y="15000"/>
                </a:cubicBezTo>
                <a:cubicBezTo>
                  <a:pt x="26250" y="15000"/>
                  <a:pt x="26250" y="14969"/>
                  <a:pt x="26250" y="14969"/>
                </a:cubicBezTo>
                <a:close/>
                <a:moveTo>
                  <a:pt x="24687" y="14094"/>
                </a:move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ubicBezTo>
                  <a:pt x="24687" y="14094"/>
                  <a:pt x="24687" y="14094"/>
                  <a:pt x="24687" y="14094"/>
                </a:cubicBezTo>
                <a:close/>
                <a:moveTo>
                  <a:pt x="24875" y="14687"/>
                </a:moveTo>
                <a:cubicBezTo>
                  <a:pt x="24906" y="14687"/>
                  <a:pt x="24906" y="14656"/>
                  <a:pt x="24906" y="14625"/>
                </a:cubicBezTo>
                <a:cubicBezTo>
                  <a:pt x="24906" y="14594"/>
                  <a:pt x="24875" y="14594"/>
                  <a:pt x="24844" y="14594"/>
                </a:cubicBezTo>
                <a:cubicBezTo>
                  <a:pt x="24812" y="14594"/>
                  <a:pt x="24781" y="14594"/>
                  <a:pt x="24812" y="14625"/>
                </a:cubicBezTo>
                <a:cubicBezTo>
                  <a:pt x="24812" y="14656"/>
                  <a:pt x="24812" y="14687"/>
                  <a:pt x="24875" y="14687"/>
                </a:cubicBezTo>
                <a:close/>
                <a:moveTo>
                  <a:pt x="19781" y="12437"/>
                </a:moveTo>
                <a:cubicBezTo>
                  <a:pt x="19812" y="12437"/>
                  <a:pt x="19875" y="12437"/>
                  <a:pt x="19906" y="12437"/>
                </a:cubicBezTo>
                <a:cubicBezTo>
                  <a:pt x="19906" y="12437"/>
                  <a:pt x="19937" y="12437"/>
                  <a:pt x="19937" y="12437"/>
                </a:cubicBezTo>
                <a:cubicBezTo>
                  <a:pt x="20000" y="12437"/>
                  <a:pt x="20031" y="12437"/>
                  <a:pt x="20062" y="12375"/>
                </a:cubicBezTo>
                <a:cubicBezTo>
                  <a:pt x="20062" y="12375"/>
                  <a:pt x="20062" y="12375"/>
                  <a:pt x="20062" y="12375"/>
                </a:cubicBezTo>
                <a:cubicBezTo>
                  <a:pt x="20062" y="12094"/>
                  <a:pt x="19875" y="12250"/>
                  <a:pt x="19750" y="12250"/>
                </a:cubicBezTo>
                <a:cubicBezTo>
                  <a:pt x="19719" y="12250"/>
                  <a:pt x="19625" y="12219"/>
                  <a:pt x="19656" y="12312"/>
                </a:cubicBezTo>
                <a:cubicBezTo>
                  <a:pt x="19687" y="12344"/>
                  <a:pt x="19687" y="12437"/>
                  <a:pt x="19781" y="12437"/>
                </a:cubicBezTo>
                <a:close/>
                <a:moveTo>
                  <a:pt x="19344" y="15812"/>
                </a:moveTo>
                <a:cubicBezTo>
                  <a:pt x="19344" y="15812"/>
                  <a:pt x="19344" y="15812"/>
                  <a:pt x="19344" y="15812"/>
                </a:cubicBezTo>
                <a:cubicBezTo>
                  <a:pt x="19344" y="15812"/>
                  <a:pt x="19344" y="15812"/>
                  <a:pt x="19344" y="15812"/>
                </a:cubicBezTo>
                <a:cubicBezTo>
                  <a:pt x="19375" y="15937"/>
                  <a:pt x="19500" y="15906"/>
                  <a:pt x="19562" y="15906"/>
                </a:cubicBezTo>
                <a:cubicBezTo>
                  <a:pt x="19625" y="15937"/>
                  <a:pt x="19656" y="15875"/>
                  <a:pt x="19656" y="15812"/>
                </a:cubicBezTo>
                <a:cubicBezTo>
                  <a:pt x="19531" y="15844"/>
                  <a:pt x="19469" y="15594"/>
                  <a:pt x="19312" y="15750"/>
                </a:cubicBezTo>
                <a:cubicBezTo>
                  <a:pt x="19312" y="15750"/>
                  <a:pt x="19312" y="15750"/>
                  <a:pt x="19312" y="15750"/>
                </a:cubicBezTo>
                <a:cubicBezTo>
                  <a:pt x="19312" y="15781"/>
                  <a:pt x="19312" y="15781"/>
                  <a:pt x="19344" y="15812"/>
                </a:cubicBezTo>
                <a:close/>
                <a:moveTo>
                  <a:pt x="9687" y="13219"/>
                </a:moveTo>
                <a:cubicBezTo>
                  <a:pt x="9656" y="13219"/>
                  <a:pt x="9594" y="13250"/>
                  <a:pt x="9594" y="13312"/>
                </a:cubicBezTo>
                <a:cubicBezTo>
                  <a:pt x="9656" y="13312"/>
                  <a:pt x="9687" y="13281"/>
                  <a:pt x="9750" y="13250"/>
                </a:cubicBezTo>
                <a:cubicBezTo>
                  <a:pt x="9750" y="13250"/>
                  <a:pt x="9750" y="13250"/>
                  <a:pt x="9750" y="13250"/>
                </a:cubicBezTo>
                <a:cubicBezTo>
                  <a:pt x="9750" y="13219"/>
                  <a:pt x="9750" y="13219"/>
                  <a:pt x="9781" y="13219"/>
                </a:cubicBezTo>
                <a:cubicBezTo>
                  <a:pt x="9906" y="13125"/>
                  <a:pt x="10062" y="13031"/>
                  <a:pt x="10219" y="12906"/>
                </a:cubicBezTo>
                <a:cubicBezTo>
                  <a:pt x="10000" y="12937"/>
                  <a:pt x="9875" y="13031"/>
                  <a:pt x="9750" y="13156"/>
                </a:cubicBezTo>
                <a:cubicBezTo>
                  <a:pt x="9719" y="13187"/>
                  <a:pt x="9719" y="13187"/>
                  <a:pt x="9687" y="13219"/>
                </a:cubicBezTo>
                <a:close/>
                <a:moveTo>
                  <a:pt x="6656" y="15000"/>
                </a:moveTo>
                <a:cubicBezTo>
                  <a:pt x="6656" y="15000"/>
                  <a:pt x="6656" y="14969"/>
                  <a:pt x="6656" y="14969"/>
                </a:cubicBezTo>
                <a:cubicBezTo>
                  <a:pt x="6656" y="14969"/>
                  <a:pt x="6656" y="14937"/>
                  <a:pt x="6625" y="14937"/>
                </a:cubicBezTo>
                <a:cubicBezTo>
                  <a:pt x="6625" y="14969"/>
                  <a:pt x="6625" y="14969"/>
                  <a:pt x="6625" y="14969"/>
                </a:cubicBezTo>
                <a:cubicBezTo>
                  <a:pt x="6625" y="15000"/>
                  <a:pt x="6656" y="15000"/>
                  <a:pt x="6656" y="15000"/>
                </a:cubicBezTo>
                <a:close/>
                <a:moveTo>
                  <a:pt x="15312" y="15781"/>
                </a:moveTo>
                <a:cubicBezTo>
                  <a:pt x="15312" y="15781"/>
                  <a:pt x="15344" y="15750"/>
                  <a:pt x="15344" y="15750"/>
                </a:cubicBezTo>
                <a:cubicBezTo>
                  <a:pt x="15312" y="15750"/>
                  <a:pt x="15281" y="15719"/>
                  <a:pt x="15281" y="15719"/>
                </a:cubicBezTo>
                <a:cubicBezTo>
                  <a:pt x="15281" y="15750"/>
                  <a:pt x="15281" y="15781"/>
                  <a:pt x="15312" y="15781"/>
                </a:cubicBezTo>
                <a:close/>
                <a:moveTo>
                  <a:pt x="15281" y="15719"/>
                </a:moveTo>
                <a:cubicBezTo>
                  <a:pt x="15281" y="15594"/>
                  <a:pt x="15375" y="15625"/>
                  <a:pt x="15437" y="15625"/>
                </a:cubicBezTo>
                <a:lnTo>
                  <a:pt x="15437" y="15625"/>
                </a:lnTo>
                <a:cubicBezTo>
                  <a:pt x="15625" y="15625"/>
                  <a:pt x="15781" y="15594"/>
                  <a:pt x="15906" y="15531"/>
                </a:cubicBezTo>
                <a:cubicBezTo>
                  <a:pt x="15500" y="15344"/>
                  <a:pt x="15094" y="15531"/>
                  <a:pt x="14687" y="15531"/>
                </a:cubicBezTo>
                <a:cubicBezTo>
                  <a:pt x="14844" y="15781"/>
                  <a:pt x="15062" y="15719"/>
                  <a:pt x="15281" y="15719"/>
                </a:cubicBezTo>
                <a:close/>
                <a:moveTo>
                  <a:pt x="10219" y="14375"/>
                </a:moveTo>
                <a:cubicBezTo>
                  <a:pt x="10156" y="14375"/>
                  <a:pt x="10094" y="14375"/>
                  <a:pt x="10031" y="14344"/>
                </a:cubicBezTo>
                <a:cubicBezTo>
                  <a:pt x="10094" y="14375"/>
                  <a:pt x="10156" y="14375"/>
                  <a:pt x="10219" y="14375"/>
                </a:cubicBezTo>
                <a:close/>
                <a:moveTo>
                  <a:pt x="10719" y="13719"/>
                </a:moveTo>
                <a:cubicBezTo>
                  <a:pt x="10719" y="13719"/>
                  <a:pt x="10719" y="13719"/>
                  <a:pt x="10719" y="13719"/>
                </a:cubicBezTo>
                <a:cubicBezTo>
                  <a:pt x="10719" y="13656"/>
                  <a:pt x="10719" y="13625"/>
                  <a:pt x="10719" y="13594"/>
                </a:cubicBezTo>
                <a:cubicBezTo>
                  <a:pt x="10719" y="13625"/>
                  <a:pt x="10719" y="13656"/>
                  <a:pt x="10719" y="13719"/>
                </a:cubicBezTo>
                <a:close/>
                <a:moveTo>
                  <a:pt x="13344" y="13406"/>
                </a:moveTo>
                <a:cubicBezTo>
                  <a:pt x="13344" y="13406"/>
                  <a:pt x="13344" y="13406"/>
                  <a:pt x="13344" y="13406"/>
                </a:cubicBezTo>
                <a:cubicBezTo>
                  <a:pt x="13344" y="13437"/>
                  <a:pt x="13375" y="13469"/>
                  <a:pt x="13375" y="13469"/>
                </a:cubicBezTo>
                <a:cubicBezTo>
                  <a:pt x="13375" y="13469"/>
                  <a:pt x="13344" y="13437"/>
                  <a:pt x="13344" y="13406"/>
                </a:cubicBezTo>
                <a:close/>
                <a:moveTo>
                  <a:pt x="14125" y="13562"/>
                </a:moveTo>
                <a:cubicBezTo>
                  <a:pt x="14094" y="13562"/>
                  <a:pt x="14125" y="13562"/>
                  <a:pt x="14125" y="13562"/>
                </a:cubicBezTo>
                <a:cubicBezTo>
                  <a:pt x="14125" y="13562"/>
                  <a:pt x="14094" y="13562"/>
                  <a:pt x="14125" y="13562"/>
                </a:cubicBezTo>
                <a:close/>
                <a:moveTo>
                  <a:pt x="14125" y="13719"/>
                </a:moveTo>
                <a:cubicBezTo>
                  <a:pt x="14125" y="13687"/>
                  <a:pt x="14125" y="13656"/>
                  <a:pt x="14125" y="13594"/>
                </a:cubicBezTo>
                <a:cubicBezTo>
                  <a:pt x="14125" y="13594"/>
                  <a:pt x="14125" y="13594"/>
                  <a:pt x="14125" y="13594"/>
                </a:cubicBezTo>
                <a:cubicBezTo>
                  <a:pt x="14125" y="13656"/>
                  <a:pt x="14125" y="13687"/>
                  <a:pt x="14125" y="13719"/>
                </a:cubicBezTo>
                <a:close/>
                <a:moveTo>
                  <a:pt x="14562" y="14156"/>
                </a:moveTo>
                <a:cubicBezTo>
                  <a:pt x="14562" y="14156"/>
                  <a:pt x="14594" y="14156"/>
                  <a:pt x="14594" y="14125"/>
                </a:cubicBezTo>
                <a:cubicBezTo>
                  <a:pt x="14594" y="14156"/>
                  <a:pt x="14562" y="14156"/>
                  <a:pt x="14562" y="14156"/>
                </a:cubicBezTo>
                <a:close/>
                <a:moveTo>
                  <a:pt x="14594" y="14062"/>
                </a:moveTo>
                <a:cubicBezTo>
                  <a:pt x="14594" y="14062"/>
                  <a:pt x="14594" y="14062"/>
                  <a:pt x="14594" y="14062"/>
                </a:cubicBezTo>
                <a:cubicBezTo>
                  <a:pt x="14625" y="14062"/>
                  <a:pt x="14625" y="14062"/>
                  <a:pt x="14656" y="14062"/>
                </a:cubicBezTo>
                <a:cubicBezTo>
                  <a:pt x="14625" y="14062"/>
                  <a:pt x="14625" y="14062"/>
                  <a:pt x="14594" y="14062"/>
                </a:cubicBezTo>
                <a:close/>
                <a:moveTo>
                  <a:pt x="14781" y="13781"/>
                </a:moveTo>
                <a:cubicBezTo>
                  <a:pt x="14812" y="13750"/>
                  <a:pt x="14812" y="13687"/>
                  <a:pt x="14844" y="13656"/>
                </a:cubicBezTo>
                <a:cubicBezTo>
                  <a:pt x="14812" y="13687"/>
                  <a:pt x="14812" y="13750"/>
                  <a:pt x="14781" y="13781"/>
                </a:cubicBezTo>
                <a:close/>
                <a:moveTo>
                  <a:pt x="14937" y="13656"/>
                </a:moveTo>
                <a:cubicBezTo>
                  <a:pt x="14937" y="13656"/>
                  <a:pt x="14937" y="13656"/>
                  <a:pt x="14937" y="13656"/>
                </a:cubicBezTo>
                <a:cubicBezTo>
                  <a:pt x="14969" y="13656"/>
                  <a:pt x="14969" y="13656"/>
                  <a:pt x="14969" y="13656"/>
                </a:cubicBezTo>
                <a:cubicBezTo>
                  <a:pt x="14969" y="13656"/>
                  <a:pt x="14969" y="13656"/>
                  <a:pt x="14937" y="13656"/>
                </a:cubicBezTo>
                <a:close/>
                <a:moveTo>
                  <a:pt x="15281" y="13562"/>
                </a:moveTo>
                <a:cubicBezTo>
                  <a:pt x="15250" y="13562"/>
                  <a:pt x="15250" y="13562"/>
                  <a:pt x="15250" y="13562"/>
                </a:cubicBezTo>
                <a:cubicBezTo>
                  <a:pt x="15250" y="13562"/>
                  <a:pt x="15250" y="13562"/>
                  <a:pt x="15281" y="13562"/>
                </a:cubicBezTo>
                <a:close/>
                <a:moveTo>
                  <a:pt x="15312" y="14562"/>
                </a:moveTo>
                <a:cubicBezTo>
                  <a:pt x="15312" y="14562"/>
                  <a:pt x="15344" y="14562"/>
                  <a:pt x="15344" y="14562"/>
                </a:cubicBezTo>
                <a:cubicBezTo>
                  <a:pt x="15344" y="14562"/>
                  <a:pt x="15312" y="14562"/>
                  <a:pt x="15312" y="14562"/>
                </a:cubicBezTo>
                <a:close/>
                <a:moveTo>
                  <a:pt x="16406" y="13781"/>
                </a:moveTo>
                <a:cubicBezTo>
                  <a:pt x="16406" y="13781"/>
                  <a:pt x="16406" y="13781"/>
                  <a:pt x="16406" y="13781"/>
                </a:cubicBezTo>
                <a:cubicBezTo>
                  <a:pt x="16406" y="13812"/>
                  <a:pt x="16406" y="13812"/>
                  <a:pt x="16406" y="13812"/>
                </a:cubicBezTo>
                <a:cubicBezTo>
                  <a:pt x="16406" y="13812"/>
                  <a:pt x="16406" y="13812"/>
                  <a:pt x="16406" y="13781"/>
                </a:cubicBezTo>
                <a:close/>
                <a:moveTo>
                  <a:pt x="19687" y="14687"/>
                </a:moveTo>
                <a:cubicBezTo>
                  <a:pt x="19656" y="14656"/>
                  <a:pt x="19625" y="14625"/>
                  <a:pt x="19625" y="14562"/>
                </a:cubicBezTo>
                <a:cubicBezTo>
                  <a:pt x="19625" y="14625"/>
                  <a:pt x="19656" y="14656"/>
                  <a:pt x="19687" y="14687"/>
                </a:cubicBezTo>
                <a:cubicBezTo>
                  <a:pt x="19687" y="14687"/>
                  <a:pt x="19687" y="14687"/>
                  <a:pt x="19687" y="14687"/>
                </a:cubicBezTo>
                <a:close/>
                <a:moveTo>
                  <a:pt x="19594" y="14531"/>
                </a:moveTo>
                <a:cubicBezTo>
                  <a:pt x="19594" y="14531"/>
                  <a:pt x="19594" y="14562"/>
                  <a:pt x="19594" y="14562"/>
                </a:cubicBezTo>
                <a:cubicBezTo>
                  <a:pt x="19594" y="14562"/>
                  <a:pt x="19594" y="14531"/>
                  <a:pt x="19594" y="14531"/>
                </a:cubicBezTo>
                <a:close/>
                <a:moveTo>
                  <a:pt x="20344" y="12937"/>
                </a:moveTo>
                <a:cubicBezTo>
                  <a:pt x="20344" y="12937"/>
                  <a:pt x="20344" y="12969"/>
                  <a:pt x="20344" y="12969"/>
                </a:cubicBezTo>
                <a:cubicBezTo>
                  <a:pt x="20344" y="12969"/>
                  <a:pt x="20344" y="12937"/>
                  <a:pt x="20344" y="12937"/>
                </a:cubicBezTo>
                <a:cubicBezTo>
                  <a:pt x="20469" y="12937"/>
                  <a:pt x="20531" y="12875"/>
                  <a:pt x="20531" y="12812"/>
                </a:cubicBezTo>
                <a:cubicBezTo>
                  <a:pt x="20531" y="12875"/>
                  <a:pt x="20469" y="12937"/>
                  <a:pt x="20344" y="12937"/>
                </a:cubicBezTo>
                <a:close/>
                <a:moveTo>
                  <a:pt x="22062" y="13687"/>
                </a:moveTo>
                <a:cubicBezTo>
                  <a:pt x="22031" y="13719"/>
                  <a:pt x="22000" y="13750"/>
                  <a:pt x="21969" y="13750"/>
                </a:cubicBezTo>
                <a:cubicBezTo>
                  <a:pt x="22000" y="13750"/>
                  <a:pt x="22031" y="13719"/>
                  <a:pt x="22062" y="13687"/>
                </a:cubicBezTo>
                <a:cubicBezTo>
                  <a:pt x="22062" y="13687"/>
                  <a:pt x="22062" y="13687"/>
                  <a:pt x="22062" y="13687"/>
                </a:cubicBezTo>
                <a:close/>
                <a:moveTo>
                  <a:pt x="18906" y="15656"/>
                </a:moveTo>
                <a:cubicBezTo>
                  <a:pt x="18937" y="15656"/>
                  <a:pt x="19000" y="15656"/>
                  <a:pt x="18969" y="15594"/>
                </a:cubicBezTo>
                <a:cubicBezTo>
                  <a:pt x="18937" y="15500"/>
                  <a:pt x="18844" y="15562"/>
                  <a:pt x="18719" y="15531"/>
                </a:cubicBezTo>
                <a:cubicBezTo>
                  <a:pt x="18812" y="15594"/>
                  <a:pt x="18781" y="15719"/>
                  <a:pt x="18906" y="15656"/>
                </a:cubicBezTo>
                <a:close/>
                <a:moveTo>
                  <a:pt x="6562" y="14719"/>
                </a:moveTo>
                <a:cubicBezTo>
                  <a:pt x="6594" y="14625"/>
                  <a:pt x="6437" y="14562"/>
                  <a:pt x="6406" y="14594"/>
                </a:cubicBezTo>
                <a:cubicBezTo>
                  <a:pt x="6281" y="14750"/>
                  <a:pt x="6500" y="14750"/>
                  <a:pt x="6500" y="14906"/>
                </a:cubicBezTo>
                <a:cubicBezTo>
                  <a:pt x="6562" y="14844"/>
                  <a:pt x="6531" y="14812"/>
                  <a:pt x="6531" y="14781"/>
                </a:cubicBezTo>
                <a:cubicBezTo>
                  <a:pt x="6500" y="14719"/>
                  <a:pt x="6562" y="14719"/>
                  <a:pt x="6562" y="14719"/>
                </a:cubicBezTo>
                <a:close/>
                <a:moveTo>
                  <a:pt x="12094" y="14969"/>
                </a:moveTo>
                <a:cubicBezTo>
                  <a:pt x="12500" y="14969"/>
                  <a:pt x="12844" y="15125"/>
                  <a:pt x="13219" y="15219"/>
                </a:cubicBezTo>
                <a:cubicBezTo>
                  <a:pt x="12875" y="15031"/>
                  <a:pt x="12500" y="14844"/>
                  <a:pt x="12094" y="14969"/>
                </a:cubicBezTo>
                <a:close/>
                <a:moveTo>
                  <a:pt x="7719" y="15906"/>
                </a:moveTo>
                <a:cubicBezTo>
                  <a:pt x="7875" y="15937"/>
                  <a:pt x="7812" y="15750"/>
                  <a:pt x="7937" y="15687"/>
                </a:cubicBezTo>
                <a:cubicBezTo>
                  <a:pt x="8000" y="15656"/>
                  <a:pt x="7937" y="15562"/>
                  <a:pt x="7875" y="15531"/>
                </a:cubicBezTo>
                <a:cubicBezTo>
                  <a:pt x="7781" y="15500"/>
                  <a:pt x="7656" y="15500"/>
                  <a:pt x="7531" y="15469"/>
                </a:cubicBezTo>
                <a:cubicBezTo>
                  <a:pt x="7469" y="15469"/>
                  <a:pt x="7312" y="15500"/>
                  <a:pt x="7375" y="15594"/>
                </a:cubicBezTo>
                <a:cubicBezTo>
                  <a:pt x="7437" y="15719"/>
                  <a:pt x="7531" y="15875"/>
                  <a:pt x="7719" y="15906"/>
                </a:cubicBezTo>
                <a:close/>
                <a:moveTo>
                  <a:pt x="16781" y="17094"/>
                </a:moveTo>
                <a:cubicBezTo>
                  <a:pt x="16781" y="17062"/>
                  <a:pt x="16844" y="17094"/>
                  <a:pt x="16875" y="17094"/>
                </a:cubicBezTo>
                <a:cubicBezTo>
                  <a:pt x="17031" y="17187"/>
                  <a:pt x="17187" y="17281"/>
                  <a:pt x="17375" y="17187"/>
                </a:cubicBezTo>
                <a:cubicBezTo>
                  <a:pt x="17594" y="17156"/>
                  <a:pt x="17812" y="17094"/>
                  <a:pt x="17969" y="16937"/>
                </a:cubicBezTo>
                <a:cubicBezTo>
                  <a:pt x="18031" y="16875"/>
                  <a:pt x="18000" y="16531"/>
                  <a:pt x="17937" y="16469"/>
                </a:cubicBezTo>
                <a:cubicBezTo>
                  <a:pt x="17719" y="16375"/>
                  <a:pt x="17156" y="16469"/>
                  <a:pt x="17000" y="16656"/>
                </a:cubicBezTo>
                <a:cubicBezTo>
                  <a:pt x="16937" y="16719"/>
                  <a:pt x="16875" y="16750"/>
                  <a:pt x="16781" y="16750"/>
                </a:cubicBezTo>
                <a:cubicBezTo>
                  <a:pt x="16656" y="16750"/>
                  <a:pt x="16562" y="16812"/>
                  <a:pt x="16562" y="16937"/>
                </a:cubicBezTo>
                <a:cubicBezTo>
                  <a:pt x="16656" y="16937"/>
                  <a:pt x="16562" y="17250"/>
                  <a:pt x="16781" y="17094"/>
                </a:cubicBezTo>
                <a:close/>
                <a:moveTo>
                  <a:pt x="15937" y="1844"/>
                </a:moveTo>
                <a:cubicBezTo>
                  <a:pt x="15906" y="1844"/>
                  <a:pt x="15906" y="1844"/>
                  <a:pt x="15906" y="1844"/>
                </a:cubicBezTo>
                <a:cubicBezTo>
                  <a:pt x="15906" y="1875"/>
                  <a:pt x="15906" y="1875"/>
                  <a:pt x="15937" y="1875"/>
                </a:cubicBezTo>
                <a:cubicBezTo>
                  <a:pt x="15937" y="1875"/>
                  <a:pt x="15937" y="1875"/>
                  <a:pt x="15937" y="1875"/>
                </a:cubicBezTo>
                <a:cubicBezTo>
                  <a:pt x="15937" y="1844"/>
                  <a:pt x="15937" y="1844"/>
                  <a:pt x="15937" y="1844"/>
                </a:cubicBezTo>
                <a:close/>
                <a:moveTo>
                  <a:pt x="17219" y="250"/>
                </a:moveTo>
                <a:cubicBezTo>
                  <a:pt x="17219" y="250"/>
                  <a:pt x="17219" y="250"/>
                  <a:pt x="17250" y="250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219" y="219"/>
                  <a:pt x="17219" y="219"/>
                  <a:pt x="17219" y="219"/>
                </a:cubicBezTo>
                <a:cubicBezTo>
                  <a:pt x="17187" y="219"/>
                  <a:pt x="17187" y="250"/>
                  <a:pt x="17187" y="250"/>
                </a:cubicBezTo>
                <a:cubicBezTo>
                  <a:pt x="17187" y="250"/>
                  <a:pt x="17219" y="250"/>
                  <a:pt x="17219" y="250"/>
                </a:cubicBezTo>
                <a:close/>
                <a:moveTo>
                  <a:pt x="13750" y="937"/>
                </a:moveTo>
                <a:cubicBezTo>
                  <a:pt x="13781" y="937"/>
                  <a:pt x="13781" y="906"/>
                  <a:pt x="13781" y="906"/>
                </a:cubicBezTo>
                <a:cubicBezTo>
                  <a:pt x="13750" y="906"/>
                  <a:pt x="13750" y="875"/>
                  <a:pt x="13750" y="875"/>
                </a:cubicBezTo>
                <a:cubicBezTo>
                  <a:pt x="13719" y="906"/>
                  <a:pt x="13719" y="906"/>
                  <a:pt x="13719" y="937"/>
                </a:cubicBezTo>
                <a:cubicBezTo>
                  <a:pt x="13750" y="937"/>
                  <a:pt x="13750" y="937"/>
                  <a:pt x="13750" y="937"/>
                </a:cubicBezTo>
                <a:close/>
                <a:moveTo>
                  <a:pt x="10812" y="3031"/>
                </a:moveTo>
                <a:cubicBezTo>
                  <a:pt x="10844" y="3031"/>
                  <a:pt x="10844" y="3031"/>
                  <a:pt x="10875" y="3031"/>
                </a:cubicBezTo>
                <a:cubicBezTo>
                  <a:pt x="10875" y="3031"/>
                  <a:pt x="10875" y="3000"/>
                  <a:pt x="10906" y="3000"/>
                </a:cubicBezTo>
                <a:cubicBezTo>
                  <a:pt x="10875" y="3000"/>
                  <a:pt x="10875" y="3000"/>
                  <a:pt x="10875" y="2969"/>
                </a:cubicBezTo>
                <a:cubicBezTo>
                  <a:pt x="10844" y="3000"/>
                  <a:pt x="10812" y="3000"/>
                  <a:pt x="10812" y="3031"/>
                </a:cubicBezTo>
                <a:close/>
                <a:moveTo>
                  <a:pt x="13969" y="844"/>
                </a:moveTo>
                <a:cubicBezTo>
                  <a:pt x="13969" y="844"/>
                  <a:pt x="13969" y="844"/>
                  <a:pt x="13969" y="844"/>
                </a:cubicBezTo>
                <a:cubicBezTo>
                  <a:pt x="13937" y="812"/>
                  <a:pt x="13937" y="812"/>
                  <a:pt x="13906" y="812"/>
                </a:cubicBezTo>
                <a:cubicBezTo>
                  <a:pt x="13906" y="812"/>
                  <a:pt x="13906" y="812"/>
                  <a:pt x="13906" y="812"/>
                </a:cubicBezTo>
                <a:cubicBezTo>
                  <a:pt x="13875" y="812"/>
                  <a:pt x="13875" y="812"/>
                  <a:pt x="13844" y="844"/>
                </a:cubicBezTo>
                <a:cubicBezTo>
                  <a:pt x="13875" y="844"/>
                  <a:pt x="13937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ubicBezTo>
                  <a:pt x="14000" y="875"/>
                  <a:pt x="14062" y="875"/>
                  <a:pt x="14125" y="844"/>
                </a:cubicBezTo>
                <a:cubicBezTo>
                  <a:pt x="14062" y="844"/>
                  <a:pt x="14000" y="844"/>
                  <a:pt x="13969" y="844"/>
                </a:cubicBezTo>
                <a:cubicBezTo>
                  <a:pt x="13969" y="844"/>
                  <a:pt x="13969" y="844"/>
                  <a:pt x="13969" y="844"/>
                </a:cubicBezTo>
                <a:close/>
                <a:moveTo>
                  <a:pt x="8500" y="2406"/>
                </a:moveTo>
                <a:cubicBezTo>
                  <a:pt x="8562" y="2375"/>
                  <a:pt x="8625" y="2375"/>
                  <a:pt x="8656" y="2281"/>
                </a:cubicBezTo>
                <a:cubicBezTo>
                  <a:pt x="8656" y="2219"/>
                  <a:pt x="8625" y="2250"/>
                  <a:pt x="8562" y="2219"/>
                </a:cubicBezTo>
                <a:cubicBezTo>
                  <a:pt x="8531" y="2219"/>
                  <a:pt x="8531" y="2219"/>
                  <a:pt x="8500" y="2250"/>
                </a:cubicBezTo>
                <a:cubicBezTo>
                  <a:pt x="8469" y="2250"/>
                  <a:pt x="8437" y="2281"/>
                  <a:pt x="8437" y="2344"/>
                </a:cubicBezTo>
                <a:cubicBezTo>
                  <a:pt x="8437" y="2375"/>
                  <a:pt x="8469" y="2406"/>
                  <a:pt x="8500" y="2406"/>
                </a:cubicBezTo>
                <a:close/>
                <a:moveTo>
                  <a:pt x="9156" y="1969"/>
                </a:moveTo>
                <a:cubicBezTo>
                  <a:pt x="9219" y="2000"/>
                  <a:pt x="9281" y="1969"/>
                  <a:pt x="9281" y="1937"/>
                </a:cubicBezTo>
                <a:cubicBezTo>
                  <a:pt x="9312" y="1844"/>
                  <a:pt x="9219" y="1781"/>
                  <a:pt x="9125" y="1687"/>
                </a:cubicBezTo>
                <a:cubicBezTo>
                  <a:pt x="9062" y="1812"/>
                  <a:pt x="9062" y="1875"/>
                  <a:pt x="9156" y="1969"/>
                </a:cubicBezTo>
                <a:close/>
                <a:moveTo>
                  <a:pt x="13875" y="656"/>
                </a:moveTo>
                <a:cubicBezTo>
                  <a:pt x="13937" y="562"/>
                  <a:pt x="14000" y="500"/>
                  <a:pt x="14062" y="406"/>
                </a:cubicBezTo>
                <a:cubicBezTo>
                  <a:pt x="14094" y="344"/>
                  <a:pt x="14031" y="344"/>
                  <a:pt x="14000" y="344"/>
                </a:cubicBezTo>
                <a:cubicBezTo>
                  <a:pt x="13875" y="344"/>
                  <a:pt x="13844" y="469"/>
                  <a:pt x="13812" y="562"/>
                </a:cubicBezTo>
                <a:cubicBezTo>
                  <a:pt x="13781" y="625"/>
                  <a:pt x="13844" y="625"/>
                  <a:pt x="13875" y="656"/>
                </a:cubicBezTo>
                <a:close/>
                <a:moveTo>
                  <a:pt x="14750" y="1500"/>
                </a:moveTo>
                <a:cubicBezTo>
                  <a:pt x="14812" y="1500"/>
                  <a:pt x="14875" y="1437"/>
                  <a:pt x="14875" y="1344"/>
                </a:cubicBezTo>
                <a:cubicBezTo>
                  <a:pt x="14844" y="1281"/>
                  <a:pt x="14781" y="1281"/>
                  <a:pt x="14719" y="1312"/>
                </a:cubicBezTo>
                <a:cubicBezTo>
                  <a:pt x="14625" y="1344"/>
                  <a:pt x="14562" y="1375"/>
                  <a:pt x="14500" y="1406"/>
                </a:cubicBezTo>
                <a:cubicBezTo>
                  <a:pt x="14562" y="1531"/>
                  <a:pt x="14656" y="1500"/>
                  <a:pt x="14750" y="1500"/>
                </a:cubicBezTo>
                <a:close/>
                <a:moveTo>
                  <a:pt x="10906" y="750"/>
                </a:moveTo>
                <a:cubicBezTo>
                  <a:pt x="10969" y="844"/>
                  <a:pt x="11156" y="906"/>
                  <a:pt x="11219" y="844"/>
                </a:cubicBezTo>
                <a:cubicBezTo>
                  <a:pt x="11406" y="625"/>
                  <a:pt x="11344" y="875"/>
                  <a:pt x="11406" y="937"/>
                </a:cubicBezTo>
                <a:cubicBezTo>
                  <a:pt x="11500" y="844"/>
                  <a:pt x="11406" y="687"/>
                  <a:pt x="11531" y="719"/>
                </a:cubicBezTo>
                <a:cubicBezTo>
                  <a:pt x="11750" y="719"/>
                  <a:pt x="12062" y="656"/>
                  <a:pt x="12250" y="844"/>
                </a:cubicBezTo>
                <a:cubicBezTo>
                  <a:pt x="12437" y="1031"/>
                  <a:pt x="12594" y="1062"/>
                  <a:pt x="12812" y="875"/>
                </a:cubicBezTo>
                <a:cubicBezTo>
                  <a:pt x="12500" y="781"/>
                  <a:pt x="12187" y="687"/>
                  <a:pt x="11875" y="625"/>
                </a:cubicBezTo>
                <a:cubicBezTo>
                  <a:pt x="11750" y="594"/>
                  <a:pt x="11656" y="469"/>
                  <a:pt x="11531" y="500"/>
                </a:cubicBezTo>
                <a:cubicBezTo>
                  <a:pt x="11250" y="594"/>
                  <a:pt x="10937" y="562"/>
                  <a:pt x="10656" y="594"/>
                </a:cubicBezTo>
                <a:cubicBezTo>
                  <a:pt x="10781" y="562"/>
                  <a:pt x="10844" y="656"/>
                  <a:pt x="10906" y="750"/>
                </a:cubicBezTo>
                <a:close/>
                <a:moveTo>
                  <a:pt x="1000" y="15562"/>
                </a:moveTo>
                <a:cubicBezTo>
                  <a:pt x="875" y="15625"/>
                  <a:pt x="781" y="15687"/>
                  <a:pt x="750" y="15812"/>
                </a:cubicBezTo>
                <a:cubicBezTo>
                  <a:pt x="656" y="16125"/>
                  <a:pt x="781" y="16375"/>
                  <a:pt x="1094" y="16531"/>
                </a:cubicBezTo>
                <a:cubicBezTo>
                  <a:pt x="1250" y="16687"/>
                  <a:pt x="1500" y="16719"/>
                  <a:pt x="1687" y="16812"/>
                </a:cubicBezTo>
                <a:cubicBezTo>
                  <a:pt x="1687" y="16812"/>
                  <a:pt x="1687" y="16781"/>
                  <a:pt x="1687" y="16781"/>
                </a:cubicBezTo>
                <a:cubicBezTo>
                  <a:pt x="1687" y="16625"/>
                  <a:pt x="1687" y="16500"/>
                  <a:pt x="1719" y="16375"/>
                </a:cubicBezTo>
                <a:cubicBezTo>
                  <a:pt x="1719" y="16375"/>
                  <a:pt x="1687" y="16375"/>
                  <a:pt x="1687" y="16375"/>
                </a:cubicBezTo>
                <a:cubicBezTo>
                  <a:pt x="1750" y="16344"/>
                  <a:pt x="1750" y="16281"/>
                  <a:pt x="1750" y="16250"/>
                </a:cubicBezTo>
                <a:cubicBezTo>
                  <a:pt x="1781" y="15937"/>
                  <a:pt x="1969" y="15687"/>
                  <a:pt x="2094" y="15406"/>
                </a:cubicBezTo>
                <a:cubicBezTo>
                  <a:pt x="1750" y="15531"/>
                  <a:pt x="1344" y="15469"/>
                  <a:pt x="1000" y="15562"/>
                </a:cubicBezTo>
                <a:close/>
                <a:moveTo>
                  <a:pt x="1187" y="16344"/>
                </a:moveTo>
                <a:cubicBezTo>
                  <a:pt x="1219" y="16344"/>
                  <a:pt x="1281" y="16344"/>
                  <a:pt x="1344" y="16344"/>
                </a:cubicBezTo>
                <a:cubicBezTo>
                  <a:pt x="1344" y="16344"/>
                  <a:pt x="1344" y="16344"/>
                  <a:pt x="1344" y="16344"/>
                </a:cubicBezTo>
                <a:cubicBezTo>
                  <a:pt x="1281" y="16344"/>
                  <a:pt x="1219" y="16344"/>
                  <a:pt x="1187" y="16344"/>
                </a:cubicBezTo>
                <a:close/>
                <a:moveTo>
                  <a:pt x="1312" y="16250"/>
                </a:moveTo>
                <a:cubicBezTo>
                  <a:pt x="1312" y="16250"/>
                  <a:pt x="1312" y="16250"/>
                  <a:pt x="1312" y="16250"/>
                </a:cubicBezTo>
                <a:cubicBezTo>
                  <a:pt x="1344" y="16250"/>
                  <a:pt x="1375" y="16219"/>
                  <a:pt x="1406" y="16219"/>
                </a:cubicBezTo>
                <a:cubicBezTo>
                  <a:pt x="1375" y="16219"/>
                  <a:pt x="1344" y="16250"/>
                  <a:pt x="1312" y="16250"/>
                </a:cubicBezTo>
                <a:close/>
                <a:moveTo>
                  <a:pt x="28625" y="8062"/>
                </a:moveTo>
                <a:cubicBezTo>
                  <a:pt x="28656" y="8062"/>
                  <a:pt x="28656" y="8062"/>
                  <a:pt x="28656" y="8031"/>
                </a:cubicBezTo>
                <a:cubicBezTo>
                  <a:pt x="28656" y="8062"/>
                  <a:pt x="28656" y="8062"/>
                  <a:pt x="28625" y="8062"/>
                </a:cubicBezTo>
                <a:close/>
                <a:moveTo>
                  <a:pt x="28594" y="8062"/>
                </a:moveTo>
                <a:cubicBezTo>
                  <a:pt x="28562" y="8062"/>
                  <a:pt x="28531" y="8062"/>
                  <a:pt x="28531" y="8062"/>
                </a:cubicBezTo>
                <a:cubicBezTo>
                  <a:pt x="28531" y="8062"/>
                  <a:pt x="28562" y="8062"/>
                  <a:pt x="28594" y="8062"/>
                </a:cubicBezTo>
                <a:close/>
                <a:moveTo>
                  <a:pt x="16531" y="625"/>
                </a:moveTo>
                <a:cubicBezTo>
                  <a:pt x="16531" y="625"/>
                  <a:pt x="16531" y="625"/>
                  <a:pt x="16531" y="625"/>
                </a:cubicBezTo>
                <a:cubicBezTo>
                  <a:pt x="16562" y="594"/>
                  <a:pt x="16562" y="594"/>
                  <a:pt x="16562" y="594"/>
                </a:cubicBezTo>
                <a:cubicBezTo>
                  <a:pt x="16562" y="594"/>
                  <a:pt x="16562" y="594"/>
                  <a:pt x="16531" y="625"/>
                </a:cubicBezTo>
                <a:close/>
                <a:moveTo>
                  <a:pt x="14187" y="2469"/>
                </a:moveTo>
                <a:cubicBezTo>
                  <a:pt x="14187" y="2437"/>
                  <a:pt x="14187" y="2437"/>
                  <a:pt x="14187" y="2406"/>
                </a:cubicBezTo>
                <a:cubicBezTo>
                  <a:pt x="14187" y="2406"/>
                  <a:pt x="14187" y="2406"/>
                  <a:pt x="14187" y="2406"/>
                </a:cubicBezTo>
                <a:cubicBezTo>
                  <a:pt x="14187" y="2437"/>
                  <a:pt x="14187" y="2437"/>
                  <a:pt x="14187" y="2469"/>
                </a:cubicBezTo>
                <a:close/>
                <a:moveTo>
                  <a:pt x="14906" y="3469"/>
                </a:moveTo>
                <a:cubicBezTo>
                  <a:pt x="14906" y="3469"/>
                  <a:pt x="14937" y="3469"/>
                  <a:pt x="14906" y="3469"/>
                </a:cubicBezTo>
                <a:cubicBezTo>
                  <a:pt x="14937" y="3469"/>
                  <a:pt x="14906" y="3469"/>
                  <a:pt x="14906" y="3469"/>
                </a:cubicBezTo>
                <a:close/>
                <a:moveTo>
                  <a:pt x="15062" y="3469"/>
                </a:moveTo>
                <a:cubicBezTo>
                  <a:pt x="15062" y="3469"/>
                  <a:pt x="15062" y="3469"/>
                  <a:pt x="15062" y="3469"/>
                </a:cubicBezTo>
                <a:cubicBezTo>
                  <a:pt x="15062" y="3437"/>
                  <a:pt x="15062" y="3406"/>
                  <a:pt x="15094" y="3406"/>
                </a:cubicBezTo>
                <a:cubicBezTo>
                  <a:pt x="15062" y="3406"/>
                  <a:pt x="15062" y="3437"/>
                  <a:pt x="15062" y="3469"/>
                </a:cubicBezTo>
                <a:close/>
                <a:moveTo>
                  <a:pt x="15250" y="2969"/>
                </a:moveTo>
                <a:cubicBezTo>
                  <a:pt x="15250" y="2969"/>
                  <a:pt x="15250" y="2969"/>
                  <a:pt x="15250" y="3000"/>
                </a:cubicBezTo>
                <a:cubicBezTo>
                  <a:pt x="15250" y="2969"/>
                  <a:pt x="15250" y="2969"/>
                  <a:pt x="15250" y="2969"/>
                </a:cubicBezTo>
                <a:close/>
                <a:moveTo>
                  <a:pt x="15906" y="3250"/>
                </a:moveTo>
                <a:cubicBezTo>
                  <a:pt x="15906" y="3250"/>
                  <a:pt x="15937" y="3187"/>
                  <a:pt x="15937" y="3156"/>
                </a:cubicBezTo>
                <a:cubicBezTo>
                  <a:pt x="15937" y="3156"/>
                  <a:pt x="15937" y="3156"/>
                  <a:pt x="15937" y="3156"/>
                </a:cubicBezTo>
                <a:cubicBezTo>
                  <a:pt x="15937" y="3187"/>
                  <a:pt x="15906" y="3250"/>
                  <a:pt x="15906" y="3250"/>
                </a:cubicBezTo>
                <a:close/>
                <a:moveTo>
                  <a:pt x="15937" y="3156"/>
                </a:moveTo>
                <a:cubicBezTo>
                  <a:pt x="15937" y="3156"/>
                  <a:pt x="15937" y="3156"/>
                  <a:pt x="15937" y="3156"/>
                </a:cubicBezTo>
                <a:cubicBezTo>
                  <a:pt x="15969" y="3156"/>
                  <a:pt x="15969" y="3125"/>
                  <a:pt x="16000" y="3125"/>
                </a:cubicBezTo>
                <a:cubicBezTo>
                  <a:pt x="15969" y="3125"/>
                  <a:pt x="15969" y="3156"/>
                  <a:pt x="15937" y="3156"/>
                </a:cubicBezTo>
                <a:close/>
                <a:moveTo>
                  <a:pt x="2219" y="5125"/>
                </a:moveTo>
                <a:cubicBezTo>
                  <a:pt x="2250" y="5156"/>
                  <a:pt x="2312" y="5156"/>
                  <a:pt x="2344" y="5156"/>
                </a:cubicBezTo>
                <a:cubicBezTo>
                  <a:pt x="2344" y="5156"/>
                  <a:pt x="2344" y="5156"/>
                  <a:pt x="2344" y="5156"/>
                </a:cubicBezTo>
                <a:cubicBezTo>
                  <a:pt x="2312" y="5156"/>
                  <a:pt x="2250" y="5156"/>
                  <a:pt x="2219" y="5125"/>
                </a:cubicBezTo>
                <a:close/>
                <a:moveTo>
                  <a:pt x="2781" y="5344"/>
                </a:moveTo>
                <a:cubicBezTo>
                  <a:pt x="2781" y="5344"/>
                  <a:pt x="2781" y="5344"/>
                  <a:pt x="2781" y="5344"/>
                </a:cubicBezTo>
                <a:cubicBezTo>
                  <a:pt x="2844" y="5344"/>
                  <a:pt x="2906" y="5375"/>
                  <a:pt x="2969" y="5406"/>
                </a:cubicBezTo>
                <a:cubicBezTo>
                  <a:pt x="2906" y="5375"/>
                  <a:pt x="2844" y="5344"/>
                  <a:pt x="2781" y="5344"/>
                </a:cubicBezTo>
                <a:close/>
                <a:moveTo>
                  <a:pt x="7656" y="2969"/>
                </a:moveTo>
                <a:cubicBezTo>
                  <a:pt x="7625" y="3000"/>
                  <a:pt x="7625" y="3000"/>
                  <a:pt x="7594" y="3031"/>
                </a:cubicBezTo>
                <a:cubicBezTo>
                  <a:pt x="7594" y="3062"/>
                  <a:pt x="7594" y="3094"/>
                  <a:pt x="7594" y="3125"/>
                </a:cubicBezTo>
                <a:cubicBezTo>
                  <a:pt x="7594" y="3094"/>
                  <a:pt x="7594" y="3062"/>
                  <a:pt x="7594" y="3031"/>
                </a:cubicBezTo>
                <a:cubicBezTo>
                  <a:pt x="7562" y="3031"/>
                  <a:pt x="7562" y="3031"/>
                  <a:pt x="7562" y="3031"/>
                </a:cubicBezTo>
                <a:cubicBezTo>
                  <a:pt x="7562" y="3031"/>
                  <a:pt x="7594" y="3031"/>
                  <a:pt x="7594" y="3031"/>
                </a:cubicBezTo>
                <a:cubicBezTo>
                  <a:pt x="7625" y="3000"/>
                  <a:pt x="7625" y="3000"/>
                  <a:pt x="7656" y="2969"/>
                </a:cubicBezTo>
                <a:close/>
                <a:moveTo>
                  <a:pt x="7656" y="2969"/>
                </a:moveTo>
                <a:cubicBezTo>
                  <a:pt x="7656" y="2969"/>
                  <a:pt x="7687" y="2969"/>
                  <a:pt x="7687" y="2969"/>
                </a:cubicBezTo>
                <a:cubicBezTo>
                  <a:pt x="7687" y="2969"/>
                  <a:pt x="7656" y="2969"/>
                  <a:pt x="7656" y="2969"/>
                </a:cubicBezTo>
                <a:close/>
                <a:moveTo>
                  <a:pt x="7781" y="3062"/>
                </a:moveTo>
                <a:cubicBezTo>
                  <a:pt x="7781" y="3062"/>
                  <a:pt x="7750" y="3062"/>
                  <a:pt x="7750" y="3062"/>
                </a:cubicBezTo>
                <a:cubicBezTo>
                  <a:pt x="7750" y="3062"/>
                  <a:pt x="7781" y="3062"/>
                  <a:pt x="7781" y="3062"/>
                </a:cubicBezTo>
                <a:close/>
                <a:moveTo>
                  <a:pt x="1594" y="13344"/>
                </a:moveTo>
                <a:cubicBezTo>
                  <a:pt x="1594" y="13281"/>
                  <a:pt x="1625" y="13250"/>
                  <a:pt x="1625" y="13219"/>
                </a:cubicBezTo>
                <a:cubicBezTo>
                  <a:pt x="1625" y="13219"/>
                  <a:pt x="1625" y="13219"/>
                  <a:pt x="1625" y="13219"/>
                </a:cubicBezTo>
                <a:cubicBezTo>
                  <a:pt x="1625" y="13250"/>
                  <a:pt x="1594" y="13281"/>
                  <a:pt x="1594" y="13344"/>
                </a:cubicBezTo>
                <a:close/>
                <a:moveTo>
                  <a:pt x="1687" y="13094"/>
                </a:moveTo>
                <a:cubicBezTo>
                  <a:pt x="1719" y="13062"/>
                  <a:pt x="1719" y="13031"/>
                  <a:pt x="1750" y="13000"/>
                </a:cubicBezTo>
                <a:cubicBezTo>
                  <a:pt x="1719" y="13031"/>
                  <a:pt x="1719" y="13062"/>
                  <a:pt x="1687" y="13094"/>
                </a:cubicBezTo>
                <a:cubicBezTo>
                  <a:pt x="1687" y="13094"/>
                  <a:pt x="1656" y="13125"/>
                  <a:pt x="1656" y="13156"/>
                </a:cubicBezTo>
                <a:cubicBezTo>
                  <a:pt x="1656" y="13125"/>
                  <a:pt x="1687" y="13094"/>
                  <a:pt x="1687" y="13094"/>
                </a:cubicBezTo>
                <a:close/>
                <a:moveTo>
                  <a:pt x="1719" y="14469"/>
                </a:moveTo>
                <a:cubicBezTo>
                  <a:pt x="1719" y="14469"/>
                  <a:pt x="1687" y="14469"/>
                  <a:pt x="1656" y="14469"/>
                </a:cubicBezTo>
                <a:cubicBezTo>
                  <a:pt x="1687" y="14469"/>
                  <a:pt x="1719" y="14469"/>
                  <a:pt x="1719" y="14469"/>
                </a:cubicBezTo>
                <a:cubicBezTo>
                  <a:pt x="1750" y="14437"/>
                  <a:pt x="1750" y="14437"/>
                  <a:pt x="1750" y="14437"/>
                </a:cubicBezTo>
                <a:cubicBezTo>
                  <a:pt x="1750" y="14437"/>
                  <a:pt x="1750" y="14437"/>
                  <a:pt x="1719" y="14469"/>
                </a:cubicBezTo>
                <a:close/>
                <a:moveTo>
                  <a:pt x="1781" y="12656"/>
                </a:moveTo>
                <a:cubicBezTo>
                  <a:pt x="1781" y="12656"/>
                  <a:pt x="1781" y="12656"/>
                  <a:pt x="1781" y="12656"/>
                </a:cubicBezTo>
                <a:cubicBezTo>
                  <a:pt x="1781" y="12656"/>
                  <a:pt x="1812" y="12656"/>
                  <a:pt x="1812" y="12656"/>
                </a:cubicBezTo>
                <a:cubicBezTo>
                  <a:pt x="1812" y="12656"/>
                  <a:pt x="1781" y="12656"/>
                  <a:pt x="1781" y="12656"/>
                </a:cubicBezTo>
                <a:close/>
                <a:moveTo>
                  <a:pt x="2281" y="7312"/>
                </a:moveTo>
                <a:cubicBezTo>
                  <a:pt x="2281" y="7312"/>
                  <a:pt x="2281" y="7312"/>
                  <a:pt x="2281" y="7312"/>
                </a:cubicBezTo>
                <a:cubicBezTo>
                  <a:pt x="2281" y="7312"/>
                  <a:pt x="2281" y="7281"/>
                  <a:pt x="2250" y="7281"/>
                </a:cubicBezTo>
                <a:cubicBezTo>
                  <a:pt x="2281" y="7281"/>
                  <a:pt x="2281" y="7312"/>
                  <a:pt x="2281" y="7312"/>
                </a:cubicBezTo>
                <a:close/>
                <a:moveTo>
                  <a:pt x="2281" y="13594"/>
                </a:moveTo>
                <a:cubicBezTo>
                  <a:pt x="2312" y="13562"/>
                  <a:pt x="2344" y="13531"/>
                  <a:pt x="2344" y="13500"/>
                </a:cubicBezTo>
                <a:cubicBezTo>
                  <a:pt x="2344" y="13469"/>
                  <a:pt x="2281" y="13406"/>
                  <a:pt x="2250" y="13406"/>
                </a:cubicBezTo>
                <a:cubicBezTo>
                  <a:pt x="2281" y="13406"/>
                  <a:pt x="2344" y="13469"/>
                  <a:pt x="2344" y="13500"/>
                </a:cubicBezTo>
                <a:cubicBezTo>
                  <a:pt x="2344" y="13531"/>
                  <a:pt x="2312" y="13562"/>
                  <a:pt x="2281" y="13594"/>
                </a:cubicBezTo>
                <a:close/>
                <a:moveTo>
                  <a:pt x="2406" y="13656"/>
                </a:moveTo>
                <a:cubicBezTo>
                  <a:pt x="2406" y="13656"/>
                  <a:pt x="2437" y="13656"/>
                  <a:pt x="2437" y="13656"/>
                </a:cubicBezTo>
                <a:cubicBezTo>
                  <a:pt x="2406" y="13656"/>
                  <a:pt x="2406" y="13625"/>
                  <a:pt x="2406" y="13625"/>
                </a:cubicBezTo>
                <a:cubicBezTo>
                  <a:pt x="2406" y="13625"/>
                  <a:pt x="2406" y="13656"/>
                  <a:pt x="2437" y="13656"/>
                </a:cubicBezTo>
                <a:cubicBezTo>
                  <a:pt x="2437" y="13656"/>
                  <a:pt x="2406" y="13656"/>
                  <a:pt x="2406" y="13656"/>
                </a:cubicBezTo>
                <a:close/>
                <a:moveTo>
                  <a:pt x="2250" y="8781"/>
                </a:moveTo>
                <a:cubicBezTo>
                  <a:pt x="2344" y="8781"/>
                  <a:pt x="2406" y="8812"/>
                  <a:pt x="2437" y="8906"/>
                </a:cubicBezTo>
                <a:cubicBezTo>
                  <a:pt x="2531" y="8906"/>
                  <a:pt x="2594" y="8937"/>
                  <a:pt x="2656" y="8937"/>
                </a:cubicBezTo>
                <a:cubicBezTo>
                  <a:pt x="2594" y="8937"/>
                  <a:pt x="2531" y="8906"/>
                  <a:pt x="2437" y="8906"/>
                </a:cubicBezTo>
                <a:cubicBezTo>
                  <a:pt x="2406" y="8812"/>
                  <a:pt x="2344" y="8781"/>
                  <a:pt x="2250" y="8781"/>
                </a:cubicBezTo>
                <a:close/>
                <a:moveTo>
                  <a:pt x="2500" y="13781"/>
                </a:moveTo>
                <a:cubicBezTo>
                  <a:pt x="2531" y="13781"/>
                  <a:pt x="2531" y="13781"/>
                  <a:pt x="2531" y="13781"/>
                </a:cubicBezTo>
                <a:cubicBezTo>
                  <a:pt x="2531" y="13781"/>
                  <a:pt x="2531" y="13781"/>
                  <a:pt x="2531" y="13781"/>
                </a:cubicBezTo>
                <a:cubicBezTo>
                  <a:pt x="2531" y="13781"/>
                  <a:pt x="2531" y="13781"/>
                  <a:pt x="2500" y="13781"/>
                </a:cubicBezTo>
                <a:close/>
                <a:moveTo>
                  <a:pt x="2437" y="9375"/>
                </a:moveTo>
                <a:cubicBezTo>
                  <a:pt x="2500" y="9406"/>
                  <a:pt x="2562" y="9437"/>
                  <a:pt x="2625" y="9437"/>
                </a:cubicBezTo>
                <a:cubicBezTo>
                  <a:pt x="2562" y="9437"/>
                  <a:pt x="2500" y="9406"/>
                  <a:pt x="2437" y="9375"/>
                </a:cubicBezTo>
                <a:close/>
                <a:moveTo>
                  <a:pt x="2906" y="9500"/>
                </a:moveTo>
                <a:cubicBezTo>
                  <a:pt x="2812" y="9500"/>
                  <a:pt x="2750" y="9469"/>
                  <a:pt x="2656" y="9437"/>
                </a:cubicBezTo>
                <a:cubicBezTo>
                  <a:pt x="2656" y="9437"/>
                  <a:pt x="2656" y="9437"/>
                  <a:pt x="2656" y="9437"/>
                </a:cubicBezTo>
                <a:cubicBezTo>
                  <a:pt x="2750" y="9469"/>
                  <a:pt x="2812" y="9500"/>
                  <a:pt x="2906" y="9500"/>
                </a:cubicBezTo>
                <a:cubicBezTo>
                  <a:pt x="2937" y="9562"/>
                  <a:pt x="3000" y="9562"/>
                  <a:pt x="3062" y="9562"/>
                </a:cubicBezTo>
                <a:cubicBezTo>
                  <a:pt x="3000" y="9562"/>
                  <a:pt x="2937" y="9562"/>
                  <a:pt x="2906" y="9500"/>
                </a:cubicBezTo>
                <a:close/>
                <a:moveTo>
                  <a:pt x="3156" y="10062"/>
                </a:moveTo>
                <a:cubicBezTo>
                  <a:pt x="3187" y="10062"/>
                  <a:pt x="3187" y="10062"/>
                  <a:pt x="3219" y="10062"/>
                </a:cubicBezTo>
                <a:cubicBezTo>
                  <a:pt x="3187" y="10062"/>
                  <a:pt x="3187" y="10062"/>
                  <a:pt x="3156" y="10062"/>
                </a:cubicBezTo>
                <a:close/>
                <a:moveTo>
                  <a:pt x="3219" y="10062"/>
                </a:moveTo>
                <a:cubicBezTo>
                  <a:pt x="3219" y="10062"/>
                  <a:pt x="3219" y="10062"/>
                  <a:pt x="3219" y="10062"/>
                </a:cubicBezTo>
                <a:cubicBezTo>
                  <a:pt x="3219" y="10062"/>
                  <a:pt x="3219" y="10062"/>
                  <a:pt x="3219" y="10062"/>
                </a:cubicBezTo>
                <a:close/>
                <a:moveTo>
                  <a:pt x="3344" y="8625"/>
                </a:moveTo>
                <a:cubicBezTo>
                  <a:pt x="3312" y="8656"/>
                  <a:pt x="3281" y="8656"/>
                  <a:pt x="3281" y="8687"/>
                </a:cubicBezTo>
                <a:cubicBezTo>
                  <a:pt x="3281" y="8656"/>
                  <a:pt x="3312" y="8656"/>
                  <a:pt x="3344" y="8625"/>
                </a:cubicBezTo>
                <a:cubicBezTo>
                  <a:pt x="3344" y="8594"/>
                  <a:pt x="3344" y="8562"/>
                  <a:pt x="3344" y="8562"/>
                </a:cubicBezTo>
                <a:cubicBezTo>
                  <a:pt x="3344" y="8562"/>
                  <a:pt x="3344" y="8594"/>
                  <a:pt x="3344" y="8625"/>
                </a:cubicBezTo>
                <a:close/>
                <a:moveTo>
                  <a:pt x="5562" y="10812"/>
                </a:moveTo>
                <a:cubicBezTo>
                  <a:pt x="5500" y="10812"/>
                  <a:pt x="5437" y="10812"/>
                  <a:pt x="5375" y="10812"/>
                </a:cubicBezTo>
                <a:cubicBezTo>
                  <a:pt x="5437" y="10812"/>
                  <a:pt x="5500" y="10812"/>
                  <a:pt x="5562" y="10812"/>
                </a:cubicBezTo>
                <a:cubicBezTo>
                  <a:pt x="5562" y="10812"/>
                  <a:pt x="5562" y="10812"/>
                  <a:pt x="5562" y="10812"/>
                </a:cubicBezTo>
                <a:close/>
                <a:moveTo>
                  <a:pt x="5344" y="7969"/>
                </a:moveTo>
                <a:cubicBezTo>
                  <a:pt x="5406" y="7875"/>
                  <a:pt x="5375" y="7781"/>
                  <a:pt x="5375" y="7687"/>
                </a:cubicBezTo>
                <a:cubicBezTo>
                  <a:pt x="5375" y="7781"/>
                  <a:pt x="5406" y="7875"/>
                  <a:pt x="5344" y="7969"/>
                </a:cubicBezTo>
                <a:close/>
                <a:moveTo>
                  <a:pt x="5500" y="8500"/>
                </a:moveTo>
                <a:cubicBezTo>
                  <a:pt x="5187" y="8500"/>
                  <a:pt x="4906" y="8531"/>
                  <a:pt x="4625" y="8531"/>
                </a:cubicBezTo>
                <a:cubicBezTo>
                  <a:pt x="4625" y="8531"/>
                  <a:pt x="4625" y="8531"/>
                  <a:pt x="4625" y="8531"/>
                </a:cubicBezTo>
                <a:cubicBezTo>
                  <a:pt x="4906" y="8531"/>
                  <a:pt x="5187" y="8500"/>
                  <a:pt x="5500" y="8500"/>
                </a:cubicBezTo>
                <a:close/>
                <a:moveTo>
                  <a:pt x="4969" y="8625"/>
                </a:moveTo>
                <a:cubicBezTo>
                  <a:pt x="4906" y="8625"/>
                  <a:pt x="4844" y="8625"/>
                  <a:pt x="4781" y="8625"/>
                </a:cubicBezTo>
                <a:cubicBezTo>
                  <a:pt x="4844" y="8625"/>
                  <a:pt x="4906" y="8625"/>
                  <a:pt x="4969" y="8625"/>
                </a:cubicBezTo>
                <a:close/>
                <a:moveTo>
                  <a:pt x="3906" y="8562"/>
                </a:moveTo>
                <a:cubicBezTo>
                  <a:pt x="4094" y="8562"/>
                  <a:pt x="4312" y="8531"/>
                  <a:pt x="4500" y="8531"/>
                </a:cubicBezTo>
                <a:cubicBezTo>
                  <a:pt x="4531" y="8531"/>
                  <a:pt x="4531" y="8531"/>
                  <a:pt x="4562" y="8531"/>
                </a:cubicBezTo>
                <a:cubicBezTo>
                  <a:pt x="4531" y="8531"/>
                  <a:pt x="4531" y="8531"/>
                  <a:pt x="4500" y="8531"/>
                </a:cubicBezTo>
                <a:cubicBezTo>
                  <a:pt x="4312" y="8531"/>
                  <a:pt x="4094" y="8562"/>
                  <a:pt x="3906" y="8562"/>
                </a:cubicBezTo>
                <a:close/>
                <a:moveTo>
                  <a:pt x="4469" y="12031"/>
                </a:moveTo>
                <a:cubicBezTo>
                  <a:pt x="4562" y="12000"/>
                  <a:pt x="4656" y="11969"/>
                  <a:pt x="4750" y="11937"/>
                </a:cubicBezTo>
                <a:cubicBezTo>
                  <a:pt x="4812" y="12031"/>
                  <a:pt x="4781" y="12031"/>
                  <a:pt x="4750" y="12062"/>
                </a:cubicBezTo>
                <a:cubicBezTo>
                  <a:pt x="4781" y="12031"/>
                  <a:pt x="4812" y="12031"/>
                  <a:pt x="4750" y="11937"/>
                </a:cubicBezTo>
                <a:cubicBezTo>
                  <a:pt x="4656" y="11969"/>
                  <a:pt x="4562" y="12000"/>
                  <a:pt x="4469" y="12031"/>
                </a:cubicBezTo>
                <a:close/>
                <a:moveTo>
                  <a:pt x="6594" y="9687"/>
                </a:moveTo>
                <a:cubicBezTo>
                  <a:pt x="6594" y="9687"/>
                  <a:pt x="6594" y="9656"/>
                  <a:pt x="6594" y="9656"/>
                </a:cubicBezTo>
                <a:cubicBezTo>
                  <a:pt x="6594" y="9656"/>
                  <a:pt x="6594" y="9687"/>
                  <a:pt x="6594" y="9687"/>
                </a:cubicBezTo>
                <a:close/>
                <a:moveTo>
                  <a:pt x="6594" y="9656"/>
                </a:moveTo>
                <a:cubicBezTo>
                  <a:pt x="6594" y="9625"/>
                  <a:pt x="6594" y="9625"/>
                  <a:pt x="6594" y="9625"/>
                </a:cubicBezTo>
                <a:cubicBezTo>
                  <a:pt x="6594" y="9625"/>
                  <a:pt x="6594" y="9625"/>
                  <a:pt x="6594" y="9656"/>
                </a:cubicBezTo>
                <a:close/>
                <a:moveTo>
                  <a:pt x="6156" y="8719"/>
                </a:moveTo>
                <a:cubicBezTo>
                  <a:pt x="6156" y="8719"/>
                  <a:pt x="6156" y="8719"/>
                  <a:pt x="6156" y="8719"/>
                </a:cubicBezTo>
                <a:cubicBezTo>
                  <a:pt x="6156" y="8719"/>
                  <a:pt x="6156" y="8719"/>
                  <a:pt x="6156" y="8719"/>
                </a:cubicBezTo>
                <a:close/>
                <a:moveTo>
                  <a:pt x="6156" y="8750"/>
                </a:moveTo>
                <a:cubicBezTo>
                  <a:pt x="6125" y="8750"/>
                  <a:pt x="6062" y="8750"/>
                  <a:pt x="6031" y="8781"/>
                </a:cubicBezTo>
                <a:cubicBezTo>
                  <a:pt x="6062" y="8750"/>
                  <a:pt x="6125" y="8750"/>
                  <a:pt x="6156" y="8750"/>
                </a:cubicBezTo>
                <a:cubicBezTo>
                  <a:pt x="6156" y="8750"/>
                  <a:pt x="6156" y="8750"/>
                  <a:pt x="6156" y="8750"/>
                </a:cubicBezTo>
                <a:cubicBezTo>
                  <a:pt x="6156" y="8750"/>
                  <a:pt x="6156" y="8750"/>
                  <a:pt x="6156" y="8750"/>
                </a:cubicBezTo>
                <a:close/>
                <a:moveTo>
                  <a:pt x="6156" y="8750"/>
                </a:moveTo>
                <a:cubicBezTo>
                  <a:pt x="6156" y="8750"/>
                  <a:pt x="6156" y="8750"/>
                  <a:pt x="6156" y="8719"/>
                </a:cubicBezTo>
                <a:cubicBezTo>
                  <a:pt x="6156" y="8750"/>
                  <a:pt x="6156" y="8750"/>
                  <a:pt x="6156" y="8750"/>
                </a:cubicBezTo>
                <a:close/>
                <a:moveTo>
                  <a:pt x="6187" y="9844"/>
                </a:moveTo>
                <a:cubicBezTo>
                  <a:pt x="6250" y="9750"/>
                  <a:pt x="6250" y="9687"/>
                  <a:pt x="6219" y="9594"/>
                </a:cubicBezTo>
                <a:cubicBezTo>
                  <a:pt x="6250" y="9687"/>
                  <a:pt x="6250" y="9750"/>
                  <a:pt x="6187" y="9844"/>
                </a:cubicBezTo>
                <a:close/>
                <a:moveTo>
                  <a:pt x="6250" y="8531"/>
                </a:moveTo>
                <a:cubicBezTo>
                  <a:pt x="6219" y="8562"/>
                  <a:pt x="6219" y="8594"/>
                  <a:pt x="6187" y="8625"/>
                </a:cubicBezTo>
                <a:cubicBezTo>
                  <a:pt x="6219" y="8594"/>
                  <a:pt x="6219" y="8562"/>
                  <a:pt x="6250" y="8531"/>
                </a:cubicBezTo>
                <a:cubicBezTo>
                  <a:pt x="6250" y="8500"/>
                  <a:pt x="6250" y="8469"/>
                  <a:pt x="6250" y="8437"/>
                </a:cubicBezTo>
                <a:cubicBezTo>
                  <a:pt x="6250" y="8469"/>
                  <a:pt x="6250" y="8500"/>
                  <a:pt x="6250" y="8531"/>
                </a:cubicBezTo>
                <a:close/>
                <a:moveTo>
                  <a:pt x="6562" y="9531"/>
                </a:moveTo>
                <a:cubicBezTo>
                  <a:pt x="6562" y="9562"/>
                  <a:pt x="6562" y="9562"/>
                  <a:pt x="6562" y="9562"/>
                </a:cubicBezTo>
                <a:cubicBezTo>
                  <a:pt x="6562" y="9562"/>
                  <a:pt x="6562" y="9562"/>
                  <a:pt x="6562" y="9531"/>
                </a:cubicBezTo>
                <a:close/>
                <a:moveTo>
                  <a:pt x="6594" y="9594"/>
                </a:moveTo>
                <a:cubicBezTo>
                  <a:pt x="6594" y="9594"/>
                  <a:pt x="6594" y="9594"/>
                  <a:pt x="6562" y="9562"/>
                </a:cubicBezTo>
                <a:cubicBezTo>
                  <a:pt x="6594" y="9594"/>
                  <a:pt x="6594" y="9594"/>
                  <a:pt x="6594" y="9594"/>
                </a:cubicBezTo>
                <a:close/>
                <a:moveTo>
                  <a:pt x="6594" y="9812"/>
                </a:moveTo>
                <a:cubicBezTo>
                  <a:pt x="6594" y="9812"/>
                  <a:pt x="6594" y="9812"/>
                  <a:pt x="6594" y="9812"/>
                </a:cubicBezTo>
                <a:cubicBezTo>
                  <a:pt x="6687" y="9781"/>
                  <a:pt x="6750" y="9750"/>
                  <a:pt x="6812" y="9687"/>
                </a:cubicBezTo>
                <a:cubicBezTo>
                  <a:pt x="6750" y="9750"/>
                  <a:pt x="6687" y="9781"/>
                  <a:pt x="6594" y="9812"/>
                </a:cubicBezTo>
                <a:close/>
                <a:moveTo>
                  <a:pt x="7187" y="8562"/>
                </a:moveTo>
                <a:cubicBezTo>
                  <a:pt x="7125" y="8562"/>
                  <a:pt x="7062" y="8594"/>
                  <a:pt x="7000" y="8594"/>
                </a:cubicBezTo>
                <a:cubicBezTo>
                  <a:pt x="7062" y="8594"/>
                  <a:pt x="7125" y="8562"/>
                  <a:pt x="7187" y="8562"/>
                </a:cubicBezTo>
                <a:close/>
                <a:moveTo>
                  <a:pt x="7125" y="9812"/>
                </a:moveTo>
                <a:cubicBezTo>
                  <a:pt x="7125" y="9812"/>
                  <a:pt x="7125" y="9812"/>
                  <a:pt x="7125" y="9812"/>
                </a:cubicBezTo>
                <a:cubicBezTo>
                  <a:pt x="7156" y="9781"/>
                  <a:pt x="7219" y="9750"/>
                  <a:pt x="7250" y="9750"/>
                </a:cubicBezTo>
                <a:cubicBezTo>
                  <a:pt x="7219" y="9750"/>
                  <a:pt x="7156" y="9781"/>
                  <a:pt x="7125" y="9812"/>
                </a:cubicBezTo>
                <a:close/>
                <a:moveTo>
                  <a:pt x="9187" y="6031"/>
                </a:moveTo>
                <a:cubicBezTo>
                  <a:pt x="9250" y="6031"/>
                  <a:pt x="9281" y="6031"/>
                  <a:pt x="9312" y="6031"/>
                </a:cubicBezTo>
                <a:cubicBezTo>
                  <a:pt x="9281" y="6031"/>
                  <a:pt x="9250" y="6031"/>
                  <a:pt x="9187" y="6031"/>
                </a:cubicBezTo>
                <a:close/>
                <a:moveTo>
                  <a:pt x="9312" y="8406"/>
                </a:moveTo>
                <a:cubicBezTo>
                  <a:pt x="9312" y="8406"/>
                  <a:pt x="9312" y="8406"/>
                  <a:pt x="9281" y="8375"/>
                </a:cubicBezTo>
                <a:cubicBezTo>
                  <a:pt x="9312" y="8406"/>
                  <a:pt x="9312" y="8406"/>
                  <a:pt x="9312" y="8406"/>
                </a:cubicBezTo>
                <a:close/>
                <a:moveTo>
                  <a:pt x="9250" y="6719"/>
                </a:moveTo>
                <a:cubicBezTo>
                  <a:pt x="9250" y="6719"/>
                  <a:pt x="9250" y="6719"/>
                  <a:pt x="9250" y="6719"/>
                </a:cubicBezTo>
                <a:cubicBezTo>
                  <a:pt x="9156" y="6750"/>
                  <a:pt x="9031" y="6781"/>
                  <a:pt x="8937" y="6812"/>
                </a:cubicBezTo>
                <a:cubicBezTo>
                  <a:pt x="9031" y="6781"/>
                  <a:pt x="9156" y="6750"/>
                  <a:pt x="9250" y="6719"/>
                </a:cubicBezTo>
                <a:close/>
                <a:moveTo>
                  <a:pt x="8969" y="8812"/>
                </a:moveTo>
                <a:cubicBezTo>
                  <a:pt x="9000" y="8906"/>
                  <a:pt x="8906" y="8937"/>
                  <a:pt x="8844" y="8937"/>
                </a:cubicBezTo>
                <a:cubicBezTo>
                  <a:pt x="8906" y="8937"/>
                  <a:pt x="9000" y="8906"/>
                  <a:pt x="8969" y="8812"/>
                </a:cubicBezTo>
                <a:close/>
                <a:moveTo>
                  <a:pt x="8937" y="8656"/>
                </a:moveTo>
                <a:cubicBezTo>
                  <a:pt x="8937" y="8687"/>
                  <a:pt x="8906" y="8719"/>
                  <a:pt x="8906" y="8750"/>
                </a:cubicBezTo>
                <a:cubicBezTo>
                  <a:pt x="8906" y="8750"/>
                  <a:pt x="8906" y="8750"/>
                  <a:pt x="8906" y="8750"/>
                </a:cubicBezTo>
                <a:cubicBezTo>
                  <a:pt x="8906" y="8719"/>
                  <a:pt x="8937" y="8687"/>
                  <a:pt x="8937" y="8656"/>
                </a:cubicBezTo>
                <a:close/>
                <a:moveTo>
                  <a:pt x="8531" y="8937"/>
                </a:moveTo>
                <a:cubicBezTo>
                  <a:pt x="8500" y="8906"/>
                  <a:pt x="8469" y="8875"/>
                  <a:pt x="8469" y="8844"/>
                </a:cubicBezTo>
                <a:cubicBezTo>
                  <a:pt x="8469" y="8875"/>
                  <a:pt x="8500" y="8906"/>
                  <a:pt x="8531" y="8937"/>
                </a:cubicBezTo>
                <a:close/>
                <a:moveTo>
                  <a:pt x="8500" y="7187"/>
                </a:moveTo>
                <a:cubicBezTo>
                  <a:pt x="8469" y="7187"/>
                  <a:pt x="8469" y="7156"/>
                  <a:pt x="8469" y="7094"/>
                </a:cubicBezTo>
                <a:cubicBezTo>
                  <a:pt x="8437" y="7062"/>
                  <a:pt x="8406" y="7062"/>
                  <a:pt x="8375" y="7062"/>
                </a:cubicBezTo>
                <a:cubicBezTo>
                  <a:pt x="8406" y="7062"/>
                  <a:pt x="8437" y="7062"/>
                  <a:pt x="8469" y="7094"/>
                </a:cubicBezTo>
                <a:cubicBezTo>
                  <a:pt x="8469" y="7156"/>
                  <a:pt x="8469" y="7187"/>
                  <a:pt x="8500" y="7187"/>
                </a:cubicBezTo>
                <a:close/>
                <a:moveTo>
                  <a:pt x="8437" y="8750"/>
                </a:moveTo>
                <a:cubicBezTo>
                  <a:pt x="8375" y="8781"/>
                  <a:pt x="8312" y="8750"/>
                  <a:pt x="8281" y="8750"/>
                </a:cubicBezTo>
                <a:cubicBezTo>
                  <a:pt x="8312" y="8750"/>
                  <a:pt x="8375" y="8781"/>
                  <a:pt x="8437" y="8750"/>
                </a:cubicBezTo>
                <a:cubicBezTo>
                  <a:pt x="8437" y="8750"/>
                  <a:pt x="8437" y="8750"/>
                  <a:pt x="8437" y="8750"/>
                </a:cubicBezTo>
                <a:close/>
                <a:moveTo>
                  <a:pt x="8406" y="6875"/>
                </a:moveTo>
                <a:cubicBezTo>
                  <a:pt x="8406" y="6875"/>
                  <a:pt x="8437" y="6875"/>
                  <a:pt x="8437" y="6875"/>
                </a:cubicBezTo>
                <a:cubicBezTo>
                  <a:pt x="8437" y="6875"/>
                  <a:pt x="8406" y="6875"/>
                  <a:pt x="8406" y="6875"/>
                </a:cubicBezTo>
                <a:close/>
                <a:moveTo>
                  <a:pt x="8375" y="6875"/>
                </a:moveTo>
                <a:cubicBezTo>
                  <a:pt x="8344" y="6844"/>
                  <a:pt x="8281" y="6844"/>
                  <a:pt x="8281" y="6781"/>
                </a:cubicBezTo>
                <a:cubicBezTo>
                  <a:pt x="8281" y="6781"/>
                  <a:pt x="8281" y="6781"/>
                  <a:pt x="8281" y="6781"/>
                </a:cubicBezTo>
                <a:cubicBezTo>
                  <a:pt x="8281" y="6844"/>
                  <a:pt x="8344" y="6844"/>
                  <a:pt x="8375" y="6875"/>
                </a:cubicBezTo>
                <a:close/>
                <a:moveTo>
                  <a:pt x="8281" y="6781"/>
                </a:moveTo>
                <a:cubicBezTo>
                  <a:pt x="8281" y="6781"/>
                  <a:pt x="8281" y="6781"/>
                  <a:pt x="8281" y="6781"/>
                </a:cubicBezTo>
                <a:cubicBezTo>
                  <a:pt x="8281" y="6781"/>
                  <a:pt x="8250" y="6750"/>
                  <a:pt x="8250" y="6750"/>
                </a:cubicBezTo>
                <a:cubicBezTo>
                  <a:pt x="8250" y="6750"/>
                  <a:pt x="8281" y="6781"/>
                  <a:pt x="8281" y="6781"/>
                </a:cubicBezTo>
                <a:close/>
                <a:moveTo>
                  <a:pt x="8344" y="7031"/>
                </a:moveTo>
                <a:cubicBezTo>
                  <a:pt x="8281" y="7000"/>
                  <a:pt x="8219" y="6969"/>
                  <a:pt x="8187" y="6937"/>
                </a:cubicBezTo>
                <a:cubicBezTo>
                  <a:pt x="8219" y="6969"/>
                  <a:pt x="8281" y="7000"/>
                  <a:pt x="8344" y="7031"/>
                </a:cubicBezTo>
                <a:close/>
                <a:moveTo>
                  <a:pt x="7500" y="10031"/>
                </a:moveTo>
                <a:cubicBezTo>
                  <a:pt x="7406" y="10094"/>
                  <a:pt x="7375" y="10031"/>
                  <a:pt x="7312" y="9969"/>
                </a:cubicBezTo>
                <a:cubicBezTo>
                  <a:pt x="7375" y="10031"/>
                  <a:pt x="7406" y="10094"/>
                  <a:pt x="7500" y="10031"/>
                </a:cubicBezTo>
                <a:cubicBezTo>
                  <a:pt x="7531" y="10094"/>
                  <a:pt x="7594" y="10125"/>
                  <a:pt x="7625" y="10156"/>
                </a:cubicBezTo>
                <a:cubicBezTo>
                  <a:pt x="7594" y="10125"/>
                  <a:pt x="7531" y="10094"/>
                  <a:pt x="7500" y="10031"/>
                </a:cubicBezTo>
                <a:close/>
                <a:moveTo>
                  <a:pt x="7687" y="8281"/>
                </a:moveTo>
                <a:cubicBezTo>
                  <a:pt x="7687" y="8281"/>
                  <a:pt x="7687" y="8250"/>
                  <a:pt x="7687" y="8250"/>
                </a:cubicBezTo>
                <a:cubicBezTo>
                  <a:pt x="7687" y="8250"/>
                  <a:pt x="7687" y="8281"/>
                  <a:pt x="7687" y="8281"/>
                </a:cubicBezTo>
                <a:cubicBezTo>
                  <a:pt x="7687" y="8281"/>
                  <a:pt x="7687" y="8281"/>
                  <a:pt x="7687" y="8281"/>
                </a:cubicBezTo>
                <a:close/>
                <a:moveTo>
                  <a:pt x="7687" y="10156"/>
                </a:moveTo>
                <a:cubicBezTo>
                  <a:pt x="7719" y="10156"/>
                  <a:pt x="7719" y="10156"/>
                  <a:pt x="7719" y="10156"/>
                </a:cubicBezTo>
                <a:cubicBezTo>
                  <a:pt x="7719" y="10094"/>
                  <a:pt x="7719" y="10000"/>
                  <a:pt x="7719" y="9937"/>
                </a:cubicBezTo>
                <a:cubicBezTo>
                  <a:pt x="7719" y="9906"/>
                  <a:pt x="7687" y="9875"/>
                  <a:pt x="7687" y="9844"/>
                </a:cubicBezTo>
                <a:cubicBezTo>
                  <a:pt x="7687" y="9875"/>
                  <a:pt x="7719" y="9906"/>
                  <a:pt x="7719" y="9937"/>
                </a:cubicBezTo>
                <a:cubicBezTo>
                  <a:pt x="7719" y="10000"/>
                  <a:pt x="7719" y="10094"/>
                  <a:pt x="7719" y="10156"/>
                </a:cubicBezTo>
                <a:cubicBezTo>
                  <a:pt x="7719" y="10156"/>
                  <a:pt x="7719" y="10156"/>
                  <a:pt x="7687" y="10156"/>
                </a:cubicBezTo>
                <a:close/>
                <a:moveTo>
                  <a:pt x="7562" y="6687"/>
                </a:moveTo>
                <a:cubicBezTo>
                  <a:pt x="7656" y="6781"/>
                  <a:pt x="7687" y="6719"/>
                  <a:pt x="7812" y="6531"/>
                </a:cubicBezTo>
                <a:cubicBezTo>
                  <a:pt x="7906" y="6469"/>
                  <a:pt x="7969" y="6469"/>
                  <a:pt x="8062" y="6500"/>
                </a:cubicBezTo>
                <a:cubicBezTo>
                  <a:pt x="7969" y="6469"/>
                  <a:pt x="7906" y="6469"/>
                  <a:pt x="7812" y="6531"/>
                </a:cubicBezTo>
                <a:cubicBezTo>
                  <a:pt x="7687" y="6719"/>
                  <a:pt x="7656" y="6781"/>
                  <a:pt x="7562" y="6687"/>
                </a:cubicBezTo>
                <a:close/>
                <a:moveTo>
                  <a:pt x="7969" y="11500"/>
                </a:moveTo>
                <a:cubicBezTo>
                  <a:pt x="7969" y="11500"/>
                  <a:pt x="7969" y="11500"/>
                  <a:pt x="7937" y="11500"/>
                </a:cubicBezTo>
                <a:cubicBezTo>
                  <a:pt x="7969" y="11500"/>
                  <a:pt x="7969" y="11500"/>
                  <a:pt x="7969" y="11500"/>
                </a:cubicBezTo>
                <a:cubicBezTo>
                  <a:pt x="8000" y="11531"/>
                  <a:pt x="8000" y="11594"/>
                  <a:pt x="8000" y="11625"/>
                </a:cubicBezTo>
                <a:cubicBezTo>
                  <a:pt x="8000" y="11594"/>
                  <a:pt x="8000" y="11531"/>
                  <a:pt x="7969" y="11500"/>
                </a:cubicBezTo>
                <a:cubicBezTo>
                  <a:pt x="7969" y="11500"/>
                  <a:pt x="7969" y="11500"/>
                  <a:pt x="7969" y="11500"/>
                </a:cubicBezTo>
                <a:cubicBezTo>
                  <a:pt x="7969" y="11500"/>
                  <a:pt x="7969" y="11500"/>
                  <a:pt x="7969" y="11500"/>
                </a:cubicBezTo>
                <a:close/>
                <a:moveTo>
                  <a:pt x="7844" y="7625"/>
                </a:moveTo>
                <a:cubicBezTo>
                  <a:pt x="7844" y="7687"/>
                  <a:pt x="7844" y="7781"/>
                  <a:pt x="7937" y="7781"/>
                </a:cubicBezTo>
                <a:cubicBezTo>
                  <a:pt x="7844" y="7781"/>
                  <a:pt x="7844" y="7687"/>
                  <a:pt x="7844" y="7625"/>
                </a:cubicBezTo>
                <a:close/>
                <a:moveTo>
                  <a:pt x="7906" y="8625"/>
                </a:moveTo>
                <a:cubicBezTo>
                  <a:pt x="7906" y="8625"/>
                  <a:pt x="7906" y="8625"/>
                  <a:pt x="7906" y="8625"/>
                </a:cubicBezTo>
                <a:cubicBezTo>
                  <a:pt x="7937" y="8594"/>
                  <a:pt x="7969" y="8562"/>
                  <a:pt x="8000" y="8562"/>
                </a:cubicBezTo>
                <a:cubicBezTo>
                  <a:pt x="7969" y="8562"/>
                  <a:pt x="7937" y="8594"/>
                  <a:pt x="7906" y="8625"/>
                </a:cubicBezTo>
                <a:close/>
                <a:moveTo>
                  <a:pt x="8000" y="11656"/>
                </a:moveTo>
                <a:cubicBezTo>
                  <a:pt x="7969" y="11656"/>
                  <a:pt x="7937" y="11656"/>
                  <a:pt x="7906" y="11625"/>
                </a:cubicBezTo>
                <a:cubicBezTo>
                  <a:pt x="7937" y="11656"/>
                  <a:pt x="7969" y="11656"/>
                  <a:pt x="8000" y="11656"/>
                </a:cubicBezTo>
                <a:cubicBezTo>
                  <a:pt x="8062" y="11719"/>
                  <a:pt x="8094" y="11750"/>
                  <a:pt x="8156" y="11812"/>
                </a:cubicBezTo>
                <a:cubicBezTo>
                  <a:pt x="8094" y="11750"/>
                  <a:pt x="8062" y="11719"/>
                  <a:pt x="8000" y="11656"/>
                </a:cubicBezTo>
                <a:close/>
                <a:moveTo>
                  <a:pt x="8187" y="10750"/>
                </a:moveTo>
                <a:cubicBezTo>
                  <a:pt x="8156" y="10750"/>
                  <a:pt x="8156" y="10750"/>
                  <a:pt x="8125" y="10781"/>
                </a:cubicBezTo>
                <a:cubicBezTo>
                  <a:pt x="8156" y="10750"/>
                  <a:pt x="8156" y="10750"/>
                  <a:pt x="8187" y="10750"/>
                </a:cubicBezTo>
                <a:cubicBezTo>
                  <a:pt x="8281" y="10750"/>
                  <a:pt x="8375" y="10781"/>
                  <a:pt x="8469" y="10812"/>
                </a:cubicBezTo>
                <a:cubicBezTo>
                  <a:pt x="8469" y="10812"/>
                  <a:pt x="8469" y="10812"/>
                  <a:pt x="8469" y="10812"/>
                </a:cubicBezTo>
                <a:cubicBezTo>
                  <a:pt x="8375" y="10781"/>
                  <a:pt x="8281" y="10750"/>
                  <a:pt x="8187" y="10750"/>
                </a:cubicBezTo>
                <a:close/>
                <a:moveTo>
                  <a:pt x="8531" y="9812"/>
                </a:moveTo>
                <a:cubicBezTo>
                  <a:pt x="8500" y="9812"/>
                  <a:pt x="8469" y="9844"/>
                  <a:pt x="8437" y="9844"/>
                </a:cubicBezTo>
                <a:cubicBezTo>
                  <a:pt x="8469" y="9844"/>
                  <a:pt x="8500" y="9812"/>
                  <a:pt x="8531" y="9812"/>
                </a:cubicBezTo>
                <a:cubicBezTo>
                  <a:pt x="8531" y="9812"/>
                  <a:pt x="8562" y="9812"/>
                  <a:pt x="8562" y="9781"/>
                </a:cubicBezTo>
                <a:cubicBezTo>
                  <a:pt x="8562" y="9812"/>
                  <a:pt x="8531" y="9812"/>
                  <a:pt x="8531" y="9812"/>
                </a:cubicBezTo>
                <a:close/>
                <a:moveTo>
                  <a:pt x="8594" y="9781"/>
                </a:moveTo>
                <a:cubicBezTo>
                  <a:pt x="8625" y="9781"/>
                  <a:pt x="8625" y="9781"/>
                  <a:pt x="8656" y="9781"/>
                </a:cubicBezTo>
                <a:cubicBezTo>
                  <a:pt x="8625" y="9781"/>
                  <a:pt x="8625" y="9781"/>
                  <a:pt x="8594" y="9781"/>
                </a:cubicBezTo>
                <a:close/>
                <a:moveTo>
                  <a:pt x="8656" y="9719"/>
                </a:moveTo>
                <a:cubicBezTo>
                  <a:pt x="8656" y="9719"/>
                  <a:pt x="8656" y="9719"/>
                  <a:pt x="8656" y="9719"/>
                </a:cubicBezTo>
                <a:cubicBezTo>
                  <a:pt x="8656" y="9719"/>
                  <a:pt x="8656" y="9719"/>
                  <a:pt x="8656" y="9719"/>
                </a:cubicBezTo>
                <a:close/>
                <a:moveTo>
                  <a:pt x="9000" y="12187"/>
                </a:moveTo>
                <a:cubicBezTo>
                  <a:pt x="9062" y="12187"/>
                  <a:pt x="9094" y="12156"/>
                  <a:pt x="9156" y="12156"/>
                </a:cubicBezTo>
                <a:cubicBezTo>
                  <a:pt x="9094" y="12156"/>
                  <a:pt x="9062" y="12187"/>
                  <a:pt x="9000" y="12187"/>
                </a:cubicBezTo>
                <a:close/>
                <a:moveTo>
                  <a:pt x="9187" y="12187"/>
                </a:moveTo>
                <a:cubicBezTo>
                  <a:pt x="9187" y="12187"/>
                  <a:pt x="9187" y="12187"/>
                  <a:pt x="9187" y="12187"/>
                </a:cubicBezTo>
                <a:cubicBezTo>
                  <a:pt x="9219" y="12187"/>
                  <a:pt x="9250" y="12187"/>
                  <a:pt x="9281" y="12187"/>
                </a:cubicBezTo>
                <a:cubicBezTo>
                  <a:pt x="9250" y="12187"/>
                  <a:pt x="9219" y="12187"/>
                  <a:pt x="9187" y="12187"/>
                </a:cubicBezTo>
                <a:close/>
                <a:moveTo>
                  <a:pt x="9094" y="9562"/>
                </a:moveTo>
                <a:cubicBezTo>
                  <a:pt x="9062" y="9594"/>
                  <a:pt x="9000" y="9656"/>
                  <a:pt x="8937" y="9719"/>
                </a:cubicBezTo>
                <a:cubicBezTo>
                  <a:pt x="9000" y="9656"/>
                  <a:pt x="9062" y="9594"/>
                  <a:pt x="9094" y="9562"/>
                </a:cubicBezTo>
                <a:cubicBezTo>
                  <a:pt x="9031" y="9531"/>
                  <a:pt x="9000" y="9531"/>
                  <a:pt x="8937" y="9531"/>
                </a:cubicBezTo>
                <a:cubicBezTo>
                  <a:pt x="8906" y="9469"/>
                  <a:pt x="8906" y="9437"/>
                  <a:pt x="8906" y="9406"/>
                </a:cubicBezTo>
                <a:cubicBezTo>
                  <a:pt x="8906" y="9437"/>
                  <a:pt x="8906" y="9469"/>
                  <a:pt x="8937" y="9531"/>
                </a:cubicBezTo>
                <a:cubicBezTo>
                  <a:pt x="9000" y="9531"/>
                  <a:pt x="9031" y="9531"/>
                  <a:pt x="9094" y="9562"/>
                </a:cubicBezTo>
                <a:cubicBezTo>
                  <a:pt x="9250" y="9500"/>
                  <a:pt x="9375" y="9469"/>
                  <a:pt x="9531" y="9437"/>
                </a:cubicBezTo>
                <a:cubicBezTo>
                  <a:pt x="9375" y="9469"/>
                  <a:pt x="9250" y="9500"/>
                  <a:pt x="9094" y="9562"/>
                </a:cubicBezTo>
                <a:close/>
                <a:moveTo>
                  <a:pt x="9312" y="8156"/>
                </a:moveTo>
                <a:cubicBezTo>
                  <a:pt x="9312" y="8156"/>
                  <a:pt x="9312" y="8156"/>
                  <a:pt x="9312" y="8156"/>
                </a:cubicBezTo>
                <a:cubicBezTo>
                  <a:pt x="9406" y="8187"/>
                  <a:pt x="9469" y="8187"/>
                  <a:pt x="9531" y="8156"/>
                </a:cubicBezTo>
                <a:cubicBezTo>
                  <a:pt x="9469" y="8187"/>
                  <a:pt x="9406" y="8187"/>
                  <a:pt x="9312" y="8156"/>
                </a:cubicBezTo>
                <a:close/>
                <a:moveTo>
                  <a:pt x="9375" y="7156"/>
                </a:moveTo>
                <a:cubicBezTo>
                  <a:pt x="9469" y="7156"/>
                  <a:pt x="9531" y="7219"/>
                  <a:pt x="9625" y="7219"/>
                </a:cubicBezTo>
                <a:cubicBezTo>
                  <a:pt x="9625" y="7219"/>
                  <a:pt x="9625" y="7219"/>
                  <a:pt x="9625" y="7219"/>
                </a:cubicBezTo>
                <a:cubicBezTo>
                  <a:pt x="9531" y="7219"/>
                  <a:pt x="9469" y="7156"/>
                  <a:pt x="9375" y="7156"/>
                </a:cubicBezTo>
                <a:close/>
                <a:moveTo>
                  <a:pt x="9594" y="6750"/>
                </a:moveTo>
                <a:cubicBezTo>
                  <a:pt x="9625" y="6750"/>
                  <a:pt x="9656" y="6750"/>
                  <a:pt x="9687" y="6750"/>
                </a:cubicBezTo>
                <a:cubicBezTo>
                  <a:pt x="9687" y="6750"/>
                  <a:pt x="9687" y="6750"/>
                  <a:pt x="9687" y="6750"/>
                </a:cubicBezTo>
                <a:cubicBezTo>
                  <a:pt x="9656" y="6750"/>
                  <a:pt x="9625" y="6750"/>
                  <a:pt x="9594" y="6750"/>
                </a:cubicBezTo>
                <a:close/>
                <a:moveTo>
                  <a:pt x="9812" y="11156"/>
                </a:moveTo>
                <a:cubicBezTo>
                  <a:pt x="9844" y="11125"/>
                  <a:pt x="9844" y="11125"/>
                  <a:pt x="9844" y="11094"/>
                </a:cubicBezTo>
                <a:cubicBezTo>
                  <a:pt x="9844" y="11062"/>
                  <a:pt x="9844" y="11031"/>
                  <a:pt x="9875" y="11000"/>
                </a:cubicBezTo>
                <a:cubicBezTo>
                  <a:pt x="9844" y="11031"/>
                  <a:pt x="9844" y="11062"/>
                  <a:pt x="9844" y="11094"/>
                </a:cubicBezTo>
                <a:cubicBezTo>
                  <a:pt x="9844" y="11125"/>
                  <a:pt x="9844" y="11125"/>
                  <a:pt x="9812" y="11156"/>
                </a:cubicBezTo>
                <a:close/>
                <a:moveTo>
                  <a:pt x="9969" y="6375"/>
                </a:moveTo>
                <a:cubicBezTo>
                  <a:pt x="9969" y="6375"/>
                  <a:pt x="9969" y="6375"/>
                  <a:pt x="9969" y="6375"/>
                </a:cubicBezTo>
                <a:cubicBezTo>
                  <a:pt x="10000" y="6375"/>
                  <a:pt x="10031" y="6406"/>
                  <a:pt x="10062" y="6437"/>
                </a:cubicBezTo>
                <a:cubicBezTo>
                  <a:pt x="10031" y="6406"/>
                  <a:pt x="10000" y="6375"/>
                  <a:pt x="9969" y="6375"/>
                </a:cubicBezTo>
                <a:close/>
                <a:moveTo>
                  <a:pt x="10125" y="6562"/>
                </a:moveTo>
                <a:cubicBezTo>
                  <a:pt x="10125" y="6562"/>
                  <a:pt x="10125" y="6562"/>
                  <a:pt x="10125" y="6562"/>
                </a:cubicBezTo>
                <a:cubicBezTo>
                  <a:pt x="10187" y="6562"/>
                  <a:pt x="10250" y="6625"/>
                  <a:pt x="10312" y="6687"/>
                </a:cubicBezTo>
                <a:cubicBezTo>
                  <a:pt x="10250" y="6625"/>
                  <a:pt x="10187" y="6562"/>
                  <a:pt x="10125" y="6562"/>
                </a:cubicBezTo>
                <a:close/>
                <a:moveTo>
                  <a:pt x="10344" y="10625"/>
                </a:moveTo>
                <a:cubicBezTo>
                  <a:pt x="10312" y="10625"/>
                  <a:pt x="10312" y="10625"/>
                  <a:pt x="10312" y="10625"/>
                </a:cubicBezTo>
                <a:cubicBezTo>
                  <a:pt x="10312" y="10625"/>
                  <a:pt x="10344" y="10625"/>
                  <a:pt x="10344" y="10625"/>
                </a:cubicBezTo>
                <a:cubicBezTo>
                  <a:pt x="10375" y="10500"/>
                  <a:pt x="10281" y="10375"/>
                  <a:pt x="10250" y="10250"/>
                </a:cubicBezTo>
                <a:cubicBezTo>
                  <a:pt x="10281" y="10375"/>
                  <a:pt x="10375" y="10500"/>
                  <a:pt x="10344" y="10625"/>
                </a:cubicBezTo>
                <a:close/>
                <a:moveTo>
                  <a:pt x="10406" y="10750"/>
                </a:moveTo>
                <a:cubicBezTo>
                  <a:pt x="10437" y="10750"/>
                  <a:pt x="10437" y="10781"/>
                  <a:pt x="10469" y="10812"/>
                </a:cubicBezTo>
                <a:cubicBezTo>
                  <a:pt x="10437" y="10781"/>
                  <a:pt x="10437" y="10750"/>
                  <a:pt x="10406" y="10750"/>
                </a:cubicBezTo>
                <a:close/>
                <a:moveTo>
                  <a:pt x="11281" y="5281"/>
                </a:moveTo>
                <a:cubicBezTo>
                  <a:pt x="11281" y="5281"/>
                  <a:pt x="11250" y="5281"/>
                  <a:pt x="11250" y="5281"/>
                </a:cubicBezTo>
                <a:cubicBezTo>
                  <a:pt x="11250" y="5281"/>
                  <a:pt x="11281" y="5281"/>
                  <a:pt x="11281" y="5281"/>
                </a:cubicBezTo>
                <a:close/>
                <a:moveTo>
                  <a:pt x="10937" y="8219"/>
                </a:moveTo>
                <a:cubicBezTo>
                  <a:pt x="10969" y="8250"/>
                  <a:pt x="10969" y="8250"/>
                  <a:pt x="10969" y="8250"/>
                </a:cubicBezTo>
                <a:cubicBezTo>
                  <a:pt x="10969" y="8250"/>
                  <a:pt x="10969" y="8250"/>
                  <a:pt x="10937" y="8219"/>
                </a:cubicBezTo>
                <a:cubicBezTo>
                  <a:pt x="10937" y="8219"/>
                  <a:pt x="10937" y="8219"/>
                  <a:pt x="10937" y="8219"/>
                </a:cubicBezTo>
                <a:cubicBezTo>
                  <a:pt x="10937" y="8219"/>
                  <a:pt x="10937" y="8219"/>
                  <a:pt x="10937" y="8219"/>
                </a:cubicBezTo>
                <a:close/>
                <a:moveTo>
                  <a:pt x="10969" y="8906"/>
                </a:moveTo>
                <a:cubicBezTo>
                  <a:pt x="10875" y="8719"/>
                  <a:pt x="11000" y="8531"/>
                  <a:pt x="11000" y="8344"/>
                </a:cubicBezTo>
                <a:cubicBezTo>
                  <a:pt x="11000" y="8531"/>
                  <a:pt x="10875" y="8719"/>
                  <a:pt x="10969" y="8906"/>
                </a:cubicBezTo>
                <a:cubicBezTo>
                  <a:pt x="10969" y="8906"/>
                  <a:pt x="10969" y="8906"/>
                  <a:pt x="10969" y="8906"/>
                </a:cubicBezTo>
                <a:close/>
                <a:moveTo>
                  <a:pt x="11000" y="8344"/>
                </a:moveTo>
                <a:cubicBezTo>
                  <a:pt x="11000" y="8344"/>
                  <a:pt x="11000" y="8312"/>
                  <a:pt x="11000" y="8312"/>
                </a:cubicBezTo>
                <a:cubicBezTo>
                  <a:pt x="11000" y="8312"/>
                  <a:pt x="11000" y="8344"/>
                  <a:pt x="11000" y="8344"/>
                </a:cubicBezTo>
                <a:close/>
                <a:moveTo>
                  <a:pt x="11187" y="9437"/>
                </a:moveTo>
                <a:cubicBezTo>
                  <a:pt x="11187" y="9437"/>
                  <a:pt x="11187" y="9437"/>
                  <a:pt x="11187" y="9437"/>
                </a:cubicBezTo>
                <a:cubicBezTo>
                  <a:pt x="11156" y="9406"/>
                  <a:pt x="11156" y="9375"/>
                  <a:pt x="11125" y="9375"/>
                </a:cubicBezTo>
                <a:cubicBezTo>
                  <a:pt x="11156" y="9375"/>
                  <a:pt x="11156" y="9406"/>
                  <a:pt x="11187" y="9437"/>
                </a:cubicBezTo>
                <a:close/>
                <a:moveTo>
                  <a:pt x="11219" y="9500"/>
                </a:moveTo>
                <a:cubicBezTo>
                  <a:pt x="11219" y="9469"/>
                  <a:pt x="11187" y="9469"/>
                  <a:pt x="11187" y="9437"/>
                </a:cubicBezTo>
                <a:cubicBezTo>
                  <a:pt x="11187" y="9469"/>
                  <a:pt x="11219" y="9469"/>
                  <a:pt x="11219" y="9500"/>
                </a:cubicBezTo>
                <a:close/>
                <a:moveTo>
                  <a:pt x="11187" y="10469"/>
                </a:moveTo>
                <a:cubicBezTo>
                  <a:pt x="11187" y="10469"/>
                  <a:pt x="11187" y="10469"/>
                  <a:pt x="11187" y="10469"/>
                </a:cubicBezTo>
                <a:cubicBezTo>
                  <a:pt x="11187" y="10469"/>
                  <a:pt x="11187" y="10469"/>
                  <a:pt x="11187" y="10469"/>
                </a:cubicBezTo>
                <a:cubicBezTo>
                  <a:pt x="11187" y="10469"/>
                  <a:pt x="11187" y="10469"/>
                  <a:pt x="11187" y="10469"/>
                </a:cubicBezTo>
                <a:close/>
                <a:moveTo>
                  <a:pt x="11187" y="10906"/>
                </a:moveTo>
                <a:cubicBezTo>
                  <a:pt x="11187" y="10906"/>
                  <a:pt x="11187" y="10906"/>
                  <a:pt x="11187" y="10906"/>
                </a:cubicBezTo>
                <a:cubicBezTo>
                  <a:pt x="11187" y="10937"/>
                  <a:pt x="11219" y="10969"/>
                  <a:pt x="11219" y="10969"/>
                </a:cubicBezTo>
                <a:cubicBezTo>
                  <a:pt x="11219" y="10969"/>
                  <a:pt x="11187" y="10937"/>
                  <a:pt x="11187" y="10906"/>
                </a:cubicBezTo>
                <a:close/>
                <a:moveTo>
                  <a:pt x="11156" y="10719"/>
                </a:moveTo>
                <a:cubicBezTo>
                  <a:pt x="11156" y="10781"/>
                  <a:pt x="11219" y="10844"/>
                  <a:pt x="11219" y="10875"/>
                </a:cubicBezTo>
                <a:cubicBezTo>
                  <a:pt x="11219" y="10844"/>
                  <a:pt x="11156" y="10781"/>
                  <a:pt x="11156" y="10719"/>
                </a:cubicBezTo>
                <a:close/>
                <a:moveTo>
                  <a:pt x="11156" y="10656"/>
                </a:moveTo>
                <a:cubicBezTo>
                  <a:pt x="11156" y="10656"/>
                  <a:pt x="11156" y="10656"/>
                  <a:pt x="11156" y="10656"/>
                </a:cubicBezTo>
                <a:cubicBezTo>
                  <a:pt x="11219" y="10656"/>
                  <a:pt x="11250" y="10687"/>
                  <a:pt x="11281" y="10750"/>
                </a:cubicBezTo>
                <a:cubicBezTo>
                  <a:pt x="11250" y="10687"/>
                  <a:pt x="11219" y="10656"/>
                  <a:pt x="11156" y="10656"/>
                </a:cubicBezTo>
                <a:close/>
                <a:moveTo>
                  <a:pt x="13062" y="11187"/>
                </a:moveTo>
                <a:cubicBezTo>
                  <a:pt x="12969" y="11219"/>
                  <a:pt x="12906" y="11094"/>
                  <a:pt x="12875" y="11000"/>
                </a:cubicBezTo>
                <a:cubicBezTo>
                  <a:pt x="12750" y="11125"/>
                  <a:pt x="12625" y="11156"/>
                  <a:pt x="12500" y="11062"/>
                </a:cubicBezTo>
                <a:cubicBezTo>
                  <a:pt x="12625" y="11156"/>
                  <a:pt x="12750" y="11125"/>
                  <a:pt x="12875" y="11000"/>
                </a:cubicBezTo>
                <a:cubicBezTo>
                  <a:pt x="12906" y="11094"/>
                  <a:pt x="12969" y="11219"/>
                  <a:pt x="13062" y="11187"/>
                </a:cubicBezTo>
                <a:close/>
                <a:moveTo>
                  <a:pt x="12469" y="11031"/>
                </a:moveTo>
                <a:cubicBezTo>
                  <a:pt x="12500" y="10969"/>
                  <a:pt x="12500" y="10906"/>
                  <a:pt x="12500" y="10844"/>
                </a:cubicBezTo>
                <a:cubicBezTo>
                  <a:pt x="12500" y="10906"/>
                  <a:pt x="12500" y="10969"/>
                  <a:pt x="12469" y="11031"/>
                </a:cubicBezTo>
                <a:cubicBezTo>
                  <a:pt x="12437" y="11031"/>
                  <a:pt x="12406" y="11031"/>
                  <a:pt x="12375" y="11062"/>
                </a:cubicBezTo>
                <a:cubicBezTo>
                  <a:pt x="12406" y="11031"/>
                  <a:pt x="12437" y="11031"/>
                  <a:pt x="12469" y="11031"/>
                </a:cubicBezTo>
                <a:close/>
                <a:moveTo>
                  <a:pt x="12594" y="10500"/>
                </a:moveTo>
                <a:cubicBezTo>
                  <a:pt x="12625" y="10500"/>
                  <a:pt x="12656" y="10500"/>
                  <a:pt x="12687" y="10500"/>
                </a:cubicBezTo>
                <a:cubicBezTo>
                  <a:pt x="12656" y="10500"/>
                  <a:pt x="12625" y="10500"/>
                  <a:pt x="12594" y="10500"/>
                </a:cubicBezTo>
                <a:cubicBezTo>
                  <a:pt x="12594" y="10500"/>
                  <a:pt x="12594" y="10500"/>
                  <a:pt x="12594" y="10500"/>
                </a:cubicBezTo>
                <a:close/>
                <a:moveTo>
                  <a:pt x="12719" y="10344"/>
                </a:moveTo>
                <a:cubicBezTo>
                  <a:pt x="12750" y="10375"/>
                  <a:pt x="12781" y="10406"/>
                  <a:pt x="12812" y="10406"/>
                </a:cubicBezTo>
                <a:cubicBezTo>
                  <a:pt x="12781" y="10406"/>
                  <a:pt x="12750" y="10375"/>
                  <a:pt x="12719" y="10344"/>
                </a:cubicBezTo>
                <a:cubicBezTo>
                  <a:pt x="12469" y="10312"/>
                  <a:pt x="12219" y="10219"/>
                  <a:pt x="12000" y="10125"/>
                </a:cubicBezTo>
                <a:cubicBezTo>
                  <a:pt x="12219" y="10219"/>
                  <a:pt x="12469" y="10312"/>
                  <a:pt x="12719" y="10344"/>
                </a:cubicBezTo>
                <a:close/>
                <a:moveTo>
                  <a:pt x="12312" y="11125"/>
                </a:moveTo>
                <a:cubicBezTo>
                  <a:pt x="12312" y="11125"/>
                  <a:pt x="12312" y="11125"/>
                  <a:pt x="12312" y="11125"/>
                </a:cubicBezTo>
                <a:cubicBezTo>
                  <a:pt x="12312" y="11125"/>
                  <a:pt x="12344" y="11125"/>
                  <a:pt x="12344" y="11125"/>
                </a:cubicBezTo>
                <a:cubicBezTo>
                  <a:pt x="12344" y="11125"/>
                  <a:pt x="12312" y="11125"/>
                  <a:pt x="12312" y="11125"/>
                </a:cubicBezTo>
                <a:close/>
                <a:moveTo>
                  <a:pt x="11844" y="5969"/>
                </a:moveTo>
                <a:cubicBezTo>
                  <a:pt x="11875" y="5969"/>
                  <a:pt x="11875" y="5969"/>
                  <a:pt x="11875" y="5969"/>
                </a:cubicBezTo>
                <a:cubicBezTo>
                  <a:pt x="11875" y="5969"/>
                  <a:pt x="11875" y="5969"/>
                  <a:pt x="11844" y="5969"/>
                </a:cubicBezTo>
                <a:close/>
                <a:moveTo>
                  <a:pt x="12000" y="10281"/>
                </a:moveTo>
                <a:cubicBezTo>
                  <a:pt x="12000" y="10281"/>
                  <a:pt x="11969" y="10281"/>
                  <a:pt x="11969" y="10281"/>
                </a:cubicBezTo>
                <a:cubicBezTo>
                  <a:pt x="11969" y="10281"/>
                  <a:pt x="12000" y="10281"/>
                  <a:pt x="12000" y="10281"/>
                </a:cubicBezTo>
                <a:close/>
                <a:moveTo>
                  <a:pt x="11531" y="7500"/>
                </a:moveTo>
                <a:cubicBezTo>
                  <a:pt x="11500" y="7594"/>
                  <a:pt x="11469" y="7656"/>
                  <a:pt x="11469" y="7750"/>
                </a:cubicBezTo>
                <a:cubicBezTo>
                  <a:pt x="11469" y="7656"/>
                  <a:pt x="11500" y="7594"/>
                  <a:pt x="11531" y="7500"/>
                </a:cubicBezTo>
                <a:close/>
                <a:moveTo>
                  <a:pt x="11531" y="11375"/>
                </a:moveTo>
                <a:cubicBezTo>
                  <a:pt x="11531" y="11375"/>
                  <a:pt x="11531" y="11375"/>
                  <a:pt x="11531" y="11375"/>
                </a:cubicBezTo>
                <a:cubicBezTo>
                  <a:pt x="11594" y="11437"/>
                  <a:pt x="11625" y="11500"/>
                  <a:pt x="11656" y="11562"/>
                </a:cubicBezTo>
                <a:cubicBezTo>
                  <a:pt x="11625" y="11500"/>
                  <a:pt x="11594" y="11437"/>
                  <a:pt x="11531" y="11375"/>
                </a:cubicBezTo>
                <a:close/>
                <a:moveTo>
                  <a:pt x="11406" y="10062"/>
                </a:moveTo>
                <a:cubicBezTo>
                  <a:pt x="11531" y="10000"/>
                  <a:pt x="11656" y="10062"/>
                  <a:pt x="11750" y="10031"/>
                </a:cubicBezTo>
                <a:cubicBezTo>
                  <a:pt x="11781" y="10031"/>
                  <a:pt x="11812" y="10031"/>
                  <a:pt x="11812" y="10031"/>
                </a:cubicBezTo>
                <a:cubicBezTo>
                  <a:pt x="11812" y="10031"/>
                  <a:pt x="11781" y="10031"/>
                  <a:pt x="11750" y="10031"/>
                </a:cubicBezTo>
                <a:cubicBezTo>
                  <a:pt x="11656" y="10062"/>
                  <a:pt x="11531" y="10000"/>
                  <a:pt x="11406" y="10062"/>
                </a:cubicBezTo>
                <a:close/>
                <a:moveTo>
                  <a:pt x="12062" y="10906"/>
                </a:moveTo>
                <a:cubicBezTo>
                  <a:pt x="12094" y="10844"/>
                  <a:pt x="12094" y="10812"/>
                  <a:pt x="12156" y="10812"/>
                </a:cubicBezTo>
                <a:cubicBezTo>
                  <a:pt x="12156" y="10812"/>
                  <a:pt x="12156" y="10812"/>
                  <a:pt x="12156" y="10812"/>
                </a:cubicBezTo>
                <a:cubicBezTo>
                  <a:pt x="12094" y="10812"/>
                  <a:pt x="12094" y="10844"/>
                  <a:pt x="12062" y="10906"/>
                </a:cubicBezTo>
                <a:close/>
                <a:moveTo>
                  <a:pt x="12125" y="10812"/>
                </a:moveTo>
                <a:cubicBezTo>
                  <a:pt x="12062" y="10750"/>
                  <a:pt x="12094" y="10656"/>
                  <a:pt x="12094" y="10562"/>
                </a:cubicBezTo>
                <a:cubicBezTo>
                  <a:pt x="12094" y="10656"/>
                  <a:pt x="12062" y="10750"/>
                  <a:pt x="12125" y="10812"/>
                </a:cubicBezTo>
                <a:close/>
                <a:moveTo>
                  <a:pt x="12031" y="10281"/>
                </a:moveTo>
                <a:cubicBezTo>
                  <a:pt x="12125" y="10312"/>
                  <a:pt x="12187" y="10375"/>
                  <a:pt x="12250" y="10406"/>
                </a:cubicBezTo>
                <a:cubicBezTo>
                  <a:pt x="12281" y="10437"/>
                  <a:pt x="12312" y="10437"/>
                  <a:pt x="12344" y="10469"/>
                </a:cubicBezTo>
                <a:cubicBezTo>
                  <a:pt x="12312" y="10437"/>
                  <a:pt x="12281" y="10437"/>
                  <a:pt x="12250" y="10406"/>
                </a:cubicBezTo>
                <a:cubicBezTo>
                  <a:pt x="12187" y="10375"/>
                  <a:pt x="12125" y="10312"/>
                  <a:pt x="12031" y="10281"/>
                </a:cubicBezTo>
                <a:close/>
                <a:moveTo>
                  <a:pt x="12344" y="12250"/>
                </a:moveTo>
                <a:cubicBezTo>
                  <a:pt x="12469" y="12281"/>
                  <a:pt x="12594" y="12281"/>
                  <a:pt x="12687" y="12344"/>
                </a:cubicBezTo>
                <a:cubicBezTo>
                  <a:pt x="12594" y="12281"/>
                  <a:pt x="12469" y="12281"/>
                  <a:pt x="12344" y="12250"/>
                </a:cubicBezTo>
                <a:close/>
                <a:moveTo>
                  <a:pt x="13156" y="11687"/>
                </a:moveTo>
                <a:cubicBezTo>
                  <a:pt x="13094" y="11844"/>
                  <a:pt x="12906" y="11781"/>
                  <a:pt x="12781" y="11844"/>
                </a:cubicBezTo>
                <a:cubicBezTo>
                  <a:pt x="12625" y="11875"/>
                  <a:pt x="12469" y="11875"/>
                  <a:pt x="12344" y="11875"/>
                </a:cubicBezTo>
                <a:cubicBezTo>
                  <a:pt x="12469" y="11875"/>
                  <a:pt x="12625" y="11875"/>
                  <a:pt x="12781" y="11844"/>
                </a:cubicBezTo>
                <a:cubicBezTo>
                  <a:pt x="12906" y="11781"/>
                  <a:pt x="13094" y="11844"/>
                  <a:pt x="13156" y="11687"/>
                </a:cubicBezTo>
                <a:cubicBezTo>
                  <a:pt x="13125" y="11625"/>
                  <a:pt x="13125" y="11562"/>
                  <a:pt x="13156" y="11500"/>
                </a:cubicBezTo>
                <a:cubicBezTo>
                  <a:pt x="13125" y="11562"/>
                  <a:pt x="13125" y="11625"/>
                  <a:pt x="13156" y="11687"/>
                </a:cubicBezTo>
                <a:close/>
                <a:moveTo>
                  <a:pt x="16031" y="5156"/>
                </a:moveTo>
                <a:cubicBezTo>
                  <a:pt x="16031" y="5156"/>
                  <a:pt x="16031" y="5156"/>
                  <a:pt x="16031" y="5156"/>
                </a:cubicBezTo>
                <a:cubicBezTo>
                  <a:pt x="16031" y="5156"/>
                  <a:pt x="16031" y="5156"/>
                  <a:pt x="16031" y="5156"/>
                </a:cubicBezTo>
                <a:cubicBezTo>
                  <a:pt x="16000" y="5187"/>
                  <a:pt x="16000" y="5187"/>
                  <a:pt x="15969" y="5187"/>
                </a:cubicBezTo>
                <a:cubicBezTo>
                  <a:pt x="16000" y="5187"/>
                  <a:pt x="16000" y="5187"/>
                  <a:pt x="16031" y="5156"/>
                </a:cubicBezTo>
                <a:close/>
                <a:moveTo>
                  <a:pt x="15906" y="5187"/>
                </a:moveTo>
                <a:cubicBezTo>
                  <a:pt x="15906" y="5187"/>
                  <a:pt x="15906" y="5187"/>
                  <a:pt x="15906" y="5187"/>
                </a:cubicBezTo>
                <a:cubicBezTo>
                  <a:pt x="15906" y="5187"/>
                  <a:pt x="15906" y="5187"/>
                  <a:pt x="15906" y="5187"/>
                </a:cubicBezTo>
                <a:close/>
                <a:moveTo>
                  <a:pt x="15906" y="5187"/>
                </a:moveTo>
                <a:cubicBezTo>
                  <a:pt x="15906" y="5187"/>
                  <a:pt x="15906" y="5187"/>
                  <a:pt x="15906" y="5187"/>
                </a:cubicBezTo>
                <a:cubicBezTo>
                  <a:pt x="15875" y="5187"/>
                  <a:pt x="15844" y="5187"/>
                  <a:pt x="15844" y="5219"/>
                </a:cubicBezTo>
                <a:cubicBezTo>
                  <a:pt x="15844" y="5187"/>
                  <a:pt x="15875" y="5187"/>
                  <a:pt x="15906" y="5187"/>
                </a:cubicBezTo>
                <a:close/>
                <a:moveTo>
                  <a:pt x="15312" y="6656"/>
                </a:moveTo>
                <a:cubicBezTo>
                  <a:pt x="15375" y="6469"/>
                  <a:pt x="15437" y="6375"/>
                  <a:pt x="15531" y="6344"/>
                </a:cubicBezTo>
                <a:cubicBezTo>
                  <a:pt x="15437" y="6375"/>
                  <a:pt x="15375" y="6469"/>
                  <a:pt x="15312" y="6656"/>
                </a:cubicBezTo>
                <a:cubicBezTo>
                  <a:pt x="15312" y="6812"/>
                  <a:pt x="15156" y="6875"/>
                  <a:pt x="15062" y="7000"/>
                </a:cubicBezTo>
                <a:cubicBezTo>
                  <a:pt x="15156" y="6875"/>
                  <a:pt x="15312" y="6812"/>
                  <a:pt x="15312" y="6656"/>
                </a:cubicBezTo>
                <a:close/>
                <a:moveTo>
                  <a:pt x="15437" y="5844"/>
                </a:moveTo>
                <a:cubicBezTo>
                  <a:pt x="15437" y="5844"/>
                  <a:pt x="15437" y="5875"/>
                  <a:pt x="15469" y="5875"/>
                </a:cubicBezTo>
                <a:cubicBezTo>
                  <a:pt x="15437" y="5875"/>
                  <a:pt x="15437" y="5844"/>
                  <a:pt x="15437" y="5844"/>
                </a:cubicBezTo>
                <a:cubicBezTo>
                  <a:pt x="15437" y="5781"/>
                  <a:pt x="15437" y="5719"/>
                  <a:pt x="15469" y="5656"/>
                </a:cubicBezTo>
                <a:cubicBezTo>
                  <a:pt x="15437" y="5719"/>
                  <a:pt x="15437" y="5781"/>
                  <a:pt x="15437" y="5844"/>
                </a:cubicBezTo>
                <a:close/>
                <a:moveTo>
                  <a:pt x="15531" y="7781"/>
                </a:moveTo>
                <a:cubicBezTo>
                  <a:pt x="15469" y="7750"/>
                  <a:pt x="15437" y="7812"/>
                  <a:pt x="15406" y="7937"/>
                </a:cubicBezTo>
                <a:cubicBezTo>
                  <a:pt x="15406" y="7937"/>
                  <a:pt x="15406" y="7937"/>
                  <a:pt x="15406" y="7937"/>
                </a:cubicBezTo>
                <a:cubicBezTo>
                  <a:pt x="15437" y="7812"/>
                  <a:pt x="15469" y="7750"/>
                  <a:pt x="15531" y="7781"/>
                </a:cubicBezTo>
                <a:close/>
                <a:moveTo>
                  <a:pt x="15437" y="6719"/>
                </a:moveTo>
                <a:cubicBezTo>
                  <a:pt x="15437" y="6750"/>
                  <a:pt x="15437" y="6750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750"/>
                  <a:pt x="15437" y="6750"/>
                  <a:pt x="15437" y="6719"/>
                </a:cubicBezTo>
                <a:close/>
                <a:moveTo>
                  <a:pt x="15437" y="6781"/>
                </a:move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ubicBezTo>
                  <a:pt x="15437" y="6781"/>
                  <a:pt x="15437" y="6781"/>
                  <a:pt x="15437" y="6781"/>
                </a:cubicBezTo>
                <a:close/>
                <a:moveTo>
                  <a:pt x="14937" y="9625"/>
                </a:moveTo>
                <a:cubicBezTo>
                  <a:pt x="14937" y="9625"/>
                  <a:pt x="14937" y="9625"/>
                  <a:pt x="14937" y="9625"/>
                </a:cubicBezTo>
                <a:cubicBezTo>
                  <a:pt x="14937" y="9625"/>
                  <a:pt x="14906" y="9625"/>
                  <a:pt x="14906" y="9625"/>
                </a:cubicBezTo>
                <a:cubicBezTo>
                  <a:pt x="14906" y="9625"/>
                  <a:pt x="14906" y="9625"/>
                  <a:pt x="14906" y="9625"/>
                </a:cubicBezTo>
                <a:cubicBezTo>
                  <a:pt x="14906" y="9625"/>
                  <a:pt x="14937" y="9625"/>
                  <a:pt x="14937" y="9625"/>
                </a:cubicBezTo>
                <a:close/>
                <a:moveTo>
                  <a:pt x="15406" y="7937"/>
                </a:moveTo>
                <a:cubicBezTo>
                  <a:pt x="15406" y="7937"/>
                  <a:pt x="15406" y="7937"/>
                  <a:pt x="15406" y="7937"/>
                </a:cubicBezTo>
                <a:cubicBezTo>
                  <a:pt x="15219" y="8000"/>
                  <a:pt x="15062" y="8062"/>
                  <a:pt x="14937" y="8156"/>
                </a:cubicBezTo>
                <a:cubicBezTo>
                  <a:pt x="15062" y="8062"/>
                  <a:pt x="15219" y="8000"/>
                  <a:pt x="15406" y="7937"/>
                </a:cubicBezTo>
                <a:close/>
                <a:moveTo>
                  <a:pt x="15000" y="6656"/>
                </a:moveTo>
                <a:cubicBezTo>
                  <a:pt x="14937" y="6687"/>
                  <a:pt x="14875" y="6656"/>
                  <a:pt x="14812" y="6562"/>
                </a:cubicBezTo>
                <a:cubicBezTo>
                  <a:pt x="14812" y="6562"/>
                  <a:pt x="14812" y="6562"/>
                  <a:pt x="14812" y="6562"/>
                </a:cubicBezTo>
                <a:cubicBezTo>
                  <a:pt x="14875" y="6656"/>
                  <a:pt x="14937" y="6687"/>
                  <a:pt x="15000" y="6656"/>
                </a:cubicBezTo>
                <a:close/>
                <a:moveTo>
                  <a:pt x="14781" y="9531"/>
                </a:moveTo>
                <a:cubicBezTo>
                  <a:pt x="14750" y="9531"/>
                  <a:pt x="14719" y="9562"/>
                  <a:pt x="14687" y="9562"/>
                </a:cubicBezTo>
                <a:cubicBezTo>
                  <a:pt x="14719" y="9562"/>
                  <a:pt x="14750" y="9531"/>
                  <a:pt x="14781" y="9531"/>
                </a:cubicBezTo>
                <a:close/>
                <a:moveTo>
                  <a:pt x="14562" y="6469"/>
                </a:moveTo>
                <a:cubicBezTo>
                  <a:pt x="14500" y="6531"/>
                  <a:pt x="14406" y="6625"/>
                  <a:pt x="14312" y="6656"/>
                </a:cubicBezTo>
                <a:cubicBezTo>
                  <a:pt x="14406" y="6625"/>
                  <a:pt x="14500" y="6531"/>
                  <a:pt x="14562" y="6469"/>
                </a:cubicBezTo>
                <a:close/>
                <a:moveTo>
                  <a:pt x="13969" y="7312"/>
                </a:moveTo>
                <a:cubicBezTo>
                  <a:pt x="13969" y="7312"/>
                  <a:pt x="13969" y="7312"/>
                  <a:pt x="13969" y="7312"/>
                </a:cubicBezTo>
                <a:cubicBezTo>
                  <a:pt x="13969" y="7312"/>
                  <a:pt x="13969" y="7312"/>
                  <a:pt x="13969" y="7312"/>
                </a:cubicBezTo>
                <a:cubicBezTo>
                  <a:pt x="13969" y="7312"/>
                  <a:pt x="13969" y="7312"/>
                  <a:pt x="13969" y="7281"/>
                </a:cubicBezTo>
                <a:cubicBezTo>
                  <a:pt x="13969" y="7312"/>
                  <a:pt x="13969" y="7312"/>
                  <a:pt x="13969" y="7312"/>
                </a:cubicBezTo>
                <a:close/>
                <a:moveTo>
                  <a:pt x="13812" y="6594"/>
                </a:moveTo>
                <a:cubicBezTo>
                  <a:pt x="13844" y="6750"/>
                  <a:pt x="13875" y="6844"/>
                  <a:pt x="13937" y="6906"/>
                </a:cubicBezTo>
                <a:cubicBezTo>
                  <a:pt x="13875" y="6844"/>
                  <a:pt x="13844" y="6750"/>
                  <a:pt x="13812" y="6594"/>
                </a:cubicBezTo>
                <a:cubicBezTo>
                  <a:pt x="13812" y="6594"/>
                  <a:pt x="13781" y="6562"/>
                  <a:pt x="13781" y="6562"/>
                </a:cubicBezTo>
                <a:cubicBezTo>
                  <a:pt x="13781" y="6562"/>
                  <a:pt x="13812" y="6594"/>
                  <a:pt x="13812" y="6594"/>
                </a:cubicBezTo>
                <a:close/>
                <a:moveTo>
                  <a:pt x="13594" y="10187"/>
                </a:moveTo>
                <a:cubicBezTo>
                  <a:pt x="13687" y="10062"/>
                  <a:pt x="13875" y="10062"/>
                  <a:pt x="13937" y="9937"/>
                </a:cubicBezTo>
                <a:cubicBezTo>
                  <a:pt x="13875" y="9906"/>
                  <a:pt x="13844" y="9875"/>
                  <a:pt x="13906" y="9844"/>
                </a:cubicBezTo>
                <a:cubicBezTo>
                  <a:pt x="13844" y="9875"/>
                  <a:pt x="13875" y="9906"/>
                  <a:pt x="13937" y="9937"/>
                </a:cubicBezTo>
                <a:cubicBezTo>
                  <a:pt x="14062" y="9906"/>
                  <a:pt x="14187" y="9875"/>
                  <a:pt x="14312" y="9844"/>
                </a:cubicBezTo>
                <a:cubicBezTo>
                  <a:pt x="14187" y="9875"/>
                  <a:pt x="14062" y="9906"/>
                  <a:pt x="13937" y="9937"/>
                </a:cubicBezTo>
                <a:cubicBezTo>
                  <a:pt x="13875" y="10062"/>
                  <a:pt x="13687" y="10062"/>
                  <a:pt x="13594" y="10187"/>
                </a:cubicBezTo>
                <a:cubicBezTo>
                  <a:pt x="13594" y="10187"/>
                  <a:pt x="13594" y="10187"/>
                  <a:pt x="13594" y="10187"/>
                </a:cubicBezTo>
                <a:close/>
                <a:moveTo>
                  <a:pt x="13969" y="10531"/>
                </a:moveTo>
                <a:cubicBezTo>
                  <a:pt x="13906" y="10500"/>
                  <a:pt x="13844" y="10469"/>
                  <a:pt x="13781" y="10437"/>
                </a:cubicBezTo>
                <a:cubicBezTo>
                  <a:pt x="13844" y="10469"/>
                  <a:pt x="13906" y="10500"/>
                  <a:pt x="13969" y="10531"/>
                </a:cubicBezTo>
                <a:cubicBezTo>
                  <a:pt x="14000" y="10594"/>
                  <a:pt x="14031" y="10594"/>
                  <a:pt x="14062" y="10656"/>
                </a:cubicBezTo>
                <a:cubicBezTo>
                  <a:pt x="14031" y="10594"/>
                  <a:pt x="14000" y="10594"/>
                  <a:pt x="13969" y="10531"/>
                </a:cubicBezTo>
                <a:close/>
                <a:moveTo>
                  <a:pt x="13594" y="10187"/>
                </a:moveTo>
                <a:cubicBezTo>
                  <a:pt x="13594" y="10187"/>
                  <a:pt x="13594" y="10187"/>
                  <a:pt x="13594" y="10187"/>
                </a:cubicBezTo>
                <a:cubicBezTo>
                  <a:pt x="13562" y="10187"/>
                  <a:pt x="13562" y="10187"/>
                  <a:pt x="13531" y="10219"/>
                </a:cubicBezTo>
                <a:cubicBezTo>
                  <a:pt x="13562" y="10187"/>
                  <a:pt x="13562" y="10187"/>
                  <a:pt x="13594" y="10187"/>
                </a:cubicBezTo>
                <a:close/>
                <a:moveTo>
                  <a:pt x="13406" y="7781"/>
                </a:moveTo>
                <a:cubicBezTo>
                  <a:pt x="13375" y="7781"/>
                  <a:pt x="13375" y="7812"/>
                  <a:pt x="13406" y="7844"/>
                </a:cubicBezTo>
                <a:cubicBezTo>
                  <a:pt x="13375" y="7812"/>
                  <a:pt x="13375" y="7781"/>
                  <a:pt x="13406" y="7781"/>
                </a:cubicBezTo>
                <a:close/>
                <a:moveTo>
                  <a:pt x="13406" y="7969"/>
                </a:moveTo>
                <a:cubicBezTo>
                  <a:pt x="13437" y="7969"/>
                  <a:pt x="13406" y="7906"/>
                  <a:pt x="13406" y="7875"/>
                </a:cubicBezTo>
                <a:cubicBezTo>
                  <a:pt x="13406" y="7875"/>
                  <a:pt x="13406" y="7844"/>
                  <a:pt x="13406" y="7844"/>
                </a:cubicBezTo>
                <a:cubicBezTo>
                  <a:pt x="13406" y="7844"/>
                  <a:pt x="13406" y="7875"/>
                  <a:pt x="13406" y="7875"/>
                </a:cubicBezTo>
                <a:cubicBezTo>
                  <a:pt x="13406" y="7906"/>
                  <a:pt x="13437" y="7969"/>
                  <a:pt x="13406" y="7969"/>
                </a:cubicBezTo>
                <a:close/>
                <a:moveTo>
                  <a:pt x="13844" y="11844"/>
                </a:moveTo>
                <a:cubicBezTo>
                  <a:pt x="13844" y="11844"/>
                  <a:pt x="13812" y="11844"/>
                  <a:pt x="13812" y="11844"/>
                </a:cubicBezTo>
                <a:cubicBezTo>
                  <a:pt x="13719" y="11781"/>
                  <a:pt x="13594" y="11812"/>
                  <a:pt x="13469" y="11781"/>
                </a:cubicBezTo>
                <a:cubicBezTo>
                  <a:pt x="13594" y="11812"/>
                  <a:pt x="13719" y="11781"/>
                  <a:pt x="13812" y="11844"/>
                </a:cubicBezTo>
                <a:cubicBezTo>
                  <a:pt x="13812" y="11844"/>
                  <a:pt x="13844" y="11844"/>
                  <a:pt x="13844" y="11844"/>
                </a:cubicBezTo>
                <a:cubicBezTo>
                  <a:pt x="13937" y="11781"/>
                  <a:pt x="14031" y="11750"/>
                  <a:pt x="14125" y="11750"/>
                </a:cubicBezTo>
                <a:cubicBezTo>
                  <a:pt x="14031" y="11750"/>
                  <a:pt x="13937" y="11781"/>
                  <a:pt x="13844" y="11844"/>
                </a:cubicBezTo>
                <a:close/>
                <a:moveTo>
                  <a:pt x="14031" y="12000"/>
                </a:moveTo>
                <a:cubicBezTo>
                  <a:pt x="14094" y="12000"/>
                  <a:pt x="14156" y="12000"/>
                  <a:pt x="14219" y="12000"/>
                </a:cubicBezTo>
                <a:cubicBezTo>
                  <a:pt x="14219" y="12000"/>
                  <a:pt x="14219" y="12000"/>
                  <a:pt x="14219" y="12000"/>
                </a:cubicBezTo>
                <a:cubicBezTo>
                  <a:pt x="14156" y="12000"/>
                  <a:pt x="14094" y="12000"/>
                  <a:pt x="14031" y="12000"/>
                </a:cubicBezTo>
                <a:close/>
                <a:moveTo>
                  <a:pt x="14187" y="10312"/>
                </a:moveTo>
                <a:cubicBezTo>
                  <a:pt x="14187" y="10281"/>
                  <a:pt x="14187" y="10281"/>
                  <a:pt x="14187" y="10281"/>
                </a:cubicBezTo>
                <a:cubicBezTo>
                  <a:pt x="14187" y="10281"/>
                  <a:pt x="14187" y="10281"/>
                  <a:pt x="14187" y="10312"/>
                </a:cubicBezTo>
                <a:cubicBezTo>
                  <a:pt x="14219" y="10375"/>
                  <a:pt x="14281" y="10344"/>
                  <a:pt x="14344" y="10344"/>
                </a:cubicBezTo>
                <a:cubicBezTo>
                  <a:pt x="14281" y="10344"/>
                  <a:pt x="14219" y="10375"/>
                  <a:pt x="14187" y="10312"/>
                </a:cubicBezTo>
                <a:close/>
                <a:moveTo>
                  <a:pt x="14437" y="11844"/>
                </a:moveTo>
                <a:cubicBezTo>
                  <a:pt x="14406" y="11875"/>
                  <a:pt x="14375" y="11937"/>
                  <a:pt x="14312" y="11969"/>
                </a:cubicBezTo>
                <a:cubicBezTo>
                  <a:pt x="14375" y="11937"/>
                  <a:pt x="14406" y="11875"/>
                  <a:pt x="14437" y="11844"/>
                </a:cubicBezTo>
                <a:cubicBezTo>
                  <a:pt x="14500" y="11812"/>
                  <a:pt x="14531" y="11812"/>
                  <a:pt x="14562" y="11844"/>
                </a:cubicBezTo>
                <a:cubicBezTo>
                  <a:pt x="14531" y="11812"/>
                  <a:pt x="14500" y="11812"/>
                  <a:pt x="14437" y="11844"/>
                </a:cubicBezTo>
                <a:close/>
                <a:moveTo>
                  <a:pt x="14344" y="10656"/>
                </a:moveTo>
                <a:cubicBezTo>
                  <a:pt x="14312" y="10656"/>
                  <a:pt x="14312" y="10656"/>
                  <a:pt x="14281" y="10656"/>
                </a:cubicBezTo>
                <a:cubicBezTo>
                  <a:pt x="14312" y="10656"/>
                  <a:pt x="14312" y="10656"/>
                  <a:pt x="14344" y="10656"/>
                </a:cubicBezTo>
                <a:cubicBezTo>
                  <a:pt x="14500" y="10656"/>
                  <a:pt x="14656" y="10656"/>
                  <a:pt x="14844" y="10625"/>
                </a:cubicBezTo>
                <a:cubicBezTo>
                  <a:pt x="14656" y="10656"/>
                  <a:pt x="14500" y="10656"/>
                  <a:pt x="14344" y="10656"/>
                </a:cubicBezTo>
                <a:close/>
                <a:moveTo>
                  <a:pt x="14906" y="9906"/>
                </a:moveTo>
                <a:cubicBezTo>
                  <a:pt x="14844" y="9937"/>
                  <a:pt x="14781" y="9969"/>
                  <a:pt x="14719" y="10000"/>
                </a:cubicBezTo>
                <a:cubicBezTo>
                  <a:pt x="14719" y="10000"/>
                  <a:pt x="14687" y="10000"/>
                  <a:pt x="14687" y="9969"/>
                </a:cubicBezTo>
                <a:cubicBezTo>
                  <a:pt x="14687" y="9969"/>
                  <a:pt x="14687" y="9969"/>
                  <a:pt x="14687" y="9969"/>
                </a:cubicBezTo>
                <a:cubicBezTo>
                  <a:pt x="14687" y="10000"/>
                  <a:pt x="14719" y="10000"/>
                  <a:pt x="14719" y="10000"/>
                </a:cubicBezTo>
                <a:cubicBezTo>
                  <a:pt x="14781" y="9969"/>
                  <a:pt x="14844" y="9937"/>
                  <a:pt x="14906" y="9906"/>
                </a:cubicBezTo>
                <a:cubicBezTo>
                  <a:pt x="15250" y="9875"/>
                  <a:pt x="15375" y="9875"/>
                  <a:pt x="15344" y="10062"/>
                </a:cubicBezTo>
                <a:cubicBezTo>
                  <a:pt x="15375" y="9875"/>
                  <a:pt x="15250" y="9875"/>
                  <a:pt x="14906" y="9906"/>
                </a:cubicBezTo>
                <a:close/>
                <a:moveTo>
                  <a:pt x="15344" y="12562"/>
                </a:moveTo>
                <a:cubicBezTo>
                  <a:pt x="15344" y="12562"/>
                  <a:pt x="15375" y="12562"/>
                  <a:pt x="15406" y="12562"/>
                </a:cubicBezTo>
                <a:cubicBezTo>
                  <a:pt x="15406" y="12562"/>
                  <a:pt x="15406" y="12562"/>
                  <a:pt x="15406" y="12562"/>
                </a:cubicBezTo>
                <a:cubicBezTo>
                  <a:pt x="15375" y="12562"/>
                  <a:pt x="15344" y="12562"/>
                  <a:pt x="15344" y="12562"/>
                </a:cubicBezTo>
                <a:close/>
                <a:moveTo>
                  <a:pt x="15406" y="12531"/>
                </a:moveTo>
                <a:cubicBezTo>
                  <a:pt x="15406" y="12531"/>
                  <a:pt x="15406" y="12531"/>
                  <a:pt x="15406" y="12562"/>
                </a:cubicBezTo>
                <a:cubicBezTo>
                  <a:pt x="15406" y="12531"/>
                  <a:pt x="15406" y="12531"/>
                  <a:pt x="15406" y="12531"/>
                </a:cubicBezTo>
                <a:close/>
                <a:moveTo>
                  <a:pt x="15469" y="9187"/>
                </a:moveTo>
                <a:cubicBezTo>
                  <a:pt x="15406" y="9187"/>
                  <a:pt x="15344" y="9187"/>
                  <a:pt x="15312" y="9187"/>
                </a:cubicBezTo>
                <a:cubicBezTo>
                  <a:pt x="15344" y="9187"/>
                  <a:pt x="15406" y="9187"/>
                  <a:pt x="15469" y="9187"/>
                </a:cubicBezTo>
                <a:cubicBezTo>
                  <a:pt x="15469" y="9187"/>
                  <a:pt x="15469" y="9187"/>
                  <a:pt x="15469" y="9187"/>
                </a:cubicBezTo>
                <a:close/>
                <a:moveTo>
                  <a:pt x="15500" y="9281"/>
                </a:moveTo>
                <a:cubicBezTo>
                  <a:pt x="15531" y="9281"/>
                  <a:pt x="15531" y="9281"/>
                  <a:pt x="15562" y="9281"/>
                </a:cubicBezTo>
                <a:cubicBezTo>
                  <a:pt x="15531" y="9281"/>
                  <a:pt x="15531" y="9281"/>
                  <a:pt x="15500" y="9281"/>
                </a:cubicBezTo>
                <a:close/>
                <a:moveTo>
                  <a:pt x="15625" y="5437"/>
                </a:moveTo>
                <a:cubicBezTo>
                  <a:pt x="15437" y="5437"/>
                  <a:pt x="15281" y="5469"/>
                  <a:pt x="15125" y="5469"/>
                </a:cubicBezTo>
                <a:cubicBezTo>
                  <a:pt x="15281" y="5469"/>
                  <a:pt x="15437" y="5437"/>
                  <a:pt x="15625" y="5437"/>
                </a:cubicBezTo>
                <a:cubicBezTo>
                  <a:pt x="15625" y="5437"/>
                  <a:pt x="15625" y="5437"/>
                  <a:pt x="15625" y="5437"/>
                </a:cubicBezTo>
                <a:close/>
                <a:moveTo>
                  <a:pt x="15812" y="5250"/>
                </a:moveTo>
                <a:cubicBezTo>
                  <a:pt x="15750" y="5281"/>
                  <a:pt x="15719" y="5312"/>
                  <a:pt x="15656" y="5312"/>
                </a:cubicBezTo>
                <a:cubicBezTo>
                  <a:pt x="15719" y="5312"/>
                  <a:pt x="15750" y="5281"/>
                  <a:pt x="15812" y="5250"/>
                </a:cubicBezTo>
                <a:close/>
                <a:moveTo>
                  <a:pt x="15719" y="10906"/>
                </a:moveTo>
                <a:cubicBezTo>
                  <a:pt x="15656" y="11062"/>
                  <a:pt x="15656" y="11156"/>
                  <a:pt x="15687" y="11219"/>
                </a:cubicBezTo>
                <a:cubicBezTo>
                  <a:pt x="15656" y="11156"/>
                  <a:pt x="15656" y="11062"/>
                  <a:pt x="15719" y="10906"/>
                </a:cubicBezTo>
                <a:cubicBezTo>
                  <a:pt x="15687" y="10844"/>
                  <a:pt x="15719" y="10812"/>
                  <a:pt x="15750" y="10781"/>
                </a:cubicBezTo>
                <a:cubicBezTo>
                  <a:pt x="15719" y="10812"/>
                  <a:pt x="15687" y="10844"/>
                  <a:pt x="15719" y="10906"/>
                </a:cubicBezTo>
                <a:close/>
                <a:moveTo>
                  <a:pt x="16031" y="9000"/>
                </a:moveTo>
                <a:cubicBezTo>
                  <a:pt x="16094" y="8969"/>
                  <a:pt x="16125" y="8906"/>
                  <a:pt x="16219" y="8906"/>
                </a:cubicBezTo>
                <a:cubicBezTo>
                  <a:pt x="16125" y="8906"/>
                  <a:pt x="16094" y="8969"/>
                  <a:pt x="16031" y="9000"/>
                </a:cubicBezTo>
                <a:cubicBezTo>
                  <a:pt x="15937" y="9062"/>
                  <a:pt x="15844" y="9031"/>
                  <a:pt x="15750" y="9062"/>
                </a:cubicBezTo>
                <a:cubicBezTo>
                  <a:pt x="15844" y="9031"/>
                  <a:pt x="15937" y="9062"/>
                  <a:pt x="16031" y="9000"/>
                </a:cubicBezTo>
                <a:close/>
                <a:moveTo>
                  <a:pt x="15875" y="9437"/>
                </a:moveTo>
                <a:cubicBezTo>
                  <a:pt x="15906" y="9406"/>
                  <a:pt x="15906" y="9406"/>
                  <a:pt x="15937" y="9406"/>
                </a:cubicBezTo>
                <a:cubicBezTo>
                  <a:pt x="15906" y="9406"/>
                  <a:pt x="15906" y="9406"/>
                  <a:pt x="15875" y="9437"/>
                </a:cubicBezTo>
                <a:close/>
                <a:moveTo>
                  <a:pt x="15937" y="9500"/>
                </a:moveTo>
                <a:cubicBezTo>
                  <a:pt x="15937" y="9500"/>
                  <a:pt x="15937" y="9500"/>
                  <a:pt x="15937" y="9500"/>
                </a:cubicBezTo>
                <a:cubicBezTo>
                  <a:pt x="15937" y="9500"/>
                  <a:pt x="15937" y="9500"/>
                  <a:pt x="15937" y="9500"/>
                </a:cubicBezTo>
                <a:cubicBezTo>
                  <a:pt x="15937" y="9500"/>
                  <a:pt x="15937" y="9500"/>
                  <a:pt x="15937" y="9500"/>
                </a:cubicBezTo>
                <a:close/>
                <a:moveTo>
                  <a:pt x="16125" y="9187"/>
                </a:moveTo>
                <a:cubicBezTo>
                  <a:pt x="16125" y="9187"/>
                  <a:pt x="16125" y="9187"/>
                  <a:pt x="16125" y="9187"/>
                </a:cubicBezTo>
                <a:cubicBezTo>
                  <a:pt x="16156" y="9219"/>
                  <a:pt x="16187" y="9219"/>
                  <a:pt x="16219" y="9219"/>
                </a:cubicBezTo>
                <a:cubicBezTo>
                  <a:pt x="16187" y="9219"/>
                  <a:pt x="16156" y="9219"/>
                  <a:pt x="16125" y="9187"/>
                </a:cubicBezTo>
                <a:cubicBezTo>
                  <a:pt x="16125" y="9187"/>
                  <a:pt x="16125" y="9187"/>
                  <a:pt x="16125" y="9187"/>
                </a:cubicBezTo>
                <a:close/>
                <a:moveTo>
                  <a:pt x="16250" y="9719"/>
                </a:moveTo>
                <a:cubicBezTo>
                  <a:pt x="16250" y="9719"/>
                  <a:pt x="16219" y="9719"/>
                  <a:pt x="16219" y="9719"/>
                </a:cubicBezTo>
                <a:cubicBezTo>
                  <a:pt x="16219" y="9719"/>
                  <a:pt x="16250" y="9719"/>
                  <a:pt x="16250" y="9719"/>
                </a:cubicBezTo>
                <a:close/>
                <a:moveTo>
                  <a:pt x="17969" y="5375"/>
                </a:moveTo>
                <a:cubicBezTo>
                  <a:pt x="17969" y="5375"/>
                  <a:pt x="17937" y="5375"/>
                  <a:pt x="17937" y="5375"/>
                </a:cubicBezTo>
                <a:cubicBezTo>
                  <a:pt x="17937" y="5375"/>
                  <a:pt x="17937" y="5375"/>
                  <a:pt x="17937" y="5375"/>
                </a:cubicBezTo>
                <a:cubicBezTo>
                  <a:pt x="17937" y="5375"/>
                  <a:pt x="17969" y="5375"/>
                  <a:pt x="17969" y="5375"/>
                </a:cubicBezTo>
                <a:close/>
                <a:moveTo>
                  <a:pt x="18000" y="8500"/>
                </a:moveTo>
                <a:cubicBezTo>
                  <a:pt x="18031" y="8500"/>
                  <a:pt x="18062" y="8469"/>
                  <a:pt x="18062" y="8469"/>
                </a:cubicBezTo>
                <a:cubicBezTo>
                  <a:pt x="18062" y="8469"/>
                  <a:pt x="18031" y="8500"/>
                  <a:pt x="18000" y="8500"/>
                </a:cubicBezTo>
                <a:cubicBezTo>
                  <a:pt x="17937" y="8469"/>
                  <a:pt x="17844" y="8562"/>
                  <a:pt x="17719" y="8469"/>
                </a:cubicBezTo>
                <a:cubicBezTo>
                  <a:pt x="17844" y="8562"/>
                  <a:pt x="17937" y="8469"/>
                  <a:pt x="18000" y="8500"/>
                </a:cubicBezTo>
                <a:close/>
                <a:moveTo>
                  <a:pt x="17906" y="11125"/>
                </a:moveTo>
                <a:cubicBezTo>
                  <a:pt x="17875" y="11125"/>
                  <a:pt x="17844" y="11125"/>
                  <a:pt x="17844" y="11125"/>
                </a:cubicBezTo>
                <a:cubicBezTo>
                  <a:pt x="17844" y="11125"/>
                  <a:pt x="17875" y="11125"/>
                  <a:pt x="17906" y="11125"/>
                </a:cubicBezTo>
                <a:close/>
                <a:moveTo>
                  <a:pt x="17500" y="9312"/>
                </a:moveTo>
                <a:cubicBezTo>
                  <a:pt x="17500" y="9312"/>
                  <a:pt x="17469" y="9312"/>
                  <a:pt x="17469" y="9312"/>
                </a:cubicBezTo>
                <a:cubicBezTo>
                  <a:pt x="17469" y="9312"/>
                  <a:pt x="17469" y="9312"/>
                  <a:pt x="17469" y="9312"/>
                </a:cubicBezTo>
                <a:cubicBezTo>
                  <a:pt x="17469" y="9312"/>
                  <a:pt x="17469" y="9312"/>
                  <a:pt x="17469" y="9312"/>
                </a:cubicBezTo>
                <a:cubicBezTo>
                  <a:pt x="17469" y="9312"/>
                  <a:pt x="17500" y="9312"/>
                  <a:pt x="17500" y="9312"/>
                </a:cubicBezTo>
                <a:close/>
                <a:moveTo>
                  <a:pt x="17469" y="9156"/>
                </a:moveTo>
                <a:cubicBezTo>
                  <a:pt x="17469" y="9156"/>
                  <a:pt x="17469" y="9156"/>
                  <a:pt x="17469" y="9156"/>
                </a:cubicBezTo>
                <a:cubicBezTo>
                  <a:pt x="17469" y="9156"/>
                  <a:pt x="17500" y="9156"/>
                  <a:pt x="17500" y="9156"/>
                </a:cubicBezTo>
                <a:cubicBezTo>
                  <a:pt x="17500" y="9156"/>
                  <a:pt x="17469" y="9156"/>
                  <a:pt x="17469" y="9156"/>
                </a:cubicBezTo>
                <a:close/>
                <a:moveTo>
                  <a:pt x="17469" y="9156"/>
                </a:moveTo>
                <a:cubicBezTo>
                  <a:pt x="17469" y="9156"/>
                  <a:pt x="17469" y="9156"/>
                  <a:pt x="17469" y="9156"/>
                </a:cubicBezTo>
                <a:cubicBezTo>
                  <a:pt x="17469" y="9156"/>
                  <a:pt x="17469" y="9156"/>
                  <a:pt x="17469" y="9156"/>
                </a:cubicBezTo>
                <a:cubicBezTo>
                  <a:pt x="17469" y="9125"/>
                  <a:pt x="17469" y="9094"/>
                  <a:pt x="17469" y="9094"/>
                </a:cubicBezTo>
                <a:cubicBezTo>
                  <a:pt x="17469" y="9094"/>
                  <a:pt x="17469" y="9125"/>
                  <a:pt x="17469" y="9156"/>
                </a:cubicBezTo>
                <a:close/>
                <a:moveTo>
                  <a:pt x="17469" y="9375"/>
                </a:moveTo>
                <a:cubicBezTo>
                  <a:pt x="17469" y="9375"/>
                  <a:pt x="17469" y="9375"/>
                  <a:pt x="17469" y="9375"/>
                </a:cubicBezTo>
                <a:cubicBezTo>
                  <a:pt x="17437" y="9406"/>
                  <a:pt x="17437" y="9437"/>
                  <a:pt x="17437" y="9469"/>
                </a:cubicBezTo>
                <a:cubicBezTo>
                  <a:pt x="17437" y="9437"/>
                  <a:pt x="17437" y="9406"/>
                  <a:pt x="17469" y="9375"/>
                </a:cubicBezTo>
                <a:close/>
                <a:moveTo>
                  <a:pt x="17219" y="10156"/>
                </a:moveTo>
                <a:cubicBezTo>
                  <a:pt x="17219" y="10156"/>
                  <a:pt x="17219" y="10156"/>
                  <a:pt x="17219" y="10156"/>
                </a:cubicBezTo>
                <a:cubicBezTo>
                  <a:pt x="17219" y="10156"/>
                  <a:pt x="17219" y="10156"/>
                  <a:pt x="17219" y="10156"/>
                </a:cubicBezTo>
                <a:cubicBezTo>
                  <a:pt x="17219" y="10156"/>
                  <a:pt x="17219" y="10156"/>
                  <a:pt x="17219" y="10156"/>
                </a:cubicBezTo>
                <a:close/>
                <a:moveTo>
                  <a:pt x="17312" y="10437"/>
                </a:moveTo>
                <a:cubicBezTo>
                  <a:pt x="17312" y="10437"/>
                  <a:pt x="17312" y="10437"/>
                  <a:pt x="17312" y="10437"/>
                </a:cubicBezTo>
                <a:cubicBezTo>
                  <a:pt x="17344" y="10406"/>
                  <a:pt x="17344" y="10406"/>
                  <a:pt x="17375" y="10406"/>
                </a:cubicBezTo>
                <a:cubicBezTo>
                  <a:pt x="17344" y="10406"/>
                  <a:pt x="17344" y="10406"/>
                  <a:pt x="17312" y="10437"/>
                </a:cubicBezTo>
                <a:close/>
                <a:moveTo>
                  <a:pt x="17437" y="9500"/>
                </a:moveTo>
                <a:cubicBezTo>
                  <a:pt x="17437" y="9562"/>
                  <a:pt x="17437" y="9625"/>
                  <a:pt x="17437" y="9687"/>
                </a:cubicBezTo>
                <a:cubicBezTo>
                  <a:pt x="17531" y="9844"/>
                  <a:pt x="17625" y="10000"/>
                  <a:pt x="17750" y="10125"/>
                </a:cubicBezTo>
                <a:cubicBezTo>
                  <a:pt x="17625" y="10000"/>
                  <a:pt x="17531" y="9844"/>
                  <a:pt x="17437" y="9687"/>
                </a:cubicBezTo>
                <a:cubicBezTo>
                  <a:pt x="17437" y="9625"/>
                  <a:pt x="17437" y="9562"/>
                  <a:pt x="17437" y="9500"/>
                </a:cubicBezTo>
                <a:close/>
                <a:moveTo>
                  <a:pt x="17656" y="11312"/>
                </a:moveTo>
                <a:cubicBezTo>
                  <a:pt x="17687" y="11312"/>
                  <a:pt x="17719" y="11281"/>
                  <a:pt x="17750" y="11281"/>
                </a:cubicBezTo>
                <a:cubicBezTo>
                  <a:pt x="17719" y="11281"/>
                  <a:pt x="17687" y="11312"/>
                  <a:pt x="17656" y="11312"/>
                </a:cubicBezTo>
                <a:close/>
                <a:moveTo>
                  <a:pt x="18062" y="11125"/>
                </a:moveTo>
                <a:cubicBezTo>
                  <a:pt x="18031" y="11125"/>
                  <a:pt x="17969" y="11125"/>
                  <a:pt x="17906" y="11125"/>
                </a:cubicBezTo>
                <a:cubicBezTo>
                  <a:pt x="17906" y="11125"/>
                  <a:pt x="17906" y="11125"/>
                  <a:pt x="17906" y="11125"/>
                </a:cubicBezTo>
                <a:cubicBezTo>
                  <a:pt x="17906" y="11094"/>
                  <a:pt x="17906" y="11094"/>
                  <a:pt x="17875" y="11062"/>
                </a:cubicBezTo>
                <a:cubicBezTo>
                  <a:pt x="17906" y="11094"/>
                  <a:pt x="17906" y="11094"/>
                  <a:pt x="17906" y="11125"/>
                </a:cubicBezTo>
                <a:cubicBezTo>
                  <a:pt x="17969" y="11125"/>
                  <a:pt x="18031" y="11125"/>
                  <a:pt x="18062" y="11125"/>
                </a:cubicBezTo>
                <a:close/>
                <a:moveTo>
                  <a:pt x="25687" y="5500"/>
                </a:moveTo>
                <a:cubicBezTo>
                  <a:pt x="25594" y="5594"/>
                  <a:pt x="25500" y="5687"/>
                  <a:pt x="25375" y="5719"/>
                </a:cubicBezTo>
                <a:cubicBezTo>
                  <a:pt x="25500" y="5687"/>
                  <a:pt x="25594" y="5594"/>
                  <a:pt x="25687" y="5500"/>
                </a:cubicBezTo>
                <a:close/>
                <a:moveTo>
                  <a:pt x="25031" y="5156"/>
                </a:moveTo>
                <a:cubicBezTo>
                  <a:pt x="25062" y="5156"/>
                  <a:pt x="25094" y="5156"/>
                  <a:pt x="25094" y="5156"/>
                </a:cubicBezTo>
                <a:cubicBezTo>
                  <a:pt x="25094" y="5156"/>
                  <a:pt x="25062" y="5156"/>
                  <a:pt x="25031" y="5156"/>
                </a:cubicBezTo>
                <a:cubicBezTo>
                  <a:pt x="24969" y="5062"/>
                  <a:pt x="24937" y="4969"/>
                  <a:pt x="24937" y="4844"/>
                </a:cubicBezTo>
                <a:cubicBezTo>
                  <a:pt x="24937" y="4969"/>
                  <a:pt x="24969" y="5062"/>
                  <a:pt x="25031" y="5156"/>
                </a:cubicBezTo>
                <a:close/>
                <a:moveTo>
                  <a:pt x="24906" y="5875"/>
                </a:moveTo>
                <a:cubicBezTo>
                  <a:pt x="24937" y="5875"/>
                  <a:pt x="24969" y="5875"/>
                  <a:pt x="25000" y="5875"/>
                </a:cubicBezTo>
                <a:cubicBezTo>
                  <a:pt x="24969" y="5937"/>
                  <a:pt x="24906" y="5969"/>
                  <a:pt x="24875" y="6000"/>
                </a:cubicBezTo>
                <a:cubicBezTo>
                  <a:pt x="24906" y="5969"/>
                  <a:pt x="24969" y="5937"/>
                  <a:pt x="25000" y="5875"/>
                </a:cubicBezTo>
                <a:cubicBezTo>
                  <a:pt x="24969" y="5875"/>
                  <a:pt x="24937" y="5875"/>
                  <a:pt x="24906" y="5875"/>
                </a:cubicBezTo>
                <a:close/>
                <a:moveTo>
                  <a:pt x="24719" y="4344"/>
                </a:moveTo>
                <a:cubicBezTo>
                  <a:pt x="24719" y="4344"/>
                  <a:pt x="24719" y="4344"/>
                  <a:pt x="24719" y="4344"/>
                </a:cubicBezTo>
                <a:cubicBezTo>
                  <a:pt x="24719" y="4344"/>
                  <a:pt x="24719" y="4344"/>
                  <a:pt x="24719" y="4344"/>
                </a:cubicBezTo>
                <a:close/>
                <a:moveTo>
                  <a:pt x="24719" y="5375"/>
                </a:moveTo>
                <a:cubicBezTo>
                  <a:pt x="24781" y="5344"/>
                  <a:pt x="24812" y="5312"/>
                  <a:pt x="24875" y="5281"/>
                </a:cubicBezTo>
                <a:cubicBezTo>
                  <a:pt x="24812" y="5312"/>
                  <a:pt x="24781" y="5344"/>
                  <a:pt x="24719" y="5375"/>
                </a:cubicBezTo>
                <a:close/>
                <a:moveTo>
                  <a:pt x="24781" y="7281"/>
                </a:moveTo>
                <a:cubicBezTo>
                  <a:pt x="24781" y="7281"/>
                  <a:pt x="24781" y="7281"/>
                  <a:pt x="24781" y="7281"/>
                </a:cubicBezTo>
                <a:cubicBezTo>
                  <a:pt x="24750" y="7250"/>
                  <a:pt x="24750" y="7250"/>
                  <a:pt x="24719" y="7250"/>
                </a:cubicBezTo>
                <a:cubicBezTo>
                  <a:pt x="24750" y="7250"/>
                  <a:pt x="24750" y="7250"/>
                  <a:pt x="24781" y="7281"/>
                </a:cubicBezTo>
                <a:close/>
                <a:moveTo>
                  <a:pt x="24687" y="5156"/>
                </a:moveTo>
                <a:cubicBezTo>
                  <a:pt x="24687" y="5156"/>
                  <a:pt x="24687" y="5156"/>
                  <a:pt x="24687" y="5156"/>
                </a:cubicBezTo>
                <a:cubicBezTo>
                  <a:pt x="24687" y="5156"/>
                  <a:pt x="24656" y="5125"/>
                  <a:pt x="24656" y="5125"/>
                </a:cubicBezTo>
                <a:cubicBezTo>
                  <a:pt x="24656" y="5125"/>
                  <a:pt x="24687" y="5156"/>
                  <a:pt x="24687" y="5156"/>
                </a:cubicBezTo>
                <a:close/>
                <a:moveTo>
                  <a:pt x="24594" y="5344"/>
                </a:moveTo>
                <a:cubicBezTo>
                  <a:pt x="24500" y="5312"/>
                  <a:pt x="24375" y="5281"/>
                  <a:pt x="24281" y="5250"/>
                </a:cubicBezTo>
                <a:cubicBezTo>
                  <a:pt x="24375" y="5281"/>
                  <a:pt x="24500" y="5312"/>
                  <a:pt x="24594" y="5344"/>
                </a:cubicBezTo>
                <a:cubicBezTo>
                  <a:pt x="24656" y="5437"/>
                  <a:pt x="24594" y="5500"/>
                  <a:pt x="24562" y="5531"/>
                </a:cubicBezTo>
                <a:cubicBezTo>
                  <a:pt x="24594" y="5500"/>
                  <a:pt x="24656" y="5437"/>
                  <a:pt x="24594" y="5344"/>
                </a:cubicBezTo>
                <a:close/>
                <a:moveTo>
                  <a:pt x="24312" y="4969"/>
                </a:moveTo>
                <a:cubicBezTo>
                  <a:pt x="24312" y="4937"/>
                  <a:pt x="24312" y="4937"/>
                  <a:pt x="24312" y="4906"/>
                </a:cubicBezTo>
                <a:cubicBezTo>
                  <a:pt x="24312" y="4937"/>
                  <a:pt x="24312" y="4937"/>
                  <a:pt x="24312" y="4969"/>
                </a:cubicBezTo>
                <a:close/>
                <a:moveTo>
                  <a:pt x="24312" y="5000"/>
                </a:moveTo>
                <a:cubicBezTo>
                  <a:pt x="24312" y="5062"/>
                  <a:pt x="24281" y="5125"/>
                  <a:pt x="24250" y="5219"/>
                </a:cubicBezTo>
                <a:cubicBezTo>
                  <a:pt x="24312" y="5219"/>
                  <a:pt x="24406" y="5219"/>
                  <a:pt x="24469" y="5250"/>
                </a:cubicBezTo>
                <a:cubicBezTo>
                  <a:pt x="24406" y="5219"/>
                  <a:pt x="24312" y="5219"/>
                  <a:pt x="24250" y="5219"/>
                </a:cubicBezTo>
                <a:cubicBezTo>
                  <a:pt x="24281" y="5125"/>
                  <a:pt x="24312" y="5062"/>
                  <a:pt x="24312" y="5000"/>
                </a:cubicBezTo>
                <a:close/>
                <a:moveTo>
                  <a:pt x="23906" y="4031"/>
                </a:moveTo>
                <a:cubicBezTo>
                  <a:pt x="23906" y="4031"/>
                  <a:pt x="23906" y="4031"/>
                  <a:pt x="23875" y="4031"/>
                </a:cubicBezTo>
                <a:cubicBezTo>
                  <a:pt x="23875" y="4031"/>
                  <a:pt x="23875" y="4031"/>
                  <a:pt x="23875" y="4031"/>
                </a:cubicBezTo>
                <a:cubicBezTo>
                  <a:pt x="23906" y="4031"/>
                  <a:pt x="23906" y="4031"/>
                  <a:pt x="23906" y="4031"/>
                </a:cubicBezTo>
                <a:close/>
                <a:moveTo>
                  <a:pt x="23687" y="6250"/>
                </a:moveTo>
                <a:cubicBezTo>
                  <a:pt x="23687" y="6250"/>
                  <a:pt x="23687" y="6250"/>
                  <a:pt x="23687" y="6250"/>
                </a:cubicBezTo>
                <a:cubicBezTo>
                  <a:pt x="23687" y="6250"/>
                  <a:pt x="23687" y="6250"/>
                  <a:pt x="23687" y="6281"/>
                </a:cubicBezTo>
                <a:cubicBezTo>
                  <a:pt x="23687" y="6250"/>
                  <a:pt x="23687" y="6250"/>
                  <a:pt x="23687" y="6250"/>
                </a:cubicBezTo>
                <a:close/>
                <a:moveTo>
                  <a:pt x="23656" y="5281"/>
                </a:moveTo>
                <a:cubicBezTo>
                  <a:pt x="23656" y="5281"/>
                  <a:pt x="23687" y="5312"/>
                  <a:pt x="23687" y="5312"/>
                </a:cubicBezTo>
                <a:cubicBezTo>
                  <a:pt x="23687" y="5312"/>
                  <a:pt x="23656" y="5281"/>
                  <a:pt x="23656" y="5281"/>
                </a:cubicBezTo>
                <a:cubicBezTo>
                  <a:pt x="23656" y="5281"/>
                  <a:pt x="23656" y="5281"/>
                  <a:pt x="23656" y="5281"/>
                </a:cubicBezTo>
                <a:close/>
                <a:moveTo>
                  <a:pt x="23437" y="6062"/>
                </a:moveTo>
                <a:cubicBezTo>
                  <a:pt x="23437" y="6062"/>
                  <a:pt x="23437" y="6062"/>
                  <a:pt x="23437" y="6062"/>
                </a:cubicBezTo>
                <a:cubicBezTo>
                  <a:pt x="23437" y="6062"/>
                  <a:pt x="23437" y="6062"/>
                  <a:pt x="23437" y="6062"/>
                </a:cubicBezTo>
                <a:cubicBezTo>
                  <a:pt x="23437" y="6062"/>
                  <a:pt x="23437" y="6062"/>
                  <a:pt x="23437" y="6062"/>
                </a:cubicBezTo>
                <a:close/>
                <a:moveTo>
                  <a:pt x="22156" y="3719"/>
                </a:moveTo>
                <a:cubicBezTo>
                  <a:pt x="22156" y="3719"/>
                  <a:pt x="22156" y="3719"/>
                  <a:pt x="22156" y="3750"/>
                </a:cubicBezTo>
                <a:cubicBezTo>
                  <a:pt x="22156" y="3719"/>
                  <a:pt x="22156" y="3719"/>
                  <a:pt x="22156" y="3719"/>
                </a:cubicBezTo>
                <a:cubicBezTo>
                  <a:pt x="22156" y="3719"/>
                  <a:pt x="22156" y="3719"/>
                  <a:pt x="22125" y="3687"/>
                </a:cubicBezTo>
                <a:cubicBezTo>
                  <a:pt x="22156" y="3719"/>
                  <a:pt x="22156" y="3719"/>
                  <a:pt x="22156" y="3719"/>
                </a:cubicBezTo>
                <a:close/>
                <a:moveTo>
                  <a:pt x="19969" y="5219"/>
                </a:moveTo>
                <a:cubicBezTo>
                  <a:pt x="19969" y="5187"/>
                  <a:pt x="20000" y="5187"/>
                  <a:pt x="20031" y="5187"/>
                </a:cubicBezTo>
                <a:cubicBezTo>
                  <a:pt x="20031" y="5187"/>
                  <a:pt x="20031" y="5187"/>
                  <a:pt x="20062" y="5187"/>
                </a:cubicBezTo>
                <a:cubicBezTo>
                  <a:pt x="20031" y="5187"/>
                  <a:pt x="20031" y="5187"/>
                  <a:pt x="20031" y="5187"/>
                </a:cubicBezTo>
                <a:cubicBezTo>
                  <a:pt x="20000" y="5187"/>
                  <a:pt x="19969" y="5187"/>
                  <a:pt x="19969" y="5219"/>
                </a:cubicBezTo>
                <a:close/>
                <a:moveTo>
                  <a:pt x="20031" y="969"/>
                </a:moveTo>
                <a:cubicBezTo>
                  <a:pt x="20031" y="969"/>
                  <a:pt x="20031" y="969"/>
                  <a:pt x="20031" y="969"/>
                </a:cubicBezTo>
                <a:cubicBezTo>
                  <a:pt x="20031" y="937"/>
                  <a:pt x="20031" y="937"/>
                  <a:pt x="20031" y="906"/>
                </a:cubicBezTo>
                <a:cubicBezTo>
                  <a:pt x="20031" y="937"/>
                  <a:pt x="20031" y="937"/>
                  <a:pt x="20031" y="969"/>
                </a:cubicBezTo>
                <a:close/>
                <a:moveTo>
                  <a:pt x="19906" y="2375"/>
                </a:moveTo>
                <a:cubicBezTo>
                  <a:pt x="19906" y="2375"/>
                  <a:pt x="19906" y="2375"/>
                  <a:pt x="19906" y="2375"/>
                </a:cubicBezTo>
                <a:cubicBezTo>
                  <a:pt x="19875" y="2437"/>
                  <a:pt x="19844" y="2469"/>
                  <a:pt x="19781" y="2531"/>
                </a:cubicBezTo>
                <a:cubicBezTo>
                  <a:pt x="19844" y="2469"/>
                  <a:pt x="19875" y="2437"/>
                  <a:pt x="19906" y="2375"/>
                </a:cubicBezTo>
                <a:close/>
                <a:moveTo>
                  <a:pt x="19375" y="4625"/>
                </a:moveTo>
                <a:cubicBezTo>
                  <a:pt x="19375" y="4625"/>
                  <a:pt x="19375" y="4625"/>
                  <a:pt x="19375" y="4625"/>
                </a:cubicBezTo>
                <a:cubicBezTo>
                  <a:pt x="19375" y="4625"/>
                  <a:pt x="19375" y="4625"/>
                  <a:pt x="19375" y="4656"/>
                </a:cubicBezTo>
                <a:cubicBezTo>
                  <a:pt x="19375" y="4625"/>
                  <a:pt x="19375" y="4625"/>
                  <a:pt x="19375" y="4625"/>
                </a:cubicBezTo>
                <a:close/>
                <a:moveTo>
                  <a:pt x="19031" y="2781"/>
                </a:moveTo>
                <a:cubicBezTo>
                  <a:pt x="19031" y="2781"/>
                  <a:pt x="19031" y="2781"/>
                  <a:pt x="19031" y="2781"/>
                </a:cubicBezTo>
                <a:cubicBezTo>
                  <a:pt x="19000" y="2781"/>
                  <a:pt x="19000" y="2781"/>
                  <a:pt x="18969" y="2781"/>
                </a:cubicBezTo>
                <a:cubicBezTo>
                  <a:pt x="19000" y="2781"/>
                  <a:pt x="19000" y="2781"/>
                  <a:pt x="19031" y="2781"/>
                </a:cubicBezTo>
                <a:close/>
                <a:moveTo>
                  <a:pt x="18875" y="469"/>
                </a:moveTo>
                <a:cubicBezTo>
                  <a:pt x="18906" y="469"/>
                  <a:pt x="18969" y="437"/>
                  <a:pt x="18969" y="437"/>
                </a:cubicBezTo>
                <a:cubicBezTo>
                  <a:pt x="18969" y="437"/>
                  <a:pt x="18906" y="469"/>
                  <a:pt x="18875" y="469"/>
                </a:cubicBezTo>
                <a:cubicBezTo>
                  <a:pt x="18844" y="500"/>
                  <a:pt x="18812" y="531"/>
                  <a:pt x="18781" y="562"/>
                </a:cubicBezTo>
                <a:cubicBezTo>
                  <a:pt x="18812" y="531"/>
                  <a:pt x="18844" y="500"/>
                  <a:pt x="18875" y="469"/>
                </a:cubicBezTo>
                <a:close/>
                <a:moveTo>
                  <a:pt x="18875" y="1937"/>
                </a:moveTo>
                <a:cubicBezTo>
                  <a:pt x="18844" y="1969"/>
                  <a:pt x="18844" y="2000"/>
                  <a:pt x="18844" y="2031"/>
                </a:cubicBezTo>
                <a:cubicBezTo>
                  <a:pt x="18844" y="2000"/>
                  <a:pt x="18844" y="1969"/>
                  <a:pt x="18875" y="1937"/>
                </a:cubicBezTo>
                <a:close/>
                <a:moveTo>
                  <a:pt x="18469" y="500"/>
                </a:moveTo>
                <a:cubicBezTo>
                  <a:pt x="18437" y="531"/>
                  <a:pt x="18469" y="594"/>
                  <a:pt x="18500" y="656"/>
                </a:cubicBezTo>
                <a:cubicBezTo>
                  <a:pt x="18469" y="594"/>
                  <a:pt x="18437" y="531"/>
                  <a:pt x="18469" y="500"/>
                </a:cubicBezTo>
                <a:close/>
                <a:moveTo>
                  <a:pt x="18094" y="2844"/>
                </a:moveTo>
                <a:cubicBezTo>
                  <a:pt x="18094" y="2844"/>
                  <a:pt x="18094" y="2844"/>
                  <a:pt x="18094" y="2844"/>
                </a:cubicBezTo>
                <a:cubicBezTo>
                  <a:pt x="18094" y="2844"/>
                  <a:pt x="18094" y="2844"/>
                  <a:pt x="18094" y="2844"/>
                </a:cubicBezTo>
                <a:cubicBezTo>
                  <a:pt x="18094" y="2844"/>
                  <a:pt x="18094" y="2844"/>
                  <a:pt x="18094" y="2844"/>
                </a:cubicBezTo>
                <a:close/>
                <a:moveTo>
                  <a:pt x="18187" y="5875"/>
                </a:moveTo>
                <a:cubicBezTo>
                  <a:pt x="18187" y="5875"/>
                  <a:pt x="18187" y="5875"/>
                  <a:pt x="18219" y="5875"/>
                </a:cubicBezTo>
                <a:cubicBezTo>
                  <a:pt x="18219" y="5875"/>
                  <a:pt x="18219" y="5875"/>
                  <a:pt x="18219" y="5875"/>
                </a:cubicBezTo>
                <a:cubicBezTo>
                  <a:pt x="18187" y="5875"/>
                  <a:pt x="18187" y="5875"/>
                  <a:pt x="18187" y="5875"/>
                </a:cubicBezTo>
                <a:close/>
                <a:moveTo>
                  <a:pt x="18219" y="9406"/>
                </a:moveTo>
                <a:cubicBezTo>
                  <a:pt x="18250" y="9437"/>
                  <a:pt x="18250" y="9437"/>
                  <a:pt x="18281" y="9437"/>
                </a:cubicBezTo>
                <a:cubicBezTo>
                  <a:pt x="18250" y="9437"/>
                  <a:pt x="18250" y="9437"/>
                  <a:pt x="18219" y="9406"/>
                </a:cubicBezTo>
                <a:close/>
                <a:moveTo>
                  <a:pt x="18687" y="8750"/>
                </a:moveTo>
                <a:cubicBezTo>
                  <a:pt x="18750" y="8750"/>
                  <a:pt x="18781" y="8719"/>
                  <a:pt x="18812" y="8719"/>
                </a:cubicBezTo>
                <a:cubicBezTo>
                  <a:pt x="18781" y="8719"/>
                  <a:pt x="18750" y="8750"/>
                  <a:pt x="18687" y="8750"/>
                </a:cubicBezTo>
                <a:close/>
                <a:moveTo>
                  <a:pt x="19094" y="9750"/>
                </a:moveTo>
                <a:cubicBezTo>
                  <a:pt x="19094" y="9750"/>
                  <a:pt x="19062" y="9750"/>
                  <a:pt x="19062" y="9750"/>
                </a:cubicBezTo>
                <a:cubicBezTo>
                  <a:pt x="19062" y="9750"/>
                  <a:pt x="19031" y="9750"/>
                  <a:pt x="19031" y="9750"/>
                </a:cubicBezTo>
                <a:cubicBezTo>
                  <a:pt x="19031" y="9750"/>
                  <a:pt x="19062" y="9750"/>
                  <a:pt x="19062" y="9750"/>
                </a:cubicBezTo>
                <a:cubicBezTo>
                  <a:pt x="19094" y="9750"/>
                  <a:pt x="19094" y="9750"/>
                  <a:pt x="19094" y="9750"/>
                </a:cubicBezTo>
                <a:close/>
                <a:moveTo>
                  <a:pt x="19594" y="10500"/>
                </a:moveTo>
                <a:cubicBezTo>
                  <a:pt x="19562" y="10562"/>
                  <a:pt x="19500" y="10562"/>
                  <a:pt x="19469" y="10594"/>
                </a:cubicBezTo>
                <a:cubicBezTo>
                  <a:pt x="19500" y="10562"/>
                  <a:pt x="19562" y="10562"/>
                  <a:pt x="19594" y="10500"/>
                </a:cubicBezTo>
                <a:cubicBezTo>
                  <a:pt x="19625" y="10500"/>
                  <a:pt x="19656" y="10500"/>
                  <a:pt x="19656" y="10500"/>
                </a:cubicBezTo>
                <a:cubicBezTo>
                  <a:pt x="19656" y="10500"/>
                  <a:pt x="19625" y="10500"/>
                  <a:pt x="19594" y="10500"/>
                </a:cubicBezTo>
                <a:close/>
                <a:moveTo>
                  <a:pt x="19969" y="9656"/>
                </a:moveTo>
                <a:cubicBezTo>
                  <a:pt x="19937" y="9656"/>
                  <a:pt x="19937" y="9625"/>
                  <a:pt x="19906" y="9594"/>
                </a:cubicBezTo>
                <a:cubicBezTo>
                  <a:pt x="19750" y="9531"/>
                  <a:pt x="19625" y="9500"/>
                  <a:pt x="19531" y="9687"/>
                </a:cubicBezTo>
                <a:cubicBezTo>
                  <a:pt x="19531" y="9687"/>
                  <a:pt x="19531" y="9687"/>
                  <a:pt x="19531" y="9687"/>
                </a:cubicBezTo>
                <a:cubicBezTo>
                  <a:pt x="19625" y="9500"/>
                  <a:pt x="19750" y="9531"/>
                  <a:pt x="19906" y="9594"/>
                </a:cubicBezTo>
                <a:cubicBezTo>
                  <a:pt x="19937" y="9625"/>
                  <a:pt x="19937" y="9656"/>
                  <a:pt x="19969" y="9656"/>
                </a:cubicBezTo>
                <a:close/>
                <a:moveTo>
                  <a:pt x="19875" y="10250"/>
                </a:moveTo>
                <a:cubicBezTo>
                  <a:pt x="19875" y="10219"/>
                  <a:pt x="19875" y="10219"/>
                  <a:pt x="19875" y="10187"/>
                </a:cubicBezTo>
                <a:cubicBezTo>
                  <a:pt x="19875" y="10187"/>
                  <a:pt x="19875" y="10187"/>
                  <a:pt x="19875" y="10187"/>
                </a:cubicBezTo>
                <a:cubicBezTo>
                  <a:pt x="19875" y="10219"/>
                  <a:pt x="19875" y="10219"/>
                  <a:pt x="19875" y="10250"/>
                </a:cubicBezTo>
                <a:close/>
                <a:moveTo>
                  <a:pt x="19625" y="9937"/>
                </a:moveTo>
                <a:cubicBezTo>
                  <a:pt x="19625" y="9937"/>
                  <a:pt x="19594" y="9937"/>
                  <a:pt x="19594" y="9937"/>
                </a:cubicBezTo>
                <a:cubicBezTo>
                  <a:pt x="19594" y="9937"/>
                  <a:pt x="19594" y="9937"/>
                  <a:pt x="19594" y="9937"/>
                </a:cubicBezTo>
                <a:lnTo>
                  <a:pt x="19625" y="9937"/>
                </a:lnTo>
                <a:close/>
                <a:moveTo>
                  <a:pt x="19906" y="10562"/>
                </a:moveTo>
                <a:cubicBezTo>
                  <a:pt x="19875" y="10531"/>
                  <a:pt x="19844" y="10531"/>
                  <a:pt x="19844" y="10531"/>
                </a:cubicBezTo>
                <a:cubicBezTo>
                  <a:pt x="19844" y="10531"/>
                  <a:pt x="19875" y="10531"/>
                  <a:pt x="19906" y="10562"/>
                </a:cubicBezTo>
                <a:cubicBezTo>
                  <a:pt x="20062" y="10625"/>
                  <a:pt x="20219" y="10687"/>
                  <a:pt x="20312" y="10812"/>
                </a:cubicBezTo>
                <a:cubicBezTo>
                  <a:pt x="20219" y="10687"/>
                  <a:pt x="20062" y="10625"/>
                  <a:pt x="19906" y="10562"/>
                </a:cubicBezTo>
                <a:close/>
                <a:moveTo>
                  <a:pt x="20094" y="9312"/>
                </a:moveTo>
                <a:cubicBezTo>
                  <a:pt x="20281" y="9281"/>
                  <a:pt x="20469" y="9281"/>
                  <a:pt x="20625" y="9219"/>
                </a:cubicBezTo>
                <a:cubicBezTo>
                  <a:pt x="20625" y="9219"/>
                  <a:pt x="20625" y="9219"/>
                  <a:pt x="20625" y="9219"/>
                </a:cubicBezTo>
                <a:cubicBezTo>
                  <a:pt x="20469" y="9281"/>
                  <a:pt x="20281" y="9281"/>
                  <a:pt x="20094" y="9312"/>
                </a:cubicBezTo>
                <a:close/>
                <a:moveTo>
                  <a:pt x="20312" y="8594"/>
                </a:moveTo>
                <a:cubicBezTo>
                  <a:pt x="20312" y="8594"/>
                  <a:pt x="20312" y="8594"/>
                  <a:pt x="20312" y="8594"/>
                </a:cubicBezTo>
                <a:cubicBezTo>
                  <a:pt x="20312" y="8594"/>
                  <a:pt x="20312" y="8594"/>
                  <a:pt x="20312" y="8594"/>
                </a:cubicBezTo>
                <a:close/>
                <a:moveTo>
                  <a:pt x="20469" y="10281"/>
                </a:moveTo>
                <a:cubicBezTo>
                  <a:pt x="20469" y="10281"/>
                  <a:pt x="20469" y="10281"/>
                  <a:pt x="20469" y="10281"/>
                </a:cubicBezTo>
                <a:cubicBezTo>
                  <a:pt x="20469" y="10281"/>
                  <a:pt x="20469" y="10281"/>
                  <a:pt x="20469" y="10281"/>
                </a:cubicBezTo>
                <a:close/>
                <a:moveTo>
                  <a:pt x="20594" y="10312"/>
                </a:moveTo>
                <a:cubicBezTo>
                  <a:pt x="20562" y="10312"/>
                  <a:pt x="20531" y="10344"/>
                  <a:pt x="20531" y="10344"/>
                </a:cubicBezTo>
                <a:cubicBezTo>
                  <a:pt x="20531" y="10344"/>
                  <a:pt x="20562" y="10312"/>
                  <a:pt x="20594" y="10312"/>
                </a:cubicBezTo>
                <a:cubicBezTo>
                  <a:pt x="20687" y="10281"/>
                  <a:pt x="20781" y="10250"/>
                  <a:pt x="20844" y="10187"/>
                </a:cubicBezTo>
                <a:cubicBezTo>
                  <a:pt x="20781" y="10250"/>
                  <a:pt x="20687" y="10281"/>
                  <a:pt x="20594" y="10312"/>
                </a:cubicBezTo>
                <a:close/>
                <a:moveTo>
                  <a:pt x="21531" y="6719"/>
                </a:moveTo>
                <a:cubicBezTo>
                  <a:pt x="21531" y="6719"/>
                  <a:pt x="21531" y="6719"/>
                  <a:pt x="21531" y="6719"/>
                </a:cubicBezTo>
                <a:cubicBezTo>
                  <a:pt x="21562" y="6656"/>
                  <a:pt x="21594" y="6656"/>
                  <a:pt x="21625" y="6656"/>
                </a:cubicBezTo>
                <a:cubicBezTo>
                  <a:pt x="21594" y="6656"/>
                  <a:pt x="21562" y="6656"/>
                  <a:pt x="21531" y="6719"/>
                </a:cubicBezTo>
                <a:close/>
                <a:moveTo>
                  <a:pt x="21750" y="6625"/>
                </a:moveTo>
                <a:cubicBezTo>
                  <a:pt x="21750" y="6625"/>
                  <a:pt x="21750" y="6625"/>
                  <a:pt x="21750" y="6625"/>
                </a:cubicBezTo>
                <a:cubicBezTo>
                  <a:pt x="21750" y="6625"/>
                  <a:pt x="21750" y="6625"/>
                  <a:pt x="21750" y="6625"/>
                </a:cubicBezTo>
                <a:cubicBezTo>
                  <a:pt x="21750" y="6625"/>
                  <a:pt x="21750" y="6625"/>
                  <a:pt x="21750" y="6625"/>
                </a:cubicBezTo>
                <a:close/>
                <a:moveTo>
                  <a:pt x="21969" y="6156"/>
                </a:moveTo>
                <a:cubicBezTo>
                  <a:pt x="21812" y="6156"/>
                  <a:pt x="21656" y="6219"/>
                  <a:pt x="21531" y="6250"/>
                </a:cubicBezTo>
                <a:cubicBezTo>
                  <a:pt x="21375" y="6312"/>
                  <a:pt x="21156" y="6344"/>
                  <a:pt x="21031" y="6500"/>
                </a:cubicBezTo>
                <a:cubicBezTo>
                  <a:pt x="20969" y="6562"/>
                  <a:pt x="20906" y="6625"/>
                  <a:pt x="20906" y="6719"/>
                </a:cubicBezTo>
                <a:cubicBezTo>
                  <a:pt x="20906" y="6812"/>
                  <a:pt x="20875" y="6875"/>
                  <a:pt x="20781" y="6906"/>
                </a:cubicBezTo>
                <a:cubicBezTo>
                  <a:pt x="20594" y="6969"/>
                  <a:pt x="20437" y="6875"/>
                  <a:pt x="20250" y="6875"/>
                </a:cubicBezTo>
                <a:cubicBezTo>
                  <a:pt x="20094" y="6875"/>
                  <a:pt x="19969" y="6906"/>
                  <a:pt x="19844" y="7000"/>
                </a:cubicBezTo>
                <a:cubicBezTo>
                  <a:pt x="19844" y="7000"/>
                  <a:pt x="19844" y="7000"/>
                  <a:pt x="19844" y="7000"/>
                </a:cubicBezTo>
                <a:cubicBezTo>
                  <a:pt x="19500" y="7031"/>
                  <a:pt x="19187" y="7000"/>
                  <a:pt x="18844" y="6906"/>
                </a:cubicBezTo>
                <a:cubicBezTo>
                  <a:pt x="18844" y="6906"/>
                  <a:pt x="18844" y="6906"/>
                  <a:pt x="18844" y="6906"/>
                </a:cubicBezTo>
                <a:cubicBezTo>
                  <a:pt x="18844" y="6812"/>
                  <a:pt x="18812" y="6750"/>
                  <a:pt x="18812" y="6656"/>
                </a:cubicBezTo>
                <a:cubicBezTo>
                  <a:pt x="18781" y="6375"/>
                  <a:pt x="18969" y="6250"/>
                  <a:pt x="19187" y="6156"/>
                </a:cubicBezTo>
                <a:cubicBezTo>
                  <a:pt x="18969" y="5969"/>
                  <a:pt x="18781" y="5844"/>
                  <a:pt x="18500" y="5937"/>
                </a:cubicBezTo>
                <a:cubicBezTo>
                  <a:pt x="18375" y="5750"/>
                  <a:pt x="18250" y="5562"/>
                  <a:pt x="18094" y="5375"/>
                </a:cubicBezTo>
                <a:cubicBezTo>
                  <a:pt x="18500" y="5312"/>
                  <a:pt x="18875" y="5375"/>
                  <a:pt x="19250" y="5375"/>
                </a:cubicBezTo>
                <a:cubicBezTo>
                  <a:pt x="19250" y="5344"/>
                  <a:pt x="19250" y="5344"/>
                  <a:pt x="19250" y="5344"/>
                </a:cubicBezTo>
                <a:cubicBezTo>
                  <a:pt x="19250" y="5344"/>
                  <a:pt x="19250" y="5344"/>
                  <a:pt x="19250" y="5375"/>
                </a:cubicBezTo>
                <a:cubicBezTo>
                  <a:pt x="19750" y="5437"/>
                  <a:pt x="20250" y="5562"/>
                  <a:pt x="20719" y="5750"/>
                </a:cubicBezTo>
                <a:cubicBezTo>
                  <a:pt x="21156" y="5906"/>
                  <a:pt x="21625" y="5906"/>
                  <a:pt x="22062" y="5969"/>
                </a:cubicBezTo>
                <a:cubicBezTo>
                  <a:pt x="22125" y="5969"/>
                  <a:pt x="22219" y="5937"/>
                  <a:pt x="22281" y="6000"/>
                </a:cubicBezTo>
                <a:cubicBezTo>
                  <a:pt x="22187" y="6094"/>
                  <a:pt x="22062" y="6094"/>
                  <a:pt x="21969" y="6156"/>
                </a:cubicBezTo>
                <a:cubicBezTo>
                  <a:pt x="22312" y="6156"/>
                  <a:pt x="22687" y="6156"/>
                  <a:pt x="23031" y="6062"/>
                </a:cubicBezTo>
                <a:cubicBezTo>
                  <a:pt x="22687" y="6156"/>
                  <a:pt x="22312" y="6156"/>
                  <a:pt x="21969" y="6156"/>
                </a:cubicBezTo>
                <a:close/>
                <a:moveTo>
                  <a:pt x="22219" y="9594"/>
                </a:moveTo>
                <a:cubicBezTo>
                  <a:pt x="22187" y="9594"/>
                  <a:pt x="22156" y="9594"/>
                  <a:pt x="22156" y="9625"/>
                </a:cubicBezTo>
                <a:cubicBezTo>
                  <a:pt x="22156" y="9594"/>
                  <a:pt x="22187" y="9594"/>
                  <a:pt x="22219" y="9594"/>
                </a:cubicBezTo>
                <a:cubicBezTo>
                  <a:pt x="22281" y="9500"/>
                  <a:pt x="22344" y="9469"/>
                  <a:pt x="22406" y="9406"/>
                </a:cubicBezTo>
                <a:cubicBezTo>
                  <a:pt x="22344" y="9469"/>
                  <a:pt x="22281" y="9500"/>
                  <a:pt x="22219" y="9594"/>
                </a:cubicBezTo>
                <a:close/>
                <a:moveTo>
                  <a:pt x="22094" y="6437"/>
                </a:moveTo>
                <a:cubicBezTo>
                  <a:pt x="22094" y="6437"/>
                  <a:pt x="22062" y="6437"/>
                  <a:pt x="22062" y="6469"/>
                </a:cubicBezTo>
                <a:cubicBezTo>
                  <a:pt x="22062" y="6437"/>
                  <a:pt x="22094" y="6437"/>
                  <a:pt x="22094" y="6437"/>
                </a:cubicBezTo>
                <a:cubicBezTo>
                  <a:pt x="22281" y="6437"/>
                  <a:pt x="22469" y="6406"/>
                  <a:pt x="22625" y="6375"/>
                </a:cubicBezTo>
                <a:cubicBezTo>
                  <a:pt x="22469" y="6406"/>
                  <a:pt x="22281" y="6437"/>
                  <a:pt x="22094" y="6437"/>
                </a:cubicBezTo>
                <a:close/>
                <a:moveTo>
                  <a:pt x="22875" y="12000"/>
                </a:moveTo>
                <a:cubicBezTo>
                  <a:pt x="22875" y="12031"/>
                  <a:pt x="22875" y="12031"/>
                  <a:pt x="22875" y="12062"/>
                </a:cubicBezTo>
                <a:cubicBezTo>
                  <a:pt x="22875" y="12031"/>
                  <a:pt x="22875" y="12031"/>
                  <a:pt x="22875" y="12000"/>
                </a:cubicBezTo>
                <a:close/>
                <a:moveTo>
                  <a:pt x="22969" y="8969"/>
                </a:moveTo>
                <a:cubicBezTo>
                  <a:pt x="23125" y="9094"/>
                  <a:pt x="23312" y="9094"/>
                  <a:pt x="23594" y="8937"/>
                </a:cubicBezTo>
                <a:cubicBezTo>
                  <a:pt x="23594" y="8937"/>
                  <a:pt x="23594" y="8937"/>
                  <a:pt x="23594" y="8937"/>
                </a:cubicBezTo>
                <a:cubicBezTo>
                  <a:pt x="23312" y="9094"/>
                  <a:pt x="23125" y="9094"/>
                  <a:pt x="22969" y="8969"/>
                </a:cubicBezTo>
                <a:close/>
                <a:moveTo>
                  <a:pt x="23281" y="9937"/>
                </a:moveTo>
                <a:cubicBezTo>
                  <a:pt x="23281" y="9937"/>
                  <a:pt x="23281" y="9937"/>
                  <a:pt x="23281" y="9937"/>
                </a:cubicBezTo>
                <a:cubicBezTo>
                  <a:pt x="23281" y="9937"/>
                  <a:pt x="23281" y="9937"/>
                  <a:pt x="23281" y="9937"/>
                </a:cubicBezTo>
                <a:cubicBezTo>
                  <a:pt x="23375" y="9937"/>
                  <a:pt x="23437" y="9969"/>
                  <a:pt x="23469" y="10000"/>
                </a:cubicBezTo>
                <a:cubicBezTo>
                  <a:pt x="23437" y="9969"/>
                  <a:pt x="23375" y="9937"/>
                  <a:pt x="23281" y="9937"/>
                </a:cubicBezTo>
                <a:close/>
                <a:moveTo>
                  <a:pt x="23625" y="10125"/>
                </a:moveTo>
                <a:cubicBezTo>
                  <a:pt x="23594" y="10094"/>
                  <a:pt x="23562" y="10062"/>
                  <a:pt x="23531" y="10031"/>
                </a:cubicBezTo>
                <a:cubicBezTo>
                  <a:pt x="23562" y="10062"/>
                  <a:pt x="23594" y="10094"/>
                  <a:pt x="23625" y="10125"/>
                </a:cubicBezTo>
                <a:close/>
                <a:moveTo>
                  <a:pt x="23594" y="10906"/>
                </a:moveTo>
                <a:cubicBezTo>
                  <a:pt x="23594" y="10906"/>
                  <a:pt x="23594" y="10906"/>
                  <a:pt x="23594" y="10906"/>
                </a:cubicBezTo>
                <a:cubicBezTo>
                  <a:pt x="23625" y="10906"/>
                  <a:pt x="23656" y="10937"/>
                  <a:pt x="23687" y="10937"/>
                </a:cubicBezTo>
                <a:cubicBezTo>
                  <a:pt x="23656" y="10937"/>
                  <a:pt x="23625" y="10906"/>
                  <a:pt x="23594" y="10906"/>
                </a:cubicBezTo>
                <a:close/>
                <a:moveTo>
                  <a:pt x="23625" y="8812"/>
                </a:moveTo>
                <a:cubicBezTo>
                  <a:pt x="23687" y="8719"/>
                  <a:pt x="23750" y="8687"/>
                  <a:pt x="23844" y="8687"/>
                </a:cubicBezTo>
                <a:cubicBezTo>
                  <a:pt x="23750" y="8687"/>
                  <a:pt x="23687" y="8719"/>
                  <a:pt x="23625" y="8812"/>
                </a:cubicBezTo>
                <a:close/>
                <a:moveTo>
                  <a:pt x="23844" y="5875"/>
                </a:moveTo>
                <a:cubicBezTo>
                  <a:pt x="23844" y="5875"/>
                  <a:pt x="23844" y="5875"/>
                  <a:pt x="23844" y="5875"/>
                </a:cubicBezTo>
                <a:cubicBezTo>
                  <a:pt x="23844" y="5875"/>
                  <a:pt x="23844" y="5875"/>
                  <a:pt x="23844" y="5875"/>
                </a:cubicBezTo>
                <a:cubicBezTo>
                  <a:pt x="23844" y="5875"/>
                  <a:pt x="23844" y="5875"/>
                  <a:pt x="23844" y="5875"/>
                </a:cubicBezTo>
                <a:close/>
                <a:moveTo>
                  <a:pt x="23937" y="5125"/>
                </a:moveTo>
                <a:cubicBezTo>
                  <a:pt x="23906" y="5062"/>
                  <a:pt x="23844" y="5000"/>
                  <a:pt x="23812" y="5000"/>
                </a:cubicBezTo>
                <a:cubicBezTo>
                  <a:pt x="23844" y="5000"/>
                  <a:pt x="23906" y="5062"/>
                  <a:pt x="23937" y="5125"/>
                </a:cubicBezTo>
                <a:cubicBezTo>
                  <a:pt x="23969" y="5156"/>
                  <a:pt x="24000" y="5156"/>
                  <a:pt x="24031" y="5156"/>
                </a:cubicBezTo>
                <a:cubicBezTo>
                  <a:pt x="24000" y="5156"/>
                  <a:pt x="23969" y="5156"/>
                  <a:pt x="23937" y="5125"/>
                </a:cubicBezTo>
                <a:close/>
                <a:moveTo>
                  <a:pt x="24156" y="10719"/>
                </a:moveTo>
                <a:cubicBezTo>
                  <a:pt x="24344" y="10781"/>
                  <a:pt x="24531" y="10812"/>
                  <a:pt x="24719" y="10812"/>
                </a:cubicBezTo>
                <a:cubicBezTo>
                  <a:pt x="24531" y="10812"/>
                  <a:pt x="24344" y="10781"/>
                  <a:pt x="24156" y="10719"/>
                </a:cubicBezTo>
                <a:cubicBezTo>
                  <a:pt x="24156" y="10719"/>
                  <a:pt x="24156" y="10719"/>
                  <a:pt x="24156" y="10719"/>
                </a:cubicBezTo>
                <a:close/>
                <a:moveTo>
                  <a:pt x="24437" y="11437"/>
                </a:moveTo>
                <a:cubicBezTo>
                  <a:pt x="24437" y="11437"/>
                  <a:pt x="24437" y="11469"/>
                  <a:pt x="24437" y="11469"/>
                </a:cubicBezTo>
                <a:cubicBezTo>
                  <a:pt x="24437" y="11469"/>
                  <a:pt x="24437" y="11437"/>
                  <a:pt x="24437" y="11437"/>
                </a:cubicBezTo>
                <a:close/>
                <a:moveTo>
                  <a:pt x="24437" y="11406"/>
                </a:moveTo>
                <a:cubicBezTo>
                  <a:pt x="24437" y="11344"/>
                  <a:pt x="24469" y="11281"/>
                  <a:pt x="24437" y="11250"/>
                </a:cubicBezTo>
                <a:cubicBezTo>
                  <a:pt x="24469" y="11281"/>
                  <a:pt x="24437" y="11344"/>
                  <a:pt x="24437" y="11406"/>
                </a:cubicBezTo>
                <a:close/>
                <a:moveTo>
                  <a:pt x="24937" y="11437"/>
                </a:moveTo>
                <a:cubicBezTo>
                  <a:pt x="24875" y="11437"/>
                  <a:pt x="24844" y="11406"/>
                  <a:pt x="24812" y="11344"/>
                </a:cubicBezTo>
                <a:cubicBezTo>
                  <a:pt x="24844" y="11406"/>
                  <a:pt x="24875" y="11437"/>
                  <a:pt x="24937" y="11437"/>
                </a:cubicBezTo>
                <a:cubicBezTo>
                  <a:pt x="24969" y="11500"/>
                  <a:pt x="25000" y="11594"/>
                  <a:pt x="25062" y="11625"/>
                </a:cubicBezTo>
                <a:cubicBezTo>
                  <a:pt x="25000" y="11594"/>
                  <a:pt x="24969" y="11500"/>
                  <a:pt x="24937" y="11437"/>
                </a:cubicBezTo>
                <a:close/>
                <a:moveTo>
                  <a:pt x="24937" y="11437"/>
                </a:moveTo>
                <a:cubicBezTo>
                  <a:pt x="24937" y="11437"/>
                  <a:pt x="24937" y="11437"/>
                  <a:pt x="24937" y="11437"/>
                </a:cubicBezTo>
                <a:cubicBezTo>
                  <a:pt x="24906" y="11344"/>
                  <a:pt x="24844" y="11312"/>
                  <a:pt x="24781" y="11281"/>
                </a:cubicBezTo>
                <a:cubicBezTo>
                  <a:pt x="24781" y="11281"/>
                  <a:pt x="24781" y="11281"/>
                  <a:pt x="24781" y="11281"/>
                </a:cubicBezTo>
                <a:cubicBezTo>
                  <a:pt x="24844" y="11312"/>
                  <a:pt x="24906" y="11344"/>
                  <a:pt x="24937" y="11437"/>
                </a:cubicBezTo>
                <a:cubicBezTo>
                  <a:pt x="25000" y="11469"/>
                  <a:pt x="25062" y="11562"/>
                  <a:pt x="25094" y="11625"/>
                </a:cubicBezTo>
                <a:cubicBezTo>
                  <a:pt x="25062" y="11562"/>
                  <a:pt x="25000" y="11469"/>
                  <a:pt x="24937" y="11437"/>
                </a:cubicBezTo>
                <a:close/>
                <a:moveTo>
                  <a:pt x="25625" y="11031"/>
                </a:moveTo>
                <a:cubicBezTo>
                  <a:pt x="25625" y="11031"/>
                  <a:pt x="25594" y="11031"/>
                  <a:pt x="25594" y="11031"/>
                </a:cubicBezTo>
                <a:cubicBezTo>
                  <a:pt x="25594" y="11031"/>
                  <a:pt x="25625" y="11031"/>
                  <a:pt x="25625" y="11031"/>
                </a:cubicBezTo>
                <a:cubicBezTo>
                  <a:pt x="25625" y="11031"/>
                  <a:pt x="25625" y="11031"/>
                  <a:pt x="25625" y="11031"/>
                </a:cubicBezTo>
                <a:close/>
                <a:moveTo>
                  <a:pt x="25781" y="9312"/>
                </a:moveTo>
                <a:cubicBezTo>
                  <a:pt x="25750" y="9312"/>
                  <a:pt x="25750" y="9312"/>
                  <a:pt x="25719" y="9312"/>
                </a:cubicBezTo>
                <a:cubicBezTo>
                  <a:pt x="25750" y="9312"/>
                  <a:pt x="25750" y="9312"/>
                  <a:pt x="25781" y="9312"/>
                </a:cubicBezTo>
                <a:cubicBezTo>
                  <a:pt x="25812" y="9344"/>
                  <a:pt x="25875" y="9344"/>
                  <a:pt x="25906" y="9344"/>
                </a:cubicBezTo>
                <a:cubicBezTo>
                  <a:pt x="25875" y="9344"/>
                  <a:pt x="25812" y="9344"/>
                  <a:pt x="25781" y="9312"/>
                </a:cubicBezTo>
                <a:close/>
                <a:moveTo>
                  <a:pt x="25906" y="9406"/>
                </a:moveTo>
                <a:cubicBezTo>
                  <a:pt x="25906" y="9406"/>
                  <a:pt x="25906" y="9406"/>
                  <a:pt x="25906" y="9406"/>
                </a:cubicBezTo>
                <a:cubicBezTo>
                  <a:pt x="25906" y="9406"/>
                  <a:pt x="25906" y="9406"/>
                  <a:pt x="25906" y="9437"/>
                </a:cubicBezTo>
                <a:lnTo>
                  <a:pt x="25906" y="9406"/>
                </a:lnTo>
                <a:close/>
                <a:moveTo>
                  <a:pt x="26000" y="9344"/>
                </a:moveTo>
                <a:cubicBezTo>
                  <a:pt x="26000" y="9344"/>
                  <a:pt x="26000" y="9344"/>
                  <a:pt x="26000" y="9344"/>
                </a:cubicBezTo>
                <a:cubicBezTo>
                  <a:pt x="26000" y="9344"/>
                  <a:pt x="26000" y="9344"/>
                  <a:pt x="26031" y="9344"/>
                </a:cubicBezTo>
                <a:cubicBezTo>
                  <a:pt x="26000" y="9344"/>
                  <a:pt x="26000" y="9344"/>
                  <a:pt x="26000" y="9344"/>
                </a:cubicBezTo>
                <a:close/>
                <a:moveTo>
                  <a:pt x="26187" y="10062"/>
                </a:moveTo>
                <a:cubicBezTo>
                  <a:pt x="26187" y="10094"/>
                  <a:pt x="26219" y="10094"/>
                  <a:pt x="26219" y="10094"/>
                </a:cubicBezTo>
                <a:cubicBezTo>
                  <a:pt x="26219" y="10094"/>
                  <a:pt x="26187" y="10094"/>
                  <a:pt x="26187" y="10062"/>
                </a:cubicBezTo>
                <a:close/>
                <a:moveTo>
                  <a:pt x="26562" y="10656"/>
                </a:moveTo>
                <a:cubicBezTo>
                  <a:pt x="26562" y="10719"/>
                  <a:pt x="26562" y="10750"/>
                  <a:pt x="26594" y="10781"/>
                </a:cubicBezTo>
                <a:cubicBezTo>
                  <a:pt x="26562" y="10750"/>
                  <a:pt x="26562" y="10719"/>
                  <a:pt x="26562" y="10656"/>
                </a:cubicBezTo>
                <a:close/>
                <a:moveTo>
                  <a:pt x="26750" y="10781"/>
                </a:moveTo>
                <a:cubicBezTo>
                  <a:pt x="26750" y="10781"/>
                  <a:pt x="26750" y="10781"/>
                  <a:pt x="26750" y="10781"/>
                </a:cubicBezTo>
                <a:cubicBezTo>
                  <a:pt x="26750" y="10781"/>
                  <a:pt x="26750" y="10781"/>
                  <a:pt x="26750" y="10781"/>
                </a:cubicBezTo>
                <a:close/>
                <a:moveTo>
                  <a:pt x="26781" y="13656"/>
                </a:moveTo>
                <a:cubicBezTo>
                  <a:pt x="26781" y="13656"/>
                  <a:pt x="26781" y="13687"/>
                  <a:pt x="26781" y="13687"/>
                </a:cubicBezTo>
                <a:cubicBezTo>
                  <a:pt x="26781" y="13687"/>
                  <a:pt x="26781" y="13656"/>
                  <a:pt x="26781" y="13656"/>
                </a:cubicBezTo>
                <a:cubicBezTo>
                  <a:pt x="26844" y="13562"/>
                  <a:pt x="26844" y="13437"/>
                  <a:pt x="26875" y="13312"/>
                </a:cubicBezTo>
                <a:cubicBezTo>
                  <a:pt x="26844" y="13437"/>
                  <a:pt x="26844" y="13562"/>
                  <a:pt x="26781" y="13656"/>
                </a:cubicBezTo>
                <a:close/>
                <a:moveTo>
                  <a:pt x="26875" y="10000"/>
                </a:moveTo>
                <a:cubicBezTo>
                  <a:pt x="26844" y="9906"/>
                  <a:pt x="26812" y="9844"/>
                  <a:pt x="26781" y="9781"/>
                </a:cubicBezTo>
                <a:cubicBezTo>
                  <a:pt x="26812" y="9844"/>
                  <a:pt x="26844" y="9906"/>
                  <a:pt x="26875" y="10000"/>
                </a:cubicBezTo>
                <a:cubicBezTo>
                  <a:pt x="26875" y="10000"/>
                  <a:pt x="26875" y="10000"/>
                  <a:pt x="26875" y="10000"/>
                </a:cubicBezTo>
                <a:close/>
                <a:moveTo>
                  <a:pt x="26937" y="10562"/>
                </a:moveTo>
                <a:cubicBezTo>
                  <a:pt x="26906" y="10562"/>
                  <a:pt x="26906" y="10562"/>
                  <a:pt x="26906" y="10562"/>
                </a:cubicBezTo>
                <a:cubicBezTo>
                  <a:pt x="26906" y="10562"/>
                  <a:pt x="26906" y="10562"/>
                  <a:pt x="26906" y="10562"/>
                </a:cubicBezTo>
                <a:cubicBezTo>
                  <a:pt x="26906" y="10562"/>
                  <a:pt x="26937" y="10562"/>
                  <a:pt x="26937" y="10562"/>
                </a:cubicBezTo>
                <a:cubicBezTo>
                  <a:pt x="26937" y="10562"/>
                  <a:pt x="26937" y="10562"/>
                  <a:pt x="26937" y="10562"/>
                </a:cubicBezTo>
                <a:close/>
                <a:moveTo>
                  <a:pt x="2656" y="16875"/>
                </a:moveTo>
                <a:cubicBezTo>
                  <a:pt x="2625" y="16875"/>
                  <a:pt x="2594" y="16875"/>
                  <a:pt x="2594" y="16875"/>
                </a:cubicBezTo>
                <a:cubicBezTo>
                  <a:pt x="2594" y="16875"/>
                  <a:pt x="2594" y="16875"/>
                  <a:pt x="2594" y="16875"/>
                </a:cubicBezTo>
                <a:cubicBezTo>
                  <a:pt x="2562" y="16844"/>
                  <a:pt x="2500" y="16875"/>
                  <a:pt x="2469" y="16844"/>
                </a:cubicBezTo>
                <a:cubicBezTo>
                  <a:pt x="2500" y="16875"/>
                  <a:pt x="2562" y="16844"/>
                  <a:pt x="2594" y="16875"/>
                </a:cubicBezTo>
                <a:cubicBezTo>
                  <a:pt x="2594" y="16875"/>
                  <a:pt x="2625" y="16875"/>
                  <a:pt x="2656" y="16875"/>
                </a:cubicBezTo>
                <a:cubicBezTo>
                  <a:pt x="2781" y="16906"/>
                  <a:pt x="2906" y="16906"/>
                  <a:pt x="3031" y="16906"/>
                </a:cubicBezTo>
                <a:cubicBezTo>
                  <a:pt x="2906" y="16906"/>
                  <a:pt x="2781" y="16906"/>
                  <a:pt x="2656" y="16875"/>
                </a:cubicBezTo>
                <a:close/>
                <a:moveTo>
                  <a:pt x="2437" y="16844"/>
                </a:moveTo>
                <a:cubicBezTo>
                  <a:pt x="2437" y="16844"/>
                  <a:pt x="2437" y="16844"/>
                  <a:pt x="2469" y="16844"/>
                </a:cubicBezTo>
                <a:cubicBezTo>
                  <a:pt x="2437" y="16844"/>
                  <a:pt x="2437" y="16844"/>
                  <a:pt x="2437" y="16844"/>
                </a:cubicBezTo>
                <a:close/>
                <a:moveTo>
                  <a:pt x="3594" y="16937"/>
                </a:moveTo>
                <a:cubicBezTo>
                  <a:pt x="3562" y="16937"/>
                  <a:pt x="3531" y="16937"/>
                  <a:pt x="3500" y="16937"/>
                </a:cubicBezTo>
                <a:cubicBezTo>
                  <a:pt x="3531" y="16937"/>
                  <a:pt x="3562" y="16937"/>
                  <a:pt x="3594" y="16937"/>
                </a:cubicBezTo>
                <a:cubicBezTo>
                  <a:pt x="3594" y="16937"/>
                  <a:pt x="3594" y="16937"/>
                  <a:pt x="3594" y="16937"/>
                </a:cubicBezTo>
                <a:close/>
                <a:moveTo>
                  <a:pt x="4156" y="16031"/>
                </a:moveTo>
                <a:cubicBezTo>
                  <a:pt x="4156" y="16031"/>
                  <a:pt x="4156" y="16031"/>
                  <a:pt x="4156" y="16031"/>
                </a:cubicBezTo>
                <a:cubicBezTo>
                  <a:pt x="4125" y="16062"/>
                  <a:pt x="4125" y="16094"/>
                  <a:pt x="4156" y="16094"/>
                </a:cubicBezTo>
                <a:cubicBezTo>
                  <a:pt x="4125" y="16094"/>
                  <a:pt x="4125" y="16062"/>
                  <a:pt x="4156" y="16031"/>
                </a:cubicBezTo>
                <a:close/>
                <a:moveTo>
                  <a:pt x="4187" y="16344"/>
                </a:moveTo>
                <a:cubicBezTo>
                  <a:pt x="4219" y="16312"/>
                  <a:pt x="4219" y="16312"/>
                  <a:pt x="4250" y="16312"/>
                </a:cubicBezTo>
                <a:cubicBezTo>
                  <a:pt x="4219" y="16312"/>
                  <a:pt x="4219" y="16312"/>
                  <a:pt x="4187" y="16344"/>
                </a:cubicBezTo>
                <a:close/>
                <a:moveTo>
                  <a:pt x="4281" y="16937"/>
                </a:moveTo>
                <a:cubicBezTo>
                  <a:pt x="4344" y="16906"/>
                  <a:pt x="4375" y="16906"/>
                  <a:pt x="4437" y="16906"/>
                </a:cubicBezTo>
                <a:cubicBezTo>
                  <a:pt x="4375" y="16906"/>
                  <a:pt x="4344" y="16906"/>
                  <a:pt x="4281" y="16937"/>
                </a:cubicBezTo>
                <a:close/>
                <a:moveTo>
                  <a:pt x="4531" y="16937"/>
                </a:moveTo>
                <a:cubicBezTo>
                  <a:pt x="4531" y="16937"/>
                  <a:pt x="4531" y="16937"/>
                  <a:pt x="4531" y="16937"/>
                </a:cubicBezTo>
                <a:cubicBezTo>
                  <a:pt x="4531" y="16937"/>
                  <a:pt x="4562" y="16937"/>
                  <a:pt x="4562" y="16937"/>
                </a:cubicBezTo>
                <a:cubicBezTo>
                  <a:pt x="4562" y="16937"/>
                  <a:pt x="4531" y="16937"/>
                  <a:pt x="4531" y="16937"/>
                </a:cubicBezTo>
                <a:close/>
                <a:moveTo>
                  <a:pt x="4625" y="15937"/>
                </a:moveTo>
                <a:cubicBezTo>
                  <a:pt x="4625" y="15937"/>
                  <a:pt x="4656" y="15937"/>
                  <a:pt x="4687" y="15937"/>
                </a:cubicBezTo>
                <a:cubicBezTo>
                  <a:pt x="4656" y="15937"/>
                  <a:pt x="4625" y="15937"/>
                  <a:pt x="4625" y="15937"/>
                </a:cubicBezTo>
                <a:close/>
                <a:moveTo>
                  <a:pt x="4906" y="16844"/>
                </a:moveTo>
                <a:cubicBezTo>
                  <a:pt x="4875" y="16812"/>
                  <a:pt x="4844" y="16781"/>
                  <a:pt x="4844" y="16750"/>
                </a:cubicBezTo>
                <a:cubicBezTo>
                  <a:pt x="4844" y="16781"/>
                  <a:pt x="4875" y="16812"/>
                  <a:pt x="4906" y="16844"/>
                </a:cubicBezTo>
                <a:cubicBezTo>
                  <a:pt x="4906" y="16844"/>
                  <a:pt x="4906" y="16844"/>
                  <a:pt x="4906" y="16844"/>
                </a:cubicBezTo>
                <a:close/>
                <a:moveTo>
                  <a:pt x="5031" y="16812"/>
                </a:moveTo>
                <a:cubicBezTo>
                  <a:pt x="5094" y="16781"/>
                  <a:pt x="5125" y="16812"/>
                  <a:pt x="5187" y="16812"/>
                </a:cubicBezTo>
                <a:cubicBezTo>
                  <a:pt x="5125" y="16812"/>
                  <a:pt x="5094" y="16781"/>
                  <a:pt x="5031" y="16812"/>
                </a:cubicBezTo>
                <a:close/>
                <a:moveTo>
                  <a:pt x="5625" y="19094"/>
                </a:moveTo>
                <a:cubicBezTo>
                  <a:pt x="5625" y="19094"/>
                  <a:pt x="5625" y="19094"/>
                  <a:pt x="5625" y="19094"/>
                </a:cubicBezTo>
                <a:cubicBezTo>
                  <a:pt x="5625" y="19094"/>
                  <a:pt x="5656" y="19094"/>
                  <a:pt x="5656" y="19094"/>
                </a:cubicBezTo>
                <a:cubicBezTo>
                  <a:pt x="5656" y="19094"/>
                  <a:pt x="5625" y="19094"/>
                  <a:pt x="5625" y="19094"/>
                </a:cubicBezTo>
                <a:close/>
                <a:moveTo>
                  <a:pt x="5687" y="15750"/>
                </a:moveTo>
                <a:cubicBezTo>
                  <a:pt x="5594" y="15812"/>
                  <a:pt x="5562" y="15875"/>
                  <a:pt x="5562" y="15937"/>
                </a:cubicBezTo>
                <a:cubicBezTo>
                  <a:pt x="5562" y="15875"/>
                  <a:pt x="5594" y="15812"/>
                  <a:pt x="5687" y="15750"/>
                </a:cubicBezTo>
                <a:cubicBezTo>
                  <a:pt x="5687" y="15719"/>
                  <a:pt x="5719" y="15687"/>
                  <a:pt x="5750" y="15656"/>
                </a:cubicBezTo>
                <a:cubicBezTo>
                  <a:pt x="5719" y="15687"/>
                  <a:pt x="5687" y="15719"/>
                  <a:pt x="5687" y="15750"/>
                </a:cubicBezTo>
                <a:close/>
                <a:moveTo>
                  <a:pt x="6219" y="15687"/>
                </a:moveTo>
                <a:cubicBezTo>
                  <a:pt x="6219" y="15687"/>
                  <a:pt x="6219" y="15687"/>
                  <a:pt x="6219" y="15687"/>
                </a:cubicBezTo>
                <a:cubicBezTo>
                  <a:pt x="6219" y="15656"/>
                  <a:pt x="6219" y="15656"/>
                  <a:pt x="6219" y="15656"/>
                </a:cubicBezTo>
                <a:cubicBezTo>
                  <a:pt x="6219" y="15656"/>
                  <a:pt x="6219" y="15656"/>
                  <a:pt x="6219" y="15687"/>
                </a:cubicBezTo>
                <a:close/>
                <a:moveTo>
                  <a:pt x="6062" y="15594"/>
                </a:moveTo>
                <a:cubicBezTo>
                  <a:pt x="6062" y="15625"/>
                  <a:pt x="6062" y="15625"/>
                  <a:pt x="6031" y="15687"/>
                </a:cubicBezTo>
                <a:cubicBezTo>
                  <a:pt x="6031" y="15687"/>
                  <a:pt x="6031" y="15687"/>
                  <a:pt x="6031" y="15687"/>
                </a:cubicBezTo>
                <a:cubicBezTo>
                  <a:pt x="6062" y="15625"/>
                  <a:pt x="6062" y="15625"/>
                  <a:pt x="6062" y="15594"/>
                </a:cubicBezTo>
                <a:close/>
                <a:moveTo>
                  <a:pt x="6062" y="15937"/>
                </a:moveTo>
                <a:cubicBezTo>
                  <a:pt x="6031" y="15937"/>
                  <a:pt x="6000" y="15937"/>
                  <a:pt x="6000" y="15906"/>
                </a:cubicBezTo>
                <a:cubicBezTo>
                  <a:pt x="6000" y="15937"/>
                  <a:pt x="6031" y="15937"/>
                  <a:pt x="6062" y="15937"/>
                </a:cubicBezTo>
                <a:cubicBezTo>
                  <a:pt x="6094" y="15969"/>
                  <a:pt x="6125" y="16000"/>
                  <a:pt x="6187" y="16031"/>
                </a:cubicBezTo>
                <a:cubicBezTo>
                  <a:pt x="6125" y="16000"/>
                  <a:pt x="6094" y="15969"/>
                  <a:pt x="6062" y="15937"/>
                </a:cubicBezTo>
                <a:close/>
                <a:moveTo>
                  <a:pt x="6219" y="15750"/>
                </a:moveTo>
                <a:cubicBezTo>
                  <a:pt x="6187" y="15781"/>
                  <a:pt x="6156" y="15781"/>
                  <a:pt x="6125" y="15812"/>
                </a:cubicBezTo>
                <a:cubicBezTo>
                  <a:pt x="6156" y="15781"/>
                  <a:pt x="6187" y="15781"/>
                  <a:pt x="6219" y="15750"/>
                </a:cubicBezTo>
                <a:cubicBezTo>
                  <a:pt x="6250" y="15781"/>
                  <a:pt x="6281" y="15781"/>
                  <a:pt x="6344" y="15812"/>
                </a:cubicBezTo>
                <a:cubicBezTo>
                  <a:pt x="6281" y="15781"/>
                  <a:pt x="6250" y="15781"/>
                  <a:pt x="6219" y="15750"/>
                </a:cubicBezTo>
                <a:close/>
                <a:moveTo>
                  <a:pt x="6469" y="19500"/>
                </a:move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ubicBezTo>
                  <a:pt x="6469" y="19500"/>
                  <a:pt x="6469" y="19500"/>
                  <a:pt x="6469" y="19500"/>
                </a:cubicBezTo>
                <a:close/>
                <a:moveTo>
                  <a:pt x="6844" y="18250"/>
                </a:moveTo>
                <a:cubicBezTo>
                  <a:pt x="6844" y="18250"/>
                  <a:pt x="6844" y="18250"/>
                  <a:pt x="6844" y="18250"/>
                </a:cubicBezTo>
                <a:cubicBezTo>
                  <a:pt x="6844" y="18250"/>
                  <a:pt x="6844" y="18250"/>
                  <a:pt x="6844" y="18250"/>
                </a:cubicBezTo>
                <a:close/>
                <a:moveTo>
                  <a:pt x="6937" y="16656"/>
                </a:moveTo>
                <a:cubicBezTo>
                  <a:pt x="6937" y="16656"/>
                  <a:pt x="6937" y="16656"/>
                  <a:pt x="6937" y="16656"/>
                </a:cubicBezTo>
                <a:cubicBezTo>
                  <a:pt x="6937" y="16687"/>
                  <a:pt x="6937" y="16687"/>
                  <a:pt x="6969" y="16687"/>
                </a:cubicBezTo>
                <a:cubicBezTo>
                  <a:pt x="6937" y="16687"/>
                  <a:pt x="6937" y="16687"/>
                  <a:pt x="6937" y="16656"/>
                </a:cubicBezTo>
                <a:close/>
                <a:moveTo>
                  <a:pt x="7031" y="19719"/>
                </a:moveTo>
                <a:cubicBezTo>
                  <a:pt x="7031" y="19750"/>
                  <a:pt x="7031" y="19781"/>
                  <a:pt x="7031" y="19781"/>
                </a:cubicBezTo>
                <a:cubicBezTo>
                  <a:pt x="7031" y="19781"/>
                  <a:pt x="7031" y="19750"/>
                  <a:pt x="7031" y="19719"/>
                </a:cubicBezTo>
                <a:close/>
                <a:moveTo>
                  <a:pt x="7062" y="19875"/>
                </a:moveTo>
                <a:cubicBezTo>
                  <a:pt x="7094" y="19875"/>
                  <a:pt x="7125" y="19844"/>
                  <a:pt x="7125" y="19812"/>
                </a:cubicBezTo>
                <a:cubicBezTo>
                  <a:pt x="7125" y="19812"/>
                  <a:pt x="7125" y="19812"/>
                  <a:pt x="7125" y="19812"/>
                </a:cubicBezTo>
                <a:cubicBezTo>
                  <a:pt x="7125" y="19844"/>
                  <a:pt x="7094" y="19875"/>
                  <a:pt x="7062" y="19875"/>
                </a:cubicBezTo>
                <a:close/>
                <a:moveTo>
                  <a:pt x="7156" y="16656"/>
                </a:moveTo>
                <a:cubicBezTo>
                  <a:pt x="7156" y="16656"/>
                  <a:pt x="7156" y="16625"/>
                  <a:pt x="7187" y="16625"/>
                </a:cubicBezTo>
                <a:cubicBezTo>
                  <a:pt x="7187" y="16625"/>
                  <a:pt x="7187" y="16625"/>
                  <a:pt x="7187" y="16625"/>
                </a:cubicBezTo>
                <a:cubicBezTo>
                  <a:pt x="7156" y="16625"/>
                  <a:pt x="7156" y="16656"/>
                  <a:pt x="7156" y="16656"/>
                </a:cubicBezTo>
                <a:close/>
                <a:moveTo>
                  <a:pt x="7344" y="16375"/>
                </a:moveTo>
                <a:cubicBezTo>
                  <a:pt x="7312" y="16344"/>
                  <a:pt x="7281" y="16312"/>
                  <a:pt x="7219" y="16312"/>
                </a:cubicBezTo>
                <a:cubicBezTo>
                  <a:pt x="7281" y="16312"/>
                  <a:pt x="7312" y="16344"/>
                  <a:pt x="7344" y="16375"/>
                </a:cubicBezTo>
                <a:close/>
                <a:moveTo>
                  <a:pt x="7562" y="17281"/>
                </a:moveTo>
                <a:cubicBezTo>
                  <a:pt x="7562" y="17406"/>
                  <a:pt x="7500" y="17437"/>
                  <a:pt x="7406" y="17469"/>
                </a:cubicBezTo>
                <a:cubicBezTo>
                  <a:pt x="7500" y="17437"/>
                  <a:pt x="7562" y="17406"/>
                  <a:pt x="7562" y="17281"/>
                </a:cubicBezTo>
                <a:cubicBezTo>
                  <a:pt x="7656" y="17281"/>
                  <a:pt x="7719" y="17281"/>
                  <a:pt x="7781" y="17281"/>
                </a:cubicBezTo>
                <a:cubicBezTo>
                  <a:pt x="7719" y="17281"/>
                  <a:pt x="7656" y="17281"/>
                  <a:pt x="7562" y="17281"/>
                </a:cubicBezTo>
                <a:close/>
                <a:moveTo>
                  <a:pt x="9469" y="16844"/>
                </a:moveTo>
                <a:cubicBezTo>
                  <a:pt x="9469" y="16844"/>
                  <a:pt x="9469" y="16844"/>
                  <a:pt x="9437" y="16844"/>
                </a:cubicBezTo>
                <a:cubicBezTo>
                  <a:pt x="9469" y="16844"/>
                  <a:pt x="9469" y="16844"/>
                  <a:pt x="9469" y="16844"/>
                </a:cubicBezTo>
                <a:cubicBezTo>
                  <a:pt x="9469" y="16844"/>
                  <a:pt x="9469" y="16844"/>
                  <a:pt x="9469" y="16844"/>
                </a:cubicBezTo>
                <a:close/>
                <a:moveTo>
                  <a:pt x="9969" y="19750"/>
                </a:moveTo>
                <a:cubicBezTo>
                  <a:pt x="9969" y="19750"/>
                  <a:pt x="9969" y="19750"/>
                  <a:pt x="9969" y="19750"/>
                </a:cubicBezTo>
                <a:cubicBezTo>
                  <a:pt x="9969" y="19719"/>
                  <a:pt x="9937" y="19719"/>
                  <a:pt x="9937" y="19687"/>
                </a:cubicBezTo>
                <a:cubicBezTo>
                  <a:pt x="9937" y="19687"/>
                  <a:pt x="9937" y="19687"/>
                  <a:pt x="9937" y="19687"/>
                </a:cubicBezTo>
                <a:cubicBezTo>
                  <a:pt x="9937" y="19719"/>
                  <a:pt x="9969" y="19719"/>
                  <a:pt x="9969" y="19750"/>
                </a:cubicBezTo>
                <a:cubicBezTo>
                  <a:pt x="10000" y="19750"/>
                  <a:pt x="10031" y="19781"/>
                  <a:pt x="10062" y="19812"/>
                </a:cubicBezTo>
                <a:cubicBezTo>
                  <a:pt x="10031" y="19781"/>
                  <a:pt x="10000" y="19750"/>
                  <a:pt x="9969" y="19750"/>
                </a:cubicBezTo>
                <a:close/>
                <a:moveTo>
                  <a:pt x="12875" y="17250"/>
                </a:moveTo>
                <a:cubicBezTo>
                  <a:pt x="12844" y="17250"/>
                  <a:pt x="12812" y="17250"/>
                  <a:pt x="12812" y="17250"/>
                </a:cubicBezTo>
                <a:cubicBezTo>
                  <a:pt x="12812" y="17250"/>
                  <a:pt x="12844" y="17250"/>
                  <a:pt x="12875" y="17250"/>
                </a:cubicBezTo>
                <a:close/>
                <a:moveTo>
                  <a:pt x="12781" y="19094"/>
                </a:moveTo>
                <a:cubicBezTo>
                  <a:pt x="12781" y="19094"/>
                  <a:pt x="12781" y="19094"/>
                  <a:pt x="12781" y="19094"/>
                </a:cubicBezTo>
                <a:cubicBezTo>
                  <a:pt x="12781" y="19094"/>
                  <a:pt x="12781" y="19094"/>
                  <a:pt x="12781" y="19094"/>
                </a:cubicBezTo>
                <a:close/>
                <a:moveTo>
                  <a:pt x="12062" y="15406"/>
                </a:moveTo>
                <a:cubicBezTo>
                  <a:pt x="12062" y="15406"/>
                  <a:pt x="12062" y="15406"/>
                  <a:pt x="12062" y="15406"/>
                </a:cubicBezTo>
                <a:cubicBezTo>
                  <a:pt x="12031" y="15531"/>
                  <a:pt x="12062" y="15562"/>
                  <a:pt x="12125" y="15594"/>
                </a:cubicBezTo>
                <a:cubicBezTo>
                  <a:pt x="12062" y="15562"/>
                  <a:pt x="12031" y="15531"/>
                  <a:pt x="12062" y="15406"/>
                </a:cubicBezTo>
                <a:close/>
                <a:moveTo>
                  <a:pt x="11562" y="16250"/>
                </a:moveTo>
                <a:cubicBezTo>
                  <a:pt x="11562" y="16250"/>
                  <a:pt x="11562" y="16250"/>
                  <a:pt x="11562" y="16250"/>
                </a:cubicBezTo>
                <a:cubicBezTo>
                  <a:pt x="11531" y="16250"/>
                  <a:pt x="11500" y="16250"/>
                  <a:pt x="11500" y="16250"/>
                </a:cubicBezTo>
                <a:cubicBezTo>
                  <a:pt x="11500" y="16250"/>
                  <a:pt x="11531" y="16250"/>
                  <a:pt x="11562" y="16250"/>
                </a:cubicBezTo>
                <a:close/>
                <a:moveTo>
                  <a:pt x="11719" y="18969"/>
                </a:moveTo>
                <a:cubicBezTo>
                  <a:pt x="11719" y="18969"/>
                  <a:pt x="11719" y="18969"/>
                  <a:pt x="11719" y="18969"/>
                </a:cubicBezTo>
                <a:close/>
                <a:moveTo>
                  <a:pt x="12187" y="19312"/>
                </a:moveTo>
                <a:cubicBezTo>
                  <a:pt x="12250" y="19281"/>
                  <a:pt x="12281" y="19250"/>
                  <a:pt x="12312" y="19156"/>
                </a:cubicBezTo>
                <a:cubicBezTo>
                  <a:pt x="12281" y="19250"/>
                  <a:pt x="12250" y="19281"/>
                  <a:pt x="12187" y="19312"/>
                </a:cubicBezTo>
                <a:close/>
                <a:moveTo>
                  <a:pt x="12281" y="17344"/>
                </a:moveTo>
                <a:cubicBezTo>
                  <a:pt x="12281" y="17344"/>
                  <a:pt x="12250" y="17344"/>
                  <a:pt x="12250" y="17344"/>
                </a:cubicBezTo>
                <a:cubicBezTo>
                  <a:pt x="12281" y="17312"/>
                  <a:pt x="12344" y="17281"/>
                  <a:pt x="12375" y="17281"/>
                </a:cubicBezTo>
                <a:cubicBezTo>
                  <a:pt x="12344" y="17281"/>
                  <a:pt x="12281" y="17312"/>
                  <a:pt x="12250" y="17344"/>
                </a:cubicBezTo>
                <a:cubicBezTo>
                  <a:pt x="12250" y="17344"/>
                  <a:pt x="12281" y="17344"/>
                  <a:pt x="12281" y="17344"/>
                </a:cubicBezTo>
                <a:close/>
                <a:moveTo>
                  <a:pt x="12375" y="17281"/>
                </a:moveTo>
                <a:cubicBezTo>
                  <a:pt x="12406" y="17281"/>
                  <a:pt x="12406" y="17281"/>
                  <a:pt x="12437" y="17281"/>
                </a:cubicBezTo>
                <a:cubicBezTo>
                  <a:pt x="12406" y="17281"/>
                  <a:pt x="12406" y="17281"/>
                  <a:pt x="12375" y="17281"/>
                </a:cubicBezTo>
                <a:close/>
                <a:moveTo>
                  <a:pt x="11500" y="17219"/>
                </a:moveTo>
                <a:cubicBezTo>
                  <a:pt x="11906" y="17250"/>
                  <a:pt x="12312" y="17125"/>
                  <a:pt x="12687" y="17219"/>
                </a:cubicBezTo>
                <a:cubicBezTo>
                  <a:pt x="12719" y="17250"/>
                  <a:pt x="12750" y="17250"/>
                  <a:pt x="12781" y="17250"/>
                </a:cubicBezTo>
                <a:cubicBezTo>
                  <a:pt x="12750" y="17250"/>
                  <a:pt x="12719" y="17250"/>
                  <a:pt x="12687" y="17219"/>
                </a:cubicBezTo>
                <a:cubicBezTo>
                  <a:pt x="12312" y="17125"/>
                  <a:pt x="11906" y="17250"/>
                  <a:pt x="11500" y="17219"/>
                </a:cubicBezTo>
                <a:close/>
                <a:moveTo>
                  <a:pt x="12875" y="19250"/>
                </a:moveTo>
                <a:cubicBezTo>
                  <a:pt x="12812" y="19281"/>
                  <a:pt x="12781" y="19281"/>
                  <a:pt x="12750" y="19281"/>
                </a:cubicBezTo>
                <a:cubicBezTo>
                  <a:pt x="12750" y="19281"/>
                  <a:pt x="12719" y="19250"/>
                  <a:pt x="12719" y="19250"/>
                </a:cubicBezTo>
                <a:cubicBezTo>
                  <a:pt x="12719" y="19250"/>
                  <a:pt x="12719" y="19250"/>
                  <a:pt x="12719" y="19250"/>
                </a:cubicBezTo>
                <a:cubicBezTo>
                  <a:pt x="12719" y="19250"/>
                  <a:pt x="12750" y="19281"/>
                  <a:pt x="12750" y="19281"/>
                </a:cubicBezTo>
                <a:cubicBezTo>
                  <a:pt x="12781" y="19281"/>
                  <a:pt x="12812" y="19281"/>
                  <a:pt x="12875" y="19250"/>
                </a:cubicBezTo>
                <a:close/>
                <a:moveTo>
                  <a:pt x="12906" y="17812"/>
                </a:moveTo>
                <a:cubicBezTo>
                  <a:pt x="12906" y="17781"/>
                  <a:pt x="12906" y="17750"/>
                  <a:pt x="12875" y="17750"/>
                </a:cubicBezTo>
                <a:cubicBezTo>
                  <a:pt x="12906" y="17750"/>
                  <a:pt x="12906" y="17781"/>
                  <a:pt x="12906" y="17812"/>
                </a:cubicBezTo>
                <a:cubicBezTo>
                  <a:pt x="12937" y="17844"/>
                  <a:pt x="12969" y="17875"/>
                  <a:pt x="12969" y="17906"/>
                </a:cubicBezTo>
                <a:cubicBezTo>
                  <a:pt x="12969" y="17875"/>
                  <a:pt x="12937" y="17844"/>
                  <a:pt x="12906" y="17812"/>
                </a:cubicBezTo>
                <a:close/>
                <a:moveTo>
                  <a:pt x="13125" y="17250"/>
                </a:moveTo>
                <a:cubicBezTo>
                  <a:pt x="13125" y="17250"/>
                  <a:pt x="13125" y="17250"/>
                  <a:pt x="13125" y="17250"/>
                </a:cubicBezTo>
                <a:cubicBezTo>
                  <a:pt x="13125" y="17250"/>
                  <a:pt x="13156" y="17250"/>
                  <a:pt x="13156" y="17219"/>
                </a:cubicBezTo>
                <a:cubicBezTo>
                  <a:pt x="13156" y="17250"/>
                  <a:pt x="13125" y="17250"/>
                  <a:pt x="13125" y="17250"/>
                </a:cubicBezTo>
                <a:close/>
                <a:moveTo>
                  <a:pt x="13344" y="18125"/>
                </a:moveTo>
                <a:cubicBezTo>
                  <a:pt x="13344" y="18125"/>
                  <a:pt x="13344" y="18125"/>
                  <a:pt x="13344" y="18125"/>
                </a:cubicBezTo>
                <a:cubicBezTo>
                  <a:pt x="13375" y="18125"/>
                  <a:pt x="13437" y="18094"/>
                  <a:pt x="13469" y="18094"/>
                </a:cubicBezTo>
                <a:cubicBezTo>
                  <a:pt x="13437" y="18094"/>
                  <a:pt x="13375" y="18125"/>
                  <a:pt x="13344" y="18125"/>
                </a:cubicBezTo>
                <a:close/>
                <a:moveTo>
                  <a:pt x="14125" y="18281"/>
                </a:moveTo>
                <a:cubicBezTo>
                  <a:pt x="14125" y="18250"/>
                  <a:pt x="14125" y="18187"/>
                  <a:pt x="14094" y="18125"/>
                </a:cubicBezTo>
                <a:cubicBezTo>
                  <a:pt x="14094" y="18125"/>
                  <a:pt x="14094" y="18125"/>
                  <a:pt x="14094" y="18125"/>
                </a:cubicBezTo>
                <a:cubicBezTo>
                  <a:pt x="14125" y="18187"/>
                  <a:pt x="14125" y="18250"/>
                  <a:pt x="14125" y="18281"/>
                </a:cubicBezTo>
                <a:close/>
                <a:moveTo>
                  <a:pt x="16906" y="19469"/>
                </a:moveTo>
                <a:cubicBezTo>
                  <a:pt x="16906" y="19469"/>
                  <a:pt x="16906" y="19469"/>
                  <a:pt x="16906" y="19469"/>
                </a:cubicBezTo>
                <a:cubicBezTo>
                  <a:pt x="16906" y="19500"/>
                  <a:pt x="16906" y="19500"/>
                  <a:pt x="16937" y="19500"/>
                </a:cubicBezTo>
                <a:cubicBezTo>
                  <a:pt x="16906" y="19500"/>
                  <a:pt x="16906" y="19500"/>
                  <a:pt x="16906" y="19469"/>
                </a:cubicBezTo>
                <a:close/>
                <a:moveTo>
                  <a:pt x="17031" y="19469"/>
                </a:moveTo>
                <a:cubicBezTo>
                  <a:pt x="17062" y="19469"/>
                  <a:pt x="17094" y="19437"/>
                  <a:pt x="17125" y="19406"/>
                </a:cubicBezTo>
                <a:cubicBezTo>
                  <a:pt x="17094" y="19437"/>
                  <a:pt x="17062" y="19469"/>
                  <a:pt x="17031" y="19469"/>
                </a:cubicBezTo>
                <a:close/>
                <a:moveTo>
                  <a:pt x="17281" y="19250"/>
                </a:moveTo>
                <a:cubicBezTo>
                  <a:pt x="17250" y="19281"/>
                  <a:pt x="17219" y="19312"/>
                  <a:pt x="17219" y="19344"/>
                </a:cubicBezTo>
                <a:cubicBezTo>
                  <a:pt x="17219" y="19312"/>
                  <a:pt x="17250" y="19281"/>
                  <a:pt x="17281" y="19250"/>
                </a:cubicBezTo>
                <a:close/>
                <a:moveTo>
                  <a:pt x="18812" y="19844"/>
                </a:moveTo>
                <a:cubicBezTo>
                  <a:pt x="18781" y="19844"/>
                  <a:pt x="18719" y="19844"/>
                  <a:pt x="18687" y="19812"/>
                </a:cubicBezTo>
                <a:cubicBezTo>
                  <a:pt x="18719" y="19844"/>
                  <a:pt x="18781" y="19844"/>
                  <a:pt x="18812" y="19844"/>
                </a:cubicBezTo>
                <a:close/>
                <a:moveTo>
                  <a:pt x="21625" y="18156"/>
                </a:moveTo>
                <a:cubicBezTo>
                  <a:pt x="21625" y="18156"/>
                  <a:pt x="21625" y="18156"/>
                  <a:pt x="21625" y="18156"/>
                </a:cubicBezTo>
                <a:cubicBezTo>
                  <a:pt x="21625" y="18156"/>
                  <a:pt x="21594" y="18156"/>
                  <a:pt x="21594" y="18156"/>
                </a:cubicBezTo>
                <a:cubicBezTo>
                  <a:pt x="21594" y="18156"/>
                  <a:pt x="21625" y="18156"/>
                  <a:pt x="21625" y="18156"/>
                </a:cubicBezTo>
                <a:close/>
                <a:moveTo>
                  <a:pt x="21312" y="15781"/>
                </a:moveTo>
                <a:cubicBezTo>
                  <a:pt x="21406" y="15812"/>
                  <a:pt x="21437" y="15844"/>
                  <a:pt x="21437" y="15906"/>
                </a:cubicBezTo>
                <a:cubicBezTo>
                  <a:pt x="21437" y="15844"/>
                  <a:pt x="21406" y="15812"/>
                  <a:pt x="21312" y="15781"/>
                </a:cubicBezTo>
                <a:cubicBezTo>
                  <a:pt x="21312" y="15781"/>
                  <a:pt x="21281" y="15750"/>
                  <a:pt x="21281" y="15750"/>
                </a:cubicBezTo>
                <a:cubicBezTo>
                  <a:pt x="21281" y="15750"/>
                  <a:pt x="21312" y="15781"/>
                  <a:pt x="21312" y="15781"/>
                </a:cubicBezTo>
                <a:close/>
                <a:moveTo>
                  <a:pt x="21437" y="18344"/>
                </a:moveTo>
                <a:cubicBezTo>
                  <a:pt x="21406" y="18312"/>
                  <a:pt x="21406" y="18312"/>
                  <a:pt x="21406" y="18312"/>
                </a:cubicBezTo>
                <a:cubicBezTo>
                  <a:pt x="21406" y="18312"/>
                  <a:pt x="21406" y="18312"/>
                  <a:pt x="21437" y="18344"/>
                </a:cubicBezTo>
                <a:cubicBezTo>
                  <a:pt x="21437" y="18344"/>
                  <a:pt x="21437" y="18344"/>
                  <a:pt x="21437" y="18344"/>
                </a:cubicBezTo>
                <a:close/>
                <a:moveTo>
                  <a:pt x="21281" y="17312"/>
                </a:moveTo>
                <a:cubicBezTo>
                  <a:pt x="21125" y="17344"/>
                  <a:pt x="20969" y="17281"/>
                  <a:pt x="20812" y="17250"/>
                </a:cubicBezTo>
                <a:cubicBezTo>
                  <a:pt x="20969" y="17281"/>
                  <a:pt x="21125" y="17344"/>
                  <a:pt x="21281" y="17312"/>
                </a:cubicBezTo>
                <a:cubicBezTo>
                  <a:pt x="21375" y="17281"/>
                  <a:pt x="21500" y="17250"/>
                  <a:pt x="21594" y="17281"/>
                </a:cubicBezTo>
                <a:cubicBezTo>
                  <a:pt x="21500" y="17250"/>
                  <a:pt x="21375" y="17281"/>
                  <a:pt x="21281" y="17312"/>
                </a:cubicBezTo>
                <a:close/>
                <a:moveTo>
                  <a:pt x="21625" y="19000"/>
                </a:moveTo>
                <a:cubicBezTo>
                  <a:pt x="21594" y="19000"/>
                  <a:pt x="21594" y="19000"/>
                  <a:pt x="21562" y="19000"/>
                </a:cubicBezTo>
                <a:cubicBezTo>
                  <a:pt x="21594" y="19000"/>
                  <a:pt x="21594" y="19000"/>
                  <a:pt x="21625" y="19000"/>
                </a:cubicBezTo>
                <a:close/>
                <a:moveTo>
                  <a:pt x="21625" y="19000"/>
                </a:moveTo>
                <a:cubicBezTo>
                  <a:pt x="21625" y="19000"/>
                  <a:pt x="21625" y="19000"/>
                  <a:pt x="21625" y="19000"/>
                </a:cubicBezTo>
                <a:cubicBezTo>
                  <a:pt x="21625" y="18969"/>
                  <a:pt x="21625" y="18906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875"/>
                  <a:pt x="21625" y="18875"/>
                  <a:pt x="21625" y="18875"/>
                </a:cubicBezTo>
                <a:cubicBezTo>
                  <a:pt x="21625" y="18906"/>
                  <a:pt x="21625" y="18969"/>
                  <a:pt x="21625" y="19000"/>
                </a:cubicBezTo>
                <a:close/>
                <a:moveTo>
                  <a:pt x="21875" y="18750"/>
                </a:moveTo>
                <a:cubicBezTo>
                  <a:pt x="21875" y="18750"/>
                  <a:pt x="21875" y="18750"/>
                  <a:pt x="21875" y="18750"/>
                </a:cubicBezTo>
                <a:cubicBezTo>
                  <a:pt x="21906" y="18750"/>
                  <a:pt x="21906" y="18750"/>
                  <a:pt x="21906" y="18750"/>
                </a:cubicBezTo>
                <a:cubicBezTo>
                  <a:pt x="21906" y="18750"/>
                  <a:pt x="21906" y="18750"/>
                  <a:pt x="21875" y="18750"/>
                </a:cubicBezTo>
                <a:close/>
                <a:moveTo>
                  <a:pt x="22094" y="15656"/>
                </a:moveTo>
                <a:cubicBezTo>
                  <a:pt x="22094" y="15562"/>
                  <a:pt x="22031" y="15562"/>
                  <a:pt x="21937" y="15531"/>
                </a:cubicBezTo>
                <a:cubicBezTo>
                  <a:pt x="21969" y="15500"/>
                  <a:pt x="22000" y="15500"/>
                  <a:pt x="22031" y="15500"/>
                </a:cubicBezTo>
                <a:cubicBezTo>
                  <a:pt x="22000" y="15500"/>
                  <a:pt x="21969" y="15500"/>
                  <a:pt x="21937" y="15531"/>
                </a:cubicBezTo>
                <a:cubicBezTo>
                  <a:pt x="22031" y="15562"/>
                  <a:pt x="22094" y="15562"/>
                  <a:pt x="22094" y="15656"/>
                </a:cubicBezTo>
                <a:close/>
                <a:moveTo>
                  <a:pt x="22750" y="15750"/>
                </a:moveTo>
                <a:cubicBezTo>
                  <a:pt x="22750" y="15750"/>
                  <a:pt x="22750" y="15750"/>
                  <a:pt x="22750" y="15750"/>
                </a:cubicBezTo>
                <a:cubicBezTo>
                  <a:pt x="22750" y="15750"/>
                  <a:pt x="22750" y="15750"/>
                  <a:pt x="22750" y="15750"/>
                </a:cubicBezTo>
                <a:cubicBezTo>
                  <a:pt x="22750" y="15750"/>
                  <a:pt x="22750" y="15750"/>
                  <a:pt x="22750" y="15750"/>
                </a:cubicBezTo>
                <a:close/>
                <a:moveTo>
                  <a:pt x="22781" y="15937"/>
                </a:moveTo>
                <a:cubicBezTo>
                  <a:pt x="22750" y="15937"/>
                  <a:pt x="22719" y="15937"/>
                  <a:pt x="22656" y="15937"/>
                </a:cubicBezTo>
                <a:cubicBezTo>
                  <a:pt x="22719" y="15937"/>
                  <a:pt x="22750" y="15937"/>
                  <a:pt x="22781" y="15937"/>
                </a:cubicBezTo>
                <a:cubicBezTo>
                  <a:pt x="22781" y="16000"/>
                  <a:pt x="22844" y="16062"/>
                  <a:pt x="22875" y="16094"/>
                </a:cubicBezTo>
                <a:cubicBezTo>
                  <a:pt x="22844" y="16062"/>
                  <a:pt x="22781" y="16000"/>
                  <a:pt x="22781" y="15937"/>
                </a:cubicBezTo>
                <a:close/>
                <a:moveTo>
                  <a:pt x="22969" y="19031"/>
                </a:moveTo>
                <a:cubicBezTo>
                  <a:pt x="22937" y="19031"/>
                  <a:pt x="22937" y="19000"/>
                  <a:pt x="22937" y="18969"/>
                </a:cubicBezTo>
                <a:cubicBezTo>
                  <a:pt x="22937" y="18937"/>
                  <a:pt x="22937" y="18937"/>
                  <a:pt x="22906" y="18937"/>
                </a:cubicBezTo>
                <a:cubicBezTo>
                  <a:pt x="22937" y="18937"/>
                  <a:pt x="22937" y="18937"/>
                  <a:pt x="22937" y="18969"/>
                </a:cubicBezTo>
                <a:cubicBezTo>
                  <a:pt x="22937" y="19000"/>
                  <a:pt x="22937" y="19031"/>
                  <a:pt x="22969" y="19031"/>
                </a:cubicBezTo>
                <a:cubicBezTo>
                  <a:pt x="22969" y="19125"/>
                  <a:pt x="22906" y="19250"/>
                  <a:pt x="22937" y="19344"/>
                </a:cubicBezTo>
                <a:cubicBezTo>
                  <a:pt x="22906" y="19250"/>
                  <a:pt x="22969" y="19125"/>
                  <a:pt x="22969" y="19031"/>
                </a:cubicBezTo>
                <a:close/>
                <a:moveTo>
                  <a:pt x="23062" y="19437"/>
                </a:moveTo>
                <a:cubicBezTo>
                  <a:pt x="23031" y="19437"/>
                  <a:pt x="22969" y="19406"/>
                  <a:pt x="22969" y="19375"/>
                </a:cubicBezTo>
                <a:cubicBezTo>
                  <a:pt x="22969" y="19406"/>
                  <a:pt x="23031" y="19437"/>
                  <a:pt x="23062" y="19437"/>
                </a:cubicBezTo>
                <a:close/>
                <a:moveTo>
                  <a:pt x="23312" y="17344"/>
                </a:moveTo>
                <a:cubicBezTo>
                  <a:pt x="23281" y="17312"/>
                  <a:pt x="23281" y="17312"/>
                  <a:pt x="23250" y="17312"/>
                </a:cubicBezTo>
                <a:cubicBezTo>
                  <a:pt x="23281" y="17312"/>
                  <a:pt x="23281" y="17312"/>
                  <a:pt x="23312" y="17344"/>
                </a:cubicBezTo>
                <a:cubicBezTo>
                  <a:pt x="23312" y="17344"/>
                  <a:pt x="23312" y="17344"/>
                  <a:pt x="23312" y="17344"/>
                </a:cubicBezTo>
                <a:close/>
                <a:moveTo>
                  <a:pt x="23344" y="17531"/>
                </a:moveTo>
                <a:cubicBezTo>
                  <a:pt x="23312" y="17531"/>
                  <a:pt x="23312" y="17562"/>
                  <a:pt x="23312" y="17562"/>
                </a:cubicBezTo>
                <a:cubicBezTo>
                  <a:pt x="23312" y="17562"/>
                  <a:pt x="23312" y="17531"/>
                  <a:pt x="23344" y="17531"/>
                </a:cubicBezTo>
                <a:cubicBezTo>
                  <a:pt x="23406" y="17531"/>
                  <a:pt x="23469" y="17594"/>
                  <a:pt x="23531" y="17594"/>
                </a:cubicBezTo>
                <a:cubicBezTo>
                  <a:pt x="23469" y="17594"/>
                  <a:pt x="23406" y="17531"/>
                  <a:pt x="23344" y="17531"/>
                </a:cubicBezTo>
                <a:close/>
                <a:moveTo>
                  <a:pt x="23656" y="17281"/>
                </a:moveTo>
                <a:cubicBezTo>
                  <a:pt x="23781" y="17250"/>
                  <a:pt x="23937" y="17187"/>
                  <a:pt x="24062" y="17156"/>
                </a:cubicBezTo>
                <a:cubicBezTo>
                  <a:pt x="23937" y="17187"/>
                  <a:pt x="23781" y="17250"/>
                  <a:pt x="23656" y="17281"/>
                </a:cubicBezTo>
                <a:close/>
                <a:moveTo>
                  <a:pt x="24031" y="19750"/>
                </a:moveTo>
                <a:cubicBezTo>
                  <a:pt x="24031" y="19750"/>
                  <a:pt x="24062" y="19750"/>
                  <a:pt x="24062" y="19750"/>
                </a:cubicBezTo>
                <a:cubicBezTo>
                  <a:pt x="24062" y="19750"/>
                  <a:pt x="24031" y="19750"/>
                  <a:pt x="24031" y="19750"/>
                </a:cubicBezTo>
                <a:close/>
                <a:moveTo>
                  <a:pt x="24125" y="17156"/>
                </a:moveTo>
                <a:cubicBezTo>
                  <a:pt x="24156" y="17156"/>
                  <a:pt x="24187" y="17156"/>
                  <a:pt x="24250" y="17156"/>
                </a:cubicBezTo>
                <a:cubicBezTo>
                  <a:pt x="24187" y="17156"/>
                  <a:pt x="24156" y="17156"/>
                  <a:pt x="24125" y="17156"/>
                </a:cubicBezTo>
                <a:close/>
                <a:moveTo>
                  <a:pt x="25719" y="19000"/>
                </a:moveTo>
                <a:cubicBezTo>
                  <a:pt x="25750" y="19000"/>
                  <a:pt x="25750" y="19000"/>
                  <a:pt x="25750" y="19000"/>
                </a:cubicBezTo>
                <a:cubicBezTo>
                  <a:pt x="25750" y="19000"/>
                  <a:pt x="25750" y="19000"/>
                  <a:pt x="25750" y="19000"/>
                </a:cubicBezTo>
                <a:cubicBezTo>
                  <a:pt x="25750" y="19000"/>
                  <a:pt x="25750" y="19000"/>
                  <a:pt x="25719" y="19000"/>
                </a:cubicBezTo>
                <a:close/>
                <a:moveTo>
                  <a:pt x="25656" y="17125"/>
                </a:moveTo>
                <a:cubicBezTo>
                  <a:pt x="25656" y="17156"/>
                  <a:pt x="25656" y="17187"/>
                  <a:pt x="25687" y="17219"/>
                </a:cubicBezTo>
                <a:cubicBezTo>
                  <a:pt x="25656" y="17187"/>
                  <a:pt x="25656" y="17156"/>
                  <a:pt x="25656" y="17125"/>
                </a:cubicBezTo>
                <a:cubicBezTo>
                  <a:pt x="25750" y="17094"/>
                  <a:pt x="25844" y="17062"/>
                  <a:pt x="25937" y="17031"/>
                </a:cubicBezTo>
                <a:cubicBezTo>
                  <a:pt x="25844" y="17062"/>
                  <a:pt x="25750" y="17094"/>
                  <a:pt x="25656" y="17125"/>
                </a:cubicBezTo>
                <a:close/>
                <a:moveTo>
                  <a:pt x="26469" y="15531"/>
                </a:moveTo>
                <a:cubicBezTo>
                  <a:pt x="26500" y="15531"/>
                  <a:pt x="26531" y="15531"/>
                  <a:pt x="26562" y="15531"/>
                </a:cubicBezTo>
                <a:cubicBezTo>
                  <a:pt x="26531" y="15531"/>
                  <a:pt x="26500" y="15531"/>
                  <a:pt x="26469" y="15531"/>
                </a:cubicBezTo>
                <a:close/>
                <a:moveTo>
                  <a:pt x="26906" y="16000"/>
                </a:moveTo>
                <a:cubicBezTo>
                  <a:pt x="26906" y="16000"/>
                  <a:pt x="26906" y="16000"/>
                  <a:pt x="26875" y="16000"/>
                </a:cubicBezTo>
                <a:cubicBezTo>
                  <a:pt x="26906" y="16000"/>
                  <a:pt x="26906" y="16000"/>
                  <a:pt x="26906" y="16000"/>
                </a:cubicBezTo>
                <a:close/>
                <a:moveTo>
                  <a:pt x="26875" y="16531"/>
                </a:moveTo>
                <a:cubicBezTo>
                  <a:pt x="26875" y="16531"/>
                  <a:pt x="26875" y="16562"/>
                  <a:pt x="26875" y="16562"/>
                </a:cubicBezTo>
                <a:cubicBezTo>
                  <a:pt x="26875" y="16562"/>
                  <a:pt x="26875" y="16531"/>
                  <a:pt x="26875" y="16531"/>
                </a:cubicBezTo>
                <a:cubicBezTo>
                  <a:pt x="26875" y="16531"/>
                  <a:pt x="26875" y="16531"/>
                  <a:pt x="26875" y="16531"/>
                </a:cubicBezTo>
                <a:close/>
                <a:moveTo>
                  <a:pt x="26844" y="16969"/>
                </a:moveTo>
                <a:cubicBezTo>
                  <a:pt x="26875" y="16969"/>
                  <a:pt x="26906" y="16969"/>
                  <a:pt x="26937" y="16937"/>
                </a:cubicBezTo>
                <a:cubicBezTo>
                  <a:pt x="26937" y="16937"/>
                  <a:pt x="26937" y="16937"/>
                  <a:pt x="26937" y="16937"/>
                </a:cubicBezTo>
                <a:cubicBezTo>
                  <a:pt x="26906" y="16969"/>
                  <a:pt x="26875" y="16969"/>
                  <a:pt x="26844" y="16969"/>
                </a:cubicBezTo>
                <a:close/>
                <a:moveTo>
                  <a:pt x="27094" y="16375"/>
                </a:moveTo>
                <a:cubicBezTo>
                  <a:pt x="27125" y="16344"/>
                  <a:pt x="27125" y="16344"/>
                  <a:pt x="27156" y="16344"/>
                </a:cubicBezTo>
                <a:cubicBezTo>
                  <a:pt x="27125" y="16344"/>
                  <a:pt x="27125" y="16344"/>
                  <a:pt x="27094" y="16375"/>
                </a:cubicBezTo>
                <a:close/>
                <a:moveTo>
                  <a:pt x="27062" y="16094"/>
                </a:moveTo>
                <a:cubicBezTo>
                  <a:pt x="27031" y="16125"/>
                  <a:pt x="27031" y="16156"/>
                  <a:pt x="27031" y="16187"/>
                </a:cubicBezTo>
                <a:cubicBezTo>
                  <a:pt x="27031" y="16250"/>
                  <a:pt x="27031" y="16312"/>
                  <a:pt x="27031" y="16375"/>
                </a:cubicBezTo>
                <a:cubicBezTo>
                  <a:pt x="27031" y="16375"/>
                  <a:pt x="27031" y="16375"/>
                  <a:pt x="27062" y="16375"/>
                </a:cubicBezTo>
                <a:cubicBezTo>
                  <a:pt x="27031" y="16375"/>
                  <a:pt x="27031" y="16375"/>
                  <a:pt x="27031" y="16375"/>
                </a:cubicBezTo>
                <a:cubicBezTo>
                  <a:pt x="27031" y="16375"/>
                  <a:pt x="27031" y="16375"/>
                  <a:pt x="27031" y="16375"/>
                </a:cubicBezTo>
                <a:cubicBezTo>
                  <a:pt x="27031" y="16312"/>
                  <a:pt x="27031" y="16250"/>
                  <a:pt x="27031" y="16187"/>
                </a:cubicBezTo>
                <a:cubicBezTo>
                  <a:pt x="27031" y="16187"/>
                  <a:pt x="27031" y="16187"/>
                  <a:pt x="27031" y="16187"/>
                </a:cubicBezTo>
                <a:cubicBezTo>
                  <a:pt x="27031" y="16156"/>
                  <a:pt x="27031" y="16125"/>
                  <a:pt x="27062" y="16094"/>
                </a:cubicBezTo>
                <a:cubicBezTo>
                  <a:pt x="27062" y="16094"/>
                  <a:pt x="27062" y="16094"/>
                  <a:pt x="27062" y="16094"/>
                </a:cubicBezTo>
                <a:cubicBezTo>
                  <a:pt x="27094" y="16125"/>
                  <a:pt x="27156" y="16125"/>
                  <a:pt x="27187" y="16156"/>
                </a:cubicBezTo>
                <a:cubicBezTo>
                  <a:pt x="27156" y="16125"/>
                  <a:pt x="27094" y="16125"/>
                  <a:pt x="27062" y="16094"/>
                </a:cubicBezTo>
                <a:close/>
                <a:moveTo>
                  <a:pt x="27469" y="10000"/>
                </a:moveTo>
                <a:cubicBezTo>
                  <a:pt x="27500" y="9687"/>
                  <a:pt x="27406" y="9594"/>
                  <a:pt x="27187" y="9500"/>
                </a:cubicBezTo>
                <a:cubicBezTo>
                  <a:pt x="27219" y="9437"/>
                  <a:pt x="27219" y="9375"/>
                  <a:pt x="27187" y="9375"/>
                </a:cubicBezTo>
                <a:cubicBezTo>
                  <a:pt x="27219" y="9375"/>
                  <a:pt x="27219" y="9437"/>
                  <a:pt x="27187" y="9500"/>
                </a:cubicBezTo>
                <a:cubicBezTo>
                  <a:pt x="27406" y="9594"/>
                  <a:pt x="27500" y="9687"/>
                  <a:pt x="27469" y="10000"/>
                </a:cubicBezTo>
                <a:close/>
                <a:moveTo>
                  <a:pt x="27312" y="7812"/>
                </a:moveTo>
                <a:cubicBezTo>
                  <a:pt x="27312" y="7812"/>
                  <a:pt x="27312" y="7812"/>
                  <a:pt x="27312" y="7812"/>
                </a:cubicBezTo>
                <a:cubicBezTo>
                  <a:pt x="27281" y="7844"/>
                  <a:pt x="27281" y="7844"/>
                  <a:pt x="27281" y="7875"/>
                </a:cubicBezTo>
                <a:cubicBezTo>
                  <a:pt x="27281" y="7844"/>
                  <a:pt x="27281" y="7844"/>
                  <a:pt x="27312" y="7812"/>
                </a:cubicBezTo>
                <a:close/>
                <a:moveTo>
                  <a:pt x="27156" y="8125"/>
                </a:moveTo>
                <a:cubicBezTo>
                  <a:pt x="27156" y="8062"/>
                  <a:pt x="27187" y="8031"/>
                  <a:pt x="27219" y="8000"/>
                </a:cubicBezTo>
                <a:cubicBezTo>
                  <a:pt x="27187" y="8031"/>
                  <a:pt x="27156" y="8062"/>
                  <a:pt x="27156" y="8125"/>
                </a:cubicBezTo>
                <a:cubicBezTo>
                  <a:pt x="27156" y="8156"/>
                  <a:pt x="27125" y="8187"/>
                  <a:pt x="27125" y="8187"/>
                </a:cubicBezTo>
                <a:cubicBezTo>
                  <a:pt x="27125" y="8187"/>
                  <a:pt x="27156" y="8156"/>
                  <a:pt x="27156" y="8125"/>
                </a:cubicBezTo>
                <a:close/>
                <a:moveTo>
                  <a:pt x="27062" y="10000"/>
                </a:moveTo>
                <a:cubicBezTo>
                  <a:pt x="27062" y="10000"/>
                  <a:pt x="27031" y="9969"/>
                  <a:pt x="27031" y="9969"/>
                </a:cubicBezTo>
                <a:cubicBezTo>
                  <a:pt x="27031" y="9969"/>
                  <a:pt x="27062" y="10000"/>
                  <a:pt x="27062" y="10000"/>
                </a:cubicBezTo>
                <a:close/>
                <a:moveTo>
                  <a:pt x="27187" y="14937"/>
                </a:moveTo>
                <a:cubicBezTo>
                  <a:pt x="27281" y="14906"/>
                  <a:pt x="27344" y="14906"/>
                  <a:pt x="27437" y="14906"/>
                </a:cubicBezTo>
                <a:cubicBezTo>
                  <a:pt x="27344" y="14906"/>
                  <a:pt x="27281" y="14906"/>
                  <a:pt x="27187" y="14937"/>
                </a:cubicBezTo>
                <a:close/>
                <a:moveTo>
                  <a:pt x="27062" y="10531"/>
                </a:moveTo>
                <a:cubicBezTo>
                  <a:pt x="27219" y="10500"/>
                  <a:pt x="27344" y="10375"/>
                  <a:pt x="27437" y="10219"/>
                </a:cubicBezTo>
                <a:cubicBezTo>
                  <a:pt x="27469" y="10219"/>
                  <a:pt x="27500" y="10250"/>
                  <a:pt x="27531" y="10250"/>
                </a:cubicBezTo>
                <a:cubicBezTo>
                  <a:pt x="27531" y="10250"/>
                  <a:pt x="27531" y="10250"/>
                  <a:pt x="27531" y="10250"/>
                </a:cubicBezTo>
                <a:cubicBezTo>
                  <a:pt x="27500" y="10250"/>
                  <a:pt x="27469" y="10219"/>
                  <a:pt x="27437" y="10219"/>
                </a:cubicBezTo>
                <a:cubicBezTo>
                  <a:pt x="27344" y="10375"/>
                  <a:pt x="27219" y="10500"/>
                  <a:pt x="27062" y="10531"/>
                </a:cubicBezTo>
                <a:close/>
                <a:moveTo>
                  <a:pt x="27469" y="14906"/>
                </a:moveTo>
                <a:cubicBezTo>
                  <a:pt x="27500" y="14906"/>
                  <a:pt x="27531" y="14906"/>
                  <a:pt x="27562" y="14906"/>
                </a:cubicBezTo>
                <a:cubicBezTo>
                  <a:pt x="27531" y="14906"/>
                  <a:pt x="27500" y="14906"/>
                  <a:pt x="27469" y="14906"/>
                </a:cubicBezTo>
                <a:close/>
                <a:moveTo>
                  <a:pt x="27969" y="11687"/>
                </a:moveTo>
                <a:cubicBezTo>
                  <a:pt x="27969" y="11687"/>
                  <a:pt x="27969" y="11687"/>
                  <a:pt x="27969" y="11687"/>
                </a:cubicBezTo>
                <a:cubicBezTo>
                  <a:pt x="28000" y="11687"/>
                  <a:pt x="28031" y="11687"/>
                  <a:pt x="28031" y="11687"/>
                </a:cubicBezTo>
                <a:cubicBezTo>
                  <a:pt x="28031" y="11687"/>
                  <a:pt x="28000" y="11687"/>
                  <a:pt x="27969" y="11687"/>
                </a:cubicBezTo>
                <a:close/>
                <a:moveTo>
                  <a:pt x="28156" y="10062"/>
                </a:moveTo>
                <a:cubicBezTo>
                  <a:pt x="28125" y="10094"/>
                  <a:pt x="28125" y="10094"/>
                  <a:pt x="28094" y="10094"/>
                </a:cubicBezTo>
                <a:cubicBezTo>
                  <a:pt x="28125" y="10094"/>
                  <a:pt x="28125" y="10094"/>
                  <a:pt x="28156" y="10062"/>
                </a:cubicBezTo>
                <a:cubicBezTo>
                  <a:pt x="28187" y="10062"/>
                  <a:pt x="28219" y="10031"/>
                  <a:pt x="28250" y="10031"/>
                </a:cubicBezTo>
                <a:cubicBezTo>
                  <a:pt x="28219" y="10031"/>
                  <a:pt x="28187" y="10062"/>
                  <a:pt x="28156" y="10062"/>
                </a:cubicBezTo>
                <a:close/>
                <a:moveTo>
                  <a:pt x="28750" y="11656"/>
                </a:moveTo>
                <a:cubicBezTo>
                  <a:pt x="28750" y="11656"/>
                  <a:pt x="28750" y="11656"/>
                  <a:pt x="28750" y="11656"/>
                </a:cubicBezTo>
                <a:cubicBezTo>
                  <a:pt x="28781" y="11656"/>
                  <a:pt x="28844" y="11656"/>
                  <a:pt x="28875" y="11656"/>
                </a:cubicBezTo>
                <a:cubicBezTo>
                  <a:pt x="28844" y="11656"/>
                  <a:pt x="28781" y="11656"/>
                  <a:pt x="28750" y="11656"/>
                </a:cubicBezTo>
                <a:close/>
                <a:moveTo>
                  <a:pt x="28875" y="13094"/>
                </a:moveTo>
                <a:cubicBezTo>
                  <a:pt x="28875" y="13094"/>
                  <a:pt x="28875" y="13094"/>
                  <a:pt x="28875" y="13094"/>
                </a:cubicBezTo>
                <a:cubicBezTo>
                  <a:pt x="28906" y="13094"/>
                  <a:pt x="28937" y="13125"/>
                  <a:pt x="28937" y="13156"/>
                </a:cubicBezTo>
                <a:cubicBezTo>
                  <a:pt x="28937" y="13125"/>
                  <a:pt x="28906" y="13094"/>
                  <a:pt x="28875" y="13094"/>
                </a:cubicBezTo>
                <a:close/>
                <a:moveTo>
                  <a:pt x="28937" y="11656"/>
                </a:moveTo>
                <a:cubicBezTo>
                  <a:pt x="28937" y="11656"/>
                  <a:pt x="28937" y="11656"/>
                  <a:pt x="28937" y="11656"/>
                </a:cubicBezTo>
                <a:cubicBezTo>
                  <a:pt x="28937" y="11656"/>
                  <a:pt x="28937" y="11656"/>
                  <a:pt x="28937" y="11656"/>
                </a:cubicBezTo>
                <a:cubicBezTo>
                  <a:pt x="29000" y="11656"/>
                  <a:pt x="29062" y="11687"/>
                  <a:pt x="29125" y="11687"/>
                </a:cubicBezTo>
                <a:cubicBezTo>
                  <a:pt x="29062" y="11687"/>
                  <a:pt x="29000" y="11656"/>
                  <a:pt x="28937" y="11656"/>
                </a:cubicBezTo>
                <a:close/>
                <a:moveTo>
                  <a:pt x="29500" y="11875"/>
                </a:moveTo>
                <a:cubicBezTo>
                  <a:pt x="29500" y="11844"/>
                  <a:pt x="29500" y="11844"/>
                  <a:pt x="29500" y="11844"/>
                </a:cubicBezTo>
                <a:cubicBezTo>
                  <a:pt x="29500" y="11844"/>
                  <a:pt x="29500" y="11844"/>
                  <a:pt x="29500" y="11875"/>
                </a:cubicBezTo>
                <a:cubicBezTo>
                  <a:pt x="29500" y="11875"/>
                  <a:pt x="29500" y="11875"/>
                  <a:pt x="29500" y="11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55AFE4-0487-1E44-8931-B0296DA43A6F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3A43DDEA-BAE9-1142-89AE-86805BE9E7F1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16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6">
            <a:extLst>
              <a:ext uri="{FF2B5EF4-FFF2-40B4-BE49-F238E27FC236}">
                <a16:creationId xmlns:a16="http://schemas.microsoft.com/office/drawing/2014/main" id="{D7365325-E784-BC4A-96E7-FCDDF3AA7966}"/>
              </a:ext>
            </a:extLst>
          </p:cNvPr>
          <p:cNvSpPr>
            <a:spLocks noGrp="1" noEditPoints="1"/>
          </p:cNvSpPr>
          <p:nvPr>
            <p:ph type="pic" sz="quarter" idx="25"/>
          </p:nvPr>
        </p:nvSpPr>
        <p:spPr bwMode="auto">
          <a:xfrm>
            <a:off x="12625635" y="882130"/>
            <a:ext cx="10513168" cy="12152125"/>
          </a:xfrm>
          <a:custGeom>
            <a:avLst/>
            <a:gdLst>
              <a:gd name="T0" fmla="*/ 3188 w 23437"/>
              <a:gd name="T1" fmla="*/ 18403 h 27781"/>
              <a:gd name="T2" fmla="*/ 1000 w 23437"/>
              <a:gd name="T3" fmla="*/ 17250 h 27781"/>
              <a:gd name="T4" fmla="*/ 5188 w 23437"/>
              <a:gd name="T5" fmla="*/ 18063 h 27781"/>
              <a:gd name="T6" fmla="*/ 5594 w 23437"/>
              <a:gd name="T7" fmla="*/ 17813 h 27781"/>
              <a:gd name="T8" fmla="*/ 5125 w 23437"/>
              <a:gd name="T9" fmla="*/ 18406 h 27781"/>
              <a:gd name="T10" fmla="*/ 7313 w 23437"/>
              <a:gd name="T11" fmla="*/ 20125 h 27781"/>
              <a:gd name="T12" fmla="*/ 3813 w 23437"/>
              <a:gd name="T13" fmla="*/ 18000 h 27781"/>
              <a:gd name="T14" fmla="*/ 15187 w 23437"/>
              <a:gd name="T15" fmla="*/ 4032 h 27781"/>
              <a:gd name="T16" fmla="*/ 14750 w 23437"/>
              <a:gd name="T17" fmla="*/ 4219 h 27781"/>
              <a:gd name="T18" fmla="*/ 12969 w 23437"/>
              <a:gd name="T19" fmla="*/ 3407 h 27781"/>
              <a:gd name="T20" fmla="*/ 13156 w 23437"/>
              <a:gd name="T21" fmla="*/ 4313 h 27781"/>
              <a:gd name="T22" fmla="*/ 14375 w 23437"/>
              <a:gd name="T23" fmla="*/ 5532 h 27781"/>
              <a:gd name="T24" fmla="*/ 11344 w 23437"/>
              <a:gd name="T25" fmla="*/ 4032 h 27781"/>
              <a:gd name="T26" fmla="*/ 14437 w 23437"/>
              <a:gd name="T27" fmla="*/ 6563 h 27781"/>
              <a:gd name="T28" fmla="*/ 13375 w 23437"/>
              <a:gd name="T29" fmla="*/ 6188 h 27781"/>
              <a:gd name="T30" fmla="*/ 13625 w 23437"/>
              <a:gd name="T31" fmla="*/ 7063 h 27781"/>
              <a:gd name="T32" fmla="*/ 12781 w 23437"/>
              <a:gd name="T33" fmla="*/ 6594 h 27781"/>
              <a:gd name="T34" fmla="*/ 13969 w 23437"/>
              <a:gd name="T35" fmla="*/ 7782 h 27781"/>
              <a:gd name="T36" fmla="*/ 8906 w 23437"/>
              <a:gd name="T37" fmla="*/ 4907 h 27781"/>
              <a:gd name="T38" fmla="*/ 10656 w 23437"/>
              <a:gd name="T39" fmla="*/ 6157 h 27781"/>
              <a:gd name="T40" fmla="*/ 8187 w 23437"/>
              <a:gd name="T41" fmla="*/ 5032 h 27781"/>
              <a:gd name="T42" fmla="*/ 11594 w 23437"/>
              <a:gd name="T43" fmla="*/ 6907 h 27781"/>
              <a:gd name="T44" fmla="*/ 10969 w 23437"/>
              <a:gd name="T45" fmla="*/ 6719 h 27781"/>
              <a:gd name="T46" fmla="*/ 9031 w 23437"/>
              <a:gd name="T47" fmla="*/ 6313 h 27781"/>
              <a:gd name="T48" fmla="*/ 14156 w 23437"/>
              <a:gd name="T49" fmla="*/ 9532 h 27781"/>
              <a:gd name="T50" fmla="*/ 11875 w 23437"/>
              <a:gd name="T51" fmla="*/ 8500 h 27781"/>
              <a:gd name="T52" fmla="*/ 10000 w 23437"/>
              <a:gd name="T53" fmla="*/ 7782 h 27781"/>
              <a:gd name="T54" fmla="*/ 9969 w 23437"/>
              <a:gd name="T55" fmla="*/ 8344 h 27781"/>
              <a:gd name="T56" fmla="*/ 13406 w 23437"/>
              <a:gd name="T57" fmla="*/ 10500 h 27781"/>
              <a:gd name="T58" fmla="*/ 13625 w 23437"/>
              <a:gd name="T59" fmla="*/ 11094 h 27781"/>
              <a:gd name="T60" fmla="*/ 5063 w 23437"/>
              <a:gd name="T61" fmla="*/ 6657 h 27781"/>
              <a:gd name="T62" fmla="*/ 10437 w 23437"/>
              <a:gd name="T63" fmla="*/ 9407 h 27781"/>
              <a:gd name="T64" fmla="*/ 7594 w 23437"/>
              <a:gd name="T65" fmla="*/ 8094 h 27781"/>
              <a:gd name="T66" fmla="*/ 13469 w 23437"/>
              <a:gd name="T67" fmla="*/ 11782 h 27781"/>
              <a:gd name="T68" fmla="*/ 11875 w 23437"/>
              <a:gd name="T69" fmla="*/ 10938 h 27781"/>
              <a:gd name="T70" fmla="*/ 18125 w 23437"/>
              <a:gd name="T71" fmla="*/ 17844 h 27781"/>
              <a:gd name="T72" fmla="*/ 6531 w 23437"/>
              <a:gd name="T73" fmla="*/ 11907 h 27781"/>
              <a:gd name="T74" fmla="*/ 969 w 23437"/>
              <a:gd name="T75" fmla="*/ 13688 h 27781"/>
              <a:gd name="T76" fmla="*/ 11031 w 23437"/>
              <a:gd name="T77" fmla="*/ 19531 h 27781"/>
              <a:gd name="T78" fmla="*/ 6344 w 23437"/>
              <a:gd name="T79" fmla="*/ 16282 h 27781"/>
              <a:gd name="T80" fmla="*/ 125 w 23437"/>
              <a:gd name="T81" fmla="*/ 18938 h 27781"/>
              <a:gd name="T82" fmla="*/ 2406 w 23437"/>
              <a:gd name="T83" fmla="*/ 24875 h 27781"/>
              <a:gd name="T84" fmla="*/ 2063 w 23437"/>
              <a:gd name="T85" fmla="*/ 25563 h 27781"/>
              <a:gd name="T86" fmla="*/ 8000 w 23437"/>
              <a:gd name="T87" fmla="*/ 26531 h 27781"/>
              <a:gd name="T88" fmla="*/ 21719 w 23437"/>
              <a:gd name="T89" fmla="*/ 17875 h 27781"/>
              <a:gd name="T90" fmla="*/ 5375 w 23437"/>
              <a:gd name="T91" fmla="*/ 13688 h 27781"/>
              <a:gd name="T92" fmla="*/ 6781 w 23437"/>
              <a:gd name="T93" fmla="*/ 15157 h 27781"/>
              <a:gd name="T94" fmla="*/ 2875 w 23437"/>
              <a:gd name="T95" fmla="*/ 13750 h 27781"/>
              <a:gd name="T96" fmla="*/ 3969 w 23437"/>
              <a:gd name="T97" fmla="*/ 12438 h 27781"/>
              <a:gd name="T98" fmla="*/ 6000 w 23437"/>
              <a:gd name="T99" fmla="*/ 11969 h 27781"/>
              <a:gd name="T100" fmla="*/ 7531 w 23437"/>
              <a:gd name="T101" fmla="*/ 13782 h 27781"/>
              <a:gd name="T102" fmla="*/ 6938 w 23437"/>
              <a:gd name="T103" fmla="*/ 14282 h 27781"/>
              <a:gd name="T104" fmla="*/ 7125 w 23437"/>
              <a:gd name="T105" fmla="*/ 26563 h 27781"/>
              <a:gd name="T106" fmla="*/ 5406 w 23437"/>
              <a:gd name="T107" fmla="*/ 26250 h 27781"/>
              <a:gd name="T108" fmla="*/ 6594 w 23437"/>
              <a:gd name="T109" fmla="*/ 13938 h 27781"/>
              <a:gd name="T110" fmla="*/ 6438 w 23437"/>
              <a:gd name="T111" fmla="*/ 11907 h 27781"/>
              <a:gd name="T112" fmla="*/ 4625 w 23437"/>
              <a:gd name="T113" fmla="*/ 6282 h 27781"/>
              <a:gd name="T114" fmla="*/ 2719 w 23437"/>
              <a:gd name="T115" fmla="*/ 27781 h 27781"/>
              <a:gd name="T116" fmla="*/ 6688 w 23437"/>
              <a:gd name="T117" fmla="*/ 3907 h 27781"/>
              <a:gd name="T118" fmla="*/ 2563 w 23437"/>
              <a:gd name="T119" fmla="*/ 26594 h 27781"/>
              <a:gd name="T120" fmla="*/ 1719 w 23437"/>
              <a:gd name="T121" fmla="*/ 26781 h 27781"/>
              <a:gd name="T122" fmla="*/ 3156 w 23437"/>
              <a:gd name="T123" fmla="*/ 5938 h 27781"/>
              <a:gd name="T124" fmla="*/ 8094 w 23437"/>
              <a:gd name="T125" fmla="*/ 5969 h 27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437" h="27781">
                <a:moveTo>
                  <a:pt x="6031" y="15844"/>
                </a:moveTo>
                <a:cubicBezTo>
                  <a:pt x="6000" y="15844"/>
                  <a:pt x="6000" y="15844"/>
                  <a:pt x="5969" y="15844"/>
                </a:cubicBezTo>
                <a:cubicBezTo>
                  <a:pt x="5969" y="15813"/>
                  <a:pt x="5938" y="15813"/>
                  <a:pt x="5938" y="15813"/>
                </a:cubicBezTo>
                <a:cubicBezTo>
                  <a:pt x="5500" y="15625"/>
                  <a:pt x="5094" y="15407"/>
                  <a:pt x="4688" y="15250"/>
                </a:cubicBezTo>
                <a:cubicBezTo>
                  <a:pt x="4438" y="15125"/>
                  <a:pt x="4156" y="15032"/>
                  <a:pt x="3906" y="14969"/>
                </a:cubicBezTo>
                <a:cubicBezTo>
                  <a:pt x="3594" y="14844"/>
                  <a:pt x="3313" y="14719"/>
                  <a:pt x="2969" y="14657"/>
                </a:cubicBezTo>
                <a:cubicBezTo>
                  <a:pt x="2875" y="14625"/>
                  <a:pt x="2750" y="14594"/>
                  <a:pt x="2625" y="14625"/>
                </a:cubicBezTo>
                <a:cubicBezTo>
                  <a:pt x="2750" y="14657"/>
                  <a:pt x="2875" y="14688"/>
                  <a:pt x="3000" y="14719"/>
                </a:cubicBezTo>
                <a:cubicBezTo>
                  <a:pt x="3219" y="14782"/>
                  <a:pt x="3406" y="14844"/>
                  <a:pt x="3594" y="14907"/>
                </a:cubicBezTo>
                <a:cubicBezTo>
                  <a:pt x="3938" y="15000"/>
                  <a:pt x="4281" y="15125"/>
                  <a:pt x="4594" y="15282"/>
                </a:cubicBezTo>
                <a:cubicBezTo>
                  <a:pt x="4875" y="15375"/>
                  <a:pt x="5125" y="15500"/>
                  <a:pt x="5375" y="15625"/>
                </a:cubicBezTo>
                <a:cubicBezTo>
                  <a:pt x="5625" y="15750"/>
                  <a:pt x="5875" y="15875"/>
                  <a:pt x="6156" y="16000"/>
                </a:cubicBezTo>
                <a:cubicBezTo>
                  <a:pt x="6531" y="16219"/>
                  <a:pt x="6906" y="16407"/>
                  <a:pt x="7250" y="16657"/>
                </a:cubicBezTo>
                <a:cubicBezTo>
                  <a:pt x="7344" y="16688"/>
                  <a:pt x="7438" y="16625"/>
                  <a:pt x="7500" y="16594"/>
                </a:cubicBezTo>
                <a:cubicBezTo>
                  <a:pt x="7531" y="16594"/>
                  <a:pt x="7500" y="16532"/>
                  <a:pt x="7469" y="16532"/>
                </a:cubicBezTo>
                <a:cubicBezTo>
                  <a:pt x="7344" y="16469"/>
                  <a:pt x="7250" y="16407"/>
                  <a:pt x="7125" y="16344"/>
                </a:cubicBezTo>
                <a:cubicBezTo>
                  <a:pt x="6969" y="16219"/>
                  <a:pt x="6781" y="16125"/>
                  <a:pt x="6594" y="16032"/>
                </a:cubicBezTo>
                <a:cubicBezTo>
                  <a:pt x="6125" y="15782"/>
                  <a:pt x="5656" y="15532"/>
                  <a:pt x="5188" y="15344"/>
                </a:cubicBezTo>
                <a:cubicBezTo>
                  <a:pt x="5031" y="15250"/>
                  <a:pt x="4875" y="15188"/>
                  <a:pt x="4688" y="15157"/>
                </a:cubicBezTo>
                <a:cubicBezTo>
                  <a:pt x="4750" y="15219"/>
                  <a:pt x="4844" y="15219"/>
                  <a:pt x="4938" y="15282"/>
                </a:cubicBezTo>
                <a:cubicBezTo>
                  <a:pt x="5188" y="15407"/>
                  <a:pt x="5469" y="15532"/>
                  <a:pt x="5719" y="15657"/>
                </a:cubicBezTo>
                <a:cubicBezTo>
                  <a:pt x="5750" y="15657"/>
                  <a:pt x="5781" y="15688"/>
                  <a:pt x="5813" y="15688"/>
                </a:cubicBezTo>
                <a:cubicBezTo>
                  <a:pt x="5875" y="15719"/>
                  <a:pt x="5969" y="15750"/>
                  <a:pt x="6031" y="15844"/>
                </a:cubicBezTo>
                <a:cubicBezTo>
                  <a:pt x="6031" y="15844"/>
                  <a:pt x="6031" y="15844"/>
                  <a:pt x="6031" y="15844"/>
                </a:cubicBezTo>
                <a:close/>
                <a:moveTo>
                  <a:pt x="5719" y="18875"/>
                </a:moveTo>
                <a:cubicBezTo>
                  <a:pt x="5750" y="18938"/>
                  <a:pt x="5813" y="18938"/>
                  <a:pt x="5906" y="18969"/>
                </a:cubicBezTo>
                <a:cubicBezTo>
                  <a:pt x="5906" y="18969"/>
                  <a:pt x="5906" y="19000"/>
                  <a:pt x="5906" y="19000"/>
                </a:cubicBezTo>
                <a:cubicBezTo>
                  <a:pt x="5906" y="18969"/>
                  <a:pt x="5906" y="18969"/>
                  <a:pt x="5906" y="18969"/>
                </a:cubicBezTo>
                <a:cubicBezTo>
                  <a:pt x="5844" y="18938"/>
                  <a:pt x="5781" y="18875"/>
                  <a:pt x="5719" y="18875"/>
                </a:cubicBezTo>
                <a:cubicBezTo>
                  <a:pt x="5688" y="18844"/>
                  <a:pt x="5656" y="18813"/>
                  <a:pt x="5594" y="18813"/>
                </a:cubicBezTo>
                <a:cubicBezTo>
                  <a:pt x="5625" y="18875"/>
                  <a:pt x="5656" y="18875"/>
                  <a:pt x="5719" y="18875"/>
                </a:cubicBezTo>
                <a:close/>
                <a:moveTo>
                  <a:pt x="2125" y="17250"/>
                </a:moveTo>
                <a:cubicBezTo>
                  <a:pt x="1938" y="17250"/>
                  <a:pt x="1781" y="17125"/>
                  <a:pt x="1594" y="17157"/>
                </a:cubicBezTo>
                <a:cubicBezTo>
                  <a:pt x="1781" y="17219"/>
                  <a:pt x="1938" y="17282"/>
                  <a:pt x="2125" y="17250"/>
                </a:cubicBezTo>
                <a:close/>
                <a:moveTo>
                  <a:pt x="3191" y="18406"/>
                </a:moveTo>
                <a:lnTo>
                  <a:pt x="3219" y="18406"/>
                </a:lnTo>
                <a:cubicBezTo>
                  <a:pt x="3219" y="18375"/>
                  <a:pt x="3219" y="18375"/>
                  <a:pt x="3188" y="18375"/>
                </a:cubicBezTo>
                <a:lnTo>
                  <a:pt x="3188" y="18403"/>
                </a:lnTo>
                <a:cubicBezTo>
                  <a:pt x="3177" y="18395"/>
                  <a:pt x="3166" y="18385"/>
                  <a:pt x="3156" y="18375"/>
                </a:cubicBezTo>
                <a:cubicBezTo>
                  <a:pt x="3094" y="18344"/>
                  <a:pt x="3063" y="18281"/>
                  <a:pt x="2969" y="18313"/>
                </a:cubicBezTo>
                <a:cubicBezTo>
                  <a:pt x="2938" y="18188"/>
                  <a:pt x="2813" y="18219"/>
                  <a:pt x="2750" y="18156"/>
                </a:cubicBezTo>
                <a:cubicBezTo>
                  <a:pt x="2750" y="18156"/>
                  <a:pt x="2750" y="18156"/>
                  <a:pt x="2750" y="18156"/>
                </a:cubicBezTo>
                <a:cubicBezTo>
                  <a:pt x="2719" y="18156"/>
                  <a:pt x="2688" y="18125"/>
                  <a:pt x="2656" y="18125"/>
                </a:cubicBezTo>
                <a:cubicBezTo>
                  <a:pt x="2688" y="18094"/>
                  <a:pt x="2719" y="18125"/>
                  <a:pt x="2750" y="18156"/>
                </a:cubicBezTo>
                <a:cubicBezTo>
                  <a:pt x="3000" y="18188"/>
                  <a:pt x="3250" y="18313"/>
                  <a:pt x="3531" y="18375"/>
                </a:cubicBezTo>
                <a:cubicBezTo>
                  <a:pt x="3438" y="18281"/>
                  <a:pt x="3344" y="18250"/>
                  <a:pt x="3250" y="18219"/>
                </a:cubicBezTo>
                <a:cubicBezTo>
                  <a:pt x="3250" y="18188"/>
                  <a:pt x="3250" y="18188"/>
                  <a:pt x="3250" y="18188"/>
                </a:cubicBezTo>
                <a:cubicBezTo>
                  <a:pt x="3313" y="18188"/>
                  <a:pt x="3406" y="18219"/>
                  <a:pt x="3469" y="18250"/>
                </a:cubicBezTo>
                <a:cubicBezTo>
                  <a:pt x="3750" y="18375"/>
                  <a:pt x="4031" y="18469"/>
                  <a:pt x="4281" y="18594"/>
                </a:cubicBezTo>
                <a:cubicBezTo>
                  <a:pt x="4313" y="18625"/>
                  <a:pt x="4344" y="18625"/>
                  <a:pt x="4375" y="18594"/>
                </a:cubicBezTo>
                <a:cubicBezTo>
                  <a:pt x="4375" y="18531"/>
                  <a:pt x="4344" y="18531"/>
                  <a:pt x="4344" y="18531"/>
                </a:cubicBezTo>
                <a:cubicBezTo>
                  <a:pt x="4219" y="18469"/>
                  <a:pt x="4063" y="18406"/>
                  <a:pt x="3938" y="18344"/>
                </a:cubicBezTo>
                <a:cubicBezTo>
                  <a:pt x="3594" y="18219"/>
                  <a:pt x="3250" y="18094"/>
                  <a:pt x="2906" y="17938"/>
                </a:cubicBezTo>
                <a:cubicBezTo>
                  <a:pt x="2563" y="17813"/>
                  <a:pt x="2219" y="17750"/>
                  <a:pt x="1875" y="17656"/>
                </a:cubicBezTo>
                <a:cubicBezTo>
                  <a:pt x="1656" y="17594"/>
                  <a:pt x="1438" y="17594"/>
                  <a:pt x="1219" y="17532"/>
                </a:cubicBezTo>
                <a:cubicBezTo>
                  <a:pt x="1219" y="17532"/>
                  <a:pt x="1250" y="17500"/>
                  <a:pt x="1250" y="17469"/>
                </a:cubicBezTo>
                <a:cubicBezTo>
                  <a:pt x="1313" y="17500"/>
                  <a:pt x="1375" y="17500"/>
                  <a:pt x="1438" y="17500"/>
                </a:cubicBezTo>
                <a:cubicBezTo>
                  <a:pt x="1438" y="17532"/>
                  <a:pt x="1438" y="17532"/>
                  <a:pt x="1469" y="17500"/>
                </a:cubicBezTo>
                <a:cubicBezTo>
                  <a:pt x="1563" y="17532"/>
                  <a:pt x="1688" y="17594"/>
                  <a:pt x="1781" y="17532"/>
                </a:cubicBezTo>
                <a:cubicBezTo>
                  <a:pt x="1813" y="17500"/>
                  <a:pt x="1844" y="17532"/>
                  <a:pt x="1844" y="17532"/>
                </a:cubicBezTo>
                <a:cubicBezTo>
                  <a:pt x="2250" y="17625"/>
                  <a:pt x="2656" y="17719"/>
                  <a:pt x="3063" y="17875"/>
                </a:cubicBezTo>
                <a:cubicBezTo>
                  <a:pt x="3281" y="17969"/>
                  <a:pt x="3500" y="18063"/>
                  <a:pt x="3719" y="18125"/>
                </a:cubicBezTo>
                <a:cubicBezTo>
                  <a:pt x="4031" y="18219"/>
                  <a:pt x="4281" y="18375"/>
                  <a:pt x="4563" y="18500"/>
                </a:cubicBezTo>
                <a:cubicBezTo>
                  <a:pt x="4688" y="18563"/>
                  <a:pt x="4813" y="18594"/>
                  <a:pt x="4938" y="18625"/>
                </a:cubicBezTo>
                <a:cubicBezTo>
                  <a:pt x="4875" y="18531"/>
                  <a:pt x="4750" y="18500"/>
                  <a:pt x="4656" y="18438"/>
                </a:cubicBezTo>
                <a:cubicBezTo>
                  <a:pt x="4375" y="18313"/>
                  <a:pt x="4094" y="18188"/>
                  <a:pt x="3781" y="18063"/>
                </a:cubicBezTo>
                <a:cubicBezTo>
                  <a:pt x="3531" y="17969"/>
                  <a:pt x="3281" y="17875"/>
                  <a:pt x="3063" y="17750"/>
                </a:cubicBezTo>
                <a:cubicBezTo>
                  <a:pt x="3031" y="17750"/>
                  <a:pt x="2969" y="17750"/>
                  <a:pt x="2938" y="17750"/>
                </a:cubicBezTo>
                <a:cubicBezTo>
                  <a:pt x="2750" y="17688"/>
                  <a:pt x="2531" y="17656"/>
                  <a:pt x="2344" y="17594"/>
                </a:cubicBezTo>
                <a:cubicBezTo>
                  <a:pt x="1969" y="17469"/>
                  <a:pt x="1594" y="17407"/>
                  <a:pt x="1219" y="17407"/>
                </a:cubicBezTo>
                <a:cubicBezTo>
                  <a:pt x="1125" y="17375"/>
                  <a:pt x="1063" y="17407"/>
                  <a:pt x="1031" y="17438"/>
                </a:cubicBezTo>
                <a:cubicBezTo>
                  <a:pt x="1000" y="17438"/>
                  <a:pt x="1000" y="17438"/>
                  <a:pt x="969" y="17438"/>
                </a:cubicBezTo>
                <a:cubicBezTo>
                  <a:pt x="938" y="17407"/>
                  <a:pt x="906" y="17407"/>
                  <a:pt x="875" y="17407"/>
                </a:cubicBezTo>
                <a:cubicBezTo>
                  <a:pt x="906" y="17344"/>
                  <a:pt x="969" y="17344"/>
                  <a:pt x="1000" y="17344"/>
                </a:cubicBezTo>
                <a:cubicBezTo>
                  <a:pt x="1031" y="17344"/>
                  <a:pt x="1063" y="17344"/>
                  <a:pt x="1094" y="17313"/>
                </a:cubicBezTo>
                <a:cubicBezTo>
                  <a:pt x="1094" y="17250"/>
                  <a:pt x="1031" y="17282"/>
                  <a:pt x="1000" y="17250"/>
                </a:cubicBezTo>
                <a:cubicBezTo>
                  <a:pt x="1125" y="17250"/>
                  <a:pt x="1219" y="17313"/>
                  <a:pt x="1344" y="17282"/>
                </a:cubicBezTo>
                <a:cubicBezTo>
                  <a:pt x="1281" y="17188"/>
                  <a:pt x="1156" y="17250"/>
                  <a:pt x="1156" y="17157"/>
                </a:cubicBezTo>
                <a:cubicBezTo>
                  <a:pt x="1250" y="17125"/>
                  <a:pt x="1344" y="17157"/>
                  <a:pt x="1469" y="17157"/>
                </a:cubicBezTo>
                <a:cubicBezTo>
                  <a:pt x="1281" y="17094"/>
                  <a:pt x="1125" y="17063"/>
                  <a:pt x="938" y="17063"/>
                </a:cubicBezTo>
                <a:cubicBezTo>
                  <a:pt x="1500" y="17000"/>
                  <a:pt x="2031" y="17125"/>
                  <a:pt x="2594" y="17313"/>
                </a:cubicBezTo>
                <a:cubicBezTo>
                  <a:pt x="2594" y="17313"/>
                  <a:pt x="2594" y="17313"/>
                  <a:pt x="2625" y="17313"/>
                </a:cubicBezTo>
                <a:cubicBezTo>
                  <a:pt x="2688" y="17344"/>
                  <a:pt x="2719" y="17344"/>
                  <a:pt x="2781" y="17375"/>
                </a:cubicBezTo>
                <a:cubicBezTo>
                  <a:pt x="2781" y="17375"/>
                  <a:pt x="2781" y="17375"/>
                  <a:pt x="2813" y="17375"/>
                </a:cubicBezTo>
                <a:cubicBezTo>
                  <a:pt x="2844" y="17375"/>
                  <a:pt x="2875" y="17407"/>
                  <a:pt x="2906" y="17407"/>
                </a:cubicBezTo>
                <a:cubicBezTo>
                  <a:pt x="2969" y="17532"/>
                  <a:pt x="3094" y="17563"/>
                  <a:pt x="3219" y="17594"/>
                </a:cubicBezTo>
                <a:cubicBezTo>
                  <a:pt x="3500" y="17719"/>
                  <a:pt x="3813" y="17813"/>
                  <a:pt x="4094" y="17938"/>
                </a:cubicBezTo>
                <a:cubicBezTo>
                  <a:pt x="4313" y="18031"/>
                  <a:pt x="4531" y="18125"/>
                  <a:pt x="4719" y="18219"/>
                </a:cubicBezTo>
                <a:cubicBezTo>
                  <a:pt x="4813" y="18281"/>
                  <a:pt x="4813" y="18219"/>
                  <a:pt x="4844" y="18188"/>
                </a:cubicBezTo>
                <a:cubicBezTo>
                  <a:pt x="4875" y="18125"/>
                  <a:pt x="4875" y="18094"/>
                  <a:pt x="4813" y="18094"/>
                </a:cubicBezTo>
                <a:cubicBezTo>
                  <a:pt x="4625" y="18031"/>
                  <a:pt x="4438" y="17906"/>
                  <a:pt x="4219" y="17813"/>
                </a:cubicBezTo>
                <a:cubicBezTo>
                  <a:pt x="4000" y="17750"/>
                  <a:pt x="3781" y="17656"/>
                  <a:pt x="3594" y="17594"/>
                </a:cubicBezTo>
                <a:cubicBezTo>
                  <a:pt x="3281" y="17438"/>
                  <a:pt x="3000" y="17375"/>
                  <a:pt x="2688" y="17282"/>
                </a:cubicBezTo>
                <a:cubicBezTo>
                  <a:pt x="2438" y="17188"/>
                  <a:pt x="2156" y="17125"/>
                  <a:pt x="1906" y="17063"/>
                </a:cubicBezTo>
                <a:cubicBezTo>
                  <a:pt x="1875" y="17000"/>
                  <a:pt x="1813" y="17000"/>
                  <a:pt x="1781" y="16969"/>
                </a:cubicBezTo>
                <a:cubicBezTo>
                  <a:pt x="1719" y="16969"/>
                  <a:pt x="1656" y="16938"/>
                  <a:pt x="1563" y="16938"/>
                </a:cubicBezTo>
                <a:cubicBezTo>
                  <a:pt x="1625" y="16907"/>
                  <a:pt x="1688" y="16938"/>
                  <a:pt x="1750" y="16907"/>
                </a:cubicBezTo>
                <a:cubicBezTo>
                  <a:pt x="1813" y="16907"/>
                  <a:pt x="1844" y="16907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1906" y="16938"/>
                  <a:pt x="1906" y="16938"/>
                  <a:pt x="1906" y="16938"/>
                </a:cubicBezTo>
                <a:cubicBezTo>
                  <a:pt x="2438" y="17032"/>
                  <a:pt x="2969" y="17188"/>
                  <a:pt x="3469" y="17375"/>
                </a:cubicBezTo>
                <a:cubicBezTo>
                  <a:pt x="3688" y="17469"/>
                  <a:pt x="3906" y="17532"/>
                  <a:pt x="4094" y="17594"/>
                </a:cubicBezTo>
                <a:cubicBezTo>
                  <a:pt x="4125" y="17625"/>
                  <a:pt x="4156" y="17625"/>
                  <a:pt x="4156" y="17625"/>
                </a:cubicBezTo>
                <a:cubicBezTo>
                  <a:pt x="4188" y="17656"/>
                  <a:pt x="4219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688"/>
                </a:cubicBezTo>
                <a:cubicBezTo>
                  <a:pt x="4281" y="17688"/>
                  <a:pt x="4281" y="17688"/>
                  <a:pt x="4281" y="17719"/>
                </a:cubicBezTo>
                <a:cubicBezTo>
                  <a:pt x="4281" y="17719"/>
                  <a:pt x="4313" y="17719"/>
                  <a:pt x="4313" y="17719"/>
                </a:cubicBezTo>
                <a:cubicBezTo>
                  <a:pt x="4344" y="17719"/>
                  <a:pt x="4344" y="17750"/>
                  <a:pt x="4375" y="17750"/>
                </a:cubicBezTo>
                <a:cubicBezTo>
                  <a:pt x="4344" y="17781"/>
                  <a:pt x="4375" y="17813"/>
                  <a:pt x="4438" y="17813"/>
                </a:cubicBezTo>
                <a:cubicBezTo>
                  <a:pt x="4656" y="17906"/>
                  <a:pt x="4875" y="18063"/>
                  <a:pt x="5094" y="18125"/>
                </a:cubicBezTo>
                <a:cubicBezTo>
                  <a:pt x="5156" y="18156"/>
                  <a:pt x="5188" y="18219"/>
                  <a:pt x="5250" y="18188"/>
                </a:cubicBezTo>
                <a:cubicBezTo>
                  <a:pt x="5250" y="18156"/>
                  <a:pt x="5250" y="18125"/>
                  <a:pt x="5219" y="18125"/>
                </a:cubicBezTo>
                <a:cubicBezTo>
                  <a:pt x="5188" y="18094"/>
                  <a:pt x="5188" y="18094"/>
                  <a:pt x="5188" y="18063"/>
                </a:cubicBezTo>
                <a:cubicBezTo>
                  <a:pt x="5188" y="18063"/>
                  <a:pt x="5188" y="18063"/>
                  <a:pt x="5188" y="18063"/>
                </a:cubicBezTo>
                <a:cubicBezTo>
                  <a:pt x="5156" y="18031"/>
                  <a:pt x="5094" y="18000"/>
                  <a:pt x="5063" y="17969"/>
                </a:cubicBezTo>
                <a:cubicBezTo>
                  <a:pt x="4875" y="17875"/>
                  <a:pt x="4688" y="17781"/>
                  <a:pt x="4500" y="17719"/>
                </a:cubicBezTo>
                <a:cubicBezTo>
                  <a:pt x="4406" y="17656"/>
                  <a:pt x="4313" y="17594"/>
                  <a:pt x="4188" y="17594"/>
                </a:cubicBezTo>
                <a:cubicBezTo>
                  <a:pt x="4063" y="17500"/>
                  <a:pt x="3938" y="17469"/>
                  <a:pt x="3781" y="17407"/>
                </a:cubicBezTo>
                <a:cubicBezTo>
                  <a:pt x="3563" y="17344"/>
                  <a:pt x="3344" y="17282"/>
                  <a:pt x="3125" y="17188"/>
                </a:cubicBezTo>
                <a:cubicBezTo>
                  <a:pt x="2781" y="17094"/>
                  <a:pt x="2469" y="17000"/>
                  <a:pt x="2125" y="16907"/>
                </a:cubicBezTo>
                <a:cubicBezTo>
                  <a:pt x="1844" y="16844"/>
                  <a:pt x="1531" y="16813"/>
                  <a:pt x="1250" y="16750"/>
                </a:cubicBezTo>
                <a:cubicBezTo>
                  <a:pt x="1438" y="16719"/>
                  <a:pt x="1656" y="16750"/>
                  <a:pt x="1844" y="16782"/>
                </a:cubicBezTo>
                <a:cubicBezTo>
                  <a:pt x="1969" y="16813"/>
                  <a:pt x="2094" y="16844"/>
                  <a:pt x="2219" y="16844"/>
                </a:cubicBezTo>
                <a:cubicBezTo>
                  <a:pt x="2469" y="16875"/>
                  <a:pt x="2719" y="17000"/>
                  <a:pt x="2969" y="17063"/>
                </a:cubicBezTo>
                <a:cubicBezTo>
                  <a:pt x="3094" y="17094"/>
                  <a:pt x="3250" y="17188"/>
                  <a:pt x="3406" y="17219"/>
                </a:cubicBezTo>
                <a:cubicBezTo>
                  <a:pt x="3438" y="17219"/>
                  <a:pt x="3469" y="17219"/>
                  <a:pt x="3500" y="17219"/>
                </a:cubicBezTo>
                <a:cubicBezTo>
                  <a:pt x="3500" y="17219"/>
                  <a:pt x="3500" y="17219"/>
                  <a:pt x="3500" y="17219"/>
                </a:cubicBezTo>
                <a:cubicBezTo>
                  <a:pt x="3500" y="17250"/>
                  <a:pt x="3531" y="17250"/>
                  <a:pt x="3563" y="17250"/>
                </a:cubicBezTo>
                <a:cubicBezTo>
                  <a:pt x="3563" y="17282"/>
                  <a:pt x="3563" y="17282"/>
                  <a:pt x="3594" y="17282"/>
                </a:cubicBezTo>
                <a:cubicBezTo>
                  <a:pt x="3625" y="17282"/>
                  <a:pt x="3656" y="17313"/>
                  <a:pt x="3688" y="17313"/>
                </a:cubicBezTo>
                <a:cubicBezTo>
                  <a:pt x="3906" y="17407"/>
                  <a:pt x="4156" y="17500"/>
                  <a:pt x="4375" y="17594"/>
                </a:cubicBezTo>
                <a:cubicBezTo>
                  <a:pt x="4594" y="17688"/>
                  <a:pt x="4781" y="17781"/>
                  <a:pt x="5031" y="17875"/>
                </a:cubicBezTo>
                <a:cubicBezTo>
                  <a:pt x="5000" y="17813"/>
                  <a:pt x="4969" y="17781"/>
                  <a:pt x="4969" y="17750"/>
                </a:cubicBezTo>
                <a:cubicBezTo>
                  <a:pt x="4969" y="17750"/>
                  <a:pt x="4969" y="17750"/>
                  <a:pt x="4969" y="17750"/>
                </a:cubicBezTo>
                <a:cubicBezTo>
                  <a:pt x="5094" y="17688"/>
                  <a:pt x="5156" y="17813"/>
                  <a:pt x="5219" y="17844"/>
                </a:cubicBezTo>
                <a:cubicBezTo>
                  <a:pt x="5250" y="17844"/>
                  <a:pt x="5281" y="17844"/>
                  <a:pt x="5281" y="17875"/>
                </a:cubicBezTo>
                <a:cubicBezTo>
                  <a:pt x="5313" y="17875"/>
                  <a:pt x="5375" y="17906"/>
                  <a:pt x="5375" y="17875"/>
                </a:cubicBezTo>
                <a:cubicBezTo>
                  <a:pt x="5406" y="17844"/>
                  <a:pt x="5344" y="17813"/>
                  <a:pt x="5313" y="17813"/>
                </a:cubicBezTo>
                <a:cubicBezTo>
                  <a:pt x="4969" y="17594"/>
                  <a:pt x="4563" y="17438"/>
                  <a:pt x="4188" y="17250"/>
                </a:cubicBezTo>
                <a:cubicBezTo>
                  <a:pt x="3938" y="17157"/>
                  <a:pt x="3719" y="17063"/>
                  <a:pt x="3469" y="17000"/>
                </a:cubicBezTo>
                <a:cubicBezTo>
                  <a:pt x="3000" y="16813"/>
                  <a:pt x="2531" y="16688"/>
                  <a:pt x="2031" y="16594"/>
                </a:cubicBezTo>
                <a:cubicBezTo>
                  <a:pt x="1781" y="16532"/>
                  <a:pt x="1531" y="16500"/>
                  <a:pt x="1281" y="16469"/>
                </a:cubicBezTo>
                <a:cubicBezTo>
                  <a:pt x="1250" y="16469"/>
                  <a:pt x="1219" y="16469"/>
                  <a:pt x="1219" y="16438"/>
                </a:cubicBezTo>
                <a:cubicBezTo>
                  <a:pt x="1188" y="16407"/>
                  <a:pt x="1219" y="16407"/>
                  <a:pt x="1250" y="16375"/>
                </a:cubicBezTo>
                <a:cubicBezTo>
                  <a:pt x="1344" y="16344"/>
                  <a:pt x="1469" y="16344"/>
                  <a:pt x="1563" y="16375"/>
                </a:cubicBezTo>
                <a:cubicBezTo>
                  <a:pt x="2000" y="16407"/>
                  <a:pt x="2438" y="16500"/>
                  <a:pt x="2844" y="16625"/>
                </a:cubicBezTo>
                <a:cubicBezTo>
                  <a:pt x="3281" y="16750"/>
                  <a:pt x="3688" y="16907"/>
                  <a:pt x="4125" y="17063"/>
                </a:cubicBezTo>
                <a:cubicBezTo>
                  <a:pt x="4656" y="17282"/>
                  <a:pt x="5188" y="17532"/>
                  <a:pt x="5688" y="17813"/>
                </a:cubicBezTo>
                <a:cubicBezTo>
                  <a:pt x="5688" y="17844"/>
                  <a:pt x="5656" y="17844"/>
                  <a:pt x="5625" y="17844"/>
                </a:cubicBezTo>
                <a:cubicBezTo>
                  <a:pt x="5625" y="17813"/>
                  <a:pt x="5594" y="17813"/>
                  <a:pt x="5594" y="17813"/>
                </a:cubicBezTo>
                <a:cubicBezTo>
                  <a:pt x="5594" y="17813"/>
                  <a:pt x="5594" y="17813"/>
                  <a:pt x="5594" y="17813"/>
                </a:cubicBezTo>
                <a:cubicBezTo>
                  <a:pt x="5594" y="17813"/>
                  <a:pt x="5625" y="17844"/>
                  <a:pt x="5625" y="17844"/>
                </a:cubicBezTo>
                <a:cubicBezTo>
                  <a:pt x="5625" y="17906"/>
                  <a:pt x="5688" y="17906"/>
                  <a:pt x="5719" y="17938"/>
                </a:cubicBezTo>
                <a:cubicBezTo>
                  <a:pt x="5875" y="18000"/>
                  <a:pt x="6000" y="18063"/>
                  <a:pt x="6156" y="18156"/>
                </a:cubicBezTo>
                <a:cubicBezTo>
                  <a:pt x="6219" y="18188"/>
                  <a:pt x="6281" y="18219"/>
                  <a:pt x="6344" y="18188"/>
                </a:cubicBezTo>
                <a:cubicBezTo>
                  <a:pt x="6375" y="18188"/>
                  <a:pt x="6406" y="18188"/>
                  <a:pt x="6438" y="18219"/>
                </a:cubicBezTo>
                <a:cubicBezTo>
                  <a:pt x="6438" y="18250"/>
                  <a:pt x="6469" y="18250"/>
                  <a:pt x="6469" y="18250"/>
                </a:cubicBezTo>
                <a:cubicBezTo>
                  <a:pt x="6500" y="18250"/>
                  <a:pt x="6500" y="18250"/>
                  <a:pt x="6531" y="18281"/>
                </a:cubicBezTo>
                <a:cubicBezTo>
                  <a:pt x="6531" y="18281"/>
                  <a:pt x="6500" y="18313"/>
                  <a:pt x="6500" y="18344"/>
                </a:cubicBezTo>
                <a:cubicBezTo>
                  <a:pt x="6531" y="18344"/>
                  <a:pt x="6563" y="18313"/>
                  <a:pt x="6563" y="18313"/>
                </a:cubicBezTo>
                <a:cubicBezTo>
                  <a:pt x="6594" y="18313"/>
                  <a:pt x="6594" y="18313"/>
                  <a:pt x="6594" y="18313"/>
                </a:cubicBezTo>
                <a:cubicBezTo>
                  <a:pt x="6594" y="18375"/>
                  <a:pt x="6625" y="18438"/>
                  <a:pt x="6688" y="18469"/>
                </a:cubicBezTo>
                <a:cubicBezTo>
                  <a:pt x="6844" y="18531"/>
                  <a:pt x="6938" y="18656"/>
                  <a:pt x="7094" y="18750"/>
                </a:cubicBezTo>
                <a:cubicBezTo>
                  <a:pt x="7094" y="18750"/>
                  <a:pt x="7094" y="18750"/>
                  <a:pt x="7094" y="18750"/>
                </a:cubicBezTo>
                <a:cubicBezTo>
                  <a:pt x="7063" y="18750"/>
                  <a:pt x="7063" y="18750"/>
                  <a:pt x="7031" y="18750"/>
                </a:cubicBezTo>
                <a:cubicBezTo>
                  <a:pt x="7031" y="18750"/>
                  <a:pt x="7000" y="18750"/>
                  <a:pt x="7000" y="18750"/>
                </a:cubicBezTo>
                <a:cubicBezTo>
                  <a:pt x="7000" y="18688"/>
                  <a:pt x="6969" y="18688"/>
                  <a:pt x="6938" y="18719"/>
                </a:cubicBezTo>
                <a:cubicBezTo>
                  <a:pt x="6563" y="18469"/>
                  <a:pt x="6156" y="18250"/>
                  <a:pt x="5781" y="18031"/>
                </a:cubicBezTo>
                <a:cubicBezTo>
                  <a:pt x="5719" y="18000"/>
                  <a:pt x="5656" y="17969"/>
                  <a:pt x="5563" y="17938"/>
                </a:cubicBezTo>
                <a:cubicBezTo>
                  <a:pt x="5563" y="17906"/>
                  <a:pt x="5531" y="17906"/>
                  <a:pt x="5531" y="17938"/>
                </a:cubicBezTo>
                <a:cubicBezTo>
                  <a:pt x="5500" y="17938"/>
                  <a:pt x="5531" y="17969"/>
                  <a:pt x="5531" y="17969"/>
                </a:cubicBezTo>
                <a:cubicBezTo>
                  <a:pt x="5563" y="18000"/>
                  <a:pt x="5625" y="18031"/>
                  <a:pt x="5656" y="18063"/>
                </a:cubicBezTo>
                <a:cubicBezTo>
                  <a:pt x="5719" y="18094"/>
                  <a:pt x="5813" y="18125"/>
                  <a:pt x="5875" y="18156"/>
                </a:cubicBezTo>
                <a:cubicBezTo>
                  <a:pt x="5906" y="18188"/>
                  <a:pt x="5938" y="18188"/>
                  <a:pt x="5969" y="18219"/>
                </a:cubicBezTo>
                <a:cubicBezTo>
                  <a:pt x="5938" y="18219"/>
                  <a:pt x="5938" y="18250"/>
                  <a:pt x="5906" y="18250"/>
                </a:cubicBezTo>
                <a:cubicBezTo>
                  <a:pt x="5906" y="18250"/>
                  <a:pt x="5875" y="18250"/>
                  <a:pt x="5844" y="18281"/>
                </a:cubicBezTo>
                <a:cubicBezTo>
                  <a:pt x="5813" y="18281"/>
                  <a:pt x="5844" y="18344"/>
                  <a:pt x="5813" y="18344"/>
                </a:cubicBezTo>
                <a:cubicBezTo>
                  <a:pt x="5813" y="18344"/>
                  <a:pt x="5813" y="18344"/>
                  <a:pt x="5813" y="18344"/>
                </a:cubicBezTo>
                <a:cubicBezTo>
                  <a:pt x="5781" y="18281"/>
                  <a:pt x="5750" y="18313"/>
                  <a:pt x="5719" y="18313"/>
                </a:cubicBezTo>
                <a:cubicBezTo>
                  <a:pt x="5688" y="18281"/>
                  <a:pt x="5656" y="18281"/>
                  <a:pt x="5625" y="18250"/>
                </a:cubicBezTo>
                <a:cubicBezTo>
                  <a:pt x="5594" y="18250"/>
                  <a:pt x="5563" y="18188"/>
                  <a:pt x="5531" y="18250"/>
                </a:cubicBezTo>
                <a:cubicBezTo>
                  <a:pt x="5500" y="18281"/>
                  <a:pt x="5563" y="18313"/>
                  <a:pt x="5594" y="18313"/>
                </a:cubicBezTo>
                <a:cubicBezTo>
                  <a:pt x="5594" y="18406"/>
                  <a:pt x="5719" y="18438"/>
                  <a:pt x="5750" y="18531"/>
                </a:cubicBezTo>
                <a:cubicBezTo>
                  <a:pt x="5594" y="18531"/>
                  <a:pt x="5500" y="18469"/>
                  <a:pt x="5406" y="18375"/>
                </a:cubicBezTo>
                <a:cubicBezTo>
                  <a:pt x="5344" y="18313"/>
                  <a:pt x="5250" y="18281"/>
                  <a:pt x="5188" y="18281"/>
                </a:cubicBezTo>
                <a:cubicBezTo>
                  <a:pt x="5125" y="18250"/>
                  <a:pt x="5063" y="18250"/>
                  <a:pt x="4969" y="18281"/>
                </a:cubicBezTo>
                <a:cubicBezTo>
                  <a:pt x="4969" y="18281"/>
                  <a:pt x="4938" y="18281"/>
                  <a:pt x="4938" y="18313"/>
                </a:cubicBezTo>
                <a:cubicBezTo>
                  <a:pt x="4938" y="18344"/>
                  <a:pt x="4969" y="18344"/>
                  <a:pt x="4969" y="18344"/>
                </a:cubicBezTo>
                <a:cubicBezTo>
                  <a:pt x="5031" y="18375"/>
                  <a:pt x="5094" y="18375"/>
                  <a:pt x="5125" y="18406"/>
                </a:cubicBezTo>
                <a:cubicBezTo>
                  <a:pt x="5250" y="18500"/>
                  <a:pt x="5438" y="18406"/>
                  <a:pt x="5469" y="18594"/>
                </a:cubicBezTo>
                <a:cubicBezTo>
                  <a:pt x="5500" y="18594"/>
                  <a:pt x="5500" y="18594"/>
                  <a:pt x="5500" y="18594"/>
                </a:cubicBezTo>
                <a:cubicBezTo>
                  <a:pt x="5750" y="18719"/>
                  <a:pt x="6000" y="18875"/>
                  <a:pt x="6250" y="19031"/>
                </a:cubicBezTo>
                <a:cubicBezTo>
                  <a:pt x="6719" y="19281"/>
                  <a:pt x="7188" y="19563"/>
                  <a:pt x="7625" y="19844"/>
                </a:cubicBezTo>
                <a:cubicBezTo>
                  <a:pt x="7719" y="19906"/>
                  <a:pt x="7781" y="19938"/>
                  <a:pt x="7844" y="20000"/>
                </a:cubicBezTo>
                <a:cubicBezTo>
                  <a:pt x="7875" y="20000"/>
                  <a:pt x="7937" y="20031"/>
                  <a:pt x="7937" y="20000"/>
                </a:cubicBezTo>
                <a:cubicBezTo>
                  <a:pt x="7969" y="19969"/>
                  <a:pt x="7937" y="19938"/>
                  <a:pt x="7906" y="19938"/>
                </a:cubicBezTo>
                <a:cubicBezTo>
                  <a:pt x="7813" y="19875"/>
                  <a:pt x="7719" y="19844"/>
                  <a:pt x="7656" y="19781"/>
                </a:cubicBezTo>
                <a:cubicBezTo>
                  <a:pt x="7594" y="19719"/>
                  <a:pt x="7500" y="19688"/>
                  <a:pt x="7500" y="19625"/>
                </a:cubicBezTo>
                <a:cubicBezTo>
                  <a:pt x="7500" y="19625"/>
                  <a:pt x="7500" y="19625"/>
                  <a:pt x="7500" y="19625"/>
                </a:cubicBezTo>
                <a:cubicBezTo>
                  <a:pt x="7500" y="19625"/>
                  <a:pt x="7531" y="19625"/>
                  <a:pt x="7531" y="19625"/>
                </a:cubicBezTo>
                <a:cubicBezTo>
                  <a:pt x="7906" y="19844"/>
                  <a:pt x="8250" y="20156"/>
                  <a:pt x="8625" y="20438"/>
                </a:cubicBezTo>
                <a:cubicBezTo>
                  <a:pt x="8625" y="20438"/>
                  <a:pt x="8656" y="20469"/>
                  <a:pt x="8594" y="20500"/>
                </a:cubicBezTo>
                <a:cubicBezTo>
                  <a:pt x="8531" y="20438"/>
                  <a:pt x="8437" y="20375"/>
                  <a:pt x="8375" y="20344"/>
                </a:cubicBezTo>
                <a:cubicBezTo>
                  <a:pt x="8375" y="20344"/>
                  <a:pt x="8375" y="20313"/>
                  <a:pt x="8375" y="20313"/>
                </a:cubicBezTo>
                <a:cubicBezTo>
                  <a:pt x="8375" y="20313"/>
                  <a:pt x="8375" y="20313"/>
                  <a:pt x="8375" y="20313"/>
                </a:cubicBezTo>
                <a:cubicBezTo>
                  <a:pt x="8344" y="20313"/>
                  <a:pt x="8344" y="20313"/>
                  <a:pt x="8344" y="20313"/>
                </a:cubicBezTo>
                <a:cubicBezTo>
                  <a:pt x="8281" y="20250"/>
                  <a:pt x="8219" y="20281"/>
                  <a:pt x="8156" y="20219"/>
                </a:cubicBezTo>
                <a:cubicBezTo>
                  <a:pt x="8156" y="20219"/>
                  <a:pt x="8125" y="20188"/>
                  <a:pt x="8094" y="20219"/>
                </a:cubicBezTo>
                <a:cubicBezTo>
                  <a:pt x="8094" y="20250"/>
                  <a:pt x="8125" y="20250"/>
                  <a:pt x="8125" y="20281"/>
                </a:cubicBezTo>
                <a:cubicBezTo>
                  <a:pt x="8187" y="20406"/>
                  <a:pt x="8312" y="20438"/>
                  <a:pt x="8406" y="20531"/>
                </a:cubicBezTo>
                <a:cubicBezTo>
                  <a:pt x="8469" y="20656"/>
                  <a:pt x="8625" y="20688"/>
                  <a:pt x="8687" y="20813"/>
                </a:cubicBezTo>
                <a:cubicBezTo>
                  <a:pt x="8656" y="20813"/>
                  <a:pt x="8594" y="20750"/>
                  <a:pt x="8594" y="20750"/>
                </a:cubicBezTo>
                <a:cubicBezTo>
                  <a:pt x="8500" y="20844"/>
                  <a:pt x="8469" y="20750"/>
                  <a:pt x="8437" y="20719"/>
                </a:cubicBezTo>
                <a:cubicBezTo>
                  <a:pt x="8375" y="20688"/>
                  <a:pt x="8281" y="20625"/>
                  <a:pt x="8219" y="20563"/>
                </a:cubicBezTo>
                <a:cubicBezTo>
                  <a:pt x="8000" y="20406"/>
                  <a:pt x="7813" y="20250"/>
                  <a:pt x="7594" y="20125"/>
                </a:cubicBezTo>
                <a:cubicBezTo>
                  <a:pt x="7375" y="19969"/>
                  <a:pt x="7156" y="19781"/>
                  <a:pt x="6875" y="19688"/>
                </a:cubicBezTo>
                <a:cubicBezTo>
                  <a:pt x="6813" y="19656"/>
                  <a:pt x="6719" y="19594"/>
                  <a:pt x="6625" y="19563"/>
                </a:cubicBezTo>
                <a:cubicBezTo>
                  <a:pt x="6625" y="19594"/>
                  <a:pt x="6656" y="19625"/>
                  <a:pt x="6688" y="19656"/>
                </a:cubicBezTo>
                <a:cubicBezTo>
                  <a:pt x="6719" y="19750"/>
                  <a:pt x="6844" y="19781"/>
                  <a:pt x="6906" y="19750"/>
                </a:cubicBezTo>
                <a:cubicBezTo>
                  <a:pt x="6969" y="19781"/>
                  <a:pt x="7063" y="19813"/>
                  <a:pt x="7125" y="19844"/>
                </a:cubicBezTo>
                <a:cubicBezTo>
                  <a:pt x="7469" y="20094"/>
                  <a:pt x="7844" y="20344"/>
                  <a:pt x="8187" y="20625"/>
                </a:cubicBezTo>
                <a:cubicBezTo>
                  <a:pt x="8250" y="20688"/>
                  <a:pt x="8312" y="20750"/>
                  <a:pt x="8406" y="20813"/>
                </a:cubicBezTo>
                <a:cubicBezTo>
                  <a:pt x="8531" y="20938"/>
                  <a:pt x="8719" y="21063"/>
                  <a:pt x="8812" y="21219"/>
                </a:cubicBezTo>
                <a:lnTo>
                  <a:pt x="8812" y="21219"/>
                </a:lnTo>
                <a:cubicBezTo>
                  <a:pt x="8781" y="21219"/>
                  <a:pt x="8750" y="21188"/>
                  <a:pt x="8687" y="21156"/>
                </a:cubicBezTo>
                <a:cubicBezTo>
                  <a:pt x="8562" y="21031"/>
                  <a:pt x="8437" y="20906"/>
                  <a:pt x="8281" y="20813"/>
                </a:cubicBezTo>
                <a:cubicBezTo>
                  <a:pt x="7969" y="20563"/>
                  <a:pt x="7656" y="20313"/>
                  <a:pt x="7313" y="20125"/>
                </a:cubicBezTo>
                <a:cubicBezTo>
                  <a:pt x="7250" y="20063"/>
                  <a:pt x="7156" y="20000"/>
                  <a:pt x="7063" y="19938"/>
                </a:cubicBezTo>
                <a:cubicBezTo>
                  <a:pt x="6875" y="19813"/>
                  <a:pt x="6656" y="19719"/>
                  <a:pt x="6438" y="19625"/>
                </a:cubicBezTo>
                <a:cubicBezTo>
                  <a:pt x="6281" y="19563"/>
                  <a:pt x="6188" y="19438"/>
                  <a:pt x="6031" y="19406"/>
                </a:cubicBezTo>
                <a:cubicBezTo>
                  <a:pt x="5750" y="19281"/>
                  <a:pt x="5500" y="19125"/>
                  <a:pt x="5250" y="18969"/>
                </a:cubicBezTo>
                <a:cubicBezTo>
                  <a:pt x="5188" y="18969"/>
                  <a:pt x="5156" y="18938"/>
                  <a:pt x="5125" y="18906"/>
                </a:cubicBezTo>
                <a:cubicBezTo>
                  <a:pt x="5094" y="18875"/>
                  <a:pt x="5063" y="18844"/>
                  <a:pt x="5031" y="18906"/>
                </a:cubicBezTo>
                <a:cubicBezTo>
                  <a:pt x="5000" y="18938"/>
                  <a:pt x="5031" y="18969"/>
                  <a:pt x="5063" y="18969"/>
                </a:cubicBezTo>
                <a:cubicBezTo>
                  <a:pt x="5313" y="19094"/>
                  <a:pt x="5531" y="19250"/>
                  <a:pt x="5750" y="19406"/>
                </a:cubicBezTo>
                <a:cubicBezTo>
                  <a:pt x="6031" y="19563"/>
                  <a:pt x="6313" y="19719"/>
                  <a:pt x="6563" y="19906"/>
                </a:cubicBezTo>
                <a:cubicBezTo>
                  <a:pt x="6531" y="19938"/>
                  <a:pt x="6563" y="19969"/>
                  <a:pt x="6500" y="19969"/>
                </a:cubicBezTo>
                <a:cubicBezTo>
                  <a:pt x="6469" y="19938"/>
                  <a:pt x="6438" y="19906"/>
                  <a:pt x="6406" y="19906"/>
                </a:cubicBezTo>
                <a:cubicBezTo>
                  <a:pt x="6313" y="19875"/>
                  <a:pt x="6250" y="19781"/>
                  <a:pt x="6156" y="19813"/>
                </a:cubicBezTo>
                <a:cubicBezTo>
                  <a:pt x="6125" y="19844"/>
                  <a:pt x="6094" y="19781"/>
                  <a:pt x="6031" y="19781"/>
                </a:cubicBezTo>
                <a:cubicBezTo>
                  <a:pt x="6000" y="19750"/>
                  <a:pt x="5969" y="19688"/>
                  <a:pt x="5906" y="19781"/>
                </a:cubicBezTo>
                <a:cubicBezTo>
                  <a:pt x="5875" y="19813"/>
                  <a:pt x="5844" y="19750"/>
                  <a:pt x="5813" y="19750"/>
                </a:cubicBezTo>
                <a:cubicBezTo>
                  <a:pt x="5500" y="19563"/>
                  <a:pt x="5188" y="19375"/>
                  <a:pt x="4844" y="19219"/>
                </a:cubicBezTo>
                <a:cubicBezTo>
                  <a:pt x="4656" y="19094"/>
                  <a:pt x="4469" y="18969"/>
                  <a:pt x="4281" y="18875"/>
                </a:cubicBezTo>
                <a:cubicBezTo>
                  <a:pt x="4156" y="18844"/>
                  <a:pt x="4031" y="18781"/>
                  <a:pt x="3938" y="18750"/>
                </a:cubicBezTo>
                <a:cubicBezTo>
                  <a:pt x="3813" y="18656"/>
                  <a:pt x="3625" y="18625"/>
                  <a:pt x="3500" y="18531"/>
                </a:cubicBezTo>
                <a:cubicBezTo>
                  <a:pt x="3390" y="18504"/>
                  <a:pt x="3280" y="18477"/>
                  <a:pt x="3191" y="18406"/>
                </a:cubicBezTo>
                <a:close/>
                <a:moveTo>
                  <a:pt x="4563" y="18625"/>
                </a:moveTo>
                <a:cubicBezTo>
                  <a:pt x="4531" y="18625"/>
                  <a:pt x="4500" y="18656"/>
                  <a:pt x="4500" y="18656"/>
                </a:cubicBezTo>
                <a:cubicBezTo>
                  <a:pt x="4500" y="18688"/>
                  <a:pt x="4500" y="18688"/>
                  <a:pt x="4531" y="18719"/>
                </a:cubicBezTo>
                <a:cubicBezTo>
                  <a:pt x="4625" y="18750"/>
                  <a:pt x="4719" y="18813"/>
                  <a:pt x="4844" y="18875"/>
                </a:cubicBezTo>
                <a:cubicBezTo>
                  <a:pt x="4844" y="18875"/>
                  <a:pt x="4875" y="18875"/>
                  <a:pt x="4906" y="18844"/>
                </a:cubicBezTo>
                <a:cubicBezTo>
                  <a:pt x="4875" y="18844"/>
                  <a:pt x="4875" y="18813"/>
                  <a:pt x="4875" y="18813"/>
                </a:cubicBezTo>
                <a:cubicBezTo>
                  <a:pt x="4781" y="18719"/>
                  <a:pt x="4656" y="18688"/>
                  <a:pt x="4563" y="18625"/>
                </a:cubicBezTo>
                <a:close/>
                <a:moveTo>
                  <a:pt x="4313" y="18156"/>
                </a:moveTo>
                <a:cubicBezTo>
                  <a:pt x="4125" y="18063"/>
                  <a:pt x="3906" y="17969"/>
                  <a:pt x="3719" y="17906"/>
                </a:cubicBezTo>
                <a:cubicBezTo>
                  <a:pt x="3563" y="17844"/>
                  <a:pt x="3406" y="17750"/>
                  <a:pt x="3219" y="17750"/>
                </a:cubicBezTo>
                <a:cubicBezTo>
                  <a:pt x="3219" y="17688"/>
                  <a:pt x="3156" y="17688"/>
                  <a:pt x="3125" y="17688"/>
                </a:cubicBezTo>
                <a:cubicBezTo>
                  <a:pt x="2875" y="17594"/>
                  <a:pt x="2625" y="17532"/>
                  <a:pt x="2375" y="17438"/>
                </a:cubicBezTo>
                <a:cubicBezTo>
                  <a:pt x="2250" y="17407"/>
                  <a:pt x="2125" y="17313"/>
                  <a:pt x="1969" y="17344"/>
                </a:cubicBezTo>
                <a:cubicBezTo>
                  <a:pt x="2031" y="17375"/>
                  <a:pt x="2063" y="17375"/>
                  <a:pt x="2094" y="17407"/>
                </a:cubicBezTo>
                <a:cubicBezTo>
                  <a:pt x="2406" y="17500"/>
                  <a:pt x="2688" y="17594"/>
                  <a:pt x="3000" y="17688"/>
                </a:cubicBezTo>
                <a:cubicBezTo>
                  <a:pt x="3063" y="17688"/>
                  <a:pt x="3125" y="17750"/>
                  <a:pt x="3219" y="17750"/>
                </a:cubicBezTo>
                <a:cubicBezTo>
                  <a:pt x="3250" y="17781"/>
                  <a:pt x="3281" y="17781"/>
                  <a:pt x="3313" y="17781"/>
                </a:cubicBezTo>
                <a:cubicBezTo>
                  <a:pt x="3500" y="17844"/>
                  <a:pt x="3656" y="17938"/>
                  <a:pt x="3813" y="18000"/>
                </a:cubicBezTo>
                <a:cubicBezTo>
                  <a:pt x="4000" y="18063"/>
                  <a:pt x="4188" y="18156"/>
                  <a:pt x="4344" y="18219"/>
                </a:cubicBezTo>
                <a:cubicBezTo>
                  <a:pt x="4500" y="18313"/>
                  <a:pt x="4625" y="18375"/>
                  <a:pt x="4813" y="18406"/>
                </a:cubicBezTo>
                <a:cubicBezTo>
                  <a:pt x="4656" y="18313"/>
                  <a:pt x="4531" y="18250"/>
                  <a:pt x="4375" y="18188"/>
                </a:cubicBezTo>
                <a:cubicBezTo>
                  <a:pt x="4375" y="18188"/>
                  <a:pt x="4344" y="18156"/>
                  <a:pt x="4313" y="18156"/>
                </a:cubicBezTo>
                <a:close/>
                <a:moveTo>
                  <a:pt x="23219" y="12750"/>
                </a:moveTo>
                <a:cubicBezTo>
                  <a:pt x="23125" y="12282"/>
                  <a:pt x="22937" y="11844"/>
                  <a:pt x="22750" y="11438"/>
                </a:cubicBezTo>
                <a:cubicBezTo>
                  <a:pt x="22625" y="11188"/>
                  <a:pt x="22531" y="10969"/>
                  <a:pt x="22406" y="10750"/>
                </a:cubicBezTo>
                <a:cubicBezTo>
                  <a:pt x="22250" y="10407"/>
                  <a:pt x="22062" y="10125"/>
                  <a:pt x="21875" y="9813"/>
                </a:cubicBezTo>
                <a:cubicBezTo>
                  <a:pt x="21781" y="9657"/>
                  <a:pt x="21656" y="9532"/>
                  <a:pt x="21562" y="9375"/>
                </a:cubicBezTo>
                <a:cubicBezTo>
                  <a:pt x="21562" y="9344"/>
                  <a:pt x="21562" y="9344"/>
                  <a:pt x="21562" y="9344"/>
                </a:cubicBezTo>
                <a:cubicBezTo>
                  <a:pt x="21562" y="9344"/>
                  <a:pt x="21562" y="9313"/>
                  <a:pt x="21531" y="9313"/>
                </a:cubicBezTo>
                <a:cubicBezTo>
                  <a:pt x="21531" y="9313"/>
                  <a:pt x="21531" y="9313"/>
                  <a:pt x="21500" y="9313"/>
                </a:cubicBezTo>
                <a:cubicBezTo>
                  <a:pt x="21500" y="9282"/>
                  <a:pt x="21500" y="9282"/>
                  <a:pt x="21500" y="9282"/>
                </a:cubicBezTo>
                <a:cubicBezTo>
                  <a:pt x="21500" y="9282"/>
                  <a:pt x="21500" y="9282"/>
                  <a:pt x="21500" y="9250"/>
                </a:cubicBezTo>
                <a:cubicBezTo>
                  <a:pt x="21500" y="9250"/>
                  <a:pt x="21500" y="9250"/>
                  <a:pt x="21500" y="9250"/>
                </a:cubicBezTo>
                <a:cubicBezTo>
                  <a:pt x="21500" y="9250"/>
                  <a:pt x="21469" y="9250"/>
                  <a:pt x="21469" y="9250"/>
                </a:cubicBezTo>
                <a:cubicBezTo>
                  <a:pt x="21469" y="9250"/>
                  <a:pt x="21469" y="9250"/>
                  <a:pt x="21469" y="9219"/>
                </a:cubicBezTo>
                <a:cubicBezTo>
                  <a:pt x="21469" y="9219"/>
                  <a:pt x="21469" y="9219"/>
                  <a:pt x="21469" y="9219"/>
                </a:cubicBezTo>
                <a:cubicBezTo>
                  <a:pt x="21469" y="9219"/>
                  <a:pt x="21469" y="9219"/>
                  <a:pt x="21437" y="9219"/>
                </a:cubicBezTo>
                <a:cubicBezTo>
                  <a:pt x="21437" y="9188"/>
                  <a:pt x="21437" y="9188"/>
                  <a:pt x="21406" y="9157"/>
                </a:cubicBezTo>
                <a:cubicBezTo>
                  <a:pt x="21219" y="8907"/>
                  <a:pt x="21031" y="8657"/>
                  <a:pt x="20844" y="8407"/>
                </a:cubicBezTo>
                <a:cubicBezTo>
                  <a:pt x="20562" y="8032"/>
                  <a:pt x="20250" y="7688"/>
                  <a:pt x="19906" y="7407"/>
                </a:cubicBezTo>
                <a:cubicBezTo>
                  <a:pt x="19625" y="7157"/>
                  <a:pt x="19344" y="6938"/>
                  <a:pt x="19094" y="6719"/>
                </a:cubicBezTo>
                <a:cubicBezTo>
                  <a:pt x="19031" y="6657"/>
                  <a:pt x="18969" y="6625"/>
                  <a:pt x="18906" y="6688"/>
                </a:cubicBezTo>
                <a:cubicBezTo>
                  <a:pt x="18875" y="6719"/>
                  <a:pt x="18844" y="6719"/>
                  <a:pt x="18812" y="6688"/>
                </a:cubicBezTo>
                <a:cubicBezTo>
                  <a:pt x="18781" y="6625"/>
                  <a:pt x="18750" y="6594"/>
                  <a:pt x="18812" y="6563"/>
                </a:cubicBezTo>
                <a:cubicBezTo>
                  <a:pt x="18875" y="6563"/>
                  <a:pt x="18875" y="6532"/>
                  <a:pt x="18844" y="6500"/>
                </a:cubicBezTo>
                <a:cubicBezTo>
                  <a:pt x="18812" y="6469"/>
                  <a:pt x="18781" y="6438"/>
                  <a:pt x="18719" y="6438"/>
                </a:cubicBezTo>
                <a:cubicBezTo>
                  <a:pt x="18594" y="6438"/>
                  <a:pt x="18531" y="6375"/>
                  <a:pt x="18500" y="6250"/>
                </a:cubicBezTo>
                <a:cubicBezTo>
                  <a:pt x="18500" y="6188"/>
                  <a:pt x="18500" y="6157"/>
                  <a:pt x="18469" y="6125"/>
                </a:cubicBezTo>
                <a:cubicBezTo>
                  <a:pt x="18375" y="6063"/>
                  <a:pt x="18312" y="5969"/>
                  <a:pt x="18219" y="5907"/>
                </a:cubicBezTo>
                <a:cubicBezTo>
                  <a:pt x="17875" y="5532"/>
                  <a:pt x="17500" y="5219"/>
                  <a:pt x="17125" y="4907"/>
                </a:cubicBezTo>
                <a:cubicBezTo>
                  <a:pt x="16812" y="4688"/>
                  <a:pt x="16531" y="4469"/>
                  <a:pt x="16219" y="4250"/>
                </a:cubicBezTo>
                <a:cubicBezTo>
                  <a:pt x="16156" y="4219"/>
                  <a:pt x="16062" y="4125"/>
                  <a:pt x="15969" y="4157"/>
                </a:cubicBezTo>
                <a:cubicBezTo>
                  <a:pt x="15844" y="4188"/>
                  <a:pt x="15750" y="4125"/>
                  <a:pt x="15687" y="4063"/>
                </a:cubicBezTo>
                <a:cubicBezTo>
                  <a:pt x="15625" y="4032"/>
                  <a:pt x="15562" y="4000"/>
                  <a:pt x="15500" y="3969"/>
                </a:cubicBezTo>
                <a:cubicBezTo>
                  <a:pt x="15437" y="3969"/>
                  <a:pt x="15344" y="3907"/>
                  <a:pt x="15281" y="4032"/>
                </a:cubicBezTo>
                <a:cubicBezTo>
                  <a:pt x="15281" y="4032"/>
                  <a:pt x="15219" y="4032"/>
                  <a:pt x="15187" y="4032"/>
                </a:cubicBezTo>
                <a:cubicBezTo>
                  <a:pt x="15156" y="4000"/>
                  <a:pt x="15094" y="3969"/>
                  <a:pt x="15031" y="3938"/>
                </a:cubicBezTo>
                <a:cubicBezTo>
                  <a:pt x="14844" y="3813"/>
                  <a:pt x="14625" y="3782"/>
                  <a:pt x="14469" y="3625"/>
                </a:cubicBezTo>
                <a:cubicBezTo>
                  <a:pt x="14469" y="3625"/>
                  <a:pt x="14437" y="3657"/>
                  <a:pt x="14437" y="3657"/>
                </a:cubicBezTo>
                <a:cubicBezTo>
                  <a:pt x="14437" y="3657"/>
                  <a:pt x="14437" y="3688"/>
                  <a:pt x="14469" y="3688"/>
                </a:cubicBezTo>
                <a:cubicBezTo>
                  <a:pt x="14687" y="3875"/>
                  <a:pt x="14937" y="4032"/>
                  <a:pt x="15156" y="4219"/>
                </a:cubicBezTo>
                <a:cubicBezTo>
                  <a:pt x="15500" y="4469"/>
                  <a:pt x="15844" y="4750"/>
                  <a:pt x="16187" y="5000"/>
                </a:cubicBezTo>
                <a:cubicBezTo>
                  <a:pt x="16625" y="5344"/>
                  <a:pt x="17062" y="5719"/>
                  <a:pt x="17500" y="6094"/>
                </a:cubicBezTo>
                <a:cubicBezTo>
                  <a:pt x="17594" y="6188"/>
                  <a:pt x="17719" y="6282"/>
                  <a:pt x="17812" y="6407"/>
                </a:cubicBezTo>
                <a:cubicBezTo>
                  <a:pt x="17844" y="6407"/>
                  <a:pt x="17875" y="6469"/>
                  <a:pt x="17844" y="6500"/>
                </a:cubicBezTo>
                <a:cubicBezTo>
                  <a:pt x="17812" y="6532"/>
                  <a:pt x="17781" y="6469"/>
                  <a:pt x="17750" y="6469"/>
                </a:cubicBezTo>
                <a:cubicBezTo>
                  <a:pt x="17719" y="6407"/>
                  <a:pt x="17656" y="6344"/>
                  <a:pt x="17594" y="6313"/>
                </a:cubicBezTo>
                <a:cubicBezTo>
                  <a:pt x="17594" y="6282"/>
                  <a:pt x="17531" y="6250"/>
                  <a:pt x="17531" y="6313"/>
                </a:cubicBezTo>
                <a:cubicBezTo>
                  <a:pt x="17531" y="6313"/>
                  <a:pt x="17531" y="6313"/>
                  <a:pt x="17531" y="6313"/>
                </a:cubicBezTo>
                <a:cubicBezTo>
                  <a:pt x="17500" y="6313"/>
                  <a:pt x="17469" y="6282"/>
                  <a:pt x="17437" y="6250"/>
                </a:cubicBezTo>
                <a:cubicBezTo>
                  <a:pt x="17250" y="6094"/>
                  <a:pt x="17031" y="5907"/>
                  <a:pt x="16844" y="5750"/>
                </a:cubicBezTo>
                <a:cubicBezTo>
                  <a:pt x="16469" y="5407"/>
                  <a:pt x="16031" y="5094"/>
                  <a:pt x="15625" y="4782"/>
                </a:cubicBezTo>
                <a:cubicBezTo>
                  <a:pt x="15625" y="4750"/>
                  <a:pt x="15594" y="4750"/>
                  <a:pt x="15594" y="4750"/>
                </a:cubicBezTo>
                <a:cubicBezTo>
                  <a:pt x="15562" y="4719"/>
                  <a:pt x="15531" y="4719"/>
                  <a:pt x="15531" y="4688"/>
                </a:cubicBezTo>
                <a:cubicBezTo>
                  <a:pt x="15500" y="4688"/>
                  <a:pt x="15500" y="4688"/>
                  <a:pt x="15500" y="4688"/>
                </a:cubicBezTo>
                <a:cubicBezTo>
                  <a:pt x="15500" y="4657"/>
                  <a:pt x="15469" y="4657"/>
                  <a:pt x="15469" y="4657"/>
                </a:cubicBezTo>
                <a:cubicBezTo>
                  <a:pt x="15406" y="4594"/>
                  <a:pt x="15375" y="4563"/>
                  <a:pt x="15312" y="4563"/>
                </a:cubicBezTo>
                <a:cubicBezTo>
                  <a:pt x="15312" y="4532"/>
                  <a:pt x="15281" y="4500"/>
                  <a:pt x="15250" y="4469"/>
                </a:cubicBezTo>
                <a:cubicBezTo>
                  <a:pt x="15250" y="4469"/>
                  <a:pt x="15250" y="4469"/>
                  <a:pt x="15250" y="4469"/>
                </a:cubicBezTo>
                <a:cubicBezTo>
                  <a:pt x="15219" y="4438"/>
                  <a:pt x="15187" y="4438"/>
                  <a:pt x="15187" y="4407"/>
                </a:cubicBezTo>
                <a:cubicBezTo>
                  <a:pt x="15125" y="4375"/>
                  <a:pt x="15062" y="4375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31" y="4282"/>
                  <a:pt x="15031" y="4282"/>
                  <a:pt x="15031" y="4282"/>
                </a:cubicBezTo>
                <a:cubicBezTo>
                  <a:pt x="15062" y="4282"/>
                  <a:pt x="15094" y="4282"/>
                  <a:pt x="15094" y="4282"/>
                </a:cubicBezTo>
                <a:cubicBezTo>
                  <a:pt x="15094" y="4219"/>
                  <a:pt x="15062" y="4219"/>
                  <a:pt x="15031" y="4188"/>
                </a:cubicBezTo>
                <a:cubicBezTo>
                  <a:pt x="14812" y="4032"/>
                  <a:pt x="14594" y="3875"/>
                  <a:pt x="14375" y="3719"/>
                </a:cubicBezTo>
                <a:cubicBezTo>
                  <a:pt x="14281" y="3657"/>
                  <a:pt x="14187" y="3563"/>
                  <a:pt x="14125" y="3563"/>
                </a:cubicBezTo>
                <a:cubicBezTo>
                  <a:pt x="13969" y="3563"/>
                  <a:pt x="13875" y="3500"/>
                  <a:pt x="13781" y="3407"/>
                </a:cubicBezTo>
                <a:cubicBezTo>
                  <a:pt x="13531" y="3250"/>
                  <a:pt x="13312" y="3063"/>
                  <a:pt x="13062" y="2907"/>
                </a:cubicBezTo>
                <a:cubicBezTo>
                  <a:pt x="12812" y="2750"/>
                  <a:pt x="12562" y="2625"/>
                  <a:pt x="12312" y="2469"/>
                </a:cubicBezTo>
                <a:cubicBezTo>
                  <a:pt x="12281" y="2438"/>
                  <a:pt x="12250" y="2407"/>
                  <a:pt x="12219" y="2438"/>
                </a:cubicBezTo>
                <a:cubicBezTo>
                  <a:pt x="12219" y="2469"/>
                  <a:pt x="12250" y="2469"/>
                  <a:pt x="12250" y="2500"/>
                </a:cubicBezTo>
                <a:cubicBezTo>
                  <a:pt x="12562" y="2688"/>
                  <a:pt x="12844" y="2875"/>
                  <a:pt x="13125" y="3094"/>
                </a:cubicBezTo>
                <a:cubicBezTo>
                  <a:pt x="13687" y="3438"/>
                  <a:pt x="14219" y="3844"/>
                  <a:pt x="14750" y="4219"/>
                </a:cubicBezTo>
                <a:cubicBezTo>
                  <a:pt x="14781" y="4219"/>
                  <a:pt x="14812" y="4250"/>
                  <a:pt x="14812" y="4250"/>
                </a:cubicBezTo>
                <a:cubicBezTo>
                  <a:pt x="14969" y="4375"/>
                  <a:pt x="15125" y="4469"/>
                  <a:pt x="15312" y="4563"/>
                </a:cubicBezTo>
                <a:cubicBezTo>
                  <a:pt x="15312" y="4563"/>
                  <a:pt x="15312" y="4594"/>
                  <a:pt x="15312" y="4594"/>
                </a:cubicBezTo>
                <a:cubicBezTo>
                  <a:pt x="15312" y="4594"/>
                  <a:pt x="15344" y="4594"/>
                  <a:pt x="15344" y="4625"/>
                </a:cubicBezTo>
                <a:cubicBezTo>
                  <a:pt x="15344" y="4625"/>
                  <a:pt x="15344" y="4625"/>
                  <a:pt x="15344" y="4625"/>
                </a:cubicBezTo>
                <a:cubicBezTo>
                  <a:pt x="15375" y="4657"/>
                  <a:pt x="15375" y="4657"/>
                  <a:pt x="15375" y="4688"/>
                </a:cubicBezTo>
                <a:cubicBezTo>
                  <a:pt x="15281" y="4688"/>
                  <a:pt x="15219" y="4563"/>
                  <a:pt x="15125" y="4563"/>
                </a:cubicBezTo>
                <a:cubicBezTo>
                  <a:pt x="15125" y="4594"/>
                  <a:pt x="15156" y="4594"/>
                  <a:pt x="15156" y="4625"/>
                </a:cubicBezTo>
                <a:cubicBezTo>
                  <a:pt x="15344" y="4750"/>
                  <a:pt x="15500" y="4875"/>
                  <a:pt x="15656" y="5032"/>
                </a:cubicBezTo>
                <a:cubicBezTo>
                  <a:pt x="15687" y="5032"/>
                  <a:pt x="15687" y="5032"/>
                  <a:pt x="15687" y="5063"/>
                </a:cubicBezTo>
                <a:cubicBezTo>
                  <a:pt x="15687" y="5094"/>
                  <a:pt x="15656" y="5094"/>
                  <a:pt x="15625" y="5094"/>
                </a:cubicBezTo>
                <a:cubicBezTo>
                  <a:pt x="15594" y="5094"/>
                  <a:pt x="15594" y="5063"/>
                  <a:pt x="15562" y="5063"/>
                </a:cubicBezTo>
                <a:cubicBezTo>
                  <a:pt x="15344" y="4907"/>
                  <a:pt x="15156" y="4750"/>
                  <a:pt x="14937" y="4594"/>
                </a:cubicBezTo>
                <a:cubicBezTo>
                  <a:pt x="14594" y="4313"/>
                  <a:pt x="14219" y="4032"/>
                  <a:pt x="13844" y="3782"/>
                </a:cubicBezTo>
                <a:cubicBezTo>
                  <a:pt x="13562" y="3594"/>
                  <a:pt x="13281" y="3407"/>
                  <a:pt x="13000" y="3219"/>
                </a:cubicBezTo>
                <a:cubicBezTo>
                  <a:pt x="12625" y="2938"/>
                  <a:pt x="12250" y="2688"/>
                  <a:pt x="11875" y="2438"/>
                </a:cubicBezTo>
                <a:cubicBezTo>
                  <a:pt x="11844" y="2438"/>
                  <a:pt x="11812" y="2407"/>
                  <a:pt x="11812" y="2407"/>
                </a:cubicBezTo>
                <a:cubicBezTo>
                  <a:pt x="11687" y="2313"/>
                  <a:pt x="11625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62" y="2313"/>
                  <a:pt x="11562" y="2313"/>
                  <a:pt x="11562" y="2313"/>
                </a:cubicBezTo>
                <a:cubicBezTo>
                  <a:pt x="11594" y="2375"/>
                  <a:pt x="11656" y="2375"/>
                  <a:pt x="11687" y="2438"/>
                </a:cubicBezTo>
                <a:cubicBezTo>
                  <a:pt x="11687" y="2438"/>
                  <a:pt x="11719" y="2438"/>
                  <a:pt x="11719" y="2469"/>
                </a:cubicBezTo>
                <a:cubicBezTo>
                  <a:pt x="11687" y="2469"/>
                  <a:pt x="11656" y="2469"/>
                  <a:pt x="11656" y="2438"/>
                </a:cubicBezTo>
                <a:cubicBezTo>
                  <a:pt x="11469" y="2313"/>
                  <a:pt x="11250" y="2250"/>
                  <a:pt x="11062" y="2094"/>
                </a:cubicBezTo>
                <a:cubicBezTo>
                  <a:pt x="10875" y="1969"/>
                  <a:pt x="10625" y="1938"/>
                  <a:pt x="10437" y="1813"/>
                </a:cubicBezTo>
                <a:cubicBezTo>
                  <a:pt x="10344" y="1750"/>
                  <a:pt x="10250" y="1719"/>
                  <a:pt x="10156" y="1657"/>
                </a:cubicBezTo>
                <a:cubicBezTo>
                  <a:pt x="9781" y="1438"/>
                  <a:pt x="9406" y="1250"/>
                  <a:pt x="9031" y="1032"/>
                </a:cubicBezTo>
                <a:cubicBezTo>
                  <a:pt x="8406" y="719"/>
                  <a:pt x="7750" y="407"/>
                  <a:pt x="7094" y="125"/>
                </a:cubicBezTo>
                <a:cubicBezTo>
                  <a:pt x="6969" y="63"/>
                  <a:pt x="6875" y="0"/>
                  <a:pt x="6719" y="0"/>
                </a:cubicBezTo>
                <a:cubicBezTo>
                  <a:pt x="7125" y="250"/>
                  <a:pt x="7531" y="407"/>
                  <a:pt x="7937" y="625"/>
                </a:cubicBezTo>
                <a:cubicBezTo>
                  <a:pt x="8281" y="813"/>
                  <a:pt x="8656" y="1000"/>
                  <a:pt x="9031" y="1188"/>
                </a:cubicBezTo>
                <a:cubicBezTo>
                  <a:pt x="9406" y="1407"/>
                  <a:pt x="9781" y="1625"/>
                  <a:pt x="10156" y="1844"/>
                </a:cubicBezTo>
                <a:cubicBezTo>
                  <a:pt x="10469" y="2032"/>
                  <a:pt x="10812" y="2219"/>
                  <a:pt x="11125" y="2407"/>
                </a:cubicBezTo>
                <a:cubicBezTo>
                  <a:pt x="11469" y="2625"/>
                  <a:pt x="11812" y="2813"/>
                  <a:pt x="12156" y="3063"/>
                </a:cubicBezTo>
                <a:cubicBezTo>
                  <a:pt x="12344" y="3188"/>
                  <a:pt x="12531" y="3282"/>
                  <a:pt x="12719" y="3407"/>
                </a:cubicBezTo>
                <a:cubicBezTo>
                  <a:pt x="12750" y="3438"/>
                  <a:pt x="12812" y="3500"/>
                  <a:pt x="12906" y="3469"/>
                </a:cubicBezTo>
                <a:cubicBezTo>
                  <a:pt x="12781" y="3375"/>
                  <a:pt x="12656" y="3282"/>
                  <a:pt x="12531" y="3188"/>
                </a:cubicBezTo>
                <a:cubicBezTo>
                  <a:pt x="12687" y="3219"/>
                  <a:pt x="12844" y="3282"/>
                  <a:pt x="12969" y="3407"/>
                </a:cubicBezTo>
                <a:cubicBezTo>
                  <a:pt x="13094" y="3532"/>
                  <a:pt x="13281" y="3657"/>
                  <a:pt x="13437" y="3782"/>
                </a:cubicBezTo>
                <a:cubicBezTo>
                  <a:pt x="13812" y="4032"/>
                  <a:pt x="14187" y="4250"/>
                  <a:pt x="14531" y="4563"/>
                </a:cubicBezTo>
                <a:cubicBezTo>
                  <a:pt x="14562" y="4594"/>
                  <a:pt x="14625" y="4625"/>
                  <a:pt x="14625" y="4719"/>
                </a:cubicBezTo>
                <a:cubicBezTo>
                  <a:pt x="14594" y="4719"/>
                  <a:pt x="14594" y="4719"/>
                  <a:pt x="14594" y="4719"/>
                </a:cubicBezTo>
                <a:cubicBezTo>
                  <a:pt x="14344" y="4563"/>
                  <a:pt x="14125" y="4344"/>
                  <a:pt x="13844" y="4282"/>
                </a:cubicBezTo>
                <a:cubicBezTo>
                  <a:pt x="13750" y="4250"/>
                  <a:pt x="13687" y="4188"/>
                  <a:pt x="13594" y="4125"/>
                </a:cubicBezTo>
                <a:cubicBezTo>
                  <a:pt x="13344" y="3938"/>
                  <a:pt x="13094" y="3782"/>
                  <a:pt x="12844" y="3594"/>
                </a:cubicBezTo>
                <a:cubicBezTo>
                  <a:pt x="12250" y="3188"/>
                  <a:pt x="11625" y="2813"/>
                  <a:pt x="11031" y="2438"/>
                </a:cubicBezTo>
                <a:cubicBezTo>
                  <a:pt x="10469" y="2125"/>
                  <a:pt x="9937" y="1813"/>
                  <a:pt x="9406" y="1500"/>
                </a:cubicBezTo>
                <a:cubicBezTo>
                  <a:pt x="8875" y="1219"/>
                  <a:pt x="8344" y="938"/>
                  <a:pt x="7781" y="688"/>
                </a:cubicBezTo>
                <a:cubicBezTo>
                  <a:pt x="7719" y="688"/>
                  <a:pt x="7688" y="625"/>
                  <a:pt x="7625" y="625"/>
                </a:cubicBezTo>
                <a:cubicBezTo>
                  <a:pt x="7625" y="719"/>
                  <a:pt x="7688" y="719"/>
                  <a:pt x="7750" y="750"/>
                </a:cubicBezTo>
                <a:cubicBezTo>
                  <a:pt x="7906" y="813"/>
                  <a:pt x="8094" y="907"/>
                  <a:pt x="8250" y="1000"/>
                </a:cubicBezTo>
                <a:cubicBezTo>
                  <a:pt x="8375" y="1063"/>
                  <a:pt x="8531" y="1157"/>
                  <a:pt x="8687" y="1219"/>
                </a:cubicBezTo>
                <a:cubicBezTo>
                  <a:pt x="8906" y="1344"/>
                  <a:pt x="9125" y="1438"/>
                  <a:pt x="9312" y="1563"/>
                </a:cubicBezTo>
                <a:cubicBezTo>
                  <a:pt x="9375" y="1594"/>
                  <a:pt x="9406" y="1625"/>
                  <a:pt x="9406" y="1688"/>
                </a:cubicBezTo>
                <a:cubicBezTo>
                  <a:pt x="9281" y="1625"/>
                  <a:pt x="9187" y="1563"/>
                  <a:pt x="9062" y="1500"/>
                </a:cubicBezTo>
                <a:cubicBezTo>
                  <a:pt x="8969" y="1469"/>
                  <a:pt x="8844" y="1407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44"/>
                  <a:pt x="8750" y="1344"/>
                  <a:pt x="8750" y="1344"/>
                </a:cubicBezTo>
                <a:cubicBezTo>
                  <a:pt x="8750" y="1375"/>
                  <a:pt x="8750" y="1375"/>
                  <a:pt x="8750" y="1375"/>
                </a:cubicBezTo>
                <a:cubicBezTo>
                  <a:pt x="8781" y="1532"/>
                  <a:pt x="8969" y="1563"/>
                  <a:pt x="9094" y="1657"/>
                </a:cubicBezTo>
                <a:cubicBezTo>
                  <a:pt x="9250" y="1782"/>
                  <a:pt x="9469" y="1844"/>
                  <a:pt x="9656" y="1938"/>
                </a:cubicBezTo>
                <a:cubicBezTo>
                  <a:pt x="9969" y="2032"/>
                  <a:pt x="10250" y="2250"/>
                  <a:pt x="10531" y="2407"/>
                </a:cubicBezTo>
                <a:cubicBezTo>
                  <a:pt x="10875" y="2563"/>
                  <a:pt x="11187" y="2813"/>
                  <a:pt x="11531" y="3032"/>
                </a:cubicBezTo>
                <a:cubicBezTo>
                  <a:pt x="11844" y="3219"/>
                  <a:pt x="12187" y="3438"/>
                  <a:pt x="12500" y="3657"/>
                </a:cubicBezTo>
                <a:cubicBezTo>
                  <a:pt x="12969" y="3938"/>
                  <a:pt x="13406" y="4250"/>
                  <a:pt x="13844" y="4563"/>
                </a:cubicBezTo>
                <a:cubicBezTo>
                  <a:pt x="14000" y="4688"/>
                  <a:pt x="14156" y="4782"/>
                  <a:pt x="14312" y="4907"/>
                </a:cubicBezTo>
                <a:cubicBezTo>
                  <a:pt x="14562" y="5063"/>
                  <a:pt x="14781" y="5250"/>
                  <a:pt x="15000" y="5438"/>
                </a:cubicBezTo>
                <a:cubicBezTo>
                  <a:pt x="15000" y="5438"/>
                  <a:pt x="15000" y="5438"/>
                  <a:pt x="15000" y="5438"/>
                </a:cubicBezTo>
                <a:cubicBezTo>
                  <a:pt x="15062" y="5469"/>
                  <a:pt x="15094" y="5500"/>
                  <a:pt x="15094" y="5563"/>
                </a:cubicBezTo>
                <a:cubicBezTo>
                  <a:pt x="15094" y="5563"/>
                  <a:pt x="15094" y="5563"/>
                  <a:pt x="15062" y="5563"/>
                </a:cubicBezTo>
                <a:cubicBezTo>
                  <a:pt x="15062" y="5563"/>
                  <a:pt x="15031" y="5563"/>
                  <a:pt x="15031" y="5532"/>
                </a:cubicBezTo>
                <a:cubicBezTo>
                  <a:pt x="14781" y="5344"/>
                  <a:pt x="14531" y="5188"/>
                  <a:pt x="14281" y="5000"/>
                </a:cubicBezTo>
                <a:cubicBezTo>
                  <a:pt x="13719" y="4563"/>
                  <a:pt x="13094" y="4188"/>
                  <a:pt x="12500" y="3782"/>
                </a:cubicBezTo>
                <a:cubicBezTo>
                  <a:pt x="12500" y="3782"/>
                  <a:pt x="12469" y="3750"/>
                  <a:pt x="12437" y="3782"/>
                </a:cubicBezTo>
                <a:cubicBezTo>
                  <a:pt x="12437" y="3782"/>
                  <a:pt x="12437" y="3813"/>
                  <a:pt x="12469" y="3813"/>
                </a:cubicBezTo>
                <a:cubicBezTo>
                  <a:pt x="12687" y="3969"/>
                  <a:pt x="12937" y="4157"/>
                  <a:pt x="13156" y="4313"/>
                </a:cubicBezTo>
                <a:cubicBezTo>
                  <a:pt x="13375" y="4438"/>
                  <a:pt x="13594" y="4594"/>
                  <a:pt x="13812" y="4719"/>
                </a:cubicBezTo>
                <a:cubicBezTo>
                  <a:pt x="14094" y="4907"/>
                  <a:pt x="14344" y="5094"/>
                  <a:pt x="14625" y="5313"/>
                </a:cubicBezTo>
                <a:cubicBezTo>
                  <a:pt x="14844" y="5469"/>
                  <a:pt x="15094" y="5657"/>
                  <a:pt x="15312" y="5844"/>
                </a:cubicBezTo>
                <a:cubicBezTo>
                  <a:pt x="15375" y="5907"/>
                  <a:pt x="15437" y="5938"/>
                  <a:pt x="15500" y="6000"/>
                </a:cubicBezTo>
                <a:cubicBezTo>
                  <a:pt x="15594" y="6094"/>
                  <a:pt x="15719" y="6157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44" y="6219"/>
                  <a:pt x="15844" y="6219"/>
                  <a:pt x="15844" y="6219"/>
                </a:cubicBezTo>
                <a:cubicBezTo>
                  <a:pt x="15875" y="6282"/>
                  <a:pt x="15906" y="6344"/>
                  <a:pt x="15969" y="6344"/>
                </a:cubicBezTo>
                <a:cubicBezTo>
                  <a:pt x="16000" y="6375"/>
                  <a:pt x="16000" y="6375"/>
                  <a:pt x="16031" y="6375"/>
                </a:cubicBezTo>
                <a:cubicBezTo>
                  <a:pt x="16031" y="6407"/>
                  <a:pt x="16062" y="6438"/>
                  <a:pt x="16094" y="6438"/>
                </a:cubicBezTo>
                <a:cubicBezTo>
                  <a:pt x="16250" y="6594"/>
                  <a:pt x="16437" y="6719"/>
                  <a:pt x="16594" y="6875"/>
                </a:cubicBezTo>
                <a:cubicBezTo>
                  <a:pt x="16656" y="6938"/>
                  <a:pt x="16750" y="6969"/>
                  <a:pt x="16812" y="7032"/>
                </a:cubicBezTo>
                <a:cubicBezTo>
                  <a:pt x="16844" y="7000"/>
                  <a:pt x="16812" y="7000"/>
                  <a:pt x="16812" y="6969"/>
                </a:cubicBezTo>
                <a:cubicBezTo>
                  <a:pt x="16719" y="6875"/>
                  <a:pt x="16594" y="6782"/>
                  <a:pt x="16500" y="6688"/>
                </a:cubicBezTo>
                <a:cubicBezTo>
                  <a:pt x="16469" y="6657"/>
                  <a:pt x="16406" y="6625"/>
                  <a:pt x="16375" y="6594"/>
                </a:cubicBezTo>
                <a:cubicBezTo>
                  <a:pt x="16281" y="6500"/>
                  <a:pt x="16156" y="6438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31" y="6344"/>
                  <a:pt x="16031" y="6344"/>
                </a:cubicBezTo>
                <a:cubicBezTo>
                  <a:pt x="16031" y="6344"/>
                  <a:pt x="16000" y="6313"/>
                  <a:pt x="15969" y="6313"/>
                </a:cubicBezTo>
                <a:cubicBezTo>
                  <a:pt x="15937" y="6250"/>
                  <a:pt x="15906" y="6250"/>
                  <a:pt x="15844" y="6219"/>
                </a:cubicBezTo>
                <a:cubicBezTo>
                  <a:pt x="15844" y="6157"/>
                  <a:pt x="15781" y="6157"/>
                  <a:pt x="15750" y="6125"/>
                </a:cubicBezTo>
                <a:cubicBezTo>
                  <a:pt x="15750" y="6125"/>
                  <a:pt x="15719" y="6094"/>
                  <a:pt x="15719" y="6094"/>
                </a:cubicBezTo>
                <a:cubicBezTo>
                  <a:pt x="15500" y="5907"/>
                  <a:pt x="15281" y="5750"/>
                  <a:pt x="15094" y="5563"/>
                </a:cubicBezTo>
                <a:cubicBezTo>
                  <a:pt x="15125" y="5563"/>
                  <a:pt x="15156" y="5563"/>
                  <a:pt x="15187" y="5594"/>
                </a:cubicBezTo>
                <a:cubicBezTo>
                  <a:pt x="15312" y="5688"/>
                  <a:pt x="15437" y="5782"/>
                  <a:pt x="15531" y="5875"/>
                </a:cubicBezTo>
                <a:cubicBezTo>
                  <a:pt x="16000" y="6250"/>
                  <a:pt x="16469" y="6625"/>
                  <a:pt x="16937" y="7000"/>
                </a:cubicBezTo>
                <a:cubicBezTo>
                  <a:pt x="16906" y="7032"/>
                  <a:pt x="16844" y="7094"/>
                  <a:pt x="16812" y="7125"/>
                </a:cubicBezTo>
                <a:cubicBezTo>
                  <a:pt x="16719" y="7063"/>
                  <a:pt x="16625" y="7032"/>
                  <a:pt x="16562" y="7032"/>
                </a:cubicBezTo>
                <a:cubicBezTo>
                  <a:pt x="16625" y="7094"/>
                  <a:pt x="16687" y="7157"/>
                  <a:pt x="16719" y="7188"/>
                </a:cubicBezTo>
                <a:cubicBezTo>
                  <a:pt x="16719" y="7219"/>
                  <a:pt x="16687" y="7219"/>
                  <a:pt x="16656" y="7250"/>
                </a:cubicBezTo>
                <a:cubicBezTo>
                  <a:pt x="16594" y="7188"/>
                  <a:pt x="16531" y="7125"/>
                  <a:pt x="16437" y="7063"/>
                </a:cubicBezTo>
                <a:cubicBezTo>
                  <a:pt x="16031" y="6688"/>
                  <a:pt x="15531" y="6344"/>
                  <a:pt x="15094" y="6000"/>
                </a:cubicBezTo>
                <a:cubicBezTo>
                  <a:pt x="15062" y="5938"/>
                  <a:pt x="15000" y="5907"/>
                  <a:pt x="14937" y="5844"/>
                </a:cubicBezTo>
                <a:cubicBezTo>
                  <a:pt x="14719" y="5688"/>
                  <a:pt x="14469" y="5532"/>
                  <a:pt x="14219" y="5375"/>
                </a:cubicBezTo>
                <a:cubicBezTo>
                  <a:pt x="14250" y="5438"/>
                  <a:pt x="14281" y="5469"/>
                  <a:pt x="14312" y="5500"/>
                </a:cubicBezTo>
                <a:cubicBezTo>
                  <a:pt x="14344" y="5500"/>
                  <a:pt x="14344" y="5532"/>
                  <a:pt x="14375" y="5532"/>
                </a:cubicBezTo>
                <a:cubicBezTo>
                  <a:pt x="14406" y="5563"/>
                  <a:pt x="14437" y="5625"/>
                  <a:pt x="14437" y="5657"/>
                </a:cubicBezTo>
                <a:cubicBezTo>
                  <a:pt x="14406" y="5657"/>
                  <a:pt x="14406" y="5657"/>
                  <a:pt x="14406" y="5657"/>
                </a:cubicBezTo>
                <a:cubicBezTo>
                  <a:pt x="14406" y="5657"/>
                  <a:pt x="14406" y="5625"/>
                  <a:pt x="14375" y="5625"/>
                </a:cubicBezTo>
                <a:cubicBezTo>
                  <a:pt x="14312" y="5594"/>
                  <a:pt x="14219" y="5563"/>
                  <a:pt x="14156" y="5500"/>
                </a:cubicBezTo>
                <a:cubicBezTo>
                  <a:pt x="14094" y="5469"/>
                  <a:pt x="14031" y="5438"/>
                  <a:pt x="13969" y="5407"/>
                </a:cubicBezTo>
                <a:cubicBezTo>
                  <a:pt x="13937" y="5375"/>
                  <a:pt x="13875" y="5344"/>
                  <a:pt x="13844" y="5313"/>
                </a:cubicBezTo>
                <a:cubicBezTo>
                  <a:pt x="13500" y="5094"/>
                  <a:pt x="13219" y="4813"/>
                  <a:pt x="12937" y="4594"/>
                </a:cubicBezTo>
                <a:cubicBezTo>
                  <a:pt x="12750" y="4438"/>
                  <a:pt x="12562" y="4344"/>
                  <a:pt x="12375" y="4219"/>
                </a:cubicBezTo>
                <a:cubicBezTo>
                  <a:pt x="12375" y="4219"/>
                  <a:pt x="12375" y="4188"/>
                  <a:pt x="12344" y="4188"/>
                </a:cubicBezTo>
                <a:cubicBezTo>
                  <a:pt x="12281" y="4125"/>
                  <a:pt x="12250" y="4094"/>
                  <a:pt x="12156" y="4094"/>
                </a:cubicBezTo>
                <a:cubicBezTo>
                  <a:pt x="12156" y="4094"/>
                  <a:pt x="12156" y="4094"/>
                  <a:pt x="12125" y="4063"/>
                </a:cubicBezTo>
                <a:cubicBezTo>
                  <a:pt x="12125" y="4063"/>
                  <a:pt x="12125" y="4094"/>
                  <a:pt x="12125" y="4094"/>
                </a:cubicBezTo>
                <a:cubicBezTo>
                  <a:pt x="12125" y="4094"/>
                  <a:pt x="12156" y="4094"/>
                  <a:pt x="12156" y="4094"/>
                </a:cubicBezTo>
                <a:cubicBezTo>
                  <a:pt x="12187" y="4125"/>
                  <a:pt x="12187" y="4125"/>
                  <a:pt x="12219" y="4157"/>
                </a:cubicBezTo>
                <a:cubicBezTo>
                  <a:pt x="12250" y="4188"/>
                  <a:pt x="12312" y="4219"/>
                  <a:pt x="12375" y="4250"/>
                </a:cubicBezTo>
                <a:cubicBezTo>
                  <a:pt x="12375" y="4250"/>
                  <a:pt x="12375" y="4250"/>
                  <a:pt x="12375" y="4250"/>
                </a:cubicBezTo>
                <a:cubicBezTo>
                  <a:pt x="12375" y="4250"/>
                  <a:pt x="12375" y="4250"/>
                  <a:pt x="12406" y="4282"/>
                </a:cubicBezTo>
                <a:cubicBezTo>
                  <a:pt x="12406" y="4282"/>
                  <a:pt x="12406" y="4282"/>
                  <a:pt x="12406" y="4313"/>
                </a:cubicBezTo>
                <a:cubicBezTo>
                  <a:pt x="12406" y="4313"/>
                  <a:pt x="12406" y="4313"/>
                  <a:pt x="12406" y="4344"/>
                </a:cubicBezTo>
                <a:cubicBezTo>
                  <a:pt x="12187" y="4219"/>
                  <a:pt x="11969" y="4094"/>
                  <a:pt x="11750" y="3969"/>
                </a:cubicBezTo>
                <a:cubicBezTo>
                  <a:pt x="11687" y="3907"/>
                  <a:pt x="11625" y="3844"/>
                  <a:pt x="11500" y="3813"/>
                </a:cubicBezTo>
                <a:cubicBezTo>
                  <a:pt x="11531" y="3844"/>
                  <a:pt x="11531" y="3875"/>
                  <a:pt x="11562" y="3875"/>
                </a:cubicBezTo>
                <a:cubicBezTo>
                  <a:pt x="11562" y="3907"/>
                  <a:pt x="11594" y="3907"/>
                  <a:pt x="11594" y="3938"/>
                </a:cubicBezTo>
                <a:cubicBezTo>
                  <a:pt x="11625" y="3938"/>
                  <a:pt x="11687" y="3969"/>
                  <a:pt x="11719" y="3969"/>
                </a:cubicBezTo>
                <a:cubicBezTo>
                  <a:pt x="12000" y="4157"/>
                  <a:pt x="12281" y="4313"/>
                  <a:pt x="12562" y="4500"/>
                </a:cubicBezTo>
                <a:cubicBezTo>
                  <a:pt x="13094" y="4875"/>
                  <a:pt x="13594" y="5219"/>
                  <a:pt x="14125" y="5594"/>
                </a:cubicBezTo>
                <a:cubicBezTo>
                  <a:pt x="14156" y="5625"/>
                  <a:pt x="14187" y="5657"/>
                  <a:pt x="14219" y="5657"/>
                </a:cubicBezTo>
                <a:cubicBezTo>
                  <a:pt x="14312" y="5719"/>
                  <a:pt x="14437" y="5813"/>
                  <a:pt x="14500" y="5875"/>
                </a:cubicBezTo>
                <a:cubicBezTo>
                  <a:pt x="14469" y="5907"/>
                  <a:pt x="14437" y="5907"/>
                  <a:pt x="14406" y="5875"/>
                </a:cubicBezTo>
                <a:cubicBezTo>
                  <a:pt x="14406" y="5875"/>
                  <a:pt x="14406" y="5875"/>
                  <a:pt x="14375" y="5844"/>
                </a:cubicBezTo>
                <a:cubicBezTo>
                  <a:pt x="14094" y="5657"/>
                  <a:pt x="13812" y="5469"/>
                  <a:pt x="13531" y="5250"/>
                </a:cubicBezTo>
                <a:cubicBezTo>
                  <a:pt x="13500" y="5219"/>
                  <a:pt x="13469" y="5219"/>
                  <a:pt x="13469" y="5282"/>
                </a:cubicBezTo>
                <a:cubicBezTo>
                  <a:pt x="13375" y="5188"/>
                  <a:pt x="13250" y="5157"/>
                  <a:pt x="13125" y="5094"/>
                </a:cubicBezTo>
                <a:cubicBezTo>
                  <a:pt x="12687" y="4782"/>
                  <a:pt x="12250" y="4469"/>
                  <a:pt x="11812" y="4188"/>
                </a:cubicBezTo>
                <a:cubicBezTo>
                  <a:pt x="11656" y="4125"/>
                  <a:pt x="11531" y="4032"/>
                  <a:pt x="11375" y="4032"/>
                </a:cubicBezTo>
                <a:cubicBezTo>
                  <a:pt x="11375" y="4032"/>
                  <a:pt x="11344" y="4032"/>
                  <a:pt x="11344" y="4000"/>
                </a:cubicBezTo>
                <a:cubicBezTo>
                  <a:pt x="11344" y="4032"/>
                  <a:pt x="11344" y="4032"/>
                  <a:pt x="11344" y="4032"/>
                </a:cubicBezTo>
                <a:lnTo>
                  <a:pt x="11344" y="4032"/>
                </a:lnTo>
                <a:cubicBezTo>
                  <a:pt x="11344" y="4032"/>
                  <a:pt x="11344" y="4032"/>
                  <a:pt x="11375" y="4032"/>
                </a:cubicBezTo>
                <a:cubicBezTo>
                  <a:pt x="11375" y="4063"/>
                  <a:pt x="11406" y="4063"/>
                  <a:pt x="11437" y="4094"/>
                </a:cubicBezTo>
                <a:cubicBezTo>
                  <a:pt x="11719" y="4250"/>
                  <a:pt x="11969" y="4407"/>
                  <a:pt x="12250" y="4594"/>
                </a:cubicBezTo>
                <a:cubicBezTo>
                  <a:pt x="12656" y="4875"/>
                  <a:pt x="13094" y="5125"/>
                  <a:pt x="13469" y="5438"/>
                </a:cubicBezTo>
                <a:cubicBezTo>
                  <a:pt x="13562" y="5532"/>
                  <a:pt x="13687" y="5563"/>
                  <a:pt x="13781" y="5657"/>
                </a:cubicBezTo>
                <a:cubicBezTo>
                  <a:pt x="13937" y="5813"/>
                  <a:pt x="14094" y="5969"/>
                  <a:pt x="14281" y="6125"/>
                </a:cubicBezTo>
                <a:cubicBezTo>
                  <a:pt x="14812" y="6500"/>
                  <a:pt x="15344" y="6907"/>
                  <a:pt x="15844" y="7344"/>
                </a:cubicBezTo>
                <a:cubicBezTo>
                  <a:pt x="15969" y="7438"/>
                  <a:pt x="16062" y="7532"/>
                  <a:pt x="16187" y="7625"/>
                </a:cubicBezTo>
                <a:cubicBezTo>
                  <a:pt x="16156" y="7625"/>
                  <a:pt x="16156" y="7657"/>
                  <a:pt x="16125" y="7688"/>
                </a:cubicBezTo>
                <a:cubicBezTo>
                  <a:pt x="16000" y="7594"/>
                  <a:pt x="15906" y="7500"/>
                  <a:pt x="15781" y="7438"/>
                </a:cubicBezTo>
                <a:cubicBezTo>
                  <a:pt x="15750" y="7407"/>
                  <a:pt x="15750" y="7407"/>
                  <a:pt x="15750" y="7375"/>
                </a:cubicBezTo>
                <a:cubicBezTo>
                  <a:pt x="15687" y="7344"/>
                  <a:pt x="15625" y="7313"/>
                  <a:pt x="15594" y="7282"/>
                </a:cubicBezTo>
                <a:cubicBezTo>
                  <a:pt x="15594" y="7250"/>
                  <a:pt x="15562" y="7219"/>
                  <a:pt x="15562" y="7219"/>
                </a:cubicBezTo>
                <a:cubicBezTo>
                  <a:pt x="15531" y="7219"/>
                  <a:pt x="15531" y="7219"/>
                  <a:pt x="15531" y="7188"/>
                </a:cubicBezTo>
                <a:cubicBezTo>
                  <a:pt x="15375" y="7094"/>
                  <a:pt x="15219" y="6969"/>
                  <a:pt x="15062" y="6844"/>
                </a:cubicBezTo>
                <a:cubicBezTo>
                  <a:pt x="15000" y="6813"/>
                  <a:pt x="14937" y="6719"/>
                  <a:pt x="14844" y="6782"/>
                </a:cubicBezTo>
                <a:cubicBezTo>
                  <a:pt x="14750" y="6688"/>
                  <a:pt x="14656" y="6563"/>
                  <a:pt x="14531" y="6532"/>
                </a:cubicBezTo>
                <a:cubicBezTo>
                  <a:pt x="14531" y="6500"/>
                  <a:pt x="14531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500" y="6500"/>
                </a:cubicBezTo>
                <a:cubicBezTo>
                  <a:pt x="14500" y="6500"/>
                  <a:pt x="14500" y="6500"/>
                  <a:pt x="14469" y="6500"/>
                </a:cubicBezTo>
                <a:cubicBezTo>
                  <a:pt x="14469" y="6500"/>
                  <a:pt x="14469" y="6469"/>
                  <a:pt x="14469" y="6469"/>
                </a:cubicBezTo>
                <a:cubicBezTo>
                  <a:pt x="14437" y="6469"/>
                  <a:pt x="14406" y="6438"/>
                  <a:pt x="14375" y="6438"/>
                </a:cubicBezTo>
                <a:cubicBezTo>
                  <a:pt x="14375" y="6375"/>
                  <a:pt x="14375" y="6375"/>
                  <a:pt x="14344" y="6344"/>
                </a:cubicBezTo>
                <a:cubicBezTo>
                  <a:pt x="14000" y="6125"/>
                  <a:pt x="13687" y="5907"/>
                  <a:pt x="13344" y="5657"/>
                </a:cubicBezTo>
                <a:cubicBezTo>
                  <a:pt x="12969" y="5407"/>
                  <a:pt x="12594" y="5157"/>
                  <a:pt x="12187" y="4875"/>
                </a:cubicBezTo>
                <a:cubicBezTo>
                  <a:pt x="12156" y="4844"/>
                  <a:pt x="12094" y="4813"/>
                  <a:pt x="12062" y="4875"/>
                </a:cubicBezTo>
                <a:cubicBezTo>
                  <a:pt x="12219" y="5000"/>
                  <a:pt x="12406" y="5125"/>
                  <a:pt x="12562" y="5250"/>
                </a:cubicBezTo>
                <a:cubicBezTo>
                  <a:pt x="12937" y="5469"/>
                  <a:pt x="13312" y="5719"/>
                  <a:pt x="13656" y="5969"/>
                </a:cubicBezTo>
                <a:cubicBezTo>
                  <a:pt x="13719" y="6032"/>
                  <a:pt x="13750" y="6063"/>
                  <a:pt x="13812" y="6125"/>
                </a:cubicBezTo>
                <a:cubicBezTo>
                  <a:pt x="14000" y="6250"/>
                  <a:pt x="14187" y="6375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375" y="6500"/>
                  <a:pt x="14375" y="6500"/>
                  <a:pt x="14375" y="6500"/>
                </a:cubicBezTo>
                <a:cubicBezTo>
                  <a:pt x="14406" y="6500"/>
                  <a:pt x="14406" y="6500"/>
                  <a:pt x="14406" y="6500"/>
                </a:cubicBezTo>
                <a:cubicBezTo>
                  <a:pt x="14406" y="6500"/>
                  <a:pt x="14406" y="6532"/>
                  <a:pt x="14437" y="6532"/>
                </a:cubicBezTo>
                <a:cubicBezTo>
                  <a:pt x="14437" y="6532"/>
                  <a:pt x="14437" y="6532"/>
                  <a:pt x="14437" y="6532"/>
                </a:cubicBezTo>
                <a:cubicBezTo>
                  <a:pt x="14437" y="6532"/>
                  <a:pt x="14437" y="6563"/>
                  <a:pt x="14437" y="6563"/>
                </a:cubicBezTo>
                <a:cubicBezTo>
                  <a:pt x="14437" y="6563"/>
                  <a:pt x="14469" y="6563"/>
                  <a:pt x="14469" y="6563"/>
                </a:cubicBezTo>
                <a:cubicBezTo>
                  <a:pt x="14469" y="6563"/>
                  <a:pt x="14500" y="6563"/>
                  <a:pt x="14500" y="6594"/>
                </a:cubicBezTo>
                <a:cubicBezTo>
                  <a:pt x="14625" y="6688"/>
                  <a:pt x="14750" y="6782"/>
                  <a:pt x="14906" y="6875"/>
                </a:cubicBezTo>
                <a:cubicBezTo>
                  <a:pt x="14906" y="6938"/>
                  <a:pt x="14906" y="6938"/>
                  <a:pt x="14937" y="6969"/>
                </a:cubicBezTo>
                <a:cubicBezTo>
                  <a:pt x="14937" y="6969"/>
                  <a:pt x="14969" y="6969"/>
                  <a:pt x="14969" y="7000"/>
                </a:cubicBezTo>
                <a:cubicBezTo>
                  <a:pt x="15344" y="7250"/>
                  <a:pt x="15687" y="7532"/>
                  <a:pt x="16031" y="7813"/>
                </a:cubicBezTo>
                <a:cubicBezTo>
                  <a:pt x="16000" y="7844"/>
                  <a:pt x="16000" y="7875"/>
                  <a:pt x="15969" y="7907"/>
                </a:cubicBezTo>
                <a:cubicBezTo>
                  <a:pt x="15844" y="7813"/>
                  <a:pt x="15719" y="7719"/>
                  <a:pt x="15625" y="7625"/>
                </a:cubicBezTo>
                <a:cubicBezTo>
                  <a:pt x="15594" y="7625"/>
                  <a:pt x="15594" y="7625"/>
                  <a:pt x="15594" y="7625"/>
                </a:cubicBezTo>
                <a:cubicBezTo>
                  <a:pt x="15594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625"/>
                  <a:pt x="15562" y="7625"/>
                  <a:pt x="15562" y="7625"/>
                </a:cubicBezTo>
                <a:cubicBezTo>
                  <a:pt x="15562" y="7594"/>
                  <a:pt x="15562" y="7594"/>
                  <a:pt x="15562" y="7594"/>
                </a:cubicBezTo>
                <a:cubicBezTo>
                  <a:pt x="15531" y="7594"/>
                  <a:pt x="15531" y="7594"/>
                  <a:pt x="15531" y="7563"/>
                </a:cubicBezTo>
                <a:cubicBezTo>
                  <a:pt x="15500" y="7532"/>
                  <a:pt x="15406" y="7532"/>
                  <a:pt x="15375" y="7469"/>
                </a:cubicBezTo>
                <a:cubicBezTo>
                  <a:pt x="15250" y="7313"/>
                  <a:pt x="15062" y="7188"/>
                  <a:pt x="14906" y="7032"/>
                </a:cubicBezTo>
                <a:cubicBezTo>
                  <a:pt x="14687" y="6844"/>
                  <a:pt x="14437" y="6657"/>
                  <a:pt x="14187" y="6469"/>
                </a:cubicBezTo>
                <a:cubicBezTo>
                  <a:pt x="13750" y="6157"/>
                  <a:pt x="13312" y="5844"/>
                  <a:pt x="12844" y="5563"/>
                </a:cubicBezTo>
                <a:cubicBezTo>
                  <a:pt x="12812" y="5532"/>
                  <a:pt x="12812" y="5532"/>
                  <a:pt x="12812" y="5532"/>
                </a:cubicBezTo>
                <a:cubicBezTo>
                  <a:pt x="12750" y="5500"/>
                  <a:pt x="12719" y="5500"/>
                  <a:pt x="12687" y="5500"/>
                </a:cubicBezTo>
                <a:cubicBezTo>
                  <a:pt x="12656" y="5469"/>
                  <a:pt x="12656" y="5469"/>
                  <a:pt x="12625" y="5469"/>
                </a:cubicBezTo>
                <a:cubicBezTo>
                  <a:pt x="12625" y="5469"/>
                  <a:pt x="12625" y="5469"/>
                  <a:pt x="12625" y="5500"/>
                </a:cubicBezTo>
                <a:cubicBezTo>
                  <a:pt x="12656" y="5500"/>
                  <a:pt x="12656" y="5500"/>
                  <a:pt x="12687" y="5500"/>
                </a:cubicBezTo>
                <a:cubicBezTo>
                  <a:pt x="12687" y="5532"/>
                  <a:pt x="12719" y="5532"/>
                  <a:pt x="12719" y="5563"/>
                </a:cubicBezTo>
                <a:cubicBezTo>
                  <a:pt x="13094" y="5813"/>
                  <a:pt x="13437" y="6032"/>
                  <a:pt x="13781" y="6282"/>
                </a:cubicBezTo>
                <a:cubicBezTo>
                  <a:pt x="14031" y="6500"/>
                  <a:pt x="14344" y="6688"/>
                  <a:pt x="14594" y="6907"/>
                </a:cubicBezTo>
                <a:cubicBezTo>
                  <a:pt x="14594" y="6907"/>
                  <a:pt x="14625" y="6907"/>
                  <a:pt x="14625" y="6938"/>
                </a:cubicBezTo>
                <a:cubicBezTo>
                  <a:pt x="14625" y="6938"/>
                  <a:pt x="14625" y="6969"/>
                  <a:pt x="14625" y="7000"/>
                </a:cubicBezTo>
                <a:cubicBezTo>
                  <a:pt x="14625" y="7000"/>
                  <a:pt x="14625" y="7000"/>
                  <a:pt x="14625" y="7000"/>
                </a:cubicBezTo>
                <a:cubicBezTo>
                  <a:pt x="14625" y="6969"/>
                  <a:pt x="14625" y="6969"/>
                  <a:pt x="14625" y="6969"/>
                </a:cubicBezTo>
                <a:cubicBezTo>
                  <a:pt x="14531" y="6969"/>
                  <a:pt x="14469" y="6907"/>
                  <a:pt x="14437" y="6844"/>
                </a:cubicBezTo>
                <a:cubicBezTo>
                  <a:pt x="14375" y="6844"/>
                  <a:pt x="14344" y="6813"/>
                  <a:pt x="14312" y="6782"/>
                </a:cubicBezTo>
                <a:cubicBezTo>
                  <a:pt x="13875" y="6469"/>
                  <a:pt x="13437" y="6157"/>
                  <a:pt x="13000" y="5844"/>
                </a:cubicBezTo>
                <a:cubicBezTo>
                  <a:pt x="12969" y="5813"/>
                  <a:pt x="12906" y="5782"/>
                  <a:pt x="12844" y="5782"/>
                </a:cubicBezTo>
                <a:cubicBezTo>
                  <a:pt x="12875" y="5813"/>
                  <a:pt x="12906" y="5844"/>
                  <a:pt x="12969" y="5875"/>
                </a:cubicBezTo>
                <a:cubicBezTo>
                  <a:pt x="13094" y="6000"/>
                  <a:pt x="13250" y="6063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375" y="6188"/>
                  <a:pt x="13375" y="6188"/>
                  <a:pt x="13375" y="6188"/>
                </a:cubicBezTo>
                <a:cubicBezTo>
                  <a:pt x="13281" y="6188"/>
                  <a:pt x="13219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56" y="6094"/>
                  <a:pt x="13156" y="6094"/>
                  <a:pt x="13156" y="6094"/>
                </a:cubicBezTo>
                <a:cubicBezTo>
                  <a:pt x="13125" y="6063"/>
                  <a:pt x="13125" y="6032"/>
                  <a:pt x="13062" y="6032"/>
                </a:cubicBezTo>
                <a:cubicBezTo>
                  <a:pt x="13062" y="6032"/>
                  <a:pt x="13062" y="6032"/>
                  <a:pt x="13031" y="6032"/>
                </a:cubicBezTo>
                <a:cubicBezTo>
                  <a:pt x="13062" y="6063"/>
                  <a:pt x="13094" y="6094"/>
                  <a:pt x="13125" y="6094"/>
                </a:cubicBezTo>
                <a:cubicBezTo>
                  <a:pt x="13156" y="6125"/>
                  <a:pt x="13156" y="6157"/>
                  <a:pt x="13187" y="6157"/>
                </a:cubicBezTo>
                <a:cubicBezTo>
                  <a:pt x="13406" y="6313"/>
                  <a:pt x="13625" y="6469"/>
                  <a:pt x="13875" y="6625"/>
                </a:cubicBezTo>
                <a:cubicBezTo>
                  <a:pt x="14125" y="6782"/>
                  <a:pt x="14344" y="6969"/>
                  <a:pt x="14594" y="7157"/>
                </a:cubicBezTo>
                <a:cubicBezTo>
                  <a:pt x="14594" y="7188"/>
                  <a:pt x="14625" y="7188"/>
                  <a:pt x="14625" y="7219"/>
                </a:cubicBezTo>
                <a:cubicBezTo>
                  <a:pt x="14656" y="7250"/>
                  <a:pt x="14719" y="7282"/>
                  <a:pt x="14781" y="7282"/>
                </a:cubicBezTo>
                <a:cubicBezTo>
                  <a:pt x="14781" y="7344"/>
                  <a:pt x="14812" y="7344"/>
                  <a:pt x="14844" y="7375"/>
                </a:cubicBezTo>
                <a:cubicBezTo>
                  <a:pt x="14844" y="7375"/>
                  <a:pt x="14844" y="7375"/>
                  <a:pt x="14844" y="7375"/>
                </a:cubicBezTo>
                <a:cubicBezTo>
                  <a:pt x="15062" y="7563"/>
                  <a:pt x="15281" y="7719"/>
                  <a:pt x="15500" y="7907"/>
                </a:cubicBezTo>
                <a:cubicBezTo>
                  <a:pt x="15469" y="7907"/>
                  <a:pt x="15469" y="7907"/>
                  <a:pt x="15469" y="7907"/>
                </a:cubicBezTo>
                <a:cubicBezTo>
                  <a:pt x="15437" y="7907"/>
                  <a:pt x="15375" y="7907"/>
                  <a:pt x="15344" y="7875"/>
                </a:cubicBezTo>
                <a:cubicBezTo>
                  <a:pt x="15344" y="7875"/>
                  <a:pt x="15344" y="7875"/>
                  <a:pt x="15312" y="7875"/>
                </a:cubicBezTo>
                <a:cubicBezTo>
                  <a:pt x="15187" y="7782"/>
                  <a:pt x="15062" y="7688"/>
                  <a:pt x="14937" y="7594"/>
                </a:cubicBezTo>
                <a:cubicBezTo>
                  <a:pt x="14812" y="7500"/>
                  <a:pt x="14719" y="7407"/>
                  <a:pt x="14562" y="7375"/>
                </a:cubicBezTo>
                <a:cubicBezTo>
                  <a:pt x="14687" y="7469"/>
                  <a:pt x="14812" y="7563"/>
                  <a:pt x="14937" y="7657"/>
                </a:cubicBezTo>
                <a:cubicBezTo>
                  <a:pt x="15219" y="7844"/>
                  <a:pt x="15437" y="8063"/>
                  <a:pt x="15687" y="8250"/>
                </a:cubicBezTo>
                <a:cubicBezTo>
                  <a:pt x="15656" y="8313"/>
                  <a:pt x="15656" y="8375"/>
                  <a:pt x="15656" y="8469"/>
                </a:cubicBezTo>
                <a:cubicBezTo>
                  <a:pt x="15656" y="8500"/>
                  <a:pt x="15656" y="8532"/>
                  <a:pt x="15656" y="8563"/>
                </a:cubicBezTo>
                <a:cubicBezTo>
                  <a:pt x="15594" y="8500"/>
                  <a:pt x="15500" y="8438"/>
                  <a:pt x="15437" y="8375"/>
                </a:cubicBezTo>
                <a:cubicBezTo>
                  <a:pt x="15406" y="8375"/>
                  <a:pt x="15406" y="8375"/>
                  <a:pt x="15406" y="8375"/>
                </a:cubicBezTo>
                <a:cubicBezTo>
                  <a:pt x="15375" y="8313"/>
                  <a:pt x="15312" y="8250"/>
                  <a:pt x="15250" y="8313"/>
                </a:cubicBezTo>
                <a:cubicBezTo>
                  <a:pt x="15219" y="8313"/>
                  <a:pt x="15219" y="8282"/>
                  <a:pt x="15219" y="8282"/>
                </a:cubicBezTo>
                <a:cubicBezTo>
                  <a:pt x="15219" y="8282"/>
                  <a:pt x="15219" y="8282"/>
                  <a:pt x="15219" y="8282"/>
                </a:cubicBezTo>
                <a:cubicBezTo>
                  <a:pt x="15219" y="8250"/>
                  <a:pt x="15219" y="8250"/>
                  <a:pt x="15187" y="8250"/>
                </a:cubicBezTo>
                <a:cubicBezTo>
                  <a:pt x="15156" y="8250"/>
                  <a:pt x="15125" y="8219"/>
                  <a:pt x="15125" y="8188"/>
                </a:cubicBezTo>
                <a:cubicBezTo>
                  <a:pt x="14844" y="7969"/>
                  <a:pt x="14562" y="7750"/>
                  <a:pt x="14281" y="7532"/>
                </a:cubicBezTo>
                <a:cubicBezTo>
                  <a:pt x="14156" y="7407"/>
                  <a:pt x="14031" y="7313"/>
                  <a:pt x="13875" y="7219"/>
                </a:cubicBezTo>
                <a:cubicBezTo>
                  <a:pt x="13812" y="7188"/>
                  <a:pt x="13750" y="7094"/>
                  <a:pt x="13656" y="7094"/>
                </a:cubicBezTo>
                <a:cubicBezTo>
                  <a:pt x="13625" y="7094"/>
                  <a:pt x="13625" y="7094"/>
                  <a:pt x="13625" y="7094"/>
                </a:cubicBezTo>
                <a:cubicBezTo>
                  <a:pt x="13625" y="7094"/>
                  <a:pt x="13625" y="7063"/>
                  <a:pt x="13625" y="7063"/>
                </a:cubicBezTo>
                <a:cubicBezTo>
                  <a:pt x="13625" y="7063"/>
                  <a:pt x="13625" y="7063"/>
                  <a:pt x="13594" y="7032"/>
                </a:cubicBezTo>
                <a:cubicBezTo>
                  <a:pt x="13250" y="6813"/>
                  <a:pt x="12906" y="6563"/>
                  <a:pt x="12562" y="6313"/>
                </a:cubicBezTo>
                <a:cubicBezTo>
                  <a:pt x="12437" y="6250"/>
                  <a:pt x="12344" y="6157"/>
                  <a:pt x="12187" y="6094"/>
                </a:cubicBezTo>
                <a:cubicBezTo>
                  <a:pt x="12187" y="6094"/>
                  <a:pt x="12187" y="6094"/>
                  <a:pt x="12156" y="6094"/>
                </a:cubicBezTo>
                <a:cubicBezTo>
                  <a:pt x="12156" y="6063"/>
                  <a:pt x="12156" y="6063"/>
                  <a:pt x="12125" y="6032"/>
                </a:cubicBezTo>
                <a:cubicBezTo>
                  <a:pt x="12125" y="6000"/>
                  <a:pt x="12094" y="6000"/>
                  <a:pt x="12031" y="5969"/>
                </a:cubicBezTo>
                <a:cubicBezTo>
                  <a:pt x="12031" y="5969"/>
                  <a:pt x="12031" y="5969"/>
                  <a:pt x="12031" y="5969"/>
                </a:cubicBezTo>
                <a:cubicBezTo>
                  <a:pt x="12031" y="5969"/>
                  <a:pt x="12031" y="5969"/>
                  <a:pt x="12000" y="5969"/>
                </a:cubicBezTo>
                <a:cubicBezTo>
                  <a:pt x="12000" y="5969"/>
                  <a:pt x="12000" y="5969"/>
                  <a:pt x="11969" y="5969"/>
                </a:cubicBezTo>
                <a:cubicBezTo>
                  <a:pt x="11969" y="5969"/>
                  <a:pt x="11969" y="5969"/>
                  <a:pt x="11969" y="5969"/>
                </a:cubicBezTo>
                <a:cubicBezTo>
                  <a:pt x="11937" y="5938"/>
                  <a:pt x="11937" y="5938"/>
                  <a:pt x="11937" y="5907"/>
                </a:cubicBezTo>
                <a:cubicBezTo>
                  <a:pt x="11906" y="5907"/>
                  <a:pt x="11875" y="5875"/>
                  <a:pt x="11844" y="5844"/>
                </a:cubicBezTo>
                <a:cubicBezTo>
                  <a:pt x="11812" y="5813"/>
                  <a:pt x="11750" y="5813"/>
                  <a:pt x="11719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82"/>
                  <a:pt x="11687" y="5782"/>
                  <a:pt x="11687" y="5782"/>
                </a:cubicBezTo>
                <a:cubicBezTo>
                  <a:pt x="11687" y="5750"/>
                  <a:pt x="11687" y="5782"/>
                  <a:pt x="11656" y="5782"/>
                </a:cubicBezTo>
                <a:cubicBezTo>
                  <a:pt x="11531" y="5688"/>
                  <a:pt x="11406" y="5625"/>
                  <a:pt x="11281" y="5563"/>
                </a:cubicBezTo>
                <a:cubicBezTo>
                  <a:pt x="11250" y="5532"/>
                  <a:pt x="11219" y="5500"/>
                  <a:pt x="11156" y="5469"/>
                </a:cubicBezTo>
                <a:cubicBezTo>
                  <a:pt x="11125" y="5469"/>
                  <a:pt x="11094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07"/>
                  <a:pt x="11031" y="5407"/>
                  <a:pt x="11000" y="5407"/>
                </a:cubicBezTo>
                <a:cubicBezTo>
                  <a:pt x="11000" y="5407"/>
                  <a:pt x="11000" y="5407"/>
                  <a:pt x="11000" y="5407"/>
                </a:cubicBezTo>
                <a:cubicBezTo>
                  <a:pt x="11000" y="5407"/>
                  <a:pt x="11000" y="5407"/>
                  <a:pt x="10969" y="5407"/>
                </a:cubicBezTo>
                <a:cubicBezTo>
                  <a:pt x="11000" y="5407"/>
                  <a:pt x="11000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31" y="5438"/>
                </a:cubicBezTo>
                <a:cubicBezTo>
                  <a:pt x="11031" y="5438"/>
                  <a:pt x="11031" y="5438"/>
                  <a:pt x="11062" y="5469"/>
                </a:cubicBezTo>
                <a:cubicBezTo>
                  <a:pt x="11125" y="5532"/>
                  <a:pt x="11187" y="5563"/>
                  <a:pt x="11281" y="5594"/>
                </a:cubicBezTo>
                <a:cubicBezTo>
                  <a:pt x="11500" y="5750"/>
                  <a:pt x="11719" y="5875"/>
                  <a:pt x="11937" y="6032"/>
                </a:cubicBezTo>
                <a:cubicBezTo>
                  <a:pt x="12125" y="6188"/>
                  <a:pt x="12312" y="6282"/>
                  <a:pt x="12500" y="6438"/>
                </a:cubicBezTo>
                <a:cubicBezTo>
                  <a:pt x="12531" y="6469"/>
                  <a:pt x="12594" y="6500"/>
                  <a:pt x="12656" y="6500"/>
                </a:cubicBezTo>
                <a:cubicBezTo>
                  <a:pt x="12656" y="6500"/>
                  <a:pt x="12687" y="6532"/>
                  <a:pt x="12687" y="6532"/>
                </a:cubicBezTo>
                <a:cubicBezTo>
                  <a:pt x="12687" y="6532"/>
                  <a:pt x="12687" y="6532"/>
                  <a:pt x="12687" y="6532"/>
                </a:cubicBezTo>
                <a:cubicBezTo>
                  <a:pt x="12687" y="6563"/>
                  <a:pt x="12719" y="6563"/>
                  <a:pt x="12750" y="6563"/>
                </a:cubicBezTo>
                <a:cubicBezTo>
                  <a:pt x="12750" y="6563"/>
                  <a:pt x="12750" y="6563"/>
                  <a:pt x="12750" y="6563"/>
                </a:cubicBezTo>
                <a:cubicBezTo>
                  <a:pt x="12750" y="6594"/>
                  <a:pt x="12781" y="6594"/>
                  <a:pt x="12781" y="6594"/>
                </a:cubicBezTo>
                <a:cubicBezTo>
                  <a:pt x="12781" y="6594"/>
                  <a:pt x="12781" y="6594"/>
                  <a:pt x="12781" y="6594"/>
                </a:cubicBezTo>
                <a:cubicBezTo>
                  <a:pt x="12812" y="6625"/>
                  <a:pt x="12812" y="6625"/>
                  <a:pt x="12812" y="6625"/>
                </a:cubicBezTo>
                <a:cubicBezTo>
                  <a:pt x="12844" y="6657"/>
                  <a:pt x="12844" y="6657"/>
                  <a:pt x="12875" y="6657"/>
                </a:cubicBezTo>
                <a:cubicBezTo>
                  <a:pt x="12875" y="6688"/>
                  <a:pt x="12875" y="6688"/>
                  <a:pt x="12906" y="6688"/>
                </a:cubicBezTo>
                <a:cubicBezTo>
                  <a:pt x="12906" y="6688"/>
                  <a:pt x="12906" y="6688"/>
                  <a:pt x="12906" y="6719"/>
                </a:cubicBezTo>
                <a:cubicBezTo>
                  <a:pt x="13000" y="6782"/>
                  <a:pt x="13094" y="6813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56" y="6907"/>
                  <a:pt x="13156" y="6907"/>
                  <a:pt x="13156" y="6907"/>
                </a:cubicBezTo>
                <a:cubicBezTo>
                  <a:pt x="13125" y="6907"/>
                  <a:pt x="13125" y="6907"/>
                  <a:pt x="13094" y="6907"/>
                </a:cubicBezTo>
                <a:cubicBezTo>
                  <a:pt x="13094" y="6875"/>
                  <a:pt x="13094" y="6875"/>
                  <a:pt x="13094" y="6875"/>
                </a:cubicBezTo>
                <a:cubicBezTo>
                  <a:pt x="12969" y="6813"/>
                  <a:pt x="12875" y="6750"/>
                  <a:pt x="12750" y="6657"/>
                </a:cubicBezTo>
                <a:cubicBezTo>
                  <a:pt x="12625" y="6563"/>
                  <a:pt x="12469" y="6469"/>
                  <a:pt x="12312" y="6375"/>
                </a:cubicBezTo>
                <a:cubicBezTo>
                  <a:pt x="12156" y="6282"/>
                  <a:pt x="12000" y="6157"/>
                  <a:pt x="11812" y="6063"/>
                </a:cubicBezTo>
                <a:cubicBezTo>
                  <a:pt x="11500" y="5875"/>
                  <a:pt x="11156" y="5657"/>
                  <a:pt x="10812" y="5469"/>
                </a:cubicBezTo>
                <a:cubicBezTo>
                  <a:pt x="10812" y="5469"/>
                  <a:pt x="10812" y="5469"/>
                  <a:pt x="10812" y="5469"/>
                </a:cubicBezTo>
                <a:cubicBezTo>
                  <a:pt x="10812" y="5438"/>
                  <a:pt x="10781" y="5438"/>
                  <a:pt x="10781" y="5438"/>
                </a:cubicBezTo>
                <a:cubicBezTo>
                  <a:pt x="10781" y="5438"/>
                  <a:pt x="10781" y="5438"/>
                  <a:pt x="10781" y="5438"/>
                </a:cubicBezTo>
                <a:cubicBezTo>
                  <a:pt x="10750" y="5438"/>
                  <a:pt x="10719" y="5438"/>
                  <a:pt x="10719" y="5438"/>
                </a:cubicBezTo>
                <a:cubicBezTo>
                  <a:pt x="10719" y="5407"/>
                  <a:pt x="10719" y="5407"/>
                  <a:pt x="10719" y="5407"/>
                </a:cubicBezTo>
                <a:cubicBezTo>
                  <a:pt x="10500" y="5282"/>
                  <a:pt x="10281" y="5125"/>
                  <a:pt x="10031" y="5032"/>
                </a:cubicBezTo>
                <a:cubicBezTo>
                  <a:pt x="10062" y="5094"/>
                  <a:pt x="10094" y="5125"/>
                  <a:pt x="10125" y="5125"/>
                </a:cubicBezTo>
                <a:cubicBezTo>
                  <a:pt x="10219" y="5188"/>
                  <a:pt x="10344" y="5250"/>
                  <a:pt x="10437" y="5313"/>
                </a:cubicBezTo>
                <a:cubicBezTo>
                  <a:pt x="10437" y="5344"/>
                  <a:pt x="10469" y="5344"/>
                  <a:pt x="10500" y="5375"/>
                </a:cubicBezTo>
                <a:cubicBezTo>
                  <a:pt x="10500" y="5375"/>
                  <a:pt x="10531" y="5375"/>
                  <a:pt x="10562" y="5407"/>
                </a:cubicBezTo>
                <a:cubicBezTo>
                  <a:pt x="10594" y="5407"/>
                  <a:pt x="10656" y="5438"/>
                  <a:pt x="10687" y="5438"/>
                </a:cubicBezTo>
                <a:cubicBezTo>
                  <a:pt x="10719" y="5438"/>
                  <a:pt x="10719" y="5469"/>
                  <a:pt x="10750" y="5469"/>
                </a:cubicBezTo>
                <a:cubicBezTo>
                  <a:pt x="11031" y="5657"/>
                  <a:pt x="11312" y="5844"/>
                  <a:pt x="11594" y="6032"/>
                </a:cubicBezTo>
                <a:cubicBezTo>
                  <a:pt x="11844" y="6188"/>
                  <a:pt x="12094" y="6344"/>
                  <a:pt x="12344" y="6500"/>
                </a:cubicBezTo>
                <a:cubicBezTo>
                  <a:pt x="12375" y="6500"/>
                  <a:pt x="12375" y="6532"/>
                  <a:pt x="12375" y="6532"/>
                </a:cubicBezTo>
                <a:cubicBezTo>
                  <a:pt x="12375" y="6532"/>
                  <a:pt x="12375" y="6532"/>
                  <a:pt x="12375" y="6532"/>
                </a:cubicBezTo>
                <a:cubicBezTo>
                  <a:pt x="12562" y="6657"/>
                  <a:pt x="12719" y="6750"/>
                  <a:pt x="12875" y="6875"/>
                </a:cubicBezTo>
                <a:cubicBezTo>
                  <a:pt x="13281" y="7157"/>
                  <a:pt x="13687" y="7438"/>
                  <a:pt x="14094" y="7750"/>
                </a:cubicBezTo>
                <a:cubicBezTo>
                  <a:pt x="14125" y="7750"/>
                  <a:pt x="14156" y="7782"/>
                  <a:pt x="14219" y="7813"/>
                </a:cubicBezTo>
                <a:cubicBezTo>
                  <a:pt x="14250" y="7813"/>
                  <a:pt x="14250" y="7844"/>
                  <a:pt x="14281" y="7875"/>
                </a:cubicBezTo>
                <a:cubicBezTo>
                  <a:pt x="14375" y="7907"/>
                  <a:pt x="14437" y="7969"/>
                  <a:pt x="14469" y="8032"/>
                </a:cubicBezTo>
                <a:cubicBezTo>
                  <a:pt x="14500" y="8032"/>
                  <a:pt x="14500" y="8032"/>
                  <a:pt x="14500" y="8063"/>
                </a:cubicBezTo>
                <a:cubicBezTo>
                  <a:pt x="14469" y="8063"/>
                  <a:pt x="14469" y="8032"/>
                  <a:pt x="14437" y="8032"/>
                </a:cubicBezTo>
                <a:cubicBezTo>
                  <a:pt x="14406" y="8032"/>
                  <a:pt x="14375" y="8032"/>
                  <a:pt x="14375" y="8094"/>
                </a:cubicBezTo>
                <a:cubicBezTo>
                  <a:pt x="14250" y="8000"/>
                  <a:pt x="14094" y="7907"/>
                  <a:pt x="13969" y="7782"/>
                </a:cubicBezTo>
                <a:cubicBezTo>
                  <a:pt x="13969" y="7782"/>
                  <a:pt x="13937" y="7782"/>
                  <a:pt x="13937" y="7750"/>
                </a:cubicBezTo>
                <a:cubicBezTo>
                  <a:pt x="13656" y="7563"/>
                  <a:pt x="13375" y="7344"/>
                  <a:pt x="13094" y="7157"/>
                </a:cubicBezTo>
                <a:cubicBezTo>
                  <a:pt x="12656" y="6844"/>
                  <a:pt x="12219" y="6500"/>
                  <a:pt x="11750" y="6219"/>
                </a:cubicBezTo>
                <a:cubicBezTo>
                  <a:pt x="11281" y="5969"/>
                  <a:pt x="10844" y="5657"/>
                  <a:pt x="10375" y="5438"/>
                </a:cubicBezTo>
                <a:cubicBezTo>
                  <a:pt x="10250" y="5375"/>
                  <a:pt x="10094" y="5282"/>
                  <a:pt x="9937" y="5219"/>
                </a:cubicBezTo>
                <a:cubicBezTo>
                  <a:pt x="10000" y="5313"/>
                  <a:pt x="10031" y="5344"/>
                  <a:pt x="10094" y="5375"/>
                </a:cubicBezTo>
                <a:cubicBezTo>
                  <a:pt x="10187" y="5438"/>
                  <a:pt x="10312" y="5469"/>
                  <a:pt x="10406" y="5532"/>
                </a:cubicBezTo>
                <a:cubicBezTo>
                  <a:pt x="10562" y="5625"/>
                  <a:pt x="10719" y="5719"/>
                  <a:pt x="10906" y="5844"/>
                </a:cubicBezTo>
                <a:cubicBezTo>
                  <a:pt x="11281" y="6063"/>
                  <a:pt x="11687" y="6250"/>
                  <a:pt x="12062" y="6532"/>
                </a:cubicBezTo>
                <a:cubicBezTo>
                  <a:pt x="12375" y="6750"/>
                  <a:pt x="12687" y="6938"/>
                  <a:pt x="12969" y="7188"/>
                </a:cubicBezTo>
                <a:cubicBezTo>
                  <a:pt x="13031" y="7250"/>
                  <a:pt x="13125" y="7313"/>
                  <a:pt x="13219" y="7375"/>
                </a:cubicBezTo>
                <a:cubicBezTo>
                  <a:pt x="13219" y="7375"/>
                  <a:pt x="13219" y="7375"/>
                  <a:pt x="13219" y="7375"/>
                </a:cubicBezTo>
                <a:cubicBezTo>
                  <a:pt x="13250" y="7407"/>
                  <a:pt x="13250" y="7407"/>
                  <a:pt x="13250" y="7407"/>
                </a:cubicBezTo>
                <a:cubicBezTo>
                  <a:pt x="13281" y="7438"/>
                  <a:pt x="13281" y="7438"/>
                  <a:pt x="13250" y="7469"/>
                </a:cubicBezTo>
                <a:cubicBezTo>
                  <a:pt x="13094" y="7375"/>
                  <a:pt x="12937" y="7250"/>
                  <a:pt x="12781" y="7157"/>
                </a:cubicBezTo>
                <a:cubicBezTo>
                  <a:pt x="12219" y="6782"/>
                  <a:pt x="11656" y="6407"/>
                  <a:pt x="11094" y="6063"/>
                </a:cubicBezTo>
                <a:cubicBezTo>
                  <a:pt x="11094" y="6032"/>
                  <a:pt x="11062" y="6032"/>
                  <a:pt x="11062" y="6032"/>
                </a:cubicBezTo>
                <a:cubicBezTo>
                  <a:pt x="11062" y="6032"/>
                  <a:pt x="11062" y="6032"/>
                  <a:pt x="11062" y="6032"/>
                </a:cubicBezTo>
                <a:cubicBezTo>
                  <a:pt x="10844" y="5907"/>
                  <a:pt x="10625" y="5782"/>
                  <a:pt x="10406" y="5657"/>
                </a:cubicBezTo>
                <a:cubicBezTo>
                  <a:pt x="10375" y="5625"/>
                  <a:pt x="10344" y="5594"/>
                  <a:pt x="10344" y="5594"/>
                </a:cubicBezTo>
                <a:cubicBezTo>
                  <a:pt x="10250" y="5532"/>
                  <a:pt x="10156" y="5500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94" y="5438"/>
                  <a:pt x="10094" y="5438"/>
                  <a:pt x="10094" y="5438"/>
                </a:cubicBezTo>
                <a:cubicBezTo>
                  <a:pt x="10062" y="5438"/>
                  <a:pt x="10031" y="5407"/>
                  <a:pt x="10000" y="5407"/>
                </a:cubicBezTo>
                <a:cubicBezTo>
                  <a:pt x="10000" y="5407"/>
                  <a:pt x="9969" y="5407"/>
                  <a:pt x="9969" y="5407"/>
                </a:cubicBezTo>
                <a:cubicBezTo>
                  <a:pt x="10000" y="5438"/>
                  <a:pt x="10031" y="5469"/>
                  <a:pt x="10062" y="5469"/>
                </a:cubicBezTo>
                <a:cubicBezTo>
                  <a:pt x="10062" y="5469"/>
                  <a:pt x="10062" y="5469"/>
                  <a:pt x="10062" y="5469"/>
                </a:cubicBezTo>
                <a:cubicBezTo>
                  <a:pt x="10094" y="5500"/>
                  <a:pt x="10125" y="5532"/>
                  <a:pt x="10125" y="5563"/>
                </a:cubicBezTo>
                <a:cubicBezTo>
                  <a:pt x="10094" y="5563"/>
                  <a:pt x="10094" y="5563"/>
                  <a:pt x="10062" y="5532"/>
                </a:cubicBezTo>
                <a:cubicBezTo>
                  <a:pt x="9687" y="5344"/>
                  <a:pt x="9344" y="5125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38"/>
                  <a:pt x="8937" y="4938"/>
                  <a:pt x="8937" y="4938"/>
                </a:cubicBezTo>
                <a:cubicBezTo>
                  <a:pt x="8937" y="4907"/>
                  <a:pt x="8937" y="4907"/>
                  <a:pt x="8937" y="4907"/>
                </a:cubicBezTo>
                <a:cubicBezTo>
                  <a:pt x="8937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06" y="4907"/>
                  <a:pt x="8906" y="4907"/>
                  <a:pt x="8906" y="4907"/>
                </a:cubicBezTo>
                <a:cubicBezTo>
                  <a:pt x="8937" y="4907"/>
                  <a:pt x="8969" y="4907"/>
                  <a:pt x="9000" y="4907"/>
                </a:cubicBezTo>
                <a:cubicBezTo>
                  <a:pt x="9062" y="4938"/>
                  <a:pt x="9125" y="4969"/>
                  <a:pt x="9187" y="5000"/>
                </a:cubicBezTo>
                <a:cubicBezTo>
                  <a:pt x="9344" y="5063"/>
                  <a:pt x="9500" y="5157"/>
                  <a:pt x="9656" y="5250"/>
                </a:cubicBezTo>
                <a:cubicBezTo>
                  <a:pt x="9656" y="5250"/>
                  <a:pt x="9656" y="5250"/>
                  <a:pt x="9656" y="5250"/>
                </a:cubicBezTo>
                <a:cubicBezTo>
                  <a:pt x="9687" y="5250"/>
                  <a:pt x="9687" y="5282"/>
                  <a:pt x="9750" y="5313"/>
                </a:cubicBezTo>
                <a:cubicBezTo>
                  <a:pt x="9750" y="5313"/>
                  <a:pt x="9750" y="5313"/>
                  <a:pt x="9750" y="5313"/>
                </a:cubicBezTo>
                <a:cubicBezTo>
                  <a:pt x="9812" y="5313"/>
                  <a:pt x="9844" y="5375"/>
                  <a:pt x="9906" y="5344"/>
                </a:cubicBezTo>
                <a:cubicBezTo>
                  <a:pt x="9875" y="5344"/>
                  <a:pt x="9875" y="5313"/>
                  <a:pt x="9844" y="5313"/>
                </a:cubicBezTo>
                <a:cubicBezTo>
                  <a:pt x="9844" y="5282"/>
                  <a:pt x="9812" y="5282"/>
                  <a:pt x="9781" y="5282"/>
                </a:cubicBezTo>
                <a:cubicBezTo>
                  <a:pt x="9781" y="5282"/>
                  <a:pt x="9781" y="5282"/>
                  <a:pt x="9781" y="5282"/>
                </a:cubicBezTo>
                <a:cubicBezTo>
                  <a:pt x="9750" y="5250"/>
                  <a:pt x="9750" y="5250"/>
                  <a:pt x="9719" y="5219"/>
                </a:cubicBezTo>
                <a:cubicBezTo>
                  <a:pt x="9719" y="5219"/>
                  <a:pt x="9687" y="5219"/>
                  <a:pt x="9656" y="5219"/>
                </a:cubicBezTo>
                <a:cubicBezTo>
                  <a:pt x="9656" y="5219"/>
                  <a:pt x="9656" y="5188"/>
                  <a:pt x="9625" y="5188"/>
                </a:cubicBezTo>
                <a:cubicBezTo>
                  <a:pt x="9469" y="5094"/>
                  <a:pt x="9312" y="5000"/>
                  <a:pt x="9125" y="4907"/>
                </a:cubicBezTo>
                <a:cubicBezTo>
                  <a:pt x="8750" y="4688"/>
                  <a:pt x="8375" y="4500"/>
                  <a:pt x="8000" y="4313"/>
                </a:cubicBezTo>
                <a:cubicBezTo>
                  <a:pt x="7844" y="4250"/>
                  <a:pt x="7688" y="4157"/>
                  <a:pt x="7500" y="4157"/>
                </a:cubicBezTo>
                <a:cubicBezTo>
                  <a:pt x="7469" y="4157"/>
                  <a:pt x="7438" y="4157"/>
                  <a:pt x="7406" y="4125"/>
                </a:cubicBezTo>
                <a:cubicBezTo>
                  <a:pt x="7188" y="4063"/>
                  <a:pt x="7000" y="3938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875"/>
                  <a:pt x="6750" y="3875"/>
                  <a:pt x="6750" y="3875"/>
                </a:cubicBezTo>
                <a:cubicBezTo>
                  <a:pt x="6750" y="3907"/>
                  <a:pt x="6781" y="3938"/>
                  <a:pt x="6844" y="3969"/>
                </a:cubicBezTo>
                <a:cubicBezTo>
                  <a:pt x="7031" y="4063"/>
                  <a:pt x="7250" y="4188"/>
                  <a:pt x="7469" y="4282"/>
                </a:cubicBezTo>
                <a:cubicBezTo>
                  <a:pt x="7844" y="4438"/>
                  <a:pt x="8156" y="4625"/>
                  <a:pt x="8500" y="4813"/>
                </a:cubicBezTo>
                <a:cubicBezTo>
                  <a:pt x="8562" y="4844"/>
                  <a:pt x="8625" y="4907"/>
                  <a:pt x="8719" y="4907"/>
                </a:cubicBezTo>
                <a:cubicBezTo>
                  <a:pt x="8719" y="4907"/>
                  <a:pt x="8719" y="4907"/>
                  <a:pt x="8750" y="4907"/>
                </a:cubicBezTo>
                <a:cubicBezTo>
                  <a:pt x="8750" y="4938"/>
                  <a:pt x="8750" y="4938"/>
                  <a:pt x="8750" y="4938"/>
                </a:cubicBezTo>
                <a:cubicBezTo>
                  <a:pt x="8750" y="4938"/>
                  <a:pt x="8781" y="4969"/>
                  <a:pt x="8781" y="4969"/>
                </a:cubicBezTo>
                <a:cubicBezTo>
                  <a:pt x="8781" y="4969"/>
                  <a:pt x="8812" y="4969"/>
                  <a:pt x="8812" y="4969"/>
                </a:cubicBezTo>
                <a:cubicBezTo>
                  <a:pt x="8969" y="5032"/>
                  <a:pt x="9125" y="5125"/>
                  <a:pt x="9281" y="5188"/>
                </a:cubicBezTo>
                <a:cubicBezTo>
                  <a:pt x="9844" y="5500"/>
                  <a:pt x="10375" y="5813"/>
                  <a:pt x="10875" y="6125"/>
                </a:cubicBezTo>
                <a:cubicBezTo>
                  <a:pt x="10875" y="6157"/>
                  <a:pt x="10812" y="6157"/>
                  <a:pt x="10781" y="6157"/>
                </a:cubicBezTo>
                <a:cubicBezTo>
                  <a:pt x="10750" y="6157"/>
                  <a:pt x="10719" y="6125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87" y="6157"/>
                </a:cubicBezTo>
                <a:cubicBezTo>
                  <a:pt x="10687" y="6157"/>
                  <a:pt x="10687" y="6157"/>
                  <a:pt x="10656" y="6157"/>
                </a:cubicBezTo>
                <a:cubicBezTo>
                  <a:pt x="10656" y="6157"/>
                  <a:pt x="10656" y="6157"/>
                  <a:pt x="10656" y="6157"/>
                </a:cubicBezTo>
                <a:cubicBezTo>
                  <a:pt x="10656" y="6157"/>
                  <a:pt x="10656" y="6157"/>
                  <a:pt x="10656" y="6125"/>
                </a:cubicBezTo>
                <a:cubicBezTo>
                  <a:pt x="10656" y="6125"/>
                  <a:pt x="10625" y="6125"/>
                  <a:pt x="10625" y="6094"/>
                </a:cubicBezTo>
                <a:cubicBezTo>
                  <a:pt x="10281" y="5938"/>
                  <a:pt x="9969" y="5750"/>
                  <a:pt x="9656" y="5563"/>
                </a:cubicBezTo>
                <a:cubicBezTo>
                  <a:pt x="9312" y="5375"/>
                  <a:pt x="8937" y="5219"/>
                  <a:pt x="8594" y="5032"/>
                </a:cubicBezTo>
                <a:cubicBezTo>
                  <a:pt x="8437" y="4938"/>
                  <a:pt x="8250" y="4844"/>
                  <a:pt x="8094" y="4750"/>
                </a:cubicBezTo>
                <a:cubicBezTo>
                  <a:pt x="7844" y="4657"/>
                  <a:pt x="7625" y="4532"/>
                  <a:pt x="7375" y="4438"/>
                </a:cubicBezTo>
                <a:cubicBezTo>
                  <a:pt x="7188" y="4344"/>
                  <a:pt x="6969" y="4250"/>
                  <a:pt x="6750" y="4157"/>
                </a:cubicBezTo>
                <a:cubicBezTo>
                  <a:pt x="6688" y="4125"/>
                  <a:pt x="6594" y="4188"/>
                  <a:pt x="6500" y="4094"/>
                </a:cubicBezTo>
                <a:cubicBezTo>
                  <a:pt x="6344" y="3938"/>
                  <a:pt x="6125" y="3875"/>
                  <a:pt x="5906" y="3782"/>
                </a:cubicBezTo>
                <a:cubicBezTo>
                  <a:pt x="5875" y="3750"/>
                  <a:pt x="5844" y="3750"/>
                  <a:pt x="5813" y="3782"/>
                </a:cubicBezTo>
                <a:cubicBezTo>
                  <a:pt x="5813" y="3813"/>
                  <a:pt x="5875" y="3782"/>
                  <a:pt x="5844" y="3844"/>
                </a:cubicBezTo>
                <a:cubicBezTo>
                  <a:pt x="5813" y="3844"/>
                  <a:pt x="5750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88" y="3813"/>
                  <a:pt x="5688" y="3813"/>
                  <a:pt x="5688" y="3813"/>
                </a:cubicBezTo>
                <a:cubicBezTo>
                  <a:pt x="5656" y="3813"/>
                  <a:pt x="5625" y="3813"/>
                  <a:pt x="5594" y="3782"/>
                </a:cubicBezTo>
                <a:cubicBezTo>
                  <a:pt x="5594" y="3782"/>
                  <a:pt x="5563" y="3782"/>
                  <a:pt x="5563" y="3782"/>
                </a:cubicBezTo>
                <a:cubicBezTo>
                  <a:pt x="5094" y="3532"/>
                  <a:pt x="4594" y="3407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94" y="3219"/>
                  <a:pt x="4094" y="3219"/>
                </a:cubicBezTo>
                <a:cubicBezTo>
                  <a:pt x="4094" y="3219"/>
                  <a:pt x="4063" y="3219"/>
                  <a:pt x="4063" y="3219"/>
                </a:cubicBezTo>
                <a:cubicBezTo>
                  <a:pt x="4063" y="3219"/>
                  <a:pt x="4031" y="3188"/>
                  <a:pt x="4000" y="3188"/>
                </a:cubicBezTo>
                <a:cubicBezTo>
                  <a:pt x="4000" y="3157"/>
                  <a:pt x="3969" y="3157"/>
                  <a:pt x="3938" y="3157"/>
                </a:cubicBezTo>
                <a:cubicBezTo>
                  <a:pt x="3656" y="3032"/>
                  <a:pt x="3375" y="3000"/>
                  <a:pt x="3094" y="2907"/>
                </a:cubicBezTo>
                <a:cubicBezTo>
                  <a:pt x="2906" y="2844"/>
                  <a:pt x="2719" y="2750"/>
                  <a:pt x="2500" y="2719"/>
                </a:cubicBezTo>
                <a:cubicBezTo>
                  <a:pt x="2344" y="2688"/>
                  <a:pt x="2188" y="2688"/>
                  <a:pt x="2031" y="2688"/>
                </a:cubicBezTo>
                <a:cubicBezTo>
                  <a:pt x="2188" y="2750"/>
                  <a:pt x="2375" y="2782"/>
                  <a:pt x="2563" y="2844"/>
                </a:cubicBezTo>
                <a:cubicBezTo>
                  <a:pt x="2969" y="2969"/>
                  <a:pt x="3344" y="3094"/>
                  <a:pt x="3719" y="3219"/>
                </a:cubicBezTo>
                <a:cubicBezTo>
                  <a:pt x="3844" y="3219"/>
                  <a:pt x="3906" y="3282"/>
                  <a:pt x="4031" y="3282"/>
                </a:cubicBezTo>
                <a:cubicBezTo>
                  <a:pt x="4375" y="3407"/>
                  <a:pt x="4750" y="3532"/>
                  <a:pt x="5094" y="3657"/>
                </a:cubicBezTo>
                <a:cubicBezTo>
                  <a:pt x="5219" y="3688"/>
                  <a:pt x="5344" y="3750"/>
                  <a:pt x="5469" y="3813"/>
                </a:cubicBezTo>
                <a:cubicBezTo>
                  <a:pt x="5531" y="3844"/>
                  <a:pt x="5625" y="3844"/>
                  <a:pt x="5688" y="3875"/>
                </a:cubicBezTo>
                <a:cubicBezTo>
                  <a:pt x="5688" y="3875"/>
                  <a:pt x="5688" y="3875"/>
                  <a:pt x="5688" y="3875"/>
                </a:cubicBezTo>
                <a:cubicBezTo>
                  <a:pt x="5688" y="3875"/>
                  <a:pt x="5688" y="3875"/>
                  <a:pt x="5688" y="3907"/>
                </a:cubicBezTo>
                <a:cubicBezTo>
                  <a:pt x="5719" y="3938"/>
                  <a:pt x="5750" y="3938"/>
                  <a:pt x="5813" y="3969"/>
                </a:cubicBezTo>
                <a:cubicBezTo>
                  <a:pt x="5813" y="3969"/>
                  <a:pt x="5844" y="3969"/>
                  <a:pt x="5875" y="3969"/>
                </a:cubicBezTo>
                <a:cubicBezTo>
                  <a:pt x="6281" y="4157"/>
                  <a:pt x="6656" y="4313"/>
                  <a:pt x="7063" y="4500"/>
                </a:cubicBezTo>
                <a:cubicBezTo>
                  <a:pt x="7438" y="4657"/>
                  <a:pt x="7813" y="4813"/>
                  <a:pt x="8187" y="5032"/>
                </a:cubicBezTo>
                <a:cubicBezTo>
                  <a:pt x="8250" y="5063"/>
                  <a:pt x="8312" y="5125"/>
                  <a:pt x="8406" y="5094"/>
                </a:cubicBezTo>
                <a:cubicBezTo>
                  <a:pt x="8406" y="5094"/>
                  <a:pt x="8437" y="5125"/>
                  <a:pt x="8437" y="5125"/>
                </a:cubicBezTo>
                <a:cubicBezTo>
                  <a:pt x="8437" y="5125"/>
                  <a:pt x="8437" y="5125"/>
                  <a:pt x="8437" y="5125"/>
                </a:cubicBezTo>
                <a:cubicBezTo>
                  <a:pt x="8437" y="5157"/>
                  <a:pt x="8469" y="5157"/>
                  <a:pt x="8500" y="5157"/>
                </a:cubicBezTo>
                <a:cubicBezTo>
                  <a:pt x="8531" y="5188"/>
                  <a:pt x="8531" y="5188"/>
                  <a:pt x="8562" y="5188"/>
                </a:cubicBezTo>
                <a:cubicBezTo>
                  <a:pt x="8562" y="5188"/>
                  <a:pt x="8562" y="5219"/>
                  <a:pt x="8562" y="5219"/>
                </a:cubicBezTo>
                <a:cubicBezTo>
                  <a:pt x="8562" y="5219"/>
                  <a:pt x="8562" y="5219"/>
                  <a:pt x="8562" y="5219"/>
                </a:cubicBezTo>
                <a:cubicBezTo>
                  <a:pt x="8594" y="5219"/>
                  <a:pt x="8594" y="5219"/>
                  <a:pt x="8594" y="5219"/>
                </a:cubicBezTo>
                <a:cubicBezTo>
                  <a:pt x="8687" y="5250"/>
                  <a:pt x="8750" y="5313"/>
                  <a:pt x="8844" y="5344"/>
                </a:cubicBezTo>
                <a:cubicBezTo>
                  <a:pt x="8937" y="5407"/>
                  <a:pt x="9031" y="5438"/>
                  <a:pt x="9125" y="5500"/>
                </a:cubicBezTo>
                <a:cubicBezTo>
                  <a:pt x="9312" y="5594"/>
                  <a:pt x="9469" y="5657"/>
                  <a:pt x="9625" y="5782"/>
                </a:cubicBezTo>
                <a:cubicBezTo>
                  <a:pt x="9625" y="5782"/>
                  <a:pt x="9625" y="5782"/>
                  <a:pt x="9656" y="5782"/>
                </a:cubicBezTo>
                <a:cubicBezTo>
                  <a:pt x="9656" y="5813"/>
                  <a:pt x="9656" y="5813"/>
                  <a:pt x="9687" y="5813"/>
                </a:cubicBezTo>
                <a:cubicBezTo>
                  <a:pt x="9719" y="5813"/>
                  <a:pt x="9750" y="5813"/>
                  <a:pt x="9750" y="5844"/>
                </a:cubicBezTo>
                <a:cubicBezTo>
                  <a:pt x="9750" y="5844"/>
                  <a:pt x="9781" y="5844"/>
                  <a:pt x="9781" y="5844"/>
                </a:cubicBezTo>
                <a:cubicBezTo>
                  <a:pt x="9781" y="5875"/>
                  <a:pt x="9781" y="5907"/>
                  <a:pt x="9812" y="5907"/>
                </a:cubicBezTo>
                <a:cubicBezTo>
                  <a:pt x="9812" y="5907"/>
                  <a:pt x="9844" y="5907"/>
                  <a:pt x="9844" y="5907"/>
                </a:cubicBezTo>
                <a:cubicBezTo>
                  <a:pt x="9844" y="5907"/>
                  <a:pt x="9875" y="5907"/>
                  <a:pt x="9875" y="5907"/>
                </a:cubicBezTo>
                <a:cubicBezTo>
                  <a:pt x="9875" y="5938"/>
                  <a:pt x="9875" y="5938"/>
                  <a:pt x="9906" y="5938"/>
                </a:cubicBezTo>
                <a:cubicBezTo>
                  <a:pt x="9906" y="5938"/>
                  <a:pt x="9906" y="5969"/>
                  <a:pt x="9906" y="5969"/>
                </a:cubicBezTo>
                <a:cubicBezTo>
                  <a:pt x="10031" y="6000"/>
                  <a:pt x="10156" y="6094"/>
                  <a:pt x="10250" y="6157"/>
                </a:cubicBezTo>
                <a:cubicBezTo>
                  <a:pt x="10375" y="6188"/>
                  <a:pt x="10437" y="6282"/>
                  <a:pt x="10562" y="6282"/>
                </a:cubicBezTo>
                <a:cubicBezTo>
                  <a:pt x="10562" y="6313"/>
                  <a:pt x="10562" y="6344"/>
                  <a:pt x="10594" y="6344"/>
                </a:cubicBezTo>
                <a:cubicBezTo>
                  <a:pt x="10594" y="6344"/>
                  <a:pt x="10594" y="6344"/>
                  <a:pt x="10594" y="6344"/>
                </a:cubicBezTo>
                <a:cubicBezTo>
                  <a:pt x="10625" y="6375"/>
                  <a:pt x="10656" y="6407"/>
                  <a:pt x="10687" y="6407"/>
                </a:cubicBezTo>
                <a:cubicBezTo>
                  <a:pt x="10687" y="6407"/>
                  <a:pt x="10687" y="6407"/>
                  <a:pt x="10687" y="6407"/>
                </a:cubicBezTo>
                <a:cubicBezTo>
                  <a:pt x="10719" y="6407"/>
                  <a:pt x="10719" y="6407"/>
                  <a:pt x="10719" y="6438"/>
                </a:cubicBezTo>
                <a:cubicBezTo>
                  <a:pt x="10750" y="6438"/>
                  <a:pt x="10781" y="6438"/>
                  <a:pt x="10812" y="6407"/>
                </a:cubicBezTo>
                <a:cubicBezTo>
                  <a:pt x="10844" y="6407"/>
                  <a:pt x="10875" y="6438"/>
                  <a:pt x="10906" y="6469"/>
                </a:cubicBezTo>
                <a:cubicBezTo>
                  <a:pt x="10906" y="6469"/>
                  <a:pt x="10906" y="6469"/>
                  <a:pt x="10906" y="6469"/>
                </a:cubicBezTo>
                <a:cubicBezTo>
                  <a:pt x="10906" y="6469"/>
                  <a:pt x="10906" y="6500"/>
                  <a:pt x="10906" y="6500"/>
                </a:cubicBezTo>
                <a:cubicBezTo>
                  <a:pt x="10906" y="6500"/>
                  <a:pt x="10906" y="6532"/>
                  <a:pt x="10937" y="6532"/>
                </a:cubicBezTo>
                <a:cubicBezTo>
                  <a:pt x="10937" y="6563"/>
                  <a:pt x="10937" y="6563"/>
                  <a:pt x="10969" y="6563"/>
                </a:cubicBezTo>
                <a:cubicBezTo>
                  <a:pt x="10969" y="6563"/>
                  <a:pt x="10969" y="6563"/>
                  <a:pt x="10969" y="6563"/>
                </a:cubicBezTo>
                <a:cubicBezTo>
                  <a:pt x="11000" y="6594"/>
                  <a:pt x="11062" y="6657"/>
                  <a:pt x="11156" y="6625"/>
                </a:cubicBezTo>
                <a:cubicBezTo>
                  <a:pt x="11156" y="6594"/>
                  <a:pt x="11250" y="6594"/>
                  <a:pt x="11250" y="6657"/>
                </a:cubicBezTo>
                <a:cubicBezTo>
                  <a:pt x="11250" y="6719"/>
                  <a:pt x="11281" y="6750"/>
                  <a:pt x="11344" y="6782"/>
                </a:cubicBezTo>
                <a:cubicBezTo>
                  <a:pt x="11437" y="6844"/>
                  <a:pt x="11500" y="6875"/>
                  <a:pt x="11594" y="6907"/>
                </a:cubicBezTo>
                <a:cubicBezTo>
                  <a:pt x="11906" y="7125"/>
                  <a:pt x="12187" y="7313"/>
                  <a:pt x="12500" y="7532"/>
                </a:cubicBezTo>
                <a:cubicBezTo>
                  <a:pt x="12875" y="7782"/>
                  <a:pt x="13250" y="8032"/>
                  <a:pt x="13625" y="8313"/>
                </a:cubicBezTo>
                <a:cubicBezTo>
                  <a:pt x="13844" y="8469"/>
                  <a:pt x="14094" y="8594"/>
                  <a:pt x="14281" y="8813"/>
                </a:cubicBezTo>
                <a:cubicBezTo>
                  <a:pt x="14219" y="8844"/>
                  <a:pt x="14187" y="8844"/>
                  <a:pt x="14125" y="8782"/>
                </a:cubicBezTo>
                <a:cubicBezTo>
                  <a:pt x="14094" y="8750"/>
                  <a:pt x="14062" y="8750"/>
                  <a:pt x="14031" y="8782"/>
                </a:cubicBezTo>
                <a:cubicBezTo>
                  <a:pt x="14031" y="8750"/>
                  <a:pt x="14031" y="8750"/>
                  <a:pt x="14000" y="8750"/>
                </a:cubicBezTo>
                <a:cubicBezTo>
                  <a:pt x="14031" y="8719"/>
                  <a:pt x="14031" y="8719"/>
                  <a:pt x="14000" y="8719"/>
                </a:cubicBezTo>
                <a:cubicBezTo>
                  <a:pt x="14000" y="8719"/>
                  <a:pt x="14000" y="8719"/>
                  <a:pt x="14000" y="8719"/>
                </a:cubicBezTo>
                <a:cubicBezTo>
                  <a:pt x="14000" y="8719"/>
                  <a:pt x="13969" y="8719"/>
                  <a:pt x="13969" y="8719"/>
                </a:cubicBezTo>
                <a:cubicBezTo>
                  <a:pt x="13969" y="8719"/>
                  <a:pt x="13937" y="8719"/>
                  <a:pt x="13937" y="8719"/>
                </a:cubicBezTo>
                <a:cubicBezTo>
                  <a:pt x="13937" y="8719"/>
                  <a:pt x="13937" y="8688"/>
                  <a:pt x="13937" y="8688"/>
                </a:cubicBezTo>
                <a:cubicBezTo>
                  <a:pt x="13937" y="8688"/>
                  <a:pt x="13937" y="8688"/>
                  <a:pt x="13937" y="8688"/>
                </a:cubicBezTo>
                <a:cubicBezTo>
                  <a:pt x="13937" y="8657"/>
                  <a:pt x="13937" y="8657"/>
                  <a:pt x="13906" y="8657"/>
                </a:cubicBezTo>
                <a:cubicBezTo>
                  <a:pt x="13906" y="8657"/>
                  <a:pt x="13875" y="8657"/>
                  <a:pt x="13875" y="8657"/>
                </a:cubicBezTo>
                <a:cubicBezTo>
                  <a:pt x="13875" y="8657"/>
                  <a:pt x="13875" y="8657"/>
                  <a:pt x="13875" y="8625"/>
                </a:cubicBezTo>
                <a:cubicBezTo>
                  <a:pt x="13875" y="8594"/>
                  <a:pt x="13875" y="8625"/>
                  <a:pt x="13844" y="8625"/>
                </a:cubicBezTo>
                <a:cubicBezTo>
                  <a:pt x="13844" y="8625"/>
                  <a:pt x="13812" y="8625"/>
                  <a:pt x="13812" y="8625"/>
                </a:cubicBezTo>
                <a:cubicBezTo>
                  <a:pt x="13812" y="8594"/>
                  <a:pt x="13812" y="8594"/>
                  <a:pt x="13812" y="8594"/>
                </a:cubicBezTo>
                <a:cubicBezTo>
                  <a:pt x="13812" y="8594"/>
                  <a:pt x="13812" y="8594"/>
                  <a:pt x="13812" y="8563"/>
                </a:cubicBezTo>
                <a:cubicBezTo>
                  <a:pt x="13812" y="8563"/>
                  <a:pt x="13781" y="8563"/>
                  <a:pt x="13781" y="8563"/>
                </a:cubicBezTo>
                <a:cubicBezTo>
                  <a:pt x="13750" y="8563"/>
                  <a:pt x="13750" y="8563"/>
                  <a:pt x="13750" y="8563"/>
                </a:cubicBezTo>
                <a:cubicBezTo>
                  <a:pt x="13750" y="8563"/>
                  <a:pt x="13750" y="8532"/>
                  <a:pt x="13750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719" y="8532"/>
                  <a:pt x="13719" y="8532"/>
                  <a:pt x="13719" y="8532"/>
                </a:cubicBezTo>
                <a:cubicBezTo>
                  <a:pt x="13687" y="8532"/>
                  <a:pt x="13687" y="8532"/>
                  <a:pt x="13687" y="8532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500"/>
                  <a:pt x="13687" y="8500"/>
                  <a:pt x="13687" y="8500"/>
                </a:cubicBezTo>
                <a:cubicBezTo>
                  <a:pt x="13687" y="8469"/>
                  <a:pt x="13656" y="8469"/>
                  <a:pt x="13625" y="8500"/>
                </a:cubicBezTo>
                <a:cubicBezTo>
                  <a:pt x="13594" y="8469"/>
                  <a:pt x="13562" y="8438"/>
                  <a:pt x="13500" y="8407"/>
                </a:cubicBezTo>
                <a:cubicBezTo>
                  <a:pt x="13281" y="8250"/>
                  <a:pt x="13062" y="8094"/>
                  <a:pt x="12844" y="7938"/>
                </a:cubicBezTo>
                <a:cubicBezTo>
                  <a:pt x="12844" y="7938"/>
                  <a:pt x="12812" y="7907"/>
                  <a:pt x="12812" y="7907"/>
                </a:cubicBezTo>
                <a:cubicBezTo>
                  <a:pt x="12531" y="7719"/>
                  <a:pt x="12250" y="7532"/>
                  <a:pt x="11969" y="7344"/>
                </a:cubicBezTo>
                <a:cubicBezTo>
                  <a:pt x="11812" y="7250"/>
                  <a:pt x="11625" y="7157"/>
                  <a:pt x="11437" y="7032"/>
                </a:cubicBezTo>
                <a:cubicBezTo>
                  <a:pt x="11344" y="6938"/>
                  <a:pt x="11219" y="6844"/>
                  <a:pt x="11031" y="6907"/>
                </a:cubicBezTo>
                <a:cubicBezTo>
                  <a:pt x="11031" y="6907"/>
                  <a:pt x="11031" y="6907"/>
                  <a:pt x="11031" y="6907"/>
                </a:cubicBezTo>
                <a:cubicBezTo>
                  <a:pt x="11000" y="6907"/>
                  <a:pt x="11000" y="6907"/>
                  <a:pt x="10969" y="6875"/>
                </a:cubicBezTo>
                <a:cubicBezTo>
                  <a:pt x="11000" y="6844"/>
                  <a:pt x="11000" y="6813"/>
                  <a:pt x="11000" y="6782"/>
                </a:cubicBezTo>
                <a:cubicBezTo>
                  <a:pt x="11000" y="6750"/>
                  <a:pt x="10969" y="6750"/>
                  <a:pt x="10969" y="6719"/>
                </a:cubicBezTo>
                <a:cubicBezTo>
                  <a:pt x="10937" y="6719"/>
                  <a:pt x="10937" y="6719"/>
                  <a:pt x="10937" y="6688"/>
                </a:cubicBezTo>
                <a:cubicBezTo>
                  <a:pt x="10844" y="6657"/>
                  <a:pt x="10750" y="6594"/>
                  <a:pt x="10687" y="6563"/>
                </a:cubicBezTo>
                <a:cubicBezTo>
                  <a:pt x="10562" y="6500"/>
                  <a:pt x="10562" y="6500"/>
                  <a:pt x="10562" y="6625"/>
                </a:cubicBezTo>
                <a:cubicBezTo>
                  <a:pt x="9719" y="6094"/>
                  <a:pt x="8812" y="5657"/>
                  <a:pt x="7906" y="5219"/>
                </a:cubicBezTo>
                <a:cubicBezTo>
                  <a:pt x="7906" y="5282"/>
                  <a:pt x="7937" y="5282"/>
                  <a:pt x="7969" y="5313"/>
                </a:cubicBezTo>
                <a:cubicBezTo>
                  <a:pt x="8219" y="5438"/>
                  <a:pt x="8500" y="5563"/>
                  <a:pt x="8750" y="5719"/>
                </a:cubicBezTo>
                <a:cubicBezTo>
                  <a:pt x="9156" y="5938"/>
                  <a:pt x="9562" y="6188"/>
                  <a:pt x="9969" y="6375"/>
                </a:cubicBezTo>
                <a:cubicBezTo>
                  <a:pt x="10187" y="6469"/>
                  <a:pt x="10344" y="6657"/>
                  <a:pt x="10531" y="6750"/>
                </a:cubicBezTo>
                <a:cubicBezTo>
                  <a:pt x="10625" y="6782"/>
                  <a:pt x="10594" y="6875"/>
                  <a:pt x="10562" y="6938"/>
                </a:cubicBezTo>
                <a:cubicBezTo>
                  <a:pt x="10531" y="7000"/>
                  <a:pt x="10500" y="6907"/>
                  <a:pt x="10437" y="6907"/>
                </a:cubicBezTo>
                <a:cubicBezTo>
                  <a:pt x="10281" y="6782"/>
                  <a:pt x="10125" y="6657"/>
                  <a:pt x="9937" y="6563"/>
                </a:cubicBezTo>
                <a:cubicBezTo>
                  <a:pt x="9719" y="6469"/>
                  <a:pt x="9500" y="6375"/>
                  <a:pt x="9281" y="6282"/>
                </a:cubicBezTo>
                <a:cubicBezTo>
                  <a:pt x="9187" y="6219"/>
                  <a:pt x="9094" y="6188"/>
                  <a:pt x="9031" y="6094"/>
                </a:cubicBezTo>
                <a:cubicBezTo>
                  <a:pt x="9062" y="6094"/>
                  <a:pt x="9094" y="6125"/>
                  <a:pt x="9125" y="6125"/>
                </a:cubicBezTo>
                <a:cubicBezTo>
                  <a:pt x="9125" y="6125"/>
                  <a:pt x="9125" y="6125"/>
                  <a:pt x="9156" y="6125"/>
                </a:cubicBezTo>
                <a:cubicBezTo>
                  <a:pt x="9156" y="6157"/>
                  <a:pt x="9187" y="6157"/>
                  <a:pt x="9187" y="6157"/>
                </a:cubicBezTo>
                <a:cubicBezTo>
                  <a:pt x="9250" y="6188"/>
                  <a:pt x="9312" y="6219"/>
                  <a:pt x="9375" y="6219"/>
                </a:cubicBezTo>
                <a:cubicBezTo>
                  <a:pt x="9375" y="6219"/>
                  <a:pt x="9375" y="6219"/>
                  <a:pt x="9375" y="6219"/>
                </a:cubicBezTo>
                <a:cubicBezTo>
                  <a:pt x="9375" y="6219"/>
                  <a:pt x="9375" y="6250"/>
                  <a:pt x="9375" y="6250"/>
                </a:cubicBezTo>
                <a:cubicBezTo>
                  <a:pt x="9375" y="6250"/>
                  <a:pt x="9375" y="6219"/>
                  <a:pt x="9375" y="6219"/>
                </a:cubicBezTo>
                <a:cubicBezTo>
                  <a:pt x="9375" y="6188"/>
                  <a:pt x="9375" y="6157"/>
                  <a:pt x="9312" y="6125"/>
                </a:cubicBezTo>
                <a:cubicBezTo>
                  <a:pt x="9156" y="6000"/>
                  <a:pt x="8969" y="5938"/>
                  <a:pt x="8781" y="5844"/>
                </a:cubicBezTo>
                <a:cubicBezTo>
                  <a:pt x="8406" y="5657"/>
                  <a:pt x="8000" y="5469"/>
                  <a:pt x="7625" y="5282"/>
                </a:cubicBezTo>
                <a:cubicBezTo>
                  <a:pt x="7094" y="5000"/>
                  <a:pt x="6563" y="4782"/>
                  <a:pt x="6031" y="4563"/>
                </a:cubicBezTo>
                <a:cubicBezTo>
                  <a:pt x="5750" y="4438"/>
                  <a:pt x="5438" y="4313"/>
                  <a:pt x="5125" y="4188"/>
                </a:cubicBezTo>
                <a:cubicBezTo>
                  <a:pt x="4781" y="4063"/>
                  <a:pt x="4438" y="3938"/>
                  <a:pt x="4063" y="3813"/>
                </a:cubicBezTo>
                <a:cubicBezTo>
                  <a:pt x="3750" y="3688"/>
                  <a:pt x="3438" y="3594"/>
                  <a:pt x="3125" y="3500"/>
                </a:cubicBezTo>
                <a:cubicBezTo>
                  <a:pt x="3000" y="3469"/>
                  <a:pt x="2875" y="3438"/>
                  <a:pt x="2750" y="3438"/>
                </a:cubicBezTo>
                <a:cubicBezTo>
                  <a:pt x="3250" y="3657"/>
                  <a:pt x="3781" y="3782"/>
                  <a:pt x="4281" y="3969"/>
                </a:cubicBezTo>
                <a:cubicBezTo>
                  <a:pt x="4781" y="4157"/>
                  <a:pt x="5313" y="4344"/>
                  <a:pt x="5813" y="4563"/>
                </a:cubicBezTo>
                <a:cubicBezTo>
                  <a:pt x="6313" y="4782"/>
                  <a:pt x="6813" y="4938"/>
                  <a:pt x="7281" y="5250"/>
                </a:cubicBezTo>
                <a:cubicBezTo>
                  <a:pt x="6875" y="5063"/>
                  <a:pt x="6469" y="4938"/>
                  <a:pt x="6063" y="4750"/>
                </a:cubicBezTo>
                <a:cubicBezTo>
                  <a:pt x="6094" y="4813"/>
                  <a:pt x="6125" y="4844"/>
                  <a:pt x="6188" y="4875"/>
                </a:cubicBezTo>
                <a:cubicBezTo>
                  <a:pt x="6594" y="5094"/>
                  <a:pt x="7000" y="5313"/>
                  <a:pt x="7438" y="5500"/>
                </a:cubicBezTo>
                <a:cubicBezTo>
                  <a:pt x="7906" y="5719"/>
                  <a:pt x="8375" y="5969"/>
                  <a:pt x="8844" y="6219"/>
                </a:cubicBezTo>
                <a:cubicBezTo>
                  <a:pt x="8875" y="6219"/>
                  <a:pt x="8906" y="6250"/>
                  <a:pt x="8937" y="6250"/>
                </a:cubicBezTo>
                <a:cubicBezTo>
                  <a:pt x="8937" y="6282"/>
                  <a:pt x="8969" y="6282"/>
                  <a:pt x="9000" y="6313"/>
                </a:cubicBezTo>
                <a:cubicBezTo>
                  <a:pt x="9000" y="6313"/>
                  <a:pt x="9031" y="6313"/>
                  <a:pt x="9031" y="6313"/>
                </a:cubicBezTo>
                <a:cubicBezTo>
                  <a:pt x="9062" y="6344"/>
                  <a:pt x="9125" y="6344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87" y="6375"/>
                  <a:pt x="9187" y="6407"/>
                  <a:pt x="9187" y="6407"/>
                </a:cubicBezTo>
                <a:cubicBezTo>
                  <a:pt x="9219" y="6407"/>
                  <a:pt x="9219" y="6407"/>
                  <a:pt x="9219" y="6407"/>
                </a:cubicBezTo>
                <a:cubicBezTo>
                  <a:pt x="9250" y="6438"/>
                  <a:pt x="9312" y="6438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500"/>
                  <a:pt x="9375" y="6500"/>
                  <a:pt x="9375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531" y="6625"/>
                  <a:pt x="9687" y="6657"/>
                  <a:pt x="9812" y="6750"/>
                </a:cubicBezTo>
                <a:cubicBezTo>
                  <a:pt x="9781" y="6719"/>
                  <a:pt x="9719" y="6657"/>
                  <a:pt x="9687" y="6625"/>
                </a:cubicBezTo>
                <a:cubicBezTo>
                  <a:pt x="9594" y="6594"/>
                  <a:pt x="9500" y="6532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406" y="6500"/>
                  <a:pt x="9406" y="6500"/>
                  <a:pt x="9406" y="6500"/>
                </a:cubicBezTo>
                <a:cubicBezTo>
                  <a:pt x="9375" y="6469"/>
                  <a:pt x="9375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44" y="6469"/>
                  <a:pt x="9344" y="6469"/>
                  <a:pt x="9344" y="6469"/>
                </a:cubicBezTo>
                <a:cubicBezTo>
                  <a:pt x="9312" y="6438"/>
                  <a:pt x="9281" y="6407"/>
                  <a:pt x="9250" y="6375"/>
                </a:cubicBezTo>
                <a:cubicBezTo>
                  <a:pt x="9219" y="6375"/>
                  <a:pt x="9219" y="6375"/>
                  <a:pt x="9219" y="6375"/>
                </a:cubicBezTo>
                <a:cubicBezTo>
                  <a:pt x="9187" y="6375"/>
                  <a:pt x="9187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75"/>
                  <a:pt x="9156" y="6375"/>
                  <a:pt x="9156" y="6375"/>
                </a:cubicBezTo>
                <a:cubicBezTo>
                  <a:pt x="9156" y="6344"/>
                  <a:pt x="9156" y="6313"/>
                  <a:pt x="9125" y="6313"/>
                </a:cubicBezTo>
                <a:cubicBezTo>
                  <a:pt x="9094" y="6282"/>
                  <a:pt x="9062" y="6282"/>
                  <a:pt x="9062" y="6250"/>
                </a:cubicBezTo>
                <a:cubicBezTo>
                  <a:pt x="9062" y="6250"/>
                  <a:pt x="9062" y="6219"/>
                  <a:pt x="9094" y="6250"/>
                </a:cubicBezTo>
                <a:cubicBezTo>
                  <a:pt x="9406" y="6407"/>
                  <a:pt x="9719" y="6563"/>
                  <a:pt x="10031" y="6719"/>
                </a:cubicBezTo>
                <a:cubicBezTo>
                  <a:pt x="10187" y="6813"/>
                  <a:pt x="10312" y="6938"/>
                  <a:pt x="10469" y="7032"/>
                </a:cubicBezTo>
                <a:cubicBezTo>
                  <a:pt x="10875" y="7219"/>
                  <a:pt x="11250" y="7438"/>
                  <a:pt x="11594" y="7688"/>
                </a:cubicBezTo>
                <a:cubicBezTo>
                  <a:pt x="11906" y="7844"/>
                  <a:pt x="12219" y="8063"/>
                  <a:pt x="12500" y="8250"/>
                </a:cubicBezTo>
                <a:cubicBezTo>
                  <a:pt x="12656" y="8344"/>
                  <a:pt x="12812" y="8438"/>
                  <a:pt x="12937" y="8563"/>
                </a:cubicBezTo>
                <a:cubicBezTo>
                  <a:pt x="12812" y="8500"/>
                  <a:pt x="12687" y="8438"/>
                  <a:pt x="12562" y="8375"/>
                </a:cubicBezTo>
                <a:cubicBezTo>
                  <a:pt x="12562" y="8407"/>
                  <a:pt x="12562" y="8407"/>
                  <a:pt x="12594" y="8438"/>
                </a:cubicBezTo>
                <a:cubicBezTo>
                  <a:pt x="12781" y="8563"/>
                  <a:pt x="13000" y="8688"/>
                  <a:pt x="13187" y="8844"/>
                </a:cubicBezTo>
                <a:cubicBezTo>
                  <a:pt x="13375" y="8969"/>
                  <a:pt x="13531" y="9094"/>
                  <a:pt x="13719" y="9219"/>
                </a:cubicBezTo>
                <a:cubicBezTo>
                  <a:pt x="13875" y="9313"/>
                  <a:pt x="14031" y="9407"/>
                  <a:pt x="14156" y="9532"/>
                </a:cubicBezTo>
                <a:cubicBezTo>
                  <a:pt x="14250" y="9625"/>
                  <a:pt x="14375" y="9688"/>
                  <a:pt x="14500" y="9688"/>
                </a:cubicBezTo>
                <a:cubicBezTo>
                  <a:pt x="14500" y="9688"/>
                  <a:pt x="14500" y="9688"/>
                  <a:pt x="14500" y="9688"/>
                </a:cubicBezTo>
                <a:cubicBezTo>
                  <a:pt x="14500" y="9719"/>
                  <a:pt x="14500" y="9719"/>
                  <a:pt x="14500" y="9750"/>
                </a:cubicBezTo>
                <a:cubicBezTo>
                  <a:pt x="14500" y="9750"/>
                  <a:pt x="14500" y="9750"/>
                  <a:pt x="14500" y="9750"/>
                </a:cubicBezTo>
                <a:cubicBezTo>
                  <a:pt x="14594" y="9719"/>
                  <a:pt x="14625" y="9719"/>
                  <a:pt x="14594" y="9813"/>
                </a:cubicBezTo>
                <a:cubicBezTo>
                  <a:pt x="14594" y="9875"/>
                  <a:pt x="14594" y="9938"/>
                  <a:pt x="14656" y="9938"/>
                </a:cubicBezTo>
                <a:cubicBezTo>
                  <a:pt x="14687" y="9969"/>
                  <a:pt x="14719" y="9969"/>
                  <a:pt x="14719" y="10032"/>
                </a:cubicBezTo>
                <a:cubicBezTo>
                  <a:pt x="14625" y="9969"/>
                  <a:pt x="14531" y="9907"/>
                  <a:pt x="14469" y="9844"/>
                </a:cubicBezTo>
                <a:cubicBezTo>
                  <a:pt x="14187" y="9625"/>
                  <a:pt x="13875" y="9407"/>
                  <a:pt x="13594" y="9219"/>
                </a:cubicBezTo>
                <a:cubicBezTo>
                  <a:pt x="13125" y="8907"/>
                  <a:pt x="12656" y="8563"/>
                  <a:pt x="12187" y="8282"/>
                </a:cubicBezTo>
                <a:cubicBezTo>
                  <a:pt x="11906" y="8094"/>
                  <a:pt x="11625" y="7907"/>
                  <a:pt x="11312" y="7719"/>
                </a:cubicBezTo>
                <a:cubicBezTo>
                  <a:pt x="11219" y="7688"/>
                  <a:pt x="11156" y="7594"/>
                  <a:pt x="11031" y="7594"/>
                </a:cubicBezTo>
                <a:cubicBezTo>
                  <a:pt x="11125" y="7750"/>
                  <a:pt x="11312" y="7813"/>
                  <a:pt x="11437" y="7907"/>
                </a:cubicBezTo>
                <a:cubicBezTo>
                  <a:pt x="11844" y="8157"/>
                  <a:pt x="12250" y="8344"/>
                  <a:pt x="12625" y="8625"/>
                </a:cubicBezTo>
                <a:cubicBezTo>
                  <a:pt x="12750" y="8750"/>
                  <a:pt x="12875" y="8875"/>
                  <a:pt x="13031" y="8969"/>
                </a:cubicBezTo>
                <a:cubicBezTo>
                  <a:pt x="13344" y="9188"/>
                  <a:pt x="13656" y="9407"/>
                  <a:pt x="13937" y="9625"/>
                </a:cubicBezTo>
                <a:cubicBezTo>
                  <a:pt x="13937" y="9625"/>
                  <a:pt x="13937" y="9625"/>
                  <a:pt x="13937" y="9625"/>
                </a:cubicBezTo>
                <a:cubicBezTo>
                  <a:pt x="13906" y="9625"/>
                  <a:pt x="13875" y="9625"/>
                  <a:pt x="13844" y="9594"/>
                </a:cubicBezTo>
                <a:cubicBezTo>
                  <a:pt x="13656" y="9469"/>
                  <a:pt x="13469" y="9313"/>
                  <a:pt x="13281" y="9188"/>
                </a:cubicBezTo>
                <a:cubicBezTo>
                  <a:pt x="12875" y="8938"/>
                  <a:pt x="12469" y="8657"/>
                  <a:pt x="12062" y="8407"/>
                </a:cubicBezTo>
                <a:cubicBezTo>
                  <a:pt x="12031" y="8375"/>
                  <a:pt x="12031" y="8375"/>
                  <a:pt x="12000" y="8344"/>
                </a:cubicBezTo>
                <a:cubicBezTo>
                  <a:pt x="11906" y="8282"/>
                  <a:pt x="11781" y="8188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57"/>
                  <a:pt x="11625" y="8157"/>
                  <a:pt x="11625" y="8157"/>
                </a:cubicBezTo>
                <a:cubicBezTo>
                  <a:pt x="11625" y="8125"/>
                  <a:pt x="11594" y="8125"/>
                  <a:pt x="11562" y="8094"/>
                </a:cubicBezTo>
                <a:cubicBezTo>
                  <a:pt x="11312" y="7938"/>
                  <a:pt x="11062" y="7782"/>
                  <a:pt x="10812" y="7625"/>
                </a:cubicBezTo>
                <a:cubicBezTo>
                  <a:pt x="10750" y="7594"/>
                  <a:pt x="10719" y="7532"/>
                  <a:pt x="10625" y="7563"/>
                </a:cubicBezTo>
                <a:cubicBezTo>
                  <a:pt x="10875" y="7719"/>
                  <a:pt x="11094" y="7938"/>
                  <a:pt x="11344" y="8032"/>
                </a:cubicBezTo>
                <a:cubicBezTo>
                  <a:pt x="11437" y="8063"/>
                  <a:pt x="11531" y="8157"/>
                  <a:pt x="11625" y="8188"/>
                </a:cubicBezTo>
                <a:cubicBezTo>
                  <a:pt x="11625" y="8250"/>
                  <a:pt x="11656" y="8282"/>
                  <a:pt x="11719" y="8313"/>
                </a:cubicBezTo>
                <a:cubicBezTo>
                  <a:pt x="11844" y="8375"/>
                  <a:pt x="11937" y="8469"/>
                  <a:pt x="12062" y="8563"/>
                </a:cubicBezTo>
                <a:cubicBezTo>
                  <a:pt x="12312" y="8719"/>
                  <a:pt x="12562" y="8875"/>
                  <a:pt x="12812" y="9063"/>
                </a:cubicBezTo>
                <a:cubicBezTo>
                  <a:pt x="12937" y="9125"/>
                  <a:pt x="13062" y="9219"/>
                  <a:pt x="13156" y="9313"/>
                </a:cubicBezTo>
                <a:cubicBezTo>
                  <a:pt x="13156" y="9313"/>
                  <a:pt x="13156" y="9313"/>
                  <a:pt x="13156" y="9313"/>
                </a:cubicBezTo>
                <a:cubicBezTo>
                  <a:pt x="13094" y="9313"/>
                  <a:pt x="13062" y="9282"/>
                  <a:pt x="13000" y="9250"/>
                </a:cubicBezTo>
                <a:cubicBezTo>
                  <a:pt x="12969" y="9219"/>
                  <a:pt x="12937" y="9188"/>
                  <a:pt x="12875" y="9157"/>
                </a:cubicBezTo>
                <a:cubicBezTo>
                  <a:pt x="12531" y="8938"/>
                  <a:pt x="12187" y="8719"/>
                  <a:pt x="11875" y="8500"/>
                </a:cubicBezTo>
                <a:cubicBezTo>
                  <a:pt x="11625" y="8344"/>
                  <a:pt x="11375" y="8188"/>
                  <a:pt x="11125" y="8032"/>
                </a:cubicBezTo>
                <a:cubicBezTo>
                  <a:pt x="10781" y="7813"/>
                  <a:pt x="10437" y="7594"/>
                  <a:pt x="10062" y="7407"/>
                </a:cubicBezTo>
                <a:cubicBezTo>
                  <a:pt x="9906" y="7344"/>
                  <a:pt x="9812" y="7219"/>
                  <a:pt x="9656" y="7157"/>
                </a:cubicBezTo>
                <a:cubicBezTo>
                  <a:pt x="9469" y="7063"/>
                  <a:pt x="9250" y="6969"/>
                  <a:pt x="9031" y="6844"/>
                </a:cubicBezTo>
                <a:cubicBezTo>
                  <a:pt x="8937" y="6782"/>
                  <a:pt x="8781" y="6750"/>
                  <a:pt x="8656" y="6719"/>
                </a:cubicBezTo>
                <a:cubicBezTo>
                  <a:pt x="8812" y="6782"/>
                  <a:pt x="8969" y="6875"/>
                  <a:pt x="9094" y="6969"/>
                </a:cubicBezTo>
                <a:cubicBezTo>
                  <a:pt x="9062" y="6969"/>
                  <a:pt x="9000" y="6969"/>
                  <a:pt x="8969" y="6938"/>
                </a:cubicBezTo>
                <a:cubicBezTo>
                  <a:pt x="8437" y="6657"/>
                  <a:pt x="7844" y="6375"/>
                  <a:pt x="7281" y="6125"/>
                </a:cubicBezTo>
                <a:cubicBezTo>
                  <a:pt x="7219" y="6094"/>
                  <a:pt x="7188" y="6063"/>
                  <a:pt x="7125" y="6032"/>
                </a:cubicBezTo>
                <a:cubicBezTo>
                  <a:pt x="7063" y="6000"/>
                  <a:pt x="6969" y="5969"/>
                  <a:pt x="6875" y="5969"/>
                </a:cubicBezTo>
                <a:cubicBezTo>
                  <a:pt x="6875" y="5938"/>
                  <a:pt x="6844" y="5938"/>
                  <a:pt x="6844" y="5938"/>
                </a:cubicBezTo>
                <a:cubicBezTo>
                  <a:pt x="6781" y="5875"/>
                  <a:pt x="6688" y="5875"/>
                  <a:pt x="6625" y="5844"/>
                </a:cubicBezTo>
                <a:cubicBezTo>
                  <a:pt x="6688" y="5907"/>
                  <a:pt x="6781" y="5938"/>
                  <a:pt x="6875" y="5969"/>
                </a:cubicBezTo>
                <a:cubicBezTo>
                  <a:pt x="7063" y="6094"/>
                  <a:pt x="7250" y="6157"/>
                  <a:pt x="7438" y="6250"/>
                </a:cubicBezTo>
                <a:cubicBezTo>
                  <a:pt x="7750" y="6407"/>
                  <a:pt x="8062" y="6532"/>
                  <a:pt x="8375" y="6688"/>
                </a:cubicBezTo>
                <a:cubicBezTo>
                  <a:pt x="8719" y="6875"/>
                  <a:pt x="9062" y="7063"/>
                  <a:pt x="9406" y="7250"/>
                </a:cubicBezTo>
                <a:cubicBezTo>
                  <a:pt x="9750" y="7438"/>
                  <a:pt x="10094" y="7625"/>
                  <a:pt x="10437" y="7844"/>
                </a:cubicBezTo>
                <a:cubicBezTo>
                  <a:pt x="10781" y="8032"/>
                  <a:pt x="11125" y="8250"/>
                  <a:pt x="11469" y="8469"/>
                </a:cubicBezTo>
                <a:cubicBezTo>
                  <a:pt x="12031" y="8813"/>
                  <a:pt x="12562" y="9157"/>
                  <a:pt x="13094" y="9532"/>
                </a:cubicBezTo>
                <a:cubicBezTo>
                  <a:pt x="13125" y="9563"/>
                  <a:pt x="13156" y="9594"/>
                  <a:pt x="13187" y="9657"/>
                </a:cubicBezTo>
                <a:cubicBezTo>
                  <a:pt x="13187" y="9719"/>
                  <a:pt x="13250" y="9750"/>
                  <a:pt x="13281" y="9782"/>
                </a:cubicBezTo>
                <a:cubicBezTo>
                  <a:pt x="13500" y="9938"/>
                  <a:pt x="13687" y="10094"/>
                  <a:pt x="13906" y="10219"/>
                </a:cubicBezTo>
                <a:cubicBezTo>
                  <a:pt x="14031" y="10313"/>
                  <a:pt x="14156" y="10438"/>
                  <a:pt x="14281" y="10532"/>
                </a:cubicBezTo>
                <a:cubicBezTo>
                  <a:pt x="14344" y="10594"/>
                  <a:pt x="14469" y="10625"/>
                  <a:pt x="14500" y="10750"/>
                </a:cubicBezTo>
                <a:cubicBezTo>
                  <a:pt x="14500" y="10750"/>
                  <a:pt x="14500" y="10750"/>
                  <a:pt x="14500" y="10750"/>
                </a:cubicBezTo>
                <a:cubicBezTo>
                  <a:pt x="14500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69" y="10750"/>
                </a:cubicBezTo>
                <a:cubicBezTo>
                  <a:pt x="14469" y="10750"/>
                  <a:pt x="14469" y="10750"/>
                  <a:pt x="14437" y="10750"/>
                </a:cubicBezTo>
                <a:cubicBezTo>
                  <a:pt x="14406" y="10750"/>
                  <a:pt x="14375" y="10719"/>
                  <a:pt x="14312" y="10688"/>
                </a:cubicBezTo>
                <a:cubicBezTo>
                  <a:pt x="14187" y="10594"/>
                  <a:pt x="14031" y="10469"/>
                  <a:pt x="13906" y="10375"/>
                </a:cubicBezTo>
                <a:cubicBezTo>
                  <a:pt x="13562" y="10157"/>
                  <a:pt x="13250" y="9969"/>
                  <a:pt x="12937" y="9750"/>
                </a:cubicBezTo>
                <a:cubicBezTo>
                  <a:pt x="12656" y="9563"/>
                  <a:pt x="12344" y="9375"/>
                  <a:pt x="12094" y="9188"/>
                </a:cubicBezTo>
                <a:cubicBezTo>
                  <a:pt x="11812" y="8969"/>
                  <a:pt x="11500" y="8813"/>
                  <a:pt x="11219" y="8657"/>
                </a:cubicBezTo>
                <a:cubicBezTo>
                  <a:pt x="10875" y="8438"/>
                  <a:pt x="10531" y="8219"/>
                  <a:pt x="10187" y="8032"/>
                </a:cubicBezTo>
                <a:cubicBezTo>
                  <a:pt x="10156" y="8000"/>
                  <a:pt x="10156" y="8000"/>
                  <a:pt x="10156" y="7969"/>
                </a:cubicBezTo>
                <a:cubicBezTo>
                  <a:pt x="10156" y="7969"/>
                  <a:pt x="10156" y="7969"/>
                  <a:pt x="10156" y="7969"/>
                </a:cubicBezTo>
                <a:cubicBezTo>
                  <a:pt x="10219" y="7938"/>
                  <a:pt x="10187" y="7938"/>
                  <a:pt x="10156" y="7907"/>
                </a:cubicBezTo>
                <a:cubicBezTo>
                  <a:pt x="10125" y="7875"/>
                  <a:pt x="10062" y="7813"/>
                  <a:pt x="10000" y="7782"/>
                </a:cubicBezTo>
                <a:cubicBezTo>
                  <a:pt x="9594" y="7563"/>
                  <a:pt x="9187" y="7344"/>
                  <a:pt x="8750" y="7125"/>
                </a:cubicBezTo>
                <a:cubicBezTo>
                  <a:pt x="8625" y="7063"/>
                  <a:pt x="8500" y="6969"/>
                  <a:pt x="8312" y="6938"/>
                </a:cubicBezTo>
                <a:cubicBezTo>
                  <a:pt x="8500" y="7063"/>
                  <a:pt x="8687" y="7125"/>
                  <a:pt x="8812" y="7219"/>
                </a:cubicBezTo>
                <a:cubicBezTo>
                  <a:pt x="8812" y="7250"/>
                  <a:pt x="8812" y="7250"/>
                  <a:pt x="8812" y="7250"/>
                </a:cubicBezTo>
                <a:cubicBezTo>
                  <a:pt x="8344" y="7032"/>
                  <a:pt x="7875" y="6813"/>
                  <a:pt x="7406" y="6594"/>
                </a:cubicBezTo>
                <a:cubicBezTo>
                  <a:pt x="7406" y="6657"/>
                  <a:pt x="7438" y="6657"/>
                  <a:pt x="7469" y="6688"/>
                </a:cubicBezTo>
                <a:cubicBezTo>
                  <a:pt x="7563" y="6719"/>
                  <a:pt x="7656" y="6750"/>
                  <a:pt x="7750" y="6813"/>
                </a:cubicBezTo>
                <a:cubicBezTo>
                  <a:pt x="7875" y="6875"/>
                  <a:pt x="7969" y="6938"/>
                  <a:pt x="8094" y="6969"/>
                </a:cubicBezTo>
                <a:cubicBezTo>
                  <a:pt x="8125" y="7000"/>
                  <a:pt x="8156" y="7032"/>
                  <a:pt x="8156" y="7063"/>
                </a:cubicBezTo>
                <a:cubicBezTo>
                  <a:pt x="8125" y="7125"/>
                  <a:pt x="8094" y="7094"/>
                  <a:pt x="8062" y="7094"/>
                </a:cubicBezTo>
                <a:cubicBezTo>
                  <a:pt x="8031" y="7094"/>
                  <a:pt x="8031" y="7063"/>
                  <a:pt x="8000" y="7063"/>
                </a:cubicBezTo>
                <a:cubicBezTo>
                  <a:pt x="8000" y="7032"/>
                  <a:pt x="7969" y="7032"/>
                  <a:pt x="7969" y="7063"/>
                </a:cubicBezTo>
                <a:cubicBezTo>
                  <a:pt x="7969" y="7157"/>
                  <a:pt x="8062" y="7094"/>
                  <a:pt x="8094" y="7125"/>
                </a:cubicBezTo>
                <a:cubicBezTo>
                  <a:pt x="8094" y="7157"/>
                  <a:pt x="8094" y="7157"/>
                  <a:pt x="8094" y="7157"/>
                </a:cubicBezTo>
                <a:cubicBezTo>
                  <a:pt x="8375" y="7250"/>
                  <a:pt x="8562" y="7469"/>
                  <a:pt x="8812" y="7594"/>
                </a:cubicBezTo>
                <a:cubicBezTo>
                  <a:pt x="8812" y="7594"/>
                  <a:pt x="8937" y="7625"/>
                  <a:pt x="8812" y="7657"/>
                </a:cubicBezTo>
                <a:cubicBezTo>
                  <a:pt x="8812" y="7657"/>
                  <a:pt x="8812" y="7688"/>
                  <a:pt x="8812" y="7688"/>
                </a:cubicBezTo>
                <a:cubicBezTo>
                  <a:pt x="8844" y="7688"/>
                  <a:pt x="8844" y="7719"/>
                  <a:pt x="8844" y="7719"/>
                </a:cubicBezTo>
                <a:cubicBezTo>
                  <a:pt x="8906" y="7750"/>
                  <a:pt x="8969" y="7782"/>
                  <a:pt x="9000" y="7813"/>
                </a:cubicBezTo>
                <a:cubicBezTo>
                  <a:pt x="9000" y="7813"/>
                  <a:pt x="9000" y="7813"/>
                  <a:pt x="9000" y="7813"/>
                </a:cubicBezTo>
                <a:cubicBezTo>
                  <a:pt x="9031" y="7813"/>
                  <a:pt x="9062" y="7813"/>
                  <a:pt x="9062" y="7844"/>
                </a:cubicBezTo>
                <a:cubicBezTo>
                  <a:pt x="9250" y="7907"/>
                  <a:pt x="9406" y="8000"/>
                  <a:pt x="9594" y="8094"/>
                </a:cubicBezTo>
                <a:cubicBezTo>
                  <a:pt x="9594" y="8125"/>
                  <a:pt x="9594" y="8125"/>
                  <a:pt x="9594" y="8125"/>
                </a:cubicBezTo>
                <a:cubicBezTo>
                  <a:pt x="9594" y="8157"/>
                  <a:pt x="9594" y="8157"/>
                  <a:pt x="9562" y="8157"/>
                </a:cubicBezTo>
                <a:cubicBezTo>
                  <a:pt x="9531" y="8188"/>
                  <a:pt x="9531" y="8157"/>
                  <a:pt x="9531" y="8125"/>
                </a:cubicBezTo>
                <a:cubicBezTo>
                  <a:pt x="9531" y="8125"/>
                  <a:pt x="9500" y="8125"/>
                  <a:pt x="9469" y="8094"/>
                </a:cubicBezTo>
                <a:cubicBezTo>
                  <a:pt x="9281" y="8032"/>
                  <a:pt x="9062" y="7938"/>
                  <a:pt x="8875" y="7813"/>
                </a:cubicBezTo>
                <a:cubicBezTo>
                  <a:pt x="8719" y="7719"/>
                  <a:pt x="8531" y="7688"/>
                  <a:pt x="8375" y="7563"/>
                </a:cubicBezTo>
                <a:cubicBezTo>
                  <a:pt x="8250" y="7469"/>
                  <a:pt x="8094" y="7438"/>
                  <a:pt x="7937" y="7407"/>
                </a:cubicBezTo>
                <a:cubicBezTo>
                  <a:pt x="9094" y="8000"/>
                  <a:pt x="10187" y="8625"/>
                  <a:pt x="11281" y="9219"/>
                </a:cubicBezTo>
                <a:cubicBezTo>
                  <a:pt x="11219" y="9157"/>
                  <a:pt x="11156" y="9094"/>
                  <a:pt x="11062" y="9032"/>
                </a:cubicBezTo>
                <a:cubicBezTo>
                  <a:pt x="10719" y="8844"/>
                  <a:pt x="10375" y="8625"/>
                  <a:pt x="10031" y="8407"/>
                </a:cubicBezTo>
                <a:cubicBezTo>
                  <a:pt x="10000" y="8407"/>
                  <a:pt x="10000" y="8407"/>
                  <a:pt x="9969" y="8407"/>
                </a:cubicBezTo>
                <a:cubicBezTo>
                  <a:pt x="9969" y="8375"/>
                  <a:pt x="9969" y="8375"/>
                  <a:pt x="9969" y="8375"/>
                </a:cubicBezTo>
                <a:cubicBezTo>
                  <a:pt x="9969" y="8375"/>
                  <a:pt x="9969" y="8375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9969" y="8344"/>
                  <a:pt x="9969" y="8344"/>
                  <a:pt x="9969" y="8344"/>
                </a:cubicBezTo>
                <a:cubicBezTo>
                  <a:pt x="10000" y="8344"/>
                  <a:pt x="10000" y="8344"/>
                  <a:pt x="10031" y="8344"/>
                </a:cubicBezTo>
                <a:cubicBezTo>
                  <a:pt x="10062" y="8344"/>
                  <a:pt x="10094" y="8375"/>
                  <a:pt x="10125" y="8407"/>
                </a:cubicBezTo>
                <a:cubicBezTo>
                  <a:pt x="10187" y="8407"/>
                  <a:pt x="10219" y="8438"/>
                  <a:pt x="10281" y="8469"/>
                </a:cubicBezTo>
                <a:cubicBezTo>
                  <a:pt x="10281" y="8469"/>
                  <a:pt x="10281" y="8500"/>
                  <a:pt x="10312" y="8500"/>
                </a:cubicBezTo>
                <a:cubicBezTo>
                  <a:pt x="10531" y="8625"/>
                  <a:pt x="10750" y="8782"/>
                  <a:pt x="11000" y="8907"/>
                </a:cubicBezTo>
                <a:cubicBezTo>
                  <a:pt x="11031" y="8907"/>
                  <a:pt x="11062" y="8938"/>
                  <a:pt x="11094" y="8969"/>
                </a:cubicBezTo>
                <a:cubicBezTo>
                  <a:pt x="11187" y="9000"/>
                  <a:pt x="11250" y="9063"/>
                  <a:pt x="11375" y="9094"/>
                </a:cubicBezTo>
                <a:cubicBezTo>
                  <a:pt x="11375" y="9125"/>
                  <a:pt x="11375" y="9125"/>
                  <a:pt x="11375" y="9125"/>
                </a:cubicBezTo>
                <a:cubicBezTo>
                  <a:pt x="11406" y="9125"/>
                  <a:pt x="11406" y="9125"/>
                  <a:pt x="11406" y="9125"/>
                </a:cubicBezTo>
                <a:cubicBezTo>
                  <a:pt x="11469" y="9188"/>
                  <a:pt x="11531" y="9219"/>
                  <a:pt x="11625" y="9282"/>
                </a:cubicBezTo>
                <a:cubicBezTo>
                  <a:pt x="12000" y="9532"/>
                  <a:pt x="12375" y="9782"/>
                  <a:pt x="12781" y="10063"/>
                </a:cubicBezTo>
                <a:cubicBezTo>
                  <a:pt x="12781" y="10063"/>
                  <a:pt x="12781" y="10063"/>
                  <a:pt x="12781" y="10094"/>
                </a:cubicBezTo>
                <a:cubicBezTo>
                  <a:pt x="12781" y="10094"/>
                  <a:pt x="12812" y="10094"/>
                  <a:pt x="12812" y="10094"/>
                </a:cubicBezTo>
                <a:cubicBezTo>
                  <a:pt x="12812" y="10094"/>
                  <a:pt x="12844" y="10094"/>
                  <a:pt x="12844" y="10094"/>
                </a:cubicBezTo>
                <a:cubicBezTo>
                  <a:pt x="12875" y="10094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875" y="10125"/>
                </a:cubicBezTo>
                <a:cubicBezTo>
                  <a:pt x="12875" y="10125"/>
                  <a:pt x="12875" y="10125"/>
                  <a:pt x="12906" y="10125"/>
                </a:cubicBezTo>
                <a:cubicBezTo>
                  <a:pt x="12906" y="10125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06" y="10157"/>
                  <a:pt x="12906" y="10157"/>
                  <a:pt x="12906" y="10157"/>
                </a:cubicBezTo>
                <a:cubicBezTo>
                  <a:pt x="12937" y="10157"/>
                  <a:pt x="12937" y="10157"/>
                  <a:pt x="12937" y="10157"/>
                </a:cubicBezTo>
                <a:cubicBezTo>
                  <a:pt x="12969" y="10188"/>
                  <a:pt x="12969" y="10219"/>
                  <a:pt x="13000" y="10219"/>
                </a:cubicBezTo>
                <a:cubicBezTo>
                  <a:pt x="13000" y="10219"/>
                  <a:pt x="13000" y="10250"/>
                  <a:pt x="13000" y="10250"/>
                </a:cubicBezTo>
                <a:cubicBezTo>
                  <a:pt x="13000" y="10250"/>
                  <a:pt x="13000" y="10250"/>
                  <a:pt x="13000" y="10250"/>
                </a:cubicBezTo>
                <a:cubicBezTo>
                  <a:pt x="13031" y="10250"/>
                  <a:pt x="13062" y="10282"/>
                  <a:pt x="13062" y="10282"/>
                </a:cubicBezTo>
                <a:cubicBezTo>
                  <a:pt x="13094" y="10313"/>
                  <a:pt x="13125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13"/>
                  <a:pt x="13156" y="10313"/>
                  <a:pt x="13156" y="10313"/>
                </a:cubicBezTo>
                <a:cubicBezTo>
                  <a:pt x="13156" y="10344"/>
                  <a:pt x="13156" y="10344"/>
                  <a:pt x="13187" y="10344"/>
                </a:cubicBezTo>
                <a:cubicBezTo>
                  <a:pt x="13187" y="10344"/>
                  <a:pt x="13187" y="10344"/>
                  <a:pt x="13187" y="10344"/>
                </a:cubicBezTo>
                <a:cubicBezTo>
                  <a:pt x="13187" y="10375"/>
                  <a:pt x="13187" y="10375"/>
                  <a:pt x="13219" y="10344"/>
                </a:cubicBezTo>
                <a:cubicBezTo>
                  <a:pt x="13219" y="10375"/>
                  <a:pt x="13219" y="10375"/>
                  <a:pt x="13219" y="10375"/>
                </a:cubicBezTo>
                <a:cubicBezTo>
                  <a:pt x="13250" y="10375"/>
                  <a:pt x="13250" y="10407"/>
                  <a:pt x="13250" y="10407"/>
                </a:cubicBezTo>
                <a:cubicBezTo>
                  <a:pt x="13281" y="10438"/>
                  <a:pt x="13281" y="10438"/>
                  <a:pt x="13312" y="10469"/>
                </a:cubicBezTo>
                <a:cubicBezTo>
                  <a:pt x="13312" y="10469"/>
                  <a:pt x="13344" y="10469"/>
                  <a:pt x="13344" y="10469"/>
                </a:cubicBezTo>
                <a:cubicBezTo>
                  <a:pt x="13344" y="10469"/>
                  <a:pt x="13375" y="10500"/>
                  <a:pt x="13375" y="10500"/>
                </a:cubicBezTo>
                <a:cubicBezTo>
                  <a:pt x="13406" y="10500"/>
                  <a:pt x="13406" y="10500"/>
                  <a:pt x="13406" y="10500"/>
                </a:cubicBezTo>
                <a:cubicBezTo>
                  <a:pt x="13406" y="10532"/>
                  <a:pt x="13437" y="10532"/>
                  <a:pt x="13406" y="10563"/>
                </a:cubicBezTo>
                <a:cubicBezTo>
                  <a:pt x="13406" y="10563"/>
                  <a:pt x="13406" y="10594"/>
                  <a:pt x="13406" y="10594"/>
                </a:cubicBezTo>
                <a:cubicBezTo>
                  <a:pt x="13344" y="10500"/>
                  <a:pt x="13250" y="10500"/>
                  <a:pt x="13156" y="10438"/>
                </a:cubicBezTo>
                <a:cubicBezTo>
                  <a:pt x="12812" y="10219"/>
                  <a:pt x="12469" y="9938"/>
                  <a:pt x="12125" y="9750"/>
                </a:cubicBezTo>
                <a:cubicBezTo>
                  <a:pt x="12094" y="9719"/>
                  <a:pt x="12062" y="9688"/>
                  <a:pt x="12031" y="9657"/>
                </a:cubicBezTo>
                <a:cubicBezTo>
                  <a:pt x="11937" y="9594"/>
                  <a:pt x="11812" y="9532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719" y="9500"/>
                  <a:pt x="11719" y="9500"/>
                  <a:pt x="11719" y="9500"/>
                </a:cubicBezTo>
                <a:cubicBezTo>
                  <a:pt x="11687" y="9438"/>
                  <a:pt x="11625" y="9407"/>
                  <a:pt x="11562" y="9375"/>
                </a:cubicBezTo>
                <a:cubicBezTo>
                  <a:pt x="11562" y="9375"/>
                  <a:pt x="11531" y="9375"/>
                  <a:pt x="11531" y="9375"/>
                </a:cubicBezTo>
                <a:cubicBezTo>
                  <a:pt x="11500" y="9375"/>
                  <a:pt x="11500" y="9375"/>
                  <a:pt x="11500" y="9407"/>
                </a:cubicBezTo>
                <a:cubicBezTo>
                  <a:pt x="11562" y="9438"/>
                  <a:pt x="11625" y="9469"/>
                  <a:pt x="11687" y="9500"/>
                </a:cubicBezTo>
                <a:cubicBezTo>
                  <a:pt x="11875" y="9657"/>
                  <a:pt x="12062" y="9750"/>
                  <a:pt x="12250" y="9907"/>
                </a:cubicBezTo>
                <a:cubicBezTo>
                  <a:pt x="12344" y="9969"/>
                  <a:pt x="12437" y="10000"/>
                  <a:pt x="12500" y="10094"/>
                </a:cubicBezTo>
                <a:cubicBezTo>
                  <a:pt x="12500" y="10094"/>
                  <a:pt x="12500" y="10094"/>
                  <a:pt x="12500" y="10094"/>
                </a:cubicBezTo>
                <a:cubicBezTo>
                  <a:pt x="12469" y="10094"/>
                  <a:pt x="12469" y="10094"/>
                  <a:pt x="12437" y="10094"/>
                </a:cubicBezTo>
                <a:cubicBezTo>
                  <a:pt x="12437" y="10094"/>
                  <a:pt x="12437" y="10094"/>
                  <a:pt x="12437" y="10094"/>
                </a:cubicBezTo>
                <a:cubicBezTo>
                  <a:pt x="12281" y="10000"/>
                  <a:pt x="12125" y="9875"/>
                  <a:pt x="11969" y="9782"/>
                </a:cubicBezTo>
                <a:cubicBezTo>
                  <a:pt x="11844" y="9719"/>
                  <a:pt x="11719" y="9625"/>
                  <a:pt x="11594" y="9563"/>
                </a:cubicBezTo>
                <a:cubicBezTo>
                  <a:pt x="11469" y="9469"/>
                  <a:pt x="11344" y="9407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19" y="9313"/>
                  <a:pt x="11219" y="9313"/>
                  <a:pt x="11219" y="9313"/>
                </a:cubicBezTo>
                <a:cubicBezTo>
                  <a:pt x="11250" y="9375"/>
                  <a:pt x="11312" y="9407"/>
                  <a:pt x="11344" y="9469"/>
                </a:cubicBezTo>
                <a:cubicBezTo>
                  <a:pt x="10312" y="8907"/>
                  <a:pt x="9344" y="8250"/>
                  <a:pt x="8250" y="7750"/>
                </a:cubicBezTo>
                <a:cubicBezTo>
                  <a:pt x="8250" y="7813"/>
                  <a:pt x="8281" y="7813"/>
                  <a:pt x="8312" y="7844"/>
                </a:cubicBezTo>
                <a:cubicBezTo>
                  <a:pt x="8531" y="7938"/>
                  <a:pt x="8750" y="8063"/>
                  <a:pt x="8969" y="8188"/>
                </a:cubicBezTo>
                <a:cubicBezTo>
                  <a:pt x="9437" y="8469"/>
                  <a:pt x="9937" y="8750"/>
                  <a:pt x="10406" y="9000"/>
                </a:cubicBezTo>
                <a:cubicBezTo>
                  <a:pt x="10750" y="9188"/>
                  <a:pt x="11094" y="9407"/>
                  <a:pt x="11406" y="9625"/>
                </a:cubicBezTo>
                <a:cubicBezTo>
                  <a:pt x="11656" y="9750"/>
                  <a:pt x="11875" y="9938"/>
                  <a:pt x="12125" y="10063"/>
                </a:cubicBezTo>
                <a:cubicBezTo>
                  <a:pt x="12125" y="10063"/>
                  <a:pt x="12156" y="10063"/>
                  <a:pt x="12156" y="10063"/>
                </a:cubicBezTo>
                <a:cubicBezTo>
                  <a:pt x="12156" y="10063"/>
                  <a:pt x="12156" y="10063"/>
                  <a:pt x="12156" y="10063"/>
                </a:cubicBezTo>
                <a:cubicBezTo>
                  <a:pt x="12156" y="10063"/>
                  <a:pt x="12156" y="10094"/>
                  <a:pt x="12156" y="10094"/>
                </a:cubicBezTo>
                <a:cubicBezTo>
                  <a:pt x="12656" y="10407"/>
                  <a:pt x="13125" y="10719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594" y="11063"/>
                  <a:pt x="13594" y="11063"/>
                </a:cubicBezTo>
                <a:cubicBezTo>
                  <a:pt x="13594" y="11063"/>
                  <a:pt x="13625" y="11063"/>
                  <a:pt x="13625" y="11094"/>
                </a:cubicBezTo>
                <a:cubicBezTo>
                  <a:pt x="13625" y="11094"/>
                  <a:pt x="13656" y="11094"/>
                  <a:pt x="13656" y="11125"/>
                </a:cubicBezTo>
                <a:cubicBezTo>
                  <a:pt x="13656" y="11125"/>
                  <a:pt x="13656" y="11125"/>
                  <a:pt x="13656" y="11125"/>
                </a:cubicBezTo>
                <a:cubicBezTo>
                  <a:pt x="13656" y="11125"/>
                  <a:pt x="13687" y="11125"/>
                  <a:pt x="13687" y="11125"/>
                </a:cubicBezTo>
                <a:cubicBezTo>
                  <a:pt x="13687" y="11125"/>
                  <a:pt x="13719" y="11157"/>
                  <a:pt x="13719" y="11157"/>
                </a:cubicBezTo>
                <a:cubicBezTo>
                  <a:pt x="13687" y="11157"/>
                  <a:pt x="13656" y="11188"/>
                  <a:pt x="13656" y="11188"/>
                </a:cubicBezTo>
                <a:cubicBezTo>
                  <a:pt x="13625" y="11188"/>
                  <a:pt x="13625" y="11157"/>
                  <a:pt x="13625" y="11157"/>
                </a:cubicBezTo>
                <a:cubicBezTo>
                  <a:pt x="13406" y="11032"/>
                  <a:pt x="13187" y="10875"/>
                  <a:pt x="12969" y="10719"/>
                </a:cubicBezTo>
                <a:cubicBezTo>
                  <a:pt x="12937" y="10688"/>
                  <a:pt x="12875" y="10657"/>
                  <a:pt x="12844" y="10625"/>
                </a:cubicBezTo>
                <a:cubicBezTo>
                  <a:pt x="12719" y="10532"/>
                  <a:pt x="12594" y="10438"/>
                  <a:pt x="12437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375"/>
                  <a:pt x="12437" y="10375"/>
                  <a:pt x="12406" y="10375"/>
                </a:cubicBezTo>
                <a:cubicBezTo>
                  <a:pt x="12437" y="10375"/>
                  <a:pt x="12437" y="10375"/>
                  <a:pt x="12437" y="10375"/>
                </a:cubicBezTo>
                <a:cubicBezTo>
                  <a:pt x="12437" y="10438"/>
                  <a:pt x="12500" y="10438"/>
                  <a:pt x="12531" y="10469"/>
                </a:cubicBezTo>
                <a:cubicBezTo>
                  <a:pt x="12531" y="10500"/>
                  <a:pt x="12531" y="10500"/>
                  <a:pt x="12531" y="10500"/>
                </a:cubicBezTo>
                <a:cubicBezTo>
                  <a:pt x="12562" y="10500"/>
                  <a:pt x="12562" y="10500"/>
                  <a:pt x="12594" y="10532"/>
                </a:cubicBezTo>
                <a:cubicBezTo>
                  <a:pt x="12594" y="10532"/>
                  <a:pt x="12594" y="10532"/>
                  <a:pt x="12594" y="10532"/>
                </a:cubicBezTo>
                <a:cubicBezTo>
                  <a:pt x="12594" y="10563"/>
                  <a:pt x="12625" y="10563"/>
                  <a:pt x="12625" y="10594"/>
                </a:cubicBezTo>
                <a:cubicBezTo>
                  <a:pt x="12625" y="10594"/>
                  <a:pt x="12625" y="10594"/>
                  <a:pt x="12594" y="10594"/>
                </a:cubicBezTo>
                <a:cubicBezTo>
                  <a:pt x="12594" y="10594"/>
                  <a:pt x="12594" y="10594"/>
                  <a:pt x="12594" y="10563"/>
                </a:cubicBezTo>
                <a:cubicBezTo>
                  <a:pt x="12562" y="10563"/>
                  <a:pt x="12531" y="10563"/>
                  <a:pt x="12531" y="10563"/>
                </a:cubicBezTo>
                <a:cubicBezTo>
                  <a:pt x="12500" y="10532"/>
                  <a:pt x="12500" y="10532"/>
                  <a:pt x="12500" y="10532"/>
                </a:cubicBezTo>
                <a:cubicBezTo>
                  <a:pt x="11969" y="10219"/>
                  <a:pt x="11469" y="9875"/>
                  <a:pt x="10969" y="9563"/>
                </a:cubicBezTo>
                <a:cubicBezTo>
                  <a:pt x="10969" y="9532"/>
                  <a:pt x="10937" y="9532"/>
                  <a:pt x="10937" y="9532"/>
                </a:cubicBezTo>
                <a:cubicBezTo>
                  <a:pt x="10687" y="9375"/>
                  <a:pt x="10437" y="9219"/>
                  <a:pt x="10219" y="9032"/>
                </a:cubicBezTo>
                <a:cubicBezTo>
                  <a:pt x="9750" y="8750"/>
                  <a:pt x="9281" y="8500"/>
                  <a:pt x="8812" y="8250"/>
                </a:cubicBezTo>
                <a:cubicBezTo>
                  <a:pt x="8750" y="8219"/>
                  <a:pt x="8687" y="8188"/>
                  <a:pt x="8656" y="8219"/>
                </a:cubicBezTo>
                <a:cubicBezTo>
                  <a:pt x="8594" y="8282"/>
                  <a:pt x="8531" y="8219"/>
                  <a:pt x="8469" y="8188"/>
                </a:cubicBezTo>
                <a:cubicBezTo>
                  <a:pt x="8219" y="8094"/>
                  <a:pt x="8000" y="7969"/>
                  <a:pt x="7781" y="7844"/>
                </a:cubicBezTo>
                <a:cubicBezTo>
                  <a:pt x="7563" y="7750"/>
                  <a:pt x="7375" y="7657"/>
                  <a:pt x="7156" y="7563"/>
                </a:cubicBezTo>
                <a:cubicBezTo>
                  <a:pt x="7156" y="7563"/>
                  <a:pt x="7125" y="7563"/>
                  <a:pt x="7094" y="7563"/>
                </a:cubicBezTo>
                <a:cubicBezTo>
                  <a:pt x="7094" y="7563"/>
                  <a:pt x="7094" y="7532"/>
                  <a:pt x="7094" y="7532"/>
                </a:cubicBezTo>
                <a:cubicBezTo>
                  <a:pt x="7094" y="7532"/>
                  <a:pt x="7094" y="7532"/>
                  <a:pt x="7063" y="7532"/>
                </a:cubicBezTo>
                <a:cubicBezTo>
                  <a:pt x="6938" y="7469"/>
                  <a:pt x="6781" y="7407"/>
                  <a:pt x="6625" y="7313"/>
                </a:cubicBezTo>
                <a:cubicBezTo>
                  <a:pt x="6625" y="7313"/>
                  <a:pt x="6625" y="7313"/>
                  <a:pt x="6594" y="7313"/>
                </a:cubicBezTo>
                <a:cubicBezTo>
                  <a:pt x="6594" y="7313"/>
                  <a:pt x="6594" y="7313"/>
                  <a:pt x="6594" y="7313"/>
                </a:cubicBezTo>
                <a:cubicBezTo>
                  <a:pt x="6313" y="7188"/>
                  <a:pt x="6000" y="7032"/>
                  <a:pt x="5719" y="6938"/>
                </a:cubicBezTo>
                <a:cubicBezTo>
                  <a:pt x="5625" y="6875"/>
                  <a:pt x="5531" y="6844"/>
                  <a:pt x="5438" y="6813"/>
                </a:cubicBezTo>
                <a:cubicBezTo>
                  <a:pt x="5313" y="6750"/>
                  <a:pt x="5188" y="6719"/>
                  <a:pt x="5063" y="6657"/>
                </a:cubicBezTo>
                <a:cubicBezTo>
                  <a:pt x="5063" y="6719"/>
                  <a:pt x="5063" y="6750"/>
                  <a:pt x="5094" y="6750"/>
                </a:cubicBezTo>
                <a:cubicBezTo>
                  <a:pt x="5313" y="6844"/>
                  <a:pt x="5531" y="6938"/>
                  <a:pt x="5750" y="7000"/>
                </a:cubicBezTo>
                <a:cubicBezTo>
                  <a:pt x="5969" y="7125"/>
                  <a:pt x="6188" y="7219"/>
                  <a:pt x="6438" y="7313"/>
                </a:cubicBezTo>
                <a:cubicBezTo>
                  <a:pt x="6438" y="7313"/>
                  <a:pt x="6438" y="7313"/>
                  <a:pt x="6438" y="7313"/>
                </a:cubicBezTo>
                <a:cubicBezTo>
                  <a:pt x="6438" y="7313"/>
                  <a:pt x="6438" y="7313"/>
                  <a:pt x="6469" y="7313"/>
                </a:cubicBezTo>
                <a:cubicBezTo>
                  <a:pt x="6469" y="7344"/>
                  <a:pt x="6500" y="7344"/>
                  <a:pt x="6500" y="7344"/>
                </a:cubicBezTo>
                <a:cubicBezTo>
                  <a:pt x="6500" y="7344"/>
                  <a:pt x="6500" y="7344"/>
                  <a:pt x="6500" y="7375"/>
                </a:cubicBezTo>
                <a:cubicBezTo>
                  <a:pt x="6500" y="7375"/>
                  <a:pt x="6531" y="7375"/>
                  <a:pt x="6531" y="7375"/>
                </a:cubicBezTo>
                <a:cubicBezTo>
                  <a:pt x="6531" y="7375"/>
                  <a:pt x="6531" y="7375"/>
                  <a:pt x="6563" y="7375"/>
                </a:cubicBezTo>
                <a:cubicBezTo>
                  <a:pt x="6563" y="7375"/>
                  <a:pt x="6563" y="7375"/>
                  <a:pt x="6563" y="7375"/>
                </a:cubicBezTo>
                <a:cubicBezTo>
                  <a:pt x="6563" y="7375"/>
                  <a:pt x="6594" y="7407"/>
                  <a:pt x="6594" y="7407"/>
                </a:cubicBezTo>
                <a:cubicBezTo>
                  <a:pt x="6594" y="7407"/>
                  <a:pt x="6625" y="7407"/>
                  <a:pt x="6625" y="7438"/>
                </a:cubicBezTo>
                <a:cubicBezTo>
                  <a:pt x="6656" y="7438"/>
                  <a:pt x="6656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688" y="7438"/>
                  <a:pt x="6688" y="7438"/>
                </a:cubicBezTo>
                <a:cubicBezTo>
                  <a:pt x="6688" y="7438"/>
                  <a:pt x="6719" y="7438"/>
                  <a:pt x="6719" y="7438"/>
                </a:cubicBezTo>
                <a:cubicBezTo>
                  <a:pt x="6719" y="7438"/>
                  <a:pt x="6719" y="7469"/>
                  <a:pt x="6719" y="7469"/>
                </a:cubicBezTo>
                <a:cubicBezTo>
                  <a:pt x="6719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50" y="7469"/>
                  <a:pt x="6750" y="7469"/>
                  <a:pt x="6750" y="7469"/>
                </a:cubicBezTo>
                <a:cubicBezTo>
                  <a:pt x="6781" y="7500"/>
                  <a:pt x="6781" y="7500"/>
                  <a:pt x="6813" y="7500"/>
                </a:cubicBezTo>
                <a:cubicBezTo>
                  <a:pt x="6844" y="7500"/>
                  <a:pt x="6875" y="7500"/>
                  <a:pt x="6906" y="7532"/>
                </a:cubicBezTo>
                <a:cubicBezTo>
                  <a:pt x="6906" y="7532"/>
                  <a:pt x="6906" y="7563"/>
                  <a:pt x="6938" y="7563"/>
                </a:cubicBezTo>
                <a:cubicBezTo>
                  <a:pt x="6938" y="7563"/>
                  <a:pt x="6969" y="7563"/>
                  <a:pt x="6969" y="7563"/>
                </a:cubicBezTo>
                <a:cubicBezTo>
                  <a:pt x="6969" y="7563"/>
                  <a:pt x="7000" y="7563"/>
                  <a:pt x="7000" y="7563"/>
                </a:cubicBezTo>
                <a:cubicBezTo>
                  <a:pt x="7000" y="7563"/>
                  <a:pt x="7031" y="7563"/>
                  <a:pt x="7031" y="7563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594"/>
                  <a:pt x="7031" y="7594"/>
                  <a:pt x="7031" y="7594"/>
                </a:cubicBezTo>
                <a:cubicBezTo>
                  <a:pt x="7031" y="7625"/>
                  <a:pt x="7063" y="7625"/>
                  <a:pt x="7063" y="7625"/>
                </a:cubicBezTo>
                <a:cubicBezTo>
                  <a:pt x="7063" y="7625"/>
                  <a:pt x="7094" y="7625"/>
                  <a:pt x="7094" y="7625"/>
                </a:cubicBezTo>
                <a:cubicBezTo>
                  <a:pt x="7281" y="7750"/>
                  <a:pt x="7500" y="7844"/>
                  <a:pt x="7719" y="7938"/>
                </a:cubicBezTo>
                <a:cubicBezTo>
                  <a:pt x="8000" y="8094"/>
                  <a:pt x="8281" y="8219"/>
                  <a:pt x="8531" y="8344"/>
                </a:cubicBezTo>
                <a:cubicBezTo>
                  <a:pt x="8781" y="8469"/>
                  <a:pt x="9000" y="8625"/>
                  <a:pt x="9250" y="8750"/>
                </a:cubicBezTo>
                <a:cubicBezTo>
                  <a:pt x="9375" y="8813"/>
                  <a:pt x="9531" y="8875"/>
                  <a:pt x="9687" y="8969"/>
                </a:cubicBezTo>
                <a:cubicBezTo>
                  <a:pt x="9812" y="9032"/>
                  <a:pt x="9969" y="9125"/>
                  <a:pt x="10094" y="9188"/>
                </a:cubicBezTo>
                <a:cubicBezTo>
                  <a:pt x="10125" y="9219"/>
                  <a:pt x="10156" y="9250"/>
                  <a:pt x="10187" y="9250"/>
                </a:cubicBezTo>
                <a:cubicBezTo>
                  <a:pt x="10250" y="9313"/>
                  <a:pt x="10344" y="9344"/>
                  <a:pt x="10437" y="9407"/>
                </a:cubicBezTo>
                <a:cubicBezTo>
                  <a:pt x="10594" y="9500"/>
                  <a:pt x="10750" y="9625"/>
                  <a:pt x="10937" y="9688"/>
                </a:cubicBezTo>
                <a:cubicBezTo>
                  <a:pt x="11000" y="9719"/>
                  <a:pt x="11031" y="9750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094" y="9782"/>
                  <a:pt x="11094" y="9782"/>
                  <a:pt x="11094" y="9782"/>
                </a:cubicBezTo>
                <a:cubicBezTo>
                  <a:pt x="11125" y="9782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13"/>
                  <a:pt x="11125" y="9813"/>
                  <a:pt x="11125" y="9813"/>
                </a:cubicBezTo>
                <a:cubicBezTo>
                  <a:pt x="11125" y="9844"/>
                  <a:pt x="11156" y="9844"/>
                  <a:pt x="11156" y="9844"/>
                </a:cubicBezTo>
                <a:cubicBezTo>
                  <a:pt x="11156" y="9844"/>
                  <a:pt x="11156" y="9844"/>
                  <a:pt x="11156" y="9844"/>
                </a:cubicBezTo>
                <a:cubicBezTo>
                  <a:pt x="11156" y="9875"/>
                  <a:pt x="11187" y="9875"/>
                  <a:pt x="11156" y="9907"/>
                </a:cubicBezTo>
                <a:cubicBezTo>
                  <a:pt x="11156" y="9907"/>
                  <a:pt x="11156" y="9907"/>
                  <a:pt x="11156" y="9907"/>
                </a:cubicBezTo>
                <a:cubicBezTo>
                  <a:pt x="11094" y="9844"/>
                  <a:pt x="11031" y="9813"/>
                  <a:pt x="10969" y="9844"/>
                </a:cubicBezTo>
                <a:cubicBezTo>
                  <a:pt x="10969" y="9844"/>
                  <a:pt x="10969" y="9844"/>
                  <a:pt x="10969" y="9813"/>
                </a:cubicBezTo>
                <a:cubicBezTo>
                  <a:pt x="10969" y="9813"/>
                  <a:pt x="10969" y="9813"/>
                  <a:pt x="10969" y="9813"/>
                </a:cubicBezTo>
                <a:cubicBezTo>
                  <a:pt x="10969" y="9813"/>
                  <a:pt x="10937" y="9813"/>
                  <a:pt x="10937" y="9813"/>
                </a:cubicBezTo>
                <a:cubicBezTo>
                  <a:pt x="10844" y="9750"/>
                  <a:pt x="10719" y="9688"/>
                  <a:pt x="10625" y="9625"/>
                </a:cubicBezTo>
                <a:cubicBezTo>
                  <a:pt x="10219" y="9407"/>
                  <a:pt x="9844" y="9188"/>
                  <a:pt x="9437" y="8969"/>
                </a:cubicBezTo>
                <a:cubicBezTo>
                  <a:pt x="9125" y="8813"/>
                  <a:pt x="8844" y="8625"/>
                  <a:pt x="8531" y="8469"/>
                </a:cubicBezTo>
                <a:cubicBezTo>
                  <a:pt x="8250" y="8344"/>
                  <a:pt x="8000" y="8219"/>
                  <a:pt x="7750" y="8094"/>
                </a:cubicBezTo>
                <a:cubicBezTo>
                  <a:pt x="7750" y="8094"/>
                  <a:pt x="7750" y="8094"/>
                  <a:pt x="7750" y="8094"/>
                </a:cubicBezTo>
                <a:cubicBezTo>
                  <a:pt x="7750" y="8063"/>
                  <a:pt x="7719" y="8063"/>
                  <a:pt x="7688" y="8094"/>
                </a:cubicBezTo>
                <a:cubicBezTo>
                  <a:pt x="7688" y="8094"/>
                  <a:pt x="7688" y="8094"/>
                  <a:pt x="7688" y="8063"/>
                </a:cubicBezTo>
                <a:cubicBezTo>
                  <a:pt x="7688" y="8063"/>
                  <a:pt x="7688" y="8063"/>
                  <a:pt x="7688" y="8063"/>
                </a:cubicBezTo>
                <a:cubicBezTo>
                  <a:pt x="7688" y="8063"/>
                  <a:pt x="7688" y="8063"/>
                  <a:pt x="7688" y="8032"/>
                </a:cubicBezTo>
                <a:cubicBezTo>
                  <a:pt x="7656" y="8032"/>
                  <a:pt x="7656" y="8032"/>
                  <a:pt x="7656" y="8032"/>
                </a:cubicBezTo>
                <a:cubicBezTo>
                  <a:pt x="7219" y="7844"/>
                  <a:pt x="6781" y="7625"/>
                  <a:pt x="6344" y="7438"/>
                </a:cubicBezTo>
                <a:cubicBezTo>
                  <a:pt x="5813" y="7219"/>
                  <a:pt x="5250" y="6969"/>
                  <a:pt x="4688" y="6782"/>
                </a:cubicBezTo>
                <a:cubicBezTo>
                  <a:pt x="4625" y="6782"/>
                  <a:pt x="4563" y="6719"/>
                  <a:pt x="4500" y="6688"/>
                </a:cubicBezTo>
                <a:cubicBezTo>
                  <a:pt x="4375" y="6688"/>
                  <a:pt x="4250" y="6625"/>
                  <a:pt x="4156" y="6594"/>
                </a:cubicBezTo>
                <a:cubicBezTo>
                  <a:pt x="4000" y="6532"/>
                  <a:pt x="3875" y="6438"/>
                  <a:pt x="3688" y="6407"/>
                </a:cubicBezTo>
                <a:cubicBezTo>
                  <a:pt x="3656" y="6407"/>
                  <a:pt x="3625" y="6407"/>
                  <a:pt x="3625" y="6438"/>
                </a:cubicBezTo>
                <a:cubicBezTo>
                  <a:pt x="3625" y="6469"/>
                  <a:pt x="3656" y="6500"/>
                  <a:pt x="3688" y="6500"/>
                </a:cubicBezTo>
                <a:cubicBezTo>
                  <a:pt x="3781" y="6532"/>
                  <a:pt x="3906" y="6594"/>
                  <a:pt x="4031" y="6625"/>
                </a:cubicBezTo>
                <a:cubicBezTo>
                  <a:pt x="4375" y="6719"/>
                  <a:pt x="4719" y="6875"/>
                  <a:pt x="5094" y="7000"/>
                </a:cubicBezTo>
                <a:cubicBezTo>
                  <a:pt x="5375" y="7125"/>
                  <a:pt x="5688" y="7250"/>
                  <a:pt x="5969" y="7375"/>
                </a:cubicBezTo>
                <a:cubicBezTo>
                  <a:pt x="6344" y="7532"/>
                  <a:pt x="6719" y="7688"/>
                  <a:pt x="7125" y="7875"/>
                </a:cubicBezTo>
                <a:cubicBezTo>
                  <a:pt x="7281" y="7938"/>
                  <a:pt x="7438" y="8032"/>
                  <a:pt x="7594" y="8094"/>
                </a:cubicBezTo>
                <a:cubicBezTo>
                  <a:pt x="8094" y="8344"/>
                  <a:pt x="8562" y="8563"/>
                  <a:pt x="9031" y="8844"/>
                </a:cubicBezTo>
                <a:cubicBezTo>
                  <a:pt x="9531" y="9125"/>
                  <a:pt x="10062" y="9407"/>
                  <a:pt x="10562" y="9688"/>
                </a:cubicBezTo>
                <a:cubicBezTo>
                  <a:pt x="10781" y="9813"/>
                  <a:pt x="10969" y="9938"/>
                  <a:pt x="11187" y="10032"/>
                </a:cubicBezTo>
                <a:cubicBezTo>
                  <a:pt x="11187" y="10063"/>
                  <a:pt x="11219" y="10063"/>
                  <a:pt x="11219" y="10094"/>
                </a:cubicBezTo>
                <a:cubicBezTo>
                  <a:pt x="11219" y="10094"/>
                  <a:pt x="11219" y="10094"/>
                  <a:pt x="11219" y="10094"/>
                </a:cubicBezTo>
                <a:cubicBezTo>
                  <a:pt x="11781" y="10407"/>
                  <a:pt x="12281" y="10750"/>
                  <a:pt x="12812" y="11094"/>
                </a:cubicBezTo>
                <a:cubicBezTo>
                  <a:pt x="12875" y="11157"/>
                  <a:pt x="12906" y="11188"/>
                  <a:pt x="12969" y="11219"/>
                </a:cubicBezTo>
                <a:cubicBezTo>
                  <a:pt x="13000" y="11250"/>
                  <a:pt x="13031" y="11250"/>
                  <a:pt x="13062" y="11282"/>
                </a:cubicBezTo>
                <a:cubicBezTo>
                  <a:pt x="13094" y="11282"/>
                  <a:pt x="13094" y="11313"/>
                  <a:pt x="13094" y="11313"/>
                </a:cubicBezTo>
                <a:cubicBezTo>
                  <a:pt x="13125" y="11344"/>
                  <a:pt x="13156" y="11344"/>
                  <a:pt x="13187" y="11375"/>
                </a:cubicBezTo>
                <a:cubicBezTo>
                  <a:pt x="13187" y="11375"/>
                  <a:pt x="13187" y="11375"/>
                  <a:pt x="13187" y="11375"/>
                </a:cubicBezTo>
                <a:cubicBezTo>
                  <a:pt x="13187" y="11407"/>
                  <a:pt x="13219" y="11407"/>
                  <a:pt x="13219" y="11438"/>
                </a:cubicBezTo>
                <a:cubicBezTo>
                  <a:pt x="13187" y="11438"/>
                  <a:pt x="13187" y="11438"/>
                  <a:pt x="13156" y="11407"/>
                </a:cubicBezTo>
                <a:cubicBezTo>
                  <a:pt x="13156" y="11407"/>
                  <a:pt x="13125" y="11407"/>
                  <a:pt x="13125" y="11407"/>
                </a:cubicBezTo>
                <a:cubicBezTo>
                  <a:pt x="12687" y="11094"/>
                  <a:pt x="12219" y="10782"/>
                  <a:pt x="11750" y="10500"/>
                </a:cubicBezTo>
                <a:cubicBezTo>
                  <a:pt x="11406" y="10282"/>
                  <a:pt x="11062" y="10063"/>
                  <a:pt x="10719" y="9875"/>
                </a:cubicBezTo>
                <a:cubicBezTo>
                  <a:pt x="10187" y="9563"/>
                  <a:pt x="9656" y="9250"/>
                  <a:pt x="9125" y="8969"/>
                </a:cubicBezTo>
                <a:cubicBezTo>
                  <a:pt x="8625" y="8688"/>
                  <a:pt x="8094" y="8438"/>
                  <a:pt x="7563" y="8188"/>
                </a:cubicBezTo>
                <a:cubicBezTo>
                  <a:pt x="7063" y="7969"/>
                  <a:pt x="6563" y="7719"/>
                  <a:pt x="6063" y="7500"/>
                </a:cubicBezTo>
                <a:cubicBezTo>
                  <a:pt x="5625" y="7313"/>
                  <a:pt x="5188" y="7157"/>
                  <a:pt x="4750" y="6969"/>
                </a:cubicBezTo>
                <a:cubicBezTo>
                  <a:pt x="4656" y="6938"/>
                  <a:pt x="4531" y="6875"/>
                  <a:pt x="4406" y="6907"/>
                </a:cubicBezTo>
                <a:cubicBezTo>
                  <a:pt x="4406" y="6907"/>
                  <a:pt x="4375" y="6907"/>
                  <a:pt x="4375" y="6938"/>
                </a:cubicBezTo>
                <a:cubicBezTo>
                  <a:pt x="4375" y="6938"/>
                  <a:pt x="4406" y="6938"/>
                  <a:pt x="4406" y="6938"/>
                </a:cubicBezTo>
                <a:cubicBezTo>
                  <a:pt x="4406" y="7000"/>
                  <a:pt x="4469" y="7000"/>
                  <a:pt x="4500" y="7032"/>
                </a:cubicBezTo>
                <a:cubicBezTo>
                  <a:pt x="4625" y="7094"/>
                  <a:pt x="4781" y="7125"/>
                  <a:pt x="4938" y="7188"/>
                </a:cubicBezTo>
                <a:cubicBezTo>
                  <a:pt x="5281" y="7313"/>
                  <a:pt x="5625" y="7469"/>
                  <a:pt x="5969" y="7625"/>
                </a:cubicBezTo>
                <a:cubicBezTo>
                  <a:pt x="6500" y="7844"/>
                  <a:pt x="7031" y="8063"/>
                  <a:pt x="7531" y="8313"/>
                </a:cubicBezTo>
                <a:cubicBezTo>
                  <a:pt x="7813" y="8469"/>
                  <a:pt x="8094" y="8594"/>
                  <a:pt x="8375" y="8750"/>
                </a:cubicBezTo>
                <a:cubicBezTo>
                  <a:pt x="8406" y="8750"/>
                  <a:pt x="8406" y="8782"/>
                  <a:pt x="8406" y="8782"/>
                </a:cubicBezTo>
                <a:cubicBezTo>
                  <a:pt x="8469" y="8813"/>
                  <a:pt x="8500" y="8813"/>
                  <a:pt x="8531" y="8844"/>
                </a:cubicBezTo>
                <a:cubicBezTo>
                  <a:pt x="8594" y="8875"/>
                  <a:pt x="8625" y="8907"/>
                  <a:pt x="8687" y="8875"/>
                </a:cubicBezTo>
                <a:cubicBezTo>
                  <a:pt x="8719" y="8907"/>
                  <a:pt x="8719" y="8907"/>
                  <a:pt x="8719" y="8907"/>
                </a:cubicBezTo>
                <a:cubicBezTo>
                  <a:pt x="8719" y="8907"/>
                  <a:pt x="8719" y="8938"/>
                  <a:pt x="8750" y="8938"/>
                </a:cubicBezTo>
                <a:cubicBezTo>
                  <a:pt x="8750" y="8938"/>
                  <a:pt x="8750" y="8938"/>
                  <a:pt x="8750" y="8938"/>
                </a:cubicBezTo>
                <a:cubicBezTo>
                  <a:pt x="8781" y="8969"/>
                  <a:pt x="8781" y="8969"/>
                  <a:pt x="8812" y="8969"/>
                </a:cubicBezTo>
                <a:cubicBezTo>
                  <a:pt x="9125" y="9125"/>
                  <a:pt x="9469" y="9313"/>
                  <a:pt x="9781" y="9469"/>
                </a:cubicBezTo>
                <a:cubicBezTo>
                  <a:pt x="10375" y="9813"/>
                  <a:pt x="10969" y="10157"/>
                  <a:pt x="11562" y="10532"/>
                </a:cubicBezTo>
                <a:cubicBezTo>
                  <a:pt x="12187" y="10938"/>
                  <a:pt x="12844" y="11313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469" y="11782"/>
                </a:cubicBezTo>
                <a:cubicBezTo>
                  <a:pt x="13469" y="11782"/>
                  <a:pt x="13469" y="11782"/>
                  <a:pt x="13500" y="11782"/>
                </a:cubicBezTo>
                <a:cubicBezTo>
                  <a:pt x="13500" y="11782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00" y="11813"/>
                  <a:pt x="13500" y="11813"/>
                </a:cubicBezTo>
                <a:cubicBezTo>
                  <a:pt x="13500" y="11813"/>
                  <a:pt x="13531" y="11813"/>
                  <a:pt x="13531" y="11813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31" y="11844"/>
                  <a:pt x="13531" y="11844"/>
                </a:cubicBezTo>
                <a:cubicBezTo>
                  <a:pt x="13531" y="11844"/>
                  <a:pt x="13562" y="11844"/>
                  <a:pt x="13562" y="11844"/>
                </a:cubicBezTo>
                <a:cubicBezTo>
                  <a:pt x="13562" y="11844"/>
                  <a:pt x="13562" y="11844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62" y="11875"/>
                  <a:pt x="13562" y="11875"/>
                  <a:pt x="13562" y="11875"/>
                </a:cubicBezTo>
                <a:cubicBezTo>
                  <a:pt x="13594" y="11875"/>
                  <a:pt x="13594" y="11875"/>
                  <a:pt x="13594" y="11875"/>
                </a:cubicBezTo>
                <a:cubicBezTo>
                  <a:pt x="13594" y="11875"/>
                  <a:pt x="13594" y="11875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25" y="11907"/>
                  <a:pt x="13625" y="11907"/>
                  <a:pt x="13625" y="11907"/>
                </a:cubicBezTo>
                <a:cubicBezTo>
                  <a:pt x="13656" y="11907"/>
                  <a:pt x="13656" y="11938"/>
                  <a:pt x="13687" y="11969"/>
                </a:cubicBezTo>
                <a:cubicBezTo>
                  <a:pt x="13687" y="11969"/>
                  <a:pt x="13687" y="11969"/>
                  <a:pt x="13719" y="11969"/>
                </a:cubicBezTo>
                <a:cubicBezTo>
                  <a:pt x="13719" y="11969"/>
                  <a:pt x="13719" y="12000"/>
                  <a:pt x="13719" y="12000"/>
                </a:cubicBezTo>
                <a:cubicBezTo>
                  <a:pt x="13719" y="12000"/>
                  <a:pt x="13750" y="12000"/>
                  <a:pt x="13750" y="12000"/>
                </a:cubicBezTo>
                <a:cubicBezTo>
                  <a:pt x="13781" y="12000"/>
                  <a:pt x="13781" y="12032"/>
                  <a:pt x="13781" y="12032"/>
                </a:cubicBezTo>
                <a:cubicBezTo>
                  <a:pt x="13781" y="12032"/>
                  <a:pt x="13781" y="12032"/>
                  <a:pt x="13781" y="12032"/>
                </a:cubicBezTo>
                <a:cubicBezTo>
                  <a:pt x="13781" y="12063"/>
                  <a:pt x="13750" y="12063"/>
                  <a:pt x="13750" y="12063"/>
                </a:cubicBezTo>
                <a:cubicBezTo>
                  <a:pt x="13719" y="12032"/>
                  <a:pt x="13687" y="12032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656" y="12000"/>
                  <a:pt x="13656" y="12000"/>
                  <a:pt x="13656" y="12000"/>
                </a:cubicBezTo>
                <a:cubicBezTo>
                  <a:pt x="13562" y="11938"/>
                  <a:pt x="13469" y="11875"/>
                  <a:pt x="13406" y="11813"/>
                </a:cubicBezTo>
                <a:cubicBezTo>
                  <a:pt x="13344" y="11782"/>
                  <a:pt x="13281" y="11750"/>
                  <a:pt x="13250" y="11750"/>
                </a:cubicBezTo>
                <a:cubicBezTo>
                  <a:pt x="13187" y="11625"/>
                  <a:pt x="13062" y="11594"/>
                  <a:pt x="12969" y="11532"/>
                </a:cubicBezTo>
                <a:cubicBezTo>
                  <a:pt x="12500" y="11219"/>
                  <a:pt x="12031" y="10907"/>
                  <a:pt x="11562" y="10625"/>
                </a:cubicBezTo>
                <a:cubicBezTo>
                  <a:pt x="11250" y="10438"/>
                  <a:pt x="10937" y="10250"/>
                  <a:pt x="10625" y="10063"/>
                </a:cubicBezTo>
                <a:cubicBezTo>
                  <a:pt x="10406" y="9969"/>
                  <a:pt x="10219" y="9813"/>
                  <a:pt x="10000" y="9719"/>
                </a:cubicBezTo>
                <a:cubicBezTo>
                  <a:pt x="9594" y="9500"/>
                  <a:pt x="9187" y="9250"/>
                  <a:pt x="8781" y="9063"/>
                </a:cubicBezTo>
                <a:cubicBezTo>
                  <a:pt x="8750" y="9032"/>
                  <a:pt x="8719" y="9000"/>
                  <a:pt x="8656" y="9032"/>
                </a:cubicBezTo>
                <a:cubicBezTo>
                  <a:pt x="8750" y="9094"/>
                  <a:pt x="8844" y="9125"/>
                  <a:pt x="8906" y="9188"/>
                </a:cubicBezTo>
                <a:cubicBezTo>
                  <a:pt x="9406" y="9438"/>
                  <a:pt x="9875" y="9719"/>
                  <a:pt x="10344" y="9969"/>
                </a:cubicBezTo>
                <a:cubicBezTo>
                  <a:pt x="10875" y="10282"/>
                  <a:pt x="11375" y="10594"/>
                  <a:pt x="11875" y="10938"/>
                </a:cubicBezTo>
                <a:cubicBezTo>
                  <a:pt x="12375" y="11250"/>
                  <a:pt x="12844" y="11594"/>
                  <a:pt x="13312" y="11938"/>
                </a:cubicBezTo>
                <a:cubicBezTo>
                  <a:pt x="13375" y="12000"/>
                  <a:pt x="13437" y="12032"/>
                  <a:pt x="13500" y="12094"/>
                </a:cubicBezTo>
                <a:cubicBezTo>
                  <a:pt x="13687" y="12250"/>
                  <a:pt x="13875" y="12375"/>
                  <a:pt x="14094" y="12500"/>
                </a:cubicBezTo>
                <a:cubicBezTo>
                  <a:pt x="14094" y="12532"/>
                  <a:pt x="14125" y="12532"/>
                  <a:pt x="14125" y="12563"/>
                </a:cubicBezTo>
                <a:cubicBezTo>
                  <a:pt x="14125" y="12563"/>
                  <a:pt x="14156" y="12563"/>
                  <a:pt x="14156" y="12563"/>
                </a:cubicBezTo>
                <a:cubicBezTo>
                  <a:pt x="14375" y="12750"/>
                  <a:pt x="14562" y="12938"/>
                  <a:pt x="14781" y="13094"/>
                </a:cubicBezTo>
                <a:cubicBezTo>
                  <a:pt x="14781" y="13125"/>
                  <a:pt x="14781" y="13125"/>
                  <a:pt x="14781" y="13125"/>
                </a:cubicBezTo>
                <a:cubicBezTo>
                  <a:pt x="14812" y="13125"/>
                  <a:pt x="14812" y="13157"/>
                  <a:pt x="14812" y="13157"/>
                </a:cubicBezTo>
                <a:cubicBezTo>
                  <a:pt x="14844" y="13157"/>
                  <a:pt x="14844" y="13157"/>
                  <a:pt x="14844" y="13157"/>
                </a:cubicBezTo>
                <a:cubicBezTo>
                  <a:pt x="14844" y="13157"/>
                  <a:pt x="14844" y="13157"/>
                  <a:pt x="14875" y="13188"/>
                </a:cubicBezTo>
                <a:cubicBezTo>
                  <a:pt x="14875" y="13188"/>
                  <a:pt x="14875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06" y="13219"/>
                  <a:pt x="14906" y="13219"/>
                </a:cubicBezTo>
                <a:cubicBezTo>
                  <a:pt x="14906" y="13219"/>
                  <a:pt x="14937" y="13250"/>
                  <a:pt x="14937" y="13250"/>
                </a:cubicBezTo>
                <a:cubicBezTo>
                  <a:pt x="14937" y="13250"/>
                  <a:pt x="14937" y="13250"/>
                  <a:pt x="14937" y="13250"/>
                </a:cubicBezTo>
                <a:cubicBezTo>
                  <a:pt x="14937" y="13250"/>
                  <a:pt x="14937" y="13282"/>
                  <a:pt x="14969" y="13250"/>
                </a:cubicBezTo>
                <a:cubicBezTo>
                  <a:pt x="14969" y="13282"/>
                  <a:pt x="14969" y="13282"/>
                  <a:pt x="14969" y="13282"/>
                </a:cubicBezTo>
                <a:cubicBezTo>
                  <a:pt x="14969" y="13282"/>
                  <a:pt x="14969" y="13282"/>
                  <a:pt x="15000" y="13313"/>
                </a:cubicBezTo>
                <a:cubicBezTo>
                  <a:pt x="15000" y="13313"/>
                  <a:pt x="15000" y="13313"/>
                  <a:pt x="15000" y="13313"/>
                </a:cubicBezTo>
                <a:cubicBezTo>
                  <a:pt x="15000" y="13313"/>
                  <a:pt x="15031" y="13313"/>
                  <a:pt x="15031" y="13313"/>
                </a:cubicBezTo>
                <a:cubicBezTo>
                  <a:pt x="15031" y="13313"/>
                  <a:pt x="15031" y="13313"/>
                  <a:pt x="15031" y="13344"/>
                </a:cubicBezTo>
                <a:cubicBezTo>
                  <a:pt x="15062" y="13375"/>
                  <a:pt x="15062" y="13375"/>
                  <a:pt x="15094" y="13407"/>
                </a:cubicBezTo>
                <a:cubicBezTo>
                  <a:pt x="15125" y="13407"/>
                  <a:pt x="15125" y="13438"/>
                  <a:pt x="15156" y="13438"/>
                </a:cubicBezTo>
                <a:cubicBezTo>
                  <a:pt x="15156" y="13438"/>
                  <a:pt x="15156" y="13438"/>
                  <a:pt x="15187" y="13438"/>
                </a:cubicBezTo>
                <a:cubicBezTo>
                  <a:pt x="15219" y="13532"/>
                  <a:pt x="15312" y="13594"/>
                  <a:pt x="15375" y="13657"/>
                </a:cubicBezTo>
                <a:cubicBezTo>
                  <a:pt x="15562" y="13844"/>
                  <a:pt x="15750" y="14032"/>
                  <a:pt x="15969" y="14219"/>
                </a:cubicBezTo>
                <a:cubicBezTo>
                  <a:pt x="15969" y="14219"/>
                  <a:pt x="15969" y="14219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31" y="14282"/>
                  <a:pt x="16062" y="14313"/>
                </a:cubicBezTo>
                <a:cubicBezTo>
                  <a:pt x="16437" y="14688"/>
                  <a:pt x="16781" y="15032"/>
                  <a:pt x="17094" y="15407"/>
                </a:cubicBezTo>
                <a:cubicBezTo>
                  <a:pt x="17531" y="15907"/>
                  <a:pt x="17906" y="16375"/>
                  <a:pt x="18281" y="16907"/>
                </a:cubicBezTo>
                <a:cubicBezTo>
                  <a:pt x="18437" y="17188"/>
                  <a:pt x="18594" y="17438"/>
                  <a:pt x="18750" y="17688"/>
                </a:cubicBezTo>
                <a:cubicBezTo>
                  <a:pt x="18812" y="17813"/>
                  <a:pt x="18812" y="17813"/>
                  <a:pt x="18687" y="17813"/>
                </a:cubicBezTo>
                <a:cubicBezTo>
                  <a:pt x="18656" y="17844"/>
                  <a:pt x="18594" y="17844"/>
                  <a:pt x="18531" y="17844"/>
                </a:cubicBezTo>
                <a:cubicBezTo>
                  <a:pt x="18406" y="17844"/>
                  <a:pt x="18250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8125" y="17844"/>
                  <a:pt x="18125" y="17844"/>
                  <a:pt x="18125" y="17844"/>
                </a:cubicBezTo>
                <a:cubicBezTo>
                  <a:pt x="17687" y="17844"/>
                  <a:pt x="17250" y="17844"/>
                  <a:pt x="16844" y="17844"/>
                </a:cubicBezTo>
                <a:cubicBezTo>
                  <a:pt x="16687" y="17844"/>
                  <a:pt x="16562" y="17844"/>
                  <a:pt x="16406" y="17844"/>
                </a:cubicBezTo>
                <a:cubicBezTo>
                  <a:pt x="16000" y="17844"/>
                  <a:pt x="15594" y="17781"/>
                  <a:pt x="15187" y="17719"/>
                </a:cubicBezTo>
                <a:cubicBezTo>
                  <a:pt x="14969" y="17688"/>
                  <a:pt x="14750" y="17656"/>
                  <a:pt x="14562" y="17656"/>
                </a:cubicBezTo>
                <a:cubicBezTo>
                  <a:pt x="14344" y="17656"/>
                  <a:pt x="14125" y="17594"/>
                  <a:pt x="13937" y="17563"/>
                </a:cubicBezTo>
                <a:cubicBezTo>
                  <a:pt x="13875" y="17563"/>
                  <a:pt x="13812" y="17563"/>
                  <a:pt x="13781" y="17563"/>
                </a:cubicBezTo>
                <a:cubicBezTo>
                  <a:pt x="13687" y="17532"/>
                  <a:pt x="13625" y="17532"/>
                  <a:pt x="13531" y="17500"/>
                </a:cubicBezTo>
                <a:cubicBezTo>
                  <a:pt x="13469" y="17500"/>
                  <a:pt x="13406" y="17469"/>
                  <a:pt x="13344" y="17469"/>
                </a:cubicBezTo>
                <a:cubicBezTo>
                  <a:pt x="13344" y="17438"/>
                  <a:pt x="13312" y="17438"/>
                  <a:pt x="13312" y="17438"/>
                </a:cubicBezTo>
                <a:cubicBezTo>
                  <a:pt x="13281" y="17438"/>
                  <a:pt x="13281" y="17438"/>
                  <a:pt x="13281" y="17438"/>
                </a:cubicBezTo>
                <a:cubicBezTo>
                  <a:pt x="13187" y="17500"/>
                  <a:pt x="13187" y="17438"/>
                  <a:pt x="13125" y="17375"/>
                </a:cubicBezTo>
                <a:cubicBezTo>
                  <a:pt x="13031" y="17250"/>
                  <a:pt x="12937" y="17094"/>
                  <a:pt x="12844" y="16969"/>
                </a:cubicBezTo>
                <a:cubicBezTo>
                  <a:pt x="12719" y="16719"/>
                  <a:pt x="12531" y="16500"/>
                  <a:pt x="12344" y="16282"/>
                </a:cubicBezTo>
                <a:cubicBezTo>
                  <a:pt x="12250" y="16157"/>
                  <a:pt x="12125" y="16032"/>
                  <a:pt x="12000" y="15907"/>
                </a:cubicBezTo>
                <a:cubicBezTo>
                  <a:pt x="11906" y="15844"/>
                  <a:pt x="11812" y="15782"/>
                  <a:pt x="11781" y="15688"/>
                </a:cubicBezTo>
                <a:cubicBezTo>
                  <a:pt x="11750" y="15625"/>
                  <a:pt x="11719" y="15594"/>
                  <a:pt x="11687" y="15563"/>
                </a:cubicBezTo>
                <a:cubicBezTo>
                  <a:pt x="11625" y="15500"/>
                  <a:pt x="11531" y="15469"/>
                  <a:pt x="11531" y="15407"/>
                </a:cubicBezTo>
                <a:cubicBezTo>
                  <a:pt x="11500" y="15344"/>
                  <a:pt x="11500" y="15313"/>
                  <a:pt x="11469" y="15282"/>
                </a:cubicBezTo>
                <a:cubicBezTo>
                  <a:pt x="11125" y="14938"/>
                  <a:pt x="10750" y="14594"/>
                  <a:pt x="10375" y="14313"/>
                </a:cubicBezTo>
                <a:cubicBezTo>
                  <a:pt x="9875" y="13907"/>
                  <a:pt x="9375" y="13532"/>
                  <a:pt x="8812" y="13188"/>
                </a:cubicBezTo>
                <a:cubicBezTo>
                  <a:pt x="8750" y="13188"/>
                  <a:pt x="8719" y="13157"/>
                  <a:pt x="8687" y="13125"/>
                </a:cubicBezTo>
                <a:cubicBezTo>
                  <a:pt x="8594" y="13063"/>
                  <a:pt x="8469" y="13000"/>
                  <a:pt x="8375" y="12938"/>
                </a:cubicBezTo>
                <a:cubicBezTo>
                  <a:pt x="8375" y="12907"/>
                  <a:pt x="8375" y="12907"/>
                  <a:pt x="8375" y="12907"/>
                </a:cubicBezTo>
                <a:cubicBezTo>
                  <a:pt x="8344" y="12907"/>
                  <a:pt x="8344" y="12907"/>
                  <a:pt x="8344" y="12907"/>
                </a:cubicBezTo>
                <a:cubicBezTo>
                  <a:pt x="8375" y="12938"/>
                  <a:pt x="8375" y="12938"/>
                  <a:pt x="8375" y="12938"/>
                </a:cubicBezTo>
                <a:cubicBezTo>
                  <a:pt x="8375" y="12938"/>
                  <a:pt x="8375" y="12969"/>
                  <a:pt x="8406" y="12969"/>
                </a:cubicBezTo>
                <a:cubicBezTo>
                  <a:pt x="8406" y="12969"/>
                  <a:pt x="8406" y="13000"/>
                  <a:pt x="8437" y="13000"/>
                </a:cubicBezTo>
                <a:cubicBezTo>
                  <a:pt x="8437" y="13032"/>
                  <a:pt x="8437" y="13032"/>
                  <a:pt x="8437" y="13063"/>
                </a:cubicBezTo>
                <a:cubicBezTo>
                  <a:pt x="8312" y="13032"/>
                  <a:pt x="8219" y="12969"/>
                  <a:pt x="8125" y="12938"/>
                </a:cubicBezTo>
                <a:cubicBezTo>
                  <a:pt x="8062" y="12907"/>
                  <a:pt x="8031" y="12875"/>
                  <a:pt x="7969" y="12844"/>
                </a:cubicBezTo>
                <a:cubicBezTo>
                  <a:pt x="7969" y="12813"/>
                  <a:pt x="7937" y="12782"/>
                  <a:pt x="7969" y="12750"/>
                </a:cubicBezTo>
                <a:cubicBezTo>
                  <a:pt x="8031" y="12782"/>
                  <a:pt x="8094" y="12844"/>
                  <a:pt x="8187" y="12875"/>
                </a:cubicBezTo>
                <a:cubicBezTo>
                  <a:pt x="8219" y="12907"/>
                  <a:pt x="8250" y="12907"/>
                  <a:pt x="8250" y="12875"/>
                </a:cubicBezTo>
                <a:cubicBezTo>
                  <a:pt x="8281" y="12813"/>
                  <a:pt x="8219" y="12844"/>
                  <a:pt x="8219" y="12813"/>
                </a:cubicBezTo>
                <a:cubicBezTo>
                  <a:pt x="8125" y="12719"/>
                  <a:pt x="7969" y="12688"/>
                  <a:pt x="7844" y="12625"/>
                </a:cubicBezTo>
                <a:cubicBezTo>
                  <a:pt x="7469" y="12407"/>
                  <a:pt x="7094" y="12188"/>
                  <a:pt x="6719" y="12000"/>
                </a:cubicBezTo>
                <a:cubicBezTo>
                  <a:pt x="6656" y="11969"/>
                  <a:pt x="6594" y="11938"/>
                  <a:pt x="6531" y="11907"/>
                </a:cubicBezTo>
                <a:cubicBezTo>
                  <a:pt x="6563" y="11969"/>
                  <a:pt x="6625" y="12000"/>
                  <a:pt x="6656" y="12032"/>
                </a:cubicBezTo>
                <a:cubicBezTo>
                  <a:pt x="6688" y="12032"/>
                  <a:pt x="6688" y="12032"/>
                  <a:pt x="6688" y="12032"/>
                </a:cubicBezTo>
                <a:cubicBezTo>
                  <a:pt x="6719" y="12063"/>
                  <a:pt x="6719" y="12094"/>
                  <a:pt x="6688" y="12094"/>
                </a:cubicBezTo>
                <a:cubicBezTo>
                  <a:pt x="6563" y="12063"/>
                  <a:pt x="6438" y="11969"/>
                  <a:pt x="6313" y="11907"/>
                </a:cubicBezTo>
                <a:cubicBezTo>
                  <a:pt x="6281" y="11907"/>
                  <a:pt x="6281" y="11875"/>
                  <a:pt x="6250" y="11875"/>
                </a:cubicBezTo>
                <a:cubicBezTo>
                  <a:pt x="6188" y="11844"/>
                  <a:pt x="6156" y="11813"/>
                  <a:pt x="6094" y="11782"/>
                </a:cubicBezTo>
                <a:cubicBezTo>
                  <a:pt x="5688" y="11532"/>
                  <a:pt x="5250" y="11375"/>
                  <a:pt x="4844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88"/>
                  <a:pt x="4813" y="11188"/>
                  <a:pt x="4813" y="11188"/>
                </a:cubicBezTo>
                <a:cubicBezTo>
                  <a:pt x="4813" y="11157"/>
                  <a:pt x="4781" y="11157"/>
                  <a:pt x="4781" y="11188"/>
                </a:cubicBezTo>
                <a:cubicBezTo>
                  <a:pt x="4781" y="11157"/>
                  <a:pt x="4750" y="11157"/>
                  <a:pt x="4750" y="11157"/>
                </a:cubicBezTo>
                <a:cubicBezTo>
                  <a:pt x="4719" y="11157"/>
                  <a:pt x="4688" y="11157"/>
                  <a:pt x="4656" y="11125"/>
                </a:cubicBezTo>
                <a:cubicBezTo>
                  <a:pt x="4656" y="11125"/>
                  <a:pt x="4625" y="11125"/>
                  <a:pt x="4594" y="11094"/>
                </a:cubicBezTo>
                <a:cubicBezTo>
                  <a:pt x="4563" y="11094"/>
                  <a:pt x="4531" y="11094"/>
                  <a:pt x="4500" y="11063"/>
                </a:cubicBezTo>
                <a:cubicBezTo>
                  <a:pt x="4438" y="11063"/>
                  <a:pt x="4375" y="11032"/>
                  <a:pt x="4313" y="11032"/>
                </a:cubicBezTo>
                <a:cubicBezTo>
                  <a:pt x="3938" y="10907"/>
                  <a:pt x="3531" y="10813"/>
                  <a:pt x="3156" y="10719"/>
                </a:cubicBezTo>
                <a:cubicBezTo>
                  <a:pt x="2969" y="10688"/>
                  <a:pt x="2813" y="10688"/>
                  <a:pt x="2656" y="10657"/>
                </a:cubicBezTo>
                <a:cubicBezTo>
                  <a:pt x="2438" y="10625"/>
                  <a:pt x="2219" y="10563"/>
                  <a:pt x="1969" y="10594"/>
                </a:cubicBezTo>
                <a:cubicBezTo>
                  <a:pt x="1938" y="10625"/>
                  <a:pt x="1875" y="10657"/>
                  <a:pt x="1844" y="10625"/>
                </a:cubicBezTo>
                <a:cubicBezTo>
                  <a:pt x="1906" y="10438"/>
                  <a:pt x="2125" y="10438"/>
                  <a:pt x="2281" y="10344"/>
                </a:cubicBezTo>
                <a:cubicBezTo>
                  <a:pt x="2156" y="10375"/>
                  <a:pt x="2031" y="10407"/>
                  <a:pt x="1938" y="10407"/>
                </a:cubicBezTo>
                <a:cubicBezTo>
                  <a:pt x="1781" y="10407"/>
                  <a:pt x="1688" y="10500"/>
                  <a:pt x="1594" y="10594"/>
                </a:cubicBezTo>
                <a:cubicBezTo>
                  <a:pt x="1500" y="10688"/>
                  <a:pt x="1375" y="10782"/>
                  <a:pt x="1438" y="10938"/>
                </a:cubicBezTo>
                <a:cubicBezTo>
                  <a:pt x="1438" y="11032"/>
                  <a:pt x="1406" y="11094"/>
                  <a:pt x="1375" y="11157"/>
                </a:cubicBezTo>
                <a:cubicBezTo>
                  <a:pt x="1375" y="11188"/>
                  <a:pt x="1344" y="11250"/>
                  <a:pt x="1375" y="11313"/>
                </a:cubicBezTo>
                <a:cubicBezTo>
                  <a:pt x="1344" y="11469"/>
                  <a:pt x="1313" y="11657"/>
                  <a:pt x="1281" y="11813"/>
                </a:cubicBezTo>
                <a:cubicBezTo>
                  <a:pt x="1250" y="12000"/>
                  <a:pt x="1219" y="12157"/>
                  <a:pt x="1188" y="12344"/>
                </a:cubicBezTo>
                <a:cubicBezTo>
                  <a:pt x="1156" y="12438"/>
                  <a:pt x="1156" y="12563"/>
                  <a:pt x="1125" y="12657"/>
                </a:cubicBezTo>
                <a:cubicBezTo>
                  <a:pt x="1125" y="12750"/>
                  <a:pt x="1125" y="12875"/>
                  <a:pt x="1125" y="12969"/>
                </a:cubicBezTo>
                <a:cubicBezTo>
                  <a:pt x="1094" y="13000"/>
                  <a:pt x="1094" y="13032"/>
                  <a:pt x="1094" y="13063"/>
                </a:cubicBezTo>
                <a:cubicBezTo>
                  <a:pt x="1063" y="13125"/>
                  <a:pt x="1000" y="13219"/>
                  <a:pt x="1031" y="13313"/>
                </a:cubicBezTo>
                <a:cubicBezTo>
                  <a:pt x="1031" y="13313"/>
                  <a:pt x="1000" y="13344"/>
                  <a:pt x="1000" y="13375"/>
                </a:cubicBezTo>
                <a:cubicBezTo>
                  <a:pt x="1000" y="13375"/>
                  <a:pt x="1000" y="13375"/>
                  <a:pt x="1000" y="13375"/>
                </a:cubicBezTo>
                <a:cubicBezTo>
                  <a:pt x="1000" y="13407"/>
                  <a:pt x="1000" y="13407"/>
                  <a:pt x="1000" y="13407"/>
                </a:cubicBezTo>
                <a:cubicBezTo>
                  <a:pt x="1000" y="13438"/>
                  <a:pt x="1000" y="13438"/>
                  <a:pt x="1000" y="13469"/>
                </a:cubicBezTo>
                <a:cubicBezTo>
                  <a:pt x="969" y="13469"/>
                  <a:pt x="969" y="13500"/>
                  <a:pt x="1000" y="13500"/>
                </a:cubicBezTo>
                <a:cubicBezTo>
                  <a:pt x="969" y="13563"/>
                  <a:pt x="969" y="13625"/>
                  <a:pt x="969" y="13688"/>
                </a:cubicBezTo>
                <a:cubicBezTo>
                  <a:pt x="938" y="13719"/>
                  <a:pt x="938" y="13719"/>
                  <a:pt x="938" y="13719"/>
                </a:cubicBezTo>
                <a:cubicBezTo>
                  <a:pt x="938" y="13719"/>
                  <a:pt x="938" y="13750"/>
                  <a:pt x="938" y="13750"/>
                </a:cubicBezTo>
                <a:cubicBezTo>
                  <a:pt x="938" y="13907"/>
                  <a:pt x="875" y="14032"/>
                  <a:pt x="875" y="14188"/>
                </a:cubicBezTo>
                <a:cubicBezTo>
                  <a:pt x="844" y="14313"/>
                  <a:pt x="781" y="14438"/>
                  <a:pt x="813" y="14563"/>
                </a:cubicBezTo>
                <a:cubicBezTo>
                  <a:pt x="875" y="14500"/>
                  <a:pt x="938" y="14407"/>
                  <a:pt x="1000" y="14375"/>
                </a:cubicBezTo>
                <a:cubicBezTo>
                  <a:pt x="1250" y="14188"/>
                  <a:pt x="1563" y="14188"/>
                  <a:pt x="1844" y="14157"/>
                </a:cubicBezTo>
                <a:cubicBezTo>
                  <a:pt x="2313" y="14125"/>
                  <a:pt x="2750" y="14219"/>
                  <a:pt x="3188" y="14313"/>
                </a:cubicBezTo>
                <a:cubicBezTo>
                  <a:pt x="3750" y="14469"/>
                  <a:pt x="4250" y="14688"/>
                  <a:pt x="4781" y="14938"/>
                </a:cubicBezTo>
                <a:cubicBezTo>
                  <a:pt x="5031" y="15063"/>
                  <a:pt x="5281" y="15188"/>
                  <a:pt x="5531" y="15282"/>
                </a:cubicBezTo>
                <a:cubicBezTo>
                  <a:pt x="5875" y="15438"/>
                  <a:pt x="6219" y="15625"/>
                  <a:pt x="6563" y="15782"/>
                </a:cubicBezTo>
                <a:cubicBezTo>
                  <a:pt x="6875" y="15969"/>
                  <a:pt x="7219" y="16125"/>
                  <a:pt x="7531" y="16313"/>
                </a:cubicBezTo>
                <a:cubicBezTo>
                  <a:pt x="7781" y="16469"/>
                  <a:pt x="8031" y="16625"/>
                  <a:pt x="8281" y="16782"/>
                </a:cubicBezTo>
                <a:cubicBezTo>
                  <a:pt x="8531" y="16938"/>
                  <a:pt x="8750" y="17125"/>
                  <a:pt x="9000" y="17313"/>
                </a:cubicBezTo>
                <a:cubicBezTo>
                  <a:pt x="9312" y="17532"/>
                  <a:pt x="9625" y="17781"/>
                  <a:pt x="9937" y="18063"/>
                </a:cubicBezTo>
                <a:cubicBezTo>
                  <a:pt x="10062" y="18156"/>
                  <a:pt x="10187" y="18281"/>
                  <a:pt x="10281" y="18375"/>
                </a:cubicBezTo>
                <a:cubicBezTo>
                  <a:pt x="10406" y="18469"/>
                  <a:pt x="10500" y="18531"/>
                  <a:pt x="10469" y="18719"/>
                </a:cubicBezTo>
                <a:cubicBezTo>
                  <a:pt x="10469" y="18688"/>
                  <a:pt x="10437" y="18656"/>
                  <a:pt x="10437" y="18656"/>
                </a:cubicBezTo>
                <a:cubicBezTo>
                  <a:pt x="10375" y="18594"/>
                  <a:pt x="10312" y="18531"/>
                  <a:pt x="10219" y="18500"/>
                </a:cubicBezTo>
                <a:cubicBezTo>
                  <a:pt x="10219" y="18469"/>
                  <a:pt x="10187" y="18438"/>
                  <a:pt x="10156" y="18406"/>
                </a:cubicBezTo>
                <a:cubicBezTo>
                  <a:pt x="10125" y="18375"/>
                  <a:pt x="10062" y="18344"/>
                  <a:pt x="10031" y="18313"/>
                </a:cubicBezTo>
                <a:cubicBezTo>
                  <a:pt x="10000" y="18250"/>
                  <a:pt x="9937" y="18188"/>
                  <a:pt x="9875" y="18156"/>
                </a:cubicBezTo>
                <a:cubicBezTo>
                  <a:pt x="9844" y="18156"/>
                  <a:pt x="9812" y="18125"/>
                  <a:pt x="9781" y="18094"/>
                </a:cubicBezTo>
                <a:cubicBezTo>
                  <a:pt x="9750" y="18094"/>
                  <a:pt x="9750" y="18063"/>
                  <a:pt x="9719" y="18063"/>
                </a:cubicBezTo>
                <a:cubicBezTo>
                  <a:pt x="9719" y="18063"/>
                  <a:pt x="9719" y="18063"/>
                  <a:pt x="9719" y="18063"/>
                </a:cubicBezTo>
                <a:cubicBezTo>
                  <a:pt x="9719" y="18094"/>
                  <a:pt x="9750" y="18094"/>
                  <a:pt x="9750" y="18094"/>
                </a:cubicBezTo>
                <a:cubicBezTo>
                  <a:pt x="9781" y="18125"/>
                  <a:pt x="9812" y="18156"/>
                  <a:pt x="9812" y="18156"/>
                </a:cubicBezTo>
                <a:cubicBezTo>
                  <a:pt x="9875" y="18219"/>
                  <a:pt x="9969" y="18281"/>
                  <a:pt x="10031" y="18344"/>
                </a:cubicBezTo>
                <a:cubicBezTo>
                  <a:pt x="10062" y="18375"/>
                  <a:pt x="10094" y="18406"/>
                  <a:pt x="10125" y="18438"/>
                </a:cubicBezTo>
                <a:cubicBezTo>
                  <a:pt x="10125" y="18438"/>
                  <a:pt x="10125" y="18438"/>
                  <a:pt x="10156" y="18469"/>
                </a:cubicBezTo>
                <a:cubicBezTo>
                  <a:pt x="10156" y="18469"/>
                  <a:pt x="10187" y="18500"/>
                  <a:pt x="10219" y="18500"/>
                </a:cubicBezTo>
                <a:cubicBezTo>
                  <a:pt x="10219" y="18500"/>
                  <a:pt x="10219" y="18500"/>
                  <a:pt x="10219" y="18500"/>
                </a:cubicBezTo>
                <a:cubicBezTo>
                  <a:pt x="10250" y="18531"/>
                  <a:pt x="10250" y="18563"/>
                  <a:pt x="10281" y="18594"/>
                </a:cubicBezTo>
                <a:cubicBezTo>
                  <a:pt x="10281" y="18594"/>
                  <a:pt x="10281" y="18594"/>
                  <a:pt x="10281" y="18594"/>
                </a:cubicBezTo>
                <a:cubicBezTo>
                  <a:pt x="10500" y="18781"/>
                  <a:pt x="10687" y="18969"/>
                  <a:pt x="10875" y="19188"/>
                </a:cubicBezTo>
                <a:cubicBezTo>
                  <a:pt x="11000" y="19281"/>
                  <a:pt x="11094" y="19406"/>
                  <a:pt x="11219" y="19500"/>
                </a:cubicBezTo>
                <a:cubicBezTo>
                  <a:pt x="11312" y="19656"/>
                  <a:pt x="11469" y="19781"/>
                  <a:pt x="11531" y="19938"/>
                </a:cubicBezTo>
                <a:cubicBezTo>
                  <a:pt x="11406" y="19875"/>
                  <a:pt x="11344" y="19781"/>
                  <a:pt x="11281" y="19656"/>
                </a:cubicBezTo>
                <a:cubicBezTo>
                  <a:pt x="11031" y="19531"/>
                  <a:pt x="11031" y="19531"/>
                  <a:pt x="11031" y="19531"/>
                </a:cubicBezTo>
                <a:cubicBezTo>
                  <a:pt x="11062" y="19531"/>
                  <a:pt x="11094" y="19531"/>
                  <a:pt x="11156" y="19531"/>
                </a:cubicBezTo>
                <a:cubicBezTo>
                  <a:pt x="11031" y="19406"/>
                  <a:pt x="10937" y="19313"/>
                  <a:pt x="10844" y="19219"/>
                </a:cubicBezTo>
                <a:cubicBezTo>
                  <a:pt x="10469" y="18813"/>
                  <a:pt x="10062" y="18438"/>
                  <a:pt x="9625" y="18094"/>
                </a:cubicBezTo>
                <a:cubicBezTo>
                  <a:pt x="9125" y="17688"/>
                  <a:pt x="8625" y="17282"/>
                  <a:pt x="8094" y="16938"/>
                </a:cubicBezTo>
                <a:cubicBezTo>
                  <a:pt x="7937" y="16844"/>
                  <a:pt x="7813" y="16750"/>
                  <a:pt x="7656" y="16657"/>
                </a:cubicBezTo>
                <a:cubicBezTo>
                  <a:pt x="7656" y="16657"/>
                  <a:pt x="7625" y="16625"/>
                  <a:pt x="7594" y="16657"/>
                </a:cubicBezTo>
                <a:cubicBezTo>
                  <a:pt x="7594" y="16688"/>
                  <a:pt x="7594" y="16688"/>
                  <a:pt x="7625" y="16719"/>
                </a:cubicBezTo>
                <a:cubicBezTo>
                  <a:pt x="7906" y="16907"/>
                  <a:pt x="8187" y="17094"/>
                  <a:pt x="8500" y="17313"/>
                </a:cubicBezTo>
                <a:cubicBezTo>
                  <a:pt x="8781" y="17500"/>
                  <a:pt x="9062" y="17688"/>
                  <a:pt x="9312" y="17938"/>
                </a:cubicBezTo>
                <a:cubicBezTo>
                  <a:pt x="9312" y="17938"/>
                  <a:pt x="9281" y="17938"/>
                  <a:pt x="9281" y="17938"/>
                </a:cubicBezTo>
                <a:cubicBezTo>
                  <a:pt x="9250" y="17938"/>
                  <a:pt x="9250" y="17906"/>
                  <a:pt x="9219" y="17906"/>
                </a:cubicBezTo>
                <a:cubicBezTo>
                  <a:pt x="9219" y="17906"/>
                  <a:pt x="9187" y="17875"/>
                  <a:pt x="9187" y="17875"/>
                </a:cubicBezTo>
                <a:cubicBezTo>
                  <a:pt x="9062" y="17781"/>
                  <a:pt x="8937" y="17688"/>
                  <a:pt x="8812" y="17594"/>
                </a:cubicBezTo>
                <a:cubicBezTo>
                  <a:pt x="8781" y="17594"/>
                  <a:pt x="8781" y="17594"/>
                  <a:pt x="8750" y="17563"/>
                </a:cubicBezTo>
                <a:cubicBezTo>
                  <a:pt x="8750" y="17563"/>
                  <a:pt x="8719" y="17532"/>
                  <a:pt x="8687" y="17532"/>
                </a:cubicBezTo>
                <a:cubicBezTo>
                  <a:pt x="8656" y="17500"/>
                  <a:pt x="8625" y="17469"/>
                  <a:pt x="8594" y="17438"/>
                </a:cubicBezTo>
                <a:cubicBezTo>
                  <a:pt x="8594" y="17438"/>
                  <a:pt x="8594" y="17438"/>
                  <a:pt x="8594" y="17438"/>
                </a:cubicBezTo>
                <a:cubicBezTo>
                  <a:pt x="8562" y="17438"/>
                  <a:pt x="8562" y="17438"/>
                  <a:pt x="8531" y="17407"/>
                </a:cubicBezTo>
                <a:cubicBezTo>
                  <a:pt x="8500" y="17407"/>
                  <a:pt x="8469" y="17375"/>
                  <a:pt x="8437" y="17375"/>
                </a:cubicBezTo>
                <a:cubicBezTo>
                  <a:pt x="8406" y="17313"/>
                  <a:pt x="8344" y="17282"/>
                  <a:pt x="8312" y="17250"/>
                </a:cubicBezTo>
                <a:cubicBezTo>
                  <a:pt x="8250" y="17219"/>
                  <a:pt x="8219" y="17188"/>
                  <a:pt x="8156" y="17157"/>
                </a:cubicBezTo>
                <a:cubicBezTo>
                  <a:pt x="8156" y="17157"/>
                  <a:pt x="8156" y="17157"/>
                  <a:pt x="8156" y="17157"/>
                </a:cubicBezTo>
                <a:cubicBezTo>
                  <a:pt x="8156" y="17157"/>
                  <a:pt x="8156" y="17125"/>
                  <a:pt x="8125" y="17125"/>
                </a:cubicBezTo>
                <a:cubicBezTo>
                  <a:pt x="7937" y="17000"/>
                  <a:pt x="7750" y="16875"/>
                  <a:pt x="7563" y="16750"/>
                </a:cubicBezTo>
                <a:cubicBezTo>
                  <a:pt x="7531" y="16719"/>
                  <a:pt x="7500" y="16750"/>
                  <a:pt x="7438" y="16750"/>
                </a:cubicBezTo>
                <a:cubicBezTo>
                  <a:pt x="7563" y="16813"/>
                  <a:pt x="7656" y="16875"/>
                  <a:pt x="7750" y="16938"/>
                </a:cubicBezTo>
                <a:cubicBezTo>
                  <a:pt x="7781" y="16969"/>
                  <a:pt x="7813" y="16969"/>
                  <a:pt x="7844" y="17000"/>
                </a:cubicBezTo>
                <a:cubicBezTo>
                  <a:pt x="7844" y="17032"/>
                  <a:pt x="7875" y="17032"/>
                  <a:pt x="7875" y="17032"/>
                </a:cubicBezTo>
                <a:cubicBezTo>
                  <a:pt x="7937" y="17063"/>
                  <a:pt x="7969" y="17094"/>
                  <a:pt x="8000" y="17094"/>
                </a:cubicBezTo>
                <a:cubicBezTo>
                  <a:pt x="8062" y="17125"/>
                  <a:pt x="8094" y="17157"/>
                  <a:pt x="8156" y="17188"/>
                </a:cubicBezTo>
                <a:cubicBezTo>
                  <a:pt x="8187" y="17219"/>
                  <a:pt x="8219" y="17250"/>
                  <a:pt x="8281" y="17282"/>
                </a:cubicBezTo>
                <a:cubicBezTo>
                  <a:pt x="8281" y="17313"/>
                  <a:pt x="8312" y="17313"/>
                  <a:pt x="8344" y="17344"/>
                </a:cubicBezTo>
                <a:cubicBezTo>
                  <a:pt x="8375" y="17344"/>
                  <a:pt x="8406" y="17375"/>
                  <a:pt x="8437" y="17375"/>
                </a:cubicBezTo>
                <a:cubicBezTo>
                  <a:pt x="8406" y="17469"/>
                  <a:pt x="8375" y="17438"/>
                  <a:pt x="8312" y="17407"/>
                </a:cubicBezTo>
                <a:cubicBezTo>
                  <a:pt x="8219" y="17344"/>
                  <a:pt x="8156" y="17282"/>
                  <a:pt x="8031" y="17219"/>
                </a:cubicBezTo>
                <a:cubicBezTo>
                  <a:pt x="7719" y="17063"/>
                  <a:pt x="7438" y="16907"/>
                  <a:pt x="7156" y="16719"/>
                </a:cubicBezTo>
                <a:cubicBezTo>
                  <a:pt x="7000" y="16625"/>
                  <a:pt x="6844" y="16563"/>
                  <a:pt x="6688" y="16469"/>
                </a:cubicBezTo>
                <a:cubicBezTo>
                  <a:pt x="6594" y="16375"/>
                  <a:pt x="6469" y="16344"/>
                  <a:pt x="6344" y="16282"/>
                </a:cubicBezTo>
                <a:cubicBezTo>
                  <a:pt x="6188" y="16188"/>
                  <a:pt x="6063" y="16094"/>
                  <a:pt x="5906" y="16032"/>
                </a:cubicBezTo>
                <a:cubicBezTo>
                  <a:pt x="5500" y="15844"/>
                  <a:pt x="5094" y="15625"/>
                  <a:pt x="4688" y="15469"/>
                </a:cubicBezTo>
                <a:cubicBezTo>
                  <a:pt x="4594" y="15469"/>
                  <a:pt x="4531" y="15438"/>
                  <a:pt x="4469" y="15407"/>
                </a:cubicBezTo>
                <a:cubicBezTo>
                  <a:pt x="4281" y="15313"/>
                  <a:pt x="4094" y="15250"/>
                  <a:pt x="3875" y="15157"/>
                </a:cubicBezTo>
                <a:cubicBezTo>
                  <a:pt x="3750" y="15094"/>
                  <a:pt x="3594" y="15063"/>
                  <a:pt x="3469" y="15032"/>
                </a:cubicBezTo>
                <a:cubicBezTo>
                  <a:pt x="3188" y="14907"/>
                  <a:pt x="2875" y="14844"/>
                  <a:pt x="2594" y="14782"/>
                </a:cubicBezTo>
                <a:cubicBezTo>
                  <a:pt x="2406" y="14750"/>
                  <a:pt x="2219" y="14688"/>
                  <a:pt x="2031" y="14688"/>
                </a:cubicBezTo>
                <a:cubicBezTo>
                  <a:pt x="1781" y="14688"/>
                  <a:pt x="1531" y="14563"/>
                  <a:pt x="1313" y="14625"/>
                </a:cubicBezTo>
                <a:cubicBezTo>
                  <a:pt x="1281" y="14625"/>
                  <a:pt x="1250" y="14625"/>
                  <a:pt x="1250" y="14625"/>
                </a:cubicBezTo>
                <a:cubicBezTo>
                  <a:pt x="1250" y="14594"/>
                  <a:pt x="1281" y="14563"/>
                  <a:pt x="1281" y="14563"/>
                </a:cubicBezTo>
                <a:cubicBezTo>
                  <a:pt x="1313" y="14563"/>
                  <a:pt x="1344" y="14563"/>
                  <a:pt x="1375" y="14563"/>
                </a:cubicBezTo>
                <a:cubicBezTo>
                  <a:pt x="1500" y="14532"/>
                  <a:pt x="1656" y="14469"/>
                  <a:pt x="1781" y="14500"/>
                </a:cubicBezTo>
                <a:cubicBezTo>
                  <a:pt x="1531" y="14438"/>
                  <a:pt x="1281" y="14469"/>
                  <a:pt x="1031" y="14563"/>
                </a:cubicBezTo>
                <a:cubicBezTo>
                  <a:pt x="1188" y="14438"/>
                  <a:pt x="1375" y="14407"/>
                  <a:pt x="1594" y="14375"/>
                </a:cubicBezTo>
                <a:cubicBezTo>
                  <a:pt x="1500" y="14313"/>
                  <a:pt x="1469" y="14282"/>
                  <a:pt x="1375" y="14313"/>
                </a:cubicBezTo>
                <a:cubicBezTo>
                  <a:pt x="1281" y="14313"/>
                  <a:pt x="1219" y="14344"/>
                  <a:pt x="1156" y="14375"/>
                </a:cubicBezTo>
                <a:cubicBezTo>
                  <a:pt x="906" y="14469"/>
                  <a:pt x="750" y="14625"/>
                  <a:pt x="719" y="14938"/>
                </a:cubicBezTo>
                <a:cubicBezTo>
                  <a:pt x="688" y="14969"/>
                  <a:pt x="688" y="15032"/>
                  <a:pt x="688" y="15094"/>
                </a:cubicBezTo>
                <a:cubicBezTo>
                  <a:pt x="688" y="15157"/>
                  <a:pt x="688" y="15219"/>
                  <a:pt x="656" y="15250"/>
                </a:cubicBezTo>
                <a:cubicBezTo>
                  <a:pt x="656" y="15344"/>
                  <a:pt x="625" y="15407"/>
                  <a:pt x="625" y="15500"/>
                </a:cubicBezTo>
                <a:cubicBezTo>
                  <a:pt x="594" y="15594"/>
                  <a:pt x="594" y="15657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50"/>
                  <a:pt x="563" y="15750"/>
                  <a:pt x="563" y="15750"/>
                </a:cubicBezTo>
                <a:cubicBezTo>
                  <a:pt x="563" y="15782"/>
                  <a:pt x="563" y="15782"/>
                  <a:pt x="563" y="15782"/>
                </a:cubicBezTo>
                <a:cubicBezTo>
                  <a:pt x="563" y="15813"/>
                  <a:pt x="563" y="15844"/>
                  <a:pt x="531" y="15875"/>
                </a:cubicBezTo>
                <a:cubicBezTo>
                  <a:pt x="531" y="15875"/>
                  <a:pt x="531" y="15875"/>
                  <a:pt x="531" y="15907"/>
                </a:cubicBezTo>
                <a:cubicBezTo>
                  <a:pt x="469" y="16188"/>
                  <a:pt x="438" y="16469"/>
                  <a:pt x="344" y="16750"/>
                </a:cubicBezTo>
                <a:cubicBezTo>
                  <a:pt x="344" y="16813"/>
                  <a:pt x="344" y="16875"/>
                  <a:pt x="313" y="16938"/>
                </a:cubicBezTo>
                <a:cubicBezTo>
                  <a:pt x="281" y="17094"/>
                  <a:pt x="281" y="17282"/>
                  <a:pt x="219" y="17469"/>
                </a:cubicBezTo>
                <a:cubicBezTo>
                  <a:pt x="156" y="17563"/>
                  <a:pt x="156" y="17656"/>
                  <a:pt x="156" y="17750"/>
                </a:cubicBezTo>
                <a:cubicBezTo>
                  <a:pt x="156" y="17781"/>
                  <a:pt x="156" y="17781"/>
                  <a:pt x="125" y="17813"/>
                </a:cubicBezTo>
                <a:cubicBezTo>
                  <a:pt x="125" y="17906"/>
                  <a:pt x="94" y="18000"/>
                  <a:pt x="63" y="18094"/>
                </a:cubicBezTo>
                <a:cubicBezTo>
                  <a:pt x="63" y="18188"/>
                  <a:pt x="31" y="18281"/>
                  <a:pt x="31" y="18375"/>
                </a:cubicBezTo>
                <a:cubicBezTo>
                  <a:pt x="31" y="18438"/>
                  <a:pt x="0" y="18500"/>
                  <a:pt x="0" y="18594"/>
                </a:cubicBezTo>
                <a:cubicBezTo>
                  <a:pt x="0" y="18625"/>
                  <a:pt x="0" y="18656"/>
                  <a:pt x="31" y="18719"/>
                </a:cubicBezTo>
                <a:cubicBezTo>
                  <a:pt x="31" y="18781"/>
                  <a:pt x="94" y="18844"/>
                  <a:pt x="94" y="18906"/>
                </a:cubicBezTo>
                <a:cubicBezTo>
                  <a:pt x="94" y="18906"/>
                  <a:pt x="94" y="18938"/>
                  <a:pt x="125" y="18938"/>
                </a:cubicBezTo>
                <a:cubicBezTo>
                  <a:pt x="125" y="18969"/>
                  <a:pt x="125" y="18969"/>
                  <a:pt x="125" y="18969"/>
                </a:cubicBezTo>
                <a:cubicBezTo>
                  <a:pt x="125" y="18969"/>
                  <a:pt x="156" y="18969"/>
                  <a:pt x="156" y="18969"/>
                </a:cubicBezTo>
                <a:cubicBezTo>
                  <a:pt x="156" y="18969"/>
                  <a:pt x="156" y="18969"/>
                  <a:pt x="156" y="18969"/>
                </a:cubicBezTo>
                <a:cubicBezTo>
                  <a:pt x="156" y="19063"/>
                  <a:pt x="219" y="19125"/>
                  <a:pt x="250" y="19188"/>
                </a:cubicBezTo>
                <a:cubicBezTo>
                  <a:pt x="281" y="19188"/>
                  <a:pt x="281" y="19219"/>
                  <a:pt x="313" y="19250"/>
                </a:cubicBezTo>
                <a:cubicBezTo>
                  <a:pt x="781" y="19844"/>
                  <a:pt x="1438" y="20219"/>
                  <a:pt x="2094" y="20594"/>
                </a:cubicBezTo>
                <a:cubicBezTo>
                  <a:pt x="2156" y="20625"/>
                  <a:pt x="2219" y="20656"/>
                  <a:pt x="2281" y="20688"/>
                </a:cubicBezTo>
                <a:cubicBezTo>
                  <a:pt x="2281" y="20688"/>
                  <a:pt x="2313" y="20688"/>
                  <a:pt x="2313" y="20688"/>
                </a:cubicBezTo>
                <a:cubicBezTo>
                  <a:pt x="2313" y="20688"/>
                  <a:pt x="2344" y="20719"/>
                  <a:pt x="2344" y="20719"/>
                </a:cubicBezTo>
                <a:cubicBezTo>
                  <a:pt x="2375" y="20750"/>
                  <a:pt x="2438" y="20781"/>
                  <a:pt x="2469" y="20781"/>
                </a:cubicBezTo>
                <a:cubicBezTo>
                  <a:pt x="2531" y="20813"/>
                  <a:pt x="2563" y="20844"/>
                  <a:pt x="2594" y="20875"/>
                </a:cubicBezTo>
                <a:cubicBezTo>
                  <a:pt x="2750" y="20938"/>
                  <a:pt x="2906" y="21031"/>
                  <a:pt x="3063" y="21094"/>
                </a:cubicBezTo>
                <a:cubicBezTo>
                  <a:pt x="3563" y="21344"/>
                  <a:pt x="4063" y="21563"/>
                  <a:pt x="4563" y="21781"/>
                </a:cubicBezTo>
                <a:cubicBezTo>
                  <a:pt x="4531" y="21844"/>
                  <a:pt x="4500" y="21813"/>
                  <a:pt x="4469" y="21813"/>
                </a:cubicBezTo>
                <a:cubicBezTo>
                  <a:pt x="4344" y="21750"/>
                  <a:pt x="4219" y="21750"/>
                  <a:pt x="4094" y="21719"/>
                </a:cubicBezTo>
                <a:cubicBezTo>
                  <a:pt x="3969" y="21719"/>
                  <a:pt x="3875" y="21781"/>
                  <a:pt x="3844" y="21844"/>
                </a:cubicBezTo>
                <a:cubicBezTo>
                  <a:pt x="3844" y="21844"/>
                  <a:pt x="3844" y="21844"/>
                  <a:pt x="3844" y="21844"/>
                </a:cubicBezTo>
                <a:cubicBezTo>
                  <a:pt x="3750" y="22000"/>
                  <a:pt x="3719" y="22125"/>
                  <a:pt x="3656" y="22250"/>
                </a:cubicBezTo>
                <a:cubicBezTo>
                  <a:pt x="3625" y="22313"/>
                  <a:pt x="3594" y="22344"/>
                  <a:pt x="3594" y="22375"/>
                </a:cubicBezTo>
                <a:cubicBezTo>
                  <a:pt x="3563" y="22406"/>
                  <a:pt x="3563" y="22438"/>
                  <a:pt x="3563" y="22469"/>
                </a:cubicBezTo>
                <a:cubicBezTo>
                  <a:pt x="3500" y="22563"/>
                  <a:pt x="3469" y="22625"/>
                  <a:pt x="3438" y="22719"/>
                </a:cubicBezTo>
                <a:cubicBezTo>
                  <a:pt x="3438" y="22719"/>
                  <a:pt x="3438" y="22719"/>
                  <a:pt x="3438" y="22719"/>
                </a:cubicBezTo>
                <a:cubicBezTo>
                  <a:pt x="3375" y="22813"/>
                  <a:pt x="3313" y="22938"/>
                  <a:pt x="3281" y="23031"/>
                </a:cubicBezTo>
                <a:cubicBezTo>
                  <a:pt x="3281" y="23031"/>
                  <a:pt x="3281" y="23031"/>
                  <a:pt x="3281" y="23031"/>
                </a:cubicBezTo>
                <a:cubicBezTo>
                  <a:pt x="3250" y="23094"/>
                  <a:pt x="3250" y="23156"/>
                  <a:pt x="3219" y="23219"/>
                </a:cubicBezTo>
                <a:cubicBezTo>
                  <a:pt x="3188" y="23250"/>
                  <a:pt x="3188" y="23281"/>
                  <a:pt x="3156" y="23313"/>
                </a:cubicBezTo>
                <a:cubicBezTo>
                  <a:pt x="3125" y="23406"/>
                  <a:pt x="3063" y="23500"/>
                  <a:pt x="3031" y="23594"/>
                </a:cubicBezTo>
                <a:cubicBezTo>
                  <a:pt x="3000" y="23594"/>
                  <a:pt x="3000" y="23625"/>
                  <a:pt x="3000" y="23656"/>
                </a:cubicBezTo>
                <a:cubicBezTo>
                  <a:pt x="2969" y="23656"/>
                  <a:pt x="2969" y="23688"/>
                  <a:pt x="2969" y="23719"/>
                </a:cubicBezTo>
                <a:cubicBezTo>
                  <a:pt x="2875" y="23844"/>
                  <a:pt x="2813" y="24000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750" y="24125"/>
                  <a:pt x="2750" y="24125"/>
                  <a:pt x="2750" y="24125"/>
                </a:cubicBezTo>
                <a:cubicBezTo>
                  <a:pt x="2656" y="24375"/>
                  <a:pt x="2531" y="24594"/>
                  <a:pt x="2438" y="24813"/>
                </a:cubicBezTo>
                <a:cubicBezTo>
                  <a:pt x="2406" y="24844"/>
                  <a:pt x="2406" y="24844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406" y="24875"/>
                  <a:pt x="2406" y="24875"/>
                  <a:pt x="2406" y="24875"/>
                </a:cubicBezTo>
                <a:cubicBezTo>
                  <a:pt x="2344" y="24969"/>
                  <a:pt x="2281" y="25094"/>
                  <a:pt x="2219" y="25219"/>
                </a:cubicBezTo>
                <a:cubicBezTo>
                  <a:pt x="2188" y="25250"/>
                  <a:pt x="2188" y="25281"/>
                  <a:pt x="2156" y="25313"/>
                </a:cubicBezTo>
                <a:cubicBezTo>
                  <a:pt x="2125" y="25375"/>
                  <a:pt x="2156" y="25406"/>
                  <a:pt x="2250" y="25406"/>
                </a:cubicBezTo>
                <a:cubicBezTo>
                  <a:pt x="2250" y="25406"/>
                  <a:pt x="2250" y="25406"/>
                  <a:pt x="2281" y="25438"/>
                </a:cubicBezTo>
                <a:cubicBezTo>
                  <a:pt x="2281" y="25438"/>
                  <a:pt x="2313" y="25469"/>
                  <a:pt x="2344" y="25438"/>
                </a:cubicBezTo>
                <a:cubicBezTo>
                  <a:pt x="2375" y="25406"/>
                  <a:pt x="2344" y="25375"/>
                  <a:pt x="2344" y="25375"/>
                </a:cubicBezTo>
                <a:cubicBezTo>
                  <a:pt x="2313" y="25344"/>
                  <a:pt x="2313" y="25313"/>
                  <a:pt x="2313" y="25313"/>
                </a:cubicBezTo>
                <a:cubicBezTo>
                  <a:pt x="2281" y="25250"/>
                  <a:pt x="2313" y="25219"/>
                  <a:pt x="2344" y="25188"/>
                </a:cubicBezTo>
                <a:cubicBezTo>
                  <a:pt x="2344" y="25188"/>
                  <a:pt x="2344" y="25188"/>
                  <a:pt x="2375" y="25219"/>
                </a:cubicBezTo>
                <a:cubicBezTo>
                  <a:pt x="2469" y="25281"/>
                  <a:pt x="2594" y="25344"/>
                  <a:pt x="2656" y="25438"/>
                </a:cubicBezTo>
                <a:cubicBezTo>
                  <a:pt x="2719" y="25531"/>
                  <a:pt x="2781" y="25594"/>
                  <a:pt x="2844" y="25688"/>
                </a:cubicBezTo>
                <a:cubicBezTo>
                  <a:pt x="2938" y="25781"/>
                  <a:pt x="3063" y="25875"/>
                  <a:pt x="3156" y="26031"/>
                </a:cubicBezTo>
                <a:cubicBezTo>
                  <a:pt x="3219" y="26156"/>
                  <a:pt x="3344" y="26250"/>
                  <a:pt x="3438" y="26344"/>
                </a:cubicBezTo>
                <a:cubicBezTo>
                  <a:pt x="3313" y="26344"/>
                  <a:pt x="3188" y="26344"/>
                  <a:pt x="3094" y="26344"/>
                </a:cubicBezTo>
                <a:cubicBezTo>
                  <a:pt x="3094" y="26313"/>
                  <a:pt x="3094" y="26281"/>
                  <a:pt x="3094" y="26250"/>
                </a:cubicBezTo>
                <a:cubicBezTo>
                  <a:pt x="3125" y="26281"/>
                  <a:pt x="3156" y="26313"/>
                  <a:pt x="3156" y="26281"/>
                </a:cubicBezTo>
                <a:cubicBezTo>
                  <a:pt x="3188" y="26219"/>
                  <a:pt x="3125" y="26188"/>
                  <a:pt x="3094" y="26188"/>
                </a:cubicBezTo>
                <a:cubicBezTo>
                  <a:pt x="3000" y="26156"/>
                  <a:pt x="2938" y="26094"/>
                  <a:pt x="2906" y="26031"/>
                </a:cubicBezTo>
                <a:cubicBezTo>
                  <a:pt x="2875" y="26000"/>
                  <a:pt x="2813" y="25938"/>
                  <a:pt x="2781" y="25906"/>
                </a:cubicBezTo>
                <a:cubicBezTo>
                  <a:pt x="2719" y="25875"/>
                  <a:pt x="2656" y="25813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81"/>
                  <a:pt x="2563" y="25781"/>
                  <a:pt x="2563" y="25781"/>
                </a:cubicBezTo>
                <a:cubicBezTo>
                  <a:pt x="2563" y="25750"/>
                  <a:pt x="2531" y="25750"/>
                  <a:pt x="2500" y="25719"/>
                </a:cubicBezTo>
                <a:cubicBezTo>
                  <a:pt x="2500" y="25719"/>
                  <a:pt x="2500" y="25719"/>
                  <a:pt x="2500" y="25719"/>
                </a:cubicBezTo>
                <a:cubicBezTo>
                  <a:pt x="2500" y="25781"/>
                  <a:pt x="2500" y="25781"/>
                  <a:pt x="2563" y="25781"/>
                </a:cubicBezTo>
                <a:cubicBezTo>
                  <a:pt x="2563" y="25813"/>
                  <a:pt x="2563" y="25844"/>
                  <a:pt x="2563" y="25844"/>
                </a:cubicBezTo>
                <a:cubicBezTo>
                  <a:pt x="2563" y="25844"/>
                  <a:pt x="2563" y="25844"/>
                  <a:pt x="2563" y="25844"/>
                </a:cubicBezTo>
                <a:cubicBezTo>
                  <a:pt x="2531" y="25844"/>
                  <a:pt x="2500" y="25844"/>
                  <a:pt x="2469" y="25813"/>
                </a:cubicBezTo>
                <a:cubicBezTo>
                  <a:pt x="2469" y="25813"/>
                  <a:pt x="2469" y="25781"/>
                  <a:pt x="2469" y="25781"/>
                </a:cubicBezTo>
                <a:cubicBezTo>
                  <a:pt x="2438" y="25750"/>
                  <a:pt x="2406" y="25750"/>
                  <a:pt x="2375" y="25750"/>
                </a:cubicBezTo>
                <a:cubicBezTo>
                  <a:pt x="2375" y="25688"/>
                  <a:pt x="2344" y="25625"/>
                  <a:pt x="2281" y="25594"/>
                </a:cubicBezTo>
                <a:cubicBezTo>
                  <a:pt x="2281" y="25563"/>
                  <a:pt x="2250" y="25531"/>
                  <a:pt x="2219" y="25500"/>
                </a:cubicBezTo>
                <a:cubicBezTo>
                  <a:pt x="2219" y="25500"/>
                  <a:pt x="2219" y="25500"/>
                  <a:pt x="2188" y="25500"/>
                </a:cubicBezTo>
                <a:cubicBezTo>
                  <a:pt x="2188" y="25500"/>
                  <a:pt x="2188" y="25500"/>
                  <a:pt x="2156" y="25500"/>
                </a:cubicBezTo>
                <a:cubicBezTo>
                  <a:pt x="2156" y="25500"/>
                  <a:pt x="2156" y="25469"/>
                  <a:pt x="2125" y="25469"/>
                </a:cubicBezTo>
                <a:cubicBezTo>
                  <a:pt x="2125" y="25469"/>
                  <a:pt x="2125" y="25438"/>
                  <a:pt x="2094" y="25438"/>
                </a:cubicBezTo>
                <a:cubicBezTo>
                  <a:pt x="2094" y="25500"/>
                  <a:pt x="2063" y="25531"/>
                  <a:pt x="2063" y="25563"/>
                </a:cubicBezTo>
                <a:cubicBezTo>
                  <a:pt x="1969" y="25719"/>
                  <a:pt x="1969" y="25719"/>
                  <a:pt x="2094" y="25813"/>
                </a:cubicBezTo>
                <a:cubicBezTo>
                  <a:pt x="2313" y="26063"/>
                  <a:pt x="2563" y="26313"/>
                  <a:pt x="2813" y="26500"/>
                </a:cubicBezTo>
                <a:cubicBezTo>
                  <a:pt x="2844" y="26594"/>
                  <a:pt x="2938" y="26594"/>
                  <a:pt x="3031" y="26656"/>
                </a:cubicBezTo>
                <a:cubicBezTo>
                  <a:pt x="3031" y="26625"/>
                  <a:pt x="3000" y="26625"/>
                  <a:pt x="3000" y="26594"/>
                </a:cubicBezTo>
                <a:cubicBezTo>
                  <a:pt x="3094" y="26656"/>
                  <a:pt x="3188" y="26688"/>
                  <a:pt x="3313" y="26719"/>
                </a:cubicBezTo>
                <a:cubicBezTo>
                  <a:pt x="3313" y="26750"/>
                  <a:pt x="3344" y="26781"/>
                  <a:pt x="3375" y="26781"/>
                </a:cubicBezTo>
                <a:cubicBezTo>
                  <a:pt x="3406" y="26781"/>
                  <a:pt x="3438" y="26781"/>
                  <a:pt x="3438" y="26750"/>
                </a:cubicBezTo>
                <a:cubicBezTo>
                  <a:pt x="3656" y="26813"/>
                  <a:pt x="3906" y="26844"/>
                  <a:pt x="4219" y="26844"/>
                </a:cubicBezTo>
                <a:cubicBezTo>
                  <a:pt x="5125" y="26875"/>
                  <a:pt x="4938" y="26844"/>
                  <a:pt x="4563" y="26844"/>
                </a:cubicBezTo>
                <a:cubicBezTo>
                  <a:pt x="4469" y="26781"/>
                  <a:pt x="4375" y="26781"/>
                  <a:pt x="4250" y="26781"/>
                </a:cubicBezTo>
                <a:cubicBezTo>
                  <a:pt x="4188" y="26781"/>
                  <a:pt x="4094" y="26813"/>
                  <a:pt x="4000" y="26750"/>
                </a:cubicBezTo>
                <a:cubicBezTo>
                  <a:pt x="4063" y="26750"/>
                  <a:pt x="4156" y="26750"/>
                  <a:pt x="4250" y="26750"/>
                </a:cubicBezTo>
                <a:cubicBezTo>
                  <a:pt x="4406" y="26781"/>
                  <a:pt x="4594" y="26719"/>
                  <a:pt x="4750" y="26781"/>
                </a:cubicBezTo>
                <a:cubicBezTo>
                  <a:pt x="4781" y="26781"/>
                  <a:pt x="4844" y="26781"/>
                  <a:pt x="4875" y="26688"/>
                </a:cubicBezTo>
                <a:cubicBezTo>
                  <a:pt x="4656" y="26688"/>
                  <a:pt x="4438" y="26688"/>
                  <a:pt x="4219" y="26688"/>
                </a:cubicBezTo>
                <a:cubicBezTo>
                  <a:pt x="4219" y="26688"/>
                  <a:pt x="4188" y="26688"/>
                  <a:pt x="4188" y="26688"/>
                </a:cubicBezTo>
                <a:cubicBezTo>
                  <a:pt x="4281" y="26688"/>
                  <a:pt x="4375" y="26688"/>
                  <a:pt x="4469" y="26688"/>
                </a:cubicBezTo>
                <a:cubicBezTo>
                  <a:pt x="4813" y="26656"/>
                  <a:pt x="4938" y="26656"/>
                  <a:pt x="4938" y="26656"/>
                </a:cubicBezTo>
                <a:cubicBezTo>
                  <a:pt x="4938" y="26656"/>
                  <a:pt x="4938" y="26656"/>
                  <a:pt x="4938" y="26656"/>
                </a:cubicBezTo>
                <a:cubicBezTo>
                  <a:pt x="4969" y="26656"/>
                  <a:pt x="5000" y="26656"/>
                  <a:pt x="5000" y="26656"/>
                </a:cubicBezTo>
                <a:cubicBezTo>
                  <a:pt x="5063" y="26656"/>
                  <a:pt x="5125" y="26656"/>
                  <a:pt x="5188" y="26656"/>
                </a:cubicBezTo>
                <a:cubicBezTo>
                  <a:pt x="5219" y="26656"/>
                  <a:pt x="5281" y="26688"/>
                  <a:pt x="5344" y="26688"/>
                </a:cubicBezTo>
                <a:cubicBezTo>
                  <a:pt x="5406" y="26688"/>
                  <a:pt x="5438" y="26656"/>
                  <a:pt x="5500" y="26656"/>
                </a:cubicBezTo>
                <a:cubicBezTo>
                  <a:pt x="5531" y="26656"/>
                  <a:pt x="5531" y="26656"/>
                  <a:pt x="5563" y="26656"/>
                </a:cubicBezTo>
                <a:cubicBezTo>
                  <a:pt x="5594" y="26656"/>
                  <a:pt x="5594" y="26688"/>
                  <a:pt x="5625" y="26688"/>
                </a:cubicBezTo>
                <a:cubicBezTo>
                  <a:pt x="5625" y="26688"/>
                  <a:pt x="5625" y="26688"/>
                  <a:pt x="5625" y="26688"/>
                </a:cubicBezTo>
                <a:cubicBezTo>
                  <a:pt x="5594" y="26719"/>
                  <a:pt x="5594" y="26719"/>
                  <a:pt x="5594" y="26719"/>
                </a:cubicBezTo>
                <a:cubicBezTo>
                  <a:pt x="5938" y="26719"/>
                  <a:pt x="6250" y="26719"/>
                  <a:pt x="6594" y="26719"/>
                </a:cubicBezTo>
                <a:cubicBezTo>
                  <a:pt x="6656" y="26719"/>
                  <a:pt x="6719" y="26688"/>
                  <a:pt x="6813" y="26688"/>
                </a:cubicBezTo>
                <a:cubicBezTo>
                  <a:pt x="6875" y="26688"/>
                  <a:pt x="6938" y="26656"/>
                  <a:pt x="7000" y="26656"/>
                </a:cubicBezTo>
                <a:cubicBezTo>
                  <a:pt x="7125" y="26656"/>
                  <a:pt x="7219" y="26656"/>
                  <a:pt x="7313" y="26625"/>
                </a:cubicBezTo>
                <a:cubicBezTo>
                  <a:pt x="7500" y="26625"/>
                  <a:pt x="7688" y="26594"/>
                  <a:pt x="7844" y="26563"/>
                </a:cubicBezTo>
                <a:cubicBezTo>
                  <a:pt x="7844" y="26594"/>
                  <a:pt x="7875" y="26594"/>
                  <a:pt x="7875" y="26594"/>
                </a:cubicBezTo>
                <a:cubicBezTo>
                  <a:pt x="7875" y="26594"/>
                  <a:pt x="7906" y="26594"/>
                  <a:pt x="7906" y="26563"/>
                </a:cubicBezTo>
                <a:cubicBezTo>
                  <a:pt x="7906" y="26563"/>
                  <a:pt x="7906" y="26563"/>
                  <a:pt x="7906" y="26563"/>
                </a:cubicBezTo>
                <a:cubicBezTo>
                  <a:pt x="7937" y="26563"/>
                  <a:pt x="7937" y="26563"/>
                  <a:pt x="7937" y="26563"/>
                </a:cubicBezTo>
                <a:cubicBezTo>
                  <a:pt x="7937" y="26563"/>
                  <a:pt x="7969" y="26563"/>
                  <a:pt x="7969" y="26563"/>
                </a:cubicBezTo>
                <a:cubicBezTo>
                  <a:pt x="7969" y="26563"/>
                  <a:pt x="8000" y="26531"/>
                  <a:pt x="8000" y="26531"/>
                </a:cubicBezTo>
                <a:cubicBezTo>
                  <a:pt x="8031" y="26563"/>
                  <a:pt x="8062" y="26563"/>
                  <a:pt x="8062" y="26531"/>
                </a:cubicBezTo>
                <a:cubicBezTo>
                  <a:pt x="8094" y="26531"/>
                  <a:pt x="8125" y="26531"/>
                  <a:pt x="8125" y="26531"/>
                </a:cubicBezTo>
                <a:cubicBezTo>
                  <a:pt x="8187" y="26531"/>
                  <a:pt x="8219" y="26500"/>
                  <a:pt x="8281" y="26531"/>
                </a:cubicBezTo>
                <a:cubicBezTo>
                  <a:pt x="8437" y="26594"/>
                  <a:pt x="8625" y="26500"/>
                  <a:pt x="8781" y="26469"/>
                </a:cubicBezTo>
                <a:cubicBezTo>
                  <a:pt x="8844" y="26438"/>
                  <a:pt x="8906" y="26438"/>
                  <a:pt x="8969" y="26438"/>
                </a:cubicBezTo>
                <a:cubicBezTo>
                  <a:pt x="9187" y="26469"/>
                  <a:pt x="9375" y="26375"/>
                  <a:pt x="9531" y="26344"/>
                </a:cubicBezTo>
                <a:cubicBezTo>
                  <a:pt x="9844" y="26250"/>
                  <a:pt x="10094" y="26063"/>
                  <a:pt x="10312" y="25844"/>
                </a:cubicBezTo>
                <a:cubicBezTo>
                  <a:pt x="10406" y="25719"/>
                  <a:pt x="10500" y="25625"/>
                  <a:pt x="10594" y="25469"/>
                </a:cubicBezTo>
                <a:cubicBezTo>
                  <a:pt x="10531" y="25469"/>
                  <a:pt x="10500" y="25500"/>
                  <a:pt x="10500" y="25531"/>
                </a:cubicBezTo>
                <a:cubicBezTo>
                  <a:pt x="10312" y="25688"/>
                  <a:pt x="10094" y="25813"/>
                  <a:pt x="9906" y="25938"/>
                </a:cubicBezTo>
                <a:cubicBezTo>
                  <a:pt x="9875" y="25938"/>
                  <a:pt x="9875" y="25938"/>
                  <a:pt x="9844" y="25938"/>
                </a:cubicBezTo>
                <a:cubicBezTo>
                  <a:pt x="9844" y="25938"/>
                  <a:pt x="9844" y="25938"/>
                  <a:pt x="9812" y="25906"/>
                </a:cubicBezTo>
                <a:cubicBezTo>
                  <a:pt x="9906" y="25813"/>
                  <a:pt x="10000" y="25750"/>
                  <a:pt x="10094" y="25656"/>
                </a:cubicBezTo>
                <a:cubicBezTo>
                  <a:pt x="10125" y="25625"/>
                  <a:pt x="10156" y="25594"/>
                  <a:pt x="10187" y="25563"/>
                </a:cubicBezTo>
                <a:cubicBezTo>
                  <a:pt x="10312" y="25469"/>
                  <a:pt x="10437" y="25375"/>
                  <a:pt x="10562" y="25313"/>
                </a:cubicBezTo>
                <a:cubicBezTo>
                  <a:pt x="10594" y="25313"/>
                  <a:pt x="10625" y="25250"/>
                  <a:pt x="10656" y="25281"/>
                </a:cubicBezTo>
                <a:cubicBezTo>
                  <a:pt x="10687" y="25281"/>
                  <a:pt x="10625" y="25344"/>
                  <a:pt x="10656" y="25375"/>
                </a:cubicBezTo>
                <a:cubicBezTo>
                  <a:pt x="10906" y="25000"/>
                  <a:pt x="11125" y="24656"/>
                  <a:pt x="11375" y="24313"/>
                </a:cubicBezTo>
                <a:cubicBezTo>
                  <a:pt x="11562" y="24000"/>
                  <a:pt x="11750" y="23719"/>
                  <a:pt x="11937" y="23406"/>
                </a:cubicBezTo>
                <a:cubicBezTo>
                  <a:pt x="12000" y="23406"/>
                  <a:pt x="12062" y="23438"/>
                  <a:pt x="12125" y="23438"/>
                </a:cubicBezTo>
                <a:cubicBezTo>
                  <a:pt x="12156" y="23438"/>
                  <a:pt x="12156" y="23438"/>
                  <a:pt x="12156" y="23438"/>
                </a:cubicBezTo>
                <a:cubicBezTo>
                  <a:pt x="12281" y="23438"/>
                  <a:pt x="12406" y="23438"/>
                  <a:pt x="12531" y="23469"/>
                </a:cubicBezTo>
                <a:cubicBezTo>
                  <a:pt x="12844" y="23469"/>
                  <a:pt x="13156" y="23500"/>
                  <a:pt x="13469" y="23500"/>
                </a:cubicBezTo>
                <a:cubicBezTo>
                  <a:pt x="13531" y="23500"/>
                  <a:pt x="13594" y="23500"/>
                  <a:pt x="13656" y="23500"/>
                </a:cubicBezTo>
                <a:cubicBezTo>
                  <a:pt x="13781" y="23531"/>
                  <a:pt x="13906" y="23531"/>
                  <a:pt x="14031" y="23531"/>
                </a:cubicBezTo>
                <a:cubicBezTo>
                  <a:pt x="14062" y="23531"/>
                  <a:pt x="14125" y="23531"/>
                  <a:pt x="14156" y="23531"/>
                </a:cubicBezTo>
                <a:cubicBezTo>
                  <a:pt x="14437" y="23531"/>
                  <a:pt x="14750" y="23531"/>
                  <a:pt x="15031" y="23531"/>
                </a:cubicBezTo>
                <a:cubicBezTo>
                  <a:pt x="15281" y="23500"/>
                  <a:pt x="15500" y="23500"/>
                  <a:pt x="15719" y="23469"/>
                </a:cubicBezTo>
                <a:cubicBezTo>
                  <a:pt x="16094" y="23438"/>
                  <a:pt x="16469" y="23375"/>
                  <a:pt x="16844" y="23313"/>
                </a:cubicBezTo>
                <a:cubicBezTo>
                  <a:pt x="16906" y="23281"/>
                  <a:pt x="16969" y="23281"/>
                  <a:pt x="17031" y="23281"/>
                </a:cubicBezTo>
                <a:cubicBezTo>
                  <a:pt x="17156" y="23250"/>
                  <a:pt x="17250" y="23219"/>
                  <a:pt x="17375" y="23188"/>
                </a:cubicBezTo>
                <a:cubicBezTo>
                  <a:pt x="17375" y="23188"/>
                  <a:pt x="17406" y="23188"/>
                  <a:pt x="17437" y="23188"/>
                </a:cubicBezTo>
                <a:cubicBezTo>
                  <a:pt x="17937" y="23031"/>
                  <a:pt x="18406" y="22750"/>
                  <a:pt x="18844" y="22406"/>
                </a:cubicBezTo>
                <a:cubicBezTo>
                  <a:pt x="19125" y="22188"/>
                  <a:pt x="19312" y="21844"/>
                  <a:pt x="19500" y="21531"/>
                </a:cubicBezTo>
                <a:cubicBezTo>
                  <a:pt x="19687" y="21250"/>
                  <a:pt x="19875" y="20938"/>
                  <a:pt x="20031" y="20656"/>
                </a:cubicBezTo>
                <a:cubicBezTo>
                  <a:pt x="20344" y="20125"/>
                  <a:pt x="20656" y="19594"/>
                  <a:pt x="20969" y="19094"/>
                </a:cubicBezTo>
                <a:cubicBezTo>
                  <a:pt x="21094" y="18875"/>
                  <a:pt x="21219" y="18656"/>
                  <a:pt x="21344" y="18469"/>
                </a:cubicBezTo>
                <a:cubicBezTo>
                  <a:pt x="21437" y="18250"/>
                  <a:pt x="21594" y="18063"/>
                  <a:pt x="21719" y="17875"/>
                </a:cubicBezTo>
                <a:cubicBezTo>
                  <a:pt x="21875" y="17594"/>
                  <a:pt x="22031" y="17313"/>
                  <a:pt x="22187" y="17000"/>
                </a:cubicBezTo>
                <a:cubicBezTo>
                  <a:pt x="22375" y="16688"/>
                  <a:pt x="22562" y="16375"/>
                  <a:pt x="22781" y="16063"/>
                </a:cubicBezTo>
                <a:cubicBezTo>
                  <a:pt x="22969" y="15782"/>
                  <a:pt x="23094" y="15469"/>
                  <a:pt x="23219" y="15125"/>
                </a:cubicBezTo>
                <a:cubicBezTo>
                  <a:pt x="23281" y="14907"/>
                  <a:pt x="23344" y="14719"/>
                  <a:pt x="23375" y="14500"/>
                </a:cubicBezTo>
                <a:cubicBezTo>
                  <a:pt x="23437" y="13907"/>
                  <a:pt x="23375" y="13313"/>
                  <a:pt x="23219" y="12750"/>
                </a:cubicBezTo>
                <a:close/>
                <a:moveTo>
                  <a:pt x="10906" y="6344"/>
                </a:moveTo>
                <a:cubicBezTo>
                  <a:pt x="10906" y="6313"/>
                  <a:pt x="10906" y="6344"/>
                  <a:pt x="10906" y="6344"/>
                </a:cubicBezTo>
                <a:cubicBezTo>
                  <a:pt x="10906" y="6344"/>
                  <a:pt x="10906" y="6344"/>
                  <a:pt x="10906" y="6344"/>
                </a:cubicBezTo>
                <a:close/>
                <a:moveTo>
                  <a:pt x="11062" y="6563"/>
                </a:moveTo>
                <a:cubicBezTo>
                  <a:pt x="11031" y="6594"/>
                  <a:pt x="11031" y="6532"/>
                  <a:pt x="11000" y="6500"/>
                </a:cubicBezTo>
                <a:cubicBezTo>
                  <a:pt x="11031" y="6500"/>
                  <a:pt x="11062" y="6500"/>
                  <a:pt x="11062" y="6563"/>
                </a:cubicBezTo>
                <a:close/>
                <a:moveTo>
                  <a:pt x="16344" y="7500"/>
                </a:moveTo>
                <a:cubicBezTo>
                  <a:pt x="16125" y="7313"/>
                  <a:pt x="15937" y="7125"/>
                  <a:pt x="15719" y="6969"/>
                </a:cubicBezTo>
                <a:cubicBezTo>
                  <a:pt x="15687" y="6938"/>
                  <a:pt x="15656" y="6938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56" y="6907"/>
                  <a:pt x="15656" y="6907"/>
                  <a:pt x="15656" y="6907"/>
                </a:cubicBezTo>
                <a:cubicBezTo>
                  <a:pt x="15687" y="6907"/>
                  <a:pt x="15687" y="6907"/>
                  <a:pt x="15687" y="6875"/>
                </a:cubicBezTo>
                <a:cubicBezTo>
                  <a:pt x="15656" y="6875"/>
                  <a:pt x="15656" y="6907"/>
                  <a:pt x="15656" y="6907"/>
                </a:cubicBezTo>
                <a:cubicBezTo>
                  <a:pt x="15594" y="6875"/>
                  <a:pt x="15625" y="6844"/>
                  <a:pt x="15625" y="6813"/>
                </a:cubicBezTo>
                <a:cubicBezTo>
                  <a:pt x="15625" y="6813"/>
                  <a:pt x="15625" y="6813"/>
                  <a:pt x="15625" y="6813"/>
                </a:cubicBezTo>
                <a:cubicBezTo>
                  <a:pt x="15625" y="6813"/>
                  <a:pt x="15625" y="6813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25" y="6782"/>
                  <a:pt x="15625" y="6782"/>
                  <a:pt x="15625" y="6782"/>
                </a:cubicBezTo>
                <a:cubicBezTo>
                  <a:pt x="15656" y="6782"/>
                  <a:pt x="15687" y="6813"/>
                  <a:pt x="15719" y="6813"/>
                </a:cubicBezTo>
                <a:cubicBezTo>
                  <a:pt x="15719" y="6844"/>
                  <a:pt x="15750" y="6844"/>
                  <a:pt x="15781" y="6875"/>
                </a:cubicBezTo>
                <a:cubicBezTo>
                  <a:pt x="15812" y="6907"/>
                  <a:pt x="15875" y="6938"/>
                  <a:pt x="15906" y="6969"/>
                </a:cubicBezTo>
                <a:cubicBezTo>
                  <a:pt x="16000" y="7032"/>
                  <a:pt x="16094" y="7125"/>
                  <a:pt x="16187" y="7188"/>
                </a:cubicBezTo>
                <a:cubicBezTo>
                  <a:pt x="16250" y="7250"/>
                  <a:pt x="16344" y="7344"/>
                  <a:pt x="16437" y="7407"/>
                </a:cubicBezTo>
                <a:cubicBezTo>
                  <a:pt x="16406" y="7438"/>
                  <a:pt x="16375" y="7469"/>
                  <a:pt x="16344" y="7500"/>
                </a:cubicBezTo>
                <a:close/>
                <a:moveTo>
                  <a:pt x="9812" y="16344"/>
                </a:moveTo>
                <a:cubicBezTo>
                  <a:pt x="9781" y="16375"/>
                  <a:pt x="9750" y="16344"/>
                  <a:pt x="9719" y="16313"/>
                </a:cubicBezTo>
                <a:cubicBezTo>
                  <a:pt x="9344" y="16063"/>
                  <a:pt x="9000" y="15813"/>
                  <a:pt x="8625" y="15532"/>
                </a:cubicBezTo>
                <a:cubicBezTo>
                  <a:pt x="8312" y="15313"/>
                  <a:pt x="8000" y="15094"/>
                  <a:pt x="7656" y="14907"/>
                </a:cubicBezTo>
                <a:cubicBezTo>
                  <a:pt x="7281" y="14657"/>
                  <a:pt x="6875" y="14407"/>
                  <a:pt x="6469" y="14188"/>
                </a:cubicBezTo>
                <a:cubicBezTo>
                  <a:pt x="6281" y="14094"/>
                  <a:pt x="6063" y="14000"/>
                  <a:pt x="5875" y="13907"/>
                </a:cubicBezTo>
                <a:cubicBezTo>
                  <a:pt x="5719" y="13813"/>
                  <a:pt x="5531" y="13750"/>
                  <a:pt x="5375" y="13688"/>
                </a:cubicBezTo>
                <a:cubicBezTo>
                  <a:pt x="5313" y="13657"/>
                  <a:pt x="5219" y="13719"/>
                  <a:pt x="5156" y="13688"/>
                </a:cubicBezTo>
                <a:cubicBezTo>
                  <a:pt x="5000" y="13657"/>
                  <a:pt x="4844" y="13563"/>
                  <a:pt x="4688" y="13500"/>
                </a:cubicBezTo>
                <a:cubicBezTo>
                  <a:pt x="4625" y="13469"/>
                  <a:pt x="4531" y="13469"/>
                  <a:pt x="4438" y="13469"/>
                </a:cubicBezTo>
                <a:cubicBezTo>
                  <a:pt x="4375" y="13469"/>
                  <a:pt x="4344" y="13375"/>
                  <a:pt x="4281" y="13375"/>
                </a:cubicBezTo>
                <a:cubicBezTo>
                  <a:pt x="4250" y="13344"/>
                  <a:pt x="4188" y="13313"/>
                  <a:pt x="4156" y="13375"/>
                </a:cubicBezTo>
                <a:cubicBezTo>
                  <a:pt x="4125" y="13407"/>
                  <a:pt x="4094" y="13407"/>
                  <a:pt x="4063" y="13407"/>
                </a:cubicBezTo>
                <a:cubicBezTo>
                  <a:pt x="3938" y="13344"/>
                  <a:pt x="3781" y="13250"/>
                  <a:pt x="3625" y="13282"/>
                </a:cubicBezTo>
                <a:cubicBezTo>
                  <a:pt x="3594" y="13282"/>
                  <a:pt x="3563" y="13250"/>
                  <a:pt x="3531" y="13219"/>
                </a:cubicBezTo>
                <a:cubicBezTo>
                  <a:pt x="3500" y="13219"/>
                  <a:pt x="3469" y="13188"/>
                  <a:pt x="3469" y="13219"/>
                </a:cubicBezTo>
                <a:cubicBezTo>
                  <a:pt x="3438" y="13219"/>
                  <a:pt x="3438" y="13250"/>
                  <a:pt x="3438" y="13250"/>
                </a:cubicBezTo>
                <a:cubicBezTo>
                  <a:pt x="3438" y="13282"/>
                  <a:pt x="3469" y="13282"/>
                  <a:pt x="3500" y="13282"/>
                </a:cubicBezTo>
                <a:cubicBezTo>
                  <a:pt x="3781" y="13344"/>
                  <a:pt x="4031" y="13469"/>
                  <a:pt x="4313" y="13532"/>
                </a:cubicBezTo>
                <a:cubicBezTo>
                  <a:pt x="4500" y="13625"/>
                  <a:pt x="4688" y="13688"/>
                  <a:pt x="4844" y="13750"/>
                </a:cubicBezTo>
                <a:cubicBezTo>
                  <a:pt x="4969" y="13813"/>
                  <a:pt x="5031" y="13907"/>
                  <a:pt x="5156" y="13907"/>
                </a:cubicBezTo>
                <a:cubicBezTo>
                  <a:pt x="5344" y="13938"/>
                  <a:pt x="5469" y="14094"/>
                  <a:pt x="5656" y="14157"/>
                </a:cubicBezTo>
                <a:cubicBezTo>
                  <a:pt x="5875" y="14250"/>
                  <a:pt x="6125" y="14407"/>
                  <a:pt x="6344" y="14500"/>
                </a:cubicBezTo>
                <a:cubicBezTo>
                  <a:pt x="6500" y="14563"/>
                  <a:pt x="6656" y="14688"/>
                  <a:pt x="6813" y="14750"/>
                </a:cubicBezTo>
                <a:cubicBezTo>
                  <a:pt x="7094" y="14907"/>
                  <a:pt x="7344" y="15094"/>
                  <a:pt x="7625" y="15250"/>
                </a:cubicBezTo>
                <a:cubicBezTo>
                  <a:pt x="7656" y="15282"/>
                  <a:pt x="7656" y="15313"/>
                  <a:pt x="7688" y="15344"/>
                </a:cubicBezTo>
                <a:cubicBezTo>
                  <a:pt x="7688" y="15344"/>
                  <a:pt x="7688" y="15344"/>
                  <a:pt x="7688" y="15344"/>
                </a:cubicBezTo>
                <a:cubicBezTo>
                  <a:pt x="7594" y="15344"/>
                  <a:pt x="7531" y="15282"/>
                  <a:pt x="7438" y="15250"/>
                </a:cubicBezTo>
                <a:cubicBezTo>
                  <a:pt x="7219" y="15094"/>
                  <a:pt x="6969" y="15000"/>
                  <a:pt x="6719" y="14875"/>
                </a:cubicBezTo>
                <a:cubicBezTo>
                  <a:pt x="6313" y="14625"/>
                  <a:pt x="5875" y="14438"/>
                  <a:pt x="5438" y="14219"/>
                </a:cubicBezTo>
                <a:cubicBezTo>
                  <a:pt x="5156" y="14094"/>
                  <a:pt x="4875" y="13969"/>
                  <a:pt x="4563" y="13875"/>
                </a:cubicBezTo>
                <a:cubicBezTo>
                  <a:pt x="4250" y="13782"/>
                  <a:pt x="3969" y="13657"/>
                  <a:pt x="3656" y="13563"/>
                </a:cubicBezTo>
                <a:cubicBezTo>
                  <a:pt x="3594" y="13532"/>
                  <a:pt x="3531" y="13532"/>
                  <a:pt x="3469" y="13500"/>
                </a:cubicBezTo>
                <a:cubicBezTo>
                  <a:pt x="3406" y="13500"/>
                  <a:pt x="3344" y="13500"/>
                  <a:pt x="3281" y="13469"/>
                </a:cubicBezTo>
                <a:cubicBezTo>
                  <a:pt x="3281" y="13438"/>
                  <a:pt x="3250" y="13438"/>
                  <a:pt x="3219" y="13469"/>
                </a:cubicBezTo>
                <a:cubicBezTo>
                  <a:pt x="3219" y="13469"/>
                  <a:pt x="3219" y="13500"/>
                  <a:pt x="3250" y="13500"/>
                </a:cubicBezTo>
                <a:cubicBezTo>
                  <a:pt x="3250" y="13563"/>
                  <a:pt x="3313" y="13594"/>
                  <a:pt x="3344" y="13594"/>
                </a:cubicBezTo>
                <a:cubicBezTo>
                  <a:pt x="3656" y="13657"/>
                  <a:pt x="3969" y="13813"/>
                  <a:pt x="4313" y="13844"/>
                </a:cubicBezTo>
                <a:cubicBezTo>
                  <a:pt x="4531" y="13907"/>
                  <a:pt x="4750" y="14000"/>
                  <a:pt x="4938" y="14094"/>
                </a:cubicBezTo>
                <a:cubicBezTo>
                  <a:pt x="5219" y="14188"/>
                  <a:pt x="5500" y="14344"/>
                  <a:pt x="5781" y="14469"/>
                </a:cubicBezTo>
                <a:cubicBezTo>
                  <a:pt x="6094" y="14594"/>
                  <a:pt x="6406" y="14782"/>
                  <a:pt x="6719" y="14969"/>
                </a:cubicBezTo>
                <a:cubicBezTo>
                  <a:pt x="7063" y="15157"/>
                  <a:pt x="7375" y="15313"/>
                  <a:pt x="7688" y="15563"/>
                </a:cubicBezTo>
                <a:cubicBezTo>
                  <a:pt x="7219" y="15313"/>
                  <a:pt x="6781" y="15032"/>
                  <a:pt x="6313" y="14813"/>
                </a:cubicBezTo>
                <a:cubicBezTo>
                  <a:pt x="6344" y="14875"/>
                  <a:pt x="6438" y="14938"/>
                  <a:pt x="6563" y="15000"/>
                </a:cubicBezTo>
                <a:cubicBezTo>
                  <a:pt x="6656" y="15032"/>
                  <a:pt x="6719" y="15094"/>
                  <a:pt x="6781" y="15157"/>
                </a:cubicBezTo>
                <a:cubicBezTo>
                  <a:pt x="6844" y="15219"/>
                  <a:pt x="6938" y="15219"/>
                  <a:pt x="7000" y="15250"/>
                </a:cubicBezTo>
                <a:cubicBezTo>
                  <a:pt x="7188" y="15375"/>
                  <a:pt x="7375" y="15500"/>
                  <a:pt x="7563" y="15625"/>
                </a:cubicBezTo>
                <a:cubicBezTo>
                  <a:pt x="7844" y="15813"/>
                  <a:pt x="8094" y="15969"/>
                  <a:pt x="8344" y="16157"/>
                </a:cubicBezTo>
                <a:cubicBezTo>
                  <a:pt x="8500" y="16282"/>
                  <a:pt x="8719" y="16375"/>
                  <a:pt x="8875" y="16563"/>
                </a:cubicBezTo>
                <a:cubicBezTo>
                  <a:pt x="8875" y="16563"/>
                  <a:pt x="8906" y="16594"/>
                  <a:pt x="8906" y="16594"/>
                </a:cubicBezTo>
                <a:cubicBezTo>
                  <a:pt x="8781" y="16594"/>
                  <a:pt x="8719" y="16500"/>
                  <a:pt x="8625" y="16438"/>
                </a:cubicBezTo>
                <a:cubicBezTo>
                  <a:pt x="8094" y="16063"/>
                  <a:pt x="7531" y="15719"/>
                  <a:pt x="6938" y="15375"/>
                </a:cubicBezTo>
                <a:cubicBezTo>
                  <a:pt x="6750" y="15250"/>
                  <a:pt x="6563" y="15125"/>
                  <a:pt x="6344" y="15032"/>
                </a:cubicBezTo>
                <a:cubicBezTo>
                  <a:pt x="6344" y="15000"/>
                  <a:pt x="6313" y="15000"/>
                  <a:pt x="6281" y="15000"/>
                </a:cubicBezTo>
                <a:cubicBezTo>
                  <a:pt x="5906" y="14782"/>
                  <a:pt x="5469" y="14594"/>
                  <a:pt x="5063" y="14407"/>
                </a:cubicBezTo>
                <a:cubicBezTo>
                  <a:pt x="4844" y="14282"/>
                  <a:pt x="4594" y="14157"/>
                  <a:pt x="4344" y="14094"/>
                </a:cubicBezTo>
                <a:cubicBezTo>
                  <a:pt x="3938" y="13969"/>
                  <a:pt x="3531" y="13782"/>
                  <a:pt x="3094" y="13750"/>
                </a:cubicBezTo>
                <a:cubicBezTo>
                  <a:pt x="3063" y="13750"/>
                  <a:pt x="3031" y="13657"/>
                  <a:pt x="2969" y="13688"/>
                </a:cubicBezTo>
                <a:cubicBezTo>
                  <a:pt x="2938" y="13719"/>
                  <a:pt x="3031" y="13782"/>
                  <a:pt x="3031" y="13844"/>
                </a:cubicBezTo>
                <a:cubicBezTo>
                  <a:pt x="3031" y="13907"/>
                  <a:pt x="3031" y="13938"/>
                  <a:pt x="3125" y="13938"/>
                </a:cubicBezTo>
                <a:cubicBezTo>
                  <a:pt x="3469" y="14000"/>
                  <a:pt x="3781" y="14125"/>
                  <a:pt x="4125" y="14219"/>
                </a:cubicBezTo>
                <a:cubicBezTo>
                  <a:pt x="4500" y="14375"/>
                  <a:pt x="4875" y="14532"/>
                  <a:pt x="5219" y="14688"/>
                </a:cubicBezTo>
                <a:cubicBezTo>
                  <a:pt x="5719" y="14907"/>
                  <a:pt x="6188" y="15188"/>
                  <a:pt x="6656" y="15438"/>
                </a:cubicBezTo>
                <a:cubicBezTo>
                  <a:pt x="6844" y="15563"/>
                  <a:pt x="7031" y="15688"/>
                  <a:pt x="7219" y="15750"/>
                </a:cubicBezTo>
                <a:cubicBezTo>
                  <a:pt x="7250" y="15782"/>
                  <a:pt x="7281" y="15782"/>
                  <a:pt x="7281" y="15813"/>
                </a:cubicBezTo>
                <a:cubicBezTo>
                  <a:pt x="7688" y="16063"/>
                  <a:pt x="8094" y="16313"/>
                  <a:pt x="8469" y="16594"/>
                </a:cubicBezTo>
                <a:cubicBezTo>
                  <a:pt x="8437" y="16594"/>
                  <a:pt x="8406" y="16594"/>
                  <a:pt x="8406" y="16625"/>
                </a:cubicBezTo>
                <a:cubicBezTo>
                  <a:pt x="8406" y="16657"/>
                  <a:pt x="8469" y="16657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469" y="16719"/>
                  <a:pt x="8469" y="16719"/>
                  <a:pt x="8469" y="16719"/>
                </a:cubicBezTo>
                <a:cubicBezTo>
                  <a:pt x="8156" y="16500"/>
                  <a:pt x="7844" y="16313"/>
                  <a:pt x="7500" y="16094"/>
                </a:cubicBezTo>
                <a:cubicBezTo>
                  <a:pt x="7250" y="15938"/>
                  <a:pt x="6969" y="15782"/>
                  <a:pt x="6688" y="15594"/>
                </a:cubicBezTo>
                <a:cubicBezTo>
                  <a:pt x="6344" y="15375"/>
                  <a:pt x="5969" y="15219"/>
                  <a:pt x="5594" y="15032"/>
                </a:cubicBezTo>
                <a:cubicBezTo>
                  <a:pt x="5156" y="14813"/>
                  <a:pt x="4688" y="14625"/>
                  <a:pt x="4219" y="14469"/>
                </a:cubicBezTo>
                <a:cubicBezTo>
                  <a:pt x="3875" y="14344"/>
                  <a:pt x="3531" y="14219"/>
                  <a:pt x="3188" y="14157"/>
                </a:cubicBezTo>
                <a:cubicBezTo>
                  <a:pt x="2844" y="14063"/>
                  <a:pt x="2500" y="14000"/>
                  <a:pt x="2125" y="14000"/>
                </a:cubicBezTo>
                <a:cubicBezTo>
                  <a:pt x="1938" y="13969"/>
                  <a:pt x="1719" y="13938"/>
                  <a:pt x="1500" y="13938"/>
                </a:cubicBezTo>
                <a:cubicBezTo>
                  <a:pt x="1688" y="13875"/>
                  <a:pt x="1906" y="13875"/>
                  <a:pt x="2094" y="13875"/>
                </a:cubicBezTo>
                <a:cubicBezTo>
                  <a:pt x="2063" y="13813"/>
                  <a:pt x="2031" y="13844"/>
                  <a:pt x="1969" y="13813"/>
                </a:cubicBezTo>
                <a:cubicBezTo>
                  <a:pt x="2250" y="13719"/>
                  <a:pt x="2500" y="13844"/>
                  <a:pt x="2750" y="13813"/>
                </a:cubicBezTo>
                <a:cubicBezTo>
                  <a:pt x="2781" y="13782"/>
                  <a:pt x="2656" y="13719"/>
                  <a:pt x="2750" y="13688"/>
                </a:cubicBezTo>
                <a:cubicBezTo>
                  <a:pt x="2813" y="13657"/>
                  <a:pt x="2844" y="13719"/>
                  <a:pt x="2875" y="13750"/>
                </a:cubicBezTo>
                <a:cubicBezTo>
                  <a:pt x="2906" y="13688"/>
                  <a:pt x="2844" y="13657"/>
                  <a:pt x="2781" y="13625"/>
                </a:cubicBezTo>
                <a:cubicBezTo>
                  <a:pt x="2469" y="13563"/>
                  <a:pt x="2156" y="13532"/>
                  <a:pt x="1813" y="13500"/>
                </a:cubicBezTo>
                <a:cubicBezTo>
                  <a:pt x="1813" y="13469"/>
                  <a:pt x="1844" y="13469"/>
                  <a:pt x="1844" y="13469"/>
                </a:cubicBezTo>
                <a:cubicBezTo>
                  <a:pt x="2000" y="13313"/>
                  <a:pt x="2188" y="13407"/>
                  <a:pt x="2375" y="13407"/>
                </a:cubicBezTo>
                <a:cubicBezTo>
                  <a:pt x="2563" y="13407"/>
                  <a:pt x="2750" y="13407"/>
                  <a:pt x="2906" y="13469"/>
                </a:cubicBezTo>
                <a:cubicBezTo>
                  <a:pt x="2938" y="13469"/>
                  <a:pt x="2969" y="13469"/>
                  <a:pt x="2969" y="13469"/>
                </a:cubicBezTo>
                <a:cubicBezTo>
                  <a:pt x="3000" y="13438"/>
                  <a:pt x="3063" y="13438"/>
                  <a:pt x="3063" y="13407"/>
                </a:cubicBezTo>
                <a:cubicBezTo>
                  <a:pt x="3063" y="13344"/>
                  <a:pt x="3000" y="13375"/>
                  <a:pt x="2969" y="13344"/>
                </a:cubicBezTo>
                <a:cubicBezTo>
                  <a:pt x="3063" y="13313"/>
                  <a:pt x="3125" y="13344"/>
                  <a:pt x="3188" y="13344"/>
                </a:cubicBezTo>
                <a:cubicBezTo>
                  <a:pt x="3000" y="13250"/>
                  <a:pt x="2750" y="13250"/>
                  <a:pt x="2500" y="13157"/>
                </a:cubicBezTo>
                <a:cubicBezTo>
                  <a:pt x="2688" y="13125"/>
                  <a:pt x="2813" y="13094"/>
                  <a:pt x="2938" y="13188"/>
                </a:cubicBezTo>
                <a:cubicBezTo>
                  <a:pt x="3031" y="13219"/>
                  <a:pt x="3156" y="13188"/>
                  <a:pt x="3250" y="13250"/>
                </a:cubicBezTo>
                <a:cubicBezTo>
                  <a:pt x="3281" y="13250"/>
                  <a:pt x="3313" y="13219"/>
                  <a:pt x="3313" y="13188"/>
                </a:cubicBezTo>
                <a:cubicBezTo>
                  <a:pt x="3313" y="13157"/>
                  <a:pt x="3281" y="13157"/>
                  <a:pt x="3281" y="13157"/>
                </a:cubicBezTo>
                <a:cubicBezTo>
                  <a:pt x="3094" y="13125"/>
                  <a:pt x="2938" y="13032"/>
                  <a:pt x="2781" y="13000"/>
                </a:cubicBezTo>
                <a:cubicBezTo>
                  <a:pt x="2719" y="13000"/>
                  <a:pt x="2656" y="13000"/>
                  <a:pt x="2625" y="13000"/>
                </a:cubicBezTo>
                <a:cubicBezTo>
                  <a:pt x="2594" y="13000"/>
                  <a:pt x="2563" y="12969"/>
                  <a:pt x="2531" y="12969"/>
                </a:cubicBezTo>
                <a:cubicBezTo>
                  <a:pt x="2438" y="12875"/>
                  <a:pt x="2313" y="12844"/>
                  <a:pt x="2219" y="12813"/>
                </a:cubicBezTo>
                <a:cubicBezTo>
                  <a:pt x="2063" y="12782"/>
                  <a:pt x="1875" y="12813"/>
                  <a:pt x="1688" y="12813"/>
                </a:cubicBezTo>
                <a:cubicBezTo>
                  <a:pt x="1906" y="12750"/>
                  <a:pt x="2125" y="12719"/>
                  <a:pt x="2313" y="12750"/>
                </a:cubicBezTo>
                <a:cubicBezTo>
                  <a:pt x="2281" y="12719"/>
                  <a:pt x="2219" y="12719"/>
                  <a:pt x="2063" y="12688"/>
                </a:cubicBezTo>
                <a:cubicBezTo>
                  <a:pt x="1969" y="12688"/>
                  <a:pt x="1844" y="12688"/>
                  <a:pt x="1750" y="12688"/>
                </a:cubicBezTo>
                <a:cubicBezTo>
                  <a:pt x="1719" y="12688"/>
                  <a:pt x="1688" y="12688"/>
                  <a:pt x="1688" y="12657"/>
                </a:cubicBezTo>
                <a:cubicBezTo>
                  <a:pt x="1688" y="12625"/>
                  <a:pt x="1719" y="12625"/>
                  <a:pt x="1719" y="12625"/>
                </a:cubicBezTo>
                <a:cubicBezTo>
                  <a:pt x="1781" y="12625"/>
                  <a:pt x="1813" y="12594"/>
                  <a:pt x="1875" y="12594"/>
                </a:cubicBezTo>
                <a:cubicBezTo>
                  <a:pt x="1844" y="12563"/>
                  <a:pt x="1813" y="12532"/>
                  <a:pt x="1750" y="12500"/>
                </a:cubicBezTo>
                <a:cubicBezTo>
                  <a:pt x="1906" y="12438"/>
                  <a:pt x="2063" y="12500"/>
                  <a:pt x="2188" y="12407"/>
                </a:cubicBezTo>
                <a:cubicBezTo>
                  <a:pt x="2156" y="12375"/>
                  <a:pt x="2094" y="12438"/>
                  <a:pt x="2063" y="12344"/>
                </a:cubicBezTo>
                <a:cubicBezTo>
                  <a:pt x="2188" y="12344"/>
                  <a:pt x="2313" y="12313"/>
                  <a:pt x="2438" y="12375"/>
                </a:cubicBezTo>
                <a:cubicBezTo>
                  <a:pt x="2469" y="12375"/>
                  <a:pt x="2500" y="12375"/>
                  <a:pt x="2563" y="12375"/>
                </a:cubicBezTo>
                <a:cubicBezTo>
                  <a:pt x="2813" y="12375"/>
                  <a:pt x="3094" y="12438"/>
                  <a:pt x="3375" y="12500"/>
                </a:cubicBezTo>
                <a:cubicBezTo>
                  <a:pt x="3563" y="12563"/>
                  <a:pt x="3750" y="12594"/>
                  <a:pt x="3938" y="12657"/>
                </a:cubicBezTo>
                <a:cubicBezTo>
                  <a:pt x="3969" y="12657"/>
                  <a:pt x="3969" y="12657"/>
                  <a:pt x="3969" y="12625"/>
                </a:cubicBezTo>
                <a:cubicBezTo>
                  <a:pt x="3969" y="12594"/>
                  <a:pt x="3969" y="12625"/>
                  <a:pt x="3938" y="12594"/>
                </a:cubicBezTo>
                <a:cubicBezTo>
                  <a:pt x="3688" y="12532"/>
                  <a:pt x="3438" y="12438"/>
                  <a:pt x="3188" y="12375"/>
                </a:cubicBezTo>
                <a:cubicBezTo>
                  <a:pt x="3063" y="12375"/>
                  <a:pt x="2969" y="12375"/>
                  <a:pt x="2844" y="12282"/>
                </a:cubicBezTo>
                <a:cubicBezTo>
                  <a:pt x="3313" y="12313"/>
                  <a:pt x="3750" y="12438"/>
                  <a:pt x="4188" y="12625"/>
                </a:cubicBezTo>
                <a:cubicBezTo>
                  <a:pt x="4125" y="12500"/>
                  <a:pt x="4063" y="12438"/>
                  <a:pt x="3969" y="12438"/>
                </a:cubicBezTo>
                <a:cubicBezTo>
                  <a:pt x="3875" y="12438"/>
                  <a:pt x="3781" y="12375"/>
                  <a:pt x="3719" y="12375"/>
                </a:cubicBezTo>
                <a:cubicBezTo>
                  <a:pt x="3531" y="12344"/>
                  <a:pt x="3406" y="12250"/>
                  <a:pt x="3219" y="12188"/>
                </a:cubicBezTo>
                <a:cubicBezTo>
                  <a:pt x="3000" y="12125"/>
                  <a:pt x="2781" y="12094"/>
                  <a:pt x="2531" y="12063"/>
                </a:cubicBezTo>
                <a:cubicBezTo>
                  <a:pt x="2406" y="12032"/>
                  <a:pt x="2313" y="12032"/>
                  <a:pt x="2188" y="12032"/>
                </a:cubicBezTo>
                <a:cubicBezTo>
                  <a:pt x="2156" y="12032"/>
                  <a:pt x="2125" y="12032"/>
                  <a:pt x="2094" y="12000"/>
                </a:cubicBezTo>
                <a:cubicBezTo>
                  <a:pt x="2938" y="11938"/>
                  <a:pt x="3656" y="12219"/>
                  <a:pt x="4438" y="12438"/>
                </a:cubicBezTo>
                <a:cubicBezTo>
                  <a:pt x="4438" y="12407"/>
                  <a:pt x="4406" y="12375"/>
                  <a:pt x="4375" y="12344"/>
                </a:cubicBezTo>
                <a:cubicBezTo>
                  <a:pt x="4250" y="12282"/>
                  <a:pt x="4125" y="12250"/>
                  <a:pt x="3969" y="12219"/>
                </a:cubicBezTo>
                <a:cubicBezTo>
                  <a:pt x="3656" y="12125"/>
                  <a:pt x="3344" y="12032"/>
                  <a:pt x="3031" y="11969"/>
                </a:cubicBezTo>
                <a:cubicBezTo>
                  <a:pt x="2813" y="11938"/>
                  <a:pt x="2625" y="11907"/>
                  <a:pt x="2406" y="11875"/>
                </a:cubicBezTo>
                <a:cubicBezTo>
                  <a:pt x="2375" y="11875"/>
                  <a:pt x="2313" y="11875"/>
                  <a:pt x="2313" y="11844"/>
                </a:cubicBezTo>
                <a:cubicBezTo>
                  <a:pt x="2313" y="11782"/>
                  <a:pt x="2375" y="11813"/>
                  <a:pt x="2406" y="11782"/>
                </a:cubicBezTo>
                <a:cubicBezTo>
                  <a:pt x="2313" y="11782"/>
                  <a:pt x="2219" y="11782"/>
                  <a:pt x="2125" y="11750"/>
                </a:cubicBezTo>
                <a:cubicBezTo>
                  <a:pt x="2531" y="11719"/>
                  <a:pt x="2969" y="11750"/>
                  <a:pt x="3375" y="11844"/>
                </a:cubicBezTo>
                <a:cubicBezTo>
                  <a:pt x="3000" y="11688"/>
                  <a:pt x="2594" y="11688"/>
                  <a:pt x="2188" y="11594"/>
                </a:cubicBezTo>
                <a:cubicBezTo>
                  <a:pt x="2406" y="11563"/>
                  <a:pt x="2625" y="11625"/>
                  <a:pt x="2844" y="11594"/>
                </a:cubicBezTo>
                <a:cubicBezTo>
                  <a:pt x="2656" y="11563"/>
                  <a:pt x="2500" y="11438"/>
                  <a:pt x="2344" y="11407"/>
                </a:cubicBezTo>
                <a:cubicBezTo>
                  <a:pt x="2500" y="11407"/>
                  <a:pt x="2688" y="11407"/>
                  <a:pt x="2875" y="11407"/>
                </a:cubicBezTo>
                <a:cubicBezTo>
                  <a:pt x="3156" y="11438"/>
                  <a:pt x="3406" y="11532"/>
                  <a:pt x="3688" y="11594"/>
                </a:cubicBezTo>
                <a:cubicBezTo>
                  <a:pt x="3750" y="11625"/>
                  <a:pt x="3813" y="11625"/>
                  <a:pt x="3875" y="11625"/>
                </a:cubicBezTo>
                <a:cubicBezTo>
                  <a:pt x="3438" y="11407"/>
                  <a:pt x="2969" y="11438"/>
                  <a:pt x="2563" y="11282"/>
                </a:cubicBezTo>
                <a:cubicBezTo>
                  <a:pt x="2906" y="11250"/>
                  <a:pt x="3219" y="11344"/>
                  <a:pt x="3563" y="11407"/>
                </a:cubicBezTo>
                <a:cubicBezTo>
                  <a:pt x="3250" y="11250"/>
                  <a:pt x="2906" y="11188"/>
                  <a:pt x="2563" y="11125"/>
                </a:cubicBezTo>
                <a:cubicBezTo>
                  <a:pt x="2813" y="11094"/>
                  <a:pt x="3031" y="11157"/>
                  <a:pt x="3250" y="11157"/>
                </a:cubicBezTo>
                <a:cubicBezTo>
                  <a:pt x="3000" y="11063"/>
                  <a:pt x="2688" y="11032"/>
                  <a:pt x="2406" y="11000"/>
                </a:cubicBezTo>
                <a:cubicBezTo>
                  <a:pt x="2438" y="10969"/>
                  <a:pt x="2469" y="10969"/>
                  <a:pt x="2500" y="10969"/>
                </a:cubicBezTo>
                <a:cubicBezTo>
                  <a:pt x="2594" y="10969"/>
                  <a:pt x="2688" y="11000"/>
                  <a:pt x="2781" y="10938"/>
                </a:cubicBezTo>
                <a:cubicBezTo>
                  <a:pt x="2813" y="10938"/>
                  <a:pt x="2844" y="10969"/>
                  <a:pt x="2875" y="10969"/>
                </a:cubicBezTo>
                <a:cubicBezTo>
                  <a:pt x="2969" y="11000"/>
                  <a:pt x="3094" y="11063"/>
                  <a:pt x="3188" y="11000"/>
                </a:cubicBezTo>
                <a:cubicBezTo>
                  <a:pt x="3188" y="11000"/>
                  <a:pt x="3188" y="11000"/>
                  <a:pt x="3188" y="11000"/>
                </a:cubicBezTo>
                <a:cubicBezTo>
                  <a:pt x="3250" y="11000"/>
                  <a:pt x="3281" y="11032"/>
                  <a:pt x="3344" y="11063"/>
                </a:cubicBezTo>
                <a:cubicBezTo>
                  <a:pt x="3438" y="11125"/>
                  <a:pt x="3563" y="11188"/>
                  <a:pt x="3656" y="11157"/>
                </a:cubicBezTo>
                <a:cubicBezTo>
                  <a:pt x="3875" y="11094"/>
                  <a:pt x="4000" y="11219"/>
                  <a:pt x="4156" y="11250"/>
                </a:cubicBezTo>
                <a:cubicBezTo>
                  <a:pt x="4563" y="11344"/>
                  <a:pt x="4938" y="11532"/>
                  <a:pt x="5313" y="11657"/>
                </a:cubicBezTo>
                <a:cubicBezTo>
                  <a:pt x="5313" y="11657"/>
                  <a:pt x="5313" y="11657"/>
                  <a:pt x="5344" y="11657"/>
                </a:cubicBezTo>
                <a:cubicBezTo>
                  <a:pt x="5531" y="11750"/>
                  <a:pt x="5750" y="11875"/>
                  <a:pt x="5969" y="11938"/>
                </a:cubicBezTo>
                <a:cubicBezTo>
                  <a:pt x="5969" y="11969"/>
                  <a:pt x="5969" y="12000"/>
                  <a:pt x="6000" y="11969"/>
                </a:cubicBezTo>
                <a:cubicBezTo>
                  <a:pt x="6000" y="11969"/>
                  <a:pt x="6000" y="11969"/>
                  <a:pt x="6000" y="11969"/>
                </a:cubicBezTo>
                <a:cubicBezTo>
                  <a:pt x="6031" y="12094"/>
                  <a:pt x="6156" y="12094"/>
                  <a:pt x="6219" y="12125"/>
                </a:cubicBezTo>
                <a:cubicBezTo>
                  <a:pt x="6344" y="12219"/>
                  <a:pt x="6500" y="12282"/>
                  <a:pt x="6594" y="12344"/>
                </a:cubicBezTo>
                <a:cubicBezTo>
                  <a:pt x="6594" y="12344"/>
                  <a:pt x="6594" y="12375"/>
                  <a:pt x="6594" y="12375"/>
                </a:cubicBezTo>
                <a:cubicBezTo>
                  <a:pt x="6438" y="12344"/>
                  <a:pt x="6313" y="12250"/>
                  <a:pt x="6156" y="12188"/>
                </a:cubicBezTo>
                <a:cubicBezTo>
                  <a:pt x="5906" y="12063"/>
                  <a:pt x="5656" y="11969"/>
                  <a:pt x="5438" y="11844"/>
                </a:cubicBezTo>
                <a:cubicBezTo>
                  <a:pt x="5375" y="11813"/>
                  <a:pt x="5344" y="11813"/>
                  <a:pt x="5313" y="11844"/>
                </a:cubicBezTo>
                <a:cubicBezTo>
                  <a:pt x="5344" y="11875"/>
                  <a:pt x="5406" y="11907"/>
                  <a:pt x="5438" y="11938"/>
                </a:cubicBezTo>
                <a:cubicBezTo>
                  <a:pt x="5750" y="11969"/>
                  <a:pt x="5938" y="12188"/>
                  <a:pt x="6219" y="12282"/>
                </a:cubicBezTo>
                <a:cubicBezTo>
                  <a:pt x="6250" y="12313"/>
                  <a:pt x="6281" y="12313"/>
                  <a:pt x="6313" y="12344"/>
                </a:cubicBezTo>
                <a:cubicBezTo>
                  <a:pt x="6344" y="12344"/>
                  <a:pt x="6375" y="12375"/>
                  <a:pt x="6375" y="12407"/>
                </a:cubicBezTo>
                <a:cubicBezTo>
                  <a:pt x="6344" y="12438"/>
                  <a:pt x="6313" y="12438"/>
                  <a:pt x="6281" y="12407"/>
                </a:cubicBezTo>
                <a:cubicBezTo>
                  <a:pt x="6156" y="12344"/>
                  <a:pt x="6063" y="12313"/>
                  <a:pt x="5938" y="12250"/>
                </a:cubicBezTo>
                <a:cubicBezTo>
                  <a:pt x="5875" y="12219"/>
                  <a:pt x="5813" y="12188"/>
                  <a:pt x="5750" y="12188"/>
                </a:cubicBezTo>
                <a:cubicBezTo>
                  <a:pt x="5938" y="12313"/>
                  <a:pt x="6125" y="12375"/>
                  <a:pt x="6281" y="12532"/>
                </a:cubicBezTo>
                <a:cubicBezTo>
                  <a:pt x="6000" y="12407"/>
                  <a:pt x="5750" y="12282"/>
                  <a:pt x="5469" y="12188"/>
                </a:cubicBezTo>
                <a:cubicBezTo>
                  <a:pt x="5219" y="12094"/>
                  <a:pt x="4969" y="11938"/>
                  <a:pt x="4688" y="11907"/>
                </a:cubicBezTo>
                <a:cubicBezTo>
                  <a:pt x="4844" y="11969"/>
                  <a:pt x="5000" y="12063"/>
                  <a:pt x="5156" y="12125"/>
                </a:cubicBezTo>
                <a:cubicBezTo>
                  <a:pt x="5406" y="12219"/>
                  <a:pt x="5625" y="12313"/>
                  <a:pt x="5844" y="12438"/>
                </a:cubicBezTo>
                <a:cubicBezTo>
                  <a:pt x="6063" y="12532"/>
                  <a:pt x="6281" y="12625"/>
                  <a:pt x="6469" y="12750"/>
                </a:cubicBezTo>
                <a:cubicBezTo>
                  <a:pt x="6844" y="12907"/>
                  <a:pt x="7188" y="13094"/>
                  <a:pt x="7531" y="13313"/>
                </a:cubicBezTo>
                <a:cubicBezTo>
                  <a:pt x="7531" y="13313"/>
                  <a:pt x="7563" y="13344"/>
                  <a:pt x="7594" y="13375"/>
                </a:cubicBezTo>
                <a:cubicBezTo>
                  <a:pt x="7625" y="13375"/>
                  <a:pt x="7625" y="13407"/>
                  <a:pt x="7625" y="13438"/>
                </a:cubicBezTo>
                <a:cubicBezTo>
                  <a:pt x="7594" y="13500"/>
                  <a:pt x="7563" y="13469"/>
                  <a:pt x="7531" y="13438"/>
                </a:cubicBezTo>
                <a:cubicBezTo>
                  <a:pt x="7094" y="13219"/>
                  <a:pt x="6656" y="12969"/>
                  <a:pt x="6219" y="12750"/>
                </a:cubicBezTo>
                <a:cubicBezTo>
                  <a:pt x="6125" y="12719"/>
                  <a:pt x="6063" y="12657"/>
                  <a:pt x="5969" y="12657"/>
                </a:cubicBezTo>
                <a:cubicBezTo>
                  <a:pt x="5938" y="12657"/>
                  <a:pt x="5938" y="12657"/>
                  <a:pt x="5906" y="12657"/>
                </a:cubicBezTo>
                <a:cubicBezTo>
                  <a:pt x="5906" y="12657"/>
                  <a:pt x="5906" y="12657"/>
                  <a:pt x="5906" y="12657"/>
                </a:cubicBezTo>
                <a:cubicBezTo>
                  <a:pt x="5938" y="12657"/>
                  <a:pt x="5938" y="12657"/>
                  <a:pt x="5969" y="12688"/>
                </a:cubicBezTo>
                <a:cubicBezTo>
                  <a:pt x="6125" y="12813"/>
                  <a:pt x="6313" y="12875"/>
                  <a:pt x="6531" y="12969"/>
                </a:cubicBezTo>
                <a:cubicBezTo>
                  <a:pt x="6750" y="13094"/>
                  <a:pt x="6969" y="13219"/>
                  <a:pt x="7188" y="13344"/>
                </a:cubicBezTo>
                <a:cubicBezTo>
                  <a:pt x="7438" y="13469"/>
                  <a:pt x="7656" y="13625"/>
                  <a:pt x="7906" y="13750"/>
                </a:cubicBezTo>
                <a:cubicBezTo>
                  <a:pt x="7906" y="13782"/>
                  <a:pt x="7969" y="13782"/>
                  <a:pt x="7969" y="13844"/>
                </a:cubicBezTo>
                <a:cubicBezTo>
                  <a:pt x="7375" y="13563"/>
                  <a:pt x="6844" y="13157"/>
                  <a:pt x="6219" y="12938"/>
                </a:cubicBezTo>
                <a:cubicBezTo>
                  <a:pt x="6313" y="13032"/>
                  <a:pt x="6469" y="13125"/>
                  <a:pt x="6594" y="13188"/>
                </a:cubicBezTo>
                <a:cubicBezTo>
                  <a:pt x="6688" y="13219"/>
                  <a:pt x="6750" y="13250"/>
                  <a:pt x="6813" y="13282"/>
                </a:cubicBezTo>
                <a:cubicBezTo>
                  <a:pt x="6875" y="13313"/>
                  <a:pt x="6844" y="13375"/>
                  <a:pt x="6906" y="13407"/>
                </a:cubicBezTo>
                <a:cubicBezTo>
                  <a:pt x="7094" y="13500"/>
                  <a:pt x="7281" y="13625"/>
                  <a:pt x="7469" y="13719"/>
                </a:cubicBezTo>
                <a:cubicBezTo>
                  <a:pt x="7500" y="13750"/>
                  <a:pt x="7563" y="13750"/>
                  <a:pt x="7531" y="13782"/>
                </a:cubicBezTo>
                <a:cubicBezTo>
                  <a:pt x="7531" y="13844"/>
                  <a:pt x="7469" y="13782"/>
                  <a:pt x="7438" y="13782"/>
                </a:cubicBezTo>
                <a:cubicBezTo>
                  <a:pt x="7250" y="13657"/>
                  <a:pt x="7031" y="13532"/>
                  <a:pt x="6844" y="13438"/>
                </a:cubicBezTo>
                <a:cubicBezTo>
                  <a:pt x="6531" y="13282"/>
                  <a:pt x="6250" y="13125"/>
                  <a:pt x="5938" y="13000"/>
                </a:cubicBezTo>
                <a:cubicBezTo>
                  <a:pt x="5625" y="12844"/>
                  <a:pt x="5281" y="12719"/>
                  <a:pt x="4969" y="12563"/>
                </a:cubicBezTo>
                <a:cubicBezTo>
                  <a:pt x="4906" y="12532"/>
                  <a:pt x="4813" y="12469"/>
                  <a:pt x="4719" y="12532"/>
                </a:cubicBezTo>
                <a:cubicBezTo>
                  <a:pt x="4781" y="12594"/>
                  <a:pt x="4875" y="12625"/>
                  <a:pt x="4969" y="12657"/>
                </a:cubicBezTo>
                <a:cubicBezTo>
                  <a:pt x="5281" y="12750"/>
                  <a:pt x="5563" y="12907"/>
                  <a:pt x="5875" y="13063"/>
                </a:cubicBezTo>
                <a:cubicBezTo>
                  <a:pt x="6219" y="13188"/>
                  <a:pt x="6563" y="13375"/>
                  <a:pt x="6875" y="13563"/>
                </a:cubicBezTo>
                <a:cubicBezTo>
                  <a:pt x="7156" y="13719"/>
                  <a:pt x="7406" y="13875"/>
                  <a:pt x="7688" y="14000"/>
                </a:cubicBezTo>
                <a:cubicBezTo>
                  <a:pt x="7719" y="14032"/>
                  <a:pt x="7750" y="14063"/>
                  <a:pt x="7781" y="14125"/>
                </a:cubicBezTo>
                <a:cubicBezTo>
                  <a:pt x="7813" y="14219"/>
                  <a:pt x="7906" y="14219"/>
                  <a:pt x="8000" y="14282"/>
                </a:cubicBezTo>
                <a:cubicBezTo>
                  <a:pt x="8062" y="14313"/>
                  <a:pt x="8125" y="14313"/>
                  <a:pt x="8156" y="14407"/>
                </a:cubicBezTo>
                <a:cubicBezTo>
                  <a:pt x="8156" y="14407"/>
                  <a:pt x="8156" y="14407"/>
                  <a:pt x="8156" y="14407"/>
                </a:cubicBezTo>
                <a:cubicBezTo>
                  <a:pt x="8062" y="14438"/>
                  <a:pt x="7969" y="14375"/>
                  <a:pt x="7875" y="14313"/>
                </a:cubicBezTo>
                <a:cubicBezTo>
                  <a:pt x="7656" y="14157"/>
                  <a:pt x="7406" y="14032"/>
                  <a:pt x="7156" y="13907"/>
                </a:cubicBezTo>
                <a:cubicBezTo>
                  <a:pt x="6563" y="13563"/>
                  <a:pt x="5938" y="13250"/>
                  <a:pt x="5281" y="12969"/>
                </a:cubicBezTo>
                <a:cubicBezTo>
                  <a:pt x="5063" y="12875"/>
                  <a:pt x="4813" y="12782"/>
                  <a:pt x="4594" y="12688"/>
                </a:cubicBezTo>
                <a:cubicBezTo>
                  <a:pt x="4563" y="12657"/>
                  <a:pt x="4531" y="12657"/>
                  <a:pt x="4531" y="12688"/>
                </a:cubicBezTo>
                <a:cubicBezTo>
                  <a:pt x="4500" y="12750"/>
                  <a:pt x="4563" y="12719"/>
                  <a:pt x="4563" y="12750"/>
                </a:cubicBezTo>
                <a:cubicBezTo>
                  <a:pt x="4969" y="12907"/>
                  <a:pt x="5344" y="13063"/>
                  <a:pt x="5719" y="13250"/>
                </a:cubicBezTo>
                <a:cubicBezTo>
                  <a:pt x="5969" y="13375"/>
                  <a:pt x="6219" y="13532"/>
                  <a:pt x="6469" y="13625"/>
                </a:cubicBezTo>
                <a:cubicBezTo>
                  <a:pt x="6563" y="13657"/>
                  <a:pt x="6656" y="13719"/>
                  <a:pt x="6719" y="13782"/>
                </a:cubicBezTo>
                <a:cubicBezTo>
                  <a:pt x="6656" y="13813"/>
                  <a:pt x="6656" y="13782"/>
                  <a:pt x="6625" y="13750"/>
                </a:cubicBezTo>
                <a:cubicBezTo>
                  <a:pt x="6594" y="13750"/>
                  <a:pt x="6563" y="13719"/>
                  <a:pt x="6500" y="13782"/>
                </a:cubicBezTo>
                <a:cubicBezTo>
                  <a:pt x="6844" y="13969"/>
                  <a:pt x="7188" y="14157"/>
                  <a:pt x="7563" y="14375"/>
                </a:cubicBezTo>
                <a:cubicBezTo>
                  <a:pt x="7469" y="14407"/>
                  <a:pt x="7438" y="14375"/>
                  <a:pt x="7406" y="14344"/>
                </a:cubicBezTo>
                <a:cubicBezTo>
                  <a:pt x="7313" y="14313"/>
                  <a:pt x="7219" y="14219"/>
                  <a:pt x="7094" y="14219"/>
                </a:cubicBezTo>
                <a:cubicBezTo>
                  <a:pt x="7031" y="14125"/>
                  <a:pt x="6938" y="14094"/>
                  <a:pt x="6813" y="14063"/>
                </a:cubicBezTo>
                <a:cubicBezTo>
                  <a:pt x="6906" y="14125"/>
                  <a:pt x="7000" y="14188"/>
                  <a:pt x="7094" y="14219"/>
                </a:cubicBezTo>
                <a:cubicBezTo>
                  <a:pt x="7188" y="14313"/>
                  <a:pt x="7344" y="14375"/>
                  <a:pt x="7469" y="14438"/>
                </a:cubicBezTo>
                <a:cubicBezTo>
                  <a:pt x="7656" y="14563"/>
                  <a:pt x="7875" y="14688"/>
                  <a:pt x="8062" y="14813"/>
                </a:cubicBezTo>
                <a:cubicBezTo>
                  <a:pt x="8437" y="15032"/>
                  <a:pt x="8750" y="15282"/>
                  <a:pt x="9094" y="15532"/>
                </a:cubicBezTo>
                <a:cubicBezTo>
                  <a:pt x="9125" y="15563"/>
                  <a:pt x="9156" y="15563"/>
                  <a:pt x="9156" y="15594"/>
                </a:cubicBezTo>
                <a:cubicBezTo>
                  <a:pt x="9156" y="15594"/>
                  <a:pt x="9156" y="15594"/>
                  <a:pt x="9156" y="15594"/>
                </a:cubicBezTo>
                <a:cubicBezTo>
                  <a:pt x="9031" y="15594"/>
                  <a:pt x="8906" y="15500"/>
                  <a:pt x="8812" y="15407"/>
                </a:cubicBezTo>
                <a:cubicBezTo>
                  <a:pt x="8562" y="15219"/>
                  <a:pt x="8281" y="15063"/>
                  <a:pt x="8000" y="14875"/>
                </a:cubicBezTo>
                <a:cubicBezTo>
                  <a:pt x="7688" y="14657"/>
                  <a:pt x="7344" y="14500"/>
                  <a:pt x="7031" y="14282"/>
                </a:cubicBezTo>
                <a:cubicBezTo>
                  <a:pt x="7000" y="14282"/>
                  <a:pt x="6969" y="14282"/>
                  <a:pt x="6938" y="14282"/>
                </a:cubicBezTo>
                <a:cubicBezTo>
                  <a:pt x="6906" y="14250"/>
                  <a:pt x="6875" y="14188"/>
                  <a:pt x="6813" y="14219"/>
                </a:cubicBezTo>
                <a:cubicBezTo>
                  <a:pt x="6781" y="14219"/>
                  <a:pt x="6781" y="14188"/>
                  <a:pt x="6781" y="14188"/>
                </a:cubicBezTo>
                <a:cubicBezTo>
                  <a:pt x="6781" y="14188"/>
                  <a:pt x="6781" y="14219"/>
                  <a:pt x="6813" y="14219"/>
                </a:cubicBezTo>
                <a:cubicBezTo>
                  <a:pt x="6813" y="14282"/>
                  <a:pt x="6875" y="14282"/>
                  <a:pt x="6938" y="14282"/>
                </a:cubicBezTo>
                <a:cubicBezTo>
                  <a:pt x="7000" y="14375"/>
                  <a:pt x="7094" y="14407"/>
                  <a:pt x="7188" y="14438"/>
                </a:cubicBezTo>
                <a:cubicBezTo>
                  <a:pt x="7469" y="14625"/>
                  <a:pt x="7719" y="14750"/>
                  <a:pt x="7969" y="14938"/>
                </a:cubicBezTo>
                <a:cubicBezTo>
                  <a:pt x="8187" y="15094"/>
                  <a:pt x="8406" y="15250"/>
                  <a:pt x="8625" y="15407"/>
                </a:cubicBezTo>
                <a:cubicBezTo>
                  <a:pt x="8844" y="15532"/>
                  <a:pt x="9031" y="15688"/>
                  <a:pt x="9250" y="15844"/>
                </a:cubicBezTo>
                <a:cubicBezTo>
                  <a:pt x="9406" y="16000"/>
                  <a:pt x="9594" y="16125"/>
                  <a:pt x="9750" y="16250"/>
                </a:cubicBezTo>
                <a:cubicBezTo>
                  <a:pt x="9781" y="16282"/>
                  <a:pt x="9844" y="16282"/>
                  <a:pt x="9812" y="16344"/>
                </a:cubicBezTo>
                <a:close/>
                <a:moveTo>
                  <a:pt x="3625" y="26563"/>
                </a:moveTo>
                <a:cubicBezTo>
                  <a:pt x="3625" y="26563"/>
                  <a:pt x="3625" y="26563"/>
                  <a:pt x="3625" y="26594"/>
                </a:cubicBezTo>
                <a:cubicBezTo>
                  <a:pt x="3313" y="26563"/>
                  <a:pt x="3375" y="26531"/>
                  <a:pt x="3656" y="26531"/>
                </a:cubicBezTo>
                <a:cubicBezTo>
                  <a:pt x="3625" y="26531"/>
                  <a:pt x="3625" y="26531"/>
                  <a:pt x="3625" y="26563"/>
                </a:cubicBezTo>
                <a:close/>
                <a:moveTo>
                  <a:pt x="3781" y="26781"/>
                </a:moveTo>
                <a:cubicBezTo>
                  <a:pt x="3813" y="26781"/>
                  <a:pt x="3844" y="26781"/>
                  <a:pt x="3875" y="26781"/>
                </a:cubicBezTo>
                <a:cubicBezTo>
                  <a:pt x="3906" y="26781"/>
                  <a:pt x="3906" y="26781"/>
                  <a:pt x="3938" y="26781"/>
                </a:cubicBezTo>
                <a:cubicBezTo>
                  <a:pt x="3875" y="26781"/>
                  <a:pt x="3813" y="26781"/>
                  <a:pt x="3781" y="26781"/>
                </a:cubicBezTo>
                <a:close/>
                <a:moveTo>
                  <a:pt x="3719" y="26531"/>
                </a:moveTo>
                <a:cubicBezTo>
                  <a:pt x="3750" y="26531"/>
                  <a:pt x="3813" y="26531"/>
                  <a:pt x="3844" y="26500"/>
                </a:cubicBezTo>
                <a:cubicBezTo>
                  <a:pt x="3844" y="26500"/>
                  <a:pt x="3844" y="26500"/>
                  <a:pt x="3844" y="26500"/>
                </a:cubicBezTo>
                <a:cubicBezTo>
                  <a:pt x="3813" y="26563"/>
                  <a:pt x="3750" y="26531"/>
                  <a:pt x="3719" y="26531"/>
                </a:cubicBezTo>
                <a:close/>
                <a:moveTo>
                  <a:pt x="4688" y="26625"/>
                </a:moveTo>
                <a:cubicBezTo>
                  <a:pt x="4688" y="26625"/>
                  <a:pt x="4688" y="26625"/>
                  <a:pt x="4688" y="26625"/>
                </a:cubicBezTo>
                <a:cubicBezTo>
                  <a:pt x="4719" y="26625"/>
                  <a:pt x="4750" y="26625"/>
                  <a:pt x="4750" y="26625"/>
                </a:cubicBezTo>
                <a:cubicBezTo>
                  <a:pt x="4750" y="26625"/>
                  <a:pt x="4750" y="26625"/>
                  <a:pt x="4750" y="26625"/>
                </a:cubicBezTo>
                <a:cubicBezTo>
                  <a:pt x="4750" y="26625"/>
                  <a:pt x="4781" y="26625"/>
                  <a:pt x="4781" y="26625"/>
                </a:cubicBezTo>
                <a:cubicBezTo>
                  <a:pt x="4750" y="26625"/>
                  <a:pt x="4719" y="26625"/>
                  <a:pt x="4688" y="26625"/>
                </a:cubicBezTo>
                <a:close/>
                <a:moveTo>
                  <a:pt x="8250" y="26406"/>
                </a:moveTo>
                <a:cubicBezTo>
                  <a:pt x="8219" y="26406"/>
                  <a:pt x="8156" y="26406"/>
                  <a:pt x="8125" y="26406"/>
                </a:cubicBezTo>
                <a:cubicBezTo>
                  <a:pt x="8125" y="26406"/>
                  <a:pt x="8125" y="26406"/>
                  <a:pt x="8094" y="26406"/>
                </a:cubicBezTo>
                <a:cubicBezTo>
                  <a:pt x="8094" y="26406"/>
                  <a:pt x="8094" y="26406"/>
                  <a:pt x="8094" y="26406"/>
                </a:cubicBezTo>
                <a:cubicBezTo>
                  <a:pt x="8062" y="26438"/>
                  <a:pt x="8000" y="26438"/>
                  <a:pt x="7969" y="26438"/>
                </a:cubicBezTo>
                <a:cubicBezTo>
                  <a:pt x="7969" y="26438"/>
                  <a:pt x="7937" y="26438"/>
                  <a:pt x="7937" y="26438"/>
                </a:cubicBezTo>
                <a:cubicBezTo>
                  <a:pt x="7875" y="26438"/>
                  <a:pt x="7813" y="26438"/>
                  <a:pt x="7781" y="26469"/>
                </a:cubicBezTo>
                <a:cubicBezTo>
                  <a:pt x="7656" y="26500"/>
                  <a:pt x="7531" y="26563"/>
                  <a:pt x="7406" y="26531"/>
                </a:cubicBezTo>
                <a:cubicBezTo>
                  <a:pt x="7344" y="26500"/>
                  <a:pt x="7313" y="26500"/>
                  <a:pt x="7250" y="26531"/>
                </a:cubicBezTo>
                <a:cubicBezTo>
                  <a:pt x="7219" y="26563"/>
                  <a:pt x="7156" y="26563"/>
                  <a:pt x="7125" y="26563"/>
                </a:cubicBezTo>
                <a:cubicBezTo>
                  <a:pt x="7031" y="26594"/>
                  <a:pt x="6938" y="26594"/>
                  <a:pt x="6844" y="26594"/>
                </a:cubicBezTo>
                <a:cubicBezTo>
                  <a:pt x="6781" y="26594"/>
                  <a:pt x="6719" y="26594"/>
                  <a:pt x="6656" y="26594"/>
                </a:cubicBezTo>
                <a:cubicBezTo>
                  <a:pt x="6625" y="26594"/>
                  <a:pt x="6594" y="26594"/>
                  <a:pt x="6563" y="26594"/>
                </a:cubicBezTo>
                <a:cubicBezTo>
                  <a:pt x="6594" y="26594"/>
                  <a:pt x="6594" y="26563"/>
                  <a:pt x="6594" y="26563"/>
                </a:cubicBezTo>
                <a:cubicBezTo>
                  <a:pt x="6594" y="26563"/>
                  <a:pt x="6625" y="26563"/>
                  <a:pt x="6625" y="26563"/>
                </a:cubicBezTo>
                <a:cubicBezTo>
                  <a:pt x="6656" y="26531"/>
                  <a:pt x="6688" y="26531"/>
                  <a:pt x="6688" y="26500"/>
                </a:cubicBezTo>
                <a:cubicBezTo>
                  <a:pt x="6688" y="26500"/>
                  <a:pt x="6688" y="26500"/>
                  <a:pt x="6688" y="26500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69"/>
                  <a:pt x="6719" y="26469"/>
                  <a:pt x="6719" y="26469"/>
                </a:cubicBezTo>
                <a:cubicBezTo>
                  <a:pt x="6719" y="26438"/>
                  <a:pt x="6688" y="26438"/>
                  <a:pt x="6688" y="26438"/>
                </a:cubicBezTo>
                <a:cubicBezTo>
                  <a:pt x="6563" y="26438"/>
                  <a:pt x="6438" y="26438"/>
                  <a:pt x="6313" y="26438"/>
                </a:cubicBezTo>
                <a:cubicBezTo>
                  <a:pt x="5969" y="26438"/>
                  <a:pt x="5594" y="26469"/>
                  <a:pt x="5250" y="26469"/>
                </a:cubicBezTo>
                <a:cubicBezTo>
                  <a:pt x="5250" y="26469"/>
                  <a:pt x="5219" y="26469"/>
                  <a:pt x="5219" y="26469"/>
                </a:cubicBezTo>
                <a:cubicBezTo>
                  <a:pt x="5219" y="26469"/>
                  <a:pt x="5219" y="26469"/>
                  <a:pt x="5219" y="26469"/>
                </a:cubicBezTo>
                <a:cubicBezTo>
                  <a:pt x="5156" y="26469"/>
                  <a:pt x="5063" y="26469"/>
                  <a:pt x="5000" y="26469"/>
                </a:cubicBezTo>
                <a:cubicBezTo>
                  <a:pt x="4938" y="26438"/>
                  <a:pt x="4281" y="26375"/>
                  <a:pt x="3563" y="26344"/>
                </a:cubicBezTo>
                <a:cubicBezTo>
                  <a:pt x="3531" y="26344"/>
                  <a:pt x="3531" y="26313"/>
                  <a:pt x="3531" y="26313"/>
                </a:cubicBezTo>
                <a:cubicBezTo>
                  <a:pt x="3688" y="26281"/>
                  <a:pt x="3688" y="26281"/>
                  <a:pt x="3688" y="26281"/>
                </a:cubicBezTo>
                <a:cubicBezTo>
                  <a:pt x="3719" y="26281"/>
                  <a:pt x="3750" y="26281"/>
                  <a:pt x="3750" y="26250"/>
                </a:cubicBezTo>
                <a:cubicBezTo>
                  <a:pt x="3750" y="26125"/>
                  <a:pt x="3844" y="26094"/>
                  <a:pt x="3938" y="26094"/>
                </a:cubicBezTo>
                <a:cubicBezTo>
                  <a:pt x="3969" y="26125"/>
                  <a:pt x="4000" y="26094"/>
                  <a:pt x="4031" y="26094"/>
                </a:cubicBezTo>
                <a:cubicBezTo>
                  <a:pt x="4031" y="26094"/>
                  <a:pt x="4031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63" y="26094"/>
                  <a:pt x="4063" y="26094"/>
                  <a:pt x="4063" y="26094"/>
                </a:cubicBezTo>
                <a:cubicBezTo>
                  <a:pt x="4094" y="26094"/>
                  <a:pt x="4125" y="26094"/>
                  <a:pt x="4156" y="26094"/>
                </a:cubicBezTo>
                <a:cubicBezTo>
                  <a:pt x="4188" y="26094"/>
                  <a:pt x="4188" y="26094"/>
                  <a:pt x="4219" y="26094"/>
                </a:cubicBezTo>
                <a:cubicBezTo>
                  <a:pt x="4250" y="26125"/>
                  <a:pt x="4281" y="26125"/>
                  <a:pt x="4313" y="26125"/>
                </a:cubicBezTo>
                <a:cubicBezTo>
                  <a:pt x="4219" y="26156"/>
                  <a:pt x="4125" y="26156"/>
                  <a:pt x="4063" y="26156"/>
                </a:cubicBezTo>
                <a:cubicBezTo>
                  <a:pt x="4094" y="26156"/>
                  <a:pt x="4094" y="26156"/>
                  <a:pt x="4125" y="26156"/>
                </a:cubicBezTo>
                <a:cubicBezTo>
                  <a:pt x="4188" y="26188"/>
                  <a:pt x="4219" y="26219"/>
                  <a:pt x="4281" y="26188"/>
                </a:cubicBezTo>
                <a:cubicBezTo>
                  <a:pt x="4344" y="26188"/>
                  <a:pt x="4438" y="26219"/>
                  <a:pt x="4500" y="26219"/>
                </a:cubicBezTo>
                <a:cubicBezTo>
                  <a:pt x="4500" y="26219"/>
                  <a:pt x="4500" y="26219"/>
                  <a:pt x="4500" y="26219"/>
                </a:cubicBezTo>
                <a:cubicBezTo>
                  <a:pt x="4531" y="26219"/>
                  <a:pt x="4563" y="26219"/>
                  <a:pt x="4594" y="26188"/>
                </a:cubicBezTo>
                <a:cubicBezTo>
                  <a:pt x="4625" y="26188"/>
                  <a:pt x="4625" y="26188"/>
                  <a:pt x="4656" y="26188"/>
                </a:cubicBezTo>
                <a:cubicBezTo>
                  <a:pt x="4656" y="26188"/>
                  <a:pt x="4688" y="26219"/>
                  <a:pt x="4688" y="26219"/>
                </a:cubicBezTo>
                <a:cubicBezTo>
                  <a:pt x="4781" y="26250"/>
                  <a:pt x="4906" y="26219"/>
                  <a:pt x="5000" y="26219"/>
                </a:cubicBezTo>
                <a:cubicBezTo>
                  <a:pt x="5031" y="26219"/>
                  <a:pt x="5031" y="26219"/>
                  <a:pt x="5063" y="26219"/>
                </a:cubicBezTo>
                <a:cubicBezTo>
                  <a:pt x="5188" y="26281"/>
                  <a:pt x="5281" y="26250"/>
                  <a:pt x="5406" y="26250"/>
                </a:cubicBezTo>
                <a:cubicBezTo>
                  <a:pt x="5656" y="26250"/>
                  <a:pt x="5938" y="26281"/>
                  <a:pt x="6188" y="26250"/>
                </a:cubicBezTo>
                <a:cubicBezTo>
                  <a:pt x="6531" y="26250"/>
                  <a:pt x="6906" y="26250"/>
                  <a:pt x="7250" y="26250"/>
                </a:cubicBezTo>
                <a:cubicBezTo>
                  <a:pt x="7531" y="26219"/>
                  <a:pt x="7813" y="26156"/>
                  <a:pt x="8125" y="26188"/>
                </a:cubicBezTo>
                <a:cubicBezTo>
                  <a:pt x="8125" y="26188"/>
                  <a:pt x="8125" y="26219"/>
                  <a:pt x="8125" y="26219"/>
                </a:cubicBezTo>
                <a:cubicBezTo>
                  <a:pt x="8125" y="26219"/>
                  <a:pt x="8125" y="26250"/>
                  <a:pt x="8094" y="26250"/>
                </a:cubicBezTo>
                <a:cubicBezTo>
                  <a:pt x="8094" y="26250"/>
                  <a:pt x="8094" y="26250"/>
                  <a:pt x="8094" y="26250"/>
                </a:cubicBezTo>
                <a:cubicBezTo>
                  <a:pt x="8094" y="26250"/>
                  <a:pt x="8062" y="26281"/>
                  <a:pt x="8062" y="26281"/>
                </a:cubicBezTo>
                <a:cubicBezTo>
                  <a:pt x="8062" y="26281"/>
                  <a:pt x="8062" y="26281"/>
                  <a:pt x="8062" y="26281"/>
                </a:cubicBezTo>
                <a:cubicBezTo>
                  <a:pt x="8031" y="26281"/>
                  <a:pt x="8031" y="26281"/>
                  <a:pt x="8031" y="26281"/>
                </a:cubicBezTo>
                <a:cubicBezTo>
                  <a:pt x="8031" y="26281"/>
                  <a:pt x="8000" y="26281"/>
                  <a:pt x="8000" y="26281"/>
                </a:cubicBezTo>
                <a:cubicBezTo>
                  <a:pt x="7969" y="26281"/>
                  <a:pt x="7937" y="26281"/>
                  <a:pt x="7906" y="26313"/>
                </a:cubicBezTo>
                <a:cubicBezTo>
                  <a:pt x="7844" y="26313"/>
                  <a:pt x="7781" y="26344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719" y="26375"/>
                  <a:pt x="7719" y="26375"/>
                  <a:pt x="7719" y="26375"/>
                </a:cubicBezTo>
                <a:cubicBezTo>
                  <a:pt x="7875" y="26375"/>
                  <a:pt x="8062" y="26344"/>
                  <a:pt x="8219" y="26344"/>
                </a:cubicBezTo>
                <a:cubicBezTo>
                  <a:pt x="8250" y="26344"/>
                  <a:pt x="8312" y="26344"/>
                  <a:pt x="8344" y="26344"/>
                </a:cubicBezTo>
                <a:cubicBezTo>
                  <a:pt x="8312" y="26406"/>
                  <a:pt x="8250" y="26375"/>
                  <a:pt x="8250" y="26406"/>
                </a:cubicBezTo>
                <a:close/>
                <a:moveTo>
                  <a:pt x="5563" y="18813"/>
                </a:moveTo>
                <a:cubicBezTo>
                  <a:pt x="5531" y="18750"/>
                  <a:pt x="5438" y="18750"/>
                  <a:pt x="5406" y="18719"/>
                </a:cubicBezTo>
                <a:cubicBezTo>
                  <a:pt x="5438" y="18781"/>
                  <a:pt x="5500" y="18781"/>
                  <a:pt x="5563" y="18813"/>
                </a:cubicBezTo>
                <a:close/>
                <a:moveTo>
                  <a:pt x="5969" y="19250"/>
                </a:moveTo>
                <a:cubicBezTo>
                  <a:pt x="5969" y="19250"/>
                  <a:pt x="5969" y="19250"/>
                  <a:pt x="5938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81"/>
                  <a:pt x="5969" y="19281"/>
                  <a:pt x="5969" y="19281"/>
                </a:cubicBezTo>
                <a:cubicBezTo>
                  <a:pt x="5969" y="19250"/>
                  <a:pt x="5969" y="19250"/>
                  <a:pt x="5969" y="19250"/>
                </a:cubicBezTo>
                <a:close/>
                <a:moveTo>
                  <a:pt x="5031" y="18531"/>
                </a:moveTo>
                <a:cubicBezTo>
                  <a:pt x="5094" y="18594"/>
                  <a:pt x="5156" y="18625"/>
                  <a:pt x="5219" y="18625"/>
                </a:cubicBezTo>
                <a:cubicBezTo>
                  <a:pt x="5156" y="18563"/>
                  <a:pt x="5125" y="18531"/>
                  <a:pt x="5031" y="18531"/>
                </a:cubicBezTo>
                <a:close/>
                <a:moveTo>
                  <a:pt x="5906" y="19219"/>
                </a:moveTo>
                <a:cubicBezTo>
                  <a:pt x="5625" y="19031"/>
                  <a:pt x="5313" y="18875"/>
                  <a:pt x="5000" y="18750"/>
                </a:cubicBezTo>
                <a:cubicBezTo>
                  <a:pt x="5281" y="18938"/>
                  <a:pt x="5594" y="19094"/>
                  <a:pt x="5906" y="19219"/>
                </a:cubicBezTo>
                <a:close/>
                <a:moveTo>
                  <a:pt x="3969" y="13282"/>
                </a:moveTo>
                <a:cubicBezTo>
                  <a:pt x="4031" y="13313"/>
                  <a:pt x="4063" y="13344"/>
                  <a:pt x="4125" y="13313"/>
                </a:cubicBezTo>
                <a:cubicBezTo>
                  <a:pt x="4094" y="13282"/>
                  <a:pt x="4031" y="13250"/>
                  <a:pt x="3969" y="13282"/>
                </a:cubicBezTo>
                <a:close/>
                <a:moveTo>
                  <a:pt x="6594" y="13938"/>
                </a:moveTo>
                <a:cubicBezTo>
                  <a:pt x="6625" y="13969"/>
                  <a:pt x="6625" y="14000"/>
                  <a:pt x="6688" y="14000"/>
                </a:cubicBezTo>
                <a:cubicBezTo>
                  <a:pt x="6688" y="14000"/>
                  <a:pt x="6719" y="13969"/>
                  <a:pt x="6688" y="13969"/>
                </a:cubicBezTo>
                <a:cubicBezTo>
                  <a:pt x="6688" y="13938"/>
                  <a:pt x="6625" y="13938"/>
                  <a:pt x="6594" y="13938"/>
                </a:cubicBezTo>
                <a:close/>
                <a:moveTo>
                  <a:pt x="3656" y="11407"/>
                </a:move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38"/>
                </a:cubicBezTo>
                <a:cubicBezTo>
                  <a:pt x="3656" y="11407"/>
                  <a:pt x="3656" y="11407"/>
                  <a:pt x="3656" y="11407"/>
                </a:cubicBezTo>
                <a:cubicBezTo>
                  <a:pt x="3656" y="11407"/>
                  <a:pt x="3656" y="11407"/>
                  <a:pt x="3656" y="11407"/>
                </a:cubicBezTo>
                <a:close/>
                <a:moveTo>
                  <a:pt x="3813" y="11469"/>
                </a:moveTo>
                <a:cubicBezTo>
                  <a:pt x="3813" y="11469"/>
                  <a:pt x="3813" y="11469"/>
                  <a:pt x="3813" y="11469"/>
                </a:cubicBezTo>
                <a:cubicBezTo>
                  <a:pt x="3813" y="11469"/>
                  <a:pt x="3813" y="11469"/>
                  <a:pt x="3781" y="11469"/>
                </a:cubicBezTo>
                <a:cubicBezTo>
                  <a:pt x="3781" y="11469"/>
                  <a:pt x="3813" y="11469"/>
                  <a:pt x="3813" y="11469"/>
                </a:cubicBezTo>
                <a:close/>
                <a:moveTo>
                  <a:pt x="2438" y="17344"/>
                </a:moveTo>
                <a:cubicBezTo>
                  <a:pt x="2406" y="17313"/>
                  <a:pt x="2406" y="17313"/>
                  <a:pt x="2406" y="17313"/>
                </a:cubicBezTo>
                <a:cubicBezTo>
                  <a:pt x="2406" y="17313"/>
                  <a:pt x="2406" y="17313"/>
                  <a:pt x="2375" y="17313"/>
                </a:cubicBezTo>
                <a:cubicBezTo>
                  <a:pt x="2406" y="17344"/>
                  <a:pt x="2406" y="17344"/>
                  <a:pt x="2406" y="17344"/>
                </a:cubicBezTo>
                <a:cubicBezTo>
                  <a:pt x="2406" y="17344"/>
                  <a:pt x="2406" y="17344"/>
                  <a:pt x="2438" y="17344"/>
                </a:cubicBezTo>
                <a:close/>
                <a:moveTo>
                  <a:pt x="2250" y="17282"/>
                </a:moveTo>
                <a:cubicBezTo>
                  <a:pt x="2250" y="17282"/>
                  <a:pt x="2219" y="17282"/>
                  <a:pt x="2219" y="17282"/>
                </a:cubicBezTo>
                <a:cubicBezTo>
                  <a:pt x="2219" y="17313"/>
                  <a:pt x="2250" y="17313"/>
                  <a:pt x="2250" y="17282"/>
                </a:cubicBezTo>
                <a:close/>
                <a:moveTo>
                  <a:pt x="2563" y="17344"/>
                </a:moveTo>
                <a:cubicBezTo>
                  <a:pt x="2563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44"/>
                  <a:pt x="2531" y="17344"/>
                  <a:pt x="2531" y="17344"/>
                </a:cubicBezTo>
                <a:cubicBezTo>
                  <a:pt x="2531" y="17375"/>
                  <a:pt x="2531" y="17344"/>
                  <a:pt x="2563" y="17344"/>
                </a:cubicBezTo>
                <a:close/>
                <a:moveTo>
                  <a:pt x="2656" y="17375"/>
                </a:moveTo>
                <a:lnTo>
                  <a:pt x="2656" y="17375"/>
                </a:lnTo>
                <a:lnTo>
                  <a:pt x="2656" y="17375"/>
                </a:lnTo>
                <a:close/>
                <a:moveTo>
                  <a:pt x="5375" y="18063"/>
                </a:moveTo>
                <a:cubicBezTo>
                  <a:pt x="5406" y="17906"/>
                  <a:pt x="5313" y="17938"/>
                  <a:pt x="5219" y="17906"/>
                </a:cubicBezTo>
                <a:cubicBezTo>
                  <a:pt x="5219" y="17875"/>
                  <a:pt x="5219" y="17875"/>
                  <a:pt x="5219" y="17875"/>
                </a:cubicBezTo>
                <a:cubicBezTo>
                  <a:pt x="5219" y="17906"/>
                  <a:pt x="5219" y="17906"/>
                  <a:pt x="5219" y="17906"/>
                </a:cubicBezTo>
                <a:cubicBezTo>
                  <a:pt x="5250" y="17969"/>
                  <a:pt x="5313" y="18031"/>
                  <a:pt x="5375" y="18063"/>
                </a:cubicBezTo>
                <a:close/>
                <a:moveTo>
                  <a:pt x="6750" y="14000"/>
                </a:moveTo>
                <a:cubicBezTo>
                  <a:pt x="6750" y="14032"/>
                  <a:pt x="6750" y="14032"/>
                  <a:pt x="6750" y="14032"/>
                </a:cubicBezTo>
                <a:cubicBezTo>
                  <a:pt x="6781" y="14032"/>
                  <a:pt x="6781" y="14032"/>
                  <a:pt x="6781" y="14032"/>
                </a:cubicBezTo>
                <a:cubicBezTo>
                  <a:pt x="6781" y="14032"/>
                  <a:pt x="6781" y="14000"/>
                  <a:pt x="6781" y="14000"/>
                </a:cubicBezTo>
                <a:cubicBezTo>
                  <a:pt x="6781" y="14000"/>
                  <a:pt x="6750" y="14000"/>
                  <a:pt x="6750" y="14000"/>
                </a:cubicBezTo>
                <a:close/>
                <a:moveTo>
                  <a:pt x="6438" y="11875"/>
                </a:moveTo>
                <a:lnTo>
                  <a:pt x="6438" y="11875"/>
                </a:lnTo>
                <a:lnTo>
                  <a:pt x="6438" y="11907"/>
                </a:lnTo>
                <a:lnTo>
                  <a:pt x="6438" y="11875"/>
                </a:lnTo>
                <a:close/>
                <a:moveTo>
                  <a:pt x="11937" y="10032"/>
                </a:moveTo>
                <a:cubicBezTo>
                  <a:pt x="11937" y="10032"/>
                  <a:pt x="11937" y="10032"/>
                  <a:pt x="11937" y="10063"/>
                </a:cubicBezTo>
                <a:cubicBezTo>
                  <a:pt x="11937" y="10063"/>
                  <a:pt x="11937" y="10032"/>
                  <a:pt x="11937" y="10032"/>
                </a:cubicBezTo>
                <a:cubicBezTo>
                  <a:pt x="11937" y="10032"/>
                  <a:pt x="11937" y="10032"/>
                  <a:pt x="11937" y="10032"/>
                </a:cubicBezTo>
                <a:close/>
                <a:moveTo>
                  <a:pt x="14375" y="9688"/>
                </a:move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ubicBezTo>
                  <a:pt x="14375" y="9688"/>
                  <a:pt x="14375" y="9688"/>
                  <a:pt x="14375" y="9688"/>
                </a:cubicBezTo>
                <a:close/>
                <a:moveTo>
                  <a:pt x="12500" y="8344"/>
                </a:move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ubicBezTo>
                  <a:pt x="12500" y="8344"/>
                  <a:pt x="12500" y="8344"/>
                  <a:pt x="12500" y="8344"/>
                </a:cubicBezTo>
                <a:close/>
                <a:moveTo>
                  <a:pt x="10531" y="6500"/>
                </a:moveTo>
                <a:cubicBezTo>
                  <a:pt x="10531" y="6500"/>
                  <a:pt x="10531" y="6500"/>
                  <a:pt x="10500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ubicBezTo>
                  <a:pt x="10531" y="6500"/>
                  <a:pt x="10531" y="6500"/>
                  <a:pt x="10531" y="6500"/>
                </a:cubicBezTo>
                <a:close/>
                <a:moveTo>
                  <a:pt x="4938" y="6375"/>
                </a:moveTo>
                <a:cubicBezTo>
                  <a:pt x="4938" y="6375"/>
                  <a:pt x="4938" y="6375"/>
                  <a:pt x="4906" y="6375"/>
                </a:cubicBezTo>
                <a:cubicBezTo>
                  <a:pt x="4906" y="6375"/>
                  <a:pt x="4875" y="6375"/>
                  <a:pt x="4875" y="6375"/>
                </a:cubicBezTo>
                <a:cubicBezTo>
                  <a:pt x="4844" y="6344"/>
                  <a:pt x="4844" y="6344"/>
                  <a:pt x="4813" y="6344"/>
                </a:cubicBezTo>
                <a:cubicBezTo>
                  <a:pt x="4813" y="6313"/>
                  <a:pt x="4813" y="6313"/>
                  <a:pt x="4781" y="6313"/>
                </a:cubicBezTo>
                <a:cubicBezTo>
                  <a:pt x="4438" y="6157"/>
                  <a:pt x="4063" y="6032"/>
                  <a:pt x="3719" y="5907"/>
                </a:cubicBezTo>
                <a:cubicBezTo>
                  <a:pt x="3469" y="5813"/>
                  <a:pt x="3219" y="5719"/>
                  <a:pt x="3000" y="5657"/>
                </a:cubicBezTo>
                <a:cubicBezTo>
                  <a:pt x="2813" y="5594"/>
                  <a:pt x="2656" y="5532"/>
                  <a:pt x="2438" y="5532"/>
                </a:cubicBezTo>
                <a:cubicBezTo>
                  <a:pt x="2750" y="5657"/>
                  <a:pt x="3031" y="5750"/>
                  <a:pt x="3313" y="5844"/>
                </a:cubicBezTo>
                <a:cubicBezTo>
                  <a:pt x="3563" y="5907"/>
                  <a:pt x="3813" y="6000"/>
                  <a:pt x="4063" y="6063"/>
                </a:cubicBezTo>
                <a:lnTo>
                  <a:pt x="4063" y="6063"/>
                </a:lnTo>
                <a:cubicBezTo>
                  <a:pt x="4250" y="6125"/>
                  <a:pt x="4438" y="6219"/>
                  <a:pt x="4625" y="6282"/>
                </a:cubicBezTo>
                <a:cubicBezTo>
                  <a:pt x="4688" y="6313"/>
                  <a:pt x="4750" y="6313"/>
                  <a:pt x="4813" y="6344"/>
                </a:cubicBezTo>
                <a:cubicBezTo>
                  <a:pt x="4844" y="6344"/>
                  <a:pt x="4875" y="6344"/>
                  <a:pt x="4906" y="6375"/>
                </a:cubicBezTo>
                <a:cubicBezTo>
                  <a:pt x="4906" y="6375"/>
                  <a:pt x="4938" y="6375"/>
                  <a:pt x="4938" y="6375"/>
                </a:cubicBezTo>
                <a:cubicBezTo>
                  <a:pt x="4938" y="6375"/>
                  <a:pt x="4938" y="6375"/>
                  <a:pt x="4938" y="6375"/>
                </a:cubicBezTo>
                <a:close/>
                <a:moveTo>
                  <a:pt x="15062" y="4500"/>
                </a:moveTo>
                <a:lnTo>
                  <a:pt x="15062" y="4500"/>
                </a:lnTo>
                <a:lnTo>
                  <a:pt x="15062" y="4500"/>
                </a:lnTo>
                <a:close/>
                <a:moveTo>
                  <a:pt x="12281" y="10250"/>
                </a:moveTo>
                <a:cubicBezTo>
                  <a:pt x="12250" y="10219"/>
                  <a:pt x="12219" y="10219"/>
                  <a:pt x="12156" y="10219"/>
                </a:cubicBezTo>
                <a:cubicBezTo>
                  <a:pt x="12156" y="10188"/>
                  <a:pt x="12125" y="10157"/>
                  <a:pt x="12125" y="10157"/>
                </a:cubicBezTo>
                <a:cubicBezTo>
                  <a:pt x="12062" y="10125"/>
                  <a:pt x="12031" y="10094"/>
                  <a:pt x="11969" y="10063"/>
                </a:cubicBezTo>
                <a:cubicBezTo>
                  <a:pt x="12031" y="10125"/>
                  <a:pt x="12094" y="10188"/>
                  <a:pt x="12156" y="10219"/>
                </a:cubicBezTo>
                <a:cubicBezTo>
                  <a:pt x="12219" y="10282"/>
                  <a:pt x="12281" y="10313"/>
                  <a:pt x="12375" y="10344"/>
                </a:cubicBezTo>
                <a:cubicBezTo>
                  <a:pt x="12344" y="10313"/>
                  <a:pt x="12312" y="10282"/>
                  <a:pt x="12281" y="10250"/>
                </a:cubicBezTo>
                <a:close/>
                <a:moveTo>
                  <a:pt x="2375" y="26188"/>
                </a:moveTo>
                <a:cubicBezTo>
                  <a:pt x="2313" y="26125"/>
                  <a:pt x="2250" y="26094"/>
                  <a:pt x="2156" y="26031"/>
                </a:cubicBezTo>
                <a:cubicBezTo>
                  <a:pt x="2219" y="26125"/>
                  <a:pt x="2250" y="26188"/>
                  <a:pt x="2375" y="26188"/>
                </a:cubicBezTo>
                <a:close/>
                <a:moveTo>
                  <a:pt x="10812" y="3282"/>
                </a:moveTo>
                <a:cubicBezTo>
                  <a:pt x="10812" y="3282"/>
                  <a:pt x="10844" y="3282"/>
                  <a:pt x="10875" y="3282"/>
                </a:cubicBezTo>
                <a:cubicBezTo>
                  <a:pt x="10969" y="3375"/>
                  <a:pt x="11094" y="3438"/>
                  <a:pt x="11219" y="3500"/>
                </a:cubicBezTo>
                <a:cubicBezTo>
                  <a:pt x="11281" y="3563"/>
                  <a:pt x="11344" y="3594"/>
                  <a:pt x="11437" y="3625"/>
                </a:cubicBezTo>
                <a:cubicBezTo>
                  <a:pt x="11469" y="3688"/>
                  <a:pt x="11500" y="3688"/>
                  <a:pt x="11562" y="3719"/>
                </a:cubicBezTo>
                <a:cubicBezTo>
                  <a:pt x="11562" y="3719"/>
                  <a:pt x="11594" y="3750"/>
                  <a:pt x="11594" y="3750"/>
                </a:cubicBezTo>
                <a:cubicBezTo>
                  <a:pt x="11562" y="3688"/>
                  <a:pt x="11500" y="3625"/>
                  <a:pt x="11437" y="3625"/>
                </a:cubicBezTo>
                <a:cubicBezTo>
                  <a:pt x="11406" y="3625"/>
                  <a:pt x="11406" y="3594"/>
                  <a:pt x="11375" y="3594"/>
                </a:cubicBezTo>
                <a:cubicBezTo>
                  <a:pt x="11344" y="3532"/>
                  <a:pt x="11281" y="3500"/>
                  <a:pt x="11219" y="3500"/>
                </a:cubicBezTo>
                <a:cubicBezTo>
                  <a:pt x="11219" y="3469"/>
                  <a:pt x="11187" y="3469"/>
                  <a:pt x="11187" y="3438"/>
                </a:cubicBezTo>
                <a:cubicBezTo>
                  <a:pt x="11187" y="3438"/>
                  <a:pt x="11187" y="3438"/>
                  <a:pt x="11156" y="3438"/>
                </a:cubicBezTo>
                <a:cubicBezTo>
                  <a:pt x="11031" y="3344"/>
                  <a:pt x="10875" y="3250"/>
                  <a:pt x="10750" y="3157"/>
                </a:cubicBezTo>
                <a:cubicBezTo>
                  <a:pt x="10656" y="3094"/>
                  <a:pt x="10562" y="3063"/>
                  <a:pt x="10469" y="3000"/>
                </a:cubicBezTo>
                <a:cubicBezTo>
                  <a:pt x="10500" y="3063"/>
                  <a:pt x="10531" y="3094"/>
                  <a:pt x="10562" y="3125"/>
                </a:cubicBezTo>
                <a:cubicBezTo>
                  <a:pt x="10625" y="3157"/>
                  <a:pt x="10719" y="3219"/>
                  <a:pt x="10812" y="3282"/>
                </a:cubicBezTo>
                <a:close/>
                <a:moveTo>
                  <a:pt x="6969" y="26438"/>
                </a:moveTo>
                <a:cubicBezTo>
                  <a:pt x="7094" y="26438"/>
                  <a:pt x="7250" y="26469"/>
                  <a:pt x="7375" y="26406"/>
                </a:cubicBezTo>
                <a:cubicBezTo>
                  <a:pt x="7250" y="26375"/>
                  <a:pt x="7094" y="26406"/>
                  <a:pt x="6969" y="26438"/>
                </a:cubicBezTo>
                <a:close/>
                <a:moveTo>
                  <a:pt x="2656" y="27625"/>
                </a:moveTo>
                <a:cubicBezTo>
                  <a:pt x="2625" y="27625"/>
                  <a:pt x="2625" y="27656"/>
                  <a:pt x="2625" y="27656"/>
                </a:cubicBezTo>
                <a:cubicBezTo>
                  <a:pt x="2625" y="27719"/>
                  <a:pt x="2688" y="27750"/>
                  <a:pt x="2719" y="27781"/>
                </a:cubicBezTo>
                <a:cubicBezTo>
                  <a:pt x="2750" y="27781"/>
                  <a:pt x="2750" y="27750"/>
                  <a:pt x="2750" y="27719"/>
                </a:cubicBezTo>
                <a:cubicBezTo>
                  <a:pt x="2750" y="27688"/>
                  <a:pt x="2719" y="27625"/>
                  <a:pt x="2656" y="27625"/>
                </a:cubicBezTo>
                <a:close/>
                <a:moveTo>
                  <a:pt x="2719" y="26938"/>
                </a:moveTo>
                <a:cubicBezTo>
                  <a:pt x="2656" y="26938"/>
                  <a:pt x="2625" y="26969"/>
                  <a:pt x="2625" y="27000"/>
                </a:cubicBezTo>
                <a:cubicBezTo>
                  <a:pt x="2594" y="27063"/>
                  <a:pt x="2656" y="27063"/>
                  <a:pt x="2688" y="27063"/>
                </a:cubicBezTo>
                <a:cubicBezTo>
                  <a:pt x="2750" y="27031"/>
                  <a:pt x="2781" y="27125"/>
                  <a:pt x="2813" y="27156"/>
                </a:cubicBezTo>
                <a:cubicBezTo>
                  <a:pt x="2844" y="27188"/>
                  <a:pt x="2844" y="27219"/>
                  <a:pt x="2875" y="27250"/>
                </a:cubicBezTo>
                <a:cubicBezTo>
                  <a:pt x="2906" y="27250"/>
                  <a:pt x="2938" y="27250"/>
                  <a:pt x="2938" y="27219"/>
                </a:cubicBezTo>
                <a:cubicBezTo>
                  <a:pt x="2938" y="27188"/>
                  <a:pt x="2750" y="26938"/>
                  <a:pt x="2719" y="26938"/>
                </a:cubicBezTo>
                <a:close/>
                <a:moveTo>
                  <a:pt x="7781" y="7750"/>
                </a:moveTo>
                <a:cubicBezTo>
                  <a:pt x="7406" y="7563"/>
                  <a:pt x="7000" y="7344"/>
                  <a:pt x="6594" y="7188"/>
                </a:cubicBezTo>
                <a:cubicBezTo>
                  <a:pt x="6594" y="7219"/>
                  <a:pt x="6594" y="7219"/>
                  <a:pt x="6594" y="7219"/>
                </a:cubicBezTo>
                <a:cubicBezTo>
                  <a:pt x="6969" y="7407"/>
                  <a:pt x="7375" y="7594"/>
                  <a:pt x="7750" y="7782"/>
                </a:cubicBezTo>
                <a:cubicBezTo>
                  <a:pt x="7781" y="7782"/>
                  <a:pt x="7781" y="7750"/>
                  <a:pt x="7781" y="7750"/>
                </a:cubicBezTo>
                <a:close/>
                <a:moveTo>
                  <a:pt x="2438" y="6094"/>
                </a:moveTo>
                <a:cubicBezTo>
                  <a:pt x="2500" y="6157"/>
                  <a:pt x="2594" y="6188"/>
                  <a:pt x="2688" y="6219"/>
                </a:cubicBezTo>
                <a:cubicBezTo>
                  <a:pt x="2844" y="6250"/>
                  <a:pt x="3031" y="6313"/>
                  <a:pt x="3188" y="6407"/>
                </a:cubicBezTo>
                <a:cubicBezTo>
                  <a:pt x="3313" y="6469"/>
                  <a:pt x="3375" y="6438"/>
                  <a:pt x="3500" y="6344"/>
                </a:cubicBezTo>
                <a:cubicBezTo>
                  <a:pt x="3156" y="6219"/>
                  <a:pt x="2844" y="6157"/>
                  <a:pt x="2563" y="6032"/>
                </a:cubicBezTo>
                <a:cubicBezTo>
                  <a:pt x="2500" y="6032"/>
                  <a:pt x="2469" y="6032"/>
                  <a:pt x="2438" y="6094"/>
                </a:cubicBezTo>
                <a:close/>
                <a:moveTo>
                  <a:pt x="4906" y="6375"/>
                </a:moveTo>
                <a:close/>
                <a:moveTo>
                  <a:pt x="4813" y="6344"/>
                </a:moveTo>
                <a:cubicBezTo>
                  <a:pt x="4813" y="6344"/>
                  <a:pt x="4813" y="6344"/>
                  <a:pt x="4813" y="6344"/>
                </a:cubicBezTo>
                <a:cubicBezTo>
                  <a:pt x="4813" y="6344"/>
                  <a:pt x="4813" y="6344"/>
                  <a:pt x="4813" y="6344"/>
                </a:cubicBezTo>
                <a:lnTo>
                  <a:pt x="4813" y="6344"/>
                </a:lnTo>
                <a:cubicBezTo>
                  <a:pt x="4813" y="6344"/>
                  <a:pt x="4813" y="6344"/>
                  <a:pt x="4813" y="6344"/>
                </a:cubicBezTo>
                <a:close/>
                <a:moveTo>
                  <a:pt x="6313" y="7875"/>
                </a:moveTo>
                <a:cubicBezTo>
                  <a:pt x="7063" y="8250"/>
                  <a:pt x="7813" y="8594"/>
                  <a:pt x="8562" y="8969"/>
                </a:cubicBezTo>
                <a:cubicBezTo>
                  <a:pt x="7844" y="8532"/>
                  <a:pt x="7094" y="8188"/>
                  <a:pt x="6313" y="7875"/>
                </a:cubicBezTo>
                <a:close/>
                <a:moveTo>
                  <a:pt x="6625" y="3782"/>
                </a:moveTo>
                <a:cubicBezTo>
                  <a:pt x="6375" y="3719"/>
                  <a:pt x="6156" y="3625"/>
                  <a:pt x="5906" y="3532"/>
                </a:cubicBezTo>
                <a:cubicBezTo>
                  <a:pt x="5719" y="3469"/>
                  <a:pt x="5563" y="3407"/>
                  <a:pt x="5344" y="3407"/>
                </a:cubicBezTo>
                <a:cubicBezTo>
                  <a:pt x="5656" y="3532"/>
                  <a:pt x="5938" y="3688"/>
                  <a:pt x="6219" y="3813"/>
                </a:cubicBezTo>
                <a:cubicBezTo>
                  <a:pt x="6281" y="3844"/>
                  <a:pt x="6375" y="3907"/>
                  <a:pt x="6438" y="3875"/>
                </a:cubicBezTo>
                <a:cubicBezTo>
                  <a:pt x="6438" y="3875"/>
                  <a:pt x="6469" y="3875"/>
                  <a:pt x="6469" y="3875"/>
                </a:cubicBezTo>
                <a:cubicBezTo>
                  <a:pt x="6469" y="3875"/>
                  <a:pt x="6469" y="3875"/>
                  <a:pt x="6500" y="3875"/>
                </a:cubicBezTo>
                <a:cubicBezTo>
                  <a:pt x="6563" y="3844"/>
                  <a:pt x="6625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88" y="3907"/>
                  <a:pt x="6688" y="3907"/>
                  <a:pt x="6688" y="3907"/>
                </a:cubicBezTo>
                <a:cubicBezTo>
                  <a:pt x="6656" y="3875"/>
                  <a:pt x="6688" y="3813"/>
                  <a:pt x="6625" y="3782"/>
                </a:cubicBezTo>
                <a:close/>
                <a:moveTo>
                  <a:pt x="7000" y="4875"/>
                </a:moveTo>
                <a:cubicBezTo>
                  <a:pt x="7094" y="4938"/>
                  <a:pt x="7188" y="5000"/>
                  <a:pt x="7281" y="4938"/>
                </a:cubicBezTo>
                <a:cubicBezTo>
                  <a:pt x="6969" y="4750"/>
                  <a:pt x="5156" y="4000"/>
                  <a:pt x="4969" y="4032"/>
                </a:cubicBezTo>
                <a:cubicBezTo>
                  <a:pt x="5000" y="4032"/>
                  <a:pt x="5031" y="4094"/>
                  <a:pt x="5094" y="4094"/>
                </a:cubicBezTo>
                <a:cubicBezTo>
                  <a:pt x="5250" y="4157"/>
                  <a:pt x="5406" y="4219"/>
                  <a:pt x="5563" y="4282"/>
                </a:cubicBezTo>
                <a:cubicBezTo>
                  <a:pt x="6063" y="4469"/>
                  <a:pt x="6531" y="4657"/>
                  <a:pt x="7000" y="4875"/>
                </a:cubicBezTo>
                <a:close/>
                <a:moveTo>
                  <a:pt x="4250" y="1625"/>
                </a:moveTo>
                <a:cubicBezTo>
                  <a:pt x="5000" y="2000"/>
                  <a:pt x="5781" y="2282"/>
                  <a:pt x="6531" y="2625"/>
                </a:cubicBezTo>
                <a:cubicBezTo>
                  <a:pt x="5813" y="2219"/>
                  <a:pt x="5031" y="1938"/>
                  <a:pt x="4250" y="1625"/>
                </a:cubicBezTo>
                <a:close/>
                <a:moveTo>
                  <a:pt x="7031" y="3407"/>
                </a:moveTo>
                <a:cubicBezTo>
                  <a:pt x="7031" y="3407"/>
                  <a:pt x="7031" y="3438"/>
                  <a:pt x="7031" y="3438"/>
                </a:cubicBezTo>
                <a:cubicBezTo>
                  <a:pt x="7063" y="3500"/>
                  <a:pt x="7125" y="3500"/>
                  <a:pt x="7156" y="3500"/>
                </a:cubicBezTo>
                <a:cubicBezTo>
                  <a:pt x="7188" y="3500"/>
                  <a:pt x="7250" y="3469"/>
                  <a:pt x="7250" y="3532"/>
                </a:cubicBezTo>
                <a:cubicBezTo>
                  <a:pt x="7250" y="3594"/>
                  <a:pt x="7313" y="3594"/>
                  <a:pt x="7344" y="3625"/>
                </a:cubicBezTo>
                <a:cubicBezTo>
                  <a:pt x="7500" y="3688"/>
                  <a:pt x="7656" y="3750"/>
                  <a:pt x="7813" y="3782"/>
                </a:cubicBezTo>
                <a:cubicBezTo>
                  <a:pt x="8187" y="3938"/>
                  <a:pt x="8531" y="4157"/>
                  <a:pt x="8906" y="4344"/>
                </a:cubicBezTo>
                <a:cubicBezTo>
                  <a:pt x="9031" y="4407"/>
                  <a:pt x="9156" y="4500"/>
                  <a:pt x="9312" y="4500"/>
                </a:cubicBezTo>
                <a:cubicBezTo>
                  <a:pt x="8719" y="4188"/>
                  <a:pt x="8156" y="3875"/>
                  <a:pt x="7531" y="3594"/>
                </a:cubicBezTo>
                <a:cubicBezTo>
                  <a:pt x="7406" y="3532"/>
                  <a:pt x="7313" y="3469"/>
                  <a:pt x="7188" y="3407"/>
                </a:cubicBezTo>
                <a:cubicBezTo>
                  <a:pt x="7125" y="3407"/>
                  <a:pt x="7063" y="3407"/>
                  <a:pt x="7031" y="3407"/>
                </a:cubicBezTo>
                <a:close/>
                <a:moveTo>
                  <a:pt x="6969" y="3375"/>
                </a:moveTo>
                <a:cubicBezTo>
                  <a:pt x="7000" y="3313"/>
                  <a:pt x="6938" y="3313"/>
                  <a:pt x="6906" y="3282"/>
                </a:cubicBezTo>
                <a:cubicBezTo>
                  <a:pt x="6406" y="3063"/>
                  <a:pt x="5938" y="2844"/>
                  <a:pt x="5469" y="2688"/>
                </a:cubicBezTo>
                <a:cubicBezTo>
                  <a:pt x="5375" y="2625"/>
                  <a:pt x="5281" y="2594"/>
                  <a:pt x="5156" y="2625"/>
                </a:cubicBezTo>
                <a:cubicBezTo>
                  <a:pt x="5250" y="2688"/>
                  <a:pt x="5313" y="2719"/>
                  <a:pt x="5406" y="2750"/>
                </a:cubicBezTo>
                <a:cubicBezTo>
                  <a:pt x="5594" y="2813"/>
                  <a:pt x="5781" y="2907"/>
                  <a:pt x="5969" y="2969"/>
                </a:cubicBezTo>
                <a:cubicBezTo>
                  <a:pt x="6250" y="3125"/>
                  <a:pt x="6563" y="3250"/>
                  <a:pt x="6844" y="3375"/>
                </a:cubicBezTo>
                <a:cubicBezTo>
                  <a:pt x="6875" y="3407"/>
                  <a:pt x="6938" y="3438"/>
                  <a:pt x="6969" y="3375"/>
                </a:cubicBezTo>
                <a:close/>
                <a:moveTo>
                  <a:pt x="2563" y="26781"/>
                </a:moveTo>
                <a:cubicBezTo>
                  <a:pt x="2563" y="26750"/>
                  <a:pt x="2531" y="26750"/>
                  <a:pt x="2531" y="26719"/>
                </a:cubicBezTo>
                <a:cubicBezTo>
                  <a:pt x="2531" y="26719"/>
                  <a:pt x="2531" y="26688"/>
                  <a:pt x="2563" y="26688"/>
                </a:cubicBezTo>
                <a:cubicBezTo>
                  <a:pt x="2563" y="26656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625"/>
                  <a:pt x="2563" y="26625"/>
                  <a:pt x="2563" y="26625"/>
                </a:cubicBezTo>
                <a:cubicBezTo>
                  <a:pt x="2563" y="26594"/>
                  <a:pt x="2563" y="26594"/>
                  <a:pt x="2563" y="26594"/>
                </a:cubicBezTo>
                <a:cubicBezTo>
                  <a:pt x="2531" y="26594"/>
                  <a:pt x="2500" y="26594"/>
                  <a:pt x="2438" y="26594"/>
                </a:cubicBezTo>
                <a:cubicBezTo>
                  <a:pt x="2438" y="26594"/>
                  <a:pt x="2438" y="26563"/>
                  <a:pt x="2406" y="26563"/>
                </a:cubicBezTo>
                <a:cubicBezTo>
                  <a:pt x="2406" y="26563"/>
                  <a:pt x="2406" y="26563"/>
                  <a:pt x="2406" y="26531"/>
                </a:cubicBezTo>
                <a:cubicBezTo>
                  <a:pt x="2406" y="26531"/>
                  <a:pt x="2406" y="26531"/>
                  <a:pt x="2406" y="26531"/>
                </a:cubicBezTo>
                <a:cubicBezTo>
                  <a:pt x="2406" y="26531"/>
                  <a:pt x="2375" y="26531"/>
                  <a:pt x="2375" y="26531"/>
                </a:cubicBezTo>
                <a:cubicBezTo>
                  <a:pt x="2375" y="26531"/>
                  <a:pt x="2344" y="26500"/>
                  <a:pt x="2344" y="26500"/>
                </a:cubicBezTo>
                <a:cubicBezTo>
                  <a:pt x="2344" y="26500"/>
                  <a:pt x="2344" y="26500"/>
                  <a:pt x="2344" y="26500"/>
                </a:cubicBezTo>
                <a:cubicBezTo>
                  <a:pt x="2344" y="26469"/>
                  <a:pt x="2344" y="26469"/>
                  <a:pt x="2313" y="26469"/>
                </a:cubicBezTo>
                <a:cubicBezTo>
                  <a:pt x="2313" y="26469"/>
                  <a:pt x="2281" y="26438"/>
                  <a:pt x="2281" y="26438"/>
                </a:cubicBezTo>
                <a:cubicBezTo>
                  <a:pt x="2281" y="26406"/>
                  <a:pt x="2313" y="26406"/>
                  <a:pt x="2344" y="26406"/>
                </a:cubicBezTo>
                <a:cubicBezTo>
                  <a:pt x="2313" y="26344"/>
                  <a:pt x="2250" y="26281"/>
                  <a:pt x="2219" y="26250"/>
                </a:cubicBezTo>
                <a:cubicBezTo>
                  <a:pt x="2188" y="26250"/>
                  <a:pt x="2188" y="26250"/>
                  <a:pt x="2188" y="26219"/>
                </a:cubicBezTo>
                <a:cubicBezTo>
                  <a:pt x="2156" y="26219"/>
                  <a:pt x="2156" y="26219"/>
                  <a:pt x="2156" y="26219"/>
                </a:cubicBezTo>
                <a:cubicBezTo>
                  <a:pt x="2125" y="26219"/>
                  <a:pt x="2125" y="26219"/>
                  <a:pt x="2094" y="26250"/>
                </a:cubicBezTo>
                <a:cubicBezTo>
                  <a:pt x="2094" y="26250"/>
                  <a:pt x="2094" y="26250"/>
                  <a:pt x="2094" y="26250"/>
                </a:cubicBezTo>
                <a:cubicBezTo>
                  <a:pt x="2031" y="26156"/>
                  <a:pt x="1938" y="26094"/>
                  <a:pt x="1906" y="25969"/>
                </a:cubicBezTo>
                <a:cubicBezTo>
                  <a:pt x="1875" y="25969"/>
                  <a:pt x="1906" y="25938"/>
                  <a:pt x="1875" y="25938"/>
                </a:cubicBezTo>
                <a:cubicBezTo>
                  <a:pt x="1844" y="25938"/>
                  <a:pt x="1813" y="25969"/>
                  <a:pt x="1844" y="26000"/>
                </a:cubicBezTo>
                <a:cubicBezTo>
                  <a:pt x="1844" y="26031"/>
                  <a:pt x="1844" y="26031"/>
                  <a:pt x="1844" y="26063"/>
                </a:cubicBezTo>
                <a:cubicBezTo>
                  <a:pt x="1844" y="26063"/>
                  <a:pt x="1844" y="26063"/>
                  <a:pt x="1844" y="26063"/>
                </a:cubicBezTo>
                <a:cubicBezTo>
                  <a:pt x="1844" y="26063"/>
                  <a:pt x="1844" y="26063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094"/>
                  <a:pt x="1844" y="26094"/>
                  <a:pt x="1844" y="26094"/>
                </a:cubicBezTo>
                <a:cubicBezTo>
                  <a:pt x="1844" y="26125"/>
                  <a:pt x="1844" y="26125"/>
                  <a:pt x="1813" y="26156"/>
                </a:cubicBezTo>
                <a:cubicBezTo>
                  <a:pt x="1813" y="26156"/>
                  <a:pt x="1813" y="26188"/>
                  <a:pt x="1781" y="26219"/>
                </a:cubicBezTo>
                <a:cubicBezTo>
                  <a:pt x="1781" y="26219"/>
                  <a:pt x="1781" y="26219"/>
                  <a:pt x="1781" y="26219"/>
                </a:cubicBezTo>
                <a:cubicBezTo>
                  <a:pt x="1781" y="26219"/>
                  <a:pt x="1750" y="26219"/>
                  <a:pt x="1750" y="26250"/>
                </a:cubicBezTo>
                <a:cubicBezTo>
                  <a:pt x="1750" y="26250"/>
                  <a:pt x="1719" y="26250"/>
                  <a:pt x="1719" y="26250"/>
                </a:cubicBezTo>
                <a:cubicBezTo>
                  <a:pt x="1688" y="26313"/>
                  <a:pt x="1656" y="26344"/>
                  <a:pt x="1625" y="26406"/>
                </a:cubicBezTo>
                <a:cubicBezTo>
                  <a:pt x="1563" y="26469"/>
                  <a:pt x="1594" y="26500"/>
                  <a:pt x="1625" y="26531"/>
                </a:cubicBezTo>
                <a:cubicBezTo>
                  <a:pt x="1656" y="26563"/>
                  <a:pt x="1656" y="26594"/>
                  <a:pt x="1688" y="26594"/>
                </a:cubicBezTo>
                <a:cubicBezTo>
                  <a:pt x="1656" y="26594"/>
                  <a:pt x="1656" y="26594"/>
                  <a:pt x="1625" y="26594"/>
                </a:cubicBezTo>
                <a:cubicBezTo>
                  <a:pt x="1625" y="26594"/>
                  <a:pt x="1594" y="26594"/>
                  <a:pt x="1594" y="26594"/>
                </a:cubicBezTo>
                <a:cubicBezTo>
                  <a:pt x="1594" y="26656"/>
                  <a:pt x="1625" y="26719"/>
                  <a:pt x="1563" y="26750"/>
                </a:cubicBezTo>
                <a:cubicBezTo>
                  <a:pt x="1531" y="26750"/>
                  <a:pt x="1563" y="26813"/>
                  <a:pt x="1563" y="26813"/>
                </a:cubicBezTo>
                <a:cubicBezTo>
                  <a:pt x="1594" y="26844"/>
                  <a:pt x="1594" y="26844"/>
                  <a:pt x="1625" y="26813"/>
                </a:cubicBezTo>
                <a:cubicBezTo>
                  <a:pt x="1625" y="26719"/>
                  <a:pt x="1688" y="26781"/>
                  <a:pt x="1719" y="26781"/>
                </a:cubicBezTo>
                <a:cubicBezTo>
                  <a:pt x="1750" y="26781"/>
                  <a:pt x="1781" y="26781"/>
                  <a:pt x="1813" y="26781"/>
                </a:cubicBezTo>
                <a:cubicBezTo>
                  <a:pt x="1844" y="26781"/>
                  <a:pt x="1875" y="26781"/>
                  <a:pt x="1906" y="26781"/>
                </a:cubicBezTo>
                <a:cubicBezTo>
                  <a:pt x="1969" y="26781"/>
                  <a:pt x="2031" y="26781"/>
                  <a:pt x="2063" y="26750"/>
                </a:cubicBezTo>
                <a:cubicBezTo>
                  <a:pt x="2063" y="26750"/>
                  <a:pt x="2063" y="26750"/>
                  <a:pt x="2063" y="26750"/>
                </a:cubicBezTo>
                <a:cubicBezTo>
                  <a:pt x="2094" y="26750"/>
                  <a:pt x="2125" y="26750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50"/>
                  <a:pt x="2156" y="26750"/>
                  <a:pt x="2156" y="26750"/>
                </a:cubicBezTo>
                <a:cubicBezTo>
                  <a:pt x="2156" y="26750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156" y="26719"/>
                  <a:pt x="2156" y="26719"/>
                  <a:pt x="2156" y="26719"/>
                </a:cubicBezTo>
                <a:cubicBezTo>
                  <a:pt x="2094" y="26656"/>
                  <a:pt x="2125" y="26625"/>
                  <a:pt x="2188" y="26563"/>
                </a:cubicBezTo>
                <a:cubicBezTo>
                  <a:pt x="2219" y="26500"/>
                  <a:pt x="2250" y="26500"/>
                  <a:pt x="2281" y="26531"/>
                </a:cubicBezTo>
                <a:cubicBezTo>
                  <a:pt x="2344" y="26625"/>
                  <a:pt x="2469" y="26719"/>
                  <a:pt x="2531" y="26813"/>
                </a:cubicBezTo>
                <a:cubicBezTo>
                  <a:pt x="2531" y="26813"/>
                  <a:pt x="2531" y="26875"/>
                  <a:pt x="2563" y="26813"/>
                </a:cubicBezTo>
                <a:cubicBezTo>
                  <a:pt x="2563" y="26813"/>
                  <a:pt x="2625" y="26813"/>
                  <a:pt x="2563" y="26781"/>
                </a:cubicBezTo>
                <a:close/>
                <a:moveTo>
                  <a:pt x="2344" y="5782"/>
                </a:moveTo>
                <a:cubicBezTo>
                  <a:pt x="2344" y="5844"/>
                  <a:pt x="2313" y="5907"/>
                  <a:pt x="2406" y="5907"/>
                </a:cubicBezTo>
                <a:cubicBezTo>
                  <a:pt x="2500" y="5938"/>
                  <a:pt x="2625" y="6000"/>
                  <a:pt x="2719" y="6032"/>
                </a:cubicBezTo>
                <a:cubicBezTo>
                  <a:pt x="3000" y="6094"/>
                  <a:pt x="3250" y="6188"/>
                  <a:pt x="3531" y="6282"/>
                </a:cubicBezTo>
                <a:cubicBezTo>
                  <a:pt x="3656" y="6313"/>
                  <a:pt x="3813" y="6375"/>
                  <a:pt x="3969" y="6375"/>
                </a:cubicBezTo>
                <a:cubicBezTo>
                  <a:pt x="3969" y="6375"/>
                  <a:pt x="3969" y="6375"/>
                  <a:pt x="3969" y="6375"/>
                </a:cubicBezTo>
                <a:cubicBezTo>
                  <a:pt x="3969" y="6375"/>
                  <a:pt x="4000" y="6407"/>
                  <a:pt x="4000" y="6407"/>
                </a:cubicBezTo>
                <a:cubicBezTo>
                  <a:pt x="4000" y="6407"/>
                  <a:pt x="4031" y="6407"/>
                  <a:pt x="4031" y="6407"/>
                </a:cubicBezTo>
                <a:cubicBezTo>
                  <a:pt x="4063" y="6407"/>
                  <a:pt x="4094" y="6407"/>
                  <a:pt x="4125" y="6407"/>
                </a:cubicBezTo>
                <a:cubicBezTo>
                  <a:pt x="4156" y="6407"/>
                  <a:pt x="4156" y="6407"/>
                  <a:pt x="4188" y="6438"/>
                </a:cubicBezTo>
                <a:cubicBezTo>
                  <a:pt x="4188" y="6438"/>
                  <a:pt x="4188" y="6438"/>
                  <a:pt x="4188" y="6438"/>
                </a:cubicBezTo>
                <a:cubicBezTo>
                  <a:pt x="4219" y="6469"/>
                  <a:pt x="4219" y="6469"/>
                  <a:pt x="4250" y="6438"/>
                </a:cubicBezTo>
                <a:cubicBezTo>
                  <a:pt x="4344" y="6469"/>
                  <a:pt x="4406" y="6500"/>
                  <a:pt x="4500" y="6532"/>
                </a:cubicBezTo>
                <a:cubicBezTo>
                  <a:pt x="4656" y="6594"/>
                  <a:pt x="4813" y="6657"/>
                  <a:pt x="4938" y="6688"/>
                </a:cubicBezTo>
                <a:cubicBezTo>
                  <a:pt x="4969" y="6688"/>
                  <a:pt x="5000" y="6719"/>
                  <a:pt x="5031" y="6688"/>
                </a:cubicBezTo>
                <a:cubicBezTo>
                  <a:pt x="5031" y="6657"/>
                  <a:pt x="5000" y="6625"/>
                  <a:pt x="4969" y="6625"/>
                </a:cubicBezTo>
                <a:cubicBezTo>
                  <a:pt x="4906" y="6594"/>
                  <a:pt x="4844" y="6594"/>
                  <a:pt x="4781" y="6563"/>
                </a:cubicBezTo>
                <a:cubicBezTo>
                  <a:pt x="4750" y="6532"/>
                  <a:pt x="4719" y="6532"/>
                  <a:pt x="4688" y="6532"/>
                </a:cubicBezTo>
                <a:cubicBezTo>
                  <a:pt x="4469" y="6438"/>
                  <a:pt x="4250" y="6375"/>
                  <a:pt x="4031" y="6282"/>
                </a:cubicBezTo>
                <a:cubicBezTo>
                  <a:pt x="4031" y="6250"/>
                  <a:pt x="4031" y="6188"/>
                  <a:pt x="4031" y="6157"/>
                </a:cubicBezTo>
                <a:cubicBezTo>
                  <a:pt x="4000" y="6157"/>
                  <a:pt x="4000" y="6157"/>
                  <a:pt x="3969" y="6157"/>
                </a:cubicBezTo>
                <a:cubicBezTo>
                  <a:pt x="3875" y="6157"/>
                  <a:pt x="3813" y="6094"/>
                  <a:pt x="3719" y="6094"/>
                </a:cubicBezTo>
                <a:cubicBezTo>
                  <a:pt x="3531" y="6063"/>
                  <a:pt x="3344" y="6000"/>
                  <a:pt x="3156" y="5938"/>
                </a:cubicBezTo>
                <a:cubicBezTo>
                  <a:pt x="2938" y="5875"/>
                  <a:pt x="2688" y="5782"/>
                  <a:pt x="2438" y="5750"/>
                </a:cubicBezTo>
                <a:cubicBezTo>
                  <a:pt x="2375" y="5750"/>
                  <a:pt x="2344" y="5719"/>
                  <a:pt x="2344" y="5782"/>
                </a:cubicBezTo>
                <a:close/>
                <a:moveTo>
                  <a:pt x="9375" y="2500"/>
                </a:moveTo>
                <a:cubicBezTo>
                  <a:pt x="9375" y="2500"/>
                  <a:pt x="9375" y="2500"/>
                  <a:pt x="9375" y="2500"/>
                </a:cubicBezTo>
                <a:cubicBezTo>
                  <a:pt x="9437" y="2469"/>
                  <a:pt x="9469" y="2532"/>
                  <a:pt x="9531" y="2532"/>
                </a:cubicBezTo>
                <a:cubicBezTo>
                  <a:pt x="9531" y="2563"/>
                  <a:pt x="9562" y="2563"/>
                  <a:pt x="9594" y="2563"/>
                </a:cubicBezTo>
                <a:cubicBezTo>
                  <a:pt x="9562" y="2532"/>
                  <a:pt x="9531" y="2500"/>
                  <a:pt x="9500" y="2500"/>
                </a:cubicBezTo>
                <a:cubicBezTo>
                  <a:pt x="9312" y="2375"/>
                  <a:pt x="9125" y="2282"/>
                  <a:pt x="8937" y="2157"/>
                </a:cubicBezTo>
                <a:cubicBezTo>
                  <a:pt x="8906" y="2157"/>
                  <a:pt x="8875" y="2125"/>
                  <a:pt x="8844" y="2094"/>
                </a:cubicBezTo>
                <a:cubicBezTo>
                  <a:pt x="8719" y="2032"/>
                  <a:pt x="8625" y="2000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531" y="1969"/>
                  <a:pt x="8531" y="1969"/>
                  <a:pt x="8531" y="1969"/>
                </a:cubicBezTo>
                <a:cubicBezTo>
                  <a:pt x="8406" y="1907"/>
                  <a:pt x="8281" y="1844"/>
                  <a:pt x="8156" y="1782"/>
                </a:cubicBezTo>
                <a:cubicBezTo>
                  <a:pt x="8031" y="1719"/>
                  <a:pt x="7906" y="1657"/>
                  <a:pt x="7781" y="1594"/>
                </a:cubicBezTo>
                <a:cubicBezTo>
                  <a:pt x="7656" y="1532"/>
                  <a:pt x="7531" y="1469"/>
                  <a:pt x="7375" y="1407"/>
                </a:cubicBezTo>
                <a:cubicBezTo>
                  <a:pt x="7375" y="1407"/>
                  <a:pt x="7375" y="1407"/>
                  <a:pt x="7344" y="1375"/>
                </a:cubicBezTo>
                <a:cubicBezTo>
                  <a:pt x="7344" y="1375"/>
                  <a:pt x="7313" y="1375"/>
                  <a:pt x="7313" y="1375"/>
                </a:cubicBezTo>
                <a:cubicBezTo>
                  <a:pt x="7313" y="1375"/>
                  <a:pt x="7313" y="1375"/>
                  <a:pt x="7281" y="1375"/>
                </a:cubicBezTo>
                <a:cubicBezTo>
                  <a:pt x="7281" y="1375"/>
                  <a:pt x="7250" y="1344"/>
                  <a:pt x="7219" y="1344"/>
                </a:cubicBezTo>
                <a:cubicBezTo>
                  <a:pt x="6750" y="1094"/>
                  <a:pt x="6219" y="907"/>
                  <a:pt x="5719" y="719"/>
                </a:cubicBezTo>
                <a:cubicBezTo>
                  <a:pt x="5656" y="688"/>
                  <a:pt x="5594" y="688"/>
                  <a:pt x="5531" y="688"/>
                </a:cubicBezTo>
                <a:cubicBezTo>
                  <a:pt x="6906" y="1375"/>
                  <a:pt x="8312" y="2000"/>
                  <a:pt x="9687" y="2750"/>
                </a:cubicBezTo>
                <a:cubicBezTo>
                  <a:pt x="9594" y="2657"/>
                  <a:pt x="9469" y="2594"/>
                  <a:pt x="9375" y="2500"/>
                </a:cubicBezTo>
                <a:close/>
                <a:moveTo>
                  <a:pt x="8125" y="6000"/>
                </a:moveTo>
                <a:cubicBezTo>
                  <a:pt x="8125" y="6000"/>
                  <a:pt x="8125" y="6032"/>
                  <a:pt x="8156" y="6032"/>
                </a:cubicBezTo>
                <a:cubicBezTo>
                  <a:pt x="8219" y="6063"/>
                  <a:pt x="8250" y="6094"/>
                  <a:pt x="8344" y="6125"/>
                </a:cubicBezTo>
                <a:cubicBezTo>
                  <a:pt x="8625" y="6344"/>
                  <a:pt x="8937" y="6563"/>
                  <a:pt x="9312" y="6657"/>
                </a:cubicBezTo>
                <a:cubicBezTo>
                  <a:pt x="9281" y="6594"/>
                  <a:pt x="9250" y="6532"/>
                  <a:pt x="9187" y="6532"/>
                </a:cubicBezTo>
                <a:cubicBezTo>
                  <a:pt x="8937" y="6407"/>
                  <a:pt x="8719" y="6282"/>
                  <a:pt x="8469" y="6157"/>
                </a:cubicBezTo>
                <a:cubicBezTo>
                  <a:pt x="8469" y="6157"/>
                  <a:pt x="8469" y="6157"/>
                  <a:pt x="8437" y="6125"/>
                </a:cubicBezTo>
                <a:cubicBezTo>
                  <a:pt x="8406" y="6125"/>
                  <a:pt x="8375" y="6094"/>
                  <a:pt x="8344" y="6125"/>
                </a:cubicBezTo>
                <a:cubicBezTo>
                  <a:pt x="8344" y="6125"/>
                  <a:pt x="8344" y="6125"/>
                  <a:pt x="8344" y="6125"/>
                </a:cubicBezTo>
                <a:cubicBezTo>
                  <a:pt x="8344" y="6094"/>
                  <a:pt x="8312" y="6094"/>
                  <a:pt x="8312" y="6063"/>
                </a:cubicBezTo>
                <a:cubicBezTo>
                  <a:pt x="8281" y="6032"/>
                  <a:pt x="8250" y="6032"/>
                  <a:pt x="8219" y="6032"/>
                </a:cubicBezTo>
                <a:cubicBezTo>
                  <a:pt x="8187" y="6000"/>
                  <a:pt x="8156" y="6000"/>
                  <a:pt x="8125" y="6000"/>
                </a:cubicBezTo>
                <a:cubicBezTo>
                  <a:pt x="8125" y="6000"/>
                  <a:pt x="8125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5969"/>
                  <a:pt x="8094" y="5969"/>
                  <a:pt x="8094" y="5969"/>
                </a:cubicBezTo>
                <a:cubicBezTo>
                  <a:pt x="8094" y="6000"/>
                  <a:pt x="8094" y="6000"/>
                  <a:pt x="8125" y="6000"/>
                </a:cubicBezTo>
                <a:close/>
                <a:moveTo>
                  <a:pt x="1813" y="10094"/>
                </a:moveTo>
                <a:cubicBezTo>
                  <a:pt x="1844" y="10094"/>
                  <a:pt x="1844" y="10094"/>
                  <a:pt x="1844" y="10094"/>
                </a:cubicBezTo>
                <a:cubicBezTo>
                  <a:pt x="1844" y="10094"/>
                  <a:pt x="1844" y="10094"/>
                  <a:pt x="1813" y="10094"/>
                </a:cubicBezTo>
                <a:cubicBezTo>
                  <a:pt x="1625" y="10157"/>
                  <a:pt x="1500" y="10313"/>
                  <a:pt x="1500" y="10469"/>
                </a:cubicBezTo>
                <a:cubicBezTo>
                  <a:pt x="1531" y="10438"/>
                  <a:pt x="1563" y="10407"/>
                  <a:pt x="1594" y="10375"/>
                </a:cubicBezTo>
                <a:cubicBezTo>
                  <a:pt x="1656" y="10282"/>
                  <a:pt x="1750" y="10188"/>
                  <a:pt x="1813" y="10094"/>
                </a:cubicBezTo>
                <a:close/>
                <a:moveTo>
                  <a:pt x="14500" y="9782"/>
                </a:move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469" y="9782"/>
                  <a:pt x="14469" y="9782"/>
                </a:cubicBezTo>
                <a:cubicBezTo>
                  <a:pt x="14469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ubicBezTo>
                  <a:pt x="14500" y="9782"/>
                  <a:pt x="14500" y="9782"/>
                  <a:pt x="14500" y="9782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75ADA87-25A2-CC4F-9211-AC9E69A3D961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7CB5170D-98EB-A44E-B755-E6D370DB116E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0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4">
            <a:extLst>
              <a:ext uri="{FF2B5EF4-FFF2-40B4-BE49-F238E27FC236}">
                <a16:creationId xmlns:a16="http://schemas.microsoft.com/office/drawing/2014/main" id="{5F069258-23C0-0E46-AA4B-3E8DD274AD33}"/>
              </a:ext>
            </a:extLst>
          </p:cNvPr>
          <p:cNvSpPr>
            <a:spLocks noGrp="1" noEditPoints="1"/>
          </p:cNvSpPr>
          <p:nvPr>
            <p:ph type="pic" sz="quarter" idx="26"/>
          </p:nvPr>
        </p:nvSpPr>
        <p:spPr bwMode="auto">
          <a:xfrm>
            <a:off x="600299" y="1602210"/>
            <a:ext cx="12601400" cy="10657184"/>
          </a:xfrm>
          <a:custGeom>
            <a:avLst/>
            <a:gdLst>
              <a:gd name="T0" fmla="*/ 10875 w 23062"/>
              <a:gd name="T1" fmla="*/ 17906 h 22531"/>
              <a:gd name="T2" fmla="*/ 7968 w 23062"/>
              <a:gd name="T3" fmla="*/ 20093 h 22531"/>
              <a:gd name="T4" fmla="*/ 6218 w 23062"/>
              <a:gd name="T5" fmla="*/ 21875 h 22531"/>
              <a:gd name="T6" fmla="*/ 11000 w 23062"/>
              <a:gd name="T7" fmla="*/ 18218 h 22531"/>
              <a:gd name="T8" fmla="*/ 8718 w 23062"/>
              <a:gd name="T9" fmla="*/ 20281 h 22531"/>
              <a:gd name="T10" fmla="*/ 6625 w 23062"/>
              <a:gd name="T11" fmla="*/ 22343 h 22531"/>
              <a:gd name="T12" fmla="*/ 5156 w 23062"/>
              <a:gd name="T13" fmla="*/ 17062 h 22531"/>
              <a:gd name="T14" fmla="*/ 14843 w 23062"/>
              <a:gd name="T15" fmla="*/ 7625 h 22531"/>
              <a:gd name="T16" fmla="*/ 6250 w 23062"/>
              <a:gd name="T17" fmla="*/ 14562 h 22531"/>
              <a:gd name="T18" fmla="*/ 1562 w 23062"/>
              <a:gd name="T19" fmla="*/ 14750 h 22531"/>
              <a:gd name="T20" fmla="*/ 1500 w 23062"/>
              <a:gd name="T21" fmla="*/ 11531 h 22531"/>
              <a:gd name="T22" fmla="*/ 7843 w 23062"/>
              <a:gd name="T23" fmla="*/ 6812 h 22531"/>
              <a:gd name="T24" fmla="*/ 11093 w 23062"/>
              <a:gd name="T25" fmla="*/ 3625 h 22531"/>
              <a:gd name="T26" fmla="*/ 8531 w 23062"/>
              <a:gd name="T27" fmla="*/ 4312 h 22531"/>
              <a:gd name="T28" fmla="*/ 8687 w 23062"/>
              <a:gd name="T29" fmla="*/ 4000 h 22531"/>
              <a:gd name="T30" fmla="*/ 9093 w 23062"/>
              <a:gd name="T31" fmla="*/ 3375 h 22531"/>
              <a:gd name="T32" fmla="*/ 8625 w 23062"/>
              <a:gd name="T33" fmla="*/ 2968 h 22531"/>
              <a:gd name="T34" fmla="*/ 9031 w 23062"/>
              <a:gd name="T35" fmla="*/ 2125 h 22531"/>
              <a:gd name="T36" fmla="*/ 8687 w 23062"/>
              <a:gd name="T37" fmla="*/ 1531 h 22531"/>
              <a:gd name="T38" fmla="*/ 6343 w 23062"/>
              <a:gd name="T39" fmla="*/ 2687 h 22531"/>
              <a:gd name="T40" fmla="*/ 7687 w 23062"/>
              <a:gd name="T41" fmla="*/ 1375 h 22531"/>
              <a:gd name="T42" fmla="*/ 14000 w 23062"/>
              <a:gd name="T43" fmla="*/ 2625 h 22531"/>
              <a:gd name="T44" fmla="*/ 14500 w 23062"/>
              <a:gd name="T45" fmla="*/ 2968 h 22531"/>
              <a:gd name="T46" fmla="*/ 19156 w 23062"/>
              <a:gd name="T47" fmla="*/ 5531 h 22531"/>
              <a:gd name="T48" fmla="*/ 20031 w 23062"/>
              <a:gd name="T49" fmla="*/ 6968 h 22531"/>
              <a:gd name="T50" fmla="*/ 16187 w 23062"/>
              <a:gd name="T51" fmla="*/ 8250 h 22531"/>
              <a:gd name="T52" fmla="*/ 16593 w 23062"/>
              <a:gd name="T53" fmla="*/ 10375 h 22531"/>
              <a:gd name="T54" fmla="*/ 19468 w 23062"/>
              <a:gd name="T55" fmla="*/ 9218 h 22531"/>
              <a:gd name="T56" fmla="*/ 22968 w 23062"/>
              <a:gd name="T57" fmla="*/ 8906 h 22531"/>
              <a:gd name="T58" fmla="*/ 18625 w 23062"/>
              <a:gd name="T59" fmla="*/ 11062 h 22531"/>
              <a:gd name="T60" fmla="*/ 12375 w 23062"/>
              <a:gd name="T61" fmla="*/ 15375 h 22531"/>
              <a:gd name="T62" fmla="*/ 11812 w 23062"/>
              <a:gd name="T63" fmla="*/ 15531 h 22531"/>
              <a:gd name="T64" fmla="*/ 10656 w 23062"/>
              <a:gd name="T65" fmla="*/ 16812 h 22531"/>
              <a:gd name="T66" fmla="*/ 13000 w 23062"/>
              <a:gd name="T67" fmla="*/ 15156 h 22531"/>
              <a:gd name="T68" fmla="*/ 21656 w 23062"/>
              <a:gd name="T69" fmla="*/ 10218 h 22531"/>
              <a:gd name="T70" fmla="*/ 18000 w 23062"/>
              <a:gd name="T71" fmla="*/ 12125 h 22531"/>
              <a:gd name="T72" fmla="*/ 21437 w 23062"/>
              <a:gd name="T73" fmla="*/ 10968 h 22531"/>
              <a:gd name="T74" fmla="*/ 17812 w 23062"/>
              <a:gd name="T75" fmla="*/ 12281 h 22531"/>
              <a:gd name="T76" fmla="*/ 12968 w 23062"/>
              <a:gd name="T77" fmla="*/ 15843 h 22531"/>
              <a:gd name="T78" fmla="*/ 7812 w 23062"/>
              <a:gd name="T79" fmla="*/ 19531 h 22531"/>
              <a:gd name="T80" fmla="*/ 8687 w 23062"/>
              <a:gd name="T81" fmla="*/ 19406 h 22531"/>
              <a:gd name="T82" fmla="*/ 13031 w 23062"/>
              <a:gd name="T83" fmla="*/ 14500 h 22531"/>
              <a:gd name="T84" fmla="*/ 9250 w 23062"/>
              <a:gd name="T85" fmla="*/ 19406 h 22531"/>
              <a:gd name="T86" fmla="*/ 15562 w 23062"/>
              <a:gd name="T87" fmla="*/ 15125 h 22531"/>
              <a:gd name="T88" fmla="*/ 8875 w 23062"/>
              <a:gd name="T89" fmla="*/ 19718 h 22531"/>
              <a:gd name="T90" fmla="*/ 5250 w 23062"/>
              <a:gd name="T91" fmla="*/ 3531 h 22531"/>
              <a:gd name="T92" fmla="*/ 17562 w 23062"/>
              <a:gd name="T93" fmla="*/ 16875 h 22531"/>
              <a:gd name="T94" fmla="*/ 11531 w 23062"/>
              <a:gd name="T95" fmla="*/ 17062 h 22531"/>
              <a:gd name="T96" fmla="*/ 12500 w 23062"/>
              <a:gd name="T97" fmla="*/ 16406 h 22531"/>
              <a:gd name="T98" fmla="*/ 16625 w 23062"/>
              <a:gd name="T99" fmla="*/ 15593 h 22531"/>
              <a:gd name="T100" fmla="*/ 11906 w 23062"/>
              <a:gd name="T101" fmla="*/ 15687 h 22531"/>
              <a:gd name="T102" fmla="*/ 1000 w 23062"/>
              <a:gd name="T103" fmla="*/ 12312 h 22531"/>
              <a:gd name="T104" fmla="*/ 12812 w 23062"/>
              <a:gd name="T105" fmla="*/ 16312 h 22531"/>
              <a:gd name="T106" fmla="*/ 20906 w 23062"/>
              <a:gd name="T107" fmla="*/ 11093 h 22531"/>
              <a:gd name="T108" fmla="*/ 20906 w 23062"/>
              <a:gd name="T109" fmla="*/ 11687 h 22531"/>
              <a:gd name="T110" fmla="*/ 17156 w 23062"/>
              <a:gd name="T111" fmla="*/ 17937 h 22531"/>
              <a:gd name="T112" fmla="*/ 15218 w 23062"/>
              <a:gd name="T113" fmla="*/ 18625 h 22531"/>
              <a:gd name="T114" fmla="*/ 17125 w 23062"/>
              <a:gd name="T115" fmla="*/ 17062 h 22531"/>
              <a:gd name="T116" fmla="*/ 17156 w 23062"/>
              <a:gd name="T117" fmla="*/ 15812 h 22531"/>
              <a:gd name="T118" fmla="*/ 15250 w 23062"/>
              <a:gd name="T119" fmla="*/ 15687 h 22531"/>
              <a:gd name="T120" fmla="*/ 13406 w 23062"/>
              <a:gd name="T121" fmla="*/ 17406 h 22531"/>
              <a:gd name="T122" fmla="*/ 8468 w 23062"/>
              <a:gd name="T123" fmla="*/ 4406 h 22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062" h="22531">
                <a:moveTo>
                  <a:pt x="12218" y="16406"/>
                </a:moveTo>
                <a:cubicBezTo>
                  <a:pt x="12218" y="16437"/>
                  <a:pt x="12187" y="16437"/>
                  <a:pt x="12187" y="16468"/>
                </a:cubicBezTo>
                <a:lnTo>
                  <a:pt x="12187" y="16468"/>
                </a:lnTo>
                <a:cubicBezTo>
                  <a:pt x="12156" y="16468"/>
                  <a:pt x="12156" y="16468"/>
                  <a:pt x="12156" y="16468"/>
                </a:cubicBezTo>
                <a:cubicBezTo>
                  <a:pt x="12156" y="16468"/>
                  <a:pt x="12125" y="16500"/>
                  <a:pt x="12156" y="16500"/>
                </a:cubicBezTo>
                <a:cubicBezTo>
                  <a:pt x="12156" y="16500"/>
                  <a:pt x="12187" y="16500"/>
                  <a:pt x="12187" y="16500"/>
                </a:cubicBezTo>
                <a:cubicBezTo>
                  <a:pt x="12218" y="16437"/>
                  <a:pt x="12281" y="16437"/>
                  <a:pt x="12312" y="16406"/>
                </a:cubicBezTo>
                <a:cubicBezTo>
                  <a:pt x="12281" y="16375"/>
                  <a:pt x="12250" y="16437"/>
                  <a:pt x="12218" y="16406"/>
                </a:cubicBezTo>
                <a:cubicBezTo>
                  <a:pt x="12093" y="16531"/>
                  <a:pt x="11937" y="16593"/>
                  <a:pt x="11812" y="16687"/>
                </a:cubicBezTo>
                <a:cubicBezTo>
                  <a:pt x="11812" y="16687"/>
                  <a:pt x="11781" y="16687"/>
                  <a:pt x="11781" y="16687"/>
                </a:cubicBezTo>
                <a:cubicBezTo>
                  <a:pt x="11781" y="16718"/>
                  <a:pt x="11750" y="16718"/>
                  <a:pt x="11750" y="16750"/>
                </a:cubicBezTo>
                <a:cubicBezTo>
                  <a:pt x="11593" y="16906"/>
                  <a:pt x="11406" y="17000"/>
                  <a:pt x="11250" y="17125"/>
                </a:cubicBezTo>
                <a:cubicBezTo>
                  <a:pt x="11187" y="17218"/>
                  <a:pt x="11093" y="17281"/>
                  <a:pt x="11031" y="17343"/>
                </a:cubicBezTo>
                <a:cubicBezTo>
                  <a:pt x="11000" y="17406"/>
                  <a:pt x="10968" y="17468"/>
                  <a:pt x="10968" y="17531"/>
                </a:cubicBezTo>
                <a:cubicBezTo>
                  <a:pt x="10937" y="17562"/>
                  <a:pt x="10937" y="17562"/>
                  <a:pt x="10968" y="17593"/>
                </a:cubicBezTo>
                <a:cubicBezTo>
                  <a:pt x="10968" y="17593"/>
                  <a:pt x="11000" y="17562"/>
                  <a:pt x="11000" y="17562"/>
                </a:cubicBezTo>
                <a:cubicBezTo>
                  <a:pt x="11031" y="17531"/>
                  <a:pt x="11062" y="17468"/>
                  <a:pt x="11125" y="17500"/>
                </a:cubicBezTo>
                <a:cubicBezTo>
                  <a:pt x="11156" y="17500"/>
                  <a:pt x="11156" y="17500"/>
                  <a:pt x="11156" y="17500"/>
                </a:cubicBezTo>
                <a:cubicBezTo>
                  <a:pt x="11156" y="17500"/>
                  <a:pt x="11156" y="17500"/>
                  <a:pt x="11156" y="17531"/>
                </a:cubicBezTo>
                <a:cubicBezTo>
                  <a:pt x="11156" y="17531"/>
                  <a:pt x="11156" y="17531"/>
                  <a:pt x="11156" y="17531"/>
                </a:cubicBezTo>
                <a:cubicBezTo>
                  <a:pt x="11187" y="17531"/>
                  <a:pt x="11187" y="17531"/>
                  <a:pt x="11218" y="17531"/>
                </a:cubicBezTo>
                <a:cubicBezTo>
                  <a:pt x="11218" y="17531"/>
                  <a:pt x="11218" y="17500"/>
                  <a:pt x="11218" y="17500"/>
                </a:cubicBezTo>
                <a:cubicBezTo>
                  <a:pt x="11218" y="17500"/>
                  <a:pt x="11218" y="17500"/>
                  <a:pt x="11218" y="17500"/>
                </a:cubicBezTo>
                <a:cubicBezTo>
                  <a:pt x="11218" y="17500"/>
                  <a:pt x="11218" y="17531"/>
                  <a:pt x="11218" y="17531"/>
                </a:cubicBezTo>
                <a:cubicBezTo>
                  <a:pt x="11062" y="17656"/>
                  <a:pt x="10906" y="17781"/>
                  <a:pt x="10781" y="17906"/>
                </a:cubicBezTo>
                <a:cubicBezTo>
                  <a:pt x="10750" y="17937"/>
                  <a:pt x="10718" y="17937"/>
                  <a:pt x="10750" y="17968"/>
                </a:cubicBezTo>
                <a:cubicBezTo>
                  <a:pt x="10750" y="18000"/>
                  <a:pt x="10781" y="17937"/>
                  <a:pt x="10812" y="17968"/>
                </a:cubicBezTo>
                <a:cubicBezTo>
                  <a:pt x="10812" y="17937"/>
                  <a:pt x="10843" y="17937"/>
                  <a:pt x="10843" y="17937"/>
                </a:cubicBezTo>
                <a:cubicBezTo>
                  <a:pt x="10843" y="17906"/>
                  <a:pt x="10843" y="17906"/>
                  <a:pt x="10843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875" y="17906"/>
                  <a:pt x="10875" y="17906"/>
                  <a:pt x="10875" y="17906"/>
                </a:cubicBezTo>
                <a:cubicBezTo>
                  <a:pt x="10906" y="17906"/>
                  <a:pt x="10906" y="17875"/>
                  <a:pt x="10906" y="17875"/>
                </a:cubicBezTo>
                <a:cubicBezTo>
                  <a:pt x="10906" y="17875"/>
                  <a:pt x="10937" y="17875"/>
                  <a:pt x="10937" y="17875"/>
                </a:cubicBezTo>
                <a:cubicBezTo>
                  <a:pt x="10937" y="17875"/>
                  <a:pt x="10937" y="17875"/>
                  <a:pt x="10937" y="17875"/>
                </a:cubicBezTo>
                <a:cubicBezTo>
                  <a:pt x="10906" y="17906"/>
                  <a:pt x="10906" y="17906"/>
                  <a:pt x="10875" y="17906"/>
                </a:cubicBezTo>
                <a:cubicBezTo>
                  <a:pt x="10875" y="17906"/>
                  <a:pt x="10875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37"/>
                  <a:pt x="10843" y="17937"/>
                </a:cubicBezTo>
                <a:cubicBezTo>
                  <a:pt x="10843" y="17937"/>
                  <a:pt x="10843" y="17968"/>
                  <a:pt x="10812" y="17968"/>
                </a:cubicBezTo>
                <a:cubicBezTo>
                  <a:pt x="10812" y="17968"/>
                  <a:pt x="10812" y="17968"/>
                  <a:pt x="10812" y="17968"/>
                </a:cubicBezTo>
                <a:cubicBezTo>
                  <a:pt x="10781" y="18000"/>
                  <a:pt x="10750" y="18062"/>
                  <a:pt x="10687" y="18093"/>
                </a:cubicBezTo>
                <a:cubicBezTo>
                  <a:pt x="10687" y="18125"/>
                  <a:pt x="10656" y="18156"/>
                  <a:pt x="10625" y="18187"/>
                </a:cubicBezTo>
                <a:cubicBezTo>
                  <a:pt x="10593" y="18187"/>
                  <a:pt x="10562" y="18250"/>
                  <a:pt x="10531" y="18187"/>
                </a:cubicBezTo>
                <a:cubicBezTo>
                  <a:pt x="10468" y="18218"/>
                  <a:pt x="10406" y="18187"/>
                  <a:pt x="10375" y="18250"/>
                </a:cubicBezTo>
                <a:cubicBezTo>
                  <a:pt x="10281" y="18343"/>
                  <a:pt x="10156" y="18437"/>
                  <a:pt x="10031" y="18531"/>
                </a:cubicBezTo>
                <a:cubicBezTo>
                  <a:pt x="10000" y="18562"/>
                  <a:pt x="10000" y="18593"/>
                  <a:pt x="10031" y="18625"/>
                </a:cubicBezTo>
                <a:cubicBezTo>
                  <a:pt x="10031" y="18687"/>
                  <a:pt x="10000" y="18687"/>
                  <a:pt x="9968" y="18718"/>
                </a:cubicBezTo>
                <a:cubicBezTo>
                  <a:pt x="9875" y="18781"/>
                  <a:pt x="9843" y="18843"/>
                  <a:pt x="9750" y="18906"/>
                </a:cubicBezTo>
                <a:cubicBezTo>
                  <a:pt x="9531" y="19093"/>
                  <a:pt x="9312" y="19281"/>
                  <a:pt x="9093" y="19468"/>
                </a:cubicBezTo>
                <a:cubicBezTo>
                  <a:pt x="9250" y="19250"/>
                  <a:pt x="9468" y="19093"/>
                  <a:pt x="9656" y="18937"/>
                </a:cubicBezTo>
                <a:cubicBezTo>
                  <a:pt x="9625" y="18906"/>
                  <a:pt x="9593" y="18875"/>
                  <a:pt x="9531" y="18937"/>
                </a:cubicBezTo>
                <a:cubicBezTo>
                  <a:pt x="9468" y="19000"/>
                  <a:pt x="9375" y="19062"/>
                  <a:pt x="9343" y="19156"/>
                </a:cubicBezTo>
                <a:cubicBezTo>
                  <a:pt x="9312" y="19187"/>
                  <a:pt x="9281" y="19156"/>
                  <a:pt x="9250" y="19187"/>
                </a:cubicBezTo>
                <a:cubicBezTo>
                  <a:pt x="9093" y="19312"/>
                  <a:pt x="8937" y="19437"/>
                  <a:pt x="8812" y="19593"/>
                </a:cubicBezTo>
                <a:cubicBezTo>
                  <a:pt x="8750" y="19625"/>
                  <a:pt x="8687" y="19687"/>
                  <a:pt x="8625" y="19718"/>
                </a:cubicBezTo>
                <a:cubicBezTo>
                  <a:pt x="8562" y="19750"/>
                  <a:pt x="8562" y="19781"/>
                  <a:pt x="8531" y="19812"/>
                </a:cubicBezTo>
                <a:cubicBezTo>
                  <a:pt x="8468" y="19875"/>
                  <a:pt x="8406" y="19937"/>
                  <a:pt x="8312" y="19968"/>
                </a:cubicBezTo>
                <a:cubicBezTo>
                  <a:pt x="8187" y="20093"/>
                  <a:pt x="8031" y="20218"/>
                  <a:pt x="7875" y="20343"/>
                </a:cubicBezTo>
                <a:cubicBezTo>
                  <a:pt x="7843" y="20375"/>
                  <a:pt x="7843" y="20406"/>
                  <a:pt x="7812" y="20375"/>
                </a:cubicBezTo>
                <a:cubicBezTo>
                  <a:pt x="7812" y="20343"/>
                  <a:pt x="7781" y="20312"/>
                  <a:pt x="7812" y="20281"/>
                </a:cubicBezTo>
                <a:cubicBezTo>
                  <a:pt x="7875" y="20250"/>
                  <a:pt x="7875" y="20218"/>
                  <a:pt x="7906" y="20187"/>
                </a:cubicBezTo>
                <a:cubicBezTo>
                  <a:pt x="7937" y="20156"/>
                  <a:pt x="7937" y="20125"/>
                  <a:pt x="7968" y="20093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8000" y="20093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8000" y="20062"/>
                  <a:pt x="8000" y="20062"/>
                  <a:pt x="8000" y="20062"/>
                </a:cubicBezTo>
                <a:cubicBezTo>
                  <a:pt x="7968" y="20062"/>
                  <a:pt x="7968" y="20062"/>
                  <a:pt x="7968" y="20062"/>
                </a:cubicBezTo>
                <a:cubicBezTo>
                  <a:pt x="7968" y="20093"/>
                  <a:pt x="7968" y="20093"/>
                  <a:pt x="7968" y="20093"/>
                </a:cubicBezTo>
                <a:cubicBezTo>
                  <a:pt x="7968" y="20093"/>
                  <a:pt x="6906" y="20875"/>
                  <a:pt x="6062" y="21593"/>
                </a:cubicBezTo>
                <a:cubicBezTo>
                  <a:pt x="6093" y="21593"/>
                  <a:pt x="6093" y="21593"/>
                  <a:pt x="6125" y="21593"/>
                </a:cubicBezTo>
                <a:cubicBezTo>
                  <a:pt x="6156" y="21625"/>
                  <a:pt x="6093" y="21625"/>
                  <a:pt x="6093" y="21656"/>
                </a:cubicBezTo>
                <a:cubicBezTo>
                  <a:pt x="6062" y="21656"/>
                  <a:pt x="6000" y="21718"/>
                  <a:pt x="6031" y="21750"/>
                </a:cubicBezTo>
                <a:cubicBezTo>
                  <a:pt x="6062" y="21781"/>
                  <a:pt x="6093" y="21718"/>
                  <a:pt x="6125" y="21687"/>
                </a:cubicBezTo>
                <a:cubicBezTo>
                  <a:pt x="6468" y="21468"/>
                  <a:pt x="6750" y="21187"/>
                  <a:pt x="7062" y="20968"/>
                </a:cubicBezTo>
                <a:cubicBezTo>
                  <a:pt x="7125" y="20937"/>
                  <a:pt x="7156" y="20906"/>
                  <a:pt x="7187" y="20875"/>
                </a:cubicBezTo>
                <a:cubicBezTo>
                  <a:pt x="7312" y="20781"/>
                  <a:pt x="7437" y="20656"/>
                  <a:pt x="7593" y="20562"/>
                </a:cubicBezTo>
                <a:cubicBezTo>
                  <a:pt x="7593" y="20562"/>
                  <a:pt x="7593" y="20562"/>
                  <a:pt x="7593" y="20562"/>
                </a:cubicBezTo>
                <a:cubicBezTo>
                  <a:pt x="7625" y="20531"/>
                  <a:pt x="7625" y="20531"/>
                  <a:pt x="7625" y="20531"/>
                </a:cubicBezTo>
                <a:cubicBezTo>
                  <a:pt x="7625" y="20531"/>
                  <a:pt x="7656" y="20500"/>
                  <a:pt x="7656" y="20500"/>
                </a:cubicBezTo>
                <a:cubicBezTo>
                  <a:pt x="7687" y="20500"/>
                  <a:pt x="7687" y="20468"/>
                  <a:pt x="7718" y="20468"/>
                </a:cubicBezTo>
                <a:cubicBezTo>
                  <a:pt x="7687" y="20531"/>
                  <a:pt x="7687" y="20531"/>
                  <a:pt x="7625" y="20531"/>
                </a:cubicBezTo>
                <a:cubicBezTo>
                  <a:pt x="7625" y="20531"/>
                  <a:pt x="7625" y="20562"/>
                  <a:pt x="7625" y="20562"/>
                </a:cubicBezTo>
                <a:cubicBezTo>
                  <a:pt x="7625" y="20562"/>
                  <a:pt x="7593" y="20562"/>
                  <a:pt x="7593" y="20562"/>
                </a:cubicBezTo>
                <a:cubicBezTo>
                  <a:pt x="7562" y="20625"/>
                  <a:pt x="7500" y="20687"/>
                  <a:pt x="7468" y="20718"/>
                </a:cubicBezTo>
                <a:cubicBezTo>
                  <a:pt x="7406" y="20750"/>
                  <a:pt x="7343" y="20812"/>
                  <a:pt x="7312" y="20843"/>
                </a:cubicBezTo>
                <a:cubicBezTo>
                  <a:pt x="7281" y="20875"/>
                  <a:pt x="7218" y="20906"/>
                  <a:pt x="7250" y="20937"/>
                </a:cubicBezTo>
                <a:cubicBezTo>
                  <a:pt x="7281" y="21000"/>
                  <a:pt x="7312" y="20937"/>
                  <a:pt x="7343" y="20906"/>
                </a:cubicBezTo>
                <a:cubicBezTo>
                  <a:pt x="7375" y="20906"/>
                  <a:pt x="7375" y="20906"/>
                  <a:pt x="7375" y="20875"/>
                </a:cubicBezTo>
                <a:cubicBezTo>
                  <a:pt x="7406" y="20875"/>
                  <a:pt x="7406" y="20875"/>
                  <a:pt x="7406" y="20875"/>
                </a:cubicBezTo>
                <a:cubicBezTo>
                  <a:pt x="7406" y="20875"/>
                  <a:pt x="7406" y="20875"/>
                  <a:pt x="7437" y="20843"/>
                </a:cubicBezTo>
                <a:lnTo>
                  <a:pt x="7437" y="20843"/>
                </a:lnTo>
                <a:cubicBezTo>
                  <a:pt x="7406" y="20843"/>
                  <a:pt x="7406" y="20875"/>
                  <a:pt x="7375" y="20875"/>
                </a:cubicBezTo>
                <a:cubicBezTo>
                  <a:pt x="7343" y="20968"/>
                  <a:pt x="7250" y="21031"/>
                  <a:pt x="7156" y="21093"/>
                </a:cubicBezTo>
                <a:cubicBezTo>
                  <a:pt x="6843" y="21343"/>
                  <a:pt x="6531" y="21625"/>
                  <a:pt x="6218" y="21875"/>
                </a:cubicBezTo>
                <a:cubicBezTo>
                  <a:pt x="6156" y="21937"/>
                  <a:pt x="6093" y="22000"/>
                  <a:pt x="6000" y="22031"/>
                </a:cubicBezTo>
                <a:cubicBezTo>
                  <a:pt x="5937" y="22093"/>
                  <a:pt x="5906" y="22156"/>
                  <a:pt x="5843" y="22218"/>
                </a:cubicBezTo>
                <a:cubicBezTo>
                  <a:pt x="5843" y="22218"/>
                  <a:pt x="5843" y="22218"/>
                  <a:pt x="5843" y="22250"/>
                </a:cubicBezTo>
                <a:cubicBezTo>
                  <a:pt x="5843" y="22250"/>
                  <a:pt x="5843" y="22250"/>
                  <a:pt x="5843" y="22250"/>
                </a:cubicBezTo>
                <a:cubicBezTo>
                  <a:pt x="5875" y="22250"/>
                  <a:pt x="5906" y="22250"/>
                  <a:pt x="5906" y="22250"/>
                </a:cubicBezTo>
                <a:cubicBezTo>
                  <a:pt x="6312" y="22000"/>
                  <a:pt x="6687" y="21718"/>
                  <a:pt x="7031" y="21437"/>
                </a:cubicBezTo>
                <a:cubicBezTo>
                  <a:pt x="7093" y="21406"/>
                  <a:pt x="7156" y="21343"/>
                  <a:pt x="7218" y="21312"/>
                </a:cubicBezTo>
                <a:cubicBezTo>
                  <a:pt x="7281" y="21250"/>
                  <a:pt x="7375" y="21187"/>
                  <a:pt x="7437" y="21125"/>
                </a:cubicBezTo>
                <a:cubicBezTo>
                  <a:pt x="7437" y="21125"/>
                  <a:pt x="7437" y="21125"/>
                  <a:pt x="7437" y="21125"/>
                </a:cubicBezTo>
                <a:cubicBezTo>
                  <a:pt x="7468" y="21125"/>
                  <a:pt x="7468" y="21093"/>
                  <a:pt x="7500" y="21093"/>
                </a:cubicBezTo>
                <a:cubicBezTo>
                  <a:pt x="7531" y="21062"/>
                  <a:pt x="7562" y="21031"/>
                  <a:pt x="7625" y="20968"/>
                </a:cubicBezTo>
                <a:cubicBezTo>
                  <a:pt x="7625" y="20968"/>
                  <a:pt x="7625" y="20968"/>
                  <a:pt x="7625" y="20968"/>
                </a:cubicBezTo>
                <a:cubicBezTo>
                  <a:pt x="7656" y="20937"/>
                  <a:pt x="7656" y="20937"/>
                  <a:pt x="7687" y="20906"/>
                </a:cubicBezTo>
                <a:cubicBezTo>
                  <a:pt x="7718" y="20906"/>
                  <a:pt x="7750" y="20875"/>
                  <a:pt x="7781" y="20875"/>
                </a:cubicBezTo>
                <a:cubicBezTo>
                  <a:pt x="8281" y="20437"/>
                  <a:pt x="8781" y="20000"/>
                  <a:pt x="9281" y="19593"/>
                </a:cubicBezTo>
                <a:cubicBezTo>
                  <a:pt x="9687" y="19250"/>
                  <a:pt x="10093" y="18906"/>
                  <a:pt x="10500" y="18562"/>
                </a:cubicBezTo>
                <a:cubicBezTo>
                  <a:pt x="10625" y="18468"/>
                  <a:pt x="10718" y="18375"/>
                  <a:pt x="10843" y="18281"/>
                </a:cubicBezTo>
                <a:cubicBezTo>
                  <a:pt x="10843" y="18281"/>
                  <a:pt x="10875" y="18250"/>
                  <a:pt x="10906" y="18281"/>
                </a:cubicBezTo>
                <a:cubicBezTo>
                  <a:pt x="10906" y="18250"/>
                  <a:pt x="10906" y="18250"/>
                  <a:pt x="10906" y="18218"/>
                </a:cubicBezTo>
                <a:cubicBezTo>
                  <a:pt x="10937" y="18218"/>
                  <a:pt x="10937" y="18218"/>
                  <a:pt x="10968" y="18218"/>
                </a:cubicBezTo>
                <a:cubicBezTo>
                  <a:pt x="10968" y="18218"/>
                  <a:pt x="10968" y="18187"/>
                  <a:pt x="10968" y="18187"/>
                </a:cubicBezTo>
                <a:cubicBezTo>
                  <a:pt x="10968" y="18187"/>
                  <a:pt x="11000" y="18156"/>
                  <a:pt x="11031" y="18156"/>
                </a:cubicBezTo>
                <a:cubicBezTo>
                  <a:pt x="11062" y="18093"/>
                  <a:pt x="11156" y="18031"/>
                  <a:pt x="11218" y="18000"/>
                </a:cubicBezTo>
                <a:cubicBezTo>
                  <a:pt x="11218" y="17968"/>
                  <a:pt x="11250" y="17968"/>
                  <a:pt x="11250" y="17968"/>
                </a:cubicBezTo>
                <a:cubicBezTo>
                  <a:pt x="11281" y="17937"/>
                  <a:pt x="11312" y="17906"/>
                  <a:pt x="11343" y="17875"/>
                </a:cubicBezTo>
                <a:cubicBezTo>
                  <a:pt x="11406" y="17812"/>
                  <a:pt x="11500" y="17750"/>
                  <a:pt x="11593" y="17687"/>
                </a:cubicBezTo>
                <a:cubicBezTo>
                  <a:pt x="11593" y="17812"/>
                  <a:pt x="11500" y="17812"/>
                  <a:pt x="11437" y="17875"/>
                </a:cubicBezTo>
                <a:cubicBezTo>
                  <a:pt x="11312" y="17937"/>
                  <a:pt x="11218" y="18031"/>
                  <a:pt x="11093" y="18125"/>
                </a:cubicBezTo>
                <a:cubicBezTo>
                  <a:pt x="11093" y="18125"/>
                  <a:pt x="11093" y="18125"/>
                  <a:pt x="11093" y="18125"/>
                </a:cubicBezTo>
                <a:cubicBezTo>
                  <a:pt x="11093" y="18156"/>
                  <a:pt x="11062" y="18156"/>
                  <a:pt x="11031" y="18156"/>
                </a:cubicBezTo>
                <a:cubicBezTo>
                  <a:pt x="11031" y="18156"/>
                  <a:pt x="11031" y="18156"/>
                  <a:pt x="11031" y="18156"/>
                </a:cubicBezTo>
                <a:cubicBezTo>
                  <a:pt x="11031" y="18187"/>
                  <a:pt x="11000" y="18218"/>
                  <a:pt x="11000" y="18218"/>
                </a:cubicBezTo>
                <a:cubicBezTo>
                  <a:pt x="11000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18"/>
                  <a:pt x="10968" y="18218"/>
                  <a:pt x="10968" y="18218"/>
                </a:cubicBezTo>
                <a:cubicBezTo>
                  <a:pt x="10968" y="18250"/>
                  <a:pt x="10968" y="18250"/>
                  <a:pt x="10937" y="18250"/>
                </a:cubicBezTo>
                <a:cubicBezTo>
                  <a:pt x="10937" y="18281"/>
                  <a:pt x="10906" y="18281"/>
                  <a:pt x="10906" y="18281"/>
                </a:cubicBezTo>
                <a:cubicBezTo>
                  <a:pt x="10906" y="18281"/>
                  <a:pt x="10906" y="18312"/>
                  <a:pt x="10875" y="18312"/>
                </a:cubicBezTo>
                <a:cubicBezTo>
                  <a:pt x="10875" y="18375"/>
                  <a:pt x="10812" y="18375"/>
                  <a:pt x="10781" y="18406"/>
                </a:cubicBezTo>
                <a:cubicBezTo>
                  <a:pt x="10781" y="18406"/>
                  <a:pt x="10781" y="18406"/>
                  <a:pt x="10781" y="18406"/>
                </a:cubicBezTo>
                <a:cubicBezTo>
                  <a:pt x="10468" y="18625"/>
                  <a:pt x="10218" y="18875"/>
                  <a:pt x="9937" y="19093"/>
                </a:cubicBezTo>
                <a:cubicBezTo>
                  <a:pt x="9625" y="19375"/>
                  <a:pt x="9281" y="19656"/>
                  <a:pt x="8968" y="19937"/>
                </a:cubicBezTo>
                <a:cubicBezTo>
                  <a:pt x="8656" y="20187"/>
                  <a:pt x="8312" y="20468"/>
                  <a:pt x="8000" y="20718"/>
                </a:cubicBezTo>
                <a:cubicBezTo>
                  <a:pt x="7843" y="20843"/>
                  <a:pt x="7687" y="20968"/>
                  <a:pt x="7531" y="21093"/>
                </a:cubicBezTo>
                <a:cubicBezTo>
                  <a:pt x="7531" y="21093"/>
                  <a:pt x="7531" y="21125"/>
                  <a:pt x="7531" y="21125"/>
                </a:cubicBezTo>
                <a:cubicBezTo>
                  <a:pt x="7500" y="21125"/>
                  <a:pt x="7500" y="21125"/>
                  <a:pt x="7500" y="21125"/>
                </a:cubicBezTo>
                <a:cubicBezTo>
                  <a:pt x="7500" y="21125"/>
                  <a:pt x="7468" y="21156"/>
                  <a:pt x="7468" y="21156"/>
                </a:cubicBezTo>
                <a:cubicBezTo>
                  <a:pt x="7468" y="21187"/>
                  <a:pt x="7437" y="21187"/>
                  <a:pt x="7437" y="21187"/>
                </a:cubicBezTo>
                <a:cubicBezTo>
                  <a:pt x="7437" y="21187"/>
                  <a:pt x="7406" y="21218"/>
                  <a:pt x="7406" y="21218"/>
                </a:cubicBezTo>
                <a:cubicBezTo>
                  <a:pt x="7406" y="21218"/>
                  <a:pt x="7375" y="21218"/>
                  <a:pt x="7375" y="21218"/>
                </a:cubicBezTo>
                <a:cubicBezTo>
                  <a:pt x="7281" y="21312"/>
                  <a:pt x="7218" y="21406"/>
                  <a:pt x="7093" y="21500"/>
                </a:cubicBezTo>
                <a:cubicBezTo>
                  <a:pt x="6875" y="21656"/>
                  <a:pt x="6656" y="21875"/>
                  <a:pt x="6437" y="22031"/>
                </a:cubicBezTo>
                <a:cubicBezTo>
                  <a:pt x="6250" y="22187"/>
                  <a:pt x="6062" y="22343"/>
                  <a:pt x="5875" y="22437"/>
                </a:cubicBezTo>
                <a:cubicBezTo>
                  <a:pt x="6000" y="22468"/>
                  <a:pt x="6093" y="22375"/>
                  <a:pt x="6187" y="22312"/>
                </a:cubicBezTo>
                <a:cubicBezTo>
                  <a:pt x="6437" y="22156"/>
                  <a:pt x="6718" y="22000"/>
                  <a:pt x="6937" y="21781"/>
                </a:cubicBezTo>
                <a:cubicBezTo>
                  <a:pt x="6937" y="21781"/>
                  <a:pt x="6968" y="21781"/>
                  <a:pt x="6968" y="21781"/>
                </a:cubicBezTo>
                <a:cubicBezTo>
                  <a:pt x="6968" y="21781"/>
                  <a:pt x="6968" y="21781"/>
                  <a:pt x="7000" y="21750"/>
                </a:cubicBezTo>
                <a:cubicBezTo>
                  <a:pt x="7062" y="21718"/>
                  <a:pt x="7125" y="21656"/>
                  <a:pt x="7187" y="21593"/>
                </a:cubicBezTo>
                <a:cubicBezTo>
                  <a:pt x="7250" y="21562"/>
                  <a:pt x="7312" y="21500"/>
                  <a:pt x="7375" y="21437"/>
                </a:cubicBezTo>
                <a:cubicBezTo>
                  <a:pt x="7750" y="21125"/>
                  <a:pt x="8093" y="20843"/>
                  <a:pt x="8468" y="20531"/>
                </a:cubicBezTo>
                <a:cubicBezTo>
                  <a:pt x="8500" y="20500"/>
                  <a:pt x="8500" y="20500"/>
                  <a:pt x="8531" y="20468"/>
                </a:cubicBezTo>
                <a:cubicBezTo>
                  <a:pt x="8562" y="20437"/>
                  <a:pt x="8593" y="20437"/>
                  <a:pt x="8593" y="20406"/>
                </a:cubicBezTo>
                <a:cubicBezTo>
                  <a:pt x="8656" y="20375"/>
                  <a:pt x="8687" y="20343"/>
                  <a:pt x="8718" y="20281"/>
                </a:cubicBezTo>
                <a:cubicBezTo>
                  <a:pt x="8718" y="20281"/>
                  <a:pt x="8718" y="20281"/>
                  <a:pt x="8718" y="20281"/>
                </a:cubicBezTo>
                <a:cubicBezTo>
                  <a:pt x="8718" y="20281"/>
                  <a:pt x="8750" y="20281"/>
                  <a:pt x="8750" y="20281"/>
                </a:cubicBezTo>
                <a:cubicBezTo>
                  <a:pt x="8750" y="20250"/>
                  <a:pt x="8781" y="20250"/>
                  <a:pt x="8781" y="20218"/>
                </a:cubicBezTo>
                <a:cubicBezTo>
                  <a:pt x="9031" y="20031"/>
                  <a:pt x="9281" y="19843"/>
                  <a:pt x="9531" y="19625"/>
                </a:cubicBezTo>
                <a:cubicBezTo>
                  <a:pt x="9781" y="19406"/>
                  <a:pt x="10031" y="19218"/>
                  <a:pt x="10281" y="19000"/>
                </a:cubicBezTo>
                <a:cubicBezTo>
                  <a:pt x="10406" y="18875"/>
                  <a:pt x="10562" y="18750"/>
                  <a:pt x="10718" y="18625"/>
                </a:cubicBezTo>
                <a:cubicBezTo>
                  <a:pt x="10718" y="18625"/>
                  <a:pt x="10718" y="18593"/>
                  <a:pt x="10750" y="18593"/>
                </a:cubicBezTo>
                <a:cubicBezTo>
                  <a:pt x="10750" y="18593"/>
                  <a:pt x="10750" y="18593"/>
                  <a:pt x="10750" y="18593"/>
                </a:cubicBezTo>
                <a:cubicBezTo>
                  <a:pt x="10750" y="18593"/>
                  <a:pt x="10750" y="18593"/>
                  <a:pt x="10781" y="18562"/>
                </a:cubicBezTo>
                <a:cubicBezTo>
                  <a:pt x="10781" y="18562"/>
                  <a:pt x="10781" y="18562"/>
                  <a:pt x="10781" y="18562"/>
                </a:cubicBezTo>
                <a:cubicBezTo>
                  <a:pt x="10812" y="18531"/>
                  <a:pt x="10812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31"/>
                </a:cubicBezTo>
                <a:cubicBezTo>
                  <a:pt x="10843" y="18531"/>
                  <a:pt x="10843" y="18531"/>
                  <a:pt x="10843" y="18500"/>
                </a:cubicBezTo>
                <a:cubicBezTo>
                  <a:pt x="10843" y="18500"/>
                  <a:pt x="10843" y="18500"/>
                  <a:pt x="10843" y="18500"/>
                </a:cubicBezTo>
                <a:cubicBezTo>
                  <a:pt x="10843" y="18468"/>
                  <a:pt x="10875" y="18468"/>
                  <a:pt x="10906" y="18437"/>
                </a:cubicBezTo>
                <a:cubicBezTo>
                  <a:pt x="10968" y="18375"/>
                  <a:pt x="11031" y="18343"/>
                  <a:pt x="11125" y="18281"/>
                </a:cubicBezTo>
                <a:cubicBezTo>
                  <a:pt x="11343" y="18125"/>
                  <a:pt x="11562" y="17906"/>
                  <a:pt x="11812" y="17718"/>
                </a:cubicBezTo>
                <a:cubicBezTo>
                  <a:pt x="11843" y="17718"/>
                  <a:pt x="11843" y="17687"/>
                  <a:pt x="11875" y="17687"/>
                </a:cubicBezTo>
                <a:cubicBezTo>
                  <a:pt x="11875" y="17656"/>
                  <a:pt x="11906" y="17656"/>
                  <a:pt x="11937" y="17656"/>
                </a:cubicBezTo>
                <a:cubicBezTo>
                  <a:pt x="11937" y="17687"/>
                  <a:pt x="11906" y="17687"/>
                  <a:pt x="11875" y="17687"/>
                </a:cubicBezTo>
                <a:cubicBezTo>
                  <a:pt x="11875" y="17750"/>
                  <a:pt x="11812" y="17781"/>
                  <a:pt x="11781" y="17812"/>
                </a:cubicBezTo>
                <a:cubicBezTo>
                  <a:pt x="11625" y="17937"/>
                  <a:pt x="11468" y="18062"/>
                  <a:pt x="11312" y="18218"/>
                </a:cubicBezTo>
                <a:cubicBezTo>
                  <a:pt x="11281" y="18218"/>
                  <a:pt x="11281" y="18218"/>
                  <a:pt x="11281" y="18250"/>
                </a:cubicBezTo>
                <a:cubicBezTo>
                  <a:pt x="11250" y="18250"/>
                  <a:pt x="11250" y="18250"/>
                  <a:pt x="11250" y="18281"/>
                </a:cubicBezTo>
                <a:cubicBezTo>
                  <a:pt x="11281" y="18281"/>
                  <a:pt x="11312" y="18250"/>
                  <a:pt x="11343" y="18250"/>
                </a:cubicBezTo>
                <a:cubicBezTo>
                  <a:pt x="11343" y="18218"/>
                  <a:pt x="11375" y="18187"/>
                  <a:pt x="11406" y="18187"/>
                </a:cubicBezTo>
                <a:cubicBezTo>
                  <a:pt x="11468" y="18125"/>
                  <a:pt x="11562" y="18031"/>
                  <a:pt x="11656" y="17968"/>
                </a:cubicBezTo>
                <a:cubicBezTo>
                  <a:pt x="11531" y="18125"/>
                  <a:pt x="11375" y="18250"/>
                  <a:pt x="11218" y="18375"/>
                </a:cubicBezTo>
                <a:cubicBezTo>
                  <a:pt x="10781" y="18750"/>
                  <a:pt x="10343" y="19156"/>
                  <a:pt x="9937" y="19531"/>
                </a:cubicBezTo>
                <a:cubicBezTo>
                  <a:pt x="9375" y="20031"/>
                  <a:pt x="8812" y="20500"/>
                  <a:pt x="8218" y="21000"/>
                </a:cubicBezTo>
                <a:cubicBezTo>
                  <a:pt x="7937" y="21250"/>
                  <a:pt x="7625" y="21531"/>
                  <a:pt x="7312" y="21781"/>
                </a:cubicBezTo>
                <a:cubicBezTo>
                  <a:pt x="7093" y="22000"/>
                  <a:pt x="6875" y="22156"/>
                  <a:pt x="6625" y="22343"/>
                </a:cubicBezTo>
                <a:cubicBezTo>
                  <a:pt x="6406" y="22500"/>
                  <a:pt x="6187" y="22531"/>
                  <a:pt x="5937" y="22468"/>
                </a:cubicBezTo>
                <a:cubicBezTo>
                  <a:pt x="5875" y="22468"/>
                  <a:pt x="5843" y="22500"/>
                  <a:pt x="5812" y="22437"/>
                </a:cubicBezTo>
                <a:cubicBezTo>
                  <a:pt x="5812" y="22437"/>
                  <a:pt x="5781" y="22437"/>
                  <a:pt x="5781" y="22437"/>
                </a:cubicBezTo>
                <a:cubicBezTo>
                  <a:pt x="5781" y="22437"/>
                  <a:pt x="5750" y="22437"/>
                  <a:pt x="5750" y="22437"/>
                </a:cubicBezTo>
                <a:cubicBezTo>
                  <a:pt x="5593" y="22437"/>
                  <a:pt x="5437" y="22406"/>
                  <a:pt x="5281" y="22375"/>
                </a:cubicBezTo>
                <a:cubicBezTo>
                  <a:pt x="4875" y="22250"/>
                  <a:pt x="4625" y="22093"/>
                  <a:pt x="4437" y="21937"/>
                </a:cubicBezTo>
                <a:cubicBezTo>
                  <a:pt x="4093" y="21656"/>
                  <a:pt x="3781" y="21312"/>
                  <a:pt x="3593" y="20875"/>
                </a:cubicBezTo>
                <a:cubicBezTo>
                  <a:pt x="3531" y="20781"/>
                  <a:pt x="3468" y="20656"/>
                  <a:pt x="3468" y="20531"/>
                </a:cubicBezTo>
                <a:cubicBezTo>
                  <a:pt x="3437" y="20500"/>
                  <a:pt x="3468" y="20468"/>
                  <a:pt x="3468" y="20468"/>
                </a:cubicBezTo>
                <a:cubicBezTo>
                  <a:pt x="3500" y="20437"/>
                  <a:pt x="3531" y="20437"/>
                  <a:pt x="3562" y="20406"/>
                </a:cubicBezTo>
                <a:cubicBezTo>
                  <a:pt x="3875" y="20281"/>
                  <a:pt x="4093" y="20000"/>
                  <a:pt x="4343" y="19781"/>
                </a:cubicBezTo>
                <a:cubicBezTo>
                  <a:pt x="4562" y="19593"/>
                  <a:pt x="4781" y="19375"/>
                  <a:pt x="5031" y="19187"/>
                </a:cubicBezTo>
                <a:cubicBezTo>
                  <a:pt x="5437" y="18875"/>
                  <a:pt x="5843" y="18500"/>
                  <a:pt x="6250" y="18125"/>
                </a:cubicBezTo>
                <a:cubicBezTo>
                  <a:pt x="6656" y="17718"/>
                  <a:pt x="7093" y="17343"/>
                  <a:pt x="7531" y="16968"/>
                </a:cubicBezTo>
                <a:cubicBezTo>
                  <a:pt x="7562" y="16906"/>
                  <a:pt x="7625" y="16875"/>
                  <a:pt x="7687" y="16812"/>
                </a:cubicBezTo>
                <a:cubicBezTo>
                  <a:pt x="7687" y="16812"/>
                  <a:pt x="7687" y="16812"/>
                  <a:pt x="7718" y="16812"/>
                </a:cubicBezTo>
                <a:cubicBezTo>
                  <a:pt x="7718" y="16812"/>
                  <a:pt x="7718" y="16781"/>
                  <a:pt x="7718" y="16781"/>
                </a:cubicBezTo>
                <a:cubicBezTo>
                  <a:pt x="7531" y="16906"/>
                  <a:pt x="7375" y="17031"/>
                  <a:pt x="7187" y="17156"/>
                </a:cubicBezTo>
                <a:cubicBezTo>
                  <a:pt x="6906" y="17375"/>
                  <a:pt x="6656" y="17625"/>
                  <a:pt x="6375" y="17875"/>
                </a:cubicBezTo>
                <a:cubicBezTo>
                  <a:pt x="5843" y="18312"/>
                  <a:pt x="5312" y="18781"/>
                  <a:pt x="4781" y="19250"/>
                </a:cubicBezTo>
                <a:cubicBezTo>
                  <a:pt x="4625" y="19406"/>
                  <a:pt x="4468" y="19531"/>
                  <a:pt x="4281" y="19687"/>
                </a:cubicBezTo>
                <a:cubicBezTo>
                  <a:pt x="4031" y="19906"/>
                  <a:pt x="3812" y="20156"/>
                  <a:pt x="3531" y="20343"/>
                </a:cubicBezTo>
                <a:cubicBezTo>
                  <a:pt x="3500" y="20375"/>
                  <a:pt x="3500" y="20375"/>
                  <a:pt x="3468" y="20406"/>
                </a:cubicBezTo>
                <a:cubicBezTo>
                  <a:pt x="3468" y="20406"/>
                  <a:pt x="3437" y="20406"/>
                  <a:pt x="3437" y="20406"/>
                </a:cubicBezTo>
                <a:cubicBezTo>
                  <a:pt x="3406" y="20375"/>
                  <a:pt x="3437" y="20375"/>
                  <a:pt x="3437" y="20343"/>
                </a:cubicBezTo>
                <a:cubicBezTo>
                  <a:pt x="3468" y="20218"/>
                  <a:pt x="3562" y="20156"/>
                  <a:pt x="3625" y="20062"/>
                </a:cubicBezTo>
                <a:cubicBezTo>
                  <a:pt x="3968" y="19562"/>
                  <a:pt x="4343" y="19125"/>
                  <a:pt x="4718" y="18656"/>
                </a:cubicBezTo>
                <a:cubicBezTo>
                  <a:pt x="5000" y="18281"/>
                  <a:pt x="5281" y="17906"/>
                  <a:pt x="5562" y="17531"/>
                </a:cubicBezTo>
                <a:cubicBezTo>
                  <a:pt x="5656" y="17375"/>
                  <a:pt x="5781" y="17187"/>
                  <a:pt x="5906" y="17031"/>
                </a:cubicBezTo>
                <a:cubicBezTo>
                  <a:pt x="5937" y="17000"/>
                  <a:pt x="5968" y="16937"/>
                  <a:pt x="6000" y="16875"/>
                </a:cubicBezTo>
                <a:cubicBezTo>
                  <a:pt x="5812" y="16843"/>
                  <a:pt x="5656" y="16875"/>
                  <a:pt x="5531" y="16968"/>
                </a:cubicBezTo>
                <a:cubicBezTo>
                  <a:pt x="5406" y="17000"/>
                  <a:pt x="5281" y="17031"/>
                  <a:pt x="5156" y="17062"/>
                </a:cubicBezTo>
                <a:cubicBezTo>
                  <a:pt x="5125" y="17093"/>
                  <a:pt x="5093" y="17093"/>
                  <a:pt x="5093" y="17031"/>
                </a:cubicBezTo>
                <a:cubicBezTo>
                  <a:pt x="5125" y="17000"/>
                  <a:pt x="5093" y="16968"/>
                  <a:pt x="5031" y="16968"/>
                </a:cubicBezTo>
                <a:cubicBezTo>
                  <a:pt x="4937" y="17000"/>
                  <a:pt x="4906" y="16968"/>
                  <a:pt x="4875" y="16875"/>
                </a:cubicBezTo>
                <a:cubicBezTo>
                  <a:pt x="4875" y="16843"/>
                  <a:pt x="4875" y="16843"/>
                  <a:pt x="4843" y="16812"/>
                </a:cubicBezTo>
                <a:cubicBezTo>
                  <a:pt x="4781" y="16781"/>
                  <a:pt x="4781" y="16750"/>
                  <a:pt x="4875" y="16718"/>
                </a:cubicBezTo>
                <a:cubicBezTo>
                  <a:pt x="4843" y="16750"/>
                  <a:pt x="4843" y="16781"/>
                  <a:pt x="4875" y="16812"/>
                </a:cubicBezTo>
                <a:cubicBezTo>
                  <a:pt x="4875" y="16781"/>
                  <a:pt x="4906" y="16781"/>
                  <a:pt x="4906" y="16750"/>
                </a:cubicBezTo>
                <a:cubicBezTo>
                  <a:pt x="4906" y="16718"/>
                  <a:pt x="4906" y="16687"/>
                  <a:pt x="4906" y="16656"/>
                </a:cubicBezTo>
                <a:cubicBezTo>
                  <a:pt x="4968" y="16750"/>
                  <a:pt x="5031" y="16812"/>
                  <a:pt x="5093" y="16875"/>
                </a:cubicBezTo>
                <a:cubicBezTo>
                  <a:pt x="5156" y="16937"/>
                  <a:pt x="5218" y="16968"/>
                  <a:pt x="5281" y="16906"/>
                </a:cubicBezTo>
                <a:cubicBezTo>
                  <a:pt x="5312" y="16906"/>
                  <a:pt x="5312" y="16906"/>
                  <a:pt x="5312" y="16875"/>
                </a:cubicBezTo>
                <a:cubicBezTo>
                  <a:pt x="5312" y="16843"/>
                  <a:pt x="5281" y="16812"/>
                  <a:pt x="5281" y="16812"/>
                </a:cubicBezTo>
                <a:cubicBezTo>
                  <a:pt x="5125" y="16875"/>
                  <a:pt x="5093" y="16750"/>
                  <a:pt x="5062" y="16687"/>
                </a:cubicBezTo>
                <a:cubicBezTo>
                  <a:pt x="5031" y="16625"/>
                  <a:pt x="5000" y="16593"/>
                  <a:pt x="5062" y="16562"/>
                </a:cubicBezTo>
                <a:cubicBezTo>
                  <a:pt x="5093" y="16562"/>
                  <a:pt x="5093" y="16531"/>
                  <a:pt x="5062" y="16500"/>
                </a:cubicBezTo>
                <a:cubicBezTo>
                  <a:pt x="5062" y="16468"/>
                  <a:pt x="5031" y="16468"/>
                  <a:pt x="5000" y="16500"/>
                </a:cubicBezTo>
                <a:cubicBezTo>
                  <a:pt x="4968" y="16500"/>
                  <a:pt x="4968" y="16531"/>
                  <a:pt x="4937" y="16500"/>
                </a:cubicBezTo>
                <a:cubicBezTo>
                  <a:pt x="4906" y="16468"/>
                  <a:pt x="4906" y="16437"/>
                  <a:pt x="4906" y="16375"/>
                </a:cubicBezTo>
                <a:cubicBezTo>
                  <a:pt x="5031" y="16187"/>
                  <a:pt x="5156" y="16000"/>
                  <a:pt x="5281" y="15781"/>
                </a:cubicBezTo>
                <a:cubicBezTo>
                  <a:pt x="5625" y="15312"/>
                  <a:pt x="6000" y="14906"/>
                  <a:pt x="6406" y="14468"/>
                </a:cubicBezTo>
                <a:cubicBezTo>
                  <a:pt x="6687" y="14156"/>
                  <a:pt x="7000" y="13843"/>
                  <a:pt x="7281" y="13562"/>
                </a:cubicBezTo>
                <a:cubicBezTo>
                  <a:pt x="7531" y="13312"/>
                  <a:pt x="7781" y="13062"/>
                  <a:pt x="8031" y="12843"/>
                </a:cubicBezTo>
                <a:cubicBezTo>
                  <a:pt x="8437" y="12437"/>
                  <a:pt x="8875" y="12062"/>
                  <a:pt x="9312" y="11687"/>
                </a:cubicBezTo>
                <a:cubicBezTo>
                  <a:pt x="9593" y="11437"/>
                  <a:pt x="9843" y="11218"/>
                  <a:pt x="10125" y="11000"/>
                </a:cubicBezTo>
                <a:cubicBezTo>
                  <a:pt x="10562" y="10625"/>
                  <a:pt x="11031" y="10281"/>
                  <a:pt x="11468" y="9937"/>
                </a:cubicBezTo>
                <a:cubicBezTo>
                  <a:pt x="11750" y="9718"/>
                  <a:pt x="12031" y="9531"/>
                  <a:pt x="12281" y="9343"/>
                </a:cubicBezTo>
                <a:cubicBezTo>
                  <a:pt x="12531" y="9125"/>
                  <a:pt x="12812" y="8937"/>
                  <a:pt x="13093" y="8750"/>
                </a:cubicBezTo>
                <a:cubicBezTo>
                  <a:pt x="13468" y="8500"/>
                  <a:pt x="13843" y="8250"/>
                  <a:pt x="14187" y="8031"/>
                </a:cubicBezTo>
                <a:cubicBezTo>
                  <a:pt x="14250" y="7968"/>
                  <a:pt x="14312" y="7937"/>
                  <a:pt x="14343" y="7906"/>
                </a:cubicBezTo>
                <a:cubicBezTo>
                  <a:pt x="14500" y="7812"/>
                  <a:pt x="14656" y="7718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43" y="7625"/>
                  <a:pt x="14843" y="7625"/>
                  <a:pt x="14843" y="7625"/>
                </a:cubicBezTo>
                <a:cubicBezTo>
                  <a:pt x="14812" y="7625"/>
                  <a:pt x="14812" y="7625"/>
                  <a:pt x="14812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81" y="7625"/>
                  <a:pt x="14781" y="7625"/>
                  <a:pt x="14781" y="7625"/>
                </a:cubicBezTo>
                <a:cubicBezTo>
                  <a:pt x="14750" y="7593"/>
                  <a:pt x="14750" y="7625"/>
                  <a:pt x="14718" y="7625"/>
                </a:cubicBezTo>
                <a:cubicBezTo>
                  <a:pt x="14718" y="7625"/>
                  <a:pt x="14687" y="7656"/>
                  <a:pt x="14687" y="7656"/>
                </a:cubicBezTo>
                <a:cubicBezTo>
                  <a:pt x="14437" y="7812"/>
                  <a:pt x="14218" y="7937"/>
                  <a:pt x="13968" y="8093"/>
                </a:cubicBezTo>
                <a:cubicBezTo>
                  <a:pt x="13562" y="8375"/>
                  <a:pt x="13125" y="8625"/>
                  <a:pt x="12750" y="8937"/>
                </a:cubicBezTo>
                <a:cubicBezTo>
                  <a:pt x="12312" y="9250"/>
                  <a:pt x="11875" y="9562"/>
                  <a:pt x="11437" y="9875"/>
                </a:cubicBezTo>
                <a:cubicBezTo>
                  <a:pt x="10875" y="10312"/>
                  <a:pt x="10343" y="10750"/>
                  <a:pt x="9812" y="11187"/>
                </a:cubicBezTo>
                <a:cubicBezTo>
                  <a:pt x="9281" y="11625"/>
                  <a:pt x="8781" y="12062"/>
                  <a:pt x="8312" y="12500"/>
                </a:cubicBezTo>
                <a:cubicBezTo>
                  <a:pt x="8281" y="12531"/>
                  <a:pt x="8218" y="12593"/>
                  <a:pt x="8187" y="12625"/>
                </a:cubicBezTo>
                <a:cubicBezTo>
                  <a:pt x="8125" y="12656"/>
                  <a:pt x="8093" y="12687"/>
                  <a:pt x="8031" y="12750"/>
                </a:cubicBezTo>
                <a:cubicBezTo>
                  <a:pt x="8031" y="12750"/>
                  <a:pt x="8000" y="12781"/>
                  <a:pt x="7968" y="12812"/>
                </a:cubicBezTo>
                <a:cubicBezTo>
                  <a:pt x="7906" y="12875"/>
                  <a:pt x="7843" y="12906"/>
                  <a:pt x="7781" y="12968"/>
                </a:cubicBezTo>
                <a:cubicBezTo>
                  <a:pt x="7781" y="13000"/>
                  <a:pt x="7750" y="13031"/>
                  <a:pt x="7718" y="13031"/>
                </a:cubicBezTo>
                <a:cubicBezTo>
                  <a:pt x="7718" y="13062"/>
                  <a:pt x="7687" y="13062"/>
                  <a:pt x="7687" y="13093"/>
                </a:cubicBezTo>
                <a:cubicBezTo>
                  <a:pt x="7687" y="13093"/>
                  <a:pt x="7687" y="13093"/>
                  <a:pt x="7687" y="13093"/>
                </a:cubicBezTo>
                <a:cubicBezTo>
                  <a:pt x="7656" y="13093"/>
                  <a:pt x="7656" y="13093"/>
                  <a:pt x="7656" y="13093"/>
                </a:cubicBezTo>
                <a:cubicBezTo>
                  <a:pt x="7437" y="13343"/>
                  <a:pt x="7187" y="13562"/>
                  <a:pt x="6968" y="13812"/>
                </a:cubicBezTo>
                <a:cubicBezTo>
                  <a:pt x="6937" y="13812"/>
                  <a:pt x="6937" y="13843"/>
                  <a:pt x="6906" y="13843"/>
                </a:cubicBezTo>
                <a:cubicBezTo>
                  <a:pt x="6875" y="13875"/>
                  <a:pt x="6875" y="13906"/>
                  <a:pt x="6843" y="13937"/>
                </a:cubicBezTo>
                <a:cubicBezTo>
                  <a:pt x="6750" y="14031"/>
                  <a:pt x="6687" y="14125"/>
                  <a:pt x="6562" y="14218"/>
                </a:cubicBezTo>
                <a:cubicBezTo>
                  <a:pt x="6531" y="14250"/>
                  <a:pt x="6531" y="14281"/>
                  <a:pt x="6500" y="14312"/>
                </a:cubicBezTo>
                <a:cubicBezTo>
                  <a:pt x="6500" y="14312"/>
                  <a:pt x="6468" y="14312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68" y="14343"/>
                  <a:pt x="6468" y="14343"/>
                  <a:pt x="6468" y="14312"/>
                </a:cubicBezTo>
                <a:cubicBezTo>
                  <a:pt x="6468" y="14343"/>
                  <a:pt x="6468" y="14343"/>
                  <a:pt x="6468" y="14343"/>
                </a:cubicBezTo>
                <a:cubicBezTo>
                  <a:pt x="6437" y="14343"/>
                  <a:pt x="6437" y="14343"/>
                  <a:pt x="6437" y="14375"/>
                </a:cubicBezTo>
                <a:cubicBezTo>
                  <a:pt x="6437" y="14375"/>
                  <a:pt x="6437" y="14375"/>
                  <a:pt x="6437" y="14375"/>
                </a:cubicBezTo>
                <a:cubicBezTo>
                  <a:pt x="6375" y="14437"/>
                  <a:pt x="6312" y="14500"/>
                  <a:pt x="6250" y="14562"/>
                </a:cubicBezTo>
                <a:cubicBezTo>
                  <a:pt x="6156" y="14687"/>
                  <a:pt x="6062" y="14812"/>
                  <a:pt x="5937" y="14906"/>
                </a:cubicBezTo>
                <a:cubicBezTo>
                  <a:pt x="5937" y="14937"/>
                  <a:pt x="5906" y="14937"/>
                  <a:pt x="5906" y="14968"/>
                </a:cubicBezTo>
                <a:cubicBezTo>
                  <a:pt x="5906" y="14968"/>
                  <a:pt x="5875" y="15000"/>
                  <a:pt x="5875" y="15000"/>
                </a:cubicBezTo>
                <a:cubicBezTo>
                  <a:pt x="5875" y="15000"/>
                  <a:pt x="5843" y="15000"/>
                  <a:pt x="5843" y="15031"/>
                </a:cubicBezTo>
                <a:cubicBezTo>
                  <a:pt x="5843" y="15031"/>
                  <a:pt x="5843" y="15031"/>
                  <a:pt x="5843" y="15031"/>
                </a:cubicBezTo>
                <a:cubicBezTo>
                  <a:pt x="5843" y="15062"/>
                  <a:pt x="5843" y="15062"/>
                  <a:pt x="5812" y="15062"/>
                </a:cubicBezTo>
                <a:cubicBezTo>
                  <a:pt x="5812" y="15062"/>
                  <a:pt x="5812" y="15093"/>
                  <a:pt x="5781" y="15093"/>
                </a:cubicBezTo>
                <a:cubicBezTo>
                  <a:pt x="5781" y="15125"/>
                  <a:pt x="5750" y="15125"/>
                  <a:pt x="5750" y="15156"/>
                </a:cubicBezTo>
                <a:cubicBezTo>
                  <a:pt x="5593" y="15312"/>
                  <a:pt x="5593" y="15312"/>
                  <a:pt x="5437" y="15218"/>
                </a:cubicBezTo>
                <a:cubicBezTo>
                  <a:pt x="5375" y="15187"/>
                  <a:pt x="5312" y="15125"/>
                  <a:pt x="5250" y="15093"/>
                </a:cubicBezTo>
                <a:cubicBezTo>
                  <a:pt x="5250" y="15093"/>
                  <a:pt x="5218" y="15062"/>
                  <a:pt x="5218" y="15062"/>
                </a:cubicBezTo>
                <a:cubicBezTo>
                  <a:pt x="5187" y="15062"/>
                  <a:pt x="5187" y="15062"/>
                  <a:pt x="5156" y="15062"/>
                </a:cubicBezTo>
                <a:cubicBezTo>
                  <a:pt x="5156" y="15062"/>
                  <a:pt x="5156" y="15062"/>
                  <a:pt x="5156" y="15062"/>
                </a:cubicBezTo>
                <a:cubicBezTo>
                  <a:pt x="5062" y="15125"/>
                  <a:pt x="4937" y="15187"/>
                  <a:pt x="4843" y="15218"/>
                </a:cubicBezTo>
                <a:cubicBezTo>
                  <a:pt x="4812" y="15250"/>
                  <a:pt x="4812" y="15250"/>
                  <a:pt x="4781" y="15281"/>
                </a:cubicBezTo>
                <a:cubicBezTo>
                  <a:pt x="4781" y="15281"/>
                  <a:pt x="4781" y="15281"/>
                  <a:pt x="4750" y="15281"/>
                </a:cubicBezTo>
                <a:cubicBezTo>
                  <a:pt x="4750" y="15281"/>
                  <a:pt x="4750" y="15281"/>
                  <a:pt x="4750" y="15281"/>
                </a:cubicBezTo>
                <a:cubicBezTo>
                  <a:pt x="4687" y="15312"/>
                  <a:pt x="4625" y="15343"/>
                  <a:pt x="4562" y="15343"/>
                </a:cubicBezTo>
                <a:cubicBezTo>
                  <a:pt x="4468" y="15375"/>
                  <a:pt x="4375" y="15406"/>
                  <a:pt x="4281" y="15437"/>
                </a:cubicBezTo>
                <a:cubicBezTo>
                  <a:pt x="4156" y="15468"/>
                  <a:pt x="4031" y="15500"/>
                  <a:pt x="3875" y="15500"/>
                </a:cubicBezTo>
                <a:cubicBezTo>
                  <a:pt x="3625" y="15562"/>
                  <a:pt x="3375" y="15593"/>
                  <a:pt x="3093" y="15562"/>
                </a:cubicBezTo>
                <a:cubicBezTo>
                  <a:pt x="2843" y="15562"/>
                  <a:pt x="2562" y="15531"/>
                  <a:pt x="2312" y="15468"/>
                </a:cubicBezTo>
                <a:cubicBezTo>
                  <a:pt x="2218" y="15437"/>
                  <a:pt x="2125" y="15406"/>
                  <a:pt x="2000" y="15406"/>
                </a:cubicBezTo>
                <a:cubicBezTo>
                  <a:pt x="2000" y="15406"/>
                  <a:pt x="1968" y="15375"/>
                  <a:pt x="1968" y="15343"/>
                </a:cubicBezTo>
                <a:cubicBezTo>
                  <a:pt x="1968" y="15343"/>
                  <a:pt x="1968" y="15343"/>
                  <a:pt x="1937" y="15343"/>
                </a:cubicBezTo>
                <a:cubicBezTo>
                  <a:pt x="1937" y="15343"/>
                  <a:pt x="1937" y="15343"/>
                  <a:pt x="1906" y="15312"/>
                </a:cubicBezTo>
                <a:cubicBezTo>
                  <a:pt x="1781" y="15281"/>
                  <a:pt x="1656" y="15218"/>
                  <a:pt x="1562" y="15156"/>
                </a:cubicBezTo>
                <a:cubicBezTo>
                  <a:pt x="1500" y="15125"/>
                  <a:pt x="1468" y="15125"/>
                  <a:pt x="1406" y="15093"/>
                </a:cubicBezTo>
                <a:cubicBezTo>
                  <a:pt x="1406" y="15093"/>
                  <a:pt x="1406" y="15093"/>
                  <a:pt x="1406" y="15062"/>
                </a:cubicBezTo>
                <a:cubicBezTo>
                  <a:pt x="1406" y="15062"/>
                  <a:pt x="1406" y="15062"/>
                  <a:pt x="1406" y="15062"/>
                </a:cubicBezTo>
                <a:cubicBezTo>
                  <a:pt x="1468" y="15031"/>
                  <a:pt x="1500" y="15031"/>
                  <a:pt x="1468" y="14968"/>
                </a:cubicBezTo>
                <a:cubicBezTo>
                  <a:pt x="1437" y="14875"/>
                  <a:pt x="1500" y="14812"/>
                  <a:pt x="1562" y="14750"/>
                </a:cubicBezTo>
                <a:cubicBezTo>
                  <a:pt x="1625" y="14718"/>
                  <a:pt x="1656" y="14687"/>
                  <a:pt x="1562" y="14625"/>
                </a:cubicBezTo>
                <a:cubicBezTo>
                  <a:pt x="1437" y="14562"/>
                  <a:pt x="1375" y="14437"/>
                  <a:pt x="1312" y="14281"/>
                </a:cubicBezTo>
                <a:cubicBezTo>
                  <a:pt x="1281" y="14187"/>
                  <a:pt x="1343" y="14062"/>
                  <a:pt x="1437" y="14000"/>
                </a:cubicBezTo>
                <a:cubicBezTo>
                  <a:pt x="1593" y="13843"/>
                  <a:pt x="1781" y="13687"/>
                  <a:pt x="2000" y="13562"/>
                </a:cubicBezTo>
                <a:cubicBezTo>
                  <a:pt x="2281" y="13437"/>
                  <a:pt x="2531" y="13218"/>
                  <a:pt x="2781" y="13031"/>
                </a:cubicBezTo>
                <a:cubicBezTo>
                  <a:pt x="3062" y="12843"/>
                  <a:pt x="3281" y="12656"/>
                  <a:pt x="3531" y="12437"/>
                </a:cubicBezTo>
                <a:cubicBezTo>
                  <a:pt x="3718" y="12281"/>
                  <a:pt x="3906" y="12093"/>
                  <a:pt x="4062" y="11937"/>
                </a:cubicBezTo>
                <a:cubicBezTo>
                  <a:pt x="4375" y="11656"/>
                  <a:pt x="4656" y="11375"/>
                  <a:pt x="4937" y="11093"/>
                </a:cubicBezTo>
                <a:cubicBezTo>
                  <a:pt x="4937" y="11093"/>
                  <a:pt x="4937" y="11062"/>
                  <a:pt x="4937" y="11062"/>
                </a:cubicBezTo>
                <a:cubicBezTo>
                  <a:pt x="4906" y="10937"/>
                  <a:pt x="4781" y="10906"/>
                  <a:pt x="4656" y="10812"/>
                </a:cubicBezTo>
                <a:cubicBezTo>
                  <a:pt x="4656" y="10812"/>
                  <a:pt x="4656" y="10781"/>
                  <a:pt x="4625" y="10781"/>
                </a:cubicBezTo>
                <a:cubicBezTo>
                  <a:pt x="4593" y="10750"/>
                  <a:pt x="4531" y="10687"/>
                  <a:pt x="4468" y="10656"/>
                </a:cubicBezTo>
                <a:cubicBezTo>
                  <a:pt x="4500" y="10656"/>
                  <a:pt x="4531" y="10656"/>
                  <a:pt x="4562" y="10656"/>
                </a:cubicBezTo>
                <a:cubicBezTo>
                  <a:pt x="4468" y="10531"/>
                  <a:pt x="4312" y="10500"/>
                  <a:pt x="4187" y="10468"/>
                </a:cubicBezTo>
                <a:cubicBezTo>
                  <a:pt x="4156" y="10468"/>
                  <a:pt x="4125" y="10500"/>
                  <a:pt x="4093" y="10531"/>
                </a:cubicBezTo>
                <a:cubicBezTo>
                  <a:pt x="3781" y="10781"/>
                  <a:pt x="3437" y="11000"/>
                  <a:pt x="3125" y="11250"/>
                </a:cubicBezTo>
                <a:cubicBezTo>
                  <a:pt x="2781" y="11500"/>
                  <a:pt x="2406" y="11687"/>
                  <a:pt x="2031" y="11906"/>
                </a:cubicBezTo>
                <a:cubicBezTo>
                  <a:pt x="1843" y="12000"/>
                  <a:pt x="1625" y="12093"/>
                  <a:pt x="1406" y="12187"/>
                </a:cubicBezTo>
                <a:cubicBezTo>
                  <a:pt x="1312" y="12218"/>
                  <a:pt x="1218" y="12281"/>
                  <a:pt x="1093" y="12281"/>
                </a:cubicBezTo>
                <a:cubicBezTo>
                  <a:pt x="812" y="12250"/>
                  <a:pt x="531" y="12312"/>
                  <a:pt x="250" y="12250"/>
                </a:cubicBezTo>
                <a:cubicBezTo>
                  <a:pt x="156" y="12250"/>
                  <a:pt x="125" y="12187"/>
                  <a:pt x="62" y="12156"/>
                </a:cubicBezTo>
                <a:cubicBezTo>
                  <a:pt x="31" y="12156"/>
                  <a:pt x="0" y="12093"/>
                  <a:pt x="62" y="12062"/>
                </a:cubicBezTo>
                <a:cubicBezTo>
                  <a:pt x="125" y="12062"/>
                  <a:pt x="62" y="12031"/>
                  <a:pt x="93" y="12000"/>
                </a:cubicBezTo>
                <a:cubicBezTo>
                  <a:pt x="156" y="12062"/>
                  <a:pt x="125" y="12062"/>
                  <a:pt x="218" y="12000"/>
                </a:cubicBezTo>
                <a:cubicBezTo>
                  <a:pt x="250" y="12000"/>
                  <a:pt x="281" y="11937"/>
                  <a:pt x="312" y="11937"/>
                </a:cubicBezTo>
                <a:cubicBezTo>
                  <a:pt x="375" y="11937"/>
                  <a:pt x="406" y="11906"/>
                  <a:pt x="437" y="11843"/>
                </a:cubicBezTo>
                <a:cubicBezTo>
                  <a:pt x="437" y="11781"/>
                  <a:pt x="375" y="11812"/>
                  <a:pt x="343" y="11781"/>
                </a:cubicBezTo>
                <a:cubicBezTo>
                  <a:pt x="312" y="11718"/>
                  <a:pt x="218" y="11687"/>
                  <a:pt x="156" y="11625"/>
                </a:cubicBezTo>
                <a:cubicBezTo>
                  <a:pt x="187" y="11625"/>
                  <a:pt x="250" y="11687"/>
                  <a:pt x="250" y="11593"/>
                </a:cubicBezTo>
                <a:cubicBezTo>
                  <a:pt x="250" y="11562"/>
                  <a:pt x="281" y="11562"/>
                  <a:pt x="281" y="11593"/>
                </a:cubicBezTo>
                <a:cubicBezTo>
                  <a:pt x="468" y="11625"/>
                  <a:pt x="656" y="11656"/>
                  <a:pt x="843" y="11656"/>
                </a:cubicBezTo>
                <a:cubicBezTo>
                  <a:pt x="1062" y="11625"/>
                  <a:pt x="1281" y="11593"/>
                  <a:pt x="1500" y="11531"/>
                </a:cubicBezTo>
                <a:cubicBezTo>
                  <a:pt x="1875" y="11406"/>
                  <a:pt x="2218" y="11250"/>
                  <a:pt x="2531" y="11093"/>
                </a:cubicBezTo>
                <a:cubicBezTo>
                  <a:pt x="2750" y="10968"/>
                  <a:pt x="2968" y="10875"/>
                  <a:pt x="3156" y="10750"/>
                </a:cubicBezTo>
                <a:cubicBezTo>
                  <a:pt x="3343" y="10625"/>
                  <a:pt x="3531" y="10531"/>
                  <a:pt x="3687" y="10406"/>
                </a:cubicBezTo>
                <a:cubicBezTo>
                  <a:pt x="3718" y="10375"/>
                  <a:pt x="3781" y="10375"/>
                  <a:pt x="3750" y="10343"/>
                </a:cubicBezTo>
                <a:cubicBezTo>
                  <a:pt x="3750" y="10343"/>
                  <a:pt x="3750" y="10312"/>
                  <a:pt x="3750" y="10312"/>
                </a:cubicBezTo>
                <a:cubicBezTo>
                  <a:pt x="3718" y="10312"/>
                  <a:pt x="3687" y="10312"/>
                  <a:pt x="3656" y="10312"/>
                </a:cubicBezTo>
                <a:cubicBezTo>
                  <a:pt x="3656" y="10343"/>
                  <a:pt x="3625" y="10343"/>
                  <a:pt x="3625" y="10343"/>
                </a:cubicBezTo>
                <a:cubicBezTo>
                  <a:pt x="3406" y="10312"/>
                  <a:pt x="3187" y="10375"/>
                  <a:pt x="2968" y="10375"/>
                </a:cubicBezTo>
                <a:cubicBezTo>
                  <a:pt x="2937" y="10375"/>
                  <a:pt x="2906" y="10375"/>
                  <a:pt x="2906" y="10343"/>
                </a:cubicBezTo>
                <a:cubicBezTo>
                  <a:pt x="2906" y="10312"/>
                  <a:pt x="2937" y="10312"/>
                  <a:pt x="2968" y="10312"/>
                </a:cubicBezTo>
                <a:cubicBezTo>
                  <a:pt x="3125" y="10250"/>
                  <a:pt x="3281" y="10250"/>
                  <a:pt x="3468" y="10281"/>
                </a:cubicBezTo>
                <a:cubicBezTo>
                  <a:pt x="3531" y="10281"/>
                  <a:pt x="3593" y="10281"/>
                  <a:pt x="3656" y="10250"/>
                </a:cubicBezTo>
                <a:cubicBezTo>
                  <a:pt x="3656" y="10250"/>
                  <a:pt x="3687" y="10250"/>
                  <a:pt x="3687" y="10250"/>
                </a:cubicBezTo>
                <a:cubicBezTo>
                  <a:pt x="3718" y="10218"/>
                  <a:pt x="3718" y="10218"/>
                  <a:pt x="3750" y="10218"/>
                </a:cubicBezTo>
                <a:cubicBezTo>
                  <a:pt x="3906" y="10187"/>
                  <a:pt x="4062" y="10156"/>
                  <a:pt x="4187" y="10062"/>
                </a:cubicBezTo>
                <a:cubicBezTo>
                  <a:pt x="4468" y="9843"/>
                  <a:pt x="4750" y="9625"/>
                  <a:pt x="5062" y="9375"/>
                </a:cubicBezTo>
                <a:cubicBezTo>
                  <a:pt x="5187" y="9281"/>
                  <a:pt x="5343" y="9156"/>
                  <a:pt x="5468" y="9031"/>
                </a:cubicBezTo>
                <a:cubicBezTo>
                  <a:pt x="5406" y="9156"/>
                  <a:pt x="5500" y="9312"/>
                  <a:pt x="5437" y="9437"/>
                </a:cubicBezTo>
                <a:cubicBezTo>
                  <a:pt x="5406" y="9406"/>
                  <a:pt x="5437" y="9375"/>
                  <a:pt x="5406" y="9343"/>
                </a:cubicBezTo>
                <a:cubicBezTo>
                  <a:pt x="5250" y="9500"/>
                  <a:pt x="5093" y="9625"/>
                  <a:pt x="4937" y="9812"/>
                </a:cubicBezTo>
                <a:cubicBezTo>
                  <a:pt x="5093" y="9750"/>
                  <a:pt x="5218" y="9687"/>
                  <a:pt x="5375" y="9625"/>
                </a:cubicBezTo>
                <a:cubicBezTo>
                  <a:pt x="5406" y="9625"/>
                  <a:pt x="5437" y="9593"/>
                  <a:pt x="5437" y="9625"/>
                </a:cubicBezTo>
                <a:cubicBezTo>
                  <a:pt x="5468" y="9656"/>
                  <a:pt x="5468" y="9656"/>
                  <a:pt x="5468" y="9625"/>
                </a:cubicBezTo>
                <a:cubicBezTo>
                  <a:pt x="5531" y="9500"/>
                  <a:pt x="5687" y="9500"/>
                  <a:pt x="5781" y="9437"/>
                </a:cubicBezTo>
                <a:cubicBezTo>
                  <a:pt x="6000" y="9312"/>
                  <a:pt x="6250" y="9218"/>
                  <a:pt x="6500" y="9093"/>
                </a:cubicBezTo>
                <a:cubicBezTo>
                  <a:pt x="6500" y="9093"/>
                  <a:pt x="6531" y="9093"/>
                  <a:pt x="6562" y="9062"/>
                </a:cubicBezTo>
                <a:cubicBezTo>
                  <a:pt x="6593" y="9062"/>
                  <a:pt x="6656" y="9031"/>
                  <a:pt x="6718" y="8968"/>
                </a:cubicBezTo>
                <a:cubicBezTo>
                  <a:pt x="6812" y="8843"/>
                  <a:pt x="6937" y="8687"/>
                  <a:pt x="7031" y="8562"/>
                </a:cubicBezTo>
                <a:cubicBezTo>
                  <a:pt x="7093" y="8500"/>
                  <a:pt x="7125" y="8468"/>
                  <a:pt x="7156" y="8406"/>
                </a:cubicBezTo>
                <a:cubicBezTo>
                  <a:pt x="7375" y="8093"/>
                  <a:pt x="7593" y="7781"/>
                  <a:pt x="7781" y="7437"/>
                </a:cubicBezTo>
                <a:cubicBezTo>
                  <a:pt x="7781" y="7406"/>
                  <a:pt x="7812" y="7406"/>
                  <a:pt x="7812" y="7375"/>
                </a:cubicBezTo>
                <a:cubicBezTo>
                  <a:pt x="7812" y="7187"/>
                  <a:pt x="7843" y="7000"/>
                  <a:pt x="7843" y="6812"/>
                </a:cubicBezTo>
                <a:cubicBezTo>
                  <a:pt x="7843" y="6781"/>
                  <a:pt x="7875" y="6718"/>
                  <a:pt x="7875" y="6687"/>
                </a:cubicBezTo>
                <a:cubicBezTo>
                  <a:pt x="7875" y="6656"/>
                  <a:pt x="7906" y="6656"/>
                  <a:pt x="7875" y="6625"/>
                </a:cubicBezTo>
                <a:cubicBezTo>
                  <a:pt x="7843" y="6625"/>
                  <a:pt x="7843" y="6656"/>
                  <a:pt x="7812" y="6656"/>
                </a:cubicBezTo>
                <a:cubicBezTo>
                  <a:pt x="7718" y="6781"/>
                  <a:pt x="7593" y="6906"/>
                  <a:pt x="7500" y="7031"/>
                </a:cubicBezTo>
                <a:cubicBezTo>
                  <a:pt x="7125" y="7406"/>
                  <a:pt x="6812" y="7812"/>
                  <a:pt x="6468" y="8218"/>
                </a:cubicBezTo>
                <a:cubicBezTo>
                  <a:pt x="6218" y="8500"/>
                  <a:pt x="6000" y="8750"/>
                  <a:pt x="5750" y="9000"/>
                </a:cubicBezTo>
                <a:cubicBezTo>
                  <a:pt x="5718" y="9000"/>
                  <a:pt x="5718" y="9031"/>
                  <a:pt x="5656" y="9062"/>
                </a:cubicBezTo>
                <a:cubicBezTo>
                  <a:pt x="5750" y="8906"/>
                  <a:pt x="5718" y="8781"/>
                  <a:pt x="5843" y="8687"/>
                </a:cubicBezTo>
                <a:cubicBezTo>
                  <a:pt x="6031" y="8500"/>
                  <a:pt x="6218" y="8312"/>
                  <a:pt x="6406" y="8125"/>
                </a:cubicBezTo>
                <a:cubicBezTo>
                  <a:pt x="6656" y="7875"/>
                  <a:pt x="6906" y="7625"/>
                  <a:pt x="7125" y="7343"/>
                </a:cubicBezTo>
                <a:cubicBezTo>
                  <a:pt x="7125" y="7343"/>
                  <a:pt x="7156" y="7312"/>
                  <a:pt x="7156" y="7312"/>
                </a:cubicBezTo>
                <a:cubicBezTo>
                  <a:pt x="7187" y="7281"/>
                  <a:pt x="7218" y="7250"/>
                  <a:pt x="7218" y="7218"/>
                </a:cubicBezTo>
                <a:cubicBezTo>
                  <a:pt x="7375" y="7031"/>
                  <a:pt x="7500" y="6875"/>
                  <a:pt x="7625" y="6687"/>
                </a:cubicBezTo>
                <a:cubicBezTo>
                  <a:pt x="7656" y="6656"/>
                  <a:pt x="7656" y="6625"/>
                  <a:pt x="7687" y="6593"/>
                </a:cubicBezTo>
                <a:cubicBezTo>
                  <a:pt x="7687" y="6562"/>
                  <a:pt x="7718" y="6562"/>
                  <a:pt x="7718" y="6531"/>
                </a:cubicBezTo>
                <a:cubicBezTo>
                  <a:pt x="7750" y="6500"/>
                  <a:pt x="7750" y="6500"/>
                  <a:pt x="7750" y="6500"/>
                </a:cubicBezTo>
                <a:cubicBezTo>
                  <a:pt x="7781" y="6468"/>
                  <a:pt x="7781" y="6437"/>
                  <a:pt x="7812" y="6437"/>
                </a:cubicBezTo>
                <a:cubicBezTo>
                  <a:pt x="7812" y="6437"/>
                  <a:pt x="7812" y="6437"/>
                  <a:pt x="7812" y="6437"/>
                </a:cubicBezTo>
                <a:cubicBezTo>
                  <a:pt x="7875" y="6312"/>
                  <a:pt x="7937" y="6218"/>
                  <a:pt x="8000" y="6125"/>
                </a:cubicBezTo>
                <a:cubicBezTo>
                  <a:pt x="8093" y="5968"/>
                  <a:pt x="8156" y="5812"/>
                  <a:pt x="8218" y="5656"/>
                </a:cubicBezTo>
                <a:cubicBezTo>
                  <a:pt x="8250" y="5562"/>
                  <a:pt x="8281" y="5500"/>
                  <a:pt x="8312" y="5437"/>
                </a:cubicBezTo>
                <a:cubicBezTo>
                  <a:pt x="8343" y="5406"/>
                  <a:pt x="8343" y="5406"/>
                  <a:pt x="8375" y="5406"/>
                </a:cubicBezTo>
                <a:cubicBezTo>
                  <a:pt x="8250" y="5687"/>
                  <a:pt x="8406" y="5937"/>
                  <a:pt x="8468" y="6218"/>
                </a:cubicBezTo>
                <a:cubicBezTo>
                  <a:pt x="8593" y="5937"/>
                  <a:pt x="8750" y="5625"/>
                  <a:pt x="8843" y="5312"/>
                </a:cubicBezTo>
                <a:cubicBezTo>
                  <a:pt x="8875" y="5187"/>
                  <a:pt x="8906" y="5031"/>
                  <a:pt x="8968" y="4906"/>
                </a:cubicBezTo>
                <a:cubicBezTo>
                  <a:pt x="8968" y="4906"/>
                  <a:pt x="8968" y="4875"/>
                  <a:pt x="8968" y="4875"/>
                </a:cubicBezTo>
                <a:cubicBezTo>
                  <a:pt x="8937" y="4750"/>
                  <a:pt x="9031" y="4687"/>
                  <a:pt x="9093" y="4625"/>
                </a:cubicBezTo>
                <a:cubicBezTo>
                  <a:pt x="9375" y="4375"/>
                  <a:pt x="9656" y="4156"/>
                  <a:pt x="9937" y="3968"/>
                </a:cubicBezTo>
                <a:cubicBezTo>
                  <a:pt x="10062" y="3906"/>
                  <a:pt x="10218" y="3875"/>
                  <a:pt x="10343" y="3812"/>
                </a:cubicBezTo>
                <a:cubicBezTo>
                  <a:pt x="10468" y="3718"/>
                  <a:pt x="10625" y="3687"/>
                  <a:pt x="10781" y="3656"/>
                </a:cubicBezTo>
                <a:cubicBezTo>
                  <a:pt x="10875" y="3656"/>
                  <a:pt x="10968" y="3656"/>
                  <a:pt x="11031" y="3656"/>
                </a:cubicBezTo>
                <a:cubicBezTo>
                  <a:pt x="11062" y="3656"/>
                  <a:pt x="11093" y="3656"/>
                  <a:pt x="11093" y="3625"/>
                </a:cubicBezTo>
                <a:cubicBezTo>
                  <a:pt x="11093" y="3593"/>
                  <a:pt x="11062" y="3593"/>
                  <a:pt x="11031" y="3593"/>
                </a:cubicBezTo>
                <a:cubicBezTo>
                  <a:pt x="10812" y="3500"/>
                  <a:pt x="10562" y="3500"/>
                  <a:pt x="10312" y="3593"/>
                </a:cubicBezTo>
                <a:cubicBezTo>
                  <a:pt x="10156" y="3625"/>
                  <a:pt x="10000" y="3687"/>
                  <a:pt x="9843" y="3750"/>
                </a:cubicBezTo>
                <a:cubicBezTo>
                  <a:pt x="9781" y="3781"/>
                  <a:pt x="9718" y="3812"/>
                  <a:pt x="9656" y="3843"/>
                </a:cubicBezTo>
                <a:cubicBezTo>
                  <a:pt x="9625" y="3843"/>
                  <a:pt x="9625" y="3875"/>
                  <a:pt x="9593" y="3843"/>
                </a:cubicBezTo>
                <a:cubicBezTo>
                  <a:pt x="9593" y="3843"/>
                  <a:pt x="9593" y="3843"/>
                  <a:pt x="9593" y="3843"/>
                </a:cubicBezTo>
                <a:cubicBezTo>
                  <a:pt x="9593" y="3843"/>
                  <a:pt x="9593" y="3812"/>
                  <a:pt x="9593" y="3812"/>
                </a:cubicBezTo>
                <a:cubicBezTo>
                  <a:pt x="9593" y="3812"/>
                  <a:pt x="9593" y="3812"/>
                  <a:pt x="9625" y="3812"/>
                </a:cubicBezTo>
                <a:cubicBezTo>
                  <a:pt x="9625" y="3812"/>
                  <a:pt x="9625" y="3812"/>
                  <a:pt x="9625" y="3812"/>
                </a:cubicBezTo>
                <a:cubicBezTo>
                  <a:pt x="9625" y="3781"/>
                  <a:pt x="9625" y="3781"/>
                  <a:pt x="9625" y="3781"/>
                </a:cubicBezTo>
                <a:cubicBezTo>
                  <a:pt x="9593" y="3750"/>
                  <a:pt x="9593" y="3781"/>
                  <a:pt x="9593" y="3781"/>
                </a:cubicBezTo>
                <a:cubicBezTo>
                  <a:pt x="9500" y="3843"/>
                  <a:pt x="9406" y="3875"/>
                  <a:pt x="9343" y="3937"/>
                </a:cubicBezTo>
                <a:cubicBezTo>
                  <a:pt x="9312" y="3937"/>
                  <a:pt x="9281" y="3968"/>
                  <a:pt x="9250" y="3968"/>
                </a:cubicBezTo>
                <a:cubicBezTo>
                  <a:pt x="9156" y="3937"/>
                  <a:pt x="9125" y="4031"/>
                  <a:pt x="9031" y="4062"/>
                </a:cubicBezTo>
                <a:cubicBezTo>
                  <a:pt x="8968" y="4125"/>
                  <a:pt x="8906" y="4187"/>
                  <a:pt x="8812" y="4250"/>
                </a:cubicBezTo>
                <a:cubicBezTo>
                  <a:pt x="8750" y="4281"/>
                  <a:pt x="8718" y="4343"/>
                  <a:pt x="8656" y="4406"/>
                </a:cubicBezTo>
                <a:cubicBezTo>
                  <a:pt x="8562" y="4500"/>
                  <a:pt x="8500" y="4562"/>
                  <a:pt x="8406" y="4656"/>
                </a:cubicBezTo>
                <a:cubicBezTo>
                  <a:pt x="8406" y="4656"/>
                  <a:pt x="8375" y="4687"/>
                  <a:pt x="8343" y="4687"/>
                </a:cubicBezTo>
                <a:cubicBezTo>
                  <a:pt x="8375" y="4625"/>
                  <a:pt x="8437" y="4562"/>
                  <a:pt x="8468" y="4531"/>
                </a:cubicBezTo>
                <a:cubicBezTo>
                  <a:pt x="8593" y="4406"/>
                  <a:pt x="8687" y="4250"/>
                  <a:pt x="8843" y="4156"/>
                </a:cubicBezTo>
                <a:cubicBezTo>
                  <a:pt x="8843" y="4156"/>
                  <a:pt x="8843" y="4156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843" y="4125"/>
                  <a:pt x="8843" y="4125"/>
                  <a:pt x="8843" y="4125"/>
                </a:cubicBezTo>
                <a:cubicBezTo>
                  <a:pt x="8781" y="4125"/>
                  <a:pt x="8750" y="4156"/>
                  <a:pt x="8718" y="4187"/>
                </a:cubicBezTo>
                <a:cubicBezTo>
                  <a:pt x="8718" y="4187"/>
                  <a:pt x="8718" y="4187"/>
                  <a:pt x="8687" y="4187"/>
                </a:cubicBezTo>
                <a:cubicBezTo>
                  <a:pt x="8687" y="4218"/>
                  <a:pt x="8687" y="4218"/>
                  <a:pt x="8656" y="4218"/>
                </a:cubicBezTo>
                <a:cubicBezTo>
                  <a:pt x="8656" y="4250"/>
                  <a:pt x="8656" y="4250"/>
                  <a:pt x="8625" y="4250"/>
                </a:cubicBezTo>
                <a:cubicBezTo>
                  <a:pt x="8593" y="4281"/>
                  <a:pt x="8593" y="4312"/>
                  <a:pt x="8531" y="4312"/>
                </a:cubicBezTo>
                <a:cubicBezTo>
                  <a:pt x="8531" y="4343"/>
                  <a:pt x="8531" y="4375"/>
                  <a:pt x="8500" y="4375"/>
                </a:cubicBezTo>
                <a:cubicBezTo>
                  <a:pt x="8500" y="4375"/>
                  <a:pt x="8500" y="4375"/>
                  <a:pt x="8500" y="4343"/>
                </a:cubicBezTo>
                <a:cubicBezTo>
                  <a:pt x="8500" y="4343"/>
                  <a:pt x="8500" y="4343"/>
                  <a:pt x="8500" y="4343"/>
                </a:cubicBezTo>
                <a:cubicBezTo>
                  <a:pt x="8500" y="4343"/>
                  <a:pt x="8500" y="4312"/>
                  <a:pt x="8531" y="4312"/>
                </a:cubicBezTo>
                <a:cubicBezTo>
                  <a:pt x="8593" y="4218"/>
                  <a:pt x="8687" y="4156"/>
                  <a:pt x="8781" y="4093"/>
                </a:cubicBezTo>
                <a:cubicBezTo>
                  <a:pt x="8812" y="4062"/>
                  <a:pt x="8812" y="4031"/>
                  <a:pt x="8843" y="4000"/>
                </a:cubicBezTo>
                <a:cubicBezTo>
                  <a:pt x="8906" y="3968"/>
                  <a:pt x="8968" y="3937"/>
                  <a:pt x="8968" y="3875"/>
                </a:cubicBezTo>
                <a:cubicBezTo>
                  <a:pt x="9000" y="3843"/>
                  <a:pt x="9031" y="3812"/>
                  <a:pt x="9062" y="3812"/>
                </a:cubicBezTo>
                <a:cubicBezTo>
                  <a:pt x="9125" y="3812"/>
                  <a:pt x="9156" y="3781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187" y="3718"/>
                  <a:pt x="9187" y="3718"/>
                  <a:pt x="9187" y="3718"/>
                </a:cubicBezTo>
                <a:cubicBezTo>
                  <a:pt x="9218" y="3718"/>
                  <a:pt x="9250" y="3718"/>
                  <a:pt x="9250" y="3718"/>
                </a:cubicBezTo>
                <a:cubicBezTo>
                  <a:pt x="9250" y="3687"/>
                  <a:pt x="9250" y="3687"/>
                  <a:pt x="9250" y="3656"/>
                </a:cubicBezTo>
                <a:cubicBezTo>
                  <a:pt x="9250" y="3656"/>
                  <a:pt x="9250" y="3656"/>
                  <a:pt x="9250" y="3656"/>
                </a:cubicBezTo>
                <a:cubicBezTo>
                  <a:pt x="9250" y="3656"/>
                  <a:pt x="9250" y="3656"/>
                  <a:pt x="9281" y="3656"/>
                </a:cubicBezTo>
                <a:cubicBezTo>
                  <a:pt x="9281" y="3656"/>
                  <a:pt x="9281" y="3656"/>
                  <a:pt x="9281" y="3656"/>
                </a:cubicBezTo>
                <a:cubicBezTo>
                  <a:pt x="9281" y="3656"/>
                  <a:pt x="9281" y="3656"/>
                  <a:pt x="9312" y="3656"/>
                </a:cubicBezTo>
                <a:cubicBezTo>
                  <a:pt x="9312" y="3656"/>
                  <a:pt x="9312" y="3656"/>
                  <a:pt x="9312" y="3656"/>
                </a:cubicBezTo>
                <a:cubicBezTo>
                  <a:pt x="9312" y="3656"/>
                  <a:pt x="9343" y="3656"/>
                  <a:pt x="9343" y="3656"/>
                </a:cubicBezTo>
                <a:cubicBezTo>
                  <a:pt x="9343" y="3656"/>
                  <a:pt x="9343" y="3656"/>
                  <a:pt x="9343" y="3656"/>
                </a:cubicBezTo>
                <a:cubicBezTo>
                  <a:pt x="9375" y="3625"/>
                  <a:pt x="9375" y="3625"/>
                  <a:pt x="9375" y="3562"/>
                </a:cubicBezTo>
                <a:cubicBezTo>
                  <a:pt x="9406" y="3531"/>
                  <a:pt x="9468" y="3531"/>
                  <a:pt x="9500" y="3500"/>
                </a:cubicBezTo>
                <a:cubicBezTo>
                  <a:pt x="9500" y="3468"/>
                  <a:pt x="9531" y="3468"/>
                  <a:pt x="9562" y="3468"/>
                </a:cubicBezTo>
                <a:cubicBezTo>
                  <a:pt x="9625" y="3437"/>
                  <a:pt x="9656" y="3406"/>
                  <a:pt x="9718" y="3343"/>
                </a:cubicBezTo>
                <a:cubicBezTo>
                  <a:pt x="9718" y="3343"/>
                  <a:pt x="9718" y="3343"/>
                  <a:pt x="9718" y="3343"/>
                </a:cubicBezTo>
                <a:cubicBezTo>
                  <a:pt x="9593" y="3375"/>
                  <a:pt x="9531" y="3406"/>
                  <a:pt x="9437" y="3468"/>
                </a:cubicBezTo>
                <a:cubicBezTo>
                  <a:pt x="9343" y="3531"/>
                  <a:pt x="9250" y="3562"/>
                  <a:pt x="9156" y="3625"/>
                </a:cubicBezTo>
                <a:cubicBezTo>
                  <a:pt x="9062" y="3687"/>
                  <a:pt x="8937" y="3781"/>
                  <a:pt x="8843" y="3843"/>
                </a:cubicBezTo>
                <a:cubicBezTo>
                  <a:pt x="8843" y="3875"/>
                  <a:pt x="8812" y="3875"/>
                  <a:pt x="8812" y="3906"/>
                </a:cubicBezTo>
                <a:cubicBezTo>
                  <a:pt x="8781" y="3906"/>
                  <a:pt x="8750" y="3906"/>
                  <a:pt x="8718" y="3906"/>
                </a:cubicBezTo>
                <a:cubicBezTo>
                  <a:pt x="8718" y="3937"/>
                  <a:pt x="8718" y="3968"/>
                  <a:pt x="8687" y="4000"/>
                </a:cubicBezTo>
                <a:cubicBezTo>
                  <a:pt x="8656" y="4000"/>
                  <a:pt x="8656" y="4000"/>
                  <a:pt x="8625" y="4000"/>
                </a:cubicBezTo>
                <a:cubicBezTo>
                  <a:pt x="8625" y="4031"/>
                  <a:pt x="8593" y="4062"/>
                  <a:pt x="8593" y="4062"/>
                </a:cubicBezTo>
                <a:cubicBezTo>
                  <a:pt x="8593" y="4062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31"/>
                  <a:pt x="8593" y="4031"/>
                  <a:pt x="8593" y="4031"/>
                </a:cubicBezTo>
                <a:cubicBezTo>
                  <a:pt x="8593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4000"/>
                  <a:pt x="8625" y="4000"/>
                  <a:pt x="8625" y="4000"/>
                </a:cubicBezTo>
                <a:cubicBezTo>
                  <a:pt x="8625" y="3968"/>
                  <a:pt x="8656" y="3968"/>
                  <a:pt x="8687" y="3937"/>
                </a:cubicBezTo>
                <a:cubicBezTo>
                  <a:pt x="8687" y="3937"/>
                  <a:pt x="8718" y="3906"/>
                  <a:pt x="8718" y="3906"/>
                </a:cubicBezTo>
                <a:cubicBezTo>
                  <a:pt x="8781" y="3812"/>
                  <a:pt x="8875" y="3781"/>
                  <a:pt x="8937" y="3718"/>
                </a:cubicBezTo>
                <a:cubicBezTo>
                  <a:pt x="9000" y="3656"/>
                  <a:pt x="9031" y="3625"/>
                  <a:pt x="9093" y="3593"/>
                </a:cubicBezTo>
                <a:cubicBezTo>
                  <a:pt x="9125" y="3562"/>
                  <a:pt x="9156" y="3531"/>
                  <a:pt x="9187" y="3500"/>
                </a:cubicBezTo>
                <a:cubicBezTo>
                  <a:pt x="8968" y="3593"/>
                  <a:pt x="8812" y="3750"/>
                  <a:pt x="8656" y="3906"/>
                </a:cubicBezTo>
                <a:cubicBezTo>
                  <a:pt x="8375" y="4125"/>
                  <a:pt x="8125" y="4375"/>
                  <a:pt x="7906" y="4625"/>
                </a:cubicBezTo>
                <a:cubicBezTo>
                  <a:pt x="7875" y="4625"/>
                  <a:pt x="7875" y="4625"/>
                  <a:pt x="7843" y="4625"/>
                </a:cubicBezTo>
                <a:cubicBezTo>
                  <a:pt x="7875" y="4656"/>
                  <a:pt x="7843" y="4687"/>
                  <a:pt x="7812" y="4687"/>
                </a:cubicBezTo>
                <a:cubicBezTo>
                  <a:pt x="7812" y="4687"/>
                  <a:pt x="7812" y="4687"/>
                  <a:pt x="7812" y="4656"/>
                </a:cubicBezTo>
                <a:cubicBezTo>
                  <a:pt x="7812" y="4656"/>
                  <a:pt x="7843" y="4625"/>
                  <a:pt x="7843" y="4625"/>
                </a:cubicBezTo>
                <a:cubicBezTo>
                  <a:pt x="7843" y="4625"/>
                  <a:pt x="7843" y="4593"/>
                  <a:pt x="7843" y="4593"/>
                </a:cubicBezTo>
                <a:cubicBezTo>
                  <a:pt x="7843" y="4593"/>
                  <a:pt x="7843" y="4562"/>
                  <a:pt x="7843" y="4562"/>
                </a:cubicBezTo>
                <a:cubicBezTo>
                  <a:pt x="8000" y="4468"/>
                  <a:pt x="8093" y="4312"/>
                  <a:pt x="8218" y="4218"/>
                </a:cubicBezTo>
                <a:cubicBezTo>
                  <a:pt x="8312" y="4125"/>
                  <a:pt x="8375" y="4031"/>
                  <a:pt x="8437" y="3937"/>
                </a:cubicBezTo>
                <a:cubicBezTo>
                  <a:pt x="8500" y="3843"/>
                  <a:pt x="8531" y="3781"/>
                  <a:pt x="8656" y="3750"/>
                </a:cubicBezTo>
                <a:cubicBezTo>
                  <a:pt x="8687" y="3750"/>
                  <a:pt x="8687" y="3718"/>
                  <a:pt x="8687" y="3687"/>
                </a:cubicBezTo>
                <a:cubicBezTo>
                  <a:pt x="8687" y="3656"/>
                  <a:pt x="8718" y="3625"/>
                  <a:pt x="8718" y="3656"/>
                </a:cubicBezTo>
                <a:cubicBezTo>
                  <a:pt x="8812" y="3656"/>
                  <a:pt x="8812" y="3625"/>
                  <a:pt x="8781" y="3562"/>
                </a:cubicBezTo>
                <a:cubicBezTo>
                  <a:pt x="8781" y="3531"/>
                  <a:pt x="8812" y="3531"/>
                  <a:pt x="8843" y="3562"/>
                </a:cubicBezTo>
                <a:cubicBezTo>
                  <a:pt x="8906" y="3562"/>
                  <a:pt x="8937" y="3562"/>
                  <a:pt x="8906" y="3500"/>
                </a:cubicBezTo>
                <a:cubicBezTo>
                  <a:pt x="8875" y="3437"/>
                  <a:pt x="8875" y="3437"/>
                  <a:pt x="8937" y="3468"/>
                </a:cubicBezTo>
                <a:cubicBezTo>
                  <a:pt x="9031" y="3500"/>
                  <a:pt x="9031" y="3406"/>
                  <a:pt x="9093" y="3375"/>
                </a:cubicBezTo>
                <a:cubicBezTo>
                  <a:pt x="9125" y="3375"/>
                  <a:pt x="9062" y="3312"/>
                  <a:pt x="9062" y="3281"/>
                </a:cubicBezTo>
                <a:cubicBezTo>
                  <a:pt x="9187" y="3375"/>
                  <a:pt x="9218" y="3250"/>
                  <a:pt x="9312" y="3218"/>
                </a:cubicBezTo>
                <a:cubicBezTo>
                  <a:pt x="9312" y="3187"/>
                  <a:pt x="9343" y="3156"/>
                  <a:pt x="9375" y="3156"/>
                </a:cubicBezTo>
                <a:cubicBezTo>
                  <a:pt x="9406" y="3125"/>
                  <a:pt x="9406" y="3125"/>
                  <a:pt x="9406" y="3093"/>
                </a:cubicBezTo>
                <a:cubicBezTo>
                  <a:pt x="9406" y="3031"/>
                  <a:pt x="9406" y="3031"/>
                  <a:pt x="9500" y="2968"/>
                </a:cubicBezTo>
                <a:cubicBezTo>
                  <a:pt x="9500" y="2968"/>
                  <a:pt x="9531" y="2937"/>
                  <a:pt x="9531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562" y="2937"/>
                  <a:pt x="9562" y="2937"/>
                  <a:pt x="9562" y="2937"/>
                </a:cubicBezTo>
                <a:cubicBezTo>
                  <a:pt x="9468" y="2937"/>
                  <a:pt x="9406" y="2937"/>
                  <a:pt x="9312" y="2937"/>
                </a:cubicBezTo>
                <a:cubicBezTo>
                  <a:pt x="9312" y="2906"/>
                  <a:pt x="9343" y="2906"/>
                  <a:pt x="9343" y="2906"/>
                </a:cubicBezTo>
                <a:cubicBezTo>
                  <a:pt x="9343" y="2906"/>
                  <a:pt x="9343" y="2906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343" y="2875"/>
                  <a:pt x="9343" y="2875"/>
                  <a:pt x="9343" y="2875"/>
                </a:cubicBezTo>
                <a:cubicBezTo>
                  <a:pt x="9250" y="2906"/>
                  <a:pt x="9125" y="2906"/>
                  <a:pt x="9031" y="3000"/>
                </a:cubicBezTo>
                <a:cubicBezTo>
                  <a:pt x="9031" y="3000"/>
                  <a:pt x="9031" y="3000"/>
                  <a:pt x="9031" y="3000"/>
                </a:cubicBezTo>
                <a:cubicBezTo>
                  <a:pt x="9000" y="3031"/>
                  <a:pt x="8968" y="3031"/>
                  <a:pt x="8937" y="2968"/>
                </a:cubicBezTo>
                <a:cubicBezTo>
                  <a:pt x="8875" y="3031"/>
                  <a:pt x="8781" y="3062"/>
                  <a:pt x="8718" y="3093"/>
                </a:cubicBezTo>
                <a:cubicBezTo>
                  <a:pt x="8718" y="3093"/>
                  <a:pt x="8687" y="3093"/>
                  <a:pt x="8687" y="3093"/>
                </a:cubicBezTo>
                <a:cubicBezTo>
                  <a:pt x="8562" y="3187"/>
                  <a:pt x="8468" y="3281"/>
                  <a:pt x="8343" y="3375"/>
                </a:cubicBezTo>
                <a:cubicBezTo>
                  <a:pt x="8312" y="3375"/>
                  <a:pt x="8312" y="3406"/>
                  <a:pt x="8250" y="3375"/>
                </a:cubicBezTo>
                <a:cubicBezTo>
                  <a:pt x="8250" y="3375"/>
                  <a:pt x="8218" y="3406"/>
                  <a:pt x="8218" y="3406"/>
                </a:cubicBezTo>
                <a:cubicBezTo>
                  <a:pt x="8125" y="3531"/>
                  <a:pt x="7968" y="3562"/>
                  <a:pt x="7875" y="3656"/>
                </a:cubicBezTo>
                <a:cubicBezTo>
                  <a:pt x="7812" y="3687"/>
                  <a:pt x="7781" y="3718"/>
                  <a:pt x="7718" y="3718"/>
                </a:cubicBezTo>
                <a:cubicBezTo>
                  <a:pt x="8000" y="3468"/>
                  <a:pt x="8281" y="3281"/>
                  <a:pt x="8593" y="3093"/>
                </a:cubicBezTo>
                <a:cubicBezTo>
                  <a:pt x="8593" y="3062"/>
                  <a:pt x="8593" y="3031"/>
                  <a:pt x="8625" y="3062"/>
                </a:cubicBezTo>
                <a:cubicBezTo>
                  <a:pt x="8625" y="3062"/>
                  <a:pt x="8625" y="3062"/>
                  <a:pt x="8625" y="3031"/>
                </a:cubicBezTo>
                <a:cubicBezTo>
                  <a:pt x="8656" y="3031"/>
                  <a:pt x="8656" y="3000"/>
                  <a:pt x="8687" y="3000"/>
                </a:cubicBezTo>
                <a:cubicBezTo>
                  <a:pt x="8687" y="2968"/>
                  <a:pt x="8656" y="2968"/>
                  <a:pt x="8656" y="2968"/>
                </a:cubicBezTo>
                <a:cubicBezTo>
                  <a:pt x="8656" y="2968"/>
                  <a:pt x="8656" y="2968"/>
                  <a:pt x="8656" y="2968"/>
                </a:cubicBezTo>
                <a:cubicBezTo>
                  <a:pt x="8656" y="2968"/>
                  <a:pt x="8625" y="2968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68"/>
                  <a:pt x="8625" y="3000"/>
                  <a:pt x="8625" y="3000"/>
                </a:cubicBezTo>
                <a:cubicBezTo>
                  <a:pt x="8625" y="3000"/>
                  <a:pt x="8625" y="3000"/>
                  <a:pt x="8625" y="3000"/>
                </a:cubicBezTo>
                <a:cubicBezTo>
                  <a:pt x="8625" y="3000"/>
                  <a:pt x="8593" y="3000"/>
                  <a:pt x="8593" y="3000"/>
                </a:cubicBezTo>
                <a:cubicBezTo>
                  <a:pt x="8593" y="3031"/>
                  <a:pt x="8593" y="3031"/>
                  <a:pt x="8593" y="3031"/>
                </a:cubicBezTo>
                <a:cubicBezTo>
                  <a:pt x="8562" y="3031"/>
                  <a:pt x="8562" y="3031"/>
                  <a:pt x="8531" y="3031"/>
                </a:cubicBezTo>
                <a:cubicBezTo>
                  <a:pt x="8562" y="3000"/>
                  <a:pt x="8593" y="3000"/>
                  <a:pt x="8625" y="3000"/>
                </a:cubicBezTo>
                <a:cubicBezTo>
                  <a:pt x="8625" y="3000"/>
                  <a:pt x="8625" y="3000"/>
                  <a:pt x="8625" y="2968"/>
                </a:cubicBezTo>
                <a:cubicBezTo>
                  <a:pt x="8625" y="2968"/>
                  <a:pt x="8625" y="2968"/>
                  <a:pt x="8625" y="2968"/>
                </a:cubicBezTo>
                <a:cubicBezTo>
                  <a:pt x="8625" y="2937"/>
                  <a:pt x="8656" y="2937"/>
                  <a:pt x="8687" y="2906"/>
                </a:cubicBezTo>
                <a:cubicBezTo>
                  <a:pt x="8718" y="2875"/>
                  <a:pt x="8750" y="2875"/>
                  <a:pt x="8812" y="2843"/>
                </a:cubicBezTo>
                <a:cubicBezTo>
                  <a:pt x="9062" y="2656"/>
                  <a:pt x="9343" y="2531"/>
                  <a:pt x="9593" y="2343"/>
                </a:cubicBezTo>
                <a:cubicBezTo>
                  <a:pt x="9468" y="2375"/>
                  <a:pt x="9406" y="2406"/>
                  <a:pt x="9312" y="2468"/>
                </a:cubicBezTo>
                <a:cubicBezTo>
                  <a:pt x="9093" y="2593"/>
                  <a:pt x="8843" y="2718"/>
                  <a:pt x="8625" y="2875"/>
                </a:cubicBezTo>
                <a:cubicBezTo>
                  <a:pt x="8406" y="3031"/>
                  <a:pt x="8218" y="3187"/>
                  <a:pt x="8000" y="3343"/>
                </a:cubicBezTo>
                <a:cubicBezTo>
                  <a:pt x="7968" y="3375"/>
                  <a:pt x="8000" y="3437"/>
                  <a:pt x="7906" y="3406"/>
                </a:cubicBezTo>
                <a:cubicBezTo>
                  <a:pt x="7906" y="3406"/>
                  <a:pt x="7875" y="3468"/>
                  <a:pt x="7875" y="3406"/>
                </a:cubicBezTo>
                <a:cubicBezTo>
                  <a:pt x="7875" y="3406"/>
                  <a:pt x="7812" y="3375"/>
                  <a:pt x="7875" y="3312"/>
                </a:cubicBezTo>
                <a:cubicBezTo>
                  <a:pt x="7875" y="3312"/>
                  <a:pt x="7906" y="3312"/>
                  <a:pt x="7906" y="3312"/>
                </a:cubicBezTo>
                <a:cubicBezTo>
                  <a:pt x="7937" y="3281"/>
                  <a:pt x="7937" y="3281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37" y="3250"/>
                  <a:pt x="7937" y="3250"/>
                  <a:pt x="7937" y="3250"/>
                </a:cubicBezTo>
                <a:cubicBezTo>
                  <a:pt x="7906" y="3218"/>
                  <a:pt x="7875" y="3250"/>
                  <a:pt x="7843" y="3218"/>
                </a:cubicBezTo>
                <a:cubicBezTo>
                  <a:pt x="7937" y="3125"/>
                  <a:pt x="8031" y="3062"/>
                  <a:pt x="8093" y="2968"/>
                </a:cubicBezTo>
                <a:cubicBezTo>
                  <a:pt x="8406" y="2718"/>
                  <a:pt x="8750" y="2500"/>
                  <a:pt x="9093" y="2312"/>
                </a:cubicBezTo>
                <a:cubicBezTo>
                  <a:pt x="9156" y="2250"/>
                  <a:pt x="9218" y="2187"/>
                  <a:pt x="9281" y="2125"/>
                </a:cubicBezTo>
                <a:cubicBezTo>
                  <a:pt x="9375" y="2031"/>
                  <a:pt x="9531" y="2031"/>
                  <a:pt x="9625" y="1968"/>
                </a:cubicBezTo>
                <a:cubicBezTo>
                  <a:pt x="9656" y="1968"/>
                  <a:pt x="9656" y="1937"/>
                  <a:pt x="9687" y="1906"/>
                </a:cubicBezTo>
                <a:cubicBezTo>
                  <a:pt x="9593" y="1937"/>
                  <a:pt x="9531" y="1968"/>
                  <a:pt x="9468" y="1968"/>
                </a:cubicBezTo>
                <a:cubicBezTo>
                  <a:pt x="9343" y="2000"/>
                  <a:pt x="9218" y="2093"/>
                  <a:pt x="9062" y="2125"/>
                </a:cubicBezTo>
                <a:cubicBezTo>
                  <a:pt x="9062" y="2125"/>
                  <a:pt x="9062" y="2156"/>
                  <a:pt x="9062" y="2156"/>
                </a:cubicBezTo>
                <a:cubicBezTo>
                  <a:pt x="9062" y="2156"/>
                  <a:pt x="9031" y="2156"/>
                  <a:pt x="9031" y="2125"/>
                </a:cubicBezTo>
                <a:cubicBezTo>
                  <a:pt x="9031" y="2125"/>
                  <a:pt x="9062" y="2125"/>
                  <a:pt x="9062" y="2125"/>
                </a:cubicBezTo>
                <a:cubicBezTo>
                  <a:pt x="9093" y="2093"/>
                  <a:pt x="9125" y="2062"/>
                  <a:pt x="9187" y="2031"/>
                </a:cubicBezTo>
                <a:cubicBezTo>
                  <a:pt x="9187" y="2031"/>
                  <a:pt x="9218" y="2000"/>
                  <a:pt x="9250" y="2000"/>
                </a:cubicBezTo>
                <a:cubicBezTo>
                  <a:pt x="9250" y="2000"/>
                  <a:pt x="9250" y="2000"/>
                  <a:pt x="9250" y="2000"/>
                </a:cubicBezTo>
                <a:cubicBezTo>
                  <a:pt x="9218" y="1937"/>
                  <a:pt x="9187" y="1937"/>
                  <a:pt x="9156" y="1968"/>
                </a:cubicBezTo>
                <a:cubicBezTo>
                  <a:pt x="9125" y="2000"/>
                  <a:pt x="9125" y="2000"/>
                  <a:pt x="9062" y="2000"/>
                </a:cubicBezTo>
                <a:cubicBezTo>
                  <a:pt x="9312" y="1843"/>
                  <a:pt x="9562" y="1750"/>
                  <a:pt x="9812" y="1656"/>
                </a:cubicBezTo>
                <a:cubicBezTo>
                  <a:pt x="9718" y="1625"/>
                  <a:pt x="9656" y="1687"/>
                  <a:pt x="9562" y="1718"/>
                </a:cubicBezTo>
                <a:cubicBezTo>
                  <a:pt x="9375" y="1781"/>
                  <a:pt x="9187" y="1843"/>
                  <a:pt x="9000" y="1968"/>
                </a:cubicBezTo>
                <a:cubicBezTo>
                  <a:pt x="8531" y="2218"/>
                  <a:pt x="8093" y="2531"/>
                  <a:pt x="7687" y="2875"/>
                </a:cubicBezTo>
                <a:cubicBezTo>
                  <a:pt x="7437" y="3093"/>
                  <a:pt x="7187" y="3343"/>
                  <a:pt x="6968" y="3562"/>
                </a:cubicBezTo>
                <a:cubicBezTo>
                  <a:pt x="6843" y="3656"/>
                  <a:pt x="6781" y="3781"/>
                  <a:pt x="6656" y="3875"/>
                </a:cubicBezTo>
                <a:cubicBezTo>
                  <a:pt x="6656" y="3812"/>
                  <a:pt x="6687" y="3812"/>
                  <a:pt x="6718" y="3781"/>
                </a:cubicBezTo>
                <a:cubicBezTo>
                  <a:pt x="7062" y="3406"/>
                  <a:pt x="7375" y="3031"/>
                  <a:pt x="7781" y="2687"/>
                </a:cubicBezTo>
                <a:cubicBezTo>
                  <a:pt x="8000" y="2500"/>
                  <a:pt x="8250" y="2343"/>
                  <a:pt x="8500" y="2187"/>
                </a:cubicBezTo>
                <a:cubicBezTo>
                  <a:pt x="8687" y="2031"/>
                  <a:pt x="8875" y="1906"/>
                  <a:pt x="9093" y="1812"/>
                </a:cubicBezTo>
                <a:cubicBezTo>
                  <a:pt x="9312" y="1718"/>
                  <a:pt x="9531" y="1625"/>
                  <a:pt x="9781" y="1531"/>
                </a:cubicBezTo>
                <a:cubicBezTo>
                  <a:pt x="9812" y="1531"/>
                  <a:pt x="9875" y="1531"/>
                  <a:pt x="9906" y="1531"/>
                </a:cubicBezTo>
                <a:cubicBezTo>
                  <a:pt x="9875" y="1500"/>
                  <a:pt x="9843" y="1500"/>
                  <a:pt x="9812" y="1468"/>
                </a:cubicBezTo>
                <a:cubicBezTo>
                  <a:pt x="9875" y="1468"/>
                  <a:pt x="9906" y="1437"/>
                  <a:pt x="9937" y="1437"/>
                </a:cubicBezTo>
                <a:cubicBezTo>
                  <a:pt x="9968" y="1437"/>
                  <a:pt x="10000" y="1437"/>
                  <a:pt x="9968" y="1406"/>
                </a:cubicBezTo>
                <a:cubicBezTo>
                  <a:pt x="9968" y="1375"/>
                  <a:pt x="9968" y="1375"/>
                  <a:pt x="9937" y="1375"/>
                </a:cubicBezTo>
                <a:cubicBezTo>
                  <a:pt x="9906" y="1375"/>
                  <a:pt x="9906" y="1375"/>
                  <a:pt x="9875" y="1343"/>
                </a:cubicBezTo>
                <a:cubicBezTo>
                  <a:pt x="9937" y="1343"/>
                  <a:pt x="10000" y="1312"/>
                  <a:pt x="10031" y="1250"/>
                </a:cubicBezTo>
                <a:cubicBezTo>
                  <a:pt x="10062" y="1187"/>
                  <a:pt x="10125" y="1187"/>
                  <a:pt x="10187" y="1187"/>
                </a:cubicBezTo>
                <a:cubicBezTo>
                  <a:pt x="10468" y="1125"/>
                  <a:pt x="10750" y="1125"/>
                  <a:pt x="11031" y="1125"/>
                </a:cubicBezTo>
                <a:cubicBezTo>
                  <a:pt x="11062" y="1125"/>
                  <a:pt x="11093" y="1156"/>
                  <a:pt x="11125" y="1125"/>
                </a:cubicBezTo>
                <a:cubicBezTo>
                  <a:pt x="11000" y="1093"/>
                  <a:pt x="10843" y="1062"/>
                  <a:pt x="10687" y="1062"/>
                </a:cubicBezTo>
                <a:cubicBezTo>
                  <a:pt x="10812" y="1000"/>
                  <a:pt x="10937" y="1093"/>
                  <a:pt x="11062" y="1000"/>
                </a:cubicBezTo>
                <a:cubicBezTo>
                  <a:pt x="10937" y="1000"/>
                  <a:pt x="10875" y="968"/>
                  <a:pt x="10781" y="968"/>
                </a:cubicBezTo>
                <a:cubicBezTo>
                  <a:pt x="10468" y="968"/>
                  <a:pt x="10187" y="968"/>
                  <a:pt x="9906" y="1062"/>
                </a:cubicBezTo>
                <a:cubicBezTo>
                  <a:pt x="9468" y="1156"/>
                  <a:pt x="9062" y="1343"/>
                  <a:pt x="8687" y="1531"/>
                </a:cubicBezTo>
                <a:cubicBezTo>
                  <a:pt x="8593" y="1562"/>
                  <a:pt x="8531" y="1625"/>
                  <a:pt x="8437" y="1656"/>
                </a:cubicBezTo>
                <a:cubicBezTo>
                  <a:pt x="8406" y="1687"/>
                  <a:pt x="8406" y="1687"/>
                  <a:pt x="8375" y="1687"/>
                </a:cubicBezTo>
                <a:cubicBezTo>
                  <a:pt x="8406" y="1625"/>
                  <a:pt x="8437" y="1625"/>
                  <a:pt x="8468" y="1593"/>
                </a:cubicBezTo>
                <a:cubicBezTo>
                  <a:pt x="8656" y="1531"/>
                  <a:pt x="8812" y="1406"/>
                  <a:pt x="8968" y="1312"/>
                </a:cubicBezTo>
                <a:cubicBezTo>
                  <a:pt x="9125" y="1250"/>
                  <a:pt x="9281" y="1187"/>
                  <a:pt x="9437" y="1125"/>
                </a:cubicBezTo>
                <a:cubicBezTo>
                  <a:pt x="9656" y="1031"/>
                  <a:pt x="9906" y="968"/>
                  <a:pt x="10125" y="937"/>
                </a:cubicBezTo>
                <a:cubicBezTo>
                  <a:pt x="10281" y="906"/>
                  <a:pt x="10437" y="875"/>
                  <a:pt x="10593" y="875"/>
                </a:cubicBezTo>
                <a:cubicBezTo>
                  <a:pt x="10625" y="875"/>
                  <a:pt x="10656" y="875"/>
                  <a:pt x="10687" y="875"/>
                </a:cubicBezTo>
                <a:cubicBezTo>
                  <a:pt x="10718" y="844"/>
                  <a:pt x="10750" y="844"/>
                  <a:pt x="10781" y="844"/>
                </a:cubicBezTo>
                <a:cubicBezTo>
                  <a:pt x="10843" y="844"/>
                  <a:pt x="10906" y="844"/>
                  <a:pt x="10937" y="844"/>
                </a:cubicBezTo>
                <a:cubicBezTo>
                  <a:pt x="10937" y="844"/>
                  <a:pt x="10937" y="844"/>
                  <a:pt x="10968" y="844"/>
                </a:cubicBezTo>
                <a:cubicBezTo>
                  <a:pt x="10937" y="812"/>
                  <a:pt x="10968" y="781"/>
                  <a:pt x="11000" y="781"/>
                </a:cubicBezTo>
                <a:cubicBezTo>
                  <a:pt x="11062" y="781"/>
                  <a:pt x="11093" y="781"/>
                  <a:pt x="11125" y="781"/>
                </a:cubicBezTo>
                <a:cubicBezTo>
                  <a:pt x="10968" y="719"/>
                  <a:pt x="10812" y="719"/>
                  <a:pt x="10656" y="719"/>
                </a:cubicBezTo>
                <a:cubicBezTo>
                  <a:pt x="10468" y="750"/>
                  <a:pt x="10312" y="750"/>
                  <a:pt x="10156" y="781"/>
                </a:cubicBezTo>
                <a:cubicBezTo>
                  <a:pt x="10000" y="781"/>
                  <a:pt x="9843" y="844"/>
                  <a:pt x="9687" y="875"/>
                </a:cubicBezTo>
                <a:cubicBezTo>
                  <a:pt x="9375" y="968"/>
                  <a:pt x="9062" y="1062"/>
                  <a:pt x="8781" y="1218"/>
                </a:cubicBezTo>
                <a:cubicBezTo>
                  <a:pt x="8218" y="1500"/>
                  <a:pt x="7687" y="1843"/>
                  <a:pt x="7187" y="2281"/>
                </a:cubicBezTo>
                <a:cubicBezTo>
                  <a:pt x="6781" y="2593"/>
                  <a:pt x="6406" y="2968"/>
                  <a:pt x="6031" y="3343"/>
                </a:cubicBezTo>
                <a:cubicBezTo>
                  <a:pt x="5843" y="3500"/>
                  <a:pt x="5656" y="3687"/>
                  <a:pt x="5500" y="3875"/>
                </a:cubicBezTo>
                <a:cubicBezTo>
                  <a:pt x="5468" y="3906"/>
                  <a:pt x="5468" y="3906"/>
                  <a:pt x="5406" y="3937"/>
                </a:cubicBezTo>
                <a:cubicBezTo>
                  <a:pt x="6000" y="3218"/>
                  <a:pt x="6656" y="2593"/>
                  <a:pt x="7375" y="2031"/>
                </a:cubicBezTo>
                <a:cubicBezTo>
                  <a:pt x="8093" y="1468"/>
                  <a:pt x="8875" y="1062"/>
                  <a:pt x="9718" y="687"/>
                </a:cubicBezTo>
                <a:cubicBezTo>
                  <a:pt x="9531" y="719"/>
                  <a:pt x="9406" y="781"/>
                  <a:pt x="9250" y="812"/>
                </a:cubicBezTo>
                <a:cubicBezTo>
                  <a:pt x="8812" y="1000"/>
                  <a:pt x="8375" y="1218"/>
                  <a:pt x="7968" y="1500"/>
                </a:cubicBezTo>
                <a:cubicBezTo>
                  <a:pt x="7718" y="1656"/>
                  <a:pt x="7437" y="1843"/>
                  <a:pt x="7187" y="2062"/>
                </a:cubicBezTo>
                <a:cubicBezTo>
                  <a:pt x="6750" y="2406"/>
                  <a:pt x="6375" y="2750"/>
                  <a:pt x="6000" y="3125"/>
                </a:cubicBezTo>
                <a:cubicBezTo>
                  <a:pt x="5781" y="3375"/>
                  <a:pt x="5531" y="3593"/>
                  <a:pt x="5343" y="3843"/>
                </a:cubicBezTo>
                <a:cubicBezTo>
                  <a:pt x="5250" y="3937"/>
                  <a:pt x="5156" y="4062"/>
                  <a:pt x="5031" y="4187"/>
                </a:cubicBezTo>
                <a:cubicBezTo>
                  <a:pt x="5062" y="4125"/>
                  <a:pt x="5093" y="4093"/>
                  <a:pt x="5125" y="4062"/>
                </a:cubicBezTo>
                <a:cubicBezTo>
                  <a:pt x="5406" y="3656"/>
                  <a:pt x="5750" y="3281"/>
                  <a:pt x="6093" y="2906"/>
                </a:cubicBezTo>
                <a:cubicBezTo>
                  <a:pt x="6187" y="2843"/>
                  <a:pt x="6281" y="2781"/>
                  <a:pt x="6343" y="2687"/>
                </a:cubicBezTo>
                <a:cubicBezTo>
                  <a:pt x="6375" y="2656"/>
                  <a:pt x="6437" y="2625"/>
                  <a:pt x="6406" y="2562"/>
                </a:cubicBezTo>
                <a:cubicBezTo>
                  <a:pt x="6406" y="2562"/>
                  <a:pt x="6437" y="2531"/>
                  <a:pt x="6437" y="2500"/>
                </a:cubicBezTo>
                <a:cubicBezTo>
                  <a:pt x="6500" y="2500"/>
                  <a:pt x="6500" y="2468"/>
                  <a:pt x="6500" y="2437"/>
                </a:cubicBezTo>
                <a:cubicBezTo>
                  <a:pt x="6500" y="2437"/>
                  <a:pt x="6468" y="2468"/>
                  <a:pt x="6437" y="2468"/>
                </a:cubicBezTo>
                <a:cubicBezTo>
                  <a:pt x="6468" y="2437"/>
                  <a:pt x="6468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406"/>
                  <a:pt x="6500" y="2406"/>
                  <a:pt x="6500" y="2406"/>
                </a:cubicBezTo>
                <a:cubicBezTo>
                  <a:pt x="6500" y="2375"/>
                  <a:pt x="6500" y="2375"/>
                  <a:pt x="6500" y="2375"/>
                </a:cubicBezTo>
                <a:cubicBezTo>
                  <a:pt x="6531" y="2375"/>
                  <a:pt x="6531" y="2375"/>
                  <a:pt x="6531" y="2343"/>
                </a:cubicBezTo>
                <a:cubicBezTo>
                  <a:pt x="6781" y="2156"/>
                  <a:pt x="7031" y="1906"/>
                  <a:pt x="7312" y="1718"/>
                </a:cubicBezTo>
                <a:cubicBezTo>
                  <a:pt x="7375" y="1656"/>
                  <a:pt x="7437" y="1593"/>
                  <a:pt x="7531" y="1593"/>
                </a:cubicBezTo>
                <a:cubicBezTo>
                  <a:pt x="7562" y="1562"/>
                  <a:pt x="7562" y="1531"/>
                  <a:pt x="7593" y="1531"/>
                </a:cubicBezTo>
                <a:cubicBezTo>
                  <a:pt x="7625" y="1500"/>
                  <a:pt x="7656" y="1500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687" y="1468"/>
                  <a:pt x="7687" y="1468"/>
                  <a:pt x="7687" y="1468"/>
                </a:cubicBezTo>
                <a:cubicBezTo>
                  <a:pt x="7718" y="1437"/>
                  <a:pt x="7718" y="1406"/>
                  <a:pt x="7750" y="1406"/>
                </a:cubicBezTo>
                <a:cubicBezTo>
                  <a:pt x="7781" y="1406"/>
                  <a:pt x="7812" y="1375"/>
                  <a:pt x="7812" y="1375"/>
                </a:cubicBezTo>
                <a:cubicBezTo>
                  <a:pt x="7843" y="1343"/>
                  <a:pt x="7875" y="1312"/>
                  <a:pt x="7937" y="1281"/>
                </a:cubicBezTo>
                <a:cubicBezTo>
                  <a:pt x="7843" y="1281"/>
                  <a:pt x="7781" y="1375"/>
                  <a:pt x="7718" y="1375"/>
                </a:cubicBezTo>
                <a:cubicBezTo>
                  <a:pt x="7687" y="1406"/>
                  <a:pt x="7687" y="1406"/>
                  <a:pt x="7687" y="1437"/>
                </a:cubicBezTo>
                <a:cubicBezTo>
                  <a:pt x="7656" y="1468"/>
                  <a:pt x="7593" y="1468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62" y="1500"/>
                  <a:pt x="7562" y="1500"/>
                  <a:pt x="7562" y="1500"/>
                </a:cubicBezTo>
                <a:cubicBezTo>
                  <a:pt x="7500" y="1531"/>
                  <a:pt x="7468" y="1562"/>
                  <a:pt x="7406" y="1593"/>
                </a:cubicBezTo>
                <a:cubicBezTo>
                  <a:pt x="7375" y="1625"/>
                  <a:pt x="7375" y="1625"/>
                  <a:pt x="7343" y="1625"/>
                </a:cubicBezTo>
                <a:cubicBezTo>
                  <a:pt x="7343" y="1625"/>
                  <a:pt x="7375" y="1593"/>
                  <a:pt x="7375" y="1593"/>
                </a:cubicBezTo>
                <a:cubicBezTo>
                  <a:pt x="7406" y="1562"/>
                  <a:pt x="7437" y="1531"/>
                  <a:pt x="7500" y="1500"/>
                </a:cubicBezTo>
                <a:cubicBezTo>
                  <a:pt x="7500" y="1500"/>
                  <a:pt x="7531" y="1500"/>
                  <a:pt x="7531" y="1468"/>
                </a:cubicBezTo>
                <a:cubicBezTo>
                  <a:pt x="7562" y="1468"/>
                  <a:pt x="7593" y="1437"/>
                  <a:pt x="7593" y="1437"/>
                </a:cubicBezTo>
                <a:cubicBezTo>
                  <a:pt x="7625" y="1406"/>
                  <a:pt x="7656" y="1375"/>
                  <a:pt x="7687" y="1375"/>
                </a:cubicBezTo>
                <a:cubicBezTo>
                  <a:pt x="7718" y="1343"/>
                  <a:pt x="7750" y="1312"/>
                  <a:pt x="7781" y="1312"/>
                </a:cubicBezTo>
                <a:cubicBezTo>
                  <a:pt x="7812" y="1281"/>
                  <a:pt x="7843" y="1281"/>
                  <a:pt x="7875" y="1250"/>
                </a:cubicBezTo>
                <a:cubicBezTo>
                  <a:pt x="7875" y="1250"/>
                  <a:pt x="7937" y="1218"/>
                  <a:pt x="7968" y="1218"/>
                </a:cubicBezTo>
                <a:cubicBezTo>
                  <a:pt x="7968" y="1156"/>
                  <a:pt x="8031" y="1156"/>
                  <a:pt x="8062" y="1125"/>
                </a:cubicBezTo>
                <a:cubicBezTo>
                  <a:pt x="8468" y="906"/>
                  <a:pt x="8875" y="687"/>
                  <a:pt x="9312" y="531"/>
                </a:cubicBezTo>
                <a:cubicBezTo>
                  <a:pt x="9468" y="437"/>
                  <a:pt x="9656" y="375"/>
                  <a:pt x="9812" y="344"/>
                </a:cubicBezTo>
                <a:cubicBezTo>
                  <a:pt x="9843" y="344"/>
                  <a:pt x="9875" y="312"/>
                  <a:pt x="9906" y="312"/>
                </a:cubicBezTo>
                <a:cubicBezTo>
                  <a:pt x="9781" y="312"/>
                  <a:pt x="9687" y="344"/>
                  <a:pt x="9562" y="375"/>
                </a:cubicBezTo>
                <a:cubicBezTo>
                  <a:pt x="9406" y="406"/>
                  <a:pt x="9250" y="469"/>
                  <a:pt x="9093" y="500"/>
                </a:cubicBezTo>
                <a:cubicBezTo>
                  <a:pt x="9093" y="531"/>
                  <a:pt x="9093" y="531"/>
                  <a:pt x="9062" y="531"/>
                </a:cubicBezTo>
                <a:cubicBezTo>
                  <a:pt x="9062" y="531"/>
                  <a:pt x="9062" y="500"/>
                  <a:pt x="9062" y="500"/>
                </a:cubicBezTo>
                <a:cubicBezTo>
                  <a:pt x="9062" y="500"/>
                  <a:pt x="9093" y="500"/>
                  <a:pt x="9093" y="500"/>
                </a:cubicBezTo>
                <a:cubicBezTo>
                  <a:pt x="9125" y="469"/>
                  <a:pt x="9156" y="469"/>
                  <a:pt x="9187" y="437"/>
                </a:cubicBezTo>
                <a:cubicBezTo>
                  <a:pt x="9187" y="437"/>
                  <a:pt x="9218" y="437"/>
                  <a:pt x="9218" y="437"/>
                </a:cubicBezTo>
                <a:cubicBezTo>
                  <a:pt x="9250" y="406"/>
                  <a:pt x="9312" y="406"/>
                  <a:pt x="9343" y="375"/>
                </a:cubicBezTo>
                <a:cubicBezTo>
                  <a:pt x="9406" y="344"/>
                  <a:pt x="9500" y="312"/>
                  <a:pt x="9593" y="312"/>
                </a:cubicBezTo>
                <a:cubicBezTo>
                  <a:pt x="9750" y="250"/>
                  <a:pt x="9937" y="187"/>
                  <a:pt x="10125" y="156"/>
                </a:cubicBezTo>
                <a:cubicBezTo>
                  <a:pt x="10531" y="62"/>
                  <a:pt x="10968" y="0"/>
                  <a:pt x="11406" y="62"/>
                </a:cubicBezTo>
                <a:cubicBezTo>
                  <a:pt x="11687" y="94"/>
                  <a:pt x="11937" y="156"/>
                  <a:pt x="12218" y="250"/>
                </a:cubicBezTo>
                <a:cubicBezTo>
                  <a:pt x="12500" y="344"/>
                  <a:pt x="12750" y="531"/>
                  <a:pt x="12968" y="719"/>
                </a:cubicBezTo>
                <a:cubicBezTo>
                  <a:pt x="13156" y="937"/>
                  <a:pt x="13343" y="1125"/>
                  <a:pt x="13468" y="1375"/>
                </a:cubicBezTo>
                <a:cubicBezTo>
                  <a:pt x="13562" y="1593"/>
                  <a:pt x="13656" y="1843"/>
                  <a:pt x="13750" y="2093"/>
                </a:cubicBezTo>
                <a:cubicBezTo>
                  <a:pt x="13812" y="2375"/>
                  <a:pt x="13875" y="2656"/>
                  <a:pt x="13906" y="2937"/>
                </a:cubicBezTo>
                <a:cubicBezTo>
                  <a:pt x="13968" y="3406"/>
                  <a:pt x="14000" y="3843"/>
                  <a:pt x="13968" y="4281"/>
                </a:cubicBezTo>
                <a:cubicBezTo>
                  <a:pt x="13937" y="4437"/>
                  <a:pt x="13937" y="4625"/>
                  <a:pt x="13937" y="4781"/>
                </a:cubicBezTo>
                <a:cubicBezTo>
                  <a:pt x="13906" y="4968"/>
                  <a:pt x="13875" y="5156"/>
                  <a:pt x="13843" y="5375"/>
                </a:cubicBezTo>
                <a:cubicBezTo>
                  <a:pt x="13812" y="5531"/>
                  <a:pt x="13781" y="5718"/>
                  <a:pt x="13781" y="5906"/>
                </a:cubicBezTo>
                <a:cubicBezTo>
                  <a:pt x="13812" y="5781"/>
                  <a:pt x="13843" y="5656"/>
                  <a:pt x="13843" y="5562"/>
                </a:cubicBezTo>
                <a:cubicBezTo>
                  <a:pt x="13906" y="5281"/>
                  <a:pt x="13937" y="5031"/>
                  <a:pt x="13968" y="4750"/>
                </a:cubicBezTo>
                <a:cubicBezTo>
                  <a:pt x="14000" y="4625"/>
                  <a:pt x="14000" y="4468"/>
                  <a:pt x="14031" y="4312"/>
                </a:cubicBezTo>
                <a:cubicBezTo>
                  <a:pt x="14093" y="4125"/>
                  <a:pt x="14062" y="3906"/>
                  <a:pt x="14062" y="3687"/>
                </a:cubicBezTo>
                <a:cubicBezTo>
                  <a:pt x="14093" y="3343"/>
                  <a:pt x="14062" y="3000"/>
                  <a:pt x="14000" y="2625"/>
                </a:cubicBezTo>
                <a:cubicBezTo>
                  <a:pt x="13937" y="2312"/>
                  <a:pt x="13875" y="1968"/>
                  <a:pt x="13750" y="1656"/>
                </a:cubicBezTo>
                <a:cubicBezTo>
                  <a:pt x="13593" y="1281"/>
                  <a:pt x="13375" y="968"/>
                  <a:pt x="13093" y="687"/>
                </a:cubicBezTo>
                <a:cubicBezTo>
                  <a:pt x="13031" y="625"/>
                  <a:pt x="12968" y="562"/>
                  <a:pt x="12906" y="531"/>
                </a:cubicBezTo>
                <a:cubicBezTo>
                  <a:pt x="12875" y="500"/>
                  <a:pt x="12843" y="437"/>
                  <a:pt x="12781" y="469"/>
                </a:cubicBezTo>
                <a:cubicBezTo>
                  <a:pt x="12750" y="469"/>
                  <a:pt x="12750" y="437"/>
                  <a:pt x="12718" y="406"/>
                </a:cubicBezTo>
                <a:cubicBezTo>
                  <a:pt x="12718" y="406"/>
                  <a:pt x="12718" y="375"/>
                  <a:pt x="12687" y="375"/>
                </a:cubicBezTo>
                <a:cubicBezTo>
                  <a:pt x="12593" y="312"/>
                  <a:pt x="12468" y="250"/>
                  <a:pt x="12312" y="187"/>
                </a:cubicBezTo>
                <a:cubicBezTo>
                  <a:pt x="12250" y="156"/>
                  <a:pt x="12156" y="156"/>
                  <a:pt x="12093" y="94"/>
                </a:cubicBezTo>
                <a:cubicBezTo>
                  <a:pt x="12062" y="94"/>
                  <a:pt x="12062" y="94"/>
                  <a:pt x="12031" y="62"/>
                </a:cubicBezTo>
                <a:cubicBezTo>
                  <a:pt x="12062" y="62"/>
                  <a:pt x="12062" y="62"/>
                  <a:pt x="12093" y="94"/>
                </a:cubicBezTo>
                <a:cubicBezTo>
                  <a:pt x="12156" y="62"/>
                  <a:pt x="12187" y="94"/>
                  <a:pt x="12250" y="125"/>
                </a:cubicBezTo>
                <a:cubicBezTo>
                  <a:pt x="12250" y="125"/>
                  <a:pt x="12281" y="125"/>
                  <a:pt x="12281" y="125"/>
                </a:cubicBezTo>
                <a:cubicBezTo>
                  <a:pt x="12312" y="125"/>
                  <a:pt x="12375" y="187"/>
                  <a:pt x="12343" y="94"/>
                </a:cubicBezTo>
                <a:cubicBezTo>
                  <a:pt x="12343" y="62"/>
                  <a:pt x="12375" y="94"/>
                  <a:pt x="12406" y="94"/>
                </a:cubicBezTo>
                <a:cubicBezTo>
                  <a:pt x="12406" y="62"/>
                  <a:pt x="12437" y="62"/>
                  <a:pt x="12437" y="94"/>
                </a:cubicBezTo>
                <a:cubicBezTo>
                  <a:pt x="12437" y="94"/>
                  <a:pt x="12468" y="94"/>
                  <a:pt x="12468" y="94"/>
                </a:cubicBezTo>
                <a:cubicBezTo>
                  <a:pt x="12468" y="94"/>
                  <a:pt x="12468" y="94"/>
                  <a:pt x="12500" y="94"/>
                </a:cubicBezTo>
                <a:cubicBezTo>
                  <a:pt x="12500" y="94"/>
                  <a:pt x="12500" y="94"/>
                  <a:pt x="12500" y="94"/>
                </a:cubicBezTo>
                <a:cubicBezTo>
                  <a:pt x="12562" y="125"/>
                  <a:pt x="12625" y="187"/>
                  <a:pt x="12687" y="94"/>
                </a:cubicBezTo>
                <a:cubicBezTo>
                  <a:pt x="12718" y="94"/>
                  <a:pt x="12718" y="94"/>
                  <a:pt x="12750" y="125"/>
                </a:cubicBezTo>
                <a:cubicBezTo>
                  <a:pt x="13062" y="281"/>
                  <a:pt x="13343" y="469"/>
                  <a:pt x="13562" y="750"/>
                </a:cubicBezTo>
                <a:cubicBezTo>
                  <a:pt x="13687" y="906"/>
                  <a:pt x="13843" y="1093"/>
                  <a:pt x="13937" y="1281"/>
                </a:cubicBezTo>
                <a:cubicBezTo>
                  <a:pt x="13937" y="1281"/>
                  <a:pt x="13937" y="1312"/>
                  <a:pt x="13968" y="1312"/>
                </a:cubicBezTo>
                <a:cubicBezTo>
                  <a:pt x="14093" y="1312"/>
                  <a:pt x="14062" y="1437"/>
                  <a:pt x="14093" y="1500"/>
                </a:cubicBezTo>
                <a:cubicBezTo>
                  <a:pt x="14125" y="1531"/>
                  <a:pt x="14156" y="1593"/>
                  <a:pt x="14156" y="1656"/>
                </a:cubicBezTo>
                <a:cubicBezTo>
                  <a:pt x="14187" y="1656"/>
                  <a:pt x="14187" y="1687"/>
                  <a:pt x="14187" y="1687"/>
                </a:cubicBezTo>
                <a:cubicBezTo>
                  <a:pt x="14218" y="1687"/>
                  <a:pt x="14218" y="1656"/>
                  <a:pt x="14218" y="1656"/>
                </a:cubicBezTo>
                <a:cubicBezTo>
                  <a:pt x="14218" y="1625"/>
                  <a:pt x="14187" y="1593"/>
                  <a:pt x="14218" y="1531"/>
                </a:cubicBezTo>
                <a:cubicBezTo>
                  <a:pt x="14406" y="2031"/>
                  <a:pt x="14531" y="2500"/>
                  <a:pt x="14562" y="3031"/>
                </a:cubicBezTo>
                <a:cubicBezTo>
                  <a:pt x="14531" y="3000"/>
                  <a:pt x="14531" y="2968"/>
                  <a:pt x="14531" y="2937"/>
                </a:cubicBezTo>
                <a:cubicBezTo>
                  <a:pt x="14531" y="2937"/>
                  <a:pt x="14531" y="2906"/>
                  <a:pt x="14531" y="2875"/>
                </a:cubicBezTo>
                <a:cubicBezTo>
                  <a:pt x="14531" y="2906"/>
                  <a:pt x="14531" y="2937"/>
                  <a:pt x="14500" y="2968"/>
                </a:cubicBezTo>
                <a:cubicBezTo>
                  <a:pt x="14500" y="3000"/>
                  <a:pt x="14531" y="3031"/>
                  <a:pt x="14468" y="3062"/>
                </a:cubicBezTo>
                <a:cubicBezTo>
                  <a:pt x="14468" y="3000"/>
                  <a:pt x="14468" y="2968"/>
                  <a:pt x="14468" y="2906"/>
                </a:cubicBezTo>
                <a:cubicBezTo>
                  <a:pt x="14437" y="2875"/>
                  <a:pt x="14468" y="2843"/>
                  <a:pt x="14406" y="2781"/>
                </a:cubicBezTo>
                <a:cubicBezTo>
                  <a:pt x="14437" y="3062"/>
                  <a:pt x="14437" y="3343"/>
                  <a:pt x="14531" y="3593"/>
                </a:cubicBezTo>
                <a:cubicBezTo>
                  <a:pt x="14531" y="3531"/>
                  <a:pt x="14531" y="3437"/>
                  <a:pt x="14531" y="3375"/>
                </a:cubicBezTo>
                <a:cubicBezTo>
                  <a:pt x="14531" y="3375"/>
                  <a:pt x="14531" y="3375"/>
                  <a:pt x="14562" y="3375"/>
                </a:cubicBezTo>
                <a:cubicBezTo>
                  <a:pt x="14593" y="3718"/>
                  <a:pt x="14593" y="4093"/>
                  <a:pt x="14625" y="4437"/>
                </a:cubicBezTo>
                <a:cubicBezTo>
                  <a:pt x="14625" y="4187"/>
                  <a:pt x="14625" y="3937"/>
                  <a:pt x="14625" y="3687"/>
                </a:cubicBezTo>
                <a:cubicBezTo>
                  <a:pt x="14656" y="3718"/>
                  <a:pt x="14625" y="3750"/>
                  <a:pt x="14625" y="3781"/>
                </a:cubicBezTo>
                <a:cubicBezTo>
                  <a:pt x="14656" y="4156"/>
                  <a:pt x="14625" y="4500"/>
                  <a:pt x="14625" y="4843"/>
                </a:cubicBezTo>
                <a:cubicBezTo>
                  <a:pt x="14593" y="5125"/>
                  <a:pt x="14562" y="5375"/>
                  <a:pt x="14531" y="5625"/>
                </a:cubicBezTo>
                <a:cubicBezTo>
                  <a:pt x="14500" y="5781"/>
                  <a:pt x="14468" y="5937"/>
                  <a:pt x="14468" y="6093"/>
                </a:cubicBezTo>
                <a:cubicBezTo>
                  <a:pt x="14468" y="6187"/>
                  <a:pt x="14437" y="6187"/>
                  <a:pt x="14343" y="6156"/>
                </a:cubicBezTo>
                <a:cubicBezTo>
                  <a:pt x="14218" y="6093"/>
                  <a:pt x="14093" y="6000"/>
                  <a:pt x="13937" y="6062"/>
                </a:cubicBezTo>
                <a:cubicBezTo>
                  <a:pt x="13906" y="6062"/>
                  <a:pt x="13875" y="6093"/>
                  <a:pt x="13843" y="6125"/>
                </a:cubicBezTo>
                <a:cubicBezTo>
                  <a:pt x="13937" y="6156"/>
                  <a:pt x="14031" y="6125"/>
                  <a:pt x="14125" y="6125"/>
                </a:cubicBezTo>
                <a:cubicBezTo>
                  <a:pt x="14093" y="6156"/>
                  <a:pt x="14031" y="6156"/>
                  <a:pt x="14000" y="6156"/>
                </a:cubicBezTo>
                <a:cubicBezTo>
                  <a:pt x="14031" y="6218"/>
                  <a:pt x="14062" y="6187"/>
                  <a:pt x="14093" y="6187"/>
                </a:cubicBezTo>
                <a:cubicBezTo>
                  <a:pt x="14062" y="6218"/>
                  <a:pt x="14000" y="6218"/>
                  <a:pt x="14000" y="6281"/>
                </a:cubicBezTo>
                <a:cubicBezTo>
                  <a:pt x="14156" y="6218"/>
                  <a:pt x="14343" y="6250"/>
                  <a:pt x="14531" y="6281"/>
                </a:cubicBezTo>
                <a:cubicBezTo>
                  <a:pt x="14625" y="6312"/>
                  <a:pt x="14687" y="6375"/>
                  <a:pt x="14781" y="6437"/>
                </a:cubicBezTo>
                <a:cubicBezTo>
                  <a:pt x="14718" y="6406"/>
                  <a:pt x="14687" y="6375"/>
                  <a:pt x="14625" y="6375"/>
                </a:cubicBezTo>
                <a:cubicBezTo>
                  <a:pt x="14625" y="6375"/>
                  <a:pt x="14593" y="6375"/>
                  <a:pt x="14593" y="6406"/>
                </a:cubicBezTo>
                <a:cubicBezTo>
                  <a:pt x="14593" y="6406"/>
                  <a:pt x="14625" y="6406"/>
                  <a:pt x="14625" y="6437"/>
                </a:cubicBezTo>
                <a:cubicBezTo>
                  <a:pt x="14531" y="6468"/>
                  <a:pt x="14406" y="6500"/>
                  <a:pt x="14312" y="6531"/>
                </a:cubicBezTo>
                <a:cubicBezTo>
                  <a:pt x="14406" y="6531"/>
                  <a:pt x="14500" y="6500"/>
                  <a:pt x="14562" y="6562"/>
                </a:cubicBezTo>
                <a:cubicBezTo>
                  <a:pt x="14718" y="6656"/>
                  <a:pt x="14906" y="6593"/>
                  <a:pt x="15062" y="6687"/>
                </a:cubicBezTo>
                <a:cubicBezTo>
                  <a:pt x="15062" y="6687"/>
                  <a:pt x="15093" y="6687"/>
                  <a:pt x="15093" y="6718"/>
                </a:cubicBezTo>
                <a:cubicBezTo>
                  <a:pt x="15187" y="6750"/>
                  <a:pt x="15250" y="6843"/>
                  <a:pt x="15312" y="6937"/>
                </a:cubicBezTo>
                <a:cubicBezTo>
                  <a:pt x="15312" y="6937"/>
                  <a:pt x="16500" y="6031"/>
                  <a:pt x="18406" y="5656"/>
                </a:cubicBezTo>
                <a:cubicBezTo>
                  <a:pt x="18406" y="5656"/>
                  <a:pt x="18406" y="5656"/>
                  <a:pt x="18406" y="5656"/>
                </a:cubicBezTo>
                <a:cubicBezTo>
                  <a:pt x="18656" y="5593"/>
                  <a:pt x="18906" y="5562"/>
                  <a:pt x="19156" y="5531"/>
                </a:cubicBezTo>
                <a:cubicBezTo>
                  <a:pt x="19406" y="5531"/>
                  <a:pt x="19656" y="5531"/>
                  <a:pt x="19906" y="5531"/>
                </a:cubicBezTo>
                <a:cubicBezTo>
                  <a:pt x="20187" y="5562"/>
                  <a:pt x="20468" y="5625"/>
                  <a:pt x="20718" y="5718"/>
                </a:cubicBezTo>
                <a:cubicBezTo>
                  <a:pt x="20875" y="5750"/>
                  <a:pt x="21000" y="5812"/>
                  <a:pt x="21156" y="5875"/>
                </a:cubicBezTo>
                <a:cubicBezTo>
                  <a:pt x="21156" y="5906"/>
                  <a:pt x="21187" y="5906"/>
                  <a:pt x="21187" y="5906"/>
                </a:cubicBezTo>
                <a:cubicBezTo>
                  <a:pt x="21187" y="5906"/>
                  <a:pt x="21187" y="5906"/>
                  <a:pt x="21187" y="5906"/>
                </a:cubicBezTo>
                <a:cubicBezTo>
                  <a:pt x="21187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18" y="5937"/>
                  <a:pt x="21218" y="5937"/>
                </a:cubicBezTo>
                <a:cubicBezTo>
                  <a:pt x="21218" y="5937"/>
                  <a:pt x="21250" y="5968"/>
                  <a:pt x="21250" y="5968"/>
                </a:cubicBezTo>
                <a:cubicBezTo>
                  <a:pt x="21250" y="5968"/>
                  <a:pt x="21281" y="5968"/>
                  <a:pt x="21281" y="5968"/>
                </a:cubicBezTo>
                <a:cubicBezTo>
                  <a:pt x="21281" y="6000"/>
                  <a:pt x="21281" y="6000"/>
                  <a:pt x="21312" y="6000"/>
                </a:cubicBezTo>
                <a:cubicBezTo>
                  <a:pt x="21312" y="6000"/>
                  <a:pt x="21312" y="6000"/>
                  <a:pt x="21312" y="6031"/>
                </a:cubicBezTo>
                <a:cubicBezTo>
                  <a:pt x="21562" y="6218"/>
                  <a:pt x="21656" y="6468"/>
                  <a:pt x="21718" y="6781"/>
                </a:cubicBezTo>
                <a:cubicBezTo>
                  <a:pt x="21718" y="6843"/>
                  <a:pt x="21687" y="6875"/>
                  <a:pt x="21687" y="6937"/>
                </a:cubicBezTo>
                <a:cubicBezTo>
                  <a:pt x="21687" y="6968"/>
                  <a:pt x="21687" y="6968"/>
                  <a:pt x="21656" y="6968"/>
                </a:cubicBezTo>
                <a:cubicBezTo>
                  <a:pt x="21500" y="7000"/>
                  <a:pt x="21343" y="7062"/>
                  <a:pt x="21187" y="6968"/>
                </a:cubicBezTo>
                <a:cubicBezTo>
                  <a:pt x="21187" y="6968"/>
                  <a:pt x="21187" y="6968"/>
                  <a:pt x="21187" y="6937"/>
                </a:cubicBezTo>
                <a:cubicBezTo>
                  <a:pt x="21093" y="6812"/>
                  <a:pt x="21000" y="6906"/>
                  <a:pt x="20875" y="6937"/>
                </a:cubicBezTo>
                <a:cubicBezTo>
                  <a:pt x="20750" y="6968"/>
                  <a:pt x="20625" y="7031"/>
                  <a:pt x="20500" y="7093"/>
                </a:cubicBezTo>
                <a:cubicBezTo>
                  <a:pt x="20500" y="7125"/>
                  <a:pt x="20468" y="7093"/>
                  <a:pt x="20437" y="7093"/>
                </a:cubicBezTo>
                <a:cubicBezTo>
                  <a:pt x="20500" y="7062"/>
                  <a:pt x="20500" y="7000"/>
                  <a:pt x="20562" y="6968"/>
                </a:cubicBezTo>
                <a:cubicBezTo>
                  <a:pt x="20593" y="6968"/>
                  <a:pt x="20593" y="6937"/>
                  <a:pt x="20593" y="6906"/>
                </a:cubicBezTo>
                <a:cubicBezTo>
                  <a:pt x="20562" y="6875"/>
                  <a:pt x="20562" y="6875"/>
                  <a:pt x="20562" y="6875"/>
                </a:cubicBezTo>
                <a:cubicBezTo>
                  <a:pt x="20531" y="6843"/>
                  <a:pt x="20531" y="6875"/>
                  <a:pt x="20531" y="6875"/>
                </a:cubicBezTo>
                <a:cubicBezTo>
                  <a:pt x="20500" y="7031"/>
                  <a:pt x="20437" y="6937"/>
                  <a:pt x="20406" y="6875"/>
                </a:cubicBezTo>
                <a:cubicBezTo>
                  <a:pt x="20343" y="6937"/>
                  <a:pt x="20312" y="7000"/>
                  <a:pt x="20250" y="7062"/>
                </a:cubicBezTo>
                <a:cubicBezTo>
                  <a:pt x="20281" y="7062"/>
                  <a:pt x="20312" y="7062"/>
                  <a:pt x="20343" y="7062"/>
                </a:cubicBezTo>
                <a:cubicBezTo>
                  <a:pt x="20375" y="7062"/>
                  <a:pt x="20406" y="7093"/>
                  <a:pt x="20406" y="7125"/>
                </a:cubicBezTo>
                <a:cubicBezTo>
                  <a:pt x="20406" y="7156"/>
                  <a:pt x="20375" y="7156"/>
                  <a:pt x="20343" y="7156"/>
                </a:cubicBezTo>
                <a:cubicBezTo>
                  <a:pt x="20218" y="7125"/>
                  <a:pt x="20093" y="7062"/>
                  <a:pt x="20031" y="6968"/>
                </a:cubicBezTo>
                <a:cubicBezTo>
                  <a:pt x="19937" y="6843"/>
                  <a:pt x="19937" y="6843"/>
                  <a:pt x="19812" y="6906"/>
                </a:cubicBezTo>
                <a:cubicBezTo>
                  <a:pt x="19718" y="6968"/>
                  <a:pt x="19625" y="6968"/>
                  <a:pt x="19531" y="6968"/>
                </a:cubicBezTo>
                <a:cubicBezTo>
                  <a:pt x="19437" y="6968"/>
                  <a:pt x="19437" y="7000"/>
                  <a:pt x="19437" y="7093"/>
                </a:cubicBezTo>
                <a:cubicBezTo>
                  <a:pt x="19437" y="7093"/>
                  <a:pt x="19437" y="7125"/>
                  <a:pt x="19406" y="7125"/>
                </a:cubicBezTo>
                <a:cubicBezTo>
                  <a:pt x="19375" y="7125"/>
                  <a:pt x="19375" y="7125"/>
                  <a:pt x="19343" y="7093"/>
                </a:cubicBezTo>
                <a:cubicBezTo>
                  <a:pt x="19312" y="7062"/>
                  <a:pt x="19281" y="7000"/>
                  <a:pt x="19250" y="6937"/>
                </a:cubicBezTo>
                <a:cubicBezTo>
                  <a:pt x="19218" y="6875"/>
                  <a:pt x="19125" y="6875"/>
                  <a:pt x="19062" y="6875"/>
                </a:cubicBezTo>
                <a:cubicBezTo>
                  <a:pt x="18937" y="6875"/>
                  <a:pt x="18812" y="6812"/>
                  <a:pt x="18718" y="6750"/>
                </a:cubicBezTo>
                <a:cubicBezTo>
                  <a:pt x="18687" y="6750"/>
                  <a:pt x="18656" y="6750"/>
                  <a:pt x="18625" y="6781"/>
                </a:cubicBezTo>
                <a:cubicBezTo>
                  <a:pt x="18500" y="6875"/>
                  <a:pt x="18437" y="7000"/>
                  <a:pt x="18312" y="7062"/>
                </a:cubicBezTo>
                <a:cubicBezTo>
                  <a:pt x="18250" y="7093"/>
                  <a:pt x="18187" y="7187"/>
                  <a:pt x="18093" y="7218"/>
                </a:cubicBezTo>
                <a:cubicBezTo>
                  <a:pt x="17906" y="7281"/>
                  <a:pt x="17687" y="7312"/>
                  <a:pt x="17468" y="7312"/>
                </a:cubicBezTo>
                <a:cubicBezTo>
                  <a:pt x="17312" y="7281"/>
                  <a:pt x="17156" y="7343"/>
                  <a:pt x="17000" y="7406"/>
                </a:cubicBezTo>
                <a:cubicBezTo>
                  <a:pt x="16593" y="7531"/>
                  <a:pt x="16281" y="7750"/>
                  <a:pt x="15906" y="7968"/>
                </a:cubicBezTo>
                <a:cubicBezTo>
                  <a:pt x="15531" y="8218"/>
                  <a:pt x="15187" y="8500"/>
                  <a:pt x="14843" y="8781"/>
                </a:cubicBezTo>
                <a:cubicBezTo>
                  <a:pt x="14750" y="8843"/>
                  <a:pt x="14656" y="8937"/>
                  <a:pt x="14562" y="9000"/>
                </a:cubicBezTo>
                <a:cubicBezTo>
                  <a:pt x="14562" y="9000"/>
                  <a:pt x="14531" y="9031"/>
                  <a:pt x="14562" y="9031"/>
                </a:cubicBezTo>
                <a:cubicBezTo>
                  <a:pt x="14562" y="9031"/>
                  <a:pt x="14593" y="9031"/>
                  <a:pt x="14593" y="9031"/>
                </a:cubicBezTo>
                <a:cubicBezTo>
                  <a:pt x="14593" y="9031"/>
                  <a:pt x="14593" y="9031"/>
                  <a:pt x="14593" y="9031"/>
                </a:cubicBezTo>
                <a:cubicBezTo>
                  <a:pt x="14625" y="9031"/>
                  <a:pt x="14656" y="9000"/>
                  <a:pt x="14687" y="8968"/>
                </a:cubicBezTo>
                <a:cubicBezTo>
                  <a:pt x="14718" y="8968"/>
                  <a:pt x="14718" y="8937"/>
                  <a:pt x="14718" y="8937"/>
                </a:cubicBezTo>
                <a:cubicBezTo>
                  <a:pt x="14875" y="8812"/>
                  <a:pt x="15031" y="8687"/>
                  <a:pt x="15187" y="8562"/>
                </a:cubicBezTo>
                <a:cubicBezTo>
                  <a:pt x="15187" y="8531"/>
                  <a:pt x="15218" y="8500"/>
                  <a:pt x="15250" y="8500"/>
                </a:cubicBezTo>
                <a:cubicBezTo>
                  <a:pt x="15250" y="8468"/>
                  <a:pt x="15281" y="8468"/>
                  <a:pt x="15281" y="8468"/>
                </a:cubicBezTo>
                <a:cubicBezTo>
                  <a:pt x="15281" y="8468"/>
                  <a:pt x="15312" y="8437"/>
                  <a:pt x="15312" y="8468"/>
                </a:cubicBezTo>
                <a:cubicBezTo>
                  <a:pt x="15406" y="8375"/>
                  <a:pt x="15531" y="8312"/>
                  <a:pt x="15625" y="8218"/>
                </a:cubicBezTo>
                <a:cubicBezTo>
                  <a:pt x="15687" y="8156"/>
                  <a:pt x="15750" y="8125"/>
                  <a:pt x="15843" y="8062"/>
                </a:cubicBezTo>
                <a:cubicBezTo>
                  <a:pt x="15843" y="8156"/>
                  <a:pt x="15875" y="8156"/>
                  <a:pt x="15937" y="8156"/>
                </a:cubicBezTo>
                <a:cubicBezTo>
                  <a:pt x="15968" y="8156"/>
                  <a:pt x="16000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31" y="8156"/>
                  <a:pt x="16031" y="8156"/>
                  <a:pt x="16031" y="8156"/>
                </a:cubicBezTo>
                <a:cubicBezTo>
                  <a:pt x="16093" y="8187"/>
                  <a:pt x="16156" y="8187"/>
                  <a:pt x="16187" y="8250"/>
                </a:cubicBezTo>
                <a:cubicBezTo>
                  <a:pt x="16187" y="8250"/>
                  <a:pt x="16187" y="8250"/>
                  <a:pt x="16187" y="8250"/>
                </a:cubicBezTo>
                <a:cubicBezTo>
                  <a:pt x="16218" y="8281"/>
                  <a:pt x="16250" y="8312"/>
                  <a:pt x="16250" y="8281"/>
                </a:cubicBezTo>
                <a:cubicBezTo>
                  <a:pt x="16281" y="8250"/>
                  <a:pt x="16312" y="8250"/>
                  <a:pt x="16312" y="8187"/>
                </a:cubicBezTo>
                <a:cubicBezTo>
                  <a:pt x="16281" y="8156"/>
                  <a:pt x="16218" y="8125"/>
                  <a:pt x="16156" y="8093"/>
                </a:cubicBezTo>
                <a:cubicBezTo>
                  <a:pt x="16125" y="8062"/>
                  <a:pt x="16093" y="8062"/>
                  <a:pt x="16093" y="8062"/>
                </a:cubicBezTo>
                <a:cubicBezTo>
                  <a:pt x="16062" y="8062"/>
                  <a:pt x="16031" y="8062"/>
                  <a:pt x="16031" y="8093"/>
                </a:cubicBezTo>
                <a:lnTo>
                  <a:pt x="16031" y="8093"/>
                </a:lnTo>
                <a:cubicBezTo>
                  <a:pt x="16031" y="8093"/>
                  <a:pt x="16062" y="8125"/>
                  <a:pt x="16093" y="8093"/>
                </a:cubicBezTo>
                <a:cubicBezTo>
                  <a:pt x="16125" y="8093"/>
                  <a:pt x="16156" y="8093"/>
                  <a:pt x="16156" y="8093"/>
                </a:cubicBezTo>
                <a:cubicBezTo>
                  <a:pt x="16218" y="8093"/>
                  <a:pt x="16281" y="8093"/>
                  <a:pt x="16312" y="8156"/>
                </a:cubicBezTo>
                <a:cubicBezTo>
                  <a:pt x="16406" y="8218"/>
                  <a:pt x="16437" y="8312"/>
                  <a:pt x="16437" y="8406"/>
                </a:cubicBezTo>
                <a:cubicBezTo>
                  <a:pt x="16437" y="8625"/>
                  <a:pt x="16375" y="8812"/>
                  <a:pt x="16343" y="8968"/>
                </a:cubicBezTo>
                <a:cubicBezTo>
                  <a:pt x="16343" y="9031"/>
                  <a:pt x="16312" y="9093"/>
                  <a:pt x="16312" y="9156"/>
                </a:cubicBezTo>
                <a:cubicBezTo>
                  <a:pt x="16250" y="9312"/>
                  <a:pt x="16187" y="9500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125" y="9656"/>
                  <a:pt x="16125" y="9656"/>
                  <a:pt x="16125" y="9656"/>
                </a:cubicBezTo>
                <a:cubicBezTo>
                  <a:pt x="16093" y="9718"/>
                  <a:pt x="16062" y="9781"/>
                  <a:pt x="16062" y="9843"/>
                </a:cubicBezTo>
                <a:cubicBezTo>
                  <a:pt x="16031" y="9843"/>
                  <a:pt x="16000" y="9875"/>
                  <a:pt x="16031" y="9906"/>
                </a:cubicBezTo>
                <a:cubicBezTo>
                  <a:pt x="16062" y="9906"/>
                  <a:pt x="16093" y="9875"/>
                  <a:pt x="16093" y="9875"/>
                </a:cubicBezTo>
                <a:cubicBezTo>
                  <a:pt x="16250" y="9750"/>
                  <a:pt x="16375" y="9625"/>
                  <a:pt x="16531" y="9531"/>
                </a:cubicBezTo>
                <a:cubicBezTo>
                  <a:pt x="16750" y="9343"/>
                  <a:pt x="16968" y="9187"/>
                  <a:pt x="17218" y="9093"/>
                </a:cubicBezTo>
                <a:cubicBezTo>
                  <a:pt x="17281" y="9062"/>
                  <a:pt x="17343" y="9062"/>
                  <a:pt x="17406" y="9062"/>
                </a:cubicBezTo>
                <a:cubicBezTo>
                  <a:pt x="17500" y="9093"/>
                  <a:pt x="17500" y="9218"/>
                  <a:pt x="17531" y="9281"/>
                </a:cubicBezTo>
                <a:cubicBezTo>
                  <a:pt x="17531" y="9375"/>
                  <a:pt x="17500" y="9500"/>
                  <a:pt x="17531" y="9593"/>
                </a:cubicBezTo>
                <a:cubicBezTo>
                  <a:pt x="17625" y="9781"/>
                  <a:pt x="17531" y="9843"/>
                  <a:pt x="17375" y="9937"/>
                </a:cubicBezTo>
                <a:cubicBezTo>
                  <a:pt x="17281" y="9968"/>
                  <a:pt x="17156" y="10031"/>
                  <a:pt x="17062" y="10093"/>
                </a:cubicBezTo>
                <a:cubicBezTo>
                  <a:pt x="16906" y="10187"/>
                  <a:pt x="16750" y="10281"/>
                  <a:pt x="16593" y="10375"/>
                </a:cubicBezTo>
                <a:cubicBezTo>
                  <a:pt x="16593" y="10375"/>
                  <a:pt x="16593" y="10375"/>
                  <a:pt x="16593" y="10375"/>
                </a:cubicBezTo>
                <a:cubicBezTo>
                  <a:pt x="16593" y="10375"/>
                  <a:pt x="16593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375"/>
                  <a:pt x="16562" y="10375"/>
                  <a:pt x="16562" y="10375"/>
                </a:cubicBezTo>
                <a:cubicBezTo>
                  <a:pt x="16562" y="10406"/>
                  <a:pt x="16531" y="10437"/>
                  <a:pt x="16500" y="10437"/>
                </a:cubicBezTo>
                <a:cubicBezTo>
                  <a:pt x="16468" y="10468"/>
                  <a:pt x="16468" y="10468"/>
                  <a:pt x="16437" y="10500"/>
                </a:cubicBezTo>
                <a:cubicBezTo>
                  <a:pt x="16406" y="10500"/>
                  <a:pt x="16375" y="10531"/>
                  <a:pt x="16375" y="10531"/>
                </a:cubicBezTo>
                <a:cubicBezTo>
                  <a:pt x="16343" y="10531"/>
                  <a:pt x="16312" y="10562"/>
                  <a:pt x="16312" y="10562"/>
                </a:cubicBezTo>
                <a:cubicBezTo>
                  <a:pt x="16312" y="10562"/>
                  <a:pt x="16281" y="10593"/>
                  <a:pt x="16281" y="10593"/>
                </a:cubicBezTo>
                <a:cubicBezTo>
                  <a:pt x="16250" y="10593"/>
                  <a:pt x="16218" y="10625"/>
                  <a:pt x="16187" y="10656"/>
                </a:cubicBezTo>
                <a:cubicBezTo>
                  <a:pt x="16187" y="10656"/>
                  <a:pt x="16187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18" y="10687"/>
                  <a:pt x="16218" y="10687"/>
                  <a:pt x="16218" y="10687"/>
                </a:cubicBezTo>
                <a:cubicBezTo>
                  <a:pt x="16250" y="10656"/>
                  <a:pt x="16281" y="10656"/>
                  <a:pt x="16312" y="10625"/>
                </a:cubicBezTo>
                <a:cubicBezTo>
                  <a:pt x="16406" y="10562"/>
                  <a:pt x="16500" y="10500"/>
                  <a:pt x="16625" y="10437"/>
                </a:cubicBezTo>
                <a:cubicBezTo>
                  <a:pt x="16937" y="10250"/>
                  <a:pt x="17250" y="10031"/>
                  <a:pt x="17593" y="9875"/>
                </a:cubicBezTo>
                <a:cubicBezTo>
                  <a:pt x="17812" y="9781"/>
                  <a:pt x="18000" y="9656"/>
                  <a:pt x="18187" y="9562"/>
                </a:cubicBezTo>
                <a:cubicBezTo>
                  <a:pt x="18343" y="9500"/>
                  <a:pt x="18500" y="9437"/>
                  <a:pt x="18625" y="9343"/>
                </a:cubicBezTo>
                <a:cubicBezTo>
                  <a:pt x="18812" y="9281"/>
                  <a:pt x="18968" y="9218"/>
                  <a:pt x="19125" y="9125"/>
                </a:cubicBezTo>
                <a:cubicBezTo>
                  <a:pt x="19281" y="9062"/>
                  <a:pt x="19468" y="9000"/>
                  <a:pt x="19625" y="8937"/>
                </a:cubicBezTo>
                <a:cubicBezTo>
                  <a:pt x="19781" y="8875"/>
                  <a:pt x="19906" y="8812"/>
                  <a:pt x="20031" y="8750"/>
                </a:cubicBezTo>
                <a:cubicBezTo>
                  <a:pt x="20062" y="8750"/>
                  <a:pt x="20093" y="8718"/>
                  <a:pt x="20125" y="8750"/>
                </a:cubicBezTo>
                <a:cubicBezTo>
                  <a:pt x="20125" y="8781"/>
                  <a:pt x="20125" y="8812"/>
                  <a:pt x="20125" y="8843"/>
                </a:cubicBezTo>
                <a:cubicBezTo>
                  <a:pt x="20093" y="8843"/>
                  <a:pt x="20093" y="8843"/>
                  <a:pt x="20062" y="8843"/>
                </a:cubicBezTo>
                <a:cubicBezTo>
                  <a:pt x="20031" y="8843"/>
                  <a:pt x="20000" y="8843"/>
                  <a:pt x="20000" y="8875"/>
                </a:cubicBezTo>
                <a:cubicBezTo>
                  <a:pt x="20031" y="8937"/>
                  <a:pt x="19968" y="8937"/>
                  <a:pt x="19906" y="8968"/>
                </a:cubicBezTo>
                <a:cubicBezTo>
                  <a:pt x="19625" y="9062"/>
                  <a:pt x="19343" y="9156"/>
                  <a:pt x="19062" y="9312"/>
                </a:cubicBezTo>
                <a:cubicBezTo>
                  <a:pt x="19031" y="9343"/>
                  <a:pt x="19000" y="9343"/>
                  <a:pt x="19000" y="9343"/>
                </a:cubicBezTo>
                <a:cubicBezTo>
                  <a:pt x="18937" y="9343"/>
                  <a:pt x="18906" y="9375"/>
                  <a:pt x="18906" y="9437"/>
                </a:cubicBezTo>
                <a:cubicBezTo>
                  <a:pt x="19000" y="9406"/>
                  <a:pt x="19093" y="9375"/>
                  <a:pt x="19187" y="9312"/>
                </a:cubicBezTo>
                <a:cubicBezTo>
                  <a:pt x="19250" y="9281"/>
                  <a:pt x="19312" y="9281"/>
                  <a:pt x="19375" y="9218"/>
                </a:cubicBezTo>
                <a:cubicBezTo>
                  <a:pt x="19406" y="9218"/>
                  <a:pt x="19437" y="9218"/>
                  <a:pt x="19468" y="9218"/>
                </a:cubicBezTo>
                <a:cubicBezTo>
                  <a:pt x="19468" y="9218"/>
                  <a:pt x="19468" y="9187"/>
                  <a:pt x="19500" y="9187"/>
                </a:cubicBezTo>
                <a:cubicBezTo>
                  <a:pt x="19500" y="9156"/>
                  <a:pt x="19531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87"/>
                  <a:pt x="19562" y="9187"/>
                  <a:pt x="19562" y="9187"/>
                </a:cubicBezTo>
                <a:cubicBezTo>
                  <a:pt x="19562" y="9156"/>
                  <a:pt x="19593" y="9125"/>
                  <a:pt x="19593" y="9125"/>
                </a:cubicBezTo>
                <a:cubicBezTo>
                  <a:pt x="19750" y="9093"/>
                  <a:pt x="19875" y="9000"/>
                  <a:pt x="20031" y="8968"/>
                </a:cubicBezTo>
                <a:cubicBezTo>
                  <a:pt x="20093" y="8937"/>
                  <a:pt x="20156" y="8937"/>
                  <a:pt x="20218" y="8906"/>
                </a:cubicBezTo>
                <a:cubicBezTo>
                  <a:pt x="20218" y="8875"/>
                  <a:pt x="20250" y="8875"/>
                  <a:pt x="20250" y="8843"/>
                </a:cubicBezTo>
                <a:cubicBezTo>
                  <a:pt x="20187" y="8718"/>
                  <a:pt x="20218" y="8625"/>
                  <a:pt x="20406" y="8656"/>
                </a:cubicBezTo>
                <a:cubicBezTo>
                  <a:pt x="20531" y="8656"/>
                  <a:pt x="20625" y="8593"/>
                  <a:pt x="20718" y="8593"/>
                </a:cubicBezTo>
                <a:cubicBezTo>
                  <a:pt x="20812" y="8562"/>
                  <a:pt x="20906" y="8531"/>
                  <a:pt x="21000" y="8500"/>
                </a:cubicBezTo>
                <a:cubicBezTo>
                  <a:pt x="21000" y="8500"/>
                  <a:pt x="20968" y="8500"/>
                  <a:pt x="20968" y="8500"/>
                </a:cubicBezTo>
                <a:cubicBezTo>
                  <a:pt x="20968" y="8500"/>
                  <a:pt x="20968" y="8500"/>
                  <a:pt x="20968" y="8468"/>
                </a:cubicBezTo>
                <a:cubicBezTo>
                  <a:pt x="20968" y="8468"/>
                  <a:pt x="20968" y="8468"/>
                  <a:pt x="21000" y="8468"/>
                </a:cubicBezTo>
                <a:cubicBezTo>
                  <a:pt x="21000" y="8468"/>
                  <a:pt x="21000" y="8500"/>
                  <a:pt x="21000" y="8500"/>
                </a:cubicBezTo>
                <a:cubicBezTo>
                  <a:pt x="21000" y="8500"/>
                  <a:pt x="21000" y="8500"/>
                  <a:pt x="21000" y="8500"/>
                </a:cubicBezTo>
                <a:cubicBezTo>
                  <a:pt x="21031" y="8468"/>
                  <a:pt x="21062" y="8500"/>
                  <a:pt x="21093" y="8500"/>
                </a:cubicBezTo>
                <a:cubicBezTo>
                  <a:pt x="21125" y="8500"/>
                  <a:pt x="21125" y="8500"/>
                  <a:pt x="21125" y="8500"/>
                </a:cubicBezTo>
                <a:cubicBezTo>
                  <a:pt x="21125" y="8468"/>
                  <a:pt x="21093" y="8500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093" y="8468"/>
                  <a:pt x="21093" y="8468"/>
                  <a:pt x="21093" y="8468"/>
                </a:cubicBezTo>
                <a:cubicBezTo>
                  <a:pt x="21281" y="8468"/>
                  <a:pt x="21437" y="8406"/>
                  <a:pt x="21593" y="8375"/>
                </a:cubicBezTo>
                <a:cubicBezTo>
                  <a:pt x="21625" y="8375"/>
                  <a:pt x="21656" y="8343"/>
                  <a:pt x="21718" y="8343"/>
                </a:cubicBezTo>
                <a:cubicBezTo>
                  <a:pt x="21781" y="8343"/>
                  <a:pt x="21843" y="8343"/>
                  <a:pt x="21906" y="8343"/>
                </a:cubicBezTo>
                <a:cubicBezTo>
                  <a:pt x="22031" y="8343"/>
                  <a:pt x="22125" y="8343"/>
                  <a:pt x="22250" y="8343"/>
                </a:cubicBezTo>
                <a:cubicBezTo>
                  <a:pt x="22281" y="8375"/>
                  <a:pt x="22343" y="8375"/>
                  <a:pt x="22375" y="8375"/>
                </a:cubicBezTo>
                <a:cubicBezTo>
                  <a:pt x="22406" y="8375"/>
                  <a:pt x="22406" y="8406"/>
                  <a:pt x="22437" y="8406"/>
                </a:cubicBezTo>
                <a:cubicBezTo>
                  <a:pt x="22531" y="8437"/>
                  <a:pt x="22656" y="8468"/>
                  <a:pt x="22750" y="8562"/>
                </a:cubicBezTo>
                <a:cubicBezTo>
                  <a:pt x="22843" y="8625"/>
                  <a:pt x="22875" y="8687"/>
                  <a:pt x="22937" y="8750"/>
                </a:cubicBezTo>
                <a:cubicBezTo>
                  <a:pt x="22937" y="8812"/>
                  <a:pt x="22968" y="8875"/>
                  <a:pt x="22968" y="8906"/>
                </a:cubicBezTo>
                <a:cubicBezTo>
                  <a:pt x="23000" y="9000"/>
                  <a:pt x="23031" y="9093"/>
                  <a:pt x="23031" y="9187"/>
                </a:cubicBezTo>
                <a:lnTo>
                  <a:pt x="23031" y="9187"/>
                </a:lnTo>
                <a:cubicBezTo>
                  <a:pt x="23062" y="9312"/>
                  <a:pt x="23062" y="9437"/>
                  <a:pt x="23031" y="9531"/>
                </a:cubicBezTo>
                <a:cubicBezTo>
                  <a:pt x="23031" y="9562"/>
                  <a:pt x="23031" y="9593"/>
                  <a:pt x="23000" y="9625"/>
                </a:cubicBezTo>
                <a:cubicBezTo>
                  <a:pt x="23000" y="9687"/>
                  <a:pt x="23000" y="9718"/>
                  <a:pt x="22968" y="9750"/>
                </a:cubicBezTo>
                <a:cubicBezTo>
                  <a:pt x="22968" y="9843"/>
                  <a:pt x="22906" y="9968"/>
                  <a:pt x="22843" y="10062"/>
                </a:cubicBezTo>
                <a:cubicBezTo>
                  <a:pt x="22812" y="10093"/>
                  <a:pt x="22781" y="10156"/>
                  <a:pt x="22781" y="10218"/>
                </a:cubicBezTo>
                <a:cubicBezTo>
                  <a:pt x="22750" y="10281"/>
                  <a:pt x="22750" y="10343"/>
                  <a:pt x="22718" y="10375"/>
                </a:cubicBezTo>
                <a:cubicBezTo>
                  <a:pt x="22718" y="10406"/>
                  <a:pt x="22718" y="10437"/>
                  <a:pt x="22718" y="10468"/>
                </a:cubicBezTo>
                <a:cubicBezTo>
                  <a:pt x="22718" y="10468"/>
                  <a:pt x="22718" y="10468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87" y="10500"/>
                  <a:pt x="22687" y="10500"/>
                </a:cubicBezTo>
                <a:cubicBezTo>
                  <a:pt x="22687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56" y="10500"/>
                  <a:pt x="22656" y="10500"/>
                  <a:pt x="22656" y="10500"/>
                </a:cubicBezTo>
                <a:cubicBezTo>
                  <a:pt x="22625" y="10468"/>
                  <a:pt x="22625" y="10468"/>
                  <a:pt x="22625" y="10468"/>
                </a:cubicBezTo>
                <a:cubicBezTo>
                  <a:pt x="22625" y="10468"/>
                  <a:pt x="22625" y="10500"/>
                  <a:pt x="22625" y="10500"/>
                </a:cubicBezTo>
                <a:cubicBezTo>
                  <a:pt x="22625" y="10531"/>
                  <a:pt x="22593" y="10531"/>
                  <a:pt x="22593" y="10562"/>
                </a:cubicBezTo>
                <a:cubicBezTo>
                  <a:pt x="22593" y="10562"/>
                  <a:pt x="22593" y="10562"/>
                  <a:pt x="22593" y="10562"/>
                </a:cubicBezTo>
                <a:cubicBezTo>
                  <a:pt x="22593" y="10562"/>
                  <a:pt x="22593" y="10531"/>
                  <a:pt x="22593" y="10500"/>
                </a:cubicBezTo>
                <a:cubicBezTo>
                  <a:pt x="22593" y="10437"/>
                  <a:pt x="22593" y="10375"/>
                  <a:pt x="22593" y="10312"/>
                </a:cubicBezTo>
                <a:cubicBezTo>
                  <a:pt x="22593" y="10312"/>
                  <a:pt x="22593" y="10281"/>
                  <a:pt x="22593" y="10250"/>
                </a:cubicBezTo>
                <a:cubicBezTo>
                  <a:pt x="22593" y="10125"/>
                  <a:pt x="22562" y="10031"/>
                  <a:pt x="22531" y="9937"/>
                </a:cubicBezTo>
                <a:cubicBezTo>
                  <a:pt x="22437" y="9812"/>
                  <a:pt x="22343" y="9718"/>
                  <a:pt x="22187" y="9687"/>
                </a:cubicBezTo>
                <a:cubicBezTo>
                  <a:pt x="22125" y="9687"/>
                  <a:pt x="22093" y="9687"/>
                  <a:pt x="22062" y="9687"/>
                </a:cubicBezTo>
                <a:cubicBezTo>
                  <a:pt x="22031" y="9687"/>
                  <a:pt x="22031" y="9687"/>
                  <a:pt x="22031" y="9687"/>
                </a:cubicBezTo>
                <a:cubicBezTo>
                  <a:pt x="21875" y="9687"/>
                  <a:pt x="21718" y="9718"/>
                  <a:pt x="21593" y="9750"/>
                </a:cubicBezTo>
                <a:cubicBezTo>
                  <a:pt x="21375" y="9812"/>
                  <a:pt x="21156" y="9875"/>
                  <a:pt x="20968" y="9937"/>
                </a:cubicBezTo>
                <a:cubicBezTo>
                  <a:pt x="20906" y="9937"/>
                  <a:pt x="20843" y="9968"/>
                  <a:pt x="20750" y="10000"/>
                </a:cubicBezTo>
                <a:cubicBezTo>
                  <a:pt x="20468" y="10093"/>
                  <a:pt x="20187" y="10187"/>
                  <a:pt x="19937" y="10343"/>
                </a:cubicBezTo>
                <a:cubicBezTo>
                  <a:pt x="19718" y="10468"/>
                  <a:pt x="19500" y="10562"/>
                  <a:pt x="19281" y="10656"/>
                </a:cubicBezTo>
                <a:cubicBezTo>
                  <a:pt x="19062" y="10781"/>
                  <a:pt x="18843" y="10937"/>
                  <a:pt x="18625" y="11062"/>
                </a:cubicBezTo>
                <a:cubicBezTo>
                  <a:pt x="18375" y="11187"/>
                  <a:pt x="18125" y="11343"/>
                  <a:pt x="17875" y="11500"/>
                </a:cubicBezTo>
                <a:cubicBezTo>
                  <a:pt x="17656" y="11625"/>
                  <a:pt x="17437" y="11781"/>
                  <a:pt x="17218" y="11906"/>
                </a:cubicBezTo>
                <a:cubicBezTo>
                  <a:pt x="17125" y="11968"/>
                  <a:pt x="17031" y="12031"/>
                  <a:pt x="16937" y="12062"/>
                </a:cubicBezTo>
                <a:cubicBezTo>
                  <a:pt x="16968" y="12125"/>
                  <a:pt x="17000" y="12062"/>
                  <a:pt x="17062" y="12093"/>
                </a:cubicBezTo>
                <a:cubicBezTo>
                  <a:pt x="16968" y="12125"/>
                  <a:pt x="16937" y="12218"/>
                  <a:pt x="16843" y="12187"/>
                </a:cubicBezTo>
                <a:cubicBezTo>
                  <a:pt x="16812" y="12156"/>
                  <a:pt x="16781" y="12187"/>
                  <a:pt x="16750" y="12218"/>
                </a:cubicBezTo>
                <a:cubicBezTo>
                  <a:pt x="16406" y="12406"/>
                  <a:pt x="16062" y="12625"/>
                  <a:pt x="15718" y="12875"/>
                </a:cubicBezTo>
                <a:cubicBezTo>
                  <a:pt x="15718" y="12875"/>
                  <a:pt x="15718" y="12875"/>
                  <a:pt x="15718" y="12875"/>
                </a:cubicBezTo>
                <a:cubicBezTo>
                  <a:pt x="15718" y="12875"/>
                  <a:pt x="15718" y="12875"/>
                  <a:pt x="13593" y="14343"/>
                </a:cubicBezTo>
                <a:cubicBezTo>
                  <a:pt x="13593" y="14343"/>
                  <a:pt x="13593" y="14343"/>
                  <a:pt x="13593" y="14343"/>
                </a:cubicBezTo>
                <a:cubicBezTo>
                  <a:pt x="13593" y="14343"/>
                  <a:pt x="13593" y="14343"/>
                  <a:pt x="13437" y="14468"/>
                </a:cubicBezTo>
                <a:cubicBezTo>
                  <a:pt x="13250" y="14593"/>
                  <a:pt x="13093" y="14718"/>
                  <a:pt x="12937" y="14843"/>
                </a:cubicBezTo>
                <a:cubicBezTo>
                  <a:pt x="12875" y="14906"/>
                  <a:pt x="12750" y="14937"/>
                  <a:pt x="12718" y="15031"/>
                </a:cubicBezTo>
                <a:cubicBezTo>
                  <a:pt x="12750" y="15062"/>
                  <a:pt x="12781" y="15000"/>
                  <a:pt x="12812" y="15031"/>
                </a:cubicBezTo>
                <a:cubicBezTo>
                  <a:pt x="12812" y="15062"/>
                  <a:pt x="12750" y="15093"/>
                  <a:pt x="12750" y="15125"/>
                </a:cubicBezTo>
                <a:cubicBezTo>
                  <a:pt x="12750" y="15125"/>
                  <a:pt x="12718" y="15125"/>
                  <a:pt x="12718" y="15125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50" y="15156"/>
                </a:cubicBezTo>
                <a:cubicBezTo>
                  <a:pt x="12750" y="15156"/>
                  <a:pt x="12750" y="15156"/>
                  <a:pt x="12718" y="15156"/>
                </a:cubicBezTo>
                <a:cubicBezTo>
                  <a:pt x="12718" y="15156"/>
                  <a:pt x="12718" y="15156"/>
                  <a:pt x="12718" y="15156"/>
                </a:cubicBezTo>
                <a:cubicBezTo>
                  <a:pt x="12718" y="15218"/>
                  <a:pt x="12687" y="15281"/>
                  <a:pt x="12593" y="15281"/>
                </a:cubicBezTo>
                <a:cubicBezTo>
                  <a:pt x="12593" y="15312"/>
                  <a:pt x="12593" y="15343"/>
                  <a:pt x="12562" y="15375"/>
                </a:cubicBezTo>
                <a:cubicBezTo>
                  <a:pt x="12531" y="15375"/>
                  <a:pt x="12531" y="15375"/>
                  <a:pt x="12500" y="15375"/>
                </a:cubicBezTo>
                <a:cubicBezTo>
                  <a:pt x="12500" y="15406"/>
                  <a:pt x="12468" y="15437"/>
                  <a:pt x="12437" y="15437"/>
                </a:cubicBezTo>
                <a:cubicBezTo>
                  <a:pt x="12437" y="15406"/>
                  <a:pt x="12437" y="15406"/>
                  <a:pt x="12468" y="15406"/>
                </a:cubicBezTo>
                <a:cubicBezTo>
                  <a:pt x="12468" y="15375"/>
                  <a:pt x="12500" y="15375"/>
                  <a:pt x="12500" y="15375"/>
                </a:cubicBezTo>
                <a:cubicBezTo>
                  <a:pt x="12531" y="15343"/>
                  <a:pt x="12562" y="15312"/>
                  <a:pt x="12593" y="15281"/>
                </a:cubicBezTo>
                <a:cubicBezTo>
                  <a:pt x="12593" y="15250"/>
                  <a:pt x="12562" y="15250"/>
                  <a:pt x="12531" y="15281"/>
                </a:cubicBezTo>
                <a:cubicBezTo>
                  <a:pt x="12500" y="15281"/>
                  <a:pt x="12468" y="15281"/>
                  <a:pt x="12437" y="15281"/>
                </a:cubicBezTo>
                <a:cubicBezTo>
                  <a:pt x="12437" y="15312"/>
                  <a:pt x="12406" y="15343"/>
                  <a:pt x="12375" y="15375"/>
                </a:cubicBezTo>
                <a:cubicBezTo>
                  <a:pt x="12375" y="15375"/>
                  <a:pt x="12375" y="15375"/>
                  <a:pt x="12375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12" y="15406"/>
                  <a:pt x="12312" y="15406"/>
                  <a:pt x="12281" y="15406"/>
                </a:cubicBezTo>
                <a:cubicBezTo>
                  <a:pt x="12281" y="15437"/>
                  <a:pt x="12281" y="15437"/>
                  <a:pt x="12250" y="15437"/>
                </a:cubicBezTo>
                <a:cubicBezTo>
                  <a:pt x="12250" y="15437"/>
                  <a:pt x="12250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68"/>
                  <a:pt x="12218" y="15468"/>
                  <a:pt x="12218" y="15468"/>
                </a:cubicBezTo>
                <a:cubicBezTo>
                  <a:pt x="12218" y="15437"/>
                  <a:pt x="12250" y="15437"/>
                  <a:pt x="12250" y="15437"/>
                </a:cubicBezTo>
                <a:cubicBezTo>
                  <a:pt x="12281" y="15406"/>
                  <a:pt x="12281" y="15406"/>
                  <a:pt x="12281" y="15406"/>
                </a:cubicBezTo>
                <a:cubicBezTo>
                  <a:pt x="12281" y="15406"/>
                  <a:pt x="12281" y="15375"/>
                  <a:pt x="12281" y="15375"/>
                </a:cubicBezTo>
                <a:cubicBezTo>
                  <a:pt x="12312" y="15375"/>
                  <a:pt x="12312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75"/>
                  <a:pt x="12343" y="15375"/>
                </a:cubicBezTo>
                <a:cubicBezTo>
                  <a:pt x="12343" y="15375"/>
                  <a:pt x="12343" y="15343"/>
                  <a:pt x="12375" y="15343"/>
                </a:cubicBezTo>
                <a:cubicBezTo>
                  <a:pt x="12406" y="15312"/>
                  <a:pt x="12437" y="15312"/>
                  <a:pt x="12437" y="15281"/>
                </a:cubicBezTo>
                <a:cubicBezTo>
                  <a:pt x="12500" y="15250"/>
                  <a:pt x="12562" y="15218"/>
                  <a:pt x="12625" y="15156"/>
                </a:cubicBezTo>
                <a:cubicBezTo>
                  <a:pt x="12625" y="15125"/>
                  <a:pt x="12656" y="15093"/>
                  <a:pt x="12656" y="15062"/>
                </a:cubicBezTo>
                <a:cubicBezTo>
                  <a:pt x="12562" y="15093"/>
                  <a:pt x="12500" y="15156"/>
                  <a:pt x="12468" y="15187"/>
                </a:cubicBezTo>
                <a:cubicBezTo>
                  <a:pt x="12343" y="15281"/>
                  <a:pt x="12250" y="15343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406"/>
                  <a:pt x="12156" y="15406"/>
                </a:cubicBezTo>
                <a:cubicBezTo>
                  <a:pt x="12156" y="15406"/>
                  <a:pt x="12156" y="15375"/>
                  <a:pt x="12125" y="15375"/>
                </a:cubicBezTo>
                <a:cubicBezTo>
                  <a:pt x="12125" y="15375"/>
                  <a:pt x="12125" y="15375"/>
                  <a:pt x="12125" y="15406"/>
                </a:cubicBezTo>
                <a:cubicBezTo>
                  <a:pt x="12093" y="15437"/>
                  <a:pt x="12062" y="15468"/>
                  <a:pt x="12000" y="15468"/>
                </a:cubicBezTo>
                <a:cubicBezTo>
                  <a:pt x="11968" y="15500"/>
                  <a:pt x="11937" y="15562"/>
                  <a:pt x="11906" y="15468"/>
                </a:cubicBezTo>
                <a:cubicBezTo>
                  <a:pt x="11906" y="15468"/>
                  <a:pt x="11906" y="15468"/>
                  <a:pt x="11875" y="15468"/>
                </a:cubicBezTo>
                <a:cubicBezTo>
                  <a:pt x="11875" y="15500"/>
                  <a:pt x="11843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812" y="15531"/>
                  <a:pt x="11812" y="15531"/>
                  <a:pt x="11812" y="15531"/>
                </a:cubicBezTo>
                <a:cubicBezTo>
                  <a:pt x="11781" y="15562"/>
                  <a:pt x="11781" y="15562"/>
                  <a:pt x="11781" y="15593"/>
                </a:cubicBezTo>
                <a:cubicBezTo>
                  <a:pt x="11781" y="15593"/>
                  <a:pt x="11781" y="15593"/>
                  <a:pt x="11812" y="15593"/>
                </a:cubicBezTo>
                <a:cubicBezTo>
                  <a:pt x="11812" y="15593"/>
                  <a:pt x="11843" y="15593"/>
                  <a:pt x="11812" y="15625"/>
                </a:cubicBezTo>
                <a:cubicBezTo>
                  <a:pt x="11781" y="15656"/>
                  <a:pt x="11750" y="15656"/>
                  <a:pt x="11718" y="15687"/>
                </a:cubicBezTo>
                <a:cubicBezTo>
                  <a:pt x="11687" y="15718"/>
                  <a:pt x="11656" y="15718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50"/>
                  <a:pt x="11625" y="15750"/>
                </a:cubicBezTo>
                <a:cubicBezTo>
                  <a:pt x="11625" y="15750"/>
                  <a:pt x="11625" y="15781"/>
                  <a:pt x="11625" y="15781"/>
                </a:cubicBezTo>
                <a:cubicBezTo>
                  <a:pt x="11625" y="15781"/>
                  <a:pt x="11593" y="15781"/>
                  <a:pt x="11593" y="15812"/>
                </a:cubicBezTo>
                <a:cubicBezTo>
                  <a:pt x="11562" y="15812"/>
                  <a:pt x="11562" y="15812"/>
                  <a:pt x="11562" y="15843"/>
                </a:cubicBezTo>
                <a:cubicBezTo>
                  <a:pt x="11500" y="15937"/>
                  <a:pt x="11375" y="16000"/>
                  <a:pt x="11312" y="16093"/>
                </a:cubicBezTo>
                <a:cubicBezTo>
                  <a:pt x="11218" y="16156"/>
                  <a:pt x="11156" y="16187"/>
                  <a:pt x="11062" y="16250"/>
                </a:cubicBezTo>
                <a:cubicBezTo>
                  <a:pt x="11062" y="16250"/>
                  <a:pt x="11031" y="16281"/>
                  <a:pt x="11031" y="16281"/>
                </a:cubicBezTo>
                <a:cubicBezTo>
                  <a:pt x="11000" y="16312"/>
                  <a:pt x="10937" y="16375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06" y="16406"/>
                  <a:pt x="10906" y="16406"/>
                  <a:pt x="10906" y="16406"/>
                </a:cubicBezTo>
                <a:cubicBezTo>
                  <a:pt x="10968" y="16406"/>
                  <a:pt x="11000" y="16375"/>
                  <a:pt x="11031" y="16343"/>
                </a:cubicBezTo>
                <a:cubicBezTo>
                  <a:pt x="11062" y="16343"/>
                  <a:pt x="11062" y="16312"/>
                  <a:pt x="11125" y="16312"/>
                </a:cubicBezTo>
                <a:cubicBezTo>
                  <a:pt x="11000" y="16468"/>
                  <a:pt x="10812" y="16593"/>
                  <a:pt x="10625" y="16750"/>
                </a:cubicBezTo>
                <a:cubicBezTo>
                  <a:pt x="10625" y="16687"/>
                  <a:pt x="10625" y="16656"/>
                  <a:pt x="10625" y="16625"/>
                </a:cubicBezTo>
                <a:cubicBezTo>
                  <a:pt x="10437" y="16718"/>
                  <a:pt x="10281" y="16906"/>
                  <a:pt x="10093" y="17031"/>
                </a:cubicBezTo>
                <a:cubicBezTo>
                  <a:pt x="10250" y="16968"/>
                  <a:pt x="10375" y="16843"/>
                  <a:pt x="10562" y="16750"/>
                </a:cubicBezTo>
                <a:cubicBezTo>
                  <a:pt x="10531" y="16812"/>
                  <a:pt x="10500" y="16843"/>
                  <a:pt x="10468" y="16843"/>
                </a:cubicBezTo>
                <a:cubicBezTo>
                  <a:pt x="10406" y="16875"/>
                  <a:pt x="10406" y="16906"/>
                  <a:pt x="10437" y="16937"/>
                </a:cubicBezTo>
                <a:cubicBezTo>
                  <a:pt x="10468" y="16937"/>
                  <a:pt x="10468" y="16937"/>
                  <a:pt x="10500" y="16937"/>
                </a:cubicBezTo>
                <a:cubicBezTo>
                  <a:pt x="10531" y="16843"/>
                  <a:pt x="10656" y="16812"/>
                  <a:pt x="10718" y="16718"/>
                </a:cubicBezTo>
                <a:cubicBezTo>
                  <a:pt x="10718" y="16718"/>
                  <a:pt x="10750" y="16718"/>
                  <a:pt x="10750" y="16718"/>
                </a:cubicBezTo>
                <a:cubicBezTo>
                  <a:pt x="10750" y="16750"/>
                  <a:pt x="10750" y="16750"/>
                  <a:pt x="10750" y="16750"/>
                </a:cubicBezTo>
                <a:cubicBezTo>
                  <a:pt x="10718" y="16781"/>
                  <a:pt x="10687" y="16812"/>
                  <a:pt x="10656" y="16812"/>
                </a:cubicBezTo>
                <a:cubicBezTo>
                  <a:pt x="10625" y="16875"/>
                  <a:pt x="10562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500" y="16937"/>
                  <a:pt x="10500" y="16937"/>
                </a:cubicBezTo>
                <a:cubicBezTo>
                  <a:pt x="10500" y="16937"/>
                  <a:pt x="10468" y="16968"/>
                  <a:pt x="10468" y="16968"/>
                </a:cubicBezTo>
                <a:cubicBezTo>
                  <a:pt x="10468" y="16968"/>
                  <a:pt x="10468" y="16968"/>
                  <a:pt x="10468" y="16968"/>
                </a:cubicBezTo>
                <a:cubicBezTo>
                  <a:pt x="10437" y="17000"/>
                  <a:pt x="10437" y="17000"/>
                  <a:pt x="10468" y="17031"/>
                </a:cubicBezTo>
                <a:cubicBezTo>
                  <a:pt x="10468" y="16968"/>
                  <a:pt x="10500" y="16968"/>
                  <a:pt x="10562" y="16968"/>
                </a:cubicBezTo>
                <a:cubicBezTo>
                  <a:pt x="10562" y="16968"/>
                  <a:pt x="10531" y="16968"/>
                  <a:pt x="10531" y="16968"/>
                </a:cubicBezTo>
                <a:cubicBezTo>
                  <a:pt x="10531" y="17000"/>
                  <a:pt x="10500" y="17031"/>
                  <a:pt x="10468" y="17031"/>
                </a:cubicBezTo>
                <a:cubicBezTo>
                  <a:pt x="10406" y="17125"/>
                  <a:pt x="10312" y="17187"/>
                  <a:pt x="10218" y="17250"/>
                </a:cubicBezTo>
                <a:cubicBezTo>
                  <a:pt x="10218" y="17250"/>
                  <a:pt x="10187" y="17250"/>
                  <a:pt x="10187" y="17281"/>
                </a:cubicBezTo>
                <a:cubicBezTo>
                  <a:pt x="10156" y="17281"/>
                  <a:pt x="10156" y="17312"/>
                  <a:pt x="10125" y="17312"/>
                </a:cubicBezTo>
                <a:cubicBezTo>
                  <a:pt x="10093" y="17343"/>
                  <a:pt x="10062" y="17375"/>
                  <a:pt x="10031" y="17343"/>
                </a:cubicBezTo>
                <a:cubicBezTo>
                  <a:pt x="10000" y="17312"/>
                  <a:pt x="10031" y="17281"/>
                  <a:pt x="10031" y="17250"/>
                </a:cubicBezTo>
                <a:cubicBezTo>
                  <a:pt x="9937" y="17281"/>
                  <a:pt x="9875" y="17343"/>
                  <a:pt x="9812" y="17406"/>
                </a:cubicBezTo>
                <a:cubicBezTo>
                  <a:pt x="9812" y="17406"/>
                  <a:pt x="9781" y="17437"/>
                  <a:pt x="9812" y="17437"/>
                </a:cubicBezTo>
                <a:cubicBezTo>
                  <a:pt x="9812" y="17468"/>
                  <a:pt x="9843" y="17468"/>
                  <a:pt x="9843" y="17437"/>
                </a:cubicBezTo>
                <a:cubicBezTo>
                  <a:pt x="9906" y="17437"/>
                  <a:pt x="9906" y="17437"/>
                  <a:pt x="9906" y="17500"/>
                </a:cubicBezTo>
                <a:cubicBezTo>
                  <a:pt x="9937" y="17500"/>
                  <a:pt x="9937" y="17500"/>
                  <a:pt x="9937" y="17500"/>
                </a:cubicBezTo>
                <a:cubicBezTo>
                  <a:pt x="9968" y="17500"/>
                  <a:pt x="10000" y="17500"/>
                  <a:pt x="10000" y="17468"/>
                </a:cubicBezTo>
                <a:cubicBezTo>
                  <a:pt x="10031" y="17468"/>
                  <a:pt x="10031" y="17437"/>
                  <a:pt x="10031" y="17437"/>
                </a:cubicBezTo>
                <a:cubicBezTo>
                  <a:pt x="10062" y="17375"/>
                  <a:pt x="10125" y="17343"/>
                  <a:pt x="10187" y="17343"/>
                </a:cubicBezTo>
                <a:cubicBezTo>
                  <a:pt x="10250" y="17312"/>
                  <a:pt x="10312" y="17250"/>
                  <a:pt x="10343" y="17218"/>
                </a:cubicBezTo>
                <a:cubicBezTo>
                  <a:pt x="10500" y="17093"/>
                  <a:pt x="10687" y="16968"/>
                  <a:pt x="10875" y="16812"/>
                </a:cubicBezTo>
                <a:cubicBezTo>
                  <a:pt x="11062" y="16687"/>
                  <a:pt x="11218" y="16531"/>
                  <a:pt x="11406" y="16375"/>
                </a:cubicBezTo>
                <a:cubicBezTo>
                  <a:pt x="11562" y="16281"/>
                  <a:pt x="11687" y="16187"/>
                  <a:pt x="11843" y="16062"/>
                </a:cubicBezTo>
                <a:cubicBezTo>
                  <a:pt x="11843" y="16062"/>
                  <a:pt x="11843" y="16062"/>
                  <a:pt x="11843" y="16062"/>
                </a:cubicBezTo>
                <a:cubicBezTo>
                  <a:pt x="11906" y="15968"/>
                  <a:pt x="12000" y="15937"/>
                  <a:pt x="12062" y="15906"/>
                </a:cubicBezTo>
                <a:cubicBezTo>
                  <a:pt x="12156" y="15843"/>
                  <a:pt x="12218" y="15750"/>
                  <a:pt x="12312" y="15687"/>
                </a:cubicBezTo>
                <a:cubicBezTo>
                  <a:pt x="12468" y="15593"/>
                  <a:pt x="12625" y="15468"/>
                  <a:pt x="12781" y="15375"/>
                </a:cubicBezTo>
                <a:cubicBezTo>
                  <a:pt x="12843" y="15312"/>
                  <a:pt x="12906" y="15218"/>
                  <a:pt x="13000" y="15156"/>
                </a:cubicBezTo>
                <a:cubicBezTo>
                  <a:pt x="13218" y="15031"/>
                  <a:pt x="13437" y="14843"/>
                  <a:pt x="13656" y="14687"/>
                </a:cubicBezTo>
                <a:cubicBezTo>
                  <a:pt x="13906" y="14531"/>
                  <a:pt x="14156" y="14343"/>
                  <a:pt x="14406" y="14156"/>
                </a:cubicBezTo>
                <a:cubicBezTo>
                  <a:pt x="14656" y="13968"/>
                  <a:pt x="14937" y="13781"/>
                  <a:pt x="15187" y="13593"/>
                </a:cubicBezTo>
                <a:cubicBezTo>
                  <a:pt x="15468" y="13406"/>
                  <a:pt x="15718" y="13218"/>
                  <a:pt x="16000" y="13062"/>
                </a:cubicBezTo>
                <a:cubicBezTo>
                  <a:pt x="16218" y="12937"/>
                  <a:pt x="16406" y="12781"/>
                  <a:pt x="16593" y="12656"/>
                </a:cubicBezTo>
                <a:cubicBezTo>
                  <a:pt x="16781" y="12531"/>
                  <a:pt x="17000" y="12406"/>
                  <a:pt x="17187" y="12281"/>
                </a:cubicBezTo>
                <a:cubicBezTo>
                  <a:pt x="17343" y="12156"/>
                  <a:pt x="17531" y="12093"/>
                  <a:pt x="17687" y="11968"/>
                </a:cubicBezTo>
                <a:cubicBezTo>
                  <a:pt x="17812" y="11843"/>
                  <a:pt x="17968" y="11750"/>
                  <a:pt x="18093" y="11656"/>
                </a:cubicBezTo>
                <a:cubicBezTo>
                  <a:pt x="18312" y="11500"/>
                  <a:pt x="18562" y="11375"/>
                  <a:pt x="18812" y="11250"/>
                </a:cubicBezTo>
                <a:cubicBezTo>
                  <a:pt x="19125" y="11062"/>
                  <a:pt x="19437" y="10875"/>
                  <a:pt x="19781" y="10718"/>
                </a:cubicBezTo>
                <a:cubicBezTo>
                  <a:pt x="20000" y="10625"/>
                  <a:pt x="20187" y="10500"/>
                  <a:pt x="20406" y="10406"/>
                </a:cubicBezTo>
                <a:cubicBezTo>
                  <a:pt x="20562" y="10375"/>
                  <a:pt x="20687" y="10312"/>
                  <a:pt x="20812" y="10250"/>
                </a:cubicBezTo>
                <a:cubicBezTo>
                  <a:pt x="20968" y="10187"/>
                  <a:pt x="21125" y="10156"/>
                  <a:pt x="21250" y="10125"/>
                </a:cubicBezTo>
                <a:cubicBezTo>
                  <a:pt x="21312" y="10093"/>
                  <a:pt x="21375" y="10093"/>
                  <a:pt x="21406" y="10093"/>
                </a:cubicBezTo>
                <a:cubicBezTo>
                  <a:pt x="21468" y="10062"/>
                  <a:pt x="21531" y="10062"/>
                  <a:pt x="21562" y="10062"/>
                </a:cubicBezTo>
                <a:cubicBezTo>
                  <a:pt x="21593" y="10062"/>
                  <a:pt x="21625" y="10062"/>
                  <a:pt x="21625" y="10062"/>
                </a:cubicBezTo>
                <a:cubicBezTo>
                  <a:pt x="21656" y="10062"/>
                  <a:pt x="21656" y="10062"/>
                  <a:pt x="21687" y="10062"/>
                </a:cubicBezTo>
                <a:cubicBezTo>
                  <a:pt x="21750" y="10062"/>
                  <a:pt x="21781" y="10062"/>
                  <a:pt x="21843" y="10062"/>
                </a:cubicBezTo>
                <a:cubicBezTo>
                  <a:pt x="21937" y="10062"/>
                  <a:pt x="22031" y="10093"/>
                  <a:pt x="22093" y="10125"/>
                </a:cubicBezTo>
                <a:cubicBezTo>
                  <a:pt x="22187" y="10187"/>
                  <a:pt x="22250" y="10250"/>
                  <a:pt x="22281" y="10343"/>
                </a:cubicBezTo>
                <a:cubicBezTo>
                  <a:pt x="22281" y="10343"/>
                  <a:pt x="22281" y="10343"/>
                  <a:pt x="22281" y="10343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375"/>
                  <a:pt x="22281" y="10375"/>
                  <a:pt x="22281" y="10375"/>
                </a:cubicBezTo>
                <a:cubicBezTo>
                  <a:pt x="22281" y="10406"/>
                  <a:pt x="22281" y="10406"/>
                  <a:pt x="22281" y="10406"/>
                </a:cubicBezTo>
                <a:cubicBezTo>
                  <a:pt x="22281" y="10500"/>
                  <a:pt x="22312" y="10593"/>
                  <a:pt x="22281" y="10718"/>
                </a:cubicBezTo>
                <a:cubicBezTo>
                  <a:pt x="22281" y="10687"/>
                  <a:pt x="22250" y="10656"/>
                  <a:pt x="22250" y="10625"/>
                </a:cubicBezTo>
                <a:cubicBezTo>
                  <a:pt x="22250" y="10593"/>
                  <a:pt x="22218" y="10562"/>
                  <a:pt x="22218" y="10531"/>
                </a:cubicBezTo>
                <a:cubicBezTo>
                  <a:pt x="22187" y="10531"/>
                  <a:pt x="22187" y="10500"/>
                  <a:pt x="22156" y="10468"/>
                </a:cubicBezTo>
                <a:cubicBezTo>
                  <a:pt x="22156" y="10468"/>
                  <a:pt x="22156" y="10437"/>
                  <a:pt x="22125" y="10437"/>
                </a:cubicBezTo>
                <a:cubicBezTo>
                  <a:pt x="22062" y="10375"/>
                  <a:pt x="22000" y="10312"/>
                  <a:pt x="21906" y="10281"/>
                </a:cubicBezTo>
                <a:cubicBezTo>
                  <a:pt x="21843" y="10250"/>
                  <a:pt x="21750" y="10218"/>
                  <a:pt x="21656" y="10218"/>
                </a:cubicBezTo>
                <a:cubicBezTo>
                  <a:pt x="21625" y="10218"/>
                  <a:pt x="21593" y="10218"/>
                  <a:pt x="21531" y="10218"/>
                </a:cubicBezTo>
                <a:cubicBezTo>
                  <a:pt x="21531" y="10218"/>
                  <a:pt x="21500" y="10218"/>
                  <a:pt x="21500" y="10250"/>
                </a:cubicBezTo>
                <a:cubicBezTo>
                  <a:pt x="21468" y="10250"/>
                  <a:pt x="21406" y="10250"/>
                  <a:pt x="21375" y="10250"/>
                </a:cubicBezTo>
                <a:cubicBezTo>
                  <a:pt x="21281" y="10281"/>
                  <a:pt x="21187" y="10312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62" y="10343"/>
                  <a:pt x="21062" y="10343"/>
                  <a:pt x="21062" y="10343"/>
                </a:cubicBezTo>
                <a:cubicBezTo>
                  <a:pt x="21031" y="10343"/>
                  <a:pt x="21031" y="10343"/>
                  <a:pt x="21031" y="10343"/>
                </a:cubicBezTo>
                <a:cubicBezTo>
                  <a:pt x="21031" y="10343"/>
                  <a:pt x="21000" y="10375"/>
                  <a:pt x="21000" y="10375"/>
                </a:cubicBezTo>
                <a:cubicBezTo>
                  <a:pt x="21125" y="10343"/>
                  <a:pt x="21218" y="10312"/>
                  <a:pt x="21312" y="10312"/>
                </a:cubicBezTo>
                <a:cubicBezTo>
                  <a:pt x="21343" y="10312"/>
                  <a:pt x="21406" y="10312"/>
                  <a:pt x="21437" y="10312"/>
                </a:cubicBezTo>
                <a:cubicBezTo>
                  <a:pt x="21468" y="10281"/>
                  <a:pt x="21500" y="10281"/>
                  <a:pt x="21531" y="10281"/>
                </a:cubicBezTo>
                <a:cubicBezTo>
                  <a:pt x="21562" y="10281"/>
                  <a:pt x="21593" y="10281"/>
                  <a:pt x="21625" y="10312"/>
                </a:cubicBezTo>
                <a:cubicBezTo>
                  <a:pt x="21687" y="10312"/>
                  <a:pt x="21781" y="10312"/>
                  <a:pt x="21843" y="10343"/>
                </a:cubicBezTo>
                <a:cubicBezTo>
                  <a:pt x="21843" y="10375"/>
                  <a:pt x="21812" y="10375"/>
                  <a:pt x="21812" y="10375"/>
                </a:cubicBezTo>
                <a:cubicBezTo>
                  <a:pt x="21812" y="10375"/>
                  <a:pt x="21812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781" y="10375"/>
                  <a:pt x="21781" y="10375"/>
                  <a:pt x="21781" y="10375"/>
                </a:cubicBezTo>
                <a:cubicBezTo>
                  <a:pt x="21687" y="10375"/>
                  <a:pt x="21625" y="10375"/>
                  <a:pt x="21562" y="10375"/>
                </a:cubicBezTo>
                <a:cubicBezTo>
                  <a:pt x="21468" y="10375"/>
                  <a:pt x="21375" y="10375"/>
                  <a:pt x="21312" y="10406"/>
                </a:cubicBezTo>
                <a:cubicBezTo>
                  <a:pt x="21218" y="10406"/>
                  <a:pt x="21156" y="10437"/>
                  <a:pt x="21093" y="10437"/>
                </a:cubicBezTo>
                <a:cubicBezTo>
                  <a:pt x="20968" y="10500"/>
                  <a:pt x="20843" y="10531"/>
                  <a:pt x="20750" y="10562"/>
                </a:cubicBezTo>
                <a:cubicBezTo>
                  <a:pt x="20687" y="10593"/>
                  <a:pt x="20656" y="10593"/>
                  <a:pt x="20625" y="10625"/>
                </a:cubicBezTo>
                <a:cubicBezTo>
                  <a:pt x="20593" y="10625"/>
                  <a:pt x="20593" y="10656"/>
                  <a:pt x="20562" y="10656"/>
                </a:cubicBezTo>
                <a:cubicBezTo>
                  <a:pt x="20562" y="10687"/>
                  <a:pt x="20562" y="10687"/>
                  <a:pt x="20562" y="10687"/>
                </a:cubicBezTo>
                <a:cubicBezTo>
                  <a:pt x="20531" y="10687"/>
                  <a:pt x="20531" y="10687"/>
                  <a:pt x="20500" y="10687"/>
                </a:cubicBezTo>
                <a:cubicBezTo>
                  <a:pt x="20500" y="10687"/>
                  <a:pt x="20500" y="10687"/>
                  <a:pt x="20500" y="10687"/>
                </a:cubicBezTo>
                <a:cubicBezTo>
                  <a:pt x="20406" y="10781"/>
                  <a:pt x="20250" y="10843"/>
                  <a:pt x="20125" y="10875"/>
                </a:cubicBezTo>
                <a:cubicBezTo>
                  <a:pt x="20062" y="10875"/>
                  <a:pt x="19968" y="10906"/>
                  <a:pt x="19937" y="10937"/>
                </a:cubicBezTo>
                <a:cubicBezTo>
                  <a:pt x="19781" y="11062"/>
                  <a:pt x="19593" y="11125"/>
                  <a:pt x="19437" y="11218"/>
                </a:cubicBezTo>
                <a:cubicBezTo>
                  <a:pt x="19187" y="11375"/>
                  <a:pt x="18906" y="11531"/>
                  <a:pt x="18687" y="11687"/>
                </a:cubicBezTo>
                <a:cubicBezTo>
                  <a:pt x="18562" y="11750"/>
                  <a:pt x="18468" y="11843"/>
                  <a:pt x="18343" y="11906"/>
                </a:cubicBezTo>
                <a:cubicBezTo>
                  <a:pt x="18218" y="12000"/>
                  <a:pt x="18125" y="12062"/>
                  <a:pt x="18000" y="12125"/>
                </a:cubicBezTo>
                <a:cubicBezTo>
                  <a:pt x="17937" y="12156"/>
                  <a:pt x="17906" y="12218"/>
                  <a:pt x="17843" y="12218"/>
                </a:cubicBezTo>
                <a:cubicBezTo>
                  <a:pt x="17843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50"/>
                  <a:pt x="17812" y="12250"/>
                </a:cubicBezTo>
                <a:cubicBezTo>
                  <a:pt x="17812" y="12250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8093" y="12156"/>
                  <a:pt x="18312" y="12000"/>
                  <a:pt x="18562" y="11843"/>
                </a:cubicBezTo>
                <a:cubicBezTo>
                  <a:pt x="18593" y="11843"/>
                  <a:pt x="18625" y="11812"/>
                  <a:pt x="18656" y="11781"/>
                </a:cubicBezTo>
                <a:cubicBezTo>
                  <a:pt x="19031" y="11593"/>
                  <a:pt x="19375" y="11375"/>
                  <a:pt x="19718" y="11187"/>
                </a:cubicBezTo>
                <a:cubicBezTo>
                  <a:pt x="19906" y="11093"/>
                  <a:pt x="20093" y="11000"/>
                  <a:pt x="20281" y="10906"/>
                </a:cubicBezTo>
                <a:cubicBezTo>
                  <a:pt x="20500" y="10812"/>
                  <a:pt x="20687" y="10718"/>
                  <a:pt x="20906" y="10656"/>
                </a:cubicBezTo>
                <a:cubicBezTo>
                  <a:pt x="21000" y="10656"/>
                  <a:pt x="21093" y="10593"/>
                  <a:pt x="21218" y="10593"/>
                </a:cubicBezTo>
                <a:cubicBezTo>
                  <a:pt x="21406" y="10531"/>
                  <a:pt x="21593" y="10531"/>
                  <a:pt x="21750" y="10687"/>
                </a:cubicBezTo>
                <a:cubicBezTo>
                  <a:pt x="21781" y="10687"/>
                  <a:pt x="21781" y="10687"/>
                  <a:pt x="21781" y="10687"/>
                </a:cubicBezTo>
                <a:cubicBezTo>
                  <a:pt x="21875" y="10875"/>
                  <a:pt x="21875" y="11062"/>
                  <a:pt x="21750" y="11250"/>
                </a:cubicBezTo>
                <a:cubicBezTo>
                  <a:pt x="21750" y="11250"/>
                  <a:pt x="21750" y="11250"/>
                  <a:pt x="21750" y="11250"/>
                </a:cubicBezTo>
                <a:cubicBezTo>
                  <a:pt x="21750" y="11281"/>
                  <a:pt x="21750" y="11312"/>
                  <a:pt x="21781" y="11281"/>
                </a:cubicBezTo>
                <a:cubicBezTo>
                  <a:pt x="21812" y="11281"/>
                  <a:pt x="21875" y="11281"/>
                  <a:pt x="21875" y="11250"/>
                </a:cubicBezTo>
                <a:cubicBezTo>
                  <a:pt x="21875" y="11125"/>
                  <a:pt x="21968" y="11093"/>
                  <a:pt x="22031" y="11031"/>
                </a:cubicBezTo>
                <a:cubicBezTo>
                  <a:pt x="21968" y="11187"/>
                  <a:pt x="21906" y="11343"/>
                  <a:pt x="21718" y="11437"/>
                </a:cubicBezTo>
                <a:cubicBezTo>
                  <a:pt x="21593" y="11500"/>
                  <a:pt x="21500" y="11562"/>
                  <a:pt x="21375" y="11593"/>
                </a:cubicBezTo>
                <a:cubicBezTo>
                  <a:pt x="21343" y="11625"/>
                  <a:pt x="21312" y="11656"/>
                  <a:pt x="21281" y="11625"/>
                </a:cubicBezTo>
                <a:cubicBezTo>
                  <a:pt x="21250" y="11593"/>
                  <a:pt x="21281" y="11562"/>
                  <a:pt x="21312" y="11531"/>
                </a:cubicBezTo>
                <a:cubicBezTo>
                  <a:pt x="21343" y="11468"/>
                  <a:pt x="21375" y="11375"/>
                  <a:pt x="21468" y="11343"/>
                </a:cubicBezTo>
                <a:cubicBezTo>
                  <a:pt x="21500" y="11343"/>
                  <a:pt x="21468" y="11312"/>
                  <a:pt x="21500" y="11281"/>
                </a:cubicBezTo>
                <a:cubicBezTo>
                  <a:pt x="21531" y="11281"/>
                  <a:pt x="21500" y="11312"/>
                  <a:pt x="21531" y="11343"/>
                </a:cubicBezTo>
                <a:cubicBezTo>
                  <a:pt x="21562" y="11312"/>
                  <a:pt x="21593" y="11250"/>
                  <a:pt x="21562" y="11187"/>
                </a:cubicBezTo>
                <a:cubicBezTo>
                  <a:pt x="21531" y="11218"/>
                  <a:pt x="21562" y="11250"/>
                  <a:pt x="21531" y="11250"/>
                </a:cubicBezTo>
                <a:cubicBezTo>
                  <a:pt x="21531" y="11156"/>
                  <a:pt x="21531" y="11062"/>
                  <a:pt x="21437" y="10968"/>
                </a:cubicBezTo>
                <a:cubicBezTo>
                  <a:pt x="21406" y="10937"/>
                  <a:pt x="21375" y="10937"/>
                  <a:pt x="21343" y="10937"/>
                </a:cubicBezTo>
                <a:cubicBezTo>
                  <a:pt x="21281" y="10937"/>
                  <a:pt x="21250" y="10906"/>
                  <a:pt x="21187" y="10906"/>
                </a:cubicBezTo>
                <a:cubicBezTo>
                  <a:pt x="21062" y="10906"/>
                  <a:pt x="20906" y="10937"/>
                  <a:pt x="20781" y="11000"/>
                </a:cubicBezTo>
                <a:cubicBezTo>
                  <a:pt x="20437" y="11125"/>
                  <a:pt x="20093" y="11250"/>
                  <a:pt x="19781" y="11437"/>
                </a:cubicBezTo>
                <a:cubicBezTo>
                  <a:pt x="19656" y="11531"/>
                  <a:pt x="19531" y="11625"/>
                  <a:pt x="19406" y="11687"/>
                </a:cubicBezTo>
                <a:cubicBezTo>
                  <a:pt x="19218" y="11812"/>
                  <a:pt x="19031" y="11937"/>
                  <a:pt x="18843" y="12031"/>
                </a:cubicBezTo>
                <a:cubicBezTo>
                  <a:pt x="18593" y="12187"/>
                  <a:pt x="18343" y="12343"/>
                  <a:pt x="18093" y="12500"/>
                </a:cubicBezTo>
                <a:cubicBezTo>
                  <a:pt x="17812" y="12687"/>
                  <a:pt x="17562" y="12875"/>
                  <a:pt x="17312" y="13031"/>
                </a:cubicBezTo>
                <a:cubicBezTo>
                  <a:pt x="17031" y="13218"/>
                  <a:pt x="16781" y="13437"/>
                  <a:pt x="16500" y="13625"/>
                </a:cubicBezTo>
                <a:cubicBezTo>
                  <a:pt x="16312" y="13750"/>
                  <a:pt x="16156" y="13875"/>
                  <a:pt x="15968" y="14000"/>
                </a:cubicBezTo>
                <a:cubicBezTo>
                  <a:pt x="15781" y="14125"/>
                  <a:pt x="15625" y="14250"/>
                  <a:pt x="15468" y="14375"/>
                </a:cubicBezTo>
                <a:cubicBezTo>
                  <a:pt x="15406" y="14406"/>
                  <a:pt x="15343" y="14375"/>
                  <a:pt x="15281" y="14375"/>
                </a:cubicBezTo>
                <a:cubicBezTo>
                  <a:pt x="15312" y="14343"/>
                  <a:pt x="15343" y="14312"/>
                  <a:pt x="15375" y="14312"/>
                </a:cubicBezTo>
                <a:cubicBezTo>
                  <a:pt x="15406" y="14281"/>
                  <a:pt x="15437" y="14250"/>
                  <a:pt x="15468" y="14187"/>
                </a:cubicBezTo>
                <a:cubicBezTo>
                  <a:pt x="15500" y="14156"/>
                  <a:pt x="15468" y="14125"/>
                  <a:pt x="15437" y="14125"/>
                </a:cubicBezTo>
                <a:cubicBezTo>
                  <a:pt x="15375" y="14125"/>
                  <a:pt x="15312" y="14125"/>
                  <a:pt x="15281" y="14156"/>
                </a:cubicBezTo>
                <a:cubicBezTo>
                  <a:pt x="15250" y="14187"/>
                  <a:pt x="15218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187" y="14187"/>
                  <a:pt x="15187" y="14187"/>
                  <a:pt x="15187" y="14187"/>
                </a:cubicBezTo>
                <a:cubicBezTo>
                  <a:pt x="15343" y="14062"/>
                  <a:pt x="15500" y="13937"/>
                  <a:pt x="15687" y="13812"/>
                </a:cubicBezTo>
                <a:cubicBezTo>
                  <a:pt x="15718" y="13781"/>
                  <a:pt x="15781" y="13718"/>
                  <a:pt x="15843" y="13687"/>
                </a:cubicBezTo>
                <a:cubicBezTo>
                  <a:pt x="16250" y="13406"/>
                  <a:pt x="16625" y="13156"/>
                  <a:pt x="17031" y="12875"/>
                </a:cubicBezTo>
                <a:cubicBezTo>
                  <a:pt x="17156" y="12781"/>
                  <a:pt x="17250" y="12718"/>
                  <a:pt x="17343" y="12656"/>
                </a:cubicBezTo>
                <a:cubicBezTo>
                  <a:pt x="17500" y="12531"/>
                  <a:pt x="17656" y="12437"/>
                  <a:pt x="17812" y="12343"/>
                </a:cubicBezTo>
                <a:cubicBezTo>
                  <a:pt x="17812" y="12343"/>
                  <a:pt x="17812" y="12343"/>
                  <a:pt x="17812" y="12343"/>
                </a:cubicBezTo>
                <a:cubicBezTo>
                  <a:pt x="17812" y="12312"/>
                  <a:pt x="17812" y="12312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812" y="12281"/>
                </a:cubicBezTo>
                <a:cubicBezTo>
                  <a:pt x="17812" y="12281"/>
                  <a:pt x="17812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781" y="12281"/>
                  <a:pt x="17781" y="12281"/>
                  <a:pt x="17781" y="12281"/>
                </a:cubicBezTo>
                <a:cubicBezTo>
                  <a:pt x="17625" y="12343"/>
                  <a:pt x="17531" y="12437"/>
                  <a:pt x="17406" y="12500"/>
                </a:cubicBezTo>
                <a:cubicBezTo>
                  <a:pt x="17343" y="12562"/>
                  <a:pt x="17281" y="12593"/>
                  <a:pt x="17187" y="12625"/>
                </a:cubicBezTo>
                <a:cubicBezTo>
                  <a:pt x="17062" y="12656"/>
                  <a:pt x="17000" y="12750"/>
                  <a:pt x="16906" y="12812"/>
                </a:cubicBezTo>
                <a:cubicBezTo>
                  <a:pt x="16656" y="12937"/>
                  <a:pt x="16437" y="13093"/>
                  <a:pt x="16218" y="13250"/>
                </a:cubicBezTo>
                <a:cubicBezTo>
                  <a:pt x="15906" y="13468"/>
                  <a:pt x="15593" y="13687"/>
                  <a:pt x="15312" y="13906"/>
                </a:cubicBezTo>
                <a:cubicBezTo>
                  <a:pt x="15031" y="14125"/>
                  <a:pt x="14750" y="14312"/>
                  <a:pt x="14468" y="14500"/>
                </a:cubicBezTo>
                <a:cubicBezTo>
                  <a:pt x="14250" y="14656"/>
                  <a:pt x="14062" y="14812"/>
                  <a:pt x="13843" y="14968"/>
                </a:cubicBezTo>
                <a:cubicBezTo>
                  <a:pt x="13843" y="15062"/>
                  <a:pt x="13750" y="15093"/>
                  <a:pt x="13687" y="15156"/>
                </a:cubicBezTo>
                <a:cubicBezTo>
                  <a:pt x="13687" y="15187"/>
                  <a:pt x="13656" y="15187"/>
                  <a:pt x="13625" y="15218"/>
                </a:cubicBezTo>
                <a:cubicBezTo>
                  <a:pt x="13531" y="15250"/>
                  <a:pt x="13531" y="15312"/>
                  <a:pt x="13468" y="15375"/>
                </a:cubicBezTo>
                <a:cubicBezTo>
                  <a:pt x="13406" y="15437"/>
                  <a:pt x="13406" y="15437"/>
                  <a:pt x="13375" y="15500"/>
                </a:cubicBezTo>
                <a:cubicBezTo>
                  <a:pt x="13312" y="15531"/>
                  <a:pt x="13250" y="15562"/>
                  <a:pt x="13281" y="15625"/>
                </a:cubicBezTo>
                <a:cubicBezTo>
                  <a:pt x="13281" y="15656"/>
                  <a:pt x="13250" y="15656"/>
                  <a:pt x="13250" y="15687"/>
                </a:cubicBezTo>
                <a:cubicBezTo>
                  <a:pt x="13187" y="15718"/>
                  <a:pt x="13093" y="15781"/>
                  <a:pt x="13031" y="15843"/>
                </a:cubicBezTo>
                <a:cubicBezTo>
                  <a:pt x="13000" y="15843"/>
                  <a:pt x="13000" y="15875"/>
                  <a:pt x="12968" y="15875"/>
                </a:cubicBezTo>
                <a:cubicBezTo>
                  <a:pt x="12968" y="15875"/>
                  <a:pt x="12968" y="15875"/>
                  <a:pt x="12968" y="15875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968" y="15843"/>
                  <a:pt x="12968" y="15843"/>
                  <a:pt x="12968" y="15843"/>
                </a:cubicBezTo>
                <a:cubicBezTo>
                  <a:pt x="12875" y="15875"/>
                  <a:pt x="12812" y="15906"/>
                  <a:pt x="12750" y="15968"/>
                </a:cubicBezTo>
                <a:cubicBezTo>
                  <a:pt x="12593" y="16093"/>
                  <a:pt x="12406" y="16218"/>
                  <a:pt x="12250" y="16343"/>
                </a:cubicBezTo>
                <a:cubicBezTo>
                  <a:pt x="12250" y="16375"/>
                  <a:pt x="12218" y="16375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lnTo>
                  <a:pt x="12218" y="16406"/>
                </a:ln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ubicBezTo>
                  <a:pt x="12218" y="16406"/>
                  <a:pt x="12218" y="16406"/>
                  <a:pt x="12218" y="16406"/>
                </a:cubicBezTo>
                <a:close/>
                <a:moveTo>
                  <a:pt x="8062" y="19343"/>
                </a:moveTo>
                <a:cubicBezTo>
                  <a:pt x="8062" y="19343"/>
                  <a:pt x="8062" y="19343"/>
                  <a:pt x="8062" y="19343"/>
                </a:cubicBezTo>
                <a:cubicBezTo>
                  <a:pt x="8062" y="19343"/>
                  <a:pt x="8031" y="19375"/>
                  <a:pt x="8031" y="19375"/>
                </a:cubicBezTo>
                <a:cubicBezTo>
                  <a:pt x="8031" y="19375"/>
                  <a:pt x="8031" y="19375"/>
                  <a:pt x="8031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8000" y="19375"/>
                  <a:pt x="8000" y="19375"/>
                  <a:pt x="8000" y="19375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68" y="19406"/>
                  <a:pt x="7968" y="19406"/>
                  <a:pt x="7968" y="19406"/>
                </a:cubicBezTo>
                <a:cubicBezTo>
                  <a:pt x="7937" y="19406"/>
                  <a:pt x="7937" y="19406"/>
                  <a:pt x="7937" y="19437"/>
                </a:cubicBezTo>
                <a:cubicBezTo>
                  <a:pt x="7937" y="19437"/>
                  <a:pt x="7937" y="19437"/>
                  <a:pt x="7906" y="19437"/>
                </a:cubicBezTo>
                <a:cubicBezTo>
                  <a:pt x="7906" y="19437"/>
                  <a:pt x="7906" y="19437"/>
                  <a:pt x="7906" y="19437"/>
                </a:cubicBezTo>
                <a:cubicBezTo>
                  <a:pt x="7906" y="19437"/>
                  <a:pt x="7875" y="19437"/>
                  <a:pt x="7875" y="19468"/>
                </a:cubicBezTo>
                <a:cubicBezTo>
                  <a:pt x="7875" y="19468"/>
                  <a:pt x="7875" y="19468"/>
                  <a:pt x="7875" y="19468"/>
                </a:cubicBezTo>
                <a:cubicBezTo>
                  <a:pt x="7875" y="19468"/>
                  <a:pt x="7843" y="19468"/>
                  <a:pt x="7843" y="19468"/>
                </a:cubicBezTo>
                <a:cubicBezTo>
                  <a:pt x="7843" y="19500"/>
                  <a:pt x="7843" y="19500"/>
                  <a:pt x="7843" y="19500"/>
                </a:cubicBezTo>
                <a:cubicBezTo>
                  <a:pt x="7843" y="19500"/>
                  <a:pt x="7812" y="19500"/>
                  <a:pt x="7812" y="19531"/>
                </a:cubicBezTo>
                <a:cubicBezTo>
                  <a:pt x="7843" y="19531"/>
                  <a:pt x="7875" y="19500"/>
                  <a:pt x="7906" y="19500"/>
                </a:cubicBezTo>
                <a:cubicBezTo>
                  <a:pt x="7906" y="19500"/>
                  <a:pt x="7906" y="19500"/>
                  <a:pt x="7906" y="19500"/>
                </a:cubicBezTo>
                <a:cubicBezTo>
                  <a:pt x="7875" y="19531"/>
                  <a:pt x="7843" y="19562"/>
                  <a:pt x="7812" y="19593"/>
                </a:cubicBezTo>
                <a:cubicBezTo>
                  <a:pt x="7812" y="19625"/>
                  <a:pt x="7781" y="19625"/>
                  <a:pt x="7781" y="19656"/>
                </a:cubicBezTo>
                <a:cubicBezTo>
                  <a:pt x="7718" y="19687"/>
                  <a:pt x="7656" y="19718"/>
                  <a:pt x="7625" y="19750"/>
                </a:cubicBezTo>
                <a:cubicBezTo>
                  <a:pt x="7281" y="20031"/>
                  <a:pt x="7031" y="20093"/>
                  <a:pt x="7375" y="19812"/>
                </a:cubicBezTo>
                <a:cubicBezTo>
                  <a:pt x="7375" y="19812"/>
                  <a:pt x="7406" y="19781"/>
                  <a:pt x="7406" y="19781"/>
                </a:cubicBezTo>
                <a:cubicBezTo>
                  <a:pt x="7437" y="19750"/>
                  <a:pt x="7500" y="19718"/>
                  <a:pt x="7562" y="19656"/>
                </a:cubicBezTo>
                <a:cubicBezTo>
                  <a:pt x="7593" y="19625"/>
                  <a:pt x="7625" y="19625"/>
                  <a:pt x="7656" y="19593"/>
                </a:cubicBezTo>
                <a:cubicBezTo>
                  <a:pt x="7750" y="19500"/>
                  <a:pt x="7875" y="19437"/>
                  <a:pt x="7937" y="19343"/>
                </a:cubicBezTo>
                <a:cubicBezTo>
                  <a:pt x="8000" y="19281"/>
                  <a:pt x="8125" y="19218"/>
                  <a:pt x="8218" y="19156"/>
                </a:cubicBezTo>
                <a:cubicBezTo>
                  <a:pt x="8187" y="19218"/>
                  <a:pt x="8156" y="19250"/>
                  <a:pt x="8093" y="19281"/>
                </a:cubicBezTo>
                <a:cubicBezTo>
                  <a:pt x="8093" y="19312"/>
                  <a:pt x="8062" y="19312"/>
                  <a:pt x="8062" y="19343"/>
                </a:cubicBezTo>
                <a:close/>
                <a:moveTo>
                  <a:pt x="10062" y="18093"/>
                </a:moveTo>
                <a:cubicBezTo>
                  <a:pt x="10062" y="18125"/>
                  <a:pt x="10062" y="18125"/>
                  <a:pt x="10093" y="18125"/>
                </a:cubicBezTo>
                <a:cubicBezTo>
                  <a:pt x="10093" y="18125"/>
                  <a:pt x="10093" y="18125"/>
                  <a:pt x="10093" y="18125"/>
                </a:cubicBezTo>
                <a:cubicBezTo>
                  <a:pt x="10062" y="18125"/>
                  <a:pt x="10062" y="18156"/>
                  <a:pt x="10062" y="18156"/>
                </a:cubicBezTo>
                <a:cubicBezTo>
                  <a:pt x="9906" y="18281"/>
                  <a:pt x="9750" y="18406"/>
                  <a:pt x="9593" y="18531"/>
                </a:cubicBezTo>
                <a:cubicBezTo>
                  <a:pt x="9531" y="18562"/>
                  <a:pt x="9468" y="18625"/>
                  <a:pt x="9437" y="18656"/>
                </a:cubicBezTo>
                <a:cubicBezTo>
                  <a:pt x="9437" y="18656"/>
                  <a:pt x="9437" y="18656"/>
                  <a:pt x="9437" y="18656"/>
                </a:cubicBezTo>
                <a:cubicBezTo>
                  <a:pt x="9437" y="18687"/>
                  <a:pt x="9406" y="18687"/>
                  <a:pt x="9437" y="18687"/>
                </a:cubicBezTo>
                <a:cubicBezTo>
                  <a:pt x="9437" y="18687"/>
                  <a:pt x="9437" y="18687"/>
                  <a:pt x="9437" y="18687"/>
                </a:cubicBezTo>
                <a:cubicBezTo>
                  <a:pt x="9437" y="18718"/>
                  <a:pt x="9437" y="18687"/>
                  <a:pt x="9468" y="18687"/>
                </a:cubicBezTo>
                <a:cubicBezTo>
                  <a:pt x="9500" y="18687"/>
                  <a:pt x="9500" y="18625"/>
                  <a:pt x="9531" y="18656"/>
                </a:cubicBezTo>
                <a:cubicBezTo>
                  <a:pt x="9562" y="18750"/>
                  <a:pt x="9500" y="18812"/>
                  <a:pt x="9437" y="18875"/>
                </a:cubicBezTo>
                <a:cubicBezTo>
                  <a:pt x="9343" y="18937"/>
                  <a:pt x="9250" y="18968"/>
                  <a:pt x="9156" y="19062"/>
                </a:cubicBezTo>
                <a:cubicBezTo>
                  <a:pt x="9156" y="19062"/>
                  <a:pt x="9125" y="19093"/>
                  <a:pt x="9125" y="19062"/>
                </a:cubicBezTo>
                <a:cubicBezTo>
                  <a:pt x="9062" y="19000"/>
                  <a:pt x="9031" y="19062"/>
                  <a:pt x="9000" y="19093"/>
                </a:cubicBezTo>
                <a:cubicBezTo>
                  <a:pt x="8906" y="19156"/>
                  <a:pt x="8875" y="19250"/>
                  <a:pt x="8781" y="19312"/>
                </a:cubicBezTo>
                <a:cubicBezTo>
                  <a:pt x="8906" y="19343"/>
                  <a:pt x="8875" y="19156"/>
                  <a:pt x="9000" y="19218"/>
                </a:cubicBezTo>
                <a:cubicBezTo>
                  <a:pt x="8968" y="19250"/>
                  <a:pt x="8937" y="19281"/>
                  <a:pt x="8906" y="19312"/>
                </a:cubicBezTo>
                <a:cubicBezTo>
                  <a:pt x="8843" y="19343"/>
                  <a:pt x="8781" y="19375"/>
                  <a:pt x="8687" y="19406"/>
                </a:cubicBezTo>
                <a:cubicBezTo>
                  <a:pt x="8562" y="19437"/>
                  <a:pt x="8468" y="19531"/>
                  <a:pt x="8375" y="19593"/>
                </a:cubicBezTo>
                <a:cubicBezTo>
                  <a:pt x="8312" y="19625"/>
                  <a:pt x="8312" y="19656"/>
                  <a:pt x="8312" y="19718"/>
                </a:cubicBezTo>
                <a:cubicBezTo>
                  <a:pt x="8312" y="19718"/>
                  <a:pt x="8312" y="19718"/>
                  <a:pt x="8312" y="19718"/>
                </a:cubicBezTo>
                <a:cubicBezTo>
                  <a:pt x="8312" y="19718"/>
                  <a:pt x="8312" y="19687"/>
                  <a:pt x="8281" y="19687"/>
                </a:cubicBezTo>
                <a:cubicBezTo>
                  <a:pt x="8250" y="19687"/>
                  <a:pt x="8250" y="19718"/>
                  <a:pt x="8218" y="19718"/>
                </a:cubicBezTo>
                <a:cubicBezTo>
                  <a:pt x="8125" y="19781"/>
                  <a:pt x="8062" y="19875"/>
                  <a:pt x="8031" y="19937"/>
                </a:cubicBezTo>
                <a:cubicBezTo>
                  <a:pt x="8000" y="19968"/>
                  <a:pt x="8000" y="19968"/>
                  <a:pt x="8000" y="19968"/>
                </a:cubicBezTo>
                <a:cubicBezTo>
                  <a:pt x="8031" y="19906"/>
                  <a:pt x="8031" y="19781"/>
                  <a:pt x="8031" y="19718"/>
                </a:cubicBezTo>
                <a:cubicBezTo>
                  <a:pt x="8125" y="19625"/>
                  <a:pt x="8250" y="19531"/>
                  <a:pt x="8343" y="19437"/>
                </a:cubicBezTo>
                <a:cubicBezTo>
                  <a:pt x="8468" y="19343"/>
                  <a:pt x="8593" y="19250"/>
                  <a:pt x="8718" y="19156"/>
                </a:cubicBezTo>
                <a:cubicBezTo>
                  <a:pt x="8906" y="19031"/>
                  <a:pt x="9062" y="18906"/>
                  <a:pt x="9250" y="18750"/>
                </a:cubicBezTo>
                <a:cubicBezTo>
                  <a:pt x="9375" y="18625"/>
                  <a:pt x="9562" y="18562"/>
                  <a:pt x="9656" y="18406"/>
                </a:cubicBezTo>
                <a:cubicBezTo>
                  <a:pt x="9781" y="18250"/>
                  <a:pt x="9937" y="18187"/>
                  <a:pt x="10062" y="18093"/>
                </a:cubicBezTo>
                <a:close/>
                <a:moveTo>
                  <a:pt x="11937" y="15406"/>
                </a:moveTo>
                <a:cubicBezTo>
                  <a:pt x="11937" y="15406"/>
                  <a:pt x="11937" y="15406"/>
                  <a:pt x="11937" y="15406"/>
                </a:cubicBezTo>
                <a:cubicBezTo>
                  <a:pt x="11906" y="15406"/>
                  <a:pt x="11906" y="15437"/>
                  <a:pt x="11875" y="15468"/>
                </a:cubicBezTo>
                <a:cubicBezTo>
                  <a:pt x="11875" y="15468"/>
                  <a:pt x="11875" y="15468"/>
                  <a:pt x="11875" y="15468"/>
                </a:cubicBezTo>
                <a:cubicBezTo>
                  <a:pt x="11843" y="15468"/>
                  <a:pt x="11843" y="15468"/>
                  <a:pt x="11812" y="15500"/>
                </a:cubicBezTo>
                <a:cubicBezTo>
                  <a:pt x="11812" y="15500"/>
                  <a:pt x="11812" y="15500"/>
                  <a:pt x="11781" y="15531"/>
                </a:cubicBezTo>
                <a:cubicBezTo>
                  <a:pt x="11781" y="15531"/>
                  <a:pt x="11781" y="15531"/>
                  <a:pt x="11750" y="15531"/>
                </a:cubicBezTo>
                <a:cubicBezTo>
                  <a:pt x="11750" y="15531"/>
                  <a:pt x="11750" y="15562"/>
                  <a:pt x="11750" y="15562"/>
                </a:cubicBezTo>
                <a:cubicBezTo>
                  <a:pt x="11718" y="15562"/>
                  <a:pt x="11718" y="15562"/>
                  <a:pt x="11718" y="15593"/>
                </a:cubicBezTo>
                <a:cubicBezTo>
                  <a:pt x="11656" y="15593"/>
                  <a:pt x="11593" y="15656"/>
                  <a:pt x="11531" y="15718"/>
                </a:cubicBezTo>
                <a:cubicBezTo>
                  <a:pt x="11250" y="15937"/>
                  <a:pt x="10906" y="16125"/>
                  <a:pt x="10625" y="16375"/>
                </a:cubicBezTo>
                <a:cubicBezTo>
                  <a:pt x="10562" y="16437"/>
                  <a:pt x="10500" y="16468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500"/>
                </a:cubicBezTo>
                <a:cubicBezTo>
                  <a:pt x="10437" y="16500"/>
                  <a:pt x="10437" y="16500"/>
                  <a:pt x="10437" y="16468"/>
                </a:cubicBezTo>
                <a:cubicBezTo>
                  <a:pt x="10437" y="16468"/>
                  <a:pt x="10468" y="16468"/>
                  <a:pt x="10468" y="16468"/>
                </a:cubicBezTo>
                <a:cubicBezTo>
                  <a:pt x="10593" y="16343"/>
                  <a:pt x="10750" y="16250"/>
                  <a:pt x="10875" y="16125"/>
                </a:cubicBezTo>
                <a:cubicBezTo>
                  <a:pt x="11218" y="15875"/>
                  <a:pt x="11531" y="15625"/>
                  <a:pt x="11843" y="15375"/>
                </a:cubicBezTo>
                <a:cubicBezTo>
                  <a:pt x="12250" y="15093"/>
                  <a:pt x="12625" y="14812"/>
                  <a:pt x="13031" y="14500"/>
                </a:cubicBezTo>
                <a:cubicBezTo>
                  <a:pt x="13093" y="14500"/>
                  <a:pt x="13093" y="14500"/>
                  <a:pt x="13093" y="14500"/>
                </a:cubicBezTo>
                <a:cubicBezTo>
                  <a:pt x="12718" y="14812"/>
                  <a:pt x="12343" y="15093"/>
                  <a:pt x="11937" y="15406"/>
                </a:cubicBezTo>
                <a:close/>
                <a:moveTo>
                  <a:pt x="8531" y="3062"/>
                </a:moveTo>
                <a:cubicBezTo>
                  <a:pt x="8531" y="3062"/>
                  <a:pt x="8531" y="3062"/>
                  <a:pt x="8531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00" y="3062"/>
                  <a:pt x="8500" y="3062"/>
                  <a:pt x="8500" y="3062"/>
                </a:cubicBezTo>
                <a:cubicBezTo>
                  <a:pt x="8531" y="3062"/>
                  <a:pt x="8531" y="3062"/>
                  <a:pt x="8531" y="3062"/>
                </a:cubicBezTo>
                <a:close/>
                <a:moveTo>
                  <a:pt x="7718" y="20437"/>
                </a:move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50" y="20437"/>
                </a:cubicBezTo>
                <a:cubicBezTo>
                  <a:pt x="7750" y="20437"/>
                  <a:pt x="7750" y="20437"/>
                  <a:pt x="7718" y="20437"/>
                </a:cubicBezTo>
                <a:close/>
                <a:moveTo>
                  <a:pt x="8718" y="19843"/>
                </a:moveTo>
                <a:cubicBezTo>
                  <a:pt x="8687" y="19843"/>
                  <a:pt x="8656" y="19875"/>
                  <a:pt x="8625" y="19906"/>
                </a:cubicBezTo>
                <a:cubicBezTo>
                  <a:pt x="8656" y="19906"/>
                  <a:pt x="8656" y="19906"/>
                  <a:pt x="8656" y="19906"/>
                </a:cubicBezTo>
                <a:cubicBezTo>
                  <a:pt x="8687" y="19906"/>
                  <a:pt x="8718" y="19875"/>
                  <a:pt x="8718" y="19843"/>
                </a:cubicBezTo>
                <a:cubicBezTo>
                  <a:pt x="8750" y="19843"/>
                  <a:pt x="8750" y="19843"/>
                  <a:pt x="8750" y="19812"/>
                </a:cubicBezTo>
                <a:cubicBezTo>
                  <a:pt x="8750" y="19812"/>
                  <a:pt x="8750" y="19812"/>
                  <a:pt x="8750" y="19812"/>
                </a:cubicBezTo>
                <a:cubicBezTo>
                  <a:pt x="8718" y="19812"/>
                  <a:pt x="8718" y="19843"/>
                  <a:pt x="8718" y="19843"/>
                </a:cubicBezTo>
                <a:close/>
                <a:moveTo>
                  <a:pt x="9375" y="19312"/>
                </a:moveTo>
                <a:cubicBezTo>
                  <a:pt x="9375" y="19312"/>
                  <a:pt x="9375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12" y="19343"/>
                  <a:pt x="9312" y="19343"/>
                </a:cubicBezTo>
                <a:cubicBezTo>
                  <a:pt x="9250" y="19375"/>
                  <a:pt x="9187" y="19437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062" y="19500"/>
                  <a:pt x="9000" y="19562"/>
                  <a:pt x="8968" y="19656"/>
                </a:cubicBezTo>
                <a:cubicBezTo>
                  <a:pt x="9031" y="19593"/>
                  <a:pt x="9093" y="19562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56" y="19500"/>
                  <a:pt x="9156" y="19500"/>
                  <a:pt x="9156" y="19500"/>
                </a:cubicBezTo>
                <a:cubicBezTo>
                  <a:pt x="9187" y="19468"/>
                  <a:pt x="9218" y="19468"/>
                  <a:pt x="9250" y="19437"/>
                </a:cubicBezTo>
                <a:cubicBezTo>
                  <a:pt x="9250" y="19437"/>
                  <a:pt x="9250" y="19437"/>
                  <a:pt x="9250" y="19406"/>
                </a:cubicBezTo>
                <a:cubicBezTo>
                  <a:pt x="9281" y="19406"/>
                  <a:pt x="9312" y="19375"/>
                  <a:pt x="9312" y="19343"/>
                </a:cubicBezTo>
                <a:cubicBezTo>
                  <a:pt x="9312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43"/>
                </a:cubicBezTo>
                <a:cubicBezTo>
                  <a:pt x="9343" y="19343"/>
                  <a:pt x="9343" y="19343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43" y="19312"/>
                  <a:pt x="9343" y="19312"/>
                </a:cubicBezTo>
                <a:cubicBezTo>
                  <a:pt x="9343" y="19312"/>
                  <a:pt x="9375" y="19312"/>
                  <a:pt x="9375" y="19312"/>
                </a:cubicBezTo>
                <a:close/>
                <a:moveTo>
                  <a:pt x="12343" y="15437"/>
                </a:moveTo>
                <a:lnTo>
                  <a:pt x="12343" y="15437"/>
                </a:lnTo>
                <a:lnTo>
                  <a:pt x="12343" y="15437"/>
                </a:lnTo>
                <a:close/>
                <a:moveTo>
                  <a:pt x="15562" y="15125"/>
                </a:moveTo>
                <a:cubicBezTo>
                  <a:pt x="15562" y="15125"/>
                  <a:pt x="15562" y="15125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625" y="15093"/>
                  <a:pt x="15625" y="15093"/>
                </a:cubicBezTo>
                <a:cubicBezTo>
                  <a:pt x="15625" y="15062"/>
                  <a:pt x="15625" y="15062"/>
                  <a:pt x="15625" y="15062"/>
                </a:cubicBezTo>
                <a:cubicBezTo>
                  <a:pt x="15625" y="15031"/>
                  <a:pt x="15656" y="15031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cubicBezTo>
                  <a:pt x="15656" y="15000"/>
                  <a:pt x="15656" y="15000"/>
                  <a:pt x="15656" y="15000"/>
                </a:cubicBezTo>
                <a:lnTo>
                  <a:pt x="15656" y="15000"/>
                </a:lnTo>
                <a:cubicBezTo>
                  <a:pt x="15656" y="15000"/>
                  <a:pt x="15656" y="15000"/>
                  <a:pt x="15656" y="15000"/>
                </a:cubicBezTo>
                <a:cubicBezTo>
                  <a:pt x="15656" y="15031"/>
                  <a:pt x="15656" y="15062"/>
                  <a:pt x="15625" y="15062"/>
                </a:cubicBezTo>
                <a:cubicBezTo>
                  <a:pt x="15593" y="15062"/>
                  <a:pt x="15593" y="15062"/>
                  <a:pt x="15593" y="15062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093"/>
                </a:cubicBezTo>
                <a:cubicBezTo>
                  <a:pt x="15593" y="15093"/>
                  <a:pt x="15593" y="15093"/>
                  <a:pt x="15593" y="15125"/>
                </a:cubicBezTo>
                <a:cubicBezTo>
                  <a:pt x="15593" y="15125"/>
                  <a:pt x="15593" y="15125"/>
                  <a:pt x="15593" y="15125"/>
                </a:cubicBezTo>
                <a:cubicBezTo>
                  <a:pt x="15562" y="15125"/>
                  <a:pt x="15562" y="15125"/>
                  <a:pt x="15562" y="15125"/>
                </a:cubicBezTo>
                <a:cubicBezTo>
                  <a:pt x="15562" y="15125"/>
                  <a:pt x="15562" y="15125"/>
                  <a:pt x="15562" y="15125"/>
                </a:cubicBezTo>
                <a:close/>
                <a:moveTo>
                  <a:pt x="12250" y="15562"/>
                </a:move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ubicBezTo>
                  <a:pt x="12250" y="15562"/>
                  <a:pt x="12250" y="15562"/>
                  <a:pt x="12250" y="15562"/>
                </a:cubicBezTo>
                <a:close/>
                <a:moveTo>
                  <a:pt x="11656" y="17093"/>
                </a:moveTo>
                <a:cubicBezTo>
                  <a:pt x="11656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25" y="17093"/>
                </a:cubicBezTo>
                <a:cubicBezTo>
                  <a:pt x="11625" y="17093"/>
                  <a:pt x="11625" y="17093"/>
                  <a:pt x="11656" y="17093"/>
                </a:cubicBezTo>
                <a:cubicBezTo>
                  <a:pt x="11656" y="17093"/>
                  <a:pt x="11656" y="17093"/>
                  <a:pt x="11656" y="17093"/>
                </a:cubicBezTo>
                <a:close/>
                <a:moveTo>
                  <a:pt x="8406" y="4468"/>
                </a:moveTo>
                <a:cubicBezTo>
                  <a:pt x="8375" y="4468"/>
                  <a:pt x="8375" y="4468"/>
                  <a:pt x="8375" y="4468"/>
                </a:cubicBezTo>
                <a:cubicBezTo>
                  <a:pt x="8343" y="4468"/>
                  <a:pt x="8343" y="4500"/>
                  <a:pt x="8343" y="4500"/>
                </a:cubicBezTo>
                <a:cubicBezTo>
                  <a:pt x="8343" y="4500"/>
                  <a:pt x="8312" y="4500"/>
                  <a:pt x="8312" y="4531"/>
                </a:cubicBezTo>
                <a:cubicBezTo>
                  <a:pt x="8281" y="4531"/>
                  <a:pt x="8281" y="4562"/>
                  <a:pt x="8250" y="4593"/>
                </a:cubicBezTo>
                <a:cubicBezTo>
                  <a:pt x="8250" y="4593"/>
                  <a:pt x="8250" y="4593"/>
                  <a:pt x="8250" y="4625"/>
                </a:cubicBezTo>
                <a:cubicBezTo>
                  <a:pt x="8281" y="4625"/>
                  <a:pt x="8281" y="4593"/>
                  <a:pt x="8281" y="4593"/>
                </a:cubicBezTo>
                <a:cubicBezTo>
                  <a:pt x="8312" y="4593"/>
                  <a:pt x="8312" y="4562"/>
                  <a:pt x="8312" y="4531"/>
                </a:cubicBezTo>
                <a:cubicBezTo>
                  <a:pt x="8312" y="4531"/>
                  <a:pt x="8312" y="4531"/>
                  <a:pt x="8312" y="4531"/>
                </a:cubicBezTo>
                <a:cubicBezTo>
                  <a:pt x="8343" y="4531"/>
                  <a:pt x="8375" y="4500"/>
                  <a:pt x="8375" y="4468"/>
                </a:cubicBezTo>
                <a:cubicBezTo>
                  <a:pt x="8375" y="4468"/>
                  <a:pt x="8375" y="4468"/>
                  <a:pt x="8375" y="4468"/>
                </a:cubicBezTo>
                <a:cubicBezTo>
                  <a:pt x="8375" y="4468"/>
                  <a:pt x="8406" y="4468"/>
                  <a:pt x="8406" y="4468"/>
                </a:cubicBezTo>
                <a:cubicBezTo>
                  <a:pt x="8406" y="4468"/>
                  <a:pt x="8406" y="4468"/>
                  <a:pt x="8406" y="4468"/>
                </a:cubicBezTo>
                <a:close/>
                <a:moveTo>
                  <a:pt x="8906" y="19687"/>
                </a:moveTo>
                <a:cubicBezTo>
                  <a:pt x="8937" y="19687"/>
                  <a:pt x="8937" y="19687"/>
                  <a:pt x="8937" y="19687"/>
                </a:cubicBezTo>
                <a:cubicBezTo>
                  <a:pt x="8937" y="19687"/>
                  <a:pt x="8906" y="19656"/>
                  <a:pt x="8906" y="19656"/>
                </a:cubicBezTo>
                <a:cubicBezTo>
                  <a:pt x="8875" y="19687"/>
                  <a:pt x="8875" y="19687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43" y="19718"/>
                </a:cubicBezTo>
                <a:cubicBezTo>
                  <a:pt x="8843" y="19718"/>
                  <a:pt x="8812" y="19750"/>
                  <a:pt x="8812" y="19781"/>
                </a:cubicBezTo>
                <a:cubicBezTo>
                  <a:pt x="8812" y="19781"/>
                  <a:pt x="8812" y="19781"/>
                  <a:pt x="8812" y="19781"/>
                </a:cubicBezTo>
                <a:cubicBezTo>
                  <a:pt x="8812" y="19750"/>
                  <a:pt x="8812" y="19781"/>
                  <a:pt x="8781" y="19781"/>
                </a:cubicBezTo>
                <a:cubicBezTo>
                  <a:pt x="8781" y="19781"/>
                  <a:pt x="8781" y="19781"/>
                  <a:pt x="8781" y="19812"/>
                </a:cubicBezTo>
                <a:cubicBezTo>
                  <a:pt x="8812" y="19812"/>
                  <a:pt x="8812" y="19781"/>
                  <a:pt x="8812" y="19781"/>
                </a:cubicBezTo>
                <a:cubicBezTo>
                  <a:pt x="8843" y="19781"/>
                  <a:pt x="8875" y="19750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875" y="19718"/>
                  <a:pt x="8875" y="19718"/>
                  <a:pt x="8875" y="19718"/>
                </a:cubicBezTo>
                <a:cubicBezTo>
                  <a:pt x="8906" y="19718"/>
                  <a:pt x="8906" y="19718"/>
                  <a:pt x="8906" y="19687"/>
                </a:cubicBezTo>
                <a:close/>
                <a:moveTo>
                  <a:pt x="11718" y="17593"/>
                </a:moveTo>
                <a:cubicBezTo>
                  <a:pt x="11718" y="17593"/>
                  <a:pt x="11718" y="17593"/>
                  <a:pt x="11718" y="17593"/>
                </a:cubicBezTo>
                <a:cubicBezTo>
                  <a:pt x="11687" y="17625"/>
                  <a:pt x="11687" y="17625"/>
                  <a:pt x="11656" y="17656"/>
                </a:cubicBezTo>
                <a:cubicBezTo>
                  <a:pt x="11625" y="17656"/>
                  <a:pt x="11625" y="17656"/>
                  <a:pt x="11625" y="17687"/>
                </a:cubicBezTo>
                <a:cubicBezTo>
                  <a:pt x="11625" y="17687"/>
                  <a:pt x="11625" y="17687"/>
                  <a:pt x="11625" y="17718"/>
                </a:cubicBezTo>
                <a:cubicBezTo>
                  <a:pt x="11625" y="17687"/>
                  <a:pt x="11656" y="17687"/>
                  <a:pt x="11656" y="17656"/>
                </a:cubicBezTo>
                <a:cubicBezTo>
                  <a:pt x="11687" y="17656"/>
                  <a:pt x="11718" y="17656"/>
                  <a:pt x="11718" y="17593"/>
                </a:cubicBezTo>
                <a:close/>
                <a:moveTo>
                  <a:pt x="5062" y="3750"/>
                </a:moveTo>
                <a:cubicBezTo>
                  <a:pt x="5093" y="3718"/>
                  <a:pt x="5093" y="3718"/>
                  <a:pt x="5125" y="3687"/>
                </a:cubicBezTo>
                <a:cubicBezTo>
                  <a:pt x="5125" y="3687"/>
                  <a:pt x="5125" y="3687"/>
                  <a:pt x="5125" y="3656"/>
                </a:cubicBezTo>
                <a:cubicBezTo>
                  <a:pt x="5125" y="3656"/>
                  <a:pt x="5156" y="3656"/>
                  <a:pt x="5156" y="3656"/>
                </a:cubicBezTo>
                <a:cubicBezTo>
                  <a:pt x="5156" y="3625"/>
                  <a:pt x="5187" y="3625"/>
                  <a:pt x="5187" y="3625"/>
                </a:cubicBezTo>
                <a:cubicBezTo>
                  <a:pt x="5218" y="3593"/>
                  <a:pt x="5218" y="3593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50" y="3562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81" y="3531"/>
                  <a:pt x="5281" y="3500"/>
                  <a:pt x="5281" y="3500"/>
                </a:cubicBezTo>
                <a:cubicBezTo>
                  <a:pt x="5281" y="3500"/>
                  <a:pt x="5312" y="3500"/>
                  <a:pt x="5312" y="3468"/>
                </a:cubicBezTo>
                <a:cubicBezTo>
                  <a:pt x="5312" y="3468"/>
                  <a:pt x="5312" y="3468"/>
                  <a:pt x="5312" y="3437"/>
                </a:cubicBezTo>
                <a:cubicBezTo>
                  <a:pt x="5281" y="3468"/>
                  <a:pt x="5281" y="3468"/>
                  <a:pt x="5281" y="3500"/>
                </a:cubicBezTo>
                <a:cubicBezTo>
                  <a:pt x="5250" y="3500"/>
                  <a:pt x="5250" y="3500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50" y="3531"/>
                  <a:pt x="5250" y="3531"/>
                  <a:pt x="5250" y="3531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218" y="3562"/>
                  <a:pt x="5218" y="3562"/>
                  <a:pt x="5218" y="3562"/>
                </a:cubicBezTo>
                <a:cubicBezTo>
                  <a:pt x="5187" y="3593"/>
                  <a:pt x="5156" y="3625"/>
                  <a:pt x="5156" y="3656"/>
                </a:cubicBezTo>
                <a:cubicBezTo>
                  <a:pt x="5156" y="3656"/>
                  <a:pt x="5156" y="3656"/>
                  <a:pt x="5156" y="3656"/>
                </a:cubicBezTo>
                <a:cubicBezTo>
                  <a:pt x="5125" y="3656"/>
                  <a:pt x="5125" y="3656"/>
                  <a:pt x="5125" y="3656"/>
                </a:cubicBezTo>
                <a:cubicBezTo>
                  <a:pt x="5125" y="3687"/>
                  <a:pt x="5125" y="3687"/>
                  <a:pt x="5125" y="3687"/>
                </a:cubicBezTo>
                <a:cubicBezTo>
                  <a:pt x="5093" y="3687"/>
                  <a:pt x="5093" y="3687"/>
                  <a:pt x="5093" y="3687"/>
                </a:cubicBezTo>
                <a:cubicBezTo>
                  <a:pt x="5062" y="3718"/>
                  <a:pt x="5062" y="3718"/>
                  <a:pt x="5062" y="3750"/>
                </a:cubicBezTo>
                <a:cubicBezTo>
                  <a:pt x="5062" y="3750"/>
                  <a:pt x="5062" y="3750"/>
                  <a:pt x="5062" y="3750"/>
                </a:cubicBezTo>
                <a:cubicBezTo>
                  <a:pt x="5062" y="3750"/>
                  <a:pt x="5031" y="3750"/>
                  <a:pt x="5031" y="3781"/>
                </a:cubicBezTo>
                <a:cubicBezTo>
                  <a:pt x="5031" y="3781"/>
                  <a:pt x="5031" y="3781"/>
                  <a:pt x="5031" y="3812"/>
                </a:cubicBezTo>
                <a:cubicBezTo>
                  <a:pt x="5031" y="3781"/>
                  <a:pt x="5062" y="3781"/>
                  <a:pt x="5062" y="3750"/>
                </a:cubicBezTo>
                <a:close/>
                <a:moveTo>
                  <a:pt x="17125" y="12031"/>
                </a:moveTo>
                <a:cubicBezTo>
                  <a:pt x="17125" y="12031"/>
                  <a:pt x="17125" y="12062"/>
                  <a:pt x="17125" y="12062"/>
                </a:cubicBezTo>
                <a:cubicBezTo>
                  <a:pt x="17156" y="12062"/>
                  <a:pt x="17156" y="12062"/>
                  <a:pt x="17187" y="12031"/>
                </a:cubicBezTo>
                <a:cubicBezTo>
                  <a:pt x="17281" y="12000"/>
                  <a:pt x="17343" y="11937"/>
                  <a:pt x="17406" y="11875"/>
                </a:cubicBezTo>
                <a:cubicBezTo>
                  <a:pt x="17406" y="11875"/>
                  <a:pt x="17375" y="11906"/>
                  <a:pt x="17343" y="11906"/>
                </a:cubicBezTo>
                <a:cubicBezTo>
                  <a:pt x="17281" y="11937"/>
                  <a:pt x="17218" y="11937"/>
                  <a:pt x="17187" y="12031"/>
                </a:cubicBezTo>
                <a:cubicBezTo>
                  <a:pt x="17187" y="12031"/>
                  <a:pt x="17187" y="12031"/>
                  <a:pt x="17187" y="12031"/>
                </a:cubicBezTo>
                <a:cubicBezTo>
                  <a:pt x="17156" y="12000"/>
                  <a:pt x="17156" y="12031"/>
                  <a:pt x="17125" y="12031"/>
                </a:cubicBezTo>
                <a:close/>
                <a:moveTo>
                  <a:pt x="12281" y="15562"/>
                </a:moveTo>
                <a:cubicBezTo>
                  <a:pt x="12312" y="15500"/>
                  <a:pt x="12312" y="15500"/>
                  <a:pt x="12343" y="15468"/>
                </a:cubicBezTo>
                <a:cubicBezTo>
                  <a:pt x="12281" y="15468"/>
                  <a:pt x="12250" y="15500"/>
                  <a:pt x="12281" y="15562"/>
                </a:cubicBezTo>
                <a:close/>
                <a:moveTo>
                  <a:pt x="14500" y="14593"/>
                </a:moveTo>
                <a:cubicBezTo>
                  <a:pt x="14593" y="14562"/>
                  <a:pt x="14593" y="14562"/>
                  <a:pt x="14593" y="14500"/>
                </a:cubicBezTo>
                <a:cubicBezTo>
                  <a:pt x="14562" y="14531"/>
                  <a:pt x="14531" y="14531"/>
                  <a:pt x="14500" y="14593"/>
                </a:cubicBezTo>
                <a:close/>
                <a:moveTo>
                  <a:pt x="14531" y="3312"/>
                </a:moveTo>
                <a:cubicBezTo>
                  <a:pt x="14531" y="3250"/>
                  <a:pt x="14531" y="3187"/>
                  <a:pt x="14500" y="3093"/>
                </a:cubicBezTo>
                <a:cubicBezTo>
                  <a:pt x="14500" y="3187"/>
                  <a:pt x="14500" y="3250"/>
                  <a:pt x="14531" y="3312"/>
                </a:cubicBezTo>
                <a:close/>
                <a:moveTo>
                  <a:pt x="17718" y="16750"/>
                </a:moveTo>
                <a:cubicBezTo>
                  <a:pt x="17656" y="16781"/>
                  <a:pt x="17593" y="16812"/>
                  <a:pt x="17562" y="16875"/>
                </a:cubicBezTo>
                <a:cubicBezTo>
                  <a:pt x="17625" y="16843"/>
                  <a:pt x="17687" y="16812"/>
                  <a:pt x="17718" y="16750"/>
                </a:cubicBezTo>
                <a:close/>
                <a:moveTo>
                  <a:pt x="21156" y="8406"/>
                </a:moveTo>
                <a:cubicBezTo>
                  <a:pt x="21250" y="8406"/>
                  <a:pt x="21312" y="8375"/>
                  <a:pt x="21406" y="8375"/>
                </a:cubicBezTo>
                <a:cubicBezTo>
                  <a:pt x="21312" y="8343"/>
                  <a:pt x="21250" y="8406"/>
                  <a:pt x="21156" y="8406"/>
                </a:cubicBezTo>
                <a:close/>
                <a:moveTo>
                  <a:pt x="17593" y="11750"/>
                </a:moveTo>
                <a:cubicBezTo>
                  <a:pt x="17500" y="11781"/>
                  <a:pt x="17500" y="11781"/>
                  <a:pt x="17468" y="11875"/>
                </a:cubicBezTo>
                <a:cubicBezTo>
                  <a:pt x="17500" y="11843"/>
                  <a:pt x="17562" y="11812"/>
                  <a:pt x="17593" y="11750"/>
                </a:cubicBezTo>
                <a:close/>
                <a:moveTo>
                  <a:pt x="9406" y="18781"/>
                </a:moveTo>
                <a:cubicBezTo>
                  <a:pt x="9343" y="18781"/>
                  <a:pt x="9312" y="18812"/>
                  <a:pt x="9281" y="18875"/>
                </a:cubicBezTo>
                <a:cubicBezTo>
                  <a:pt x="9281" y="18875"/>
                  <a:pt x="9312" y="18906"/>
                  <a:pt x="9343" y="18906"/>
                </a:cubicBezTo>
                <a:cubicBezTo>
                  <a:pt x="9375" y="18875"/>
                  <a:pt x="9406" y="18843"/>
                  <a:pt x="9406" y="18812"/>
                </a:cubicBezTo>
                <a:cubicBezTo>
                  <a:pt x="9437" y="18781"/>
                  <a:pt x="9406" y="18781"/>
                  <a:pt x="9406" y="18781"/>
                </a:cubicBezTo>
                <a:close/>
                <a:moveTo>
                  <a:pt x="12531" y="16218"/>
                </a:moveTo>
                <a:cubicBezTo>
                  <a:pt x="12593" y="16187"/>
                  <a:pt x="12656" y="16125"/>
                  <a:pt x="12687" y="16093"/>
                </a:cubicBezTo>
                <a:cubicBezTo>
                  <a:pt x="12625" y="16125"/>
                  <a:pt x="12562" y="16125"/>
                  <a:pt x="12531" y="16218"/>
                </a:cubicBezTo>
                <a:close/>
                <a:moveTo>
                  <a:pt x="11625" y="16906"/>
                </a:moveTo>
                <a:cubicBezTo>
                  <a:pt x="11625" y="16906"/>
                  <a:pt x="11625" y="16906"/>
                  <a:pt x="11625" y="16937"/>
                </a:cubicBezTo>
                <a:cubicBezTo>
                  <a:pt x="11625" y="16937"/>
                  <a:pt x="11593" y="16937"/>
                  <a:pt x="11593" y="16937"/>
                </a:cubicBezTo>
                <a:cubicBezTo>
                  <a:pt x="11468" y="17031"/>
                  <a:pt x="11343" y="17125"/>
                  <a:pt x="11218" y="17218"/>
                </a:cubicBezTo>
                <a:cubicBezTo>
                  <a:pt x="11187" y="17250"/>
                  <a:pt x="11187" y="17250"/>
                  <a:pt x="11218" y="17281"/>
                </a:cubicBezTo>
                <a:cubicBezTo>
                  <a:pt x="11218" y="17281"/>
                  <a:pt x="11250" y="17281"/>
                  <a:pt x="11250" y="17250"/>
                </a:cubicBezTo>
                <a:cubicBezTo>
                  <a:pt x="11312" y="17187"/>
                  <a:pt x="11406" y="17156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125"/>
                  <a:pt x="11468" y="17125"/>
                </a:cubicBezTo>
                <a:cubicBezTo>
                  <a:pt x="11468" y="17156"/>
                  <a:pt x="11468" y="17156"/>
                  <a:pt x="11468" y="17156"/>
                </a:cubicBezTo>
                <a:cubicBezTo>
                  <a:pt x="11500" y="17187"/>
                  <a:pt x="11500" y="17187"/>
                  <a:pt x="11531" y="17187"/>
                </a:cubicBezTo>
                <a:cubicBezTo>
                  <a:pt x="11562" y="17187"/>
                  <a:pt x="11562" y="17156"/>
                  <a:pt x="11593" y="17156"/>
                </a:cubicBezTo>
                <a:cubicBezTo>
                  <a:pt x="11593" y="17125"/>
                  <a:pt x="11562" y="17125"/>
                  <a:pt x="11562" y="17125"/>
                </a:cubicBezTo>
                <a:cubicBezTo>
                  <a:pt x="11562" y="17125"/>
                  <a:pt x="11562" y="17125"/>
                  <a:pt x="11562" y="17125"/>
                </a:cubicBezTo>
                <a:cubicBezTo>
                  <a:pt x="11562" y="17093"/>
                  <a:pt x="11562" y="17062"/>
                  <a:pt x="11562" y="17062"/>
                </a:cubicBezTo>
                <a:cubicBezTo>
                  <a:pt x="11531" y="17062"/>
                  <a:pt x="11531" y="17062"/>
                  <a:pt x="11531" y="17062"/>
                </a:cubicBezTo>
                <a:cubicBezTo>
                  <a:pt x="11500" y="17062"/>
                  <a:pt x="11500" y="17062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93"/>
                  <a:pt x="11468" y="17093"/>
                  <a:pt x="11468" y="17093"/>
                </a:cubicBezTo>
                <a:cubicBezTo>
                  <a:pt x="11468" y="17062"/>
                  <a:pt x="11468" y="17062"/>
                  <a:pt x="11468" y="17062"/>
                </a:cubicBezTo>
                <a:cubicBezTo>
                  <a:pt x="11531" y="17000"/>
                  <a:pt x="11593" y="17000"/>
                  <a:pt x="11625" y="16937"/>
                </a:cubicBezTo>
                <a:cubicBezTo>
                  <a:pt x="11656" y="16906"/>
                  <a:pt x="11687" y="16906"/>
                  <a:pt x="11718" y="16875"/>
                </a:cubicBezTo>
                <a:cubicBezTo>
                  <a:pt x="11750" y="16875"/>
                  <a:pt x="11781" y="16843"/>
                  <a:pt x="11781" y="16812"/>
                </a:cubicBezTo>
                <a:cubicBezTo>
                  <a:pt x="11718" y="16812"/>
                  <a:pt x="11687" y="16843"/>
                  <a:pt x="11625" y="16906"/>
                </a:cubicBezTo>
                <a:close/>
                <a:moveTo>
                  <a:pt x="3812" y="6968"/>
                </a:moveTo>
                <a:cubicBezTo>
                  <a:pt x="3812" y="6937"/>
                  <a:pt x="3843" y="6906"/>
                  <a:pt x="3843" y="6843"/>
                </a:cubicBezTo>
                <a:cubicBezTo>
                  <a:pt x="3781" y="6875"/>
                  <a:pt x="3781" y="6937"/>
                  <a:pt x="3781" y="6968"/>
                </a:cubicBezTo>
                <a:cubicBezTo>
                  <a:pt x="3750" y="7000"/>
                  <a:pt x="3718" y="7000"/>
                  <a:pt x="3750" y="7062"/>
                </a:cubicBezTo>
                <a:cubicBezTo>
                  <a:pt x="3781" y="7031"/>
                  <a:pt x="3781" y="7000"/>
                  <a:pt x="3781" y="6968"/>
                </a:cubicBezTo>
                <a:cubicBezTo>
                  <a:pt x="3781" y="6968"/>
                  <a:pt x="3781" y="6968"/>
                  <a:pt x="3812" y="6968"/>
                </a:cubicBezTo>
                <a:close/>
                <a:moveTo>
                  <a:pt x="14625" y="3250"/>
                </a:moveTo>
                <a:cubicBezTo>
                  <a:pt x="14593" y="3250"/>
                  <a:pt x="14593" y="3250"/>
                  <a:pt x="14593" y="3250"/>
                </a:cubicBezTo>
                <a:cubicBezTo>
                  <a:pt x="14562" y="3375"/>
                  <a:pt x="14593" y="3468"/>
                  <a:pt x="14625" y="3593"/>
                </a:cubicBezTo>
                <a:cubicBezTo>
                  <a:pt x="14625" y="3468"/>
                  <a:pt x="14625" y="3375"/>
                  <a:pt x="14625" y="3250"/>
                </a:cubicBezTo>
                <a:close/>
                <a:moveTo>
                  <a:pt x="17093" y="15593"/>
                </a:moveTo>
                <a:cubicBezTo>
                  <a:pt x="17156" y="15531"/>
                  <a:pt x="17250" y="15468"/>
                  <a:pt x="17312" y="15406"/>
                </a:cubicBezTo>
                <a:cubicBezTo>
                  <a:pt x="17218" y="15437"/>
                  <a:pt x="17156" y="15500"/>
                  <a:pt x="17093" y="15593"/>
                </a:cubicBezTo>
                <a:close/>
                <a:moveTo>
                  <a:pt x="12437" y="16468"/>
                </a:moveTo>
                <a:cubicBezTo>
                  <a:pt x="12406" y="16468"/>
                  <a:pt x="12375" y="16500"/>
                  <a:pt x="12375" y="16500"/>
                </a:cubicBezTo>
                <a:cubicBezTo>
                  <a:pt x="12281" y="16562"/>
                  <a:pt x="12218" y="16593"/>
                  <a:pt x="12187" y="16656"/>
                </a:cubicBezTo>
                <a:cubicBezTo>
                  <a:pt x="12156" y="16687"/>
                  <a:pt x="12093" y="16718"/>
                  <a:pt x="12062" y="16718"/>
                </a:cubicBezTo>
                <a:cubicBezTo>
                  <a:pt x="12031" y="16750"/>
                  <a:pt x="12000" y="16781"/>
                  <a:pt x="12000" y="16812"/>
                </a:cubicBezTo>
                <a:cubicBezTo>
                  <a:pt x="12062" y="16812"/>
                  <a:pt x="12156" y="16750"/>
                  <a:pt x="12187" y="16656"/>
                </a:cubicBezTo>
                <a:cubicBezTo>
                  <a:pt x="12187" y="16656"/>
                  <a:pt x="12218" y="16656"/>
                  <a:pt x="12218" y="16656"/>
                </a:cubicBezTo>
                <a:cubicBezTo>
                  <a:pt x="12343" y="16593"/>
                  <a:pt x="12406" y="16500"/>
                  <a:pt x="12500" y="16406"/>
                </a:cubicBezTo>
                <a:cubicBezTo>
                  <a:pt x="12500" y="16406"/>
                  <a:pt x="12500" y="16406"/>
                  <a:pt x="12500" y="16406"/>
                </a:cubicBezTo>
                <a:cubicBezTo>
                  <a:pt x="12531" y="16406"/>
                  <a:pt x="12562" y="16406"/>
                  <a:pt x="12562" y="16375"/>
                </a:cubicBezTo>
                <a:cubicBezTo>
                  <a:pt x="12562" y="16375"/>
                  <a:pt x="12562" y="16375"/>
                  <a:pt x="12562" y="16375"/>
                </a:cubicBezTo>
                <a:cubicBezTo>
                  <a:pt x="12531" y="16375"/>
                  <a:pt x="12531" y="16406"/>
                  <a:pt x="12500" y="16406"/>
                </a:cubicBezTo>
                <a:cubicBezTo>
                  <a:pt x="12468" y="16437"/>
                  <a:pt x="12437" y="16437"/>
                  <a:pt x="12437" y="16468"/>
                </a:cubicBezTo>
                <a:close/>
                <a:moveTo>
                  <a:pt x="7781" y="20500"/>
                </a:moveTo>
                <a:cubicBezTo>
                  <a:pt x="7781" y="20500"/>
                  <a:pt x="7781" y="20531"/>
                  <a:pt x="7781" y="20531"/>
                </a:cubicBezTo>
                <a:cubicBezTo>
                  <a:pt x="7781" y="20562"/>
                  <a:pt x="7812" y="20562"/>
                  <a:pt x="7812" y="20531"/>
                </a:cubicBezTo>
                <a:cubicBezTo>
                  <a:pt x="7875" y="20500"/>
                  <a:pt x="7937" y="20437"/>
                  <a:pt x="7968" y="20406"/>
                </a:cubicBezTo>
                <a:cubicBezTo>
                  <a:pt x="7968" y="20375"/>
                  <a:pt x="7968" y="20375"/>
                  <a:pt x="7968" y="20375"/>
                </a:cubicBezTo>
                <a:cubicBezTo>
                  <a:pt x="7937" y="20406"/>
                  <a:pt x="7875" y="20406"/>
                  <a:pt x="7843" y="20437"/>
                </a:cubicBezTo>
                <a:cubicBezTo>
                  <a:pt x="7812" y="20468"/>
                  <a:pt x="7781" y="20468"/>
                  <a:pt x="7781" y="20500"/>
                </a:cubicBezTo>
                <a:close/>
                <a:moveTo>
                  <a:pt x="15187" y="18562"/>
                </a:moveTo>
                <a:cubicBezTo>
                  <a:pt x="15312" y="18593"/>
                  <a:pt x="15437" y="18593"/>
                  <a:pt x="15562" y="18531"/>
                </a:cubicBezTo>
                <a:cubicBezTo>
                  <a:pt x="15437" y="18500"/>
                  <a:pt x="15343" y="18531"/>
                  <a:pt x="15250" y="18468"/>
                </a:cubicBezTo>
                <a:cubicBezTo>
                  <a:pt x="15250" y="18531"/>
                  <a:pt x="15281" y="18531"/>
                  <a:pt x="15281" y="18531"/>
                </a:cubicBezTo>
                <a:cubicBezTo>
                  <a:pt x="15250" y="18562"/>
                  <a:pt x="15218" y="18562"/>
                  <a:pt x="15187" y="18562"/>
                </a:cubicBezTo>
                <a:close/>
                <a:moveTo>
                  <a:pt x="16437" y="15718"/>
                </a:moveTo>
                <a:cubicBezTo>
                  <a:pt x="16437" y="15718"/>
                  <a:pt x="16500" y="15718"/>
                  <a:pt x="16531" y="15718"/>
                </a:cubicBezTo>
                <a:cubicBezTo>
                  <a:pt x="16531" y="15718"/>
                  <a:pt x="16593" y="15687"/>
                  <a:pt x="16593" y="15656"/>
                </a:cubicBezTo>
                <a:cubicBezTo>
                  <a:pt x="16562" y="15656"/>
                  <a:pt x="16562" y="15625"/>
                  <a:pt x="16562" y="15625"/>
                </a:cubicBezTo>
                <a:cubicBezTo>
                  <a:pt x="16593" y="15625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62"/>
                  <a:pt x="16656" y="15562"/>
                </a:cubicBezTo>
                <a:cubicBezTo>
                  <a:pt x="16625" y="15562"/>
                  <a:pt x="16625" y="15562"/>
                  <a:pt x="16625" y="15562"/>
                </a:cubicBezTo>
                <a:cubicBezTo>
                  <a:pt x="16625" y="15562"/>
                  <a:pt x="16625" y="15562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625" y="15593"/>
                  <a:pt x="16625" y="15593"/>
                  <a:pt x="16625" y="15593"/>
                </a:cubicBezTo>
                <a:cubicBezTo>
                  <a:pt x="16593" y="15593"/>
                  <a:pt x="16562" y="15593"/>
                  <a:pt x="16531" y="15593"/>
                </a:cubicBezTo>
                <a:cubicBezTo>
                  <a:pt x="16468" y="15593"/>
                  <a:pt x="16468" y="15625"/>
                  <a:pt x="16468" y="15656"/>
                </a:cubicBezTo>
                <a:cubicBezTo>
                  <a:pt x="16468" y="15656"/>
                  <a:pt x="16468" y="15687"/>
                  <a:pt x="16468" y="15687"/>
                </a:cubicBezTo>
                <a:cubicBezTo>
                  <a:pt x="16468" y="15687"/>
                  <a:pt x="16406" y="15687"/>
                  <a:pt x="16437" y="15718"/>
                </a:cubicBezTo>
                <a:close/>
                <a:moveTo>
                  <a:pt x="15468" y="19625"/>
                </a:moveTo>
                <a:cubicBezTo>
                  <a:pt x="15343" y="19625"/>
                  <a:pt x="15187" y="19625"/>
                  <a:pt x="15062" y="19656"/>
                </a:cubicBezTo>
                <a:cubicBezTo>
                  <a:pt x="15187" y="19718"/>
                  <a:pt x="15343" y="19656"/>
                  <a:pt x="15468" y="19625"/>
                </a:cubicBezTo>
                <a:close/>
                <a:moveTo>
                  <a:pt x="6156" y="2656"/>
                </a:moveTo>
                <a:cubicBezTo>
                  <a:pt x="6250" y="2562"/>
                  <a:pt x="6343" y="2468"/>
                  <a:pt x="6437" y="2406"/>
                </a:cubicBezTo>
                <a:cubicBezTo>
                  <a:pt x="6437" y="2375"/>
                  <a:pt x="6437" y="2375"/>
                  <a:pt x="6437" y="2375"/>
                </a:cubicBezTo>
                <a:cubicBezTo>
                  <a:pt x="6500" y="2312"/>
                  <a:pt x="6562" y="2281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25" y="2218"/>
                  <a:pt x="6625" y="2218"/>
                </a:cubicBezTo>
                <a:cubicBezTo>
                  <a:pt x="6625" y="2218"/>
                  <a:pt x="6656" y="2218"/>
                  <a:pt x="6656" y="2187"/>
                </a:cubicBezTo>
                <a:cubicBezTo>
                  <a:pt x="6656" y="2187"/>
                  <a:pt x="6656" y="2187"/>
                  <a:pt x="6656" y="2187"/>
                </a:cubicBezTo>
                <a:cubicBezTo>
                  <a:pt x="6718" y="2125"/>
                  <a:pt x="6781" y="2093"/>
                  <a:pt x="6843" y="2031"/>
                </a:cubicBezTo>
                <a:cubicBezTo>
                  <a:pt x="6906" y="1968"/>
                  <a:pt x="7000" y="1937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62" y="1843"/>
                  <a:pt x="7062" y="1843"/>
                  <a:pt x="7062" y="1843"/>
                </a:cubicBezTo>
                <a:cubicBezTo>
                  <a:pt x="7093" y="1843"/>
                  <a:pt x="7125" y="1843"/>
                  <a:pt x="7125" y="1781"/>
                </a:cubicBezTo>
                <a:cubicBezTo>
                  <a:pt x="7093" y="1781"/>
                  <a:pt x="7062" y="1812"/>
                  <a:pt x="7031" y="1843"/>
                </a:cubicBezTo>
                <a:cubicBezTo>
                  <a:pt x="6937" y="1906"/>
                  <a:pt x="6875" y="1968"/>
                  <a:pt x="6781" y="2031"/>
                </a:cubicBezTo>
                <a:cubicBezTo>
                  <a:pt x="6718" y="2093"/>
                  <a:pt x="6656" y="2125"/>
                  <a:pt x="6625" y="2218"/>
                </a:cubicBezTo>
                <a:cubicBezTo>
                  <a:pt x="6593" y="2218"/>
                  <a:pt x="6593" y="2218"/>
                  <a:pt x="6562" y="2218"/>
                </a:cubicBezTo>
                <a:cubicBezTo>
                  <a:pt x="6468" y="2312"/>
                  <a:pt x="6343" y="2437"/>
                  <a:pt x="6218" y="2531"/>
                </a:cubicBezTo>
                <a:cubicBezTo>
                  <a:pt x="6187" y="2593"/>
                  <a:pt x="6125" y="2625"/>
                  <a:pt x="6093" y="2656"/>
                </a:cubicBezTo>
                <a:cubicBezTo>
                  <a:pt x="6125" y="2687"/>
                  <a:pt x="6156" y="2656"/>
                  <a:pt x="6156" y="2656"/>
                </a:cubicBezTo>
                <a:close/>
                <a:moveTo>
                  <a:pt x="12031" y="15593"/>
                </a:moveTo>
                <a:cubicBezTo>
                  <a:pt x="12000" y="15625"/>
                  <a:pt x="11968" y="15656"/>
                  <a:pt x="11906" y="15687"/>
                </a:cubicBezTo>
                <a:cubicBezTo>
                  <a:pt x="11906" y="15687"/>
                  <a:pt x="11875" y="15687"/>
                  <a:pt x="11906" y="15718"/>
                </a:cubicBezTo>
                <a:cubicBezTo>
                  <a:pt x="11906" y="15750"/>
                  <a:pt x="11937" y="15750"/>
                  <a:pt x="11937" y="15718"/>
                </a:cubicBezTo>
                <a:cubicBezTo>
                  <a:pt x="12031" y="15687"/>
                  <a:pt x="12125" y="15625"/>
                  <a:pt x="12187" y="15531"/>
                </a:cubicBezTo>
                <a:cubicBezTo>
                  <a:pt x="12125" y="15500"/>
                  <a:pt x="12062" y="15500"/>
                  <a:pt x="12031" y="15593"/>
                </a:cubicBezTo>
                <a:close/>
                <a:moveTo>
                  <a:pt x="10687" y="19156"/>
                </a:moveTo>
                <a:cubicBezTo>
                  <a:pt x="10625" y="19187"/>
                  <a:pt x="10562" y="19250"/>
                  <a:pt x="10531" y="19312"/>
                </a:cubicBezTo>
                <a:cubicBezTo>
                  <a:pt x="10531" y="19312"/>
                  <a:pt x="10531" y="19312"/>
                  <a:pt x="10531" y="19312"/>
                </a:cubicBezTo>
                <a:cubicBezTo>
                  <a:pt x="10500" y="19312"/>
                  <a:pt x="10500" y="19312"/>
                  <a:pt x="10500" y="19312"/>
                </a:cubicBezTo>
                <a:cubicBezTo>
                  <a:pt x="10031" y="19750"/>
                  <a:pt x="9562" y="20187"/>
                  <a:pt x="9093" y="20625"/>
                </a:cubicBezTo>
                <a:cubicBezTo>
                  <a:pt x="8625" y="21031"/>
                  <a:pt x="8156" y="21468"/>
                  <a:pt x="7687" y="21875"/>
                </a:cubicBezTo>
                <a:cubicBezTo>
                  <a:pt x="7625" y="21906"/>
                  <a:pt x="7593" y="21937"/>
                  <a:pt x="7562" y="21968"/>
                </a:cubicBezTo>
                <a:cubicBezTo>
                  <a:pt x="7468" y="22062"/>
                  <a:pt x="7343" y="22156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50"/>
                  <a:pt x="7218" y="22250"/>
                  <a:pt x="7187" y="22250"/>
                </a:cubicBezTo>
                <a:cubicBezTo>
                  <a:pt x="7218" y="22250"/>
                  <a:pt x="7218" y="22250"/>
                  <a:pt x="7218" y="22250"/>
                </a:cubicBezTo>
                <a:cubicBezTo>
                  <a:pt x="7218" y="22281"/>
                  <a:pt x="7250" y="22281"/>
                  <a:pt x="7250" y="22250"/>
                </a:cubicBezTo>
                <a:cubicBezTo>
                  <a:pt x="7437" y="22187"/>
                  <a:pt x="7625" y="22093"/>
                  <a:pt x="7812" y="21937"/>
                </a:cubicBezTo>
                <a:cubicBezTo>
                  <a:pt x="8125" y="21687"/>
                  <a:pt x="8437" y="21406"/>
                  <a:pt x="8718" y="21125"/>
                </a:cubicBezTo>
                <a:cubicBezTo>
                  <a:pt x="9218" y="20625"/>
                  <a:pt x="9718" y="20125"/>
                  <a:pt x="10218" y="19625"/>
                </a:cubicBezTo>
                <a:cubicBezTo>
                  <a:pt x="10312" y="19562"/>
                  <a:pt x="10406" y="19468"/>
                  <a:pt x="10468" y="19406"/>
                </a:cubicBezTo>
                <a:cubicBezTo>
                  <a:pt x="10500" y="19375"/>
                  <a:pt x="10531" y="19343"/>
                  <a:pt x="10531" y="19312"/>
                </a:cubicBezTo>
                <a:cubicBezTo>
                  <a:pt x="10593" y="19281"/>
                  <a:pt x="10625" y="19250"/>
                  <a:pt x="10656" y="19218"/>
                </a:cubicBezTo>
                <a:cubicBezTo>
                  <a:pt x="10781" y="19093"/>
                  <a:pt x="10875" y="18968"/>
                  <a:pt x="11000" y="18875"/>
                </a:cubicBezTo>
                <a:cubicBezTo>
                  <a:pt x="10906" y="18937"/>
                  <a:pt x="10781" y="19031"/>
                  <a:pt x="10687" y="19125"/>
                </a:cubicBezTo>
                <a:cubicBezTo>
                  <a:pt x="10687" y="19125"/>
                  <a:pt x="10687" y="19156"/>
                  <a:pt x="10687" y="19156"/>
                </a:cubicBezTo>
                <a:close/>
                <a:moveTo>
                  <a:pt x="531" y="12343"/>
                </a:moveTo>
                <a:cubicBezTo>
                  <a:pt x="468" y="12343"/>
                  <a:pt x="406" y="12343"/>
                  <a:pt x="343" y="12343"/>
                </a:cubicBezTo>
                <a:cubicBezTo>
                  <a:pt x="312" y="12343"/>
                  <a:pt x="312" y="12312"/>
                  <a:pt x="312" y="12343"/>
                </a:cubicBezTo>
                <a:cubicBezTo>
                  <a:pt x="281" y="12375"/>
                  <a:pt x="312" y="12375"/>
                  <a:pt x="343" y="12375"/>
                </a:cubicBezTo>
                <a:cubicBezTo>
                  <a:pt x="562" y="12375"/>
                  <a:pt x="781" y="12406"/>
                  <a:pt x="1000" y="12312"/>
                </a:cubicBezTo>
                <a:cubicBezTo>
                  <a:pt x="843" y="12343"/>
                  <a:pt x="687" y="12343"/>
                  <a:pt x="531" y="12343"/>
                </a:cubicBezTo>
                <a:close/>
                <a:moveTo>
                  <a:pt x="19250" y="9000"/>
                </a:moveTo>
                <a:cubicBezTo>
                  <a:pt x="18968" y="9093"/>
                  <a:pt x="18718" y="9250"/>
                  <a:pt x="18468" y="9343"/>
                </a:cubicBezTo>
                <a:cubicBezTo>
                  <a:pt x="18750" y="9250"/>
                  <a:pt x="19000" y="9125"/>
                  <a:pt x="19250" y="9000"/>
                </a:cubicBezTo>
                <a:close/>
                <a:moveTo>
                  <a:pt x="11968" y="18031"/>
                </a:moveTo>
                <a:cubicBezTo>
                  <a:pt x="11906" y="18031"/>
                  <a:pt x="11843" y="18062"/>
                  <a:pt x="11812" y="18125"/>
                </a:cubicBezTo>
                <a:cubicBezTo>
                  <a:pt x="12000" y="18156"/>
                  <a:pt x="12156" y="18093"/>
                  <a:pt x="12343" y="18031"/>
                </a:cubicBezTo>
                <a:cubicBezTo>
                  <a:pt x="12218" y="18062"/>
                  <a:pt x="12093" y="18093"/>
                  <a:pt x="11968" y="18031"/>
                </a:cubicBezTo>
                <a:close/>
                <a:moveTo>
                  <a:pt x="20406" y="8562"/>
                </a:moveTo>
                <a:cubicBezTo>
                  <a:pt x="20125" y="8656"/>
                  <a:pt x="19843" y="8750"/>
                  <a:pt x="19562" y="8875"/>
                </a:cubicBezTo>
                <a:cubicBezTo>
                  <a:pt x="19843" y="8812"/>
                  <a:pt x="20125" y="8687"/>
                  <a:pt x="20406" y="8562"/>
                </a:cubicBezTo>
                <a:close/>
                <a:moveTo>
                  <a:pt x="11781" y="17093"/>
                </a:moveTo>
                <a:cubicBezTo>
                  <a:pt x="11750" y="17093"/>
                  <a:pt x="11718" y="17062"/>
                  <a:pt x="11718" y="17093"/>
                </a:cubicBezTo>
                <a:cubicBezTo>
                  <a:pt x="11593" y="17187"/>
                  <a:pt x="11468" y="17281"/>
                  <a:pt x="11343" y="17406"/>
                </a:cubicBezTo>
                <a:cubicBezTo>
                  <a:pt x="11437" y="17375"/>
                  <a:pt x="11406" y="17406"/>
                  <a:pt x="11406" y="17437"/>
                </a:cubicBezTo>
                <a:cubicBezTo>
                  <a:pt x="11375" y="17468"/>
                  <a:pt x="11375" y="17468"/>
                  <a:pt x="11343" y="17500"/>
                </a:cubicBezTo>
                <a:cubicBezTo>
                  <a:pt x="11343" y="17500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312" y="17531"/>
                  <a:pt x="11312" y="17531"/>
                  <a:pt x="11312" y="17531"/>
                </a:cubicBezTo>
                <a:cubicBezTo>
                  <a:pt x="11281" y="17531"/>
                  <a:pt x="11281" y="17531"/>
                  <a:pt x="11281" y="17562"/>
                </a:cubicBezTo>
                <a:cubicBezTo>
                  <a:pt x="11250" y="17562"/>
                  <a:pt x="11250" y="17562"/>
                  <a:pt x="11250" y="17562"/>
                </a:cubicBezTo>
                <a:cubicBezTo>
                  <a:pt x="11218" y="17593"/>
                  <a:pt x="11218" y="17625"/>
                  <a:pt x="11187" y="17656"/>
                </a:cubicBezTo>
                <a:cubicBezTo>
                  <a:pt x="11125" y="17656"/>
                  <a:pt x="11093" y="17718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062" y="17750"/>
                  <a:pt x="11062" y="17750"/>
                  <a:pt x="11062" y="17750"/>
                </a:cubicBezTo>
                <a:cubicBezTo>
                  <a:pt x="11125" y="17750"/>
                  <a:pt x="11156" y="17687"/>
                  <a:pt x="11187" y="17656"/>
                </a:cubicBezTo>
                <a:cubicBezTo>
                  <a:pt x="11218" y="17625"/>
                  <a:pt x="11281" y="17625"/>
                  <a:pt x="11281" y="17593"/>
                </a:cubicBezTo>
                <a:cubicBezTo>
                  <a:pt x="11312" y="17562"/>
                  <a:pt x="11312" y="17562"/>
                  <a:pt x="11312" y="17531"/>
                </a:cubicBezTo>
                <a:cubicBezTo>
                  <a:pt x="11406" y="17531"/>
                  <a:pt x="11468" y="17437"/>
                  <a:pt x="11531" y="17406"/>
                </a:cubicBezTo>
                <a:cubicBezTo>
                  <a:pt x="11593" y="17343"/>
                  <a:pt x="11687" y="17281"/>
                  <a:pt x="11750" y="17218"/>
                </a:cubicBezTo>
                <a:cubicBezTo>
                  <a:pt x="11781" y="17187"/>
                  <a:pt x="11781" y="17125"/>
                  <a:pt x="11781" y="17093"/>
                </a:cubicBezTo>
                <a:close/>
                <a:moveTo>
                  <a:pt x="12812" y="16312"/>
                </a:moveTo>
                <a:cubicBezTo>
                  <a:pt x="12781" y="16343"/>
                  <a:pt x="12718" y="16375"/>
                  <a:pt x="12687" y="16406"/>
                </a:cubicBezTo>
                <a:cubicBezTo>
                  <a:pt x="12531" y="16531"/>
                  <a:pt x="12375" y="16656"/>
                  <a:pt x="12218" y="16781"/>
                </a:cubicBezTo>
                <a:cubicBezTo>
                  <a:pt x="12156" y="16812"/>
                  <a:pt x="12125" y="16875"/>
                  <a:pt x="12093" y="16937"/>
                </a:cubicBezTo>
                <a:cubicBezTo>
                  <a:pt x="12125" y="16937"/>
                  <a:pt x="12125" y="16906"/>
                  <a:pt x="12156" y="16906"/>
                </a:cubicBezTo>
                <a:cubicBezTo>
                  <a:pt x="12281" y="16812"/>
                  <a:pt x="12375" y="16718"/>
                  <a:pt x="12500" y="16625"/>
                </a:cubicBezTo>
                <a:cubicBezTo>
                  <a:pt x="12781" y="16406"/>
                  <a:pt x="13093" y="16156"/>
                  <a:pt x="13375" y="15937"/>
                </a:cubicBezTo>
                <a:cubicBezTo>
                  <a:pt x="13500" y="15812"/>
                  <a:pt x="13625" y="15718"/>
                  <a:pt x="13750" y="15593"/>
                </a:cubicBezTo>
                <a:cubicBezTo>
                  <a:pt x="13812" y="15562"/>
                  <a:pt x="13812" y="15531"/>
                  <a:pt x="13781" y="15500"/>
                </a:cubicBezTo>
                <a:cubicBezTo>
                  <a:pt x="13750" y="15468"/>
                  <a:pt x="13718" y="15500"/>
                  <a:pt x="13687" y="15531"/>
                </a:cubicBezTo>
                <a:cubicBezTo>
                  <a:pt x="13656" y="15531"/>
                  <a:pt x="13656" y="15562"/>
                  <a:pt x="13625" y="15593"/>
                </a:cubicBezTo>
                <a:cubicBezTo>
                  <a:pt x="13625" y="15687"/>
                  <a:pt x="13531" y="15750"/>
                  <a:pt x="13500" y="15718"/>
                </a:cubicBezTo>
                <a:cubicBezTo>
                  <a:pt x="13500" y="15718"/>
                  <a:pt x="13468" y="15718"/>
                  <a:pt x="13468" y="15718"/>
                </a:cubicBezTo>
                <a:cubicBezTo>
                  <a:pt x="13500" y="15687"/>
                  <a:pt x="13500" y="15687"/>
                  <a:pt x="13531" y="15656"/>
                </a:cubicBezTo>
                <a:cubicBezTo>
                  <a:pt x="13531" y="15656"/>
                  <a:pt x="13531" y="15656"/>
                  <a:pt x="13531" y="15656"/>
                </a:cubicBezTo>
                <a:cubicBezTo>
                  <a:pt x="13562" y="15625"/>
                  <a:pt x="13562" y="15593"/>
                  <a:pt x="13562" y="15593"/>
                </a:cubicBezTo>
                <a:cubicBezTo>
                  <a:pt x="13531" y="15562"/>
                  <a:pt x="13531" y="15593"/>
                  <a:pt x="13500" y="15593"/>
                </a:cubicBezTo>
                <a:cubicBezTo>
                  <a:pt x="13500" y="15593"/>
                  <a:pt x="13468" y="15625"/>
                  <a:pt x="13468" y="15625"/>
                </a:cubicBezTo>
                <a:cubicBezTo>
                  <a:pt x="13437" y="15625"/>
                  <a:pt x="13437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62"/>
                  <a:pt x="13406" y="15562"/>
                  <a:pt x="13406" y="15562"/>
                </a:cubicBezTo>
                <a:cubicBezTo>
                  <a:pt x="13437" y="15531"/>
                  <a:pt x="13437" y="15531"/>
                  <a:pt x="13437" y="15500"/>
                </a:cubicBezTo>
                <a:cubicBezTo>
                  <a:pt x="13375" y="15531"/>
                  <a:pt x="13312" y="15562"/>
                  <a:pt x="13312" y="15625"/>
                </a:cubicBezTo>
                <a:cubicBezTo>
                  <a:pt x="13343" y="15593"/>
                  <a:pt x="13375" y="15562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406" y="15593"/>
                  <a:pt x="13406" y="15593"/>
                  <a:pt x="13406" y="15593"/>
                </a:cubicBezTo>
                <a:cubicBezTo>
                  <a:pt x="13312" y="15750"/>
                  <a:pt x="13156" y="15875"/>
                  <a:pt x="13000" y="15968"/>
                </a:cubicBezTo>
                <a:cubicBezTo>
                  <a:pt x="12968" y="16000"/>
                  <a:pt x="12968" y="16062"/>
                  <a:pt x="12937" y="16062"/>
                </a:cubicBezTo>
                <a:cubicBezTo>
                  <a:pt x="12812" y="16031"/>
                  <a:pt x="12812" y="16156"/>
                  <a:pt x="12750" y="16187"/>
                </a:cubicBezTo>
                <a:cubicBezTo>
                  <a:pt x="12781" y="16218"/>
                  <a:pt x="12843" y="16187"/>
                  <a:pt x="12843" y="16218"/>
                </a:cubicBezTo>
                <a:cubicBezTo>
                  <a:pt x="12875" y="16281"/>
                  <a:pt x="12812" y="16281"/>
                  <a:pt x="12812" y="16312"/>
                </a:cubicBezTo>
                <a:close/>
                <a:moveTo>
                  <a:pt x="20906" y="11093"/>
                </a:moveTo>
                <a:cubicBezTo>
                  <a:pt x="20906" y="11093"/>
                  <a:pt x="20906" y="11093"/>
                  <a:pt x="20906" y="11093"/>
                </a:cubicBezTo>
                <a:cubicBezTo>
                  <a:pt x="20656" y="11156"/>
                  <a:pt x="20468" y="11218"/>
                  <a:pt x="20250" y="11343"/>
                </a:cubicBezTo>
                <a:cubicBezTo>
                  <a:pt x="20062" y="11437"/>
                  <a:pt x="19843" y="11531"/>
                  <a:pt x="19625" y="11656"/>
                </a:cubicBezTo>
                <a:cubicBezTo>
                  <a:pt x="19406" y="11812"/>
                  <a:pt x="19156" y="11937"/>
                  <a:pt x="18906" y="12093"/>
                </a:cubicBezTo>
                <a:cubicBezTo>
                  <a:pt x="18562" y="12343"/>
                  <a:pt x="18187" y="12593"/>
                  <a:pt x="17812" y="12843"/>
                </a:cubicBezTo>
                <a:cubicBezTo>
                  <a:pt x="17312" y="13187"/>
                  <a:pt x="16843" y="13562"/>
                  <a:pt x="16343" y="13937"/>
                </a:cubicBezTo>
                <a:cubicBezTo>
                  <a:pt x="16281" y="14000"/>
                  <a:pt x="16187" y="14093"/>
                  <a:pt x="16093" y="14156"/>
                </a:cubicBezTo>
                <a:cubicBezTo>
                  <a:pt x="16062" y="14187"/>
                  <a:pt x="16031" y="14218"/>
                  <a:pt x="16000" y="14250"/>
                </a:cubicBezTo>
                <a:cubicBezTo>
                  <a:pt x="16000" y="14250"/>
                  <a:pt x="16000" y="14250"/>
                  <a:pt x="16000" y="14250"/>
                </a:cubicBezTo>
                <a:cubicBezTo>
                  <a:pt x="16000" y="14250"/>
                  <a:pt x="16000" y="14281"/>
                  <a:pt x="16000" y="14281"/>
                </a:cubicBezTo>
                <a:cubicBezTo>
                  <a:pt x="16000" y="14281"/>
                  <a:pt x="16000" y="14281"/>
                  <a:pt x="16000" y="14281"/>
                </a:cubicBezTo>
                <a:cubicBezTo>
                  <a:pt x="16031" y="14281"/>
                  <a:pt x="16000" y="14281"/>
                  <a:pt x="16000" y="14250"/>
                </a:cubicBezTo>
                <a:cubicBezTo>
                  <a:pt x="16031" y="14250"/>
                  <a:pt x="16062" y="14250"/>
                  <a:pt x="16093" y="14218"/>
                </a:cubicBezTo>
                <a:cubicBezTo>
                  <a:pt x="16187" y="14156"/>
                  <a:pt x="16281" y="14062"/>
                  <a:pt x="16406" y="13968"/>
                </a:cubicBezTo>
                <a:cubicBezTo>
                  <a:pt x="16687" y="13750"/>
                  <a:pt x="16968" y="13562"/>
                  <a:pt x="17250" y="13343"/>
                </a:cubicBezTo>
                <a:cubicBezTo>
                  <a:pt x="17625" y="13062"/>
                  <a:pt x="17968" y="12781"/>
                  <a:pt x="18343" y="12531"/>
                </a:cubicBezTo>
                <a:cubicBezTo>
                  <a:pt x="18562" y="12375"/>
                  <a:pt x="18781" y="12250"/>
                  <a:pt x="18968" y="12093"/>
                </a:cubicBezTo>
                <a:cubicBezTo>
                  <a:pt x="19187" y="11968"/>
                  <a:pt x="19375" y="11843"/>
                  <a:pt x="19593" y="11718"/>
                </a:cubicBezTo>
                <a:cubicBezTo>
                  <a:pt x="19625" y="11687"/>
                  <a:pt x="19656" y="11687"/>
                  <a:pt x="19687" y="11750"/>
                </a:cubicBezTo>
                <a:cubicBezTo>
                  <a:pt x="19750" y="11812"/>
                  <a:pt x="19843" y="11812"/>
                  <a:pt x="19875" y="11781"/>
                </a:cubicBezTo>
                <a:cubicBezTo>
                  <a:pt x="19937" y="11687"/>
                  <a:pt x="20031" y="11625"/>
                  <a:pt x="20031" y="11531"/>
                </a:cubicBezTo>
                <a:cubicBezTo>
                  <a:pt x="20062" y="11500"/>
                  <a:pt x="20031" y="11500"/>
                  <a:pt x="20062" y="11468"/>
                </a:cubicBezTo>
                <a:cubicBezTo>
                  <a:pt x="20125" y="11406"/>
                  <a:pt x="20218" y="11375"/>
                  <a:pt x="20312" y="11343"/>
                </a:cubicBezTo>
                <a:cubicBezTo>
                  <a:pt x="20343" y="11375"/>
                  <a:pt x="20406" y="11343"/>
                  <a:pt x="20437" y="11375"/>
                </a:cubicBezTo>
                <a:cubicBezTo>
                  <a:pt x="20562" y="11375"/>
                  <a:pt x="20593" y="11437"/>
                  <a:pt x="20531" y="11562"/>
                </a:cubicBezTo>
                <a:cubicBezTo>
                  <a:pt x="20468" y="11656"/>
                  <a:pt x="20406" y="11718"/>
                  <a:pt x="20312" y="11781"/>
                </a:cubicBezTo>
                <a:cubicBezTo>
                  <a:pt x="20375" y="11781"/>
                  <a:pt x="20406" y="11750"/>
                  <a:pt x="20437" y="11750"/>
                </a:cubicBezTo>
                <a:cubicBezTo>
                  <a:pt x="20468" y="11718"/>
                  <a:pt x="20468" y="11718"/>
                  <a:pt x="20500" y="11750"/>
                </a:cubicBezTo>
                <a:cubicBezTo>
                  <a:pt x="20531" y="11812"/>
                  <a:pt x="20625" y="11812"/>
                  <a:pt x="20656" y="11781"/>
                </a:cubicBezTo>
                <a:cubicBezTo>
                  <a:pt x="20656" y="11750"/>
                  <a:pt x="20656" y="11750"/>
                  <a:pt x="20687" y="11718"/>
                </a:cubicBezTo>
                <a:cubicBezTo>
                  <a:pt x="20718" y="11687"/>
                  <a:pt x="20781" y="11718"/>
                  <a:pt x="20812" y="11718"/>
                </a:cubicBezTo>
                <a:cubicBezTo>
                  <a:pt x="20843" y="11718"/>
                  <a:pt x="20875" y="11718"/>
                  <a:pt x="20906" y="11687"/>
                </a:cubicBezTo>
                <a:cubicBezTo>
                  <a:pt x="20906" y="11687"/>
                  <a:pt x="20906" y="11687"/>
                  <a:pt x="20906" y="11687"/>
                </a:cubicBezTo>
                <a:cubicBezTo>
                  <a:pt x="21000" y="11625"/>
                  <a:pt x="21093" y="11531"/>
                  <a:pt x="21156" y="11406"/>
                </a:cubicBezTo>
                <a:cubicBezTo>
                  <a:pt x="21187" y="11343"/>
                  <a:pt x="21218" y="11250"/>
                  <a:pt x="21156" y="11156"/>
                </a:cubicBezTo>
                <a:cubicBezTo>
                  <a:pt x="21125" y="11062"/>
                  <a:pt x="21000" y="11093"/>
                  <a:pt x="20906" y="11093"/>
                </a:cubicBezTo>
                <a:close/>
                <a:moveTo>
                  <a:pt x="18625" y="16812"/>
                </a:moveTo>
                <a:cubicBezTo>
                  <a:pt x="18593" y="16843"/>
                  <a:pt x="18562" y="16875"/>
                  <a:pt x="18531" y="16906"/>
                </a:cubicBezTo>
                <a:cubicBezTo>
                  <a:pt x="18218" y="17250"/>
                  <a:pt x="17875" y="17562"/>
                  <a:pt x="17500" y="17875"/>
                </a:cubicBezTo>
                <a:cubicBezTo>
                  <a:pt x="17281" y="18062"/>
                  <a:pt x="17031" y="18250"/>
                  <a:pt x="16781" y="18406"/>
                </a:cubicBezTo>
                <a:cubicBezTo>
                  <a:pt x="16531" y="18625"/>
                  <a:pt x="16218" y="18781"/>
                  <a:pt x="15906" y="18875"/>
                </a:cubicBezTo>
                <a:cubicBezTo>
                  <a:pt x="15812" y="18906"/>
                  <a:pt x="15687" y="18968"/>
                  <a:pt x="15562" y="18968"/>
                </a:cubicBezTo>
                <a:cubicBezTo>
                  <a:pt x="15593" y="18906"/>
                  <a:pt x="15625" y="18875"/>
                  <a:pt x="15687" y="18875"/>
                </a:cubicBezTo>
                <a:cubicBezTo>
                  <a:pt x="15687" y="18875"/>
                  <a:pt x="15687" y="18875"/>
                  <a:pt x="15687" y="18843"/>
                </a:cubicBezTo>
                <a:cubicBezTo>
                  <a:pt x="15687" y="18843"/>
                  <a:pt x="15656" y="18843"/>
                  <a:pt x="15656" y="18843"/>
                </a:cubicBezTo>
                <a:cubicBezTo>
                  <a:pt x="15718" y="18843"/>
                  <a:pt x="15812" y="18843"/>
                  <a:pt x="15875" y="18781"/>
                </a:cubicBezTo>
                <a:cubicBezTo>
                  <a:pt x="15875" y="18781"/>
                  <a:pt x="15906" y="18781"/>
                  <a:pt x="15937" y="18781"/>
                </a:cubicBezTo>
                <a:cubicBezTo>
                  <a:pt x="15968" y="18781"/>
                  <a:pt x="15968" y="18781"/>
                  <a:pt x="15968" y="18781"/>
                </a:cubicBezTo>
                <a:cubicBezTo>
                  <a:pt x="16000" y="18781"/>
                  <a:pt x="16031" y="18781"/>
                  <a:pt x="16031" y="18781"/>
                </a:cubicBezTo>
                <a:cubicBezTo>
                  <a:pt x="16156" y="18718"/>
                  <a:pt x="16281" y="18656"/>
                  <a:pt x="16375" y="18625"/>
                </a:cubicBezTo>
                <a:cubicBezTo>
                  <a:pt x="16625" y="18500"/>
                  <a:pt x="16812" y="18343"/>
                  <a:pt x="17031" y="18187"/>
                </a:cubicBezTo>
                <a:cubicBezTo>
                  <a:pt x="17062" y="18187"/>
                  <a:pt x="17062" y="18156"/>
                  <a:pt x="17093" y="18125"/>
                </a:cubicBezTo>
                <a:cubicBezTo>
                  <a:pt x="17156" y="18093"/>
                  <a:pt x="17187" y="18062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218" y="18000"/>
                </a:cubicBezTo>
                <a:cubicBezTo>
                  <a:pt x="17218" y="18000"/>
                  <a:pt x="17218" y="18000"/>
                  <a:pt x="17187" y="18000"/>
                </a:cubicBezTo>
                <a:cubicBezTo>
                  <a:pt x="17187" y="18000"/>
                  <a:pt x="17156" y="18031"/>
                  <a:pt x="17156" y="18000"/>
                </a:cubicBezTo>
                <a:cubicBezTo>
                  <a:pt x="17156" y="18000"/>
                  <a:pt x="17156" y="18000"/>
                  <a:pt x="17187" y="17968"/>
                </a:cubicBezTo>
                <a:cubicBezTo>
                  <a:pt x="17187" y="17968"/>
                  <a:pt x="17218" y="17937"/>
                  <a:pt x="17250" y="17906"/>
                </a:cubicBezTo>
                <a:cubicBezTo>
                  <a:pt x="17250" y="17906"/>
                  <a:pt x="17250" y="17906"/>
                  <a:pt x="17250" y="17906"/>
                </a:cubicBezTo>
                <a:cubicBezTo>
                  <a:pt x="17281" y="17906"/>
                  <a:pt x="17281" y="17906"/>
                  <a:pt x="17281" y="17875"/>
                </a:cubicBezTo>
                <a:cubicBezTo>
                  <a:pt x="17281" y="17875"/>
                  <a:pt x="17281" y="17875"/>
                  <a:pt x="17312" y="17843"/>
                </a:cubicBezTo>
                <a:cubicBezTo>
                  <a:pt x="17250" y="17875"/>
                  <a:pt x="17250" y="17875"/>
                  <a:pt x="17218" y="17906"/>
                </a:cubicBezTo>
                <a:cubicBezTo>
                  <a:pt x="17187" y="17906"/>
                  <a:pt x="17156" y="17937"/>
                  <a:pt x="17156" y="17937"/>
                </a:cubicBezTo>
                <a:cubicBezTo>
                  <a:pt x="17125" y="17968"/>
                  <a:pt x="17093" y="17968"/>
                  <a:pt x="17093" y="17937"/>
                </a:cubicBezTo>
                <a:cubicBezTo>
                  <a:pt x="17125" y="17875"/>
                  <a:pt x="17062" y="17906"/>
                  <a:pt x="17062" y="17906"/>
                </a:cubicBezTo>
                <a:cubicBezTo>
                  <a:pt x="17000" y="17937"/>
                  <a:pt x="16968" y="18000"/>
                  <a:pt x="16906" y="18000"/>
                </a:cubicBezTo>
                <a:cubicBezTo>
                  <a:pt x="16843" y="18000"/>
                  <a:pt x="16812" y="18000"/>
                  <a:pt x="16781" y="18031"/>
                </a:cubicBezTo>
                <a:cubicBezTo>
                  <a:pt x="16593" y="18156"/>
                  <a:pt x="16406" y="18250"/>
                  <a:pt x="16218" y="18343"/>
                </a:cubicBezTo>
                <a:cubicBezTo>
                  <a:pt x="16187" y="18343"/>
                  <a:pt x="16156" y="18343"/>
                  <a:pt x="16187" y="18375"/>
                </a:cubicBezTo>
                <a:cubicBezTo>
                  <a:pt x="16187" y="18375"/>
                  <a:pt x="16187" y="18375"/>
                  <a:pt x="16187" y="18406"/>
                </a:cubicBezTo>
                <a:cubicBezTo>
                  <a:pt x="16187" y="18406"/>
                  <a:pt x="16187" y="18406"/>
                  <a:pt x="16187" y="18406"/>
                </a:cubicBezTo>
                <a:cubicBezTo>
                  <a:pt x="16156" y="18437"/>
                  <a:pt x="16125" y="18500"/>
                  <a:pt x="16093" y="18500"/>
                </a:cubicBezTo>
                <a:cubicBezTo>
                  <a:pt x="16062" y="18531"/>
                  <a:pt x="16031" y="18531"/>
                  <a:pt x="16031" y="18531"/>
                </a:cubicBezTo>
                <a:cubicBezTo>
                  <a:pt x="16000" y="18531"/>
                  <a:pt x="16000" y="18531"/>
                  <a:pt x="16000" y="18562"/>
                </a:cubicBezTo>
                <a:cubicBezTo>
                  <a:pt x="16000" y="18562"/>
                  <a:pt x="15968" y="18562"/>
                  <a:pt x="16000" y="18593"/>
                </a:cubicBezTo>
                <a:cubicBezTo>
                  <a:pt x="16000" y="18593"/>
                  <a:pt x="16000" y="18593"/>
                  <a:pt x="16031" y="18593"/>
                </a:cubicBezTo>
                <a:cubicBezTo>
                  <a:pt x="16093" y="18593"/>
                  <a:pt x="16156" y="18593"/>
                  <a:pt x="16218" y="18562"/>
                </a:cubicBezTo>
                <a:cubicBezTo>
                  <a:pt x="16250" y="18531"/>
                  <a:pt x="16312" y="18500"/>
                  <a:pt x="16375" y="18468"/>
                </a:cubicBezTo>
                <a:cubicBezTo>
                  <a:pt x="16406" y="18468"/>
                  <a:pt x="16406" y="18468"/>
                  <a:pt x="16437" y="18500"/>
                </a:cubicBezTo>
                <a:cubicBezTo>
                  <a:pt x="16437" y="18500"/>
                  <a:pt x="16406" y="18531"/>
                  <a:pt x="16406" y="18531"/>
                </a:cubicBezTo>
                <a:cubicBezTo>
                  <a:pt x="16312" y="18562"/>
                  <a:pt x="16250" y="18593"/>
                  <a:pt x="16156" y="18656"/>
                </a:cubicBezTo>
                <a:cubicBezTo>
                  <a:pt x="16125" y="18656"/>
                  <a:pt x="16093" y="18656"/>
                  <a:pt x="16093" y="18687"/>
                </a:cubicBezTo>
                <a:cubicBezTo>
                  <a:pt x="16000" y="18687"/>
                  <a:pt x="15937" y="18718"/>
                  <a:pt x="15843" y="18781"/>
                </a:cubicBezTo>
                <a:cubicBezTo>
                  <a:pt x="15843" y="18781"/>
                  <a:pt x="15843" y="18781"/>
                  <a:pt x="15843" y="18781"/>
                </a:cubicBezTo>
                <a:cubicBezTo>
                  <a:pt x="15781" y="18781"/>
                  <a:pt x="15718" y="18781"/>
                  <a:pt x="15656" y="18843"/>
                </a:cubicBezTo>
                <a:cubicBezTo>
                  <a:pt x="15656" y="18843"/>
                  <a:pt x="15625" y="18843"/>
                  <a:pt x="15625" y="18843"/>
                </a:cubicBezTo>
                <a:cubicBezTo>
                  <a:pt x="15593" y="18843"/>
                  <a:pt x="15593" y="18843"/>
                  <a:pt x="15562" y="18843"/>
                </a:cubicBezTo>
                <a:cubicBezTo>
                  <a:pt x="15687" y="18750"/>
                  <a:pt x="15812" y="18718"/>
                  <a:pt x="15906" y="18656"/>
                </a:cubicBezTo>
                <a:cubicBezTo>
                  <a:pt x="15937" y="18625"/>
                  <a:pt x="15968" y="18625"/>
                  <a:pt x="15968" y="18593"/>
                </a:cubicBezTo>
                <a:cubicBezTo>
                  <a:pt x="15937" y="18562"/>
                  <a:pt x="15906" y="18593"/>
                  <a:pt x="15906" y="18593"/>
                </a:cubicBezTo>
                <a:cubicBezTo>
                  <a:pt x="15812" y="18625"/>
                  <a:pt x="15750" y="18656"/>
                  <a:pt x="15656" y="18687"/>
                </a:cubicBezTo>
                <a:cubicBezTo>
                  <a:pt x="15593" y="18718"/>
                  <a:pt x="15500" y="18656"/>
                  <a:pt x="15437" y="18718"/>
                </a:cubicBezTo>
                <a:cubicBezTo>
                  <a:pt x="15406" y="18718"/>
                  <a:pt x="15375" y="18718"/>
                  <a:pt x="15375" y="18687"/>
                </a:cubicBezTo>
                <a:cubicBezTo>
                  <a:pt x="15375" y="18656"/>
                  <a:pt x="15375" y="18625"/>
                  <a:pt x="15406" y="18625"/>
                </a:cubicBezTo>
                <a:cubicBezTo>
                  <a:pt x="15343" y="18625"/>
                  <a:pt x="15281" y="18625"/>
                  <a:pt x="15218" y="18625"/>
                </a:cubicBezTo>
                <a:cubicBezTo>
                  <a:pt x="15156" y="18625"/>
                  <a:pt x="15125" y="18593"/>
                  <a:pt x="15125" y="18531"/>
                </a:cubicBezTo>
                <a:cubicBezTo>
                  <a:pt x="15125" y="18500"/>
                  <a:pt x="15187" y="18562"/>
                  <a:pt x="15187" y="18500"/>
                </a:cubicBezTo>
                <a:cubicBezTo>
                  <a:pt x="15125" y="18468"/>
                  <a:pt x="15062" y="18562"/>
                  <a:pt x="15000" y="18468"/>
                </a:cubicBezTo>
                <a:cubicBezTo>
                  <a:pt x="15125" y="18437"/>
                  <a:pt x="15218" y="18437"/>
                  <a:pt x="15312" y="18437"/>
                </a:cubicBezTo>
                <a:cubicBezTo>
                  <a:pt x="15312" y="18437"/>
                  <a:pt x="15312" y="18437"/>
                  <a:pt x="15312" y="18437"/>
                </a:cubicBezTo>
                <a:cubicBezTo>
                  <a:pt x="15250" y="18437"/>
                  <a:pt x="15156" y="18437"/>
                  <a:pt x="15093" y="18437"/>
                </a:cubicBezTo>
                <a:cubicBezTo>
                  <a:pt x="15093" y="18406"/>
                  <a:pt x="15093" y="18406"/>
                  <a:pt x="15093" y="18406"/>
                </a:cubicBezTo>
                <a:cubicBezTo>
                  <a:pt x="15125" y="18406"/>
                  <a:pt x="15156" y="18406"/>
                  <a:pt x="15218" y="18406"/>
                </a:cubicBezTo>
                <a:cubicBezTo>
                  <a:pt x="15093" y="18375"/>
                  <a:pt x="15000" y="18406"/>
                  <a:pt x="14875" y="18312"/>
                </a:cubicBezTo>
                <a:cubicBezTo>
                  <a:pt x="15000" y="18312"/>
                  <a:pt x="15125" y="18312"/>
                  <a:pt x="15250" y="18312"/>
                </a:cubicBezTo>
                <a:cubicBezTo>
                  <a:pt x="15250" y="18281"/>
                  <a:pt x="15218" y="18312"/>
                  <a:pt x="15187" y="18281"/>
                </a:cubicBezTo>
                <a:cubicBezTo>
                  <a:pt x="15250" y="18250"/>
                  <a:pt x="15312" y="18250"/>
                  <a:pt x="15375" y="18218"/>
                </a:cubicBezTo>
                <a:cubicBezTo>
                  <a:pt x="15343" y="18218"/>
                  <a:pt x="15312" y="18218"/>
                  <a:pt x="15250" y="18218"/>
                </a:cubicBezTo>
                <a:cubicBezTo>
                  <a:pt x="15343" y="18156"/>
                  <a:pt x="15437" y="18156"/>
                  <a:pt x="15500" y="18156"/>
                </a:cubicBezTo>
                <a:cubicBezTo>
                  <a:pt x="15593" y="18125"/>
                  <a:pt x="15625" y="18062"/>
                  <a:pt x="15718" y="18093"/>
                </a:cubicBezTo>
                <a:cubicBezTo>
                  <a:pt x="15718" y="18093"/>
                  <a:pt x="15718" y="18062"/>
                  <a:pt x="15718" y="18062"/>
                </a:cubicBezTo>
                <a:cubicBezTo>
                  <a:pt x="15781" y="18031"/>
                  <a:pt x="15812" y="18031"/>
                  <a:pt x="15875" y="18000"/>
                </a:cubicBezTo>
                <a:cubicBezTo>
                  <a:pt x="15906" y="18000"/>
                  <a:pt x="15968" y="18031"/>
                  <a:pt x="16031" y="18000"/>
                </a:cubicBezTo>
                <a:cubicBezTo>
                  <a:pt x="16187" y="17937"/>
                  <a:pt x="16375" y="17843"/>
                  <a:pt x="16531" y="17750"/>
                </a:cubicBezTo>
                <a:cubicBezTo>
                  <a:pt x="16562" y="17718"/>
                  <a:pt x="16593" y="17656"/>
                  <a:pt x="16625" y="17656"/>
                </a:cubicBezTo>
                <a:cubicBezTo>
                  <a:pt x="16687" y="17593"/>
                  <a:pt x="16781" y="17625"/>
                  <a:pt x="16812" y="17531"/>
                </a:cubicBezTo>
                <a:cubicBezTo>
                  <a:pt x="16812" y="17500"/>
                  <a:pt x="16812" y="17500"/>
                  <a:pt x="16812" y="17500"/>
                </a:cubicBezTo>
                <a:cubicBezTo>
                  <a:pt x="16937" y="17468"/>
                  <a:pt x="17000" y="17406"/>
                  <a:pt x="17062" y="17343"/>
                </a:cubicBezTo>
                <a:cubicBezTo>
                  <a:pt x="17156" y="17281"/>
                  <a:pt x="17281" y="17187"/>
                  <a:pt x="17375" y="17125"/>
                </a:cubicBezTo>
                <a:cubicBezTo>
                  <a:pt x="17437" y="17093"/>
                  <a:pt x="17500" y="17062"/>
                  <a:pt x="17562" y="16968"/>
                </a:cubicBezTo>
                <a:cubicBezTo>
                  <a:pt x="17468" y="17000"/>
                  <a:pt x="17437" y="17062"/>
                  <a:pt x="17375" y="17062"/>
                </a:cubicBezTo>
                <a:cubicBezTo>
                  <a:pt x="17375" y="17031"/>
                  <a:pt x="17375" y="17031"/>
                  <a:pt x="17375" y="17031"/>
                </a:cubicBezTo>
                <a:cubicBezTo>
                  <a:pt x="17343" y="17031"/>
                  <a:pt x="17343" y="17031"/>
                  <a:pt x="17343" y="17031"/>
                </a:cubicBezTo>
                <a:cubicBezTo>
                  <a:pt x="17312" y="17031"/>
                  <a:pt x="17281" y="17000"/>
                  <a:pt x="17281" y="17031"/>
                </a:cubicBezTo>
                <a:cubicBezTo>
                  <a:pt x="17250" y="17031"/>
                  <a:pt x="17250" y="17031"/>
                  <a:pt x="17218" y="17062"/>
                </a:cubicBezTo>
                <a:cubicBezTo>
                  <a:pt x="17187" y="17093"/>
                  <a:pt x="17156" y="17031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62"/>
                  <a:pt x="17125" y="17062"/>
                  <a:pt x="17125" y="17062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125" y="17031"/>
                  <a:pt x="17156" y="17031"/>
                  <a:pt x="17156" y="17031"/>
                </a:cubicBezTo>
                <a:cubicBezTo>
                  <a:pt x="17156" y="17031"/>
                  <a:pt x="17156" y="17031"/>
                  <a:pt x="17125" y="17031"/>
                </a:cubicBezTo>
                <a:cubicBezTo>
                  <a:pt x="17125" y="17031"/>
                  <a:pt x="17125" y="17031"/>
                  <a:pt x="17125" y="17031"/>
                </a:cubicBezTo>
                <a:cubicBezTo>
                  <a:pt x="17093" y="17031"/>
                  <a:pt x="17062" y="17031"/>
                  <a:pt x="17031" y="17062"/>
                </a:cubicBezTo>
                <a:cubicBezTo>
                  <a:pt x="17000" y="17156"/>
                  <a:pt x="16906" y="17187"/>
                  <a:pt x="16843" y="17218"/>
                </a:cubicBezTo>
                <a:cubicBezTo>
                  <a:pt x="16812" y="17250"/>
                  <a:pt x="16781" y="17250"/>
                  <a:pt x="16750" y="17281"/>
                </a:cubicBezTo>
                <a:cubicBezTo>
                  <a:pt x="16718" y="17312"/>
                  <a:pt x="16687" y="17312"/>
                  <a:pt x="16656" y="17343"/>
                </a:cubicBezTo>
                <a:cubicBezTo>
                  <a:pt x="16625" y="17343"/>
                  <a:pt x="16625" y="17343"/>
                  <a:pt x="16593" y="17343"/>
                </a:cubicBezTo>
                <a:cubicBezTo>
                  <a:pt x="16593" y="17343"/>
                  <a:pt x="16593" y="17343"/>
                  <a:pt x="16562" y="17343"/>
                </a:cubicBezTo>
                <a:cubicBezTo>
                  <a:pt x="16812" y="17218"/>
                  <a:pt x="17062" y="17031"/>
                  <a:pt x="17281" y="16812"/>
                </a:cubicBezTo>
                <a:cubicBezTo>
                  <a:pt x="17781" y="16250"/>
                  <a:pt x="16093" y="17250"/>
                  <a:pt x="16843" y="16593"/>
                </a:cubicBezTo>
                <a:cubicBezTo>
                  <a:pt x="17562" y="15937"/>
                  <a:pt x="16656" y="16343"/>
                  <a:pt x="16937" y="16156"/>
                </a:cubicBezTo>
                <a:cubicBezTo>
                  <a:pt x="17156" y="16062"/>
                  <a:pt x="17312" y="15937"/>
                  <a:pt x="17500" y="15812"/>
                </a:cubicBezTo>
                <a:cubicBezTo>
                  <a:pt x="17500" y="15812"/>
                  <a:pt x="17500" y="15812"/>
                  <a:pt x="17531" y="15812"/>
                </a:cubicBezTo>
                <a:cubicBezTo>
                  <a:pt x="17531" y="15781"/>
                  <a:pt x="17562" y="15781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50"/>
                  <a:pt x="17562" y="15750"/>
                </a:cubicBezTo>
                <a:cubicBezTo>
                  <a:pt x="17562" y="15750"/>
                  <a:pt x="17562" y="15718"/>
                  <a:pt x="17562" y="15718"/>
                </a:cubicBezTo>
                <a:cubicBezTo>
                  <a:pt x="17562" y="15718"/>
                  <a:pt x="17562" y="15750"/>
                  <a:pt x="17562" y="15750"/>
                </a:cubicBezTo>
                <a:cubicBezTo>
                  <a:pt x="17406" y="15843"/>
                  <a:pt x="17250" y="15937"/>
                  <a:pt x="17093" y="16031"/>
                </a:cubicBezTo>
                <a:cubicBezTo>
                  <a:pt x="17031" y="16062"/>
                  <a:pt x="16968" y="16093"/>
                  <a:pt x="16906" y="16125"/>
                </a:cubicBezTo>
                <a:cubicBezTo>
                  <a:pt x="16843" y="16125"/>
                  <a:pt x="16687" y="16156"/>
                  <a:pt x="16531" y="16187"/>
                </a:cubicBezTo>
                <a:cubicBezTo>
                  <a:pt x="16656" y="16125"/>
                  <a:pt x="16781" y="16062"/>
                  <a:pt x="16906" y="16000"/>
                </a:cubicBezTo>
                <a:cubicBezTo>
                  <a:pt x="16906" y="15968"/>
                  <a:pt x="16937" y="15968"/>
                  <a:pt x="16937" y="15968"/>
                </a:cubicBezTo>
                <a:cubicBezTo>
                  <a:pt x="17031" y="15937"/>
                  <a:pt x="17125" y="15906"/>
                  <a:pt x="17156" y="15812"/>
                </a:cubicBezTo>
                <a:cubicBezTo>
                  <a:pt x="17156" y="15812"/>
                  <a:pt x="17156" y="15812"/>
                  <a:pt x="17156" y="15812"/>
                </a:cubicBezTo>
                <a:cubicBezTo>
                  <a:pt x="17218" y="15781"/>
                  <a:pt x="17312" y="15750"/>
                  <a:pt x="17375" y="15687"/>
                </a:cubicBezTo>
                <a:cubicBezTo>
                  <a:pt x="17437" y="15656"/>
                  <a:pt x="17500" y="15593"/>
                  <a:pt x="17531" y="15531"/>
                </a:cubicBezTo>
                <a:cubicBezTo>
                  <a:pt x="17406" y="15625"/>
                  <a:pt x="17281" y="15687"/>
                  <a:pt x="17156" y="15812"/>
                </a:cubicBezTo>
                <a:cubicBezTo>
                  <a:pt x="17031" y="15875"/>
                  <a:pt x="16906" y="15937"/>
                  <a:pt x="16750" y="16031"/>
                </a:cubicBezTo>
                <a:cubicBezTo>
                  <a:pt x="16593" y="16125"/>
                  <a:pt x="16406" y="16187"/>
                  <a:pt x="16250" y="16281"/>
                </a:cubicBezTo>
                <a:cubicBezTo>
                  <a:pt x="16156" y="16281"/>
                  <a:pt x="16093" y="16312"/>
                  <a:pt x="16000" y="16343"/>
                </a:cubicBezTo>
                <a:cubicBezTo>
                  <a:pt x="16000" y="16312"/>
                  <a:pt x="16031" y="16312"/>
                  <a:pt x="16062" y="16312"/>
                </a:cubicBezTo>
                <a:cubicBezTo>
                  <a:pt x="16156" y="16218"/>
                  <a:pt x="16250" y="16156"/>
                  <a:pt x="16343" y="16093"/>
                </a:cubicBezTo>
                <a:cubicBezTo>
                  <a:pt x="16312" y="16062"/>
                  <a:pt x="16250" y="16093"/>
                  <a:pt x="16218" y="16093"/>
                </a:cubicBezTo>
                <a:cubicBezTo>
                  <a:pt x="16468" y="15906"/>
                  <a:pt x="16781" y="15812"/>
                  <a:pt x="17062" y="15593"/>
                </a:cubicBezTo>
                <a:cubicBezTo>
                  <a:pt x="17031" y="15593"/>
                  <a:pt x="17031" y="15593"/>
                  <a:pt x="17031" y="15593"/>
                </a:cubicBezTo>
                <a:cubicBezTo>
                  <a:pt x="16875" y="15687"/>
                  <a:pt x="16750" y="15750"/>
                  <a:pt x="16625" y="15812"/>
                </a:cubicBezTo>
                <a:cubicBezTo>
                  <a:pt x="16406" y="15937"/>
                  <a:pt x="16218" y="16031"/>
                  <a:pt x="16031" y="16125"/>
                </a:cubicBezTo>
                <a:cubicBezTo>
                  <a:pt x="16031" y="16093"/>
                  <a:pt x="16000" y="16093"/>
                  <a:pt x="16000" y="16093"/>
                </a:cubicBezTo>
                <a:cubicBezTo>
                  <a:pt x="16000" y="16062"/>
                  <a:pt x="16000" y="16031"/>
                  <a:pt x="16031" y="16031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62" y="16000"/>
                  <a:pt x="16062" y="16000"/>
                  <a:pt x="16062" y="16031"/>
                </a:cubicBezTo>
                <a:cubicBezTo>
                  <a:pt x="16125" y="16031"/>
                  <a:pt x="16156" y="16000"/>
                  <a:pt x="16156" y="16000"/>
                </a:cubicBezTo>
                <a:cubicBezTo>
                  <a:pt x="16187" y="15937"/>
                  <a:pt x="16218" y="15937"/>
                  <a:pt x="16250" y="15906"/>
                </a:cubicBezTo>
                <a:cubicBezTo>
                  <a:pt x="16281" y="15843"/>
                  <a:pt x="16343" y="15812"/>
                  <a:pt x="16375" y="15750"/>
                </a:cubicBezTo>
                <a:cubicBezTo>
                  <a:pt x="16281" y="15812"/>
                  <a:pt x="16156" y="15750"/>
                  <a:pt x="16062" y="15812"/>
                </a:cubicBezTo>
                <a:cubicBezTo>
                  <a:pt x="16062" y="15812"/>
                  <a:pt x="16031" y="15843"/>
                  <a:pt x="16000" y="15812"/>
                </a:cubicBezTo>
                <a:cubicBezTo>
                  <a:pt x="16000" y="15781"/>
                  <a:pt x="16031" y="15781"/>
                  <a:pt x="16031" y="15750"/>
                </a:cubicBezTo>
                <a:cubicBezTo>
                  <a:pt x="16031" y="15750"/>
                  <a:pt x="16062" y="15750"/>
                  <a:pt x="16031" y="15718"/>
                </a:cubicBezTo>
                <a:cubicBezTo>
                  <a:pt x="15656" y="16000"/>
                  <a:pt x="15187" y="16031"/>
                  <a:pt x="14781" y="16250"/>
                </a:cubicBezTo>
                <a:cubicBezTo>
                  <a:pt x="14781" y="16250"/>
                  <a:pt x="14781" y="16250"/>
                  <a:pt x="14781" y="16218"/>
                </a:cubicBezTo>
                <a:cubicBezTo>
                  <a:pt x="15000" y="16093"/>
                  <a:pt x="15218" y="15968"/>
                  <a:pt x="15437" y="15843"/>
                </a:cubicBezTo>
                <a:cubicBezTo>
                  <a:pt x="15312" y="15875"/>
                  <a:pt x="15218" y="15906"/>
                  <a:pt x="15125" y="15968"/>
                </a:cubicBezTo>
                <a:cubicBezTo>
                  <a:pt x="15125" y="15968"/>
                  <a:pt x="15125" y="15968"/>
                  <a:pt x="15125" y="15968"/>
                </a:cubicBezTo>
                <a:cubicBezTo>
                  <a:pt x="15093" y="15968"/>
                  <a:pt x="15093" y="16000"/>
                  <a:pt x="15093" y="16000"/>
                </a:cubicBezTo>
                <a:cubicBezTo>
                  <a:pt x="15062" y="16000"/>
                  <a:pt x="15062" y="16000"/>
                  <a:pt x="15062" y="16000"/>
                </a:cubicBezTo>
                <a:cubicBezTo>
                  <a:pt x="15062" y="16000"/>
                  <a:pt x="15062" y="15968"/>
                  <a:pt x="15031" y="15968"/>
                </a:cubicBezTo>
                <a:cubicBezTo>
                  <a:pt x="15125" y="15906"/>
                  <a:pt x="15187" y="15812"/>
                  <a:pt x="15281" y="15718"/>
                </a:cubicBezTo>
                <a:cubicBezTo>
                  <a:pt x="15312" y="15687"/>
                  <a:pt x="15343" y="15656"/>
                  <a:pt x="15343" y="15625"/>
                </a:cubicBezTo>
                <a:cubicBezTo>
                  <a:pt x="15281" y="15625"/>
                  <a:pt x="15281" y="15687"/>
                  <a:pt x="15250" y="15687"/>
                </a:cubicBezTo>
                <a:cubicBezTo>
                  <a:pt x="15250" y="15687"/>
                  <a:pt x="15250" y="15687"/>
                  <a:pt x="15250" y="15687"/>
                </a:cubicBezTo>
                <a:cubicBezTo>
                  <a:pt x="15375" y="15531"/>
                  <a:pt x="15500" y="15343"/>
                  <a:pt x="15656" y="15187"/>
                </a:cubicBezTo>
                <a:cubicBezTo>
                  <a:pt x="15687" y="15156"/>
                  <a:pt x="15687" y="15125"/>
                  <a:pt x="15718" y="15093"/>
                </a:cubicBezTo>
                <a:cubicBezTo>
                  <a:pt x="15625" y="15093"/>
                  <a:pt x="15625" y="15156"/>
                  <a:pt x="15593" y="15187"/>
                </a:cubicBezTo>
                <a:cubicBezTo>
                  <a:pt x="15562" y="15187"/>
                  <a:pt x="15531" y="15250"/>
                  <a:pt x="15531" y="15187"/>
                </a:cubicBezTo>
                <a:cubicBezTo>
                  <a:pt x="15531" y="15125"/>
                  <a:pt x="15531" y="15156"/>
                  <a:pt x="15500" y="15156"/>
                </a:cubicBezTo>
                <a:cubicBezTo>
                  <a:pt x="15437" y="15187"/>
                  <a:pt x="15406" y="15250"/>
                  <a:pt x="15343" y="15250"/>
                </a:cubicBezTo>
                <a:cubicBezTo>
                  <a:pt x="15375" y="15156"/>
                  <a:pt x="15468" y="15093"/>
                  <a:pt x="15531" y="15031"/>
                </a:cubicBezTo>
                <a:cubicBezTo>
                  <a:pt x="15562" y="14968"/>
                  <a:pt x="15562" y="14937"/>
                  <a:pt x="15500" y="14937"/>
                </a:cubicBezTo>
                <a:cubicBezTo>
                  <a:pt x="15468" y="14937"/>
                  <a:pt x="15468" y="14937"/>
                  <a:pt x="15468" y="14937"/>
                </a:cubicBezTo>
                <a:cubicBezTo>
                  <a:pt x="15437" y="14843"/>
                  <a:pt x="15406" y="14906"/>
                  <a:pt x="15375" y="14937"/>
                </a:cubicBezTo>
                <a:cubicBezTo>
                  <a:pt x="15281" y="15000"/>
                  <a:pt x="15187" y="15125"/>
                  <a:pt x="15093" y="15218"/>
                </a:cubicBezTo>
                <a:cubicBezTo>
                  <a:pt x="14781" y="15562"/>
                  <a:pt x="14437" y="15906"/>
                  <a:pt x="14093" y="16250"/>
                </a:cubicBezTo>
                <a:cubicBezTo>
                  <a:pt x="14093" y="16281"/>
                  <a:pt x="14062" y="16281"/>
                  <a:pt x="14062" y="16312"/>
                </a:cubicBezTo>
                <a:cubicBezTo>
                  <a:pt x="14062" y="16312"/>
                  <a:pt x="14031" y="16312"/>
                  <a:pt x="14062" y="16343"/>
                </a:cubicBezTo>
                <a:cubicBezTo>
                  <a:pt x="14031" y="16406"/>
                  <a:pt x="14031" y="16500"/>
                  <a:pt x="14000" y="16562"/>
                </a:cubicBezTo>
                <a:cubicBezTo>
                  <a:pt x="14000" y="16656"/>
                  <a:pt x="14000" y="16718"/>
                  <a:pt x="14000" y="16812"/>
                </a:cubicBezTo>
                <a:cubicBezTo>
                  <a:pt x="13968" y="16718"/>
                  <a:pt x="13968" y="16656"/>
                  <a:pt x="13968" y="16562"/>
                </a:cubicBezTo>
                <a:cubicBezTo>
                  <a:pt x="13968" y="16593"/>
                  <a:pt x="13937" y="16656"/>
                  <a:pt x="13937" y="16687"/>
                </a:cubicBezTo>
                <a:cubicBezTo>
                  <a:pt x="13937" y="16687"/>
                  <a:pt x="13937" y="16687"/>
                  <a:pt x="13937" y="16687"/>
                </a:cubicBezTo>
                <a:cubicBezTo>
                  <a:pt x="13937" y="16593"/>
                  <a:pt x="13906" y="16468"/>
                  <a:pt x="13906" y="16343"/>
                </a:cubicBezTo>
                <a:cubicBezTo>
                  <a:pt x="13906" y="16343"/>
                  <a:pt x="13906" y="16343"/>
                  <a:pt x="13906" y="16343"/>
                </a:cubicBezTo>
                <a:cubicBezTo>
                  <a:pt x="13906" y="16468"/>
                  <a:pt x="13906" y="16562"/>
                  <a:pt x="13906" y="16687"/>
                </a:cubicBezTo>
                <a:cubicBezTo>
                  <a:pt x="13875" y="16562"/>
                  <a:pt x="13843" y="16468"/>
                  <a:pt x="13812" y="16343"/>
                </a:cubicBezTo>
                <a:cubicBezTo>
                  <a:pt x="13781" y="16312"/>
                  <a:pt x="13781" y="16312"/>
                  <a:pt x="13750" y="16343"/>
                </a:cubicBezTo>
                <a:cubicBezTo>
                  <a:pt x="13500" y="16562"/>
                  <a:pt x="13250" y="16781"/>
                  <a:pt x="13031" y="17000"/>
                </a:cubicBezTo>
                <a:cubicBezTo>
                  <a:pt x="13062" y="17031"/>
                  <a:pt x="13125" y="17031"/>
                  <a:pt x="13187" y="17062"/>
                </a:cubicBezTo>
                <a:cubicBezTo>
                  <a:pt x="13218" y="17093"/>
                  <a:pt x="13218" y="17093"/>
                  <a:pt x="13187" y="17156"/>
                </a:cubicBezTo>
                <a:cubicBezTo>
                  <a:pt x="12968" y="17375"/>
                  <a:pt x="12718" y="17562"/>
                  <a:pt x="12468" y="17750"/>
                </a:cubicBezTo>
                <a:cubicBezTo>
                  <a:pt x="12343" y="17812"/>
                  <a:pt x="12250" y="17875"/>
                  <a:pt x="12156" y="17968"/>
                </a:cubicBezTo>
                <a:cubicBezTo>
                  <a:pt x="12343" y="17968"/>
                  <a:pt x="12531" y="17906"/>
                  <a:pt x="12718" y="17812"/>
                </a:cubicBezTo>
                <a:cubicBezTo>
                  <a:pt x="12968" y="17718"/>
                  <a:pt x="13187" y="17562"/>
                  <a:pt x="13406" y="17406"/>
                </a:cubicBezTo>
                <a:cubicBezTo>
                  <a:pt x="13531" y="17312"/>
                  <a:pt x="13531" y="17312"/>
                  <a:pt x="13687" y="17437"/>
                </a:cubicBezTo>
                <a:cubicBezTo>
                  <a:pt x="13937" y="17625"/>
                  <a:pt x="14125" y="17875"/>
                  <a:pt x="14250" y="18156"/>
                </a:cubicBezTo>
                <a:cubicBezTo>
                  <a:pt x="14281" y="18187"/>
                  <a:pt x="14312" y="18218"/>
                  <a:pt x="14312" y="18250"/>
                </a:cubicBezTo>
                <a:cubicBezTo>
                  <a:pt x="14343" y="18375"/>
                  <a:pt x="14406" y="18468"/>
                  <a:pt x="14437" y="18562"/>
                </a:cubicBezTo>
                <a:cubicBezTo>
                  <a:pt x="14468" y="18656"/>
                  <a:pt x="14468" y="18718"/>
                  <a:pt x="14500" y="18812"/>
                </a:cubicBezTo>
                <a:cubicBezTo>
                  <a:pt x="14500" y="18843"/>
                  <a:pt x="14500" y="18875"/>
                  <a:pt x="14500" y="18906"/>
                </a:cubicBezTo>
                <a:cubicBezTo>
                  <a:pt x="14531" y="19062"/>
                  <a:pt x="14562" y="19187"/>
                  <a:pt x="14625" y="19343"/>
                </a:cubicBezTo>
                <a:cubicBezTo>
                  <a:pt x="14625" y="19343"/>
                  <a:pt x="14656" y="19375"/>
                  <a:pt x="14656" y="19343"/>
                </a:cubicBezTo>
                <a:cubicBezTo>
                  <a:pt x="14687" y="19343"/>
                  <a:pt x="14656" y="19343"/>
                  <a:pt x="14656" y="19312"/>
                </a:cubicBezTo>
                <a:cubicBezTo>
                  <a:pt x="14656" y="19281"/>
                  <a:pt x="14625" y="19281"/>
                  <a:pt x="14656" y="19250"/>
                </a:cubicBezTo>
                <a:cubicBezTo>
                  <a:pt x="14687" y="19218"/>
                  <a:pt x="14687" y="19250"/>
                  <a:pt x="14718" y="19281"/>
                </a:cubicBezTo>
                <a:cubicBezTo>
                  <a:pt x="14812" y="19343"/>
                  <a:pt x="14906" y="19406"/>
                  <a:pt x="15000" y="19406"/>
                </a:cubicBezTo>
                <a:cubicBezTo>
                  <a:pt x="15187" y="19406"/>
                  <a:pt x="15343" y="19406"/>
                  <a:pt x="15531" y="19312"/>
                </a:cubicBezTo>
                <a:cubicBezTo>
                  <a:pt x="15593" y="19250"/>
                  <a:pt x="15687" y="19218"/>
                  <a:pt x="15750" y="19187"/>
                </a:cubicBezTo>
                <a:cubicBezTo>
                  <a:pt x="15906" y="19125"/>
                  <a:pt x="16093" y="19062"/>
                  <a:pt x="16250" y="18968"/>
                </a:cubicBezTo>
                <a:cubicBezTo>
                  <a:pt x="16500" y="18843"/>
                  <a:pt x="16750" y="18656"/>
                  <a:pt x="16968" y="18468"/>
                </a:cubicBezTo>
                <a:cubicBezTo>
                  <a:pt x="17250" y="18250"/>
                  <a:pt x="17531" y="18000"/>
                  <a:pt x="17781" y="17781"/>
                </a:cubicBezTo>
                <a:cubicBezTo>
                  <a:pt x="18093" y="17500"/>
                  <a:pt x="18406" y="17187"/>
                  <a:pt x="18687" y="16875"/>
                </a:cubicBezTo>
                <a:cubicBezTo>
                  <a:pt x="18687" y="16843"/>
                  <a:pt x="18718" y="16843"/>
                  <a:pt x="18687" y="16812"/>
                </a:cubicBezTo>
                <a:cubicBezTo>
                  <a:pt x="18656" y="16812"/>
                  <a:pt x="18656" y="16812"/>
                  <a:pt x="18625" y="16812"/>
                </a:cubicBezTo>
                <a:close/>
                <a:moveTo>
                  <a:pt x="15843" y="17750"/>
                </a:moveTo>
                <a:cubicBezTo>
                  <a:pt x="15843" y="17750"/>
                  <a:pt x="15843" y="17718"/>
                  <a:pt x="15875" y="17718"/>
                </a:cubicBezTo>
                <a:cubicBezTo>
                  <a:pt x="15875" y="17750"/>
                  <a:pt x="15843" y="17750"/>
                  <a:pt x="15843" y="17750"/>
                </a:cubicBezTo>
                <a:close/>
                <a:moveTo>
                  <a:pt x="8437" y="4406"/>
                </a:move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37" y="4406"/>
                  <a:pt x="8437" y="4406"/>
                </a:cubicBezTo>
                <a:cubicBezTo>
                  <a:pt x="8437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68" y="4406"/>
                </a:cubicBezTo>
                <a:cubicBezTo>
                  <a:pt x="8468" y="4406"/>
                  <a:pt x="8468" y="4406"/>
                  <a:pt x="8437" y="4406"/>
                </a:cubicBezTo>
                <a:close/>
                <a:moveTo>
                  <a:pt x="5843" y="2937"/>
                </a:moveTo>
                <a:cubicBezTo>
                  <a:pt x="5843" y="2937"/>
                  <a:pt x="5843" y="2906"/>
                  <a:pt x="5843" y="2906"/>
                </a:cubicBezTo>
                <a:cubicBezTo>
                  <a:pt x="5843" y="2906"/>
                  <a:pt x="5843" y="2906"/>
                  <a:pt x="5843" y="2906"/>
                </a:cubicBezTo>
                <a:cubicBezTo>
                  <a:pt x="5875" y="2906"/>
                  <a:pt x="5875" y="2906"/>
                  <a:pt x="5875" y="2875"/>
                </a:cubicBezTo>
                <a:cubicBezTo>
                  <a:pt x="5875" y="2875"/>
                  <a:pt x="5875" y="2875"/>
                  <a:pt x="5875" y="2875"/>
                </a:cubicBezTo>
                <a:cubicBezTo>
                  <a:pt x="5875" y="2875"/>
                  <a:pt x="5875" y="2875"/>
                  <a:pt x="5843" y="2906"/>
                </a:cubicBezTo>
                <a:cubicBezTo>
                  <a:pt x="5843" y="2906"/>
                  <a:pt x="5843" y="2906"/>
                  <a:pt x="5843" y="2937"/>
                </a:cubicBezTo>
                <a:cubicBezTo>
                  <a:pt x="5781" y="2937"/>
                  <a:pt x="5750" y="2968"/>
                  <a:pt x="5718" y="3031"/>
                </a:cubicBezTo>
                <a:cubicBezTo>
                  <a:pt x="5687" y="3031"/>
                  <a:pt x="5656" y="3062"/>
                  <a:pt x="5625" y="3125"/>
                </a:cubicBezTo>
                <a:cubicBezTo>
                  <a:pt x="5625" y="3125"/>
                  <a:pt x="5593" y="3156"/>
                  <a:pt x="5593" y="3187"/>
                </a:cubicBezTo>
                <a:cubicBezTo>
                  <a:pt x="5656" y="3125"/>
                  <a:pt x="5687" y="3093"/>
                  <a:pt x="5750" y="3031"/>
                </a:cubicBezTo>
                <a:cubicBezTo>
                  <a:pt x="5781" y="3000"/>
                  <a:pt x="5812" y="2968"/>
                  <a:pt x="5843" y="293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14FD7EF-5561-8448-BDF2-A8B12BA6D8F5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7D7C94F6-D00E-0B4E-ACBE-AD1BD05361F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29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91">
            <a:extLst>
              <a:ext uri="{FF2B5EF4-FFF2-40B4-BE49-F238E27FC236}">
                <a16:creationId xmlns:a16="http://schemas.microsoft.com/office/drawing/2014/main" id="{6F6FA0D2-BA14-9244-AD17-F0A6C4FB2385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 flipH="1">
            <a:off x="10661335" y="2610322"/>
            <a:ext cx="13753528" cy="9775861"/>
          </a:xfrm>
          <a:custGeom>
            <a:avLst/>
            <a:gdLst>
              <a:gd name="T0" fmla="*/ 8094 w 25625"/>
              <a:gd name="T1" fmla="*/ 3625 h 13531"/>
              <a:gd name="T2" fmla="*/ 24781 w 25625"/>
              <a:gd name="T3" fmla="*/ 7531 h 13531"/>
              <a:gd name="T4" fmla="*/ 22313 w 25625"/>
              <a:gd name="T5" fmla="*/ 8500 h 13531"/>
              <a:gd name="T6" fmla="*/ 19500 w 25625"/>
              <a:gd name="T7" fmla="*/ 9718 h 13531"/>
              <a:gd name="T8" fmla="*/ 13219 w 25625"/>
              <a:gd name="T9" fmla="*/ 10343 h 13531"/>
              <a:gd name="T10" fmla="*/ 14594 w 25625"/>
              <a:gd name="T11" fmla="*/ 10093 h 13531"/>
              <a:gd name="T12" fmla="*/ 16938 w 25625"/>
              <a:gd name="T13" fmla="*/ 9562 h 13531"/>
              <a:gd name="T14" fmla="*/ 12281 w 25625"/>
              <a:gd name="T15" fmla="*/ 9531 h 13531"/>
              <a:gd name="T16" fmla="*/ 9750 w 25625"/>
              <a:gd name="T17" fmla="*/ 8406 h 13531"/>
              <a:gd name="T18" fmla="*/ 6688 w 25625"/>
              <a:gd name="T19" fmla="*/ 5187 h 13531"/>
              <a:gd name="T20" fmla="*/ 8969 w 25625"/>
              <a:gd name="T21" fmla="*/ 7343 h 13531"/>
              <a:gd name="T22" fmla="*/ 9844 w 25625"/>
              <a:gd name="T23" fmla="*/ 7156 h 13531"/>
              <a:gd name="T24" fmla="*/ 12438 w 25625"/>
              <a:gd name="T25" fmla="*/ 7562 h 13531"/>
              <a:gd name="T26" fmla="*/ 9469 w 25625"/>
              <a:gd name="T27" fmla="*/ 5500 h 13531"/>
              <a:gd name="T28" fmla="*/ 10156 w 25625"/>
              <a:gd name="T29" fmla="*/ 5562 h 13531"/>
              <a:gd name="T30" fmla="*/ 9375 w 25625"/>
              <a:gd name="T31" fmla="*/ 4500 h 13531"/>
              <a:gd name="T32" fmla="*/ 8125 w 25625"/>
              <a:gd name="T33" fmla="*/ 3687 h 13531"/>
              <a:gd name="T34" fmla="*/ 8375 w 25625"/>
              <a:gd name="T35" fmla="*/ 1781 h 13531"/>
              <a:gd name="T36" fmla="*/ 8875 w 25625"/>
              <a:gd name="T37" fmla="*/ 1937 h 13531"/>
              <a:gd name="T38" fmla="*/ 8969 w 25625"/>
              <a:gd name="T39" fmla="*/ 125 h 13531"/>
              <a:gd name="T40" fmla="*/ 7188 w 25625"/>
              <a:gd name="T41" fmla="*/ 812 h 13531"/>
              <a:gd name="T42" fmla="*/ 4469 w 25625"/>
              <a:gd name="T43" fmla="*/ 1593 h 13531"/>
              <a:gd name="T44" fmla="*/ 3375 w 25625"/>
              <a:gd name="T45" fmla="*/ 3093 h 13531"/>
              <a:gd name="T46" fmla="*/ 4469 w 25625"/>
              <a:gd name="T47" fmla="*/ 4562 h 13531"/>
              <a:gd name="T48" fmla="*/ 3688 w 25625"/>
              <a:gd name="T49" fmla="*/ 4218 h 13531"/>
              <a:gd name="T50" fmla="*/ 2844 w 25625"/>
              <a:gd name="T51" fmla="*/ 4187 h 13531"/>
              <a:gd name="T52" fmla="*/ 2781 w 25625"/>
              <a:gd name="T53" fmla="*/ 5031 h 13531"/>
              <a:gd name="T54" fmla="*/ 5594 w 25625"/>
              <a:gd name="T55" fmla="*/ 9406 h 13531"/>
              <a:gd name="T56" fmla="*/ 4344 w 25625"/>
              <a:gd name="T57" fmla="*/ 8656 h 13531"/>
              <a:gd name="T58" fmla="*/ 4688 w 25625"/>
              <a:gd name="T59" fmla="*/ 9343 h 13531"/>
              <a:gd name="T60" fmla="*/ 10188 w 25625"/>
              <a:gd name="T61" fmla="*/ 12437 h 13531"/>
              <a:gd name="T62" fmla="*/ 11313 w 25625"/>
              <a:gd name="T63" fmla="*/ 12250 h 13531"/>
              <a:gd name="T64" fmla="*/ 20688 w 25625"/>
              <a:gd name="T65" fmla="*/ 11343 h 13531"/>
              <a:gd name="T66" fmla="*/ 24469 w 25625"/>
              <a:gd name="T67" fmla="*/ 8750 h 13531"/>
              <a:gd name="T68" fmla="*/ 8531 w 25625"/>
              <a:gd name="T69" fmla="*/ 3656 h 13531"/>
              <a:gd name="T70" fmla="*/ 9188 w 25625"/>
              <a:gd name="T71" fmla="*/ 2156 h 13531"/>
              <a:gd name="T72" fmla="*/ 9563 w 25625"/>
              <a:gd name="T73" fmla="*/ 2718 h 13531"/>
              <a:gd name="T74" fmla="*/ 11094 w 25625"/>
              <a:gd name="T75" fmla="*/ 2875 h 13531"/>
              <a:gd name="T76" fmla="*/ 10563 w 25625"/>
              <a:gd name="T77" fmla="*/ 3593 h 13531"/>
              <a:gd name="T78" fmla="*/ 11750 w 25625"/>
              <a:gd name="T79" fmla="*/ 4343 h 13531"/>
              <a:gd name="T80" fmla="*/ 9125 w 25625"/>
              <a:gd name="T81" fmla="*/ 3281 h 13531"/>
              <a:gd name="T82" fmla="*/ 10281 w 25625"/>
              <a:gd name="T83" fmla="*/ 4000 h 13531"/>
              <a:gd name="T84" fmla="*/ 10281 w 25625"/>
              <a:gd name="T85" fmla="*/ 5000 h 13531"/>
              <a:gd name="T86" fmla="*/ 12719 w 25625"/>
              <a:gd name="T87" fmla="*/ 13000 h 13531"/>
              <a:gd name="T88" fmla="*/ 19438 w 25625"/>
              <a:gd name="T89" fmla="*/ 12812 h 13531"/>
              <a:gd name="T90" fmla="*/ 11406 w 25625"/>
              <a:gd name="T91" fmla="*/ 12500 h 13531"/>
              <a:gd name="T92" fmla="*/ 14063 w 25625"/>
              <a:gd name="T93" fmla="*/ 13437 h 13531"/>
              <a:gd name="T94" fmla="*/ 1906 w 25625"/>
              <a:gd name="T95" fmla="*/ 2906 h 13531"/>
              <a:gd name="T96" fmla="*/ 3906 w 25625"/>
              <a:gd name="T97" fmla="*/ 9031 h 13531"/>
              <a:gd name="T98" fmla="*/ 7688 w 25625"/>
              <a:gd name="T99" fmla="*/ 12031 h 13531"/>
              <a:gd name="T100" fmla="*/ 15594 w 25625"/>
              <a:gd name="T101" fmla="*/ 5312 h 13531"/>
              <a:gd name="T102" fmla="*/ 13000 w 25625"/>
              <a:gd name="T103" fmla="*/ 8875 h 13531"/>
              <a:gd name="T104" fmla="*/ 15750 w 25625"/>
              <a:gd name="T105" fmla="*/ 4812 h 13531"/>
              <a:gd name="T106" fmla="*/ 15688 w 25625"/>
              <a:gd name="T107" fmla="*/ 5000 h 13531"/>
              <a:gd name="T108" fmla="*/ 17844 w 25625"/>
              <a:gd name="T109" fmla="*/ 8687 h 13531"/>
              <a:gd name="T110" fmla="*/ 12875 w 25625"/>
              <a:gd name="T111" fmla="*/ 8656 h 13531"/>
              <a:gd name="T112" fmla="*/ 18000 w 25625"/>
              <a:gd name="T113" fmla="*/ 8718 h 13531"/>
              <a:gd name="T114" fmla="*/ 14281 w 25625"/>
              <a:gd name="T115" fmla="*/ 8437 h 13531"/>
              <a:gd name="T116" fmla="*/ 13656 w 25625"/>
              <a:gd name="T117" fmla="*/ 7843 h 13531"/>
              <a:gd name="T118" fmla="*/ 14313 w 25625"/>
              <a:gd name="T119" fmla="*/ 7531 h 13531"/>
              <a:gd name="T120" fmla="*/ 14094 w 25625"/>
              <a:gd name="T121" fmla="*/ 2250 h 1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5625" h="13531">
                <a:moveTo>
                  <a:pt x="13688" y="4843"/>
                </a:moveTo>
                <a:cubicBezTo>
                  <a:pt x="13625" y="4750"/>
                  <a:pt x="13563" y="4750"/>
                  <a:pt x="13469" y="4781"/>
                </a:cubicBezTo>
                <a:cubicBezTo>
                  <a:pt x="13531" y="4875"/>
                  <a:pt x="13594" y="4875"/>
                  <a:pt x="13688" y="4843"/>
                </a:cubicBezTo>
                <a:close/>
                <a:moveTo>
                  <a:pt x="3094" y="3468"/>
                </a:moveTo>
                <a:cubicBezTo>
                  <a:pt x="3188" y="3343"/>
                  <a:pt x="3188" y="3343"/>
                  <a:pt x="3156" y="3250"/>
                </a:cubicBezTo>
                <a:cubicBezTo>
                  <a:pt x="3188" y="3312"/>
                  <a:pt x="3094" y="3343"/>
                  <a:pt x="3094" y="3468"/>
                </a:cubicBezTo>
                <a:close/>
                <a:moveTo>
                  <a:pt x="10375" y="7531"/>
                </a:moveTo>
                <a:cubicBezTo>
                  <a:pt x="10406" y="7656"/>
                  <a:pt x="10563" y="7625"/>
                  <a:pt x="10625" y="7750"/>
                </a:cubicBezTo>
                <a:cubicBezTo>
                  <a:pt x="10656" y="7562"/>
                  <a:pt x="10500" y="7562"/>
                  <a:pt x="10375" y="7531"/>
                </a:cubicBezTo>
                <a:close/>
                <a:moveTo>
                  <a:pt x="11313" y="7656"/>
                </a:moveTo>
                <a:cubicBezTo>
                  <a:pt x="11219" y="7531"/>
                  <a:pt x="11094" y="7562"/>
                  <a:pt x="11000" y="7531"/>
                </a:cubicBezTo>
                <a:cubicBezTo>
                  <a:pt x="11094" y="7593"/>
                  <a:pt x="11156" y="7687"/>
                  <a:pt x="11313" y="7656"/>
                </a:cubicBezTo>
                <a:close/>
                <a:moveTo>
                  <a:pt x="8094" y="3656"/>
                </a:moveTo>
                <a:cubicBezTo>
                  <a:pt x="8094" y="3656"/>
                  <a:pt x="8094" y="3656"/>
                  <a:pt x="8125" y="3656"/>
                </a:cubicBezTo>
                <a:cubicBezTo>
                  <a:pt x="8125" y="3656"/>
                  <a:pt x="8125" y="3656"/>
                  <a:pt x="8125" y="3656"/>
                </a:cubicBezTo>
                <a:cubicBezTo>
                  <a:pt x="8125" y="3656"/>
                  <a:pt x="8125" y="3656"/>
                  <a:pt x="8094" y="3625"/>
                </a:cubicBezTo>
                <a:cubicBezTo>
                  <a:pt x="8094" y="3656"/>
                  <a:pt x="8094" y="3656"/>
                  <a:pt x="8094" y="3656"/>
                </a:cubicBezTo>
                <a:close/>
                <a:moveTo>
                  <a:pt x="16688" y="10093"/>
                </a:moveTo>
                <a:cubicBezTo>
                  <a:pt x="16500" y="10125"/>
                  <a:pt x="16344" y="10125"/>
                  <a:pt x="16188" y="10156"/>
                </a:cubicBezTo>
                <a:cubicBezTo>
                  <a:pt x="16188" y="10156"/>
                  <a:pt x="16188" y="10156"/>
                  <a:pt x="16188" y="10156"/>
                </a:cubicBezTo>
                <a:cubicBezTo>
                  <a:pt x="16406" y="10156"/>
                  <a:pt x="16656" y="10156"/>
                  <a:pt x="16875" y="10156"/>
                </a:cubicBezTo>
                <a:cubicBezTo>
                  <a:pt x="17094" y="10125"/>
                  <a:pt x="17313" y="10125"/>
                  <a:pt x="17500" y="10031"/>
                </a:cubicBezTo>
                <a:cubicBezTo>
                  <a:pt x="17375" y="10062"/>
                  <a:pt x="17250" y="10062"/>
                  <a:pt x="17125" y="10062"/>
                </a:cubicBezTo>
                <a:cubicBezTo>
                  <a:pt x="16969" y="10062"/>
                  <a:pt x="16813" y="10062"/>
                  <a:pt x="16688" y="10093"/>
                </a:cubicBezTo>
                <a:close/>
                <a:moveTo>
                  <a:pt x="25531" y="7562"/>
                </a:moveTo>
                <a:cubicBezTo>
                  <a:pt x="25563" y="7531"/>
                  <a:pt x="25594" y="7500"/>
                  <a:pt x="25625" y="7437"/>
                </a:cubicBezTo>
                <a:cubicBezTo>
                  <a:pt x="25313" y="7625"/>
                  <a:pt x="25094" y="7843"/>
                  <a:pt x="24781" y="7875"/>
                </a:cubicBezTo>
                <a:cubicBezTo>
                  <a:pt x="25000" y="7625"/>
                  <a:pt x="25313" y="7500"/>
                  <a:pt x="25563" y="7250"/>
                </a:cubicBezTo>
                <a:cubicBezTo>
                  <a:pt x="25500" y="7250"/>
                  <a:pt x="25469" y="7250"/>
                  <a:pt x="25438" y="7281"/>
                </a:cubicBezTo>
                <a:cubicBezTo>
                  <a:pt x="25281" y="7406"/>
                  <a:pt x="25063" y="7531"/>
                  <a:pt x="24875" y="7625"/>
                </a:cubicBezTo>
                <a:cubicBezTo>
                  <a:pt x="24813" y="7656"/>
                  <a:pt x="24781" y="7687"/>
                  <a:pt x="24750" y="7656"/>
                </a:cubicBezTo>
                <a:cubicBezTo>
                  <a:pt x="24719" y="7593"/>
                  <a:pt x="24750" y="7562"/>
                  <a:pt x="24781" y="7531"/>
                </a:cubicBezTo>
                <a:cubicBezTo>
                  <a:pt x="24844" y="7437"/>
                  <a:pt x="24969" y="7406"/>
                  <a:pt x="25031" y="7343"/>
                </a:cubicBezTo>
                <a:cubicBezTo>
                  <a:pt x="25094" y="7281"/>
                  <a:pt x="25219" y="7250"/>
                  <a:pt x="25219" y="7125"/>
                </a:cubicBezTo>
                <a:cubicBezTo>
                  <a:pt x="25156" y="7125"/>
                  <a:pt x="25125" y="7218"/>
                  <a:pt x="25063" y="7250"/>
                </a:cubicBezTo>
                <a:cubicBezTo>
                  <a:pt x="24875" y="7250"/>
                  <a:pt x="24750" y="7437"/>
                  <a:pt x="24594" y="7468"/>
                </a:cubicBezTo>
                <a:cubicBezTo>
                  <a:pt x="24594" y="7468"/>
                  <a:pt x="24563" y="7437"/>
                  <a:pt x="24531" y="7437"/>
                </a:cubicBezTo>
                <a:cubicBezTo>
                  <a:pt x="24563" y="7312"/>
                  <a:pt x="24656" y="7281"/>
                  <a:pt x="24719" y="7250"/>
                </a:cubicBezTo>
                <a:cubicBezTo>
                  <a:pt x="24844" y="7156"/>
                  <a:pt x="24969" y="7031"/>
                  <a:pt x="25094" y="6937"/>
                </a:cubicBezTo>
                <a:cubicBezTo>
                  <a:pt x="24844" y="7031"/>
                  <a:pt x="24656" y="7218"/>
                  <a:pt x="24469" y="7343"/>
                </a:cubicBezTo>
                <a:cubicBezTo>
                  <a:pt x="24188" y="7468"/>
                  <a:pt x="23969" y="7718"/>
                  <a:pt x="23656" y="7843"/>
                </a:cubicBezTo>
                <a:cubicBezTo>
                  <a:pt x="23438" y="7906"/>
                  <a:pt x="23250" y="8093"/>
                  <a:pt x="23063" y="8250"/>
                </a:cubicBezTo>
                <a:cubicBezTo>
                  <a:pt x="23063" y="8187"/>
                  <a:pt x="23063" y="8156"/>
                  <a:pt x="23063" y="8093"/>
                </a:cubicBezTo>
                <a:cubicBezTo>
                  <a:pt x="22969" y="8156"/>
                  <a:pt x="22906" y="8250"/>
                  <a:pt x="22844" y="8312"/>
                </a:cubicBezTo>
                <a:cubicBezTo>
                  <a:pt x="22625" y="8500"/>
                  <a:pt x="22438" y="8750"/>
                  <a:pt x="22156" y="8875"/>
                </a:cubicBezTo>
                <a:cubicBezTo>
                  <a:pt x="22188" y="8718"/>
                  <a:pt x="22344" y="8687"/>
                  <a:pt x="22375" y="8593"/>
                </a:cubicBezTo>
                <a:cubicBezTo>
                  <a:pt x="22406" y="8562"/>
                  <a:pt x="22563" y="8593"/>
                  <a:pt x="22500" y="8468"/>
                </a:cubicBezTo>
                <a:cubicBezTo>
                  <a:pt x="22406" y="8375"/>
                  <a:pt x="22375" y="8468"/>
                  <a:pt x="22313" y="8500"/>
                </a:cubicBezTo>
                <a:cubicBezTo>
                  <a:pt x="22031" y="8718"/>
                  <a:pt x="21750" y="8937"/>
                  <a:pt x="21469" y="9125"/>
                </a:cubicBezTo>
                <a:cubicBezTo>
                  <a:pt x="21250" y="9250"/>
                  <a:pt x="21031" y="9375"/>
                  <a:pt x="20813" y="9437"/>
                </a:cubicBezTo>
                <a:cubicBezTo>
                  <a:pt x="20813" y="9437"/>
                  <a:pt x="20813" y="9437"/>
                  <a:pt x="20813" y="9437"/>
                </a:cubicBezTo>
                <a:cubicBezTo>
                  <a:pt x="20813" y="9406"/>
                  <a:pt x="20813" y="9406"/>
                  <a:pt x="20813" y="9406"/>
                </a:cubicBezTo>
                <a:cubicBezTo>
                  <a:pt x="20813" y="9406"/>
                  <a:pt x="20813" y="9406"/>
                  <a:pt x="20813" y="9437"/>
                </a:cubicBezTo>
                <a:cubicBezTo>
                  <a:pt x="20781" y="9437"/>
                  <a:pt x="20750" y="9437"/>
                  <a:pt x="20719" y="9437"/>
                </a:cubicBezTo>
                <a:cubicBezTo>
                  <a:pt x="20719" y="9437"/>
                  <a:pt x="20719" y="9437"/>
                  <a:pt x="20750" y="9437"/>
                </a:cubicBezTo>
                <a:cubicBezTo>
                  <a:pt x="20750" y="9468"/>
                  <a:pt x="20781" y="9468"/>
                  <a:pt x="20781" y="9437"/>
                </a:cubicBezTo>
                <a:cubicBezTo>
                  <a:pt x="20781" y="9468"/>
                  <a:pt x="20781" y="9500"/>
                  <a:pt x="20719" y="9531"/>
                </a:cubicBezTo>
                <a:cubicBezTo>
                  <a:pt x="20469" y="9625"/>
                  <a:pt x="20219" y="9781"/>
                  <a:pt x="19906" y="9875"/>
                </a:cubicBezTo>
                <a:cubicBezTo>
                  <a:pt x="19844" y="9718"/>
                  <a:pt x="19906" y="9625"/>
                  <a:pt x="20094" y="9625"/>
                </a:cubicBezTo>
                <a:cubicBezTo>
                  <a:pt x="20156" y="9625"/>
                  <a:pt x="20188" y="9562"/>
                  <a:pt x="20250" y="9531"/>
                </a:cubicBezTo>
                <a:cubicBezTo>
                  <a:pt x="20281" y="9500"/>
                  <a:pt x="20313" y="9500"/>
                  <a:pt x="20344" y="9500"/>
                </a:cubicBezTo>
                <a:cubicBezTo>
                  <a:pt x="20313" y="9468"/>
                  <a:pt x="20281" y="9468"/>
                  <a:pt x="20219" y="9500"/>
                </a:cubicBezTo>
                <a:cubicBezTo>
                  <a:pt x="20031" y="9500"/>
                  <a:pt x="19844" y="9593"/>
                  <a:pt x="19688" y="9656"/>
                </a:cubicBezTo>
                <a:cubicBezTo>
                  <a:pt x="19625" y="9687"/>
                  <a:pt x="19531" y="9656"/>
                  <a:pt x="19500" y="9718"/>
                </a:cubicBezTo>
                <a:cubicBezTo>
                  <a:pt x="19469" y="9812"/>
                  <a:pt x="19625" y="9750"/>
                  <a:pt x="19594" y="9843"/>
                </a:cubicBezTo>
                <a:cubicBezTo>
                  <a:pt x="19531" y="9843"/>
                  <a:pt x="19469" y="9875"/>
                  <a:pt x="19438" y="9875"/>
                </a:cubicBezTo>
                <a:cubicBezTo>
                  <a:pt x="19250" y="9937"/>
                  <a:pt x="19094" y="10031"/>
                  <a:pt x="18906" y="10031"/>
                </a:cubicBezTo>
                <a:cubicBezTo>
                  <a:pt x="18750" y="10062"/>
                  <a:pt x="18594" y="10093"/>
                  <a:pt x="18438" y="10156"/>
                </a:cubicBezTo>
                <a:cubicBezTo>
                  <a:pt x="18250" y="10187"/>
                  <a:pt x="18094" y="10281"/>
                  <a:pt x="17906" y="10250"/>
                </a:cubicBezTo>
                <a:cubicBezTo>
                  <a:pt x="17625" y="10218"/>
                  <a:pt x="17344" y="10312"/>
                  <a:pt x="17063" y="10343"/>
                </a:cubicBezTo>
                <a:cubicBezTo>
                  <a:pt x="16813" y="10375"/>
                  <a:pt x="16531" y="10468"/>
                  <a:pt x="16281" y="10468"/>
                </a:cubicBezTo>
                <a:cubicBezTo>
                  <a:pt x="16031" y="10468"/>
                  <a:pt x="15750" y="10593"/>
                  <a:pt x="15500" y="10406"/>
                </a:cubicBezTo>
                <a:cubicBezTo>
                  <a:pt x="15375" y="10343"/>
                  <a:pt x="15188" y="10375"/>
                  <a:pt x="15063" y="10375"/>
                </a:cubicBezTo>
                <a:cubicBezTo>
                  <a:pt x="14938" y="10375"/>
                  <a:pt x="14844" y="10281"/>
                  <a:pt x="14750" y="10343"/>
                </a:cubicBezTo>
                <a:cubicBezTo>
                  <a:pt x="14563" y="10437"/>
                  <a:pt x="14375" y="10406"/>
                  <a:pt x="14219" y="10531"/>
                </a:cubicBezTo>
                <a:cubicBezTo>
                  <a:pt x="14188" y="10562"/>
                  <a:pt x="14094" y="10625"/>
                  <a:pt x="14094" y="10562"/>
                </a:cubicBezTo>
                <a:cubicBezTo>
                  <a:pt x="14000" y="10312"/>
                  <a:pt x="13813" y="10437"/>
                  <a:pt x="13688" y="10406"/>
                </a:cubicBezTo>
                <a:cubicBezTo>
                  <a:pt x="13656" y="10406"/>
                  <a:pt x="13656" y="10406"/>
                  <a:pt x="13625" y="10406"/>
                </a:cubicBezTo>
                <a:cubicBezTo>
                  <a:pt x="13594" y="10406"/>
                  <a:pt x="13563" y="10406"/>
                  <a:pt x="13531" y="10406"/>
                </a:cubicBezTo>
                <a:cubicBezTo>
                  <a:pt x="13438" y="10375"/>
                  <a:pt x="13313" y="10375"/>
                  <a:pt x="13219" y="10343"/>
                </a:cubicBezTo>
                <a:cubicBezTo>
                  <a:pt x="13094" y="10312"/>
                  <a:pt x="12938" y="10406"/>
                  <a:pt x="12844" y="10281"/>
                </a:cubicBezTo>
                <a:cubicBezTo>
                  <a:pt x="12844" y="10250"/>
                  <a:pt x="12844" y="10250"/>
                  <a:pt x="12844" y="10218"/>
                </a:cubicBezTo>
                <a:cubicBezTo>
                  <a:pt x="12875" y="10218"/>
                  <a:pt x="12938" y="10218"/>
                  <a:pt x="12969" y="10218"/>
                </a:cubicBezTo>
                <a:cubicBezTo>
                  <a:pt x="13063" y="10312"/>
                  <a:pt x="13125" y="10250"/>
                  <a:pt x="13219" y="10250"/>
                </a:cubicBezTo>
                <a:cubicBezTo>
                  <a:pt x="13156" y="10218"/>
                  <a:pt x="13125" y="10125"/>
                  <a:pt x="13031" y="10156"/>
                </a:cubicBezTo>
                <a:cubicBezTo>
                  <a:pt x="12719" y="10187"/>
                  <a:pt x="12438" y="10062"/>
                  <a:pt x="12125" y="10031"/>
                </a:cubicBezTo>
                <a:cubicBezTo>
                  <a:pt x="11813" y="10000"/>
                  <a:pt x="11469" y="9906"/>
                  <a:pt x="11188" y="9781"/>
                </a:cubicBezTo>
                <a:cubicBezTo>
                  <a:pt x="10781" y="9625"/>
                  <a:pt x="10375" y="9500"/>
                  <a:pt x="9969" y="9406"/>
                </a:cubicBezTo>
                <a:cubicBezTo>
                  <a:pt x="10000" y="9343"/>
                  <a:pt x="10000" y="9281"/>
                  <a:pt x="9938" y="9218"/>
                </a:cubicBezTo>
                <a:cubicBezTo>
                  <a:pt x="10125" y="9343"/>
                  <a:pt x="10344" y="9343"/>
                  <a:pt x="10531" y="9437"/>
                </a:cubicBezTo>
                <a:cubicBezTo>
                  <a:pt x="10844" y="9562"/>
                  <a:pt x="11156" y="9625"/>
                  <a:pt x="11438" y="9718"/>
                </a:cubicBezTo>
                <a:cubicBezTo>
                  <a:pt x="11719" y="9781"/>
                  <a:pt x="12000" y="9843"/>
                  <a:pt x="12250" y="9906"/>
                </a:cubicBezTo>
                <a:cubicBezTo>
                  <a:pt x="12563" y="9968"/>
                  <a:pt x="12875" y="10031"/>
                  <a:pt x="13219" y="10000"/>
                </a:cubicBezTo>
                <a:cubicBezTo>
                  <a:pt x="13313" y="10031"/>
                  <a:pt x="13406" y="10031"/>
                  <a:pt x="13500" y="10062"/>
                </a:cubicBezTo>
                <a:cubicBezTo>
                  <a:pt x="13563" y="10062"/>
                  <a:pt x="13594" y="10093"/>
                  <a:pt x="13656" y="10062"/>
                </a:cubicBezTo>
                <a:cubicBezTo>
                  <a:pt x="13969" y="10062"/>
                  <a:pt x="14281" y="10156"/>
                  <a:pt x="14594" y="10093"/>
                </a:cubicBezTo>
                <a:cubicBezTo>
                  <a:pt x="14906" y="10187"/>
                  <a:pt x="15250" y="10218"/>
                  <a:pt x="15563" y="10156"/>
                </a:cubicBezTo>
                <a:cubicBezTo>
                  <a:pt x="16125" y="10031"/>
                  <a:pt x="16688" y="10062"/>
                  <a:pt x="17250" y="9937"/>
                </a:cubicBezTo>
                <a:cubicBezTo>
                  <a:pt x="17344" y="9906"/>
                  <a:pt x="17438" y="9906"/>
                  <a:pt x="17531" y="9781"/>
                </a:cubicBezTo>
                <a:cubicBezTo>
                  <a:pt x="17406" y="9812"/>
                  <a:pt x="17344" y="9843"/>
                  <a:pt x="17250" y="9843"/>
                </a:cubicBezTo>
                <a:cubicBezTo>
                  <a:pt x="17219" y="9843"/>
                  <a:pt x="17188" y="9843"/>
                  <a:pt x="17156" y="9843"/>
                </a:cubicBezTo>
                <a:cubicBezTo>
                  <a:pt x="17094" y="9843"/>
                  <a:pt x="17031" y="9875"/>
                  <a:pt x="16969" y="9906"/>
                </a:cubicBezTo>
                <a:cubicBezTo>
                  <a:pt x="16813" y="9875"/>
                  <a:pt x="16656" y="9937"/>
                  <a:pt x="16500" y="9843"/>
                </a:cubicBezTo>
                <a:cubicBezTo>
                  <a:pt x="16500" y="9843"/>
                  <a:pt x="16531" y="9812"/>
                  <a:pt x="16531" y="9781"/>
                </a:cubicBezTo>
                <a:cubicBezTo>
                  <a:pt x="16625" y="9781"/>
                  <a:pt x="16688" y="9781"/>
                  <a:pt x="16781" y="9781"/>
                </a:cubicBezTo>
                <a:cubicBezTo>
                  <a:pt x="16781" y="9781"/>
                  <a:pt x="16813" y="9781"/>
                  <a:pt x="16813" y="9781"/>
                </a:cubicBezTo>
                <a:cubicBezTo>
                  <a:pt x="16844" y="9781"/>
                  <a:pt x="16906" y="9750"/>
                  <a:pt x="16938" y="9750"/>
                </a:cubicBezTo>
                <a:cubicBezTo>
                  <a:pt x="17000" y="9750"/>
                  <a:pt x="17094" y="9812"/>
                  <a:pt x="17188" y="9750"/>
                </a:cubicBezTo>
                <a:cubicBezTo>
                  <a:pt x="17375" y="9562"/>
                  <a:pt x="17625" y="9687"/>
                  <a:pt x="17875" y="9531"/>
                </a:cubicBezTo>
                <a:cubicBezTo>
                  <a:pt x="17594" y="9562"/>
                  <a:pt x="17344" y="9562"/>
                  <a:pt x="17094" y="9562"/>
                </a:cubicBezTo>
                <a:cubicBezTo>
                  <a:pt x="17125" y="9500"/>
                  <a:pt x="17188" y="9531"/>
                  <a:pt x="17188" y="9500"/>
                </a:cubicBezTo>
                <a:cubicBezTo>
                  <a:pt x="17094" y="9437"/>
                  <a:pt x="17031" y="9562"/>
                  <a:pt x="16938" y="9562"/>
                </a:cubicBezTo>
                <a:cubicBezTo>
                  <a:pt x="16938" y="9625"/>
                  <a:pt x="16969" y="9656"/>
                  <a:pt x="16875" y="9687"/>
                </a:cubicBezTo>
                <a:cubicBezTo>
                  <a:pt x="16594" y="9750"/>
                  <a:pt x="16281" y="9718"/>
                  <a:pt x="16000" y="9812"/>
                </a:cubicBezTo>
                <a:cubicBezTo>
                  <a:pt x="15938" y="9781"/>
                  <a:pt x="15906" y="9812"/>
                  <a:pt x="15875" y="9843"/>
                </a:cubicBezTo>
                <a:cubicBezTo>
                  <a:pt x="15781" y="9843"/>
                  <a:pt x="15719" y="9843"/>
                  <a:pt x="15625" y="9843"/>
                </a:cubicBezTo>
                <a:cubicBezTo>
                  <a:pt x="15313" y="9843"/>
                  <a:pt x="14969" y="9875"/>
                  <a:pt x="14656" y="9781"/>
                </a:cubicBezTo>
                <a:cubicBezTo>
                  <a:pt x="14563" y="9718"/>
                  <a:pt x="14500" y="9781"/>
                  <a:pt x="14406" y="9781"/>
                </a:cubicBezTo>
                <a:cubicBezTo>
                  <a:pt x="14344" y="9750"/>
                  <a:pt x="14281" y="9781"/>
                  <a:pt x="14219" y="9781"/>
                </a:cubicBezTo>
                <a:cubicBezTo>
                  <a:pt x="14094" y="9781"/>
                  <a:pt x="13969" y="9750"/>
                  <a:pt x="13844" y="9781"/>
                </a:cubicBezTo>
                <a:cubicBezTo>
                  <a:pt x="13750" y="9750"/>
                  <a:pt x="13688" y="9750"/>
                  <a:pt x="13594" y="9750"/>
                </a:cubicBezTo>
                <a:cubicBezTo>
                  <a:pt x="13375" y="9718"/>
                  <a:pt x="13156" y="9656"/>
                  <a:pt x="12938" y="9625"/>
                </a:cubicBezTo>
                <a:cubicBezTo>
                  <a:pt x="12750" y="9593"/>
                  <a:pt x="12563" y="9562"/>
                  <a:pt x="12375" y="9531"/>
                </a:cubicBezTo>
                <a:cubicBezTo>
                  <a:pt x="12375" y="9531"/>
                  <a:pt x="12375" y="9531"/>
                  <a:pt x="12375" y="9531"/>
                </a:cubicBezTo>
                <a:cubicBezTo>
                  <a:pt x="12406" y="9531"/>
                  <a:pt x="12469" y="9531"/>
                  <a:pt x="12563" y="9500"/>
                </a:cubicBezTo>
                <a:cubicBezTo>
                  <a:pt x="12500" y="9468"/>
                  <a:pt x="12406" y="9468"/>
                  <a:pt x="12344" y="9468"/>
                </a:cubicBezTo>
                <a:cubicBezTo>
                  <a:pt x="12313" y="9468"/>
                  <a:pt x="12281" y="9468"/>
                  <a:pt x="12281" y="9500"/>
                </a:cubicBezTo>
                <a:cubicBezTo>
                  <a:pt x="12281" y="9531"/>
                  <a:pt x="12281" y="9531"/>
                  <a:pt x="12281" y="9531"/>
                </a:cubicBezTo>
                <a:cubicBezTo>
                  <a:pt x="12125" y="9500"/>
                  <a:pt x="11969" y="9468"/>
                  <a:pt x="11813" y="9437"/>
                </a:cubicBezTo>
                <a:cubicBezTo>
                  <a:pt x="11781" y="9406"/>
                  <a:pt x="11719" y="9406"/>
                  <a:pt x="11656" y="9406"/>
                </a:cubicBezTo>
                <a:cubicBezTo>
                  <a:pt x="11563" y="9406"/>
                  <a:pt x="11500" y="9375"/>
                  <a:pt x="11406" y="9312"/>
                </a:cubicBezTo>
                <a:cubicBezTo>
                  <a:pt x="11469" y="9312"/>
                  <a:pt x="11531" y="9281"/>
                  <a:pt x="11625" y="9281"/>
                </a:cubicBezTo>
                <a:cubicBezTo>
                  <a:pt x="11406" y="9156"/>
                  <a:pt x="11188" y="9156"/>
                  <a:pt x="11063" y="8937"/>
                </a:cubicBezTo>
                <a:cubicBezTo>
                  <a:pt x="11063" y="8906"/>
                  <a:pt x="11000" y="8875"/>
                  <a:pt x="10938" y="8906"/>
                </a:cubicBezTo>
                <a:cubicBezTo>
                  <a:pt x="10875" y="8937"/>
                  <a:pt x="10781" y="8875"/>
                  <a:pt x="10719" y="8875"/>
                </a:cubicBezTo>
                <a:cubicBezTo>
                  <a:pt x="10438" y="8781"/>
                  <a:pt x="10219" y="8562"/>
                  <a:pt x="9938" y="8468"/>
                </a:cubicBezTo>
                <a:cubicBezTo>
                  <a:pt x="9906" y="8468"/>
                  <a:pt x="9813" y="8375"/>
                  <a:pt x="9813" y="8468"/>
                </a:cubicBezTo>
                <a:cubicBezTo>
                  <a:pt x="9813" y="8562"/>
                  <a:pt x="9750" y="8562"/>
                  <a:pt x="9719" y="8531"/>
                </a:cubicBezTo>
                <a:cubicBezTo>
                  <a:pt x="9625" y="8468"/>
                  <a:pt x="9500" y="8437"/>
                  <a:pt x="9438" y="8343"/>
                </a:cubicBezTo>
                <a:cubicBezTo>
                  <a:pt x="9469" y="8312"/>
                  <a:pt x="9531" y="8343"/>
                  <a:pt x="9563" y="8375"/>
                </a:cubicBezTo>
                <a:cubicBezTo>
                  <a:pt x="9594" y="8375"/>
                  <a:pt x="9625" y="8406"/>
                  <a:pt x="9625" y="8375"/>
                </a:cubicBezTo>
                <a:cubicBezTo>
                  <a:pt x="9625" y="8406"/>
                  <a:pt x="9625" y="8406"/>
                  <a:pt x="9625" y="8406"/>
                </a:cubicBezTo>
                <a:cubicBezTo>
                  <a:pt x="9656" y="8437"/>
                  <a:pt x="9656" y="8437"/>
                  <a:pt x="9688" y="8437"/>
                </a:cubicBezTo>
                <a:cubicBezTo>
                  <a:pt x="9719" y="8437"/>
                  <a:pt x="9750" y="8437"/>
                  <a:pt x="9750" y="8406"/>
                </a:cubicBezTo>
                <a:cubicBezTo>
                  <a:pt x="9750" y="8375"/>
                  <a:pt x="9719" y="8375"/>
                  <a:pt x="9719" y="8375"/>
                </a:cubicBezTo>
                <a:cubicBezTo>
                  <a:pt x="9688" y="8375"/>
                  <a:pt x="9656" y="8375"/>
                  <a:pt x="9656" y="8375"/>
                </a:cubicBezTo>
                <a:cubicBezTo>
                  <a:pt x="9656" y="8218"/>
                  <a:pt x="9719" y="8343"/>
                  <a:pt x="9781" y="8343"/>
                </a:cubicBezTo>
                <a:cubicBezTo>
                  <a:pt x="9813" y="8343"/>
                  <a:pt x="9844" y="8375"/>
                  <a:pt x="9875" y="8312"/>
                </a:cubicBezTo>
                <a:cubicBezTo>
                  <a:pt x="9875" y="8281"/>
                  <a:pt x="9844" y="8250"/>
                  <a:pt x="9813" y="8250"/>
                </a:cubicBezTo>
                <a:cubicBezTo>
                  <a:pt x="9625" y="8187"/>
                  <a:pt x="9500" y="8000"/>
                  <a:pt x="9281" y="8031"/>
                </a:cubicBezTo>
                <a:cubicBezTo>
                  <a:pt x="9250" y="8031"/>
                  <a:pt x="9219" y="7968"/>
                  <a:pt x="9219" y="7968"/>
                </a:cubicBezTo>
                <a:cubicBezTo>
                  <a:pt x="9188" y="7875"/>
                  <a:pt x="9219" y="7718"/>
                  <a:pt x="9063" y="7843"/>
                </a:cubicBezTo>
                <a:cubicBezTo>
                  <a:pt x="9031" y="7843"/>
                  <a:pt x="9000" y="7812"/>
                  <a:pt x="9000" y="7781"/>
                </a:cubicBezTo>
                <a:cubicBezTo>
                  <a:pt x="9031" y="7687"/>
                  <a:pt x="8969" y="7687"/>
                  <a:pt x="8906" y="7687"/>
                </a:cubicBezTo>
                <a:cubicBezTo>
                  <a:pt x="8813" y="7687"/>
                  <a:pt x="8688" y="7593"/>
                  <a:pt x="8688" y="7562"/>
                </a:cubicBezTo>
                <a:cubicBezTo>
                  <a:pt x="8656" y="7375"/>
                  <a:pt x="8531" y="7375"/>
                  <a:pt x="8438" y="7312"/>
                </a:cubicBezTo>
                <a:cubicBezTo>
                  <a:pt x="8156" y="7093"/>
                  <a:pt x="7906" y="6812"/>
                  <a:pt x="7688" y="6531"/>
                </a:cubicBezTo>
                <a:cubicBezTo>
                  <a:pt x="7531" y="6312"/>
                  <a:pt x="7375" y="6062"/>
                  <a:pt x="7156" y="5875"/>
                </a:cubicBezTo>
                <a:cubicBezTo>
                  <a:pt x="6969" y="5687"/>
                  <a:pt x="6875" y="5468"/>
                  <a:pt x="6688" y="5250"/>
                </a:cubicBezTo>
                <a:cubicBezTo>
                  <a:pt x="6688" y="5218"/>
                  <a:pt x="6656" y="5187"/>
                  <a:pt x="6688" y="5187"/>
                </a:cubicBezTo>
                <a:cubicBezTo>
                  <a:pt x="6719" y="5156"/>
                  <a:pt x="6781" y="5187"/>
                  <a:pt x="6781" y="5218"/>
                </a:cubicBezTo>
                <a:cubicBezTo>
                  <a:pt x="6875" y="5437"/>
                  <a:pt x="7094" y="5593"/>
                  <a:pt x="7250" y="5781"/>
                </a:cubicBezTo>
                <a:cubicBezTo>
                  <a:pt x="7594" y="6250"/>
                  <a:pt x="8000" y="6625"/>
                  <a:pt x="8406" y="7031"/>
                </a:cubicBezTo>
                <a:cubicBezTo>
                  <a:pt x="8531" y="7156"/>
                  <a:pt x="8719" y="7218"/>
                  <a:pt x="8813" y="7375"/>
                </a:cubicBezTo>
                <a:cubicBezTo>
                  <a:pt x="9000" y="7625"/>
                  <a:pt x="9313" y="7718"/>
                  <a:pt x="9531" y="7906"/>
                </a:cubicBezTo>
                <a:cubicBezTo>
                  <a:pt x="9594" y="7968"/>
                  <a:pt x="9656" y="8031"/>
                  <a:pt x="9750" y="8000"/>
                </a:cubicBezTo>
                <a:cubicBezTo>
                  <a:pt x="9719" y="7937"/>
                  <a:pt x="9656" y="7906"/>
                  <a:pt x="9688" y="7843"/>
                </a:cubicBezTo>
                <a:cubicBezTo>
                  <a:pt x="9750" y="7781"/>
                  <a:pt x="9813" y="7843"/>
                  <a:pt x="9844" y="7875"/>
                </a:cubicBezTo>
                <a:cubicBezTo>
                  <a:pt x="9875" y="7875"/>
                  <a:pt x="9938" y="7875"/>
                  <a:pt x="9969" y="7906"/>
                </a:cubicBezTo>
                <a:cubicBezTo>
                  <a:pt x="10031" y="7937"/>
                  <a:pt x="10094" y="7968"/>
                  <a:pt x="10188" y="8000"/>
                </a:cubicBezTo>
                <a:cubicBezTo>
                  <a:pt x="10219" y="8000"/>
                  <a:pt x="10219" y="8000"/>
                  <a:pt x="10250" y="8000"/>
                </a:cubicBezTo>
                <a:cubicBezTo>
                  <a:pt x="10438" y="8125"/>
                  <a:pt x="10656" y="8156"/>
                  <a:pt x="10844" y="8218"/>
                </a:cubicBezTo>
                <a:cubicBezTo>
                  <a:pt x="10844" y="8218"/>
                  <a:pt x="10844" y="8187"/>
                  <a:pt x="10875" y="8187"/>
                </a:cubicBezTo>
                <a:cubicBezTo>
                  <a:pt x="10625" y="8093"/>
                  <a:pt x="10406" y="8000"/>
                  <a:pt x="10188" y="7906"/>
                </a:cubicBezTo>
                <a:cubicBezTo>
                  <a:pt x="9813" y="7812"/>
                  <a:pt x="9500" y="7625"/>
                  <a:pt x="9156" y="7437"/>
                </a:cubicBezTo>
                <a:cubicBezTo>
                  <a:pt x="9094" y="7406"/>
                  <a:pt x="9000" y="7375"/>
                  <a:pt x="8969" y="7343"/>
                </a:cubicBezTo>
                <a:cubicBezTo>
                  <a:pt x="8875" y="7093"/>
                  <a:pt x="8656" y="6937"/>
                  <a:pt x="8469" y="6750"/>
                </a:cubicBezTo>
                <a:cubicBezTo>
                  <a:pt x="8250" y="6562"/>
                  <a:pt x="8000" y="6375"/>
                  <a:pt x="7875" y="6062"/>
                </a:cubicBezTo>
                <a:cubicBezTo>
                  <a:pt x="7906" y="6062"/>
                  <a:pt x="7906" y="6031"/>
                  <a:pt x="7938" y="6031"/>
                </a:cubicBezTo>
                <a:cubicBezTo>
                  <a:pt x="8000" y="5968"/>
                  <a:pt x="8094" y="5937"/>
                  <a:pt x="8188" y="6062"/>
                </a:cubicBezTo>
                <a:cubicBezTo>
                  <a:pt x="8156" y="5906"/>
                  <a:pt x="8031" y="5875"/>
                  <a:pt x="8000" y="5750"/>
                </a:cubicBezTo>
                <a:cubicBezTo>
                  <a:pt x="8125" y="5718"/>
                  <a:pt x="8125" y="5906"/>
                  <a:pt x="8281" y="5875"/>
                </a:cubicBezTo>
                <a:cubicBezTo>
                  <a:pt x="8156" y="5812"/>
                  <a:pt x="8125" y="5656"/>
                  <a:pt x="8031" y="5625"/>
                </a:cubicBezTo>
                <a:cubicBezTo>
                  <a:pt x="8063" y="5531"/>
                  <a:pt x="8094" y="5500"/>
                  <a:pt x="8156" y="5562"/>
                </a:cubicBezTo>
                <a:cubicBezTo>
                  <a:pt x="8219" y="5625"/>
                  <a:pt x="8313" y="5687"/>
                  <a:pt x="8375" y="5718"/>
                </a:cubicBezTo>
                <a:cubicBezTo>
                  <a:pt x="8531" y="5875"/>
                  <a:pt x="8750" y="5937"/>
                  <a:pt x="8906" y="6156"/>
                </a:cubicBezTo>
                <a:cubicBezTo>
                  <a:pt x="9000" y="6312"/>
                  <a:pt x="9156" y="6406"/>
                  <a:pt x="9313" y="6531"/>
                </a:cubicBezTo>
                <a:cubicBezTo>
                  <a:pt x="9500" y="6656"/>
                  <a:pt x="9688" y="6812"/>
                  <a:pt x="9875" y="7000"/>
                </a:cubicBezTo>
                <a:cubicBezTo>
                  <a:pt x="9688" y="6968"/>
                  <a:pt x="9563" y="6906"/>
                  <a:pt x="9500" y="6812"/>
                </a:cubicBezTo>
                <a:cubicBezTo>
                  <a:pt x="9375" y="6656"/>
                  <a:pt x="9219" y="6718"/>
                  <a:pt x="9094" y="6687"/>
                </a:cubicBezTo>
                <a:cubicBezTo>
                  <a:pt x="9344" y="6843"/>
                  <a:pt x="9563" y="7000"/>
                  <a:pt x="9813" y="7125"/>
                </a:cubicBezTo>
                <a:cubicBezTo>
                  <a:pt x="9844" y="7156"/>
                  <a:pt x="9844" y="7156"/>
                  <a:pt x="9844" y="7156"/>
                </a:cubicBezTo>
                <a:cubicBezTo>
                  <a:pt x="9844" y="7250"/>
                  <a:pt x="9906" y="7250"/>
                  <a:pt x="9969" y="7218"/>
                </a:cubicBezTo>
                <a:cubicBezTo>
                  <a:pt x="10000" y="7250"/>
                  <a:pt x="10000" y="7250"/>
                  <a:pt x="10031" y="7250"/>
                </a:cubicBezTo>
                <a:cubicBezTo>
                  <a:pt x="10250" y="7375"/>
                  <a:pt x="10500" y="7468"/>
                  <a:pt x="10813" y="7406"/>
                </a:cubicBezTo>
                <a:cubicBezTo>
                  <a:pt x="10719" y="7343"/>
                  <a:pt x="10625" y="7312"/>
                  <a:pt x="10531" y="7312"/>
                </a:cubicBezTo>
                <a:cubicBezTo>
                  <a:pt x="10344" y="7312"/>
                  <a:pt x="10281" y="7250"/>
                  <a:pt x="10250" y="7093"/>
                </a:cubicBezTo>
                <a:cubicBezTo>
                  <a:pt x="10313" y="7062"/>
                  <a:pt x="10406" y="7093"/>
                  <a:pt x="10469" y="7125"/>
                </a:cubicBezTo>
                <a:cubicBezTo>
                  <a:pt x="10625" y="7156"/>
                  <a:pt x="10750" y="7250"/>
                  <a:pt x="10938" y="7250"/>
                </a:cubicBezTo>
                <a:cubicBezTo>
                  <a:pt x="11125" y="7375"/>
                  <a:pt x="11313" y="7343"/>
                  <a:pt x="11531" y="7468"/>
                </a:cubicBezTo>
                <a:cubicBezTo>
                  <a:pt x="11438" y="7281"/>
                  <a:pt x="11250" y="7343"/>
                  <a:pt x="11156" y="7250"/>
                </a:cubicBezTo>
                <a:cubicBezTo>
                  <a:pt x="11156" y="7250"/>
                  <a:pt x="11156" y="7218"/>
                  <a:pt x="11156" y="7218"/>
                </a:cubicBezTo>
                <a:cubicBezTo>
                  <a:pt x="11250" y="7218"/>
                  <a:pt x="11344" y="7218"/>
                  <a:pt x="11406" y="7218"/>
                </a:cubicBezTo>
                <a:cubicBezTo>
                  <a:pt x="11563" y="7250"/>
                  <a:pt x="11688" y="7218"/>
                  <a:pt x="11813" y="7343"/>
                </a:cubicBezTo>
                <a:cubicBezTo>
                  <a:pt x="11750" y="7375"/>
                  <a:pt x="11719" y="7343"/>
                  <a:pt x="11656" y="7375"/>
                </a:cubicBezTo>
                <a:cubicBezTo>
                  <a:pt x="11938" y="7531"/>
                  <a:pt x="12219" y="7593"/>
                  <a:pt x="12531" y="7687"/>
                </a:cubicBezTo>
                <a:lnTo>
                  <a:pt x="12531" y="7687"/>
                </a:lnTo>
                <a:cubicBezTo>
                  <a:pt x="12500" y="7593"/>
                  <a:pt x="12500" y="7562"/>
                  <a:pt x="12438" y="7562"/>
                </a:cubicBezTo>
                <a:cubicBezTo>
                  <a:pt x="12313" y="7531"/>
                  <a:pt x="12188" y="7500"/>
                  <a:pt x="12063" y="7468"/>
                </a:cubicBezTo>
                <a:cubicBezTo>
                  <a:pt x="11969" y="7437"/>
                  <a:pt x="11875" y="7468"/>
                  <a:pt x="11813" y="7343"/>
                </a:cubicBezTo>
                <a:cubicBezTo>
                  <a:pt x="11969" y="7343"/>
                  <a:pt x="12125" y="7343"/>
                  <a:pt x="12281" y="7375"/>
                </a:cubicBezTo>
                <a:cubicBezTo>
                  <a:pt x="12688" y="7468"/>
                  <a:pt x="13094" y="7531"/>
                  <a:pt x="13500" y="7562"/>
                </a:cubicBezTo>
                <a:cubicBezTo>
                  <a:pt x="13469" y="7500"/>
                  <a:pt x="13438" y="7468"/>
                  <a:pt x="13406" y="7468"/>
                </a:cubicBezTo>
                <a:cubicBezTo>
                  <a:pt x="13094" y="7500"/>
                  <a:pt x="12781" y="7375"/>
                  <a:pt x="12469" y="7343"/>
                </a:cubicBezTo>
                <a:cubicBezTo>
                  <a:pt x="12281" y="7343"/>
                  <a:pt x="12094" y="7312"/>
                  <a:pt x="11938" y="7125"/>
                </a:cubicBezTo>
                <a:cubicBezTo>
                  <a:pt x="12469" y="7218"/>
                  <a:pt x="12969" y="7375"/>
                  <a:pt x="13469" y="7375"/>
                </a:cubicBezTo>
                <a:cubicBezTo>
                  <a:pt x="13438" y="7312"/>
                  <a:pt x="13406" y="7312"/>
                  <a:pt x="13344" y="7281"/>
                </a:cubicBezTo>
                <a:cubicBezTo>
                  <a:pt x="13063" y="7250"/>
                  <a:pt x="12781" y="7250"/>
                  <a:pt x="12500" y="7125"/>
                </a:cubicBezTo>
                <a:cubicBezTo>
                  <a:pt x="12344" y="7093"/>
                  <a:pt x="12188" y="7062"/>
                  <a:pt x="12063" y="7031"/>
                </a:cubicBezTo>
                <a:cubicBezTo>
                  <a:pt x="11625" y="6937"/>
                  <a:pt x="11188" y="6875"/>
                  <a:pt x="10875" y="6562"/>
                </a:cubicBezTo>
                <a:cubicBezTo>
                  <a:pt x="10813" y="6500"/>
                  <a:pt x="10750" y="6437"/>
                  <a:pt x="10688" y="6406"/>
                </a:cubicBezTo>
                <a:cubicBezTo>
                  <a:pt x="10438" y="6281"/>
                  <a:pt x="10188" y="6125"/>
                  <a:pt x="10000" y="5906"/>
                </a:cubicBezTo>
                <a:cubicBezTo>
                  <a:pt x="9938" y="5843"/>
                  <a:pt x="9875" y="5781"/>
                  <a:pt x="9813" y="5750"/>
                </a:cubicBezTo>
                <a:cubicBezTo>
                  <a:pt x="9688" y="5656"/>
                  <a:pt x="9594" y="5593"/>
                  <a:pt x="9469" y="5500"/>
                </a:cubicBezTo>
                <a:cubicBezTo>
                  <a:pt x="9406" y="5437"/>
                  <a:pt x="9438" y="5312"/>
                  <a:pt x="9313" y="5281"/>
                </a:cubicBezTo>
                <a:cubicBezTo>
                  <a:pt x="9250" y="5281"/>
                  <a:pt x="9188" y="5218"/>
                  <a:pt x="9156" y="5156"/>
                </a:cubicBezTo>
                <a:cubicBezTo>
                  <a:pt x="9031" y="4968"/>
                  <a:pt x="8938" y="4781"/>
                  <a:pt x="8813" y="4593"/>
                </a:cubicBezTo>
                <a:cubicBezTo>
                  <a:pt x="8781" y="4531"/>
                  <a:pt x="8750" y="4437"/>
                  <a:pt x="8781" y="4343"/>
                </a:cubicBezTo>
                <a:cubicBezTo>
                  <a:pt x="8813" y="4343"/>
                  <a:pt x="8844" y="4375"/>
                  <a:pt x="8844" y="4406"/>
                </a:cubicBezTo>
                <a:cubicBezTo>
                  <a:pt x="8938" y="4593"/>
                  <a:pt x="9094" y="4781"/>
                  <a:pt x="9250" y="4937"/>
                </a:cubicBezTo>
                <a:cubicBezTo>
                  <a:pt x="9594" y="5343"/>
                  <a:pt x="9938" y="5718"/>
                  <a:pt x="10375" y="6031"/>
                </a:cubicBezTo>
                <a:cubicBezTo>
                  <a:pt x="10438" y="6062"/>
                  <a:pt x="10500" y="6125"/>
                  <a:pt x="10594" y="6125"/>
                </a:cubicBezTo>
                <a:cubicBezTo>
                  <a:pt x="10688" y="6093"/>
                  <a:pt x="10813" y="6093"/>
                  <a:pt x="10844" y="6250"/>
                </a:cubicBezTo>
                <a:cubicBezTo>
                  <a:pt x="10844" y="6281"/>
                  <a:pt x="10906" y="6281"/>
                  <a:pt x="10938" y="6281"/>
                </a:cubicBezTo>
                <a:cubicBezTo>
                  <a:pt x="11063" y="6250"/>
                  <a:pt x="11156" y="6281"/>
                  <a:pt x="11250" y="6312"/>
                </a:cubicBezTo>
                <a:cubicBezTo>
                  <a:pt x="11281" y="6437"/>
                  <a:pt x="11375" y="6343"/>
                  <a:pt x="11438" y="6375"/>
                </a:cubicBezTo>
                <a:cubicBezTo>
                  <a:pt x="11375" y="6343"/>
                  <a:pt x="11313" y="6312"/>
                  <a:pt x="11250" y="6281"/>
                </a:cubicBezTo>
                <a:cubicBezTo>
                  <a:pt x="11250" y="6250"/>
                  <a:pt x="11219" y="6218"/>
                  <a:pt x="11219" y="6218"/>
                </a:cubicBezTo>
                <a:cubicBezTo>
                  <a:pt x="11000" y="6093"/>
                  <a:pt x="10750" y="6000"/>
                  <a:pt x="10563" y="5843"/>
                </a:cubicBezTo>
                <a:cubicBezTo>
                  <a:pt x="10438" y="5718"/>
                  <a:pt x="10281" y="5656"/>
                  <a:pt x="10156" y="5562"/>
                </a:cubicBezTo>
                <a:cubicBezTo>
                  <a:pt x="10031" y="5437"/>
                  <a:pt x="9813" y="5406"/>
                  <a:pt x="9719" y="5250"/>
                </a:cubicBezTo>
                <a:cubicBezTo>
                  <a:pt x="9594" y="5125"/>
                  <a:pt x="9469" y="5000"/>
                  <a:pt x="9344" y="4875"/>
                </a:cubicBezTo>
                <a:cubicBezTo>
                  <a:pt x="9281" y="4750"/>
                  <a:pt x="9125" y="4656"/>
                  <a:pt x="9094" y="4500"/>
                </a:cubicBezTo>
                <a:cubicBezTo>
                  <a:pt x="9094" y="4468"/>
                  <a:pt x="9094" y="4468"/>
                  <a:pt x="9125" y="4437"/>
                </a:cubicBezTo>
                <a:cubicBezTo>
                  <a:pt x="9281" y="4625"/>
                  <a:pt x="9406" y="4750"/>
                  <a:pt x="9531" y="4937"/>
                </a:cubicBezTo>
                <a:cubicBezTo>
                  <a:pt x="9594" y="5031"/>
                  <a:pt x="9688" y="5125"/>
                  <a:pt x="9750" y="5187"/>
                </a:cubicBezTo>
                <a:cubicBezTo>
                  <a:pt x="9781" y="5218"/>
                  <a:pt x="9781" y="5250"/>
                  <a:pt x="9813" y="5250"/>
                </a:cubicBezTo>
                <a:cubicBezTo>
                  <a:pt x="9813" y="5250"/>
                  <a:pt x="9813" y="5250"/>
                  <a:pt x="9844" y="5281"/>
                </a:cubicBezTo>
                <a:cubicBezTo>
                  <a:pt x="9844" y="5281"/>
                  <a:pt x="9875" y="5281"/>
                  <a:pt x="9875" y="5281"/>
                </a:cubicBezTo>
                <a:cubicBezTo>
                  <a:pt x="9906" y="5281"/>
                  <a:pt x="9875" y="5250"/>
                  <a:pt x="9875" y="5218"/>
                </a:cubicBezTo>
                <a:cubicBezTo>
                  <a:pt x="9906" y="5156"/>
                  <a:pt x="9906" y="5093"/>
                  <a:pt x="9813" y="5093"/>
                </a:cubicBezTo>
                <a:cubicBezTo>
                  <a:pt x="9813" y="5093"/>
                  <a:pt x="9813" y="5093"/>
                  <a:pt x="9813" y="5093"/>
                </a:cubicBezTo>
                <a:cubicBezTo>
                  <a:pt x="9781" y="5062"/>
                  <a:pt x="9750" y="5031"/>
                  <a:pt x="9750" y="5000"/>
                </a:cubicBezTo>
                <a:cubicBezTo>
                  <a:pt x="9719" y="5000"/>
                  <a:pt x="9719" y="4968"/>
                  <a:pt x="9719" y="4968"/>
                </a:cubicBezTo>
                <a:cubicBezTo>
                  <a:pt x="9688" y="4937"/>
                  <a:pt x="9656" y="4906"/>
                  <a:pt x="9625" y="4906"/>
                </a:cubicBezTo>
                <a:cubicBezTo>
                  <a:pt x="9500" y="4781"/>
                  <a:pt x="9438" y="4656"/>
                  <a:pt x="9375" y="4500"/>
                </a:cubicBezTo>
                <a:cubicBezTo>
                  <a:pt x="9125" y="4187"/>
                  <a:pt x="8750" y="4000"/>
                  <a:pt x="8531" y="3656"/>
                </a:cubicBezTo>
                <a:cubicBezTo>
                  <a:pt x="8375" y="3625"/>
                  <a:pt x="8313" y="3500"/>
                  <a:pt x="8281" y="3375"/>
                </a:cubicBezTo>
                <a:cubicBezTo>
                  <a:pt x="8281" y="3312"/>
                  <a:pt x="8250" y="3250"/>
                  <a:pt x="8219" y="3156"/>
                </a:cubicBezTo>
                <a:cubicBezTo>
                  <a:pt x="8219" y="3125"/>
                  <a:pt x="8188" y="3062"/>
                  <a:pt x="8250" y="3031"/>
                </a:cubicBezTo>
                <a:cubicBezTo>
                  <a:pt x="8313" y="3000"/>
                  <a:pt x="8313" y="3093"/>
                  <a:pt x="8344" y="3125"/>
                </a:cubicBezTo>
                <a:lnTo>
                  <a:pt x="8344" y="3125"/>
                </a:lnTo>
                <a:cubicBezTo>
                  <a:pt x="8375" y="3281"/>
                  <a:pt x="8406" y="3437"/>
                  <a:pt x="8469" y="3593"/>
                </a:cubicBezTo>
                <a:cubicBezTo>
                  <a:pt x="8469" y="3625"/>
                  <a:pt x="8500" y="3656"/>
                  <a:pt x="8531" y="3656"/>
                </a:cubicBezTo>
                <a:cubicBezTo>
                  <a:pt x="8500" y="3781"/>
                  <a:pt x="8625" y="3843"/>
                  <a:pt x="8656" y="3937"/>
                </a:cubicBezTo>
                <a:cubicBezTo>
                  <a:pt x="8688" y="4031"/>
                  <a:pt x="8781" y="4125"/>
                  <a:pt x="8688" y="4156"/>
                </a:cubicBezTo>
                <a:cubicBezTo>
                  <a:pt x="8625" y="4218"/>
                  <a:pt x="8500" y="4125"/>
                  <a:pt x="8438" y="4031"/>
                </a:cubicBezTo>
                <a:cubicBezTo>
                  <a:pt x="8406" y="3968"/>
                  <a:pt x="8375" y="3906"/>
                  <a:pt x="8344" y="3843"/>
                </a:cubicBezTo>
                <a:cubicBezTo>
                  <a:pt x="8344" y="3812"/>
                  <a:pt x="8344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281" y="3781"/>
                  <a:pt x="8281" y="3781"/>
                  <a:pt x="8281" y="3781"/>
                </a:cubicBezTo>
                <a:cubicBezTo>
                  <a:pt x="8125" y="3875"/>
                  <a:pt x="8188" y="3687"/>
                  <a:pt x="8125" y="3687"/>
                </a:cubicBezTo>
                <a:cubicBezTo>
                  <a:pt x="8094" y="3718"/>
                  <a:pt x="8063" y="3750"/>
                  <a:pt x="8000" y="3781"/>
                </a:cubicBezTo>
                <a:cubicBezTo>
                  <a:pt x="7969" y="3750"/>
                  <a:pt x="7938" y="3750"/>
                  <a:pt x="7906" y="3718"/>
                </a:cubicBezTo>
                <a:cubicBezTo>
                  <a:pt x="7813" y="3468"/>
                  <a:pt x="7688" y="3218"/>
                  <a:pt x="7719" y="2937"/>
                </a:cubicBezTo>
                <a:cubicBezTo>
                  <a:pt x="7844" y="2906"/>
                  <a:pt x="7750" y="2781"/>
                  <a:pt x="7813" y="2750"/>
                </a:cubicBezTo>
                <a:cubicBezTo>
                  <a:pt x="7906" y="3000"/>
                  <a:pt x="7938" y="3312"/>
                  <a:pt x="8094" y="3562"/>
                </a:cubicBezTo>
                <a:cubicBezTo>
                  <a:pt x="8094" y="3468"/>
                  <a:pt x="8031" y="3406"/>
                  <a:pt x="8063" y="3375"/>
                </a:cubicBezTo>
                <a:cubicBezTo>
                  <a:pt x="8156" y="3281"/>
                  <a:pt x="8094" y="3218"/>
                  <a:pt x="8063" y="3125"/>
                </a:cubicBezTo>
                <a:cubicBezTo>
                  <a:pt x="8031" y="2843"/>
                  <a:pt x="7969" y="2562"/>
                  <a:pt x="7906" y="2250"/>
                </a:cubicBezTo>
                <a:cubicBezTo>
                  <a:pt x="7844" y="1812"/>
                  <a:pt x="8125" y="1468"/>
                  <a:pt x="8313" y="1093"/>
                </a:cubicBezTo>
                <a:cubicBezTo>
                  <a:pt x="8375" y="1062"/>
                  <a:pt x="8406" y="1093"/>
                  <a:pt x="8438" y="1156"/>
                </a:cubicBezTo>
                <a:cubicBezTo>
                  <a:pt x="8406" y="1312"/>
                  <a:pt x="8313" y="1437"/>
                  <a:pt x="8281" y="1593"/>
                </a:cubicBezTo>
                <a:cubicBezTo>
                  <a:pt x="8219" y="1843"/>
                  <a:pt x="8344" y="2062"/>
                  <a:pt x="8344" y="2281"/>
                </a:cubicBezTo>
                <a:cubicBezTo>
                  <a:pt x="8344" y="2312"/>
                  <a:pt x="8344" y="2312"/>
                  <a:pt x="8344" y="2343"/>
                </a:cubicBezTo>
                <a:cubicBezTo>
                  <a:pt x="8375" y="2312"/>
                  <a:pt x="8375" y="2312"/>
                  <a:pt x="8375" y="2281"/>
                </a:cubicBezTo>
                <a:cubicBezTo>
                  <a:pt x="8375" y="2125"/>
                  <a:pt x="8375" y="1968"/>
                  <a:pt x="8375" y="1812"/>
                </a:cubicBezTo>
                <a:cubicBezTo>
                  <a:pt x="8375" y="1781"/>
                  <a:pt x="8375" y="1781"/>
                  <a:pt x="8375" y="1781"/>
                </a:cubicBezTo>
                <a:cubicBezTo>
                  <a:pt x="8375" y="1781"/>
                  <a:pt x="8375" y="1750"/>
                  <a:pt x="8375" y="1750"/>
                </a:cubicBezTo>
                <a:cubicBezTo>
                  <a:pt x="8406" y="1687"/>
                  <a:pt x="8406" y="1625"/>
                  <a:pt x="8438" y="1562"/>
                </a:cubicBezTo>
                <a:cubicBezTo>
                  <a:pt x="8500" y="1687"/>
                  <a:pt x="8500" y="1812"/>
                  <a:pt x="8469" y="1968"/>
                </a:cubicBezTo>
                <a:cubicBezTo>
                  <a:pt x="8438" y="2156"/>
                  <a:pt x="8500" y="2343"/>
                  <a:pt x="8438" y="2593"/>
                </a:cubicBezTo>
                <a:cubicBezTo>
                  <a:pt x="8531" y="2500"/>
                  <a:pt x="8563" y="2468"/>
                  <a:pt x="8563" y="2375"/>
                </a:cubicBezTo>
                <a:cubicBezTo>
                  <a:pt x="8563" y="2375"/>
                  <a:pt x="8563" y="2343"/>
                  <a:pt x="8531" y="2343"/>
                </a:cubicBezTo>
                <a:cubicBezTo>
                  <a:pt x="8531" y="2281"/>
                  <a:pt x="8531" y="2250"/>
                  <a:pt x="8563" y="2250"/>
                </a:cubicBezTo>
                <a:cubicBezTo>
                  <a:pt x="8563" y="2250"/>
                  <a:pt x="8563" y="2250"/>
                  <a:pt x="8594" y="2250"/>
                </a:cubicBezTo>
                <a:cubicBezTo>
                  <a:pt x="8594" y="2250"/>
                  <a:pt x="8594" y="2250"/>
                  <a:pt x="8594" y="2250"/>
                </a:cubicBezTo>
                <a:lnTo>
                  <a:pt x="8594" y="2250"/>
                </a:lnTo>
                <a:cubicBezTo>
                  <a:pt x="8594" y="2250"/>
                  <a:pt x="8594" y="2250"/>
                  <a:pt x="8563" y="2250"/>
                </a:cubicBezTo>
                <a:cubicBezTo>
                  <a:pt x="8531" y="2187"/>
                  <a:pt x="8563" y="2156"/>
                  <a:pt x="8594" y="2125"/>
                </a:cubicBezTo>
                <a:cubicBezTo>
                  <a:pt x="8594" y="2062"/>
                  <a:pt x="8625" y="2062"/>
                  <a:pt x="8656" y="2062"/>
                </a:cubicBezTo>
                <a:cubicBezTo>
                  <a:pt x="8781" y="2218"/>
                  <a:pt x="8781" y="2093"/>
                  <a:pt x="8813" y="2031"/>
                </a:cubicBezTo>
                <a:cubicBezTo>
                  <a:pt x="8844" y="2000"/>
                  <a:pt x="8844" y="1968"/>
                  <a:pt x="8875" y="1937"/>
                </a:cubicBezTo>
                <a:cubicBezTo>
                  <a:pt x="8875" y="1937"/>
                  <a:pt x="8875" y="1937"/>
                  <a:pt x="8875" y="1937"/>
                </a:cubicBezTo>
                <a:cubicBezTo>
                  <a:pt x="9063" y="1781"/>
                  <a:pt x="9313" y="1281"/>
                  <a:pt x="9281" y="1125"/>
                </a:cubicBezTo>
                <a:cubicBezTo>
                  <a:pt x="9219" y="1125"/>
                  <a:pt x="9188" y="1218"/>
                  <a:pt x="9156" y="1250"/>
                </a:cubicBezTo>
                <a:cubicBezTo>
                  <a:pt x="9094" y="1312"/>
                  <a:pt x="9063" y="1343"/>
                  <a:pt x="9000" y="1281"/>
                </a:cubicBezTo>
                <a:cubicBezTo>
                  <a:pt x="9000" y="1250"/>
                  <a:pt x="9000" y="1218"/>
                  <a:pt x="9000" y="1187"/>
                </a:cubicBezTo>
                <a:cubicBezTo>
                  <a:pt x="9094" y="1000"/>
                  <a:pt x="9156" y="812"/>
                  <a:pt x="9281" y="656"/>
                </a:cubicBezTo>
                <a:cubicBezTo>
                  <a:pt x="9188" y="656"/>
                  <a:pt x="9156" y="718"/>
                  <a:pt x="9094" y="750"/>
                </a:cubicBezTo>
                <a:cubicBezTo>
                  <a:pt x="9000" y="843"/>
                  <a:pt x="8969" y="968"/>
                  <a:pt x="8906" y="1031"/>
                </a:cubicBezTo>
                <a:cubicBezTo>
                  <a:pt x="8875" y="1062"/>
                  <a:pt x="8813" y="1093"/>
                  <a:pt x="8781" y="1062"/>
                </a:cubicBezTo>
                <a:cubicBezTo>
                  <a:pt x="8750" y="1031"/>
                  <a:pt x="8781" y="1000"/>
                  <a:pt x="8813" y="968"/>
                </a:cubicBezTo>
                <a:cubicBezTo>
                  <a:pt x="8969" y="812"/>
                  <a:pt x="9000" y="562"/>
                  <a:pt x="9188" y="437"/>
                </a:cubicBezTo>
                <a:cubicBezTo>
                  <a:pt x="9250" y="406"/>
                  <a:pt x="9281" y="406"/>
                  <a:pt x="9281" y="343"/>
                </a:cubicBezTo>
                <a:cubicBezTo>
                  <a:pt x="9219" y="343"/>
                  <a:pt x="9125" y="343"/>
                  <a:pt x="9125" y="406"/>
                </a:cubicBezTo>
                <a:cubicBezTo>
                  <a:pt x="9063" y="500"/>
                  <a:pt x="9000" y="531"/>
                  <a:pt x="8906" y="562"/>
                </a:cubicBezTo>
                <a:cubicBezTo>
                  <a:pt x="8875" y="531"/>
                  <a:pt x="8875" y="531"/>
                  <a:pt x="8875" y="500"/>
                </a:cubicBezTo>
                <a:cubicBezTo>
                  <a:pt x="8844" y="406"/>
                  <a:pt x="8875" y="312"/>
                  <a:pt x="8906" y="218"/>
                </a:cubicBezTo>
                <a:cubicBezTo>
                  <a:pt x="8906" y="187"/>
                  <a:pt x="9000" y="187"/>
                  <a:pt x="8969" y="125"/>
                </a:cubicBezTo>
                <a:cubicBezTo>
                  <a:pt x="8938" y="93"/>
                  <a:pt x="8875" y="93"/>
                  <a:pt x="8844" y="93"/>
                </a:cubicBezTo>
                <a:cubicBezTo>
                  <a:pt x="8781" y="125"/>
                  <a:pt x="8750" y="125"/>
                  <a:pt x="8688" y="156"/>
                </a:cubicBezTo>
                <a:cubicBezTo>
                  <a:pt x="8625" y="187"/>
                  <a:pt x="8563" y="250"/>
                  <a:pt x="8500" y="187"/>
                </a:cubicBezTo>
                <a:cubicBezTo>
                  <a:pt x="8469" y="125"/>
                  <a:pt x="8563" y="93"/>
                  <a:pt x="8563" y="31"/>
                </a:cubicBezTo>
                <a:cubicBezTo>
                  <a:pt x="8531" y="31"/>
                  <a:pt x="8531" y="0"/>
                  <a:pt x="8531" y="0"/>
                </a:cubicBezTo>
                <a:cubicBezTo>
                  <a:pt x="8500" y="31"/>
                  <a:pt x="8469" y="31"/>
                  <a:pt x="8469" y="62"/>
                </a:cubicBezTo>
                <a:cubicBezTo>
                  <a:pt x="8375" y="187"/>
                  <a:pt x="8281" y="250"/>
                  <a:pt x="8156" y="125"/>
                </a:cubicBezTo>
                <a:cubicBezTo>
                  <a:pt x="8094" y="93"/>
                  <a:pt x="8031" y="62"/>
                  <a:pt x="8031" y="125"/>
                </a:cubicBezTo>
                <a:cubicBezTo>
                  <a:pt x="8000" y="218"/>
                  <a:pt x="7906" y="281"/>
                  <a:pt x="7906" y="406"/>
                </a:cubicBezTo>
                <a:cubicBezTo>
                  <a:pt x="7875" y="562"/>
                  <a:pt x="7688" y="531"/>
                  <a:pt x="7594" y="593"/>
                </a:cubicBezTo>
                <a:cubicBezTo>
                  <a:pt x="7594" y="562"/>
                  <a:pt x="7625" y="562"/>
                  <a:pt x="7625" y="531"/>
                </a:cubicBezTo>
                <a:cubicBezTo>
                  <a:pt x="7719" y="375"/>
                  <a:pt x="7750" y="218"/>
                  <a:pt x="7875" y="62"/>
                </a:cubicBezTo>
                <a:cubicBezTo>
                  <a:pt x="7688" y="187"/>
                  <a:pt x="7500" y="312"/>
                  <a:pt x="7469" y="562"/>
                </a:cubicBezTo>
                <a:cubicBezTo>
                  <a:pt x="7469" y="562"/>
                  <a:pt x="7469" y="562"/>
                  <a:pt x="7469" y="562"/>
                </a:cubicBezTo>
                <a:cubicBezTo>
                  <a:pt x="7438" y="625"/>
                  <a:pt x="7438" y="687"/>
                  <a:pt x="7406" y="718"/>
                </a:cubicBezTo>
                <a:cubicBezTo>
                  <a:pt x="7344" y="750"/>
                  <a:pt x="7250" y="750"/>
                  <a:pt x="7188" y="812"/>
                </a:cubicBezTo>
                <a:cubicBezTo>
                  <a:pt x="7156" y="843"/>
                  <a:pt x="7094" y="875"/>
                  <a:pt x="7031" y="843"/>
                </a:cubicBezTo>
                <a:cubicBezTo>
                  <a:pt x="6906" y="781"/>
                  <a:pt x="6844" y="843"/>
                  <a:pt x="6781" y="937"/>
                </a:cubicBezTo>
                <a:cubicBezTo>
                  <a:pt x="6719" y="1062"/>
                  <a:pt x="6625" y="1187"/>
                  <a:pt x="6438" y="1062"/>
                </a:cubicBezTo>
                <a:cubicBezTo>
                  <a:pt x="6406" y="1031"/>
                  <a:pt x="6344" y="1062"/>
                  <a:pt x="6281" y="1125"/>
                </a:cubicBezTo>
                <a:cubicBezTo>
                  <a:pt x="6219" y="1218"/>
                  <a:pt x="6094" y="1187"/>
                  <a:pt x="6000" y="1156"/>
                </a:cubicBezTo>
                <a:cubicBezTo>
                  <a:pt x="5938" y="1125"/>
                  <a:pt x="6063" y="1062"/>
                  <a:pt x="6063" y="1000"/>
                </a:cubicBezTo>
                <a:cubicBezTo>
                  <a:pt x="6063" y="968"/>
                  <a:pt x="6063" y="937"/>
                  <a:pt x="6094" y="906"/>
                </a:cubicBezTo>
                <a:cubicBezTo>
                  <a:pt x="6125" y="812"/>
                  <a:pt x="6063" y="812"/>
                  <a:pt x="6031" y="812"/>
                </a:cubicBezTo>
                <a:cubicBezTo>
                  <a:pt x="5969" y="812"/>
                  <a:pt x="5906" y="843"/>
                  <a:pt x="5875" y="906"/>
                </a:cubicBezTo>
                <a:cubicBezTo>
                  <a:pt x="5781" y="875"/>
                  <a:pt x="5719" y="1000"/>
                  <a:pt x="5594" y="968"/>
                </a:cubicBezTo>
                <a:cubicBezTo>
                  <a:pt x="5469" y="906"/>
                  <a:pt x="5344" y="968"/>
                  <a:pt x="5250" y="1062"/>
                </a:cubicBezTo>
                <a:cubicBezTo>
                  <a:pt x="5125" y="1187"/>
                  <a:pt x="4969" y="1343"/>
                  <a:pt x="4750" y="1343"/>
                </a:cubicBezTo>
                <a:cubicBezTo>
                  <a:pt x="4719" y="1343"/>
                  <a:pt x="4594" y="1375"/>
                  <a:pt x="4656" y="1500"/>
                </a:cubicBezTo>
                <a:cubicBezTo>
                  <a:pt x="4656" y="1531"/>
                  <a:pt x="4625" y="1562"/>
                  <a:pt x="4625" y="1593"/>
                </a:cubicBezTo>
                <a:cubicBezTo>
                  <a:pt x="4625" y="1750"/>
                  <a:pt x="4438" y="1843"/>
                  <a:pt x="4219" y="1812"/>
                </a:cubicBezTo>
                <a:cubicBezTo>
                  <a:pt x="4250" y="1718"/>
                  <a:pt x="4406" y="1718"/>
                  <a:pt x="4469" y="1593"/>
                </a:cubicBezTo>
                <a:cubicBezTo>
                  <a:pt x="4375" y="1531"/>
                  <a:pt x="4281" y="1562"/>
                  <a:pt x="4219" y="1625"/>
                </a:cubicBezTo>
                <a:cubicBezTo>
                  <a:pt x="4156" y="1718"/>
                  <a:pt x="4094" y="1687"/>
                  <a:pt x="4031" y="1625"/>
                </a:cubicBezTo>
                <a:cubicBezTo>
                  <a:pt x="3969" y="1531"/>
                  <a:pt x="3938" y="1562"/>
                  <a:pt x="3906" y="1656"/>
                </a:cubicBezTo>
                <a:cubicBezTo>
                  <a:pt x="3875" y="1750"/>
                  <a:pt x="3781" y="1781"/>
                  <a:pt x="3719" y="1812"/>
                </a:cubicBezTo>
                <a:cubicBezTo>
                  <a:pt x="3375" y="1937"/>
                  <a:pt x="3094" y="2062"/>
                  <a:pt x="2875" y="2343"/>
                </a:cubicBezTo>
                <a:cubicBezTo>
                  <a:pt x="2875" y="2375"/>
                  <a:pt x="2844" y="2375"/>
                  <a:pt x="2844" y="2375"/>
                </a:cubicBezTo>
                <a:cubicBezTo>
                  <a:pt x="2719" y="2312"/>
                  <a:pt x="2656" y="2468"/>
                  <a:pt x="2594" y="2468"/>
                </a:cubicBezTo>
                <a:cubicBezTo>
                  <a:pt x="2375" y="2531"/>
                  <a:pt x="2594" y="2625"/>
                  <a:pt x="2563" y="2687"/>
                </a:cubicBezTo>
                <a:cubicBezTo>
                  <a:pt x="2531" y="2750"/>
                  <a:pt x="2531" y="2781"/>
                  <a:pt x="2500" y="2843"/>
                </a:cubicBezTo>
                <a:cubicBezTo>
                  <a:pt x="2656" y="2781"/>
                  <a:pt x="2750" y="2656"/>
                  <a:pt x="2844" y="2562"/>
                </a:cubicBezTo>
                <a:cubicBezTo>
                  <a:pt x="3000" y="2437"/>
                  <a:pt x="3031" y="2437"/>
                  <a:pt x="3156" y="2562"/>
                </a:cubicBezTo>
                <a:cubicBezTo>
                  <a:pt x="3188" y="2593"/>
                  <a:pt x="3250" y="2656"/>
                  <a:pt x="3281" y="2531"/>
                </a:cubicBezTo>
                <a:cubicBezTo>
                  <a:pt x="3313" y="2468"/>
                  <a:pt x="3344" y="2343"/>
                  <a:pt x="3469" y="2375"/>
                </a:cubicBezTo>
                <a:cubicBezTo>
                  <a:pt x="3531" y="2437"/>
                  <a:pt x="3438" y="2468"/>
                  <a:pt x="3438" y="2531"/>
                </a:cubicBezTo>
                <a:cubicBezTo>
                  <a:pt x="3375" y="2625"/>
                  <a:pt x="3219" y="2687"/>
                  <a:pt x="3313" y="2875"/>
                </a:cubicBezTo>
                <a:cubicBezTo>
                  <a:pt x="3344" y="2906"/>
                  <a:pt x="3313" y="3000"/>
                  <a:pt x="3375" y="3093"/>
                </a:cubicBezTo>
                <a:cubicBezTo>
                  <a:pt x="3344" y="2812"/>
                  <a:pt x="3563" y="2656"/>
                  <a:pt x="3625" y="2468"/>
                </a:cubicBezTo>
                <a:cubicBezTo>
                  <a:pt x="3625" y="2406"/>
                  <a:pt x="3719" y="2375"/>
                  <a:pt x="3688" y="2312"/>
                </a:cubicBezTo>
                <a:cubicBezTo>
                  <a:pt x="3625" y="2250"/>
                  <a:pt x="3594" y="2375"/>
                  <a:pt x="3531" y="2343"/>
                </a:cubicBezTo>
                <a:cubicBezTo>
                  <a:pt x="3500" y="2312"/>
                  <a:pt x="3500" y="2312"/>
                  <a:pt x="3531" y="2281"/>
                </a:cubicBezTo>
                <a:cubicBezTo>
                  <a:pt x="3688" y="2125"/>
                  <a:pt x="3844" y="1968"/>
                  <a:pt x="4000" y="1843"/>
                </a:cubicBezTo>
                <a:cubicBezTo>
                  <a:pt x="4031" y="1812"/>
                  <a:pt x="4094" y="1750"/>
                  <a:pt x="4125" y="1812"/>
                </a:cubicBezTo>
                <a:cubicBezTo>
                  <a:pt x="4063" y="1968"/>
                  <a:pt x="4094" y="2156"/>
                  <a:pt x="4031" y="2312"/>
                </a:cubicBezTo>
                <a:cubicBezTo>
                  <a:pt x="3969" y="2468"/>
                  <a:pt x="4031" y="2656"/>
                  <a:pt x="3844" y="2812"/>
                </a:cubicBezTo>
                <a:cubicBezTo>
                  <a:pt x="3969" y="2812"/>
                  <a:pt x="4000" y="2687"/>
                  <a:pt x="4063" y="2812"/>
                </a:cubicBezTo>
                <a:cubicBezTo>
                  <a:pt x="4063" y="2843"/>
                  <a:pt x="4063" y="2875"/>
                  <a:pt x="4031" y="2906"/>
                </a:cubicBezTo>
                <a:cubicBezTo>
                  <a:pt x="4000" y="2968"/>
                  <a:pt x="4000" y="3062"/>
                  <a:pt x="4000" y="3125"/>
                </a:cubicBezTo>
                <a:cubicBezTo>
                  <a:pt x="4000" y="3312"/>
                  <a:pt x="4000" y="3500"/>
                  <a:pt x="4000" y="3656"/>
                </a:cubicBezTo>
                <a:cubicBezTo>
                  <a:pt x="4031" y="3781"/>
                  <a:pt x="4063" y="3906"/>
                  <a:pt x="4063" y="4031"/>
                </a:cubicBezTo>
                <a:cubicBezTo>
                  <a:pt x="4094" y="4125"/>
                  <a:pt x="4125" y="4125"/>
                  <a:pt x="4219" y="4093"/>
                </a:cubicBezTo>
                <a:cubicBezTo>
                  <a:pt x="4250" y="4250"/>
                  <a:pt x="4219" y="4468"/>
                  <a:pt x="4469" y="4500"/>
                </a:cubicBezTo>
                <a:cubicBezTo>
                  <a:pt x="4500" y="4500"/>
                  <a:pt x="4469" y="4531"/>
                  <a:pt x="4469" y="4562"/>
                </a:cubicBezTo>
                <a:cubicBezTo>
                  <a:pt x="4313" y="4718"/>
                  <a:pt x="4469" y="4843"/>
                  <a:pt x="4469" y="4968"/>
                </a:cubicBezTo>
                <a:cubicBezTo>
                  <a:pt x="4500" y="5031"/>
                  <a:pt x="4531" y="5093"/>
                  <a:pt x="4594" y="5093"/>
                </a:cubicBezTo>
                <a:cubicBezTo>
                  <a:pt x="4688" y="5125"/>
                  <a:pt x="4594" y="5000"/>
                  <a:pt x="4656" y="4968"/>
                </a:cubicBezTo>
                <a:cubicBezTo>
                  <a:pt x="4688" y="5093"/>
                  <a:pt x="4781" y="5156"/>
                  <a:pt x="4750" y="5312"/>
                </a:cubicBezTo>
                <a:cubicBezTo>
                  <a:pt x="4750" y="5156"/>
                  <a:pt x="4594" y="5218"/>
                  <a:pt x="4531" y="5156"/>
                </a:cubicBezTo>
                <a:cubicBezTo>
                  <a:pt x="4375" y="5031"/>
                  <a:pt x="4219" y="4875"/>
                  <a:pt x="4219" y="4656"/>
                </a:cubicBezTo>
                <a:cubicBezTo>
                  <a:pt x="4188" y="4468"/>
                  <a:pt x="4063" y="4312"/>
                  <a:pt x="4000" y="4125"/>
                </a:cubicBezTo>
                <a:cubicBezTo>
                  <a:pt x="3969" y="3968"/>
                  <a:pt x="3906" y="3812"/>
                  <a:pt x="3938" y="3625"/>
                </a:cubicBezTo>
                <a:cubicBezTo>
                  <a:pt x="3938" y="3593"/>
                  <a:pt x="3938" y="3562"/>
                  <a:pt x="3906" y="3562"/>
                </a:cubicBezTo>
                <a:cubicBezTo>
                  <a:pt x="3844" y="3562"/>
                  <a:pt x="3844" y="3593"/>
                  <a:pt x="3844" y="3625"/>
                </a:cubicBezTo>
                <a:cubicBezTo>
                  <a:pt x="3813" y="3875"/>
                  <a:pt x="3875" y="4093"/>
                  <a:pt x="3969" y="4343"/>
                </a:cubicBezTo>
                <a:cubicBezTo>
                  <a:pt x="3969" y="4375"/>
                  <a:pt x="3969" y="4406"/>
                  <a:pt x="3969" y="4468"/>
                </a:cubicBezTo>
                <a:cubicBezTo>
                  <a:pt x="3938" y="4500"/>
                  <a:pt x="3906" y="4531"/>
                  <a:pt x="3875" y="4562"/>
                </a:cubicBezTo>
                <a:cubicBezTo>
                  <a:pt x="3813" y="4531"/>
                  <a:pt x="3844" y="4437"/>
                  <a:pt x="3781" y="4437"/>
                </a:cubicBezTo>
                <a:cubicBezTo>
                  <a:pt x="3781" y="4406"/>
                  <a:pt x="3781" y="4343"/>
                  <a:pt x="3781" y="4312"/>
                </a:cubicBezTo>
                <a:cubicBezTo>
                  <a:pt x="3781" y="4281"/>
                  <a:pt x="3750" y="4218"/>
                  <a:pt x="3688" y="4218"/>
                </a:cubicBezTo>
                <a:cubicBezTo>
                  <a:pt x="3656" y="4281"/>
                  <a:pt x="3719" y="4343"/>
                  <a:pt x="3719" y="4406"/>
                </a:cubicBezTo>
                <a:cubicBezTo>
                  <a:pt x="3750" y="4468"/>
                  <a:pt x="3813" y="4531"/>
                  <a:pt x="3688" y="4562"/>
                </a:cubicBezTo>
                <a:cubicBezTo>
                  <a:pt x="3625" y="4500"/>
                  <a:pt x="3625" y="4406"/>
                  <a:pt x="3563" y="4312"/>
                </a:cubicBezTo>
                <a:cubicBezTo>
                  <a:pt x="3531" y="4375"/>
                  <a:pt x="3563" y="4468"/>
                  <a:pt x="3469" y="4437"/>
                </a:cubicBezTo>
                <a:cubicBezTo>
                  <a:pt x="3438" y="4437"/>
                  <a:pt x="3406" y="4375"/>
                  <a:pt x="3406" y="4312"/>
                </a:cubicBezTo>
                <a:cubicBezTo>
                  <a:pt x="3406" y="4281"/>
                  <a:pt x="3406" y="4250"/>
                  <a:pt x="3406" y="4218"/>
                </a:cubicBezTo>
                <a:cubicBezTo>
                  <a:pt x="3375" y="4000"/>
                  <a:pt x="3313" y="3781"/>
                  <a:pt x="3344" y="3562"/>
                </a:cubicBezTo>
                <a:cubicBezTo>
                  <a:pt x="3281" y="3593"/>
                  <a:pt x="3250" y="3656"/>
                  <a:pt x="3250" y="3687"/>
                </a:cubicBezTo>
                <a:cubicBezTo>
                  <a:pt x="3219" y="3843"/>
                  <a:pt x="3219" y="3968"/>
                  <a:pt x="3250" y="4093"/>
                </a:cubicBezTo>
                <a:cubicBezTo>
                  <a:pt x="3250" y="4156"/>
                  <a:pt x="3281" y="4187"/>
                  <a:pt x="3219" y="4218"/>
                </a:cubicBezTo>
                <a:cubicBezTo>
                  <a:pt x="3156" y="4218"/>
                  <a:pt x="3125" y="4187"/>
                  <a:pt x="3125" y="4125"/>
                </a:cubicBezTo>
                <a:cubicBezTo>
                  <a:pt x="3125" y="4062"/>
                  <a:pt x="3094" y="4000"/>
                  <a:pt x="3125" y="3968"/>
                </a:cubicBezTo>
                <a:cubicBezTo>
                  <a:pt x="3125" y="3875"/>
                  <a:pt x="3094" y="3875"/>
                  <a:pt x="3063" y="3843"/>
                </a:cubicBezTo>
                <a:cubicBezTo>
                  <a:pt x="2938" y="4312"/>
                  <a:pt x="3094" y="4718"/>
                  <a:pt x="3188" y="5156"/>
                </a:cubicBezTo>
                <a:cubicBezTo>
                  <a:pt x="3156" y="5187"/>
                  <a:pt x="3125" y="5187"/>
                  <a:pt x="3125" y="5187"/>
                </a:cubicBezTo>
                <a:cubicBezTo>
                  <a:pt x="2969" y="4875"/>
                  <a:pt x="2969" y="4531"/>
                  <a:pt x="2844" y="4187"/>
                </a:cubicBezTo>
                <a:cubicBezTo>
                  <a:pt x="2813" y="4156"/>
                  <a:pt x="2844" y="4093"/>
                  <a:pt x="2781" y="4093"/>
                </a:cubicBezTo>
                <a:cubicBezTo>
                  <a:pt x="2750" y="4093"/>
                  <a:pt x="2719" y="4156"/>
                  <a:pt x="2719" y="4187"/>
                </a:cubicBezTo>
                <a:cubicBezTo>
                  <a:pt x="2688" y="4343"/>
                  <a:pt x="2688" y="4468"/>
                  <a:pt x="2719" y="4593"/>
                </a:cubicBezTo>
                <a:cubicBezTo>
                  <a:pt x="2656" y="4656"/>
                  <a:pt x="2594" y="4687"/>
                  <a:pt x="2594" y="4562"/>
                </a:cubicBezTo>
                <a:cubicBezTo>
                  <a:pt x="2594" y="4500"/>
                  <a:pt x="2594" y="4406"/>
                  <a:pt x="2594" y="4312"/>
                </a:cubicBezTo>
                <a:cubicBezTo>
                  <a:pt x="2594" y="4312"/>
                  <a:pt x="2594" y="4281"/>
                  <a:pt x="2563" y="4281"/>
                </a:cubicBezTo>
                <a:cubicBezTo>
                  <a:pt x="2531" y="4281"/>
                  <a:pt x="2500" y="4281"/>
                  <a:pt x="2500" y="4312"/>
                </a:cubicBezTo>
                <a:cubicBezTo>
                  <a:pt x="2531" y="4468"/>
                  <a:pt x="2531" y="4562"/>
                  <a:pt x="2469" y="4687"/>
                </a:cubicBezTo>
                <a:cubicBezTo>
                  <a:pt x="2406" y="4843"/>
                  <a:pt x="2469" y="5093"/>
                  <a:pt x="2625" y="5312"/>
                </a:cubicBezTo>
                <a:cubicBezTo>
                  <a:pt x="2688" y="5156"/>
                  <a:pt x="2594" y="5031"/>
                  <a:pt x="2594" y="4906"/>
                </a:cubicBezTo>
                <a:cubicBezTo>
                  <a:pt x="2563" y="4812"/>
                  <a:pt x="2563" y="4750"/>
                  <a:pt x="2719" y="4750"/>
                </a:cubicBezTo>
                <a:cubicBezTo>
                  <a:pt x="2688" y="4843"/>
                  <a:pt x="2750" y="4906"/>
                  <a:pt x="2781" y="4968"/>
                </a:cubicBezTo>
                <a:cubicBezTo>
                  <a:pt x="2781" y="4968"/>
                  <a:pt x="2813" y="4968"/>
                  <a:pt x="2813" y="4968"/>
                </a:cubicBezTo>
                <a:cubicBezTo>
                  <a:pt x="2813" y="4968"/>
                  <a:pt x="2781" y="5000"/>
                  <a:pt x="2781" y="5000"/>
                </a:cubicBezTo>
                <a:cubicBezTo>
                  <a:pt x="2781" y="5000"/>
                  <a:pt x="2781" y="5000"/>
                  <a:pt x="2781" y="5031"/>
                </a:cubicBezTo>
                <a:lnTo>
                  <a:pt x="2781" y="5031"/>
                </a:lnTo>
                <a:cubicBezTo>
                  <a:pt x="2781" y="5031"/>
                  <a:pt x="2813" y="5031"/>
                  <a:pt x="2813" y="5000"/>
                </a:cubicBezTo>
                <a:cubicBezTo>
                  <a:pt x="2813" y="5000"/>
                  <a:pt x="2813" y="5000"/>
                  <a:pt x="2813" y="4968"/>
                </a:cubicBezTo>
                <a:cubicBezTo>
                  <a:pt x="2813" y="4968"/>
                  <a:pt x="2844" y="4968"/>
                  <a:pt x="2844" y="4968"/>
                </a:cubicBezTo>
                <a:cubicBezTo>
                  <a:pt x="2875" y="5125"/>
                  <a:pt x="3031" y="5343"/>
                  <a:pt x="2969" y="5437"/>
                </a:cubicBezTo>
                <a:cubicBezTo>
                  <a:pt x="2906" y="5562"/>
                  <a:pt x="2969" y="5593"/>
                  <a:pt x="3000" y="5687"/>
                </a:cubicBezTo>
                <a:cubicBezTo>
                  <a:pt x="3125" y="5968"/>
                  <a:pt x="3219" y="6281"/>
                  <a:pt x="3469" y="6500"/>
                </a:cubicBezTo>
                <a:cubicBezTo>
                  <a:pt x="3500" y="6531"/>
                  <a:pt x="3531" y="6562"/>
                  <a:pt x="3531" y="6625"/>
                </a:cubicBezTo>
                <a:cubicBezTo>
                  <a:pt x="3531" y="6718"/>
                  <a:pt x="3594" y="6781"/>
                  <a:pt x="3625" y="6875"/>
                </a:cubicBezTo>
                <a:cubicBezTo>
                  <a:pt x="3781" y="7093"/>
                  <a:pt x="3938" y="7312"/>
                  <a:pt x="4125" y="7531"/>
                </a:cubicBezTo>
                <a:cubicBezTo>
                  <a:pt x="4469" y="7906"/>
                  <a:pt x="4750" y="8343"/>
                  <a:pt x="5188" y="8656"/>
                </a:cubicBezTo>
                <a:cubicBezTo>
                  <a:pt x="5313" y="8718"/>
                  <a:pt x="5438" y="8781"/>
                  <a:pt x="5500" y="8906"/>
                </a:cubicBezTo>
                <a:cubicBezTo>
                  <a:pt x="5688" y="9187"/>
                  <a:pt x="5938" y="9406"/>
                  <a:pt x="6156" y="9656"/>
                </a:cubicBezTo>
                <a:cubicBezTo>
                  <a:pt x="6313" y="9781"/>
                  <a:pt x="6500" y="9875"/>
                  <a:pt x="6594" y="10062"/>
                </a:cubicBezTo>
                <a:cubicBezTo>
                  <a:pt x="6594" y="10093"/>
                  <a:pt x="6594" y="10125"/>
                  <a:pt x="6563" y="10093"/>
                </a:cubicBezTo>
                <a:cubicBezTo>
                  <a:pt x="6438" y="10031"/>
                  <a:pt x="6313" y="9968"/>
                  <a:pt x="6219" y="9875"/>
                </a:cubicBezTo>
                <a:cubicBezTo>
                  <a:pt x="6031" y="9718"/>
                  <a:pt x="5813" y="9531"/>
                  <a:pt x="5594" y="9406"/>
                </a:cubicBezTo>
                <a:cubicBezTo>
                  <a:pt x="5594" y="9375"/>
                  <a:pt x="5563" y="9343"/>
                  <a:pt x="5563" y="9343"/>
                </a:cubicBezTo>
                <a:cubicBezTo>
                  <a:pt x="5313" y="9156"/>
                  <a:pt x="5125" y="8937"/>
                  <a:pt x="4938" y="8718"/>
                </a:cubicBezTo>
                <a:cubicBezTo>
                  <a:pt x="4750" y="8531"/>
                  <a:pt x="4500" y="8343"/>
                  <a:pt x="4375" y="8062"/>
                </a:cubicBezTo>
                <a:cubicBezTo>
                  <a:pt x="4281" y="7906"/>
                  <a:pt x="4156" y="7750"/>
                  <a:pt x="4000" y="7656"/>
                </a:cubicBezTo>
                <a:cubicBezTo>
                  <a:pt x="3938" y="7625"/>
                  <a:pt x="3938" y="7593"/>
                  <a:pt x="3938" y="7531"/>
                </a:cubicBezTo>
                <a:lnTo>
                  <a:pt x="3938" y="7531"/>
                </a:lnTo>
                <a:cubicBezTo>
                  <a:pt x="4000" y="7531"/>
                  <a:pt x="4031" y="7593"/>
                  <a:pt x="4000" y="7656"/>
                </a:cubicBezTo>
                <a:cubicBezTo>
                  <a:pt x="4000" y="7781"/>
                  <a:pt x="4094" y="7906"/>
                  <a:pt x="4156" y="7968"/>
                </a:cubicBezTo>
                <a:cubicBezTo>
                  <a:pt x="4531" y="8406"/>
                  <a:pt x="4875" y="8843"/>
                  <a:pt x="5281" y="9218"/>
                </a:cubicBezTo>
                <a:cubicBezTo>
                  <a:pt x="5219" y="9250"/>
                  <a:pt x="5188" y="9281"/>
                  <a:pt x="5188" y="9343"/>
                </a:cubicBezTo>
                <a:cubicBezTo>
                  <a:pt x="4969" y="9156"/>
                  <a:pt x="4750" y="8937"/>
                  <a:pt x="4531" y="8750"/>
                </a:cubicBezTo>
                <a:cubicBezTo>
                  <a:pt x="4500" y="8687"/>
                  <a:pt x="4469" y="8625"/>
                  <a:pt x="4375" y="8625"/>
                </a:cubicBezTo>
                <a:cubicBezTo>
                  <a:pt x="4344" y="8625"/>
                  <a:pt x="4344" y="8625"/>
                  <a:pt x="4344" y="8625"/>
                </a:cubicBezTo>
                <a:lnTo>
                  <a:pt x="4344" y="8625"/>
                </a:lnTo>
                <a:cubicBezTo>
                  <a:pt x="4344" y="8625"/>
                  <a:pt x="4344" y="8625"/>
                  <a:pt x="4375" y="8625"/>
                </a:cubicBezTo>
                <a:cubicBezTo>
                  <a:pt x="4344" y="8625"/>
                  <a:pt x="4344" y="8656"/>
                  <a:pt x="4344" y="8656"/>
                </a:cubicBezTo>
                <a:cubicBezTo>
                  <a:pt x="4344" y="8750"/>
                  <a:pt x="4500" y="8750"/>
                  <a:pt x="4438" y="8875"/>
                </a:cubicBezTo>
                <a:cubicBezTo>
                  <a:pt x="4313" y="8843"/>
                  <a:pt x="4281" y="8687"/>
                  <a:pt x="4188" y="8656"/>
                </a:cubicBezTo>
                <a:cubicBezTo>
                  <a:pt x="4125" y="8562"/>
                  <a:pt x="4031" y="8468"/>
                  <a:pt x="3969" y="8406"/>
                </a:cubicBezTo>
                <a:cubicBezTo>
                  <a:pt x="3875" y="8312"/>
                  <a:pt x="3781" y="8218"/>
                  <a:pt x="3719" y="8093"/>
                </a:cubicBezTo>
                <a:cubicBezTo>
                  <a:pt x="3719" y="8093"/>
                  <a:pt x="3719" y="8093"/>
                  <a:pt x="3688" y="8093"/>
                </a:cubicBezTo>
                <a:cubicBezTo>
                  <a:pt x="3594" y="7875"/>
                  <a:pt x="3438" y="7687"/>
                  <a:pt x="3250" y="7531"/>
                </a:cubicBezTo>
                <a:cubicBezTo>
                  <a:pt x="3375" y="7718"/>
                  <a:pt x="3469" y="7968"/>
                  <a:pt x="3688" y="8125"/>
                </a:cubicBezTo>
                <a:cubicBezTo>
                  <a:pt x="3688" y="8125"/>
                  <a:pt x="3688" y="8125"/>
                  <a:pt x="3688" y="8156"/>
                </a:cubicBezTo>
                <a:cubicBezTo>
                  <a:pt x="3813" y="8343"/>
                  <a:pt x="3969" y="8562"/>
                  <a:pt x="4156" y="8718"/>
                </a:cubicBezTo>
                <a:cubicBezTo>
                  <a:pt x="4313" y="8875"/>
                  <a:pt x="4406" y="9093"/>
                  <a:pt x="4625" y="9187"/>
                </a:cubicBezTo>
                <a:cubicBezTo>
                  <a:pt x="4625" y="9093"/>
                  <a:pt x="4531" y="9062"/>
                  <a:pt x="4531" y="8968"/>
                </a:cubicBezTo>
                <a:cubicBezTo>
                  <a:pt x="4781" y="9093"/>
                  <a:pt x="4906" y="9343"/>
                  <a:pt x="5156" y="9500"/>
                </a:cubicBezTo>
                <a:cubicBezTo>
                  <a:pt x="5000" y="9531"/>
                  <a:pt x="4938" y="9468"/>
                  <a:pt x="4906" y="9406"/>
                </a:cubicBezTo>
                <a:cubicBezTo>
                  <a:pt x="4875" y="9343"/>
                  <a:pt x="4813" y="9312"/>
                  <a:pt x="4781" y="9281"/>
                </a:cubicBezTo>
                <a:cubicBezTo>
                  <a:pt x="4719" y="9250"/>
                  <a:pt x="4688" y="9187"/>
                  <a:pt x="4656" y="9250"/>
                </a:cubicBezTo>
                <a:cubicBezTo>
                  <a:pt x="4625" y="9281"/>
                  <a:pt x="4656" y="9312"/>
                  <a:pt x="4688" y="9343"/>
                </a:cubicBezTo>
                <a:cubicBezTo>
                  <a:pt x="4719" y="9375"/>
                  <a:pt x="4750" y="9375"/>
                  <a:pt x="4750" y="9406"/>
                </a:cubicBezTo>
                <a:cubicBezTo>
                  <a:pt x="5125" y="9750"/>
                  <a:pt x="5500" y="10093"/>
                  <a:pt x="5875" y="10437"/>
                </a:cubicBezTo>
                <a:cubicBezTo>
                  <a:pt x="5844" y="10437"/>
                  <a:pt x="5844" y="10468"/>
                  <a:pt x="5844" y="10500"/>
                </a:cubicBezTo>
                <a:cubicBezTo>
                  <a:pt x="5813" y="10468"/>
                  <a:pt x="5781" y="10468"/>
                  <a:pt x="5688" y="10468"/>
                </a:cubicBezTo>
                <a:cubicBezTo>
                  <a:pt x="6063" y="10718"/>
                  <a:pt x="6375" y="10968"/>
                  <a:pt x="6719" y="11218"/>
                </a:cubicBezTo>
                <a:cubicBezTo>
                  <a:pt x="6938" y="11375"/>
                  <a:pt x="7188" y="11562"/>
                  <a:pt x="7438" y="11687"/>
                </a:cubicBezTo>
                <a:cubicBezTo>
                  <a:pt x="7531" y="11843"/>
                  <a:pt x="7750" y="11875"/>
                  <a:pt x="7906" y="11968"/>
                </a:cubicBezTo>
                <a:cubicBezTo>
                  <a:pt x="8594" y="12375"/>
                  <a:pt x="9250" y="12625"/>
                  <a:pt x="9438" y="12593"/>
                </a:cubicBezTo>
                <a:cubicBezTo>
                  <a:pt x="9250" y="12500"/>
                  <a:pt x="9063" y="12437"/>
                  <a:pt x="8906" y="12343"/>
                </a:cubicBezTo>
                <a:cubicBezTo>
                  <a:pt x="9094" y="12343"/>
                  <a:pt x="9219" y="12406"/>
                  <a:pt x="9375" y="12468"/>
                </a:cubicBezTo>
                <a:cubicBezTo>
                  <a:pt x="9406" y="12468"/>
                  <a:pt x="9438" y="12468"/>
                  <a:pt x="9469" y="12500"/>
                </a:cubicBezTo>
                <a:cubicBezTo>
                  <a:pt x="9469" y="12500"/>
                  <a:pt x="9500" y="12500"/>
                  <a:pt x="9531" y="12500"/>
                </a:cubicBezTo>
                <a:cubicBezTo>
                  <a:pt x="9875" y="12562"/>
                  <a:pt x="10219" y="12687"/>
                  <a:pt x="10563" y="12750"/>
                </a:cubicBezTo>
                <a:cubicBezTo>
                  <a:pt x="10344" y="12656"/>
                  <a:pt x="10094" y="12562"/>
                  <a:pt x="9875" y="12500"/>
                </a:cubicBezTo>
                <a:cubicBezTo>
                  <a:pt x="9750" y="12468"/>
                  <a:pt x="9625" y="12500"/>
                  <a:pt x="9625" y="12312"/>
                </a:cubicBezTo>
                <a:cubicBezTo>
                  <a:pt x="9813" y="12312"/>
                  <a:pt x="10000" y="12375"/>
                  <a:pt x="10188" y="12437"/>
                </a:cubicBezTo>
                <a:cubicBezTo>
                  <a:pt x="10156" y="12343"/>
                  <a:pt x="10094" y="12343"/>
                  <a:pt x="10031" y="12312"/>
                </a:cubicBezTo>
                <a:cubicBezTo>
                  <a:pt x="9844" y="12250"/>
                  <a:pt x="9594" y="12250"/>
                  <a:pt x="9406" y="12125"/>
                </a:cubicBezTo>
                <a:cubicBezTo>
                  <a:pt x="9313" y="12093"/>
                  <a:pt x="9250" y="12031"/>
                  <a:pt x="9156" y="12000"/>
                </a:cubicBezTo>
                <a:cubicBezTo>
                  <a:pt x="8844" y="11937"/>
                  <a:pt x="8531" y="11812"/>
                  <a:pt x="8250" y="11625"/>
                </a:cubicBezTo>
                <a:cubicBezTo>
                  <a:pt x="7719" y="11312"/>
                  <a:pt x="7188" y="10968"/>
                  <a:pt x="6688" y="10593"/>
                </a:cubicBezTo>
                <a:cubicBezTo>
                  <a:pt x="6500" y="10468"/>
                  <a:pt x="6281" y="10375"/>
                  <a:pt x="6156" y="10156"/>
                </a:cubicBezTo>
                <a:cubicBezTo>
                  <a:pt x="6250" y="10125"/>
                  <a:pt x="6344" y="10250"/>
                  <a:pt x="6438" y="10156"/>
                </a:cubicBezTo>
                <a:cubicBezTo>
                  <a:pt x="6438" y="10187"/>
                  <a:pt x="6438" y="10187"/>
                  <a:pt x="6469" y="10187"/>
                </a:cubicBezTo>
                <a:cubicBezTo>
                  <a:pt x="6469" y="10218"/>
                  <a:pt x="6500" y="10218"/>
                  <a:pt x="6500" y="10218"/>
                </a:cubicBezTo>
                <a:cubicBezTo>
                  <a:pt x="6500" y="10250"/>
                  <a:pt x="6531" y="10250"/>
                  <a:pt x="6531" y="10281"/>
                </a:cubicBezTo>
                <a:cubicBezTo>
                  <a:pt x="6719" y="10437"/>
                  <a:pt x="6938" y="10500"/>
                  <a:pt x="7125" y="10656"/>
                </a:cubicBezTo>
                <a:cubicBezTo>
                  <a:pt x="7438" y="10843"/>
                  <a:pt x="7719" y="11093"/>
                  <a:pt x="8094" y="11156"/>
                </a:cubicBezTo>
                <a:cubicBezTo>
                  <a:pt x="8500" y="11250"/>
                  <a:pt x="8781" y="11562"/>
                  <a:pt x="9188" y="11625"/>
                </a:cubicBezTo>
                <a:cubicBezTo>
                  <a:pt x="9438" y="11687"/>
                  <a:pt x="9688" y="11781"/>
                  <a:pt x="9938" y="11875"/>
                </a:cubicBezTo>
                <a:cubicBezTo>
                  <a:pt x="10375" y="12000"/>
                  <a:pt x="10781" y="12156"/>
                  <a:pt x="11219" y="12218"/>
                </a:cubicBezTo>
                <a:cubicBezTo>
                  <a:pt x="11250" y="12250"/>
                  <a:pt x="11250" y="12281"/>
                  <a:pt x="11313" y="12250"/>
                </a:cubicBezTo>
                <a:cubicBezTo>
                  <a:pt x="11344" y="12250"/>
                  <a:pt x="11375" y="12250"/>
                  <a:pt x="11406" y="12250"/>
                </a:cubicBezTo>
                <a:cubicBezTo>
                  <a:pt x="11500" y="12281"/>
                  <a:pt x="11594" y="12281"/>
                  <a:pt x="11688" y="12312"/>
                </a:cubicBezTo>
                <a:cubicBezTo>
                  <a:pt x="11781" y="12343"/>
                  <a:pt x="11875" y="12375"/>
                  <a:pt x="11969" y="12375"/>
                </a:cubicBezTo>
                <a:cubicBezTo>
                  <a:pt x="12406" y="12437"/>
                  <a:pt x="12813" y="12500"/>
                  <a:pt x="13250" y="12562"/>
                </a:cubicBezTo>
                <a:cubicBezTo>
                  <a:pt x="13938" y="12687"/>
                  <a:pt x="14594" y="12656"/>
                  <a:pt x="15281" y="12656"/>
                </a:cubicBezTo>
                <a:cubicBezTo>
                  <a:pt x="15906" y="12656"/>
                  <a:pt x="16531" y="12656"/>
                  <a:pt x="17156" y="12500"/>
                </a:cubicBezTo>
                <a:cubicBezTo>
                  <a:pt x="17500" y="12437"/>
                  <a:pt x="17875" y="12343"/>
                  <a:pt x="18250" y="12312"/>
                </a:cubicBezTo>
                <a:cubicBezTo>
                  <a:pt x="18281" y="12312"/>
                  <a:pt x="18344" y="12281"/>
                  <a:pt x="18406" y="12250"/>
                </a:cubicBezTo>
                <a:cubicBezTo>
                  <a:pt x="18156" y="12187"/>
                  <a:pt x="17938" y="12281"/>
                  <a:pt x="17688" y="12312"/>
                </a:cubicBezTo>
                <a:cubicBezTo>
                  <a:pt x="17250" y="12406"/>
                  <a:pt x="17156" y="12406"/>
                  <a:pt x="17031" y="12343"/>
                </a:cubicBezTo>
                <a:cubicBezTo>
                  <a:pt x="17156" y="12312"/>
                  <a:pt x="17281" y="12250"/>
                  <a:pt x="17406" y="12218"/>
                </a:cubicBezTo>
                <a:cubicBezTo>
                  <a:pt x="17906" y="12187"/>
                  <a:pt x="18375" y="12093"/>
                  <a:pt x="18875" y="11968"/>
                </a:cubicBezTo>
                <a:cubicBezTo>
                  <a:pt x="19219" y="11906"/>
                  <a:pt x="19563" y="11750"/>
                  <a:pt x="19906" y="11656"/>
                </a:cubicBezTo>
                <a:cubicBezTo>
                  <a:pt x="20094" y="11593"/>
                  <a:pt x="20313" y="11593"/>
                  <a:pt x="20500" y="11468"/>
                </a:cubicBezTo>
                <a:cubicBezTo>
                  <a:pt x="20563" y="11468"/>
                  <a:pt x="20594" y="11437"/>
                  <a:pt x="20625" y="11375"/>
                </a:cubicBezTo>
                <a:cubicBezTo>
                  <a:pt x="20625" y="11343"/>
                  <a:pt x="20656" y="11312"/>
                  <a:pt x="20688" y="11343"/>
                </a:cubicBezTo>
                <a:cubicBezTo>
                  <a:pt x="20719" y="11375"/>
                  <a:pt x="20750" y="11375"/>
                  <a:pt x="20781" y="11343"/>
                </a:cubicBezTo>
                <a:cubicBezTo>
                  <a:pt x="20719" y="11281"/>
                  <a:pt x="20781" y="11250"/>
                  <a:pt x="20750" y="11218"/>
                </a:cubicBezTo>
                <a:cubicBezTo>
                  <a:pt x="20750" y="11187"/>
                  <a:pt x="20719" y="11187"/>
                  <a:pt x="20656" y="11218"/>
                </a:cubicBezTo>
                <a:cubicBezTo>
                  <a:pt x="20625" y="11250"/>
                  <a:pt x="20531" y="11250"/>
                  <a:pt x="20469" y="11250"/>
                </a:cubicBezTo>
                <a:cubicBezTo>
                  <a:pt x="20406" y="11250"/>
                  <a:pt x="20344" y="11250"/>
                  <a:pt x="20281" y="11281"/>
                </a:cubicBezTo>
                <a:cubicBezTo>
                  <a:pt x="20125" y="11343"/>
                  <a:pt x="19969" y="11437"/>
                  <a:pt x="19813" y="11468"/>
                </a:cubicBezTo>
                <a:cubicBezTo>
                  <a:pt x="19656" y="11468"/>
                  <a:pt x="19469" y="11468"/>
                  <a:pt x="19313" y="11531"/>
                </a:cubicBezTo>
                <a:cubicBezTo>
                  <a:pt x="19313" y="11500"/>
                  <a:pt x="19281" y="11500"/>
                  <a:pt x="19281" y="11468"/>
                </a:cubicBezTo>
                <a:cubicBezTo>
                  <a:pt x="19313" y="11468"/>
                  <a:pt x="19375" y="11468"/>
                  <a:pt x="19406" y="11437"/>
                </a:cubicBezTo>
                <a:cubicBezTo>
                  <a:pt x="19656" y="11375"/>
                  <a:pt x="19906" y="11281"/>
                  <a:pt x="20156" y="11218"/>
                </a:cubicBezTo>
                <a:cubicBezTo>
                  <a:pt x="20406" y="11156"/>
                  <a:pt x="20656" y="11093"/>
                  <a:pt x="20906" y="11000"/>
                </a:cubicBezTo>
                <a:cubicBezTo>
                  <a:pt x="21281" y="10843"/>
                  <a:pt x="21688" y="10656"/>
                  <a:pt x="22063" y="10500"/>
                </a:cubicBezTo>
                <a:cubicBezTo>
                  <a:pt x="22438" y="10343"/>
                  <a:pt x="22813" y="10218"/>
                  <a:pt x="23188" y="10062"/>
                </a:cubicBezTo>
                <a:cubicBezTo>
                  <a:pt x="23594" y="9906"/>
                  <a:pt x="23969" y="9718"/>
                  <a:pt x="24281" y="9406"/>
                </a:cubicBezTo>
                <a:cubicBezTo>
                  <a:pt x="24531" y="9312"/>
                  <a:pt x="24469" y="9000"/>
                  <a:pt x="24594" y="8812"/>
                </a:cubicBezTo>
                <a:cubicBezTo>
                  <a:pt x="24563" y="8781"/>
                  <a:pt x="24469" y="8875"/>
                  <a:pt x="24469" y="8750"/>
                </a:cubicBezTo>
                <a:cubicBezTo>
                  <a:pt x="24688" y="8562"/>
                  <a:pt x="24875" y="8343"/>
                  <a:pt x="25125" y="8250"/>
                </a:cubicBezTo>
                <a:cubicBezTo>
                  <a:pt x="25313" y="8156"/>
                  <a:pt x="25344" y="7968"/>
                  <a:pt x="25438" y="7812"/>
                </a:cubicBezTo>
                <a:cubicBezTo>
                  <a:pt x="25438" y="7812"/>
                  <a:pt x="25469" y="7781"/>
                  <a:pt x="25469" y="7781"/>
                </a:cubicBezTo>
                <a:cubicBezTo>
                  <a:pt x="25313" y="7656"/>
                  <a:pt x="25500" y="7625"/>
                  <a:pt x="25531" y="7562"/>
                </a:cubicBezTo>
                <a:close/>
                <a:moveTo>
                  <a:pt x="9813" y="7593"/>
                </a:moveTo>
                <a:cubicBezTo>
                  <a:pt x="9938" y="7625"/>
                  <a:pt x="10063" y="7656"/>
                  <a:pt x="10219" y="7718"/>
                </a:cubicBezTo>
                <a:cubicBezTo>
                  <a:pt x="10094" y="7562"/>
                  <a:pt x="9969" y="7500"/>
                  <a:pt x="9813" y="7593"/>
                </a:cubicBezTo>
                <a:close/>
                <a:moveTo>
                  <a:pt x="8250" y="5937"/>
                </a:moveTo>
                <a:cubicBezTo>
                  <a:pt x="8250" y="5937"/>
                  <a:pt x="8250" y="5937"/>
                  <a:pt x="8250" y="5906"/>
                </a:cubicBezTo>
                <a:cubicBezTo>
                  <a:pt x="8250" y="5906"/>
                  <a:pt x="8250" y="5906"/>
                  <a:pt x="8250" y="5906"/>
                </a:cubicBezTo>
                <a:cubicBezTo>
                  <a:pt x="8250" y="5906"/>
                  <a:pt x="8250" y="5906"/>
                  <a:pt x="8250" y="5937"/>
                </a:cubicBezTo>
                <a:cubicBezTo>
                  <a:pt x="8250" y="5937"/>
                  <a:pt x="8250" y="5937"/>
                  <a:pt x="8250" y="5937"/>
                </a:cubicBezTo>
                <a:close/>
                <a:moveTo>
                  <a:pt x="8531" y="3656"/>
                </a:moveTo>
                <a:cubicBezTo>
                  <a:pt x="8531" y="3656"/>
                  <a:pt x="8531" y="3656"/>
                  <a:pt x="8531" y="3656"/>
                </a:cubicBezTo>
                <a:cubicBezTo>
                  <a:pt x="8531" y="3656"/>
                  <a:pt x="8531" y="3656"/>
                  <a:pt x="8531" y="3656"/>
                </a:cubicBezTo>
                <a:lnTo>
                  <a:pt x="8531" y="3656"/>
                </a:lnTo>
                <a:cubicBezTo>
                  <a:pt x="8531" y="3656"/>
                  <a:pt x="8531" y="3656"/>
                  <a:pt x="8531" y="3656"/>
                </a:cubicBezTo>
                <a:close/>
                <a:moveTo>
                  <a:pt x="156" y="3656"/>
                </a:moveTo>
                <a:cubicBezTo>
                  <a:pt x="94" y="3687"/>
                  <a:pt x="94" y="3781"/>
                  <a:pt x="31" y="3781"/>
                </a:cubicBezTo>
                <a:cubicBezTo>
                  <a:pt x="0" y="3812"/>
                  <a:pt x="31" y="3843"/>
                  <a:pt x="31" y="3875"/>
                </a:cubicBezTo>
                <a:cubicBezTo>
                  <a:pt x="125" y="3906"/>
                  <a:pt x="281" y="3968"/>
                  <a:pt x="281" y="3937"/>
                </a:cubicBezTo>
                <a:cubicBezTo>
                  <a:pt x="406" y="3781"/>
                  <a:pt x="531" y="3843"/>
                  <a:pt x="688" y="3812"/>
                </a:cubicBezTo>
                <a:cubicBezTo>
                  <a:pt x="781" y="3812"/>
                  <a:pt x="813" y="3718"/>
                  <a:pt x="875" y="3656"/>
                </a:cubicBezTo>
                <a:cubicBezTo>
                  <a:pt x="938" y="3562"/>
                  <a:pt x="906" y="3437"/>
                  <a:pt x="969" y="3343"/>
                </a:cubicBezTo>
                <a:cubicBezTo>
                  <a:pt x="1156" y="3375"/>
                  <a:pt x="1313" y="3281"/>
                  <a:pt x="1406" y="3125"/>
                </a:cubicBezTo>
                <a:cubicBezTo>
                  <a:pt x="1250" y="3187"/>
                  <a:pt x="1063" y="3218"/>
                  <a:pt x="938" y="3343"/>
                </a:cubicBezTo>
                <a:cubicBezTo>
                  <a:pt x="688" y="3468"/>
                  <a:pt x="438" y="3625"/>
                  <a:pt x="156" y="3656"/>
                </a:cubicBezTo>
                <a:close/>
                <a:moveTo>
                  <a:pt x="11406" y="3656"/>
                </a:moveTo>
                <a:cubicBezTo>
                  <a:pt x="11375" y="3531"/>
                  <a:pt x="11219" y="3562"/>
                  <a:pt x="11156" y="3468"/>
                </a:cubicBezTo>
                <a:cubicBezTo>
                  <a:pt x="11188" y="3593"/>
                  <a:pt x="11281" y="3625"/>
                  <a:pt x="11406" y="3656"/>
                </a:cubicBezTo>
                <a:close/>
                <a:moveTo>
                  <a:pt x="9219" y="2250"/>
                </a:moveTo>
                <a:cubicBezTo>
                  <a:pt x="9188" y="2250"/>
                  <a:pt x="9188" y="2187"/>
                  <a:pt x="9188" y="2156"/>
                </a:cubicBezTo>
                <a:cubicBezTo>
                  <a:pt x="9188" y="1968"/>
                  <a:pt x="9156" y="1781"/>
                  <a:pt x="9281" y="1625"/>
                </a:cubicBezTo>
                <a:cubicBezTo>
                  <a:pt x="9188" y="1750"/>
                  <a:pt x="9125" y="1843"/>
                  <a:pt x="9094" y="2000"/>
                </a:cubicBezTo>
                <a:cubicBezTo>
                  <a:pt x="9094" y="2187"/>
                  <a:pt x="9063" y="2343"/>
                  <a:pt x="9063" y="2531"/>
                </a:cubicBezTo>
                <a:cubicBezTo>
                  <a:pt x="9094" y="2750"/>
                  <a:pt x="9000" y="2968"/>
                  <a:pt x="9250" y="3125"/>
                </a:cubicBezTo>
                <a:cubicBezTo>
                  <a:pt x="9344" y="3218"/>
                  <a:pt x="9438" y="3250"/>
                  <a:pt x="9531" y="3250"/>
                </a:cubicBezTo>
                <a:cubicBezTo>
                  <a:pt x="9563" y="3250"/>
                  <a:pt x="9563" y="3250"/>
                  <a:pt x="9563" y="3250"/>
                </a:cubicBezTo>
                <a:cubicBezTo>
                  <a:pt x="9563" y="3406"/>
                  <a:pt x="9688" y="3437"/>
                  <a:pt x="9750" y="3562"/>
                </a:cubicBezTo>
                <a:cubicBezTo>
                  <a:pt x="9781" y="3593"/>
                  <a:pt x="9844" y="3656"/>
                  <a:pt x="9781" y="3687"/>
                </a:cubicBezTo>
                <a:cubicBezTo>
                  <a:pt x="9719" y="3718"/>
                  <a:pt x="9656" y="3687"/>
                  <a:pt x="9656" y="3593"/>
                </a:cubicBezTo>
                <a:lnTo>
                  <a:pt x="9656" y="3593"/>
                </a:lnTo>
                <a:cubicBezTo>
                  <a:pt x="9563" y="3500"/>
                  <a:pt x="9469" y="3406"/>
                  <a:pt x="9563" y="3250"/>
                </a:cubicBezTo>
                <a:cubicBezTo>
                  <a:pt x="9563" y="3250"/>
                  <a:pt x="9531" y="3250"/>
                  <a:pt x="9531" y="3250"/>
                </a:cubicBezTo>
                <a:cubicBezTo>
                  <a:pt x="9531" y="3156"/>
                  <a:pt x="9531" y="3093"/>
                  <a:pt x="9531" y="3000"/>
                </a:cubicBezTo>
                <a:cubicBezTo>
                  <a:pt x="9469" y="2875"/>
                  <a:pt x="9375" y="2781"/>
                  <a:pt x="9438" y="2656"/>
                </a:cubicBezTo>
                <a:cubicBezTo>
                  <a:pt x="9469" y="2656"/>
                  <a:pt x="9469" y="2687"/>
                  <a:pt x="9500" y="2718"/>
                </a:cubicBezTo>
                <a:cubicBezTo>
                  <a:pt x="9531" y="2718"/>
                  <a:pt x="9531" y="2750"/>
                  <a:pt x="9563" y="2718"/>
                </a:cubicBezTo>
                <a:cubicBezTo>
                  <a:pt x="9594" y="2656"/>
                  <a:pt x="9594" y="2593"/>
                  <a:pt x="9531" y="2500"/>
                </a:cubicBezTo>
                <a:cubicBezTo>
                  <a:pt x="9500" y="2437"/>
                  <a:pt x="9531" y="2343"/>
                  <a:pt x="9500" y="2281"/>
                </a:cubicBezTo>
                <a:cubicBezTo>
                  <a:pt x="9563" y="2156"/>
                  <a:pt x="9500" y="2062"/>
                  <a:pt x="9531" y="1937"/>
                </a:cubicBezTo>
                <a:cubicBezTo>
                  <a:pt x="9594" y="1843"/>
                  <a:pt x="9500" y="1687"/>
                  <a:pt x="9625" y="1625"/>
                </a:cubicBezTo>
                <a:cubicBezTo>
                  <a:pt x="9719" y="1593"/>
                  <a:pt x="9656" y="1500"/>
                  <a:pt x="9688" y="1437"/>
                </a:cubicBezTo>
                <a:cubicBezTo>
                  <a:pt x="9719" y="1406"/>
                  <a:pt x="9688" y="1406"/>
                  <a:pt x="9656" y="1437"/>
                </a:cubicBezTo>
                <a:cubicBezTo>
                  <a:pt x="9625" y="1593"/>
                  <a:pt x="9438" y="1687"/>
                  <a:pt x="9375" y="1875"/>
                </a:cubicBezTo>
                <a:cubicBezTo>
                  <a:pt x="9344" y="1968"/>
                  <a:pt x="9313" y="2062"/>
                  <a:pt x="9313" y="2156"/>
                </a:cubicBezTo>
                <a:cubicBezTo>
                  <a:pt x="9313" y="2218"/>
                  <a:pt x="9281" y="2250"/>
                  <a:pt x="9219" y="2250"/>
                </a:cubicBezTo>
                <a:close/>
                <a:moveTo>
                  <a:pt x="9688" y="2250"/>
                </a:moveTo>
                <a:cubicBezTo>
                  <a:pt x="9844" y="2312"/>
                  <a:pt x="9844" y="2406"/>
                  <a:pt x="9844" y="2531"/>
                </a:cubicBezTo>
                <a:cubicBezTo>
                  <a:pt x="9844" y="2593"/>
                  <a:pt x="9875" y="2625"/>
                  <a:pt x="9938" y="2656"/>
                </a:cubicBezTo>
                <a:cubicBezTo>
                  <a:pt x="10000" y="2406"/>
                  <a:pt x="9750" y="2250"/>
                  <a:pt x="9719" y="2031"/>
                </a:cubicBezTo>
                <a:cubicBezTo>
                  <a:pt x="9719" y="2125"/>
                  <a:pt x="9563" y="2218"/>
                  <a:pt x="9688" y="2250"/>
                </a:cubicBezTo>
                <a:close/>
                <a:moveTo>
                  <a:pt x="11063" y="2875"/>
                </a:moveTo>
                <a:cubicBezTo>
                  <a:pt x="11063" y="2875"/>
                  <a:pt x="11094" y="2875"/>
                  <a:pt x="11094" y="2875"/>
                </a:cubicBezTo>
                <a:cubicBezTo>
                  <a:pt x="11094" y="2843"/>
                  <a:pt x="11125" y="2812"/>
                  <a:pt x="11063" y="2781"/>
                </a:cubicBezTo>
                <a:cubicBezTo>
                  <a:pt x="11031" y="2656"/>
                  <a:pt x="11031" y="2531"/>
                  <a:pt x="10875" y="2406"/>
                </a:cubicBezTo>
                <a:cubicBezTo>
                  <a:pt x="10906" y="2562"/>
                  <a:pt x="10938" y="2687"/>
                  <a:pt x="11031" y="2812"/>
                </a:cubicBezTo>
                <a:cubicBezTo>
                  <a:pt x="11063" y="2843"/>
                  <a:pt x="11063" y="2875"/>
                  <a:pt x="11063" y="2875"/>
                </a:cubicBezTo>
                <a:close/>
                <a:moveTo>
                  <a:pt x="10000" y="2875"/>
                </a:moveTo>
                <a:cubicBezTo>
                  <a:pt x="10000" y="2843"/>
                  <a:pt x="9969" y="2843"/>
                  <a:pt x="9969" y="2843"/>
                </a:cubicBezTo>
                <a:cubicBezTo>
                  <a:pt x="9969" y="2843"/>
                  <a:pt x="9969" y="2843"/>
                  <a:pt x="9969" y="2875"/>
                </a:cubicBezTo>
                <a:cubicBezTo>
                  <a:pt x="9969" y="2875"/>
                  <a:pt x="9969" y="2875"/>
                  <a:pt x="10000" y="2875"/>
                </a:cubicBezTo>
                <a:cubicBezTo>
                  <a:pt x="10000" y="2875"/>
                  <a:pt x="10000" y="2875"/>
                  <a:pt x="10000" y="2875"/>
                </a:cubicBezTo>
                <a:close/>
                <a:moveTo>
                  <a:pt x="10469" y="875"/>
                </a:moveTo>
                <a:cubicBezTo>
                  <a:pt x="10219" y="968"/>
                  <a:pt x="10031" y="1125"/>
                  <a:pt x="9969" y="1375"/>
                </a:cubicBezTo>
                <a:cubicBezTo>
                  <a:pt x="10094" y="1218"/>
                  <a:pt x="10375" y="1125"/>
                  <a:pt x="10469" y="875"/>
                </a:cubicBezTo>
                <a:close/>
                <a:moveTo>
                  <a:pt x="10406" y="3000"/>
                </a:moveTo>
                <a:cubicBezTo>
                  <a:pt x="10406" y="3093"/>
                  <a:pt x="10406" y="3156"/>
                  <a:pt x="10406" y="3187"/>
                </a:cubicBezTo>
                <a:cubicBezTo>
                  <a:pt x="10344" y="3250"/>
                  <a:pt x="10313" y="3250"/>
                  <a:pt x="10375" y="3343"/>
                </a:cubicBezTo>
                <a:cubicBezTo>
                  <a:pt x="10438" y="3406"/>
                  <a:pt x="10500" y="3531"/>
                  <a:pt x="10563" y="3593"/>
                </a:cubicBezTo>
                <a:cubicBezTo>
                  <a:pt x="10656" y="3656"/>
                  <a:pt x="10688" y="3718"/>
                  <a:pt x="10625" y="3812"/>
                </a:cubicBezTo>
                <a:cubicBezTo>
                  <a:pt x="10563" y="3875"/>
                  <a:pt x="10531" y="3812"/>
                  <a:pt x="10500" y="3781"/>
                </a:cubicBezTo>
                <a:cubicBezTo>
                  <a:pt x="10406" y="3625"/>
                  <a:pt x="10250" y="3468"/>
                  <a:pt x="10188" y="3281"/>
                </a:cubicBezTo>
                <a:cubicBezTo>
                  <a:pt x="10156" y="3250"/>
                  <a:pt x="10156" y="3187"/>
                  <a:pt x="10063" y="3187"/>
                </a:cubicBezTo>
                <a:cubicBezTo>
                  <a:pt x="10125" y="3437"/>
                  <a:pt x="10281" y="3593"/>
                  <a:pt x="10344" y="3812"/>
                </a:cubicBezTo>
                <a:cubicBezTo>
                  <a:pt x="10438" y="3781"/>
                  <a:pt x="10531" y="3937"/>
                  <a:pt x="10625" y="3812"/>
                </a:cubicBezTo>
                <a:cubicBezTo>
                  <a:pt x="10688" y="3843"/>
                  <a:pt x="10750" y="3843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19" y="3968"/>
                  <a:pt x="10719" y="3968"/>
                  <a:pt x="10719" y="3968"/>
                </a:cubicBezTo>
                <a:cubicBezTo>
                  <a:pt x="10781" y="4031"/>
                  <a:pt x="10813" y="4093"/>
                  <a:pt x="10875" y="4156"/>
                </a:cubicBezTo>
                <a:cubicBezTo>
                  <a:pt x="10938" y="4250"/>
                  <a:pt x="11000" y="4281"/>
                  <a:pt x="11094" y="4281"/>
                </a:cubicBezTo>
                <a:cubicBezTo>
                  <a:pt x="11094" y="4281"/>
                  <a:pt x="11125" y="4281"/>
                  <a:pt x="11125" y="4281"/>
                </a:cubicBezTo>
                <a:cubicBezTo>
                  <a:pt x="11125" y="4187"/>
                  <a:pt x="11094" y="4093"/>
                  <a:pt x="11031" y="4000"/>
                </a:cubicBezTo>
                <a:cubicBezTo>
                  <a:pt x="11031" y="3937"/>
                  <a:pt x="11094" y="3937"/>
                  <a:pt x="11125" y="3906"/>
                </a:cubicBezTo>
                <a:cubicBezTo>
                  <a:pt x="11281" y="4093"/>
                  <a:pt x="11469" y="4281"/>
                  <a:pt x="11688" y="4406"/>
                </a:cubicBezTo>
                <a:cubicBezTo>
                  <a:pt x="11750" y="4437"/>
                  <a:pt x="11750" y="4375"/>
                  <a:pt x="11750" y="4343"/>
                </a:cubicBezTo>
                <a:cubicBezTo>
                  <a:pt x="11781" y="4312"/>
                  <a:pt x="11813" y="4281"/>
                  <a:pt x="11813" y="4250"/>
                </a:cubicBezTo>
                <a:cubicBezTo>
                  <a:pt x="11875" y="4281"/>
                  <a:pt x="11969" y="4312"/>
                  <a:pt x="12000" y="4375"/>
                </a:cubicBezTo>
                <a:cubicBezTo>
                  <a:pt x="12031" y="4375"/>
                  <a:pt x="12031" y="4406"/>
                  <a:pt x="12063" y="4406"/>
                </a:cubicBezTo>
                <a:lnTo>
                  <a:pt x="12063" y="4406"/>
                </a:lnTo>
                <a:cubicBezTo>
                  <a:pt x="12031" y="4406"/>
                  <a:pt x="12031" y="4375"/>
                  <a:pt x="12000" y="4375"/>
                </a:cubicBezTo>
                <a:cubicBezTo>
                  <a:pt x="12000" y="4312"/>
                  <a:pt x="12031" y="4250"/>
                  <a:pt x="12000" y="4250"/>
                </a:cubicBezTo>
                <a:cubicBezTo>
                  <a:pt x="11844" y="4093"/>
                  <a:pt x="11688" y="3937"/>
                  <a:pt x="11438" y="3937"/>
                </a:cubicBezTo>
                <a:cubicBezTo>
                  <a:pt x="11375" y="3937"/>
                  <a:pt x="11313" y="3906"/>
                  <a:pt x="11281" y="3843"/>
                </a:cubicBezTo>
                <a:cubicBezTo>
                  <a:pt x="11156" y="3656"/>
                  <a:pt x="11000" y="3531"/>
                  <a:pt x="10844" y="3406"/>
                </a:cubicBezTo>
                <a:cubicBezTo>
                  <a:pt x="10844" y="3375"/>
                  <a:pt x="10813" y="3343"/>
                  <a:pt x="10781" y="3343"/>
                </a:cubicBezTo>
                <a:cubicBezTo>
                  <a:pt x="10719" y="3343"/>
                  <a:pt x="10750" y="3406"/>
                  <a:pt x="10750" y="3437"/>
                </a:cubicBezTo>
                <a:cubicBezTo>
                  <a:pt x="10781" y="3468"/>
                  <a:pt x="10781" y="3531"/>
                  <a:pt x="10719" y="3562"/>
                </a:cubicBezTo>
                <a:cubicBezTo>
                  <a:pt x="10656" y="3593"/>
                  <a:pt x="10594" y="3531"/>
                  <a:pt x="10594" y="3500"/>
                </a:cubicBezTo>
                <a:cubicBezTo>
                  <a:pt x="10656" y="3281"/>
                  <a:pt x="10469" y="3218"/>
                  <a:pt x="10406" y="3000"/>
                </a:cubicBezTo>
                <a:close/>
                <a:moveTo>
                  <a:pt x="9125" y="3156"/>
                </a:moveTo>
                <a:cubicBezTo>
                  <a:pt x="9063" y="3156"/>
                  <a:pt x="9094" y="3250"/>
                  <a:pt x="9125" y="3281"/>
                </a:cubicBezTo>
                <a:cubicBezTo>
                  <a:pt x="9188" y="3468"/>
                  <a:pt x="9313" y="3625"/>
                  <a:pt x="9406" y="3781"/>
                </a:cubicBezTo>
                <a:cubicBezTo>
                  <a:pt x="9438" y="3812"/>
                  <a:pt x="9438" y="3812"/>
                  <a:pt x="9438" y="3843"/>
                </a:cubicBezTo>
                <a:cubicBezTo>
                  <a:pt x="9469" y="3812"/>
                  <a:pt x="9469" y="3781"/>
                  <a:pt x="9469" y="3781"/>
                </a:cubicBezTo>
                <a:cubicBezTo>
                  <a:pt x="9375" y="3593"/>
                  <a:pt x="9313" y="3406"/>
                  <a:pt x="9219" y="3218"/>
                </a:cubicBezTo>
                <a:cubicBezTo>
                  <a:pt x="9219" y="3187"/>
                  <a:pt x="9219" y="3125"/>
                  <a:pt x="9125" y="3156"/>
                </a:cubicBezTo>
                <a:close/>
                <a:moveTo>
                  <a:pt x="10469" y="4093"/>
                </a:moveTo>
                <a:cubicBezTo>
                  <a:pt x="10406" y="4000"/>
                  <a:pt x="10344" y="3906"/>
                  <a:pt x="10250" y="3875"/>
                </a:cubicBezTo>
                <a:cubicBezTo>
                  <a:pt x="10188" y="3875"/>
                  <a:pt x="10219" y="3937"/>
                  <a:pt x="10219" y="3968"/>
                </a:cubicBezTo>
                <a:cubicBezTo>
                  <a:pt x="10188" y="3968"/>
                  <a:pt x="10188" y="3968"/>
                  <a:pt x="10188" y="4000"/>
                </a:cubicBezTo>
                <a:cubicBezTo>
                  <a:pt x="10156" y="4125"/>
                  <a:pt x="10281" y="4156"/>
                  <a:pt x="10344" y="4218"/>
                </a:cubicBezTo>
                <a:lnTo>
                  <a:pt x="10344" y="4218"/>
                </a:lnTo>
                <a:cubicBezTo>
                  <a:pt x="10375" y="4281"/>
                  <a:pt x="10438" y="4343"/>
                  <a:pt x="10469" y="4437"/>
                </a:cubicBezTo>
                <a:cubicBezTo>
                  <a:pt x="10313" y="4281"/>
                  <a:pt x="10156" y="4156"/>
                  <a:pt x="9938" y="4000"/>
                </a:cubicBezTo>
                <a:cubicBezTo>
                  <a:pt x="10031" y="4000"/>
                  <a:pt x="10094" y="4000"/>
                  <a:pt x="10188" y="4000"/>
                </a:cubicBezTo>
                <a:cubicBezTo>
                  <a:pt x="10219" y="4000"/>
                  <a:pt x="10219" y="3968"/>
                  <a:pt x="10219" y="3968"/>
                </a:cubicBezTo>
                <a:cubicBezTo>
                  <a:pt x="10250" y="3968"/>
                  <a:pt x="10250" y="4000"/>
                  <a:pt x="10281" y="4000"/>
                </a:cubicBezTo>
                <a:cubicBezTo>
                  <a:pt x="10344" y="4031"/>
                  <a:pt x="10375" y="4125"/>
                  <a:pt x="10469" y="4093"/>
                </a:cubicBezTo>
                <a:close/>
                <a:moveTo>
                  <a:pt x="11000" y="5968"/>
                </a:moveTo>
                <a:cubicBezTo>
                  <a:pt x="11094" y="6000"/>
                  <a:pt x="11156" y="6062"/>
                  <a:pt x="11250" y="6031"/>
                </a:cubicBezTo>
                <a:cubicBezTo>
                  <a:pt x="11125" y="5968"/>
                  <a:pt x="11125" y="5968"/>
                  <a:pt x="11000" y="5968"/>
                </a:cubicBezTo>
                <a:close/>
                <a:moveTo>
                  <a:pt x="10563" y="4343"/>
                </a:moveTo>
                <a:cubicBezTo>
                  <a:pt x="10656" y="4500"/>
                  <a:pt x="10750" y="4625"/>
                  <a:pt x="10938" y="4687"/>
                </a:cubicBezTo>
                <a:cubicBezTo>
                  <a:pt x="10875" y="4531"/>
                  <a:pt x="10719" y="4437"/>
                  <a:pt x="10563" y="4343"/>
                </a:cubicBezTo>
                <a:close/>
                <a:moveTo>
                  <a:pt x="10313" y="5062"/>
                </a:moveTo>
                <a:cubicBezTo>
                  <a:pt x="10313" y="5062"/>
                  <a:pt x="10313" y="5062"/>
                  <a:pt x="10344" y="5062"/>
                </a:cubicBezTo>
                <a:cubicBezTo>
                  <a:pt x="10313" y="5062"/>
                  <a:pt x="10313" y="5031"/>
                  <a:pt x="10313" y="5031"/>
                </a:cubicBezTo>
                <a:cubicBezTo>
                  <a:pt x="10313" y="5031"/>
                  <a:pt x="10313" y="5062"/>
                  <a:pt x="10313" y="5062"/>
                </a:cubicBezTo>
                <a:cubicBezTo>
                  <a:pt x="10313" y="5062"/>
                  <a:pt x="10313" y="5062"/>
                  <a:pt x="10313" y="5062"/>
                </a:cubicBezTo>
                <a:close/>
                <a:moveTo>
                  <a:pt x="10125" y="4843"/>
                </a:move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75"/>
                  <a:pt x="10156" y="4875"/>
                </a:cubicBezTo>
                <a:cubicBezTo>
                  <a:pt x="10125" y="4968"/>
                  <a:pt x="10156" y="5031"/>
                  <a:pt x="10281" y="5000"/>
                </a:cubicBezTo>
                <a:lnTo>
                  <a:pt x="10281" y="5000"/>
                </a:lnTo>
                <a:cubicBezTo>
                  <a:pt x="10250" y="4906"/>
                  <a:pt x="10219" y="4875"/>
                  <a:pt x="10156" y="4875"/>
                </a:cubicBezTo>
                <a:cubicBezTo>
                  <a:pt x="10156" y="4843"/>
                  <a:pt x="10156" y="4843"/>
                  <a:pt x="10156" y="4843"/>
                </a:cubicBezTo>
                <a:cubicBezTo>
                  <a:pt x="10156" y="4843"/>
                  <a:pt x="10156" y="4843"/>
                  <a:pt x="10125" y="4843"/>
                </a:cubicBezTo>
                <a:cubicBezTo>
                  <a:pt x="10031" y="4718"/>
                  <a:pt x="9875" y="4625"/>
                  <a:pt x="9719" y="4531"/>
                </a:cubicBezTo>
                <a:lnTo>
                  <a:pt x="9719" y="4531"/>
                </a:lnTo>
                <a:cubicBezTo>
                  <a:pt x="9844" y="4812"/>
                  <a:pt x="9938" y="4875"/>
                  <a:pt x="10125" y="4843"/>
                </a:cubicBezTo>
                <a:close/>
                <a:moveTo>
                  <a:pt x="10281" y="2312"/>
                </a:moveTo>
                <a:cubicBezTo>
                  <a:pt x="10250" y="2031"/>
                  <a:pt x="10250" y="2031"/>
                  <a:pt x="10188" y="1968"/>
                </a:cubicBezTo>
                <a:cubicBezTo>
                  <a:pt x="10219" y="2093"/>
                  <a:pt x="10094" y="2218"/>
                  <a:pt x="10281" y="2312"/>
                </a:cubicBezTo>
                <a:close/>
                <a:moveTo>
                  <a:pt x="10719" y="12531"/>
                </a:moveTo>
                <a:cubicBezTo>
                  <a:pt x="10719" y="12531"/>
                  <a:pt x="10719" y="12531"/>
                  <a:pt x="10719" y="12562"/>
                </a:cubicBezTo>
                <a:cubicBezTo>
                  <a:pt x="10719" y="12625"/>
                  <a:pt x="10781" y="12656"/>
                  <a:pt x="10844" y="12656"/>
                </a:cubicBezTo>
                <a:cubicBezTo>
                  <a:pt x="11063" y="12687"/>
                  <a:pt x="11281" y="12718"/>
                  <a:pt x="11469" y="12750"/>
                </a:cubicBezTo>
                <a:cubicBezTo>
                  <a:pt x="11500" y="12812"/>
                  <a:pt x="11531" y="12812"/>
                  <a:pt x="11594" y="12781"/>
                </a:cubicBezTo>
                <a:cubicBezTo>
                  <a:pt x="11969" y="12875"/>
                  <a:pt x="12344" y="12937"/>
                  <a:pt x="12719" y="13000"/>
                </a:cubicBezTo>
                <a:cubicBezTo>
                  <a:pt x="13375" y="13093"/>
                  <a:pt x="14063" y="13156"/>
                  <a:pt x="14719" y="13187"/>
                </a:cubicBezTo>
                <a:cubicBezTo>
                  <a:pt x="14750" y="13250"/>
                  <a:pt x="14750" y="13281"/>
                  <a:pt x="14688" y="13281"/>
                </a:cubicBezTo>
                <a:cubicBezTo>
                  <a:pt x="14688" y="13281"/>
                  <a:pt x="14688" y="13281"/>
                  <a:pt x="14656" y="13281"/>
                </a:cubicBezTo>
                <a:cubicBezTo>
                  <a:pt x="14656" y="13281"/>
                  <a:pt x="14656" y="13281"/>
                  <a:pt x="14656" y="13281"/>
                </a:cubicBezTo>
                <a:lnTo>
                  <a:pt x="14656" y="13281"/>
                </a:lnTo>
                <a:cubicBezTo>
                  <a:pt x="14656" y="13281"/>
                  <a:pt x="14656" y="13281"/>
                  <a:pt x="14688" y="13281"/>
                </a:cubicBezTo>
                <a:cubicBezTo>
                  <a:pt x="15031" y="13312"/>
                  <a:pt x="15344" y="13406"/>
                  <a:pt x="15656" y="13312"/>
                </a:cubicBezTo>
                <a:cubicBezTo>
                  <a:pt x="15469" y="13312"/>
                  <a:pt x="15250" y="13312"/>
                  <a:pt x="15031" y="13312"/>
                </a:cubicBezTo>
                <a:cubicBezTo>
                  <a:pt x="15094" y="13218"/>
                  <a:pt x="15156" y="13218"/>
                  <a:pt x="15219" y="13218"/>
                </a:cubicBezTo>
                <a:cubicBezTo>
                  <a:pt x="15375" y="13218"/>
                  <a:pt x="15531" y="13250"/>
                  <a:pt x="15719" y="13187"/>
                </a:cubicBezTo>
                <a:cubicBezTo>
                  <a:pt x="15781" y="13187"/>
                  <a:pt x="15844" y="13187"/>
                  <a:pt x="15906" y="13218"/>
                </a:cubicBezTo>
                <a:cubicBezTo>
                  <a:pt x="15938" y="13250"/>
                  <a:pt x="16000" y="13250"/>
                  <a:pt x="16031" y="13218"/>
                </a:cubicBezTo>
                <a:cubicBezTo>
                  <a:pt x="16375" y="13187"/>
                  <a:pt x="16688" y="13187"/>
                  <a:pt x="17031" y="13125"/>
                </a:cubicBezTo>
                <a:cubicBezTo>
                  <a:pt x="17281" y="13093"/>
                  <a:pt x="17563" y="13093"/>
                  <a:pt x="17844" y="13062"/>
                </a:cubicBezTo>
                <a:cubicBezTo>
                  <a:pt x="18313" y="13000"/>
                  <a:pt x="18781" y="12906"/>
                  <a:pt x="19281" y="12843"/>
                </a:cubicBezTo>
                <a:cubicBezTo>
                  <a:pt x="19313" y="12843"/>
                  <a:pt x="19375" y="12812"/>
                  <a:pt x="19438" y="12812"/>
                </a:cubicBezTo>
                <a:cubicBezTo>
                  <a:pt x="19438" y="12812"/>
                  <a:pt x="19469" y="12812"/>
                  <a:pt x="19500" y="12812"/>
                </a:cubicBezTo>
                <a:cubicBezTo>
                  <a:pt x="19563" y="12812"/>
                  <a:pt x="19625" y="12843"/>
                  <a:pt x="19656" y="12718"/>
                </a:cubicBezTo>
                <a:cubicBezTo>
                  <a:pt x="19656" y="12718"/>
                  <a:pt x="19688" y="12687"/>
                  <a:pt x="19688" y="12687"/>
                </a:cubicBezTo>
                <a:cubicBezTo>
                  <a:pt x="19781" y="12625"/>
                  <a:pt x="19938" y="12687"/>
                  <a:pt x="20000" y="12531"/>
                </a:cubicBezTo>
                <a:cubicBezTo>
                  <a:pt x="19875" y="12593"/>
                  <a:pt x="19750" y="12593"/>
                  <a:pt x="19656" y="12656"/>
                </a:cubicBezTo>
                <a:cubicBezTo>
                  <a:pt x="19375" y="12656"/>
                  <a:pt x="19063" y="12750"/>
                  <a:pt x="18781" y="12812"/>
                </a:cubicBezTo>
                <a:lnTo>
                  <a:pt x="18781" y="12812"/>
                </a:lnTo>
                <a:cubicBezTo>
                  <a:pt x="18375" y="12843"/>
                  <a:pt x="17969" y="12968"/>
                  <a:pt x="17563" y="12968"/>
                </a:cubicBezTo>
                <a:cubicBezTo>
                  <a:pt x="17250" y="12968"/>
                  <a:pt x="16938" y="13031"/>
                  <a:pt x="16625" y="13031"/>
                </a:cubicBezTo>
                <a:cubicBezTo>
                  <a:pt x="16125" y="13031"/>
                  <a:pt x="15625" y="13093"/>
                  <a:pt x="15125" y="13093"/>
                </a:cubicBezTo>
                <a:cubicBezTo>
                  <a:pt x="14500" y="13062"/>
                  <a:pt x="13844" y="13031"/>
                  <a:pt x="13219" y="12937"/>
                </a:cubicBezTo>
                <a:cubicBezTo>
                  <a:pt x="12750" y="12843"/>
                  <a:pt x="12281" y="12875"/>
                  <a:pt x="11844" y="12718"/>
                </a:cubicBezTo>
                <a:cubicBezTo>
                  <a:pt x="11844" y="12593"/>
                  <a:pt x="11750" y="12562"/>
                  <a:pt x="11656" y="12562"/>
                </a:cubicBezTo>
                <a:cubicBezTo>
                  <a:pt x="11625" y="12562"/>
                  <a:pt x="11594" y="12593"/>
                  <a:pt x="11594" y="12593"/>
                </a:cubicBezTo>
                <a:cubicBezTo>
                  <a:pt x="11563" y="12531"/>
                  <a:pt x="11500" y="12562"/>
                  <a:pt x="11438" y="12531"/>
                </a:cubicBezTo>
                <a:cubicBezTo>
                  <a:pt x="11438" y="12531"/>
                  <a:pt x="11406" y="12531"/>
                  <a:pt x="11406" y="12500"/>
                </a:cubicBezTo>
                <a:cubicBezTo>
                  <a:pt x="11344" y="12437"/>
                  <a:pt x="11250" y="12437"/>
                  <a:pt x="11156" y="12437"/>
                </a:cubicBezTo>
                <a:lnTo>
                  <a:pt x="11156" y="12437"/>
                </a:lnTo>
                <a:cubicBezTo>
                  <a:pt x="11031" y="12375"/>
                  <a:pt x="10500" y="12281"/>
                  <a:pt x="10469" y="12312"/>
                </a:cubicBezTo>
                <a:cubicBezTo>
                  <a:pt x="10656" y="12468"/>
                  <a:pt x="10906" y="12375"/>
                  <a:pt x="11125" y="12500"/>
                </a:cubicBezTo>
                <a:cubicBezTo>
                  <a:pt x="11219" y="12562"/>
                  <a:pt x="11313" y="12531"/>
                  <a:pt x="11406" y="12531"/>
                </a:cubicBezTo>
                <a:cubicBezTo>
                  <a:pt x="11406" y="12531"/>
                  <a:pt x="11438" y="12531"/>
                  <a:pt x="11438" y="12531"/>
                </a:cubicBezTo>
                <a:cubicBezTo>
                  <a:pt x="11500" y="12562"/>
                  <a:pt x="11531" y="12593"/>
                  <a:pt x="11594" y="12593"/>
                </a:cubicBezTo>
                <a:cubicBezTo>
                  <a:pt x="11594" y="12593"/>
                  <a:pt x="11594" y="12593"/>
                  <a:pt x="11594" y="12625"/>
                </a:cubicBezTo>
                <a:cubicBezTo>
                  <a:pt x="11594" y="12718"/>
                  <a:pt x="11469" y="12687"/>
                  <a:pt x="11375" y="12687"/>
                </a:cubicBezTo>
                <a:cubicBezTo>
                  <a:pt x="11344" y="12687"/>
                  <a:pt x="11313" y="12687"/>
                  <a:pt x="11281" y="12656"/>
                </a:cubicBezTo>
                <a:cubicBezTo>
                  <a:pt x="11094" y="12625"/>
                  <a:pt x="10906" y="12593"/>
                  <a:pt x="10719" y="12562"/>
                </a:cubicBezTo>
                <a:cubicBezTo>
                  <a:pt x="10719" y="12531"/>
                  <a:pt x="10719" y="12531"/>
                  <a:pt x="10719" y="12531"/>
                </a:cubicBezTo>
                <a:cubicBezTo>
                  <a:pt x="10719" y="12531"/>
                  <a:pt x="10719" y="12531"/>
                  <a:pt x="10688" y="12531"/>
                </a:cubicBezTo>
                <a:lnTo>
                  <a:pt x="10688" y="12531"/>
                </a:lnTo>
                <a:cubicBezTo>
                  <a:pt x="10719" y="12531"/>
                  <a:pt x="10719" y="12531"/>
                  <a:pt x="10719" y="12531"/>
                </a:cubicBezTo>
                <a:close/>
                <a:moveTo>
                  <a:pt x="14063" y="13437"/>
                </a:moveTo>
                <a:cubicBezTo>
                  <a:pt x="14188" y="13468"/>
                  <a:pt x="14344" y="13531"/>
                  <a:pt x="14531" y="13500"/>
                </a:cubicBezTo>
                <a:cubicBezTo>
                  <a:pt x="14344" y="13406"/>
                  <a:pt x="14188" y="13437"/>
                  <a:pt x="14063" y="13437"/>
                </a:cubicBezTo>
                <a:cubicBezTo>
                  <a:pt x="14031" y="13437"/>
                  <a:pt x="14000" y="13437"/>
                  <a:pt x="13938" y="13437"/>
                </a:cubicBezTo>
                <a:lnTo>
                  <a:pt x="13938" y="13437"/>
                </a:lnTo>
                <a:cubicBezTo>
                  <a:pt x="13969" y="13437"/>
                  <a:pt x="14031" y="13437"/>
                  <a:pt x="14063" y="13437"/>
                </a:cubicBezTo>
                <a:close/>
                <a:moveTo>
                  <a:pt x="11438" y="3250"/>
                </a:moveTo>
                <a:cubicBezTo>
                  <a:pt x="11563" y="3343"/>
                  <a:pt x="11688" y="3375"/>
                  <a:pt x="11844" y="3468"/>
                </a:cubicBezTo>
                <a:cubicBezTo>
                  <a:pt x="11719" y="3375"/>
                  <a:pt x="11625" y="3250"/>
                  <a:pt x="11500" y="3125"/>
                </a:cubicBezTo>
                <a:cubicBezTo>
                  <a:pt x="11469" y="3093"/>
                  <a:pt x="11438" y="3062"/>
                  <a:pt x="11406" y="3125"/>
                </a:cubicBezTo>
                <a:cubicBezTo>
                  <a:pt x="11375" y="3156"/>
                  <a:pt x="11375" y="3187"/>
                  <a:pt x="11438" y="3250"/>
                </a:cubicBezTo>
                <a:close/>
                <a:moveTo>
                  <a:pt x="2125" y="3343"/>
                </a:moveTo>
                <a:cubicBezTo>
                  <a:pt x="2125" y="3406"/>
                  <a:pt x="2000" y="3437"/>
                  <a:pt x="2094" y="3500"/>
                </a:cubicBezTo>
                <a:cubicBezTo>
                  <a:pt x="2250" y="3343"/>
                  <a:pt x="2094" y="3156"/>
                  <a:pt x="2188" y="2968"/>
                </a:cubicBezTo>
                <a:cubicBezTo>
                  <a:pt x="2188" y="2937"/>
                  <a:pt x="2125" y="2875"/>
                  <a:pt x="2094" y="2875"/>
                </a:cubicBezTo>
                <a:cubicBezTo>
                  <a:pt x="1938" y="2968"/>
                  <a:pt x="1969" y="2812"/>
                  <a:pt x="1906" y="2750"/>
                </a:cubicBezTo>
                <a:cubicBezTo>
                  <a:pt x="1938" y="2812"/>
                  <a:pt x="1938" y="2843"/>
                  <a:pt x="1906" y="2906"/>
                </a:cubicBezTo>
                <a:cubicBezTo>
                  <a:pt x="1875" y="2906"/>
                  <a:pt x="1844" y="2937"/>
                  <a:pt x="1875" y="2937"/>
                </a:cubicBezTo>
                <a:cubicBezTo>
                  <a:pt x="2063" y="3031"/>
                  <a:pt x="1938" y="3062"/>
                  <a:pt x="1875" y="3156"/>
                </a:cubicBezTo>
                <a:cubicBezTo>
                  <a:pt x="1813" y="3218"/>
                  <a:pt x="1688" y="3281"/>
                  <a:pt x="1688" y="3437"/>
                </a:cubicBezTo>
                <a:cubicBezTo>
                  <a:pt x="1750" y="3375"/>
                  <a:pt x="1813" y="3312"/>
                  <a:pt x="1844" y="3343"/>
                </a:cubicBezTo>
                <a:cubicBezTo>
                  <a:pt x="1969" y="3375"/>
                  <a:pt x="1781" y="3468"/>
                  <a:pt x="1875" y="3531"/>
                </a:cubicBezTo>
                <a:cubicBezTo>
                  <a:pt x="1969" y="3500"/>
                  <a:pt x="1938" y="3343"/>
                  <a:pt x="2063" y="3343"/>
                </a:cubicBezTo>
                <a:cubicBezTo>
                  <a:pt x="2063" y="3343"/>
                  <a:pt x="2094" y="3343"/>
                  <a:pt x="2125" y="3343"/>
                </a:cubicBezTo>
                <a:close/>
                <a:moveTo>
                  <a:pt x="2531" y="3406"/>
                </a:moveTo>
                <a:cubicBezTo>
                  <a:pt x="2563" y="3281"/>
                  <a:pt x="2594" y="3187"/>
                  <a:pt x="2688" y="3093"/>
                </a:cubicBezTo>
                <a:cubicBezTo>
                  <a:pt x="2688" y="3062"/>
                  <a:pt x="2688" y="3031"/>
                  <a:pt x="2656" y="3031"/>
                </a:cubicBezTo>
                <a:cubicBezTo>
                  <a:pt x="2625" y="3000"/>
                  <a:pt x="2594" y="3000"/>
                  <a:pt x="2563" y="3031"/>
                </a:cubicBezTo>
                <a:cubicBezTo>
                  <a:pt x="2531" y="3125"/>
                  <a:pt x="2469" y="3187"/>
                  <a:pt x="2438" y="3250"/>
                </a:cubicBezTo>
                <a:cubicBezTo>
                  <a:pt x="2406" y="3281"/>
                  <a:pt x="2438" y="3343"/>
                  <a:pt x="2469" y="3406"/>
                </a:cubicBezTo>
                <a:cubicBezTo>
                  <a:pt x="2469" y="3437"/>
                  <a:pt x="2500" y="3406"/>
                  <a:pt x="2531" y="3406"/>
                </a:cubicBezTo>
                <a:close/>
                <a:moveTo>
                  <a:pt x="3969" y="9000"/>
                </a:moveTo>
                <a:cubicBezTo>
                  <a:pt x="3938" y="9000"/>
                  <a:pt x="3938" y="9000"/>
                  <a:pt x="3906" y="9031"/>
                </a:cubicBezTo>
                <a:cubicBezTo>
                  <a:pt x="4000" y="9218"/>
                  <a:pt x="4219" y="9375"/>
                  <a:pt x="4344" y="9531"/>
                </a:cubicBezTo>
                <a:cubicBezTo>
                  <a:pt x="4344" y="9562"/>
                  <a:pt x="4375" y="9625"/>
                  <a:pt x="4438" y="9593"/>
                </a:cubicBezTo>
                <a:cubicBezTo>
                  <a:pt x="4469" y="9562"/>
                  <a:pt x="4438" y="9500"/>
                  <a:pt x="4406" y="9468"/>
                </a:cubicBezTo>
                <a:cubicBezTo>
                  <a:pt x="4250" y="9312"/>
                  <a:pt x="4125" y="9156"/>
                  <a:pt x="3969" y="9000"/>
                </a:cubicBezTo>
                <a:close/>
                <a:moveTo>
                  <a:pt x="2250" y="3750"/>
                </a:moveTo>
                <a:cubicBezTo>
                  <a:pt x="2219" y="3718"/>
                  <a:pt x="2250" y="3937"/>
                  <a:pt x="2125" y="3781"/>
                </a:cubicBezTo>
                <a:cubicBezTo>
                  <a:pt x="2125" y="3781"/>
                  <a:pt x="2063" y="3781"/>
                  <a:pt x="2063" y="3843"/>
                </a:cubicBezTo>
                <a:cubicBezTo>
                  <a:pt x="2031" y="3906"/>
                  <a:pt x="2031" y="4000"/>
                  <a:pt x="2094" y="4093"/>
                </a:cubicBezTo>
                <a:cubicBezTo>
                  <a:pt x="2188" y="4218"/>
                  <a:pt x="2219" y="4406"/>
                  <a:pt x="2281" y="4562"/>
                </a:cubicBezTo>
                <a:cubicBezTo>
                  <a:pt x="2281" y="4625"/>
                  <a:pt x="2313" y="4687"/>
                  <a:pt x="2406" y="4687"/>
                </a:cubicBezTo>
                <a:cubicBezTo>
                  <a:pt x="2250" y="4375"/>
                  <a:pt x="2438" y="4031"/>
                  <a:pt x="2250" y="3750"/>
                </a:cubicBezTo>
                <a:close/>
                <a:moveTo>
                  <a:pt x="3031" y="7531"/>
                </a:moveTo>
                <a:cubicBezTo>
                  <a:pt x="3031" y="7625"/>
                  <a:pt x="3125" y="7687"/>
                  <a:pt x="3156" y="7781"/>
                </a:cubicBezTo>
                <a:cubicBezTo>
                  <a:pt x="3156" y="7625"/>
                  <a:pt x="3156" y="7593"/>
                  <a:pt x="3031" y="7531"/>
                </a:cubicBezTo>
                <a:close/>
                <a:moveTo>
                  <a:pt x="7719" y="11968"/>
                </a:moveTo>
                <a:cubicBezTo>
                  <a:pt x="7688" y="11968"/>
                  <a:pt x="7656" y="12000"/>
                  <a:pt x="7688" y="12031"/>
                </a:cubicBezTo>
                <a:cubicBezTo>
                  <a:pt x="7781" y="12156"/>
                  <a:pt x="8125" y="12281"/>
                  <a:pt x="8250" y="12250"/>
                </a:cubicBezTo>
                <a:cubicBezTo>
                  <a:pt x="8094" y="12187"/>
                  <a:pt x="7969" y="12125"/>
                  <a:pt x="7844" y="12000"/>
                </a:cubicBezTo>
                <a:cubicBezTo>
                  <a:pt x="7813" y="12000"/>
                  <a:pt x="7750" y="11968"/>
                  <a:pt x="7719" y="11968"/>
                </a:cubicBezTo>
                <a:close/>
                <a:moveTo>
                  <a:pt x="19406" y="4250"/>
                </a:moveTo>
                <a:cubicBezTo>
                  <a:pt x="19594" y="4156"/>
                  <a:pt x="19750" y="4031"/>
                  <a:pt x="19875" y="3875"/>
                </a:cubicBezTo>
                <a:cubicBezTo>
                  <a:pt x="19688" y="3968"/>
                  <a:pt x="19531" y="4093"/>
                  <a:pt x="19406" y="4250"/>
                </a:cubicBezTo>
                <a:close/>
                <a:moveTo>
                  <a:pt x="14344" y="5343"/>
                </a:moveTo>
                <a:cubicBezTo>
                  <a:pt x="14313" y="5343"/>
                  <a:pt x="14313" y="5343"/>
                  <a:pt x="14281" y="5343"/>
                </a:cubicBezTo>
                <a:cubicBezTo>
                  <a:pt x="14281" y="5312"/>
                  <a:pt x="14250" y="5343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19" y="5375"/>
                  <a:pt x="14219" y="5375"/>
                  <a:pt x="14219" y="5375"/>
                </a:cubicBezTo>
                <a:cubicBezTo>
                  <a:pt x="14250" y="5343"/>
                  <a:pt x="14313" y="5343"/>
                  <a:pt x="14344" y="5343"/>
                </a:cubicBezTo>
                <a:cubicBezTo>
                  <a:pt x="14375" y="5343"/>
                  <a:pt x="14406" y="5375"/>
                  <a:pt x="14438" y="5375"/>
                </a:cubicBezTo>
                <a:cubicBezTo>
                  <a:pt x="14688" y="5406"/>
                  <a:pt x="14906" y="5312"/>
                  <a:pt x="15125" y="5343"/>
                </a:cubicBezTo>
                <a:cubicBezTo>
                  <a:pt x="15188" y="5343"/>
                  <a:pt x="15250" y="5343"/>
                  <a:pt x="15313" y="5343"/>
                </a:cubicBezTo>
                <a:cubicBezTo>
                  <a:pt x="15406" y="5312"/>
                  <a:pt x="15500" y="5343"/>
                  <a:pt x="15594" y="5312"/>
                </a:cubicBezTo>
                <a:cubicBezTo>
                  <a:pt x="15719" y="5250"/>
                  <a:pt x="15844" y="5312"/>
                  <a:pt x="15938" y="5281"/>
                </a:cubicBezTo>
                <a:cubicBezTo>
                  <a:pt x="15938" y="5187"/>
                  <a:pt x="15969" y="5187"/>
                  <a:pt x="16031" y="5187"/>
                </a:cubicBezTo>
                <a:cubicBezTo>
                  <a:pt x="16313" y="5156"/>
                  <a:pt x="16563" y="5156"/>
                  <a:pt x="16813" y="5093"/>
                </a:cubicBezTo>
                <a:cubicBezTo>
                  <a:pt x="16844" y="5093"/>
                  <a:pt x="16875" y="5125"/>
                  <a:pt x="16938" y="5125"/>
                </a:cubicBezTo>
                <a:cubicBezTo>
                  <a:pt x="16719" y="5187"/>
                  <a:pt x="16500" y="5250"/>
                  <a:pt x="16281" y="5281"/>
                </a:cubicBezTo>
                <a:cubicBezTo>
                  <a:pt x="16156" y="5281"/>
                  <a:pt x="16094" y="5406"/>
                  <a:pt x="15938" y="5375"/>
                </a:cubicBezTo>
                <a:cubicBezTo>
                  <a:pt x="15844" y="5406"/>
                  <a:pt x="15750" y="5406"/>
                  <a:pt x="15625" y="5406"/>
                </a:cubicBezTo>
                <a:cubicBezTo>
                  <a:pt x="15500" y="5468"/>
                  <a:pt x="15375" y="5437"/>
                  <a:pt x="15219" y="5406"/>
                </a:cubicBezTo>
                <a:cubicBezTo>
                  <a:pt x="15219" y="5406"/>
                  <a:pt x="15188" y="5406"/>
                  <a:pt x="15156" y="5406"/>
                </a:cubicBezTo>
                <a:lnTo>
                  <a:pt x="15156" y="5406"/>
                </a:lnTo>
                <a:cubicBezTo>
                  <a:pt x="14938" y="5500"/>
                  <a:pt x="14688" y="5437"/>
                  <a:pt x="14469" y="5375"/>
                </a:cubicBezTo>
                <a:cubicBezTo>
                  <a:pt x="14469" y="5375"/>
                  <a:pt x="14438" y="5375"/>
                  <a:pt x="14438" y="5375"/>
                </a:cubicBezTo>
                <a:cubicBezTo>
                  <a:pt x="14406" y="5375"/>
                  <a:pt x="14375" y="5375"/>
                  <a:pt x="14344" y="5343"/>
                </a:cubicBezTo>
                <a:close/>
                <a:moveTo>
                  <a:pt x="13000" y="8875"/>
                </a:moveTo>
                <a:cubicBezTo>
                  <a:pt x="13094" y="9000"/>
                  <a:pt x="13219" y="9000"/>
                  <a:pt x="13344" y="8968"/>
                </a:cubicBezTo>
                <a:cubicBezTo>
                  <a:pt x="13250" y="8843"/>
                  <a:pt x="13125" y="8875"/>
                  <a:pt x="13000" y="8875"/>
                </a:cubicBezTo>
                <a:close/>
                <a:moveTo>
                  <a:pt x="17156" y="5062"/>
                </a:moveTo>
                <a:cubicBezTo>
                  <a:pt x="17281" y="5062"/>
                  <a:pt x="17375" y="5031"/>
                  <a:pt x="17469" y="5000"/>
                </a:cubicBezTo>
                <a:cubicBezTo>
                  <a:pt x="17781" y="4968"/>
                  <a:pt x="18063" y="4812"/>
                  <a:pt x="18313" y="4656"/>
                </a:cubicBezTo>
                <a:cubicBezTo>
                  <a:pt x="18375" y="4656"/>
                  <a:pt x="18438" y="4593"/>
                  <a:pt x="18406" y="4562"/>
                </a:cubicBezTo>
                <a:cubicBezTo>
                  <a:pt x="18375" y="4500"/>
                  <a:pt x="18313" y="4531"/>
                  <a:pt x="18250" y="4562"/>
                </a:cubicBezTo>
                <a:cubicBezTo>
                  <a:pt x="18031" y="4718"/>
                  <a:pt x="17750" y="4781"/>
                  <a:pt x="17500" y="4875"/>
                </a:cubicBezTo>
                <a:cubicBezTo>
                  <a:pt x="17375" y="4937"/>
                  <a:pt x="17219" y="4937"/>
                  <a:pt x="17156" y="5062"/>
                </a:cubicBezTo>
                <a:close/>
                <a:moveTo>
                  <a:pt x="17781" y="8906"/>
                </a:moveTo>
                <a:cubicBezTo>
                  <a:pt x="17781" y="8875"/>
                  <a:pt x="17781" y="8875"/>
                  <a:pt x="17781" y="8875"/>
                </a:cubicBezTo>
                <a:cubicBezTo>
                  <a:pt x="17750" y="8875"/>
                  <a:pt x="17750" y="8875"/>
                  <a:pt x="17719" y="8875"/>
                </a:cubicBezTo>
                <a:cubicBezTo>
                  <a:pt x="17719" y="8875"/>
                  <a:pt x="17719" y="8875"/>
                  <a:pt x="17719" y="8875"/>
                </a:cubicBezTo>
                <a:cubicBezTo>
                  <a:pt x="17750" y="8875"/>
                  <a:pt x="17750" y="8906"/>
                  <a:pt x="17781" y="8906"/>
                </a:cubicBezTo>
                <a:close/>
                <a:moveTo>
                  <a:pt x="14688" y="4062"/>
                </a:moveTo>
                <a:cubicBezTo>
                  <a:pt x="14813" y="4093"/>
                  <a:pt x="14906" y="4125"/>
                  <a:pt x="15031" y="4125"/>
                </a:cubicBezTo>
                <a:cubicBezTo>
                  <a:pt x="14938" y="4093"/>
                  <a:pt x="14813" y="4031"/>
                  <a:pt x="14688" y="4062"/>
                </a:cubicBezTo>
                <a:close/>
                <a:moveTo>
                  <a:pt x="15750" y="4812"/>
                </a:moveTo>
                <a:cubicBezTo>
                  <a:pt x="15844" y="4812"/>
                  <a:pt x="15844" y="4812"/>
                  <a:pt x="15844" y="4906"/>
                </a:cubicBezTo>
                <a:cubicBezTo>
                  <a:pt x="15844" y="4906"/>
                  <a:pt x="15875" y="4906"/>
                  <a:pt x="15875" y="4906"/>
                </a:cubicBezTo>
                <a:cubicBezTo>
                  <a:pt x="16313" y="4875"/>
                  <a:pt x="16750" y="4781"/>
                  <a:pt x="17156" y="4687"/>
                </a:cubicBezTo>
                <a:cubicBezTo>
                  <a:pt x="17250" y="4656"/>
                  <a:pt x="17344" y="4625"/>
                  <a:pt x="17469" y="4656"/>
                </a:cubicBezTo>
                <a:cubicBezTo>
                  <a:pt x="17594" y="4656"/>
                  <a:pt x="17750" y="4687"/>
                  <a:pt x="17844" y="4531"/>
                </a:cubicBezTo>
                <a:cubicBezTo>
                  <a:pt x="17813" y="4531"/>
                  <a:pt x="17813" y="4531"/>
                  <a:pt x="17781" y="4531"/>
                </a:cubicBezTo>
                <a:cubicBezTo>
                  <a:pt x="17438" y="4468"/>
                  <a:pt x="17094" y="4625"/>
                  <a:pt x="16719" y="4562"/>
                </a:cubicBezTo>
                <a:cubicBezTo>
                  <a:pt x="16719" y="4562"/>
                  <a:pt x="16688" y="4593"/>
                  <a:pt x="16656" y="4593"/>
                </a:cubicBezTo>
                <a:cubicBezTo>
                  <a:pt x="16500" y="4625"/>
                  <a:pt x="16375" y="4656"/>
                  <a:pt x="16219" y="4687"/>
                </a:cubicBezTo>
                <a:cubicBezTo>
                  <a:pt x="16094" y="4687"/>
                  <a:pt x="15938" y="4687"/>
                  <a:pt x="15844" y="4718"/>
                </a:cubicBezTo>
                <a:cubicBezTo>
                  <a:pt x="15625" y="4843"/>
                  <a:pt x="15375" y="4750"/>
                  <a:pt x="15156" y="4750"/>
                </a:cubicBezTo>
                <a:cubicBezTo>
                  <a:pt x="14938" y="4781"/>
                  <a:pt x="14719" y="4750"/>
                  <a:pt x="14500" y="4750"/>
                </a:cubicBezTo>
                <a:cubicBezTo>
                  <a:pt x="14563" y="4781"/>
                  <a:pt x="14625" y="4781"/>
                  <a:pt x="14688" y="4781"/>
                </a:cubicBezTo>
                <a:cubicBezTo>
                  <a:pt x="15031" y="4812"/>
                  <a:pt x="15375" y="4843"/>
                  <a:pt x="15750" y="4812"/>
                </a:cubicBezTo>
                <a:close/>
                <a:moveTo>
                  <a:pt x="15000" y="5000"/>
                </a:moveTo>
                <a:cubicBezTo>
                  <a:pt x="15250" y="5062"/>
                  <a:pt x="15469" y="5093"/>
                  <a:pt x="15688" y="5000"/>
                </a:cubicBezTo>
                <a:cubicBezTo>
                  <a:pt x="15469" y="4937"/>
                  <a:pt x="15250" y="4968"/>
                  <a:pt x="15000" y="5000"/>
                </a:cubicBezTo>
                <a:close/>
                <a:moveTo>
                  <a:pt x="18813" y="4000"/>
                </a:moveTo>
                <a:cubicBezTo>
                  <a:pt x="18875" y="4031"/>
                  <a:pt x="18875" y="4125"/>
                  <a:pt x="18969" y="4031"/>
                </a:cubicBezTo>
                <a:cubicBezTo>
                  <a:pt x="19250" y="3843"/>
                  <a:pt x="19531" y="3625"/>
                  <a:pt x="19844" y="3500"/>
                </a:cubicBezTo>
                <a:cubicBezTo>
                  <a:pt x="19625" y="3375"/>
                  <a:pt x="19500" y="3468"/>
                  <a:pt x="19344" y="3656"/>
                </a:cubicBezTo>
                <a:cubicBezTo>
                  <a:pt x="19281" y="3750"/>
                  <a:pt x="19188" y="3812"/>
                  <a:pt x="19063" y="3843"/>
                </a:cubicBezTo>
                <a:cubicBezTo>
                  <a:pt x="19063" y="3812"/>
                  <a:pt x="19094" y="3750"/>
                  <a:pt x="19031" y="3718"/>
                </a:cubicBezTo>
                <a:cubicBezTo>
                  <a:pt x="19000" y="3718"/>
                  <a:pt x="18969" y="3750"/>
                  <a:pt x="18938" y="3781"/>
                </a:cubicBezTo>
                <a:cubicBezTo>
                  <a:pt x="18906" y="3812"/>
                  <a:pt x="18875" y="3843"/>
                  <a:pt x="18844" y="3875"/>
                </a:cubicBezTo>
                <a:cubicBezTo>
                  <a:pt x="18813" y="3906"/>
                  <a:pt x="18719" y="3968"/>
                  <a:pt x="18813" y="4000"/>
                </a:cubicBezTo>
                <a:close/>
                <a:moveTo>
                  <a:pt x="19281" y="4718"/>
                </a:moveTo>
                <a:cubicBezTo>
                  <a:pt x="19344" y="4625"/>
                  <a:pt x="19500" y="4656"/>
                  <a:pt x="19563" y="4531"/>
                </a:cubicBezTo>
                <a:cubicBezTo>
                  <a:pt x="19469" y="4625"/>
                  <a:pt x="19281" y="4531"/>
                  <a:pt x="19281" y="4718"/>
                </a:cubicBezTo>
                <a:close/>
                <a:moveTo>
                  <a:pt x="18000" y="8718"/>
                </a:moveTo>
                <a:cubicBezTo>
                  <a:pt x="18000" y="8656"/>
                  <a:pt x="17969" y="8656"/>
                  <a:pt x="17938" y="8656"/>
                </a:cubicBezTo>
                <a:cubicBezTo>
                  <a:pt x="17906" y="8656"/>
                  <a:pt x="17875" y="8656"/>
                  <a:pt x="17844" y="8687"/>
                </a:cubicBezTo>
                <a:cubicBezTo>
                  <a:pt x="17594" y="8718"/>
                  <a:pt x="17375" y="8812"/>
                  <a:pt x="17125" y="8750"/>
                </a:cubicBezTo>
                <a:cubicBezTo>
                  <a:pt x="16938" y="8656"/>
                  <a:pt x="16719" y="8656"/>
                  <a:pt x="16500" y="8656"/>
                </a:cubicBezTo>
                <a:cubicBezTo>
                  <a:pt x="16438" y="8656"/>
                  <a:pt x="16375" y="8750"/>
                  <a:pt x="16281" y="8718"/>
                </a:cubicBezTo>
                <a:cubicBezTo>
                  <a:pt x="16000" y="8656"/>
                  <a:pt x="15688" y="8687"/>
                  <a:pt x="15406" y="8656"/>
                </a:cubicBezTo>
                <a:cubicBezTo>
                  <a:pt x="15188" y="8625"/>
                  <a:pt x="15000" y="8781"/>
                  <a:pt x="14781" y="8718"/>
                </a:cubicBezTo>
                <a:cubicBezTo>
                  <a:pt x="14781" y="8718"/>
                  <a:pt x="14750" y="8718"/>
                  <a:pt x="14719" y="8687"/>
                </a:cubicBezTo>
                <a:cubicBezTo>
                  <a:pt x="14625" y="8656"/>
                  <a:pt x="14531" y="8656"/>
                  <a:pt x="14438" y="8687"/>
                </a:cubicBezTo>
                <a:cubicBezTo>
                  <a:pt x="14344" y="8687"/>
                  <a:pt x="14281" y="8687"/>
                  <a:pt x="14188" y="8687"/>
                </a:cubicBezTo>
                <a:cubicBezTo>
                  <a:pt x="13813" y="8625"/>
                  <a:pt x="13469" y="8687"/>
                  <a:pt x="13094" y="8625"/>
                </a:cubicBezTo>
                <a:cubicBezTo>
                  <a:pt x="12906" y="8656"/>
                  <a:pt x="12719" y="8500"/>
                  <a:pt x="12500" y="8625"/>
                </a:cubicBezTo>
                <a:cubicBezTo>
                  <a:pt x="12500" y="8625"/>
                  <a:pt x="12469" y="8625"/>
                  <a:pt x="12469" y="8593"/>
                </a:cubicBezTo>
                <a:cubicBezTo>
                  <a:pt x="12313" y="8406"/>
                  <a:pt x="12094" y="8531"/>
                  <a:pt x="11938" y="8500"/>
                </a:cubicBezTo>
                <a:cubicBezTo>
                  <a:pt x="11875" y="8500"/>
                  <a:pt x="11750" y="8468"/>
                  <a:pt x="11719" y="8593"/>
                </a:cubicBezTo>
                <a:cubicBezTo>
                  <a:pt x="12094" y="8718"/>
                  <a:pt x="12500" y="8718"/>
                  <a:pt x="12875" y="8843"/>
                </a:cubicBezTo>
                <a:cubicBezTo>
                  <a:pt x="12813" y="8750"/>
                  <a:pt x="12688" y="8718"/>
                  <a:pt x="12594" y="8656"/>
                </a:cubicBezTo>
                <a:cubicBezTo>
                  <a:pt x="12688" y="8656"/>
                  <a:pt x="12781" y="8656"/>
                  <a:pt x="12875" y="8656"/>
                </a:cubicBezTo>
                <a:cubicBezTo>
                  <a:pt x="12969" y="8687"/>
                  <a:pt x="13063" y="8812"/>
                  <a:pt x="13156" y="8718"/>
                </a:cubicBezTo>
                <a:cubicBezTo>
                  <a:pt x="13250" y="8687"/>
                  <a:pt x="13313" y="8687"/>
                  <a:pt x="13375" y="8718"/>
                </a:cubicBezTo>
                <a:cubicBezTo>
                  <a:pt x="13531" y="8718"/>
                  <a:pt x="13688" y="8750"/>
                  <a:pt x="13813" y="8750"/>
                </a:cubicBezTo>
                <a:cubicBezTo>
                  <a:pt x="13906" y="8750"/>
                  <a:pt x="13969" y="8750"/>
                  <a:pt x="14031" y="8781"/>
                </a:cubicBezTo>
                <a:cubicBezTo>
                  <a:pt x="14125" y="8781"/>
                  <a:pt x="14219" y="8812"/>
                  <a:pt x="14344" y="8781"/>
                </a:cubicBezTo>
                <a:cubicBezTo>
                  <a:pt x="14375" y="8781"/>
                  <a:pt x="14406" y="8781"/>
                  <a:pt x="14438" y="8781"/>
                </a:cubicBezTo>
                <a:cubicBezTo>
                  <a:pt x="14469" y="8812"/>
                  <a:pt x="14500" y="8812"/>
                  <a:pt x="14531" y="8781"/>
                </a:cubicBezTo>
                <a:cubicBezTo>
                  <a:pt x="14625" y="8812"/>
                  <a:pt x="14688" y="8812"/>
                  <a:pt x="14750" y="8812"/>
                </a:cubicBezTo>
                <a:cubicBezTo>
                  <a:pt x="14813" y="8812"/>
                  <a:pt x="14875" y="8781"/>
                  <a:pt x="14906" y="8812"/>
                </a:cubicBezTo>
                <a:cubicBezTo>
                  <a:pt x="15188" y="8906"/>
                  <a:pt x="15469" y="8843"/>
                  <a:pt x="15750" y="8843"/>
                </a:cubicBezTo>
                <a:cubicBezTo>
                  <a:pt x="15813" y="8875"/>
                  <a:pt x="15844" y="8875"/>
                  <a:pt x="15906" y="8843"/>
                </a:cubicBezTo>
                <a:cubicBezTo>
                  <a:pt x="16000" y="8812"/>
                  <a:pt x="16125" y="8875"/>
                  <a:pt x="16188" y="8750"/>
                </a:cubicBezTo>
                <a:cubicBezTo>
                  <a:pt x="16219" y="8718"/>
                  <a:pt x="16344" y="8750"/>
                  <a:pt x="16438" y="8781"/>
                </a:cubicBezTo>
                <a:cubicBezTo>
                  <a:pt x="16406" y="8843"/>
                  <a:pt x="16313" y="8781"/>
                  <a:pt x="16313" y="8843"/>
                </a:cubicBezTo>
                <a:cubicBezTo>
                  <a:pt x="16875" y="8906"/>
                  <a:pt x="17406" y="8781"/>
                  <a:pt x="17938" y="8750"/>
                </a:cubicBezTo>
                <a:cubicBezTo>
                  <a:pt x="17969" y="8750"/>
                  <a:pt x="18000" y="8750"/>
                  <a:pt x="18000" y="8718"/>
                </a:cubicBezTo>
                <a:close/>
                <a:moveTo>
                  <a:pt x="18844" y="4718"/>
                </a:moveTo>
                <a:cubicBezTo>
                  <a:pt x="18969" y="4687"/>
                  <a:pt x="19063" y="4656"/>
                  <a:pt x="19125" y="4593"/>
                </a:cubicBezTo>
                <a:cubicBezTo>
                  <a:pt x="19156" y="4562"/>
                  <a:pt x="19063" y="4531"/>
                  <a:pt x="19000" y="4531"/>
                </a:cubicBezTo>
                <a:cubicBezTo>
                  <a:pt x="18969" y="4593"/>
                  <a:pt x="18813" y="4500"/>
                  <a:pt x="18781" y="4656"/>
                </a:cubicBezTo>
                <a:cubicBezTo>
                  <a:pt x="18750" y="4687"/>
                  <a:pt x="18781" y="4718"/>
                  <a:pt x="18844" y="4718"/>
                </a:cubicBezTo>
                <a:close/>
                <a:moveTo>
                  <a:pt x="23969" y="6718"/>
                </a:moveTo>
                <a:cubicBezTo>
                  <a:pt x="24094" y="6687"/>
                  <a:pt x="24094" y="6687"/>
                  <a:pt x="24250" y="6562"/>
                </a:cubicBezTo>
                <a:cubicBezTo>
                  <a:pt x="24094" y="6625"/>
                  <a:pt x="24094" y="6625"/>
                  <a:pt x="23969" y="6718"/>
                </a:cubicBezTo>
                <a:close/>
                <a:moveTo>
                  <a:pt x="18375" y="8656"/>
                </a:moveTo>
                <a:cubicBezTo>
                  <a:pt x="18250" y="8750"/>
                  <a:pt x="18094" y="8812"/>
                  <a:pt x="17938" y="8843"/>
                </a:cubicBezTo>
                <a:cubicBezTo>
                  <a:pt x="18344" y="8875"/>
                  <a:pt x="18375" y="8843"/>
                  <a:pt x="18375" y="8656"/>
                </a:cubicBezTo>
                <a:close/>
                <a:moveTo>
                  <a:pt x="15031" y="8093"/>
                </a:moveTo>
                <a:cubicBezTo>
                  <a:pt x="15219" y="8125"/>
                  <a:pt x="15344" y="8093"/>
                  <a:pt x="15469" y="8062"/>
                </a:cubicBezTo>
                <a:cubicBezTo>
                  <a:pt x="15313" y="8000"/>
                  <a:pt x="15188" y="8031"/>
                  <a:pt x="15031" y="8093"/>
                </a:cubicBezTo>
                <a:close/>
                <a:moveTo>
                  <a:pt x="13156" y="8500"/>
                </a:moveTo>
                <a:cubicBezTo>
                  <a:pt x="13531" y="8500"/>
                  <a:pt x="13906" y="8562"/>
                  <a:pt x="14281" y="8437"/>
                </a:cubicBezTo>
                <a:cubicBezTo>
                  <a:pt x="13906" y="8437"/>
                  <a:pt x="13531" y="8437"/>
                  <a:pt x="13156" y="8437"/>
                </a:cubicBezTo>
                <a:cubicBezTo>
                  <a:pt x="13156" y="8468"/>
                  <a:pt x="13156" y="8468"/>
                  <a:pt x="13156" y="8500"/>
                </a:cubicBezTo>
                <a:close/>
                <a:moveTo>
                  <a:pt x="13656" y="7843"/>
                </a:moveTo>
                <a:cubicBezTo>
                  <a:pt x="13438" y="7875"/>
                  <a:pt x="13219" y="7875"/>
                  <a:pt x="13000" y="7750"/>
                </a:cubicBezTo>
                <a:cubicBezTo>
                  <a:pt x="12938" y="7687"/>
                  <a:pt x="12844" y="7656"/>
                  <a:pt x="12688" y="7718"/>
                </a:cubicBezTo>
                <a:cubicBezTo>
                  <a:pt x="13000" y="7906"/>
                  <a:pt x="13313" y="7875"/>
                  <a:pt x="13594" y="7906"/>
                </a:cubicBezTo>
                <a:cubicBezTo>
                  <a:pt x="13875" y="7968"/>
                  <a:pt x="14125" y="8125"/>
                  <a:pt x="14438" y="8062"/>
                </a:cubicBezTo>
                <a:cubicBezTo>
                  <a:pt x="14375" y="8062"/>
                  <a:pt x="14344" y="8031"/>
                  <a:pt x="14375" y="7968"/>
                </a:cubicBezTo>
                <a:cubicBezTo>
                  <a:pt x="14375" y="7906"/>
                  <a:pt x="14438" y="7906"/>
                  <a:pt x="14500" y="7906"/>
                </a:cubicBezTo>
                <a:cubicBezTo>
                  <a:pt x="14688" y="7937"/>
                  <a:pt x="14906" y="7968"/>
                  <a:pt x="15094" y="7906"/>
                </a:cubicBezTo>
                <a:cubicBezTo>
                  <a:pt x="15219" y="7906"/>
                  <a:pt x="15313" y="7906"/>
                  <a:pt x="15438" y="7875"/>
                </a:cubicBezTo>
                <a:cubicBezTo>
                  <a:pt x="15500" y="7875"/>
                  <a:pt x="15469" y="7843"/>
                  <a:pt x="15438" y="7843"/>
                </a:cubicBezTo>
                <a:cubicBezTo>
                  <a:pt x="15375" y="7781"/>
                  <a:pt x="15344" y="7812"/>
                  <a:pt x="15281" y="7843"/>
                </a:cubicBezTo>
                <a:cubicBezTo>
                  <a:pt x="15125" y="7843"/>
                  <a:pt x="14969" y="7843"/>
                  <a:pt x="14813" y="7843"/>
                </a:cubicBezTo>
                <a:cubicBezTo>
                  <a:pt x="14438" y="7812"/>
                  <a:pt x="14063" y="7937"/>
                  <a:pt x="13719" y="7812"/>
                </a:cubicBezTo>
                <a:cubicBezTo>
                  <a:pt x="13688" y="7812"/>
                  <a:pt x="13688" y="7812"/>
                  <a:pt x="13656" y="7843"/>
                </a:cubicBezTo>
                <a:close/>
                <a:moveTo>
                  <a:pt x="18531" y="4750"/>
                </a:moveTo>
                <a:cubicBezTo>
                  <a:pt x="18375" y="4750"/>
                  <a:pt x="18219" y="4812"/>
                  <a:pt x="18094" y="4875"/>
                </a:cubicBezTo>
                <a:cubicBezTo>
                  <a:pt x="18250" y="4937"/>
                  <a:pt x="18375" y="4843"/>
                  <a:pt x="18531" y="4750"/>
                </a:cubicBezTo>
                <a:close/>
                <a:moveTo>
                  <a:pt x="12469" y="6812"/>
                </a:moveTo>
                <a:cubicBezTo>
                  <a:pt x="12438" y="6781"/>
                  <a:pt x="12375" y="6781"/>
                  <a:pt x="12344" y="6781"/>
                </a:cubicBezTo>
                <a:cubicBezTo>
                  <a:pt x="12281" y="6718"/>
                  <a:pt x="12219" y="6656"/>
                  <a:pt x="12094" y="6718"/>
                </a:cubicBezTo>
                <a:cubicBezTo>
                  <a:pt x="12156" y="6812"/>
                  <a:pt x="12250" y="6781"/>
                  <a:pt x="12344" y="6781"/>
                </a:cubicBezTo>
                <a:cubicBezTo>
                  <a:pt x="12375" y="6812"/>
                  <a:pt x="12406" y="6843"/>
                  <a:pt x="12469" y="6812"/>
                </a:cubicBezTo>
                <a:close/>
                <a:moveTo>
                  <a:pt x="12219" y="4468"/>
                </a:moveTo>
                <a:cubicBezTo>
                  <a:pt x="12344" y="4593"/>
                  <a:pt x="12500" y="4625"/>
                  <a:pt x="12719" y="4625"/>
                </a:cubicBezTo>
                <a:cubicBezTo>
                  <a:pt x="12563" y="4500"/>
                  <a:pt x="12375" y="4531"/>
                  <a:pt x="12219" y="4468"/>
                </a:cubicBezTo>
                <a:close/>
                <a:moveTo>
                  <a:pt x="14906" y="5187"/>
                </a:moveTo>
                <a:cubicBezTo>
                  <a:pt x="15094" y="5250"/>
                  <a:pt x="15313" y="5218"/>
                  <a:pt x="15531" y="5218"/>
                </a:cubicBezTo>
                <a:cubicBezTo>
                  <a:pt x="15313" y="5156"/>
                  <a:pt x="15094" y="5156"/>
                  <a:pt x="14906" y="5187"/>
                </a:cubicBezTo>
                <a:close/>
                <a:moveTo>
                  <a:pt x="13813" y="7437"/>
                </a:moveTo>
                <a:cubicBezTo>
                  <a:pt x="13969" y="7500"/>
                  <a:pt x="14156" y="7437"/>
                  <a:pt x="14313" y="7531"/>
                </a:cubicBezTo>
                <a:cubicBezTo>
                  <a:pt x="14281" y="7562"/>
                  <a:pt x="14281" y="7562"/>
                  <a:pt x="14281" y="7562"/>
                </a:cubicBezTo>
                <a:cubicBezTo>
                  <a:pt x="14250" y="7593"/>
                  <a:pt x="14219" y="7593"/>
                  <a:pt x="14188" y="7593"/>
                </a:cubicBezTo>
                <a:cubicBezTo>
                  <a:pt x="14188" y="7593"/>
                  <a:pt x="14188" y="7593"/>
                  <a:pt x="14156" y="7593"/>
                </a:cubicBezTo>
                <a:lnTo>
                  <a:pt x="14156" y="7593"/>
                </a:lnTo>
                <a:cubicBezTo>
                  <a:pt x="14188" y="7593"/>
                  <a:pt x="14188" y="7593"/>
                  <a:pt x="14188" y="7593"/>
                </a:cubicBezTo>
                <a:cubicBezTo>
                  <a:pt x="14219" y="7593"/>
                  <a:pt x="14219" y="7656"/>
                  <a:pt x="14250" y="7625"/>
                </a:cubicBezTo>
                <a:cubicBezTo>
                  <a:pt x="14344" y="7562"/>
                  <a:pt x="14406" y="7531"/>
                  <a:pt x="14500" y="7531"/>
                </a:cubicBezTo>
                <a:cubicBezTo>
                  <a:pt x="14281" y="7437"/>
                  <a:pt x="14063" y="7437"/>
                  <a:pt x="13813" y="7437"/>
                </a:cubicBezTo>
                <a:close/>
                <a:moveTo>
                  <a:pt x="14563" y="7218"/>
                </a:moveTo>
                <a:cubicBezTo>
                  <a:pt x="14594" y="7218"/>
                  <a:pt x="14563" y="7156"/>
                  <a:pt x="14563" y="7156"/>
                </a:cubicBezTo>
                <a:cubicBezTo>
                  <a:pt x="14469" y="7125"/>
                  <a:pt x="14406" y="7125"/>
                  <a:pt x="14313" y="7250"/>
                </a:cubicBezTo>
                <a:cubicBezTo>
                  <a:pt x="14438" y="7218"/>
                  <a:pt x="14500" y="7281"/>
                  <a:pt x="14563" y="7218"/>
                </a:cubicBezTo>
                <a:close/>
                <a:moveTo>
                  <a:pt x="14656" y="7062"/>
                </a:moveTo>
                <a:cubicBezTo>
                  <a:pt x="14906" y="7062"/>
                  <a:pt x="15156" y="7062"/>
                  <a:pt x="15438" y="7062"/>
                </a:cubicBezTo>
                <a:cubicBezTo>
                  <a:pt x="15156" y="7031"/>
                  <a:pt x="14906" y="6906"/>
                  <a:pt x="14656" y="7062"/>
                </a:cubicBezTo>
                <a:close/>
                <a:moveTo>
                  <a:pt x="14094" y="2250"/>
                </a:moveTo>
                <a:cubicBezTo>
                  <a:pt x="13875" y="2187"/>
                  <a:pt x="13719" y="2156"/>
                  <a:pt x="13594" y="2156"/>
                </a:cubicBezTo>
                <a:cubicBezTo>
                  <a:pt x="13719" y="2187"/>
                  <a:pt x="13844" y="2281"/>
                  <a:pt x="14094" y="22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2D1C846-3A88-C04A-9F47-5B02B3691BF2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694DD316-533C-AE45-A9DF-D3873ECD236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53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Main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63ADF24-BE00-C549-BC1B-816B7DDDD61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512F75C3-F085-AA47-8CE6-1155885CDCE6}"/>
              </a:ext>
            </a:extLst>
          </p:cNvPr>
          <p:cNvSpPr>
            <a:spLocks/>
          </p:cNvSpPr>
          <p:nvPr userDrawn="1"/>
        </p:nvSpPr>
        <p:spPr bwMode="auto">
          <a:xfrm>
            <a:off x="384507" y="780474"/>
            <a:ext cx="11224686" cy="10157307"/>
          </a:xfrm>
          <a:custGeom>
            <a:avLst/>
            <a:gdLst>
              <a:gd name="T0" fmla="*/ 681 w 2113"/>
              <a:gd name="T1" fmla="*/ 1560 h 1910"/>
              <a:gd name="T2" fmla="*/ 668 w 2113"/>
              <a:gd name="T3" fmla="*/ 1439 h 1910"/>
              <a:gd name="T4" fmla="*/ 702 w 2113"/>
              <a:gd name="T5" fmla="*/ 1302 h 1910"/>
              <a:gd name="T6" fmla="*/ 703 w 2113"/>
              <a:gd name="T7" fmla="*/ 1301 h 1910"/>
              <a:gd name="T8" fmla="*/ 801 w 2113"/>
              <a:gd name="T9" fmla="*/ 1259 h 1910"/>
              <a:gd name="T10" fmla="*/ 1079 w 2113"/>
              <a:gd name="T11" fmla="*/ 1190 h 1910"/>
              <a:gd name="T12" fmla="*/ 1187 w 2113"/>
              <a:gd name="T13" fmla="*/ 1223 h 1910"/>
              <a:gd name="T14" fmla="*/ 1187 w 2113"/>
              <a:gd name="T15" fmla="*/ 1223 h 1910"/>
              <a:gd name="T16" fmla="*/ 1195 w 2113"/>
              <a:gd name="T17" fmla="*/ 1277 h 1910"/>
              <a:gd name="T18" fmla="*/ 1187 w 2113"/>
              <a:gd name="T19" fmla="*/ 1332 h 1910"/>
              <a:gd name="T20" fmla="*/ 1583 w 2113"/>
              <a:gd name="T21" fmla="*/ 1826 h 1910"/>
              <a:gd name="T22" fmla="*/ 2107 w 2113"/>
              <a:gd name="T23" fmla="*/ 1381 h 1910"/>
              <a:gd name="T24" fmla="*/ 1683 w 2113"/>
              <a:gd name="T25" fmla="*/ 910 h 1910"/>
              <a:gd name="T26" fmla="*/ 1530 w 2113"/>
              <a:gd name="T27" fmla="*/ 924 h 1910"/>
              <a:gd name="T28" fmla="*/ 1401 w 2113"/>
              <a:gd name="T29" fmla="*/ 861 h 1910"/>
              <a:gd name="T30" fmla="*/ 1401 w 2113"/>
              <a:gd name="T31" fmla="*/ 861 h 1910"/>
              <a:gd name="T32" fmla="*/ 1395 w 2113"/>
              <a:gd name="T33" fmla="*/ 791 h 1910"/>
              <a:gd name="T34" fmla="*/ 1411 w 2113"/>
              <a:gd name="T35" fmla="*/ 692 h 1910"/>
              <a:gd name="T36" fmla="*/ 845 w 2113"/>
              <a:gd name="T37" fmla="*/ 27 h 1910"/>
              <a:gd name="T38" fmla="*/ 181 w 2113"/>
              <a:gd name="T39" fmla="*/ 594 h 1910"/>
              <a:gd name="T40" fmla="*/ 215 w 2113"/>
              <a:gd name="T41" fmla="*/ 850 h 1910"/>
              <a:gd name="T42" fmla="*/ 219 w 2113"/>
              <a:gd name="T43" fmla="*/ 1113 h 1910"/>
              <a:gd name="T44" fmla="*/ 219 w 2113"/>
              <a:gd name="T45" fmla="*/ 1115 h 1910"/>
              <a:gd name="T46" fmla="*/ 111 w 2113"/>
              <a:gd name="T47" fmla="*/ 1287 h 1910"/>
              <a:gd name="T48" fmla="*/ 6 w 2113"/>
              <a:gd name="T49" fmla="*/ 1552 h 1910"/>
              <a:gd name="T50" fmla="*/ 265 w 2113"/>
              <a:gd name="T51" fmla="*/ 1862 h 1910"/>
              <a:gd name="T52" fmla="*/ 681 w 2113"/>
              <a:gd name="T53" fmla="*/ 1560 h 1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13" h="1910">
                <a:moveTo>
                  <a:pt x="681" y="1560"/>
                </a:moveTo>
                <a:cubicBezTo>
                  <a:pt x="684" y="1518"/>
                  <a:pt x="680" y="1477"/>
                  <a:pt x="668" y="1439"/>
                </a:cubicBezTo>
                <a:cubicBezTo>
                  <a:pt x="654" y="1390"/>
                  <a:pt x="667" y="1338"/>
                  <a:pt x="702" y="1302"/>
                </a:cubicBezTo>
                <a:cubicBezTo>
                  <a:pt x="703" y="1301"/>
                  <a:pt x="703" y="1301"/>
                  <a:pt x="703" y="1301"/>
                </a:cubicBezTo>
                <a:cubicBezTo>
                  <a:pt x="729" y="1274"/>
                  <a:pt x="764" y="1259"/>
                  <a:pt x="801" y="1259"/>
                </a:cubicBezTo>
                <a:cubicBezTo>
                  <a:pt x="901" y="1258"/>
                  <a:pt x="996" y="1234"/>
                  <a:pt x="1079" y="1190"/>
                </a:cubicBezTo>
                <a:cubicBezTo>
                  <a:pt x="1118" y="1170"/>
                  <a:pt x="1166" y="1185"/>
                  <a:pt x="1187" y="1223"/>
                </a:cubicBezTo>
                <a:cubicBezTo>
                  <a:pt x="1187" y="1223"/>
                  <a:pt x="1187" y="1223"/>
                  <a:pt x="1187" y="1223"/>
                </a:cubicBezTo>
                <a:cubicBezTo>
                  <a:pt x="1196" y="1240"/>
                  <a:pt x="1198" y="1259"/>
                  <a:pt x="1195" y="1277"/>
                </a:cubicBezTo>
                <a:cubicBezTo>
                  <a:pt x="1191" y="1295"/>
                  <a:pt x="1188" y="1313"/>
                  <a:pt x="1187" y="1332"/>
                </a:cubicBezTo>
                <a:cubicBezTo>
                  <a:pt x="1167" y="1577"/>
                  <a:pt x="1343" y="1793"/>
                  <a:pt x="1583" y="1826"/>
                </a:cubicBezTo>
                <a:cubicBezTo>
                  <a:pt x="1855" y="1863"/>
                  <a:pt x="2100" y="1655"/>
                  <a:pt x="2107" y="1381"/>
                </a:cubicBezTo>
                <a:cubicBezTo>
                  <a:pt x="2113" y="1138"/>
                  <a:pt x="1929" y="930"/>
                  <a:pt x="1683" y="910"/>
                </a:cubicBezTo>
                <a:cubicBezTo>
                  <a:pt x="1630" y="906"/>
                  <a:pt x="1578" y="911"/>
                  <a:pt x="1530" y="924"/>
                </a:cubicBezTo>
                <a:cubicBezTo>
                  <a:pt x="1477" y="937"/>
                  <a:pt x="1422" y="911"/>
                  <a:pt x="1401" y="861"/>
                </a:cubicBezTo>
                <a:cubicBezTo>
                  <a:pt x="1401" y="861"/>
                  <a:pt x="1401" y="861"/>
                  <a:pt x="1401" y="861"/>
                </a:cubicBezTo>
                <a:cubicBezTo>
                  <a:pt x="1391" y="839"/>
                  <a:pt x="1389" y="814"/>
                  <a:pt x="1395" y="791"/>
                </a:cubicBezTo>
                <a:cubicBezTo>
                  <a:pt x="1403" y="759"/>
                  <a:pt x="1408" y="726"/>
                  <a:pt x="1411" y="692"/>
                </a:cubicBezTo>
                <a:cubicBezTo>
                  <a:pt x="1439" y="352"/>
                  <a:pt x="1185" y="54"/>
                  <a:pt x="845" y="27"/>
                </a:cubicBezTo>
                <a:cubicBezTo>
                  <a:pt x="506" y="0"/>
                  <a:pt x="208" y="255"/>
                  <a:pt x="181" y="594"/>
                </a:cubicBezTo>
                <a:cubicBezTo>
                  <a:pt x="174" y="684"/>
                  <a:pt x="187" y="770"/>
                  <a:pt x="215" y="850"/>
                </a:cubicBezTo>
                <a:cubicBezTo>
                  <a:pt x="246" y="935"/>
                  <a:pt x="247" y="1027"/>
                  <a:pt x="219" y="1113"/>
                </a:cubicBezTo>
                <a:cubicBezTo>
                  <a:pt x="219" y="1115"/>
                  <a:pt x="219" y="1115"/>
                  <a:pt x="219" y="1115"/>
                </a:cubicBezTo>
                <a:cubicBezTo>
                  <a:pt x="198" y="1181"/>
                  <a:pt x="161" y="1240"/>
                  <a:pt x="111" y="1287"/>
                </a:cubicBezTo>
                <a:cubicBezTo>
                  <a:pt x="42" y="1353"/>
                  <a:pt x="0" y="1447"/>
                  <a:pt x="6" y="1552"/>
                </a:cubicBezTo>
                <a:cubicBezTo>
                  <a:pt x="13" y="1691"/>
                  <a:pt x="130" y="1831"/>
                  <a:pt x="265" y="1862"/>
                </a:cubicBezTo>
                <a:cubicBezTo>
                  <a:pt x="472" y="1910"/>
                  <a:pt x="664" y="1763"/>
                  <a:pt x="681" y="15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0361D707-F6EA-C641-A648-A78FEEB8623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536403" y="1315906"/>
            <a:ext cx="9966329" cy="11041146"/>
          </a:xfrm>
          <a:custGeom>
            <a:avLst/>
            <a:gdLst>
              <a:gd name="connsiteX0" fmla="*/ 6616192 w 9966329"/>
              <a:gd name="connsiteY0" fmla="*/ 3527 h 11041146"/>
              <a:gd name="connsiteX1" fmla="*/ 9192109 w 9966329"/>
              <a:gd name="connsiteY1" fmla="*/ 2577452 h 11041146"/>
              <a:gd name="connsiteX2" fmla="*/ 6751512 w 9966329"/>
              <a:gd name="connsiteY2" fmla="*/ 4885775 h 11041146"/>
              <a:gd name="connsiteX3" fmla="*/ 6456708 w 9966329"/>
              <a:gd name="connsiteY3" fmla="*/ 4866459 h 11041146"/>
              <a:gd name="connsiteX4" fmla="*/ 6176401 w 9966329"/>
              <a:gd name="connsiteY4" fmla="*/ 4934066 h 11041146"/>
              <a:gd name="connsiteX5" fmla="*/ 6045914 w 9966329"/>
              <a:gd name="connsiteY5" fmla="*/ 5513562 h 11041146"/>
              <a:gd name="connsiteX6" fmla="*/ 6529200 w 9966329"/>
              <a:gd name="connsiteY6" fmla="*/ 6947813 h 11041146"/>
              <a:gd name="connsiteX7" fmla="*/ 6795008 w 9966329"/>
              <a:gd name="connsiteY7" fmla="*/ 7450043 h 11041146"/>
              <a:gd name="connsiteX8" fmla="*/ 6799841 w 9966329"/>
              <a:gd name="connsiteY8" fmla="*/ 7454871 h 11041146"/>
              <a:gd name="connsiteX9" fmla="*/ 7539269 w 9966329"/>
              <a:gd name="connsiteY9" fmla="*/ 7575599 h 11041146"/>
              <a:gd name="connsiteX10" fmla="*/ 8172374 w 9966329"/>
              <a:gd name="connsiteY10" fmla="*/ 7459701 h 11041146"/>
              <a:gd name="connsiteX11" fmla="*/ 9946036 w 9966329"/>
              <a:gd name="connsiteY11" fmla="*/ 9521738 h 11041146"/>
              <a:gd name="connsiteX12" fmla="*/ 8423683 w 9966329"/>
              <a:gd name="connsiteY12" fmla="*/ 11023597 h 11041146"/>
              <a:gd name="connsiteX13" fmla="*/ 6978657 w 9966329"/>
              <a:gd name="connsiteY13" fmla="*/ 10584146 h 11041146"/>
              <a:gd name="connsiteX14" fmla="*/ 6021750 w 9966329"/>
              <a:gd name="connsiteY14" fmla="*/ 10086746 h 11041146"/>
              <a:gd name="connsiteX15" fmla="*/ 6007251 w 9966329"/>
              <a:gd name="connsiteY15" fmla="*/ 10086746 h 11041146"/>
              <a:gd name="connsiteX16" fmla="*/ 4620219 w 9966329"/>
              <a:gd name="connsiteY16" fmla="*/ 10221962 h 11041146"/>
              <a:gd name="connsiteX17" fmla="*/ 3286348 w 9966329"/>
              <a:gd name="connsiteY17" fmla="*/ 10511709 h 11041146"/>
              <a:gd name="connsiteX18" fmla="*/ 0 w 9966329"/>
              <a:gd name="connsiteY18" fmla="*/ 7247219 h 11041146"/>
              <a:gd name="connsiteX19" fmla="*/ 3271850 w 9966329"/>
              <a:gd name="connsiteY19" fmla="*/ 3973070 h 11041146"/>
              <a:gd name="connsiteX20" fmla="*/ 3803465 w 9966329"/>
              <a:gd name="connsiteY20" fmla="*/ 4016532 h 11041146"/>
              <a:gd name="connsiteX21" fmla="*/ 4170762 w 9966329"/>
              <a:gd name="connsiteY21" fmla="*/ 3958583 h 11041146"/>
              <a:gd name="connsiteX22" fmla="*/ 4446236 w 9966329"/>
              <a:gd name="connsiteY22" fmla="*/ 3248701 h 11041146"/>
              <a:gd name="connsiteX23" fmla="*/ 4306083 w 9966329"/>
              <a:gd name="connsiteY23" fmla="*/ 2442237 h 11041146"/>
              <a:gd name="connsiteX24" fmla="*/ 6616192 w 9966329"/>
              <a:gd name="connsiteY24" fmla="*/ 3527 h 1104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966329" h="11041146">
                <a:moveTo>
                  <a:pt x="6616192" y="3527"/>
                </a:moveTo>
                <a:cubicBezTo>
                  <a:pt x="8066051" y="-73739"/>
                  <a:pt x="9269435" y="1128714"/>
                  <a:pt x="9192109" y="2577452"/>
                </a:cubicBezTo>
                <a:cubicBezTo>
                  <a:pt x="9119616" y="3862000"/>
                  <a:pt x="8056385" y="4885775"/>
                  <a:pt x="6751512" y="4885775"/>
                </a:cubicBezTo>
                <a:cubicBezTo>
                  <a:pt x="6650022" y="4885775"/>
                  <a:pt x="6553365" y="4876117"/>
                  <a:pt x="6456708" y="4866459"/>
                </a:cubicBezTo>
                <a:cubicBezTo>
                  <a:pt x="6355217" y="4851971"/>
                  <a:pt x="6258560" y="4876117"/>
                  <a:pt x="6176401" y="4934066"/>
                </a:cubicBezTo>
                <a:cubicBezTo>
                  <a:pt x="5983087" y="5059624"/>
                  <a:pt x="5925092" y="5315568"/>
                  <a:pt x="6045914" y="5513562"/>
                </a:cubicBezTo>
                <a:cubicBezTo>
                  <a:pt x="6311722" y="5938525"/>
                  <a:pt x="6480872" y="6426267"/>
                  <a:pt x="6529200" y="6947813"/>
                </a:cubicBezTo>
                <a:cubicBezTo>
                  <a:pt x="6548532" y="7145807"/>
                  <a:pt x="6640356" y="7324485"/>
                  <a:pt x="6795008" y="7450043"/>
                </a:cubicBezTo>
                <a:cubicBezTo>
                  <a:pt x="6795008" y="7450043"/>
                  <a:pt x="6795008" y="7450043"/>
                  <a:pt x="6799841" y="7454871"/>
                </a:cubicBezTo>
                <a:cubicBezTo>
                  <a:pt x="7002821" y="7623891"/>
                  <a:pt x="7287960" y="7672182"/>
                  <a:pt x="7539269" y="7575599"/>
                </a:cubicBezTo>
                <a:cubicBezTo>
                  <a:pt x="7737417" y="7498333"/>
                  <a:pt x="7950063" y="7459701"/>
                  <a:pt x="8172374" y="7459701"/>
                </a:cubicBezTo>
                <a:cubicBezTo>
                  <a:pt x="9254936" y="7459701"/>
                  <a:pt x="10110353" y="8411039"/>
                  <a:pt x="9946036" y="9521738"/>
                </a:cubicBezTo>
                <a:cubicBezTo>
                  <a:pt x="9839713" y="10246107"/>
                  <a:pt x="9148613" y="10927014"/>
                  <a:pt x="8423683" y="11023597"/>
                </a:cubicBezTo>
                <a:cubicBezTo>
                  <a:pt x="7867904" y="11100863"/>
                  <a:pt x="7350787" y="10917356"/>
                  <a:pt x="6978657" y="10584146"/>
                </a:cubicBezTo>
                <a:cubicBezTo>
                  <a:pt x="6703184" y="10342690"/>
                  <a:pt x="6374549" y="10168841"/>
                  <a:pt x="6021750" y="10086746"/>
                </a:cubicBezTo>
                <a:cubicBezTo>
                  <a:pt x="6021750" y="10086746"/>
                  <a:pt x="6021750" y="10086746"/>
                  <a:pt x="6007251" y="10086746"/>
                </a:cubicBezTo>
                <a:cubicBezTo>
                  <a:pt x="5543296" y="9980505"/>
                  <a:pt x="5055177" y="10023967"/>
                  <a:pt x="4620219" y="10221962"/>
                </a:cubicBezTo>
                <a:cubicBezTo>
                  <a:pt x="4214258" y="10405469"/>
                  <a:pt x="3759969" y="10506880"/>
                  <a:pt x="3286348" y="10511709"/>
                </a:cubicBezTo>
                <a:cubicBezTo>
                  <a:pt x="1478857" y="10516539"/>
                  <a:pt x="4833" y="9053313"/>
                  <a:pt x="0" y="7247219"/>
                </a:cubicBezTo>
                <a:cubicBezTo>
                  <a:pt x="0" y="5441125"/>
                  <a:pt x="1464358" y="3973070"/>
                  <a:pt x="3271850" y="3973070"/>
                </a:cubicBezTo>
                <a:cubicBezTo>
                  <a:pt x="3450666" y="3973070"/>
                  <a:pt x="3629482" y="3987557"/>
                  <a:pt x="3803465" y="4016532"/>
                </a:cubicBezTo>
                <a:cubicBezTo>
                  <a:pt x="3929119" y="4035849"/>
                  <a:pt x="4054774" y="4016532"/>
                  <a:pt x="4170762" y="3958583"/>
                </a:cubicBezTo>
                <a:cubicBezTo>
                  <a:pt x="4422071" y="3823367"/>
                  <a:pt x="4538060" y="3519132"/>
                  <a:pt x="4446236" y="3248701"/>
                </a:cubicBezTo>
                <a:cubicBezTo>
                  <a:pt x="4354411" y="2997586"/>
                  <a:pt x="4306083" y="2727155"/>
                  <a:pt x="4306083" y="2442237"/>
                </a:cubicBezTo>
                <a:cubicBezTo>
                  <a:pt x="4306083" y="1138372"/>
                  <a:pt x="5330650" y="75964"/>
                  <a:pt x="6616192" y="3527"/>
                </a:cubicBezTo>
                <a:close/>
              </a:path>
            </a:pathLst>
          </a:custGeom>
          <a:pattFill prst="trellis">
            <a:fgClr>
              <a:schemeClr val="tx1">
                <a:lumMod val="90000"/>
                <a:lumOff val="10000"/>
              </a:schemeClr>
            </a:fgClr>
            <a:bgClr>
              <a:schemeClr val="tx1">
                <a:lumMod val="75000"/>
                <a:lumOff val="25000"/>
              </a:schemeClr>
            </a:bgClr>
          </a:patt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4800" dirty="0">
                <a:solidFill>
                  <a:schemeClr val="tx1"/>
                </a:solidFill>
              </a:defRPr>
            </a:lvl1pPr>
          </a:lstStyle>
          <a:p>
            <a:pPr marL="0" lvl="0" defTabSz="2438522"/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AAD1531-DB03-214B-A199-FAE069B6D9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7335" y="1674219"/>
            <a:ext cx="8431428" cy="266429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id="{4DCAF9B3-8D39-3845-A16B-346403241B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47335" y="5202610"/>
            <a:ext cx="8431428" cy="5904656"/>
          </a:xfrm>
          <a:prstGeom prst="rect">
            <a:avLst/>
          </a:prstGeom>
        </p:spPr>
        <p:txBody>
          <a:bodyPr/>
          <a:lstStyle>
            <a:lvl1pPr algn="r">
              <a:lnSpc>
                <a:spcPct val="120000"/>
              </a:lnSpc>
              <a:spcBef>
                <a:spcPts val="1272"/>
              </a:spcBef>
              <a:defRPr lang="en-US" sz="28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237689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5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 p14:presetBounceEnd="50000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50000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8" grpId="0" animBg="1"/>
          <p:bldP spid="7" grpId="0"/>
          <p:bldP spid="9" grpId="0" build="p">
            <p:tmplLst>
              <p:tmpl lvl="1">
                <p:tnLst>
                  <p:par>
                    <p:cTn presetID="2" presetClass="entr" presetSubtype="2" fill="hold" nodeType="withEffect">
                      <p:stCondLst>
                        <p:cond delay="5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9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1+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500" fill="hold"/>
                            <p:tgtEl>
                              <p:spTgt spid="9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D151849A-7C7F-3644-AA43-24A310A8E637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-1" y="2322290"/>
            <a:ext cx="16226035" cy="9919877"/>
          </a:xfrm>
          <a:custGeom>
            <a:avLst/>
            <a:gdLst>
              <a:gd name="T0" fmla="*/ 29469 w 39125"/>
              <a:gd name="T1" fmla="*/ 6250 h 15125"/>
              <a:gd name="T2" fmla="*/ 29656 w 39125"/>
              <a:gd name="T3" fmla="*/ 5593 h 15125"/>
              <a:gd name="T4" fmla="*/ 27563 w 39125"/>
              <a:gd name="T5" fmla="*/ 5125 h 15125"/>
              <a:gd name="T6" fmla="*/ 25938 w 39125"/>
              <a:gd name="T7" fmla="*/ 5125 h 15125"/>
              <a:gd name="T8" fmla="*/ 30188 w 39125"/>
              <a:gd name="T9" fmla="*/ 3187 h 15125"/>
              <a:gd name="T10" fmla="*/ 30531 w 39125"/>
              <a:gd name="T11" fmla="*/ 2406 h 15125"/>
              <a:gd name="T12" fmla="*/ 32250 w 39125"/>
              <a:gd name="T13" fmla="*/ 1531 h 15125"/>
              <a:gd name="T14" fmla="*/ 30031 w 39125"/>
              <a:gd name="T15" fmla="*/ 1718 h 15125"/>
              <a:gd name="T16" fmla="*/ 25438 w 39125"/>
              <a:gd name="T17" fmla="*/ 3062 h 15125"/>
              <a:gd name="T18" fmla="*/ 20938 w 39125"/>
              <a:gd name="T19" fmla="*/ 3125 h 15125"/>
              <a:gd name="T20" fmla="*/ 20375 w 39125"/>
              <a:gd name="T21" fmla="*/ 1781 h 15125"/>
              <a:gd name="T22" fmla="*/ 20375 w 39125"/>
              <a:gd name="T23" fmla="*/ 1718 h 15125"/>
              <a:gd name="T24" fmla="*/ 14719 w 39125"/>
              <a:gd name="T25" fmla="*/ 1781 h 15125"/>
              <a:gd name="T26" fmla="*/ 12313 w 39125"/>
              <a:gd name="T27" fmla="*/ 2125 h 15125"/>
              <a:gd name="T28" fmla="*/ 9875 w 39125"/>
              <a:gd name="T29" fmla="*/ 1968 h 15125"/>
              <a:gd name="T30" fmla="*/ 7594 w 39125"/>
              <a:gd name="T31" fmla="*/ 2718 h 15125"/>
              <a:gd name="T32" fmla="*/ 6594 w 39125"/>
              <a:gd name="T33" fmla="*/ 1750 h 15125"/>
              <a:gd name="T34" fmla="*/ 5719 w 39125"/>
              <a:gd name="T35" fmla="*/ 1968 h 15125"/>
              <a:gd name="T36" fmla="*/ 3656 w 39125"/>
              <a:gd name="T37" fmla="*/ 3906 h 15125"/>
              <a:gd name="T38" fmla="*/ 3375 w 39125"/>
              <a:gd name="T39" fmla="*/ 6500 h 15125"/>
              <a:gd name="T40" fmla="*/ 3219 w 39125"/>
              <a:gd name="T41" fmla="*/ 8375 h 15125"/>
              <a:gd name="T42" fmla="*/ 3781 w 39125"/>
              <a:gd name="T43" fmla="*/ 9437 h 15125"/>
              <a:gd name="T44" fmla="*/ 5719 w 39125"/>
              <a:gd name="T45" fmla="*/ 11406 h 15125"/>
              <a:gd name="T46" fmla="*/ 7906 w 39125"/>
              <a:gd name="T47" fmla="*/ 12875 h 15125"/>
              <a:gd name="T48" fmla="*/ 7375 w 39125"/>
              <a:gd name="T49" fmla="*/ 14781 h 15125"/>
              <a:gd name="T50" fmla="*/ 12125 w 39125"/>
              <a:gd name="T51" fmla="*/ 14281 h 15125"/>
              <a:gd name="T52" fmla="*/ 15875 w 39125"/>
              <a:gd name="T53" fmla="*/ 13031 h 15125"/>
              <a:gd name="T54" fmla="*/ 21438 w 39125"/>
              <a:gd name="T55" fmla="*/ 11000 h 15125"/>
              <a:gd name="T56" fmla="*/ 18813 w 39125"/>
              <a:gd name="T57" fmla="*/ 12375 h 15125"/>
              <a:gd name="T58" fmla="*/ 32000 w 39125"/>
              <a:gd name="T59" fmla="*/ 7562 h 15125"/>
              <a:gd name="T60" fmla="*/ 16063 w 39125"/>
              <a:gd name="T61" fmla="*/ 12875 h 15125"/>
              <a:gd name="T62" fmla="*/ 2313 w 39125"/>
              <a:gd name="T63" fmla="*/ 6875 h 15125"/>
              <a:gd name="T64" fmla="*/ 10344 w 39125"/>
              <a:gd name="T65" fmla="*/ 1562 h 15125"/>
              <a:gd name="T66" fmla="*/ 15500 w 39125"/>
              <a:gd name="T67" fmla="*/ 718 h 15125"/>
              <a:gd name="T68" fmla="*/ 0 w 39125"/>
              <a:gd name="T69" fmla="*/ 8031 h 15125"/>
              <a:gd name="T70" fmla="*/ 31656 w 39125"/>
              <a:gd name="T71" fmla="*/ 7531 h 15125"/>
              <a:gd name="T72" fmla="*/ 30344 w 39125"/>
              <a:gd name="T73" fmla="*/ 7812 h 15125"/>
              <a:gd name="T74" fmla="*/ 31344 w 39125"/>
              <a:gd name="T75" fmla="*/ 3000 h 15125"/>
              <a:gd name="T76" fmla="*/ 29781 w 39125"/>
              <a:gd name="T77" fmla="*/ 5250 h 15125"/>
              <a:gd name="T78" fmla="*/ 29750 w 39125"/>
              <a:gd name="T79" fmla="*/ 4906 h 15125"/>
              <a:gd name="T80" fmla="*/ 32719 w 39125"/>
              <a:gd name="T81" fmla="*/ 7750 h 15125"/>
              <a:gd name="T82" fmla="*/ 30813 w 39125"/>
              <a:gd name="T83" fmla="*/ 7875 h 15125"/>
              <a:gd name="T84" fmla="*/ 31781 w 39125"/>
              <a:gd name="T85" fmla="*/ 2687 h 15125"/>
              <a:gd name="T86" fmla="*/ 32188 w 39125"/>
              <a:gd name="T87" fmla="*/ 5375 h 15125"/>
              <a:gd name="T88" fmla="*/ 33781 w 39125"/>
              <a:gd name="T89" fmla="*/ 7562 h 15125"/>
              <a:gd name="T90" fmla="*/ 34906 w 39125"/>
              <a:gd name="T91" fmla="*/ 7000 h 15125"/>
              <a:gd name="T92" fmla="*/ 34750 w 39125"/>
              <a:gd name="T93" fmla="*/ 5187 h 15125"/>
              <a:gd name="T94" fmla="*/ 31469 w 39125"/>
              <a:gd name="T95" fmla="*/ 6656 h 15125"/>
              <a:gd name="T96" fmla="*/ 36219 w 39125"/>
              <a:gd name="T97" fmla="*/ 6125 h 15125"/>
              <a:gd name="T98" fmla="*/ 27844 w 39125"/>
              <a:gd name="T99" fmla="*/ 4875 h 15125"/>
              <a:gd name="T100" fmla="*/ 29531 w 39125"/>
              <a:gd name="T101" fmla="*/ 8125 h 15125"/>
              <a:gd name="T102" fmla="*/ 28125 w 39125"/>
              <a:gd name="T103" fmla="*/ 8031 h 15125"/>
              <a:gd name="T104" fmla="*/ 32156 w 39125"/>
              <a:gd name="T105" fmla="*/ 4625 h 15125"/>
              <a:gd name="T106" fmla="*/ 33000 w 39125"/>
              <a:gd name="T107" fmla="*/ 375 h 15125"/>
              <a:gd name="T108" fmla="*/ 31625 w 39125"/>
              <a:gd name="T109" fmla="*/ 1156 h 15125"/>
              <a:gd name="T110" fmla="*/ 34594 w 39125"/>
              <a:gd name="T111" fmla="*/ 6093 h 15125"/>
              <a:gd name="T112" fmla="*/ 33563 w 39125"/>
              <a:gd name="T113" fmla="*/ 3781 h 15125"/>
              <a:gd name="T114" fmla="*/ 33031 w 39125"/>
              <a:gd name="T115" fmla="*/ 4062 h 15125"/>
              <a:gd name="T116" fmla="*/ 29219 w 39125"/>
              <a:gd name="T117" fmla="*/ 4125 h 15125"/>
              <a:gd name="T118" fmla="*/ 28625 w 39125"/>
              <a:gd name="T119" fmla="*/ 4343 h 15125"/>
              <a:gd name="T120" fmla="*/ 38625 w 39125"/>
              <a:gd name="T121" fmla="*/ 6750 h 15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125" h="15125">
                <a:moveTo>
                  <a:pt x="30656" y="7000"/>
                </a:moveTo>
                <a:cubicBezTo>
                  <a:pt x="30656" y="7000"/>
                  <a:pt x="30688" y="7000"/>
                  <a:pt x="30688" y="7000"/>
                </a:cubicBezTo>
                <a:cubicBezTo>
                  <a:pt x="30750" y="7000"/>
                  <a:pt x="30781" y="7031"/>
                  <a:pt x="30813" y="7000"/>
                </a:cubicBezTo>
                <a:cubicBezTo>
                  <a:pt x="30844" y="7000"/>
                  <a:pt x="30875" y="7000"/>
                  <a:pt x="30938" y="7000"/>
                </a:cubicBezTo>
                <a:cubicBezTo>
                  <a:pt x="30969" y="7000"/>
                  <a:pt x="31000" y="7000"/>
                  <a:pt x="31031" y="6968"/>
                </a:cubicBezTo>
                <a:cubicBezTo>
                  <a:pt x="31031" y="6968"/>
                  <a:pt x="31063" y="6968"/>
                  <a:pt x="31094" y="6937"/>
                </a:cubicBezTo>
                <a:cubicBezTo>
                  <a:pt x="31000" y="6937"/>
                  <a:pt x="30875" y="6937"/>
                  <a:pt x="30781" y="6937"/>
                </a:cubicBezTo>
                <a:cubicBezTo>
                  <a:pt x="30625" y="6906"/>
                  <a:pt x="30469" y="6906"/>
                  <a:pt x="30313" y="6843"/>
                </a:cubicBezTo>
                <a:cubicBezTo>
                  <a:pt x="30281" y="6843"/>
                  <a:pt x="30281" y="6843"/>
                  <a:pt x="30250" y="6843"/>
                </a:cubicBezTo>
                <a:cubicBezTo>
                  <a:pt x="30125" y="6843"/>
                  <a:pt x="29969" y="6906"/>
                  <a:pt x="29906" y="6812"/>
                </a:cubicBezTo>
                <a:cubicBezTo>
                  <a:pt x="29813" y="6625"/>
                  <a:pt x="29688" y="6843"/>
                  <a:pt x="29563" y="6781"/>
                </a:cubicBezTo>
                <a:cubicBezTo>
                  <a:pt x="29500" y="6718"/>
                  <a:pt x="29406" y="6781"/>
                  <a:pt x="29375" y="6656"/>
                </a:cubicBezTo>
                <a:cubicBezTo>
                  <a:pt x="29375" y="6625"/>
                  <a:pt x="29344" y="6593"/>
                  <a:pt x="29313" y="6625"/>
                </a:cubicBezTo>
                <a:cubicBezTo>
                  <a:pt x="29219" y="6718"/>
                  <a:pt x="29156" y="6593"/>
                  <a:pt x="29094" y="6562"/>
                </a:cubicBezTo>
                <a:cubicBezTo>
                  <a:pt x="29094" y="6656"/>
                  <a:pt x="29094" y="6750"/>
                  <a:pt x="29000" y="6718"/>
                </a:cubicBezTo>
                <a:cubicBezTo>
                  <a:pt x="28906" y="6718"/>
                  <a:pt x="28844" y="6718"/>
                  <a:pt x="28781" y="6781"/>
                </a:cubicBezTo>
                <a:cubicBezTo>
                  <a:pt x="28719" y="6812"/>
                  <a:pt x="28688" y="6781"/>
                  <a:pt x="28688" y="6718"/>
                </a:cubicBezTo>
                <a:cubicBezTo>
                  <a:pt x="28656" y="6656"/>
                  <a:pt x="28688" y="6656"/>
                  <a:pt x="28750" y="6656"/>
                </a:cubicBezTo>
                <a:cubicBezTo>
                  <a:pt x="28813" y="6656"/>
                  <a:pt x="28844" y="6656"/>
                  <a:pt x="28875" y="6593"/>
                </a:cubicBezTo>
                <a:cubicBezTo>
                  <a:pt x="28969" y="6375"/>
                  <a:pt x="29281" y="6406"/>
                  <a:pt x="29438" y="6218"/>
                </a:cubicBezTo>
                <a:cubicBezTo>
                  <a:pt x="29438" y="6218"/>
                  <a:pt x="29438" y="6218"/>
                  <a:pt x="29469" y="6250"/>
                </a:cubicBezTo>
                <a:cubicBezTo>
                  <a:pt x="29563" y="6375"/>
                  <a:pt x="29594" y="6281"/>
                  <a:pt x="29656" y="6218"/>
                </a:cubicBezTo>
                <a:cubicBezTo>
                  <a:pt x="29750" y="6156"/>
                  <a:pt x="29844" y="6156"/>
                  <a:pt x="29875" y="6031"/>
                </a:cubicBezTo>
                <a:cubicBezTo>
                  <a:pt x="29875" y="5968"/>
                  <a:pt x="29938" y="6000"/>
                  <a:pt x="30000" y="6000"/>
                </a:cubicBezTo>
                <a:cubicBezTo>
                  <a:pt x="30000" y="6000"/>
                  <a:pt x="30000" y="6000"/>
                  <a:pt x="30031" y="6000"/>
                </a:cubicBezTo>
                <a:cubicBezTo>
                  <a:pt x="30031" y="6000"/>
                  <a:pt x="30031" y="6000"/>
                  <a:pt x="30031" y="6000"/>
                </a:cubicBezTo>
                <a:cubicBezTo>
                  <a:pt x="30063" y="6000"/>
                  <a:pt x="30063" y="6000"/>
                  <a:pt x="30094" y="6031"/>
                </a:cubicBezTo>
                <a:cubicBezTo>
                  <a:pt x="30094" y="6031"/>
                  <a:pt x="30094" y="6031"/>
                  <a:pt x="30125" y="6031"/>
                </a:cubicBezTo>
                <a:cubicBezTo>
                  <a:pt x="30125" y="6031"/>
                  <a:pt x="30156" y="6031"/>
                  <a:pt x="30156" y="6031"/>
                </a:cubicBezTo>
                <a:cubicBezTo>
                  <a:pt x="30219" y="6031"/>
                  <a:pt x="30250" y="6000"/>
                  <a:pt x="30250" y="5906"/>
                </a:cubicBezTo>
                <a:cubicBezTo>
                  <a:pt x="30250" y="5906"/>
                  <a:pt x="30250" y="5906"/>
                  <a:pt x="30250" y="5906"/>
                </a:cubicBezTo>
                <a:cubicBezTo>
                  <a:pt x="30281" y="5875"/>
                  <a:pt x="30313" y="5875"/>
                  <a:pt x="30313" y="5875"/>
                </a:cubicBezTo>
                <a:cubicBezTo>
                  <a:pt x="30438" y="5843"/>
                  <a:pt x="30563" y="5781"/>
                  <a:pt x="30656" y="5718"/>
                </a:cubicBezTo>
                <a:cubicBezTo>
                  <a:pt x="30781" y="5656"/>
                  <a:pt x="30875" y="5593"/>
                  <a:pt x="31000" y="5531"/>
                </a:cubicBezTo>
                <a:cubicBezTo>
                  <a:pt x="30969" y="5500"/>
                  <a:pt x="30938" y="5500"/>
                  <a:pt x="30906" y="5500"/>
                </a:cubicBezTo>
                <a:cubicBezTo>
                  <a:pt x="30813" y="5468"/>
                  <a:pt x="30719" y="5468"/>
                  <a:pt x="30656" y="5562"/>
                </a:cubicBezTo>
                <a:cubicBezTo>
                  <a:pt x="30656" y="5593"/>
                  <a:pt x="30656" y="5593"/>
                  <a:pt x="30625" y="5593"/>
                </a:cubicBezTo>
                <a:cubicBezTo>
                  <a:pt x="30625" y="5625"/>
                  <a:pt x="30594" y="5625"/>
                  <a:pt x="30563" y="5625"/>
                </a:cubicBezTo>
                <a:cubicBezTo>
                  <a:pt x="30531" y="5625"/>
                  <a:pt x="30500" y="5656"/>
                  <a:pt x="30469" y="5656"/>
                </a:cubicBezTo>
                <a:cubicBezTo>
                  <a:pt x="30406" y="5656"/>
                  <a:pt x="30344" y="5687"/>
                  <a:pt x="30281" y="5687"/>
                </a:cubicBezTo>
                <a:cubicBezTo>
                  <a:pt x="30125" y="5687"/>
                  <a:pt x="29938" y="5687"/>
                  <a:pt x="29781" y="5687"/>
                </a:cubicBezTo>
                <a:cubicBezTo>
                  <a:pt x="29719" y="5687"/>
                  <a:pt x="29688" y="5625"/>
                  <a:pt x="29656" y="5593"/>
                </a:cubicBezTo>
                <a:cubicBezTo>
                  <a:pt x="29594" y="5531"/>
                  <a:pt x="29500" y="5531"/>
                  <a:pt x="29438" y="5593"/>
                </a:cubicBezTo>
                <a:cubicBezTo>
                  <a:pt x="29375" y="5687"/>
                  <a:pt x="29250" y="5687"/>
                  <a:pt x="29156" y="5718"/>
                </a:cubicBezTo>
                <a:cubicBezTo>
                  <a:pt x="29031" y="5750"/>
                  <a:pt x="28844" y="5812"/>
                  <a:pt x="28750" y="5625"/>
                </a:cubicBezTo>
                <a:cubicBezTo>
                  <a:pt x="28750" y="5562"/>
                  <a:pt x="28719" y="5562"/>
                  <a:pt x="28688" y="5593"/>
                </a:cubicBezTo>
                <a:cubicBezTo>
                  <a:pt x="28594" y="5718"/>
                  <a:pt x="28531" y="5656"/>
                  <a:pt x="28469" y="5562"/>
                </a:cubicBezTo>
                <a:cubicBezTo>
                  <a:pt x="28438" y="5531"/>
                  <a:pt x="28406" y="5406"/>
                  <a:pt x="28281" y="5500"/>
                </a:cubicBezTo>
                <a:cubicBezTo>
                  <a:pt x="28250" y="5531"/>
                  <a:pt x="28219" y="5562"/>
                  <a:pt x="28156" y="5531"/>
                </a:cubicBezTo>
                <a:cubicBezTo>
                  <a:pt x="28125" y="5500"/>
                  <a:pt x="28156" y="5468"/>
                  <a:pt x="28156" y="5437"/>
                </a:cubicBezTo>
                <a:cubicBezTo>
                  <a:pt x="28188" y="5375"/>
                  <a:pt x="28250" y="5312"/>
                  <a:pt x="28281" y="5343"/>
                </a:cubicBezTo>
                <a:cubicBezTo>
                  <a:pt x="28438" y="5468"/>
                  <a:pt x="28531" y="5343"/>
                  <a:pt x="28625" y="5281"/>
                </a:cubicBezTo>
                <a:cubicBezTo>
                  <a:pt x="28719" y="5250"/>
                  <a:pt x="28719" y="5218"/>
                  <a:pt x="28781" y="5312"/>
                </a:cubicBezTo>
                <a:cubicBezTo>
                  <a:pt x="28844" y="5406"/>
                  <a:pt x="28938" y="5343"/>
                  <a:pt x="28938" y="5281"/>
                </a:cubicBezTo>
                <a:cubicBezTo>
                  <a:pt x="28969" y="5093"/>
                  <a:pt x="29063" y="5062"/>
                  <a:pt x="29219" y="5093"/>
                </a:cubicBezTo>
                <a:cubicBezTo>
                  <a:pt x="29281" y="5093"/>
                  <a:pt x="29313" y="5062"/>
                  <a:pt x="29375" y="5000"/>
                </a:cubicBezTo>
                <a:cubicBezTo>
                  <a:pt x="29438" y="4906"/>
                  <a:pt x="29281" y="4968"/>
                  <a:pt x="29313" y="4906"/>
                </a:cubicBezTo>
                <a:cubicBezTo>
                  <a:pt x="29375" y="4718"/>
                  <a:pt x="29250" y="4781"/>
                  <a:pt x="29156" y="4781"/>
                </a:cubicBezTo>
                <a:cubicBezTo>
                  <a:pt x="29125" y="4812"/>
                  <a:pt x="29063" y="4812"/>
                  <a:pt x="29031" y="4812"/>
                </a:cubicBezTo>
                <a:cubicBezTo>
                  <a:pt x="28781" y="4781"/>
                  <a:pt x="28625" y="4968"/>
                  <a:pt x="28438" y="5093"/>
                </a:cubicBezTo>
                <a:cubicBezTo>
                  <a:pt x="28344" y="5156"/>
                  <a:pt x="28313" y="5312"/>
                  <a:pt x="28188" y="5156"/>
                </a:cubicBezTo>
                <a:cubicBezTo>
                  <a:pt x="28188" y="5125"/>
                  <a:pt x="28156" y="5125"/>
                  <a:pt x="28125" y="5156"/>
                </a:cubicBezTo>
                <a:cubicBezTo>
                  <a:pt x="27969" y="5250"/>
                  <a:pt x="27781" y="5218"/>
                  <a:pt x="27563" y="5125"/>
                </a:cubicBezTo>
                <a:cubicBezTo>
                  <a:pt x="27594" y="5187"/>
                  <a:pt x="27625" y="5187"/>
                  <a:pt x="27625" y="5218"/>
                </a:cubicBezTo>
                <a:cubicBezTo>
                  <a:pt x="27688" y="5281"/>
                  <a:pt x="27719" y="5406"/>
                  <a:pt x="27625" y="5437"/>
                </a:cubicBezTo>
                <a:cubicBezTo>
                  <a:pt x="27531" y="5468"/>
                  <a:pt x="27375" y="5656"/>
                  <a:pt x="27281" y="5437"/>
                </a:cubicBezTo>
                <a:cubicBezTo>
                  <a:pt x="27250" y="5406"/>
                  <a:pt x="27250" y="5406"/>
                  <a:pt x="27219" y="5406"/>
                </a:cubicBezTo>
                <a:cubicBezTo>
                  <a:pt x="27125" y="5468"/>
                  <a:pt x="27000" y="5500"/>
                  <a:pt x="26906" y="5500"/>
                </a:cubicBezTo>
                <a:cubicBezTo>
                  <a:pt x="26844" y="5531"/>
                  <a:pt x="26813" y="5531"/>
                  <a:pt x="26813" y="5593"/>
                </a:cubicBezTo>
                <a:cubicBezTo>
                  <a:pt x="26781" y="5718"/>
                  <a:pt x="26719" y="5781"/>
                  <a:pt x="26563" y="5812"/>
                </a:cubicBezTo>
                <a:cubicBezTo>
                  <a:pt x="26594" y="5625"/>
                  <a:pt x="26469" y="5656"/>
                  <a:pt x="26375" y="5687"/>
                </a:cubicBezTo>
                <a:cubicBezTo>
                  <a:pt x="26188" y="5687"/>
                  <a:pt x="26031" y="5718"/>
                  <a:pt x="25844" y="5781"/>
                </a:cubicBezTo>
                <a:cubicBezTo>
                  <a:pt x="25781" y="5812"/>
                  <a:pt x="25656" y="5812"/>
                  <a:pt x="25563" y="5718"/>
                </a:cubicBezTo>
                <a:cubicBezTo>
                  <a:pt x="25469" y="5625"/>
                  <a:pt x="25375" y="5625"/>
                  <a:pt x="25281" y="5656"/>
                </a:cubicBezTo>
                <a:cubicBezTo>
                  <a:pt x="25281" y="5656"/>
                  <a:pt x="25281" y="5656"/>
                  <a:pt x="25281" y="5656"/>
                </a:cubicBezTo>
                <a:cubicBezTo>
                  <a:pt x="25156" y="5687"/>
                  <a:pt x="25031" y="5656"/>
                  <a:pt x="24906" y="5625"/>
                </a:cubicBezTo>
                <a:cubicBezTo>
                  <a:pt x="24844" y="5625"/>
                  <a:pt x="24781" y="5593"/>
                  <a:pt x="24719" y="5562"/>
                </a:cubicBezTo>
                <a:cubicBezTo>
                  <a:pt x="24656" y="5531"/>
                  <a:pt x="24594" y="5562"/>
                  <a:pt x="24563" y="5593"/>
                </a:cubicBezTo>
                <a:cubicBezTo>
                  <a:pt x="24438" y="5750"/>
                  <a:pt x="24313" y="5781"/>
                  <a:pt x="24125" y="5718"/>
                </a:cubicBezTo>
                <a:cubicBezTo>
                  <a:pt x="24156" y="5718"/>
                  <a:pt x="24156" y="5687"/>
                  <a:pt x="24188" y="5687"/>
                </a:cubicBezTo>
                <a:cubicBezTo>
                  <a:pt x="24313" y="5656"/>
                  <a:pt x="24313" y="5468"/>
                  <a:pt x="24469" y="5500"/>
                </a:cubicBezTo>
                <a:cubicBezTo>
                  <a:pt x="24438" y="5406"/>
                  <a:pt x="24500" y="5375"/>
                  <a:pt x="24594" y="5375"/>
                </a:cubicBezTo>
                <a:cubicBezTo>
                  <a:pt x="24844" y="5375"/>
                  <a:pt x="25094" y="5250"/>
                  <a:pt x="25313" y="5156"/>
                </a:cubicBezTo>
                <a:cubicBezTo>
                  <a:pt x="25500" y="5062"/>
                  <a:pt x="25688" y="4937"/>
                  <a:pt x="25938" y="5125"/>
                </a:cubicBezTo>
                <a:cubicBezTo>
                  <a:pt x="25938" y="5125"/>
                  <a:pt x="25969" y="5125"/>
                  <a:pt x="26000" y="5093"/>
                </a:cubicBezTo>
                <a:cubicBezTo>
                  <a:pt x="25906" y="5000"/>
                  <a:pt x="25906" y="4937"/>
                  <a:pt x="26063" y="4875"/>
                </a:cubicBezTo>
                <a:cubicBezTo>
                  <a:pt x="26188" y="4843"/>
                  <a:pt x="26281" y="4906"/>
                  <a:pt x="26375" y="4781"/>
                </a:cubicBezTo>
                <a:cubicBezTo>
                  <a:pt x="26469" y="4656"/>
                  <a:pt x="26625" y="4687"/>
                  <a:pt x="26750" y="4625"/>
                </a:cubicBezTo>
                <a:cubicBezTo>
                  <a:pt x="26906" y="4562"/>
                  <a:pt x="27000" y="4687"/>
                  <a:pt x="27125" y="4718"/>
                </a:cubicBezTo>
                <a:cubicBezTo>
                  <a:pt x="27125" y="4750"/>
                  <a:pt x="27156" y="4750"/>
                  <a:pt x="27156" y="4781"/>
                </a:cubicBezTo>
                <a:cubicBezTo>
                  <a:pt x="27375" y="4906"/>
                  <a:pt x="27531" y="4875"/>
                  <a:pt x="27688" y="4687"/>
                </a:cubicBezTo>
                <a:cubicBezTo>
                  <a:pt x="27438" y="4812"/>
                  <a:pt x="27219" y="4718"/>
                  <a:pt x="27000" y="4625"/>
                </a:cubicBezTo>
                <a:cubicBezTo>
                  <a:pt x="27156" y="4531"/>
                  <a:pt x="27250" y="4343"/>
                  <a:pt x="27438" y="4468"/>
                </a:cubicBezTo>
                <a:cubicBezTo>
                  <a:pt x="27438" y="4468"/>
                  <a:pt x="27469" y="4468"/>
                  <a:pt x="27469" y="4437"/>
                </a:cubicBezTo>
                <a:cubicBezTo>
                  <a:pt x="27750" y="4218"/>
                  <a:pt x="28125" y="4250"/>
                  <a:pt x="28438" y="4125"/>
                </a:cubicBezTo>
                <a:cubicBezTo>
                  <a:pt x="28563" y="4062"/>
                  <a:pt x="28719" y="4093"/>
                  <a:pt x="28844" y="4062"/>
                </a:cubicBezTo>
                <a:cubicBezTo>
                  <a:pt x="29094" y="3968"/>
                  <a:pt x="29344" y="3843"/>
                  <a:pt x="29563" y="3718"/>
                </a:cubicBezTo>
                <a:cubicBezTo>
                  <a:pt x="29656" y="3656"/>
                  <a:pt x="29750" y="3593"/>
                  <a:pt x="29844" y="3562"/>
                </a:cubicBezTo>
                <a:cubicBezTo>
                  <a:pt x="29969" y="3500"/>
                  <a:pt x="30063" y="3437"/>
                  <a:pt x="30156" y="3406"/>
                </a:cubicBezTo>
                <a:cubicBezTo>
                  <a:pt x="30188" y="3406"/>
                  <a:pt x="30219" y="3375"/>
                  <a:pt x="30250" y="3375"/>
                </a:cubicBezTo>
                <a:cubicBezTo>
                  <a:pt x="30250" y="3343"/>
                  <a:pt x="30250" y="3343"/>
                  <a:pt x="30250" y="3343"/>
                </a:cubicBezTo>
                <a:cubicBezTo>
                  <a:pt x="30281" y="3343"/>
                  <a:pt x="30281" y="3312"/>
                  <a:pt x="30313" y="3312"/>
                </a:cubicBezTo>
                <a:cubicBezTo>
                  <a:pt x="30313" y="3281"/>
                  <a:pt x="30313" y="3281"/>
                  <a:pt x="30281" y="3250"/>
                </a:cubicBezTo>
                <a:cubicBezTo>
                  <a:pt x="30281" y="3250"/>
                  <a:pt x="30250" y="3218"/>
                  <a:pt x="30219" y="3218"/>
                </a:cubicBezTo>
                <a:cubicBezTo>
                  <a:pt x="30219" y="3218"/>
                  <a:pt x="30219" y="3187"/>
                  <a:pt x="30188" y="3187"/>
                </a:cubicBezTo>
                <a:cubicBezTo>
                  <a:pt x="30188" y="3187"/>
                  <a:pt x="30188" y="3187"/>
                  <a:pt x="30188" y="3187"/>
                </a:cubicBezTo>
                <a:cubicBezTo>
                  <a:pt x="30156" y="3156"/>
                  <a:pt x="30094" y="3156"/>
                  <a:pt x="30125" y="3125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25" y="3093"/>
                  <a:pt x="30125" y="3093"/>
                  <a:pt x="30125" y="3093"/>
                </a:cubicBezTo>
                <a:cubicBezTo>
                  <a:pt x="30156" y="3062"/>
                  <a:pt x="30188" y="3031"/>
                  <a:pt x="30219" y="3031"/>
                </a:cubicBezTo>
                <a:cubicBezTo>
                  <a:pt x="30281" y="2968"/>
                  <a:pt x="30375" y="2937"/>
                  <a:pt x="30438" y="2937"/>
                </a:cubicBezTo>
                <a:cubicBezTo>
                  <a:pt x="30438" y="2906"/>
                  <a:pt x="30438" y="2906"/>
                  <a:pt x="30469" y="2937"/>
                </a:cubicBezTo>
                <a:cubicBezTo>
                  <a:pt x="30500" y="2937"/>
                  <a:pt x="30531" y="2937"/>
                  <a:pt x="30563" y="2937"/>
                </a:cubicBezTo>
                <a:cubicBezTo>
                  <a:pt x="30656" y="2937"/>
                  <a:pt x="30719" y="2937"/>
                  <a:pt x="30781" y="2906"/>
                </a:cubicBezTo>
                <a:cubicBezTo>
                  <a:pt x="30781" y="2875"/>
                  <a:pt x="30781" y="2875"/>
                  <a:pt x="30813" y="2875"/>
                </a:cubicBezTo>
                <a:cubicBezTo>
                  <a:pt x="30875" y="2843"/>
                  <a:pt x="30938" y="2781"/>
                  <a:pt x="31000" y="2718"/>
                </a:cubicBezTo>
                <a:cubicBezTo>
                  <a:pt x="31000" y="2687"/>
                  <a:pt x="31031" y="2656"/>
                  <a:pt x="31063" y="2625"/>
                </a:cubicBezTo>
                <a:cubicBezTo>
                  <a:pt x="30938" y="2656"/>
                  <a:pt x="30844" y="2625"/>
                  <a:pt x="30813" y="2531"/>
                </a:cubicBezTo>
                <a:cubicBezTo>
                  <a:pt x="30750" y="2593"/>
                  <a:pt x="30688" y="2562"/>
                  <a:pt x="30594" y="2531"/>
                </a:cubicBezTo>
                <a:cubicBezTo>
                  <a:pt x="30594" y="2531"/>
                  <a:pt x="30594" y="2531"/>
                  <a:pt x="30563" y="2531"/>
                </a:cubicBezTo>
                <a:cubicBezTo>
                  <a:pt x="30531" y="2531"/>
                  <a:pt x="30500" y="2531"/>
                  <a:pt x="30500" y="2562"/>
                </a:cubicBezTo>
                <a:cubicBezTo>
                  <a:pt x="30469" y="2562"/>
                  <a:pt x="30469" y="2593"/>
                  <a:pt x="30469" y="2593"/>
                </a:cubicBezTo>
                <a:cubicBezTo>
                  <a:pt x="30438" y="2593"/>
                  <a:pt x="30438" y="2593"/>
                  <a:pt x="30406" y="2562"/>
                </a:cubicBezTo>
                <a:cubicBezTo>
                  <a:pt x="30375" y="2531"/>
                  <a:pt x="30406" y="2500"/>
                  <a:pt x="30438" y="2468"/>
                </a:cubicBezTo>
                <a:cubicBezTo>
                  <a:pt x="30438" y="2468"/>
                  <a:pt x="30438" y="2437"/>
                  <a:pt x="30469" y="2437"/>
                </a:cubicBezTo>
                <a:cubicBezTo>
                  <a:pt x="30469" y="2437"/>
                  <a:pt x="30500" y="2406"/>
                  <a:pt x="30531" y="2406"/>
                </a:cubicBezTo>
                <a:cubicBezTo>
                  <a:pt x="30594" y="2406"/>
                  <a:pt x="30625" y="2406"/>
                  <a:pt x="30688" y="2406"/>
                </a:cubicBezTo>
                <a:cubicBezTo>
                  <a:pt x="30938" y="2375"/>
                  <a:pt x="31031" y="2312"/>
                  <a:pt x="31094" y="2093"/>
                </a:cubicBezTo>
                <a:cubicBezTo>
                  <a:pt x="31094" y="2093"/>
                  <a:pt x="31094" y="2093"/>
                  <a:pt x="31094" y="2062"/>
                </a:cubicBezTo>
                <a:cubicBezTo>
                  <a:pt x="31125" y="2031"/>
                  <a:pt x="31156" y="2000"/>
                  <a:pt x="31188" y="2000"/>
                </a:cubicBezTo>
                <a:cubicBezTo>
                  <a:pt x="31250" y="1968"/>
                  <a:pt x="31281" y="1968"/>
                  <a:pt x="31313" y="1968"/>
                </a:cubicBezTo>
                <a:cubicBezTo>
                  <a:pt x="31406" y="1968"/>
                  <a:pt x="31500" y="1968"/>
                  <a:pt x="31563" y="1906"/>
                </a:cubicBezTo>
                <a:cubicBezTo>
                  <a:pt x="31563" y="1906"/>
                  <a:pt x="31594" y="1906"/>
                  <a:pt x="31594" y="1875"/>
                </a:cubicBezTo>
                <a:cubicBezTo>
                  <a:pt x="31625" y="1843"/>
                  <a:pt x="31625" y="1843"/>
                  <a:pt x="31625" y="1812"/>
                </a:cubicBezTo>
                <a:cubicBezTo>
                  <a:pt x="31625" y="1812"/>
                  <a:pt x="31656" y="1812"/>
                  <a:pt x="31656" y="1812"/>
                </a:cubicBezTo>
                <a:cubicBezTo>
                  <a:pt x="31656" y="1812"/>
                  <a:pt x="31656" y="1812"/>
                  <a:pt x="31656" y="1812"/>
                </a:cubicBezTo>
                <a:cubicBezTo>
                  <a:pt x="31688" y="1812"/>
                  <a:pt x="31688" y="1812"/>
                  <a:pt x="31688" y="1812"/>
                </a:cubicBezTo>
                <a:cubicBezTo>
                  <a:pt x="31719" y="1812"/>
                  <a:pt x="31719" y="1843"/>
                  <a:pt x="31750" y="1843"/>
                </a:cubicBezTo>
                <a:cubicBezTo>
                  <a:pt x="31813" y="1875"/>
                  <a:pt x="31875" y="1843"/>
                  <a:pt x="31938" y="1843"/>
                </a:cubicBezTo>
                <a:cubicBezTo>
                  <a:pt x="31969" y="1843"/>
                  <a:pt x="32000" y="1812"/>
                  <a:pt x="32000" y="1812"/>
                </a:cubicBezTo>
                <a:cubicBezTo>
                  <a:pt x="32031" y="1812"/>
                  <a:pt x="32031" y="1812"/>
                  <a:pt x="32031" y="1812"/>
                </a:cubicBezTo>
                <a:cubicBezTo>
                  <a:pt x="32094" y="1781"/>
                  <a:pt x="32156" y="1750"/>
                  <a:pt x="32188" y="1718"/>
                </a:cubicBezTo>
                <a:cubicBezTo>
                  <a:pt x="32219" y="1718"/>
                  <a:pt x="32250" y="1718"/>
                  <a:pt x="32250" y="1687"/>
                </a:cubicBezTo>
                <a:cubicBezTo>
                  <a:pt x="32281" y="1687"/>
                  <a:pt x="32281" y="1656"/>
                  <a:pt x="32281" y="1656"/>
                </a:cubicBezTo>
                <a:cubicBezTo>
                  <a:pt x="32281" y="1656"/>
                  <a:pt x="32281" y="1625"/>
                  <a:pt x="32281" y="1625"/>
                </a:cubicBezTo>
                <a:cubicBezTo>
                  <a:pt x="32313" y="1625"/>
                  <a:pt x="32313" y="1593"/>
                  <a:pt x="32281" y="1593"/>
                </a:cubicBezTo>
                <a:cubicBezTo>
                  <a:pt x="32281" y="1562"/>
                  <a:pt x="32281" y="1531"/>
                  <a:pt x="32250" y="1531"/>
                </a:cubicBezTo>
                <a:cubicBezTo>
                  <a:pt x="32219" y="1500"/>
                  <a:pt x="32188" y="1500"/>
                  <a:pt x="32125" y="1500"/>
                </a:cubicBezTo>
                <a:cubicBezTo>
                  <a:pt x="32094" y="1531"/>
                  <a:pt x="32031" y="1531"/>
                  <a:pt x="32000" y="1531"/>
                </a:cubicBezTo>
                <a:cubicBezTo>
                  <a:pt x="31906" y="1531"/>
                  <a:pt x="31844" y="1531"/>
                  <a:pt x="31781" y="1562"/>
                </a:cubicBezTo>
                <a:cubicBezTo>
                  <a:pt x="31750" y="1562"/>
                  <a:pt x="31750" y="1562"/>
                  <a:pt x="31719" y="1593"/>
                </a:cubicBezTo>
                <a:cubicBezTo>
                  <a:pt x="31688" y="1593"/>
                  <a:pt x="31625" y="1625"/>
                  <a:pt x="31594" y="1656"/>
                </a:cubicBezTo>
                <a:cubicBezTo>
                  <a:pt x="31563" y="1687"/>
                  <a:pt x="31531" y="1687"/>
                  <a:pt x="31469" y="1718"/>
                </a:cubicBezTo>
                <a:cubicBezTo>
                  <a:pt x="31469" y="1718"/>
                  <a:pt x="31469" y="1718"/>
                  <a:pt x="31438" y="1718"/>
                </a:cubicBezTo>
                <a:cubicBezTo>
                  <a:pt x="31438" y="1718"/>
                  <a:pt x="31438" y="1718"/>
                  <a:pt x="31406" y="1718"/>
                </a:cubicBezTo>
                <a:cubicBezTo>
                  <a:pt x="31406" y="1718"/>
                  <a:pt x="31406" y="1718"/>
                  <a:pt x="31375" y="1718"/>
                </a:cubicBezTo>
                <a:cubicBezTo>
                  <a:pt x="31375" y="1718"/>
                  <a:pt x="31375" y="1718"/>
                  <a:pt x="31344" y="1718"/>
                </a:cubicBezTo>
                <a:cubicBezTo>
                  <a:pt x="31250" y="1718"/>
                  <a:pt x="31125" y="1718"/>
                  <a:pt x="31031" y="1750"/>
                </a:cubicBezTo>
                <a:cubicBezTo>
                  <a:pt x="30969" y="1750"/>
                  <a:pt x="30938" y="1750"/>
                  <a:pt x="30875" y="1750"/>
                </a:cubicBezTo>
                <a:cubicBezTo>
                  <a:pt x="30813" y="1750"/>
                  <a:pt x="30750" y="1750"/>
                  <a:pt x="30719" y="1750"/>
                </a:cubicBezTo>
                <a:cubicBezTo>
                  <a:pt x="30688" y="1750"/>
                  <a:pt x="30688" y="1750"/>
                  <a:pt x="30656" y="1750"/>
                </a:cubicBezTo>
                <a:cubicBezTo>
                  <a:pt x="30625" y="1750"/>
                  <a:pt x="30625" y="1750"/>
                  <a:pt x="30594" y="1750"/>
                </a:cubicBezTo>
                <a:cubicBezTo>
                  <a:pt x="30594" y="1750"/>
                  <a:pt x="30563" y="1750"/>
                  <a:pt x="30563" y="1750"/>
                </a:cubicBezTo>
                <a:cubicBezTo>
                  <a:pt x="30531" y="1781"/>
                  <a:pt x="30500" y="1781"/>
                  <a:pt x="30500" y="1781"/>
                </a:cubicBezTo>
                <a:cubicBezTo>
                  <a:pt x="30469" y="1812"/>
                  <a:pt x="30469" y="1812"/>
                  <a:pt x="30438" y="1812"/>
                </a:cubicBezTo>
                <a:cubicBezTo>
                  <a:pt x="30375" y="1843"/>
                  <a:pt x="30313" y="1843"/>
                  <a:pt x="30281" y="1843"/>
                </a:cubicBezTo>
                <a:cubicBezTo>
                  <a:pt x="30219" y="1843"/>
                  <a:pt x="30156" y="1812"/>
                  <a:pt x="30094" y="1781"/>
                </a:cubicBezTo>
                <a:cubicBezTo>
                  <a:pt x="30094" y="1750"/>
                  <a:pt x="30063" y="1750"/>
                  <a:pt x="30031" y="1718"/>
                </a:cubicBezTo>
                <a:cubicBezTo>
                  <a:pt x="30031" y="1781"/>
                  <a:pt x="30063" y="1812"/>
                  <a:pt x="30063" y="1843"/>
                </a:cubicBezTo>
                <a:cubicBezTo>
                  <a:pt x="30063" y="1875"/>
                  <a:pt x="30063" y="1906"/>
                  <a:pt x="30063" y="1937"/>
                </a:cubicBezTo>
                <a:cubicBezTo>
                  <a:pt x="30063" y="1968"/>
                  <a:pt x="30063" y="1968"/>
                  <a:pt x="30063" y="2000"/>
                </a:cubicBezTo>
                <a:cubicBezTo>
                  <a:pt x="30031" y="2000"/>
                  <a:pt x="30031" y="2000"/>
                  <a:pt x="30000" y="2031"/>
                </a:cubicBezTo>
                <a:cubicBezTo>
                  <a:pt x="30000" y="2031"/>
                  <a:pt x="29969" y="2031"/>
                  <a:pt x="29938" y="2031"/>
                </a:cubicBezTo>
                <a:cubicBezTo>
                  <a:pt x="29813" y="2062"/>
                  <a:pt x="29688" y="2062"/>
                  <a:pt x="29563" y="2031"/>
                </a:cubicBezTo>
                <a:cubicBezTo>
                  <a:pt x="29625" y="2093"/>
                  <a:pt x="29656" y="2125"/>
                  <a:pt x="29563" y="2187"/>
                </a:cubicBezTo>
                <a:cubicBezTo>
                  <a:pt x="29406" y="2281"/>
                  <a:pt x="29250" y="2250"/>
                  <a:pt x="29094" y="2281"/>
                </a:cubicBezTo>
                <a:cubicBezTo>
                  <a:pt x="28844" y="2343"/>
                  <a:pt x="28594" y="2406"/>
                  <a:pt x="28344" y="2468"/>
                </a:cubicBezTo>
                <a:cubicBezTo>
                  <a:pt x="28063" y="2562"/>
                  <a:pt x="27781" y="2593"/>
                  <a:pt x="27500" y="2625"/>
                </a:cubicBezTo>
                <a:cubicBezTo>
                  <a:pt x="27594" y="2750"/>
                  <a:pt x="27563" y="2875"/>
                  <a:pt x="27531" y="3000"/>
                </a:cubicBezTo>
                <a:cubicBezTo>
                  <a:pt x="27469" y="3125"/>
                  <a:pt x="27344" y="3125"/>
                  <a:pt x="27250" y="3125"/>
                </a:cubicBezTo>
                <a:cubicBezTo>
                  <a:pt x="27156" y="3125"/>
                  <a:pt x="27125" y="3093"/>
                  <a:pt x="27094" y="3000"/>
                </a:cubicBezTo>
                <a:cubicBezTo>
                  <a:pt x="27094" y="2937"/>
                  <a:pt x="27156" y="2906"/>
                  <a:pt x="27219" y="2906"/>
                </a:cubicBezTo>
                <a:cubicBezTo>
                  <a:pt x="27313" y="2906"/>
                  <a:pt x="27344" y="2875"/>
                  <a:pt x="27344" y="2781"/>
                </a:cubicBezTo>
                <a:cubicBezTo>
                  <a:pt x="27344" y="2656"/>
                  <a:pt x="27250" y="2687"/>
                  <a:pt x="27188" y="2687"/>
                </a:cubicBezTo>
                <a:cubicBezTo>
                  <a:pt x="26844" y="2781"/>
                  <a:pt x="26500" y="2843"/>
                  <a:pt x="26156" y="2906"/>
                </a:cubicBezTo>
                <a:cubicBezTo>
                  <a:pt x="26094" y="2906"/>
                  <a:pt x="26031" y="2937"/>
                  <a:pt x="26031" y="2875"/>
                </a:cubicBezTo>
                <a:cubicBezTo>
                  <a:pt x="26000" y="2687"/>
                  <a:pt x="25906" y="2750"/>
                  <a:pt x="25813" y="2812"/>
                </a:cubicBezTo>
                <a:cubicBezTo>
                  <a:pt x="25719" y="2843"/>
                  <a:pt x="25563" y="2843"/>
                  <a:pt x="25531" y="3000"/>
                </a:cubicBezTo>
                <a:cubicBezTo>
                  <a:pt x="25531" y="3031"/>
                  <a:pt x="25469" y="3031"/>
                  <a:pt x="25438" y="3062"/>
                </a:cubicBezTo>
                <a:cubicBezTo>
                  <a:pt x="25219" y="3125"/>
                  <a:pt x="25000" y="3125"/>
                  <a:pt x="24781" y="3156"/>
                </a:cubicBezTo>
                <a:cubicBezTo>
                  <a:pt x="24750" y="3156"/>
                  <a:pt x="24688" y="3156"/>
                  <a:pt x="24656" y="3125"/>
                </a:cubicBezTo>
                <a:cubicBezTo>
                  <a:pt x="24469" y="2968"/>
                  <a:pt x="24281" y="3031"/>
                  <a:pt x="24094" y="3125"/>
                </a:cubicBezTo>
                <a:cubicBezTo>
                  <a:pt x="23969" y="3187"/>
                  <a:pt x="23594" y="3093"/>
                  <a:pt x="23531" y="3000"/>
                </a:cubicBezTo>
                <a:cubicBezTo>
                  <a:pt x="23500" y="2968"/>
                  <a:pt x="23500" y="2906"/>
                  <a:pt x="23469" y="2937"/>
                </a:cubicBezTo>
                <a:cubicBezTo>
                  <a:pt x="23406" y="2937"/>
                  <a:pt x="23438" y="3000"/>
                  <a:pt x="23469" y="3031"/>
                </a:cubicBezTo>
                <a:cubicBezTo>
                  <a:pt x="23500" y="3062"/>
                  <a:pt x="23500" y="3093"/>
                  <a:pt x="23438" y="3125"/>
                </a:cubicBezTo>
                <a:cubicBezTo>
                  <a:pt x="23375" y="3125"/>
                  <a:pt x="23344" y="3125"/>
                  <a:pt x="23313" y="3062"/>
                </a:cubicBezTo>
                <a:cubicBezTo>
                  <a:pt x="23313" y="3031"/>
                  <a:pt x="23313" y="2968"/>
                  <a:pt x="23313" y="2937"/>
                </a:cubicBezTo>
                <a:cubicBezTo>
                  <a:pt x="23313" y="2875"/>
                  <a:pt x="23250" y="2843"/>
                  <a:pt x="23219" y="2812"/>
                </a:cubicBezTo>
                <a:cubicBezTo>
                  <a:pt x="23156" y="2812"/>
                  <a:pt x="23156" y="2875"/>
                  <a:pt x="23125" y="2906"/>
                </a:cubicBezTo>
                <a:cubicBezTo>
                  <a:pt x="23094" y="3031"/>
                  <a:pt x="22969" y="3031"/>
                  <a:pt x="22844" y="3062"/>
                </a:cubicBezTo>
                <a:cubicBezTo>
                  <a:pt x="22750" y="3062"/>
                  <a:pt x="22625" y="3031"/>
                  <a:pt x="22531" y="3093"/>
                </a:cubicBezTo>
                <a:cubicBezTo>
                  <a:pt x="22500" y="3125"/>
                  <a:pt x="22469" y="3125"/>
                  <a:pt x="22406" y="3093"/>
                </a:cubicBezTo>
                <a:cubicBezTo>
                  <a:pt x="22344" y="3062"/>
                  <a:pt x="22281" y="3062"/>
                  <a:pt x="22188" y="3062"/>
                </a:cubicBezTo>
                <a:cubicBezTo>
                  <a:pt x="22063" y="3093"/>
                  <a:pt x="22125" y="2937"/>
                  <a:pt x="22063" y="2937"/>
                </a:cubicBezTo>
                <a:cubicBezTo>
                  <a:pt x="21969" y="2843"/>
                  <a:pt x="22000" y="3031"/>
                  <a:pt x="21906" y="3031"/>
                </a:cubicBezTo>
                <a:cubicBezTo>
                  <a:pt x="21906" y="3031"/>
                  <a:pt x="21875" y="3031"/>
                  <a:pt x="21875" y="3031"/>
                </a:cubicBezTo>
                <a:cubicBezTo>
                  <a:pt x="21813" y="2937"/>
                  <a:pt x="21813" y="3000"/>
                  <a:pt x="21781" y="3031"/>
                </a:cubicBezTo>
                <a:cubicBezTo>
                  <a:pt x="21719" y="3093"/>
                  <a:pt x="21688" y="3125"/>
                  <a:pt x="21625" y="3125"/>
                </a:cubicBezTo>
                <a:cubicBezTo>
                  <a:pt x="21375" y="3187"/>
                  <a:pt x="21156" y="3000"/>
                  <a:pt x="20938" y="3125"/>
                </a:cubicBezTo>
                <a:cubicBezTo>
                  <a:pt x="20938" y="3125"/>
                  <a:pt x="20906" y="3125"/>
                  <a:pt x="20906" y="3125"/>
                </a:cubicBezTo>
                <a:cubicBezTo>
                  <a:pt x="20781" y="2968"/>
                  <a:pt x="20625" y="3000"/>
                  <a:pt x="20469" y="3125"/>
                </a:cubicBezTo>
                <a:cubicBezTo>
                  <a:pt x="20469" y="3125"/>
                  <a:pt x="20438" y="3125"/>
                  <a:pt x="20438" y="3125"/>
                </a:cubicBezTo>
                <a:cubicBezTo>
                  <a:pt x="20313" y="3031"/>
                  <a:pt x="20125" y="3062"/>
                  <a:pt x="20031" y="2937"/>
                </a:cubicBezTo>
                <a:cubicBezTo>
                  <a:pt x="19938" y="2843"/>
                  <a:pt x="19781" y="2843"/>
                  <a:pt x="19719" y="2750"/>
                </a:cubicBezTo>
                <a:cubicBezTo>
                  <a:pt x="19656" y="2625"/>
                  <a:pt x="19594" y="2625"/>
                  <a:pt x="19500" y="2625"/>
                </a:cubicBezTo>
                <a:cubicBezTo>
                  <a:pt x="19375" y="2625"/>
                  <a:pt x="19219" y="2656"/>
                  <a:pt x="19125" y="2593"/>
                </a:cubicBezTo>
                <a:cubicBezTo>
                  <a:pt x="18875" y="2468"/>
                  <a:pt x="18594" y="2500"/>
                  <a:pt x="18344" y="2437"/>
                </a:cubicBezTo>
                <a:cubicBezTo>
                  <a:pt x="17969" y="2343"/>
                  <a:pt x="17594" y="2343"/>
                  <a:pt x="17219" y="2281"/>
                </a:cubicBezTo>
                <a:cubicBezTo>
                  <a:pt x="17188" y="2281"/>
                  <a:pt x="17156" y="2281"/>
                  <a:pt x="17156" y="2250"/>
                </a:cubicBezTo>
                <a:cubicBezTo>
                  <a:pt x="17250" y="2156"/>
                  <a:pt x="17469" y="2250"/>
                  <a:pt x="17469" y="2031"/>
                </a:cubicBezTo>
                <a:cubicBezTo>
                  <a:pt x="17469" y="2031"/>
                  <a:pt x="17500" y="2031"/>
                  <a:pt x="17500" y="2031"/>
                </a:cubicBezTo>
                <a:cubicBezTo>
                  <a:pt x="17625" y="2000"/>
                  <a:pt x="17781" y="1968"/>
                  <a:pt x="17906" y="1937"/>
                </a:cubicBezTo>
                <a:cubicBezTo>
                  <a:pt x="18344" y="1937"/>
                  <a:pt x="18750" y="2000"/>
                  <a:pt x="19188" y="1968"/>
                </a:cubicBezTo>
                <a:cubicBezTo>
                  <a:pt x="19344" y="1937"/>
                  <a:pt x="19563" y="1875"/>
                  <a:pt x="19719" y="2000"/>
                </a:cubicBezTo>
                <a:cubicBezTo>
                  <a:pt x="19750" y="2031"/>
                  <a:pt x="19781" y="2031"/>
                  <a:pt x="19813" y="2000"/>
                </a:cubicBezTo>
                <a:cubicBezTo>
                  <a:pt x="19844" y="1812"/>
                  <a:pt x="19969" y="1906"/>
                  <a:pt x="20031" y="1968"/>
                </a:cubicBezTo>
                <a:cubicBezTo>
                  <a:pt x="20125" y="2031"/>
                  <a:pt x="20188" y="2000"/>
                  <a:pt x="20281" y="2000"/>
                </a:cubicBezTo>
                <a:cubicBezTo>
                  <a:pt x="20188" y="1968"/>
                  <a:pt x="20063" y="2000"/>
                  <a:pt x="20094" y="1875"/>
                </a:cubicBezTo>
                <a:cubicBezTo>
                  <a:pt x="20094" y="1781"/>
                  <a:pt x="20219" y="1812"/>
                  <a:pt x="20281" y="1812"/>
                </a:cubicBezTo>
                <a:cubicBezTo>
                  <a:pt x="20313" y="1812"/>
                  <a:pt x="20344" y="1812"/>
                  <a:pt x="20375" y="1781"/>
                </a:cubicBezTo>
                <a:cubicBezTo>
                  <a:pt x="20406" y="1781"/>
                  <a:pt x="20406" y="1781"/>
                  <a:pt x="20406" y="1781"/>
                </a:cubicBezTo>
                <a:cubicBezTo>
                  <a:pt x="20438" y="1781"/>
                  <a:pt x="20469" y="1781"/>
                  <a:pt x="20500" y="1781"/>
                </a:cubicBezTo>
                <a:cubicBezTo>
                  <a:pt x="20563" y="1781"/>
                  <a:pt x="20625" y="1750"/>
                  <a:pt x="20688" y="1750"/>
                </a:cubicBezTo>
                <a:cubicBezTo>
                  <a:pt x="20719" y="1750"/>
                  <a:pt x="20719" y="1750"/>
                  <a:pt x="20719" y="1750"/>
                </a:cubicBezTo>
                <a:cubicBezTo>
                  <a:pt x="20750" y="1750"/>
                  <a:pt x="20781" y="1750"/>
                  <a:pt x="20813" y="1750"/>
                </a:cubicBezTo>
                <a:lnTo>
                  <a:pt x="20813" y="1750"/>
                </a:lnTo>
                <a:cubicBezTo>
                  <a:pt x="20813" y="1750"/>
                  <a:pt x="20781" y="1750"/>
                  <a:pt x="20750" y="1750"/>
                </a:cubicBezTo>
                <a:cubicBezTo>
                  <a:pt x="20750" y="1750"/>
                  <a:pt x="20719" y="1750"/>
                  <a:pt x="20688" y="1750"/>
                </a:cubicBezTo>
                <a:cubicBezTo>
                  <a:pt x="20688" y="1750"/>
                  <a:pt x="20656" y="1750"/>
                  <a:pt x="20656" y="1750"/>
                </a:cubicBezTo>
                <a:cubicBezTo>
                  <a:pt x="20656" y="1750"/>
                  <a:pt x="20656" y="1750"/>
                  <a:pt x="20656" y="1750"/>
                </a:cubicBezTo>
                <a:cubicBezTo>
                  <a:pt x="20625" y="1781"/>
                  <a:pt x="20594" y="1781"/>
                  <a:pt x="20563" y="1781"/>
                </a:cubicBezTo>
                <a:lnTo>
                  <a:pt x="20563" y="1781"/>
                </a:lnTo>
                <a:cubicBezTo>
                  <a:pt x="20563" y="1781"/>
                  <a:pt x="20563" y="1781"/>
                  <a:pt x="20563" y="1781"/>
                </a:cubicBezTo>
                <a:cubicBezTo>
                  <a:pt x="20531" y="1781"/>
                  <a:pt x="20531" y="1781"/>
                  <a:pt x="20500" y="1781"/>
                </a:cubicBezTo>
                <a:cubicBezTo>
                  <a:pt x="20500" y="1781"/>
                  <a:pt x="20469" y="1781"/>
                  <a:pt x="20438" y="1750"/>
                </a:cubicBezTo>
                <a:cubicBezTo>
                  <a:pt x="20438" y="1750"/>
                  <a:pt x="20438" y="1750"/>
                  <a:pt x="20438" y="1750"/>
                </a:cubicBezTo>
                <a:cubicBezTo>
                  <a:pt x="20438" y="1750"/>
                  <a:pt x="20438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406" y="1750"/>
                  <a:pt x="20406" y="1750"/>
                  <a:pt x="20406" y="1750"/>
                </a:cubicBezTo>
                <a:cubicBezTo>
                  <a:pt x="20375" y="1750"/>
                  <a:pt x="20375" y="1718"/>
                  <a:pt x="20375" y="1718"/>
                </a:cubicBezTo>
                <a:cubicBezTo>
                  <a:pt x="20375" y="1718"/>
                  <a:pt x="20375" y="1718"/>
                  <a:pt x="20375" y="1718"/>
                </a:cubicBezTo>
                <a:cubicBezTo>
                  <a:pt x="20375" y="1718"/>
                  <a:pt x="20344" y="1718"/>
                  <a:pt x="20344" y="1718"/>
                </a:cubicBezTo>
                <a:cubicBezTo>
                  <a:pt x="20344" y="1718"/>
                  <a:pt x="20344" y="1687"/>
                  <a:pt x="20344" y="1687"/>
                </a:cubicBezTo>
                <a:cubicBezTo>
                  <a:pt x="20344" y="1687"/>
                  <a:pt x="20344" y="1687"/>
                  <a:pt x="20344" y="1687"/>
                </a:cubicBezTo>
                <a:cubicBezTo>
                  <a:pt x="20313" y="1687"/>
                  <a:pt x="20313" y="1656"/>
                  <a:pt x="20313" y="1656"/>
                </a:cubicBezTo>
                <a:cubicBezTo>
                  <a:pt x="20313" y="1656"/>
                  <a:pt x="20313" y="1656"/>
                  <a:pt x="20313" y="1656"/>
                </a:cubicBezTo>
                <a:cubicBezTo>
                  <a:pt x="20313" y="1625"/>
                  <a:pt x="20281" y="1625"/>
                  <a:pt x="20281" y="1593"/>
                </a:cubicBezTo>
                <a:cubicBezTo>
                  <a:pt x="20281" y="1562"/>
                  <a:pt x="20219" y="1562"/>
                  <a:pt x="20188" y="1562"/>
                </a:cubicBezTo>
                <a:cubicBezTo>
                  <a:pt x="19938" y="1406"/>
                  <a:pt x="19656" y="1468"/>
                  <a:pt x="19406" y="1343"/>
                </a:cubicBezTo>
                <a:cubicBezTo>
                  <a:pt x="19188" y="1218"/>
                  <a:pt x="18906" y="1250"/>
                  <a:pt x="18656" y="1187"/>
                </a:cubicBezTo>
                <a:cubicBezTo>
                  <a:pt x="18125" y="1062"/>
                  <a:pt x="17594" y="937"/>
                  <a:pt x="17031" y="968"/>
                </a:cubicBezTo>
                <a:cubicBezTo>
                  <a:pt x="16781" y="1000"/>
                  <a:pt x="16563" y="968"/>
                  <a:pt x="16313" y="1062"/>
                </a:cubicBezTo>
                <a:cubicBezTo>
                  <a:pt x="16094" y="1187"/>
                  <a:pt x="15875" y="1312"/>
                  <a:pt x="15625" y="1375"/>
                </a:cubicBezTo>
                <a:cubicBezTo>
                  <a:pt x="15438" y="1437"/>
                  <a:pt x="15281" y="1500"/>
                  <a:pt x="15156" y="1625"/>
                </a:cubicBezTo>
                <a:cubicBezTo>
                  <a:pt x="15094" y="1750"/>
                  <a:pt x="14906" y="1812"/>
                  <a:pt x="14906" y="1968"/>
                </a:cubicBezTo>
                <a:cubicBezTo>
                  <a:pt x="14938" y="2000"/>
                  <a:pt x="14875" y="2031"/>
                  <a:pt x="14875" y="2000"/>
                </a:cubicBezTo>
                <a:cubicBezTo>
                  <a:pt x="14656" y="1906"/>
                  <a:pt x="14438" y="2031"/>
                  <a:pt x="14250" y="1968"/>
                </a:cubicBezTo>
                <a:cubicBezTo>
                  <a:pt x="14188" y="1937"/>
                  <a:pt x="14125" y="1906"/>
                  <a:pt x="14063" y="1843"/>
                </a:cubicBezTo>
                <a:cubicBezTo>
                  <a:pt x="14063" y="1812"/>
                  <a:pt x="14031" y="1781"/>
                  <a:pt x="14063" y="1750"/>
                </a:cubicBezTo>
                <a:cubicBezTo>
                  <a:pt x="14094" y="1750"/>
                  <a:pt x="14125" y="1750"/>
                  <a:pt x="14125" y="1750"/>
                </a:cubicBezTo>
                <a:cubicBezTo>
                  <a:pt x="14313" y="1875"/>
                  <a:pt x="14500" y="1781"/>
                  <a:pt x="14656" y="1843"/>
                </a:cubicBezTo>
                <a:cubicBezTo>
                  <a:pt x="14688" y="1843"/>
                  <a:pt x="14750" y="1781"/>
                  <a:pt x="14719" y="1781"/>
                </a:cubicBezTo>
                <a:cubicBezTo>
                  <a:pt x="14625" y="1750"/>
                  <a:pt x="14563" y="1593"/>
                  <a:pt x="14438" y="1656"/>
                </a:cubicBezTo>
                <a:cubicBezTo>
                  <a:pt x="14313" y="1750"/>
                  <a:pt x="14219" y="1656"/>
                  <a:pt x="14188" y="1562"/>
                </a:cubicBezTo>
                <a:cubicBezTo>
                  <a:pt x="14125" y="1375"/>
                  <a:pt x="14031" y="1375"/>
                  <a:pt x="13875" y="1406"/>
                </a:cubicBezTo>
                <a:cubicBezTo>
                  <a:pt x="13750" y="1437"/>
                  <a:pt x="13625" y="1468"/>
                  <a:pt x="13563" y="1312"/>
                </a:cubicBezTo>
                <a:cubicBezTo>
                  <a:pt x="13531" y="1250"/>
                  <a:pt x="13500" y="1218"/>
                  <a:pt x="13438" y="1250"/>
                </a:cubicBezTo>
                <a:cubicBezTo>
                  <a:pt x="13406" y="1281"/>
                  <a:pt x="13344" y="1281"/>
                  <a:pt x="13313" y="1250"/>
                </a:cubicBezTo>
                <a:cubicBezTo>
                  <a:pt x="13063" y="1125"/>
                  <a:pt x="12813" y="1062"/>
                  <a:pt x="12531" y="1000"/>
                </a:cubicBezTo>
                <a:cubicBezTo>
                  <a:pt x="12344" y="968"/>
                  <a:pt x="12250" y="1031"/>
                  <a:pt x="12219" y="1187"/>
                </a:cubicBezTo>
                <a:cubicBezTo>
                  <a:pt x="12219" y="1218"/>
                  <a:pt x="12031" y="1500"/>
                  <a:pt x="12344" y="1375"/>
                </a:cubicBezTo>
                <a:cubicBezTo>
                  <a:pt x="12375" y="1375"/>
                  <a:pt x="12438" y="1406"/>
                  <a:pt x="12406" y="1468"/>
                </a:cubicBezTo>
                <a:cubicBezTo>
                  <a:pt x="12344" y="1625"/>
                  <a:pt x="12469" y="1593"/>
                  <a:pt x="12563" y="1625"/>
                </a:cubicBezTo>
                <a:cubicBezTo>
                  <a:pt x="12719" y="1625"/>
                  <a:pt x="12875" y="1656"/>
                  <a:pt x="13000" y="1750"/>
                </a:cubicBezTo>
                <a:cubicBezTo>
                  <a:pt x="13125" y="1875"/>
                  <a:pt x="13219" y="2062"/>
                  <a:pt x="13438" y="1875"/>
                </a:cubicBezTo>
                <a:cubicBezTo>
                  <a:pt x="13563" y="1968"/>
                  <a:pt x="13719" y="1906"/>
                  <a:pt x="13875" y="1937"/>
                </a:cubicBezTo>
                <a:cubicBezTo>
                  <a:pt x="13906" y="1968"/>
                  <a:pt x="13969" y="1968"/>
                  <a:pt x="14000" y="2031"/>
                </a:cubicBezTo>
                <a:cubicBezTo>
                  <a:pt x="14000" y="2062"/>
                  <a:pt x="13938" y="2125"/>
                  <a:pt x="13906" y="2125"/>
                </a:cubicBezTo>
                <a:cubicBezTo>
                  <a:pt x="13688" y="2125"/>
                  <a:pt x="13531" y="2187"/>
                  <a:pt x="13344" y="2281"/>
                </a:cubicBezTo>
                <a:cubicBezTo>
                  <a:pt x="13250" y="2312"/>
                  <a:pt x="13063" y="2250"/>
                  <a:pt x="12938" y="2250"/>
                </a:cubicBezTo>
                <a:cubicBezTo>
                  <a:pt x="12781" y="2250"/>
                  <a:pt x="12688" y="2187"/>
                  <a:pt x="12531" y="2125"/>
                </a:cubicBezTo>
                <a:cubicBezTo>
                  <a:pt x="12625" y="2062"/>
                  <a:pt x="12688" y="2093"/>
                  <a:pt x="12750" y="2062"/>
                </a:cubicBezTo>
                <a:cubicBezTo>
                  <a:pt x="12563" y="1875"/>
                  <a:pt x="12438" y="2000"/>
                  <a:pt x="12313" y="2125"/>
                </a:cubicBezTo>
                <a:cubicBezTo>
                  <a:pt x="12188" y="2218"/>
                  <a:pt x="12031" y="2125"/>
                  <a:pt x="11906" y="2250"/>
                </a:cubicBezTo>
                <a:cubicBezTo>
                  <a:pt x="11906" y="2250"/>
                  <a:pt x="11875" y="2218"/>
                  <a:pt x="11875" y="2218"/>
                </a:cubicBezTo>
                <a:cubicBezTo>
                  <a:pt x="11844" y="2062"/>
                  <a:pt x="11688" y="2093"/>
                  <a:pt x="11594" y="2062"/>
                </a:cubicBezTo>
                <a:cubicBezTo>
                  <a:pt x="11469" y="2062"/>
                  <a:pt x="11313" y="2000"/>
                  <a:pt x="11188" y="2062"/>
                </a:cubicBezTo>
                <a:cubicBezTo>
                  <a:pt x="11125" y="2093"/>
                  <a:pt x="11063" y="2093"/>
                  <a:pt x="11094" y="2156"/>
                </a:cubicBezTo>
                <a:cubicBezTo>
                  <a:pt x="11094" y="2218"/>
                  <a:pt x="11156" y="2187"/>
                  <a:pt x="11188" y="2187"/>
                </a:cubicBezTo>
                <a:cubicBezTo>
                  <a:pt x="11375" y="2187"/>
                  <a:pt x="11469" y="2218"/>
                  <a:pt x="11438" y="2437"/>
                </a:cubicBezTo>
                <a:cubicBezTo>
                  <a:pt x="11438" y="2562"/>
                  <a:pt x="11594" y="2562"/>
                  <a:pt x="11656" y="2687"/>
                </a:cubicBezTo>
                <a:cubicBezTo>
                  <a:pt x="11688" y="2750"/>
                  <a:pt x="11750" y="2656"/>
                  <a:pt x="11781" y="2625"/>
                </a:cubicBezTo>
                <a:cubicBezTo>
                  <a:pt x="11813" y="2625"/>
                  <a:pt x="11844" y="2625"/>
                  <a:pt x="11844" y="2625"/>
                </a:cubicBezTo>
                <a:cubicBezTo>
                  <a:pt x="11875" y="2656"/>
                  <a:pt x="11844" y="2687"/>
                  <a:pt x="11844" y="2718"/>
                </a:cubicBezTo>
                <a:cubicBezTo>
                  <a:pt x="11781" y="2843"/>
                  <a:pt x="11563" y="2875"/>
                  <a:pt x="11406" y="2812"/>
                </a:cubicBezTo>
                <a:cubicBezTo>
                  <a:pt x="11250" y="2750"/>
                  <a:pt x="11125" y="2687"/>
                  <a:pt x="11000" y="2562"/>
                </a:cubicBezTo>
                <a:cubicBezTo>
                  <a:pt x="10969" y="2656"/>
                  <a:pt x="11000" y="2687"/>
                  <a:pt x="11063" y="2718"/>
                </a:cubicBezTo>
                <a:cubicBezTo>
                  <a:pt x="11125" y="2750"/>
                  <a:pt x="11156" y="2812"/>
                  <a:pt x="11094" y="2843"/>
                </a:cubicBezTo>
                <a:cubicBezTo>
                  <a:pt x="11031" y="2906"/>
                  <a:pt x="11000" y="2906"/>
                  <a:pt x="10969" y="2843"/>
                </a:cubicBezTo>
                <a:cubicBezTo>
                  <a:pt x="10906" y="2781"/>
                  <a:pt x="10813" y="2750"/>
                  <a:pt x="10719" y="2687"/>
                </a:cubicBezTo>
                <a:cubicBezTo>
                  <a:pt x="10625" y="2625"/>
                  <a:pt x="10469" y="2625"/>
                  <a:pt x="10406" y="2531"/>
                </a:cubicBezTo>
                <a:cubicBezTo>
                  <a:pt x="10344" y="2406"/>
                  <a:pt x="10250" y="2312"/>
                  <a:pt x="10094" y="2250"/>
                </a:cubicBezTo>
                <a:cubicBezTo>
                  <a:pt x="10063" y="2250"/>
                  <a:pt x="10031" y="2218"/>
                  <a:pt x="10031" y="2156"/>
                </a:cubicBezTo>
                <a:cubicBezTo>
                  <a:pt x="10094" y="2000"/>
                  <a:pt x="9938" y="2000"/>
                  <a:pt x="9875" y="1968"/>
                </a:cubicBezTo>
                <a:cubicBezTo>
                  <a:pt x="9781" y="1937"/>
                  <a:pt x="9781" y="2031"/>
                  <a:pt x="9781" y="2093"/>
                </a:cubicBezTo>
                <a:cubicBezTo>
                  <a:pt x="9781" y="2156"/>
                  <a:pt x="9750" y="2187"/>
                  <a:pt x="9688" y="2187"/>
                </a:cubicBezTo>
                <a:cubicBezTo>
                  <a:pt x="9625" y="2187"/>
                  <a:pt x="9594" y="2250"/>
                  <a:pt x="9563" y="2281"/>
                </a:cubicBezTo>
                <a:cubicBezTo>
                  <a:pt x="9500" y="2406"/>
                  <a:pt x="9375" y="2531"/>
                  <a:pt x="9438" y="2687"/>
                </a:cubicBezTo>
                <a:cubicBezTo>
                  <a:pt x="9500" y="2843"/>
                  <a:pt x="9625" y="2812"/>
                  <a:pt x="9750" y="2781"/>
                </a:cubicBezTo>
                <a:cubicBezTo>
                  <a:pt x="9844" y="2781"/>
                  <a:pt x="9969" y="2781"/>
                  <a:pt x="9938" y="2968"/>
                </a:cubicBezTo>
                <a:cubicBezTo>
                  <a:pt x="9906" y="3062"/>
                  <a:pt x="9844" y="3031"/>
                  <a:pt x="9781" y="3031"/>
                </a:cubicBezTo>
                <a:cubicBezTo>
                  <a:pt x="9625" y="3031"/>
                  <a:pt x="9469" y="3062"/>
                  <a:pt x="9406" y="3250"/>
                </a:cubicBezTo>
                <a:cubicBezTo>
                  <a:pt x="9375" y="3375"/>
                  <a:pt x="9281" y="3468"/>
                  <a:pt x="9125" y="3437"/>
                </a:cubicBezTo>
                <a:cubicBezTo>
                  <a:pt x="9000" y="3437"/>
                  <a:pt x="8938" y="3437"/>
                  <a:pt x="8938" y="3312"/>
                </a:cubicBezTo>
                <a:cubicBezTo>
                  <a:pt x="8844" y="3375"/>
                  <a:pt x="8750" y="3375"/>
                  <a:pt x="8688" y="3343"/>
                </a:cubicBezTo>
                <a:cubicBezTo>
                  <a:pt x="8656" y="3343"/>
                  <a:pt x="8625" y="3312"/>
                  <a:pt x="8625" y="3281"/>
                </a:cubicBezTo>
                <a:cubicBezTo>
                  <a:pt x="8500" y="3156"/>
                  <a:pt x="8469" y="3000"/>
                  <a:pt x="8500" y="2843"/>
                </a:cubicBezTo>
                <a:cubicBezTo>
                  <a:pt x="8531" y="2812"/>
                  <a:pt x="8563" y="2718"/>
                  <a:pt x="8500" y="2718"/>
                </a:cubicBezTo>
                <a:cubicBezTo>
                  <a:pt x="8438" y="2687"/>
                  <a:pt x="8406" y="2781"/>
                  <a:pt x="8375" y="2812"/>
                </a:cubicBezTo>
                <a:cubicBezTo>
                  <a:pt x="8313" y="2906"/>
                  <a:pt x="8281" y="3062"/>
                  <a:pt x="8125" y="3031"/>
                </a:cubicBezTo>
                <a:cubicBezTo>
                  <a:pt x="8063" y="3031"/>
                  <a:pt x="8000" y="3031"/>
                  <a:pt x="7938" y="3093"/>
                </a:cubicBezTo>
                <a:cubicBezTo>
                  <a:pt x="7875" y="3156"/>
                  <a:pt x="7813" y="3156"/>
                  <a:pt x="7750" y="3031"/>
                </a:cubicBezTo>
                <a:cubicBezTo>
                  <a:pt x="7719" y="2968"/>
                  <a:pt x="7688" y="2843"/>
                  <a:pt x="7594" y="2843"/>
                </a:cubicBezTo>
                <a:cubicBezTo>
                  <a:pt x="7531" y="2843"/>
                  <a:pt x="7469" y="2843"/>
                  <a:pt x="7469" y="2781"/>
                </a:cubicBezTo>
                <a:cubicBezTo>
                  <a:pt x="7469" y="2718"/>
                  <a:pt x="7531" y="2718"/>
                  <a:pt x="7594" y="2718"/>
                </a:cubicBezTo>
                <a:cubicBezTo>
                  <a:pt x="7656" y="2687"/>
                  <a:pt x="7719" y="2656"/>
                  <a:pt x="7719" y="2593"/>
                </a:cubicBezTo>
                <a:cubicBezTo>
                  <a:pt x="7688" y="2500"/>
                  <a:pt x="7625" y="2468"/>
                  <a:pt x="7563" y="2468"/>
                </a:cubicBezTo>
                <a:cubicBezTo>
                  <a:pt x="7469" y="2500"/>
                  <a:pt x="7406" y="2468"/>
                  <a:pt x="7344" y="2437"/>
                </a:cubicBezTo>
                <a:cubicBezTo>
                  <a:pt x="7281" y="2406"/>
                  <a:pt x="7063" y="2343"/>
                  <a:pt x="7313" y="2250"/>
                </a:cubicBezTo>
                <a:cubicBezTo>
                  <a:pt x="7344" y="2218"/>
                  <a:pt x="7344" y="2156"/>
                  <a:pt x="7313" y="2125"/>
                </a:cubicBezTo>
                <a:cubicBezTo>
                  <a:pt x="7281" y="2062"/>
                  <a:pt x="7250" y="2125"/>
                  <a:pt x="7219" y="2156"/>
                </a:cubicBezTo>
                <a:cubicBezTo>
                  <a:pt x="7188" y="2187"/>
                  <a:pt x="7156" y="2187"/>
                  <a:pt x="7125" y="2156"/>
                </a:cubicBezTo>
                <a:cubicBezTo>
                  <a:pt x="7094" y="2125"/>
                  <a:pt x="7094" y="2093"/>
                  <a:pt x="7125" y="2062"/>
                </a:cubicBezTo>
                <a:cubicBezTo>
                  <a:pt x="7375" y="1937"/>
                  <a:pt x="7125" y="1718"/>
                  <a:pt x="7250" y="1562"/>
                </a:cubicBezTo>
                <a:cubicBezTo>
                  <a:pt x="7250" y="1562"/>
                  <a:pt x="7250" y="1531"/>
                  <a:pt x="7219" y="1531"/>
                </a:cubicBezTo>
                <a:cubicBezTo>
                  <a:pt x="7063" y="1500"/>
                  <a:pt x="7031" y="1343"/>
                  <a:pt x="6938" y="1250"/>
                </a:cubicBezTo>
                <a:cubicBezTo>
                  <a:pt x="6906" y="1187"/>
                  <a:pt x="6844" y="1062"/>
                  <a:pt x="6750" y="1093"/>
                </a:cubicBezTo>
                <a:cubicBezTo>
                  <a:pt x="6719" y="1125"/>
                  <a:pt x="6625" y="1093"/>
                  <a:pt x="6594" y="1187"/>
                </a:cubicBezTo>
                <a:cubicBezTo>
                  <a:pt x="6594" y="1281"/>
                  <a:pt x="6563" y="1406"/>
                  <a:pt x="6563" y="1500"/>
                </a:cubicBezTo>
                <a:cubicBezTo>
                  <a:pt x="6563" y="1562"/>
                  <a:pt x="6563" y="1593"/>
                  <a:pt x="6594" y="1593"/>
                </a:cubicBezTo>
                <a:cubicBezTo>
                  <a:pt x="6656" y="1625"/>
                  <a:pt x="6656" y="1593"/>
                  <a:pt x="6656" y="1562"/>
                </a:cubicBezTo>
                <a:cubicBezTo>
                  <a:pt x="6750" y="1500"/>
                  <a:pt x="6781" y="1500"/>
                  <a:pt x="6813" y="1593"/>
                </a:cubicBezTo>
                <a:cubicBezTo>
                  <a:pt x="6844" y="1625"/>
                  <a:pt x="6875" y="1687"/>
                  <a:pt x="6875" y="1718"/>
                </a:cubicBezTo>
                <a:cubicBezTo>
                  <a:pt x="6906" y="1750"/>
                  <a:pt x="6938" y="1812"/>
                  <a:pt x="6875" y="1843"/>
                </a:cubicBezTo>
                <a:cubicBezTo>
                  <a:pt x="6844" y="1875"/>
                  <a:pt x="6813" y="1843"/>
                  <a:pt x="6781" y="1812"/>
                </a:cubicBezTo>
                <a:cubicBezTo>
                  <a:pt x="6750" y="1718"/>
                  <a:pt x="6656" y="1687"/>
                  <a:pt x="6594" y="1750"/>
                </a:cubicBezTo>
                <a:cubicBezTo>
                  <a:pt x="6500" y="1781"/>
                  <a:pt x="6531" y="1875"/>
                  <a:pt x="6563" y="1937"/>
                </a:cubicBezTo>
                <a:cubicBezTo>
                  <a:pt x="6563" y="2031"/>
                  <a:pt x="6625" y="2093"/>
                  <a:pt x="6719" y="2093"/>
                </a:cubicBezTo>
                <a:cubicBezTo>
                  <a:pt x="6813" y="2062"/>
                  <a:pt x="6875" y="2093"/>
                  <a:pt x="6875" y="2187"/>
                </a:cubicBezTo>
                <a:cubicBezTo>
                  <a:pt x="6875" y="2250"/>
                  <a:pt x="6875" y="2281"/>
                  <a:pt x="6938" y="2281"/>
                </a:cubicBezTo>
                <a:cubicBezTo>
                  <a:pt x="7031" y="2343"/>
                  <a:pt x="7063" y="2437"/>
                  <a:pt x="6938" y="2531"/>
                </a:cubicBezTo>
                <a:cubicBezTo>
                  <a:pt x="7000" y="2562"/>
                  <a:pt x="7031" y="2562"/>
                  <a:pt x="7063" y="2593"/>
                </a:cubicBezTo>
                <a:cubicBezTo>
                  <a:pt x="7094" y="2625"/>
                  <a:pt x="7156" y="2656"/>
                  <a:pt x="7156" y="2718"/>
                </a:cubicBezTo>
                <a:cubicBezTo>
                  <a:pt x="7156" y="2812"/>
                  <a:pt x="7063" y="2750"/>
                  <a:pt x="7031" y="2781"/>
                </a:cubicBezTo>
                <a:cubicBezTo>
                  <a:pt x="6938" y="2843"/>
                  <a:pt x="6844" y="2875"/>
                  <a:pt x="6750" y="2937"/>
                </a:cubicBezTo>
                <a:cubicBezTo>
                  <a:pt x="6500" y="3093"/>
                  <a:pt x="6500" y="3093"/>
                  <a:pt x="6344" y="2968"/>
                </a:cubicBezTo>
                <a:cubicBezTo>
                  <a:pt x="6344" y="3000"/>
                  <a:pt x="6313" y="3031"/>
                  <a:pt x="6313" y="3062"/>
                </a:cubicBezTo>
                <a:cubicBezTo>
                  <a:pt x="6313" y="3093"/>
                  <a:pt x="6313" y="3156"/>
                  <a:pt x="6250" y="3156"/>
                </a:cubicBezTo>
                <a:cubicBezTo>
                  <a:pt x="6188" y="3156"/>
                  <a:pt x="6219" y="3093"/>
                  <a:pt x="6188" y="3062"/>
                </a:cubicBezTo>
                <a:cubicBezTo>
                  <a:pt x="6188" y="3031"/>
                  <a:pt x="6188" y="2968"/>
                  <a:pt x="6156" y="2968"/>
                </a:cubicBezTo>
                <a:cubicBezTo>
                  <a:pt x="5969" y="2906"/>
                  <a:pt x="5969" y="2656"/>
                  <a:pt x="5813" y="2593"/>
                </a:cubicBezTo>
                <a:cubicBezTo>
                  <a:pt x="5875" y="2531"/>
                  <a:pt x="6031" y="2625"/>
                  <a:pt x="6031" y="2500"/>
                </a:cubicBezTo>
                <a:cubicBezTo>
                  <a:pt x="6063" y="2375"/>
                  <a:pt x="6094" y="2250"/>
                  <a:pt x="6063" y="2093"/>
                </a:cubicBezTo>
                <a:cubicBezTo>
                  <a:pt x="6031" y="2062"/>
                  <a:pt x="6063" y="1968"/>
                  <a:pt x="6000" y="1968"/>
                </a:cubicBezTo>
                <a:cubicBezTo>
                  <a:pt x="5875" y="1968"/>
                  <a:pt x="5969" y="2062"/>
                  <a:pt x="5969" y="2125"/>
                </a:cubicBezTo>
                <a:cubicBezTo>
                  <a:pt x="5969" y="2125"/>
                  <a:pt x="5938" y="2125"/>
                  <a:pt x="5938" y="2156"/>
                </a:cubicBezTo>
                <a:cubicBezTo>
                  <a:pt x="5875" y="2093"/>
                  <a:pt x="5781" y="2031"/>
                  <a:pt x="5719" y="1968"/>
                </a:cubicBezTo>
                <a:cubicBezTo>
                  <a:pt x="5719" y="1937"/>
                  <a:pt x="5656" y="1906"/>
                  <a:pt x="5656" y="1937"/>
                </a:cubicBezTo>
                <a:cubicBezTo>
                  <a:pt x="5594" y="2062"/>
                  <a:pt x="5250" y="2031"/>
                  <a:pt x="5438" y="2281"/>
                </a:cubicBezTo>
                <a:cubicBezTo>
                  <a:pt x="5438" y="2312"/>
                  <a:pt x="5438" y="2343"/>
                  <a:pt x="5406" y="2343"/>
                </a:cubicBezTo>
                <a:cubicBezTo>
                  <a:pt x="5344" y="2406"/>
                  <a:pt x="5344" y="2468"/>
                  <a:pt x="5344" y="2562"/>
                </a:cubicBezTo>
                <a:cubicBezTo>
                  <a:pt x="5344" y="2625"/>
                  <a:pt x="5250" y="2625"/>
                  <a:pt x="5219" y="2593"/>
                </a:cubicBezTo>
                <a:cubicBezTo>
                  <a:pt x="5156" y="2593"/>
                  <a:pt x="5094" y="2562"/>
                  <a:pt x="5031" y="2531"/>
                </a:cubicBezTo>
                <a:cubicBezTo>
                  <a:pt x="5188" y="2500"/>
                  <a:pt x="5188" y="2468"/>
                  <a:pt x="5156" y="2375"/>
                </a:cubicBezTo>
                <a:cubicBezTo>
                  <a:pt x="5031" y="2187"/>
                  <a:pt x="4781" y="2156"/>
                  <a:pt x="4625" y="2281"/>
                </a:cubicBezTo>
                <a:cubicBezTo>
                  <a:pt x="4563" y="2281"/>
                  <a:pt x="4563" y="2343"/>
                  <a:pt x="4500" y="2375"/>
                </a:cubicBezTo>
                <a:cubicBezTo>
                  <a:pt x="4438" y="2406"/>
                  <a:pt x="4375" y="2406"/>
                  <a:pt x="4375" y="2312"/>
                </a:cubicBezTo>
                <a:cubicBezTo>
                  <a:pt x="4375" y="2187"/>
                  <a:pt x="4250" y="2031"/>
                  <a:pt x="4375" y="1906"/>
                </a:cubicBezTo>
                <a:cubicBezTo>
                  <a:pt x="4438" y="1812"/>
                  <a:pt x="4344" y="1812"/>
                  <a:pt x="4313" y="1781"/>
                </a:cubicBezTo>
                <a:cubicBezTo>
                  <a:pt x="4250" y="1718"/>
                  <a:pt x="4188" y="1718"/>
                  <a:pt x="4188" y="1781"/>
                </a:cubicBezTo>
                <a:cubicBezTo>
                  <a:pt x="4156" y="1937"/>
                  <a:pt x="4094" y="2031"/>
                  <a:pt x="4063" y="2156"/>
                </a:cubicBezTo>
                <a:cubicBezTo>
                  <a:pt x="3938" y="2437"/>
                  <a:pt x="4000" y="2718"/>
                  <a:pt x="4000" y="3000"/>
                </a:cubicBezTo>
                <a:cubicBezTo>
                  <a:pt x="4000" y="3062"/>
                  <a:pt x="3969" y="3125"/>
                  <a:pt x="3906" y="3125"/>
                </a:cubicBezTo>
                <a:cubicBezTo>
                  <a:pt x="3813" y="3156"/>
                  <a:pt x="3844" y="3093"/>
                  <a:pt x="3844" y="3031"/>
                </a:cubicBezTo>
                <a:cubicBezTo>
                  <a:pt x="3844" y="3000"/>
                  <a:pt x="3813" y="2968"/>
                  <a:pt x="3781" y="2968"/>
                </a:cubicBezTo>
                <a:cubicBezTo>
                  <a:pt x="3719" y="3031"/>
                  <a:pt x="3750" y="3093"/>
                  <a:pt x="3719" y="3156"/>
                </a:cubicBezTo>
                <a:cubicBezTo>
                  <a:pt x="3594" y="3375"/>
                  <a:pt x="3500" y="3593"/>
                  <a:pt x="3656" y="3843"/>
                </a:cubicBezTo>
                <a:cubicBezTo>
                  <a:pt x="3688" y="3843"/>
                  <a:pt x="3688" y="3906"/>
                  <a:pt x="3656" y="3906"/>
                </a:cubicBezTo>
                <a:cubicBezTo>
                  <a:pt x="3563" y="4031"/>
                  <a:pt x="3531" y="4218"/>
                  <a:pt x="3406" y="4312"/>
                </a:cubicBezTo>
                <a:cubicBezTo>
                  <a:pt x="3313" y="4375"/>
                  <a:pt x="3250" y="4468"/>
                  <a:pt x="3250" y="4593"/>
                </a:cubicBezTo>
                <a:cubicBezTo>
                  <a:pt x="3250" y="4687"/>
                  <a:pt x="3344" y="4812"/>
                  <a:pt x="3156" y="4812"/>
                </a:cubicBezTo>
                <a:cubicBezTo>
                  <a:pt x="3094" y="4812"/>
                  <a:pt x="3125" y="4875"/>
                  <a:pt x="3094" y="4937"/>
                </a:cubicBezTo>
                <a:cubicBezTo>
                  <a:pt x="3094" y="5000"/>
                  <a:pt x="3125" y="5093"/>
                  <a:pt x="3156" y="5187"/>
                </a:cubicBezTo>
                <a:cubicBezTo>
                  <a:pt x="2938" y="5093"/>
                  <a:pt x="2906" y="4937"/>
                  <a:pt x="2875" y="4781"/>
                </a:cubicBezTo>
                <a:cubicBezTo>
                  <a:pt x="2813" y="4562"/>
                  <a:pt x="3000" y="4500"/>
                  <a:pt x="3125" y="4406"/>
                </a:cubicBezTo>
                <a:cubicBezTo>
                  <a:pt x="3125" y="4343"/>
                  <a:pt x="3063" y="4343"/>
                  <a:pt x="3031" y="4343"/>
                </a:cubicBezTo>
                <a:cubicBezTo>
                  <a:pt x="2688" y="4375"/>
                  <a:pt x="2375" y="4218"/>
                  <a:pt x="2063" y="4125"/>
                </a:cubicBezTo>
                <a:cubicBezTo>
                  <a:pt x="1844" y="4093"/>
                  <a:pt x="1656" y="3968"/>
                  <a:pt x="1438" y="4000"/>
                </a:cubicBezTo>
                <a:cubicBezTo>
                  <a:pt x="1313" y="4000"/>
                  <a:pt x="1219" y="3937"/>
                  <a:pt x="1156" y="3843"/>
                </a:cubicBezTo>
                <a:cubicBezTo>
                  <a:pt x="1094" y="3687"/>
                  <a:pt x="1031" y="3781"/>
                  <a:pt x="1000" y="3875"/>
                </a:cubicBezTo>
                <a:cubicBezTo>
                  <a:pt x="844" y="4093"/>
                  <a:pt x="938" y="4500"/>
                  <a:pt x="1156" y="4656"/>
                </a:cubicBezTo>
                <a:cubicBezTo>
                  <a:pt x="1531" y="4968"/>
                  <a:pt x="1969" y="5156"/>
                  <a:pt x="2344" y="5406"/>
                </a:cubicBezTo>
                <a:cubicBezTo>
                  <a:pt x="2375" y="5437"/>
                  <a:pt x="2438" y="5468"/>
                  <a:pt x="2438" y="5437"/>
                </a:cubicBezTo>
                <a:cubicBezTo>
                  <a:pt x="2500" y="5312"/>
                  <a:pt x="2594" y="5343"/>
                  <a:pt x="2688" y="5343"/>
                </a:cubicBezTo>
                <a:cubicBezTo>
                  <a:pt x="2750" y="5312"/>
                  <a:pt x="2844" y="5312"/>
                  <a:pt x="2875" y="5375"/>
                </a:cubicBezTo>
                <a:cubicBezTo>
                  <a:pt x="2906" y="5468"/>
                  <a:pt x="2844" y="5500"/>
                  <a:pt x="2781" y="5562"/>
                </a:cubicBezTo>
                <a:cubicBezTo>
                  <a:pt x="2625" y="5750"/>
                  <a:pt x="2656" y="5843"/>
                  <a:pt x="2813" y="6031"/>
                </a:cubicBezTo>
                <a:cubicBezTo>
                  <a:pt x="2969" y="6218"/>
                  <a:pt x="3281" y="6187"/>
                  <a:pt x="3344" y="6468"/>
                </a:cubicBezTo>
                <a:cubicBezTo>
                  <a:pt x="3344" y="6468"/>
                  <a:pt x="3375" y="6500"/>
                  <a:pt x="3375" y="6500"/>
                </a:cubicBezTo>
                <a:cubicBezTo>
                  <a:pt x="3469" y="6593"/>
                  <a:pt x="3563" y="6687"/>
                  <a:pt x="3656" y="6750"/>
                </a:cubicBezTo>
                <a:cubicBezTo>
                  <a:pt x="3719" y="6781"/>
                  <a:pt x="3750" y="6843"/>
                  <a:pt x="3719" y="6906"/>
                </a:cubicBezTo>
                <a:cubicBezTo>
                  <a:pt x="3688" y="6968"/>
                  <a:pt x="3625" y="6968"/>
                  <a:pt x="3563" y="6937"/>
                </a:cubicBezTo>
                <a:cubicBezTo>
                  <a:pt x="3469" y="6937"/>
                  <a:pt x="3344" y="6937"/>
                  <a:pt x="3250" y="6968"/>
                </a:cubicBezTo>
                <a:cubicBezTo>
                  <a:pt x="3313" y="7062"/>
                  <a:pt x="3375" y="7062"/>
                  <a:pt x="3469" y="7062"/>
                </a:cubicBezTo>
                <a:cubicBezTo>
                  <a:pt x="3563" y="7093"/>
                  <a:pt x="3469" y="7218"/>
                  <a:pt x="3531" y="7281"/>
                </a:cubicBezTo>
                <a:cubicBezTo>
                  <a:pt x="3563" y="7281"/>
                  <a:pt x="3563" y="7281"/>
                  <a:pt x="3563" y="7281"/>
                </a:cubicBezTo>
                <a:cubicBezTo>
                  <a:pt x="3625" y="7312"/>
                  <a:pt x="3656" y="7375"/>
                  <a:pt x="3625" y="7437"/>
                </a:cubicBezTo>
                <a:cubicBezTo>
                  <a:pt x="3563" y="7500"/>
                  <a:pt x="3500" y="7468"/>
                  <a:pt x="3438" y="7437"/>
                </a:cubicBezTo>
                <a:cubicBezTo>
                  <a:pt x="3344" y="7343"/>
                  <a:pt x="3219" y="7343"/>
                  <a:pt x="3094" y="7312"/>
                </a:cubicBezTo>
                <a:cubicBezTo>
                  <a:pt x="3031" y="7281"/>
                  <a:pt x="3000" y="7312"/>
                  <a:pt x="2969" y="7375"/>
                </a:cubicBezTo>
                <a:cubicBezTo>
                  <a:pt x="2844" y="7750"/>
                  <a:pt x="2844" y="7750"/>
                  <a:pt x="2969" y="8093"/>
                </a:cubicBezTo>
                <a:cubicBezTo>
                  <a:pt x="2969" y="8125"/>
                  <a:pt x="2969" y="8125"/>
                  <a:pt x="3000" y="8156"/>
                </a:cubicBezTo>
                <a:cubicBezTo>
                  <a:pt x="3031" y="8156"/>
                  <a:pt x="3031" y="8125"/>
                  <a:pt x="3031" y="8093"/>
                </a:cubicBezTo>
                <a:cubicBezTo>
                  <a:pt x="3031" y="7906"/>
                  <a:pt x="3094" y="7875"/>
                  <a:pt x="3219" y="8031"/>
                </a:cubicBezTo>
                <a:cubicBezTo>
                  <a:pt x="3219" y="8062"/>
                  <a:pt x="3250" y="8062"/>
                  <a:pt x="3281" y="8062"/>
                </a:cubicBezTo>
                <a:cubicBezTo>
                  <a:pt x="3438" y="7968"/>
                  <a:pt x="3531" y="8093"/>
                  <a:pt x="3594" y="8187"/>
                </a:cubicBezTo>
                <a:cubicBezTo>
                  <a:pt x="3625" y="8281"/>
                  <a:pt x="3781" y="8375"/>
                  <a:pt x="3688" y="8468"/>
                </a:cubicBezTo>
                <a:cubicBezTo>
                  <a:pt x="3656" y="8531"/>
                  <a:pt x="3531" y="8531"/>
                  <a:pt x="3438" y="8562"/>
                </a:cubicBezTo>
                <a:cubicBezTo>
                  <a:pt x="3375" y="8562"/>
                  <a:pt x="3313" y="8531"/>
                  <a:pt x="3313" y="8468"/>
                </a:cubicBezTo>
                <a:cubicBezTo>
                  <a:pt x="3313" y="8406"/>
                  <a:pt x="3281" y="8375"/>
                  <a:pt x="3219" y="8375"/>
                </a:cubicBezTo>
                <a:cubicBezTo>
                  <a:pt x="3188" y="8375"/>
                  <a:pt x="3188" y="8375"/>
                  <a:pt x="3156" y="8406"/>
                </a:cubicBezTo>
                <a:cubicBezTo>
                  <a:pt x="3156" y="8562"/>
                  <a:pt x="3063" y="8500"/>
                  <a:pt x="3000" y="8468"/>
                </a:cubicBezTo>
                <a:cubicBezTo>
                  <a:pt x="2906" y="8406"/>
                  <a:pt x="2813" y="8375"/>
                  <a:pt x="2781" y="8218"/>
                </a:cubicBezTo>
                <a:cubicBezTo>
                  <a:pt x="2781" y="8187"/>
                  <a:pt x="2750" y="8156"/>
                  <a:pt x="2719" y="8187"/>
                </a:cubicBezTo>
                <a:cubicBezTo>
                  <a:pt x="2594" y="8218"/>
                  <a:pt x="2500" y="8187"/>
                  <a:pt x="2406" y="8156"/>
                </a:cubicBezTo>
                <a:cubicBezTo>
                  <a:pt x="2344" y="8156"/>
                  <a:pt x="2281" y="8187"/>
                  <a:pt x="2281" y="8218"/>
                </a:cubicBezTo>
                <a:cubicBezTo>
                  <a:pt x="2219" y="8343"/>
                  <a:pt x="2344" y="8468"/>
                  <a:pt x="2281" y="8593"/>
                </a:cubicBezTo>
                <a:cubicBezTo>
                  <a:pt x="2438" y="8656"/>
                  <a:pt x="2406" y="8875"/>
                  <a:pt x="2531" y="8968"/>
                </a:cubicBezTo>
                <a:cubicBezTo>
                  <a:pt x="2594" y="9031"/>
                  <a:pt x="2625" y="9093"/>
                  <a:pt x="2656" y="9187"/>
                </a:cubicBezTo>
                <a:cubicBezTo>
                  <a:pt x="2688" y="9281"/>
                  <a:pt x="2719" y="9500"/>
                  <a:pt x="2906" y="9406"/>
                </a:cubicBezTo>
                <a:cubicBezTo>
                  <a:pt x="3000" y="9375"/>
                  <a:pt x="3031" y="9406"/>
                  <a:pt x="3094" y="9437"/>
                </a:cubicBezTo>
                <a:cubicBezTo>
                  <a:pt x="3219" y="9531"/>
                  <a:pt x="3313" y="9468"/>
                  <a:pt x="3344" y="9312"/>
                </a:cubicBezTo>
                <a:cubicBezTo>
                  <a:pt x="3344" y="9281"/>
                  <a:pt x="3344" y="9250"/>
                  <a:pt x="3344" y="9218"/>
                </a:cubicBezTo>
                <a:cubicBezTo>
                  <a:pt x="3375" y="9187"/>
                  <a:pt x="3406" y="9156"/>
                  <a:pt x="3469" y="9156"/>
                </a:cubicBezTo>
                <a:cubicBezTo>
                  <a:pt x="3563" y="9156"/>
                  <a:pt x="3500" y="9218"/>
                  <a:pt x="3500" y="9250"/>
                </a:cubicBezTo>
                <a:cubicBezTo>
                  <a:pt x="3531" y="9312"/>
                  <a:pt x="3500" y="9406"/>
                  <a:pt x="3563" y="9437"/>
                </a:cubicBezTo>
                <a:cubicBezTo>
                  <a:pt x="3625" y="9500"/>
                  <a:pt x="3594" y="9531"/>
                  <a:pt x="3500" y="9562"/>
                </a:cubicBezTo>
                <a:cubicBezTo>
                  <a:pt x="3500" y="9562"/>
                  <a:pt x="3438" y="9562"/>
                  <a:pt x="3469" y="9593"/>
                </a:cubicBezTo>
                <a:cubicBezTo>
                  <a:pt x="3469" y="9625"/>
                  <a:pt x="3500" y="9656"/>
                  <a:pt x="3531" y="9656"/>
                </a:cubicBezTo>
                <a:cubicBezTo>
                  <a:pt x="3594" y="9656"/>
                  <a:pt x="3688" y="9625"/>
                  <a:pt x="3688" y="9531"/>
                </a:cubicBezTo>
                <a:cubicBezTo>
                  <a:pt x="3656" y="9437"/>
                  <a:pt x="3719" y="9437"/>
                  <a:pt x="3781" y="9437"/>
                </a:cubicBezTo>
                <a:cubicBezTo>
                  <a:pt x="4000" y="9406"/>
                  <a:pt x="4188" y="9500"/>
                  <a:pt x="4375" y="9500"/>
                </a:cubicBezTo>
                <a:cubicBezTo>
                  <a:pt x="4438" y="9500"/>
                  <a:pt x="4438" y="9531"/>
                  <a:pt x="4469" y="9562"/>
                </a:cubicBezTo>
                <a:cubicBezTo>
                  <a:pt x="4469" y="9593"/>
                  <a:pt x="4469" y="9625"/>
                  <a:pt x="4406" y="9656"/>
                </a:cubicBezTo>
                <a:cubicBezTo>
                  <a:pt x="4344" y="9656"/>
                  <a:pt x="4375" y="9718"/>
                  <a:pt x="4375" y="9750"/>
                </a:cubicBezTo>
                <a:cubicBezTo>
                  <a:pt x="4406" y="9812"/>
                  <a:pt x="4438" y="9812"/>
                  <a:pt x="4500" y="9781"/>
                </a:cubicBezTo>
                <a:cubicBezTo>
                  <a:pt x="4625" y="9750"/>
                  <a:pt x="4813" y="9812"/>
                  <a:pt x="4938" y="9656"/>
                </a:cubicBezTo>
                <a:cubicBezTo>
                  <a:pt x="4938" y="9656"/>
                  <a:pt x="4969" y="9656"/>
                  <a:pt x="4969" y="9656"/>
                </a:cubicBezTo>
                <a:cubicBezTo>
                  <a:pt x="5125" y="9750"/>
                  <a:pt x="5313" y="9750"/>
                  <a:pt x="5469" y="9781"/>
                </a:cubicBezTo>
                <a:cubicBezTo>
                  <a:pt x="5469" y="9812"/>
                  <a:pt x="5438" y="9843"/>
                  <a:pt x="5438" y="9875"/>
                </a:cubicBezTo>
                <a:cubicBezTo>
                  <a:pt x="5438" y="10031"/>
                  <a:pt x="5375" y="10062"/>
                  <a:pt x="5250" y="10031"/>
                </a:cubicBezTo>
                <a:cubicBezTo>
                  <a:pt x="5156" y="10000"/>
                  <a:pt x="5063" y="10031"/>
                  <a:pt x="4969" y="10062"/>
                </a:cubicBezTo>
                <a:cubicBezTo>
                  <a:pt x="4875" y="10093"/>
                  <a:pt x="4906" y="10187"/>
                  <a:pt x="4875" y="10250"/>
                </a:cubicBezTo>
                <a:cubicBezTo>
                  <a:pt x="4875" y="10312"/>
                  <a:pt x="4938" y="10312"/>
                  <a:pt x="4969" y="10281"/>
                </a:cubicBezTo>
                <a:cubicBezTo>
                  <a:pt x="5156" y="10156"/>
                  <a:pt x="5156" y="10312"/>
                  <a:pt x="5188" y="10437"/>
                </a:cubicBezTo>
                <a:cubicBezTo>
                  <a:pt x="5250" y="10593"/>
                  <a:pt x="5250" y="10750"/>
                  <a:pt x="5500" y="10718"/>
                </a:cubicBezTo>
                <a:cubicBezTo>
                  <a:pt x="5531" y="10718"/>
                  <a:pt x="5594" y="10687"/>
                  <a:pt x="5594" y="10781"/>
                </a:cubicBezTo>
                <a:cubicBezTo>
                  <a:pt x="5594" y="10843"/>
                  <a:pt x="5563" y="10875"/>
                  <a:pt x="5469" y="10906"/>
                </a:cubicBezTo>
                <a:cubicBezTo>
                  <a:pt x="5438" y="10906"/>
                  <a:pt x="5406" y="10906"/>
                  <a:pt x="5375" y="10906"/>
                </a:cubicBezTo>
                <a:cubicBezTo>
                  <a:pt x="5250" y="10937"/>
                  <a:pt x="5156" y="11000"/>
                  <a:pt x="5188" y="11125"/>
                </a:cubicBezTo>
                <a:cubicBezTo>
                  <a:pt x="5188" y="11250"/>
                  <a:pt x="5250" y="11343"/>
                  <a:pt x="5375" y="11375"/>
                </a:cubicBezTo>
                <a:cubicBezTo>
                  <a:pt x="5500" y="11375"/>
                  <a:pt x="5594" y="11406"/>
                  <a:pt x="5719" y="11406"/>
                </a:cubicBezTo>
                <a:cubicBezTo>
                  <a:pt x="5781" y="11406"/>
                  <a:pt x="5813" y="11437"/>
                  <a:pt x="5844" y="11468"/>
                </a:cubicBezTo>
                <a:cubicBezTo>
                  <a:pt x="5844" y="11593"/>
                  <a:pt x="5719" y="11718"/>
                  <a:pt x="5781" y="11843"/>
                </a:cubicBezTo>
                <a:cubicBezTo>
                  <a:pt x="5781" y="11843"/>
                  <a:pt x="5750" y="11843"/>
                  <a:pt x="5750" y="11843"/>
                </a:cubicBezTo>
                <a:cubicBezTo>
                  <a:pt x="5531" y="11718"/>
                  <a:pt x="5531" y="11843"/>
                  <a:pt x="5531" y="12000"/>
                </a:cubicBezTo>
                <a:cubicBezTo>
                  <a:pt x="5531" y="12031"/>
                  <a:pt x="5500" y="12062"/>
                  <a:pt x="5469" y="12062"/>
                </a:cubicBezTo>
                <a:cubicBezTo>
                  <a:pt x="5438" y="12093"/>
                  <a:pt x="5406" y="12125"/>
                  <a:pt x="5406" y="12125"/>
                </a:cubicBezTo>
                <a:cubicBezTo>
                  <a:pt x="5563" y="12250"/>
                  <a:pt x="5563" y="12468"/>
                  <a:pt x="5781" y="12468"/>
                </a:cubicBezTo>
                <a:cubicBezTo>
                  <a:pt x="5906" y="12500"/>
                  <a:pt x="6031" y="12500"/>
                  <a:pt x="6156" y="12531"/>
                </a:cubicBezTo>
                <a:cubicBezTo>
                  <a:pt x="6188" y="12531"/>
                  <a:pt x="6250" y="12531"/>
                  <a:pt x="6219" y="12437"/>
                </a:cubicBezTo>
                <a:cubicBezTo>
                  <a:pt x="6219" y="12343"/>
                  <a:pt x="6250" y="12250"/>
                  <a:pt x="6438" y="12281"/>
                </a:cubicBezTo>
                <a:cubicBezTo>
                  <a:pt x="6656" y="12312"/>
                  <a:pt x="6875" y="12281"/>
                  <a:pt x="7094" y="12281"/>
                </a:cubicBezTo>
                <a:cubicBezTo>
                  <a:pt x="7375" y="12281"/>
                  <a:pt x="7656" y="12156"/>
                  <a:pt x="7938" y="12156"/>
                </a:cubicBezTo>
                <a:cubicBezTo>
                  <a:pt x="8000" y="12156"/>
                  <a:pt x="8094" y="12250"/>
                  <a:pt x="8156" y="12156"/>
                </a:cubicBezTo>
                <a:cubicBezTo>
                  <a:pt x="8188" y="12093"/>
                  <a:pt x="8219" y="12093"/>
                  <a:pt x="8250" y="12125"/>
                </a:cubicBezTo>
                <a:cubicBezTo>
                  <a:pt x="8313" y="12187"/>
                  <a:pt x="8281" y="12250"/>
                  <a:pt x="8188" y="12250"/>
                </a:cubicBezTo>
                <a:cubicBezTo>
                  <a:pt x="8125" y="12250"/>
                  <a:pt x="8125" y="12312"/>
                  <a:pt x="8125" y="12375"/>
                </a:cubicBezTo>
                <a:cubicBezTo>
                  <a:pt x="8125" y="12406"/>
                  <a:pt x="8156" y="12437"/>
                  <a:pt x="8188" y="12437"/>
                </a:cubicBezTo>
                <a:cubicBezTo>
                  <a:pt x="8250" y="12468"/>
                  <a:pt x="8250" y="12500"/>
                  <a:pt x="8281" y="12500"/>
                </a:cubicBezTo>
                <a:cubicBezTo>
                  <a:pt x="8375" y="12531"/>
                  <a:pt x="8375" y="12593"/>
                  <a:pt x="8313" y="12625"/>
                </a:cubicBezTo>
                <a:cubicBezTo>
                  <a:pt x="8188" y="12687"/>
                  <a:pt x="8156" y="12875"/>
                  <a:pt x="7969" y="12812"/>
                </a:cubicBezTo>
                <a:cubicBezTo>
                  <a:pt x="7938" y="12812"/>
                  <a:pt x="7938" y="12843"/>
                  <a:pt x="7906" y="12875"/>
                </a:cubicBezTo>
                <a:cubicBezTo>
                  <a:pt x="7750" y="12937"/>
                  <a:pt x="7656" y="13093"/>
                  <a:pt x="7469" y="13031"/>
                </a:cubicBezTo>
                <a:cubicBezTo>
                  <a:pt x="7406" y="13000"/>
                  <a:pt x="7313" y="13031"/>
                  <a:pt x="7344" y="13125"/>
                </a:cubicBezTo>
                <a:cubicBezTo>
                  <a:pt x="7344" y="13218"/>
                  <a:pt x="7438" y="13250"/>
                  <a:pt x="7500" y="13218"/>
                </a:cubicBezTo>
                <a:cubicBezTo>
                  <a:pt x="7531" y="13218"/>
                  <a:pt x="7563" y="13156"/>
                  <a:pt x="7594" y="13218"/>
                </a:cubicBezTo>
                <a:cubicBezTo>
                  <a:pt x="7594" y="13218"/>
                  <a:pt x="7594" y="13218"/>
                  <a:pt x="7594" y="13250"/>
                </a:cubicBezTo>
                <a:cubicBezTo>
                  <a:pt x="7563" y="13281"/>
                  <a:pt x="7531" y="13250"/>
                  <a:pt x="7500" y="13250"/>
                </a:cubicBezTo>
                <a:cubicBezTo>
                  <a:pt x="7375" y="13218"/>
                  <a:pt x="7219" y="13218"/>
                  <a:pt x="7094" y="13281"/>
                </a:cubicBezTo>
                <a:cubicBezTo>
                  <a:pt x="7000" y="13375"/>
                  <a:pt x="7125" y="13468"/>
                  <a:pt x="7125" y="13562"/>
                </a:cubicBezTo>
                <a:cubicBezTo>
                  <a:pt x="7125" y="13562"/>
                  <a:pt x="7125" y="13593"/>
                  <a:pt x="7125" y="13593"/>
                </a:cubicBezTo>
                <a:cubicBezTo>
                  <a:pt x="7094" y="13656"/>
                  <a:pt x="7094" y="13687"/>
                  <a:pt x="7156" y="13687"/>
                </a:cubicBezTo>
                <a:cubicBezTo>
                  <a:pt x="7188" y="13687"/>
                  <a:pt x="7219" y="13656"/>
                  <a:pt x="7219" y="13625"/>
                </a:cubicBezTo>
                <a:cubicBezTo>
                  <a:pt x="7219" y="13468"/>
                  <a:pt x="7344" y="13500"/>
                  <a:pt x="7438" y="13531"/>
                </a:cubicBezTo>
                <a:cubicBezTo>
                  <a:pt x="7531" y="13531"/>
                  <a:pt x="7625" y="13593"/>
                  <a:pt x="7719" y="13593"/>
                </a:cubicBezTo>
                <a:cubicBezTo>
                  <a:pt x="7813" y="13593"/>
                  <a:pt x="7813" y="13687"/>
                  <a:pt x="7781" y="13750"/>
                </a:cubicBezTo>
                <a:cubicBezTo>
                  <a:pt x="7781" y="13812"/>
                  <a:pt x="7719" y="13750"/>
                  <a:pt x="7688" y="13750"/>
                </a:cubicBezTo>
                <a:cubicBezTo>
                  <a:pt x="7656" y="13718"/>
                  <a:pt x="7313" y="13875"/>
                  <a:pt x="7281" y="13906"/>
                </a:cubicBezTo>
                <a:cubicBezTo>
                  <a:pt x="7281" y="13906"/>
                  <a:pt x="7281" y="13937"/>
                  <a:pt x="7281" y="13937"/>
                </a:cubicBezTo>
                <a:cubicBezTo>
                  <a:pt x="7313" y="14062"/>
                  <a:pt x="7250" y="14187"/>
                  <a:pt x="7219" y="14281"/>
                </a:cubicBezTo>
                <a:cubicBezTo>
                  <a:pt x="7219" y="14343"/>
                  <a:pt x="7219" y="14406"/>
                  <a:pt x="7281" y="14437"/>
                </a:cubicBezTo>
                <a:cubicBezTo>
                  <a:pt x="7344" y="14468"/>
                  <a:pt x="7375" y="14500"/>
                  <a:pt x="7344" y="14593"/>
                </a:cubicBezTo>
                <a:cubicBezTo>
                  <a:pt x="7313" y="14656"/>
                  <a:pt x="7188" y="14750"/>
                  <a:pt x="7375" y="14781"/>
                </a:cubicBezTo>
                <a:cubicBezTo>
                  <a:pt x="7469" y="14781"/>
                  <a:pt x="7406" y="14968"/>
                  <a:pt x="7563" y="14906"/>
                </a:cubicBezTo>
                <a:cubicBezTo>
                  <a:pt x="7563" y="14906"/>
                  <a:pt x="7625" y="14906"/>
                  <a:pt x="7625" y="14937"/>
                </a:cubicBezTo>
                <a:cubicBezTo>
                  <a:pt x="7656" y="15000"/>
                  <a:pt x="7625" y="15000"/>
                  <a:pt x="7563" y="15000"/>
                </a:cubicBezTo>
                <a:cubicBezTo>
                  <a:pt x="7531" y="15031"/>
                  <a:pt x="7500" y="15031"/>
                  <a:pt x="7531" y="15093"/>
                </a:cubicBezTo>
                <a:cubicBezTo>
                  <a:pt x="7563" y="15125"/>
                  <a:pt x="7594" y="15093"/>
                  <a:pt x="7594" y="15062"/>
                </a:cubicBezTo>
                <a:cubicBezTo>
                  <a:pt x="7656" y="15000"/>
                  <a:pt x="7750" y="15000"/>
                  <a:pt x="7813" y="15031"/>
                </a:cubicBezTo>
                <a:cubicBezTo>
                  <a:pt x="7969" y="15125"/>
                  <a:pt x="8125" y="15093"/>
                  <a:pt x="8250" y="15062"/>
                </a:cubicBezTo>
                <a:cubicBezTo>
                  <a:pt x="8500" y="15031"/>
                  <a:pt x="8750" y="14968"/>
                  <a:pt x="9000" y="15000"/>
                </a:cubicBezTo>
                <a:cubicBezTo>
                  <a:pt x="9125" y="15000"/>
                  <a:pt x="9250" y="15093"/>
                  <a:pt x="9406" y="15093"/>
                </a:cubicBezTo>
                <a:cubicBezTo>
                  <a:pt x="9750" y="15062"/>
                  <a:pt x="10063" y="15031"/>
                  <a:pt x="10406" y="14937"/>
                </a:cubicBezTo>
                <a:cubicBezTo>
                  <a:pt x="10719" y="14843"/>
                  <a:pt x="11063" y="14781"/>
                  <a:pt x="11375" y="14750"/>
                </a:cubicBezTo>
                <a:cubicBezTo>
                  <a:pt x="11656" y="14718"/>
                  <a:pt x="11906" y="14718"/>
                  <a:pt x="12156" y="14625"/>
                </a:cubicBezTo>
                <a:cubicBezTo>
                  <a:pt x="12313" y="14531"/>
                  <a:pt x="12469" y="14468"/>
                  <a:pt x="12656" y="14468"/>
                </a:cubicBezTo>
                <a:cubicBezTo>
                  <a:pt x="12844" y="14468"/>
                  <a:pt x="13063" y="14437"/>
                  <a:pt x="13250" y="14343"/>
                </a:cubicBezTo>
                <a:cubicBezTo>
                  <a:pt x="13250" y="14343"/>
                  <a:pt x="13250" y="14312"/>
                  <a:pt x="13281" y="14312"/>
                </a:cubicBezTo>
                <a:cubicBezTo>
                  <a:pt x="13250" y="14250"/>
                  <a:pt x="13188" y="14312"/>
                  <a:pt x="13156" y="14250"/>
                </a:cubicBezTo>
                <a:cubicBezTo>
                  <a:pt x="13250" y="14125"/>
                  <a:pt x="13406" y="14156"/>
                  <a:pt x="13531" y="14093"/>
                </a:cubicBezTo>
                <a:cubicBezTo>
                  <a:pt x="13406" y="14062"/>
                  <a:pt x="13313" y="14062"/>
                  <a:pt x="13219" y="14093"/>
                </a:cubicBezTo>
                <a:cubicBezTo>
                  <a:pt x="13156" y="14125"/>
                  <a:pt x="13094" y="14125"/>
                  <a:pt x="13031" y="14156"/>
                </a:cubicBezTo>
                <a:cubicBezTo>
                  <a:pt x="12750" y="14187"/>
                  <a:pt x="12500" y="14312"/>
                  <a:pt x="12219" y="14250"/>
                </a:cubicBezTo>
                <a:cubicBezTo>
                  <a:pt x="12188" y="14250"/>
                  <a:pt x="12156" y="14281"/>
                  <a:pt x="12125" y="14281"/>
                </a:cubicBezTo>
                <a:cubicBezTo>
                  <a:pt x="11906" y="14375"/>
                  <a:pt x="11688" y="14500"/>
                  <a:pt x="11406" y="14406"/>
                </a:cubicBezTo>
                <a:cubicBezTo>
                  <a:pt x="11406" y="14406"/>
                  <a:pt x="11375" y="14406"/>
                  <a:pt x="11375" y="14406"/>
                </a:cubicBezTo>
                <a:cubicBezTo>
                  <a:pt x="11156" y="14468"/>
                  <a:pt x="10906" y="14468"/>
                  <a:pt x="10688" y="14500"/>
                </a:cubicBezTo>
                <a:cubicBezTo>
                  <a:pt x="10469" y="14562"/>
                  <a:pt x="10219" y="14500"/>
                  <a:pt x="9969" y="14562"/>
                </a:cubicBezTo>
                <a:cubicBezTo>
                  <a:pt x="9938" y="14562"/>
                  <a:pt x="9906" y="14562"/>
                  <a:pt x="9875" y="14500"/>
                </a:cubicBezTo>
                <a:cubicBezTo>
                  <a:pt x="10063" y="14468"/>
                  <a:pt x="10250" y="14406"/>
                  <a:pt x="10469" y="14375"/>
                </a:cubicBezTo>
                <a:cubicBezTo>
                  <a:pt x="10375" y="14312"/>
                  <a:pt x="10281" y="14375"/>
                  <a:pt x="10188" y="14312"/>
                </a:cubicBezTo>
                <a:cubicBezTo>
                  <a:pt x="10281" y="14250"/>
                  <a:pt x="10406" y="14281"/>
                  <a:pt x="10469" y="14250"/>
                </a:cubicBezTo>
                <a:cubicBezTo>
                  <a:pt x="10656" y="14093"/>
                  <a:pt x="10906" y="14093"/>
                  <a:pt x="11125" y="14093"/>
                </a:cubicBezTo>
                <a:cubicBezTo>
                  <a:pt x="11500" y="14062"/>
                  <a:pt x="11844" y="14031"/>
                  <a:pt x="12188" y="14031"/>
                </a:cubicBezTo>
                <a:cubicBezTo>
                  <a:pt x="12656" y="14062"/>
                  <a:pt x="13063" y="13875"/>
                  <a:pt x="13500" y="13875"/>
                </a:cubicBezTo>
                <a:cubicBezTo>
                  <a:pt x="13531" y="13875"/>
                  <a:pt x="13563" y="13843"/>
                  <a:pt x="13563" y="13843"/>
                </a:cubicBezTo>
                <a:cubicBezTo>
                  <a:pt x="13750" y="13687"/>
                  <a:pt x="14031" y="13750"/>
                  <a:pt x="14219" y="13562"/>
                </a:cubicBezTo>
                <a:cubicBezTo>
                  <a:pt x="14281" y="13500"/>
                  <a:pt x="14375" y="13500"/>
                  <a:pt x="14438" y="13468"/>
                </a:cubicBezTo>
                <a:cubicBezTo>
                  <a:pt x="14688" y="13468"/>
                  <a:pt x="14938" y="13406"/>
                  <a:pt x="15125" y="13250"/>
                </a:cubicBezTo>
                <a:cubicBezTo>
                  <a:pt x="15219" y="13187"/>
                  <a:pt x="15313" y="13062"/>
                  <a:pt x="15406" y="13000"/>
                </a:cubicBezTo>
                <a:cubicBezTo>
                  <a:pt x="15500" y="12937"/>
                  <a:pt x="15500" y="12906"/>
                  <a:pt x="15438" y="12843"/>
                </a:cubicBezTo>
                <a:cubicBezTo>
                  <a:pt x="15406" y="12812"/>
                  <a:pt x="15375" y="12781"/>
                  <a:pt x="15406" y="12750"/>
                </a:cubicBezTo>
                <a:cubicBezTo>
                  <a:pt x="15469" y="12718"/>
                  <a:pt x="15500" y="12750"/>
                  <a:pt x="15531" y="12781"/>
                </a:cubicBezTo>
                <a:cubicBezTo>
                  <a:pt x="15594" y="12843"/>
                  <a:pt x="15656" y="12937"/>
                  <a:pt x="15750" y="13031"/>
                </a:cubicBezTo>
                <a:cubicBezTo>
                  <a:pt x="15781" y="13062"/>
                  <a:pt x="15844" y="13093"/>
                  <a:pt x="15875" y="13031"/>
                </a:cubicBezTo>
                <a:cubicBezTo>
                  <a:pt x="15906" y="12968"/>
                  <a:pt x="15906" y="12906"/>
                  <a:pt x="15844" y="12875"/>
                </a:cubicBezTo>
                <a:cubicBezTo>
                  <a:pt x="15750" y="12843"/>
                  <a:pt x="15719" y="12781"/>
                  <a:pt x="15781" y="12718"/>
                </a:cubicBezTo>
                <a:cubicBezTo>
                  <a:pt x="15844" y="12625"/>
                  <a:pt x="15906" y="12593"/>
                  <a:pt x="16031" y="12625"/>
                </a:cubicBezTo>
                <a:cubicBezTo>
                  <a:pt x="16125" y="12687"/>
                  <a:pt x="16188" y="12750"/>
                  <a:pt x="16250" y="12843"/>
                </a:cubicBezTo>
                <a:cubicBezTo>
                  <a:pt x="16313" y="12906"/>
                  <a:pt x="16375" y="12937"/>
                  <a:pt x="16469" y="12875"/>
                </a:cubicBezTo>
                <a:cubicBezTo>
                  <a:pt x="16813" y="12750"/>
                  <a:pt x="17125" y="12625"/>
                  <a:pt x="17438" y="12500"/>
                </a:cubicBezTo>
                <a:cubicBezTo>
                  <a:pt x="17813" y="12375"/>
                  <a:pt x="18156" y="12187"/>
                  <a:pt x="18531" y="12187"/>
                </a:cubicBezTo>
                <a:cubicBezTo>
                  <a:pt x="18563" y="12187"/>
                  <a:pt x="18594" y="12156"/>
                  <a:pt x="18625" y="12156"/>
                </a:cubicBezTo>
                <a:cubicBezTo>
                  <a:pt x="18938" y="12031"/>
                  <a:pt x="19250" y="11875"/>
                  <a:pt x="19563" y="11781"/>
                </a:cubicBezTo>
                <a:cubicBezTo>
                  <a:pt x="19875" y="11687"/>
                  <a:pt x="20156" y="11562"/>
                  <a:pt x="20438" y="11406"/>
                </a:cubicBezTo>
                <a:cubicBezTo>
                  <a:pt x="20531" y="11375"/>
                  <a:pt x="20656" y="11312"/>
                  <a:pt x="20750" y="11312"/>
                </a:cubicBezTo>
                <a:cubicBezTo>
                  <a:pt x="20813" y="11281"/>
                  <a:pt x="20844" y="11281"/>
                  <a:pt x="20875" y="11312"/>
                </a:cubicBezTo>
                <a:cubicBezTo>
                  <a:pt x="20906" y="11375"/>
                  <a:pt x="20844" y="11375"/>
                  <a:pt x="20813" y="11406"/>
                </a:cubicBezTo>
                <a:cubicBezTo>
                  <a:pt x="20563" y="11656"/>
                  <a:pt x="20281" y="11781"/>
                  <a:pt x="19969" y="11906"/>
                </a:cubicBezTo>
                <a:cubicBezTo>
                  <a:pt x="19906" y="11906"/>
                  <a:pt x="19844" y="11906"/>
                  <a:pt x="19813" y="11968"/>
                </a:cubicBezTo>
                <a:cubicBezTo>
                  <a:pt x="19938" y="12000"/>
                  <a:pt x="20031" y="11937"/>
                  <a:pt x="20125" y="11906"/>
                </a:cubicBezTo>
                <a:cubicBezTo>
                  <a:pt x="20219" y="11875"/>
                  <a:pt x="20313" y="11781"/>
                  <a:pt x="20406" y="11843"/>
                </a:cubicBezTo>
                <a:cubicBezTo>
                  <a:pt x="20500" y="11906"/>
                  <a:pt x="20344" y="11968"/>
                  <a:pt x="20375" y="12093"/>
                </a:cubicBezTo>
                <a:cubicBezTo>
                  <a:pt x="20500" y="11968"/>
                  <a:pt x="20656" y="11875"/>
                  <a:pt x="20719" y="11718"/>
                </a:cubicBezTo>
                <a:cubicBezTo>
                  <a:pt x="20781" y="11562"/>
                  <a:pt x="21063" y="11625"/>
                  <a:pt x="21000" y="11375"/>
                </a:cubicBezTo>
                <a:cubicBezTo>
                  <a:pt x="21156" y="11250"/>
                  <a:pt x="21250" y="11062"/>
                  <a:pt x="21438" y="11000"/>
                </a:cubicBezTo>
                <a:cubicBezTo>
                  <a:pt x="21594" y="10968"/>
                  <a:pt x="21719" y="10906"/>
                  <a:pt x="21844" y="10812"/>
                </a:cubicBezTo>
                <a:cubicBezTo>
                  <a:pt x="21906" y="10781"/>
                  <a:pt x="22000" y="10718"/>
                  <a:pt x="22063" y="10781"/>
                </a:cubicBezTo>
                <a:cubicBezTo>
                  <a:pt x="22125" y="10875"/>
                  <a:pt x="22188" y="10812"/>
                  <a:pt x="22219" y="10781"/>
                </a:cubicBezTo>
                <a:cubicBezTo>
                  <a:pt x="22375" y="10531"/>
                  <a:pt x="22625" y="10437"/>
                  <a:pt x="22906" y="10375"/>
                </a:cubicBezTo>
                <a:cubicBezTo>
                  <a:pt x="23156" y="10281"/>
                  <a:pt x="23438" y="10125"/>
                  <a:pt x="23688" y="10000"/>
                </a:cubicBezTo>
                <a:cubicBezTo>
                  <a:pt x="24344" y="9656"/>
                  <a:pt x="25031" y="9375"/>
                  <a:pt x="25656" y="9000"/>
                </a:cubicBezTo>
                <a:cubicBezTo>
                  <a:pt x="25750" y="8937"/>
                  <a:pt x="25844" y="8906"/>
                  <a:pt x="25938" y="8968"/>
                </a:cubicBezTo>
                <a:cubicBezTo>
                  <a:pt x="25969" y="9000"/>
                  <a:pt x="26063" y="9031"/>
                  <a:pt x="26031" y="8937"/>
                </a:cubicBezTo>
                <a:cubicBezTo>
                  <a:pt x="26000" y="8843"/>
                  <a:pt x="26063" y="8812"/>
                  <a:pt x="26125" y="8750"/>
                </a:cubicBezTo>
                <a:cubicBezTo>
                  <a:pt x="26219" y="8625"/>
                  <a:pt x="26375" y="8593"/>
                  <a:pt x="26500" y="8500"/>
                </a:cubicBezTo>
                <a:cubicBezTo>
                  <a:pt x="26813" y="8250"/>
                  <a:pt x="27156" y="8093"/>
                  <a:pt x="27500" y="7906"/>
                </a:cubicBezTo>
                <a:cubicBezTo>
                  <a:pt x="27906" y="7750"/>
                  <a:pt x="28281" y="7593"/>
                  <a:pt x="28688" y="7406"/>
                </a:cubicBezTo>
                <a:cubicBezTo>
                  <a:pt x="28813" y="7343"/>
                  <a:pt x="28938" y="7250"/>
                  <a:pt x="29094" y="7250"/>
                </a:cubicBezTo>
                <a:cubicBezTo>
                  <a:pt x="29219" y="7218"/>
                  <a:pt x="29375" y="7156"/>
                  <a:pt x="29406" y="7062"/>
                </a:cubicBezTo>
                <a:cubicBezTo>
                  <a:pt x="29469" y="6906"/>
                  <a:pt x="29563" y="6937"/>
                  <a:pt x="29688" y="6968"/>
                </a:cubicBezTo>
                <a:cubicBezTo>
                  <a:pt x="29719" y="6968"/>
                  <a:pt x="29781" y="6968"/>
                  <a:pt x="29844" y="6968"/>
                </a:cubicBezTo>
                <a:cubicBezTo>
                  <a:pt x="30031" y="6906"/>
                  <a:pt x="30250" y="6937"/>
                  <a:pt x="30438" y="6968"/>
                </a:cubicBezTo>
                <a:cubicBezTo>
                  <a:pt x="30500" y="6968"/>
                  <a:pt x="30563" y="7000"/>
                  <a:pt x="30656" y="7000"/>
                </a:cubicBezTo>
                <a:close/>
                <a:moveTo>
                  <a:pt x="18594" y="12500"/>
                </a:moveTo>
                <a:cubicBezTo>
                  <a:pt x="18594" y="12531"/>
                  <a:pt x="18625" y="12531"/>
                  <a:pt x="18656" y="12531"/>
                </a:cubicBezTo>
                <a:cubicBezTo>
                  <a:pt x="18750" y="12531"/>
                  <a:pt x="18750" y="12468"/>
                  <a:pt x="18813" y="12375"/>
                </a:cubicBezTo>
                <a:cubicBezTo>
                  <a:pt x="18719" y="12406"/>
                  <a:pt x="18625" y="12406"/>
                  <a:pt x="18594" y="12500"/>
                </a:cubicBezTo>
                <a:close/>
                <a:moveTo>
                  <a:pt x="19625" y="12093"/>
                </a:moveTo>
                <a:cubicBezTo>
                  <a:pt x="19625" y="12093"/>
                  <a:pt x="19625" y="12125"/>
                  <a:pt x="19625" y="12125"/>
                </a:cubicBezTo>
                <a:cubicBezTo>
                  <a:pt x="19656" y="12125"/>
                  <a:pt x="19656" y="12093"/>
                  <a:pt x="19656" y="12093"/>
                </a:cubicBezTo>
                <a:cubicBezTo>
                  <a:pt x="19656" y="12093"/>
                  <a:pt x="19656" y="12093"/>
                  <a:pt x="19656" y="12093"/>
                </a:cubicBezTo>
                <a:cubicBezTo>
                  <a:pt x="19625" y="12093"/>
                  <a:pt x="19625" y="12093"/>
                  <a:pt x="19625" y="12093"/>
                </a:cubicBezTo>
                <a:close/>
                <a:moveTo>
                  <a:pt x="22375" y="2562"/>
                </a:moveTo>
                <a:cubicBezTo>
                  <a:pt x="22406" y="2562"/>
                  <a:pt x="22438" y="2531"/>
                  <a:pt x="22438" y="2500"/>
                </a:cubicBezTo>
                <a:cubicBezTo>
                  <a:pt x="22438" y="2437"/>
                  <a:pt x="22438" y="2375"/>
                  <a:pt x="22375" y="2375"/>
                </a:cubicBezTo>
                <a:cubicBezTo>
                  <a:pt x="22313" y="2375"/>
                  <a:pt x="22250" y="2406"/>
                  <a:pt x="22281" y="2468"/>
                </a:cubicBezTo>
                <a:cubicBezTo>
                  <a:pt x="22281" y="2500"/>
                  <a:pt x="22313" y="2531"/>
                  <a:pt x="22375" y="2562"/>
                </a:cubicBezTo>
                <a:close/>
                <a:moveTo>
                  <a:pt x="21125" y="11406"/>
                </a:moveTo>
                <a:cubicBezTo>
                  <a:pt x="21125" y="11437"/>
                  <a:pt x="21156" y="11437"/>
                  <a:pt x="21156" y="11437"/>
                </a:cubicBezTo>
                <a:cubicBezTo>
                  <a:pt x="21156" y="11437"/>
                  <a:pt x="21188" y="11437"/>
                  <a:pt x="21188" y="11406"/>
                </a:cubicBezTo>
                <a:cubicBezTo>
                  <a:pt x="21188" y="11406"/>
                  <a:pt x="21156" y="11406"/>
                  <a:pt x="21156" y="11406"/>
                </a:cubicBezTo>
                <a:cubicBezTo>
                  <a:pt x="21156" y="11406"/>
                  <a:pt x="21125" y="11406"/>
                  <a:pt x="21125" y="11406"/>
                </a:cubicBezTo>
                <a:close/>
                <a:moveTo>
                  <a:pt x="32969" y="7531"/>
                </a:moveTo>
                <a:cubicBezTo>
                  <a:pt x="32844" y="7531"/>
                  <a:pt x="32688" y="7531"/>
                  <a:pt x="32563" y="7531"/>
                </a:cubicBezTo>
                <a:cubicBezTo>
                  <a:pt x="32438" y="7531"/>
                  <a:pt x="32281" y="7531"/>
                  <a:pt x="32156" y="7531"/>
                </a:cubicBezTo>
                <a:cubicBezTo>
                  <a:pt x="32125" y="7531"/>
                  <a:pt x="32094" y="7531"/>
                  <a:pt x="32063" y="7531"/>
                </a:cubicBezTo>
                <a:cubicBezTo>
                  <a:pt x="32031" y="7531"/>
                  <a:pt x="32000" y="7531"/>
                  <a:pt x="32000" y="7562"/>
                </a:cubicBezTo>
                <a:cubicBezTo>
                  <a:pt x="31969" y="7562"/>
                  <a:pt x="31969" y="7562"/>
                  <a:pt x="31969" y="7562"/>
                </a:cubicBezTo>
                <a:cubicBezTo>
                  <a:pt x="31969" y="7656"/>
                  <a:pt x="32031" y="7625"/>
                  <a:pt x="32094" y="7625"/>
                </a:cubicBezTo>
                <a:cubicBezTo>
                  <a:pt x="32094" y="7625"/>
                  <a:pt x="32125" y="7625"/>
                  <a:pt x="32156" y="7625"/>
                </a:cubicBezTo>
                <a:cubicBezTo>
                  <a:pt x="32219" y="7625"/>
                  <a:pt x="32313" y="7625"/>
                  <a:pt x="32375" y="7625"/>
                </a:cubicBezTo>
                <a:cubicBezTo>
                  <a:pt x="32469" y="7625"/>
                  <a:pt x="32531" y="7625"/>
                  <a:pt x="32594" y="7625"/>
                </a:cubicBezTo>
                <a:cubicBezTo>
                  <a:pt x="32813" y="7625"/>
                  <a:pt x="33031" y="7593"/>
                  <a:pt x="33250" y="7562"/>
                </a:cubicBezTo>
                <a:cubicBezTo>
                  <a:pt x="33250" y="7562"/>
                  <a:pt x="33250" y="7531"/>
                  <a:pt x="33250" y="7531"/>
                </a:cubicBezTo>
                <a:cubicBezTo>
                  <a:pt x="33156" y="7531"/>
                  <a:pt x="33063" y="7531"/>
                  <a:pt x="32969" y="7531"/>
                </a:cubicBezTo>
                <a:close/>
                <a:moveTo>
                  <a:pt x="15938" y="12750"/>
                </a:moveTo>
                <a:cubicBezTo>
                  <a:pt x="15906" y="12750"/>
                  <a:pt x="15875" y="12750"/>
                  <a:pt x="15875" y="12781"/>
                </a:cubicBezTo>
                <a:cubicBezTo>
                  <a:pt x="15875" y="12812"/>
                  <a:pt x="15906" y="12843"/>
                  <a:pt x="15938" y="12812"/>
                </a:cubicBezTo>
                <a:cubicBezTo>
                  <a:pt x="15938" y="12812"/>
                  <a:pt x="15969" y="12781"/>
                  <a:pt x="15969" y="12781"/>
                </a:cubicBezTo>
                <a:cubicBezTo>
                  <a:pt x="15969" y="12750"/>
                  <a:pt x="15938" y="12718"/>
                  <a:pt x="15938" y="12750"/>
                </a:cubicBezTo>
                <a:close/>
                <a:moveTo>
                  <a:pt x="16875" y="13093"/>
                </a:moveTo>
                <a:cubicBezTo>
                  <a:pt x="16719" y="13125"/>
                  <a:pt x="16531" y="13125"/>
                  <a:pt x="16375" y="13281"/>
                </a:cubicBezTo>
                <a:cubicBezTo>
                  <a:pt x="16594" y="13312"/>
                  <a:pt x="16750" y="13218"/>
                  <a:pt x="16875" y="13093"/>
                </a:cubicBezTo>
                <a:close/>
                <a:moveTo>
                  <a:pt x="16063" y="12875"/>
                </a:moveTo>
                <a:cubicBezTo>
                  <a:pt x="16031" y="12875"/>
                  <a:pt x="16000" y="12906"/>
                  <a:pt x="16000" y="12937"/>
                </a:cubicBezTo>
                <a:cubicBezTo>
                  <a:pt x="16000" y="13000"/>
                  <a:pt x="16031" y="13000"/>
                  <a:pt x="16063" y="13031"/>
                </a:cubicBezTo>
                <a:cubicBezTo>
                  <a:pt x="16094" y="13000"/>
                  <a:pt x="16156" y="12968"/>
                  <a:pt x="16156" y="12906"/>
                </a:cubicBezTo>
                <a:cubicBezTo>
                  <a:pt x="16156" y="12875"/>
                  <a:pt x="16125" y="12843"/>
                  <a:pt x="16063" y="12875"/>
                </a:cubicBezTo>
                <a:close/>
                <a:moveTo>
                  <a:pt x="15531" y="13031"/>
                </a:moveTo>
                <a:cubicBezTo>
                  <a:pt x="15531" y="13031"/>
                  <a:pt x="15531" y="13062"/>
                  <a:pt x="15531" y="13062"/>
                </a:cubicBezTo>
                <a:cubicBezTo>
                  <a:pt x="15500" y="13093"/>
                  <a:pt x="15531" y="13125"/>
                  <a:pt x="15563" y="13125"/>
                </a:cubicBezTo>
                <a:cubicBezTo>
                  <a:pt x="15563" y="13125"/>
                  <a:pt x="15594" y="13093"/>
                  <a:pt x="15594" y="13062"/>
                </a:cubicBezTo>
                <a:cubicBezTo>
                  <a:pt x="15594" y="13062"/>
                  <a:pt x="15563" y="13031"/>
                  <a:pt x="15531" y="13031"/>
                </a:cubicBezTo>
                <a:close/>
                <a:moveTo>
                  <a:pt x="6563" y="12593"/>
                </a:moveTo>
                <a:cubicBezTo>
                  <a:pt x="6531" y="12593"/>
                  <a:pt x="6500" y="12625"/>
                  <a:pt x="6500" y="12687"/>
                </a:cubicBezTo>
                <a:cubicBezTo>
                  <a:pt x="6531" y="12781"/>
                  <a:pt x="6594" y="12750"/>
                  <a:pt x="6656" y="12750"/>
                </a:cubicBezTo>
                <a:cubicBezTo>
                  <a:pt x="6688" y="12781"/>
                  <a:pt x="6719" y="12750"/>
                  <a:pt x="6719" y="12687"/>
                </a:cubicBezTo>
                <a:cubicBezTo>
                  <a:pt x="6688" y="12625"/>
                  <a:pt x="6625" y="12593"/>
                  <a:pt x="6563" y="12593"/>
                </a:cubicBezTo>
                <a:close/>
                <a:moveTo>
                  <a:pt x="6500" y="2656"/>
                </a:moveTo>
                <a:cubicBezTo>
                  <a:pt x="6594" y="2656"/>
                  <a:pt x="6500" y="2500"/>
                  <a:pt x="6594" y="2468"/>
                </a:cubicBezTo>
                <a:cubicBezTo>
                  <a:pt x="6625" y="2468"/>
                  <a:pt x="6563" y="2375"/>
                  <a:pt x="6500" y="2375"/>
                </a:cubicBezTo>
                <a:cubicBezTo>
                  <a:pt x="6438" y="2375"/>
                  <a:pt x="6406" y="2406"/>
                  <a:pt x="6438" y="2437"/>
                </a:cubicBezTo>
                <a:cubicBezTo>
                  <a:pt x="6469" y="2500"/>
                  <a:pt x="6375" y="2625"/>
                  <a:pt x="6500" y="2656"/>
                </a:cubicBezTo>
                <a:close/>
                <a:moveTo>
                  <a:pt x="2313" y="6875"/>
                </a:moveTo>
                <a:cubicBezTo>
                  <a:pt x="2594" y="6843"/>
                  <a:pt x="2875" y="6812"/>
                  <a:pt x="3188" y="6781"/>
                </a:cubicBezTo>
                <a:cubicBezTo>
                  <a:pt x="2875" y="6750"/>
                  <a:pt x="2594" y="6656"/>
                  <a:pt x="2281" y="6625"/>
                </a:cubicBezTo>
                <a:cubicBezTo>
                  <a:pt x="2250" y="6625"/>
                  <a:pt x="2219" y="6593"/>
                  <a:pt x="2188" y="6656"/>
                </a:cubicBezTo>
                <a:cubicBezTo>
                  <a:pt x="2188" y="6687"/>
                  <a:pt x="2188" y="6718"/>
                  <a:pt x="2250" y="6718"/>
                </a:cubicBezTo>
                <a:cubicBezTo>
                  <a:pt x="2344" y="6750"/>
                  <a:pt x="2313" y="6843"/>
                  <a:pt x="2313" y="6875"/>
                </a:cubicBezTo>
                <a:close/>
                <a:moveTo>
                  <a:pt x="4500" y="11750"/>
                </a:moveTo>
                <a:cubicBezTo>
                  <a:pt x="4469" y="11750"/>
                  <a:pt x="4469" y="11812"/>
                  <a:pt x="4469" y="11812"/>
                </a:cubicBezTo>
                <a:cubicBezTo>
                  <a:pt x="4563" y="11875"/>
                  <a:pt x="4625" y="11843"/>
                  <a:pt x="4750" y="11812"/>
                </a:cubicBezTo>
                <a:cubicBezTo>
                  <a:pt x="4625" y="11781"/>
                  <a:pt x="4563" y="11718"/>
                  <a:pt x="4500" y="11750"/>
                </a:cubicBezTo>
                <a:close/>
                <a:moveTo>
                  <a:pt x="3344" y="13375"/>
                </a:moveTo>
                <a:cubicBezTo>
                  <a:pt x="3281" y="13375"/>
                  <a:pt x="3250" y="13406"/>
                  <a:pt x="3250" y="13468"/>
                </a:cubicBezTo>
                <a:cubicBezTo>
                  <a:pt x="3250" y="13531"/>
                  <a:pt x="3250" y="13593"/>
                  <a:pt x="3344" y="13593"/>
                </a:cubicBezTo>
                <a:cubicBezTo>
                  <a:pt x="3406" y="13593"/>
                  <a:pt x="3469" y="13562"/>
                  <a:pt x="3469" y="13500"/>
                </a:cubicBezTo>
                <a:cubicBezTo>
                  <a:pt x="3469" y="13406"/>
                  <a:pt x="3406" y="13406"/>
                  <a:pt x="3344" y="13375"/>
                </a:cubicBezTo>
                <a:close/>
                <a:moveTo>
                  <a:pt x="4563" y="10750"/>
                </a:moveTo>
                <a:cubicBezTo>
                  <a:pt x="4531" y="10656"/>
                  <a:pt x="4469" y="10656"/>
                  <a:pt x="4375" y="10656"/>
                </a:cubicBezTo>
                <a:cubicBezTo>
                  <a:pt x="4344" y="10656"/>
                  <a:pt x="4344" y="10656"/>
                  <a:pt x="4344" y="10687"/>
                </a:cubicBezTo>
                <a:cubicBezTo>
                  <a:pt x="4406" y="10812"/>
                  <a:pt x="4500" y="10718"/>
                  <a:pt x="4563" y="10750"/>
                </a:cubicBezTo>
                <a:close/>
                <a:moveTo>
                  <a:pt x="4719" y="10250"/>
                </a:moveTo>
                <a:cubicBezTo>
                  <a:pt x="4625" y="10187"/>
                  <a:pt x="4625" y="10031"/>
                  <a:pt x="4500" y="10000"/>
                </a:cubicBezTo>
                <a:cubicBezTo>
                  <a:pt x="4406" y="9968"/>
                  <a:pt x="4375" y="10000"/>
                  <a:pt x="4406" y="10093"/>
                </a:cubicBezTo>
                <a:cubicBezTo>
                  <a:pt x="4438" y="10281"/>
                  <a:pt x="4594" y="10250"/>
                  <a:pt x="4719" y="10250"/>
                </a:cubicBezTo>
                <a:close/>
                <a:moveTo>
                  <a:pt x="10438" y="1687"/>
                </a:moveTo>
                <a:cubicBezTo>
                  <a:pt x="10469" y="1718"/>
                  <a:pt x="10531" y="1718"/>
                  <a:pt x="10594" y="1718"/>
                </a:cubicBezTo>
                <a:cubicBezTo>
                  <a:pt x="10563" y="1656"/>
                  <a:pt x="10531" y="1625"/>
                  <a:pt x="10500" y="1593"/>
                </a:cubicBezTo>
                <a:cubicBezTo>
                  <a:pt x="10469" y="1531"/>
                  <a:pt x="10406" y="1531"/>
                  <a:pt x="10344" y="1562"/>
                </a:cubicBezTo>
                <a:cubicBezTo>
                  <a:pt x="10313" y="1562"/>
                  <a:pt x="10313" y="1593"/>
                  <a:pt x="10313" y="1625"/>
                </a:cubicBezTo>
                <a:cubicBezTo>
                  <a:pt x="10344" y="1656"/>
                  <a:pt x="10375" y="1687"/>
                  <a:pt x="10438" y="1687"/>
                </a:cubicBezTo>
                <a:close/>
                <a:moveTo>
                  <a:pt x="5875" y="1968"/>
                </a:moveTo>
                <a:cubicBezTo>
                  <a:pt x="5906" y="1968"/>
                  <a:pt x="5906" y="1937"/>
                  <a:pt x="5906" y="1906"/>
                </a:cubicBezTo>
                <a:cubicBezTo>
                  <a:pt x="5906" y="1875"/>
                  <a:pt x="5906" y="1875"/>
                  <a:pt x="5875" y="1875"/>
                </a:cubicBezTo>
                <a:cubicBezTo>
                  <a:pt x="5813" y="1875"/>
                  <a:pt x="5813" y="1906"/>
                  <a:pt x="5813" y="1937"/>
                </a:cubicBezTo>
                <a:cubicBezTo>
                  <a:pt x="5813" y="1968"/>
                  <a:pt x="5844" y="1968"/>
                  <a:pt x="5875" y="1968"/>
                </a:cubicBezTo>
                <a:close/>
                <a:moveTo>
                  <a:pt x="2969" y="3375"/>
                </a:moveTo>
                <a:cubicBezTo>
                  <a:pt x="3031" y="3375"/>
                  <a:pt x="3063" y="3343"/>
                  <a:pt x="3063" y="3250"/>
                </a:cubicBezTo>
                <a:cubicBezTo>
                  <a:pt x="3000" y="3250"/>
                  <a:pt x="2938" y="3218"/>
                  <a:pt x="2875" y="3187"/>
                </a:cubicBezTo>
                <a:cubicBezTo>
                  <a:pt x="2844" y="3187"/>
                  <a:pt x="2844" y="3250"/>
                  <a:pt x="2844" y="3281"/>
                </a:cubicBezTo>
                <a:cubicBezTo>
                  <a:pt x="2844" y="3343"/>
                  <a:pt x="2906" y="3375"/>
                  <a:pt x="2969" y="3375"/>
                </a:cubicBezTo>
                <a:close/>
                <a:moveTo>
                  <a:pt x="2500" y="1531"/>
                </a:moveTo>
                <a:cubicBezTo>
                  <a:pt x="2531" y="1531"/>
                  <a:pt x="2563" y="1500"/>
                  <a:pt x="2531" y="1468"/>
                </a:cubicBezTo>
                <a:cubicBezTo>
                  <a:pt x="2531" y="1406"/>
                  <a:pt x="2469" y="1375"/>
                  <a:pt x="2406" y="1343"/>
                </a:cubicBezTo>
                <a:cubicBezTo>
                  <a:pt x="2375" y="1343"/>
                  <a:pt x="2375" y="1375"/>
                  <a:pt x="2375" y="1406"/>
                </a:cubicBezTo>
                <a:cubicBezTo>
                  <a:pt x="2375" y="1468"/>
                  <a:pt x="2438" y="1500"/>
                  <a:pt x="2500" y="1531"/>
                </a:cubicBezTo>
                <a:close/>
                <a:moveTo>
                  <a:pt x="15344" y="1093"/>
                </a:moveTo>
                <a:cubicBezTo>
                  <a:pt x="15375" y="1062"/>
                  <a:pt x="15438" y="1062"/>
                  <a:pt x="15469" y="1031"/>
                </a:cubicBezTo>
                <a:cubicBezTo>
                  <a:pt x="15531" y="968"/>
                  <a:pt x="15625" y="875"/>
                  <a:pt x="15656" y="812"/>
                </a:cubicBezTo>
                <a:cubicBezTo>
                  <a:pt x="15688" y="781"/>
                  <a:pt x="15563" y="718"/>
                  <a:pt x="15500" y="718"/>
                </a:cubicBezTo>
                <a:cubicBezTo>
                  <a:pt x="15313" y="718"/>
                  <a:pt x="15250" y="843"/>
                  <a:pt x="15156" y="968"/>
                </a:cubicBezTo>
                <a:cubicBezTo>
                  <a:pt x="15125" y="1000"/>
                  <a:pt x="15125" y="1062"/>
                  <a:pt x="15188" y="1093"/>
                </a:cubicBezTo>
                <a:cubicBezTo>
                  <a:pt x="15250" y="1156"/>
                  <a:pt x="15281" y="1125"/>
                  <a:pt x="15344" y="1093"/>
                </a:cubicBezTo>
                <a:close/>
                <a:moveTo>
                  <a:pt x="1906" y="9781"/>
                </a:moveTo>
                <a:cubicBezTo>
                  <a:pt x="1875" y="9750"/>
                  <a:pt x="1813" y="9781"/>
                  <a:pt x="1813" y="9843"/>
                </a:cubicBezTo>
                <a:cubicBezTo>
                  <a:pt x="1844" y="9937"/>
                  <a:pt x="1875" y="10062"/>
                  <a:pt x="1969" y="10062"/>
                </a:cubicBezTo>
                <a:cubicBezTo>
                  <a:pt x="2094" y="10062"/>
                  <a:pt x="2219" y="10031"/>
                  <a:pt x="2313" y="9968"/>
                </a:cubicBezTo>
                <a:cubicBezTo>
                  <a:pt x="2344" y="9968"/>
                  <a:pt x="2344" y="9968"/>
                  <a:pt x="2344" y="9968"/>
                </a:cubicBezTo>
                <a:cubicBezTo>
                  <a:pt x="2313" y="9937"/>
                  <a:pt x="2313" y="9937"/>
                  <a:pt x="2313" y="9937"/>
                </a:cubicBezTo>
                <a:cubicBezTo>
                  <a:pt x="2188" y="9875"/>
                  <a:pt x="2063" y="9812"/>
                  <a:pt x="1906" y="9781"/>
                </a:cubicBezTo>
                <a:close/>
                <a:moveTo>
                  <a:pt x="8031" y="1781"/>
                </a:moveTo>
                <a:cubicBezTo>
                  <a:pt x="8063" y="1781"/>
                  <a:pt x="8063" y="1812"/>
                  <a:pt x="8063" y="1812"/>
                </a:cubicBezTo>
                <a:cubicBezTo>
                  <a:pt x="8125" y="1906"/>
                  <a:pt x="8188" y="1875"/>
                  <a:pt x="8250" y="1875"/>
                </a:cubicBezTo>
                <a:cubicBezTo>
                  <a:pt x="8313" y="1875"/>
                  <a:pt x="8281" y="1812"/>
                  <a:pt x="8281" y="1781"/>
                </a:cubicBezTo>
                <a:cubicBezTo>
                  <a:pt x="8250" y="1687"/>
                  <a:pt x="8219" y="1625"/>
                  <a:pt x="8156" y="1656"/>
                </a:cubicBezTo>
                <a:cubicBezTo>
                  <a:pt x="8000" y="1687"/>
                  <a:pt x="7969" y="1625"/>
                  <a:pt x="7906" y="1500"/>
                </a:cubicBezTo>
                <a:cubicBezTo>
                  <a:pt x="7969" y="1625"/>
                  <a:pt x="7781" y="1625"/>
                  <a:pt x="7813" y="1687"/>
                </a:cubicBezTo>
                <a:cubicBezTo>
                  <a:pt x="7844" y="1781"/>
                  <a:pt x="7969" y="1718"/>
                  <a:pt x="8031" y="1781"/>
                </a:cubicBezTo>
                <a:close/>
                <a:moveTo>
                  <a:pt x="1063" y="8281"/>
                </a:moveTo>
                <a:cubicBezTo>
                  <a:pt x="906" y="8062"/>
                  <a:pt x="688" y="7937"/>
                  <a:pt x="406" y="7968"/>
                </a:cubicBezTo>
                <a:cubicBezTo>
                  <a:pt x="281" y="8000"/>
                  <a:pt x="125" y="7968"/>
                  <a:pt x="0" y="8031"/>
                </a:cubicBezTo>
                <a:cubicBezTo>
                  <a:pt x="0" y="8062"/>
                  <a:pt x="0" y="8125"/>
                  <a:pt x="0" y="8187"/>
                </a:cubicBezTo>
                <a:cubicBezTo>
                  <a:pt x="63" y="8156"/>
                  <a:pt x="94" y="8156"/>
                  <a:pt x="125" y="8187"/>
                </a:cubicBezTo>
                <a:cubicBezTo>
                  <a:pt x="125" y="8312"/>
                  <a:pt x="188" y="8375"/>
                  <a:pt x="313" y="8375"/>
                </a:cubicBezTo>
                <a:cubicBezTo>
                  <a:pt x="406" y="8375"/>
                  <a:pt x="469" y="8406"/>
                  <a:pt x="594" y="8375"/>
                </a:cubicBezTo>
                <a:cubicBezTo>
                  <a:pt x="719" y="8343"/>
                  <a:pt x="844" y="8500"/>
                  <a:pt x="1000" y="8406"/>
                </a:cubicBezTo>
                <a:cubicBezTo>
                  <a:pt x="1000" y="8375"/>
                  <a:pt x="1031" y="8437"/>
                  <a:pt x="1063" y="8437"/>
                </a:cubicBezTo>
                <a:cubicBezTo>
                  <a:pt x="1156" y="8468"/>
                  <a:pt x="1219" y="8500"/>
                  <a:pt x="1313" y="8437"/>
                </a:cubicBezTo>
                <a:cubicBezTo>
                  <a:pt x="1219" y="8375"/>
                  <a:pt x="1125" y="8375"/>
                  <a:pt x="1063" y="8281"/>
                </a:cubicBezTo>
                <a:close/>
                <a:moveTo>
                  <a:pt x="30844" y="7531"/>
                </a:moveTo>
                <a:cubicBezTo>
                  <a:pt x="30875" y="7468"/>
                  <a:pt x="30875" y="7468"/>
                  <a:pt x="30875" y="7468"/>
                </a:cubicBezTo>
                <a:cubicBezTo>
                  <a:pt x="30906" y="7406"/>
                  <a:pt x="30969" y="7375"/>
                  <a:pt x="30906" y="7343"/>
                </a:cubicBezTo>
                <a:cubicBezTo>
                  <a:pt x="30906" y="7312"/>
                  <a:pt x="30875" y="7312"/>
                  <a:pt x="30875" y="7312"/>
                </a:cubicBezTo>
                <a:cubicBezTo>
                  <a:pt x="30844" y="7312"/>
                  <a:pt x="30844" y="7343"/>
                  <a:pt x="30813" y="7343"/>
                </a:cubicBezTo>
                <a:cubicBezTo>
                  <a:pt x="30813" y="7375"/>
                  <a:pt x="30813" y="7375"/>
                  <a:pt x="30813" y="7375"/>
                </a:cubicBezTo>
                <a:cubicBezTo>
                  <a:pt x="30750" y="7468"/>
                  <a:pt x="30656" y="7531"/>
                  <a:pt x="30531" y="7562"/>
                </a:cubicBezTo>
                <a:cubicBezTo>
                  <a:pt x="30625" y="7593"/>
                  <a:pt x="30719" y="7593"/>
                  <a:pt x="30813" y="7593"/>
                </a:cubicBezTo>
                <a:cubicBezTo>
                  <a:pt x="30875" y="7593"/>
                  <a:pt x="30906" y="7593"/>
                  <a:pt x="30969" y="7593"/>
                </a:cubicBezTo>
                <a:cubicBezTo>
                  <a:pt x="31063" y="7625"/>
                  <a:pt x="31156" y="7625"/>
                  <a:pt x="31250" y="7625"/>
                </a:cubicBezTo>
                <a:cubicBezTo>
                  <a:pt x="31344" y="7593"/>
                  <a:pt x="31438" y="7593"/>
                  <a:pt x="31531" y="7593"/>
                </a:cubicBezTo>
                <a:cubicBezTo>
                  <a:pt x="31594" y="7593"/>
                  <a:pt x="31625" y="7593"/>
                  <a:pt x="31688" y="7562"/>
                </a:cubicBezTo>
                <a:cubicBezTo>
                  <a:pt x="31688" y="7562"/>
                  <a:pt x="31656" y="7531"/>
                  <a:pt x="31656" y="7531"/>
                </a:cubicBezTo>
                <a:cubicBezTo>
                  <a:pt x="31406" y="7531"/>
                  <a:pt x="31125" y="7531"/>
                  <a:pt x="30844" y="7531"/>
                </a:cubicBezTo>
                <a:close/>
                <a:moveTo>
                  <a:pt x="30594" y="7968"/>
                </a:moveTo>
                <a:cubicBezTo>
                  <a:pt x="30594" y="7968"/>
                  <a:pt x="30594" y="7937"/>
                  <a:pt x="30563" y="7937"/>
                </a:cubicBezTo>
                <a:cubicBezTo>
                  <a:pt x="30563" y="7937"/>
                  <a:pt x="30531" y="7937"/>
                  <a:pt x="30500" y="7937"/>
                </a:cubicBezTo>
                <a:cubicBezTo>
                  <a:pt x="30469" y="7937"/>
                  <a:pt x="30406" y="7906"/>
                  <a:pt x="30344" y="7906"/>
                </a:cubicBezTo>
                <a:cubicBezTo>
                  <a:pt x="30344" y="7906"/>
                  <a:pt x="30313" y="7906"/>
                  <a:pt x="30313" y="7906"/>
                </a:cubicBezTo>
                <a:cubicBezTo>
                  <a:pt x="30313" y="7906"/>
                  <a:pt x="30281" y="7906"/>
                  <a:pt x="30281" y="7906"/>
                </a:cubicBezTo>
                <a:cubicBezTo>
                  <a:pt x="30250" y="7906"/>
                  <a:pt x="30219" y="7906"/>
                  <a:pt x="30188" y="7937"/>
                </a:cubicBezTo>
                <a:cubicBezTo>
                  <a:pt x="30219" y="7937"/>
                  <a:pt x="30219" y="7968"/>
                  <a:pt x="30219" y="7968"/>
                </a:cubicBezTo>
                <a:cubicBezTo>
                  <a:pt x="30250" y="8000"/>
                  <a:pt x="30281" y="8031"/>
                  <a:pt x="30313" y="8031"/>
                </a:cubicBezTo>
                <a:cubicBezTo>
                  <a:pt x="30344" y="8031"/>
                  <a:pt x="30375" y="8031"/>
                  <a:pt x="30406" y="8000"/>
                </a:cubicBezTo>
                <a:cubicBezTo>
                  <a:pt x="30406" y="8000"/>
                  <a:pt x="30438" y="7968"/>
                  <a:pt x="30469" y="7968"/>
                </a:cubicBezTo>
                <a:cubicBezTo>
                  <a:pt x="30469" y="7968"/>
                  <a:pt x="30469" y="7968"/>
                  <a:pt x="30469" y="7968"/>
                </a:cubicBezTo>
                <a:cubicBezTo>
                  <a:pt x="30500" y="7937"/>
                  <a:pt x="30500" y="7968"/>
                  <a:pt x="30500" y="7968"/>
                </a:cubicBezTo>
                <a:cubicBezTo>
                  <a:pt x="30531" y="8000"/>
                  <a:pt x="30531" y="8000"/>
                  <a:pt x="30563" y="8031"/>
                </a:cubicBezTo>
                <a:cubicBezTo>
                  <a:pt x="30563" y="8031"/>
                  <a:pt x="30594" y="8031"/>
                  <a:pt x="30625" y="8031"/>
                </a:cubicBezTo>
                <a:cubicBezTo>
                  <a:pt x="30625" y="8031"/>
                  <a:pt x="30625" y="7968"/>
                  <a:pt x="30625" y="7968"/>
                </a:cubicBezTo>
                <a:cubicBezTo>
                  <a:pt x="30625" y="7968"/>
                  <a:pt x="30625" y="7968"/>
                  <a:pt x="30594" y="7968"/>
                </a:cubicBezTo>
                <a:close/>
                <a:moveTo>
                  <a:pt x="30375" y="7718"/>
                </a:moveTo>
                <a:cubicBezTo>
                  <a:pt x="30344" y="7718"/>
                  <a:pt x="30344" y="7718"/>
                  <a:pt x="30313" y="7750"/>
                </a:cubicBezTo>
                <a:cubicBezTo>
                  <a:pt x="30313" y="7781"/>
                  <a:pt x="30344" y="7812"/>
                  <a:pt x="30344" y="7812"/>
                </a:cubicBezTo>
                <a:cubicBezTo>
                  <a:pt x="30375" y="7812"/>
                  <a:pt x="30375" y="7812"/>
                  <a:pt x="30375" y="7812"/>
                </a:cubicBezTo>
                <a:cubicBezTo>
                  <a:pt x="30406" y="7812"/>
                  <a:pt x="30438" y="7812"/>
                  <a:pt x="30469" y="7812"/>
                </a:cubicBezTo>
                <a:cubicBezTo>
                  <a:pt x="30563" y="7812"/>
                  <a:pt x="30625" y="7812"/>
                  <a:pt x="30719" y="7750"/>
                </a:cubicBezTo>
                <a:cubicBezTo>
                  <a:pt x="30594" y="7750"/>
                  <a:pt x="30500" y="7718"/>
                  <a:pt x="30406" y="7718"/>
                </a:cubicBezTo>
                <a:cubicBezTo>
                  <a:pt x="30375" y="7718"/>
                  <a:pt x="30375" y="7718"/>
                  <a:pt x="30375" y="7718"/>
                </a:cubicBezTo>
                <a:close/>
                <a:moveTo>
                  <a:pt x="31125" y="3187"/>
                </a:moveTo>
                <a:cubicBezTo>
                  <a:pt x="31156" y="3187"/>
                  <a:pt x="31156" y="3187"/>
                  <a:pt x="31156" y="3187"/>
                </a:cubicBezTo>
                <a:cubicBezTo>
                  <a:pt x="31188" y="3156"/>
                  <a:pt x="31188" y="3156"/>
                  <a:pt x="31219" y="3156"/>
                </a:cubicBezTo>
                <a:cubicBezTo>
                  <a:pt x="31219" y="3156"/>
                  <a:pt x="31250" y="3156"/>
                  <a:pt x="31250" y="3156"/>
                </a:cubicBezTo>
                <a:cubicBezTo>
                  <a:pt x="31250" y="3156"/>
                  <a:pt x="31281" y="3156"/>
                  <a:pt x="31281" y="3156"/>
                </a:cubicBezTo>
                <a:cubicBezTo>
                  <a:pt x="31313" y="3156"/>
                  <a:pt x="31344" y="3156"/>
                  <a:pt x="31375" y="3156"/>
                </a:cubicBezTo>
                <a:cubicBezTo>
                  <a:pt x="31406" y="3156"/>
                  <a:pt x="31406" y="3156"/>
                  <a:pt x="31438" y="3125"/>
                </a:cubicBezTo>
                <a:cubicBezTo>
                  <a:pt x="31438" y="3125"/>
                  <a:pt x="31438" y="3125"/>
                  <a:pt x="31469" y="3125"/>
                </a:cubicBezTo>
                <a:cubicBezTo>
                  <a:pt x="31469" y="3125"/>
                  <a:pt x="31469" y="3093"/>
                  <a:pt x="31469" y="3093"/>
                </a:cubicBezTo>
                <a:cubicBezTo>
                  <a:pt x="31469" y="3093"/>
                  <a:pt x="31469" y="3093"/>
                  <a:pt x="31469" y="3062"/>
                </a:cubicBezTo>
                <a:cubicBezTo>
                  <a:pt x="31469" y="3062"/>
                  <a:pt x="31469" y="3062"/>
                  <a:pt x="31469" y="3031"/>
                </a:cubicBezTo>
                <a:cubicBezTo>
                  <a:pt x="31469" y="3031"/>
                  <a:pt x="31469" y="3031"/>
                  <a:pt x="31469" y="3000"/>
                </a:cubicBezTo>
                <a:cubicBezTo>
                  <a:pt x="31469" y="3000"/>
                  <a:pt x="31469" y="3000"/>
                  <a:pt x="31469" y="2968"/>
                </a:cubicBezTo>
                <a:cubicBezTo>
                  <a:pt x="31469" y="2968"/>
                  <a:pt x="31438" y="2968"/>
                  <a:pt x="31438" y="2968"/>
                </a:cubicBezTo>
                <a:cubicBezTo>
                  <a:pt x="31438" y="2968"/>
                  <a:pt x="31406" y="2968"/>
                  <a:pt x="31406" y="2968"/>
                </a:cubicBezTo>
                <a:cubicBezTo>
                  <a:pt x="31406" y="3000"/>
                  <a:pt x="31375" y="3000"/>
                  <a:pt x="31344" y="3000"/>
                </a:cubicBezTo>
                <a:cubicBezTo>
                  <a:pt x="31281" y="3062"/>
                  <a:pt x="31188" y="3093"/>
                  <a:pt x="31094" y="3093"/>
                </a:cubicBezTo>
                <a:cubicBezTo>
                  <a:pt x="31000" y="3125"/>
                  <a:pt x="30938" y="3156"/>
                  <a:pt x="30875" y="3187"/>
                </a:cubicBezTo>
                <a:cubicBezTo>
                  <a:pt x="30781" y="3218"/>
                  <a:pt x="30719" y="3281"/>
                  <a:pt x="30625" y="3187"/>
                </a:cubicBezTo>
                <a:cubicBezTo>
                  <a:pt x="30594" y="3187"/>
                  <a:pt x="30594" y="3187"/>
                  <a:pt x="30563" y="3187"/>
                </a:cubicBezTo>
                <a:cubicBezTo>
                  <a:pt x="30563" y="3187"/>
                  <a:pt x="30531" y="3187"/>
                  <a:pt x="30531" y="3218"/>
                </a:cubicBezTo>
                <a:cubicBezTo>
                  <a:pt x="30500" y="3250"/>
                  <a:pt x="30500" y="3281"/>
                  <a:pt x="30531" y="3281"/>
                </a:cubicBezTo>
                <a:cubicBezTo>
                  <a:pt x="30531" y="3312"/>
                  <a:pt x="30531" y="3343"/>
                  <a:pt x="30594" y="3343"/>
                </a:cubicBezTo>
                <a:cubicBezTo>
                  <a:pt x="30594" y="3343"/>
                  <a:pt x="30594" y="3375"/>
                  <a:pt x="30625" y="3375"/>
                </a:cubicBezTo>
                <a:cubicBezTo>
                  <a:pt x="30656" y="3375"/>
                  <a:pt x="30688" y="3406"/>
                  <a:pt x="30719" y="3406"/>
                </a:cubicBezTo>
                <a:cubicBezTo>
                  <a:pt x="30750" y="3406"/>
                  <a:pt x="30781" y="3406"/>
                  <a:pt x="30813" y="3406"/>
                </a:cubicBezTo>
                <a:cubicBezTo>
                  <a:pt x="30813" y="3406"/>
                  <a:pt x="30813" y="3406"/>
                  <a:pt x="30813" y="3406"/>
                </a:cubicBezTo>
                <a:cubicBezTo>
                  <a:pt x="30813" y="3375"/>
                  <a:pt x="30844" y="3343"/>
                  <a:pt x="30844" y="3312"/>
                </a:cubicBezTo>
                <a:cubicBezTo>
                  <a:pt x="30844" y="3312"/>
                  <a:pt x="30875" y="3281"/>
                  <a:pt x="30875" y="3281"/>
                </a:cubicBezTo>
                <a:cubicBezTo>
                  <a:pt x="30906" y="3281"/>
                  <a:pt x="30906" y="3281"/>
                  <a:pt x="30938" y="3281"/>
                </a:cubicBezTo>
                <a:cubicBezTo>
                  <a:pt x="30969" y="3281"/>
                  <a:pt x="31000" y="3281"/>
                  <a:pt x="31063" y="3312"/>
                </a:cubicBezTo>
                <a:cubicBezTo>
                  <a:pt x="31063" y="3312"/>
                  <a:pt x="31063" y="3312"/>
                  <a:pt x="31094" y="3312"/>
                </a:cubicBezTo>
                <a:cubicBezTo>
                  <a:pt x="31094" y="3312"/>
                  <a:pt x="31094" y="3312"/>
                  <a:pt x="31094" y="3281"/>
                </a:cubicBezTo>
                <a:cubicBezTo>
                  <a:pt x="31094" y="3281"/>
                  <a:pt x="31094" y="3281"/>
                  <a:pt x="31094" y="3281"/>
                </a:cubicBezTo>
                <a:cubicBezTo>
                  <a:pt x="31094" y="3281"/>
                  <a:pt x="31063" y="3281"/>
                  <a:pt x="31063" y="3281"/>
                </a:cubicBezTo>
                <a:cubicBezTo>
                  <a:pt x="31094" y="3218"/>
                  <a:pt x="31094" y="3187"/>
                  <a:pt x="31125" y="3187"/>
                </a:cubicBezTo>
                <a:close/>
                <a:moveTo>
                  <a:pt x="29781" y="5250"/>
                </a:moveTo>
                <a:cubicBezTo>
                  <a:pt x="29781" y="5250"/>
                  <a:pt x="29844" y="5281"/>
                  <a:pt x="29938" y="5250"/>
                </a:cubicBezTo>
                <a:cubicBezTo>
                  <a:pt x="30031" y="5250"/>
                  <a:pt x="30094" y="5250"/>
                  <a:pt x="30125" y="5218"/>
                </a:cubicBezTo>
                <a:cubicBezTo>
                  <a:pt x="30125" y="5187"/>
                  <a:pt x="30156" y="5156"/>
                  <a:pt x="30188" y="5125"/>
                </a:cubicBezTo>
                <a:cubicBezTo>
                  <a:pt x="30188" y="5125"/>
                  <a:pt x="30188" y="5125"/>
                  <a:pt x="30188" y="5093"/>
                </a:cubicBezTo>
                <a:cubicBezTo>
                  <a:pt x="30188" y="5093"/>
                  <a:pt x="30219" y="5093"/>
                  <a:pt x="30219" y="5093"/>
                </a:cubicBezTo>
                <a:cubicBezTo>
                  <a:pt x="30219" y="5093"/>
                  <a:pt x="30219" y="5093"/>
                  <a:pt x="30219" y="5093"/>
                </a:cubicBezTo>
                <a:cubicBezTo>
                  <a:pt x="30250" y="5093"/>
                  <a:pt x="30250" y="5062"/>
                  <a:pt x="30250" y="5062"/>
                </a:cubicBezTo>
                <a:cubicBezTo>
                  <a:pt x="30250" y="5062"/>
                  <a:pt x="30281" y="5062"/>
                  <a:pt x="30281" y="5062"/>
                </a:cubicBezTo>
                <a:cubicBezTo>
                  <a:pt x="30281" y="5093"/>
                  <a:pt x="30281" y="5093"/>
                  <a:pt x="30281" y="5093"/>
                </a:cubicBezTo>
                <a:cubicBezTo>
                  <a:pt x="30313" y="5093"/>
                  <a:pt x="30344" y="5093"/>
                  <a:pt x="30406" y="5125"/>
                </a:cubicBezTo>
                <a:cubicBezTo>
                  <a:pt x="30438" y="5125"/>
                  <a:pt x="30500" y="5125"/>
                  <a:pt x="30531" y="5125"/>
                </a:cubicBezTo>
                <a:cubicBezTo>
                  <a:pt x="30563" y="5125"/>
                  <a:pt x="30625" y="5125"/>
                  <a:pt x="30656" y="5125"/>
                </a:cubicBezTo>
                <a:cubicBezTo>
                  <a:pt x="30656" y="5125"/>
                  <a:pt x="30688" y="5125"/>
                  <a:pt x="30688" y="5093"/>
                </a:cubicBezTo>
                <a:cubicBezTo>
                  <a:pt x="30719" y="5093"/>
                  <a:pt x="30719" y="5093"/>
                  <a:pt x="30719" y="5093"/>
                </a:cubicBezTo>
                <a:cubicBezTo>
                  <a:pt x="30719" y="5093"/>
                  <a:pt x="30719" y="5062"/>
                  <a:pt x="30719" y="5062"/>
                </a:cubicBezTo>
                <a:cubicBezTo>
                  <a:pt x="30719" y="5062"/>
                  <a:pt x="30688" y="5031"/>
                  <a:pt x="30688" y="5031"/>
                </a:cubicBezTo>
                <a:cubicBezTo>
                  <a:pt x="30594" y="5031"/>
                  <a:pt x="30531" y="5031"/>
                  <a:pt x="30469" y="5000"/>
                </a:cubicBezTo>
                <a:cubicBezTo>
                  <a:pt x="30344" y="4968"/>
                  <a:pt x="30250" y="4906"/>
                  <a:pt x="30125" y="4906"/>
                </a:cubicBezTo>
                <a:cubicBezTo>
                  <a:pt x="30000" y="4906"/>
                  <a:pt x="29906" y="4875"/>
                  <a:pt x="29844" y="4812"/>
                </a:cubicBezTo>
                <a:cubicBezTo>
                  <a:pt x="29719" y="4750"/>
                  <a:pt x="29594" y="4750"/>
                  <a:pt x="29500" y="4906"/>
                </a:cubicBezTo>
                <a:cubicBezTo>
                  <a:pt x="29594" y="4906"/>
                  <a:pt x="29688" y="4906"/>
                  <a:pt x="29750" y="4906"/>
                </a:cubicBezTo>
                <a:cubicBezTo>
                  <a:pt x="29813" y="4906"/>
                  <a:pt x="29844" y="4937"/>
                  <a:pt x="29875" y="5000"/>
                </a:cubicBezTo>
                <a:cubicBezTo>
                  <a:pt x="29875" y="5093"/>
                  <a:pt x="29813" y="5093"/>
                  <a:pt x="29750" y="5093"/>
                </a:cubicBezTo>
                <a:cubicBezTo>
                  <a:pt x="29688" y="5125"/>
                  <a:pt x="29625" y="5125"/>
                  <a:pt x="29563" y="5125"/>
                </a:cubicBezTo>
                <a:cubicBezTo>
                  <a:pt x="29531" y="5156"/>
                  <a:pt x="29469" y="5125"/>
                  <a:pt x="29469" y="5187"/>
                </a:cubicBezTo>
                <a:cubicBezTo>
                  <a:pt x="29438" y="5218"/>
                  <a:pt x="29469" y="5250"/>
                  <a:pt x="29500" y="5281"/>
                </a:cubicBezTo>
                <a:cubicBezTo>
                  <a:pt x="29531" y="5312"/>
                  <a:pt x="29594" y="5343"/>
                  <a:pt x="29563" y="5375"/>
                </a:cubicBezTo>
                <a:cubicBezTo>
                  <a:pt x="29563" y="5406"/>
                  <a:pt x="29531" y="5406"/>
                  <a:pt x="29500" y="5406"/>
                </a:cubicBezTo>
                <a:cubicBezTo>
                  <a:pt x="29438" y="5406"/>
                  <a:pt x="29438" y="5375"/>
                  <a:pt x="29406" y="5312"/>
                </a:cubicBezTo>
                <a:cubicBezTo>
                  <a:pt x="29406" y="5250"/>
                  <a:pt x="29094" y="5218"/>
                  <a:pt x="29094" y="5250"/>
                </a:cubicBezTo>
                <a:cubicBezTo>
                  <a:pt x="29125" y="5437"/>
                  <a:pt x="28969" y="5406"/>
                  <a:pt x="28875" y="5500"/>
                </a:cubicBezTo>
                <a:cubicBezTo>
                  <a:pt x="29031" y="5531"/>
                  <a:pt x="29094" y="5406"/>
                  <a:pt x="29219" y="5437"/>
                </a:cubicBezTo>
                <a:cubicBezTo>
                  <a:pt x="29375" y="5468"/>
                  <a:pt x="29500" y="5437"/>
                  <a:pt x="29656" y="5437"/>
                </a:cubicBezTo>
                <a:cubicBezTo>
                  <a:pt x="29688" y="5437"/>
                  <a:pt x="29719" y="5437"/>
                  <a:pt x="29750" y="5406"/>
                </a:cubicBezTo>
                <a:cubicBezTo>
                  <a:pt x="29781" y="5343"/>
                  <a:pt x="29719" y="5343"/>
                  <a:pt x="29688" y="5343"/>
                </a:cubicBezTo>
                <a:cubicBezTo>
                  <a:pt x="29625" y="5312"/>
                  <a:pt x="29625" y="5281"/>
                  <a:pt x="29656" y="5218"/>
                </a:cubicBezTo>
                <a:cubicBezTo>
                  <a:pt x="29719" y="5187"/>
                  <a:pt x="29719" y="5156"/>
                  <a:pt x="29781" y="5250"/>
                </a:cubicBezTo>
                <a:close/>
                <a:moveTo>
                  <a:pt x="32719" y="7750"/>
                </a:moveTo>
                <a:cubicBezTo>
                  <a:pt x="32750" y="7750"/>
                  <a:pt x="32781" y="7750"/>
                  <a:pt x="32813" y="7750"/>
                </a:cubicBezTo>
                <a:cubicBezTo>
                  <a:pt x="32844" y="7750"/>
                  <a:pt x="32906" y="7718"/>
                  <a:pt x="32969" y="7718"/>
                </a:cubicBezTo>
                <a:cubicBezTo>
                  <a:pt x="32844" y="7718"/>
                  <a:pt x="32750" y="7718"/>
                  <a:pt x="32625" y="7718"/>
                </a:cubicBezTo>
                <a:cubicBezTo>
                  <a:pt x="32656" y="7718"/>
                  <a:pt x="32688" y="7750"/>
                  <a:pt x="32719" y="7750"/>
                </a:cubicBezTo>
                <a:close/>
                <a:moveTo>
                  <a:pt x="32594" y="7875"/>
                </a:moveTo>
                <a:cubicBezTo>
                  <a:pt x="32563" y="7875"/>
                  <a:pt x="32531" y="7875"/>
                  <a:pt x="32469" y="7875"/>
                </a:cubicBezTo>
                <a:cubicBezTo>
                  <a:pt x="32438" y="7843"/>
                  <a:pt x="32375" y="7843"/>
                  <a:pt x="32313" y="7843"/>
                </a:cubicBezTo>
                <a:cubicBezTo>
                  <a:pt x="32250" y="7875"/>
                  <a:pt x="32219" y="7875"/>
                  <a:pt x="32156" y="7875"/>
                </a:cubicBezTo>
                <a:cubicBezTo>
                  <a:pt x="32094" y="7906"/>
                  <a:pt x="32031" y="7906"/>
                  <a:pt x="32000" y="7937"/>
                </a:cubicBezTo>
                <a:cubicBezTo>
                  <a:pt x="32125" y="8000"/>
                  <a:pt x="32281" y="7906"/>
                  <a:pt x="32406" y="7968"/>
                </a:cubicBezTo>
                <a:cubicBezTo>
                  <a:pt x="32406" y="7968"/>
                  <a:pt x="32438" y="8000"/>
                  <a:pt x="32438" y="8000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469" y="8031"/>
                  <a:pt x="32469" y="8031"/>
                </a:cubicBezTo>
                <a:cubicBezTo>
                  <a:pt x="32469" y="8031"/>
                  <a:pt x="32500" y="8031"/>
                  <a:pt x="32500" y="8031"/>
                </a:cubicBezTo>
                <a:cubicBezTo>
                  <a:pt x="32500" y="8031"/>
                  <a:pt x="32500" y="8031"/>
                  <a:pt x="32531" y="8031"/>
                </a:cubicBezTo>
                <a:cubicBezTo>
                  <a:pt x="32531" y="8031"/>
                  <a:pt x="32531" y="8031"/>
                  <a:pt x="32531" y="8031"/>
                </a:cubicBezTo>
                <a:cubicBezTo>
                  <a:pt x="32563" y="7906"/>
                  <a:pt x="32656" y="7968"/>
                  <a:pt x="32750" y="7937"/>
                </a:cubicBezTo>
                <a:cubicBezTo>
                  <a:pt x="32719" y="7937"/>
                  <a:pt x="32688" y="7906"/>
                  <a:pt x="32688" y="7906"/>
                </a:cubicBezTo>
                <a:cubicBezTo>
                  <a:pt x="32656" y="7906"/>
                  <a:pt x="32625" y="7875"/>
                  <a:pt x="32594" y="7875"/>
                </a:cubicBezTo>
                <a:close/>
                <a:moveTo>
                  <a:pt x="31313" y="7968"/>
                </a:moveTo>
                <a:cubicBezTo>
                  <a:pt x="31250" y="8000"/>
                  <a:pt x="31188" y="8031"/>
                  <a:pt x="31125" y="8031"/>
                </a:cubicBezTo>
                <a:cubicBezTo>
                  <a:pt x="31094" y="8031"/>
                  <a:pt x="31063" y="8031"/>
                  <a:pt x="31031" y="8031"/>
                </a:cubicBezTo>
                <a:cubicBezTo>
                  <a:pt x="30969" y="8031"/>
                  <a:pt x="30906" y="8031"/>
                  <a:pt x="30875" y="7968"/>
                </a:cubicBezTo>
                <a:cubicBezTo>
                  <a:pt x="30844" y="7937"/>
                  <a:pt x="30813" y="7937"/>
                  <a:pt x="30813" y="7875"/>
                </a:cubicBezTo>
                <a:cubicBezTo>
                  <a:pt x="30813" y="7875"/>
                  <a:pt x="30813" y="7875"/>
                  <a:pt x="30813" y="7875"/>
                </a:cubicBezTo>
                <a:cubicBezTo>
                  <a:pt x="30781" y="7875"/>
                  <a:pt x="30750" y="7875"/>
                  <a:pt x="30750" y="7875"/>
                </a:cubicBezTo>
                <a:cubicBezTo>
                  <a:pt x="30750" y="7875"/>
                  <a:pt x="30750" y="7875"/>
                  <a:pt x="30750" y="7875"/>
                </a:cubicBezTo>
                <a:cubicBezTo>
                  <a:pt x="30750" y="7875"/>
                  <a:pt x="30719" y="7906"/>
                  <a:pt x="30719" y="7906"/>
                </a:cubicBezTo>
                <a:cubicBezTo>
                  <a:pt x="30719" y="7906"/>
                  <a:pt x="30719" y="7906"/>
                  <a:pt x="30750" y="7906"/>
                </a:cubicBezTo>
                <a:cubicBezTo>
                  <a:pt x="30781" y="7937"/>
                  <a:pt x="30781" y="7968"/>
                  <a:pt x="30781" y="8000"/>
                </a:cubicBezTo>
                <a:cubicBezTo>
                  <a:pt x="30813" y="8031"/>
                  <a:pt x="30844" y="8062"/>
                  <a:pt x="30875" y="8062"/>
                </a:cubicBezTo>
                <a:cubicBezTo>
                  <a:pt x="30938" y="8062"/>
                  <a:pt x="30969" y="8062"/>
                  <a:pt x="31031" y="8062"/>
                </a:cubicBezTo>
                <a:cubicBezTo>
                  <a:pt x="31063" y="8062"/>
                  <a:pt x="31125" y="8062"/>
                  <a:pt x="31156" y="8062"/>
                </a:cubicBezTo>
                <a:cubicBezTo>
                  <a:pt x="31250" y="8062"/>
                  <a:pt x="31344" y="8062"/>
                  <a:pt x="31438" y="8062"/>
                </a:cubicBezTo>
                <a:cubicBezTo>
                  <a:pt x="31438" y="7937"/>
                  <a:pt x="31375" y="7968"/>
                  <a:pt x="31313" y="7968"/>
                </a:cubicBezTo>
                <a:close/>
                <a:moveTo>
                  <a:pt x="31531" y="2593"/>
                </a:moveTo>
                <a:cubicBezTo>
                  <a:pt x="31469" y="2593"/>
                  <a:pt x="31406" y="2593"/>
                  <a:pt x="31344" y="2593"/>
                </a:cubicBezTo>
                <a:cubicBezTo>
                  <a:pt x="31313" y="2593"/>
                  <a:pt x="31250" y="2593"/>
                  <a:pt x="31188" y="2593"/>
                </a:cubicBezTo>
                <a:cubicBezTo>
                  <a:pt x="31281" y="2593"/>
                  <a:pt x="31375" y="2593"/>
                  <a:pt x="31406" y="2750"/>
                </a:cubicBezTo>
                <a:cubicBezTo>
                  <a:pt x="31406" y="2750"/>
                  <a:pt x="31406" y="2750"/>
                  <a:pt x="31406" y="2750"/>
                </a:cubicBezTo>
                <a:cubicBezTo>
                  <a:pt x="31406" y="2750"/>
                  <a:pt x="31438" y="2781"/>
                  <a:pt x="31438" y="2781"/>
                </a:cubicBezTo>
                <a:cubicBezTo>
                  <a:pt x="31438" y="2781"/>
                  <a:pt x="31438" y="2781"/>
                  <a:pt x="31469" y="2781"/>
                </a:cubicBezTo>
                <a:cubicBezTo>
                  <a:pt x="31469" y="2781"/>
                  <a:pt x="31469" y="2781"/>
                  <a:pt x="31469" y="2781"/>
                </a:cubicBezTo>
                <a:cubicBezTo>
                  <a:pt x="31531" y="2718"/>
                  <a:pt x="31594" y="2718"/>
                  <a:pt x="31656" y="2687"/>
                </a:cubicBezTo>
                <a:cubicBezTo>
                  <a:pt x="31688" y="2687"/>
                  <a:pt x="31719" y="2687"/>
                  <a:pt x="31781" y="2687"/>
                </a:cubicBezTo>
                <a:cubicBezTo>
                  <a:pt x="31813" y="2656"/>
                  <a:pt x="31844" y="2656"/>
                  <a:pt x="31875" y="2625"/>
                </a:cubicBezTo>
                <a:cubicBezTo>
                  <a:pt x="31750" y="2593"/>
                  <a:pt x="31656" y="2593"/>
                  <a:pt x="31531" y="2593"/>
                </a:cubicBezTo>
                <a:close/>
                <a:moveTo>
                  <a:pt x="31219" y="2812"/>
                </a:moveTo>
                <a:cubicBezTo>
                  <a:pt x="31219" y="2812"/>
                  <a:pt x="31250" y="2812"/>
                  <a:pt x="31250" y="2781"/>
                </a:cubicBezTo>
                <a:cubicBezTo>
                  <a:pt x="31250" y="2781"/>
                  <a:pt x="31250" y="2781"/>
                  <a:pt x="31219" y="2750"/>
                </a:cubicBezTo>
                <a:cubicBezTo>
                  <a:pt x="31219" y="2750"/>
                  <a:pt x="31219" y="2750"/>
                  <a:pt x="31219" y="2750"/>
                </a:cubicBezTo>
                <a:cubicBezTo>
                  <a:pt x="31219" y="2750"/>
                  <a:pt x="31219" y="2750"/>
                  <a:pt x="31188" y="2750"/>
                </a:cubicBezTo>
                <a:cubicBezTo>
                  <a:pt x="31188" y="2750"/>
                  <a:pt x="31188" y="2750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781"/>
                  <a:pt x="31188" y="2781"/>
                  <a:pt x="31188" y="2781"/>
                </a:cubicBezTo>
                <a:cubicBezTo>
                  <a:pt x="31188" y="2812"/>
                  <a:pt x="31188" y="2812"/>
                  <a:pt x="31219" y="2812"/>
                </a:cubicBezTo>
                <a:close/>
                <a:moveTo>
                  <a:pt x="32219" y="7000"/>
                </a:moveTo>
                <a:cubicBezTo>
                  <a:pt x="32250" y="7031"/>
                  <a:pt x="32281" y="7062"/>
                  <a:pt x="32344" y="7062"/>
                </a:cubicBezTo>
                <a:cubicBezTo>
                  <a:pt x="32344" y="7062"/>
                  <a:pt x="32375" y="7062"/>
                  <a:pt x="32406" y="7062"/>
                </a:cubicBezTo>
                <a:cubicBezTo>
                  <a:pt x="32469" y="7062"/>
                  <a:pt x="32531" y="7062"/>
                  <a:pt x="32594" y="7062"/>
                </a:cubicBezTo>
                <a:cubicBezTo>
                  <a:pt x="32625" y="7031"/>
                  <a:pt x="32688" y="7031"/>
                  <a:pt x="32719" y="7031"/>
                </a:cubicBezTo>
                <a:cubicBezTo>
                  <a:pt x="32250" y="6875"/>
                  <a:pt x="31750" y="6968"/>
                  <a:pt x="31250" y="6968"/>
                </a:cubicBezTo>
                <a:cubicBezTo>
                  <a:pt x="31563" y="7031"/>
                  <a:pt x="31844" y="7187"/>
                  <a:pt x="32156" y="7000"/>
                </a:cubicBezTo>
                <a:cubicBezTo>
                  <a:pt x="32188" y="6968"/>
                  <a:pt x="32188" y="7000"/>
                  <a:pt x="32219" y="7000"/>
                </a:cubicBezTo>
                <a:close/>
                <a:moveTo>
                  <a:pt x="32188" y="5375"/>
                </a:moveTo>
                <a:cubicBezTo>
                  <a:pt x="32281" y="5375"/>
                  <a:pt x="32344" y="5406"/>
                  <a:pt x="32406" y="5406"/>
                </a:cubicBezTo>
                <a:cubicBezTo>
                  <a:pt x="32469" y="5437"/>
                  <a:pt x="32531" y="5437"/>
                  <a:pt x="32594" y="5437"/>
                </a:cubicBezTo>
                <a:cubicBezTo>
                  <a:pt x="32625" y="5437"/>
                  <a:pt x="32656" y="5437"/>
                  <a:pt x="32688" y="5437"/>
                </a:cubicBezTo>
                <a:cubicBezTo>
                  <a:pt x="32781" y="5437"/>
                  <a:pt x="32875" y="5437"/>
                  <a:pt x="32938" y="5406"/>
                </a:cubicBezTo>
                <a:cubicBezTo>
                  <a:pt x="32875" y="5406"/>
                  <a:pt x="32813" y="5406"/>
                  <a:pt x="32719" y="5375"/>
                </a:cubicBezTo>
                <a:cubicBezTo>
                  <a:pt x="32563" y="5343"/>
                  <a:pt x="32406" y="5281"/>
                  <a:pt x="32188" y="5375"/>
                </a:cubicBezTo>
                <a:close/>
                <a:moveTo>
                  <a:pt x="31688" y="3031"/>
                </a:moveTo>
                <a:cubicBezTo>
                  <a:pt x="31719" y="3062"/>
                  <a:pt x="31781" y="3031"/>
                  <a:pt x="31813" y="2968"/>
                </a:cubicBezTo>
                <a:cubicBezTo>
                  <a:pt x="31750" y="2968"/>
                  <a:pt x="31656" y="3000"/>
                  <a:pt x="31594" y="3000"/>
                </a:cubicBezTo>
                <a:cubicBezTo>
                  <a:pt x="31594" y="3000"/>
                  <a:pt x="31594" y="3000"/>
                  <a:pt x="31625" y="3031"/>
                </a:cubicBezTo>
                <a:cubicBezTo>
                  <a:pt x="31656" y="3031"/>
                  <a:pt x="31656" y="3031"/>
                  <a:pt x="31688" y="3031"/>
                </a:cubicBezTo>
                <a:close/>
                <a:moveTo>
                  <a:pt x="33719" y="7500"/>
                </a:moveTo>
                <a:cubicBezTo>
                  <a:pt x="33688" y="7500"/>
                  <a:pt x="33625" y="7500"/>
                  <a:pt x="33594" y="7500"/>
                </a:cubicBezTo>
                <a:cubicBezTo>
                  <a:pt x="33594" y="7500"/>
                  <a:pt x="33563" y="7500"/>
                  <a:pt x="33563" y="7500"/>
                </a:cubicBezTo>
                <a:cubicBezTo>
                  <a:pt x="33563" y="7500"/>
                  <a:pt x="33563" y="7500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31"/>
                  <a:pt x="33531" y="7531"/>
                  <a:pt x="33531" y="7531"/>
                </a:cubicBezTo>
                <a:cubicBezTo>
                  <a:pt x="33531" y="7562"/>
                  <a:pt x="33531" y="7562"/>
                  <a:pt x="33563" y="7562"/>
                </a:cubicBezTo>
                <a:cubicBezTo>
                  <a:pt x="33563" y="7562"/>
                  <a:pt x="33563" y="7562"/>
                  <a:pt x="33563" y="7562"/>
                </a:cubicBezTo>
                <a:cubicBezTo>
                  <a:pt x="33625" y="7562"/>
                  <a:pt x="33688" y="7593"/>
                  <a:pt x="33750" y="7593"/>
                </a:cubicBezTo>
                <a:cubicBezTo>
                  <a:pt x="33750" y="7593"/>
                  <a:pt x="33781" y="7593"/>
                  <a:pt x="33781" y="7562"/>
                </a:cubicBezTo>
                <a:cubicBezTo>
                  <a:pt x="33813" y="7562"/>
                  <a:pt x="33813" y="7562"/>
                  <a:pt x="33813" y="7562"/>
                </a:cubicBezTo>
                <a:cubicBezTo>
                  <a:pt x="33844" y="7531"/>
                  <a:pt x="33875" y="7531"/>
                  <a:pt x="33875" y="7500"/>
                </a:cubicBezTo>
                <a:cubicBezTo>
                  <a:pt x="33844" y="7500"/>
                  <a:pt x="33813" y="7500"/>
                  <a:pt x="33813" y="7500"/>
                </a:cubicBezTo>
                <a:cubicBezTo>
                  <a:pt x="33781" y="7500"/>
                  <a:pt x="33750" y="7500"/>
                  <a:pt x="33719" y="7500"/>
                </a:cubicBezTo>
                <a:close/>
                <a:moveTo>
                  <a:pt x="31844" y="4843"/>
                </a:moveTo>
                <a:cubicBezTo>
                  <a:pt x="31781" y="4812"/>
                  <a:pt x="31688" y="4781"/>
                  <a:pt x="31594" y="4812"/>
                </a:cubicBezTo>
                <a:cubicBezTo>
                  <a:pt x="31563" y="4812"/>
                  <a:pt x="31563" y="4843"/>
                  <a:pt x="31531" y="4843"/>
                </a:cubicBezTo>
                <a:cubicBezTo>
                  <a:pt x="31688" y="4843"/>
                  <a:pt x="31750" y="4843"/>
                  <a:pt x="31844" y="4843"/>
                </a:cubicBezTo>
                <a:close/>
                <a:moveTo>
                  <a:pt x="34813" y="6968"/>
                </a:moveTo>
                <a:cubicBezTo>
                  <a:pt x="34781" y="6968"/>
                  <a:pt x="34750" y="7000"/>
                  <a:pt x="34750" y="7000"/>
                </a:cubicBezTo>
                <a:cubicBezTo>
                  <a:pt x="34750" y="7000"/>
                  <a:pt x="34750" y="7000"/>
                  <a:pt x="34750" y="7000"/>
                </a:cubicBezTo>
                <a:cubicBezTo>
                  <a:pt x="34719" y="7000"/>
                  <a:pt x="34719" y="7031"/>
                  <a:pt x="34719" y="7031"/>
                </a:cubicBezTo>
                <a:cubicBezTo>
                  <a:pt x="34719" y="7031"/>
                  <a:pt x="34719" y="7031"/>
                  <a:pt x="34719" y="7031"/>
                </a:cubicBezTo>
                <a:cubicBezTo>
                  <a:pt x="34750" y="7062"/>
                  <a:pt x="34781" y="7062"/>
                  <a:pt x="34781" y="7062"/>
                </a:cubicBezTo>
                <a:cubicBezTo>
                  <a:pt x="34813" y="7093"/>
                  <a:pt x="34844" y="7062"/>
                  <a:pt x="34875" y="7062"/>
                </a:cubicBezTo>
                <a:cubicBezTo>
                  <a:pt x="34906" y="7062"/>
                  <a:pt x="34906" y="7062"/>
                  <a:pt x="34938" y="7062"/>
                </a:cubicBezTo>
                <a:cubicBezTo>
                  <a:pt x="34938" y="7062"/>
                  <a:pt x="34969" y="7062"/>
                  <a:pt x="34969" y="7062"/>
                </a:cubicBezTo>
                <a:cubicBezTo>
                  <a:pt x="34969" y="7062"/>
                  <a:pt x="34969" y="7062"/>
                  <a:pt x="34969" y="7062"/>
                </a:cubicBezTo>
                <a:cubicBezTo>
                  <a:pt x="35000" y="7062"/>
                  <a:pt x="35000" y="7031"/>
                  <a:pt x="35000" y="7031"/>
                </a:cubicBezTo>
                <a:cubicBezTo>
                  <a:pt x="35031" y="7031"/>
                  <a:pt x="35031" y="7031"/>
                  <a:pt x="35031" y="7031"/>
                </a:cubicBezTo>
                <a:cubicBezTo>
                  <a:pt x="35000" y="7000"/>
                  <a:pt x="34938" y="7000"/>
                  <a:pt x="34906" y="7000"/>
                </a:cubicBezTo>
                <a:cubicBezTo>
                  <a:pt x="34875" y="6968"/>
                  <a:pt x="34844" y="6968"/>
                  <a:pt x="34813" y="6968"/>
                </a:cubicBezTo>
                <a:close/>
                <a:moveTo>
                  <a:pt x="36937" y="5437"/>
                </a:moveTo>
                <a:cubicBezTo>
                  <a:pt x="36937" y="5406"/>
                  <a:pt x="36906" y="5406"/>
                  <a:pt x="36906" y="5406"/>
                </a:cubicBezTo>
                <a:cubicBezTo>
                  <a:pt x="36844" y="5375"/>
                  <a:pt x="36812" y="5375"/>
                  <a:pt x="36750" y="5375"/>
                </a:cubicBezTo>
                <a:cubicBezTo>
                  <a:pt x="36719" y="5375"/>
                  <a:pt x="36719" y="5375"/>
                  <a:pt x="36719" y="5375"/>
                </a:cubicBezTo>
                <a:cubicBezTo>
                  <a:pt x="36687" y="5375"/>
                  <a:pt x="36656" y="5375"/>
                  <a:pt x="36625" y="5375"/>
                </a:cubicBezTo>
                <a:cubicBezTo>
                  <a:pt x="36625" y="5375"/>
                  <a:pt x="36625" y="5375"/>
                  <a:pt x="36594" y="5375"/>
                </a:cubicBezTo>
                <a:cubicBezTo>
                  <a:pt x="36563" y="5375"/>
                  <a:pt x="36500" y="5375"/>
                  <a:pt x="36469" y="5343"/>
                </a:cubicBezTo>
                <a:cubicBezTo>
                  <a:pt x="36375" y="5218"/>
                  <a:pt x="36250" y="5187"/>
                  <a:pt x="36156" y="5187"/>
                </a:cubicBezTo>
                <a:cubicBezTo>
                  <a:pt x="36094" y="5187"/>
                  <a:pt x="36031" y="5218"/>
                  <a:pt x="35969" y="5218"/>
                </a:cubicBezTo>
                <a:cubicBezTo>
                  <a:pt x="35938" y="5218"/>
                  <a:pt x="35906" y="5218"/>
                  <a:pt x="35875" y="5218"/>
                </a:cubicBezTo>
                <a:cubicBezTo>
                  <a:pt x="35875" y="5218"/>
                  <a:pt x="35844" y="5218"/>
                  <a:pt x="35844" y="5218"/>
                </a:cubicBezTo>
                <a:cubicBezTo>
                  <a:pt x="35813" y="5218"/>
                  <a:pt x="35813" y="5218"/>
                  <a:pt x="35813" y="5218"/>
                </a:cubicBezTo>
                <a:cubicBezTo>
                  <a:pt x="35750" y="5218"/>
                  <a:pt x="35688" y="5218"/>
                  <a:pt x="35625" y="5218"/>
                </a:cubicBezTo>
                <a:cubicBezTo>
                  <a:pt x="35531" y="5250"/>
                  <a:pt x="35438" y="5250"/>
                  <a:pt x="35344" y="5218"/>
                </a:cubicBezTo>
                <a:cubicBezTo>
                  <a:pt x="35281" y="5218"/>
                  <a:pt x="35188" y="5187"/>
                  <a:pt x="35094" y="5156"/>
                </a:cubicBezTo>
                <a:cubicBezTo>
                  <a:pt x="35094" y="5156"/>
                  <a:pt x="35094" y="5156"/>
                  <a:pt x="35094" y="5156"/>
                </a:cubicBezTo>
                <a:cubicBezTo>
                  <a:pt x="35063" y="5125"/>
                  <a:pt x="35063" y="5125"/>
                  <a:pt x="35031" y="5156"/>
                </a:cubicBezTo>
                <a:cubicBezTo>
                  <a:pt x="35031" y="5156"/>
                  <a:pt x="35031" y="5156"/>
                  <a:pt x="35031" y="5156"/>
                </a:cubicBezTo>
                <a:cubicBezTo>
                  <a:pt x="35000" y="5156"/>
                  <a:pt x="34969" y="5156"/>
                  <a:pt x="34938" y="5156"/>
                </a:cubicBezTo>
                <a:cubicBezTo>
                  <a:pt x="34875" y="5187"/>
                  <a:pt x="34813" y="5187"/>
                  <a:pt x="34750" y="5187"/>
                </a:cubicBezTo>
                <a:cubicBezTo>
                  <a:pt x="34625" y="5187"/>
                  <a:pt x="34531" y="5187"/>
                  <a:pt x="34438" y="5156"/>
                </a:cubicBezTo>
                <a:cubicBezTo>
                  <a:pt x="34438" y="5156"/>
                  <a:pt x="34438" y="5156"/>
                  <a:pt x="34438" y="5156"/>
                </a:cubicBezTo>
                <a:cubicBezTo>
                  <a:pt x="34406" y="5156"/>
                  <a:pt x="34406" y="5125"/>
                  <a:pt x="34375" y="5156"/>
                </a:cubicBezTo>
                <a:cubicBezTo>
                  <a:pt x="34375" y="5156"/>
                  <a:pt x="34344" y="5187"/>
                  <a:pt x="34344" y="5218"/>
                </a:cubicBezTo>
                <a:cubicBezTo>
                  <a:pt x="34719" y="5312"/>
                  <a:pt x="35125" y="5375"/>
                  <a:pt x="35500" y="5375"/>
                </a:cubicBezTo>
                <a:cubicBezTo>
                  <a:pt x="35844" y="5406"/>
                  <a:pt x="36156" y="5406"/>
                  <a:pt x="36500" y="5437"/>
                </a:cubicBezTo>
                <a:cubicBezTo>
                  <a:pt x="36656" y="5437"/>
                  <a:pt x="36844" y="5468"/>
                  <a:pt x="37000" y="5468"/>
                </a:cubicBezTo>
                <a:cubicBezTo>
                  <a:pt x="36969" y="5468"/>
                  <a:pt x="36969" y="5437"/>
                  <a:pt x="36937" y="5437"/>
                </a:cubicBezTo>
                <a:close/>
                <a:moveTo>
                  <a:pt x="34906" y="6718"/>
                </a:moveTo>
                <a:cubicBezTo>
                  <a:pt x="34906" y="6718"/>
                  <a:pt x="34906" y="6718"/>
                  <a:pt x="34906" y="6718"/>
                </a:cubicBezTo>
                <a:cubicBezTo>
                  <a:pt x="34875" y="6718"/>
                  <a:pt x="34875" y="6718"/>
                  <a:pt x="34875" y="6718"/>
                </a:cubicBezTo>
                <a:cubicBezTo>
                  <a:pt x="34781" y="6718"/>
                  <a:pt x="34719" y="6718"/>
                  <a:pt x="34656" y="6718"/>
                </a:cubicBezTo>
                <a:cubicBezTo>
                  <a:pt x="34500" y="6718"/>
                  <a:pt x="34344" y="6718"/>
                  <a:pt x="34219" y="6687"/>
                </a:cubicBezTo>
                <a:cubicBezTo>
                  <a:pt x="34125" y="6687"/>
                  <a:pt x="34063" y="6687"/>
                  <a:pt x="34000" y="6687"/>
                </a:cubicBezTo>
                <a:cubicBezTo>
                  <a:pt x="33750" y="6656"/>
                  <a:pt x="33500" y="6656"/>
                  <a:pt x="33250" y="6656"/>
                </a:cubicBezTo>
                <a:cubicBezTo>
                  <a:pt x="33000" y="6656"/>
                  <a:pt x="32750" y="6656"/>
                  <a:pt x="32500" y="6656"/>
                </a:cubicBezTo>
                <a:cubicBezTo>
                  <a:pt x="32469" y="6656"/>
                  <a:pt x="32406" y="6656"/>
                  <a:pt x="32344" y="6656"/>
                </a:cubicBezTo>
                <a:cubicBezTo>
                  <a:pt x="32250" y="6656"/>
                  <a:pt x="32156" y="6656"/>
                  <a:pt x="32063" y="6656"/>
                </a:cubicBezTo>
                <a:cubicBezTo>
                  <a:pt x="31906" y="6625"/>
                  <a:pt x="31781" y="6625"/>
                  <a:pt x="31625" y="6625"/>
                </a:cubicBezTo>
                <a:cubicBezTo>
                  <a:pt x="31594" y="6593"/>
                  <a:pt x="31563" y="6625"/>
                  <a:pt x="31563" y="6625"/>
                </a:cubicBezTo>
                <a:cubicBezTo>
                  <a:pt x="31531" y="6625"/>
                  <a:pt x="31500" y="6625"/>
                  <a:pt x="31469" y="6656"/>
                </a:cubicBezTo>
                <a:cubicBezTo>
                  <a:pt x="31469" y="6656"/>
                  <a:pt x="31438" y="6656"/>
                  <a:pt x="31438" y="6656"/>
                </a:cubicBezTo>
                <a:cubicBezTo>
                  <a:pt x="31438" y="6656"/>
                  <a:pt x="31406" y="6687"/>
                  <a:pt x="31406" y="6687"/>
                </a:cubicBezTo>
                <a:cubicBezTo>
                  <a:pt x="31406" y="6687"/>
                  <a:pt x="31406" y="6687"/>
                  <a:pt x="31406" y="6687"/>
                </a:cubicBezTo>
                <a:cubicBezTo>
                  <a:pt x="31406" y="6718"/>
                  <a:pt x="31406" y="6718"/>
                  <a:pt x="31406" y="6718"/>
                </a:cubicBezTo>
                <a:cubicBezTo>
                  <a:pt x="31406" y="6750"/>
                  <a:pt x="31406" y="6750"/>
                  <a:pt x="31406" y="6750"/>
                </a:cubicBezTo>
                <a:cubicBezTo>
                  <a:pt x="31406" y="6750"/>
                  <a:pt x="31438" y="6750"/>
                  <a:pt x="31438" y="6750"/>
                </a:cubicBezTo>
                <a:cubicBezTo>
                  <a:pt x="31438" y="6750"/>
                  <a:pt x="31438" y="6781"/>
                  <a:pt x="31469" y="6781"/>
                </a:cubicBezTo>
                <a:cubicBezTo>
                  <a:pt x="31469" y="6781"/>
                  <a:pt x="31469" y="6781"/>
                  <a:pt x="31469" y="6781"/>
                </a:cubicBezTo>
                <a:cubicBezTo>
                  <a:pt x="31469" y="6781"/>
                  <a:pt x="31469" y="6781"/>
                  <a:pt x="31500" y="6781"/>
                </a:cubicBezTo>
                <a:cubicBezTo>
                  <a:pt x="31500" y="6781"/>
                  <a:pt x="31500" y="6781"/>
                  <a:pt x="31500" y="6781"/>
                </a:cubicBezTo>
                <a:cubicBezTo>
                  <a:pt x="31656" y="6781"/>
                  <a:pt x="31813" y="6781"/>
                  <a:pt x="31969" y="6781"/>
                </a:cubicBezTo>
                <a:cubicBezTo>
                  <a:pt x="32094" y="6812"/>
                  <a:pt x="32188" y="6812"/>
                  <a:pt x="32281" y="6812"/>
                </a:cubicBezTo>
                <a:cubicBezTo>
                  <a:pt x="32438" y="6812"/>
                  <a:pt x="32594" y="6843"/>
                  <a:pt x="32750" y="6843"/>
                </a:cubicBezTo>
                <a:cubicBezTo>
                  <a:pt x="32906" y="6843"/>
                  <a:pt x="33063" y="6812"/>
                  <a:pt x="33188" y="6812"/>
                </a:cubicBezTo>
                <a:cubicBezTo>
                  <a:pt x="33500" y="6812"/>
                  <a:pt x="33781" y="6812"/>
                  <a:pt x="34063" y="6812"/>
                </a:cubicBezTo>
                <a:cubicBezTo>
                  <a:pt x="34219" y="6812"/>
                  <a:pt x="34344" y="6812"/>
                  <a:pt x="34500" y="6812"/>
                </a:cubicBezTo>
                <a:cubicBezTo>
                  <a:pt x="34688" y="6812"/>
                  <a:pt x="34875" y="6781"/>
                  <a:pt x="35094" y="6750"/>
                </a:cubicBezTo>
                <a:cubicBezTo>
                  <a:pt x="35063" y="6750"/>
                  <a:pt x="35063" y="6750"/>
                  <a:pt x="35063" y="6750"/>
                </a:cubicBezTo>
                <a:cubicBezTo>
                  <a:pt x="35000" y="6718"/>
                  <a:pt x="34969" y="6718"/>
                  <a:pt x="34906" y="6718"/>
                </a:cubicBezTo>
                <a:close/>
                <a:moveTo>
                  <a:pt x="36313" y="6093"/>
                </a:moveTo>
                <a:cubicBezTo>
                  <a:pt x="36281" y="6125"/>
                  <a:pt x="36250" y="6125"/>
                  <a:pt x="36219" y="6125"/>
                </a:cubicBezTo>
                <a:cubicBezTo>
                  <a:pt x="36281" y="6156"/>
                  <a:pt x="36344" y="6156"/>
                  <a:pt x="36406" y="6156"/>
                </a:cubicBezTo>
                <a:cubicBezTo>
                  <a:pt x="36438" y="6156"/>
                  <a:pt x="36469" y="6156"/>
                  <a:pt x="36500" y="6156"/>
                </a:cubicBezTo>
                <a:cubicBezTo>
                  <a:pt x="36625" y="6156"/>
                  <a:pt x="36750" y="6125"/>
                  <a:pt x="36875" y="6093"/>
                </a:cubicBezTo>
                <a:cubicBezTo>
                  <a:pt x="36906" y="6093"/>
                  <a:pt x="36937" y="6093"/>
                  <a:pt x="36969" y="6093"/>
                </a:cubicBezTo>
                <a:cubicBezTo>
                  <a:pt x="36906" y="6093"/>
                  <a:pt x="36844" y="6093"/>
                  <a:pt x="36781" y="6062"/>
                </a:cubicBezTo>
                <a:cubicBezTo>
                  <a:pt x="36625" y="6062"/>
                  <a:pt x="36469" y="6062"/>
                  <a:pt x="36313" y="6093"/>
                </a:cubicBezTo>
                <a:close/>
                <a:moveTo>
                  <a:pt x="38469" y="1093"/>
                </a:moveTo>
                <a:cubicBezTo>
                  <a:pt x="38500" y="1093"/>
                  <a:pt x="38531" y="1093"/>
                  <a:pt x="38531" y="1093"/>
                </a:cubicBezTo>
                <a:cubicBezTo>
                  <a:pt x="38562" y="1093"/>
                  <a:pt x="38594" y="1093"/>
                  <a:pt x="38625" y="1093"/>
                </a:cubicBezTo>
                <a:cubicBezTo>
                  <a:pt x="38625" y="1062"/>
                  <a:pt x="38656" y="1062"/>
                  <a:pt x="38687" y="1062"/>
                </a:cubicBezTo>
                <a:cubicBezTo>
                  <a:pt x="38719" y="1031"/>
                  <a:pt x="38719" y="1031"/>
                  <a:pt x="38750" y="1031"/>
                </a:cubicBezTo>
                <a:cubicBezTo>
                  <a:pt x="38750" y="1000"/>
                  <a:pt x="38750" y="1000"/>
                  <a:pt x="38750" y="968"/>
                </a:cubicBezTo>
                <a:cubicBezTo>
                  <a:pt x="38719" y="968"/>
                  <a:pt x="38719" y="968"/>
                  <a:pt x="38719" y="968"/>
                </a:cubicBezTo>
                <a:cubicBezTo>
                  <a:pt x="38687" y="968"/>
                  <a:pt x="38656" y="968"/>
                  <a:pt x="38625" y="968"/>
                </a:cubicBezTo>
                <a:cubicBezTo>
                  <a:pt x="38594" y="968"/>
                  <a:pt x="38562" y="968"/>
                  <a:pt x="38531" y="968"/>
                </a:cubicBezTo>
                <a:cubicBezTo>
                  <a:pt x="38500" y="1000"/>
                  <a:pt x="38469" y="1000"/>
                  <a:pt x="38469" y="1031"/>
                </a:cubicBezTo>
                <a:cubicBezTo>
                  <a:pt x="38437" y="1031"/>
                  <a:pt x="38437" y="1062"/>
                  <a:pt x="38437" y="1062"/>
                </a:cubicBezTo>
                <a:cubicBezTo>
                  <a:pt x="38469" y="1062"/>
                  <a:pt x="38469" y="1062"/>
                  <a:pt x="38469" y="1093"/>
                </a:cubicBezTo>
                <a:close/>
                <a:moveTo>
                  <a:pt x="28031" y="5062"/>
                </a:moveTo>
                <a:cubicBezTo>
                  <a:pt x="28031" y="4875"/>
                  <a:pt x="28125" y="4812"/>
                  <a:pt x="28250" y="4750"/>
                </a:cubicBezTo>
                <a:cubicBezTo>
                  <a:pt x="28063" y="4718"/>
                  <a:pt x="27969" y="4812"/>
                  <a:pt x="27844" y="4875"/>
                </a:cubicBezTo>
                <a:cubicBezTo>
                  <a:pt x="27906" y="4937"/>
                  <a:pt x="27938" y="5000"/>
                  <a:pt x="28031" y="5062"/>
                </a:cubicBezTo>
                <a:close/>
                <a:moveTo>
                  <a:pt x="27000" y="5000"/>
                </a:moveTo>
                <a:cubicBezTo>
                  <a:pt x="27000" y="4937"/>
                  <a:pt x="26969" y="4875"/>
                  <a:pt x="26875" y="4968"/>
                </a:cubicBezTo>
                <a:cubicBezTo>
                  <a:pt x="26813" y="5000"/>
                  <a:pt x="26719" y="4968"/>
                  <a:pt x="26688" y="5031"/>
                </a:cubicBezTo>
                <a:cubicBezTo>
                  <a:pt x="26688" y="5218"/>
                  <a:pt x="26531" y="5281"/>
                  <a:pt x="26469" y="5468"/>
                </a:cubicBezTo>
                <a:cubicBezTo>
                  <a:pt x="26625" y="5406"/>
                  <a:pt x="26781" y="5343"/>
                  <a:pt x="26906" y="5312"/>
                </a:cubicBezTo>
                <a:cubicBezTo>
                  <a:pt x="27063" y="5312"/>
                  <a:pt x="27125" y="5281"/>
                  <a:pt x="27156" y="5125"/>
                </a:cubicBezTo>
                <a:cubicBezTo>
                  <a:pt x="27188" y="4937"/>
                  <a:pt x="27031" y="5093"/>
                  <a:pt x="27000" y="5000"/>
                </a:cubicBezTo>
                <a:close/>
                <a:moveTo>
                  <a:pt x="29781" y="7718"/>
                </a:moveTo>
                <a:cubicBezTo>
                  <a:pt x="29625" y="7687"/>
                  <a:pt x="29469" y="7687"/>
                  <a:pt x="29313" y="7718"/>
                </a:cubicBezTo>
                <a:cubicBezTo>
                  <a:pt x="29469" y="7718"/>
                  <a:pt x="29625" y="7750"/>
                  <a:pt x="29781" y="7718"/>
                </a:cubicBezTo>
                <a:close/>
                <a:moveTo>
                  <a:pt x="28875" y="7843"/>
                </a:moveTo>
                <a:cubicBezTo>
                  <a:pt x="28875" y="7843"/>
                  <a:pt x="28844" y="7875"/>
                  <a:pt x="28844" y="7906"/>
                </a:cubicBezTo>
                <a:cubicBezTo>
                  <a:pt x="28844" y="7937"/>
                  <a:pt x="28875" y="7968"/>
                  <a:pt x="28906" y="7968"/>
                </a:cubicBezTo>
                <a:cubicBezTo>
                  <a:pt x="29063" y="7968"/>
                  <a:pt x="29219" y="7968"/>
                  <a:pt x="29406" y="7968"/>
                </a:cubicBezTo>
                <a:cubicBezTo>
                  <a:pt x="29375" y="7906"/>
                  <a:pt x="29375" y="7906"/>
                  <a:pt x="29375" y="7875"/>
                </a:cubicBezTo>
                <a:cubicBezTo>
                  <a:pt x="29219" y="7812"/>
                  <a:pt x="29031" y="7875"/>
                  <a:pt x="28875" y="7843"/>
                </a:cubicBezTo>
                <a:close/>
                <a:moveTo>
                  <a:pt x="29719" y="7875"/>
                </a:moveTo>
                <a:cubicBezTo>
                  <a:pt x="29688" y="7875"/>
                  <a:pt x="29594" y="7875"/>
                  <a:pt x="29625" y="7937"/>
                </a:cubicBezTo>
                <a:cubicBezTo>
                  <a:pt x="29656" y="8000"/>
                  <a:pt x="29625" y="8031"/>
                  <a:pt x="29594" y="8062"/>
                </a:cubicBezTo>
                <a:cubicBezTo>
                  <a:pt x="29563" y="8062"/>
                  <a:pt x="29531" y="8093"/>
                  <a:pt x="29531" y="8125"/>
                </a:cubicBezTo>
                <a:cubicBezTo>
                  <a:pt x="29563" y="8187"/>
                  <a:pt x="29625" y="8156"/>
                  <a:pt x="29656" y="8156"/>
                </a:cubicBezTo>
                <a:cubicBezTo>
                  <a:pt x="29781" y="8156"/>
                  <a:pt x="29813" y="8062"/>
                  <a:pt x="29844" y="7968"/>
                </a:cubicBezTo>
                <a:cubicBezTo>
                  <a:pt x="29844" y="7937"/>
                  <a:pt x="29938" y="7968"/>
                  <a:pt x="29875" y="7906"/>
                </a:cubicBezTo>
                <a:cubicBezTo>
                  <a:pt x="29844" y="7843"/>
                  <a:pt x="29781" y="7843"/>
                  <a:pt x="29719" y="7875"/>
                </a:cubicBezTo>
                <a:close/>
                <a:moveTo>
                  <a:pt x="25750" y="5593"/>
                </a:moveTo>
                <a:cubicBezTo>
                  <a:pt x="25844" y="5593"/>
                  <a:pt x="25813" y="5500"/>
                  <a:pt x="25813" y="5468"/>
                </a:cubicBezTo>
                <a:cubicBezTo>
                  <a:pt x="25844" y="5437"/>
                  <a:pt x="25844" y="5406"/>
                  <a:pt x="25875" y="5375"/>
                </a:cubicBezTo>
                <a:cubicBezTo>
                  <a:pt x="25875" y="5343"/>
                  <a:pt x="25906" y="5312"/>
                  <a:pt x="25875" y="5281"/>
                </a:cubicBezTo>
                <a:cubicBezTo>
                  <a:pt x="25844" y="5218"/>
                  <a:pt x="25781" y="5250"/>
                  <a:pt x="25750" y="5250"/>
                </a:cubicBezTo>
                <a:cubicBezTo>
                  <a:pt x="25625" y="5312"/>
                  <a:pt x="25500" y="5437"/>
                  <a:pt x="25344" y="5437"/>
                </a:cubicBezTo>
                <a:cubicBezTo>
                  <a:pt x="25313" y="5437"/>
                  <a:pt x="25281" y="5437"/>
                  <a:pt x="25281" y="5468"/>
                </a:cubicBezTo>
                <a:cubicBezTo>
                  <a:pt x="25313" y="5500"/>
                  <a:pt x="25344" y="5500"/>
                  <a:pt x="25375" y="5500"/>
                </a:cubicBezTo>
                <a:cubicBezTo>
                  <a:pt x="25469" y="5468"/>
                  <a:pt x="25563" y="5468"/>
                  <a:pt x="25656" y="5437"/>
                </a:cubicBezTo>
                <a:cubicBezTo>
                  <a:pt x="25688" y="5437"/>
                  <a:pt x="25750" y="5406"/>
                  <a:pt x="25750" y="5468"/>
                </a:cubicBezTo>
                <a:cubicBezTo>
                  <a:pt x="25750" y="5500"/>
                  <a:pt x="25688" y="5593"/>
                  <a:pt x="25750" y="5593"/>
                </a:cubicBezTo>
                <a:close/>
                <a:moveTo>
                  <a:pt x="28375" y="8406"/>
                </a:moveTo>
                <a:cubicBezTo>
                  <a:pt x="28156" y="8343"/>
                  <a:pt x="27938" y="8375"/>
                  <a:pt x="27688" y="8375"/>
                </a:cubicBezTo>
                <a:cubicBezTo>
                  <a:pt x="27844" y="8375"/>
                  <a:pt x="28000" y="8343"/>
                  <a:pt x="28094" y="8500"/>
                </a:cubicBezTo>
                <a:cubicBezTo>
                  <a:pt x="28156" y="8593"/>
                  <a:pt x="28344" y="8593"/>
                  <a:pt x="28406" y="8500"/>
                </a:cubicBezTo>
                <a:cubicBezTo>
                  <a:pt x="28438" y="8437"/>
                  <a:pt x="28438" y="8406"/>
                  <a:pt x="28375" y="8406"/>
                </a:cubicBezTo>
                <a:close/>
                <a:moveTo>
                  <a:pt x="28125" y="8031"/>
                </a:moveTo>
                <a:cubicBezTo>
                  <a:pt x="28094" y="7937"/>
                  <a:pt x="28031" y="7968"/>
                  <a:pt x="27969" y="7968"/>
                </a:cubicBezTo>
                <a:cubicBezTo>
                  <a:pt x="27844" y="7937"/>
                  <a:pt x="27813" y="8031"/>
                  <a:pt x="27781" y="8156"/>
                </a:cubicBezTo>
                <a:cubicBezTo>
                  <a:pt x="27875" y="8125"/>
                  <a:pt x="27969" y="8125"/>
                  <a:pt x="28031" y="8156"/>
                </a:cubicBezTo>
                <a:cubicBezTo>
                  <a:pt x="28125" y="8156"/>
                  <a:pt x="28156" y="8093"/>
                  <a:pt x="28125" y="8031"/>
                </a:cubicBezTo>
                <a:close/>
                <a:moveTo>
                  <a:pt x="28625" y="7843"/>
                </a:moveTo>
                <a:cubicBezTo>
                  <a:pt x="28500" y="7812"/>
                  <a:pt x="28344" y="7843"/>
                  <a:pt x="28219" y="7843"/>
                </a:cubicBezTo>
                <a:cubicBezTo>
                  <a:pt x="28188" y="7843"/>
                  <a:pt x="28156" y="7843"/>
                  <a:pt x="28156" y="7875"/>
                </a:cubicBezTo>
                <a:cubicBezTo>
                  <a:pt x="28125" y="7906"/>
                  <a:pt x="28156" y="7937"/>
                  <a:pt x="28188" y="7937"/>
                </a:cubicBezTo>
                <a:cubicBezTo>
                  <a:pt x="28188" y="7968"/>
                  <a:pt x="28250" y="7968"/>
                  <a:pt x="28250" y="8000"/>
                </a:cubicBezTo>
                <a:cubicBezTo>
                  <a:pt x="28313" y="8156"/>
                  <a:pt x="28375" y="8187"/>
                  <a:pt x="28438" y="8000"/>
                </a:cubicBezTo>
                <a:cubicBezTo>
                  <a:pt x="28438" y="7968"/>
                  <a:pt x="28469" y="7968"/>
                  <a:pt x="28500" y="7968"/>
                </a:cubicBezTo>
                <a:cubicBezTo>
                  <a:pt x="28531" y="7968"/>
                  <a:pt x="28531" y="8000"/>
                  <a:pt x="28531" y="8000"/>
                </a:cubicBezTo>
                <a:cubicBezTo>
                  <a:pt x="28375" y="8218"/>
                  <a:pt x="28594" y="8156"/>
                  <a:pt x="28688" y="8187"/>
                </a:cubicBezTo>
                <a:cubicBezTo>
                  <a:pt x="28719" y="8156"/>
                  <a:pt x="28906" y="8156"/>
                  <a:pt x="28844" y="8125"/>
                </a:cubicBezTo>
                <a:cubicBezTo>
                  <a:pt x="28781" y="8031"/>
                  <a:pt x="28750" y="7843"/>
                  <a:pt x="28625" y="7843"/>
                </a:cubicBezTo>
                <a:close/>
                <a:moveTo>
                  <a:pt x="32250" y="4562"/>
                </a:moveTo>
                <a:cubicBezTo>
                  <a:pt x="32250" y="4562"/>
                  <a:pt x="32250" y="4562"/>
                  <a:pt x="32250" y="4562"/>
                </a:cubicBezTo>
                <a:cubicBezTo>
                  <a:pt x="32219" y="4562"/>
                  <a:pt x="32219" y="4531"/>
                  <a:pt x="32188" y="4562"/>
                </a:cubicBezTo>
                <a:cubicBezTo>
                  <a:pt x="32188" y="4562"/>
                  <a:pt x="32188" y="4562"/>
                  <a:pt x="32188" y="4562"/>
                </a:cubicBezTo>
                <a:cubicBezTo>
                  <a:pt x="32156" y="4562"/>
                  <a:pt x="32156" y="4562"/>
                  <a:pt x="32156" y="4562"/>
                </a:cubicBezTo>
                <a:cubicBezTo>
                  <a:pt x="32156" y="4593"/>
                  <a:pt x="32156" y="4593"/>
                  <a:pt x="32156" y="4625"/>
                </a:cubicBezTo>
                <a:cubicBezTo>
                  <a:pt x="32156" y="4656"/>
                  <a:pt x="32188" y="4687"/>
                  <a:pt x="32219" y="4687"/>
                </a:cubicBezTo>
                <a:cubicBezTo>
                  <a:pt x="32250" y="4687"/>
                  <a:pt x="32250" y="4687"/>
                  <a:pt x="32281" y="4687"/>
                </a:cubicBezTo>
                <a:cubicBezTo>
                  <a:pt x="32281" y="4687"/>
                  <a:pt x="32313" y="4687"/>
                  <a:pt x="32313" y="4687"/>
                </a:cubicBezTo>
                <a:cubicBezTo>
                  <a:pt x="32313" y="4687"/>
                  <a:pt x="32344" y="4687"/>
                  <a:pt x="32344" y="4687"/>
                </a:cubicBezTo>
                <a:cubicBezTo>
                  <a:pt x="32375" y="4687"/>
                  <a:pt x="32375" y="4656"/>
                  <a:pt x="32406" y="4656"/>
                </a:cubicBezTo>
                <a:cubicBezTo>
                  <a:pt x="32406" y="4656"/>
                  <a:pt x="32438" y="4656"/>
                  <a:pt x="32438" y="4625"/>
                </a:cubicBezTo>
                <a:cubicBezTo>
                  <a:pt x="32438" y="4625"/>
                  <a:pt x="32438" y="4625"/>
                  <a:pt x="32438" y="4625"/>
                </a:cubicBezTo>
                <a:cubicBezTo>
                  <a:pt x="32438" y="4593"/>
                  <a:pt x="32438" y="4593"/>
                  <a:pt x="32438" y="4593"/>
                </a:cubicBezTo>
                <a:cubicBezTo>
                  <a:pt x="32438" y="4562"/>
                  <a:pt x="32438" y="4531"/>
                  <a:pt x="32406" y="4531"/>
                </a:cubicBezTo>
                <a:cubicBezTo>
                  <a:pt x="32406" y="4531"/>
                  <a:pt x="32375" y="4531"/>
                  <a:pt x="32375" y="4562"/>
                </a:cubicBezTo>
                <a:cubicBezTo>
                  <a:pt x="32344" y="4562"/>
                  <a:pt x="32344" y="4562"/>
                  <a:pt x="32313" y="4562"/>
                </a:cubicBezTo>
                <a:cubicBezTo>
                  <a:pt x="32313" y="4562"/>
                  <a:pt x="32281" y="4562"/>
                  <a:pt x="32281" y="4562"/>
                </a:cubicBezTo>
                <a:cubicBezTo>
                  <a:pt x="32281" y="4562"/>
                  <a:pt x="32250" y="4562"/>
                  <a:pt x="32250" y="4562"/>
                </a:cubicBezTo>
                <a:close/>
                <a:moveTo>
                  <a:pt x="29406" y="375"/>
                </a:moveTo>
                <a:cubicBezTo>
                  <a:pt x="29469" y="375"/>
                  <a:pt x="29469" y="343"/>
                  <a:pt x="29500" y="312"/>
                </a:cubicBezTo>
                <a:cubicBezTo>
                  <a:pt x="29594" y="218"/>
                  <a:pt x="29563" y="125"/>
                  <a:pt x="29500" y="0"/>
                </a:cubicBezTo>
                <a:cubicBezTo>
                  <a:pt x="29438" y="93"/>
                  <a:pt x="29406" y="187"/>
                  <a:pt x="29406" y="250"/>
                </a:cubicBezTo>
                <a:cubicBezTo>
                  <a:pt x="29375" y="312"/>
                  <a:pt x="29344" y="343"/>
                  <a:pt x="29406" y="375"/>
                </a:cubicBezTo>
                <a:close/>
                <a:moveTo>
                  <a:pt x="32906" y="375"/>
                </a:moveTo>
                <a:cubicBezTo>
                  <a:pt x="32938" y="375"/>
                  <a:pt x="32938" y="375"/>
                  <a:pt x="32969" y="375"/>
                </a:cubicBezTo>
                <a:cubicBezTo>
                  <a:pt x="32969" y="375"/>
                  <a:pt x="33000" y="375"/>
                  <a:pt x="33000" y="375"/>
                </a:cubicBezTo>
                <a:cubicBezTo>
                  <a:pt x="33031" y="375"/>
                  <a:pt x="33063" y="375"/>
                  <a:pt x="33094" y="343"/>
                </a:cubicBezTo>
                <a:cubicBezTo>
                  <a:pt x="33125" y="343"/>
                  <a:pt x="33156" y="343"/>
                  <a:pt x="33188" y="343"/>
                </a:cubicBezTo>
                <a:cubicBezTo>
                  <a:pt x="33281" y="343"/>
                  <a:pt x="33344" y="312"/>
                  <a:pt x="33438" y="281"/>
                </a:cubicBezTo>
                <a:cubicBezTo>
                  <a:pt x="33469" y="281"/>
                  <a:pt x="33500" y="281"/>
                  <a:pt x="33531" y="281"/>
                </a:cubicBezTo>
                <a:cubicBezTo>
                  <a:pt x="33656" y="250"/>
                  <a:pt x="33781" y="187"/>
                  <a:pt x="33906" y="156"/>
                </a:cubicBezTo>
                <a:cubicBezTo>
                  <a:pt x="34000" y="125"/>
                  <a:pt x="34094" y="93"/>
                  <a:pt x="34188" y="93"/>
                </a:cubicBezTo>
                <a:cubicBezTo>
                  <a:pt x="33875" y="93"/>
                  <a:pt x="33563" y="156"/>
                  <a:pt x="33250" y="218"/>
                </a:cubicBezTo>
                <a:cubicBezTo>
                  <a:pt x="33063" y="250"/>
                  <a:pt x="32875" y="281"/>
                  <a:pt x="32688" y="312"/>
                </a:cubicBezTo>
                <a:cubicBezTo>
                  <a:pt x="32719" y="343"/>
                  <a:pt x="32781" y="343"/>
                  <a:pt x="32813" y="343"/>
                </a:cubicBezTo>
                <a:cubicBezTo>
                  <a:pt x="32844" y="375"/>
                  <a:pt x="32875" y="375"/>
                  <a:pt x="32906" y="375"/>
                </a:cubicBezTo>
                <a:close/>
                <a:moveTo>
                  <a:pt x="31906" y="1125"/>
                </a:moveTo>
                <a:cubicBezTo>
                  <a:pt x="31906" y="1125"/>
                  <a:pt x="31938" y="1125"/>
                  <a:pt x="31938" y="1125"/>
                </a:cubicBezTo>
                <a:cubicBezTo>
                  <a:pt x="31938" y="1125"/>
                  <a:pt x="31969" y="1125"/>
                  <a:pt x="31969" y="1125"/>
                </a:cubicBezTo>
                <a:cubicBezTo>
                  <a:pt x="31969" y="1125"/>
                  <a:pt x="31969" y="1093"/>
                  <a:pt x="31969" y="1093"/>
                </a:cubicBezTo>
                <a:cubicBezTo>
                  <a:pt x="31969" y="1093"/>
                  <a:pt x="31969" y="1093"/>
                  <a:pt x="31969" y="1093"/>
                </a:cubicBezTo>
                <a:cubicBezTo>
                  <a:pt x="31969" y="1062"/>
                  <a:pt x="31969" y="1062"/>
                  <a:pt x="31969" y="1062"/>
                </a:cubicBezTo>
                <a:cubicBezTo>
                  <a:pt x="31969" y="1031"/>
                  <a:pt x="31938" y="1031"/>
                  <a:pt x="31906" y="1031"/>
                </a:cubicBezTo>
                <a:cubicBezTo>
                  <a:pt x="31906" y="1031"/>
                  <a:pt x="31906" y="1031"/>
                  <a:pt x="31906" y="1031"/>
                </a:cubicBezTo>
                <a:cubicBezTo>
                  <a:pt x="31844" y="1062"/>
                  <a:pt x="31781" y="1062"/>
                  <a:pt x="31719" y="1093"/>
                </a:cubicBezTo>
                <a:cubicBezTo>
                  <a:pt x="31656" y="1093"/>
                  <a:pt x="31594" y="1093"/>
                  <a:pt x="31531" y="1125"/>
                </a:cubicBezTo>
                <a:cubicBezTo>
                  <a:pt x="31563" y="1125"/>
                  <a:pt x="31594" y="1156"/>
                  <a:pt x="31625" y="1156"/>
                </a:cubicBezTo>
                <a:cubicBezTo>
                  <a:pt x="31750" y="1156"/>
                  <a:pt x="31813" y="1125"/>
                  <a:pt x="31906" y="1125"/>
                </a:cubicBezTo>
                <a:close/>
                <a:moveTo>
                  <a:pt x="32969" y="2562"/>
                </a:moveTo>
                <a:cubicBezTo>
                  <a:pt x="32938" y="2593"/>
                  <a:pt x="32906" y="2593"/>
                  <a:pt x="32906" y="2625"/>
                </a:cubicBezTo>
                <a:cubicBezTo>
                  <a:pt x="32875" y="2625"/>
                  <a:pt x="32875" y="2656"/>
                  <a:pt x="32906" y="2687"/>
                </a:cubicBezTo>
                <a:cubicBezTo>
                  <a:pt x="32938" y="2718"/>
                  <a:pt x="32969" y="2718"/>
                  <a:pt x="33031" y="2687"/>
                </a:cubicBezTo>
                <a:cubicBezTo>
                  <a:pt x="33125" y="2687"/>
                  <a:pt x="33188" y="2625"/>
                  <a:pt x="33250" y="2593"/>
                </a:cubicBezTo>
                <a:cubicBezTo>
                  <a:pt x="33625" y="2468"/>
                  <a:pt x="34000" y="2375"/>
                  <a:pt x="34375" y="2250"/>
                </a:cubicBezTo>
                <a:cubicBezTo>
                  <a:pt x="34469" y="2187"/>
                  <a:pt x="34563" y="2156"/>
                  <a:pt x="34656" y="2093"/>
                </a:cubicBezTo>
                <a:cubicBezTo>
                  <a:pt x="34719" y="2093"/>
                  <a:pt x="34813" y="2062"/>
                  <a:pt x="34875" y="2062"/>
                </a:cubicBezTo>
                <a:cubicBezTo>
                  <a:pt x="34813" y="2031"/>
                  <a:pt x="34781" y="2000"/>
                  <a:pt x="34719" y="2000"/>
                </a:cubicBezTo>
                <a:cubicBezTo>
                  <a:pt x="34656" y="2000"/>
                  <a:pt x="34625" y="2031"/>
                  <a:pt x="34563" y="2031"/>
                </a:cubicBezTo>
                <a:cubicBezTo>
                  <a:pt x="34531" y="2062"/>
                  <a:pt x="34500" y="2062"/>
                  <a:pt x="34500" y="2062"/>
                </a:cubicBezTo>
                <a:cubicBezTo>
                  <a:pt x="34406" y="2093"/>
                  <a:pt x="34344" y="2125"/>
                  <a:pt x="34281" y="2156"/>
                </a:cubicBezTo>
                <a:cubicBezTo>
                  <a:pt x="33969" y="2218"/>
                  <a:pt x="33656" y="2312"/>
                  <a:pt x="33344" y="2437"/>
                </a:cubicBezTo>
                <a:cubicBezTo>
                  <a:pt x="33219" y="2500"/>
                  <a:pt x="33094" y="2468"/>
                  <a:pt x="32969" y="2562"/>
                </a:cubicBezTo>
                <a:close/>
                <a:moveTo>
                  <a:pt x="24000" y="2000"/>
                </a:moveTo>
                <a:cubicBezTo>
                  <a:pt x="24188" y="1906"/>
                  <a:pt x="24125" y="1750"/>
                  <a:pt x="24094" y="1593"/>
                </a:cubicBezTo>
                <a:cubicBezTo>
                  <a:pt x="23875" y="1687"/>
                  <a:pt x="23813" y="1781"/>
                  <a:pt x="23906" y="1968"/>
                </a:cubicBezTo>
                <a:cubicBezTo>
                  <a:pt x="23938" y="2031"/>
                  <a:pt x="23938" y="2031"/>
                  <a:pt x="24000" y="2000"/>
                </a:cubicBezTo>
                <a:close/>
                <a:moveTo>
                  <a:pt x="34563" y="6093"/>
                </a:moveTo>
                <a:cubicBezTo>
                  <a:pt x="34563" y="6093"/>
                  <a:pt x="34594" y="6093"/>
                  <a:pt x="34594" y="6093"/>
                </a:cubicBezTo>
                <a:cubicBezTo>
                  <a:pt x="34750" y="6062"/>
                  <a:pt x="34875" y="6062"/>
                  <a:pt x="35031" y="6062"/>
                </a:cubicBezTo>
                <a:cubicBezTo>
                  <a:pt x="35031" y="6031"/>
                  <a:pt x="35031" y="6031"/>
                  <a:pt x="35031" y="6000"/>
                </a:cubicBezTo>
                <a:cubicBezTo>
                  <a:pt x="35000" y="6000"/>
                  <a:pt x="34938" y="6000"/>
                  <a:pt x="34906" y="6000"/>
                </a:cubicBezTo>
                <a:cubicBezTo>
                  <a:pt x="34844" y="6000"/>
                  <a:pt x="34781" y="5968"/>
                  <a:pt x="34719" y="5968"/>
                </a:cubicBezTo>
                <a:cubicBezTo>
                  <a:pt x="34656" y="5968"/>
                  <a:pt x="34625" y="5968"/>
                  <a:pt x="34594" y="5968"/>
                </a:cubicBezTo>
                <a:cubicBezTo>
                  <a:pt x="34594" y="5968"/>
                  <a:pt x="34563" y="5968"/>
                  <a:pt x="34563" y="5968"/>
                </a:cubicBezTo>
                <a:cubicBezTo>
                  <a:pt x="34531" y="5968"/>
                  <a:pt x="34469" y="5968"/>
                  <a:pt x="34469" y="6031"/>
                </a:cubicBezTo>
                <a:cubicBezTo>
                  <a:pt x="34469" y="6062"/>
                  <a:pt x="34469" y="6062"/>
                  <a:pt x="34500" y="6062"/>
                </a:cubicBezTo>
                <a:cubicBezTo>
                  <a:pt x="34500" y="6093"/>
                  <a:pt x="34531" y="6093"/>
                  <a:pt x="34563" y="6093"/>
                </a:cubicBezTo>
                <a:close/>
                <a:moveTo>
                  <a:pt x="23406" y="2812"/>
                </a:moveTo>
                <a:cubicBezTo>
                  <a:pt x="23469" y="2812"/>
                  <a:pt x="23531" y="2750"/>
                  <a:pt x="23469" y="2656"/>
                </a:cubicBezTo>
                <a:cubicBezTo>
                  <a:pt x="23438" y="2687"/>
                  <a:pt x="23438" y="2687"/>
                  <a:pt x="23406" y="2718"/>
                </a:cubicBezTo>
                <a:cubicBezTo>
                  <a:pt x="23313" y="2781"/>
                  <a:pt x="23313" y="2843"/>
                  <a:pt x="23406" y="2812"/>
                </a:cubicBezTo>
                <a:close/>
                <a:moveTo>
                  <a:pt x="30625" y="3093"/>
                </a:moveTo>
                <a:cubicBezTo>
                  <a:pt x="30625" y="3093"/>
                  <a:pt x="30625" y="3093"/>
                  <a:pt x="30625" y="3062"/>
                </a:cubicBezTo>
                <a:cubicBezTo>
                  <a:pt x="30625" y="3093"/>
                  <a:pt x="30594" y="3093"/>
                  <a:pt x="30594" y="3093"/>
                </a:cubicBezTo>
                <a:cubicBezTo>
                  <a:pt x="30594" y="3093"/>
                  <a:pt x="30594" y="3093"/>
                  <a:pt x="30594" y="3093"/>
                </a:cubicBezTo>
                <a:cubicBezTo>
                  <a:pt x="30625" y="3093"/>
                  <a:pt x="30625" y="3093"/>
                  <a:pt x="30625" y="3093"/>
                </a:cubicBezTo>
                <a:cubicBezTo>
                  <a:pt x="30625" y="3125"/>
                  <a:pt x="30625" y="3093"/>
                  <a:pt x="30625" y="3093"/>
                </a:cubicBezTo>
                <a:close/>
                <a:moveTo>
                  <a:pt x="33500" y="3781"/>
                </a:moveTo>
                <a:cubicBezTo>
                  <a:pt x="33500" y="3781"/>
                  <a:pt x="33531" y="3781"/>
                  <a:pt x="33563" y="3781"/>
                </a:cubicBezTo>
                <a:cubicBezTo>
                  <a:pt x="33563" y="3781"/>
                  <a:pt x="33563" y="3781"/>
                  <a:pt x="33563" y="3781"/>
                </a:cubicBezTo>
                <a:cubicBezTo>
                  <a:pt x="33563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81"/>
                </a:cubicBezTo>
                <a:cubicBezTo>
                  <a:pt x="33594" y="3781"/>
                  <a:pt x="33594" y="3781"/>
                  <a:pt x="33594" y="3750"/>
                </a:cubicBezTo>
                <a:cubicBezTo>
                  <a:pt x="33594" y="3750"/>
                  <a:pt x="33594" y="3750"/>
                  <a:pt x="33594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50"/>
                  <a:pt x="33625" y="3750"/>
                </a:cubicBezTo>
                <a:cubicBezTo>
                  <a:pt x="33625" y="3750"/>
                  <a:pt x="33625" y="3718"/>
                  <a:pt x="33656" y="3718"/>
                </a:cubicBezTo>
                <a:cubicBezTo>
                  <a:pt x="33563" y="3687"/>
                  <a:pt x="33500" y="3687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38" y="3781"/>
                  <a:pt x="33406" y="3781"/>
                  <a:pt x="33375" y="3781"/>
                </a:cubicBezTo>
                <a:cubicBezTo>
                  <a:pt x="33375" y="3781"/>
                  <a:pt x="33406" y="3781"/>
                  <a:pt x="33406" y="3781"/>
                </a:cubicBezTo>
                <a:cubicBezTo>
                  <a:pt x="33438" y="3812"/>
                  <a:pt x="33469" y="3812"/>
                  <a:pt x="33469" y="3781"/>
                </a:cubicBezTo>
                <a:cubicBezTo>
                  <a:pt x="33469" y="3781"/>
                  <a:pt x="33469" y="3781"/>
                  <a:pt x="33469" y="3781"/>
                </a:cubicBezTo>
                <a:cubicBezTo>
                  <a:pt x="33469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ubicBezTo>
                  <a:pt x="33500" y="3781"/>
                  <a:pt x="33500" y="3781"/>
                  <a:pt x="33500" y="3781"/>
                </a:cubicBezTo>
                <a:close/>
                <a:moveTo>
                  <a:pt x="33031" y="4062"/>
                </a:moveTo>
                <a:cubicBezTo>
                  <a:pt x="33031" y="4062"/>
                  <a:pt x="33031" y="4093"/>
                  <a:pt x="33031" y="4093"/>
                </a:cubicBezTo>
                <a:cubicBezTo>
                  <a:pt x="33000" y="4125"/>
                  <a:pt x="33000" y="4125"/>
                  <a:pt x="33031" y="4156"/>
                </a:cubicBezTo>
                <a:cubicBezTo>
                  <a:pt x="33031" y="4156"/>
                  <a:pt x="33031" y="4156"/>
                  <a:pt x="33031" y="4156"/>
                </a:cubicBezTo>
                <a:cubicBezTo>
                  <a:pt x="33063" y="4156"/>
                  <a:pt x="33063" y="4156"/>
                  <a:pt x="33063" y="4156"/>
                </a:cubicBezTo>
                <a:cubicBezTo>
                  <a:pt x="33125" y="4156"/>
                  <a:pt x="33125" y="4125"/>
                  <a:pt x="33156" y="4093"/>
                </a:cubicBezTo>
                <a:cubicBezTo>
                  <a:pt x="33156" y="4093"/>
                  <a:pt x="33188" y="4062"/>
                  <a:pt x="33188" y="4062"/>
                </a:cubicBezTo>
                <a:cubicBezTo>
                  <a:pt x="33156" y="4062"/>
                  <a:pt x="33125" y="4062"/>
                  <a:pt x="33125" y="4062"/>
                </a:cubicBezTo>
                <a:cubicBezTo>
                  <a:pt x="33094" y="4062"/>
                  <a:pt x="33094" y="4062"/>
                  <a:pt x="33063" y="4062"/>
                </a:cubicBezTo>
                <a:cubicBezTo>
                  <a:pt x="33063" y="4062"/>
                  <a:pt x="33031" y="4062"/>
                  <a:pt x="33031" y="4062"/>
                </a:cubicBezTo>
                <a:close/>
                <a:moveTo>
                  <a:pt x="30656" y="6656"/>
                </a:moveTo>
                <a:cubicBezTo>
                  <a:pt x="30750" y="6718"/>
                  <a:pt x="30875" y="6718"/>
                  <a:pt x="30969" y="6687"/>
                </a:cubicBezTo>
                <a:cubicBezTo>
                  <a:pt x="30969" y="6656"/>
                  <a:pt x="30938" y="6656"/>
                  <a:pt x="30906" y="6656"/>
                </a:cubicBezTo>
                <a:cubicBezTo>
                  <a:pt x="30813" y="6625"/>
                  <a:pt x="30719" y="6625"/>
                  <a:pt x="30594" y="6625"/>
                </a:cubicBezTo>
                <a:cubicBezTo>
                  <a:pt x="30594" y="6625"/>
                  <a:pt x="30625" y="6656"/>
                  <a:pt x="30656" y="6656"/>
                </a:cubicBezTo>
                <a:close/>
                <a:moveTo>
                  <a:pt x="28906" y="4312"/>
                </a:moveTo>
                <a:cubicBezTo>
                  <a:pt x="28906" y="4312"/>
                  <a:pt x="28906" y="4312"/>
                  <a:pt x="28906" y="4312"/>
                </a:cubicBezTo>
                <a:cubicBezTo>
                  <a:pt x="29125" y="4343"/>
                  <a:pt x="29313" y="4281"/>
                  <a:pt x="29500" y="4156"/>
                </a:cubicBezTo>
                <a:cubicBezTo>
                  <a:pt x="29531" y="4156"/>
                  <a:pt x="29563" y="4125"/>
                  <a:pt x="29594" y="4125"/>
                </a:cubicBezTo>
                <a:cubicBezTo>
                  <a:pt x="29438" y="4125"/>
                  <a:pt x="29375" y="4093"/>
                  <a:pt x="29281" y="4125"/>
                </a:cubicBezTo>
                <a:cubicBezTo>
                  <a:pt x="29281" y="4125"/>
                  <a:pt x="29250" y="4125"/>
                  <a:pt x="29250" y="4125"/>
                </a:cubicBezTo>
                <a:cubicBezTo>
                  <a:pt x="29219" y="4125"/>
                  <a:pt x="29219" y="4125"/>
                  <a:pt x="29219" y="4125"/>
                </a:cubicBezTo>
                <a:cubicBezTo>
                  <a:pt x="29188" y="4125"/>
                  <a:pt x="29188" y="4125"/>
                  <a:pt x="29188" y="4156"/>
                </a:cubicBezTo>
                <a:cubicBezTo>
                  <a:pt x="29156" y="4156"/>
                  <a:pt x="29156" y="4156"/>
                  <a:pt x="29156" y="4156"/>
                </a:cubicBezTo>
                <a:cubicBezTo>
                  <a:pt x="29125" y="4156"/>
                  <a:pt x="29125" y="4156"/>
                  <a:pt x="29125" y="4156"/>
                </a:cubicBezTo>
                <a:cubicBezTo>
                  <a:pt x="29125" y="4156"/>
                  <a:pt x="29094" y="4187"/>
                  <a:pt x="29094" y="4187"/>
                </a:cubicBezTo>
                <a:cubicBezTo>
                  <a:pt x="29094" y="4187"/>
                  <a:pt x="29094" y="4187"/>
                  <a:pt x="29094" y="4187"/>
                </a:cubicBezTo>
                <a:cubicBezTo>
                  <a:pt x="29063" y="4187"/>
                  <a:pt x="29063" y="4187"/>
                  <a:pt x="29031" y="4218"/>
                </a:cubicBezTo>
                <a:cubicBezTo>
                  <a:pt x="29031" y="4218"/>
                  <a:pt x="29031" y="4218"/>
                  <a:pt x="29031" y="4218"/>
                </a:cubicBezTo>
                <a:cubicBezTo>
                  <a:pt x="29031" y="4218"/>
                  <a:pt x="29000" y="4218"/>
                  <a:pt x="29000" y="4250"/>
                </a:cubicBezTo>
                <a:cubicBezTo>
                  <a:pt x="29000" y="4250"/>
                  <a:pt x="29000" y="4250"/>
                  <a:pt x="29000" y="4250"/>
                </a:cubicBezTo>
                <a:cubicBezTo>
                  <a:pt x="28969" y="4250"/>
                  <a:pt x="28969" y="4281"/>
                  <a:pt x="28969" y="4281"/>
                </a:cubicBezTo>
                <a:cubicBezTo>
                  <a:pt x="28969" y="4281"/>
                  <a:pt x="28969" y="4281"/>
                  <a:pt x="28938" y="4281"/>
                </a:cubicBezTo>
                <a:cubicBezTo>
                  <a:pt x="28938" y="4281"/>
                  <a:pt x="28938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844" y="4343"/>
                  <a:pt x="28750" y="4312"/>
                  <a:pt x="28688" y="4312"/>
                </a:cubicBezTo>
                <a:cubicBezTo>
                  <a:pt x="28688" y="4312"/>
                  <a:pt x="28688" y="4312"/>
                  <a:pt x="28688" y="4312"/>
                </a:cubicBezTo>
                <a:cubicBezTo>
                  <a:pt x="28656" y="4312"/>
                  <a:pt x="28656" y="4312"/>
                  <a:pt x="28656" y="4343"/>
                </a:cubicBezTo>
                <a:cubicBezTo>
                  <a:pt x="28656" y="4343"/>
                  <a:pt x="28656" y="4343"/>
                  <a:pt x="28656" y="4343"/>
                </a:cubicBezTo>
                <a:cubicBezTo>
                  <a:pt x="28656" y="4343"/>
                  <a:pt x="28625" y="4343"/>
                  <a:pt x="28625" y="4343"/>
                </a:cubicBezTo>
                <a:cubicBezTo>
                  <a:pt x="28625" y="4343"/>
                  <a:pt x="28625" y="4343"/>
                  <a:pt x="28625" y="4343"/>
                </a:cubicBezTo>
                <a:cubicBezTo>
                  <a:pt x="28625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94" y="4343"/>
                </a:cubicBezTo>
                <a:cubicBezTo>
                  <a:pt x="28594" y="4343"/>
                  <a:pt x="28594" y="4343"/>
                  <a:pt x="28563" y="4343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63" y="4375"/>
                  <a:pt x="28563" y="4375"/>
                  <a:pt x="28563" y="4375"/>
                </a:cubicBezTo>
                <a:cubicBezTo>
                  <a:pt x="28531" y="4375"/>
                  <a:pt x="28531" y="4375"/>
                  <a:pt x="28531" y="4375"/>
                </a:cubicBezTo>
                <a:cubicBezTo>
                  <a:pt x="28531" y="4375"/>
                  <a:pt x="28531" y="4406"/>
                  <a:pt x="28531" y="4406"/>
                </a:cubicBezTo>
                <a:cubicBezTo>
                  <a:pt x="28531" y="4406"/>
                  <a:pt x="28531" y="4406"/>
                  <a:pt x="28531" y="4406"/>
                </a:cubicBezTo>
                <a:cubicBezTo>
                  <a:pt x="28500" y="4406"/>
                  <a:pt x="28500" y="4406"/>
                  <a:pt x="28500" y="4437"/>
                </a:cubicBezTo>
                <a:cubicBezTo>
                  <a:pt x="28500" y="4437"/>
                  <a:pt x="28500" y="4437"/>
                  <a:pt x="28500" y="4437"/>
                </a:cubicBezTo>
                <a:cubicBezTo>
                  <a:pt x="28500" y="4437"/>
                  <a:pt x="28469" y="4468"/>
                  <a:pt x="28469" y="4468"/>
                </a:cubicBezTo>
                <a:cubicBezTo>
                  <a:pt x="28500" y="4468"/>
                  <a:pt x="28500" y="4468"/>
                  <a:pt x="28531" y="4468"/>
                </a:cubicBezTo>
                <a:cubicBezTo>
                  <a:pt x="28563" y="4468"/>
                  <a:pt x="28563" y="4468"/>
                  <a:pt x="28594" y="4468"/>
                </a:cubicBezTo>
                <a:cubicBezTo>
                  <a:pt x="28594" y="4468"/>
                  <a:pt x="28594" y="4468"/>
                  <a:pt x="28594" y="4468"/>
                </a:cubicBezTo>
                <a:cubicBezTo>
                  <a:pt x="28719" y="4437"/>
                  <a:pt x="28813" y="4406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ubicBezTo>
                  <a:pt x="28906" y="4312"/>
                  <a:pt x="28906" y="4312"/>
                  <a:pt x="28906" y="4312"/>
                </a:cubicBezTo>
                <a:close/>
                <a:moveTo>
                  <a:pt x="38625" y="6750"/>
                </a:moveTo>
                <a:cubicBezTo>
                  <a:pt x="38531" y="6750"/>
                  <a:pt x="38469" y="6750"/>
                  <a:pt x="38406" y="6781"/>
                </a:cubicBezTo>
                <a:cubicBezTo>
                  <a:pt x="38344" y="6781"/>
                  <a:pt x="38281" y="6812"/>
                  <a:pt x="38250" y="6843"/>
                </a:cubicBezTo>
                <a:cubicBezTo>
                  <a:pt x="38406" y="6906"/>
                  <a:pt x="38531" y="6937"/>
                  <a:pt x="38687" y="6937"/>
                </a:cubicBezTo>
                <a:cubicBezTo>
                  <a:pt x="38844" y="6937"/>
                  <a:pt x="38969" y="6906"/>
                  <a:pt x="39125" y="6843"/>
                </a:cubicBezTo>
                <a:cubicBezTo>
                  <a:pt x="38969" y="6781"/>
                  <a:pt x="38781" y="6750"/>
                  <a:pt x="38625" y="6750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9385E1-1106-3C4A-AC78-8EAEB9B09C6B}"/>
              </a:ext>
            </a:extLst>
          </p:cNvPr>
          <p:cNvSpPr/>
          <p:nvPr userDrawn="1"/>
        </p:nvSpPr>
        <p:spPr>
          <a:xfrm>
            <a:off x="18109058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0C5B3516-BBD8-9147-940A-16B35708BC02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128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50">
            <a:extLst>
              <a:ext uri="{FF2B5EF4-FFF2-40B4-BE49-F238E27FC236}">
                <a16:creationId xmlns:a16="http://schemas.microsoft.com/office/drawing/2014/main" id="{B33ABD81-527D-8345-A4AD-8055B91BA14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10969451" y="2394298"/>
            <a:ext cx="12841660" cy="9343813"/>
          </a:xfrm>
          <a:custGeom>
            <a:avLst/>
            <a:gdLst>
              <a:gd name="T0" fmla="*/ 22281 w 23187"/>
              <a:gd name="T1" fmla="*/ 7250 h 12687"/>
              <a:gd name="T2" fmla="*/ 21062 w 23187"/>
              <a:gd name="T3" fmla="*/ 7156 h 12687"/>
              <a:gd name="T4" fmla="*/ 21968 w 23187"/>
              <a:gd name="T5" fmla="*/ 6750 h 12687"/>
              <a:gd name="T6" fmla="*/ 20718 w 23187"/>
              <a:gd name="T7" fmla="*/ 6500 h 12687"/>
              <a:gd name="T8" fmla="*/ 21312 w 23187"/>
              <a:gd name="T9" fmla="*/ 6125 h 12687"/>
              <a:gd name="T10" fmla="*/ 20937 w 23187"/>
              <a:gd name="T11" fmla="*/ 6000 h 12687"/>
              <a:gd name="T12" fmla="*/ 18625 w 23187"/>
              <a:gd name="T13" fmla="*/ 5812 h 12687"/>
              <a:gd name="T14" fmla="*/ 16781 w 23187"/>
              <a:gd name="T15" fmla="*/ 5531 h 12687"/>
              <a:gd name="T16" fmla="*/ 17906 w 23187"/>
              <a:gd name="T17" fmla="*/ 5156 h 12687"/>
              <a:gd name="T18" fmla="*/ 19593 w 23187"/>
              <a:gd name="T19" fmla="*/ 5062 h 12687"/>
              <a:gd name="T20" fmla="*/ 20531 w 23187"/>
              <a:gd name="T21" fmla="*/ 5000 h 12687"/>
              <a:gd name="T22" fmla="*/ 21656 w 23187"/>
              <a:gd name="T23" fmla="*/ 4875 h 12687"/>
              <a:gd name="T24" fmla="*/ 21656 w 23187"/>
              <a:gd name="T25" fmla="*/ 4594 h 12687"/>
              <a:gd name="T26" fmla="*/ 20281 w 23187"/>
              <a:gd name="T27" fmla="*/ 3937 h 12687"/>
              <a:gd name="T28" fmla="*/ 21750 w 23187"/>
              <a:gd name="T29" fmla="*/ 3125 h 12687"/>
              <a:gd name="T30" fmla="*/ 21312 w 23187"/>
              <a:gd name="T31" fmla="*/ 2562 h 12687"/>
              <a:gd name="T32" fmla="*/ 20468 w 23187"/>
              <a:gd name="T33" fmla="*/ 2031 h 12687"/>
              <a:gd name="T34" fmla="*/ 19843 w 23187"/>
              <a:gd name="T35" fmla="*/ 1250 h 12687"/>
              <a:gd name="T36" fmla="*/ 19312 w 23187"/>
              <a:gd name="T37" fmla="*/ 781 h 12687"/>
              <a:gd name="T38" fmla="*/ 17468 w 23187"/>
              <a:gd name="T39" fmla="*/ 500 h 12687"/>
              <a:gd name="T40" fmla="*/ 16593 w 23187"/>
              <a:gd name="T41" fmla="*/ 1062 h 12687"/>
              <a:gd name="T42" fmla="*/ 16281 w 23187"/>
              <a:gd name="T43" fmla="*/ 531 h 12687"/>
              <a:gd name="T44" fmla="*/ 16500 w 23187"/>
              <a:gd name="T45" fmla="*/ 0 h 12687"/>
              <a:gd name="T46" fmla="*/ 15812 w 23187"/>
              <a:gd name="T47" fmla="*/ 594 h 12687"/>
              <a:gd name="T48" fmla="*/ 15250 w 23187"/>
              <a:gd name="T49" fmla="*/ 906 h 12687"/>
              <a:gd name="T50" fmla="*/ 11968 w 23187"/>
              <a:gd name="T51" fmla="*/ 1187 h 12687"/>
              <a:gd name="T52" fmla="*/ 3031 w 23187"/>
              <a:gd name="T53" fmla="*/ 3062 h 12687"/>
              <a:gd name="T54" fmla="*/ 3250 w 23187"/>
              <a:gd name="T55" fmla="*/ 3344 h 12687"/>
              <a:gd name="T56" fmla="*/ 1468 w 23187"/>
              <a:gd name="T57" fmla="*/ 3719 h 12687"/>
              <a:gd name="T58" fmla="*/ 2093 w 23187"/>
              <a:gd name="T59" fmla="*/ 4000 h 12687"/>
              <a:gd name="T60" fmla="*/ 1343 w 23187"/>
              <a:gd name="T61" fmla="*/ 4406 h 12687"/>
              <a:gd name="T62" fmla="*/ 2468 w 23187"/>
              <a:gd name="T63" fmla="*/ 5187 h 12687"/>
              <a:gd name="T64" fmla="*/ 2562 w 23187"/>
              <a:gd name="T65" fmla="*/ 5250 h 12687"/>
              <a:gd name="T66" fmla="*/ 2406 w 23187"/>
              <a:gd name="T67" fmla="*/ 5344 h 12687"/>
              <a:gd name="T68" fmla="*/ 2531 w 23187"/>
              <a:gd name="T69" fmla="*/ 5344 h 12687"/>
              <a:gd name="T70" fmla="*/ 1718 w 23187"/>
              <a:gd name="T71" fmla="*/ 6000 h 12687"/>
              <a:gd name="T72" fmla="*/ 1562 w 23187"/>
              <a:gd name="T73" fmla="*/ 8344 h 12687"/>
              <a:gd name="T74" fmla="*/ 2906 w 23187"/>
              <a:gd name="T75" fmla="*/ 8906 h 12687"/>
              <a:gd name="T76" fmla="*/ 3093 w 23187"/>
              <a:gd name="T77" fmla="*/ 8875 h 12687"/>
              <a:gd name="T78" fmla="*/ 3093 w 23187"/>
              <a:gd name="T79" fmla="*/ 9187 h 12687"/>
              <a:gd name="T80" fmla="*/ 3218 w 23187"/>
              <a:gd name="T81" fmla="*/ 9469 h 12687"/>
              <a:gd name="T82" fmla="*/ 3406 w 23187"/>
              <a:gd name="T83" fmla="*/ 9750 h 12687"/>
              <a:gd name="T84" fmla="*/ 3250 w 23187"/>
              <a:gd name="T85" fmla="*/ 10187 h 12687"/>
              <a:gd name="T86" fmla="*/ 2781 w 23187"/>
              <a:gd name="T87" fmla="*/ 10937 h 12687"/>
              <a:gd name="T88" fmla="*/ 5031 w 23187"/>
              <a:gd name="T89" fmla="*/ 11969 h 12687"/>
              <a:gd name="T90" fmla="*/ 5531 w 23187"/>
              <a:gd name="T91" fmla="*/ 11219 h 12687"/>
              <a:gd name="T92" fmla="*/ 5906 w 23187"/>
              <a:gd name="T93" fmla="*/ 11469 h 12687"/>
              <a:gd name="T94" fmla="*/ 6531 w 23187"/>
              <a:gd name="T95" fmla="*/ 12031 h 12687"/>
              <a:gd name="T96" fmla="*/ 8562 w 23187"/>
              <a:gd name="T97" fmla="*/ 12625 h 12687"/>
              <a:gd name="T98" fmla="*/ 10906 w 23187"/>
              <a:gd name="T99" fmla="*/ 12344 h 12687"/>
              <a:gd name="T100" fmla="*/ 12406 w 23187"/>
              <a:gd name="T101" fmla="*/ 11719 h 12687"/>
              <a:gd name="T102" fmla="*/ 12968 w 23187"/>
              <a:gd name="T103" fmla="*/ 11594 h 12687"/>
              <a:gd name="T104" fmla="*/ 13812 w 23187"/>
              <a:gd name="T105" fmla="*/ 11406 h 12687"/>
              <a:gd name="T106" fmla="*/ 15937 w 23187"/>
              <a:gd name="T107" fmla="*/ 11000 h 12687"/>
              <a:gd name="T108" fmla="*/ 19187 w 23187"/>
              <a:gd name="T109" fmla="*/ 10344 h 12687"/>
              <a:gd name="T110" fmla="*/ 21562 w 23187"/>
              <a:gd name="T111" fmla="*/ 10000 h 12687"/>
              <a:gd name="T112" fmla="*/ 22406 w 23187"/>
              <a:gd name="T113" fmla="*/ 9625 h 12687"/>
              <a:gd name="T114" fmla="*/ 20437 w 23187"/>
              <a:gd name="T115" fmla="*/ 9250 h 12687"/>
              <a:gd name="T116" fmla="*/ 18656 w 23187"/>
              <a:gd name="T117" fmla="*/ 9250 h 12687"/>
              <a:gd name="T118" fmla="*/ 21437 w 23187"/>
              <a:gd name="T119" fmla="*/ 8812 h 12687"/>
              <a:gd name="T120" fmla="*/ 21500 w 23187"/>
              <a:gd name="T121" fmla="*/ 8062 h 12687"/>
              <a:gd name="T122" fmla="*/ 22531 w 23187"/>
              <a:gd name="T123" fmla="*/ 7500 h 126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187" h="12687">
                <a:moveTo>
                  <a:pt x="22812" y="7344"/>
                </a:moveTo>
                <a:cubicBezTo>
                  <a:pt x="22781" y="7344"/>
                  <a:pt x="22750" y="7344"/>
                  <a:pt x="22718" y="7344"/>
                </a:cubicBezTo>
                <a:cubicBezTo>
                  <a:pt x="22687" y="7344"/>
                  <a:pt x="22656" y="7344"/>
                  <a:pt x="22625" y="7344"/>
                </a:cubicBezTo>
                <a:cubicBezTo>
                  <a:pt x="22562" y="7344"/>
                  <a:pt x="22500" y="7344"/>
                  <a:pt x="22437" y="7344"/>
                </a:cubicBezTo>
                <a:cubicBezTo>
                  <a:pt x="22343" y="7375"/>
                  <a:pt x="22250" y="7375"/>
                  <a:pt x="22187" y="7375"/>
                </a:cubicBezTo>
                <a:cubicBezTo>
                  <a:pt x="22093" y="7375"/>
                  <a:pt x="22000" y="7375"/>
                  <a:pt x="21906" y="7406"/>
                </a:cubicBezTo>
                <a:cubicBezTo>
                  <a:pt x="21875" y="7406"/>
                  <a:pt x="21843" y="7406"/>
                  <a:pt x="21812" y="7375"/>
                </a:cubicBezTo>
                <a:cubicBezTo>
                  <a:pt x="21812" y="7375"/>
                  <a:pt x="21781" y="7344"/>
                  <a:pt x="21781" y="7344"/>
                </a:cubicBezTo>
                <a:cubicBezTo>
                  <a:pt x="21781" y="7312"/>
                  <a:pt x="21781" y="7312"/>
                  <a:pt x="21812" y="7281"/>
                </a:cubicBezTo>
                <a:cubicBezTo>
                  <a:pt x="21812" y="7281"/>
                  <a:pt x="21843" y="7281"/>
                  <a:pt x="21843" y="7281"/>
                </a:cubicBezTo>
                <a:cubicBezTo>
                  <a:pt x="21875" y="7281"/>
                  <a:pt x="21875" y="7281"/>
                  <a:pt x="21875" y="7281"/>
                </a:cubicBezTo>
                <a:cubicBezTo>
                  <a:pt x="21906" y="7281"/>
                  <a:pt x="21906" y="7281"/>
                  <a:pt x="21906" y="7281"/>
                </a:cubicBezTo>
                <a:cubicBezTo>
                  <a:pt x="21937" y="7281"/>
                  <a:pt x="21937" y="7281"/>
                  <a:pt x="21968" y="7281"/>
                </a:cubicBezTo>
                <a:cubicBezTo>
                  <a:pt x="22000" y="7281"/>
                  <a:pt x="22031" y="7281"/>
                  <a:pt x="22062" y="7281"/>
                </a:cubicBezTo>
                <a:cubicBezTo>
                  <a:pt x="22093" y="7281"/>
                  <a:pt x="22156" y="7281"/>
                  <a:pt x="22187" y="7250"/>
                </a:cubicBezTo>
                <a:cubicBezTo>
                  <a:pt x="22218" y="7250"/>
                  <a:pt x="22250" y="7250"/>
                  <a:pt x="22281" y="7250"/>
                </a:cubicBezTo>
                <a:cubicBezTo>
                  <a:pt x="22343" y="7219"/>
                  <a:pt x="22375" y="7219"/>
                  <a:pt x="22437" y="7219"/>
                </a:cubicBezTo>
                <a:cubicBezTo>
                  <a:pt x="22531" y="7219"/>
                  <a:pt x="22593" y="7219"/>
                  <a:pt x="22687" y="7219"/>
                </a:cubicBezTo>
                <a:cubicBezTo>
                  <a:pt x="22750" y="7250"/>
                  <a:pt x="22781" y="7250"/>
                  <a:pt x="22843" y="7250"/>
                </a:cubicBezTo>
                <a:cubicBezTo>
                  <a:pt x="22843" y="7219"/>
                  <a:pt x="22843" y="7219"/>
                  <a:pt x="22843" y="7187"/>
                </a:cubicBezTo>
                <a:cubicBezTo>
                  <a:pt x="22812" y="7125"/>
                  <a:pt x="22718" y="7094"/>
                  <a:pt x="22687" y="7031"/>
                </a:cubicBezTo>
                <a:cubicBezTo>
                  <a:pt x="22687" y="7031"/>
                  <a:pt x="22687" y="7000"/>
                  <a:pt x="22687" y="7000"/>
                </a:cubicBezTo>
                <a:cubicBezTo>
                  <a:pt x="22687" y="6969"/>
                  <a:pt x="22687" y="6969"/>
                  <a:pt x="22718" y="6937"/>
                </a:cubicBezTo>
                <a:cubicBezTo>
                  <a:pt x="22625" y="6937"/>
                  <a:pt x="22531" y="6937"/>
                  <a:pt x="22468" y="6937"/>
                </a:cubicBezTo>
                <a:cubicBezTo>
                  <a:pt x="22312" y="6937"/>
                  <a:pt x="22187" y="6937"/>
                  <a:pt x="22062" y="6969"/>
                </a:cubicBezTo>
                <a:cubicBezTo>
                  <a:pt x="21906" y="6969"/>
                  <a:pt x="21781" y="7000"/>
                  <a:pt x="21656" y="7031"/>
                </a:cubicBezTo>
                <a:cubicBezTo>
                  <a:pt x="21625" y="7062"/>
                  <a:pt x="21593" y="7062"/>
                  <a:pt x="21562" y="7062"/>
                </a:cubicBezTo>
                <a:cubicBezTo>
                  <a:pt x="21500" y="7062"/>
                  <a:pt x="21437" y="7031"/>
                  <a:pt x="21375" y="7031"/>
                </a:cubicBezTo>
                <a:cubicBezTo>
                  <a:pt x="21375" y="7031"/>
                  <a:pt x="21343" y="7062"/>
                  <a:pt x="21312" y="7062"/>
                </a:cubicBezTo>
                <a:cubicBezTo>
                  <a:pt x="21281" y="7062"/>
                  <a:pt x="21250" y="7062"/>
                  <a:pt x="21218" y="7094"/>
                </a:cubicBezTo>
                <a:cubicBezTo>
                  <a:pt x="21187" y="7094"/>
                  <a:pt x="21156" y="7125"/>
                  <a:pt x="21125" y="7156"/>
                </a:cubicBezTo>
                <a:cubicBezTo>
                  <a:pt x="21093" y="7156"/>
                  <a:pt x="21093" y="7156"/>
                  <a:pt x="21062" y="7156"/>
                </a:cubicBezTo>
                <a:cubicBezTo>
                  <a:pt x="21031" y="7156"/>
                  <a:pt x="21031" y="7156"/>
                  <a:pt x="21000" y="7156"/>
                </a:cubicBezTo>
                <a:cubicBezTo>
                  <a:pt x="21000" y="7156"/>
                  <a:pt x="20968" y="7156"/>
                  <a:pt x="20968" y="7156"/>
                </a:cubicBezTo>
                <a:cubicBezTo>
                  <a:pt x="20968" y="7125"/>
                  <a:pt x="20937" y="7125"/>
                  <a:pt x="20906" y="7125"/>
                </a:cubicBezTo>
                <a:cubicBezTo>
                  <a:pt x="20906" y="7125"/>
                  <a:pt x="20875" y="7125"/>
                  <a:pt x="20875" y="7094"/>
                </a:cubicBezTo>
                <a:cubicBezTo>
                  <a:pt x="20843" y="7094"/>
                  <a:pt x="20843" y="7062"/>
                  <a:pt x="20843" y="7031"/>
                </a:cubicBezTo>
                <a:cubicBezTo>
                  <a:pt x="20875" y="7031"/>
                  <a:pt x="20906" y="7000"/>
                  <a:pt x="20937" y="6969"/>
                </a:cubicBezTo>
                <a:cubicBezTo>
                  <a:pt x="20937" y="6969"/>
                  <a:pt x="20968" y="6937"/>
                  <a:pt x="20968" y="6937"/>
                </a:cubicBezTo>
                <a:cubicBezTo>
                  <a:pt x="20968" y="6937"/>
                  <a:pt x="20968" y="6937"/>
                  <a:pt x="20968" y="6906"/>
                </a:cubicBezTo>
                <a:cubicBezTo>
                  <a:pt x="21250" y="6937"/>
                  <a:pt x="21500" y="6906"/>
                  <a:pt x="21781" y="6844"/>
                </a:cubicBezTo>
                <a:cubicBezTo>
                  <a:pt x="21906" y="6844"/>
                  <a:pt x="22000" y="6812"/>
                  <a:pt x="22093" y="6781"/>
                </a:cubicBezTo>
                <a:cubicBezTo>
                  <a:pt x="22156" y="6781"/>
                  <a:pt x="22218" y="6781"/>
                  <a:pt x="22281" y="6781"/>
                </a:cubicBezTo>
                <a:cubicBezTo>
                  <a:pt x="22250" y="6781"/>
                  <a:pt x="22250" y="6750"/>
                  <a:pt x="22250" y="6750"/>
                </a:cubicBezTo>
                <a:cubicBezTo>
                  <a:pt x="22218" y="6750"/>
                  <a:pt x="22187" y="6750"/>
                  <a:pt x="22156" y="6750"/>
                </a:cubicBezTo>
                <a:cubicBezTo>
                  <a:pt x="22156" y="6750"/>
                  <a:pt x="22125" y="6750"/>
                  <a:pt x="22125" y="6750"/>
                </a:cubicBezTo>
                <a:cubicBezTo>
                  <a:pt x="22093" y="6750"/>
                  <a:pt x="22062" y="6750"/>
                  <a:pt x="22031" y="6750"/>
                </a:cubicBezTo>
                <a:cubicBezTo>
                  <a:pt x="22000" y="6750"/>
                  <a:pt x="22000" y="6750"/>
                  <a:pt x="21968" y="6750"/>
                </a:cubicBezTo>
                <a:cubicBezTo>
                  <a:pt x="21906" y="6750"/>
                  <a:pt x="21875" y="6781"/>
                  <a:pt x="21843" y="6781"/>
                </a:cubicBezTo>
                <a:cubicBezTo>
                  <a:pt x="21781" y="6812"/>
                  <a:pt x="21750" y="6844"/>
                  <a:pt x="21687" y="6844"/>
                </a:cubicBezTo>
                <a:cubicBezTo>
                  <a:pt x="21500" y="6812"/>
                  <a:pt x="21312" y="6844"/>
                  <a:pt x="21093" y="6844"/>
                </a:cubicBezTo>
                <a:cubicBezTo>
                  <a:pt x="21000" y="6844"/>
                  <a:pt x="20906" y="6844"/>
                  <a:pt x="20843" y="6875"/>
                </a:cubicBezTo>
                <a:cubicBezTo>
                  <a:pt x="20812" y="6875"/>
                  <a:pt x="20812" y="6906"/>
                  <a:pt x="20781" y="6906"/>
                </a:cubicBezTo>
                <a:cubicBezTo>
                  <a:pt x="20781" y="6937"/>
                  <a:pt x="20750" y="6969"/>
                  <a:pt x="20750" y="6969"/>
                </a:cubicBezTo>
                <a:cubicBezTo>
                  <a:pt x="20718" y="6969"/>
                  <a:pt x="20718" y="6969"/>
                  <a:pt x="20687" y="6937"/>
                </a:cubicBezTo>
                <a:cubicBezTo>
                  <a:pt x="20687" y="6937"/>
                  <a:pt x="20687" y="6937"/>
                  <a:pt x="20687" y="6906"/>
                </a:cubicBezTo>
                <a:cubicBezTo>
                  <a:pt x="20656" y="6906"/>
                  <a:pt x="20656" y="6875"/>
                  <a:pt x="20656" y="6875"/>
                </a:cubicBezTo>
                <a:cubicBezTo>
                  <a:pt x="20625" y="6844"/>
                  <a:pt x="20625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593" y="6844"/>
                  <a:pt x="20593" y="6844"/>
                  <a:pt x="20593" y="6844"/>
                </a:cubicBezTo>
                <a:cubicBezTo>
                  <a:pt x="20625" y="6750"/>
                  <a:pt x="20687" y="6687"/>
                  <a:pt x="20718" y="6594"/>
                </a:cubicBezTo>
                <a:cubicBezTo>
                  <a:pt x="20718" y="6594"/>
                  <a:pt x="20718" y="6562"/>
                  <a:pt x="20718" y="6531"/>
                </a:cubicBezTo>
                <a:cubicBezTo>
                  <a:pt x="20718" y="6500"/>
                  <a:pt x="20718" y="6500"/>
                  <a:pt x="20718" y="6500"/>
                </a:cubicBezTo>
                <a:cubicBezTo>
                  <a:pt x="20750" y="6406"/>
                  <a:pt x="20812" y="6375"/>
                  <a:pt x="20968" y="6344"/>
                </a:cubicBezTo>
                <a:cubicBezTo>
                  <a:pt x="20968" y="6344"/>
                  <a:pt x="21000" y="6344"/>
                  <a:pt x="21031" y="6344"/>
                </a:cubicBezTo>
                <a:cubicBezTo>
                  <a:pt x="21093" y="6344"/>
                  <a:pt x="21125" y="6344"/>
                  <a:pt x="21187" y="6312"/>
                </a:cubicBezTo>
                <a:cubicBezTo>
                  <a:pt x="21218" y="6312"/>
                  <a:pt x="21218" y="6281"/>
                  <a:pt x="21250" y="6281"/>
                </a:cubicBezTo>
                <a:cubicBezTo>
                  <a:pt x="21250" y="6281"/>
                  <a:pt x="21281" y="6281"/>
                  <a:pt x="21281" y="6281"/>
                </a:cubicBezTo>
                <a:cubicBezTo>
                  <a:pt x="21281" y="6281"/>
                  <a:pt x="21281" y="6281"/>
                  <a:pt x="21281" y="6281"/>
                </a:cubicBezTo>
                <a:cubicBezTo>
                  <a:pt x="21312" y="6281"/>
                  <a:pt x="21343" y="6281"/>
                  <a:pt x="21375" y="6281"/>
                </a:cubicBezTo>
                <a:cubicBezTo>
                  <a:pt x="21468" y="6281"/>
                  <a:pt x="21562" y="6250"/>
                  <a:pt x="21656" y="6250"/>
                </a:cubicBezTo>
                <a:cubicBezTo>
                  <a:pt x="21687" y="6250"/>
                  <a:pt x="21718" y="6219"/>
                  <a:pt x="21750" y="6219"/>
                </a:cubicBezTo>
                <a:cubicBezTo>
                  <a:pt x="21843" y="6219"/>
                  <a:pt x="21937" y="6187"/>
                  <a:pt x="22031" y="6156"/>
                </a:cubicBezTo>
                <a:cubicBezTo>
                  <a:pt x="22031" y="6156"/>
                  <a:pt x="22000" y="6156"/>
                  <a:pt x="22000" y="6156"/>
                </a:cubicBezTo>
                <a:cubicBezTo>
                  <a:pt x="21875" y="6125"/>
                  <a:pt x="21750" y="6156"/>
                  <a:pt x="21656" y="6156"/>
                </a:cubicBezTo>
                <a:cubicBezTo>
                  <a:pt x="21625" y="6187"/>
                  <a:pt x="21593" y="6187"/>
                  <a:pt x="21562" y="6187"/>
                </a:cubicBezTo>
                <a:cubicBezTo>
                  <a:pt x="21531" y="6187"/>
                  <a:pt x="21531" y="6187"/>
                  <a:pt x="21500" y="6187"/>
                </a:cubicBezTo>
                <a:cubicBezTo>
                  <a:pt x="21468" y="6187"/>
                  <a:pt x="21437" y="6187"/>
                  <a:pt x="21437" y="6156"/>
                </a:cubicBezTo>
                <a:cubicBezTo>
                  <a:pt x="21375" y="6156"/>
                  <a:pt x="21343" y="6156"/>
                  <a:pt x="21312" y="6125"/>
                </a:cubicBezTo>
                <a:cubicBezTo>
                  <a:pt x="21281" y="6094"/>
                  <a:pt x="21281" y="6062"/>
                  <a:pt x="21281" y="6062"/>
                </a:cubicBezTo>
                <a:cubicBezTo>
                  <a:pt x="21312" y="6031"/>
                  <a:pt x="21312" y="6031"/>
                  <a:pt x="21343" y="6031"/>
                </a:cubicBezTo>
                <a:cubicBezTo>
                  <a:pt x="21343" y="6031"/>
                  <a:pt x="21375" y="6031"/>
                  <a:pt x="21375" y="6031"/>
                </a:cubicBezTo>
                <a:cubicBezTo>
                  <a:pt x="21406" y="6031"/>
                  <a:pt x="21406" y="6031"/>
                  <a:pt x="21437" y="6000"/>
                </a:cubicBezTo>
                <a:cubicBezTo>
                  <a:pt x="21437" y="6000"/>
                  <a:pt x="21468" y="6000"/>
                  <a:pt x="21500" y="6000"/>
                </a:cubicBezTo>
                <a:cubicBezTo>
                  <a:pt x="21531" y="6000"/>
                  <a:pt x="21531" y="6000"/>
                  <a:pt x="21531" y="6000"/>
                </a:cubicBezTo>
                <a:cubicBezTo>
                  <a:pt x="21562" y="5969"/>
                  <a:pt x="21593" y="5969"/>
                  <a:pt x="21593" y="5969"/>
                </a:cubicBezTo>
                <a:cubicBezTo>
                  <a:pt x="21625" y="5937"/>
                  <a:pt x="21625" y="5906"/>
                  <a:pt x="21656" y="5906"/>
                </a:cubicBezTo>
                <a:cubicBezTo>
                  <a:pt x="21562" y="5906"/>
                  <a:pt x="21500" y="5906"/>
                  <a:pt x="21437" y="5906"/>
                </a:cubicBezTo>
                <a:cubicBezTo>
                  <a:pt x="21406" y="5906"/>
                  <a:pt x="21375" y="5906"/>
                  <a:pt x="21343" y="5906"/>
                </a:cubicBezTo>
                <a:cubicBezTo>
                  <a:pt x="21343" y="5906"/>
                  <a:pt x="21343" y="5875"/>
                  <a:pt x="21312" y="5875"/>
                </a:cubicBezTo>
                <a:cubicBezTo>
                  <a:pt x="21281" y="5875"/>
                  <a:pt x="21281" y="5844"/>
                  <a:pt x="21250" y="5844"/>
                </a:cubicBezTo>
                <a:cubicBezTo>
                  <a:pt x="21093" y="5750"/>
                  <a:pt x="21031" y="5781"/>
                  <a:pt x="20968" y="5906"/>
                </a:cubicBezTo>
                <a:cubicBezTo>
                  <a:pt x="20968" y="5937"/>
                  <a:pt x="20968" y="5937"/>
                  <a:pt x="20968" y="5937"/>
                </a:cubicBezTo>
                <a:cubicBezTo>
                  <a:pt x="20968" y="5969"/>
                  <a:pt x="20968" y="5969"/>
                  <a:pt x="20968" y="5969"/>
                </a:cubicBezTo>
                <a:cubicBezTo>
                  <a:pt x="20937" y="5969"/>
                  <a:pt x="20937" y="5969"/>
                  <a:pt x="20937" y="6000"/>
                </a:cubicBezTo>
                <a:cubicBezTo>
                  <a:pt x="20937" y="6000"/>
                  <a:pt x="20937" y="6000"/>
                  <a:pt x="20937" y="6000"/>
                </a:cubicBezTo>
                <a:cubicBezTo>
                  <a:pt x="20875" y="6031"/>
                  <a:pt x="20781" y="6031"/>
                  <a:pt x="20687" y="6031"/>
                </a:cubicBezTo>
                <a:cubicBezTo>
                  <a:pt x="20625" y="6031"/>
                  <a:pt x="20562" y="6031"/>
                  <a:pt x="20500" y="6031"/>
                </a:cubicBezTo>
                <a:cubicBezTo>
                  <a:pt x="20437" y="6000"/>
                  <a:pt x="20343" y="5969"/>
                  <a:pt x="20281" y="5937"/>
                </a:cubicBezTo>
                <a:cubicBezTo>
                  <a:pt x="20125" y="5844"/>
                  <a:pt x="19937" y="5750"/>
                  <a:pt x="19687" y="5750"/>
                </a:cubicBezTo>
                <a:cubicBezTo>
                  <a:pt x="19656" y="5750"/>
                  <a:pt x="19625" y="5750"/>
                  <a:pt x="19593" y="5750"/>
                </a:cubicBezTo>
                <a:cubicBezTo>
                  <a:pt x="19562" y="5750"/>
                  <a:pt x="19562" y="5750"/>
                  <a:pt x="19531" y="5750"/>
                </a:cubicBezTo>
                <a:cubicBezTo>
                  <a:pt x="19531" y="5750"/>
                  <a:pt x="19500" y="5750"/>
                  <a:pt x="19500" y="5750"/>
                </a:cubicBezTo>
                <a:cubicBezTo>
                  <a:pt x="19468" y="5719"/>
                  <a:pt x="19468" y="5687"/>
                  <a:pt x="19468" y="5656"/>
                </a:cubicBezTo>
                <a:cubicBezTo>
                  <a:pt x="19468" y="5594"/>
                  <a:pt x="19437" y="5562"/>
                  <a:pt x="19406" y="5562"/>
                </a:cubicBezTo>
                <a:cubicBezTo>
                  <a:pt x="19375" y="5531"/>
                  <a:pt x="19343" y="5531"/>
                  <a:pt x="19312" y="5531"/>
                </a:cubicBezTo>
                <a:cubicBezTo>
                  <a:pt x="19281" y="5531"/>
                  <a:pt x="19281" y="5531"/>
                  <a:pt x="19281" y="5531"/>
                </a:cubicBezTo>
                <a:cubicBezTo>
                  <a:pt x="19250" y="5531"/>
                  <a:pt x="19218" y="5531"/>
                  <a:pt x="19187" y="5531"/>
                </a:cubicBezTo>
                <a:cubicBezTo>
                  <a:pt x="19125" y="5531"/>
                  <a:pt x="19062" y="5562"/>
                  <a:pt x="19062" y="5594"/>
                </a:cubicBezTo>
                <a:cubicBezTo>
                  <a:pt x="19062" y="5625"/>
                  <a:pt x="19062" y="5625"/>
                  <a:pt x="19062" y="5625"/>
                </a:cubicBezTo>
                <a:cubicBezTo>
                  <a:pt x="19062" y="5844"/>
                  <a:pt x="18812" y="5812"/>
                  <a:pt x="18625" y="5812"/>
                </a:cubicBezTo>
                <a:cubicBezTo>
                  <a:pt x="18593" y="5812"/>
                  <a:pt x="18593" y="5812"/>
                  <a:pt x="18562" y="5812"/>
                </a:cubicBezTo>
                <a:cubicBezTo>
                  <a:pt x="18531" y="5812"/>
                  <a:pt x="18500" y="5812"/>
                  <a:pt x="18468" y="5812"/>
                </a:cubicBezTo>
                <a:cubicBezTo>
                  <a:pt x="18468" y="5812"/>
                  <a:pt x="18437" y="5812"/>
                  <a:pt x="18437" y="5812"/>
                </a:cubicBezTo>
                <a:cubicBezTo>
                  <a:pt x="18375" y="5812"/>
                  <a:pt x="18343" y="5812"/>
                  <a:pt x="18281" y="5812"/>
                </a:cubicBezTo>
                <a:cubicBezTo>
                  <a:pt x="18218" y="5812"/>
                  <a:pt x="18187" y="5812"/>
                  <a:pt x="18125" y="5781"/>
                </a:cubicBezTo>
                <a:cubicBezTo>
                  <a:pt x="18093" y="5781"/>
                  <a:pt x="18093" y="5781"/>
                  <a:pt x="18062" y="5750"/>
                </a:cubicBezTo>
                <a:cubicBezTo>
                  <a:pt x="18031" y="5719"/>
                  <a:pt x="18031" y="5687"/>
                  <a:pt x="18031" y="5687"/>
                </a:cubicBezTo>
                <a:cubicBezTo>
                  <a:pt x="18062" y="5625"/>
                  <a:pt x="18156" y="5594"/>
                  <a:pt x="18218" y="5594"/>
                </a:cubicBezTo>
                <a:cubicBezTo>
                  <a:pt x="18250" y="5594"/>
                  <a:pt x="18250" y="5562"/>
                  <a:pt x="18281" y="5562"/>
                </a:cubicBezTo>
                <a:cubicBezTo>
                  <a:pt x="18281" y="5562"/>
                  <a:pt x="18281" y="5562"/>
                  <a:pt x="18281" y="5562"/>
                </a:cubicBezTo>
                <a:cubicBezTo>
                  <a:pt x="18312" y="5562"/>
                  <a:pt x="18312" y="5531"/>
                  <a:pt x="18312" y="5531"/>
                </a:cubicBezTo>
                <a:cubicBezTo>
                  <a:pt x="18218" y="5531"/>
                  <a:pt x="18125" y="5500"/>
                  <a:pt x="18031" y="5500"/>
                </a:cubicBezTo>
                <a:cubicBezTo>
                  <a:pt x="17750" y="5500"/>
                  <a:pt x="17468" y="5562"/>
                  <a:pt x="17187" y="5562"/>
                </a:cubicBezTo>
                <a:cubicBezTo>
                  <a:pt x="17156" y="5562"/>
                  <a:pt x="17125" y="5562"/>
                  <a:pt x="17093" y="5562"/>
                </a:cubicBezTo>
                <a:cubicBezTo>
                  <a:pt x="17062" y="5562"/>
                  <a:pt x="17031" y="5562"/>
                  <a:pt x="17000" y="5562"/>
                </a:cubicBezTo>
                <a:cubicBezTo>
                  <a:pt x="16906" y="5562"/>
                  <a:pt x="16843" y="5562"/>
                  <a:pt x="16781" y="5531"/>
                </a:cubicBezTo>
                <a:cubicBezTo>
                  <a:pt x="17031" y="5500"/>
                  <a:pt x="17281" y="5437"/>
                  <a:pt x="17531" y="5406"/>
                </a:cubicBezTo>
                <a:cubicBezTo>
                  <a:pt x="17687" y="5375"/>
                  <a:pt x="17843" y="5344"/>
                  <a:pt x="18000" y="5344"/>
                </a:cubicBezTo>
                <a:cubicBezTo>
                  <a:pt x="18000" y="5312"/>
                  <a:pt x="18000" y="5312"/>
                  <a:pt x="17968" y="5312"/>
                </a:cubicBezTo>
                <a:cubicBezTo>
                  <a:pt x="17968" y="5312"/>
                  <a:pt x="17968" y="5281"/>
                  <a:pt x="17937" y="5281"/>
                </a:cubicBezTo>
                <a:cubicBezTo>
                  <a:pt x="17906" y="5281"/>
                  <a:pt x="17906" y="5281"/>
                  <a:pt x="17875" y="5281"/>
                </a:cubicBezTo>
                <a:cubicBezTo>
                  <a:pt x="17875" y="5281"/>
                  <a:pt x="17843" y="5281"/>
                  <a:pt x="17843" y="5281"/>
                </a:cubicBezTo>
                <a:cubicBezTo>
                  <a:pt x="17812" y="5281"/>
                  <a:pt x="17812" y="5281"/>
                  <a:pt x="17781" y="5281"/>
                </a:cubicBezTo>
                <a:cubicBezTo>
                  <a:pt x="17781" y="5281"/>
                  <a:pt x="17750" y="5281"/>
                  <a:pt x="17750" y="5281"/>
                </a:cubicBezTo>
                <a:cubicBezTo>
                  <a:pt x="17718" y="5250"/>
                  <a:pt x="17718" y="5250"/>
                  <a:pt x="17687" y="5250"/>
                </a:cubicBezTo>
                <a:cubicBezTo>
                  <a:pt x="17687" y="5250"/>
                  <a:pt x="17687" y="5250"/>
                  <a:pt x="17687" y="5219"/>
                </a:cubicBezTo>
                <a:cubicBezTo>
                  <a:pt x="17687" y="5219"/>
                  <a:pt x="17687" y="5219"/>
                  <a:pt x="17687" y="5219"/>
                </a:cubicBezTo>
                <a:cubicBezTo>
                  <a:pt x="17687" y="5187"/>
                  <a:pt x="17687" y="5187"/>
                  <a:pt x="17687" y="5187"/>
                </a:cubicBezTo>
                <a:cubicBezTo>
                  <a:pt x="17718" y="5156"/>
                  <a:pt x="17718" y="5156"/>
                  <a:pt x="17750" y="5156"/>
                </a:cubicBezTo>
                <a:cubicBezTo>
                  <a:pt x="17750" y="5156"/>
                  <a:pt x="17781" y="5156"/>
                  <a:pt x="17812" y="5156"/>
                </a:cubicBezTo>
                <a:cubicBezTo>
                  <a:pt x="17812" y="5156"/>
                  <a:pt x="17843" y="5156"/>
                  <a:pt x="17843" y="5156"/>
                </a:cubicBezTo>
                <a:cubicBezTo>
                  <a:pt x="17875" y="5156"/>
                  <a:pt x="17875" y="5156"/>
                  <a:pt x="17906" y="5156"/>
                </a:cubicBezTo>
                <a:cubicBezTo>
                  <a:pt x="18031" y="5156"/>
                  <a:pt x="18125" y="5187"/>
                  <a:pt x="18250" y="5187"/>
                </a:cubicBezTo>
                <a:cubicBezTo>
                  <a:pt x="18312" y="5187"/>
                  <a:pt x="18406" y="5187"/>
                  <a:pt x="18468" y="5156"/>
                </a:cubicBezTo>
                <a:cubicBezTo>
                  <a:pt x="18468" y="5156"/>
                  <a:pt x="18500" y="5156"/>
                  <a:pt x="18500" y="5156"/>
                </a:cubicBezTo>
                <a:cubicBezTo>
                  <a:pt x="18531" y="5156"/>
                  <a:pt x="18531" y="5156"/>
                  <a:pt x="18562" y="5156"/>
                </a:cubicBezTo>
                <a:cubicBezTo>
                  <a:pt x="18593" y="5187"/>
                  <a:pt x="18625" y="5187"/>
                  <a:pt x="18656" y="5250"/>
                </a:cubicBezTo>
                <a:cubicBezTo>
                  <a:pt x="18656" y="5281"/>
                  <a:pt x="18656" y="5281"/>
                  <a:pt x="18687" y="5312"/>
                </a:cubicBezTo>
                <a:cubicBezTo>
                  <a:pt x="18718" y="5344"/>
                  <a:pt x="18781" y="5344"/>
                  <a:pt x="18843" y="5375"/>
                </a:cubicBezTo>
                <a:cubicBezTo>
                  <a:pt x="18843" y="5375"/>
                  <a:pt x="18875" y="5375"/>
                  <a:pt x="18875" y="5375"/>
                </a:cubicBezTo>
                <a:cubicBezTo>
                  <a:pt x="18875" y="5375"/>
                  <a:pt x="18906" y="5375"/>
                  <a:pt x="18906" y="5375"/>
                </a:cubicBezTo>
                <a:cubicBezTo>
                  <a:pt x="18937" y="5375"/>
                  <a:pt x="18937" y="5375"/>
                  <a:pt x="18968" y="5375"/>
                </a:cubicBezTo>
                <a:cubicBezTo>
                  <a:pt x="19093" y="5344"/>
                  <a:pt x="19218" y="5344"/>
                  <a:pt x="19250" y="5250"/>
                </a:cubicBezTo>
                <a:cubicBezTo>
                  <a:pt x="19250" y="5219"/>
                  <a:pt x="19281" y="5187"/>
                  <a:pt x="19281" y="5187"/>
                </a:cubicBezTo>
                <a:cubicBezTo>
                  <a:pt x="19281" y="5156"/>
                  <a:pt x="19312" y="5156"/>
                  <a:pt x="19312" y="5125"/>
                </a:cubicBezTo>
                <a:cubicBezTo>
                  <a:pt x="19343" y="5125"/>
                  <a:pt x="19343" y="5094"/>
                  <a:pt x="19375" y="5094"/>
                </a:cubicBezTo>
                <a:cubicBezTo>
                  <a:pt x="19375" y="5094"/>
                  <a:pt x="19406" y="5094"/>
                  <a:pt x="19406" y="5094"/>
                </a:cubicBezTo>
                <a:cubicBezTo>
                  <a:pt x="19437" y="5062"/>
                  <a:pt x="19500" y="5062"/>
                  <a:pt x="19593" y="5062"/>
                </a:cubicBezTo>
                <a:cubicBezTo>
                  <a:pt x="19625" y="5062"/>
                  <a:pt x="19687" y="5062"/>
                  <a:pt x="19750" y="5062"/>
                </a:cubicBezTo>
                <a:cubicBezTo>
                  <a:pt x="19656" y="5125"/>
                  <a:pt x="19625" y="5187"/>
                  <a:pt x="19593" y="5250"/>
                </a:cubicBezTo>
                <a:cubicBezTo>
                  <a:pt x="19593" y="5312"/>
                  <a:pt x="19625" y="5406"/>
                  <a:pt x="19656" y="5437"/>
                </a:cubicBezTo>
                <a:cubicBezTo>
                  <a:pt x="19687" y="5469"/>
                  <a:pt x="19687" y="5469"/>
                  <a:pt x="19718" y="5469"/>
                </a:cubicBezTo>
                <a:cubicBezTo>
                  <a:pt x="19750" y="5500"/>
                  <a:pt x="19781" y="5531"/>
                  <a:pt x="19843" y="5562"/>
                </a:cubicBezTo>
                <a:cubicBezTo>
                  <a:pt x="19875" y="5562"/>
                  <a:pt x="19906" y="5562"/>
                  <a:pt x="19937" y="5562"/>
                </a:cubicBezTo>
                <a:cubicBezTo>
                  <a:pt x="19968" y="5562"/>
                  <a:pt x="20031" y="5562"/>
                  <a:pt x="20062" y="5531"/>
                </a:cubicBezTo>
                <a:cubicBezTo>
                  <a:pt x="20125" y="5531"/>
                  <a:pt x="20187" y="5500"/>
                  <a:pt x="20250" y="5469"/>
                </a:cubicBezTo>
                <a:cubicBezTo>
                  <a:pt x="20250" y="5469"/>
                  <a:pt x="20281" y="5437"/>
                  <a:pt x="20281" y="5437"/>
                </a:cubicBezTo>
                <a:cubicBezTo>
                  <a:pt x="20281" y="5437"/>
                  <a:pt x="20281" y="5437"/>
                  <a:pt x="20281" y="5406"/>
                </a:cubicBezTo>
                <a:cubicBezTo>
                  <a:pt x="20312" y="5344"/>
                  <a:pt x="20312" y="5250"/>
                  <a:pt x="20281" y="5156"/>
                </a:cubicBezTo>
                <a:cubicBezTo>
                  <a:pt x="20250" y="5125"/>
                  <a:pt x="20218" y="5062"/>
                  <a:pt x="20156" y="5031"/>
                </a:cubicBezTo>
                <a:cubicBezTo>
                  <a:pt x="20156" y="5031"/>
                  <a:pt x="20187" y="5031"/>
                  <a:pt x="20187" y="5031"/>
                </a:cubicBezTo>
                <a:cubicBezTo>
                  <a:pt x="20281" y="5062"/>
                  <a:pt x="20312" y="5062"/>
                  <a:pt x="20375" y="5062"/>
                </a:cubicBezTo>
                <a:cubicBezTo>
                  <a:pt x="20437" y="5062"/>
                  <a:pt x="20468" y="5031"/>
                  <a:pt x="20500" y="5000"/>
                </a:cubicBezTo>
                <a:cubicBezTo>
                  <a:pt x="20500" y="5000"/>
                  <a:pt x="20500" y="5000"/>
                  <a:pt x="20531" y="5000"/>
                </a:cubicBezTo>
                <a:cubicBezTo>
                  <a:pt x="20562" y="5000"/>
                  <a:pt x="20593" y="5000"/>
                  <a:pt x="20625" y="5000"/>
                </a:cubicBezTo>
                <a:cubicBezTo>
                  <a:pt x="20625" y="5000"/>
                  <a:pt x="20656" y="5000"/>
                  <a:pt x="20656" y="5000"/>
                </a:cubicBezTo>
                <a:cubicBezTo>
                  <a:pt x="20687" y="5031"/>
                  <a:pt x="20718" y="5062"/>
                  <a:pt x="20781" y="5031"/>
                </a:cubicBezTo>
                <a:cubicBezTo>
                  <a:pt x="20812" y="4969"/>
                  <a:pt x="20750" y="4937"/>
                  <a:pt x="20687" y="4906"/>
                </a:cubicBezTo>
                <a:cubicBezTo>
                  <a:pt x="20625" y="4906"/>
                  <a:pt x="20593" y="4906"/>
                  <a:pt x="20593" y="4812"/>
                </a:cubicBezTo>
                <a:cubicBezTo>
                  <a:pt x="20812" y="4875"/>
                  <a:pt x="21062" y="4875"/>
                  <a:pt x="21281" y="4875"/>
                </a:cubicBezTo>
                <a:cubicBezTo>
                  <a:pt x="21312" y="4875"/>
                  <a:pt x="21312" y="4875"/>
                  <a:pt x="21343" y="4875"/>
                </a:cubicBezTo>
                <a:cubicBezTo>
                  <a:pt x="21343" y="4875"/>
                  <a:pt x="21375" y="4875"/>
                  <a:pt x="21375" y="4875"/>
                </a:cubicBezTo>
                <a:cubicBezTo>
                  <a:pt x="21406" y="4875"/>
                  <a:pt x="21437" y="4875"/>
                  <a:pt x="21437" y="4906"/>
                </a:cubicBezTo>
                <a:cubicBezTo>
                  <a:pt x="21468" y="4906"/>
                  <a:pt x="21468" y="4937"/>
                  <a:pt x="21468" y="4969"/>
                </a:cubicBezTo>
                <a:cubicBezTo>
                  <a:pt x="21437" y="4969"/>
                  <a:pt x="21468" y="4969"/>
                  <a:pt x="21468" y="4969"/>
                </a:cubicBezTo>
                <a:cubicBezTo>
                  <a:pt x="21468" y="5000"/>
                  <a:pt x="21531" y="5000"/>
                  <a:pt x="21562" y="5000"/>
                </a:cubicBezTo>
                <a:cubicBezTo>
                  <a:pt x="21562" y="5000"/>
                  <a:pt x="21593" y="5000"/>
                  <a:pt x="21593" y="5000"/>
                </a:cubicBezTo>
                <a:cubicBezTo>
                  <a:pt x="21593" y="5000"/>
                  <a:pt x="21625" y="5000"/>
                  <a:pt x="21625" y="5000"/>
                </a:cubicBezTo>
                <a:cubicBezTo>
                  <a:pt x="21656" y="5000"/>
                  <a:pt x="21687" y="4969"/>
                  <a:pt x="21687" y="4937"/>
                </a:cubicBezTo>
                <a:cubicBezTo>
                  <a:pt x="21656" y="4906"/>
                  <a:pt x="21656" y="4906"/>
                  <a:pt x="21656" y="4875"/>
                </a:cubicBezTo>
                <a:cubicBezTo>
                  <a:pt x="21687" y="4844"/>
                  <a:pt x="21781" y="4812"/>
                  <a:pt x="21875" y="4781"/>
                </a:cubicBezTo>
                <a:cubicBezTo>
                  <a:pt x="21843" y="4781"/>
                  <a:pt x="21812" y="4781"/>
                  <a:pt x="21781" y="4781"/>
                </a:cubicBezTo>
                <a:cubicBezTo>
                  <a:pt x="21750" y="4781"/>
                  <a:pt x="21718" y="4781"/>
                  <a:pt x="21718" y="4781"/>
                </a:cubicBezTo>
                <a:cubicBezTo>
                  <a:pt x="21687" y="4781"/>
                  <a:pt x="21656" y="4781"/>
                  <a:pt x="21656" y="4781"/>
                </a:cubicBezTo>
                <a:cubicBezTo>
                  <a:pt x="21656" y="4781"/>
                  <a:pt x="21625" y="4781"/>
                  <a:pt x="21625" y="4781"/>
                </a:cubicBezTo>
                <a:cubicBezTo>
                  <a:pt x="21625" y="4781"/>
                  <a:pt x="21625" y="4781"/>
                  <a:pt x="21593" y="4750"/>
                </a:cubicBezTo>
                <a:cubicBezTo>
                  <a:pt x="21593" y="4750"/>
                  <a:pt x="21593" y="4750"/>
                  <a:pt x="21593" y="4719"/>
                </a:cubicBezTo>
                <a:cubicBezTo>
                  <a:pt x="21593" y="4719"/>
                  <a:pt x="21593" y="4719"/>
                  <a:pt x="21593" y="4719"/>
                </a:cubicBezTo>
                <a:cubicBezTo>
                  <a:pt x="21625" y="4656"/>
                  <a:pt x="21625" y="4656"/>
                  <a:pt x="21656" y="4656"/>
                </a:cubicBezTo>
                <a:cubicBezTo>
                  <a:pt x="21656" y="4625"/>
                  <a:pt x="21687" y="4656"/>
                  <a:pt x="21718" y="4656"/>
                </a:cubicBezTo>
                <a:cubicBezTo>
                  <a:pt x="21750" y="4687"/>
                  <a:pt x="21750" y="4687"/>
                  <a:pt x="21750" y="4687"/>
                </a:cubicBezTo>
                <a:cubicBezTo>
                  <a:pt x="21781" y="4687"/>
                  <a:pt x="21781" y="4656"/>
                  <a:pt x="21781" y="4656"/>
                </a:cubicBezTo>
                <a:cubicBezTo>
                  <a:pt x="21781" y="4656"/>
                  <a:pt x="21781" y="4656"/>
                  <a:pt x="21781" y="4625"/>
                </a:cubicBezTo>
                <a:cubicBezTo>
                  <a:pt x="21812" y="4625"/>
                  <a:pt x="21781" y="4625"/>
                  <a:pt x="21781" y="4594"/>
                </a:cubicBezTo>
                <a:cubicBezTo>
                  <a:pt x="21750" y="4594"/>
                  <a:pt x="21750" y="4594"/>
                  <a:pt x="21750" y="4594"/>
                </a:cubicBezTo>
                <a:cubicBezTo>
                  <a:pt x="21718" y="4594"/>
                  <a:pt x="21687" y="4594"/>
                  <a:pt x="21656" y="4594"/>
                </a:cubicBezTo>
                <a:cubicBezTo>
                  <a:pt x="21656" y="4594"/>
                  <a:pt x="21625" y="4594"/>
                  <a:pt x="21625" y="4594"/>
                </a:cubicBezTo>
                <a:cubicBezTo>
                  <a:pt x="21593" y="4594"/>
                  <a:pt x="21562" y="4562"/>
                  <a:pt x="21531" y="4531"/>
                </a:cubicBezTo>
                <a:cubicBezTo>
                  <a:pt x="21562" y="4531"/>
                  <a:pt x="21593" y="4531"/>
                  <a:pt x="21625" y="4531"/>
                </a:cubicBezTo>
                <a:cubicBezTo>
                  <a:pt x="21687" y="4531"/>
                  <a:pt x="21750" y="4500"/>
                  <a:pt x="21781" y="4469"/>
                </a:cubicBezTo>
                <a:cubicBezTo>
                  <a:pt x="21812" y="4437"/>
                  <a:pt x="21843" y="4406"/>
                  <a:pt x="21812" y="4406"/>
                </a:cubicBezTo>
                <a:cubicBezTo>
                  <a:pt x="21812" y="4375"/>
                  <a:pt x="21812" y="4375"/>
                  <a:pt x="21812" y="4375"/>
                </a:cubicBezTo>
                <a:cubicBezTo>
                  <a:pt x="21812" y="4344"/>
                  <a:pt x="21781" y="4344"/>
                  <a:pt x="21750" y="4344"/>
                </a:cubicBezTo>
                <a:cubicBezTo>
                  <a:pt x="21750" y="4344"/>
                  <a:pt x="21718" y="4344"/>
                  <a:pt x="21687" y="4344"/>
                </a:cubicBezTo>
                <a:cubicBezTo>
                  <a:pt x="21625" y="4312"/>
                  <a:pt x="21593" y="4312"/>
                  <a:pt x="21531" y="4312"/>
                </a:cubicBezTo>
                <a:cubicBezTo>
                  <a:pt x="21531" y="4312"/>
                  <a:pt x="21531" y="4312"/>
                  <a:pt x="21500" y="4312"/>
                </a:cubicBezTo>
                <a:cubicBezTo>
                  <a:pt x="21500" y="4312"/>
                  <a:pt x="21500" y="4312"/>
                  <a:pt x="21468" y="4312"/>
                </a:cubicBezTo>
                <a:cubicBezTo>
                  <a:pt x="21437" y="4312"/>
                  <a:pt x="21437" y="4281"/>
                  <a:pt x="21406" y="4281"/>
                </a:cubicBezTo>
                <a:cubicBezTo>
                  <a:pt x="21187" y="4187"/>
                  <a:pt x="20937" y="4156"/>
                  <a:pt x="20718" y="4125"/>
                </a:cubicBezTo>
                <a:cubicBezTo>
                  <a:pt x="20625" y="4125"/>
                  <a:pt x="20531" y="4125"/>
                  <a:pt x="20437" y="4094"/>
                </a:cubicBezTo>
                <a:cubicBezTo>
                  <a:pt x="20343" y="4094"/>
                  <a:pt x="20218" y="4094"/>
                  <a:pt x="20093" y="4062"/>
                </a:cubicBezTo>
                <a:cubicBezTo>
                  <a:pt x="20156" y="4031"/>
                  <a:pt x="20218" y="3969"/>
                  <a:pt x="20281" y="3937"/>
                </a:cubicBezTo>
                <a:cubicBezTo>
                  <a:pt x="20281" y="3906"/>
                  <a:pt x="20312" y="3844"/>
                  <a:pt x="20312" y="3812"/>
                </a:cubicBezTo>
                <a:cubicBezTo>
                  <a:pt x="20343" y="3781"/>
                  <a:pt x="20343" y="3750"/>
                  <a:pt x="20312" y="3719"/>
                </a:cubicBezTo>
                <a:cubicBezTo>
                  <a:pt x="20312" y="3687"/>
                  <a:pt x="20312" y="3656"/>
                  <a:pt x="20312" y="3656"/>
                </a:cubicBezTo>
                <a:cubicBezTo>
                  <a:pt x="20281" y="3594"/>
                  <a:pt x="20343" y="3594"/>
                  <a:pt x="20406" y="3562"/>
                </a:cubicBezTo>
                <a:cubicBezTo>
                  <a:pt x="20625" y="3500"/>
                  <a:pt x="20875" y="3469"/>
                  <a:pt x="21125" y="3406"/>
                </a:cubicBezTo>
                <a:cubicBezTo>
                  <a:pt x="21156" y="3406"/>
                  <a:pt x="21187" y="3406"/>
                  <a:pt x="21218" y="3406"/>
                </a:cubicBezTo>
                <a:cubicBezTo>
                  <a:pt x="21281" y="3375"/>
                  <a:pt x="21312" y="3344"/>
                  <a:pt x="21375" y="3344"/>
                </a:cubicBezTo>
                <a:cubicBezTo>
                  <a:pt x="21406" y="3344"/>
                  <a:pt x="21468" y="3344"/>
                  <a:pt x="21531" y="3375"/>
                </a:cubicBezTo>
                <a:cubicBezTo>
                  <a:pt x="21531" y="3375"/>
                  <a:pt x="21562" y="3375"/>
                  <a:pt x="21562" y="3406"/>
                </a:cubicBezTo>
                <a:cubicBezTo>
                  <a:pt x="21562" y="3406"/>
                  <a:pt x="21593" y="3406"/>
                  <a:pt x="21593" y="3406"/>
                </a:cubicBezTo>
                <a:cubicBezTo>
                  <a:pt x="21656" y="3406"/>
                  <a:pt x="21718" y="3375"/>
                  <a:pt x="21718" y="3312"/>
                </a:cubicBezTo>
                <a:cubicBezTo>
                  <a:pt x="21718" y="3312"/>
                  <a:pt x="21750" y="3281"/>
                  <a:pt x="21718" y="3281"/>
                </a:cubicBezTo>
                <a:cubicBezTo>
                  <a:pt x="21718" y="3250"/>
                  <a:pt x="21718" y="3219"/>
                  <a:pt x="21718" y="3219"/>
                </a:cubicBezTo>
                <a:cubicBezTo>
                  <a:pt x="21718" y="3187"/>
                  <a:pt x="21718" y="3187"/>
                  <a:pt x="21718" y="3187"/>
                </a:cubicBezTo>
                <a:cubicBezTo>
                  <a:pt x="21718" y="3187"/>
                  <a:pt x="21718" y="3156"/>
                  <a:pt x="21718" y="3156"/>
                </a:cubicBezTo>
                <a:cubicBezTo>
                  <a:pt x="21750" y="3125"/>
                  <a:pt x="21750" y="3125"/>
                  <a:pt x="21750" y="3125"/>
                </a:cubicBezTo>
                <a:cubicBezTo>
                  <a:pt x="21750" y="3094"/>
                  <a:pt x="21718" y="3062"/>
                  <a:pt x="21718" y="3062"/>
                </a:cubicBezTo>
                <a:cubicBezTo>
                  <a:pt x="21718" y="3031"/>
                  <a:pt x="21718" y="3000"/>
                  <a:pt x="21687" y="3000"/>
                </a:cubicBezTo>
                <a:cubicBezTo>
                  <a:pt x="21687" y="2969"/>
                  <a:pt x="21687" y="2969"/>
                  <a:pt x="21656" y="2937"/>
                </a:cubicBezTo>
                <a:cubicBezTo>
                  <a:pt x="21625" y="2906"/>
                  <a:pt x="21625" y="2906"/>
                  <a:pt x="21593" y="2906"/>
                </a:cubicBezTo>
                <a:cubicBezTo>
                  <a:pt x="21531" y="2844"/>
                  <a:pt x="21437" y="2844"/>
                  <a:pt x="21312" y="2812"/>
                </a:cubicBezTo>
                <a:cubicBezTo>
                  <a:pt x="21250" y="2812"/>
                  <a:pt x="21187" y="2812"/>
                  <a:pt x="21093" y="2812"/>
                </a:cubicBezTo>
                <a:cubicBezTo>
                  <a:pt x="21000" y="2781"/>
                  <a:pt x="20906" y="2781"/>
                  <a:pt x="20781" y="2750"/>
                </a:cubicBezTo>
                <a:cubicBezTo>
                  <a:pt x="20687" y="2750"/>
                  <a:pt x="20593" y="2750"/>
                  <a:pt x="20468" y="2750"/>
                </a:cubicBezTo>
                <a:cubicBezTo>
                  <a:pt x="20468" y="2656"/>
                  <a:pt x="20500" y="2625"/>
                  <a:pt x="20562" y="2594"/>
                </a:cubicBezTo>
                <a:cubicBezTo>
                  <a:pt x="20562" y="2594"/>
                  <a:pt x="20593" y="2562"/>
                  <a:pt x="20593" y="2562"/>
                </a:cubicBezTo>
                <a:cubicBezTo>
                  <a:pt x="20625" y="2562"/>
                  <a:pt x="20687" y="2562"/>
                  <a:pt x="20750" y="2562"/>
                </a:cubicBezTo>
                <a:cubicBezTo>
                  <a:pt x="20781" y="2562"/>
                  <a:pt x="20812" y="2562"/>
                  <a:pt x="20875" y="2562"/>
                </a:cubicBezTo>
                <a:cubicBezTo>
                  <a:pt x="20906" y="2562"/>
                  <a:pt x="20968" y="2562"/>
                  <a:pt x="21031" y="2562"/>
                </a:cubicBezTo>
                <a:cubicBezTo>
                  <a:pt x="21093" y="2562"/>
                  <a:pt x="21125" y="2562"/>
                  <a:pt x="21187" y="2594"/>
                </a:cubicBezTo>
                <a:cubicBezTo>
                  <a:pt x="21218" y="2594"/>
                  <a:pt x="21218" y="2594"/>
                  <a:pt x="21250" y="2562"/>
                </a:cubicBezTo>
                <a:cubicBezTo>
                  <a:pt x="21281" y="2562"/>
                  <a:pt x="21281" y="2562"/>
                  <a:pt x="21312" y="2562"/>
                </a:cubicBezTo>
                <a:cubicBezTo>
                  <a:pt x="21312" y="2562"/>
                  <a:pt x="21312" y="2562"/>
                  <a:pt x="21312" y="2562"/>
                </a:cubicBezTo>
                <a:cubicBezTo>
                  <a:pt x="21343" y="2531"/>
                  <a:pt x="21343" y="2531"/>
                  <a:pt x="21343" y="2531"/>
                </a:cubicBezTo>
                <a:cubicBezTo>
                  <a:pt x="21281" y="2437"/>
                  <a:pt x="21312" y="2437"/>
                  <a:pt x="21375" y="2437"/>
                </a:cubicBezTo>
                <a:cubicBezTo>
                  <a:pt x="21406" y="2406"/>
                  <a:pt x="21468" y="2406"/>
                  <a:pt x="21500" y="2406"/>
                </a:cubicBezTo>
                <a:cubicBezTo>
                  <a:pt x="21531" y="2406"/>
                  <a:pt x="21562" y="2406"/>
                  <a:pt x="21625" y="2406"/>
                </a:cubicBezTo>
                <a:cubicBezTo>
                  <a:pt x="21656" y="2406"/>
                  <a:pt x="21718" y="2406"/>
                  <a:pt x="21750" y="2375"/>
                </a:cubicBezTo>
                <a:cubicBezTo>
                  <a:pt x="21750" y="2344"/>
                  <a:pt x="21750" y="2312"/>
                  <a:pt x="21718" y="2312"/>
                </a:cubicBezTo>
                <a:cubicBezTo>
                  <a:pt x="21687" y="2250"/>
                  <a:pt x="21656" y="2187"/>
                  <a:pt x="21562" y="2187"/>
                </a:cubicBezTo>
                <a:cubicBezTo>
                  <a:pt x="21531" y="2187"/>
                  <a:pt x="21500" y="2187"/>
                  <a:pt x="21500" y="2187"/>
                </a:cubicBezTo>
                <a:cubicBezTo>
                  <a:pt x="21406" y="2156"/>
                  <a:pt x="21281" y="2094"/>
                  <a:pt x="21187" y="2062"/>
                </a:cubicBezTo>
                <a:cubicBezTo>
                  <a:pt x="21125" y="2031"/>
                  <a:pt x="21031" y="2000"/>
                  <a:pt x="20937" y="2000"/>
                </a:cubicBezTo>
                <a:cubicBezTo>
                  <a:pt x="20937" y="1969"/>
                  <a:pt x="20937" y="1969"/>
                  <a:pt x="20937" y="1969"/>
                </a:cubicBezTo>
                <a:cubicBezTo>
                  <a:pt x="20937" y="1937"/>
                  <a:pt x="20906" y="1906"/>
                  <a:pt x="20875" y="1906"/>
                </a:cubicBezTo>
                <a:cubicBezTo>
                  <a:pt x="20875" y="1906"/>
                  <a:pt x="20843" y="1906"/>
                  <a:pt x="20843" y="1906"/>
                </a:cubicBezTo>
                <a:cubicBezTo>
                  <a:pt x="20781" y="1937"/>
                  <a:pt x="20718" y="1969"/>
                  <a:pt x="20656" y="2000"/>
                </a:cubicBezTo>
                <a:cubicBezTo>
                  <a:pt x="20593" y="2000"/>
                  <a:pt x="20531" y="2000"/>
                  <a:pt x="20468" y="2031"/>
                </a:cubicBezTo>
                <a:cubicBezTo>
                  <a:pt x="20343" y="2031"/>
                  <a:pt x="20218" y="2031"/>
                  <a:pt x="20093" y="2062"/>
                </a:cubicBezTo>
                <a:cubicBezTo>
                  <a:pt x="20093" y="2062"/>
                  <a:pt x="20062" y="2062"/>
                  <a:pt x="20062" y="2062"/>
                </a:cubicBezTo>
                <a:cubicBezTo>
                  <a:pt x="20062" y="2062"/>
                  <a:pt x="20062" y="2094"/>
                  <a:pt x="20062" y="2094"/>
                </a:cubicBezTo>
                <a:cubicBezTo>
                  <a:pt x="20000" y="2094"/>
                  <a:pt x="19906" y="2094"/>
                  <a:pt x="19812" y="2094"/>
                </a:cubicBezTo>
                <a:cubicBezTo>
                  <a:pt x="19781" y="2094"/>
                  <a:pt x="19781" y="2094"/>
                  <a:pt x="19750" y="2094"/>
                </a:cubicBezTo>
                <a:cubicBezTo>
                  <a:pt x="19718" y="2094"/>
                  <a:pt x="19687" y="2094"/>
                  <a:pt x="19687" y="2094"/>
                </a:cubicBezTo>
                <a:cubicBezTo>
                  <a:pt x="19562" y="2094"/>
                  <a:pt x="19562" y="2062"/>
                  <a:pt x="19562" y="2000"/>
                </a:cubicBezTo>
                <a:cubicBezTo>
                  <a:pt x="19562" y="1969"/>
                  <a:pt x="19562" y="1969"/>
                  <a:pt x="19562" y="1969"/>
                </a:cubicBezTo>
                <a:cubicBezTo>
                  <a:pt x="19562" y="1844"/>
                  <a:pt x="19562" y="1750"/>
                  <a:pt x="19531" y="1656"/>
                </a:cubicBezTo>
                <a:cubicBezTo>
                  <a:pt x="19500" y="1594"/>
                  <a:pt x="19468" y="1531"/>
                  <a:pt x="19437" y="1469"/>
                </a:cubicBezTo>
                <a:cubicBezTo>
                  <a:pt x="19437" y="1469"/>
                  <a:pt x="19406" y="1469"/>
                  <a:pt x="19406" y="1469"/>
                </a:cubicBezTo>
                <a:cubicBezTo>
                  <a:pt x="19375" y="1406"/>
                  <a:pt x="19281" y="1406"/>
                  <a:pt x="19375" y="1344"/>
                </a:cubicBezTo>
                <a:cubicBezTo>
                  <a:pt x="19406" y="1281"/>
                  <a:pt x="19468" y="1250"/>
                  <a:pt x="19531" y="1250"/>
                </a:cubicBezTo>
                <a:cubicBezTo>
                  <a:pt x="19562" y="1219"/>
                  <a:pt x="19593" y="1219"/>
                  <a:pt x="19625" y="1219"/>
                </a:cubicBezTo>
                <a:cubicBezTo>
                  <a:pt x="19656" y="1219"/>
                  <a:pt x="19687" y="1250"/>
                  <a:pt x="19687" y="1250"/>
                </a:cubicBezTo>
                <a:cubicBezTo>
                  <a:pt x="19750" y="1250"/>
                  <a:pt x="19781" y="1250"/>
                  <a:pt x="19843" y="1250"/>
                </a:cubicBezTo>
                <a:cubicBezTo>
                  <a:pt x="19875" y="1281"/>
                  <a:pt x="19906" y="1281"/>
                  <a:pt x="19937" y="1281"/>
                </a:cubicBezTo>
                <a:cubicBezTo>
                  <a:pt x="19937" y="1281"/>
                  <a:pt x="19968" y="1281"/>
                  <a:pt x="19968" y="1281"/>
                </a:cubicBezTo>
                <a:cubicBezTo>
                  <a:pt x="20000" y="1281"/>
                  <a:pt x="20031" y="1281"/>
                  <a:pt x="20093" y="1281"/>
                </a:cubicBezTo>
                <a:cubicBezTo>
                  <a:pt x="20218" y="1250"/>
                  <a:pt x="20281" y="1187"/>
                  <a:pt x="20312" y="1125"/>
                </a:cubicBezTo>
                <a:cubicBezTo>
                  <a:pt x="20343" y="1062"/>
                  <a:pt x="20343" y="937"/>
                  <a:pt x="20281" y="906"/>
                </a:cubicBezTo>
                <a:cubicBezTo>
                  <a:pt x="20250" y="906"/>
                  <a:pt x="20187" y="906"/>
                  <a:pt x="20156" y="875"/>
                </a:cubicBezTo>
                <a:cubicBezTo>
                  <a:pt x="20125" y="875"/>
                  <a:pt x="20093" y="875"/>
                  <a:pt x="20093" y="844"/>
                </a:cubicBezTo>
                <a:cubicBezTo>
                  <a:pt x="20031" y="844"/>
                  <a:pt x="20000" y="844"/>
                  <a:pt x="19937" y="812"/>
                </a:cubicBezTo>
                <a:cubicBezTo>
                  <a:pt x="19906" y="812"/>
                  <a:pt x="19906" y="812"/>
                  <a:pt x="19875" y="812"/>
                </a:cubicBezTo>
                <a:cubicBezTo>
                  <a:pt x="19812" y="812"/>
                  <a:pt x="19781" y="781"/>
                  <a:pt x="19750" y="781"/>
                </a:cubicBezTo>
                <a:cubicBezTo>
                  <a:pt x="19750" y="781"/>
                  <a:pt x="19718" y="781"/>
                  <a:pt x="19718" y="781"/>
                </a:cubicBezTo>
                <a:cubicBezTo>
                  <a:pt x="19687" y="781"/>
                  <a:pt x="19656" y="781"/>
                  <a:pt x="19625" y="781"/>
                </a:cubicBezTo>
                <a:cubicBezTo>
                  <a:pt x="19625" y="781"/>
                  <a:pt x="19593" y="781"/>
                  <a:pt x="19593" y="781"/>
                </a:cubicBezTo>
                <a:cubicBezTo>
                  <a:pt x="19531" y="781"/>
                  <a:pt x="19500" y="781"/>
                  <a:pt x="19437" y="781"/>
                </a:cubicBezTo>
                <a:cubicBezTo>
                  <a:pt x="19437" y="781"/>
                  <a:pt x="19406" y="781"/>
                  <a:pt x="19406" y="781"/>
                </a:cubicBezTo>
                <a:cubicBezTo>
                  <a:pt x="19375" y="781"/>
                  <a:pt x="19343" y="781"/>
                  <a:pt x="19312" y="781"/>
                </a:cubicBezTo>
                <a:cubicBezTo>
                  <a:pt x="19250" y="812"/>
                  <a:pt x="19187" y="812"/>
                  <a:pt x="19125" y="875"/>
                </a:cubicBezTo>
                <a:cubicBezTo>
                  <a:pt x="19093" y="875"/>
                  <a:pt x="19093" y="875"/>
                  <a:pt x="19093" y="906"/>
                </a:cubicBezTo>
                <a:cubicBezTo>
                  <a:pt x="19062" y="906"/>
                  <a:pt x="19062" y="937"/>
                  <a:pt x="19031" y="937"/>
                </a:cubicBezTo>
                <a:cubicBezTo>
                  <a:pt x="19000" y="937"/>
                  <a:pt x="18968" y="969"/>
                  <a:pt x="18937" y="969"/>
                </a:cubicBezTo>
                <a:cubicBezTo>
                  <a:pt x="18875" y="969"/>
                  <a:pt x="18843" y="969"/>
                  <a:pt x="18781" y="969"/>
                </a:cubicBezTo>
                <a:cubicBezTo>
                  <a:pt x="18718" y="969"/>
                  <a:pt x="18656" y="969"/>
                  <a:pt x="18593" y="1000"/>
                </a:cubicBezTo>
                <a:cubicBezTo>
                  <a:pt x="18562" y="1000"/>
                  <a:pt x="18500" y="1000"/>
                  <a:pt x="18500" y="1000"/>
                </a:cubicBezTo>
                <a:cubicBezTo>
                  <a:pt x="18468" y="1000"/>
                  <a:pt x="18468" y="1000"/>
                  <a:pt x="18468" y="1000"/>
                </a:cubicBezTo>
                <a:cubicBezTo>
                  <a:pt x="18406" y="1000"/>
                  <a:pt x="18406" y="969"/>
                  <a:pt x="18468" y="906"/>
                </a:cubicBezTo>
                <a:cubicBezTo>
                  <a:pt x="18468" y="875"/>
                  <a:pt x="18468" y="844"/>
                  <a:pt x="18468" y="812"/>
                </a:cubicBezTo>
                <a:cubicBezTo>
                  <a:pt x="18468" y="781"/>
                  <a:pt x="18468" y="781"/>
                  <a:pt x="18468" y="781"/>
                </a:cubicBezTo>
                <a:cubicBezTo>
                  <a:pt x="18468" y="750"/>
                  <a:pt x="18437" y="719"/>
                  <a:pt x="18406" y="687"/>
                </a:cubicBezTo>
                <a:cubicBezTo>
                  <a:pt x="18406" y="687"/>
                  <a:pt x="18375" y="687"/>
                  <a:pt x="18343" y="656"/>
                </a:cubicBezTo>
                <a:cubicBezTo>
                  <a:pt x="18312" y="656"/>
                  <a:pt x="18281" y="625"/>
                  <a:pt x="18250" y="594"/>
                </a:cubicBezTo>
                <a:cubicBezTo>
                  <a:pt x="18218" y="594"/>
                  <a:pt x="18218" y="594"/>
                  <a:pt x="18187" y="594"/>
                </a:cubicBezTo>
                <a:cubicBezTo>
                  <a:pt x="17968" y="500"/>
                  <a:pt x="17718" y="562"/>
                  <a:pt x="17468" y="500"/>
                </a:cubicBezTo>
                <a:cubicBezTo>
                  <a:pt x="17468" y="500"/>
                  <a:pt x="17437" y="500"/>
                  <a:pt x="17437" y="500"/>
                </a:cubicBezTo>
                <a:cubicBezTo>
                  <a:pt x="17437" y="500"/>
                  <a:pt x="17406" y="531"/>
                  <a:pt x="17406" y="531"/>
                </a:cubicBezTo>
                <a:cubicBezTo>
                  <a:pt x="17406" y="531"/>
                  <a:pt x="17406" y="531"/>
                  <a:pt x="17406" y="562"/>
                </a:cubicBezTo>
                <a:cubicBezTo>
                  <a:pt x="17437" y="562"/>
                  <a:pt x="17437" y="594"/>
                  <a:pt x="17406" y="625"/>
                </a:cubicBezTo>
                <a:cubicBezTo>
                  <a:pt x="17406" y="656"/>
                  <a:pt x="17375" y="687"/>
                  <a:pt x="17375" y="750"/>
                </a:cubicBezTo>
                <a:cubicBezTo>
                  <a:pt x="17375" y="812"/>
                  <a:pt x="17343" y="844"/>
                  <a:pt x="17281" y="875"/>
                </a:cubicBezTo>
                <a:cubicBezTo>
                  <a:pt x="17218" y="875"/>
                  <a:pt x="17187" y="875"/>
                  <a:pt x="17125" y="906"/>
                </a:cubicBezTo>
                <a:cubicBezTo>
                  <a:pt x="17093" y="906"/>
                  <a:pt x="17062" y="906"/>
                  <a:pt x="17031" y="906"/>
                </a:cubicBezTo>
                <a:cubicBezTo>
                  <a:pt x="17031" y="906"/>
                  <a:pt x="17000" y="906"/>
                  <a:pt x="17000" y="906"/>
                </a:cubicBezTo>
                <a:cubicBezTo>
                  <a:pt x="16968" y="906"/>
                  <a:pt x="16968" y="906"/>
                  <a:pt x="16937" y="906"/>
                </a:cubicBezTo>
                <a:cubicBezTo>
                  <a:pt x="16875" y="906"/>
                  <a:pt x="16843" y="906"/>
                  <a:pt x="16781" y="844"/>
                </a:cubicBezTo>
                <a:cubicBezTo>
                  <a:pt x="16718" y="812"/>
                  <a:pt x="16687" y="812"/>
                  <a:pt x="16656" y="844"/>
                </a:cubicBezTo>
                <a:cubicBezTo>
                  <a:pt x="16656" y="844"/>
                  <a:pt x="16656" y="875"/>
                  <a:pt x="16625" y="875"/>
                </a:cubicBezTo>
                <a:cubicBezTo>
                  <a:pt x="16625" y="906"/>
                  <a:pt x="16625" y="906"/>
                  <a:pt x="16625" y="937"/>
                </a:cubicBezTo>
                <a:cubicBezTo>
                  <a:pt x="16656" y="969"/>
                  <a:pt x="16656" y="969"/>
                  <a:pt x="16656" y="1000"/>
                </a:cubicBezTo>
                <a:cubicBezTo>
                  <a:pt x="16656" y="1000"/>
                  <a:pt x="16625" y="1031"/>
                  <a:pt x="16593" y="1062"/>
                </a:cubicBezTo>
                <a:cubicBezTo>
                  <a:pt x="16593" y="1062"/>
                  <a:pt x="16562" y="1062"/>
                  <a:pt x="16562" y="1062"/>
                </a:cubicBezTo>
                <a:cubicBezTo>
                  <a:pt x="16500" y="1094"/>
                  <a:pt x="16500" y="1062"/>
                  <a:pt x="16468" y="1031"/>
                </a:cubicBezTo>
                <a:cubicBezTo>
                  <a:pt x="16468" y="1031"/>
                  <a:pt x="16437" y="1031"/>
                  <a:pt x="16437" y="1031"/>
                </a:cubicBezTo>
                <a:cubicBezTo>
                  <a:pt x="16437" y="1000"/>
                  <a:pt x="16437" y="1000"/>
                  <a:pt x="16437" y="1000"/>
                </a:cubicBezTo>
                <a:cubicBezTo>
                  <a:pt x="16437" y="1000"/>
                  <a:pt x="16406" y="1000"/>
                  <a:pt x="16406" y="1000"/>
                </a:cubicBezTo>
                <a:cubicBezTo>
                  <a:pt x="16375" y="1000"/>
                  <a:pt x="16343" y="1000"/>
                  <a:pt x="16343" y="1000"/>
                </a:cubicBezTo>
                <a:cubicBezTo>
                  <a:pt x="16312" y="1000"/>
                  <a:pt x="16312" y="1031"/>
                  <a:pt x="16281" y="1031"/>
                </a:cubicBezTo>
                <a:cubicBezTo>
                  <a:pt x="16250" y="1031"/>
                  <a:pt x="16218" y="1000"/>
                  <a:pt x="16218" y="1000"/>
                </a:cubicBezTo>
                <a:cubicBezTo>
                  <a:pt x="16187" y="1000"/>
                  <a:pt x="16187" y="1000"/>
                  <a:pt x="16187" y="1000"/>
                </a:cubicBezTo>
                <a:cubicBezTo>
                  <a:pt x="16156" y="1000"/>
                  <a:pt x="16156" y="1000"/>
                  <a:pt x="16125" y="969"/>
                </a:cubicBezTo>
                <a:cubicBezTo>
                  <a:pt x="16125" y="969"/>
                  <a:pt x="16125" y="969"/>
                  <a:pt x="16093" y="937"/>
                </a:cubicBezTo>
                <a:cubicBezTo>
                  <a:pt x="16062" y="906"/>
                  <a:pt x="16031" y="875"/>
                  <a:pt x="15968" y="875"/>
                </a:cubicBezTo>
                <a:cubicBezTo>
                  <a:pt x="15968" y="844"/>
                  <a:pt x="15968" y="844"/>
                  <a:pt x="15968" y="844"/>
                </a:cubicBezTo>
                <a:cubicBezTo>
                  <a:pt x="16000" y="812"/>
                  <a:pt x="16000" y="781"/>
                  <a:pt x="16000" y="750"/>
                </a:cubicBezTo>
                <a:cubicBezTo>
                  <a:pt x="16000" y="719"/>
                  <a:pt x="16031" y="687"/>
                  <a:pt x="16062" y="656"/>
                </a:cubicBezTo>
                <a:cubicBezTo>
                  <a:pt x="16125" y="625"/>
                  <a:pt x="16218" y="594"/>
                  <a:pt x="16281" y="531"/>
                </a:cubicBezTo>
                <a:cubicBezTo>
                  <a:pt x="16281" y="500"/>
                  <a:pt x="16312" y="469"/>
                  <a:pt x="16312" y="469"/>
                </a:cubicBezTo>
                <a:cubicBezTo>
                  <a:pt x="16312" y="437"/>
                  <a:pt x="16312" y="437"/>
                  <a:pt x="16343" y="437"/>
                </a:cubicBezTo>
                <a:cubicBezTo>
                  <a:pt x="16343" y="437"/>
                  <a:pt x="16343" y="437"/>
                  <a:pt x="16343" y="437"/>
                </a:cubicBezTo>
                <a:cubicBezTo>
                  <a:pt x="16375" y="437"/>
                  <a:pt x="16375" y="437"/>
                  <a:pt x="16375" y="469"/>
                </a:cubicBezTo>
                <a:cubicBezTo>
                  <a:pt x="16406" y="500"/>
                  <a:pt x="16468" y="500"/>
                  <a:pt x="16500" y="500"/>
                </a:cubicBezTo>
                <a:cubicBezTo>
                  <a:pt x="16531" y="500"/>
                  <a:pt x="16531" y="500"/>
                  <a:pt x="16562" y="500"/>
                </a:cubicBezTo>
                <a:cubicBezTo>
                  <a:pt x="16562" y="500"/>
                  <a:pt x="16593" y="500"/>
                  <a:pt x="16593" y="500"/>
                </a:cubicBezTo>
                <a:cubicBezTo>
                  <a:pt x="16656" y="469"/>
                  <a:pt x="16687" y="437"/>
                  <a:pt x="16750" y="437"/>
                </a:cubicBezTo>
                <a:cubicBezTo>
                  <a:pt x="16750" y="406"/>
                  <a:pt x="16781" y="406"/>
                  <a:pt x="16781" y="406"/>
                </a:cubicBezTo>
                <a:cubicBezTo>
                  <a:pt x="16812" y="375"/>
                  <a:pt x="16843" y="375"/>
                  <a:pt x="16875" y="344"/>
                </a:cubicBezTo>
                <a:cubicBezTo>
                  <a:pt x="16875" y="344"/>
                  <a:pt x="16906" y="312"/>
                  <a:pt x="16906" y="281"/>
                </a:cubicBezTo>
                <a:cubicBezTo>
                  <a:pt x="16937" y="250"/>
                  <a:pt x="16937" y="219"/>
                  <a:pt x="16906" y="156"/>
                </a:cubicBezTo>
                <a:cubicBezTo>
                  <a:pt x="16906" y="125"/>
                  <a:pt x="16875" y="125"/>
                  <a:pt x="16843" y="94"/>
                </a:cubicBezTo>
                <a:cubicBezTo>
                  <a:pt x="16843" y="94"/>
                  <a:pt x="16812" y="62"/>
                  <a:pt x="16812" y="62"/>
                </a:cubicBezTo>
                <a:cubicBezTo>
                  <a:pt x="16750" y="31"/>
                  <a:pt x="16656" y="0"/>
                  <a:pt x="16562" y="0"/>
                </a:cubicBezTo>
                <a:cubicBezTo>
                  <a:pt x="16562" y="0"/>
                  <a:pt x="16531" y="0"/>
                  <a:pt x="16500" y="0"/>
                </a:cubicBezTo>
                <a:cubicBezTo>
                  <a:pt x="16468" y="0"/>
                  <a:pt x="16437" y="0"/>
                  <a:pt x="16406" y="0"/>
                </a:cubicBezTo>
                <a:cubicBezTo>
                  <a:pt x="16281" y="31"/>
                  <a:pt x="16250" y="94"/>
                  <a:pt x="16218" y="156"/>
                </a:cubicBezTo>
                <a:cubicBezTo>
                  <a:pt x="16218" y="187"/>
                  <a:pt x="16218" y="219"/>
                  <a:pt x="16187" y="219"/>
                </a:cubicBezTo>
                <a:cubicBezTo>
                  <a:pt x="16156" y="250"/>
                  <a:pt x="16125" y="281"/>
                  <a:pt x="16062" y="281"/>
                </a:cubicBezTo>
                <a:cubicBezTo>
                  <a:pt x="16125" y="312"/>
                  <a:pt x="16156" y="312"/>
                  <a:pt x="16187" y="312"/>
                </a:cubicBezTo>
                <a:cubicBezTo>
                  <a:pt x="16250" y="312"/>
                  <a:pt x="16343" y="281"/>
                  <a:pt x="16343" y="375"/>
                </a:cubicBezTo>
                <a:cubicBezTo>
                  <a:pt x="16343" y="406"/>
                  <a:pt x="16312" y="406"/>
                  <a:pt x="16281" y="406"/>
                </a:cubicBezTo>
                <a:cubicBezTo>
                  <a:pt x="16250" y="406"/>
                  <a:pt x="16187" y="406"/>
                  <a:pt x="16156" y="406"/>
                </a:cubicBezTo>
                <a:cubicBezTo>
                  <a:pt x="16156" y="406"/>
                  <a:pt x="16156" y="406"/>
                  <a:pt x="16125" y="406"/>
                </a:cubicBezTo>
                <a:cubicBezTo>
                  <a:pt x="16093" y="406"/>
                  <a:pt x="16062" y="406"/>
                  <a:pt x="16031" y="406"/>
                </a:cubicBezTo>
                <a:cubicBezTo>
                  <a:pt x="16031" y="437"/>
                  <a:pt x="16000" y="437"/>
                  <a:pt x="16000" y="437"/>
                </a:cubicBezTo>
                <a:cubicBezTo>
                  <a:pt x="16000" y="469"/>
                  <a:pt x="16000" y="469"/>
                  <a:pt x="16000" y="500"/>
                </a:cubicBezTo>
                <a:cubicBezTo>
                  <a:pt x="16000" y="531"/>
                  <a:pt x="16000" y="562"/>
                  <a:pt x="15968" y="594"/>
                </a:cubicBezTo>
                <a:cubicBezTo>
                  <a:pt x="15968" y="594"/>
                  <a:pt x="15937" y="594"/>
                  <a:pt x="15906" y="594"/>
                </a:cubicBezTo>
                <a:cubicBezTo>
                  <a:pt x="15906" y="594"/>
                  <a:pt x="15906" y="594"/>
                  <a:pt x="15875" y="594"/>
                </a:cubicBezTo>
                <a:cubicBezTo>
                  <a:pt x="15843" y="594"/>
                  <a:pt x="15843" y="594"/>
                  <a:pt x="15812" y="594"/>
                </a:cubicBezTo>
                <a:cubicBezTo>
                  <a:pt x="15718" y="594"/>
                  <a:pt x="15656" y="594"/>
                  <a:pt x="15625" y="625"/>
                </a:cubicBezTo>
                <a:cubicBezTo>
                  <a:pt x="15562" y="656"/>
                  <a:pt x="15531" y="719"/>
                  <a:pt x="15500" y="750"/>
                </a:cubicBezTo>
                <a:cubicBezTo>
                  <a:pt x="15500" y="781"/>
                  <a:pt x="15500" y="781"/>
                  <a:pt x="15500" y="781"/>
                </a:cubicBezTo>
                <a:cubicBezTo>
                  <a:pt x="15468" y="844"/>
                  <a:pt x="15500" y="875"/>
                  <a:pt x="15531" y="875"/>
                </a:cubicBezTo>
                <a:cubicBezTo>
                  <a:pt x="15562" y="875"/>
                  <a:pt x="15562" y="875"/>
                  <a:pt x="15562" y="875"/>
                </a:cubicBezTo>
                <a:cubicBezTo>
                  <a:pt x="15625" y="875"/>
                  <a:pt x="15687" y="875"/>
                  <a:pt x="15718" y="875"/>
                </a:cubicBezTo>
                <a:cubicBezTo>
                  <a:pt x="15718" y="906"/>
                  <a:pt x="15687" y="937"/>
                  <a:pt x="15687" y="937"/>
                </a:cubicBezTo>
                <a:cubicBezTo>
                  <a:pt x="15656" y="969"/>
                  <a:pt x="15656" y="969"/>
                  <a:pt x="15656" y="969"/>
                </a:cubicBezTo>
                <a:cubicBezTo>
                  <a:pt x="15625" y="1000"/>
                  <a:pt x="15625" y="1000"/>
                  <a:pt x="15625" y="1000"/>
                </a:cubicBezTo>
                <a:cubicBezTo>
                  <a:pt x="15593" y="1031"/>
                  <a:pt x="15531" y="1062"/>
                  <a:pt x="15468" y="1062"/>
                </a:cubicBezTo>
                <a:cubicBezTo>
                  <a:pt x="15406" y="1062"/>
                  <a:pt x="15375" y="1062"/>
                  <a:pt x="15343" y="1031"/>
                </a:cubicBezTo>
                <a:cubicBezTo>
                  <a:pt x="15312" y="1031"/>
                  <a:pt x="15281" y="1031"/>
                  <a:pt x="15281" y="1031"/>
                </a:cubicBezTo>
                <a:cubicBezTo>
                  <a:pt x="15250" y="1000"/>
                  <a:pt x="15218" y="1000"/>
                  <a:pt x="15187" y="969"/>
                </a:cubicBezTo>
                <a:cubicBezTo>
                  <a:pt x="15187" y="969"/>
                  <a:pt x="15187" y="969"/>
                  <a:pt x="15218" y="969"/>
                </a:cubicBezTo>
                <a:cubicBezTo>
                  <a:pt x="15218" y="969"/>
                  <a:pt x="15218" y="969"/>
                  <a:pt x="15218" y="969"/>
                </a:cubicBezTo>
                <a:cubicBezTo>
                  <a:pt x="15250" y="937"/>
                  <a:pt x="15250" y="937"/>
                  <a:pt x="15250" y="906"/>
                </a:cubicBezTo>
                <a:cubicBezTo>
                  <a:pt x="15218" y="906"/>
                  <a:pt x="15218" y="906"/>
                  <a:pt x="15218" y="906"/>
                </a:cubicBezTo>
                <a:cubicBezTo>
                  <a:pt x="15218" y="906"/>
                  <a:pt x="15187" y="906"/>
                  <a:pt x="15187" y="906"/>
                </a:cubicBezTo>
                <a:cubicBezTo>
                  <a:pt x="15156" y="906"/>
                  <a:pt x="15156" y="906"/>
                  <a:pt x="15156" y="937"/>
                </a:cubicBezTo>
                <a:cubicBezTo>
                  <a:pt x="15156" y="937"/>
                  <a:pt x="15156" y="937"/>
                  <a:pt x="15156" y="937"/>
                </a:cubicBezTo>
                <a:cubicBezTo>
                  <a:pt x="14968" y="906"/>
                  <a:pt x="14875" y="1000"/>
                  <a:pt x="14843" y="1062"/>
                </a:cubicBezTo>
                <a:cubicBezTo>
                  <a:pt x="14812" y="1094"/>
                  <a:pt x="14781" y="1125"/>
                  <a:pt x="14718" y="1156"/>
                </a:cubicBezTo>
                <a:cubicBezTo>
                  <a:pt x="14718" y="1156"/>
                  <a:pt x="14687" y="1156"/>
                  <a:pt x="14656" y="1156"/>
                </a:cubicBezTo>
                <a:cubicBezTo>
                  <a:pt x="14625" y="1156"/>
                  <a:pt x="14593" y="1156"/>
                  <a:pt x="14562" y="1125"/>
                </a:cubicBezTo>
                <a:cubicBezTo>
                  <a:pt x="14531" y="1125"/>
                  <a:pt x="14531" y="1125"/>
                  <a:pt x="14500" y="1125"/>
                </a:cubicBezTo>
                <a:cubicBezTo>
                  <a:pt x="14437" y="1094"/>
                  <a:pt x="14406" y="1094"/>
                  <a:pt x="14343" y="1094"/>
                </a:cubicBezTo>
                <a:cubicBezTo>
                  <a:pt x="14281" y="1094"/>
                  <a:pt x="14250" y="1094"/>
                  <a:pt x="14187" y="1094"/>
                </a:cubicBezTo>
                <a:cubicBezTo>
                  <a:pt x="14187" y="1094"/>
                  <a:pt x="14156" y="1094"/>
                  <a:pt x="14125" y="1094"/>
                </a:cubicBezTo>
                <a:cubicBezTo>
                  <a:pt x="14000" y="1094"/>
                  <a:pt x="13875" y="1094"/>
                  <a:pt x="13750" y="1094"/>
                </a:cubicBezTo>
                <a:cubicBezTo>
                  <a:pt x="13625" y="1094"/>
                  <a:pt x="13500" y="1094"/>
                  <a:pt x="13375" y="1094"/>
                </a:cubicBezTo>
                <a:cubicBezTo>
                  <a:pt x="12937" y="1125"/>
                  <a:pt x="12500" y="1156"/>
                  <a:pt x="12062" y="1156"/>
                </a:cubicBezTo>
                <a:cubicBezTo>
                  <a:pt x="12031" y="1156"/>
                  <a:pt x="12000" y="1156"/>
                  <a:pt x="11968" y="1187"/>
                </a:cubicBezTo>
                <a:cubicBezTo>
                  <a:pt x="11437" y="1219"/>
                  <a:pt x="10937" y="1281"/>
                  <a:pt x="10437" y="1344"/>
                </a:cubicBezTo>
                <a:cubicBezTo>
                  <a:pt x="10250" y="1375"/>
                  <a:pt x="10093" y="1375"/>
                  <a:pt x="9906" y="1406"/>
                </a:cubicBezTo>
                <a:cubicBezTo>
                  <a:pt x="9750" y="1437"/>
                  <a:pt x="9562" y="1469"/>
                  <a:pt x="9406" y="1500"/>
                </a:cubicBezTo>
                <a:cubicBezTo>
                  <a:pt x="9312" y="1500"/>
                  <a:pt x="9218" y="1531"/>
                  <a:pt x="9125" y="1531"/>
                </a:cubicBezTo>
                <a:cubicBezTo>
                  <a:pt x="9000" y="1562"/>
                  <a:pt x="8875" y="1594"/>
                  <a:pt x="8750" y="1625"/>
                </a:cubicBezTo>
                <a:cubicBezTo>
                  <a:pt x="8593" y="1656"/>
                  <a:pt x="8468" y="1687"/>
                  <a:pt x="8343" y="1719"/>
                </a:cubicBezTo>
                <a:cubicBezTo>
                  <a:pt x="8187" y="1750"/>
                  <a:pt x="8031" y="1781"/>
                  <a:pt x="7875" y="1812"/>
                </a:cubicBezTo>
                <a:cubicBezTo>
                  <a:pt x="7468" y="1875"/>
                  <a:pt x="7093" y="1937"/>
                  <a:pt x="6687" y="2031"/>
                </a:cubicBezTo>
                <a:cubicBezTo>
                  <a:pt x="6625" y="2062"/>
                  <a:pt x="6531" y="2062"/>
                  <a:pt x="6468" y="2094"/>
                </a:cubicBezTo>
                <a:cubicBezTo>
                  <a:pt x="6375" y="2125"/>
                  <a:pt x="6281" y="2125"/>
                  <a:pt x="6218" y="2156"/>
                </a:cubicBezTo>
                <a:cubicBezTo>
                  <a:pt x="5875" y="2250"/>
                  <a:pt x="5531" y="2344"/>
                  <a:pt x="5218" y="2437"/>
                </a:cubicBezTo>
                <a:cubicBezTo>
                  <a:pt x="5031" y="2500"/>
                  <a:pt x="4875" y="2531"/>
                  <a:pt x="4718" y="2594"/>
                </a:cubicBezTo>
                <a:cubicBezTo>
                  <a:pt x="4625" y="2625"/>
                  <a:pt x="4562" y="2656"/>
                  <a:pt x="4468" y="2656"/>
                </a:cubicBezTo>
                <a:cubicBezTo>
                  <a:pt x="4406" y="2687"/>
                  <a:pt x="4343" y="2719"/>
                  <a:pt x="4281" y="2719"/>
                </a:cubicBezTo>
                <a:cubicBezTo>
                  <a:pt x="4156" y="2719"/>
                  <a:pt x="4031" y="2719"/>
                  <a:pt x="3937" y="2750"/>
                </a:cubicBezTo>
                <a:cubicBezTo>
                  <a:pt x="3625" y="2844"/>
                  <a:pt x="3343" y="2937"/>
                  <a:pt x="3031" y="3062"/>
                </a:cubicBezTo>
                <a:cubicBezTo>
                  <a:pt x="3000" y="3062"/>
                  <a:pt x="2968" y="3094"/>
                  <a:pt x="2937" y="3094"/>
                </a:cubicBezTo>
                <a:cubicBezTo>
                  <a:pt x="2906" y="3125"/>
                  <a:pt x="2937" y="3156"/>
                  <a:pt x="3000" y="3187"/>
                </a:cubicBezTo>
                <a:cubicBezTo>
                  <a:pt x="3031" y="3219"/>
                  <a:pt x="3031" y="3219"/>
                  <a:pt x="3062" y="3250"/>
                </a:cubicBezTo>
                <a:cubicBezTo>
                  <a:pt x="3093" y="3250"/>
                  <a:pt x="3093" y="3250"/>
                  <a:pt x="3125" y="3250"/>
                </a:cubicBezTo>
                <a:cubicBezTo>
                  <a:pt x="3156" y="3250"/>
                  <a:pt x="3156" y="3250"/>
                  <a:pt x="3156" y="3250"/>
                </a:cubicBezTo>
                <a:cubicBezTo>
                  <a:pt x="3187" y="3250"/>
                  <a:pt x="3187" y="3250"/>
                  <a:pt x="3187" y="3250"/>
                </a:cubicBezTo>
                <a:cubicBezTo>
                  <a:pt x="3218" y="3250"/>
                  <a:pt x="3218" y="3250"/>
                  <a:pt x="3218" y="3250"/>
                </a:cubicBezTo>
                <a:cubicBezTo>
                  <a:pt x="3312" y="3250"/>
                  <a:pt x="3343" y="3187"/>
                  <a:pt x="3343" y="3125"/>
                </a:cubicBezTo>
                <a:cubicBezTo>
                  <a:pt x="3343" y="3125"/>
                  <a:pt x="3343" y="3125"/>
                  <a:pt x="3343" y="3125"/>
                </a:cubicBezTo>
                <a:cubicBezTo>
                  <a:pt x="3343" y="3094"/>
                  <a:pt x="3343" y="3062"/>
                  <a:pt x="3406" y="3062"/>
                </a:cubicBezTo>
                <a:cubicBezTo>
                  <a:pt x="3406" y="3062"/>
                  <a:pt x="3406" y="3062"/>
                  <a:pt x="3406" y="3062"/>
                </a:cubicBezTo>
                <a:cubicBezTo>
                  <a:pt x="3406" y="3062"/>
                  <a:pt x="3437" y="3062"/>
                  <a:pt x="3437" y="3062"/>
                </a:cubicBezTo>
                <a:cubicBezTo>
                  <a:pt x="3500" y="3062"/>
                  <a:pt x="3500" y="3125"/>
                  <a:pt x="3500" y="3156"/>
                </a:cubicBezTo>
                <a:cubicBezTo>
                  <a:pt x="3500" y="3187"/>
                  <a:pt x="3468" y="3187"/>
                  <a:pt x="3468" y="3219"/>
                </a:cubicBezTo>
                <a:cubicBezTo>
                  <a:pt x="3437" y="3281"/>
                  <a:pt x="3375" y="3312"/>
                  <a:pt x="3312" y="3344"/>
                </a:cubicBezTo>
                <a:cubicBezTo>
                  <a:pt x="3281" y="3344"/>
                  <a:pt x="3281" y="3344"/>
                  <a:pt x="3250" y="3344"/>
                </a:cubicBezTo>
                <a:cubicBezTo>
                  <a:pt x="3218" y="3375"/>
                  <a:pt x="3187" y="3375"/>
                  <a:pt x="3156" y="3375"/>
                </a:cubicBezTo>
                <a:cubicBezTo>
                  <a:pt x="3093" y="3375"/>
                  <a:pt x="3031" y="3344"/>
                  <a:pt x="2968" y="3312"/>
                </a:cubicBezTo>
                <a:cubicBezTo>
                  <a:pt x="2968" y="3312"/>
                  <a:pt x="2937" y="3312"/>
                  <a:pt x="2937" y="3312"/>
                </a:cubicBezTo>
                <a:cubicBezTo>
                  <a:pt x="2875" y="3219"/>
                  <a:pt x="2812" y="3219"/>
                  <a:pt x="2718" y="3219"/>
                </a:cubicBezTo>
                <a:cubicBezTo>
                  <a:pt x="2656" y="3187"/>
                  <a:pt x="2562" y="3219"/>
                  <a:pt x="2500" y="3281"/>
                </a:cubicBezTo>
                <a:cubicBezTo>
                  <a:pt x="2406" y="3312"/>
                  <a:pt x="2312" y="3344"/>
                  <a:pt x="2218" y="3375"/>
                </a:cubicBezTo>
                <a:cubicBezTo>
                  <a:pt x="2187" y="3406"/>
                  <a:pt x="2156" y="3406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125" y="3437"/>
                  <a:pt x="2125" y="3437"/>
                  <a:pt x="2125" y="3437"/>
                </a:cubicBezTo>
                <a:cubicBezTo>
                  <a:pt x="2062" y="3469"/>
                  <a:pt x="2031" y="3469"/>
                  <a:pt x="1968" y="3500"/>
                </a:cubicBezTo>
                <a:cubicBezTo>
                  <a:pt x="1906" y="3500"/>
                  <a:pt x="1875" y="3531"/>
                  <a:pt x="1843" y="3531"/>
                </a:cubicBezTo>
                <a:cubicBezTo>
                  <a:pt x="1781" y="3531"/>
                  <a:pt x="1750" y="3562"/>
                  <a:pt x="1718" y="3562"/>
                </a:cubicBezTo>
                <a:cubicBezTo>
                  <a:pt x="1687" y="3594"/>
                  <a:pt x="1656" y="3625"/>
                  <a:pt x="1625" y="3625"/>
                </a:cubicBezTo>
                <a:cubicBezTo>
                  <a:pt x="1593" y="3656"/>
                  <a:pt x="1562" y="3687"/>
                  <a:pt x="1531" y="3687"/>
                </a:cubicBezTo>
                <a:cubicBezTo>
                  <a:pt x="1531" y="3687"/>
                  <a:pt x="1531" y="3687"/>
                  <a:pt x="1531" y="3719"/>
                </a:cubicBezTo>
                <a:cubicBezTo>
                  <a:pt x="1500" y="3719"/>
                  <a:pt x="1500" y="3719"/>
                  <a:pt x="1468" y="3719"/>
                </a:cubicBezTo>
                <a:cubicBezTo>
                  <a:pt x="1468" y="3750"/>
                  <a:pt x="1468" y="3750"/>
                  <a:pt x="1437" y="3750"/>
                </a:cubicBezTo>
                <a:cubicBezTo>
                  <a:pt x="1437" y="3781"/>
                  <a:pt x="1437" y="3781"/>
                  <a:pt x="1437" y="3781"/>
                </a:cubicBezTo>
                <a:cubicBezTo>
                  <a:pt x="1468" y="3781"/>
                  <a:pt x="1468" y="3812"/>
                  <a:pt x="1468" y="3812"/>
                </a:cubicBezTo>
                <a:cubicBezTo>
                  <a:pt x="1500" y="3812"/>
                  <a:pt x="1500" y="3812"/>
                  <a:pt x="1531" y="3812"/>
                </a:cubicBezTo>
                <a:cubicBezTo>
                  <a:pt x="1531" y="3812"/>
                  <a:pt x="1531" y="3812"/>
                  <a:pt x="1531" y="3812"/>
                </a:cubicBezTo>
                <a:cubicBezTo>
                  <a:pt x="1562" y="3812"/>
                  <a:pt x="1625" y="3781"/>
                  <a:pt x="1656" y="3750"/>
                </a:cubicBezTo>
                <a:cubicBezTo>
                  <a:pt x="1687" y="3750"/>
                  <a:pt x="1718" y="3719"/>
                  <a:pt x="1718" y="3719"/>
                </a:cubicBezTo>
                <a:cubicBezTo>
                  <a:pt x="1750" y="3719"/>
                  <a:pt x="1750" y="3687"/>
                  <a:pt x="1781" y="3687"/>
                </a:cubicBezTo>
                <a:cubicBezTo>
                  <a:pt x="1781" y="3719"/>
                  <a:pt x="1781" y="3719"/>
                  <a:pt x="1812" y="3719"/>
                </a:cubicBezTo>
                <a:cubicBezTo>
                  <a:pt x="1812" y="3750"/>
                  <a:pt x="1812" y="3750"/>
                  <a:pt x="1843" y="3781"/>
                </a:cubicBezTo>
                <a:cubicBezTo>
                  <a:pt x="1843" y="3781"/>
                  <a:pt x="1875" y="3812"/>
                  <a:pt x="1875" y="3812"/>
                </a:cubicBezTo>
                <a:cubicBezTo>
                  <a:pt x="1937" y="3875"/>
                  <a:pt x="2000" y="3969"/>
                  <a:pt x="1812" y="4062"/>
                </a:cubicBezTo>
                <a:cubicBezTo>
                  <a:pt x="1812" y="4062"/>
                  <a:pt x="1843" y="4062"/>
                  <a:pt x="1875" y="4031"/>
                </a:cubicBezTo>
                <a:cubicBezTo>
                  <a:pt x="1875" y="4031"/>
                  <a:pt x="1875" y="4031"/>
                  <a:pt x="1906" y="4031"/>
                </a:cubicBezTo>
                <a:cubicBezTo>
                  <a:pt x="1937" y="4031"/>
                  <a:pt x="1968" y="4031"/>
                  <a:pt x="1968" y="4031"/>
                </a:cubicBezTo>
                <a:cubicBezTo>
                  <a:pt x="2031" y="4031"/>
                  <a:pt x="2062" y="4000"/>
                  <a:pt x="2093" y="4000"/>
                </a:cubicBezTo>
                <a:cubicBezTo>
                  <a:pt x="2156" y="4000"/>
                  <a:pt x="2218" y="4000"/>
                  <a:pt x="2281" y="4031"/>
                </a:cubicBezTo>
                <a:cubicBezTo>
                  <a:pt x="2281" y="4062"/>
                  <a:pt x="2312" y="4094"/>
                  <a:pt x="2343" y="4094"/>
                </a:cubicBezTo>
                <a:cubicBezTo>
                  <a:pt x="2343" y="4125"/>
                  <a:pt x="2343" y="4187"/>
                  <a:pt x="2343" y="4219"/>
                </a:cubicBezTo>
                <a:cubicBezTo>
                  <a:pt x="2312" y="4250"/>
                  <a:pt x="2281" y="4281"/>
                  <a:pt x="2218" y="4312"/>
                </a:cubicBezTo>
                <a:cubicBezTo>
                  <a:pt x="2187" y="4344"/>
                  <a:pt x="2156" y="4344"/>
                  <a:pt x="2125" y="4375"/>
                </a:cubicBezTo>
                <a:cubicBezTo>
                  <a:pt x="2031" y="4375"/>
                  <a:pt x="1968" y="4375"/>
                  <a:pt x="1937" y="4344"/>
                </a:cubicBezTo>
                <a:cubicBezTo>
                  <a:pt x="1875" y="4344"/>
                  <a:pt x="1843" y="4312"/>
                  <a:pt x="1812" y="4250"/>
                </a:cubicBezTo>
                <a:cubicBezTo>
                  <a:pt x="1812" y="4250"/>
                  <a:pt x="1812" y="4219"/>
                  <a:pt x="1812" y="4219"/>
                </a:cubicBezTo>
                <a:cubicBezTo>
                  <a:pt x="1750" y="4156"/>
                  <a:pt x="1593" y="4094"/>
                  <a:pt x="1468" y="4062"/>
                </a:cubicBezTo>
                <a:cubicBezTo>
                  <a:pt x="1437" y="4062"/>
                  <a:pt x="1437" y="4031"/>
                  <a:pt x="1406" y="4031"/>
                </a:cubicBezTo>
                <a:cubicBezTo>
                  <a:pt x="1406" y="4062"/>
                  <a:pt x="1375" y="4062"/>
                  <a:pt x="1375" y="4062"/>
                </a:cubicBezTo>
                <a:cubicBezTo>
                  <a:pt x="1375" y="4094"/>
                  <a:pt x="1375" y="4125"/>
                  <a:pt x="1343" y="4156"/>
                </a:cubicBezTo>
                <a:cubicBezTo>
                  <a:pt x="1343" y="4187"/>
                  <a:pt x="1312" y="4219"/>
                  <a:pt x="1312" y="4250"/>
                </a:cubicBezTo>
                <a:cubicBezTo>
                  <a:pt x="1312" y="4250"/>
                  <a:pt x="1312" y="4281"/>
                  <a:pt x="1343" y="4281"/>
                </a:cubicBezTo>
                <a:cubicBezTo>
                  <a:pt x="1343" y="4312"/>
                  <a:pt x="1343" y="4312"/>
                  <a:pt x="1343" y="4312"/>
                </a:cubicBezTo>
                <a:cubicBezTo>
                  <a:pt x="1343" y="4344"/>
                  <a:pt x="1343" y="4375"/>
                  <a:pt x="1343" y="4406"/>
                </a:cubicBezTo>
                <a:cubicBezTo>
                  <a:pt x="1343" y="4406"/>
                  <a:pt x="1343" y="4437"/>
                  <a:pt x="1343" y="4437"/>
                </a:cubicBezTo>
                <a:cubicBezTo>
                  <a:pt x="1343" y="4500"/>
                  <a:pt x="1312" y="4531"/>
                  <a:pt x="1312" y="4562"/>
                </a:cubicBezTo>
                <a:cubicBezTo>
                  <a:pt x="1312" y="4594"/>
                  <a:pt x="1343" y="4625"/>
                  <a:pt x="1406" y="4656"/>
                </a:cubicBezTo>
                <a:cubicBezTo>
                  <a:pt x="1437" y="4750"/>
                  <a:pt x="1468" y="4812"/>
                  <a:pt x="1531" y="4875"/>
                </a:cubicBezTo>
                <a:cubicBezTo>
                  <a:pt x="1562" y="4906"/>
                  <a:pt x="1625" y="4969"/>
                  <a:pt x="1656" y="5000"/>
                </a:cubicBezTo>
                <a:cubicBezTo>
                  <a:pt x="1718" y="5031"/>
                  <a:pt x="1781" y="5062"/>
                  <a:pt x="1843" y="5062"/>
                </a:cubicBezTo>
                <a:cubicBezTo>
                  <a:pt x="1875" y="5094"/>
                  <a:pt x="1937" y="5094"/>
                  <a:pt x="1968" y="5094"/>
                </a:cubicBezTo>
                <a:cubicBezTo>
                  <a:pt x="2000" y="5125"/>
                  <a:pt x="2031" y="5156"/>
                  <a:pt x="2062" y="5156"/>
                </a:cubicBezTo>
                <a:cubicBezTo>
                  <a:pt x="2062" y="5156"/>
                  <a:pt x="2093" y="5156"/>
                  <a:pt x="2093" y="5187"/>
                </a:cubicBezTo>
                <a:cubicBezTo>
                  <a:pt x="2125" y="5187"/>
                  <a:pt x="2187" y="5187"/>
                  <a:pt x="2218" y="5187"/>
                </a:cubicBezTo>
                <a:cubicBezTo>
                  <a:pt x="2250" y="5187"/>
                  <a:pt x="2312" y="5187"/>
                  <a:pt x="2343" y="5187"/>
                </a:cubicBezTo>
                <a:cubicBezTo>
                  <a:pt x="2343" y="5187"/>
                  <a:pt x="2375" y="5187"/>
                  <a:pt x="2375" y="5187"/>
                </a:cubicBezTo>
                <a:cubicBezTo>
                  <a:pt x="2375" y="5187"/>
                  <a:pt x="2406" y="5187"/>
                  <a:pt x="2406" y="5187"/>
                </a:cubicBezTo>
                <a:cubicBezTo>
                  <a:pt x="2406" y="5187"/>
                  <a:pt x="2406" y="5187"/>
                  <a:pt x="2437" y="5187"/>
                </a:cubicBezTo>
                <a:cubicBezTo>
                  <a:pt x="2437" y="5187"/>
                  <a:pt x="2437" y="5187"/>
                  <a:pt x="2437" y="5187"/>
                </a:cubicBezTo>
                <a:cubicBezTo>
                  <a:pt x="2437" y="5187"/>
                  <a:pt x="2437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468" y="5187"/>
                  <a:pt x="2468" y="5187"/>
                </a:cubicBezTo>
                <a:cubicBezTo>
                  <a:pt x="2468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00" y="5187"/>
                </a:cubicBezTo>
                <a:cubicBezTo>
                  <a:pt x="2500" y="5187"/>
                  <a:pt x="2500" y="5187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19"/>
                </a:cubicBezTo>
                <a:cubicBezTo>
                  <a:pt x="2531" y="5219"/>
                  <a:pt x="2531" y="5219"/>
                  <a:pt x="2531" y="5250"/>
                </a:cubicBezTo>
                <a:cubicBezTo>
                  <a:pt x="2531" y="5250"/>
                  <a:pt x="2531" y="5250"/>
                  <a:pt x="2531" y="5250"/>
                </a:cubicBezTo>
                <a:cubicBezTo>
                  <a:pt x="2531" y="5250"/>
                  <a:pt x="2531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50"/>
                  <a:pt x="2562" y="5250"/>
                </a:cubicBezTo>
                <a:cubicBezTo>
                  <a:pt x="2562" y="5250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62" y="5281"/>
                  <a:pt x="2562" y="5281"/>
                  <a:pt x="2562" y="5281"/>
                </a:cubicBezTo>
                <a:cubicBezTo>
                  <a:pt x="2531" y="5281"/>
                  <a:pt x="2531" y="5281"/>
                  <a:pt x="2531" y="5281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12"/>
                  <a:pt x="2531" y="5312"/>
                  <a:pt x="2531" y="5312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00" y="5344"/>
                  <a:pt x="2468" y="5344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12"/>
                </a:cubicBezTo>
                <a:cubicBezTo>
                  <a:pt x="2437" y="5312"/>
                  <a:pt x="2437" y="5312"/>
                  <a:pt x="2437" y="5344"/>
                </a:cubicBezTo>
                <a:cubicBezTo>
                  <a:pt x="2437" y="5344"/>
                  <a:pt x="2437" y="5344"/>
                  <a:pt x="2406" y="5344"/>
                </a:cubicBezTo>
                <a:cubicBezTo>
                  <a:pt x="2406" y="5344"/>
                  <a:pt x="2406" y="5344"/>
                  <a:pt x="2406" y="5344"/>
                </a:cubicBezTo>
                <a:cubicBezTo>
                  <a:pt x="2406" y="5344"/>
                  <a:pt x="2437" y="5344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37" y="5375"/>
                  <a:pt x="2437" y="5375"/>
                  <a:pt x="2437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468" y="5375"/>
                  <a:pt x="2468" y="5375"/>
                </a:cubicBezTo>
                <a:cubicBezTo>
                  <a:pt x="2468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00" y="5375"/>
                  <a:pt x="2500" y="5375"/>
                </a:cubicBezTo>
                <a:cubicBezTo>
                  <a:pt x="2500" y="5375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531" y="5344"/>
                  <a:pt x="2531" y="5344"/>
                  <a:pt x="2531" y="5344"/>
                </a:cubicBezTo>
                <a:cubicBezTo>
                  <a:pt x="2625" y="5344"/>
                  <a:pt x="2687" y="5312"/>
                  <a:pt x="2750" y="5312"/>
                </a:cubicBezTo>
                <a:cubicBezTo>
                  <a:pt x="2750" y="5312"/>
                  <a:pt x="2750" y="5312"/>
                  <a:pt x="2750" y="5312"/>
                </a:cubicBezTo>
                <a:cubicBezTo>
                  <a:pt x="2750" y="5312"/>
                  <a:pt x="2750" y="5312"/>
                  <a:pt x="2781" y="5312"/>
                </a:cubicBezTo>
                <a:cubicBezTo>
                  <a:pt x="2781" y="5312"/>
                  <a:pt x="2781" y="5312"/>
                  <a:pt x="2781" y="5312"/>
                </a:cubicBezTo>
                <a:cubicBezTo>
                  <a:pt x="2781" y="5312"/>
                  <a:pt x="2812" y="5312"/>
                  <a:pt x="2812" y="5312"/>
                </a:cubicBezTo>
                <a:cubicBezTo>
                  <a:pt x="2812" y="5312"/>
                  <a:pt x="2812" y="5312"/>
                  <a:pt x="2812" y="5312"/>
                </a:cubicBezTo>
                <a:cubicBezTo>
                  <a:pt x="2812" y="5312"/>
                  <a:pt x="2781" y="5344"/>
                  <a:pt x="2781" y="5344"/>
                </a:cubicBezTo>
                <a:cubicBezTo>
                  <a:pt x="2687" y="5437"/>
                  <a:pt x="2531" y="5500"/>
                  <a:pt x="2406" y="5594"/>
                </a:cubicBezTo>
                <a:cubicBezTo>
                  <a:pt x="2250" y="5687"/>
                  <a:pt x="2062" y="5812"/>
                  <a:pt x="1875" y="5906"/>
                </a:cubicBezTo>
                <a:cubicBezTo>
                  <a:pt x="1812" y="5937"/>
                  <a:pt x="1750" y="5969"/>
                  <a:pt x="1718" y="6000"/>
                </a:cubicBezTo>
                <a:cubicBezTo>
                  <a:pt x="1218" y="6312"/>
                  <a:pt x="750" y="6594"/>
                  <a:pt x="312" y="6906"/>
                </a:cubicBezTo>
                <a:cubicBezTo>
                  <a:pt x="281" y="6937"/>
                  <a:pt x="250" y="6969"/>
                  <a:pt x="218" y="7000"/>
                </a:cubicBezTo>
                <a:cubicBezTo>
                  <a:pt x="93" y="7094"/>
                  <a:pt x="31" y="7219"/>
                  <a:pt x="0" y="7344"/>
                </a:cubicBezTo>
                <a:cubicBezTo>
                  <a:pt x="0" y="7406"/>
                  <a:pt x="0" y="7500"/>
                  <a:pt x="62" y="7625"/>
                </a:cubicBezTo>
                <a:cubicBezTo>
                  <a:pt x="93" y="7719"/>
                  <a:pt x="125" y="7781"/>
                  <a:pt x="125" y="7875"/>
                </a:cubicBezTo>
                <a:cubicBezTo>
                  <a:pt x="156" y="7937"/>
                  <a:pt x="156" y="8000"/>
                  <a:pt x="218" y="8062"/>
                </a:cubicBezTo>
                <a:cubicBezTo>
                  <a:pt x="250" y="8094"/>
                  <a:pt x="281" y="8094"/>
                  <a:pt x="312" y="8125"/>
                </a:cubicBezTo>
                <a:cubicBezTo>
                  <a:pt x="343" y="8156"/>
                  <a:pt x="375" y="8156"/>
                  <a:pt x="437" y="8187"/>
                </a:cubicBezTo>
                <a:cubicBezTo>
                  <a:pt x="531" y="8219"/>
                  <a:pt x="625" y="8219"/>
                  <a:pt x="687" y="8219"/>
                </a:cubicBezTo>
                <a:cubicBezTo>
                  <a:pt x="812" y="8219"/>
                  <a:pt x="937" y="8187"/>
                  <a:pt x="1062" y="8125"/>
                </a:cubicBezTo>
                <a:cubicBezTo>
                  <a:pt x="1062" y="8094"/>
                  <a:pt x="1093" y="8094"/>
                  <a:pt x="1093" y="8094"/>
                </a:cubicBezTo>
                <a:cubicBezTo>
                  <a:pt x="1156" y="8062"/>
                  <a:pt x="1218" y="8062"/>
                  <a:pt x="1281" y="8094"/>
                </a:cubicBezTo>
                <a:cubicBezTo>
                  <a:pt x="1312" y="8094"/>
                  <a:pt x="1343" y="8094"/>
                  <a:pt x="1406" y="8094"/>
                </a:cubicBezTo>
                <a:cubicBezTo>
                  <a:pt x="1375" y="8156"/>
                  <a:pt x="1406" y="8187"/>
                  <a:pt x="1468" y="8250"/>
                </a:cubicBezTo>
                <a:cubicBezTo>
                  <a:pt x="1500" y="8250"/>
                  <a:pt x="1500" y="8281"/>
                  <a:pt x="1531" y="8281"/>
                </a:cubicBezTo>
                <a:cubicBezTo>
                  <a:pt x="1531" y="8312"/>
                  <a:pt x="1562" y="8312"/>
                  <a:pt x="1562" y="8344"/>
                </a:cubicBezTo>
                <a:cubicBezTo>
                  <a:pt x="1562" y="8437"/>
                  <a:pt x="1625" y="8469"/>
                  <a:pt x="1718" y="8469"/>
                </a:cubicBezTo>
                <a:cubicBezTo>
                  <a:pt x="1750" y="8469"/>
                  <a:pt x="1750" y="8469"/>
                  <a:pt x="1781" y="8469"/>
                </a:cubicBezTo>
                <a:cubicBezTo>
                  <a:pt x="1781" y="8469"/>
                  <a:pt x="1812" y="8469"/>
                  <a:pt x="1843" y="8437"/>
                </a:cubicBezTo>
                <a:cubicBezTo>
                  <a:pt x="1843" y="8437"/>
                  <a:pt x="1875" y="8437"/>
                  <a:pt x="1906" y="8437"/>
                </a:cubicBezTo>
                <a:cubicBezTo>
                  <a:pt x="1906" y="8437"/>
                  <a:pt x="1906" y="8437"/>
                  <a:pt x="1937" y="8437"/>
                </a:cubicBezTo>
                <a:cubicBezTo>
                  <a:pt x="1968" y="8437"/>
                  <a:pt x="1968" y="8437"/>
                  <a:pt x="2000" y="8500"/>
                </a:cubicBezTo>
                <a:cubicBezTo>
                  <a:pt x="2031" y="8531"/>
                  <a:pt x="2031" y="8562"/>
                  <a:pt x="2062" y="8594"/>
                </a:cubicBezTo>
                <a:cubicBezTo>
                  <a:pt x="2062" y="8625"/>
                  <a:pt x="2093" y="8656"/>
                  <a:pt x="2125" y="8687"/>
                </a:cubicBezTo>
                <a:cubicBezTo>
                  <a:pt x="2156" y="8750"/>
                  <a:pt x="2250" y="8781"/>
                  <a:pt x="2343" y="8844"/>
                </a:cubicBezTo>
                <a:cubicBezTo>
                  <a:pt x="2406" y="8844"/>
                  <a:pt x="2437" y="8875"/>
                  <a:pt x="2468" y="8875"/>
                </a:cubicBezTo>
                <a:cubicBezTo>
                  <a:pt x="2468" y="8875"/>
                  <a:pt x="2468" y="8875"/>
                  <a:pt x="2500" y="8875"/>
                </a:cubicBezTo>
                <a:cubicBezTo>
                  <a:pt x="2500" y="8844"/>
                  <a:pt x="2531" y="8844"/>
                  <a:pt x="2562" y="8844"/>
                </a:cubicBezTo>
                <a:cubicBezTo>
                  <a:pt x="2593" y="8812"/>
                  <a:pt x="2656" y="8781"/>
                  <a:pt x="2718" y="8781"/>
                </a:cubicBezTo>
                <a:cubicBezTo>
                  <a:pt x="2718" y="8781"/>
                  <a:pt x="2750" y="8781"/>
                  <a:pt x="2750" y="8812"/>
                </a:cubicBezTo>
                <a:cubicBezTo>
                  <a:pt x="2781" y="8812"/>
                  <a:pt x="2781" y="8812"/>
                  <a:pt x="2812" y="8812"/>
                </a:cubicBezTo>
                <a:cubicBezTo>
                  <a:pt x="2875" y="8844"/>
                  <a:pt x="2906" y="8875"/>
                  <a:pt x="2906" y="8906"/>
                </a:cubicBezTo>
                <a:cubicBezTo>
                  <a:pt x="2906" y="8906"/>
                  <a:pt x="2875" y="8906"/>
                  <a:pt x="2875" y="8937"/>
                </a:cubicBezTo>
                <a:cubicBezTo>
                  <a:pt x="2812" y="8937"/>
                  <a:pt x="2781" y="8969"/>
                  <a:pt x="2750" y="9000"/>
                </a:cubicBezTo>
                <a:cubicBezTo>
                  <a:pt x="2750" y="9000"/>
                  <a:pt x="2718" y="9031"/>
                  <a:pt x="2718" y="9031"/>
                </a:cubicBezTo>
                <a:cubicBezTo>
                  <a:pt x="2718" y="9031"/>
                  <a:pt x="2718" y="9031"/>
                  <a:pt x="2718" y="9031"/>
                </a:cubicBezTo>
                <a:cubicBezTo>
                  <a:pt x="2687" y="9031"/>
                  <a:pt x="2687" y="9062"/>
                  <a:pt x="2687" y="9062"/>
                </a:cubicBezTo>
                <a:cubicBezTo>
                  <a:pt x="2687" y="9094"/>
                  <a:pt x="2687" y="9094"/>
                  <a:pt x="2687" y="9094"/>
                </a:cubicBezTo>
                <a:cubicBezTo>
                  <a:pt x="2687" y="9094"/>
                  <a:pt x="2718" y="9094"/>
                  <a:pt x="2718" y="9094"/>
                </a:cubicBezTo>
                <a:cubicBezTo>
                  <a:pt x="2718" y="9094"/>
                  <a:pt x="2718" y="9094"/>
                  <a:pt x="2718" y="9125"/>
                </a:cubicBezTo>
                <a:cubicBezTo>
                  <a:pt x="2750" y="9125"/>
                  <a:pt x="2750" y="9125"/>
                  <a:pt x="2750" y="9125"/>
                </a:cubicBezTo>
                <a:cubicBezTo>
                  <a:pt x="2750" y="9125"/>
                  <a:pt x="2781" y="9125"/>
                  <a:pt x="2781" y="9125"/>
                </a:cubicBezTo>
                <a:cubicBezTo>
                  <a:pt x="2812" y="9094"/>
                  <a:pt x="2812" y="9094"/>
                  <a:pt x="2812" y="9062"/>
                </a:cubicBezTo>
                <a:cubicBezTo>
                  <a:pt x="2843" y="9031"/>
                  <a:pt x="2843" y="9031"/>
                  <a:pt x="2875" y="9000"/>
                </a:cubicBezTo>
                <a:cubicBezTo>
                  <a:pt x="2906" y="9000"/>
                  <a:pt x="2906" y="9000"/>
                  <a:pt x="2937" y="9000"/>
                </a:cubicBezTo>
                <a:cubicBezTo>
                  <a:pt x="2968" y="9000"/>
                  <a:pt x="2968" y="9000"/>
                  <a:pt x="2968" y="9000"/>
                </a:cubicBezTo>
                <a:cubicBezTo>
                  <a:pt x="3000" y="9000"/>
                  <a:pt x="3000" y="9000"/>
                  <a:pt x="3000" y="9000"/>
                </a:cubicBezTo>
                <a:cubicBezTo>
                  <a:pt x="3093" y="9000"/>
                  <a:pt x="3093" y="8937"/>
                  <a:pt x="3093" y="8875"/>
                </a:cubicBezTo>
                <a:cubicBezTo>
                  <a:pt x="3093" y="8875"/>
                  <a:pt x="3093" y="8875"/>
                  <a:pt x="3093" y="8875"/>
                </a:cubicBezTo>
                <a:cubicBezTo>
                  <a:pt x="3125" y="8875"/>
                  <a:pt x="3125" y="8875"/>
                  <a:pt x="3156" y="8875"/>
                </a:cubicBezTo>
                <a:cubicBezTo>
                  <a:pt x="3187" y="8875"/>
                  <a:pt x="3218" y="8844"/>
                  <a:pt x="3281" y="8844"/>
                </a:cubicBezTo>
                <a:cubicBezTo>
                  <a:pt x="3312" y="8844"/>
                  <a:pt x="3343" y="8812"/>
                  <a:pt x="3375" y="8812"/>
                </a:cubicBezTo>
                <a:cubicBezTo>
                  <a:pt x="3375" y="8812"/>
                  <a:pt x="3406" y="8812"/>
                  <a:pt x="3406" y="8844"/>
                </a:cubicBezTo>
                <a:cubicBezTo>
                  <a:pt x="3437" y="8875"/>
                  <a:pt x="3437" y="8875"/>
                  <a:pt x="3406" y="8906"/>
                </a:cubicBezTo>
                <a:cubicBezTo>
                  <a:pt x="3406" y="8937"/>
                  <a:pt x="3406" y="8937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75" y="8969"/>
                  <a:pt x="3375" y="8969"/>
                  <a:pt x="3375" y="8969"/>
                </a:cubicBezTo>
                <a:cubicBezTo>
                  <a:pt x="3343" y="8969"/>
                  <a:pt x="3281" y="8969"/>
                  <a:pt x="3250" y="8969"/>
                </a:cubicBezTo>
                <a:cubicBezTo>
                  <a:pt x="3218" y="8969"/>
                  <a:pt x="3218" y="8969"/>
                  <a:pt x="3187" y="8969"/>
                </a:cubicBezTo>
                <a:cubicBezTo>
                  <a:pt x="3156" y="9000"/>
                  <a:pt x="3156" y="9094"/>
                  <a:pt x="3125" y="9125"/>
                </a:cubicBezTo>
                <a:cubicBezTo>
                  <a:pt x="3125" y="9156"/>
                  <a:pt x="3125" y="9156"/>
                  <a:pt x="3125" y="9156"/>
                </a:cubicBezTo>
                <a:cubicBezTo>
                  <a:pt x="3125" y="9156"/>
                  <a:pt x="3093" y="9156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187"/>
                  <a:pt x="3093" y="9187"/>
                  <a:pt x="3093" y="9187"/>
                </a:cubicBezTo>
                <a:cubicBezTo>
                  <a:pt x="3093" y="9219"/>
                  <a:pt x="3093" y="9219"/>
                  <a:pt x="3093" y="9219"/>
                </a:cubicBezTo>
                <a:cubicBezTo>
                  <a:pt x="3125" y="9219"/>
                  <a:pt x="3125" y="9219"/>
                  <a:pt x="3125" y="9219"/>
                </a:cubicBezTo>
                <a:cubicBezTo>
                  <a:pt x="3125" y="9219"/>
                  <a:pt x="3125" y="9219"/>
                  <a:pt x="3156" y="9219"/>
                </a:cubicBezTo>
                <a:cubicBezTo>
                  <a:pt x="3156" y="9219"/>
                  <a:pt x="3156" y="9219"/>
                  <a:pt x="3156" y="9219"/>
                </a:cubicBezTo>
                <a:cubicBezTo>
                  <a:pt x="3187" y="9219"/>
                  <a:pt x="3218" y="9187"/>
                  <a:pt x="3250" y="9156"/>
                </a:cubicBezTo>
                <a:cubicBezTo>
                  <a:pt x="3281" y="9156"/>
                  <a:pt x="3250" y="9125"/>
                  <a:pt x="3250" y="9094"/>
                </a:cubicBezTo>
                <a:cubicBezTo>
                  <a:pt x="3250" y="9094"/>
                  <a:pt x="3250" y="9062"/>
                  <a:pt x="3250" y="9062"/>
                </a:cubicBezTo>
                <a:cubicBezTo>
                  <a:pt x="3281" y="9062"/>
                  <a:pt x="3281" y="9000"/>
                  <a:pt x="3343" y="9000"/>
                </a:cubicBezTo>
                <a:cubicBezTo>
                  <a:pt x="3343" y="9000"/>
                  <a:pt x="3375" y="9000"/>
                  <a:pt x="3375" y="9000"/>
                </a:cubicBezTo>
                <a:cubicBezTo>
                  <a:pt x="3437" y="9000"/>
                  <a:pt x="3437" y="9031"/>
                  <a:pt x="3437" y="9062"/>
                </a:cubicBezTo>
                <a:cubicBezTo>
                  <a:pt x="3437" y="9062"/>
                  <a:pt x="3437" y="9062"/>
                  <a:pt x="3437" y="9062"/>
                </a:cubicBezTo>
                <a:cubicBezTo>
                  <a:pt x="3437" y="9062"/>
                  <a:pt x="3437" y="9094"/>
                  <a:pt x="3437" y="9094"/>
                </a:cubicBezTo>
                <a:cubicBezTo>
                  <a:pt x="3468" y="9187"/>
                  <a:pt x="3343" y="9219"/>
                  <a:pt x="3281" y="9281"/>
                </a:cubicBezTo>
                <a:cubicBezTo>
                  <a:pt x="3468" y="9281"/>
                  <a:pt x="3468" y="9312"/>
                  <a:pt x="3375" y="9375"/>
                </a:cubicBezTo>
                <a:cubicBezTo>
                  <a:pt x="3343" y="9406"/>
                  <a:pt x="3312" y="9406"/>
                  <a:pt x="3281" y="9437"/>
                </a:cubicBezTo>
                <a:cubicBezTo>
                  <a:pt x="3250" y="9437"/>
                  <a:pt x="3218" y="9437"/>
                  <a:pt x="3218" y="9469"/>
                </a:cubicBezTo>
                <a:cubicBezTo>
                  <a:pt x="3218" y="9469"/>
                  <a:pt x="3187" y="9469"/>
                  <a:pt x="3187" y="9500"/>
                </a:cubicBezTo>
                <a:cubicBezTo>
                  <a:pt x="3187" y="9500"/>
                  <a:pt x="3187" y="9500"/>
                  <a:pt x="3187" y="9500"/>
                </a:cubicBezTo>
                <a:cubicBezTo>
                  <a:pt x="3187" y="9500"/>
                  <a:pt x="3218" y="9531"/>
                  <a:pt x="3218" y="9562"/>
                </a:cubicBezTo>
                <a:cubicBezTo>
                  <a:pt x="3250" y="9562"/>
                  <a:pt x="3281" y="9562"/>
                  <a:pt x="3312" y="9594"/>
                </a:cubicBezTo>
                <a:cubicBezTo>
                  <a:pt x="3312" y="9594"/>
                  <a:pt x="3312" y="9594"/>
                  <a:pt x="3312" y="9594"/>
                </a:cubicBezTo>
                <a:cubicBezTo>
                  <a:pt x="3312" y="9594"/>
                  <a:pt x="3281" y="9625"/>
                  <a:pt x="3281" y="9625"/>
                </a:cubicBezTo>
                <a:cubicBezTo>
                  <a:pt x="3250" y="9625"/>
                  <a:pt x="3250" y="9656"/>
                  <a:pt x="3250" y="9656"/>
                </a:cubicBezTo>
                <a:cubicBezTo>
                  <a:pt x="3250" y="9687"/>
                  <a:pt x="3218" y="9687"/>
                  <a:pt x="3218" y="9719"/>
                </a:cubicBezTo>
                <a:cubicBezTo>
                  <a:pt x="3187" y="9719"/>
                  <a:pt x="3187" y="9719"/>
                  <a:pt x="3156" y="9719"/>
                </a:cubicBezTo>
                <a:cubicBezTo>
                  <a:pt x="3125" y="9719"/>
                  <a:pt x="3125" y="9719"/>
                  <a:pt x="3125" y="9719"/>
                </a:cubicBezTo>
                <a:cubicBezTo>
                  <a:pt x="3093" y="9719"/>
                  <a:pt x="3125" y="9750"/>
                  <a:pt x="3125" y="9781"/>
                </a:cubicBezTo>
                <a:cubicBezTo>
                  <a:pt x="3125" y="9781"/>
                  <a:pt x="3125" y="9781"/>
                  <a:pt x="3125" y="9781"/>
                </a:cubicBezTo>
                <a:cubicBezTo>
                  <a:pt x="3156" y="9812"/>
                  <a:pt x="3187" y="9812"/>
                  <a:pt x="3218" y="9812"/>
                </a:cubicBezTo>
                <a:cubicBezTo>
                  <a:pt x="3250" y="9812"/>
                  <a:pt x="3250" y="9812"/>
                  <a:pt x="3281" y="9812"/>
                </a:cubicBezTo>
                <a:cubicBezTo>
                  <a:pt x="3281" y="9812"/>
                  <a:pt x="3281" y="9812"/>
                  <a:pt x="3312" y="9781"/>
                </a:cubicBezTo>
                <a:cubicBezTo>
                  <a:pt x="3343" y="9781"/>
                  <a:pt x="3375" y="9750"/>
                  <a:pt x="3406" y="9750"/>
                </a:cubicBezTo>
                <a:cubicBezTo>
                  <a:pt x="3437" y="9750"/>
                  <a:pt x="3437" y="9750"/>
                  <a:pt x="3468" y="9781"/>
                </a:cubicBezTo>
                <a:cubicBezTo>
                  <a:pt x="3468" y="9781"/>
                  <a:pt x="3500" y="9781"/>
                  <a:pt x="3500" y="9781"/>
                </a:cubicBezTo>
                <a:cubicBezTo>
                  <a:pt x="3531" y="9781"/>
                  <a:pt x="3531" y="9781"/>
                  <a:pt x="3562" y="9812"/>
                </a:cubicBezTo>
                <a:cubicBezTo>
                  <a:pt x="3562" y="9812"/>
                  <a:pt x="3593" y="9812"/>
                  <a:pt x="3593" y="9812"/>
                </a:cubicBezTo>
                <a:cubicBezTo>
                  <a:pt x="3625" y="9875"/>
                  <a:pt x="3593" y="9906"/>
                  <a:pt x="3562" y="9937"/>
                </a:cubicBezTo>
                <a:cubicBezTo>
                  <a:pt x="3562" y="9969"/>
                  <a:pt x="3562" y="9969"/>
                  <a:pt x="3562" y="10000"/>
                </a:cubicBezTo>
                <a:cubicBezTo>
                  <a:pt x="3562" y="10000"/>
                  <a:pt x="3562" y="10000"/>
                  <a:pt x="3562" y="10000"/>
                </a:cubicBezTo>
                <a:cubicBezTo>
                  <a:pt x="3562" y="10031"/>
                  <a:pt x="3531" y="10031"/>
                  <a:pt x="3531" y="10031"/>
                </a:cubicBezTo>
                <a:cubicBezTo>
                  <a:pt x="3531" y="10031"/>
                  <a:pt x="3531" y="10031"/>
                  <a:pt x="3531" y="10031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500" y="10062"/>
                  <a:pt x="3500" y="10062"/>
                  <a:pt x="3500" y="10062"/>
                </a:cubicBezTo>
                <a:cubicBezTo>
                  <a:pt x="3468" y="10062"/>
                  <a:pt x="3468" y="10094"/>
                  <a:pt x="3437" y="10094"/>
                </a:cubicBezTo>
                <a:cubicBezTo>
                  <a:pt x="3437" y="10094"/>
                  <a:pt x="3437" y="10094"/>
                  <a:pt x="3437" y="10094"/>
                </a:cubicBezTo>
                <a:cubicBezTo>
                  <a:pt x="3375" y="10125"/>
                  <a:pt x="3312" y="10156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18" y="10187"/>
                  <a:pt x="3218" y="10187"/>
                  <a:pt x="3218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187"/>
                  <a:pt x="3250" y="10187"/>
                  <a:pt x="3250" y="10187"/>
                </a:cubicBezTo>
                <a:cubicBezTo>
                  <a:pt x="3250" y="10219"/>
                  <a:pt x="3250" y="10281"/>
                  <a:pt x="3250" y="10312"/>
                </a:cubicBezTo>
                <a:cubicBezTo>
                  <a:pt x="3187" y="10406"/>
                  <a:pt x="3062" y="10500"/>
                  <a:pt x="2906" y="10562"/>
                </a:cubicBezTo>
                <a:cubicBezTo>
                  <a:pt x="2875" y="10562"/>
                  <a:pt x="2875" y="10562"/>
                  <a:pt x="2875" y="10562"/>
                </a:cubicBezTo>
                <a:cubicBezTo>
                  <a:pt x="2843" y="10562"/>
                  <a:pt x="2843" y="10562"/>
                  <a:pt x="2843" y="10562"/>
                </a:cubicBezTo>
                <a:cubicBezTo>
                  <a:pt x="2812" y="10594"/>
                  <a:pt x="2812" y="10594"/>
                  <a:pt x="2812" y="10594"/>
                </a:cubicBezTo>
                <a:cubicBezTo>
                  <a:pt x="2812" y="10594"/>
                  <a:pt x="2812" y="10594"/>
                  <a:pt x="2843" y="10594"/>
                </a:cubicBezTo>
                <a:cubicBezTo>
                  <a:pt x="2937" y="10656"/>
                  <a:pt x="2843" y="10687"/>
                  <a:pt x="2843" y="10750"/>
                </a:cubicBezTo>
                <a:cubicBezTo>
                  <a:pt x="2812" y="10750"/>
                  <a:pt x="2812" y="10750"/>
                  <a:pt x="2812" y="10750"/>
                </a:cubicBezTo>
                <a:cubicBezTo>
                  <a:pt x="2812" y="10812"/>
                  <a:pt x="2812" y="10875"/>
                  <a:pt x="2781" y="10937"/>
                </a:cubicBezTo>
                <a:cubicBezTo>
                  <a:pt x="2781" y="10969"/>
                  <a:pt x="2812" y="10969"/>
                  <a:pt x="2812" y="11000"/>
                </a:cubicBezTo>
                <a:cubicBezTo>
                  <a:pt x="2812" y="11031"/>
                  <a:pt x="2812" y="11031"/>
                  <a:pt x="2843" y="11031"/>
                </a:cubicBezTo>
                <a:cubicBezTo>
                  <a:pt x="2843" y="11062"/>
                  <a:pt x="2843" y="11062"/>
                  <a:pt x="2875" y="11062"/>
                </a:cubicBezTo>
                <a:cubicBezTo>
                  <a:pt x="3093" y="11219"/>
                  <a:pt x="3062" y="11344"/>
                  <a:pt x="3000" y="11469"/>
                </a:cubicBezTo>
                <a:cubicBezTo>
                  <a:pt x="2968" y="11531"/>
                  <a:pt x="2968" y="11562"/>
                  <a:pt x="2937" y="11594"/>
                </a:cubicBezTo>
                <a:cubicBezTo>
                  <a:pt x="2937" y="11594"/>
                  <a:pt x="2906" y="11625"/>
                  <a:pt x="2906" y="11656"/>
                </a:cubicBezTo>
                <a:cubicBezTo>
                  <a:pt x="2875" y="11750"/>
                  <a:pt x="2843" y="11844"/>
                  <a:pt x="2875" y="11937"/>
                </a:cubicBezTo>
                <a:cubicBezTo>
                  <a:pt x="2937" y="12031"/>
                  <a:pt x="3093" y="12125"/>
                  <a:pt x="3343" y="12156"/>
                </a:cubicBezTo>
                <a:cubicBezTo>
                  <a:pt x="3406" y="12187"/>
                  <a:pt x="3437" y="12187"/>
                  <a:pt x="3500" y="12187"/>
                </a:cubicBezTo>
                <a:cubicBezTo>
                  <a:pt x="3500" y="12219"/>
                  <a:pt x="3531" y="12219"/>
                  <a:pt x="3531" y="12219"/>
                </a:cubicBezTo>
                <a:cubicBezTo>
                  <a:pt x="3593" y="12219"/>
                  <a:pt x="3656" y="12250"/>
                  <a:pt x="3718" y="12219"/>
                </a:cubicBezTo>
                <a:cubicBezTo>
                  <a:pt x="3750" y="12219"/>
                  <a:pt x="3781" y="12219"/>
                  <a:pt x="3843" y="12219"/>
                </a:cubicBezTo>
                <a:cubicBezTo>
                  <a:pt x="3875" y="12219"/>
                  <a:pt x="3906" y="12187"/>
                  <a:pt x="3937" y="12187"/>
                </a:cubicBezTo>
                <a:cubicBezTo>
                  <a:pt x="4125" y="12125"/>
                  <a:pt x="4281" y="12031"/>
                  <a:pt x="4500" y="12031"/>
                </a:cubicBezTo>
                <a:cubicBezTo>
                  <a:pt x="4562" y="12031"/>
                  <a:pt x="4625" y="12031"/>
                  <a:pt x="4656" y="12031"/>
                </a:cubicBezTo>
                <a:cubicBezTo>
                  <a:pt x="4781" y="12031"/>
                  <a:pt x="4906" y="12000"/>
                  <a:pt x="5031" y="11969"/>
                </a:cubicBezTo>
                <a:cubicBezTo>
                  <a:pt x="5062" y="11969"/>
                  <a:pt x="5093" y="11969"/>
                  <a:pt x="5125" y="11937"/>
                </a:cubicBezTo>
                <a:cubicBezTo>
                  <a:pt x="5125" y="11937"/>
                  <a:pt x="5156" y="11937"/>
                  <a:pt x="5156" y="11937"/>
                </a:cubicBezTo>
                <a:cubicBezTo>
                  <a:pt x="5187" y="11937"/>
                  <a:pt x="5218" y="11937"/>
                  <a:pt x="5218" y="11906"/>
                </a:cubicBezTo>
                <a:cubicBezTo>
                  <a:pt x="5281" y="11875"/>
                  <a:pt x="5312" y="11844"/>
                  <a:pt x="5343" y="11781"/>
                </a:cubicBezTo>
                <a:cubicBezTo>
                  <a:pt x="5343" y="11719"/>
                  <a:pt x="5375" y="11625"/>
                  <a:pt x="5468" y="11594"/>
                </a:cubicBezTo>
                <a:cubicBezTo>
                  <a:pt x="5468" y="11594"/>
                  <a:pt x="5468" y="11594"/>
                  <a:pt x="5468" y="11594"/>
                </a:cubicBezTo>
                <a:cubicBezTo>
                  <a:pt x="5531" y="11562"/>
                  <a:pt x="5562" y="11562"/>
                  <a:pt x="5562" y="11562"/>
                </a:cubicBezTo>
                <a:cubicBezTo>
                  <a:pt x="5593" y="11531"/>
                  <a:pt x="5593" y="11531"/>
                  <a:pt x="5593" y="11531"/>
                </a:cubicBezTo>
                <a:cubicBezTo>
                  <a:pt x="5562" y="11500"/>
                  <a:pt x="5562" y="11469"/>
                  <a:pt x="5500" y="11469"/>
                </a:cubicBezTo>
                <a:cubicBezTo>
                  <a:pt x="5500" y="11469"/>
                  <a:pt x="5500" y="11469"/>
                  <a:pt x="5500" y="11469"/>
                </a:cubicBezTo>
                <a:cubicBezTo>
                  <a:pt x="5468" y="11469"/>
                  <a:pt x="5468" y="11469"/>
                  <a:pt x="5468" y="11469"/>
                </a:cubicBezTo>
                <a:cubicBezTo>
                  <a:pt x="5437" y="11469"/>
                  <a:pt x="5437" y="11469"/>
                  <a:pt x="5406" y="11469"/>
                </a:cubicBezTo>
                <a:cubicBezTo>
                  <a:pt x="5375" y="11469"/>
                  <a:pt x="5375" y="11437"/>
                  <a:pt x="5375" y="11406"/>
                </a:cubicBezTo>
                <a:cubicBezTo>
                  <a:pt x="5343" y="11406"/>
                  <a:pt x="5343" y="11406"/>
                  <a:pt x="5343" y="11375"/>
                </a:cubicBezTo>
                <a:cubicBezTo>
                  <a:pt x="5375" y="11344"/>
                  <a:pt x="5500" y="11281"/>
                  <a:pt x="5500" y="11250"/>
                </a:cubicBezTo>
                <a:cubicBezTo>
                  <a:pt x="5500" y="11250"/>
                  <a:pt x="5531" y="11250"/>
                  <a:pt x="5531" y="11219"/>
                </a:cubicBezTo>
                <a:cubicBezTo>
                  <a:pt x="5531" y="11219"/>
                  <a:pt x="5531" y="11219"/>
                  <a:pt x="5531" y="11219"/>
                </a:cubicBezTo>
                <a:cubicBezTo>
                  <a:pt x="5656" y="11219"/>
                  <a:pt x="5781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50"/>
                  <a:pt x="5906" y="11250"/>
                  <a:pt x="5906" y="11250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06" y="11281"/>
                  <a:pt x="5906" y="11281"/>
                  <a:pt x="5906" y="11281"/>
                </a:cubicBezTo>
                <a:cubicBezTo>
                  <a:pt x="5937" y="11344"/>
                  <a:pt x="6062" y="11375"/>
                  <a:pt x="6000" y="11469"/>
                </a:cubicBezTo>
                <a:cubicBezTo>
                  <a:pt x="6000" y="11469"/>
                  <a:pt x="5968" y="11469"/>
                  <a:pt x="5968" y="11469"/>
                </a:cubicBezTo>
                <a:cubicBezTo>
                  <a:pt x="5968" y="11469"/>
                  <a:pt x="5968" y="11469"/>
                  <a:pt x="5968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37" y="11469"/>
                  <a:pt x="5937" y="11469"/>
                </a:cubicBezTo>
                <a:cubicBezTo>
                  <a:pt x="5937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469"/>
                </a:cubicBezTo>
                <a:cubicBezTo>
                  <a:pt x="5906" y="11469"/>
                  <a:pt x="5906" y="11469"/>
                  <a:pt x="5906" y="11500"/>
                </a:cubicBezTo>
                <a:cubicBezTo>
                  <a:pt x="5906" y="11500"/>
                  <a:pt x="5906" y="11500"/>
                  <a:pt x="5906" y="11500"/>
                </a:cubicBezTo>
                <a:cubicBezTo>
                  <a:pt x="5906" y="11500"/>
                  <a:pt x="5875" y="11500"/>
                  <a:pt x="5875" y="11500"/>
                </a:cubicBezTo>
                <a:cubicBezTo>
                  <a:pt x="5875" y="11500"/>
                  <a:pt x="5875" y="11500"/>
                  <a:pt x="5875" y="11500"/>
                </a:cubicBezTo>
                <a:cubicBezTo>
                  <a:pt x="5875" y="11500"/>
                  <a:pt x="5875" y="11531"/>
                  <a:pt x="5906" y="11531"/>
                </a:cubicBezTo>
                <a:cubicBezTo>
                  <a:pt x="5906" y="11531"/>
                  <a:pt x="5906" y="11531"/>
                  <a:pt x="5906" y="11531"/>
                </a:cubicBezTo>
                <a:cubicBezTo>
                  <a:pt x="5906" y="11625"/>
                  <a:pt x="5843" y="11750"/>
                  <a:pt x="5843" y="11844"/>
                </a:cubicBezTo>
                <a:cubicBezTo>
                  <a:pt x="5843" y="11844"/>
                  <a:pt x="5843" y="11844"/>
                  <a:pt x="5875" y="11875"/>
                </a:cubicBezTo>
                <a:cubicBezTo>
                  <a:pt x="5875" y="11906"/>
                  <a:pt x="5906" y="11906"/>
                  <a:pt x="5937" y="11937"/>
                </a:cubicBezTo>
                <a:cubicBezTo>
                  <a:pt x="5968" y="11969"/>
                  <a:pt x="6031" y="11969"/>
                  <a:pt x="6062" y="11969"/>
                </a:cubicBezTo>
                <a:cubicBezTo>
                  <a:pt x="6062" y="11969"/>
                  <a:pt x="6062" y="12000"/>
                  <a:pt x="6093" y="12000"/>
                </a:cubicBezTo>
                <a:cubicBezTo>
                  <a:pt x="6093" y="12000"/>
                  <a:pt x="6093" y="12000"/>
                  <a:pt x="6093" y="12031"/>
                </a:cubicBezTo>
                <a:cubicBezTo>
                  <a:pt x="6093" y="12062"/>
                  <a:pt x="6125" y="12094"/>
                  <a:pt x="6187" y="12125"/>
                </a:cubicBezTo>
                <a:cubicBezTo>
                  <a:pt x="6218" y="12156"/>
                  <a:pt x="6281" y="12187"/>
                  <a:pt x="6343" y="12219"/>
                </a:cubicBezTo>
                <a:cubicBezTo>
                  <a:pt x="6343" y="12187"/>
                  <a:pt x="6343" y="12156"/>
                  <a:pt x="6375" y="12125"/>
                </a:cubicBezTo>
                <a:cubicBezTo>
                  <a:pt x="6406" y="12094"/>
                  <a:pt x="6468" y="12062"/>
                  <a:pt x="6531" y="12031"/>
                </a:cubicBezTo>
                <a:cubicBezTo>
                  <a:pt x="6562" y="12062"/>
                  <a:pt x="6593" y="12062"/>
                  <a:pt x="6625" y="12062"/>
                </a:cubicBezTo>
                <a:cubicBezTo>
                  <a:pt x="6625" y="12094"/>
                  <a:pt x="6625" y="12125"/>
                  <a:pt x="6625" y="12156"/>
                </a:cubicBezTo>
                <a:cubicBezTo>
                  <a:pt x="6656" y="12250"/>
                  <a:pt x="6718" y="12344"/>
                  <a:pt x="6843" y="12375"/>
                </a:cubicBezTo>
                <a:cubicBezTo>
                  <a:pt x="6875" y="12406"/>
                  <a:pt x="6875" y="12406"/>
                  <a:pt x="6906" y="12406"/>
                </a:cubicBezTo>
                <a:cubicBezTo>
                  <a:pt x="6968" y="12406"/>
                  <a:pt x="7031" y="12437"/>
                  <a:pt x="7093" y="12437"/>
                </a:cubicBezTo>
                <a:cubicBezTo>
                  <a:pt x="7187" y="12469"/>
                  <a:pt x="7312" y="12500"/>
                  <a:pt x="7406" y="12500"/>
                </a:cubicBezTo>
                <a:cubicBezTo>
                  <a:pt x="7437" y="12500"/>
                  <a:pt x="7437" y="12500"/>
                  <a:pt x="7468" y="12500"/>
                </a:cubicBezTo>
                <a:cubicBezTo>
                  <a:pt x="7625" y="12500"/>
                  <a:pt x="7750" y="12469"/>
                  <a:pt x="7906" y="12375"/>
                </a:cubicBezTo>
                <a:cubicBezTo>
                  <a:pt x="7906" y="12344"/>
                  <a:pt x="7937" y="12344"/>
                  <a:pt x="7937" y="12344"/>
                </a:cubicBezTo>
                <a:cubicBezTo>
                  <a:pt x="7968" y="12344"/>
                  <a:pt x="7968" y="12344"/>
                  <a:pt x="8000" y="12344"/>
                </a:cubicBezTo>
                <a:cubicBezTo>
                  <a:pt x="8000" y="12312"/>
                  <a:pt x="8031" y="12312"/>
                  <a:pt x="8062" y="12312"/>
                </a:cubicBezTo>
                <a:cubicBezTo>
                  <a:pt x="8062" y="12312"/>
                  <a:pt x="8062" y="12312"/>
                  <a:pt x="8093" y="12312"/>
                </a:cubicBezTo>
                <a:cubicBezTo>
                  <a:pt x="8125" y="12312"/>
                  <a:pt x="8125" y="12312"/>
                  <a:pt x="8156" y="12312"/>
                </a:cubicBezTo>
                <a:cubicBezTo>
                  <a:pt x="8218" y="12312"/>
                  <a:pt x="8250" y="12312"/>
                  <a:pt x="8281" y="12344"/>
                </a:cubicBezTo>
                <a:cubicBezTo>
                  <a:pt x="8312" y="12344"/>
                  <a:pt x="8312" y="12375"/>
                  <a:pt x="8312" y="12406"/>
                </a:cubicBezTo>
                <a:cubicBezTo>
                  <a:pt x="8312" y="12531"/>
                  <a:pt x="8437" y="12562"/>
                  <a:pt x="8562" y="12625"/>
                </a:cubicBezTo>
                <a:cubicBezTo>
                  <a:pt x="8593" y="12656"/>
                  <a:pt x="8656" y="12687"/>
                  <a:pt x="8687" y="12687"/>
                </a:cubicBezTo>
                <a:cubicBezTo>
                  <a:pt x="8718" y="12687"/>
                  <a:pt x="8750" y="12687"/>
                  <a:pt x="8812" y="12687"/>
                </a:cubicBezTo>
                <a:cubicBezTo>
                  <a:pt x="8812" y="12687"/>
                  <a:pt x="8843" y="12687"/>
                  <a:pt x="8875" y="12687"/>
                </a:cubicBezTo>
                <a:cubicBezTo>
                  <a:pt x="9187" y="12625"/>
                  <a:pt x="9468" y="12562"/>
                  <a:pt x="9781" y="12469"/>
                </a:cubicBezTo>
                <a:cubicBezTo>
                  <a:pt x="9812" y="12469"/>
                  <a:pt x="9875" y="12437"/>
                  <a:pt x="9937" y="12437"/>
                </a:cubicBezTo>
                <a:cubicBezTo>
                  <a:pt x="9968" y="12406"/>
                  <a:pt x="10031" y="12406"/>
                  <a:pt x="10062" y="12375"/>
                </a:cubicBezTo>
                <a:cubicBezTo>
                  <a:pt x="10187" y="12344"/>
                  <a:pt x="10281" y="12312"/>
                  <a:pt x="10375" y="12281"/>
                </a:cubicBezTo>
                <a:cubicBezTo>
                  <a:pt x="10406" y="12281"/>
                  <a:pt x="10468" y="12281"/>
                  <a:pt x="10500" y="12281"/>
                </a:cubicBezTo>
                <a:cubicBezTo>
                  <a:pt x="10500" y="12312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31" y="12344"/>
                  <a:pt x="10531" y="12344"/>
                  <a:pt x="10531" y="12344"/>
                </a:cubicBezTo>
                <a:cubicBezTo>
                  <a:pt x="10562" y="12344"/>
                  <a:pt x="10593" y="12375"/>
                  <a:pt x="10625" y="12375"/>
                </a:cubicBezTo>
                <a:cubicBezTo>
                  <a:pt x="10656" y="12406"/>
                  <a:pt x="10687" y="12406"/>
                  <a:pt x="10718" y="12406"/>
                </a:cubicBezTo>
                <a:cubicBezTo>
                  <a:pt x="10718" y="12406"/>
                  <a:pt x="10718" y="12406"/>
                  <a:pt x="10750" y="12406"/>
                </a:cubicBezTo>
                <a:cubicBezTo>
                  <a:pt x="10781" y="12406"/>
                  <a:pt x="10812" y="12406"/>
                  <a:pt x="10843" y="12344"/>
                </a:cubicBezTo>
                <a:cubicBezTo>
                  <a:pt x="10875" y="12344"/>
                  <a:pt x="10906" y="12344"/>
                  <a:pt x="10906" y="12344"/>
                </a:cubicBezTo>
                <a:cubicBezTo>
                  <a:pt x="10968" y="12375"/>
                  <a:pt x="11000" y="12406"/>
                  <a:pt x="11062" y="12406"/>
                </a:cubicBezTo>
                <a:cubicBezTo>
                  <a:pt x="11062" y="12406"/>
                  <a:pt x="11093" y="12406"/>
                  <a:pt x="11125" y="12375"/>
                </a:cubicBezTo>
                <a:cubicBezTo>
                  <a:pt x="11125" y="12375"/>
                  <a:pt x="11125" y="12375"/>
                  <a:pt x="11156" y="12344"/>
                </a:cubicBezTo>
                <a:cubicBezTo>
                  <a:pt x="11156" y="12344"/>
                  <a:pt x="11156" y="12344"/>
                  <a:pt x="11156" y="12344"/>
                </a:cubicBezTo>
                <a:cubicBezTo>
                  <a:pt x="11187" y="12312"/>
                  <a:pt x="11250" y="12281"/>
                  <a:pt x="11218" y="12250"/>
                </a:cubicBezTo>
                <a:cubicBezTo>
                  <a:pt x="11187" y="12250"/>
                  <a:pt x="11187" y="12250"/>
                  <a:pt x="11156" y="12219"/>
                </a:cubicBezTo>
                <a:cubicBezTo>
                  <a:pt x="11156" y="12187"/>
                  <a:pt x="11156" y="12187"/>
                  <a:pt x="11156" y="12156"/>
                </a:cubicBezTo>
                <a:cubicBezTo>
                  <a:pt x="11218" y="12156"/>
                  <a:pt x="11250" y="12125"/>
                  <a:pt x="11312" y="12094"/>
                </a:cubicBezTo>
                <a:cubicBezTo>
                  <a:pt x="11343" y="12094"/>
                  <a:pt x="11375" y="12062"/>
                  <a:pt x="11437" y="12031"/>
                </a:cubicBezTo>
                <a:cubicBezTo>
                  <a:pt x="11562" y="11937"/>
                  <a:pt x="11687" y="11844"/>
                  <a:pt x="11875" y="11812"/>
                </a:cubicBezTo>
                <a:cubicBezTo>
                  <a:pt x="11937" y="11781"/>
                  <a:pt x="11968" y="11781"/>
                  <a:pt x="12031" y="11750"/>
                </a:cubicBezTo>
                <a:cubicBezTo>
                  <a:pt x="12062" y="11750"/>
                  <a:pt x="12093" y="11750"/>
                  <a:pt x="12093" y="11750"/>
                </a:cubicBezTo>
                <a:cubicBezTo>
                  <a:pt x="12125" y="11750"/>
                  <a:pt x="12156" y="11750"/>
                  <a:pt x="12187" y="11750"/>
                </a:cubicBezTo>
                <a:cubicBezTo>
                  <a:pt x="12218" y="11750"/>
                  <a:pt x="12250" y="11750"/>
                  <a:pt x="12312" y="11750"/>
                </a:cubicBezTo>
                <a:cubicBezTo>
                  <a:pt x="12312" y="11750"/>
                  <a:pt x="12343" y="11750"/>
                  <a:pt x="12343" y="11750"/>
                </a:cubicBezTo>
                <a:cubicBezTo>
                  <a:pt x="12375" y="11750"/>
                  <a:pt x="12406" y="11750"/>
                  <a:pt x="12406" y="11719"/>
                </a:cubicBezTo>
                <a:cubicBezTo>
                  <a:pt x="12437" y="11719"/>
                  <a:pt x="12468" y="11719"/>
                  <a:pt x="12500" y="11719"/>
                </a:cubicBezTo>
                <a:cubicBezTo>
                  <a:pt x="12500" y="11719"/>
                  <a:pt x="12500" y="11719"/>
                  <a:pt x="12531" y="11719"/>
                </a:cubicBezTo>
                <a:cubicBezTo>
                  <a:pt x="12531" y="11750"/>
                  <a:pt x="12531" y="11750"/>
                  <a:pt x="12562" y="11750"/>
                </a:cubicBezTo>
                <a:cubicBezTo>
                  <a:pt x="12562" y="11750"/>
                  <a:pt x="12593" y="11750"/>
                  <a:pt x="12593" y="11750"/>
                </a:cubicBezTo>
                <a:cubicBezTo>
                  <a:pt x="12625" y="11750"/>
                  <a:pt x="12656" y="11750"/>
                  <a:pt x="12656" y="11750"/>
                </a:cubicBezTo>
                <a:cubicBezTo>
                  <a:pt x="12687" y="11750"/>
                  <a:pt x="12687" y="11750"/>
                  <a:pt x="12718" y="11750"/>
                </a:cubicBezTo>
                <a:cubicBezTo>
                  <a:pt x="12750" y="11719"/>
                  <a:pt x="12750" y="11719"/>
                  <a:pt x="12781" y="11719"/>
                </a:cubicBezTo>
                <a:cubicBezTo>
                  <a:pt x="12781" y="11719"/>
                  <a:pt x="12781" y="11719"/>
                  <a:pt x="12781" y="11719"/>
                </a:cubicBezTo>
                <a:cubicBezTo>
                  <a:pt x="12812" y="11719"/>
                  <a:pt x="12812" y="11719"/>
                  <a:pt x="12812" y="11719"/>
                </a:cubicBezTo>
                <a:cubicBezTo>
                  <a:pt x="12812" y="11719"/>
                  <a:pt x="12812" y="11719"/>
                  <a:pt x="12843" y="11719"/>
                </a:cubicBezTo>
                <a:cubicBezTo>
                  <a:pt x="12843" y="11719"/>
                  <a:pt x="12843" y="11719"/>
                  <a:pt x="12843" y="11719"/>
                </a:cubicBezTo>
                <a:cubicBezTo>
                  <a:pt x="12875" y="11719"/>
                  <a:pt x="12906" y="11719"/>
                  <a:pt x="12906" y="11687"/>
                </a:cubicBezTo>
                <a:cubicBezTo>
                  <a:pt x="12906" y="11687"/>
                  <a:pt x="12875" y="11687"/>
                  <a:pt x="12875" y="11687"/>
                </a:cubicBezTo>
                <a:cubicBezTo>
                  <a:pt x="12843" y="11656"/>
                  <a:pt x="12812" y="11656"/>
                  <a:pt x="12781" y="11656"/>
                </a:cubicBezTo>
                <a:cubicBezTo>
                  <a:pt x="12812" y="11656"/>
                  <a:pt x="12843" y="11625"/>
                  <a:pt x="12875" y="11625"/>
                </a:cubicBezTo>
                <a:cubicBezTo>
                  <a:pt x="12906" y="11625"/>
                  <a:pt x="12937" y="11594"/>
                  <a:pt x="12968" y="11594"/>
                </a:cubicBezTo>
                <a:cubicBezTo>
                  <a:pt x="13000" y="11594"/>
                  <a:pt x="13031" y="11562"/>
                  <a:pt x="13031" y="11562"/>
                </a:cubicBezTo>
                <a:cubicBezTo>
                  <a:pt x="13093" y="11531"/>
                  <a:pt x="13125" y="11531"/>
                  <a:pt x="13156" y="11531"/>
                </a:cubicBezTo>
                <a:cubicBezTo>
                  <a:pt x="13187" y="11531"/>
                  <a:pt x="13218" y="11562"/>
                  <a:pt x="13281" y="11562"/>
                </a:cubicBezTo>
                <a:cubicBezTo>
                  <a:pt x="13281" y="11562"/>
                  <a:pt x="13281" y="11562"/>
                  <a:pt x="13281" y="11562"/>
                </a:cubicBezTo>
                <a:cubicBezTo>
                  <a:pt x="13312" y="11500"/>
                  <a:pt x="13343" y="11469"/>
                  <a:pt x="13343" y="11469"/>
                </a:cubicBezTo>
                <a:cubicBezTo>
                  <a:pt x="13343" y="11469"/>
                  <a:pt x="13375" y="11469"/>
                  <a:pt x="13375" y="11469"/>
                </a:cubicBezTo>
                <a:cubicBezTo>
                  <a:pt x="13375" y="11500"/>
                  <a:pt x="13406" y="11531"/>
                  <a:pt x="13406" y="11531"/>
                </a:cubicBezTo>
                <a:cubicBezTo>
                  <a:pt x="13406" y="11562"/>
                  <a:pt x="13406" y="11562"/>
                  <a:pt x="13437" y="11562"/>
                </a:cubicBezTo>
                <a:cubicBezTo>
                  <a:pt x="13437" y="11562"/>
                  <a:pt x="13437" y="11562"/>
                  <a:pt x="13437" y="11562"/>
                </a:cubicBezTo>
                <a:cubicBezTo>
                  <a:pt x="13468" y="11562"/>
                  <a:pt x="13468" y="11562"/>
                  <a:pt x="13500" y="11594"/>
                </a:cubicBezTo>
                <a:cubicBezTo>
                  <a:pt x="13531" y="11594"/>
                  <a:pt x="13531" y="11594"/>
                  <a:pt x="13562" y="11594"/>
                </a:cubicBezTo>
                <a:cubicBezTo>
                  <a:pt x="13750" y="11625"/>
                  <a:pt x="13875" y="11531"/>
                  <a:pt x="14062" y="11500"/>
                </a:cubicBezTo>
                <a:cubicBezTo>
                  <a:pt x="14031" y="11500"/>
                  <a:pt x="14000" y="11500"/>
                  <a:pt x="13968" y="11500"/>
                </a:cubicBezTo>
                <a:cubicBezTo>
                  <a:pt x="13937" y="11500"/>
                  <a:pt x="13937" y="11500"/>
                  <a:pt x="13906" y="11469"/>
                </a:cubicBezTo>
                <a:cubicBezTo>
                  <a:pt x="13906" y="11469"/>
                  <a:pt x="13875" y="11469"/>
                  <a:pt x="13875" y="11469"/>
                </a:cubicBezTo>
                <a:cubicBezTo>
                  <a:pt x="13843" y="11437"/>
                  <a:pt x="13843" y="11437"/>
                  <a:pt x="13812" y="11406"/>
                </a:cubicBezTo>
                <a:cubicBezTo>
                  <a:pt x="13843" y="11406"/>
                  <a:pt x="13875" y="11375"/>
                  <a:pt x="13906" y="11375"/>
                </a:cubicBezTo>
                <a:cubicBezTo>
                  <a:pt x="13968" y="11375"/>
                  <a:pt x="14031" y="11344"/>
                  <a:pt x="14093" y="11312"/>
                </a:cubicBezTo>
                <a:cubicBezTo>
                  <a:pt x="14125" y="11312"/>
                  <a:pt x="14156" y="11281"/>
                  <a:pt x="14156" y="11281"/>
                </a:cubicBezTo>
                <a:cubicBezTo>
                  <a:pt x="14187" y="11281"/>
                  <a:pt x="14187" y="11281"/>
                  <a:pt x="14187" y="11281"/>
                </a:cubicBezTo>
                <a:cubicBezTo>
                  <a:pt x="14218" y="11281"/>
                  <a:pt x="14218" y="11281"/>
                  <a:pt x="14250" y="11281"/>
                </a:cubicBezTo>
                <a:cubicBezTo>
                  <a:pt x="14312" y="11281"/>
                  <a:pt x="14375" y="11312"/>
                  <a:pt x="14406" y="11406"/>
                </a:cubicBezTo>
                <a:cubicBezTo>
                  <a:pt x="14406" y="11406"/>
                  <a:pt x="14437" y="11406"/>
                  <a:pt x="14437" y="11406"/>
                </a:cubicBezTo>
                <a:cubicBezTo>
                  <a:pt x="14437" y="11406"/>
                  <a:pt x="14437" y="11406"/>
                  <a:pt x="14437" y="11406"/>
                </a:cubicBezTo>
                <a:cubicBezTo>
                  <a:pt x="14437" y="11406"/>
                  <a:pt x="14468" y="11406"/>
                  <a:pt x="14468" y="11406"/>
                </a:cubicBezTo>
                <a:cubicBezTo>
                  <a:pt x="14468" y="11406"/>
                  <a:pt x="14500" y="11406"/>
                  <a:pt x="14500" y="11406"/>
                </a:cubicBezTo>
                <a:cubicBezTo>
                  <a:pt x="14562" y="11406"/>
                  <a:pt x="14593" y="11406"/>
                  <a:pt x="14625" y="11406"/>
                </a:cubicBezTo>
                <a:cubicBezTo>
                  <a:pt x="14656" y="11406"/>
                  <a:pt x="14687" y="11406"/>
                  <a:pt x="14718" y="11406"/>
                </a:cubicBezTo>
                <a:cubicBezTo>
                  <a:pt x="14781" y="11406"/>
                  <a:pt x="14812" y="11406"/>
                  <a:pt x="14843" y="11375"/>
                </a:cubicBezTo>
                <a:cubicBezTo>
                  <a:pt x="14968" y="11281"/>
                  <a:pt x="15125" y="11281"/>
                  <a:pt x="15281" y="11219"/>
                </a:cubicBezTo>
                <a:cubicBezTo>
                  <a:pt x="15468" y="11156"/>
                  <a:pt x="15625" y="11062"/>
                  <a:pt x="15812" y="11031"/>
                </a:cubicBezTo>
                <a:cubicBezTo>
                  <a:pt x="15843" y="11000"/>
                  <a:pt x="15875" y="11000"/>
                  <a:pt x="15937" y="11000"/>
                </a:cubicBezTo>
                <a:cubicBezTo>
                  <a:pt x="15968" y="10969"/>
                  <a:pt x="16000" y="10969"/>
                  <a:pt x="16031" y="10969"/>
                </a:cubicBezTo>
                <a:cubicBezTo>
                  <a:pt x="16093" y="10969"/>
                  <a:pt x="16156" y="10937"/>
                  <a:pt x="16218" y="10937"/>
                </a:cubicBezTo>
                <a:cubicBezTo>
                  <a:pt x="16687" y="10844"/>
                  <a:pt x="17187" y="10750"/>
                  <a:pt x="17687" y="10750"/>
                </a:cubicBezTo>
                <a:cubicBezTo>
                  <a:pt x="18031" y="10781"/>
                  <a:pt x="18343" y="10719"/>
                  <a:pt x="18625" y="10656"/>
                </a:cubicBezTo>
                <a:cubicBezTo>
                  <a:pt x="18718" y="10625"/>
                  <a:pt x="18812" y="10594"/>
                  <a:pt x="18906" y="10594"/>
                </a:cubicBezTo>
                <a:cubicBezTo>
                  <a:pt x="18937" y="10562"/>
                  <a:pt x="18968" y="10562"/>
                  <a:pt x="19000" y="10562"/>
                </a:cubicBezTo>
                <a:cubicBezTo>
                  <a:pt x="19062" y="10562"/>
                  <a:pt x="19125" y="10531"/>
                  <a:pt x="19187" y="10531"/>
                </a:cubicBezTo>
                <a:cubicBezTo>
                  <a:pt x="19187" y="10531"/>
                  <a:pt x="19218" y="10531"/>
                  <a:pt x="19218" y="10531"/>
                </a:cubicBezTo>
                <a:cubicBezTo>
                  <a:pt x="19281" y="10531"/>
                  <a:pt x="19343" y="10500"/>
                  <a:pt x="19406" y="10469"/>
                </a:cubicBezTo>
                <a:cubicBezTo>
                  <a:pt x="19406" y="10469"/>
                  <a:pt x="19406" y="10469"/>
                  <a:pt x="19406" y="10469"/>
                </a:cubicBezTo>
                <a:cubicBezTo>
                  <a:pt x="19375" y="10437"/>
                  <a:pt x="19343" y="10437"/>
                  <a:pt x="19281" y="10406"/>
                </a:cubicBezTo>
                <a:cubicBezTo>
                  <a:pt x="19250" y="10406"/>
                  <a:pt x="19187" y="10406"/>
                  <a:pt x="19156" y="10406"/>
                </a:cubicBezTo>
                <a:cubicBezTo>
                  <a:pt x="19125" y="10406"/>
                  <a:pt x="19093" y="10406"/>
                  <a:pt x="19062" y="10375"/>
                </a:cubicBezTo>
                <a:cubicBezTo>
                  <a:pt x="19093" y="10375"/>
                  <a:pt x="19125" y="10375"/>
                  <a:pt x="19125" y="10375"/>
                </a:cubicBezTo>
                <a:cubicBezTo>
                  <a:pt x="19156" y="10375"/>
                  <a:pt x="19156" y="10375"/>
                  <a:pt x="19156" y="10375"/>
                </a:cubicBezTo>
                <a:cubicBezTo>
                  <a:pt x="19187" y="10344"/>
                  <a:pt x="19187" y="10344"/>
                  <a:pt x="19187" y="10344"/>
                </a:cubicBezTo>
                <a:cubicBezTo>
                  <a:pt x="19187" y="10344"/>
                  <a:pt x="19187" y="10312"/>
                  <a:pt x="19156" y="10312"/>
                </a:cubicBezTo>
                <a:cubicBezTo>
                  <a:pt x="19156" y="10281"/>
                  <a:pt x="19093" y="10250"/>
                  <a:pt x="19093" y="10250"/>
                </a:cubicBezTo>
                <a:cubicBezTo>
                  <a:pt x="19093" y="10250"/>
                  <a:pt x="19093" y="10250"/>
                  <a:pt x="19125" y="10250"/>
                </a:cubicBezTo>
                <a:cubicBezTo>
                  <a:pt x="19218" y="10219"/>
                  <a:pt x="19312" y="10187"/>
                  <a:pt x="19343" y="10250"/>
                </a:cubicBezTo>
                <a:cubicBezTo>
                  <a:pt x="19343" y="10344"/>
                  <a:pt x="19437" y="10312"/>
                  <a:pt x="19500" y="10312"/>
                </a:cubicBezTo>
                <a:cubicBezTo>
                  <a:pt x="19593" y="10312"/>
                  <a:pt x="19687" y="10312"/>
                  <a:pt x="19781" y="10312"/>
                </a:cubicBezTo>
                <a:cubicBezTo>
                  <a:pt x="19812" y="10281"/>
                  <a:pt x="19875" y="10281"/>
                  <a:pt x="19937" y="10281"/>
                </a:cubicBezTo>
                <a:cubicBezTo>
                  <a:pt x="20031" y="10281"/>
                  <a:pt x="20125" y="10250"/>
                  <a:pt x="20218" y="10250"/>
                </a:cubicBezTo>
                <a:cubicBezTo>
                  <a:pt x="20281" y="10219"/>
                  <a:pt x="20343" y="10219"/>
                  <a:pt x="20406" y="10187"/>
                </a:cubicBezTo>
                <a:cubicBezTo>
                  <a:pt x="20531" y="10187"/>
                  <a:pt x="20656" y="10156"/>
                  <a:pt x="20781" y="10125"/>
                </a:cubicBezTo>
                <a:cubicBezTo>
                  <a:pt x="20843" y="10125"/>
                  <a:pt x="20906" y="10125"/>
                  <a:pt x="20968" y="10094"/>
                </a:cubicBezTo>
                <a:cubicBezTo>
                  <a:pt x="21093" y="10094"/>
                  <a:pt x="21187" y="10094"/>
                  <a:pt x="21312" y="10094"/>
                </a:cubicBezTo>
                <a:cubicBezTo>
                  <a:pt x="21343" y="10094"/>
                  <a:pt x="21375" y="10094"/>
                  <a:pt x="21406" y="10094"/>
                </a:cubicBezTo>
                <a:cubicBezTo>
                  <a:pt x="21500" y="10094"/>
                  <a:pt x="21593" y="10094"/>
                  <a:pt x="21687" y="10094"/>
                </a:cubicBezTo>
                <a:cubicBezTo>
                  <a:pt x="21687" y="10062"/>
                  <a:pt x="21687" y="10062"/>
                  <a:pt x="21656" y="10031"/>
                </a:cubicBezTo>
                <a:cubicBezTo>
                  <a:pt x="21656" y="10031"/>
                  <a:pt x="21625" y="10000"/>
                  <a:pt x="21562" y="10000"/>
                </a:cubicBezTo>
                <a:cubicBezTo>
                  <a:pt x="21531" y="9969"/>
                  <a:pt x="21500" y="9969"/>
                  <a:pt x="21468" y="9937"/>
                </a:cubicBezTo>
                <a:cubicBezTo>
                  <a:pt x="21468" y="9937"/>
                  <a:pt x="21468" y="9906"/>
                  <a:pt x="21468" y="9906"/>
                </a:cubicBezTo>
                <a:cubicBezTo>
                  <a:pt x="21531" y="9906"/>
                  <a:pt x="21625" y="9875"/>
                  <a:pt x="21718" y="9875"/>
                </a:cubicBezTo>
                <a:cubicBezTo>
                  <a:pt x="21718" y="9875"/>
                  <a:pt x="21750" y="9875"/>
                  <a:pt x="21781" y="9875"/>
                </a:cubicBezTo>
                <a:cubicBezTo>
                  <a:pt x="21812" y="9875"/>
                  <a:pt x="21843" y="9875"/>
                  <a:pt x="21906" y="9906"/>
                </a:cubicBezTo>
                <a:cubicBezTo>
                  <a:pt x="21906" y="9906"/>
                  <a:pt x="21937" y="9906"/>
                  <a:pt x="21968" y="9906"/>
                </a:cubicBezTo>
                <a:cubicBezTo>
                  <a:pt x="22000" y="9937"/>
                  <a:pt x="22093" y="9937"/>
                  <a:pt x="22156" y="9906"/>
                </a:cubicBezTo>
                <a:cubicBezTo>
                  <a:pt x="22187" y="9906"/>
                  <a:pt x="22187" y="9906"/>
                  <a:pt x="22218" y="9906"/>
                </a:cubicBezTo>
                <a:cubicBezTo>
                  <a:pt x="22218" y="9906"/>
                  <a:pt x="22218" y="9875"/>
                  <a:pt x="22250" y="9875"/>
                </a:cubicBezTo>
                <a:cubicBezTo>
                  <a:pt x="22250" y="9875"/>
                  <a:pt x="22281" y="9875"/>
                  <a:pt x="22281" y="9844"/>
                </a:cubicBezTo>
                <a:cubicBezTo>
                  <a:pt x="22281" y="9844"/>
                  <a:pt x="22281" y="9812"/>
                  <a:pt x="22281" y="9812"/>
                </a:cubicBezTo>
                <a:cubicBezTo>
                  <a:pt x="22312" y="9812"/>
                  <a:pt x="22312" y="9812"/>
                  <a:pt x="22343" y="9781"/>
                </a:cubicBezTo>
                <a:cubicBezTo>
                  <a:pt x="22343" y="9781"/>
                  <a:pt x="22343" y="9781"/>
                  <a:pt x="22375" y="9781"/>
                </a:cubicBezTo>
                <a:cubicBezTo>
                  <a:pt x="22437" y="9750"/>
                  <a:pt x="22531" y="9719"/>
                  <a:pt x="22468" y="9687"/>
                </a:cubicBezTo>
                <a:cubicBezTo>
                  <a:pt x="22437" y="9656"/>
                  <a:pt x="22406" y="9656"/>
                  <a:pt x="22343" y="9625"/>
                </a:cubicBezTo>
                <a:cubicBezTo>
                  <a:pt x="22375" y="9625"/>
                  <a:pt x="22375" y="9625"/>
                  <a:pt x="22406" y="9625"/>
                </a:cubicBezTo>
                <a:cubicBezTo>
                  <a:pt x="22437" y="9594"/>
                  <a:pt x="22437" y="9531"/>
                  <a:pt x="22437" y="9500"/>
                </a:cubicBezTo>
                <a:cubicBezTo>
                  <a:pt x="22468" y="9500"/>
                  <a:pt x="22437" y="9500"/>
                  <a:pt x="22437" y="9469"/>
                </a:cubicBezTo>
                <a:cubicBezTo>
                  <a:pt x="22406" y="9469"/>
                  <a:pt x="22375" y="9469"/>
                  <a:pt x="22375" y="9469"/>
                </a:cubicBezTo>
                <a:cubicBezTo>
                  <a:pt x="22343" y="9469"/>
                  <a:pt x="22312" y="9469"/>
                  <a:pt x="22312" y="9437"/>
                </a:cubicBezTo>
                <a:cubicBezTo>
                  <a:pt x="21875" y="9375"/>
                  <a:pt x="21406" y="9312"/>
                  <a:pt x="20937" y="9312"/>
                </a:cubicBezTo>
                <a:cubicBezTo>
                  <a:pt x="20875" y="9312"/>
                  <a:pt x="20812" y="9312"/>
                  <a:pt x="20750" y="9312"/>
                </a:cubicBezTo>
                <a:cubicBezTo>
                  <a:pt x="20750" y="9312"/>
                  <a:pt x="20750" y="9312"/>
                  <a:pt x="20750" y="9312"/>
                </a:cubicBezTo>
                <a:cubicBezTo>
                  <a:pt x="20656" y="9312"/>
                  <a:pt x="20531" y="9344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37" y="9250"/>
                  <a:pt x="20437" y="9250"/>
                  <a:pt x="20437" y="9250"/>
                </a:cubicBezTo>
                <a:cubicBezTo>
                  <a:pt x="20406" y="9250"/>
                  <a:pt x="20375" y="9250"/>
                  <a:pt x="20343" y="9250"/>
                </a:cubicBezTo>
                <a:cubicBezTo>
                  <a:pt x="20312" y="9250"/>
                  <a:pt x="20312" y="9250"/>
                  <a:pt x="20312" y="9250"/>
                </a:cubicBezTo>
                <a:cubicBezTo>
                  <a:pt x="20281" y="9250"/>
                  <a:pt x="20281" y="9250"/>
                  <a:pt x="20250" y="9250"/>
                </a:cubicBezTo>
                <a:cubicBezTo>
                  <a:pt x="20250" y="9250"/>
                  <a:pt x="20250" y="9250"/>
                  <a:pt x="20250" y="9250"/>
                </a:cubicBezTo>
                <a:cubicBezTo>
                  <a:pt x="20218" y="9250"/>
                  <a:pt x="20187" y="9281"/>
                  <a:pt x="20187" y="9281"/>
                </a:cubicBezTo>
                <a:cubicBezTo>
                  <a:pt x="20031" y="9312"/>
                  <a:pt x="19906" y="9344"/>
                  <a:pt x="19781" y="9344"/>
                </a:cubicBezTo>
                <a:cubicBezTo>
                  <a:pt x="19718" y="9344"/>
                  <a:pt x="19687" y="9344"/>
                  <a:pt x="19625" y="9344"/>
                </a:cubicBezTo>
                <a:cubicBezTo>
                  <a:pt x="19593" y="9344"/>
                  <a:pt x="19531" y="9344"/>
                  <a:pt x="19468" y="9344"/>
                </a:cubicBezTo>
                <a:cubicBezTo>
                  <a:pt x="19437" y="9344"/>
                  <a:pt x="19375" y="9344"/>
                  <a:pt x="19343" y="9344"/>
                </a:cubicBezTo>
                <a:cubicBezTo>
                  <a:pt x="19031" y="9344"/>
                  <a:pt x="18718" y="9344"/>
                  <a:pt x="18406" y="9375"/>
                </a:cubicBezTo>
                <a:cubicBezTo>
                  <a:pt x="18281" y="9406"/>
                  <a:pt x="18156" y="9469"/>
                  <a:pt x="18000" y="9437"/>
                </a:cubicBezTo>
                <a:cubicBezTo>
                  <a:pt x="18031" y="9375"/>
                  <a:pt x="18093" y="9375"/>
                  <a:pt x="18156" y="9344"/>
                </a:cubicBezTo>
                <a:cubicBezTo>
                  <a:pt x="18156" y="9344"/>
                  <a:pt x="18187" y="9344"/>
                  <a:pt x="18218" y="9344"/>
                </a:cubicBezTo>
                <a:cubicBezTo>
                  <a:pt x="18375" y="9344"/>
                  <a:pt x="18531" y="9312"/>
                  <a:pt x="18656" y="9250"/>
                </a:cubicBezTo>
                <a:cubicBezTo>
                  <a:pt x="18687" y="9250"/>
                  <a:pt x="18750" y="9219"/>
                  <a:pt x="18781" y="9219"/>
                </a:cubicBezTo>
                <a:cubicBezTo>
                  <a:pt x="18812" y="9187"/>
                  <a:pt x="18843" y="9187"/>
                  <a:pt x="18875" y="9187"/>
                </a:cubicBezTo>
                <a:cubicBezTo>
                  <a:pt x="19093" y="9125"/>
                  <a:pt x="19312" y="9094"/>
                  <a:pt x="19531" y="9062"/>
                </a:cubicBezTo>
                <a:cubicBezTo>
                  <a:pt x="19562" y="9062"/>
                  <a:pt x="19625" y="9062"/>
                  <a:pt x="19656" y="9062"/>
                </a:cubicBezTo>
                <a:cubicBezTo>
                  <a:pt x="19812" y="9062"/>
                  <a:pt x="19968" y="9094"/>
                  <a:pt x="20156" y="9094"/>
                </a:cubicBezTo>
                <a:cubicBezTo>
                  <a:pt x="20218" y="9094"/>
                  <a:pt x="20281" y="9094"/>
                  <a:pt x="20375" y="9094"/>
                </a:cubicBezTo>
                <a:cubicBezTo>
                  <a:pt x="20343" y="9094"/>
                  <a:pt x="20343" y="9062"/>
                  <a:pt x="20312" y="9062"/>
                </a:cubicBezTo>
                <a:cubicBezTo>
                  <a:pt x="20281" y="9031"/>
                  <a:pt x="20281" y="9000"/>
                  <a:pt x="20437" y="9000"/>
                </a:cubicBezTo>
                <a:cubicBezTo>
                  <a:pt x="20437" y="9000"/>
                  <a:pt x="20468" y="9000"/>
                  <a:pt x="20468" y="9000"/>
                </a:cubicBezTo>
                <a:cubicBezTo>
                  <a:pt x="20593" y="9000"/>
                  <a:pt x="20687" y="9031"/>
                  <a:pt x="20781" y="9000"/>
                </a:cubicBezTo>
                <a:cubicBezTo>
                  <a:pt x="20781" y="9000"/>
                  <a:pt x="20812" y="8969"/>
                  <a:pt x="20843" y="8969"/>
                </a:cubicBezTo>
                <a:cubicBezTo>
                  <a:pt x="20875" y="8937"/>
                  <a:pt x="20906" y="8937"/>
                  <a:pt x="20968" y="8937"/>
                </a:cubicBezTo>
                <a:cubicBezTo>
                  <a:pt x="20968" y="8937"/>
                  <a:pt x="21000" y="8906"/>
                  <a:pt x="21031" y="8906"/>
                </a:cubicBezTo>
                <a:cubicBezTo>
                  <a:pt x="21125" y="8906"/>
                  <a:pt x="21218" y="8875"/>
                  <a:pt x="21281" y="8875"/>
                </a:cubicBezTo>
                <a:cubicBezTo>
                  <a:pt x="21343" y="8844"/>
                  <a:pt x="21375" y="8844"/>
                  <a:pt x="21406" y="8844"/>
                </a:cubicBezTo>
                <a:cubicBezTo>
                  <a:pt x="21406" y="8812"/>
                  <a:pt x="21437" y="8812"/>
                  <a:pt x="21437" y="8812"/>
                </a:cubicBezTo>
                <a:cubicBezTo>
                  <a:pt x="21593" y="8781"/>
                  <a:pt x="21718" y="8719"/>
                  <a:pt x="21875" y="8687"/>
                </a:cubicBezTo>
                <a:cubicBezTo>
                  <a:pt x="21875" y="8687"/>
                  <a:pt x="21906" y="8687"/>
                  <a:pt x="21906" y="8687"/>
                </a:cubicBezTo>
                <a:cubicBezTo>
                  <a:pt x="21968" y="8687"/>
                  <a:pt x="22000" y="8687"/>
                  <a:pt x="22031" y="8687"/>
                </a:cubicBezTo>
                <a:cubicBezTo>
                  <a:pt x="22062" y="8687"/>
                  <a:pt x="22125" y="8687"/>
                  <a:pt x="22156" y="8687"/>
                </a:cubicBezTo>
                <a:cubicBezTo>
                  <a:pt x="22187" y="8687"/>
                  <a:pt x="22250" y="8656"/>
                  <a:pt x="22250" y="8625"/>
                </a:cubicBezTo>
                <a:cubicBezTo>
                  <a:pt x="22281" y="8625"/>
                  <a:pt x="22281" y="8594"/>
                  <a:pt x="22281" y="8594"/>
                </a:cubicBezTo>
                <a:cubicBezTo>
                  <a:pt x="22312" y="8500"/>
                  <a:pt x="22250" y="8375"/>
                  <a:pt x="22187" y="8312"/>
                </a:cubicBezTo>
                <a:cubicBezTo>
                  <a:pt x="22156" y="8281"/>
                  <a:pt x="22125" y="8281"/>
                  <a:pt x="22093" y="8281"/>
                </a:cubicBezTo>
                <a:cubicBezTo>
                  <a:pt x="22062" y="8250"/>
                  <a:pt x="22031" y="8250"/>
                  <a:pt x="22031" y="8250"/>
                </a:cubicBezTo>
                <a:cubicBezTo>
                  <a:pt x="21968" y="8219"/>
                  <a:pt x="21906" y="8219"/>
                  <a:pt x="21843" y="8219"/>
                </a:cubicBezTo>
                <a:cubicBezTo>
                  <a:pt x="21843" y="8219"/>
                  <a:pt x="21812" y="8219"/>
                  <a:pt x="21812" y="8219"/>
                </a:cubicBezTo>
                <a:cubicBezTo>
                  <a:pt x="21781" y="8219"/>
                  <a:pt x="21781" y="8219"/>
                  <a:pt x="21750" y="8219"/>
                </a:cubicBezTo>
                <a:cubicBezTo>
                  <a:pt x="21687" y="8219"/>
                  <a:pt x="21656" y="8219"/>
                  <a:pt x="21593" y="8187"/>
                </a:cubicBezTo>
                <a:cubicBezTo>
                  <a:pt x="21593" y="8187"/>
                  <a:pt x="21562" y="8156"/>
                  <a:pt x="21531" y="8156"/>
                </a:cubicBezTo>
                <a:cubicBezTo>
                  <a:pt x="21531" y="8125"/>
                  <a:pt x="21531" y="8125"/>
                  <a:pt x="21500" y="8094"/>
                </a:cubicBezTo>
                <a:cubicBezTo>
                  <a:pt x="21500" y="8094"/>
                  <a:pt x="21500" y="8062"/>
                  <a:pt x="21500" y="8062"/>
                </a:cubicBezTo>
                <a:cubicBezTo>
                  <a:pt x="21500" y="8031"/>
                  <a:pt x="21531" y="8000"/>
                  <a:pt x="21593" y="8031"/>
                </a:cubicBezTo>
                <a:cubicBezTo>
                  <a:pt x="21593" y="8031"/>
                  <a:pt x="21593" y="8031"/>
                  <a:pt x="21625" y="8031"/>
                </a:cubicBezTo>
                <a:cubicBezTo>
                  <a:pt x="21656" y="8031"/>
                  <a:pt x="21687" y="8031"/>
                  <a:pt x="21718" y="8031"/>
                </a:cubicBezTo>
                <a:cubicBezTo>
                  <a:pt x="21781" y="8031"/>
                  <a:pt x="21812" y="8031"/>
                  <a:pt x="21875" y="8031"/>
                </a:cubicBezTo>
                <a:cubicBezTo>
                  <a:pt x="21968" y="8031"/>
                  <a:pt x="22031" y="8000"/>
                  <a:pt x="22031" y="7906"/>
                </a:cubicBezTo>
                <a:cubicBezTo>
                  <a:pt x="22031" y="7875"/>
                  <a:pt x="22031" y="7875"/>
                  <a:pt x="22031" y="7875"/>
                </a:cubicBezTo>
                <a:cubicBezTo>
                  <a:pt x="22031" y="7875"/>
                  <a:pt x="22062" y="7844"/>
                  <a:pt x="22093" y="7844"/>
                </a:cubicBezTo>
                <a:cubicBezTo>
                  <a:pt x="22093" y="7844"/>
                  <a:pt x="22125" y="7844"/>
                  <a:pt x="22125" y="7844"/>
                </a:cubicBezTo>
                <a:cubicBezTo>
                  <a:pt x="22156" y="7844"/>
                  <a:pt x="22156" y="7844"/>
                  <a:pt x="22187" y="7812"/>
                </a:cubicBezTo>
                <a:cubicBezTo>
                  <a:pt x="22187" y="7812"/>
                  <a:pt x="22187" y="7812"/>
                  <a:pt x="22187" y="7812"/>
                </a:cubicBezTo>
                <a:cubicBezTo>
                  <a:pt x="22156" y="7781"/>
                  <a:pt x="22156" y="7781"/>
                  <a:pt x="22156" y="7750"/>
                </a:cubicBezTo>
                <a:cubicBezTo>
                  <a:pt x="22156" y="7750"/>
                  <a:pt x="22156" y="7750"/>
                  <a:pt x="22156" y="7750"/>
                </a:cubicBezTo>
                <a:cubicBezTo>
                  <a:pt x="22125" y="7687"/>
                  <a:pt x="22125" y="7656"/>
                  <a:pt x="22156" y="7625"/>
                </a:cubicBezTo>
                <a:cubicBezTo>
                  <a:pt x="22156" y="7594"/>
                  <a:pt x="22156" y="7562"/>
                  <a:pt x="22187" y="7562"/>
                </a:cubicBezTo>
                <a:cubicBezTo>
                  <a:pt x="22250" y="7531"/>
                  <a:pt x="22281" y="7500"/>
                  <a:pt x="22375" y="7500"/>
                </a:cubicBezTo>
                <a:cubicBezTo>
                  <a:pt x="22437" y="7500"/>
                  <a:pt x="22468" y="7500"/>
                  <a:pt x="22531" y="7500"/>
                </a:cubicBezTo>
                <a:cubicBezTo>
                  <a:pt x="22562" y="7500"/>
                  <a:pt x="22625" y="7500"/>
                  <a:pt x="22656" y="7500"/>
                </a:cubicBezTo>
                <a:cubicBezTo>
                  <a:pt x="22843" y="7500"/>
                  <a:pt x="23031" y="7469"/>
                  <a:pt x="23187" y="7375"/>
                </a:cubicBezTo>
                <a:cubicBezTo>
                  <a:pt x="23125" y="7344"/>
                  <a:pt x="23062" y="7344"/>
                  <a:pt x="23000" y="7344"/>
                </a:cubicBezTo>
                <a:cubicBezTo>
                  <a:pt x="22937" y="7344"/>
                  <a:pt x="22875" y="7344"/>
                  <a:pt x="22812" y="734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8526594-8463-974D-B281-A194EDBB4A87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297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61F364E-B280-4940-9E93-3F77C0DE00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5409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1B6BB3DB-71EC-3147-9E13-2C1E1486A3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15575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0" name="Freeform 3475">
            <a:extLst>
              <a:ext uri="{FF2B5EF4-FFF2-40B4-BE49-F238E27FC236}">
                <a16:creationId xmlns:a16="http://schemas.microsoft.com/office/drawing/2014/main" id="{0BD79601-D734-CA47-9DA5-193F9A8DC523}"/>
              </a:ext>
            </a:extLst>
          </p:cNvPr>
          <p:cNvSpPr>
            <a:spLocks noGrp="1" noEditPoints="1"/>
          </p:cNvSpPr>
          <p:nvPr>
            <p:ph type="pic" sz="quarter" idx="34"/>
          </p:nvPr>
        </p:nvSpPr>
        <p:spPr bwMode="auto">
          <a:xfrm>
            <a:off x="1176363" y="882130"/>
            <a:ext cx="14185576" cy="12219647"/>
          </a:xfrm>
          <a:custGeom>
            <a:avLst/>
            <a:gdLst>
              <a:gd name="T0" fmla="*/ 1387 w 1450"/>
              <a:gd name="T1" fmla="*/ 260 h 788"/>
              <a:gd name="T2" fmla="*/ 962 w 1450"/>
              <a:gd name="T3" fmla="*/ 343 h 788"/>
              <a:gd name="T4" fmla="*/ 814 w 1450"/>
              <a:gd name="T5" fmla="*/ 422 h 788"/>
              <a:gd name="T6" fmla="*/ 1097 w 1450"/>
              <a:gd name="T7" fmla="*/ 263 h 788"/>
              <a:gd name="T8" fmla="*/ 1163 w 1450"/>
              <a:gd name="T9" fmla="*/ 213 h 788"/>
              <a:gd name="T10" fmla="*/ 1048 w 1450"/>
              <a:gd name="T11" fmla="*/ 208 h 788"/>
              <a:gd name="T12" fmla="*/ 920 w 1450"/>
              <a:gd name="T13" fmla="*/ 242 h 788"/>
              <a:gd name="T14" fmla="*/ 822 w 1450"/>
              <a:gd name="T15" fmla="*/ 254 h 788"/>
              <a:gd name="T16" fmla="*/ 824 w 1450"/>
              <a:gd name="T17" fmla="*/ 206 h 788"/>
              <a:gd name="T18" fmla="*/ 830 w 1450"/>
              <a:gd name="T19" fmla="*/ 176 h 788"/>
              <a:gd name="T20" fmla="*/ 817 w 1450"/>
              <a:gd name="T21" fmla="*/ 134 h 788"/>
              <a:gd name="T22" fmla="*/ 772 w 1450"/>
              <a:gd name="T23" fmla="*/ 124 h 788"/>
              <a:gd name="T24" fmla="*/ 682 w 1450"/>
              <a:gd name="T25" fmla="*/ 117 h 788"/>
              <a:gd name="T26" fmla="*/ 636 w 1450"/>
              <a:gd name="T27" fmla="*/ 106 h 788"/>
              <a:gd name="T28" fmla="*/ 554 w 1450"/>
              <a:gd name="T29" fmla="*/ 139 h 788"/>
              <a:gd name="T30" fmla="*/ 401 w 1450"/>
              <a:gd name="T31" fmla="*/ 204 h 788"/>
              <a:gd name="T32" fmla="*/ 310 w 1450"/>
              <a:gd name="T33" fmla="*/ 222 h 788"/>
              <a:gd name="T34" fmla="*/ 215 w 1450"/>
              <a:gd name="T35" fmla="*/ 271 h 788"/>
              <a:gd name="T36" fmla="*/ 245 w 1450"/>
              <a:gd name="T37" fmla="*/ 141 h 788"/>
              <a:gd name="T38" fmla="*/ 260 w 1450"/>
              <a:gd name="T39" fmla="*/ 118 h 788"/>
              <a:gd name="T40" fmla="*/ 245 w 1450"/>
              <a:gd name="T41" fmla="*/ 49 h 788"/>
              <a:gd name="T42" fmla="*/ 188 w 1450"/>
              <a:gd name="T43" fmla="*/ 79 h 788"/>
              <a:gd name="T44" fmla="*/ 124 w 1450"/>
              <a:gd name="T45" fmla="*/ 196 h 788"/>
              <a:gd name="T46" fmla="*/ 67 w 1450"/>
              <a:gd name="T47" fmla="*/ 262 h 788"/>
              <a:gd name="T48" fmla="*/ 93 w 1450"/>
              <a:gd name="T49" fmla="*/ 224 h 788"/>
              <a:gd name="T50" fmla="*/ 92 w 1450"/>
              <a:gd name="T51" fmla="*/ 259 h 788"/>
              <a:gd name="T52" fmla="*/ 80 w 1450"/>
              <a:gd name="T53" fmla="*/ 409 h 788"/>
              <a:gd name="T54" fmla="*/ 14 w 1450"/>
              <a:gd name="T55" fmla="*/ 526 h 788"/>
              <a:gd name="T56" fmla="*/ 3 w 1450"/>
              <a:gd name="T57" fmla="*/ 667 h 788"/>
              <a:gd name="T58" fmla="*/ 40 w 1450"/>
              <a:gd name="T59" fmla="*/ 669 h 788"/>
              <a:gd name="T60" fmla="*/ 89 w 1450"/>
              <a:gd name="T61" fmla="*/ 731 h 788"/>
              <a:gd name="T62" fmla="*/ 147 w 1450"/>
              <a:gd name="T63" fmla="*/ 683 h 788"/>
              <a:gd name="T64" fmla="*/ 285 w 1450"/>
              <a:gd name="T65" fmla="*/ 557 h 788"/>
              <a:gd name="T66" fmla="*/ 328 w 1450"/>
              <a:gd name="T67" fmla="*/ 630 h 788"/>
              <a:gd name="T68" fmla="*/ 380 w 1450"/>
              <a:gd name="T69" fmla="*/ 755 h 788"/>
              <a:gd name="T70" fmla="*/ 539 w 1450"/>
              <a:gd name="T71" fmla="*/ 612 h 788"/>
              <a:gd name="T72" fmla="*/ 804 w 1450"/>
              <a:gd name="T73" fmla="*/ 432 h 788"/>
              <a:gd name="T74" fmla="*/ 593 w 1450"/>
              <a:gd name="T75" fmla="*/ 633 h 788"/>
              <a:gd name="T76" fmla="*/ 658 w 1450"/>
              <a:gd name="T77" fmla="*/ 619 h 788"/>
              <a:gd name="T78" fmla="*/ 627 w 1450"/>
              <a:gd name="T79" fmla="*/ 716 h 788"/>
              <a:gd name="T80" fmla="*/ 1098 w 1450"/>
              <a:gd name="T81" fmla="*/ 433 h 788"/>
              <a:gd name="T82" fmla="*/ 1234 w 1450"/>
              <a:gd name="T83" fmla="*/ 355 h 788"/>
              <a:gd name="T84" fmla="*/ 80 w 1450"/>
              <a:gd name="T85" fmla="*/ 270 h 788"/>
              <a:gd name="T86" fmla="*/ 825 w 1450"/>
              <a:gd name="T87" fmla="*/ 141 h 788"/>
              <a:gd name="T88" fmla="*/ 244 w 1450"/>
              <a:gd name="T89" fmla="*/ 250 h 788"/>
              <a:gd name="T90" fmla="*/ 321 w 1450"/>
              <a:gd name="T91" fmla="*/ 217 h 788"/>
              <a:gd name="T92" fmla="*/ 237 w 1450"/>
              <a:gd name="T93" fmla="*/ 24 h 788"/>
              <a:gd name="T94" fmla="*/ 598 w 1450"/>
              <a:gd name="T95" fmla="*/ 603 h 788"/>
              <a:gd name="T96" fmla="*/ 261 w 1450"/>
              <a:gd name="T97" fmla="*/ 189 h 788"/>
              <a:gd name="T98" fmla="*/ 627 w 1450"/>
              <a:gd name="T99" fmla="*/ 636 h 788"/>
              <a:gd name="T100" fmla="*/ 870 w 1450"/>
              <a:gd name="T101" fmla="*/ 133 h 788"/>
              <a:gd name="T102" fmla="*/ 788 w 1450"/>
              <a:gd name="T103" fmla="*/ 117 h 788"/>
              <a:gd name="T104" fmla="*/ 873 w 1450"/>
              <a:gd name="T105" fmla="*/ 199 h 788"/>
              <a:gd name="T106" fmla="*/ 390 w 1450"/>
              <a:gd name="T107" fmla="*/ 149 h 788"/>
              <a:gd name="T108" fmla="*/ 1032 w 1450"/>
              <a:gd name="T109" fmla="*/ 310 h 788"/>
              <a:gd name="T110" fmla="*/ 745 w 1450"/>
              <a:gd name="T111" fmla="*/ 134 h 788"/>
              <a:gd name="T112" fmla="*/ 108 w 1450"/>
              <a:gd name="T113" fmla="*/ 317 h 788"/>
              <a:gd name="T114" fmla="*/ 107 w 1450"/>
              <a:gd name="T115" fmla="*/ 403 h 788"/>
              <a:gd name="T116" fmla="*/ 130 w 1450"/>
              <a:gd name="T117" fmla="*/ 298 h 788"/>
              <a:gd name="T118" fmla="*/ 365 w 1450"/>
              <a:gd name="T119" fmla="*/ 630 h 788"/>
              <a:gd name="T120" fmla="*/ 584 w 1450"/>
              <a:gd name="T121" fmla="*/ 146 h 788"/>
              <a:gd name="T122" fmla="*/ 426 w 1450"/>
              <a:gd name="T123" fmla="*/ 639 h 788"/>
              <a:gd name="T124" fmla="*/ 865 w 1450"/>
              <a:gd name="T125" fmla="*/ 52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" h="788">
                <a:moveTo>
                  <a:pt x="1316" y="302"/>
                </a:moveTo>
                <a:lnTo>
                  <a:pt x="1297" y="304"/>
                </a:lnTo>
                <a:lnTo>
                  <a:pt x="1278" y="306"/>
                </a:lnTo>
                <a:lnTo>
                  <a:pt x="1260" y="309"/>
                </a:lnTo>
                <a:lnTo>
                  <a:pt x="1242" y="314"/>
                </a:lnTo>
                <a:lnTo>
                  <a:pt x="1234" y="315"/>
                </a:lnTo>
                <a:lnTo>
                  <a:pt x="1225" y="317"/>
                </a:lnTo>
                <a:lnTo>
                  <a:pt x="1222" y="318"/>
                </a:lnTo>
                <a:lnTo>
                  <a:pt x="1219" y="320"/>
                </a:lnTo>
                <a:lnTo>
                  <a:pt x="1217" y="320"/>
                </a:lnTo>
                <a:lnTo>
                  <a:pt x="1214" y="318"/>
                </a:lnTo>
                <a:lnTo>
                  <a:pt x="1213" y="320"/>
                </a:lnTo>
                <a:lnTo>
                  <a:pt x="1213" y="321"/>
                </a:lnTo>
                <a:lnTo>
                  <a:pt x="1212" y="318"/>
                </a:lnTo>
                <a:lnTo>
                  <a:pt x="1212" y="317"/>
                </a:lnTo>
                <a:lnTo>
                  <a:pt x="1213" y="316"/>
                </a:lnTo>
                <a:lnTo>
                  <a:pt x="1214" y="314"/>
                </a:lnTo>
                <a:lnTo>
                  <a:pt x="1225" y="312"/>
                </a:lnTo>
                <a:lnTo>
                  <a:pt x="1234" y="309"/>
                </a:lnTo>
                <a:lnTo>
                  <a:pt x="1252" y="304"/>
                </a:lnTo>
                <a:lnTo>
                  <a:pt x="1269" y="299"/>
                </a:lnTo>
                <a:lnTo>
                  <a:pt x="1286" y="295"/>
                </a:lnTo>
                <a:lnTo>
                  <a:pt x="1304" y="290"/>
                </a:lnTo>
                <a:lnTo>
                  <a:pt x="1312" y="288"/>
                </a:lnTo>
                <a:lnTo>
                  <a:pt x="1321" y="287"/>
                </a:lnTo>
                <a:lnTo>
                  <a:pt x="1330" y="285"/>
                </a:lnTo>
                <a:lnTo>
                  <a:pt x="1340" y="284"/>
                </a:lnTo>
                <a:lnTo>
                  <a:pt x="1348" y="284"/>
                </a:lnTo>
                <a:lnTo>
                  <a:pt x="1356" y="283"/>
                </a:lnTo>
                <a:lnTo>
                  <a:pt x="1362" y="281"/>
                </a:lnTo>
                <a:lnTo>
                  <a:pt x="1369" y="277"/>
                </a:lnTo>
                <a:lnTo>
                  <a:pt x="1361" y="276"/>
                </a:lnTo>
                <a:lnTo>
                  <a:pt x="1354" y="276"/>
                </a:lnTo>
                <a:lnTo>
                  <a:pt x="1351" y="276"/>
                </a:lnTo>
                <a:lnTo>
                  <a:pt x="1349" y="276"/>
                </a:lnTo>
                <a:lnTo>
                  <a:pt x="1348" y="275"/>
                </a:lnTo>
                <a:lnTo>
                  <a:pt x="1348" y="274"/>
                </a:lnTo>
                <a:lnTo>
                  <a:pt x="1349" y="273"/>
                </a:lnTo>
                <a:lnTo>
                  <a:pt x="1350" y="273"/>
                </a:lnTo>
                <a:lnTo>
                  <a:pt x="1352" y="272"/>
                </a:lnTo>
                <a:lnTo>
                  <a:pt x="1354" y="272"/>
                </a:lnTo>
                <a:lnTo>
                  <a:pt x="1370" y="270"/>
                </a:lnTo>
                <a:lnTo>
                  <a:pt x="1385" y="267"/>
                </a:lnTo>
                <a:lnTo>
                  <a:pt x="1402" y="266"/>
                </a:lnTo>
                <a:lnTo>
                  <a:pt x="1418" y="264"/>
                </a:lnTo>
                <a:lnTo>
                  <a:pt x="1434" y="263"/>
                </a:lnTo>
                <a:lnTo>
                  <a:pt x="1450" y="260"/>
                </a:lnTo>
                <a:lnTo>
                  <a:pt x="1445" y="258"/>
                </a:lnTo>
                <a:lnTo>
                  <a:pt x="1440" y="257"/>
                </a:lnTo>
                <a:lnTo>
                  <a:pt x="1435" y="256"/>
                </a:lnTo>
                <a:lnTo>
                  <a:pt x="1430" y="257"/>
                </a:lnTo>
                <a:lnTo>
                  <a:pt x="1422" y="259"/>
                </a:lnTo>
                <a:lnTo>
                  <a:pt x="1412" y="260"/>
                </a:lnTo>
                <a:lnTo>
                  <a:pt x="1409" y="259"/>
                </a:lnTo>
                <a:lnTo>
                  <a:pt x="1407" y="258"/>
                </a:lnTo>
                <a:lnTo>
                  <a:pt x="1404" y="257"/>
                </a:lnTo>
                <a:lnTo>
                  <a:pt x="1402" y="257"/>
                </a:lnTo>
                <a:lnTo>
                  <a:pt x="1400" y="257"/>
                </a:lnTo>
                <a:lnTo>
                  <a:pt x="1400" y="258"/>
                </a:lnTo>
                <a:lnTo>
                  <a:pt x="1395" y="259"/>
                </a:lnTo>
                <a:lnTo>
                  <a:pt x="1391" y="259"/>
                </a:lnTo>
                <a:lnTo>
                  <a:pt x="1387" y="260"/>
                </a:lnTo>
                <a:lnTo>
                  <a:pt x="1386" y="262"/>
                </a:lnTo>
                <a:lnTo>
                  <a:pt x="1385" y="262"/>
                </a:lnTo>
                <a:lnTo>
                  <a:pt x="1383" y="260"/>
                </a:lnTo>
                <a:lnTo>
                  <a:pt x="1378" y="259"/>
                </a:lnTo>
                <a:lnTo>
                  <a:pt x="1374" y="259"/>
                </a:lnTo>
                <a:lnTo>
                  <a:pt x="1369" y="260"/>
                </a:lnTo>
                <a:lnTo>
                  <a:pt x="1365" y="262"/>
                </a:lnTo>
                <a:lnTo>
                  <a:pt x="1352" y="264"/>
                </a:lnTo>
                <a:lnTo>
                  <a:pt x="1340" y="266"/>
                </a:lnTo>
                <a:lnTo>
                  <a:pt x="1328" y="268"/>
                </a:lnTo>
                <a:lnTo>
                  <a:pt x="1317" y="271"/>
                </a:lnTo>
                <a:lnTo>
                  <a:pt x="1311" y="271"/>
                </a:lnTo>
                <a:lnTo>
                  <a:pt x="1304" y="271"/>
                </a:lnTo>
                <a:lnTo>
                  <a:pt x="1299" y="270"/>
                </a:lnTo>
                <a:lnTo>
                  <a:pt x="1293" y="268"/>
                </a:lnTo>
                <a:lnTo>
                  <a:pt x="1311" y="263"/>
                </a:lnTo>
                <a:lnTo>
                  <a:pt x="1330" y="259"/>
                </a:lnTo>
                <a:lnTo>
                  <a:pt x="1349" y="257"/>
                </a:lnTo>
                <a:lnTo>
                  <a:pt x="1368" y="255"/>
                </a:lnTo>
                <a:lnTo>
                  <a:pt x="1366" y="254"/>
                </a:lnTo>
                <a:lnTo>
                  <a:pt x="1363" y="252"/>
                </a:lnTo>
                <a:lnTo>
                  <a:pt x="1360" y="251"/>
                </a:lnTo>
                <a:lnTo>
                  <a:pt x="1356" y="251"/>
                </a:lnTo>
                <a:lnTo>
                  <a:pt x="1348" y="252"/>
                </a:lnTo>
                <a:lnTo>
                  <a:pt x="1342" y="252"/>
                </a:lnTo>
                <a:lnTo>
                  <a:pt x="1327" y="254"/>
                </a:lnTo>
                <a:lnTo>
                  <a:pt x="1311" y="256"/>
                </a:lnTo>
                <a:lnTo>
                  <a:pt x="1296" y="259"/>
                </a:lnTo>
                <a:lnTo>
                  <a:pt x="1282" y="263"/>
                </a:lnTo>
                <a:lnTo>
                  <a:pt x="1267" y="266"/>
                </a:lnTo>
                <a:lnTo>
                  <a:pt x="1252" y="268"/>
                </a:lnTo>
                <a:lnTo>
                  <a:pt x="1238" y="272"/>
                </a:lnTo>
                <a:lnTo>
                  <a:pt x="1224" y="275"/>
                </a:lnTo>
                <a:lnTo>
                  <a:pt x="1209" y="276"/>
                </a:lnTo>
                <a:lnTo>
                  <a:pt x="1194" y="279"/>
                </a:lnTo>
                <a:lnTo>
                  <a:pt x="1190" y="280"/>
                </a:lnTo>
                <a:lnTo>
                  <a:pt x="1183" y="282"/>
                </a:lnTo>
                <a:lnTo>
                  <a:pt x="1179" y="282"/>
                </a:lnTo>
                <a:lnTo>
                  <a:pt x="1177" y="281"/>
                </a:lnTo>
                <a:lnTo>
                  <a:pt x="1176" y="280"/>
                </a:lnTo>
                <a:lnTo>
                  <a:pt x="1177" y="277"/>
                </a:lnTo>
                <a:lnTo>
                  <a:pt x="1183" y="274"/>
                </a:lnTo>
                <a:lnTo>
                  <a:pt x="1188" y="270"/>
                </a:lnTo>
                <a:lnTo>
                  <a:pt x="1172" y="272"/>
                </a:lnTo>
                <a:lnTo>
                  <a:pt x="1159" y="275"/>
                </a:lnTo>
                <a:lnTo>
                  <a:pt x="1144" y="279"/>
                </a:lnTo>
                <a:lnTo>
                  <a:pt x="1129" y="282"/>
                </a:lnTo>
                <a:lnTo>
                  <a:pt x="1114" y="287"/>
                </a:lnTo>
                <a:lnTo>
                  <a:pt x="1099" y="291"/>
                </a:lnTo>
                <a:lnTo>
                  <a:pt x="1085" y="296"/>
                </a:lnTo>
                <a:lnTo>
                  <a:pt x="1070" y="301"/>
                </a:lnTo>
                <a:lnTo>
                  <a:pt x="1056" y="306"/>
                </a:lnTo>
                <a:lnTo>
                  <a:pt x="1043" y="313"/>
                </a:lnTo>
                <a:lnTo>
                  <a:pt x="1029" y="318"/>
                </a:lnTo>
                <a:lnTo>
                  <a:pt x="1015" y="324"/>
                </a:lnTo>
                <a:lnTo>
                  <a:pt x="1002" y="329"/>
                </a:lnTo>
                <a:lnTo>
                  <a:pt x="987" y="334"/>
                </a:lnTo>
                <a:lnTo>
                  <a:pt x="974" y="339"/>
                </a:lnTo>
                <a:lnTo>
                  <a:pt x="963" y="345"/>
                </a:lnTo>
                <a:lnTo>
                  <a:pt x="963" y="343"/>
                </a:lnTo>
                <a:lnTo>
                  <a:pt x="962" y="342"/>
                </a:lnTo>
                <a:lnTo>
                  <a:pt x="962" y="343"/>
                </a:lnTo>
                <a:lnTo>
                  <a:pt x="962" y="345"/>
                </a:lnTo>
                <a:lnTo>
                  <a:pt x="961" y="345"/>
                </a:lnTo>
                <a:lnTo>
                  <a:pt x="959" y="343"/>
                </a:lnTo>
                <a:lnTo>
                  <a:pt x="961" y="342"/>
                </a:lnTo>
                <a:lnTo>
                  <a:pt x="962" y="341"/>
                </a:lnTo>
                <a:lnTo>
                  <a:pt x="964" y="340"/>
                </a:lnTo>
                <a:lnTo>
                  <a:pt x="966" y="339"/>
                </a:lnTo>
                <a:lnTo>
                  <a:pt x="970" y="337"/>
                </a:lnTo>
                <a:lnTo>
                  <a:pt x="972" y="335"/>
                </a:lnTo>
                <a:lnTo>
                  <a:pt x="974" y="333"/>
                </a:lnTo>
                <a:lnTo>
                  <a:pt x="977" y="330"/>
                </a:lnTo>
                <a:lnTo>
                  <a:pt x="972" y="331"/>
                </a:lnTo>
                <a:lnTo>
                  <a:pt x="967" y="333"/>
                </a:lnTo>
                <a:lnTo>
                  <a:pt x="965" y="334"/>
                </a:lnTo>
                <a:lnTo>
                  <a:pt x="963" y="337"/>
                </a:lnTo>
                <a:lnTo>
                  <a:pt x="959" y="338"/>
                </a:lnTo>
                <a:lnTo>
                  <a:pt x="956" y="338"/>
                </a:lnTo>
                <a:lnTo>
                  <a:pt x="954" y="340"/>
                </a:lnTo>
                <a:lnTo>
                  <a:pt x="953" y="341"/>
                </a:lnTo>
                <a:lnTo>
                  <a:pt x="947" y="345"/>
                </a:lnTo>
                <a:lnTo>
                  <a:pt x="941" y="347"/>
                </a:lnTo>
                <a:lnTo>
                  <a:pt x="939" y="348"/>
                </a:lnTo>
                <a:lnTo>
                  <a:pt x="937" y="349"/>
                </a:lnTo>
                <a:lnTo>
                  <a:pt x="934" y="351"/>
                </a:lnTo>
                <a:lnTo>
                  <a:pt x="933" y="354"/>
                </a:lnTo>
                <a:lnTo>
                  <a:pt x="939" y="353"/>
                </a:lnTo>
                <a:lnTo>
                  <a:pt x="944" y="350"/>
                </a:lnTo>
                <a:lnTo>
                  <a:pt x="946" y="350"/>
                </a:lnTo>
                <a:lnTo>
                  <a:pt x="947" y="350"/>
                </a:lnTo>
                <a:lnTo>
                  <a:pt x="947" y="353"/>
                </a:lnTo>
                <a:lnTo>
                  <a:pt x="945" y="354"/>
                </a:lnTo>
                <a:lnTo>
                  <a:pt x="938" y="358"/>
                </a:lnTo>
                <a:lnTo>
                  <a:pt x="930" y="360"/>
                </a:lnTo>
                <a:lnTo>
                  <a:pt x="928" y="360"/>
                </a:lnTo>
                <a:lnTo>
                  <a:pt x="928" y="359"/>
                </a:lnTo>
                <a:lnTo>
                  <a:pt x="929" y="359"/>
                </a:lnTo>
                <a:lnTo>
                  <a:pt x="929" y="357"/>
                </a:lnTo>
                <a:lnTo>
                  <a:pt x="930" y="356"/>
                </a:lnTo>
                <a:lnTo>
                  <a:pt x="929" y="355"/>
                </a:lnTo>
                <a:lnTo>
                  <a:pt x="926" y="355"/>
                </a:lnTo>
                <a:lnTo>
                  <a:pt x="924" y="355"/>
                </a:lnTo>
                <a:lnTo>
                  <a:pt x="923" y="358"/>
                </a:lnTo>
                <a:lnTo>
                  <a:pt x="923" y="363"/>
                </a:lnTo>
                <a:lnTo>
                  <a:pt x="920" y="366"/>
                </a:lnTo>
                <a:lnTo>
                  <a:pt x="916" y="368"/>
                </a:lnTo>
                <a:lnTo>
                  <a:pt x="912" y="370"/>
                </a:lnTo>
                <a:lnTo>
                  <a:pt x="908" y="372"/>
                </a:lnTo>
                <a:lnTo>
                  <a:pt x="893" y="379"/>
                </a:lnTo>
                <a:lnTo>
                  <a:pt x="879" y="387"/>
                </a:lnTo>
                <a:lnTo>
                  <a:pt x="864" y="395"/>
                </a:lnTo>
                <a:lnTo>
                  <a:pt x="850" y="403"/>
                </a:lnTo>
                <a:lnTo>
                  <a:pt x="840" y="409"/>
                </a:lnTo>
                <a:lnTo>
                  <a:pt x="829" y="418"/>
                </a:lnTo>
                <a:lnTo>
                  <a:pt x="827" y="420"/>
                </a:lnTo>
                <a:lnTo>
                  <a:pt x="825" y="421"/>
                </a:lnTo>
                <a:lnTo>
                  <a:pt x="823" y="420"/>
                </a:lnTo>
                <a:lnTo>
                  <a:pt x="821" y="418"/>
                </a:lnTo>
                <a:lnTo>
                  <a:pt x="818" y="420"/>
                </a:lnTo>
                <a:lnTo>
                  <a:pt x="816" y="422"/>
                </a:lnTo>
                <a:lnTo>
                  <a:pt x="815" y="424"/>
                </a:lnTo>
                <a:lnTo>
                  <a:pt x="815" y="426"/>
                </a:lnTo>
                <a:lnTo>
                  <a:pt x="814" y="422"/>
                </a:lnTo>
                <a:lnTo>
                  <a:pt x="814" y="418"/>
                </a:lnTo>
                <a:lnTo>
                  <a:pt x="816" y="415"/>
                </a:lnTo>
                <a:lnTo>
                  <a:pt x="818" y="413"/>
                </a:lnTo>
                <a:lnTo>
                  <a:pt x="826" y="407"/>
                </a:lnTo>
                <a:lnTo>
                  <a:pt x="833" y="403"/>
                </a:lnTo>
                <a:lnTo>
                  <a:pt x="841" y="398"/>
                </a:lnTo>
                <a:lnTo>
                  <a:pt x="850" y="395"/>
                </a:lnTo>
                <a:lnTo>
                  <a:pt x="857" y="389"/>
                </a:lnTo>
                <a:lnTo>
                  <a:pt x="864" y="384"/>
                </a:lnTo>
                <a:lnTo>
                  <a:pt x="872" y="379"/>
                </a:lnTo>
                <a:lnTo>
                  <a:pt x="881" y="374"/>
                </a:lnTo>
                <a:lnTo>
                  <a:pt x="890" y="368"/>
                </a:lnTo>
                <a:lnTo>
                  <a:pt x="899" y="364"/>
                </a:lnTo>
                <a:lnTo>
                  <a:pt x="908" y="358"/>
                </a:lnTo>
                <a:lnTo>
                  <a:pt x="917" y="353"/>
                </a:lnTo>
                <a:lnTo>
                  <a:pt x="928" y="348"/>
                </a:lnTo>
                <a:lnTo>
                  <a:pt x="937" y="343"/>
                </a:lnTo>
                <a:lnTo>
                  <a:pt x="941" y="341"/>
                </a:lnTo>
                <a:lnTo>
                  <a:pt x="946" y="339"/>
                </a:lnTo>
                <a:lnTo>
                  <a:pt x="949" y="338"/>
                </a:lnTo>
                <a:lnTo>
                  <a:pt x="951" y="337"/>
                </a:lnTo>
                <a:lnTo>
                  <a:pt x="953" y="335"/>
                </a:lnTo>
                <a:lnTo>
                  <a:pt x="953" y="334"/>
                </a:lnTo>
                <a:lnTo>
                  <a:pt x="956" y="332"/>
                </a:lnTo>
                <a:lnTo>
                  <a:pt x="958" y="331"/>
                </a:lnTo>
                <a:lnTo>
                  <a:pt x="963" y="331"/>
                </a:lnTo>
                <a:lnTo>
                  <a:pt x="966" y="329"/>
                </a:lnTo>
                <a:lnTo>
                  <a:pt x="973" y="324"/>
                </a:lnTo>
                <a:lnTo>
                  <a:pt x="982" y="321"/>
                </a:lnTo>
                <a:lnTo>
                  <a:pt x="989" y="316"/>
                </a:lnTo>
                <a:lnTo>
                  <a:pt x="996" y="313"/>
                </a:lnTo>
                <a:lnTo>
                  <a:pt x="1003" y="310"/>
                </a:lnTo>
                <a:lnTo>
                  <a:pt x="1011" y="308"/>
                </a:lnTo>
                <a:lnTo>
                  <a:pt x="1013" y="306"/>
                </a:lnTo>
                <a:lnTo>
                  <a:pt x="1015" y="304"/>
                </a:lnTo>
                <a:lnTo>
                  <a:pt x="1020" y="301"/>
                </a:lnTo>
                <a:lnTo>
                  <a:pt x="1024" y="301"/>
                </a:lnTo>
                <a:lnTo>
                  <a:pt x="1033" y="298"/>
                </a:lnTo>
                <a:lnTo>
                  <a:pt x="1041" y="293"/>
                </a:lnTo>
                <a:lnTo>
                  <a:pt x="1048" y="290"/>
                </a:lnTo>
                <a:lnTo>
                  <a:pt x="1056" y="288"/>
                </a:lnTo>
                <a:lnTo>
                  <a:pt x="1063" y="285"/>
                </a:lnTo>
                <a:lnTo>
                  <a:pt x="1070" y="284"/>
                </a:lnTo>
                <a:lnTo>
                  <a:pt x="1074" y="282"/>
                </a:lnTo>
                <a:lnTo>
                  <a:pt x="1078" y="280"/>
                </a:lnTo>
                <a:lnTo>
                  <a:pt x="1081" y="280"/>
                </a:lnTo>
                <a:lnTo>
                  <a:pt x="1085" y="279"/>
                </a:lnTo>
                <a:lnTo>
                  <a:pt x="1086" y="277"/>
                </a:lnTo>
                <a:lnTo>
                  <a:pt x="1086" y="275"/>
                </a:lnTo>
                <a:lnTo>
                  <a:pt x="1086" y="274"/>
                </a:lnTo>
                <a:lnTo>
                  <a:pt x="1084" y="273"/>
                </a:lnTo>
                <a:lnTo>
                  <a:pt x="1079" y="275"/>
                </a:lnTo>
                <a:lnTo>
                  <a:pt x="1073" y="277"/>
                </a:lnTo>
                <a:lnTo>
                  <a:pt x="1070" y="279"/>
                </a:lnTo>
                <a:lnTo>
                  <a:pt x="1064" y="281"/>
                </a:lnTo>
                <a:lnTo>
                  <a:pt x="1062" y="282"/>
                </a:lnTo>
                <a:lnTo>
                  <a:pt x="1060" y="282"/>
                </a:lnTo>
                <a:lnTo>
                  <a:pt x="1057" y="281"/>
                </a:lnTo>
                <a:lnTo>
                  <a:pt x="1056" y="279"/>
                </a:lnTo>
                <a:lnTo>
                  <a:pt x="1073" y="273"/>
                </a:lnTo>
                <a:lnTo>
                  <a:pt x="1089" y="265"/>
                </a:lnTo>
                <a:lnTo>
                  <a:pt x="1097" y="263"/>
                </a:lnTo>
                <a:lnTo>
                  <a:pt x="1106" y="260"/>
                </a:lnTo>
                <a:lnTo>
                  <a:pt x="1114" y="258"/>
                </a:lnTo>
                <a:lnTo>
                  <a:pt x="1122" y="254"/>
                </a:lnTo>
                <a:lnTo>
                  <a:pt x="1127" y="249"/>
                </a:lnTo>
                <a:lnTo>
                  <a:pt x="1132" y="247"/>
                </a:lnTo>
                <a:lnTo>
                  <a:pt x="1139" y="246"/>
                </a:lnTo>
                <a:lnTo>
                  <a:pt x="1146" y="245"/>
                </a:lnTo>
                <a:lnTo>
                  <a:pt x="1153" y="242"/>
                </a:lnTo>
                <a:lnTo>
                  <a:pt x="1159" y="240"/>
                </a:lnTo>
                <a:lnTo>
                  <a:pt x="1161" y="239"/>
                </a:lnTo>
                <a:lnTo>
                  <a:pt x="1161" y="238"/>
                </a:lnTo>
                <a:lnTo>
                  <a:pt x="1161" y="237"/>
                </a:lnTo>
                <a:lnTo>
                  <a:pt x="1160" y="237"/>
                </a:lnTo>
                <a:lnTo>
                  <a:pt x="1157" y="235"/>
                </a:lnTo>
                <a:lnTo>
                  <a:pt x="1155" y="233"/>
                </a:lnTo>
                <a:lnTo>
                  <a:pt x="1165" y="231"/>
                </a:lnTo>
                <a:lnTo>
                  <a:pt x="1175" y="227"/>
                </a:lnTo>
                <a:lnTo>
                  <a:pt x="1179" y="226"/>
                </a:lnTo>
                <a:lnTo>
                  <a:pt x="1184" y="224"/>
                </a:lnTo>
                <a:lnTo>
                  <a:pt x="1185" y="223"/>
                </a:lnTo>
                <a:lnTo>
                  <a:pt x="1185" y="222"/>
                </a:lnTo>
                <a:lnTo>
                  <a:pt x="1184" y="219"/>
                </a:lnTo>
                <a:lnTo>
                  <a:pt x="1183" y="218"/>
                </a:lnTo>
                <a:lnTo>
                  <a:pt x="1180" y="219"/>
                </a:lnTo>
                <a:lnTo>
                  <a:pt x="1178" y="221"/>
                </a:lnTo>
                <a:lnTo>
                  <a:pt x="1177" y="221"/>
                </a:lnTo>
                <a:lnTo>
                  <a:pt x="1176" y="219"/>
                </a:lnTo>
                <a:lnTo>
                  <a:pt x="1176" y="217"/>
                </a:lnTo>
                <a:lnTo>
                  <a:pt x="1177" y="216"/>
                </a:lnTo>
                <a:lnTo>
                  <a:pt x="1181" y="215"/>
                </a:lnTo>
                <a:lnTo>
                  <a:pt x="1186" y="213"/>
                </a:lnTo>
                <a:lnTo>
                  <a:pt x="1188" y="213"/>
                </a:lnTo>
                <a:lnTo>
                  <a:pt x="1192" y="213"/>
                </a:lnTo>
                <a:lnTo>
                  <a:pt x="1194" y="214"/>
                </a:lnTo>
                <a:lnTo>
                  <a:pt x="1195" y="216"/>
                </a:lnTo>
                <a:lnTo>
                  <a:pt x="1196" y="213"/>
                </a:lnTo>
                <a:lnTo>
                  <a:pt x="1195" y="210"/>
                </a:lnTo>
                <a:lnTo>
                  <a:pt x="1198" y="209"/>
                </a:lnTo>
                <a:lnTo>
                  <a:pt x="1201" y="207"/>
                </a:lnTo>
                <a:lnTo>
                  <a:pt x="1200" y="206"/>
                </a:lnTo>
                <a:lnTo>
                  <a:pt x="1198" y="205"/>
                </a:lnTo>
                <a:lnTo>
                  <a:pt x="1196" y="204"/>
                </a:lnTo>
                <a:lnTo>
                  <a:pt x="1193" y="202"/>
                </a:lnTo>
                <a:lnTo>
                  <a:pt x="1189" y="202"/>
                </a:lnTo>
                <a:lnTo>
                  <a:pt x="1187" y="204"/>
                </a:lnTo>
                <a:lnTo>
                  <a:pt x="1183" y="204"/>
                </a:lnTo>
                <a:lnTo>
                  <a:pt x="1177" y="206"/>
                </a:lnTo>
                <a:lnTo>
                  <a:pt x="1173" y="206"/>
                </a:lnTo>
                <a:lnTo>
                  <a:pt x="1171" y="206"/>
                </a:lnTo>
                <a:lnTo>
                  <a:pt x="1169" y="207"/>
                </a:lnTo>
                <a:lnTo>
                  <a:pt x="1168" y="209"/>
                </a:lnTo>
                <a:lnTo>
                  <a:pt x="1171" y="209"/>
                </a:lnTo>
                <a:lnTo>
                  <a:pt x="1172" y="210"/>
                </a:lnTo>
                <a:lnTo>
                  <a:pt x="1172" y="213"/>
                </a:lnTo>
                <a:lnTo>
                  <a:pt x="1170" y="215"/>
                </a:lnTo>
                <a:lnTo>
                  <a:pt x="1164" y="217"/>
                </a:lnTo>
                <a:lnTo>
                  <a:pt x="1157" y="218"/>
                </a:lnTo>
                <a:lnTo>
                  <a:pt x="1156" y="217"/>
                </a:lnTo>
                <a:lnTo>
                  <a:pt x="1156" y="215"/>
                </a:lnTo>
                <a:lnTo>
                  <a:pt x="1157" y="214"/>
                </a:lnTo>
                <a:lnTo>
                  <a:pt x="1160" y="213"/>
                </a:lnTo>
                <a:lnTo>
                  <a:pt x="1163" y="213"/>
                </a:lnTo>
                <a:lnTo>
                  <a:pt x="1165" y="212"/>
                </a:lnTo>
                <a:lnTo>
                  <a:pt x="1168" y="210"/>
                </a:lnTo>
                <a:lnTo>
                  <a:pt x="1168" y="207"/>
                </a:lnTo>
                <a:lnTo>
                  <a:pt x="1160" y="208"/>
                </a:lnTo>
                <a:lnTo>
                  <a:pt x="1152" y="210"/>
                </a:lnTo>
                <a:lnTo>
                  <a:pt x="1144" y="213"/>
                </a:lnTo>
                <a:lnTo>
                  <a:pt x="1137" y="214"/>
                </a:lnTo>
                <a:lnTo>
                  <a:pt x="1129" y="216"/>
                </a:lnTo>
                <a:lnTo>
                  <a:pt x="1121" y="219"/>
                </a:lnTo>
                <a:lnTo>
                  <a:pt x="1118" y="221"/>
                </a:lnTo>
                <a:lnTo>
                  <a:pt x="1113" y="221"/>
                </a:lnTo>
                <a:lnTo>
                  <a:pt x="1109" y="221"/>
                </a:lnTo>
                <a:lnTo>
                  <a:pt x="1105" y="221"/>
                </a:lnTo>
                <a:lnTo>
                  <a:pt x="1109" y="217"/>
                </a:lnTo>
                <a:lnTo>
                  <a:pt x="1113" y="215"/>
                </a:lnTo>
                <a:lnTo>
                  <a:pt x="1120" y="213"/>
                </a:lnTo>
                <a:lnTo>
                  <a:pt x="1127" y="210"/>
                </a:lnTo>
                <a:lnTo>
                  <a:pt x="1130" y="210"/>
                </a:lnTo>
                <a:lnTo>
                  <a:pt x="1132" y="207"/>
                </a:lnTo>
                <a:lnTo>
                  <a:pt x="1132" y="205"/>
                </a:lnTo>
                <a:lnTo>
                  <a:pt x="1131" y="205"/>
                </a:lnTo>
                <a:lnTo>
                  <a:pt x="1130" y="205"/>
                </a:lnTo>
                <a:lnTo>
                  <a:pt x="1129" y="205"/>
                </a:lnTo>
                <a:lnTo>
                  <a:pt x="1117" y="208"/>
                </a:lnTo>
                <a:lnTo>
                  <a:pt x="1104" y="212"/>
                </a:lnTo>
                <a:lnTo>
                  <a:pt x="1095" y="213"/>
                </a:lnTo>
                <a:lnTo>
                  <a:pt x="1087" y="216"/>
                </a:lnTo>
                <a:lnTo>
                  <a:pt x="1076" y="221"/>
                </a:lnTo>
                <a:lnTo>
                  <a:pt x="1063" y="224"/>
                </a:lnTo>
                <a:lnTo>
                  <a:pt x="1058" y="225"/>
                </a:lnTo>
                <a:lnTo>
                  <a:pt x="1052" y="227"/>
                </a:lnTo>
                <a:lnTo>
                  <a:pt x="1045" y="229"/>
                </a:lnTo>
                <a:lnTo>
                  <a:pt x="1040" y="227"/>
                </a:lnTo>
                <a:lnTo>
                  <a:pt x="1039" y="226"/>
                </a:lnTo>
                <a:lnTo>
                  <a:pt x="1039" y="224"/>
                </a:lnTo>
                <a:lnTo>
                  <a:pt x="1040" y="224"/>
                </a:lnTo>
                <a:lnTo>
                  <a:pt x="1041" y="223"/>
                </a:lnTo>
                <a:lnTo>
                  <a:pt x="1045" y="222"/>
                </a:lnTo>
                <a:lnTo>
                  <a:pt x="1048" y="222"/>
                </a:lnTo>
                <a:lnTo>
                  <a:pt x="1054" y="221"/>
                </a:lnTo>
                <a:lnTo>
                  <a:pt x="1058" y="219"/>
                </a:lnTo>
                <a:lnTo>
                  <a:pt x="1060" y="219"/>
                </a:lnTo>
                <a:lnTo>
                  <a:pt x="1062" y="217"/>
                </a:lnTo>
                <a:lnTo>
                  <a:pt x="1063" y="216"/>
                </a:lnTo>
                <a:lnTo>
                  <a:pt x="1063" y="214"/>
                </a:lnTo>
                <a:lnTo>
                  <a:pt x="1063" y="215"/>
                </a:lnTo>
                <a:lnTo>
                  <a:pt x="1061" y="216"/>
                </a:lnTo>
                <a:lnTo>
                  <a:pt x="1058" y="217"/>
                </a:lnTo>
                <a:lnTo>
                  <a:pt x="1056" y="216"/>
                </a:lnTo>
                <a:lnTo>
                  <a:pt x="1055" y="214"/>
                </a:lnTo>
                <a:lnTo>
                  <a:pt x="1054" y="212"/>
                </a:lnTo>
                <a:lnTo>
                  <a:pt x="1052" y="210"/>
                </a:lnTo>
                <a:lnTo>
                  <a:pt x="1051" y="212"/>
                </a:lnTo>
                <a:lnTo>
                  <a:pt x="1047" y="213"/>
                </a:lnTo>
                <a:lnTo>
                  <a:pt x="1043" y="214"/>
                </a:lnTo>
                <a:lnTo>
                  <a:pt x="1041" y="214"/>
                </a:lnTo>
                <a:lnTo>
                  <a:pt x="1040" y="214"/>
                </a:lnTo>
                <a:lnTo>
                  <a:pt x="1040" y="213"/>
                </a:lnTo>
                <a:lnTo>
                  <a:pt x="1040" y="210"/>
                </a:lnTo>
                <a:lnTo>
                  <a:pt x="1043" y="209"/>
                </a:lnTo>
                <a:lnTo>
                  <a:pt x="1046" y="209"/>
                </a:lnTo>
                <a:lnTo>
                  <a:pt x="1048" y="208"/>
                </a:lnTo>
                <a:lnTo>
                  <a:pt x="1051" y="208"/>
                </a:lnTo>
                <a:lnTo>
                  <a:pt x="1052" y="206"/>
                </a:lnTo>
                <a:lnTo>
                  <a:pt x="1054" y="204"/>
                </a:lnTo>
                <a:lnTo>
                  <a:pt x="1062" y="201"/>
                </a:lnTo>
                <a:lnTo>
                  <a:pt x="1070" y="199"/>
                </a:lnTo>
                <a:lnTo>
                  <a:pt x="1073" y="197"/>
                </a:lnTo>
                <a:lnTo>
                  <a:pt x="1077" y="193"/>
                </a:lnTo>
                <a:lnTo>
                  <a:pt x="1077" y="192"/>
                </a:lnTo>
                <a:lnTo>
                  <a:pt x="1077" y="191"/>
                </a:lnTo>
                <a:lnTo>
                  <a:pt x="1078" y="191"/>
                </a:lnTo>
                <a:lnTo>
                  <a:pt x="1080" y="191"/>
                </a:lnTo>
                <a:lnTo>
                  <a:pt x="1081" y="190"/>
                </a:lnTo>
                <a:lnTo>
                  <a:pt x="1080" y="189"/>
                </a:lnTo>
                <a:lnTo>
                  <a:pt x="1077" y="189"/>
                </a:lnTo>
                <a:lnTo>
                  <a:pt x="1072" y="190"/>
                </a:lnTo>
                <a:lnTo>
                  <a:pt x="1064" y="194"/>
                </a:lnTo>
                <a:lnTo>
                  <a:pt x="1055" y="198"/>
                </a:lnTo>
                <a:lnTo>
                  <a:pt x="1046" y="201"/>
                </a:lnTo>
                <a:lnTo>
                  <a:pt x="1038" y="205"/>
                </a:lnTo>
                <a:lnTo>
                  <a:pt x="1029" y="209"/>
                </a:lnTo>
                <a:lnTo>
                  <a:pt x="1018" y="213"/>
                </a:lnTo>
                <a:lnTo>
                  <a:pt x="1007" y="217"/>
                </a:lnTo>
                <a:lnTo>
                  <a:pt x="996" y="222"/>
                </a:lnTo>
                <a:lnTo>
                  <a:pt x="984" y="226"/>
                </a:lnTo>
                <a:lnTo>
                  <a:pt x="973" y="232"/>
                </a:lnTo>
                <a:lnTo>
                  <a:pt x="963" y="235"/>
                </a:lnTo>
                <a:lnTo>
                  <a:pt x="953" y="239"/>
                </a:lnTo>
                <a:lnTo>
                  <a:pt x="941" y="245"/>
                </a:lnTo>
                <a:lnTo>
                  <a:pt x="931" y="249"/>
                </a:lnTo>
                <a:lnTo>
                  <a:pt x="920" y="255"/>
                </a:lnTo>
                <a:lnTo>
                  <a:pt x="908" y="259"/>
                </a:lnTo>
                <a:lnTo>
                  <a:pt x="898" y="264"/>
                </a:lnTo>
                <a:lnTo>
                  <a:pt x="887" y="270"/>
                </a:lnTo>
                <a:lnTo>
                  <a:pt x="875" y="275"/>
                </a:lnTo>
                <a:lnTo>
                  <a:pt x="863" y="281"/>
                </a:lnTo>
                <a:lnTo>
                  <a:pt x="851" y="287"/>
                </a:lnTo>
                <a:lnTo>
                  <a:pt x="840" y="292"/>
                </a:lnTo>
                <a:lnTo>
                  <a:pt x="829" y="299"/>
                </a:lnTo>
                <a:lnTo>
                  <a:pt x="817" y="306"/>
                </a:lnTo>
                <a:lnTo>
                  <a:pt x="812" y="309"/>
                </a:lnTo>
                <a:lnTo>
                  <a:pt x="805" y="312"/>
                </a:lnTo>
                <a:lnTo>
                  <a:pt x="799" y="313"/>
                </a:lnTo>
                <a:lnTo>
                  <a:pt x="792" y="314"/>
                </a:lnTo>
                <a:lnTo>
                  <a:pt x="792" y="312"/>
                </a:lnTo>
                <a:lnTo>
                  <a:pt x="793" y="310"/>
                </a:lnTo>
                <a:lnTo>
                  <a:pt x="796" y="308"/>
                </a:lnTo>
                <a:lnTo>
                  <a:pt x="798" y="307"/>
                </a:lnTo>
                <a:lnTo>
                  <a:pt x="802" y="306"/>
                </a:lnTo>
                <a:lnTo>
                  <a:pt x="806" y="305"/>
                </a:lnTo>
                <a:lnTo>
                  <a:pt x="815" y="299"/>
                </a:lnTo>
                <a:lnTo>
                  <a:pt x="824" y="293"/>
                </a:lnTo>
                <a:lnTo>
                  <a:pt x="834" y="288"/>
                </a:lnTo>
                <a:lnTo>
                  <a:pt x="845" y="282"/>
                </a:lnTo>
                <a:lnTo>
                  <a:pt x="856" y="276"/>
                </a:lnTo>
                <a:lnTo>
                  <a:pt x="866" y="271"/>
                </a:lnTo>
                <a:lnTo>
                  <a:pt x="876" y="265"/>
                </a:lnTo>
                <a:lnTo>
                  <a:pt x="887" y="260"/>
                </a:lnTo>
                <a:lnTo>
                  <a:pt x="898" y="255"/>
                </a:lnTo>
                <a:lnTo>
                  <a:pt x="908" y="249"/>
                </a:lnTo>
                <a:lnTo>
                  <a:pt x="912" y="247"/>
                </a:lnTo>
                <a:lnTo>
                  <a:pt x="916" y="243"/>
                </a:lnTo>
                <a:lnTo>
                  <a:pt x="920" y="242"/>
                </a:lnTo>
                <a:lnTo>
                  <a:pt x="923" y="242"/>
                </a:lnTo>
                <a:lnTo>
                  <a:pt x="925" y="240"/>
                </a:lnTo>
                <a:lnTo>
                  <a:pt x="928" y="237"/>
                </a:lnTo>
                <a:lnTo>
                  <a:pt x="929" y="234"/>
                </a:lnTo>
                <a:lnTo>
                  <a:pt x="930" y="233"/>
                </a:lnTo>
                <a:lnTo>
                  <a:pt x="932" y="233"/>
                </a:lnTo>
                <a:lnTo>
                  <a:pt x="936" y="232"/>
                </a:lnTo>
                <a:lnTo>
                  <a:pt x="940" y="231"/>
                </a:lnTo>
                <a:lnTo>
                  <a:pt x="942" y="227"/>
                </a:lnTo>
                <a:lnTo>
                  <a:pt x="948" y="225"/>
                </a:lnTo>
                <a:lnTo>
                  <a:pt x="954" y="223"/>
                </a:lnTo>
                <a:lnTo>
                  <a:pt x="965" y="219"/>
                </a:lnTo>
                <a:lnTo>
                  <a:pt x="977" y="216"/>
                </a:lnTo>
                <a:lnTo>
                  <a:pt x="988" y="213"/>
                </a:lnTo>
                <a:lnTo>
                  <a:pt x="998" y="208"/>
                </a:lnTo>
                <a:lnTo>
                  <a:pt x="1010" y="204"/>
                </a:lnTo>
                <a:lnTo>
                  <a:pt x="1021" y="199"/>
                </a:lnTo>
                <a:lnTo>
                  <a:pt x="1024" y="198"/>
                </a:lnTo>
                <a:lnTo>
                  <a:pt x="1028" y="196"/>
                </a:lnTo>
                <a:lnTo>
                  <a:pt x="1030" y="194"/>
                </a:lnTo>
                <a:lnTo>
                  <a:pt x="1030" y="192"/>
                </a:lnTo>
                <a:lnTo>
                  <a:pt x="1030" y="191"/>
                </a:lnTo>
                <a:lnTo>
                  <a:pt x="1028" y="190"/>
                </a:lnTo>
                <a:lnTo>
                  <a:pt x="1024" y="190"/>
                </a:lnTo>
                <a:lnTo>
                  <a:pt x="1021" y="191"/>
                </a:lnTo>
                <a:lnTo>
                  <a:pt x="1016" y="191"/>
                </a:lnTo>
                <a:lnTo>
                  <a:pt x="1011" y="191"/>
                </a:lnTo>
                <a:lnTo>
                  <a:pt x="1002" y="193"/>
                </a:lnTo>
                <a:lnTo>
                  <a:pt x="991" y="199"/>
                </a:lnTo>
                <a:lnTo>
                  <a:pt x="980" y="204"/>
                </a:lnTo>
                <a:lnTo>
                  <a:pt x="969" y="208"/>
                </a:lnTo>
                <a:lnTo>
                  <a:pt x="957" y="213"/>
                </a:lnTo>
                <a:lnTo>
                  <a:pt x="947" y="217"/>
                </a:lnTo>
                <a:lnTo>
                  <a:pt x="942" y="219"/>
                </a:lnTo>
                <a:lnTo>
                  <a:pt x="937" y="219"/>
                </a:lnTo>
                <a:lnTo>
                  <a:pt x="932" y="223"/>
                </a:lnTo>
                <a:lnTo>
                  <a:pt x="928" y="225"/>
                </a:lnTo>
                <a:lnTo>
                  <a:pt x="916" y="229"/>
                </a:lnTo>
                <a:lnTo>
                  <a:pt x="904" y="232"/>
                </a:lnTo>
                <a:lnTo>
                  <a:pt x="900" y="233"/>
                </a:lnTo>
                <a:lnTo>
                  <a:pt x="897" y="235"/>
                </a:lnTo>
                <a:lnTo>
                  <a:pt x="895" y="238"/>
                </a:lnTo>
                <a:lnTo>
                  <a:pt x="892" y="240"/>
                </a:lnTo>
                <a:lnTo>
                  <a:pt x="888" y="241"/>
                </a:lnTo>
                <a:lnTo>
                  <a:pt x="883" y="240"/>
                </a:lnTo>
                <a:lnTo>
                  <a:pt x="879" y="241"/>
                </a:lnTo>
                <a:lnTo>
                  <a:pt x="875" y="243"/>
                </a:lnTo>
                <a:lnTo>
                  <a:pt x="866" y="248"/>
                </a:lnTo>
                <a:lnTo>
                  <a:pt x="857" y="251"/>
                </a:lnTo>
                <a:lnTo>
                  <a:pt x="850" y="249"/>
                </a:lnTo>
                <a:lnTo>
                  <a:pt x="843" y="248"/>
                </a:lnTo>
                <a:lnTo>
                  <a:pt x="841" y="249"/>
                </a:lnTo>
                <a:lnTo>
                  <a:pt x="838" y="251"/>
                </a:lnTo>
                <a:lnTo>
                  <a:pt x="833" y="252"/>
                </a:lnTo>
                <a:lnTo>
                  <a:pt x="829" y="255"/>
                </a:lnTo>
                <a:lnTo>
                  <a:pt x="826" y="256"/>
                </a:lnTo>
                <a:lnTo>
                  <a:pt x="823" y="258"/>
                </a:lnTo>
                <a:lnTo>
                  <a:pt x="821" y="259"/>
                </a:lnTo>
                <a:lnTo>
                  <a:pt x="819" y="259"/>
                </a:lnTo>
                <a:lnTo>
                  <a:pt x="819" y="258"/>
                </a:lnTo>
                <a:lnTo>
                  <a:pt x="819" y="256"/>
                </a:lnTo>
                <a:lnTo>
                  <a:pt x="822" y="254"/>
                </a:lnTo>
                <a:lnTo>
                  <a:pt x="825" y="251"/>
                </a:lnTo>
                <a:lnTo>
                  <a:pt x="830" y="249"/>
                </a:lnTo>
                <a:lnTo>
                  <a:pt x="833" y="248"/>
                </a:lnTo>
                <a:lnTo>
                  <a:pt x="834" y="247"/>
                </a:lnTo>
                <a:lnTo>
                  <a:pt x="835" y="247"/>
                </a:lnTo>
                <a:lnTo>
                  <a:pt x="837" y="246"/>
                </a:lnTo>
                <a:lnTo>
                  <a:pt x="837" y="243"/>
                </a:lnTo>
                <a:lnTo>
                  <a:pt x="837" y="242"/>
                </a:lnTo>
                <a:lnTo>
                  <a:pt x="835" y="241"/>
                </a:lnTo>
                <a:lnTo>
                  <a:pt x="833" y="241"/>
                </a:lnTo>
                <a:lnTo>
                  <a:pt x="832" y="242"/>
                </a:lnTo>
                <a:lnTo>
                  <a:pt x="821" y="248"/>
                </a:lnTo>
                <a:lnTo>
                  <a:pt x="809" y="255"/>
                </a:lnTo>
                <a:lnTo>
                  <a:pt x="799" y="260"/>
                </a:lnTo>
                <a:lnTo>
                  <a:pt x="788" y="265"/>
                </a:lnTo>
                <a:lnTo>
                  <a:pt x="784" y="267"/>
                </a:lnTo>
                <a:lnTo>
                  <a:pt x="778" y="270"/>
                </a:lnTo>
                <a:lnTo>
                  <a:pt x="776" y="270"/>
                </a:lnTo>
                <a:lnTo>
                  <a:pt x="775" y="270"/>
                </a:lnTo>
                <a:lnTo>
                  <a:pt x="775" y="268"/>
                </a:lnTo>
                <a:lnTo>
                  <a:pt x="776" y="266"/>
                </a:lnTo>
                <a:lnTo>
                  <a:pt x="785" y="260"/>
                </a:lnTo>
                <a:lnTo>
                  <a:pt x="796" y="255"/>
                </a:lnTo>
                <a:lnTo>
                  <a:pt x="807" y="249"/>
                </a:lnTo>
                <a:lnTo>
                  <a:pt x="816" y="242"/>
                </a:lnTo>
                <a:lnTo>
                  <a:pt x="827" y="234"/>
                </a:lnTo>
                <a:lnTo>
                  <a:pt x="838" y="227"/>
                </a:lnTo>
                <a:lnTo>
                  <a:pt x="845" y="224"/>
                </a:lnTo>
                <a:lnTo>
                  <a:pt x="850" y="221"/>
                </a:lnTo>
                <a:lnTo>
                  <a:pt x="855" y="219"/>
                </a:lnTo>
                <a:lnTo>
                  <a:pt x="859" y="217"/>
                </a:lnTo>
                <a:lnTo>
                  <a:pt x="859" y="214"/>
                </a:lnTo>
                <a:lnTo>
                  <a:pt x="858" y="209"/>
                </a:lnTo>
                <a:lnTo>
                  <a:pt x="859" y="208"/>
                </a:lnTo>
                <a:lnTo>
                  <a:pt x="860" y="206"/>
                </a:lnTo>
                <a:lnTo>
                  <a:pt x="856" y="206"/>
                </a:lnTo>
                <a:lnTo>
                  <a:pt x="851" y="208"/>
                </a:lnTo>
                <a:lnTo>
                  <a:pt x="839" y="214"/>
                </a:lnTo>
                <a:lnTo>
                  <a:pt x="826" y="221"/>
                </a:lnTo>
                <a:lnTo>
                  <a:pt x="815" y="226"/>
                </a:lnTo>
                <a:lnTo>
                  <a:pt x="802" y="233"/>
                </a:lnTo>
                <a:lnTo>
                  <a:pt x="793" y="239"/>
                </a:lnTo>
                <a:lnTo>
                  <a:pt x="783" y="242"/>
                </a:lnTo>
                <a:lnTo>
                  <a:pt x="778" y="243"/>
                </a:lnTo>
                <a:lnTo>
                  <a:pt x="775" y="245"/>
                </a:lnTo>
                <a:lnTo>
                  <a:pt x="773" y="246"/>
                </a:lnTo>
                <a:lnTo>
                  <a:pt x="772" y="250"/>
                </a:lnTo>
                <a:lnTo>
                  <a:pt x="768" y="248"/>
                </a:lnTo>
                <a:lnTo>
                  <a:pt x="767" y="247"/>
                </a:lnTo>
                <a:lnTo>
                  <a:pt x="768" y="246"/>
                </a:lnTo>
                <a:lnTo>
                  <a:pt x="769" y="243"/>
                </a:lnTo>
                <a:lnTo>
                  <a:pt x="774" y="241"/>
                </a:lnTo>
                <a:lnTo>
                  <a:pt x="780" y="239"/>
                </a:lnTo>
                <a:lnTo>
                  <a:pt x="783" y="239"/>
                </a:lnTo>
                <a:lnTo>
                  <a:pt x="785" y="237"/>
                </a:lnTo>
                <a:lnTo>
                  <a:pt x="786" y="233"/>
                </a:lnTo>
                <a:lnTo>
                  <a:pt x="789" y="230"/>
                </a:lnTo>
                <a:lnTo>
                  <a:pt x="794" y="225"/>
                </a:lnTo>
                <a:lnTo>
                  <a:pt x="800" y="221"/>
                </a:lnTo>
                <a:lnTo>
                  <a:pt x="806" y="217"/>
                </a:lnTo>
                <a:lnTo>
                  <a:pt x="812" y="214"/>
                </a:lnTo>
                <a:lnTo>
                  <a:pt x="824" y="206"/>
                </a:lnTo>
                <a:lnTo>
                  <a:pt x="837" y="199"/>
                </a:lnTo>
                <a:lnTo>
                  <a:pt x="848" y="192"/>
                </a:lnTo>
                <a:lnTo>
                  <a:pt x="860" y="187"/>
                </a:lnTo>
                <a:lnTo>
                  <a:pt x="870" y="182"/>
                </a:lnTo>
                <a:lnTo>
                  <a:pt x="878" y="176"/>
                </a:lnTo>
                <a:lnTo>
                  <a:pt x="882" y="175"/>
                </a:lnTo>
                <a:lnTo>
                  <a:pt x="887" y="174"/>
                </a:lnTo>
                <a:lnTo>
                  <a:pt x="889" y="174"/>
                </a:lnTo>
                <a:lnTo>
                  <a:pt x="891" y="173"/>
                </a:lnTo>
                <a:lnTo>
                  <a:pt x="892" y="172"/>
                </a:lnTo>
                <a:lnTo>
                  <a:pt x="893" y="171"/>
                </a:lnTo>
                <a:lnTo>
                  <a:pt x="897" y="166"/>
                </a:lnTo>
                <a:lnTo>
                  <a:pt x="899" y="165"/>
                </a:lnTo>
                <a:lnTo>
                  <a:pt x="901" y="165"/>
                </a:lnTo>
                <a:lnTo>
                  <a:pt x="905" y="168"/>
                </a:lnTo>
                <a:lnTo>
                  <a:pt x="906" y="166"/>
                </a:lnTo>
                <a:lnTo>
                  <a:pt x="906" y="164"/>
                </a:lnTo>
                <a:lnTo>
                  <a:pt x="908" y="163"/>
                </a:lnTo>
                <a:lnTo>
                  <a:pt x="911" y="163"/>
                </a:lnTo>
                <a:lnTo>
                  <a:pt x="913" y="159"/>
                </a:lnTo>
                <a:lnTo>
                  <a:pt x="916" y="156"/>
                </a:lnTo>
                <a:lnTo>
                  <a:pt x="920" y="154"/>
                </a:lnTo>
                <a:lnTo>
                  <a:pt x="923" y="154"/>
                </a:lnTo>
                <a:lnTo>
                  <a:pt x="932" y="154"/>
                </a:lnTo>
                <a:lnTo>
                  <a:pt x="940" y="151"/>
                </a:lnTo>
                <a:lnTo>
                  <a:pt x="949" y="147"/>
                </a:lnTo>
                <a:lnTo>
                  <a:pt x="957" y="141"/>
                </a:lnTo>
                <a:lnTo>
                  <a:pt x="947" y="140"/>
                </a:lnTo>
                <a:lnTo>
                  <a:pt x="938" y="141"/>
                </a:lnTo>
                <a:lnTo>
                  <a:pt x="929" y="143"/>
                </a:lnTo>
                <a:lnTo>
                  <a:pt x="918" y="146"/>
                </a:lnTo>
                <a:lnTo>
                  <a:pt x="909" y="148"/>
                </a:lnTo>
                <a:lnTo>
                  <a:pt x="900" y="151"/>
                </a:lnTo>
                <a:lnTo>
                  <a:pt x="890" y="154"/>
                </a:lnTo>
                <a:lnTo>
                  <a:pt x="881" y="157"/>
                </a:lnTo>
                <a:lnTo>
                  <a:pt x="874" y="159"/>
                </a:lnTo>
                <a:lnTo>
                  <a:pt x="867" y="160"/>
                </a:lnTo>
                <a:lnTo>
                  <a:pt x="860" y="163"/>
                </a:lnTo>
                <a:lnTo>
                  <a:pt x="855" y="167"/>
                </a:lnTo>
                <a:lnTo>
                  <a:pt x="852" y="169"/>
                </a:lnTo>
                <a:lnTo>
                  <a:pt x="850" y="173"/>
                </a:lnTo>
                <a:lnTo>
                  <a:pt x="849" y="174"/>
                </a:lnTo>
                <a:lnTo>
                  <a:pt x="848" y="174"/>
                </a:lnTo>
                <a:lnTo>
                  <a:pt x="847" y="174"/>
                </a:lnTo>
                <a:lnTo>
                  <a:pt x="846" y="173"/>
                </a:lnTo>
                <a:lnTo>
                  <a:pt x="846" y="168"/>
                </a:lnTo>
                <a:lnTo>
                  <a:pt x="848" y="165"/>
                </a:lnTo>
                <a:lnTo>
                  <a:pt x="848" y="160"/>
                </a:lnTo>
                <a:lnTo>
                  <a:pt x="847" y="156"/>
                </a:lnTo>
                <a:lnTo>
                  <a:pt x="845" y="159"/>
                </a:lnTo>
                <a:lnTo>
                  <a:pt x="842" y="164"/>
                </a:lnTo>
                <a:lnTo>
                  <a:pt x="841" y="168"/>
                </a:lnTo>
                <a:lnTo>
                  <a:pt x="841" y="173"/>
                </a:lnTo>
                <a:lnTo>
                  <a:pt x="842" y="175"/>
                </a:lnTo>
                <a:lnTo>
                  <a:pt x="841" y="179"/>
                </a:lnTo>
                <a:lnTo>
                  <a:pt x="839" y="180"/>
                </a:lnTo>
                <a:lnTo>
                  <a:pt x="835" y="180"/>
                </a:lnTo>
                <a:lnTo>
                  <a:pt x="835" y="177"/>
                </a:lnTo>
                <a:lnTo>
                  <a:pt x="835" y="176"/>
                </a:lnTo>
                <a:lnTo>
                  <a:pt x="837" y="174"/>
                </a:lnTo>
                <a:lnTo>
                  <a:pt x="834" y="174"/>
                </a:lnTo>
                <a:lnTo>
                  <a:pt x="830" y="176"/>
                </a:lnTo>
                <a:lnTo>
                  <a:pt x="826" y="179"/>
                </a:lnTo>
                <a:lnTo>
                  <a:pt x="822" y="181"/>
                </a:lnTo>
                <a:lnTo>
                  <a:pt x="816" y="182"/>
                </a:lnTo>
                <a:lnTo>
                  <a:pt x="817" y="179"/>
                </a:lnTo>
                <a:lnTo>
                  <a:pt x="818" y="177"/>
                </a:lnTo>
                <a:lnTo>
                  <a:pt x="821" y="175"/>
                </a:lnTo>
                <a:lnTo>
                  <a:pt x="823" y="174"/>
                </a:lnTo>
                <a:lnTo>
                  <a:pt x="827" y="172"/>
                </a:lnTo>
                <a:lnTo>
                  <a:pt x="832" y="171"/>
                </a:lnTo>
                <a:lnTo>
                  <a:pt x="834" y="168"/>
                </a:lnTo>
                <a:lnTo>
                  <a:pt x="835" y="167"/>
                </a:lnTo>
                <a:lnTo>
                  <a:pt x="834" y="166"/>
                </a:lnTo>
                <a:lnTo>
                  <a:pt x="833" y="166"/>
                </a:lnTo>
                <a:lnTo>
                  <a:pt x="827" y="166"/>
                </a:lnTo>
                <a:lnTo>
                  <a:pt x="824" y="164"/>
                </a:lnTo>
                <a:lnTo>
                  <a:pt x="835" y="158"/>
                </a:lnTo>
                <a:lnTo>
                  <a:pt x="847" y="151"/>
                </a:lnTo>
                <a:lnTo>
                  <a:pt x="842" y="151"/>
                </a:lnTo>
                <a:lnTo>
                  <a:pt x="837" y="151"/>
                </a:lnTo>
                <a:lnTo>
                  <a:pt x="832" y="150"/>
                </a:lnTo>
                <a:lnTo>
                  <a:pt x="829" y="150"/>
                </a:lnTo>
                <a:lnTo>
                  <a:pt x="827" y="155"/>
                </a:lnTo>
                <a:lnTo>
                  <a:pt x="825" y="158"/>
                </a:lnTo>
                <a:lnTo>
                  <a:pt x="822" y="159"/>
                </a:lnTo>
                <a:lnTo>
                  <a:pt x="818" y="160"/>
                </a:lnTo>
                <a:lnTo>
                  <a:pt x="815" y="160"/>
                </a:lnTo>
                <a:lnTo>
                  <a:pt x="812" y="159"/>
                </a:lnTo>
                <a:lnTo>
                  <a:pt x="812" y="158"/>
                </a:lnTo>
                <a:lnTo>
                  <a:pt x="810" y="157"/>
                </a:lnTo>
                <a:lnTo>
                  <a:pt x="806" y="157"/>
                </a:lnTo>
                <a:lnTo>
                  <a:pt x="802" y="158"/>
                </a:lnTo>
                <a:lnTo>
                  <a:pt x="800" y="162"/>
                </a:lnTo>
                <a:lnTo>
                  <a:pt x="797" y="163"/>
                </a:lnTo>
                <a:lnTo>
                  <a:pt x="796" y="163"/>
                </a:lnTo>
                <a:lnTo>
                  <a:pt x="793" y="162"/>
                </a:lnTo>
                <a:lnTo>
                  <a:pt x="792" y="159"/>
                </a:lnTo>
                <a:lnTo>
                  <a:pt x="792" y="158"/>
                </a:lnTo>
                <a:lnTo>
                  <a:pt x="798" y="155"/>
                </a:lnTo>
                <a:lnTo>
                  <a:pt x="805" y="152"/>
                </a:lnTo>
                <a:lnTo>
                  <a:pt x="808" y="149"/>
                </a:lnTo>
                <a:lnTo>
                  <a:pt x="814" y="148"/>
                </a:lnTo>
                <a:lnTo>
                  <a:pt x="817" y="149"/>
                </a:lnTo>
                <a:lnTo>
                  <a:pt x="822" y="151"/>
                </a:lnTo>
                <a:lnTo>
                  <a:pt x="824" y="147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6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39"/>
                </a:lnTo>
                <a:lnTo>
                  <a:pt x="825" y="140"/>
                </a:lnTo>
                <a:lnTo>
                  <a:pt x="825" y="141"/>
                </a:lnTo>
                <a:lnTo>
                  <a:pt x="822" y="140"/>
                </a:lnTo>
                <a:lnTo>
                  <a:pt x="821" y="139"/>
                </a:lnTo>
                <a:lnTo>
                  <a:pt x="818" y="138"/>
                </a:lnTo>
                <a:lnTo>
                  <a:pt x="817" y="135"/>
                </a:lnTo>
                <a:lnTo>
                  <a:pt x="817" y="134"/>
                </a:lnTo>
                <a:lnTo>
                  <a:pt x="818" y="132"/>
                </a:lnTo>
                <a:lnTo>
                  <a:pt x="816" y="132"/>
                </a:lnTo>
                <a:lnTo>
                  <a:pt x="815" y="132"/>
                </a:lnTo>
                <a:lnTo>
                  <a:pt x="814" y="133"/>
                </a:lnTo>
                <a:lnTo>
                  <a:pt x="814" y="134"/>
                </a:lnTo>
                <a:lnTo>
                  <a:pt x="810" y="136"/>
                </a:lnTo>
                <a:lnTo>
                  <a:pt x="807" y="139"/>
                </a:lnTo>
                <a:lnTo>
                  <a:pt x="804" y="140"/>
                </a:lnTo>
                <a:lnTo>
                  <a:pt x="799" y="141"/>
                </a:lnTo>
                <a:lnTo>
                  <a:pt x="790" y="143"/>
                </a:lnTo>
                <a:lnTo>
                  <a:pt x="780" y="147"/>
                </a:lnTo>
                <a:lnTo>
                  <a:pt x="764" y="155"/>
                </a:lnTo>
                <a:lnTo>
                  <a:pt x="748" y="162"/>
                </a:lnTo>
                <a:lnTo>
                  <a:pt x="744" y="163"/>
                </a:lnTo>
                <a:lnTo>
                  <a:pt x="742" y="165"/>
                </a:lnTo>
                <a:lnTo>
                  <a:pt x="742" y="166"/>
                </a:lnTo>
                <a:lnTo>
                  <a:pt x="741" y="167"/>
                </a:lnTo>
                <a:lnTo>
                  <a:pt x="741" y="168"/>
                </a:lnTo>
                <a:lnTo>
                  <a:pt x="741" y="169"/>
                </a:lnTo>
                <a:lnTo>
                  <a:pt x="740" y="169"/>
                </a:lnTo>
                <a:lnTo>
                  <a:pt x="739" y="168"/>
                </a:lnTo>
                <a:lnTo>
                  <a:pt x="728" y="173"/>
                </a:lnTo>
                <a:lnTo>
                  <a:pt x="718" y="175"/>
                </a:lnTo>
                <a:lnTo>
                  <a:pt x="725" y="168"/>
                </a:lnTo>
                <a:lnTo>
                  <a:pt x="733" y="163"/>
                </a:lnTo>
                <a:lnTo>
                  <a:pt x="741" y="158"/>
                </a:lnTo>
                <a:lnTo>
                  <a:pt x="750" y="154"/>
                </a:lnTo>
                <a:lnTo>
                  <a:pt x="753" y="151"/>
                </a:lnTo>
                <a:lnTo>
                  <a:pt x="759" y="149"/>
                </a:lnTo>
                <a:lnTo>
                  <a:pt x="763" y="149"/>
                </a:lnTo>
                <a:lnTo>
                  <a:pt x="766" y="148"/>
                </a:lnTo>
                <a:lnTo>
                  <a:pt x="769" y="148"/>
                </a:lnTo>
                <a:lnTo>
                  <a:pt x="773" y="147"/>
                </a:lnTo>
                <a:lnTo>
                  <a:pt x="776" y="144"/>
                </a:lnTo>
                <a:lnTo>
                  <a:pt x="780" y="142"/>
                </a:lnTo>
                <a:lnTo>
                  <a:pt x="783" y="136"/>
                </a:lnTo>
                <a:lnTo>
                  <a:pt x="788" y="131"/>
                </a:lnTo>
                <a:lnTo>
                  <a:pt x="791" y="130"/>
                </a:lnTo>
                <a:lnTo>
                  <a:pt x="794" y="129"/>
                </a:lnTo>
                <a:lnTo>
                  <a:pt x="796" y="129"/>
                </a:lnTo>
                <a:lnTo>
                  <a:pt x="797" y="127"/>
                </a:lnTo>
                <a:lnTo>
                  <a:pt x="798" y="126"/>
                </a:lnTo>
                <a:lnTo>
                  <a:pt x="798" y="125"/>
                </a:lnTo>
                <a:lnTo>
                  <a:pt x="796" y="123"/>
                </a:lnTo>
                <a:lnTo>
                  <a:pt x="793" y="123"/>
                </a:lnTo>
                <a:lnTo>
                  <a:pt x="789" y="124"/>
                </a:lnTo>
                <a:lnTo>
                  <a:pt x="784" y="126"/>
                </a:lnTo>
                <a:lnTo>
                  <a:pt x="775" y="132"/>
                </a:lnTo>
                <a:lnTo>
                  <a:pt x="769" y="134"/>
                </a:lnTo>
                <a:lnTo>
                  <a:pt x="766" y="134"/>
                </a:lnTo>
                <a:lnTo>
                  <a:pt x="765" y="134"/>
                </a:lnTo>
                <a:lnTo>
                  <a:pt x="763" y="136"/>
                </a:lnTo>
                <a:lnTo>
                  <a:pt x="759" y="138"/>
                </a:lnTo>
                <a:lnTo>
                  <a:pt x="756" y="136"/>
                </a:lnTo>
                <a:lnTo>
                  <a:pt x="756" y="134"/>
                </a:lnTo>
                <a:lnTo>
                  <a:pt x="756" y="132"/>
                </a:lnTo>
                <a:lnTo>
                  <a:pt x="757" y="131"/>
                </a:lnTo>
                <a:lnTo>
                  <a:pt x="758" y="130"/>
                </a:lnTo>
                <a:lnTo>
                  <a:pt x="760" y="129"/>
                </a:lnTo>
                <a:lnTo>
                  <a:pt x="764" y="126"/>
                </a:lnTo>
                <a:lnTo>
                  <a:pt x="768" y="125"/>
                </a:lnTo>
                <a:lnTo>
                  <a:pt x="772" y="124"/>
                </a:lnTo>
                <a:lnTo>
                  <a:pt x="774" y="123"/>
                </a:lnTo>
                <a:lnTo>
                  <a:pt x="775" y="122"/>
                </a:lnTo>
                <a:lnTo>
                  <a:pt x="776" y="119"/>
                </a:lnTo>
                <a:lnTo>
                  <a:pt x="777" y="115"/>
                </a:lnTo>
                <a:lnTo>
                  <a:pt x="777" y="111"/>
                </a:lnTo>
                <a:lnTo>
                  <a:pt x="775" y="111"/>
                </a:lnTo>
                <a:lnTo>
                  <a:pt x="773" y="109"/>
                </a:lnTo>
                <a:lnTo>
                  <a:pt x="778" y="107"/>
                </a:lnTo>
                <a:lnTo>
                  <a:pt x="785" y="104"/>
                </a:lnTo>
                <a:lnTo>
                  <a:pt x="792" y="99"/>
                </a:lnTo>
                <a:lnTo>
                  <a:pt x="801" y="94"/>
                </a:lnTo>
                <a:lnTo>
                  <a:pt x="788" y="96"/>
                </a:lnTo>
                <a:lnTo>
                  <a:pt x="775" y="98"/>
                </a:lnTo>
                <a:lnTo>
                  <a:pt x="763" y="99"/>
                </a:lnTo>
                <a:lnTo>
                  <a:pt x="749" y="98"/>
                </a:lnTo>
                <a:lnTo>
                  <a:pt x="766" y="92"/>
                </a:lnTo>
                <a:lnTo>
                  <a:pt x="783" y="85"/>
                </a:lnTo>
                <a:lnTo>
                  <a:pt x="793" y="82"/>
                </a:lnTo>
                <a:lnTo>
                  <a:pt x="804" y="79"/>
                </a:lnTo>
                <a:lnTo>
                  <a:pt x="813" y="74"/>
                </a:lnTo>
                <a:lnTo>
                  <a:pt x="822" y="67"/>
                </a:lnTo>
                <a:lnTo>
                  <a:pt x="810" y="69"/>
                </a:lnTo>
                <a:lnTo>
                  <a:pt x="800" y="74"/>
                </a:lnTo>
                <a:lnTo>
                  <a:pt x="791" y="76"/>
                </a:lnTo>
                <a:lnTo>
                  <a:pt x="781" y="80"/>
                </a:lnTo>
                <a:lnTo>
                  <a:pt x="777" y="81"/>
                </a:lnTo>
                <a:lnTo>
                  <a:pt x="774" y="83"/>
                </a:lnTo>
                <a:lnTo>
                  <a:pt x="772" y="83"/>
                </a:lnTo>
                <a:lnTo>
                  <a:pt x="769" y="84"/>
                </a:lnTo>
                <a:lnTo>
                  <a:pt x="768" y="83"/>
                </a:lnTo>
                <a:lnTo>
                  <a:pt x="766" y="82"/>
                </a:lnTo>
                <a:lnTo>
                  <a:pt x="765" y="81"/>
                </a:lnTo>
                <a:lnTo>
                  <a:pt x="765" y="80"/>
                </a:lnTo>
                <a:lnTo>
                  <a:pt x="766" y="79"/>
                </a:lnTo>
                <a:lnTo>
                  <a:pt x="767" y="77"/>
                </a:lnTo>
                <a:lnTo>
                  <a:pt x="772" y="76"/>
                </a:lnTo>
                <a:lnTo>
                  <a:pt x="775" y="75"/>
                </a:lnTo>
                <a:lnTo>
                  <a:pt x="772" y="73"/>
                </a:lnTo>
                <a:lnTo>
                  <a:pt x="767" y="73"/>
                </a:lnTo>
                <a:lnTo>
                  <a:pt x="764" y="74"/>
                </a:lnTo>
                <a:lnTo>
                  <a:pt x="760" y="76"/>
                </a:lnTo>
                <a:lnTo>
                  <a:pt x="759" y="80"/>
                </a:lnTo>
                <a:lnTo>
                  <a:pt x="758" y="83"/>
                </a:lnTo>
                <a:lnTo>
                  <a:pt x="757" y="86"/>
                </a:lnTo>
                <a:lnTo>
                  <a:pt x="755" y="89"/>
                </a:lnTo>
                <a:lnTo>
                  <a:pt x="738" y="94"/>
                </a:lnTo>
                <a:lnTo>
                  <a:pt x="722" y="100"/>
                </a:lnTo>
                <a:lnTo>
                  <a:pt x="717" y="106"/>
                </a:lnTo>
                <a:lnTo>
                  <a:pt x="712" y="111"/>
                </a:lnTo>
                <a:lnTo>
                  <a:pt x="705" y="114"/>
                </a:lnTo>
                <a:lnTo>
                  <a:pt x="697" y="115"/>
                </a:lnTo>
                <a:lnTo>
                  <a:pt x="687" y="118"/>
                </a:lnTo>
                <a:lnTo>
                  <a:pt x="681" y="123"/>
                </a:lnTo>
                <a:lnTo>
                  <a:pt x="676" y="125"/>
                </a:lnTo>
                <a:lnTo>
                  <a:pt x="673" y="127"/>
                </a:lnTo>
                <a:lnTo>
                  <a:pt x="668" y="130"/>
                </a:lnTo>
                <a:lnTo>
                  <a:pt x="664" y="130"/>
                </a:lnTo>
                <a:lnTo>
                  <a:pt x="665" y="126"/>
                </a:lnTo>
                <a:lnTo>
                  <a:pt x="668" y="124"/>
                </a:lnTo>
                <a:lnTo>
                  <a:pt x="670" y="122"/>
                </a:lnTo>
                <a:lnTo>
                  <a:pt x="675" y="119"/>
                </a:lnTo>
                <a:lnTo>
                  <a:pt x="682" y="117"/>
                </a:lnTo>
                <a:lnTo>
                  <a:pt x="687" y="114"/>
                </a:lnTo>
                <a:lnTo>
                  <a:pt x="691" y="111"/>
                </a:lnTo>
                <a:lnTo>
                  <a:pt x="694" y="109"/>
                </a:lnTo>
                <a:lnTo>
                  <a:pt x="695" y="109"/>
                </a:lnTo>
                <a:lnTo>
                  <a:pt x="697" y="109"/>
                </a:lnTo>
                <a:lnTo>
                  <a:pt x="697" y="108"/>
                </a:lnTo>
                <a:lnTo>
                  <a:pt x="698" y="106"/>
                </a:lnTo>
                <a:lnTo>
                  <a:pt x="702" y="101"/>
                </a:lnTo>
                <a:lnTo>
                  <a:pt x="708" y="98"/>
                </a:lnTo>
                <a:lnTo>
                  <a:pt x="703" y="96"/>
                </a:lnTo>
                <a:lnTo>
                  <a:pt x="699" y="97"/>
                </a:lnTo>
                <a:lnTo>
                  <a:pt x="694" y="98"/>
                </a:lnTo>
                <a:lnTo>
                  <a:pt x="691" y="100"/>
                </a:lnTo>
                <a:lnTo>
                  <a:pt x="689" y="101"/>
                </a:lnTo>
                <a:lnTo>
                  <a:pt x="687" y="102"/>
                </a:lnTo>
                <a:lnTo>
                  <a:pt x="685" y="102"/>
                </a:lnTo>
                <a:lnTo>
                  <a:pt x="684" y="100"/>
                </a:lnTo>
                <a:lnTo>
                  <a:pt x="685" y="97"/>
                </a:lnTo>
                <a:lnTo>
                  <a:pt x="686" y="94"/>
                </a:lnTo>
                <a:lnTo>
                  <a:pt x="690" y="93"/>
                </a:lnTo>
                <a:lnTo>
                  <a:pt x="692" y="92"/>
                </a:lnTo>
                <a:lnTo>
                  <a:pt x="705" y="85"/>
                </a:lnTo>
                <a:lnTo>
                  <a:pt x="717" y="79"/>
                </a:lnTo>
                <a:lnTo>
                  <a:pt x="723" y="74"/>
                </a:lnTo>
                <a:lnTo>
                  <a:pt x="727" y="69"/>
                </a:lnTo>
                <a:lnTo>
                  <a:pt x="732" y="65"/>
                </a:lnTo>
                <a:lnTo>
                  <a:pt x="736" y="59"/>
                </a:lnTo>
                <a:lnTo>
                  <a:pt x="734" y="59"/>
                </a:lnTo>
                <a:lnTo>
                  <a:pt x="732" y="60"/>
                </a:lnTo>
                <a:lnTo>
                  <a:pt x="730" y="61"/>
                </a:lnTo>
                <a:lnTo>
                  <a:pt x="727" y="64"/>
                </a:lnTo>
                <a:lnTo>
                  <a:pt x="722" y="67"/>
                </a:lnTo>
                <a:lnTo>
                  <a:pt x="715" y="71"/>
                </a:lnTo>
                <a:lnTo>
                  <a:pt x="703" y="76"/>
                </a:lnTo>
                <a:lnTo>
                  <a:pt x="691" y="83"/>
                </a:lnTo>
                <a:lnTo>
                  <a:pt x="679" y="90"/>
                </a:lnTo>
                <a:lnTo>
                  <a:pt x="668" y="97"/>
                </a:lnTo>
                <a:lnTo>
                  <a:pt x="665" y="98"/>
                </a:lnTo>
                <a:lnTo>
                  <a:pt x="661" y="99"/>
                </a:lnTo>
                <a:lnTo>
                  <a:pt x="659" y="100"/>
                </a:lnTo>
                <a:lnTo>
                  <a:pt x="658" y="102"/>
                </a:lnTo>
                <a:lnTo>
                  <a:pt x="658" y="105"/>
                </a:lnTo>
                <a:lnTo>
                  <a:pt x="659" y="105"/>
                </a:lnTo>
                <a:lnTo>
                  <a:pt x="660" y="105"/>
                </a:lnTo>
                <a:lnTo>
                  <a:pt x="662" y="105"/>
                </a:lnTo>
                <a:lnTo>
                  <a:pt x="666" y="104"/>
                </a:lnTo>
                <a:lnTo>
                  <a:pt x="668" y="102"/>
                </a:lnTo>
                <a:lnTo>
                  <a:pt x="662" y="108"/>
                </a:lnTo>
                <a:lnTo>
                  <a:pt x="657" y="113"/>
                </a:lnTo>
                <a:lnTo>
                  <a:pt x="650" y="115"/>
                </a:lnTo>
                <a:lnTo>
                  <a:pt x="643" y="117"/>
                </a:lnTo>
                <a:lnTo>
                  <a:pt x="645" y="113"/>
                </a:lnTo>
                <a:lnTo>
                  <a:pt x="646" y="107"/>
                </a:lnTo>
                <a:lnTo>
                  <a:pt x="645" y="104"/>
                </a:lnTo>
                <a:lnTo>
                  <a:pt x="644" y="100"/>
                </a:lnTo>
                <a:lnTo>
                  <a:pt x="642" y="99"/>
                </a:lnTo>
                <a:lnTo>
                  <a:pt x="641" y="100"/>
                </a:lnTo>
                <a:lnTo>
                  <a:pt x="640" y="101"/>
                </a:lnTo>
                <a:lnTo>
                  <a:pt x="639" y="102"/>
                </a:lnTo>
                <a:lnTo>
                  <a:pt x="637" y="105"/>
                </a:lnTo>
                <a:lnTo>
                  <a:pt x="636" y="105"/>
                </a:lnTo>
                <a:lnTo>
                  <a:pt x="636" y="106"/>
                </a:lnTo>
                <a:lnTo>
                  <a:pt x="636" y="108"/>
                </a:lnTo>
                <a:lnTo>
                  <a:pt x="637" y="110"/>
                </a:lnTo>
                <a:lnTo>
                  <a:pt x="639" y="113"/>
                </a:lnTo>
                <a:lnTo>
                  <a:pt x="633" y="116"/>
                </a:lnTo>
                <a:lnTo>
                  <a:pt x="628" y="118"/>
                </a:lnTo>
                <a:lnTo>
                  <a:pt x="627" y="119"/>
                </a:lnTo>
                <a:lnTo>
                  <a:pt x="626" y="121"/>
                </a:lnTo>
                <a:lnTo>
                  <a:pt x="626" y="123"/>
                </a:lnTo>
                <a:lnTo>
                  <a:pt x="627" y="124"/>
                </a:lnTo>
                <a:lnTo>
                  <a:pt x="632" y="124"/>
                </a:lnTo>
                <a:lnTo>
                  <a:pt x="636" y="122"/>
                </a:lnTo>
                <a:lnTo>
                  <a:pt x="637" y="119"/>
                </a:lnTo>
                <a:lnTo>
                  <a:pt x="639" y="117"/>
                </a:lnTo>
                <a:lnTo>
                  <a:pt x="640" y="116"/>
                </a:lnTo>
                <a:lnTo>
                  <a:pt x="641" y="117"/>
                </a:lnTo>
                <a:lnTo>
                  <a:pt x="642" y="117"/>
                </a:lnTo>
                <a:lnTo>
                  <a:pt x="642" y="118"/>
                </a:lnTo>
                <a:lnTo>
                  <a:pt x="642" y="122"/>
                </a:lnTo>
                <a:lnTo>
                  <a:pt x="641" y="122"/>
                </a:lnTo>
                <a:lnTo>
                  <a:pt x="639" y="122"/>
                </a:lnTo>
                <a:lnTo>
                  <a:pt x="636" y="122"/>
                </a:lnTo>
                <a:lnTo>
                  <a:pt x="634" y="126"/>
                </a:lnTo>
                <a:lnTo>
                  <a:pt x="631" y="130"/>
                </a:lnTo>
                <a:lnTo>
                  <a:pt x="627" y="131"/>
                </a:lnTo>
                <a:lnTo>
                  <a:pt x="624" y="132"/>
                </a:lnTo>
                <a:lnTo>
                  <a:pt x="621" y="130"/>
                </a:lnTo>
                <a:lnTo>
                  <a:pt x="619" y="129"/>
                </a:lnTo>
                <a:lnTo>
                  <a:pt x="616" y="132"/>
                </a:lnTo>
                <a:lnTo>
                  <a:pt x="612" y="136"/>
                </a:lnTo>
                <a:lnTo>
                  <a:pt x="610" y="136"/>
                </a:lnTo>
                <a:lnTo>
                  <a:pt x="608" y="135"/>
                </a:lnTo>
                <a:lnTo>
                  <a:pt x="607" y="133"/>
                </a:lnTo>
                <a:lnTo>
                  <a:pt x="606" y="131"/>
                </a:lnTo>
                <a:lnTo>
                  <a:pt x="608" y="129"/>
                </a:lnTo>
                <a:lnTo>
                  <a:pt x="610" y="126"/>
                </a:lnTo>
                <a:lnTo>
                  <a:pt x="612" y="124"/>
                </a:lnTo>
                <a:lnTo>
                  <a:pt x="612" y="123"/>
                </a:lnTo>
                <a:lnTo>
                  <a:pt x="611" y="123"/>
                </a:lnTo>
                <a:lnTo>
                  <a:pt x="609" y="122"/>
                </a:lnTo>
                <a:lnTo>
                  <a:pt x="607" y="121"/>
                </a:lnTo>
                <a:lnTo>
                  <a:pt x="606" y="119"/>
                </a:lnTo>
                <a:lnTo>
                  <a:pt x="603" y="119"/>
                </a:lnTo>
                <a:lnTo>
                  <a:pt x="601" y="121"/>
                </a:lnTo>
                <a:lnTo>
                  <a:pt x="602" y="127"/>
                </a:lnTo>
                <a:lnTo>
                  <a:pt x="603" y="134"/>
                </a:lnTo>
                <a:lnTo>
                  <a:pt x="596" y="133"/>
                </a:lnTo>
                <a:lnTo>
                  <a:pt x="590" y="134"/>
                </a:lnTo>
                <a:lnTo>
                  <a:pt x="592" y="131"/>
                </a:lnTo>
                <a:lnTo>
                  <a:pt x="594" y="126"/>
                </a:lnTo>
                <a:lnTo>
                  <a:pt x="586" y="129"/>
                </a:lnTo>
                <a:lnTo>
                  <a:pt x="578" y="132"/>
                </a:lnTo>
                <a:lnTo>
                  <a:pt x="576" y="133"/>
                </a:lnTo>
                <a:lnTo>
                  <a:pt x="574" y="133"/>
                </a:lnTo>
                <a:lnTo>
                  <a:pt x="571" y="134"/>
                </a:lnTo>
                <a:lnTo>
                  <a:pt x="568" y="133"/>
                </a:lnTo>
                <a:lnTo>
                  <a:pt x="562" y="131"/>
                </a:lnTo>
                <a:lnTo>
                  <a:pt x="558" y="132"/>
                </a:lnTo>
                <a:lnTo>
                  <a:pt x="555" y="133"/>
                </a:lnTo>
                <a:lnTo>
                  <a:pt x="553" y="134"/>
                </a:lnTo>
                <a:lnTo>
                  <a:pt x="551" y="136"/>
                </a:lnTo>
                <a:lnTo>
                  <a:pt x="550" y="140"/>
                </a:lnTo>
                <a:lnTo>
                  <a:pt x="554" y="139"/>
                </a:lnTo>
                <a:lnTo>
                  <a:pt x="558" y="136"/>
                </a:lnTo>
                <a:lnTo>
                  <a:pt x="562" y="135"/>
                </a:lnTo>
                <a:lnTo>
                  <a:pt x="566" y="136"/>
                </a:lnTo>
                <a:lnTo>
                  <a:pt x="561" y="140"/>
                </a:lnTo>
                <a:lnTo>
                  <a:pt x="557" y="142"/>
                </a:lnTo>
                <a:lnTo>
                  <a:pt x="549" y="148"/>
                </a:lnTo>
                <a:lnTo>
                  <a:pt x="541" y="152"/>
                </a:lnTo>
                <a:lnTo>
                  <a:pt x="526" y="162"/>
                </a:lnTo>
                <a:lnTo>
                  <a:pt x="511" y="169"/>
                </a:lnTo>
                <a:lnTo>
                  <a:pt x="494" y="179"/>
                </a:lnTo>
                <a:lnTo>
                  <a:pt x="478" y="188"/>
                </a:lnTo>
                <a:lnTo>
                  <a:pt x="462" y="197"/>
                </a:lnTo>
                <a:lnTo>
                  <a:pt x="445" y="207"/>
                </a:lnTo>
                <a:lnTo>
                  <a:pt x="429" y="216"/>
                </a:lnTo>
                <a:lnTo>
                  <a:pt x="414" y="226"/>
                </a:lnTo>
                <a:lnTo>
                  <a:pt x="409" y="230"/>
                </a:lnTo>
                <a:lnTo>
                  <a:pt x="403" y="234"/>
                </a:lnTo>
                <a:lnTo>
                  <a:pt x="398" y="238"/>
                </a:lnTo>
                <a:lnTo>
                  <a:pt x="394" y="243"/>
                </a:lnTo>
                <a:lnTo>
                  <a:pt x="390" y="248"/>
                </a:lnTo>
                <a:lnTo>
                  <a:pt x="386" y="251"/>
                </a:lnTo>
                <a:lnTo>
                  <a:pt x="379" y="251"/>
                </a:lnTo>
                <a:lnTo>
                  <a:pt x="372" y="251"/>
                </a:lnTo>
                <a:lnTo>
                  <a:pt x="368" y="254"/>
                </a:lnTo>
                <a:lnTo>
                  <a:pt x="363" y="258"/>
                </a:lnTo>
                <a:lnTo>
                  <a:pt x="361" y="259"/>
                </a:lnTo>
                <a:lnTo>
                  <a:pt x="357" y="262"/>
                </a:lnTo>
                <a:lnTo>
                  <a:pt x="355" y="262"/>
                </a:lnTo>
                <a:lnTo>
                  <a:pt x="353" y="262"/>
                </a:lnTo>
                <a:lnTo>
                  <a:pt x="368" y="246"/>
                </a:lnTo>
                <a:lnTo>
                  <a:pt x="385" y="232"/>
                </a:lnTo>
                <a:lnTo>
                  <a:pt x="403" y="218"/>
                </a:lnTo>
                <a:lnTo>
                  <a:pt x="420" y="205"/>
                </a:lnTo>
                <a:lnTo>
                  <a:pt x="429" y="199"/>
                </a:lnTo>
                <a:lnTo>
                  <a:pt x="437" y="193"/>
                </a:lnTo>
                <a:lnTo>
                  <a:pt x="445" y="188"/>
                </a:lnTo>
                <a:lnTo>
                  <a:pt x="453" y="182"/>
                </a:lnTo>
                <a:lnTo>
                  <a:pt x="469" y="169"/>
                </a:lnTo>
                <a:lnTo>
                  <a:pt x="485" y="157"/>
                </a:lnTo>
                <a:lnTo>
                  <a:pt x="470" y="167"/>
                </a:lnTo>
                <a:lnTo>
                  <a:pt x="454" y="176"/>
                </a:lnTo>
                <a:lnTo>
                  <a:pt x="438" y="187"/>
                </a:lnTo>
                <a:lnTo>
                  <a:pt x="422" y="197"/>
                </a:lnTo>
                <a:lnTo>
                  <a:pt x="426" y="189"/>
                </a:lnTo>
                <a:lnTo>
                  <a:pt x="433" y="182"/>
                </a:lnTo>
                <a:lnTo>
                  <a:pt x="429" y="184"/>
                </a:lnTo>
                <a:lnTo>
                  <a:pt x="425" y="187"/>
                </a:lnTo>
                <a:lnTo>
                  <a:pt x="420" y="189"/>
                </a:lnTo>
                <a:lnTo>
                  <a:pt x="418" y="192"/>
                </a:lnTo>
                <a:lnTo>
                  <a:pt x="419" y="194"/>
                </a:lnTo>
                <a:lnTo>
                  <a:pt x="420" y="197"/>
                </a:lnTo>
                <a:lnTo>
                  <a:pt x="421" y="198"/>
                </a:lnTo>
                <a:lnTo>
                  <a:pt x="420" y="200"/>
                </a:lnTo>
                <a:lnTo>
                  <a:pt x="418" y="202"/>
                </a:lnTo>
                <a:lnTo>
                  <a:pt x="414" y="205"/>
                </a:lnTo>
                <a:lnTo>
                  <a:pt x="417" y="204"/>
                </a:lnTo>
                <a:lnTo>
                  <a:pt x="418" y="201"/>
                </a:lnTo>
                <a:lnTo>
                  <a:pt x="414" y="200"/>
                </a:lnTo>
                <a:lnTo>
                  <a:pt x="411" y="199"/>
                </a:lnTo>
                <a:lnTo>
                  <a:pt x="409" y="199"/>
                </a:lnTo>
                <a:lnTo>
                  <a:pt x="405" y="200"/>
                </a:lnTo>
                <a:lnTo>
                  <a:pt x="401" y="204"/>
                </a:lnTo>
                <a:lnTo>
                  <a:pt x="395" y="207"/>
                </a:lnTo>
                <a:lnTo>
                  <a:pt x="389" y="212"/>
                </a:lnTo>
                <a:lnTo>
                  <a:pt x="384" y="216"/>
                </a:lnTo>
                <a:lnTo>
                  <a:pt x="378" y="219"/>
                </a:lnTo>
                <a:lnTo>
                  <a:pt x="372" y="222"/>
                </a:lnTo>
                <a:lnTo>
                  <a:pt x="373" y="217"/>
                </a:lnTo>
                <a:lnTo>
                  <a:pt x="377" y="212"/>
                </a:lnTo>
                <a:lnTo>
                  <a:pt x="379" y="210"/>
                </a:lnTo>
                <a:lnTo>
                  <a:pt x="382" y="209"/>
                </a:lnTo>
                <a:lnTo>
                  <a:pt x="385" y="208"/>
                </a:lnTo>
                <a:lnTo>
                  <a:pt x="386" y="206"/>
                </a:lnTo>
                <a:lnTo>
                  <a:pt x="389" y="202"/>
                </a:lnTo>
                <a:lnTo>
                  <a:pt x="394" y="199"/>
                </a:lnTo>
                <a:lnTo>
                  <a:pt x="398" y="196"/>
                </a:lnTo>
                <a:lnTo>
                  <a:pt x="401" y="191"/>
                </a:lnTo>
                <a:lnTo>
                  <a:pt x="388" y="198"/>
                </a:lnTo>
                <a:lnTo>
                  <a:pt x="378" y="206"/>
                </a:lnTo>
                <a:lnTo>
                  <a:pt x="363" y="216"/>
                </a:lnTo>
                <a:lnTo>
                  <a:pt x="349" y="226"/>
                </a:lnTo>
                <a:lnTo>
                  <a:pt x="339" y="235"/>
                </a:lnTo>
                <a:lnTo>
                  <a:pt x="328" y="242"/>
                </a:lnTo>
                <a:lnTo>
                  <a:pt x="321" y="243"/>
                </a:lnTo>
                <a:lnTo>
                  <a:pt x="315" y="246"/>
                </a:lnTo>
                <a:lnTo>
                  <a:pt x="313" y="248"/>
                </a:lnTo>
                <a:lnTo>
                  <a:pt x="311" y="250"/>
                </a:lnTo>
                <a:lnTo>
                  <a:pt x="308" y="252"/>
                </a:lnTo>
                <a:lnTo>
                  <a:pt x="305" y="252"/>
                </a:lnTo>
                <a:lnTo>
                  <a:pt x="307" y="249"/>
                </a:lnTo>
                <a:lnTo>
                  <a:pt x="310" y="246"/>
                </a:lnTo>
                <a:lnTo>
                  <a:pt x="312" y="243"/>
                </a:lnTo>
                <a:lnTo>
                  <a:pt x="315" y="241"/>
                </a:lnTo>
                <a:lnTo>
                  <a:pt x="318" y="239"/>
                </a:lnTo>
                <a:lnTo>
                  <a:pt x="321" y="237"/>
                </a:lnTo>
                <a:lnTo>
                  <a:pt x="323" y="234"/>
                </a:lnTo>
                <a:lnTo>
                  <a:pt x="324" y="231"/>
                </a:lnTo>
                <a:lnTo>
                  <a:pt x="324" y="232"/>
                </a:lnTo>
                <a:lnTo>
                  <a:pt x="324" y="233"/>
                </a:lnTo>
                <a:lnTo>
                  <a:pt x="326" y="232"/>
                </a:lnTo>
                <a:lnTo>
                  <a:pt x="327" y="231"/>
                </a:lnTo>
                <a:lnTo>
                  <a:pt x="329" y="229"/>
                </a:lnTo>
                <a:lnTo>
                  <a:pt x="331" y="226"/>
                </a:lnTo>
                <a:lnTo>
                  <a:pt x="337" y="223"/>
                </a:lnTo>
                <a:lnTo>
                  <a:pt x="341" y="219"/>
                </a:lnTo>
                <a:lnTo>
                  <a:pt x="351" y="210"/>
                </a:lnTo>
                <a:lnTo>
                  <a:pt x="361" y="202"/>
                </a:lnTo>
                <a:lnTo>
                  <a:pt x="351" y="207"/>
                </a:lnTo>
                <a:lnTo>
                  <a:pt x="343" y="213"/>
                </a:lnTo>
                <a:lnTo>
                  <a:pt x="335" y="218"/>
                </a:lnTo>
                <a:lnTo>
                  <a:pt x="327" y="225"/>
                </a:lnTo>
                <a:lnTo>
                  <a:pt x="311" y="237"/>
                </a:lnTo>
                <a:lnTo>
                  <a:pt x="295" y="248"/>
                </a:lnTo>
                <a:lnTo>
                  <a:pt x="296" y="243"/>
                </a:lnTo>
                <a:lnTo>
                  <a:pt x="298" y="240"/>
                </a:lnTo>
                <a:lnTo>
                  <a:pt x="302" y="235"/>
                </a:lnTo>
                <a:lnTo>
                  <a:pt x="305" y="232"/>
                </a:lnTo>
                <a:lnTo>
                  <a:pt x="307" y="231"/>
                </a:lnTo>
                <a:lnTo>
                  <a:pt x="312" y="227"/>
                </a:lnTo>
                <a:lnTo>
                  <a:pt x="313" y="226"/>
                </a:lnTo>
                <a:lnTo>
                  <a:pt x="314" y="224"/>
                </a:lnTo>
                <a:lnTo>
                  <a:pt x="314" y="223"/>
                </a:lnTo>
                <a:lnTo>
                  <a:pt x="312" y="222"/>
                </a:lnTo>
                <a:lnTo>
                  <a:pt x="310" y="222"/>
                </a:lnTo>
                <a:lnTo>
                  <a:pt x="307" y="223"/>
                </a:lnTo>
                <a:lnTo>
                  <a:pt x="306" y="226"/>
                </a:lnTo>
                <a:lnTo>
                  <a:pt x="304" y="229"/>
                </a:lnTo>
                <a:lnTo>
                  <a:pt x="295" y="234"/>
                </a:lnTo>
                <a:lnTo>
                  <a:pt x="286" y="240"/>
                </a:lnTo>
                <a:lnTo>
                  <a:pt x="282" y="243"/>
                </a:lnTo>
                <a:lnTo>
                  <a:pt x="279" y="248"/>
                </a:lnTo>
                <a:lnTo>
                  <a:pt x="277" y="250"/>
                </a:lnTo>
                <a:lnTo>
                  <a:pt x="274" y="250"/>
                </a:lnTo>
                <a:lnTo>
                  <a:pt x="273" y="250"/>
                </a:lnTo>
                <a:lnTo>
                  <a:pt x="272" y="249"/>
                </a:lnTo>
                <a:lnTo>
                  <a:pt x="272" y="247"/>
                </a:lnTo>
                <a:lnTo>
                  <a:pt x="272" y="245"/>
                </a:lnTo>
                <a:lnTo>
                  <a:pt x="274" y="241"/>
                </a:lnTo>
                <a:lnTo>
                  <a:pt x="278" y="239"/>
                </a:lnTo>
                <a:lnTo>
                  <a:pt x="283" y="234"/>
                </a:lnTo>
                <a:lnTo>
                  <a:pt x="288" y="231"/>
                </a:lnTo>
                <a:lnTo>
                  <a:pt x="299" y="221"/>
                </a:lnTo>
                <a:lnTo>
                  <a:pt x="311" y="210"/>
                </a:lnTo>
                <a:lnTo>
                  <a:pt x="322" y="200"/>
                </a:lnTo>
                <a:lnTo>
                  <a:pt x="335" y="190"/>
                </a:lnTo>
                <a:lnTo>
                  <a:pt x="328" y="191"/>
                </a:lnTo>
                <a:lnTo>
                  <a:pt x="323" y="193"/>
                </a:lnTo>
                <a:lnTo>
                  <a:pt x="318" y="197"/>
                </a:lnTo>
                <a:lnTo>
                  <a:pt x="312" y="200"/>
                </a:lnTo>
                <a:lnTo>
                  <a:pt x="303" y="208"/>
                </a:lnTo>
                <a:lnTo>
                  <a:pt x="294" y="216"/>
                </a:lnTo>
                <a:lnTo>
                  <a:pt x="289" y="219"/>
                </a:lnTo>
                <a:lnTo>
                  <a:pt x="285" y="223"/>
                </a:lnTo>
                <a:lnTo>
                  <a:pt x="279" y="224"/>
                </a:lnTo>
                <a:lnTo>
                  <a:pt x="273" y="225"/>
                </a:lnTo>
                <a:lnTo>
                  <a:pt x="270" y="224"/>
                </a:lnTo>
                <a:lnTo>
                  <a:pt x="267" y="225"/>
                </a:lnTo>
                <a:lnTo>
                  <a:pt x="266" y="226"/>
                </a:lnTo>
                <a:lnTo>
                  <a:pt x="265" y="227"/>
                </a:lnTo>
                <a:lnTo>
                  <a:pt x="265" y="229"/>
                </a:lnTo>
                <a:lnTo>
                  <a:pt x="266" y="230"/>
                </a:lnTo>
                <a:lnTo>
                  <a:pt x="270" y="229"/>
                </a:lnTo>
                <a:lnTo>
                  <a:pt x="273" y="229"/>
                </a:lnTo>
                <a:lnTo>
                  <a:pt x="273" y="231"/>
                </a:lnTo>
                <a:lnTo>
                  <a:pt x="272" y="233"/>
                </a:lnTo>
                <a:lnTo>
                  <a:pt x="270" y="235"/>
                </a:lnTo>
                <a:lnTo>
                  <a:pt x="267" y="238"/>
                </a:lnTo>
                <a:lnTo>
                  <a:pt x="262" y="241"/>
                </a:lnTo>
                <a:lnTo>
                  <a:pt x="258" y="245"/>
                </a:lnTo>
                <a:lnTo>
                  <a:pt x="253" y="249"/>
                </a:lnTo>
                <a:lnTo>
                  <a:pt x="247" y="254"/>
                </a:lnTo>
                <a:lnTo>
                  <a:pt x="245" y="256"/>
                </a:lnTo>
                <a:lnTo>
                  <a:pt x="244" y="255"/>
                </a:lnTo>
                <a:lnTo>
                  <a:pt x="244" y="252"/>
                </a:lnTo>
                <a:lnTo>
                  <a:pt x="244" y="250"/>
                </a:lnTo>
                <a:lnTo>
                  <a:pt x="240" y="250"/>
                </a:lnTo>
                <a:lnTo>
                  <a:pt x="238" y="251"/>
                </a:lnTo>
                <a:lnTo>
                  <a:pt x="236" y="254"/>
                </a:lnTo>
                <a:lnTo>
                  <a:pt x="233" y="255"/>
                </a:lnTo>
                <a:lnTo>
                  <a:pt x="229" y="256"/>
                </a:lnTo>
                <a:lnTo>
                  <a:pt x="224" y="257"/>
                </a:lnTo>
                <a:lnTo>
                  <a:pt x="222" y="260"/>
                </a:lnTo>
                <a:lnTo>
                  <a:pt x="221" y="264"/>
                </a:lnTo>
                <a:lnTo>
                  <a:pt x="220" y="267"/>
                </a:lnTo>
                <a:lnTo>
                  <a:pt x="217" y="270"/>
                </a:lnTo>
                <a:lnTo>
                  <a:pt x="215" y="271"/>
                </a:lnTo>
                <a:lnTo>
                  <a:pt x="212" y="272"/>
                </a:lnTo>
                <a:lnTo>
                  <a:pt x="215" y="273"/>
                </a:lnTo>
                <a:lnTo>
                  <a:pt x="217" y="274"/>
                </a:lnTo>
                <a:lnTo>
                  <a:pt x="216" y="277"/>
                </a:lnTo>
                <a:lnTo>
                  <a:pt x="214" y="281"/>
                </a:lnTo>
                <a:lnTo>
                  <a:pt x="212" y="283"/>
                </a:lnTo>
                <a:lnTo>
                  <a:pt x="209" y="284"/>
                </a:lnTo>
                <a:lnTo>
                  <a:pt x="208" y="282"/>
                </a:lnTo>
                <a:lnTo>
                  <a:pt x="207" y="280"/>
                </a:lnTo>
                <a:lnTo>
                  <a:pt x="203" y="281"/>
                </a:lnTo>
                <a:lnTo>
                  <a:pt x="198" y="281"/>
                </a:lnTo>
                <a:lnTo>
                  <a:pt x="197" y="279"/>
                </a:lnTo>
                <a:lnTo>
                  <a:pt x="197" y="277"/>
                </a:lnTo>
                <a:lnTo>
                  <a:pt x="198" y="276"/>
                </a:lnTo>
                <a:lnTo>
                  <a:pt x="198" y="274"/>
                </a:lnTo>
                <a:lnTo>
                  <a:pt x="200" y="272"/>
                </a:lnTo>
                <a:lnTo>
                  <a:pt x="201" y="268"/>
                </a:lnTo>
                <a:lnTo>
                  <a:pt x="200" y="266"/>
                </a:lnTo>
                <a:lnTo>
                  <a:pt x="199" y="264"/>
                </a:lnTo>
                <a:lnTo>
                  <a:pt x="200" y="260"/>
                </a:lnTo>
                <a:lnTo>
                  <a:pt x="201" y="257"/>
                </a:lnTo>
                <a:lnTo>
                  <a:pt x="201" y="252"/>
                </a:lnTo>
                <a:lnTo>
                  <a:pt x="201" y="248"/>
                </a:lnTo>
                <a:lnTo>
                  <a:pt x="203" y="242"/>
                </a:lnTo>
                <a:lnTo>
                  <a:pt x="205" y="238"/>
                </a:lnTo>
                <a:lnTo>
                  <a:pt x="209" y="229"/>
                </a:lnTo>
                <a:lnTo>
                  <a:pt x="214" y="221"/>
                </a:lnTo>
                <a:lnTo>
                  <a:pt x="220" y="213"/>
                </a:lnTo>
                <a:lnTo>
                  <a:pt x="225" y="205"/>
                </a:lnTo>
                <a:lnTo>
                  <a:pt x="231" y="198"/>
                </a:lnTo>
                <a:lnTo>
                  <a:pt x="234" y="190"/>
                </a:lnTo>
                <a:lnTo>
                  <a:pt x="236" y="183"/>
                </a:lnTo>
                <a:lnTo>
                  <a:pt x="236" y="175"/>
                </a:lnTo>
                <a:lnTo>
                  <a:pt x="237" y="174"/>
                </a:lnTo>
                <a:lnTo>
                  <a:pt x="238" y="171"/>
                </a:lnTo>
                <a:lnTo>
                  <a:pt x="237" y="169"/>
                </a:lnTo>
                <a:lnTo>
                  <a:pt x="236" y="169"/>
                </a:lnTo>
                <a:lnTo>
                  <a:pt x="234" y="172"/>
                </a:lnTo>
                <a:lnTo>
                  <a:pt x="234" y="173"/>
                </a:lnTo>
                <a:lnTo>
                  <a:pt x="231" y="176"/>
                </a:lnTo>
                <a:lnTo>
                  <a:pt x="227" y="181"/>
                </a:lnTo>
                <a:lnTo>
                  <a:pt x="224" y="181"/>
                </a:lnTo>
                <a:lnTo>
                  <a:pt x="222" y="182"/>
                </a:lnTo>
                <a:lnTo>
                  <a:pt x="221" y="182"/>
                </a:lnTo>
                <a:lnTo>
                  <a:pt x="221" y="183"/>
                </a:lnTo>
                <a:lnTo>
                  <a:pt x="221" y="184"/>
                </a:lnTo>
                <a:lnTo>
                  <a:pt x="222" y="185"/>
                </a:lnTo>
                <a:lnTo>
                  <a:pt x="223" y="187"/>
                </a:lnTo>
                <a:lnTo>
                  <a:pt x="225" y="188"/>
                </a:lnTo>
                <a:lnTo>
                  <a:pt x="224" y="190"/>
                </a:lnTo>
                <a:lnTo>
                  <a:pt x="224" y="191"/>
                </a:lnTo>
                <a:lnTo>
                  <a:pt x="215" y="208"/>
                </a:lnTo>
                <a:lnTo>
                  <a:pt x="205" y="225"/>
                </a:lnTo>
                <a:lnTo>
                  <a:pt x="207" y="214"/>
                </a:lnTo>
                <a:lnTo>
                  <a:pt x="208" y="204"/>
                </a:lnTo>
                <a:lnTo>
                  <a:pt x="213" y="194"/>
                </a:lnTo>
                <a:lnTo>
                  <a:pt x="219" y="185"/>
                </a:lnTo>
                <a:lnTo>
                  <a:pt x="222" y="175"/>
                </a:lnTo>
                <a:lnTo>
                  <a:pt x="227" y="166"/>
                </a:lnTo>
                <a:lnTo>
                  <a:pt x="234" y="156"/>
                </a:lnTo>
                <a:lnTo>
                  <a:pt x="241" y="146"/>
                </a:lnTo>
                <a:lnTo>
                  <a:pt x="245" y="141"/>
                </a:lnTo>
                <a:lnTo>
                  <a:pt x="247" y="136"/>
                </a:lnTo>
                <a:lnTo>
                  <a:pt x="252" y="133"/>
                </a:lnTo>
                <a:lnTo>
                  <a:pt x="256" y="130"/>
                </a:lnTo>
                <a:lnTo>
                  <a:pt x="260" y="129"/>
                </a:lnTo>
                <a:lnTo>
                  <a:pt x="264" y="129"/>
                </a:lnTo>
                <a:lnTo>
                  <a:pt x="265" y="129"/>
                </a:lnTo>
                <a:lnTo>
                  <a:pt x="266" y="130"/>
                </a:lnTo>
                <a:lnTo>
                  <a:pt x="266" y="132"/>
                </a:lnTo>
                <a:lnTo>
                  <a:pt x="266" y="134"/>
                </a:lnTo>
                <a:lnTo>
                  <a:pt x="263" y="140"/>
                </a:lnTo>
                <a:lnTo>
                  <a:pt x="260" y="144"/>
                </a:lnTo>
                <a:lnTo>
                  <a:pt x="258" y="150"/>
                </a:lnTo>
                <a:lnTo>
                  <a:pt x="256" y="157"/>
                </a:lnTo>
                <a:lnTo>
                  <a:pt x="252" y="168"/>
                </a:lnTo>
                <a:lnTo>
                  <a:pt x="248" y="181"/>
                </a:lnTo>
                <a:lnTo>
                  <a:pt x="245" y="192"/>
                </a:lnTo>
                <a:lnTo>
                  <a:pt x="240" y="204"/>
                </a:lnTo>
                <a:lnTo>
                  <a:pt x="236" y="215"/>
                </a:lnTo>
                <a:lnTo>
                  <a:pt x="232" y="226"/>
                </a:lnTo>
                <a:lnTo>
                  <a:pt x="231" y="231"/>
                </a:lnTo>
                <a:lnTo>
                  <a:pt x="229" y="235"/>
                </a:lnTo>
                <a:lnTo>
                  <a:pt x="227" y="240"/>
                </a:lnTo>
                <a:lnTo>
                  <a:pt x="225" y="243"/>
                </a:lnTo>
                <a:lnTo>
                  <a:pt x="225" y="246"/>
                </a:lnTo>
                <a:lnTo>
                  <a:pt x="227" y="247"/>
                </a:lnTo>
                <a:lnTo>
                  <a:pt x="229" y="247"/>
                </a:lnTo>
                <a:lnTo>
                  <a:pt x="231" y="247"/>
                </a:lnTo>
                <a:lnTo>
                  <a:pt x="234" y="243"/>
                </a:lnTo>
                <a:lnTo>
                  <a:pt x="237" y="241"/>
                </a:lnTo>
                <a:lnTo>
                  <a:pt x="236" y="237"/>
                </a:lnTo>
                <a:lnTo>
                  <a:pt x="234" y="232"/>
                </a:lnTo>
                <a:lnTo>
                  <a:pt x="236" y="226"/>
                </a:lnTo>
                <a:lnTo>
                  <a:pt x="238" y="223"/>
                </a:lnTo>
                <a:lnTo>
                  <a:pt x="244" y="212"/>
                </a:lnTo>
                <a:lnTo>
                  <a:pt x="248" y="199"/>
                </a:lnTo>
                <a:lnTo>
                  <a:pt x="252" y="187"/>
                </a:lnTo>
                <a:lnTo>
                  <a:pt x="256" y="173"/>
                </a:lnTo>
                <a:lnTo>
                  <a:pt x="261" y="160"/>
                </a:lnTo>
                <a:lnTo>
                  <a:pt x="265" y="148"/>
                </a:lnTo>
                <a:lnTo>
                  <a:pt x="271" y="136"/>
                </a:lnTo>
                <a:lnTo>
                  <a:pt x="278" y="125"/>
                </a:lnTo>
                <a:lnTo>
                  <a:pt x="280" y="119"/>
                </a:lnTo>
                <a:lnTo>
                  <a:pt x="283" y="114"/>
                </a:lnTo>
                <a:lnTo>
                  <a:pt x="286" y="108"/>
                </a:lnTo>
                <a:lnTo>
                  <a:pt x="287" y="102"/>
                </a:lnTo>
                <a:lnTo>
                  <a:pt x="287" y="100"/>
                </a:lnTo>
                <a:lnTo>
                  <a:pt x="286" y="98"/>
                </a:lnTo>
                <a:lnTo>
                  <a:pt x="285" y="97"/>
                </a:lnTo>
                <a:lnTo>
                  <a:pt x="282" y="97"/>
                </a:lnTo>
                <a:lnTo>
                  <a:pt x="280" y="99"/>
                </a:lnTo>
                <a:lnTo>
                  <a:pt x="279" y="100"/>
                </a:lnTo>
                <a:lnTo>
                  <a:pt x="278" y="106"/>
                </a:lnTo>
                <a:lnTo>
                  <a:pt x="277" y="110"/>
                </a:lnTo>
                <a:lnTo>
                  <a:pt x="274" y="116"/>
                </a:lnTo>
                <a:lnTo>
                  <a:pt x="271" y="122"/>
                </a:lnTo>
                <a:lnTo>
                  <a:pt x="269" y="119"/>
                </a:lnTo>
                <a:lnTo>
                  <a:pt x="267" y="117"/>
                </a:lnTo>
                <a:lnTo>
                  <a:pt x="266" y="117"/>
                </a:lnTo>
                <a:lnTo>
                  <a:pt x="265" y="118"/>
                </a:lnTo>
                <a:lnTo>
                  <a:pt x="263" y="121"/>
                </a:lnTo>
                <a:lnTo>
                  <a:pt x="261" y="124"/>
                </a:lnTo>
                <a:lnTo>
                  <a:pt x="260" y="118"/>
                </a:lnTo>
                <a:lnTo>
                  <a:pt x="260" y="113"/>
                </a:lnTo>
                <a:lnTo>
                  <a:pt x="258" y="110"/>
                </a:lnTo>
                <a:lnTo>
                  <a:pt x="257" y="108"/>
                </a:lnTo>
                <a:lnTo>
                  <a:pt x="254" y="107"/>
                </a:lnTo>
                <a:lnTo>
                  <a:pt x="250" y="107"/>
                </a:lnTo>
                <a:lnTo>
                  <a:pt x="252" y="105"/>
                </a:lnTo>
                <a:lnTo>
                  <a:pt x="253" y="104"/>
                </a:lnTo>
                <a:lnTo>
                  <a:pt x="255" y="102"/>
                </a:lnTo>
                <a:lnTo>
                  <a:pt x="256" y="102"/>
                </a:lnTo>
                <a:lnTo>
                  <a:pt x="260" y="105"/>
                </a:lnTo>
                <a:lnTo>
                  <a:pt x="261" y="107"/>
                </a:lnTo>
                <a:lnTo>
                  <a:pt x="264" y="107"/>
                </a:lnTo>
                <a:lnTo>
                  <a:pt x="267" y="106"/>
                </a:lnTo>
                <a:lnTo>
                  <a:pt x="271" y="105"/>
                </a:lnTo>
                <a:lnTo>
                  <a:pt x="273" y="102"/>
                </a:lnTo>
                <a:lnTo>
                  <a:pt x="274" y="100"/>
                </a:lnTo>
                <a:lnTo>
                  <a:pt x="273" y="97"/>
                </a:lnTo>
                <a:lnTo>
                  <a:pt x="272" y="94"/>
                </a:lnTo>
                <a:lnTo>
                  <a:pt x="269" y="93"/>
                </a:lnTo>
                <a:lnTo>
                  <a:pt x="266" y="92"/>
                </a:lnTo>
                <a:lnTo>
                  <a:pt x="263" y="91"/>
                </a:lnTo>
                <a:lnTo>
                  <a:pt x="261" y="92"/>
                </a:lnTo>
                <a:lnTo>
                  <a:pt x="258" y="94"/>
                </a:lnTo>
                <a:lnTo>
                  <a:pt x="255" y="90"/>
                </a:lnTo>
                <a:lnTo>
                  <a:pt x="249" y="85"/>
                </a:lnTo>
                <a:lnTo>
                  <a:pt x="248" y="82"/>
                </a:lnTo>
                <a:lnTo>
                  <a:pt x="249" y="79"/>
                </a:lnTo>
                <a:lnTo>
                  <a:pt x="250" y="75"/>
                </a:lnTo>
                <a:lnTo>
                  <a:pt x="253" y="71"/>
                </a:lnTo>
                <a:lnTo>
                  <a:pt x="252" y="67"/>
                </a:lnTo>
                <a:lnTo>
                  <a:pt x="250" y="65"/>
                </a:lnTo>
                <a:lnTo>
                  <a:pt x="248" y="63"/>
                </a:lnTo>
                <a:lnTo>
                  <a:pt x="247" y="61"/>
                </a:lnTo>
                <a:lnTo>
                  <a:pt x="248" y="60"/>
                </a:lnTo>
                <a:lnTo>
                  <a:pt x="249" y="58"/>
                </a:lnTo>
                <a:lnTo>
                  <a:pt x="252" y="55"/>
                </a:lnTo>
                <a:lnTo>
                  <a:pt x="255" y="53"/>
                </a:lnTo>
                <a:lnTo>
                  <a:pt x="258" y="55"/>
                </a:lnTo>
                <a:lnTo>
                  <a:pt x="263" y="56"/>
                </a:lnTo>
                <a:lnTo>
                  <a:pt x="262" y="51"/>
                </a:lnTo>
                <a:lnTo>
                  <a:pt x="261" y="47"/>
                </a:lnTo>
                <a:lnTo>
                  <a:pt x="261" y="43"/>
                </a:lnTo>
                <a:lnTo>
                  <a:pt x="260" y="41"/>
                </a:lnTo>
                <a:lnTo>
                  <a:pt x="256" y="38"/>
                </a:lnTo>
                <a:lnTo>
                  <a:pt x="250" y="35"/>
                </a:lnTo>
                <a:lnTo>
                  <a:pt x="249" y="36"/>
                </a:lnTo>
                <a:lnTo>
                  <a:pt x="249" y="39"/>
                </a:lnTo>
                <a:lnTo>
                  <a:pt x="247" y="41"/>
                </a:lnTo>
                <a:lnTo>
                  <a:pt x="246" y="41"/>
                </a:lnTo>
                <a:lnTo>
                  <a:pt x="245" y="40"/>
                </a:lnTo>
                <a:lnTo>
                  <a:pt x="242" y="40"/>
                </a:lnTo>
                <a:lnTo>
                  <a:pt x="240" y="40"/>
                </a:lnTo>
                <a:lnTo>
                  <a:pt x="239" y="40"/>
                </a:lnTo>
                <a:lnTo>
                  <a:pt x="238" y="42"/>
                </a:lnTo>
                <a:lnTo>
                  <a:pt x="237" y="43"/>
                </a:lnTo>
                <a:lnTo>
                  <a:pt x="238" y="48"/>
                </a:lnTo>
                <a:lnTo>
                  <a:pt x="238" y="51"/>
                </a:lnTo>
                <a:lnTo>
                  <a:pt x="239" y="49"/>
                </a:lnTo>
                <a:lnTo>
                  <a:pt x="240" y="48"/>
                </a:lnTo>
                <a:lnTo>
                  <a:pt x="241" y="48"/>
                </a:lnTo>
                <a:lnTo>
                  <a:pt x="242" y="48"/>
                </a:lnTo>
                <a:lnTo>
                  <a:pt x="245" y="49"/>
                </a:lnTo>
                <a:lnTo>
                  <a:pt x="247" y="47"/>
                </a:lnTo>
                <a:lnTo>
                  <a:pt x="247" y="51"/>
                </a:lnTo>
                <a:lnTo>
                  <a:pt x="246" y="55"/>
                </a:lnTo>
                <a:lnTo>
                  <a:pt x="244" y="56"/>
                </a:lnTo>
                <a:lnTo>
                  <a:pt x="240" y="55"/>
                </a:lnTo>
                <a:lnTo>
                  <a:pt x="239" y="55"/>
                </a:lnTo>
                <a:lnTo>
                  <a:pt x="237" y="53"/>
                </a:lnTo>
                <a:lnTo>
                  <a:pt x="236" y="53"/>
                </a:lnTo>
                <a:lnTo>
                  <a:pt x="233" y="55"/>
                </a:lnTo>
                <a:lnTo>
                  <a:pt x="232" y="59"/>
                </a:lnTo>
                <a:lnTo>
                  <a:pt x="231" y="64"/>
                </a:lnTo>
                <a:lnTo>
                  <a:pt x="229" y="71"/>
                </a:lnTo>
                <a:lnTo>
                  <a:pt x="227" y="76"/>
                </a:lnTo>
                <a:lnTo>
                  <a:pt x="227" y="80"/>
                </a:lnTo>
                <a:lnTo>
                  <a:pt x="227" y="83"/>
                </a:lnTo>
                <a:lnTo>
                  <a:pt x="225" y="86"/>
                </a:lnTo>
                <a:lnTo>
                  <a:pt x="223" y="89"/>
                </a:lnTo>
                <a:lnTo>
                  <a:pt x="221" y="91"/>
                </a:lnTo>
                <a:lnTo>
                  <a:pt x="219" y="91"/>
                </a:lnTo>
                <a:lnTo>
                  <a:pt x="215" y="91"/>
                </a:lnTo>
                <a:lnTo>
                  <a:pt x="212" y="91"/>
                </a:lnTo>
                <a:lnTo>
                  <a:pt x="209" y="88"/>
                </a:lnTo>
                <a:lnTo>
                  <a:pt x="206" y="85"/>
                </a:lnTo>
                <a:lnTo>
                  <a:pt x="204" y="85"/>
                </a:lnTo>
                <a:lnTo>
                  <a:pt x="204" y="86"/>
                </a:lnTo>
                <a:lnTo>
                  <a:pt x="204" y="89"/>
                </a:lnTo>
                <a:lnTo>
                  <a:pt x="205" y="90"/>
                </a:lnTo>
                <a:lnTo>
                  <a:pt x="205" y="92"/>
                </a:lnTo>
                <a:lnTo>
                  <a:pt x="205" y="93"/>
                </a:lnTo>
                <a:lnTo>
                  <a:pt x="204" y="96"/>
                </a:lnTo>
                <a:lnTo>
                  <a:pt x="201" y="98"/>
                </a:lnTo>
                <a:lnTo>
                  <a:pt x="199" y="105"/>
                </a:lnTo>
                <a:lnTo>
                  <a:pt x="197" y="111"/>
                </a:lnTo>
                <a:lnTo>
                  <a:pt x="193" y="117"/>
                </a:lnTo>
                <a:lnTo>
                  <a:pt x="191" y="123"/>
                </a:lnTo>
                <a:lnTo>
                  <a:pt x="191" y="127"/>
                </a:lnTo>
                <a:lnTo>
                  <a:pt x="190" y="132"/>
                </a:lnTo>
                <a:lnTo>
                  <a:pt x="188" y="134"/>
                </a:lnTo>
                <a:lnTo>
                  <a:pt x="186" y="135"/>
                </a:lnTo>
                <a:lnTo>
                  <a:pt x="186" y="139"/>
                </a:lnTo>
                <a:lnTo>
                  <a:pt x="186" y="143"/>
                </a:lnTo>
                <a:lnTo>
                  <a:pt x="183" y="150"/>
                </a:lnTo>
                <a:lnTo>
                  <a:pt x="180" y="157"/>
                </a:lnTo>
                <a:lnTo>
                  <a:pt x="176" y="165"/>
                </a:lnTo>
                <a:lnTo>
                  <a:pt x="172" y="173"/>
                </a:lnTo>
                <a:lnTo>
                  <a:pt x="167" y="181"/>
                </a:lnTo>
                <a:lnTo>
                  <a:pt x="162" y="188"/>
                </a:lnTo>
                <a:lnTo>
                  <a:pt x="163" y="180"/>
                </a:lnTo>
                <a:lnTo>
                  <a:pt x="164" y="173"/>
                </a:lnTo>
                <a:lnTo>
                  <a:pt x="167" y="167"/>
                </a:lnTo>
                <a:lnTo>
                  <a:pt x="170" y="160"/>
                </a:lnTo>
                <a:lnTo>
                  <a:pt x="174" y="143"/>
                </a:lnTo>
                <a:lnTo>
                  <a:pt x="179" y="127"/>
                </a:lnTo>
                <a:lnTo>
                  <a:pt x="182" y="122"/>
                </a:lnTo>
                <a:lnTo>
                  <a:pt x="184" y="115"/>
                </a:lnTo>
                <a:lnTo>
                  <a:pt x="186" y="111"/>
                </a:lnTo>
                <a:lnTo>
                  <a:pt x="186" y="108"/>
                </a:lnTo>
                <a:lnTo>
                  <a:pt x="188" y="106"/>
                </a:lnTo>
                <a:lnTo>
                  <a:pt x="189" y="104"/>
                </a:lnTo>
                <a:lnTo>
                  <a:pt x="189" y="91"/>
                </a:lnTo>
                <a:lnTo>
                  <a:pt x="191" y="79"/>
                </a:lnTo>
                <a:lnTo>
                  <a:pt x="188" y="79"/>
                </a:lnTo>
                <a:lnTo>
                  <a:pt x="184" y="81"/>
                </a:lnTo>
                <a:lnTo>
                  <a:pt x="182" y="82"/>
                </a:lnTo>
                <a:lnTo>
                  <a:pt x="180" y="84"/>
                </a:lnTo>
                <a:lnTo>
                  <a:pt x="176" y="89"/>
                </a:lnTo>
                <a:lnTo>
                  <a:pt x="172" y="92"/>
                </a:lnTo>
                <a:lnTo>
                  <a:pt x="176" y="93"/>
                </a:lnTo>
                <a:lnTo>
                  <a:pt x="180" y="94"/>
                </a:lnTo>
                <a:lnTo>
                  <a:pt x="182" y="96"/>
                </a:lnTo>
                <a:lnTo>
                  <a:pt x="183" y="97"/>
                </a:lnTo>
                <a:lnTo>
                  <a:pt x="184" y="99"/>
                </a:lnTo>
                <a:lnTo>
                  <a:pt x="184" y="101"/>
                </a:lnTo>
                <a:lnTo>
                  <a:pt x="181" y="102"/>
                </a:lnTo>
                <a:lnTo>
                  <a:pt x="178" y="105"/>
                </a:lnTo>
                <a:lnTo>
                  <a:pt x="179" y="107"/>
                </a:lnTo>
                <a:lnTo>
                  <a:pt x="181" y="109"/>
                </a:lnTo>
                <a:lnTo>
                  <a:pt x="180" y="113"/>
                </a:lnTo>
                <a:lnTo>
                  <a:pt x="179" y="116"/>
                </a:lnTo>
                <a:lnTo>
                  <a:pt x="176" y="122"/>
                </a:lnTo>
                <a:lnTo>
                  <a:pt x="174" y="127"/>
                </a:lnTo>
                <a:lnTo>
                  <a:pt x="172" y="133"/>
                </a:lnTo>
                <a:lnTo>
                  <a:pt x="170" y="138"/>
                </a:lnTo>
                <a:lnTo>
                  <a:pt x="168" y="143"/>
                </a:lnTo>
                <a:lnTo>
                  <a:pt x="166" y="148"/>
                </a:lnTo>
                <a:lnTo>
                  <a:pt x="164" y="149"/>
                </a:lnTo>
                <a:lnTo>
                  <a:pt x="163" y="148"/>
                </a:lnTo>
                <a:lnTo>
                  <a:pt x="163" y="147"/>
                </a:lnTo>
                <a:lnTo>
                  <a:pt x="163" y="143"/>
                </a:lnTo>
                <a:lnTo>
                  <a:pt x="163" y="138"/>
                </a:lnTo>
                <a:lnTo>
                  <a:pt x="163" y="134"/>
                </a:lnTo>
                <a:lnTo>
                  <a:pt x="164" y="134"/>
                </a:lnTo>
                <a:lnTo>
                  <a:pt x="164" y="134"/>
                </a:lnTo>
                <a:lnTo>
                  <a:pt x="166" y="133"/>
                </a:lnTo>
                <a:lnTo>
                  <a:pt x="167" y="132"/>
                </a:lnTo>
                <a:lnTo>
                  <a:pt x="167" y="130"/>
                </a:lnTo>
                <a:lnTo>
                  <a:pt x="168" y="127"/>
                </a:lnTo>
                <a:lnTo>
                  <a:pt x="170" y="125"/>
                </a:lnTo>
                <a:lnTo>
                  <a:pt x="172" y="123"/>
                </a:lnTo>
                <a:lnTo>
                  <a:pt x="173" y="123"/>
                </a:lnTo>
                <a:lnTo>
                  <a:pt x="173" y="122"/>
                </a:lnTo>
                <a:lnTo>
                  <a:pt x="173" y="121"/>
                </a:lnTo>
                <a:lnTo>
                  <a:pt x="172" y="119"/>
                </a:lnTo>
                <a:lnTo>
                  <a:pt x="168" y="118"/>
                </a:lnTo>
                <a:lnTo>
                  <a:pt x="165" y="119"/>
                </a:lnTo>
                <a:lnTo>
                  <a:pt x="163" y="122"/>
                </a:lnTo>
                <a:lnTo>
                  <a:pt x="162" y="124"/>
                </a:lnTo>
                <a:lnTo>
                  <a:pt x="162" y="124"/>
                </a:lnTo>
                <a:lnTo>
                  <a:pt x="162" y="125"/>
                </a:lnTo>
                <a:lnTo>
                  <a:pt x="162" y="127"/>
                </a:lnTo>
                <a:lnTo>
                  <a:pt x="159" y="129"/>
                </a:lnTo>
                <a:lnTo>
                  <a:pt x="159" y="131"/>
                </a:lnTo>
                <a:lnTo>
                  <a:pt x="158" y="134"/>
                </a:lnTo>
                <a:lnTo>
                  <a:pt x="156" y="142"/>
                </a:lnTo>
                <a:lnTo>
                  <a:pt x="153" y="149"/>
                </a:lnTo>
                <a:lnTo>
                  <a:pt x="149" y="156"/>
                </a:lnTo>
                <a:lnTo>
                  <a:pt x="143" y="164"/>
                </a:lnTo>
                <a:lnTo>
                  <a:pt x="140" y="171"/>
                </a:lnTo>
                <a:lnTo>
                  <a:pt x="137" y="179"/>
                </a:lnTo>
                <a:lnTo>
                  <a:pt x="132" y="187"/>
                </a:lnTo>
                <a:lnTo>
                  <a:pt x="126" y="192"/>
                </a:lnTo>
                <a:lnTo>
                  <a:pt x="126" y="196"/>
                </a:lnTo>
                <a:lnTo>
                  <a:pt x="125" y="198"/>
                </a:lnTo>
                <a:lnTo>
                  <a:pt x="124" y="196"/>
                </a:lnTo>
                <a:lnTo>
                  <a:pt x="124" y="194"/>
                </a:lnTo>
                <a:lnTo>
                  <a:pt x="124" y="193"/>
                </a:lnTo>
                <a:lnTo>
                  <a:pt x="126" y="192"/>
                </a:lnTo>
                <a:lnTo>
                  <a:pt x="126" y="188"/>
                </a:lnTo>
                <a:lnTo>
                  <a:pt x="125" y="183"/>
                </a:lnTo>
                <a:lnTo>
                  <a:pt x="123" y="182"/>
                </a:lnTo>
                <a:lnTo>
                  <a:pt x="122" y="182"/>
                </a:lnTo>
                <a:lnTo>
                  <a:pt x="121" y="183"/>
                </a:lnTo>
                <a:lnTo>
                  <a:pt x="121" y="185"/>
                </a:lnTo>
                <a:lnTo>
                  <a:pt x="118" y="190"/>
                </a:lnTo>
                <a:lnTo>
                  <a:pt x="118" y="193"/>
                </a:lnTo>
                <a:lnTo>
                  <a:pt x="115" y="201"/>
                </a:lnTo>
                <a:lnTo>
                  <a:pt x="110" y="209"/>
                </a:lnTo>
                <a:lnTo>
                  <a:pt x="106" y="216"/>
                </a:lnTo>
                <a:lnTo>
                  <a:pt x="99" y="223"/>
                </a:lnTo>
                <a:lnTo>
                  <a:pt x="100" y="217"/>
                </a:lnTo>
                <a:lnTo>
                  <a:pt x="100" y="213"/>
                </a:lnTo>
                <a:lnTo>
                  <a:pt x="104" y="206"/>
                </a:lnTo>
                <a:lnTo>
                  <a:pt x="106" y="200"/>
                </a:lnTo>
                <a:lnTo>
                  <a:pt x="110" y="188"/>
                </a:lnTo>
                <a:lnTo>
                  <a:pt x="114" y="174"/>
                </a:lnTo>
                <a:lnTo>
                  <a:pt x="116" y="162"/>
                </a:lnTo>
                <a:lnTo>
                  <a:pt x="121" y="150"/>
                </a:lnTo>
                <a:lnTo>
                  <a:pt x="123" y="146"/>
                </a:lnTo>
                <a:lnTo>
                  <a:pt x="125" y="141"/>
                </a:lnTo>
                <a:lnTo>
                  <a:pt x="126" y="135"/>
                </a:lnTo>
                <a:lnTo>
                  <a:pt x="126" y="130"/>
                </a:lnTo>
                <a:lnTo>
                  <a:pt x="123" y="134"/>
                </a:lnTo>
                <a:lnTo>
                  <a:pt x="121" y="140"/>
                </a:lnTo>
                <a:lnTo>
                  <a:pt x="116" y="152"/>
                </a:lnTo>
                <a:lnTo>
                  <a:pt x="112" y="164"/>
                </a:lnTo>
                <a:lnTo>
                  <a:pt x="109" y="171"/>
                </a:lnTo>
                <a:lnTo>
                  <a:pt x="107" y="176"/>
                </a:lnTo>
                <a:lnTo>
                  <a:pt x="106" y="182"/>
                </a:lnTo>
                <a:lnTo>
                  <a:pt x="104" y="188"/>
                </a:lnTo>
                <a:lnTo>
                  <a:pt x="99" y="188"/>
                </a:lnTo>
                <a:lnTo>
                  <a:pt x="96" y="187"/>
                </a:lnTo>
                <a:lnTo>
                  <a:pt x="99" y="189"/>
                </a:lnTo>
                <a:lnTo>
                  <a:pt x="102" y="190"/>
                </a:lnTo>
                <a:lnTo>
                  <a:pt x="100" y="196"/>
                </a:lnTo>
                <a:lnTo>
                  <a:pt x="99" y="202"/>
                </a:lnTo>
                <a:lnTo>
                  <a:pt x="98" y="201"/>
                </a:lnTo>
                <a:lnTo>
                  <a:pt x="97" y="200"/>
                </a:lnTo>
                <a:lnTo>
                  <a:pt x="97" y="198"/>
                </a:lnTo>
                <a:lnTo>
                  <a:pt x="97" y="197"/>
                </a:lnTo>
                <a:lnTo>
                  <a:pt x="96" y="196"/>
                </a:lnTo>
                <a:lnTo>
                  <a:pt x="96" y="194"/>
                </a:lnTo>
                <a:lnTo>
                  <a:pt x="93" y="197"/>
                </a:lnTo>
                <a:lnTo>
                  <a:pt x="91" y="200"/>
                </a:lnTo>
                <a:lnTo>
                  <a:pt x="89" y="196"/>
                </a:lnTo>
                <a:lnTo>
                  <a:pt x="85" y="192"/>
                </a:lnTo>
                <a:lnTo>
                  <a:pt x="87" y="194"/>
                </a:lnTo>
                <a:lnTo>
                  <a:pt x="87" y="198"/>
                </a:lnTo>
                <a:lnTo>
                  <a:pt x="87" y="200"/>
                </a:lnTo>
                <a:lnTo>
                  <a:pt x="85" y="202"/>
                </a:lnTo>
                <a:lnTo>
                  <a:pt x="83" y="208"/>
                </a:lnTo>
                <a:lnTo>
                  <a:pt x="80" y="214"/>
                </a:lnTo>
                <a:lnTo>
                  <a:pt x="76" y="227"/>
                </a:lnTo>
                <a:lnTo>
                  <a:pt x="73" y="242"/>
                </a:lnTo>
                <a:lnTo>
                  <a:pt x="71" y="249"/>
                </a:lnTo>
                <a:lnTo>
                  <a:pt x="68" y="255"/>
                </a:lnTo>
                <a:lnTo>
                  <a:pt x="67" y="262"/>
                </a:lnTo>
                <a:lnTo>
                  <a:pt x="66" y="268"/>
                </a:lnTo>
                <a:lnTo>
                  <a:pt x="61" y="285"/>
                </a:lnTo>
                <a:lnTo>
                  <a:pt x="57" y="301"/>
                </a:lnTo>
                <a:lnTo>
                  <a:pt x="55" y="317"/>
                </a:lnTo>
                <a:lnTo>
                  <a:pt x="51" y="331"/>
                </a:lnTo>
                <a:lnTo>
                  <a:pt x="48" y="347"/>
                </a:lnTo>
                <a:lnTo>
                  <a:pt x="46" y="362"/>
                </a:lnTo>
                <a:lnTo>
                  <a:pt x="44" y="368"/>
                </a:lnTo>
                <a:lnTo>
                  <a:pt x="43" y="375"/>
                </a:lnTo>
                <a:lnTo>
                  <a:pt x="40" y="381"/>
                </a:lnTo>
                <a:lnTo>
                  <a:pt x="38" y="389"/>
                </a:lnTo>
                <a:lnTo>
                  <a:pt x="38" y="396"/>
                </a:lnTo>
                <a:lnTo>
                  <a:pt x="39" y="403"/>
                </a:lnTo>
                <a:lnTo>
                  <a:pt x="38" y="408"/>
                </a:lnTo>
                <a:lnTo>
                  <a:pt x="36" y="415"/>
                </a:lnTo>
                <a:lnTo>
                  <a:pt x="36" y="418"/>
                </a:lnTo>
                <a:lnTo>
                  <a:pt x="38" y="421"/>
                </a:lnTo>
                <a:lnTo>
                  <a:pt x="40" y="420"/>
                </a:lnTo>
                <a:lnTo>
                  <a:pt x="42" y="416"/>
                </a:lnTo>
                <a:lnTo>
                  <a:pt x="43" y="411"/>
                </a:lnTo>
                <a:lnTo>
                  <a:pt x="44" y="405"/>
                </a:lnTo>
                <a:lnTo>
                  <a:pt x="48" y="389"/>
                </a:lnTo>
                <a:lnTo>
                  <a:pt x="51" y="374"/>
                </a:lnTo>
                <a:lnTo>
                  <a:pt x="54" y="363"/>
                </a:lnTo>
                <a:lnTo>
                  <a:pt x="56" y="351"/>
                </a:lnTo>
                <a:lnTo>
                  <a:pt x="59" y="347"/>
                </a:lnTo>
                <a:lnTo>
                  <a:pt x="61" y="341"/>
                </a:lnTo>
                <a:lnTo>
                  <a:pt x="64" y="335"/>
                </a:lnTo>
                <a:lnTo>
                  <a:pt x="65" y="329"/>
                </a:lnTo>
                <a:lnTo>
                  <a:pt x="67" y="324"/>
                </a:lnTo>
                <a:lnTo>
                  <a:pt x="68" y="320"/>
                </a:lnTo>
                <a:lnTo>
                  <a:pt x="66" y="317"/>
                </a:lnTo>
                <a:lnTo>
                  <a:pt x="64" y="314"/>
                </a:lnTo>
                <a:lnTo>
                  <a:pt x="63" y="308"/>
                </a:lnTo>
                <a:lnTo>
                  <a:pt x="63" y="300"/>
                </a:lnTo>
                <a:lnTo>
                  <a:pt x="65" y="293"/>
                </a:lnTo>
                <a:lnTo>
                  <a:pt x="67" y="288"/>
                </a:lnTo>
                <a:lnTo>
                  <a:pt x="68" y="280"/>
                </a:lnTo>
                <a:lnTo>
                  <a:pt x="71" y="272"/>
                </a:lnTo>
                <a:lnTo>
                  <a:pt x="71" y="268"/>
                </a:lnTo>
                <a:lnTo>
                  <a:pt x="71" y="266"/>
                </a:lnTo>
                <a:lnTo>
                  <a:pt x="73" y="263"/>
                </a:lnTo>
                <a:lnTo>
                  <a:pt x="74" y="260"/>
                </a:lnTo>
                <a:lnTo>
                  <a:pt x="74" y="258"/>
                </a:lnTo>
                <a:lnTo>
                  <a:pt x="73" y="256"/>
                </a:lnTo>
                <a:lnTo>
                  <a:pt x="74" y="252"/>
                </a:lnTo>
                <a:lnTo>
                  <a:pt x="76" y="248"/>
                </a:lnTo>
                <a:lnTo>
                  <a:pt x="79" y="240"/>
                </a:lnTo>
                <a:lnTo>
                  <a:pt x="81" y="232"/>
                </a:lnTo>
                <a:lnTo>
                  <a:pt x="83" y="224"/>
                </a:lnTo>
                <a:lnTo>
                  <a:pt x="85" y="217"/>
                </a:lnTo>
                <a:lnTo>
                  <a:pt x="85" y="212"/>
                </a:lnTo>
                <a:lnTo>
                  <a:pt x="87" y="207"/>
                </a:lnTo>
                <a:lnTo>
                  <a:pt x="89" y="206"/>
                </a:lnTo>
                <a:lnTo>
                  <a:pt x="91" y="207"/>
                </a:lnTo>
                <a:lnTo>
                  <a:pt x="93" y="209"/>
                </a:lnTo>
                <a:lnTo>
                  <a:pt x="94" y="212"/>
                </a:lnTo>
                <a:lnTo>
                  <a:pt x="96" y="215"/>
                </a:lnTo>
                <a:lnTo>
                  <a:pt x="96" y="217"/>
                </a:lnTo>
                <a:lnTo>
                  <a:pt x="94" y="219"/>
                </a:lnTo>
                <a:lnTo>
                  <a:pt x="93" y="222"/>
                </a:lnTo>
                <a:lnTo>
                  <a:pt x="93" y="224"/>
                </a:lnTo>
                <a:lnTo>
                  <a:pt x="93" y="225"/>
                </a:lnTo>
                <a:lnTo>
                  <a:pt x="92" y="231"/>
                </a:lnTo>
                <a:lnTo>
                  <a:pt x="91" y="235"/>
                </a:lnTo>
                <a:lnTo>
                  <a:pt x="89" y="242"/>
                </a:lnTo>
                <a:lnTo>
                  <a:pt x="87" y="249"/>
                </a:lnTo>
                <a:lnTo>
                  <a:pt x="85" y="257"/>
                </a:lnTo>
                <a:lnTo>
                  <a:pt x="85" y="264"/>
                </a:lnTo>
                <a:lnTo>
                  <a:pt x="84" y="266"/>
                </a:lnTo>
                <a:lnTo>
                  <a:pt x="84" y="268"/>
                </a:lnTo>
                <a:lnTo>
                  <a:pt x="83" y="270"/>
                </a:lnTo>
                <a:lnTo>
                  <a:pt x="81" y="268"/>
                </a:lnTo>
                <a:lnTo>
                  <a:pt x="80" y="279"/>
                </a:lnTo>
                <a:lnTo>
                  <a:pt x="76" y="288"/>
                </a:lnTo>
                <a:lnTo>
                  <a:pt x="75" y="292"/>
                </a:lnTo>
                <a:lnTo>
                  <a:pt x="74" y="297"/>
                </a:lnTo>
                <a:lnTo>
                  <a:pt x="75" y="299"/>
                </a:lnTo>
                <a:lnTo>
                  <a:pt x="76" y="301"/>
                </a:lnTo>
                <a:lnTo>
                  <a:pt x="73" y="302"/>
                </a:lnTo>
                <a:lnTo>
                  <a:pt x="69" y="306"/>
                </a:lnTo>
                <a:lnTo>
                  <a:pt x="69" y="308"/>
                </a:lnTo>
                <a:lnTo>
                  <a:pt x="71" y="312"/>
                </a:lnTo>
                <a:lnTo>
                  <a:pt x="72" y="316"/>
                </a:lnTo>
                <a:lnTo>
                  <a:pt x="72" y="322"/>
                </a:lnTo>
                <a:lnTo>
                  <a:pt x="71" y="331"/>
                </a:lnTo>
                <a:lnTo>
                  <a:pt x="69" y="341"/>
                </a:lnTo>
                <a:lnTo>
                  <a:pt x="67" y="349"/>
                </a:lnTo>
                <a:lnTo>
                  <a:pt x="64" y="357"/>
                </a:lnTo>
                <a:lnTo>
                  <a:pt x="64" y="360"/>
                </a:lnTo>
                <a:lnTo>
                  <a:pt x="64" y="364"/>
                </a:lnTo>
                <a:lnTo>
                  <a:pt x="65" y="364"/>
                </a:lnTo>
                <a:lnTo>
                  <a:pt x="66" y="364"/>
                </a:lnTo>
                <a:lnTo>
                  <a:pt x="67" y="364"/>
                </a:lnTo>
                <a:lnTo>
                  <a:pt x="69" y="362"/>
                </a:lnTo>
                <a:lnTo>
                  <a:pt x="72" y="357"/>
                </a:lnTo>
                <a:lnTo>
                  <a:pt x="73" y="353"/>
                </a:lnTo>
                <a:lnTo>
                  <a:pt x="74" y="346"/>
                </a:lnTo>
                <a:lnTo>
                  <a:pt x="74" y="341"/>
                </a:lnTo>
                <a:lnTo>
                  <a:pt x="77" y="342"/>
                </a:lnTo>
                <a:lnTo>
                  <a:pt x="79" y="345"/>
                </a:lnTo>
                <a:lnTo>
                  <a:pt x="79" y="347"/>
                </a:lnTo>
                <a:lnTo>
                  <a:pt x="77" y="349"/>
                </a:lnTo>
                <a:lnTo>
                  <a:pt x="77" y="351"/>
                </a:lnTo>
                <a:lnTo>
                  <a:pt x="76" y="354"/>
                </a:lnTo>
                <a:lnTo>
                  <a:pt x="77" y="356"/>
                </a:lnTo>
                <a:lnTo>
                  <a:pt x="80" y="357"/>
                </a:lnTo>
                <a:lnTo>
                  <a:pt x="83" y="349"/>
                </a:lnTo>
                <a:lnTo>
                  <a:pt x="87" y="339"/>
                </a:lnTo>
                <a:lnTo>
                  <a:pt x="88" y="330"/>
                </a:lnTo>
                <a:lnTo>
                  <a:pt x="90" y="321"/>
                </a:lnTo>
                <a:lnTo>
                  <a:pt x="92" y="308"/>
                </a:lnTo>
                <a:lnTo>
                  <a:pt x="94" y="298"/>
                </a:lnTo>
                <a:lnTo>
                  <a:pt x="97" y="291"/>
                </a:lnTo>
                <a:lnTo>
                  <a:pt x="97" y="284"/>
                </a:lnTo>
                <a:lnTo>
                  <a:pt x="92" y="295"/>
                </a:lnTo>
                <a:lnTo>
                  <a:pt x="90" y="305"/>
                </a:lnTo>
                <a:lnTo>
                  <a:pt x="89" y="308"/>
                </a:lnTo>
                <a:lnTo>
                  <a:pt x="88" y="312"/>
                </a:lnTo>
                <a:lnTo>
                  <a:pt x="85" y="314"/>
                </a:lnTo>
                <a:lnTo>
                  <a:pt x="81" y="314"/>
                </a:lnTo>
                <a:lnTo>
                  <a:pt x="84" y="296"/>
                </a:lnTo>
                <a:lnTo>
                  <a:pt x="88" y="276"/>
                </a:lnTo>
                <a:lnTo>
                  <a:pt x="92" y="259"/>
                </a:lnTo>
                <a:lnTo>
                  <a:pt x="98" y="241"/>
                </a:lnTo>
                <a:lnTo>
                  <a:pt x="102" y="234"/>
                </a:lnTo>
                <a:lnTo>
                  <a:pt x="106" y="229"/>
                </a:lnTo>
                <a:lnTo>
                  <a:pt x="110" y="221"/>
                </a:lnTo>
                <a:lnTo>
                  <a:pt x="114" y="213"/>
                </a:lnTo>
                <a:lnTo>
                  <a:pt x="116" y="208"/>
                </a:lnTo>
                <a:lnTo>
                  <a:pt x="120" y="205"/>
                </a:lnTo>
                <a:lnTo>
                  <a:pt x="120" y="202"/>
                </a:lnTo>
                <a:lnTo>
                  <a:pt x="121" y="200"/>
                </a:lnTo>
                <a:lnTo>
                  <a:pt x="123" y="199"/>
                </a:lnTo>
                <a:lnTo>
                  <a:pt x="125" y="198"/>
                </a:lnTo>
                <a:lnTo>
                  <a:pt x="123" y="210"/>
                </a:lnTo>
                <a:lnTo>
                  <a:pt x="120" y="223"/>
                </a:lnTo>
                <a:lnTo>
                  <a:pt x="124" y="217"/>
                </a:lnTo>
                <a:lnTo>
                  <a:pt x="129" y="210"/>
                </a:lnTo>
                <a:lnTo>
                  <a:pt x="131" y="202"/>
                </a:lnTo>
                <a:lnTo>
                  <a:pt x="134" y="196"/>
                </a:lnTo>
                <a:lnTo>
                  <a:pt x="134" y="192"/>
                </a:lnTo>
                <a:lnTo>
                  <a:pt x="135" y="189"/>
                </a:lnTo>
                <a:lnTo>
                  <a:pt x="138" y="187"/>
                </a:lnTo>
                <a:lnTo>
                  <a:pt x="140" y="184"/>
                </a:lnTo>
                <a:lnTo>
                  <a:pt x="143" y="185"/>
                </a:lnTo>
                <a:lnTo>
                  <a:pt x="145" y="187"/>
                </a:lnTo>
                <a:lnTo>
                  <a:pt x="145" y="189"/>
                </a:lnTo>
                <a:lnTo>
                  <a:pt x="145" y="191"/>
                </a:lnTo>
                <a:lnTo>
                  <a:pt x="143" y="198"/>
                </a:lnTo>
                <a:lnTo>
                  <a:pt x="142" y="205"/>
                </a:lnTo>
                <a:lnTo>
                  <a:pt x="139" y="213"/>
                </a:lnTo>
                <a:lnTo>
                  <a:pt x="137" y="218"/>
                </a:lnTo>
                <a:lnTo>
                  <a:pt x="132" y="223"/>
                </a:lnTo>
                <a:lnTo>
                  <a:pt x="127" y="229"/>
                </a:lnTo>
                <a:lnTo>
                  <a:pt x="125" y="234"/>
                </a:lnTo>
                <a:lnTo>
                  <a:pt x="125" y="241"/>
                </a:lnTo>
                <a:lnTo>
                  <a:pt x="122" y="255"/>
                </a:lnTo>
                <a:lnTo>
                  <a:pt x="117" y="268"/>
                </a:lnTo>
                <a:lnTo>
                  <a:pt x="113" y="285"/>
                </a:lnTo>
                <a:lnTo>
                  <a:pt x="108" y="301"/>
                </a:lnTo>
                <a:lnTo>
                  <a:pt x="106" y="308"/>
                </a:lnTo>
                <a:lnTo>
                  <a:pt x="105" y="316"/>
                </a:lnTo>
                <a:lnTo>
                  <a:pt x="104" y="318"/>
                </a:lnTo>
                <a:lnTo>
                  <a:pt x="102" y="321"/>
                </a:lnTo>
                <a:lnTo>
                  <a:pt x="102" y="324"/>
                </a:lnTo>
                <a:lnTo>
                  <a:pt x="102" y="326"/>
                </a:lnTo>
                <a:lnTo>
                  <a:pt x="100" y="329"/>
                </a:lnTo>
                <a:lnTo>
                  <a:pt x="98" y="332"/>
                </a:lnTo>
                <a:lnTo>
                  <a:pt x="97" y="335"/>
                </a:lnTo>
                <a:lnTo>
                  <a:pt x="97" y="339"/>
                </a:lnTo>
                <a:lnTo>
                  <a:pt x="97" y="347"/>
                </a:lnTo>
                <a:lnTo>
                  <a:pt x="99" y="355"/>
                </a:lnTo>
                <a:lnTo>
                  <a:pt x="96" y="355"/>
                </a:lnTo>
                <a:lnTo>
                  <a:pt x="94" y="355"/>
                </a:lnTo>
                <a:lnTo>
                  <a:pt x="93" y="356"/>
                </a:lnTo>
                <a:lnTo>
                  <a:pt x="92" y="358"/>
                </a:lnTo>
                <a:lnTo>
                  <a:pt x="91" y="363"/>
                </a:lnTo>
                <a:lnTo>
                  <a:pt x="90" y="368"/>
                </a:lnTo>
                <a:lnTo>
                  <a:pt x="88" y="378"/>
                </a:lnTo>
                <a:lnTo>
                  <a:pt x="85" y="387"/>
                </a:lnTo>
                <a:lnTo>
                  <a:pt x="84" y="392"/>
                </a:lnTo>
                <a:lnTo>
                  <a:pt x="83" y="397"/>
                </a:lnTo>
                <a:lnTo>
                  <a:pt x="82" y="401"/>
                </a:lnTo>
                <a:lnTo>
                  <a:pt x="80" y="406"/>
                </a:lnTo>
                <a:lnTo>
                  <a:pt x="80" y="409"/>
                </a:lnTo>
                <a:lnTo>
                  <a:pt x="79" y="413"/>
                </a:lnTo>
                <a:lnTo>
                  <a:pt x="79" y="416"/>
                </a:lnTo>
                <a:lnTo>
                  <a:pt x="77" y="421"/>
                </a:lnTo>
                <a:lnTo>
                  <a:pt x="75" y="426"/>
                </a:lnTo>
                <a:lnTo>
                  <a:pt x="71" y="431"/>
                </a:lnTo>
                <a:lnTo>
                  <a:pt x="67" y="432"/>
                </a:lnTo>
                <a:lnTo>
                  <a:pt x="64" y="431"/>
                </a:lnTo>
                <a:lnTo>
                  <a:pt x="60" y="430"/>
                </a:lnTo>
                <a:lnTo>
                  <a:pt x="60" y="426"/>
                </a:lnTo>
                <a:lnTo>
                  <a:pt x="60" y="420"/>
                </a:lnTo>
                <a:lnTo>
                  <a:pt x="61" y="413"/>
                </a:lnTo>
                <a:lnTo>
                  <a:pt x="61" y="403"/>
                </a:lnTo>
                <a:lnTo>
                  <a:pt x="64" y="393"/>
                </a:lnTo>
                <a:lnTo>
                  <a:pt x="66" y="389"/>
                </a:lnTo>
                <a:lnTo>
                  <a:pt x="67" y="384"/>
                </a:lnTo>
                <a:lnTo>
                  <a:pt x="66" y="380"/>
                </a:lnTo>
                <a:lnTo>
                  <a:pt x="66" y="376"/>
                </a:lnTo>
                <a:lnTo>
                  <a:pt x="67" y="373"/>
                </a:lnTo>
                <a:lnTo>
                  <a:pt x="68" y="370"/>
                </a:lnTo>
                <a:lnTo>
                  <a:pt x="68" y="367"/>
                </a:lnTo>
                <a:lnTo>
                  <a:pt x="67" y="365"/>
                </a:lnTo>
                <a:lnTo>
                  <a:pt x="66" y="364"/>
                </a:lnTo>
                <a:lnTo>
                  <a:pt x="64" y="364"/>
                </a:lnTo>
                <a:lnTo>
                  <a:pt x="61" y="373"/>
                </a:lnTo>
                <a:lnTo>
                  <a:pt x="60" y="384"/>
                </a:lnTo>
                <a:lnTo>
                  <a:pt x="58" y="396"/>
                </a:lnTo>
                <a:lnTo>
                  <a:pt x="56" y="407"/>
                </a:lnTo>
                <a:lnTo>
                  <a:pt x="55" y="418"/>
                </a:lnTo>
                <a:lnTo>
                  <a:pt x="54" y="430"/>
                </a:lnTo>
                <a:lnTo>
                  <a:pt x="54" y="440"/>
                </a:lnTo>
                <a:lnTo>
                  <a:pt x="51" y="451"/>
                </a:lnTo>
                <a:lnTo>
                  <a:pt x="47" y="462"/>
                </a:lnTo>
                <a:lnTo>
                  <a:pt x="40" y="472"/>
                </a:lnTo>
                <a:lnTo>
                  <a:pt x="40" y="468"/>
                </a:lnTo>
                <a:lnTo>
                  <a:pt x="39" y="466"/>
                </a:lnTo>
                <a:lnTo>
                  <a:pt x="38" y="465"/>
                </a:lnTo>
                <a:lnTo>
                  <a:pt x="34" y="464"/>
                </a:lnTo>
                <a:lnTo>
                  <a:pt x="33" y="462"/>
                </a:lnTo>
                <a:lnTo>
                  <a:pt x="33" y="458"/>
                </a:lnTo>
                <a:lnTo>
                  <a:pt x="33" y="455"/>
                </a:lnTo>
                <a:lnTo>
                  <a:pt x="34" y="451"/>
                </a:lnTo>
                <a:lnTo>
                  <a:pt x="38" y="443"/>
                </a:lnTo>
                <a:lnTo>
                  <a:pt x="40" y="437"/>
                </a:lnTo>
                <a:lnTo>
                  <a:pt x="40" y="429"/>
                </a:lnTo>
                <a:lnTo>
                  <a:pt x="40" y="421"/>
                </a:lnTo>
                <a:lnTo>
                  <a:pt x="36" y="422"/>
                </a:lnTo>
                <a:lnTo>
                  <a:pt x="33" y="425"/>
                </a:lnTo>
                <a:lnTo>
                  <a:pt x="30" y="430"/>
                </a:lnTo>
                <a:lnTo>
                  <a:pt x="28" y="434"/>
                </a:lnTo>
                <a:lnTo>
                  <a:pt x="27" y="438"/>
                </a:lnTo>
                <a:lnTo>
                  <a:pt x="28" y="441"/>
                </a:lnTo>
                <a:lnTo>
                  <a:pt x="31" y="439"/>
                </a:lnTo>
                <a:lnTo>
                  <a:pt x="33" y="437"/>
                </a:lnTo>
                <a:lnTo>
                  <a:pt x="32" y="448"/>
                </a:lnTo>
                <a:lnTo>
                  <a:pt x="32" y="461"/>
                </a:lnTo>
                <a:lnTo>
                  <a:pt x="30" y="472"/>
                </a:lnTo>
                <a:lnTo>
                  <a:pt x="27" y="484"/>
                </a:lnTo>
                <a:lnTo>
                  <a:pt x="24" y="495"/>
                </a:lnTo>
                <a:lnTo>
                  <a:pt x="18" y="504"/>
                </a:lnTo>
                <a:lnTo>
                  <a:pt x="16" y="512"/>
                </a:lnTo>
                <a:lnTo>
                  <a:pt x="16" y="521"/>
                </a:lnTo>
                <a:lnTo>
                  <a:pt x="14" y="526"/>
                </a:lnTo>
                <a:lnTo>
                  <a:pt x="11" y="531"/>
                </a:lnTo>
                <a:lnTo>
                  <a:pt x="10" y="537"/>
                </a:lnTo>
                <a:lnTo>
                  <a:pt x="8" y="542"/>
                </a:lnTo>
                <a:lnTo>
                  <a:pt x="6" y="547"/>
                </a:lnTo>
                <a:lnTo>
                  <a:pt x="5" y="551"/>
                </a:lnTo>
                <a:lnTo>
                  <a:pt x="5" y="556"/>
                </a:lnTo>
                <a:lnTo>
                  <a:pt x="5" y="562"/>
                </a:lnTo>
                <a:lnTo>
                  <a:pt x="5" y="566"/>
                </a:lnTo>
                <a:lnTo>
                  <a:pt x="7" y="570"/>
                </a:lnTo>
                <a:lnTo>
                  <a:pt x="9" y="570"/>
                </a:lnTo>
                <a:lnTo>
                  <a:pt x="13" y="570"/>
                </a:lnTo>
                <a:lnTo>
                  <a:pt x="11" y="565"/>
                </a:lnTo>
                <a:lnTo>
                  <a:pt x="10" y="559"/>
                </a:lnTo>
                <a:lnTo>
                  <a:pt x="10" y="553"/>
                </a:lnTo>
                <a:lnTo>
                  <a:pt x="10" y="546"/>
                </a:lnTo>
                <a:lnTo>
                  <a:pt x="14" y="549"/>
                </a:lnTo>
                <a:lnTo>
                  <a:pt x="16" y="554"/>
                </a:lnTo>
                <a:lnTo>
                  <a:pt x="17" y="559"/>
                </a:lnTo>
                <a:lnTo>
                  <a:pt x="18" y="565"/>
                </a:lnTo>
                <a:lnTo>
                  <a:pt x="19" y="571"/>
                </a:lnTo>
                <a:lnTo>
                  <a:pt x="21" y="575"/>
                </a:lnTo>
                <a:lnTo>
                  <a:pt x="23" y="580"/>
                </a:lnTo>
                <a:lnTo>
                  <a:pt x="26" y="584"/>
                </a:lnTo>
                <a:lnTo>
                  <a:pt x="27" y="581"/>
                </a:lnTo>
                <a:lnTo>
                  <a:pt x="30" y="578"/>
                </a:lnTo>
                <a:lnTo>
                  <a:pt x="31" y="575"/>
                </a:lnTo>
                <a:lnTo>
                  <a:pt x="32" y="574"/>
                </a:lnTo>
                <a:lnTo>
                  <a:pt x="34" y="574"/>
                </a:lnTo>
                <a:lnTo>
                  <a:pt x="35" y="575"/>
                </a:lnTo>
                <a:lnTo>
                  <a:pt x="35" y="578"/>
                </a:lnTo>
                <a:lnTo>
                  <a:pt x="34" y="581"/>
                </a:lnTo>
                <a:lnTo>
                  <a:pt x="33" y="586"/>
                </a:lnTo>
                <a:lnTo>
                  <a:pt x="31" y="588"/>
                </a:lnTo>
                <a:lnTo>
                  <a:pt x="30" y="590"/>
                </a:lnTo>
                <a:lnTo>
                  <a:pt x="27" y="592"/>
                </a:lnTo>
                <a:lnTo>
                  <a:pt x="26" y="592"/>
                </a:lnTo>
                <a:lnTo>
                  <a:pt x="24" y="592"/>
                </a:lnTo>
                <a:lnTo>
                  <a:pt x="22" y="589"/>
                </a:lnTo>
                <a:lnTo>
                  <a:pt x="21" y="586"/>
                </a:lnTo>
                <a:lnTo>
                  <a:pt x="19" y="584"/>
                </a:lnTo>
                <a:lnTo>
                  <a:pt x="19" y="583"/>
                </a:lnTo>
                <a:lnTo>
                  <a:pt x="17" y="583"/>
                </a:lnTo>
                <a:lnTo>
                  <a:pt x="15" y="583"/>
                </a:lnTo>
                <a:lnTo>
                  <a:pt x="19" y="591"/>
                </a:lnTo>
                <a:lnTo>
                  <a:pt x="22" y="599"/>
                </a:lnTo>
                <a:lnTo>
                  <a:pt x="19" y="600"/>
                </a:lnTo>
                <a:lnTo>
                  <a:pt x="18" y="603"/>
                </a:lnTo>
                <a:lnTo>
                  <a:pt x="17" y="605"/>
                </a:lnTo>
                <a:lnTo>
                  <a:pt x="17" y="607"/>
                </a:lnTo>
                <a:lnTo>
                  <a:pt x="18" y="611"/>
                </a:lnTo>
                <a:lnTo>
                  <a:pt x="18" y="615"/>
                </a:lnTo>
                <a:lnTo>
                  <a:pt x="17" y="621"/>
                </a:lnTo>
                <a:lnTo>
                  <a:pt x="16" y="625"/>
                </a:lnTo>
                <a:lnTo>
                  <a:pt x="13" y="629"/>
                </a:lnTo>
                <a:lnTo>
                  <a:pt x="10" y="633"/>
                </a:lnTo>
                <a:lnTo>
                  <a:pt x="8" y="638"/>
                </a:lnTo>
                <a:lnTo>
                  <a:pt x="7" y="642"/>
                </a:lnTo>
                <a:lnTo>
                  <a:pt x="8" y="648"/>
                </a:lnTo>
                <a:lnTo>
                  <a:pt x="10" y="654"/>
                </a:lnTo>
                <a:lnTo>
                  <a:pt x="9" y="658"/>
                </a:lnTo>
                <a:lnTo>
                  <a:pt x="6" y="662"/>
                </a:lnTo>
                <a:lnTo>
                  <a:pt x="3" y="667"/>
                </a:lnTo>
                <a:lnTo>
                  <a:pt x="2" y="673"/>
                </a:lnTo>
                <a:lnTo>
                  <a:pt x="1" y="678"/>
                </a:lnTo>
                <a:lnTo>
                  <a:pt x="1" y="682"/>
                </a:lnTo>
                <a:lnTo>
                  <a:pt x="0" y="683"/>
                </a:lnTo>
                <a:lnTo>
                  <a:pt x="0" y="685"/>
                </a:lnTo>
                <a:lnTo>
                  <a:pt x="1" y="686"/>
                </a:lnTo>
                <a:lnTo>
                  <a:pt x="2" y="686"/>
                </a:lnTo>
                <a:lnTo>
                  <a:pt x="5" y="683"/>
                </a:lnTo>
                <a:lnTo>
                  <a:pt x="7" y="680"/>
                </a:lnTo>
                <a:lnTo>
                  <a:pt x="8" y="679"/>
                </a:lnTo>
                <a:lnTo>
                  <a:pt x="10" y="680"/>
                </a:lnTo>
                <a:lnTo>
                  <a:pt x="11" y="681"/>
                </a:lnTo>
                <a:lnTo>
                  <a:pt x="11" y="683"/>
                </a:lnTo>
                <a:lnTo>
                  <a:pt x="11" y="688"/>
                </a:lnTo>
                <a:lnTo>
                  <a:pt x="10" y="694"/>
                </a:lnTo>
                <a:lnTo>
                  <a:pt x="10" y="700"/>
                </a:lnTo>
                <a:lnTo>
                  <a:pt x="10" y="707"/>
                </a:lnTo>
                <a:lnTo>
                  <a:pt x="14" y="704"/>
                </a:lnTo>
                <a:lnTo>
                  <a:pt x="16" y="702"/>
                </a:lnTo>
                <a:lnTo>
                  <a:pt x="16" y="698"/>
                </a:lnTo>
                <a:lnTo>
                  <a:pt x="16" y="695"/>
                </a:lnTo>
                <a:lnTo>
                  <a:pt x="15" y="689"/>
                </a:lnTo>
                <a:lnTo>
                  <a:pt x="16" y="685"/>
                </a:lnTo>
                <a:lnTo>
                  <a:pt x="18" y="680"/>
                </a:lnTo>
                <a:lnTo>
                  <a:pt x="21" y="675"/>
                </a:lnTo>
                <a:lnTo>
                  <a:pt x="21" y="672"/>
                </a:lnTo>
                <a:lnTo>
                  <a:pt x="22" y="667"/>
                </a:lnTo>
                <a:lnTo>
                  <a:pt x="22" y="665"/>
                </a:lnTo>
                <a:lnTo>
                  <a:pt x="22" y="663"/>
                </a:lnTo>
                <a:lnTo>
                  <a:pt x="21" y="661"/>
                </a:lnTo>
                <a:lnTo>
                  <a:pt x="18" y="661"/>
                </a:lnTo>
                <a:lnTo>
                  <a:pt x="17" y="661"/>
                </a:lnTo>
                <a:lnTo>
                  <a:pt x="16" y="661"/>
                </a:lnTo>
                <a:lnTo>
                  <a:pt x="16" y="662"/>
                </a:lnTo>
                <a:lnTo>
                  <a:pt x="16" y="663"/>
                </a:lnTo>
                <a:lnTo>
                  <a:pt x="14" y="667"/>
                </a:lnTo>
                <a:lnTo>
                  <a:pt x="11" y="670"/>
                </a:lnTo>
                <a:lnTo>
                  <a:pt x="10" y="666"/>
                </a:lnTo>
                <a:lnTo>
                  <a:pt x="11" y="662"/>
                </a:lnTo>
                <a:lnTo>
                  <a:pt x="11" y="659"/>
                </a:lnTo>
                <a:lnTo>
                  <a:pt x="11" y="659"/>
                </a:lnTo>
                <a:lnTo>
                  <a:pt x="13" y="658"/>
                </a:lnTo>
                <a:lnTo>
                  <a:pt x="15" y="658"/>
                </a:lnTo>
                <a:lnTo>
                  <a:pt x="19" y="655"/>
                </a:lnTo>
                <a:lnTo>
                  <a:pt x="24" y="652"/>
                </a:lnTo>
                <a:lnTo>
                  <a:pt x="28" y="642"/>
                </a:lnTo>
                <a:lnTo>
                  <a:pt x="32" y="633"/>
                </a:lnTo>
                <a:lnTo>
                  <a:pt x="36" y="621"/>
                </a:lnTo>
                <a:lnTo>
                  <a:pt x="41" y="609"/>
                </a:lnTo>
                <a:lnTo>
                  <a:pt x="47" y="598"/>
                </a:lnTo>
                <a:lnTo>
                  <a:pt x="54" y="588"/>
                </a:lnTo>
                <a:lnTo>
                  <a:pt x="55" y="596"/>
                </a:lnTo>
                <a:lnTo>
                  <a:pt x="56" y="605"/>
                </a:lnTo>
                <a:lnTo>
                  <a:pt x="50" y="617"/>
                </a:lnTo>
                <a:lnTo>
                  <a:pt x="43" y="631"/>
                </a:lnTo>
                <a:lnTo>
                  <a:pt x="41" y="638"/>
                </a:lnTo>
                <a:lnTo>
                  <a:pt x="39" y="645"/>
                </a:lnTo>
                <a:lnTo>
                  <a:pt x="39" y="652"/>
                </a:lnTo>
                <a:lnTo>
                  <a:pt x="39" y="659"/>
                </a:lnTo>
                <a:lnTo>
                  <a:pt x="39" y="663"/>
                </a:lnTo>
                <a:lnTo>
                  <a:pt x="40" y="666"/>
                </a:lnTo>
                <a:lnTo>
                  <a:pt x="40" y="669"/>
                </a:lnTo>
                <a:lnTo>
                  <a:pt x="40" y="669"/>
                </a:lnTo>
                <a:lnTo>
                  <a:pt x="41" y="670"/>
                </a:lnTo>
                <a:lnTo>
                  <a:pt x="43" y="670"/>
                </a:lnTo>
                <a:lnTo>
                  <a:pt x="50" y="666"/>
                </a:lnTo>
                <a:lnTo>
                  <a:pt x="57" y="663"/>
                </a:lnTo>
                <a:lnTo>
                  <a:pt x="56" y="677"/>
                </a:lnTo>
                <a:lnTo>
                  <a:pt x="57" y="691"/>
                </a:lnTo>
                <a:lnTo>
                  <a:pt x="57" y="695"/>
                </a:lnTo>
                <a:lnTo>
                  <a:pt x="57" y="698"/>
                </a:lnTo>
                <a:lnTo>
                  <a:pt x="55" y="699"/>
                </a:lnTo>
                <a:lnTo>
                  <a:pt x="52" y="702"/>
                </a:lnTo>
                <a:lnTo>
                  <a:pt x="51" y="703"/>
                </a:lnTo>
                <a:lnTo>
                  <a:pt x="51" y="705"/>
                </a:lnTo>
                <a:lnTo>
                  <a:pt x="52" y="706"/>
                </a:lnTo>
                <a:lnTo>
                  <a:pt x="54" y="708"/>
                </a:lnTo>
                <a:lnTo>
                  <a:pt x="57" y="713"/>
                </a:lnTo>
                <a:lnTo>
                  <a:pt x="61" y="716"/>
                </a:lnTo>
                <a:lnTo>
                  <a:pt x="64" y="717"/>
                </a:lnTo>
                <a:lnTo>
                  <a:pt x="66" y="719"/>
                </a:lnTo>
                <a:lnTo>
                  <a:pt x="68" y="721"/>
                </a:lnTo>
                <a:lnTo>
                  <a:pt x="68" y="723"/>
                </a:lnTo>
                <a:lnTo>
                  <a:pt x="66" y="727"/>
                </a:lnTo>
                <a:lnTo>
                  <a:pt x="63" y="729"/>
                </a:lnTo>
                <a:lnTo>
                  <a:pt x="61" y="736"/>
                </a:lnTo>
                <a:lnTo>
                  <a:pt x="63" y="741"/>
                </a:lnTo>
                <a:lnTo>
                  <a:pt x="65" y="739"/>
                </a:lnTo>
                <a:lnTo>
                  <a:pt x="66" y="736"/>
                </a:lnTo>
                <a:lnTo>
                  <a:pt x="66" y="733"/>
                </a:lnTo>
                <a:lnTo>
                  <a:pt x="67" y="732"/>
                </a:lnTo>
                <a:lnTo>
                  <a:pt x="68" y="731"/>
                </a:lnTo>
                <a:lnTo>
                  <a:pt x="72" y="732"/>
                </a:lnTo>
                <a:lnTo>
                  <a:pt x="74" y="733"/>
                </a:lnTo>
                <a:lnTo>
                  <a:pt x="75" y="735"/>
                </a:lnTo>
                <a:lnTo>
                  <a:pt x="74" y="737"/>
                </a:lnTo>
                <a:lnTo>
                  <a:pt x="72" y="738"/>
                </a:lnTo>
                <a:lnTo>
                  <a:pt x="72" y="740"/>
                </a:lnTo>
                <a:lnTo>
                  <a:pt x="73" y="741"/>
                </a:lnTo>
                <a:lnTo>
                  <a:pt x="73" y="741"/>
                </a:lnTo>
                <a:lnTo>
                  <a:pt x="75" y="742"/>
                </a:lnTo>
                <a:lnTo>
                  <a:pt x="76" y="745"/>
                </a:lnTo>
                <a:lnTo>
                  <a:pt x="77" y="747"/>
                </a:lnTo>
                <a:lnTo>
                  <a:pt x="77" y="749"/>
                </a:lnTo>
                <a:lnTo>
                  <a:pt x="77" y="753"/>
                </a:lnTo>
                <a:lnTo>
                  <a:pt x="76" y="756"/>
                </a:lnTo>
                <a:lnTo>
                  <a:pt x="77" y="758"/>
                </a:lnTo>
                <a:lnTo>
                  <a:pt x="80" y="758"/>
                </a:lnTo>
                <a:lnTo>
                  <a:pt x="81" y="756"/>
                </a:lnTo>
                <a:lnTo>
                  <a:pt x="83" y="756"/>
                </a:lnTo>
                <a:lnTo>
                  <a:pt x="87" y="754"/>
                </a:lnTo>
                <a:lnTo>
                  <a:pt x="90" y="753"/>
                </a:lnTo>
                <a:lnTo>
                  <a:pt x="91" y="750"/>
                </a:lnTo>
                <a:lnTo>
                  <a:pt x="90" y="749"/>
                </a:lnTo>
                <a:lnTo>
                  <a:pt x="88" y="747"/>
                </a:lnTo>
                <a:lnTo>
                  <a:pt x="85" y="744"/>
                </a:lnTo>
                <a:lnTo>
                  <a:pt x="84" y="740"/>
                </a:lnTo>
                <a:lnTo>
                  <a:pt x="83" y="737"/>
                </a:lnTo>
                <a:lnTo>
                  <a:pt x="82" y="733"/>
                </a:lnTo>
                <a:lnTo>
                  <a:pt x="81" y="730"/>
                </a:lnTo>
                <a:lnTo>
                  <a:pt x="82" y="727"/>
                </a:lnTo>
                <a:lnTo>
                  <a:pt x="83" y="729"/>
                </a:lnTo>
                <a:lnTo>
                  <a:pt x="85" y="731"/>
                </a:lnTo>
                <a:lnTo>
                  <a:pt x="89" y="731"/>
                </a:lnTo>
                <a:lnTo>
                  <a:pt x="91" y="732"/>
                </a:lnTo>
                <a:lnTo>
                  <a:pt x="97" y="733"/>
                </a:lnTo>
                <a:lnTo>
                  <a:pt x="102" y="736"/>
                </a:lnTo>
                <a:lnTo>
                  <a:pt x="101" y="729"/>
                </a:lnTo>
                <a:lnTo>
                  <a:pt x="98" y="723"/>
                </a:lnTo>
                <a:lnTo>
                  <a:pt x="99" y="720"/>
                </a:lnTo>
                <a:lnTo>
                  <a:pt x="101" y="716"/>
                </a:lnTo>
                <a:lnTo>
                  <a:pt x="104" y="715"/>
                </a:lnTo>
                <a:lnTo>
                  <a:pt x="105" y="715"/>
                </a:lnTo>
                <a:lnTo>
                  <a:pt x="107" y="716"/>
                </a:lnTo>
                <a:lnTo>
                  <a:pt x="108" y="719"/>
                </a:lnTo>
                <a:lnTo>
                  <a:pt x="109" y="724"/>
                </a:lnTo>
                <a:lnTo>
                  <a:pt x="110" y="731"/>
                </a:lnTo>
                <a:lnTo>
                  <a:pt x="113" y="732"/>
                </a:lnTo>
                <a:lnTo>
                  <a:pt x="115" y="732"/>
                </a:lnTo>
                <a:lnTo>
                  <a:pt x="117" y="732"/>
                </a:lnTo>
                <a:lnTo>
                  <a:pt x="118" y="732"/>
                </a:lnTo>
                <a:lnTo>
                  <a:pt x="120" y="732"/>
                </a:lnTo>
                <a:lnTo>
                  <a:pt x="121" y="732"/>
                </a:lnTo>
                <a:lnTo>
                  <a:pt x="121" y="731"/>
                </a:lnTo>
                <a:lnTo>
                  <a:pt x="121" y="730"/>
                </a:lnTo>
                <a:lnTo>
                  <a:pt x="122" y="725"/>
                </a:lnTo>
                <a:lnTo>
                  <a:pt x="122" y="721"/>
                </a:lnTo>
                <a:lnTo>
                  <a:pt x="122" y="716"/>
                </a:lnTo>
                <a:lnTo>
                  <a:pt x="123" y="712"/>
                </a:lnTo>
                <a:lnTo>
                  <a:pt x="123" y="711"/>
                </a:lnTo>
                <a:lnTo>
                  <a:pt x="124" y="710"/>
                </a:lnTo>
                <a:lnTo>
                  <a:pt x="125" y="710"/>
                </a:lnTo>
                <a:lnTo>
                  <a:pt x="126" y="710"/>
                </a:lnTo>
                <a:lnTo>
                  <a:pt x="129" y="712"/>
                </a:lnTo>
                <a:lnTo>
                  <a:pt x="130" y="714"/>
                </a:lnTo>
                <a:lnTo>
                  <a:pt x="131" y="720"/>
                </a:lnTo>
                <a:lnTo>
                  <a:pt x="133" y="725"/>
                </a:lnTo>
                <a:lnTo>
                  <a:pt x="133" y="732"/>
                </a:lnTo>
                <a:lnTo>
                  <a:pt x="132" y="737"/>
                </a:lnTo>
                <a:lnTo>
                  <a:pt x="127" y="738"/>
                </a:lnTo>
                <a:lnTo>
                  <a:pt x="124" y="737"/>
                </a:lnTo>
                <a:lnTo>
                  <a:pt x="124" y="736"/>
                </a:lnTo>
                <a:lnTo>
                  <a:pt x="124" y="735"/>
                </a:lnTo>
                <a:lnTo>
                  <a:pt x="123" y="733"/>
                </a:lnTo>
                <a:lnTo>
                  <a:pt x="121" y="732"/>
                </a:lnTo>
                <a:lnTo>
                  <a:pt x="122" y="737"/>
                </a:lnTo>
                <a:lnTo>
                  <a:pt x="123" y="739"/>
                </a:lnTo>
                <a:lnTo>
                  <a:pt x="125" y="741"/>
                </a:lnTo>
                <a:lnTo>
                  <a:pt x="129" y="742"/>
                </a:lnTo>
                <a:lnTo>
                  <a:pt x="132" y="746"/>
                </a:lnTo>
                <a:lnTo>
                  <a:pt x="135" y="748"/>
                </a:lnTo>
                <a:lnTo>
                  <a:pt x="138" y="748"/>
                </a:lnTo>
                <a:lnTo>
                  <a:pt x="139" y="747"/>
                </a:lnTo>
                <a:lnTo>
                  <a:pt x="140" y="745"/>
                </a:lnTo>
                <a:lnTo>
                  <a:pt x="140" y="742"/>
                </a:lnTo>
                <a:lnTo>
                  <a:pt x="140" y="733"/>
                </a:lnTo>
                <a:lnTo>
                  <a:pt x="140" y="725"/>
                </a:lnTo>
                <a:lnTo>
                  <a:pt x="139" y="716"/>
                </a:lnTo>
                <a:lnTo>
                  <a:pt x="138" y="708"/>
                </a:lnTo>
                <a:lnTo>
                  <a:pt x="135" y="699"/>
                </a:lnTo>
                <a:lnTo>
                  <a:pt x="135" y="691"/>
                </a:lnTo>
                <a:lnTo>
                  <a:pt x="137" y="688"/>
                </a:lnTo>
                <a:lnTo>
                  <a:pt x="139" y="686"/>
                </a:lnTo>
                <a:lnTo>
                  <a:pt x="141" y="685"/>
                </a:lnTo>
                <a:lnTo>
                  <a:pt x="145" y="685"/>
                </a:lnTo>
                <a:lnTo>
                  <a:pt x="147" y="683"/>
                </a:lnTo>
                <a:lnTo>
                  <a:pt x="150" y="683"/>
                </a:lnTo>
                <a:lnTo>
                  <a:pt x="153" y="681"/>
                </a:lnTo>
                <a:lnTo>
                  <a:pt x="155" y="680"/>
                </a:lnTo>
                <a:lnTo>
                  <a:pt x="156" y="672"/>
                </a:lnTo>
                <a:lnTo>
                  <a:pt x="157" y="663"/>
                </a:lnTo>
                <a:lnTo>
                  <a:pt x="160" y="656"/>
                </a:lnTo>
                <a:lnTo>
                  <a:pt x="165" y="649"/>
                </a:lnTo>
                <a:lnTo>
                  <a:pt x="176" y="634"/>
                </a:lnTo>
                <a:lnTo>
                  <a:pt x="188" y="619"/>
                </a:lnTo>
                <a:lnTo>
                  <a:pt x="197" y="604"/>
                </a:lnTo>
                <a:lnTo>
                  <a:pt x="207" y="591"/>
                </a:lnTo>
                <a:lnTo>
                  <a:pt x="213" y="587"/>
                </a:lnTo>
                <a:lnTo>
                  <a:pt x="219" y="583"/>
                </a:lnTo>
                <a:lnTo>
                  <a:pt x="221" y="581"/>
                </a:lnTo>
                <a:lnTo>
                  <a:pt x="223" y="579"/>
                </a:lnTo>
                <a:lnTo>
                  <a:pt x="224" y="575"/>
                </a:lnTo>
                <a:lnTo>
                  <a:pt x="225" y="572"/>
                </a:lnTo>
                <a:lnTo>
                  <a:pt x="227" y="569"/>
                </a:lnTo>
                <a:lnTo>
                  <a:pt x="228" y="567"/>
                </a:lnTo>
                <a:lnTo>
                  <a:pt x="230" y="569"/>
                </a:lnTo>
                <a:lnTo>
                  <a:pt x="232" y="570"/>
                </a:lnTo>
                <a:lnTo>
                  <a:pt x="234" y="569"/>
                </a:lnTo>
                <a:lnTo>
                  <a:pt x="236" y="567"/>
                </a:lnTo>
                <a:lnTo>
                  <a:pt x="237" y="567"/>
                </a:lnTo>
                <a:lnTo>
                  <a:pt x="237" y="571"/>
                </a:lnTo>
                <a:lnTo>
                  <a:pt x="237" y="579"/>
                </a:lnTo>
                <a:lnTo>
                  <a:pt x="234" y="587"/>
                </a:lnTo>
                <a:lnTo>
                  <a:pt x="230" y="592"/>
                </a:lnTo>
                <a:lnTo>
                  <a:pt x="225" y="598"/>
                </a:lnTo>
                <a:lnTo>
                  <a:pt x="231" y="598"/>
                </a:lnTo>
                <a:lnTo>
                  <a:pt x="234" y="598"/>
                </a:lnTo>
                <a:lnTo>
                  <a:pt x="237" y="599"/>
                </a:lnTo>
                <a:lnTo>
                  <a:pt x="238" y="602"/>
                </a:lnTo>
                <a:lnTo>
                  <a:pt x="238" y="604"/>
                </a:lnTo>
                <a:lnTo>
                  <a:pt x="238" y="607"/>
                </a:lnTo>
                <a:lnTo>
                  <a:pt x="242" y="603"/>
                </a:lnTo>
                <a:lnTo>
                  <a:pt x="247" y="598"/>
                </a:lnTo>
                <a:lnTo>
                  <a:pt x="250" y="599"/>
                </a:lnTo>
                <a:lnTo>
                  <a:pt x="254" y="600"/>
                </a:lnTo>
                <a:lnTo>
                  <a:pt x="255" y="597"/>
                </a:lnTo>
                <a:lnTo>
                  <a:pt x="254" y="595"/>
                </a:lnTo>
                <a:lnTo>
                  <a:pt x="256" y="587"/>
                </a:lnTo>
                <a:lnTo>
                  <a:pt x="260" y="579"/>
                </a:lnTo>
                <a:lnTo>
                  <a:pt x="261" y="578"/>
                </a:lnTo>
                <a:lnTo>
                  <a:pt x="261" y="575"/>
                </a:lnTo>
                <a:lnTo>
                  <a:pt x="262" y="574"/>
                </a:lnTo>
                <a:lnTo>
                  <a:pt x="264" y="575"/>
                </a:lnTo>
                <a:lnTo>
                  <a:pt x="265" y="580"/>
                </a:lnTo>
                <a:lnTo>
                  <a:pt x="265" y="584"/>
                </a:lnTo>
                <a:lnTo>
                  <a:pt x="267" y="584"/>
                </a:lnTo>
                <a:lnTo>
                  <a:pt x="270" y="582"/>
                </a:lnTo>
                <a:lnTo>
                  <a:pt x="272" y="583"/>
                </a:lnTo>
                <a:lnTo>
                  <a:pt x="275" y="584"/>
                </a:lnTo>
                <a:lnTo>
                  <a:pt x="278" y="584"/>
                </a:lnTo>
                <a:lnTo>
                  <a:pt x="279" y="583"/>
                </a:lnTo>
                <a:lnTo>
                  <a:pt x="280" y="582"/>
                </a:lnTo>
                <a:lnTo>
                  <a:pt x="281" y="580"/>
                </a:lnTo>
                <a:lnTo>
                  <a:pt x="281" y="574"/>
                </a:lnTo>
                <a:lnTo>
                  <a:pt x="282" y="571"/>
                </a:lnTo>
                <a:lnTo>
                  <a:pt x="282" y="567"/>
                </a:lnTo>
                <a:lnTo>
                  <a:pt x="283" y="562"/>
                </a:lnTo>
                <a:lnTo>
                  <a:pt x="285" y="557"/>
                </a:lnTo>
                <a:lnTo>
                  <a:pt x="287" y="555"/>
                </a:lnTo>
                <a:lnTo>
                  <a:pt x="288" y="555"/>
                </a:lnTo>
                <a:lnTo>
                  <a:pt x="289" y="556"/>
                </a:lnTo>
                <a:lnTo>
                  <a:pt x="289" y="558"/>
                </a:lnTo>
                <a:lnTo>
                  <a:pt x="289" y="561"/>
                </a:lnTo>
                <a:lnTo>
                  <a:pt x="288" y="565"/>
                </a:lnTo>
                <a:lnTo>
                  <a:pt x="289" y="569"/>
                </a:lnTo>
                <a:lnTo>
                  <a:pt x="294" y="554"/>
                </a:lnTo>
                <a:lnTo>
                  <a:pt x="300" y="538"/>
                </a:lnTo>
                <a:lnTo>
                  <a:pt x="306" y="523"/>
                </a:lnTo>
                <a:lnTo>
                  <a:pt x="314" y="508"/>
                </a:lnTo>
                <a:lnTo>
                  <a:pt x="315" y="513"/>
                </a:lnTo>
                <a:lnTo>
                  <a:pt x="315" y="517"/>
                </a:lnTo>
                <a:lnTo>
                  <a:pt x="314" y="522"/>
                </a:lnTo>
                <a:lnTo>
                  <a:pt x="313" y="526"/>
                </a:lnTo>
                <a:lnTo>
                  <a:pt x="312" y="532"/>
                </a:lnTo>
                <a:lnTo>
                  <a:pt x="312" y="538"/>
                </a:lnTo>
                <a:lnTo>
                  <a:pt x="312" y="545"/>
                </a:lnTo>
                <a:lnTo>
                  <a:pt x="313" y="550"/>
                </a:lnTo>
                <a:lnTo>
                  <a:pt x="313" y="551"/>
                </a:lnTo>
                <a:lnTo>
                  <a:pt x="314" y="554"/>
                </a:lnTo>
                <a:lnTo>
                  <a:pt x="315" y="555"/>
                </a:lnTo>
                <a:lnTo>
                  <a:pt x="318" y="555"/>
                </a:lnTo>
                <a:lnTo>
                  <a:pt x="319" y="551"/>
                </a:lnTo>
                <a:lnTo>
                  <a:pt x="319" y="547"/>
                </a:lnTo>
                <a:lnTo>
                  <a:pt x="321" y="538"/>
                </a:lnTo>
                <a:lnTo>
                  <a:pt x="324" y="530"/>
                </a:lnTo>
                <a:lnTo>
                  <a:pt x="328" y="520"/>
                </a:lnTo>
                <a:lnTo>
                  <a:pt x="332" y="512"/>
                </a:lnTo>
                <a:lnTo>
                  <a:pt x="338" y="504"/>
                </a:lnTo>
                <a:lnTo>
                  <a:pt x="343" y="497"/>
                </a:lnTo>
                <a:lnTo>
                  <a:pt x="344" y="495"/>
                </a:lnTo>
                <a:lnTo>
                  <a:pt x="345" y="492"/>
                </a:lnTo>
                <a:lnTo>
                  <a:pt x="347" y="491"/>
                </a:lnTo>
                <a:lnTo>
                  <a:pt x="349" y="491"/>
                </a:lnTo>
                <a:lnTo>
                  <a:pt x="351" y="492"/>
                </a:lnTo>
                <a:lnTo>
                  <a:pt x="351" y="495"/>
                </a:lnTo>
                <a:lnTo>
                  <a:pt x="351" y="496"/>
                </a:lnTo>
                <a:lnTo>
                  <a:pt x="349" y="498"/>
                </a:lnTo>
                <a:lnTo>
                  <a:pt x="347" y="501"/>
                </a:lnTo>
                <a:lnTo>
                  <a:pt x="345" y="505"/>
                </a:lnTo>
                <a:lnTo>
                  <a:pt x="343" y="508"/>
                </a:lnTo>
                <a:lnTo>
                  <a:pt x="340" y="513"/>
                </a:lnTo>
                <a:lnTo>
                  <a:pt x="340" y="516"/>
                </a:lnTo>
                <a:lnTo>
                  <a:pt x="343" y="520"/>
                </a:lnTo>
                <a:lnTo>
                  <a:pt x="341" y="526"/>
                </a:lnTo>
                <a:lnTo>
                  <a:pt x="338" y="533"/>
                </a:lnTo>
                <a:lnTo>
                  <a:pt x="335" y="545"/>
                </a:lnTo>
                <a:lnTo>
                  <a:pt x="332" y="555"/>
                </a:lnTo>
                <a:lnTo>
                  <a:pt x="331" y="566"/>
                </a:lnTo>
                <a:lnTo>
                  <a:pt x="331" y="579"/>
                </a:lnTo>
                <a:lnTo>
                  <a:pt x="331" y="588"/>
                </a:lnTo>
                <a:lnTo>
                  <a:pt x="331" y="598"/>
                </a:lnTo>
                <a:lnTo>
                  <a:pt x="331" y="603"/>
                </a:lnTo>
                <a:lnTo>
                  <a:pt x="331" y="608"/>
                </a:lnTo>
                <a:lnTo>
                  <a:pt x="329" y="613"/>
                </a:lnTo>
                <a:lnTo>
                  <a:pt x="328" y="617"/>
                </a:lnTo>
                <a:lnTo>
                  <a:pt x="329" y="620"/>
                </a:lnTo>
                <a:lnTo>
                  <a:pt x="330" y="621"/>
                </a:lnTo>
                <a:lnTo>
                  <a:pt x="329" y="622"/>
                </a:lnTo>
                <a:lnTo>
                  <a:pt x="329" y="624"/>
                </a:lnTo>
                <a:lnTo>
                  <a:pt x="328" y="630"/>
                </a:lnTo>
                <a:lnTo>
                  <a:pt x="327" y="634"/>
                </a:lnTo>
                <a:lnTo>
                  <a:pt x="324" y="639"/>
                </a:lnTo>
                <a:lnTo>
                  <a:pt x="322" y="644"/>
                </a:lnTo>
                <a:lnTo>
                  <a:pt x="321" y="648"/>
                </a:lnTo>
                <a:lnTo>
                  <a:pt x="322" y="652"/>
                </a:lnTo>
                <a:lnTo>
                  <a:pt x="324" y="649"/>
                </a:lnTo>
                <a:lnTo>
                  <a:pt x="327" y="649"/>
                </a:lnTo>
                <a:lnTo>
                  <a:pt x="330" y="650"/>
                </a:lnTo>
                <a:lnTo>
                  <a:pt x="332" y="653"/>
                </a:lnTo>
                <a:lnTo>
                  <a:pt x="332" y="648"/>
                </a:lnTo>
                <a:lnTo>
                  <a:pt x="332" y="645"/>
                </a:lnTo>
                <a:lnTo>
                  <a:pt x="332" y="642"/>
                </a:lnTo>
                <a:lnTo>
                  <a:pt x="332" y="641"/>
                </a:lnTo>
                <a:lnTo>
                  <a:pt x="332" y="640"/>
                </a:lnTo>
                <a:lnTo>
                  <a:pt x="330" y="639"/>
                </a:lnTo>
                <a:lnTo>
                  <a:pt x="331" y="639"/>
                </a:lnTo>
                <a:lnTo>
                  <a:pt x="332" y="639"/>
                </a:lnTo>
                <a:lnTo>
                  <a:pt x="333" y="638"/>
                </a:lnTo>
                <a:lnTo>
                  <a:pt x="335" y="636"/>
                </a:lnTo>
                <a:lnTo>
                  <a:pt x="336" y="631"/>
                </a:lnTo>
                <a:lnTo>
                  <a:pt x="338" y="628"/>
                </a:lnTo>
                <a:lnTo>
                  <a:pt x="338" y="634"/>
                </a:lnTo>
                <a:lnTo>
                  <a:pt x="340" y="640"/>
                </a:lnTo>
                <a:lnTo>
                  <a:pt x="343" y="636"/>
                </a:lnTo>
                <a:lnTo>
                  <a:pt x="343" y="630"/>
                </a:lnTo>
                <a:lnTo>
                  <a:pt x="344" y="628"/>
                </a:lnTo>
                <a:lnTo>
                  <a:pt x="344" y="624"/>
                </a:lnTo>
                <a:lnTo>
                  <a:pt x="346" y="623"/>
                </a:lnTo>
                <a:lnTo>
                  <a:pt x="348" y="622"/>
                </a:lnTo>
                <a:lnTo>
                  <a:pt x="349" y="623"/>
                </a:lnTo>
                <a:lnTo>
                  <a:pt x="352" y="625"/>
                </a:lnTo>
                <a:lnTo>
                  <a:pt x="352" y="628"/>
                </a:lnTo>
                <a:lnTo>
                  <a:pt x="352" y="630"/>
                </a:lnTo>
                <a:lnTo>
                  <a:pt x="351" y="631"/>
                </a:lnTo>
                <a:lnTo>
                  <a:pt x="349" y="632"/>
                </a:lnTo>
                <a:lnTo>
                  <a:pt x="348" y="636"/>
                </a:lnTo>
                <a:lnTo>
                  <a:pt x="348" y="638"/>
                </a:lnTo>
                <a:lnTo>
                  <a:pt x="347" y="644"/>
                </a:lnTo>
                <a:lnTo>
                  <a:pt x="346" y="649"/>
                </a:lnTo>
                <a:lnTo>
                  <a:pt x="347" y="663"/>
                </a:lnTo>
                <a:lnTo>
                  <a:pt x="351" y="677"/>
                </a:lnTo>
                <a:lnTo>
                  <a:pt x="351" y="679"/>
                </a:lnTo>
                <a:lnTo>
                  <a:pt x="351" y="680"/>
                </a:lnTo>
                <a:lnTo>
                  <a:pt x="352" y="686"/>
                </a:lnTo>
                <a:lnTo>
                  <a:pt x="351" y="692"/>
                </a:lnTo>
                <a:lnTo>
                  <a:pt x="349" y="699"/>
                </a:lnTo>
                <a:lnTo>
                  <a:pt x="351" y="706"/>
                </a:lnTo>
                <a:lnTo>
                  <a:pt x="352" y="712"/>
                </a:lnTo>
                <a:lnTo>
                  <a:pt x="355" y="717"/>
                </a:lnTo>
                <a:lnTo>
                  <a:pt x="360" y="722"/>
                </a:lnTo>
                <a:lnTo>
                  <a:pt x="364" y="727"/>
                </a:lnTo>
                <a:lnTo>
                  <a:pt x="368" y="732"/>
                </a:lnTo>
                <a:lnTo>
                  <a:pt x="370" y="737"/>
                </a:lnTo>
                <a:lnTo>
                  <a:pt x="371" y="742"/>
                </a:lnTo>
                <a:lnTo>
                  <a:pt x="371" y="748"/>
                </a:lnTo>
                <a:lnTo>
                  <a:pt x="371" y="752"/>
                </a:lnTo>
                <a:lnTo>
                  <a:pt x="372" y="754"/>
                </a:lnTo>
                <a:lnTo>
                  <a:pt x="373" y="756"/>
                </a:lnTo>
                <a:lnTo>
                  <a:pt x="374" y="756"/>
                </a:lnTo>
                <a:lnTo>
                  <a:pt x="377" y="757"/>
                </a:lnTo>
                <a:lnTo>
                  <a:pt x="378" y="756"/>
                </a:lnTo>
                <a:lnTo>
                  <a:pt x="380" y="755"/>
                </a:lnTo>
                <a:lnTo>
                  <a:pt x="382" y="753"/>
                </a:lnTo>
                <a:lnTo>
                  <a:pt x="384" y="741"/>
                </a:lnTo>
                <a:lnTo>
                  <a:pt x="387" y="731"/>
                </a:lnTo>
                <a:lnTo>
                  <a:pt x="390" y="732"/>
                </a:lnTo>
                <a:lnTo>
                  <a:pt x="394" y="732"/>
                </a:lnTo>
                <a:lnTo>
                  <a:pt x="394" y="730"/>
                </a:lnTo>
                <a:lnTo>
                  <a:pt x="394" y="728"/>
                </a:lnTo>
                <a:lnTo>
                  <a:pt x="395" y="725"/>
                </a:lnTo>
                <a:lnTo>
                  <a:pt x="397" y="723"/>
                </a:lnTo>
                <a:lnTo>
                  <a:pt x="404" y="713"/>
                </a:lnTo>
                <a:lnTo>
                  <a:pt x="410" y="703"/>
                </a:lnTo>
                <a:lnTo>
                  <a:pt x="412" y="698"/>
                </a:lnTo>
                <a:lnTo>
                  <a:pt x="415" y="692"/>
                </a:lnTo>
                <a:lnTo>
                  <a:pt x="419" y="688"/>
                </a:lnTo>
                <a:lnTo>
                  <a:pt x="422" y="686"/>
                </a:lnTo>
                <a:lnTo>
                  <a:pt x="423" y="691"/>
                </a:lnTo>
                <a:lnTo>
                  <a:pt x="425" y="698"/>
                </a:lnTo>
                <a:lnTo>
                  <a:pt x="419" y="708"/>
                </a:lnTo>
                <a:lnTo>
                  <a:pt x="412" y="716"/>
                </a:lnTo>
                <a:lnTo>
                  <a:pt x="406" y="725"/>
                </a:lnTo>
                <a:lnTo>
                  <a:pt x="403" y="736"/>
                </a:lnTo>
                <a:lnTo>
                  <a:pt x="401" y="739"/>
                </a:lnTo>
                <a:lnTo>
                  <a:pt x="398" y="742"/>
                </a:lnTo>
                <a:lnTo>
                  <a:pt x="395" y="744"/>
                </a:lnTo>
                <a:lnTo>
                  <a:pt x="390" y="745"/>
                </a:lnTo>
                <a:lnTo>
                  <a:pt x="392" y="748"/>
                </a:lnTo>
                <a:lnTo>
                  <a:pt x="394" y="753"/>
                </a:lnTo>
                <a:lnTo>
                  <a:pt x="395" y="756"/>
                </a:lnTo>
                <a:lnTo>
                  <a:pt x="394" y="760"/>
                </a:lnTo>
                <a:lnTo>
                  <a:pt x="392" y="763"/>
                </a:lnTo>
                <a:lnTo>
                  <a:pt x="388" y="764"/>
                </a:lnTo>
                <a:lnTo>
                  <a:pt x="387" y="765"/>
                </a:lnTo>
                <a:lnTo>
                  <a:pt x="387" y="766"/>
                </a:lnTo>
                <a:lnTo>
                  <a:pt x="386" y="768"/>
                </a:lnTo>
                <a:lnTo>
                  <a:pt x="386" y="770"/>
                </a:lnTo>
                <a:lnTo>
                  <a:pt x="388" y="778"/>
                </a:lnTo>
                <a:lnTo>
                  <a:pt x="393" y="783"/>
                </a:lnTo>
                <a:lnTo>
                  <a:pt x="396" y="786"/>
                </a:lnTo>
                <a:lnTo>
                  <a:pt x="399" y="788"/>
                </a:lnTo>
                <a:lnTo>
                  <a:pt x="403" y="788"/>
                </a:lnTo>
                <a:lnTo>
                  <a:pt x="406" y="788"/>
                </a:lnTo>
                <a:lnTo>
                  <a:pt x="411" y="786"/>
                </a:lnTo>
                <a:lnTo>
                  <a:pt x="414" y="783"/>
                </a:lnTo>
                <a:lnTo>
                  <a:pt x="419" y="782"/>
                </a:lnTo>
                <a:lnTo>
                  <a:pt x="422" y="782"/>
                </a:lnTo>
                <a:lnTo>
                  <a:pt x="425" y="781"/>
                </a:lnTo>
                <a:lnTo>
                  <a:pt x="427" y="779"/>
                </a:lnTo>
                <a:lnTo>
                  <a:pt x="428" y="777"/>
                </a:lnTo>
                <a:lnTo>
                  <a:pt x="430" y="773"/>
                </a:lnTo>
                <a:lnTo>
                  <a:pt x="433" y="765"/>
                </a:lnTo>
                <a:lnTo>
                  <a:pt x="435" y="761"/>
                </a:lnTo>
                <a:lnTo>
                  <a:pt x="440" y="749"/>
                </a:lnTo>
                <a:lnTo>
                  <a:pt x="445" y="738"/>
                </a:lnTo>
                <a:lnTo>
                  <a:pt x="451" y="727"/>
                </a:lnTo>
                <a:lnTo>
                  <a:pt x="456" y="715"/>
                </a:lnTo>
                <a:lnTo>
                  <a:pt x="470" y="694"/>
                </a:lnTo>
                <a:lnTo>
                  <a:pt x="485" y="672"/>
                </a:lnTo>
                <a:lnTo>
                  <a:pt x="501" y="653"/>
                </a:lnTo>
                <a:lnTo>
                  <a:pt x="519" y="633"/>
                </a:lnTo>
                <a:lnTo>
                  <a:pt x="528" y="624"/>
                </a:lnTo>
                <a:lnTo>
                  <a:pt x="537" y="615"/>
                </a:lnTo>
                <a:lnTo>
                  <a:pt x="539" y="612"/>
                </a:lnTo>
                <a:lnTo>
                  <a:pt x="543" y="608"/>
                </a:lnTo>
                <a:lnTo>
                  <a:pt x="546" y="606"/>
                </a:lnTo>
                <a:lnTo>
                  <a:pt x="551" y="605"/>
                </a:lnTo>
                <a:lnTo>
                  <a:pt x="554" y="604"/>
                </a:lnTo>
                <a:lnTo>
                  <a:pt x="558" y="603"/>
                </a:lnTo>
                <a:lnTo>
                  <a:pt x="561" y="600"/>
                </a:lnTo>
                <a:lnTo>
                  <a:pt x="563" y="598"/>
                </a:lnTo>
                <a:lnTo>
                  <a:pt x="569" y="590"/>
                </a:lnTo>
                <a:lnTo>
                  <a:pt x="574" y="582"/>
                </a:lnTo>
                <a:lnTo>
                  <a:pt x="576" y="579"/>
                </a:lnTo>
                <a:lnTo>
                  <a:pt x="580" y="574"/>
                </a:lnTo>
                <a:lnTo>
                  <a:pt x="583" y="572"/>
                </a:lnTo>
                <a:lnTo>
                  <a:pt x="584" y="570"/>
                </a:lnTo>
                <a:lnTo>
                  <a:pt x="586" y="569"/>
                </a:lnTo>
                <a:lnTo>
                  <a:pt x="588" y="569"/>
                </a:lnTo>
                <a:lnTo>
                  <a:pt x="590" y="572"/>
                </a:lnTo>
                <a:lnTo>
                  <a:pt x="591" y="575"/>
                </a:lnTo>
                <a:lnTo>
                  <a:pt x="592" y="578"/>
                </a:lnTo>
                <a:lnTo>
                  <a:pt x="592" y="578"/>
                </a:lnTo>
                <a:lnTo>
                  <a:pt x="593" y="578"/>
                </a:lnTo>
                <a:lnTo>
                  <a:pt x="594" y="576"/>
                </a:lnTo>
                <a:lnTo>
                  <a:pt x="598" y="572"/>
                </a:lnTo>
                <a:lnTo>
                  <a:pt x="600" y="567"/>
                </a:lnTo>
                <a:lnTo>
                  <a:pt x="604" y="563"/>
                </a:lnTo>
                <a:lnTo>
                  <a:pt x="608" y="558"/>
                </a:lnTo>
                <a:lnTo>
                  <a:pt x="611" y="555"/>
                </a:lnTo>
                <a:lnTo>
                  <a:pt x="615" y="550"/>
                </a:lnTo>
                <a:lnTo>
                  <a:pt x="616" y="548"/>
                </a:lnTo>
                <a:lnTo>
                  <a:pt x="617" y="547"/>
                </a:lnTo>
                <a:lnTo>
                  <a:pt x="618" y="546"/>
                </a:lnTo>
                <a:lnTo>
                  <a:pt x="620" y="547"/>
                </a:lnTo>
                <a:lnTo>
                  <a:pt x="617" y="553"/>
                </a:lnTo>
                <a:lnTo>
                  <a:pt x="615" y="558"/>
                </a:lnTo>
                <a:lnTo>
                  <a:pt x="615" y="561"/>
                </a:lnTo>
                <a:lnTo>
                  <a:pt x="616" y="563"/>
                </a:lnTo>
                <a:lnTo>
                  <a:pt x="617" y="564"/>
                </a:lnTo>
                <a:lnTo>
                  <a:pt x="619" y="564"/>
                </a:lnTo>
                <a:lnTo>
                  <a:pt x="621" y="561"/>
                </a:lnTo>
                <a:lnTo>
                  <a:pt x="624" y="557"/>
                </a:lnTo>
                <a:lnTo>
                  <a:pt x="631" y="551"/>
                </a:lnTo>
                <a:lnTo>
                  <a:pt x="637" y="546"/>
                </a:lnTo>
                <a:lnTo>
                  <a:pt x="652" y="533"/>
                </a:lnTo>
                <a:lnTo>
                  <a:pt x="667" y="521"/>
                </a:lnTo>
                <a:lnTo>
                  <a:pt x="681" y="508"/>
                </a:lnTo>
                <a:lnTo>
                  <a:pt x="695" y="497"/>
                </a:lnTo>
                <a:lnTo>
                  <a:pt x="702" y="491"/>
                </a:lnTo>
                <a:lnTo>
                  <a:pt x="708" y="488"/>
                </a:lnTo>
                <a:lnTo>
                  <a:pt x="715" y="484"/>
                </a:lnTo>
                <a:lnTo>
                  <a:pt x="722" y="482"/>
                </a:lnTo>
                <a:lnTo>
                  <a:pt x="726" y="482"/>
                </a:lnTo>
                <a:lnTo>
                  <a:pt x="728" y="481"/>
                </a:lnTo>
                <a:lnTo>
                  <a:pt x="731" y="479"/>
                </a:lnTo>
                <a:lnTo>
                  <a:pt x="732" y="475"/>
                </a:lnTo>
                <a:lnTo>
                  <a:pt x="736" y="470"/>
                </a:lnTo>
                <a:lnTo>
                  <a:pt x="742" y="465"/>
                </a:lnTo>
                <a:lnTo>
                  <a:pt x="758" y="455"/>
                </a:lnTo>
                <a:lnTo>
                  <a:pt x="774" y="443"/>
                </a:lnTo>
                <a:lnTo>
                  <a:pt x="790" y="433"/>
                </a:lnTo>
                <a:lnTo>
                  <a:pt x="806" y="422"/>
                </a:lnTo>
                <a:lnTo>
                  <a:pt x="806" y="425"/>
                </a:lnTo>
                <a:lnTo>
                  <a:pt x="805" y="429"/>
                </a:lnTo>
                <a:lnTo>
                  <a:pt x="804" y="432"/>
                </a:lnTo>
                <a:lnTo>
                  <a:pt x="800" y="434"/>
                </a:lnTo>
                <a:lnTo>
                  <a:pt x="793" y="439"/>
                </a:lnTo>
                <a:lnTo>
                  <a:pt x="788" y="442"/>
                </a:lnTo>
                <a:lnTo>
                  <a:pt x="774" y="456"/>
                </a:lnTo>
                <a:lnTo>
                  <a:pt x="760" y="468"/>
                </a:lnTo>
                <a:lnTo>
                  <a:pt x="752" y="474"/>
                </a:lnTo>
                <a:lnTo>
                  <a:pt x="744" y="479"/>
                </a:lnTo>
                <a:lnTo>
                  <a:pt x="738" y="484"/>
                </a:lnTo>
                <a:lnTo>
                  <a:pt x="731" y="490"/>
                </a:lnTo>
                <a:lnTo>
                  <a:pt x="718" y="503"/>
                </a:lnTo>
                <a:lnTo>
                  <a:pt x="705" y="516"/>
                </a:lnTo>
                <a:lnTo>
                  <a:pt x="691" y="526"/>
                </a:lnTo>
                <a:lnTo>
                  <a:pt x="676" y="537"/>
                </a:lnTo>
                <a:lnTo>
                  <a:pt x="673" y="538"/>
                </a:lnTo>
                <a:lnTo>
                  <a:pt x="668" y="540"/>
                </a:lnTo>
                <a:lnTo>
                  <a:pt x="666" y="542"/>
                </a:lnTo>
                <a:lnTo>
                  <a:pt x="664" y="546"/>
                </a:lnTo>
                <a:lnTo>
                  <a:pt x="659" y="553"/>
                </a:lnTo>
                <a:lnTo>
                  <a:pt x="654" y="559"/>
                </a:lnTo>
                <a:lnTo>
                  <a:pt x="646" y="566"/>
                </a:lnTo>
                <a:lnTo>
                  <a:pt x="640" y="572"/>
                </a:lnTo>
                <a:lnTo>
                  <a:pt x="637" y="575"/>
                </a:lnTo>
                <a:lnTo>
                  <a:pt x="635" y="580"/>
                </a:lnTo>
                <a:lnTo>
                  <a:pt x="632" y="583"/>
                </a:lnTo>
                <a:lnTo>
                  <a:pt x="628" y="584"/>
                </a:lnTo>
                <a:lnTo>
                  <a:pt x="627" y="584"/>
                </a:lnTo>
                <a:lnTo>
                  <a:pt x="626" y="583"/>
                </a:lnTo>
                <a:lnTo>
                  <a:pt x="625" y="582"/>
                </a:lnTo>
                <a:lnTo>
                  <a:pt x="625" y="581"/>
                </a:lnTo>
                <a:lnTo>
                  <a:pt x="626" y="578"/>
                </a:lnTo>
                <a:lnTo>
                  <a:pt x="628" y="575"/>
                </a:lnTo>
                <a:lnTo>
                  <a:pt x="629" y="572"/>
                </a:lnTo>
                <a:lnTo>
                  <a:pt x="632" y="570"/>
                </a:lnTo>
                <a:lnTo>
                  <a:pt x="632" y="566"/>
                </a:lnTo>
                <a:lnTo>
                  <a:pt x="632" y="562"/>
                </a:lnTo>
                <a:lnTo>
                  <a:pt x="626" y="569"/>
                </a:lnTo>
                <a:lnTo>
                  <a:pt x="621" y="575"/>
                </a:lnTo>
                <a:lnTo>
                  <a:pt x="619" y="580"/>
                </a:lnTo>
                <a:lnTo>
                  <a:pt x="617" y="583"/>
                </a:lnTo>
                <a:lnTo>
                  <a:pt x="613" y="586"/>
                </a:lnTo>
                <a:lnTo>
                  <a:pt x="611" y="588"/>
                </a:lnTo>
                <a:lnTo>
                  <a:pt x="611" y="589"/>
                </a:lnTo>
                <a:lnTo>
                  <a:pt x="611" y="590"/>
                </a:lnTo>
                <a:lnTo>
                  <a:pt x="612" y="590"/>
                </a:lnTo>
                <a:lnTo>
                  <a:pt x="613" y="589"/>
                </a:lnTo>
                <a:lnTo>
                  <a:pt x="617" y="588"/>
                </a:lnTo>
                <a:lnTo>
                  <a:pt x="618" y="586"/>
                </a:lnTo>
                <a:lnTo>
                  <a:pt x="621" y="586"/>
                </a:lnTo>
                <a:lnTo>
                  <a:pt x="624" y="587"/>
                </a:lnTo>
                <a:lnTo>
                  <a:pt x="624" y="589"/>
                </a:lnTo>
                <a:lnTo>
                  <a:pt x="621" y="591"/>
                </a:lnTo>
                <a:lnTo>
                  <a:pt x="609" y="607"/>
                </a:lnTo>
                <a:lnTo>
                  <a:pt x="596" y="623"/>
                </a:lnTo>
                <a:lnTo>
                  <a:pt x="591" y="629"/>
                </a:lnTo>
                <a:lnTo>
                  <a:pt x="586" y="633"/>
                </a:lnTo>
                <a:lnTo>
                  <a:pt x="586" y="636"/>
                </a:lnTo>
                <a:lnTo>
                  <a:pt x="586" y="638"/>
                </a:lnTo>
                <a:lnTo>
                  <a:pt x="588" y="640"/>
                </a:lnTo>
                <a:lnTo>
                  <a:pt x="592" y="642"/>
                </a:lnTo>
                <a:lnTo>
                  <a:pt x="593" y="639"/>
                </a:lnTo>
                <a:lnTo>
                  <a:pt x="592" y="636"/>
                </a:lnTo>
                <a:lnTo>
                  <a:pt x="593" y="633"/>
                </a:lnTo>
                <a:lnTo>
                  <a:pt x="593" y="632"/>
                </a:lnTo>
                <a:lnTo>
                  <a:pt x="595" y="632"/>
                </a:lnTo>
                <a:lnTo>
                  <a:pt x="598" y="632"/>
                </a:lnTo>
                <a:lnTo>
                  <a:pt x="598" y="630"/>
                </a:lnTo>
                <a:lnTo>
                  <a:pt x="598" y="628"/>
                </a:lnTo>
                <a:lnTo>
                  <a:pt x="599" y="627"/>
                </a:lnTo>
                <a:lnTo>
                  <a:pt x="600" y="625"/>
                </a:lnTo>
                <a:lnTo>
                  <a:pt x="601" y="627"/>
                </a:lnTo>
                <a:lnTo>
                  <a:pt x="602" y="627"/>
                </a:lnTo>
                <a:lnTo>
                  <a:pt x="602" y="628"/>
                </a:lnTo>
                <a:lnTo>
                  <a:pt x="601" y="629"/>
                </a:lnTo>
                <a:lnTo>
                  <a:pt x="600" y="630"/>
                </a:lnTo>
                <a:lnTo>
                  <a:pt x="599" y="631"/>
                </a:lnTo>
                <a:lnTo>
                  <a:pt x="598" y="634"/>
                </a:lnTo>
                <a:lnTo>
                  <a:pt x="596" y="639"/>
                </a:lnTo>
                <a:lnTo>
                  <a:pt x="595" y="640"/>
                </a:lnTo>
                <a:lnTo>
                  <a:pt x="595" y="642"/>
                </a:lnTo>
                <a:lnTo>
                  <a:pt x="593" y="642"/>
                </a:lnTo>
                <a:lnTo>
                  <a:pt x="592" y="642"/>
                </a:lnTo>
                <a:lnTo>
                  <a:pt x="593" y="644"/>
                </a:lnTo>
                <a:lnTo>
                  <a:pt x="593" y="646"/>
                </a:lnTo>
                <a:lnTo>
                  <a:pt x="595" y="646"/>
                </a:lnTo>
                <a:lnTo>
                  <a:pt x="598" y="646"/>
                </a:lnTo>
                <a:lnTo>
                  <a:pt x="599" y="644"/>
                </a:lnTo>
                <a:lnTo>
                  <a:pt x="600" y="642"/>
                </a:lnTo>
                <a:lnTo>
                  <a:pt x="601" y="640"/>
                </a:lnTo>
                <a:lnTo>
                  <a:pt x="602" y="638"/>
                </a:lnTo>
                <a:lnTo>
                  <a:pt x="603" y="638"/>
                </a:lnTo>
                <a:lnTo>
                  <a:pt x="604" y="637"/>
                </a:lnTo>
                <a:lnTo>
                  <a:pt x="606" y="638"/>
                </a:lnTo>
                <a:lnTo>
                  <a:pt x="606" y="639"/>
                </a:lnTo>
                <a:lnTo>
                  <a:pt x="606" y="642"/>
                </a:lnTo>
                <a:lnTo>
                  <a:pt x="606" y="647"/>
                </a:lnTo>
                <a:lnTo>
                  <a:pt x="615" y="638"/>
                </a:lnTo>
                <a:lnTo>
                  <a:pt x="623" y="628"/>
                </a:lnTo>
                <a:lnTo>
                  <a:pt x="625" y="629"/>
                </a:lnTo>
                <a:lnTo>
                  <a:pt x="627" y="630"/>
                </a:lnTo>
                <a:lnTo>
                  <a:pt x="629" y="631"/>
                </a:lnTo>
                <a:lnTo>
                  <a:pt x="631" y="633"/>
                </a:lnTo>
                <a:lnTo>
                  <a:pt x="634" y="631"/>
                </a:lnTo>
                <a:lnTo>
                  <a:pt x="639" y="628"/>
                </a:lnTo>
                <a:lnTo>
                  <a:pt x="640" y="627"/>
                </a:lnTo>
                <a:lnTo>
                  <a:pt x="642" y="625"/>
                </a:lnTo>
                <a:lnTo>
                  <a:pt x="641" y="623"/>
                </a:lnTo>
                <a:lnTo>
                  <a:pt x="641" y="620"/>
                </a:lnTo>
                <a:lnTo>
                  <a:pt x="643" y="620"/>
                </a:lnTo>
                <a:lnTo>
                  <a:pt x="644" y="620"/>
                </a:lnTo>
                <a:lnTo>
                  <a:pt x="649" y="617"/>
                </a:lnTo>
                <a:lnTo>
                  <a:pt x="652" y="616"/>
                </a:lnTo>
                <a:lnTo>
                  <a:pt x="649" y="625"/>
                </a:lnTo>
                <a:lnTo>
                  <a:pt x="644" y="636"/>
                </a:lnTo>
                <a:lnTo>
                  <a:pt x="650" y="631"/>
                </a:lnTo>
                <a:lnTo>
                  <a:pt x="656" y="628"/>
                </a:lnTo>
                <a:lnTo>
                  <a:pt x="660" y="628"/>
                </a:lnTo>
                <a:lnTo>
                  <a:pt x="664" y="628"/>
                </a:lnTo>
                <a:lnTo>
                  <a:pt x="664" y="625"/>
                </a:lnTo>
                <a:lnTo>
                  <a:pt x="664" y="623"/>
                </a:lnTo>
                <a:lnTo>
                  <a:pt x="661" y="622"/>
                </a:lnTo>
                <a:lnTo>
                  <a:pt x="659" y="621"/>
                </a:lnTo>
                <a:lnTo>
                  <a:pt x="658" y="621"/>
                </a:lnTo>
                <a:lnTo>
                  <a:pt x="658" y="620"/>
                </a:lnTo>
                <a:lnTo>
                  <a:pt x="658" y="619"/>
                </a:lnTo>
                <a:lnTo>
                  <a:pt x="659" y="617"/>
                </a:lnTo>
                <a:lnTo>
                  <a:pt x="661" y="615"/>
                </a:lnTo>
                <a:lnTo>
                  <a:pt x="662" y="614"/>
                </a:lnTo>
                <a:lnTo>
                  <a:pt x="662" y="612"/>
                </a:lnTo>
                <a:lnTo>
                  <a:pt x="662" y="609"/>
                </a:lnTo>
                <a:lnTo>
                  <a:pt x="662" y="609"/>
                </a:lnTo>
                <a:lnTo>
                  <a:pt x="665" y="608"/>
                </a:lnTo>
                <a:lnTo>
                  <a:pt x="665" y="614"/>
                </a:lnTo>
                <a:lnTo>
                  <a:pt x="666" y="617"/>
                </a:lnTo>
                <a:lnTo>
                  <a:pt x="670" y="617"/>
                </a:lnTo>
                <a:lnTo>
                  <a:pt x="675" y="616"/>
                </a:lnTo>
                <a:lnTo>
                  <a:pt x="675" y="617"/>
                </a:lnTo>
                <a:lnTo>
                  <a:pt x="673" y="620"/>
                </a:lnTo>
                <a:lnTo>
                  <a:pt x="673" y="621"/>
                </a:lnTo>
                <a:lnTo>
                  <a:pt x="674" y="622"/>
                </a:lnTo>
                <a:lnTo>
                  <a:pt x="675" y="622"/>
                </a:lnTo>
                <a:lnTo>
                  <a:pt x="676" y="622"/>
                </a:lnTo>
                <a:lnTo>
                  <a:pt x="678" y="622"/>
                </a:lnTo>
                <a:lnTo>
                  <a:pt x="679" y="622"/>
                </a:lnTo>
                <a:lnTo>
                  <a:pt x="681" y="623"/>
                </a:lnTo>
                <a:lnTo>
                  <a:pt x="682" y="624"/>
                </a:lnTo>
                <a:lnTo>
                  <a:pt x="681" y="625"/>
                </a:lnTo>
                <a:lnTo>
                  <a:pt x="679" y="628"/>
                </a:lnTo>
                <a:lnTo>
                  <a:pt x="677" y="628"/>
                </a:lnTo>
                <a:lnTo>
                  <a:pt x="675" y="628"/>
                </a:lnTo>
                <a:lnTo>
                  <a:pt x="673" y="630"/>
                </a:lnTo>
                <a:lnTo>
                  <a:pt x="670" y="631"/>
                </a:lnTo>
                <a:lnTo>
                  <a:pt x="665" y="637"/>
                </a:lnTo>
                <a:lnTo>
                  <a:pt x="658" y="641"/>
                </a:lnTo>
                <a:lnTo>
                  <a:pt x="651" y="645"/>
                </a:lnTo>
                <a:lnTo>
                  <a:pt x="644" y="649"/>
                </a:lnTo>
                <a:lnTo>
                  <a:pt x="631" y="663"/>
                </a:lnTo>
                <a:lnTo>
                  <a:pt x="619" y="678"/>
                </a:lnTo>
                <a:lnTo>
                  <a:pt x="609" y="692"/>
                </a:lnTo>
                <a:lnTo>
                  <a:pt x="599" y="708"/>
                </a:lnTo>
                <a:lnTo>
                  <a:pt x="595" y="714"/>
                </a:lnTo>
                <a:lnTo>
                  <a:pt x="591" y="724"/>
                </a:lnTo>
                <a:lnTo>
                  <a:pt x="590" y="729"/>
                </a:lnTo>
                <a:lnTo>
                  <a:pt x="588" y="732"/>
                </a:lnTo>
                <a:lnTo>
                  <a:pt x="588" y="735"/>
                </a:lnTo>
                <a:lnTo>
                  <a:pt x="590" y="736"/>
                </a:lnTo>
                <a:lnTo>
                  <a:pt x="591" y="737"/>
                </a:lnTo>
                <a:lnTo>
                  <a:pt x="592" y="737"/>
                </a:lnTo>
                <a:lnTo>
                  <a:pt x="594" y="737"/>
                </a:lnTo>
                <a:lnTo>
                  <a:pt x="596" y="735"/>
                </a:lnTo>
                <a:lnTo>
                  <a:pt x="599" y="731"/>
                </a:lnTo>
                <a:lnTo>
                  <a:pt x="601" y="729"/>
                </a:lnTo>
                <a:lnTo>
                  <a:pt x="602" y="723"/>
                </a:lnTo>
                <a:lnTo>
                  <a:pt x="604" y="717"/>
                </a:lnTo>
                <a:lnTo>
                  <a:pt x="607" y="721"/>
                </a:lnTo>
                <a:lnTo>
                  <a:pt x="608" y="727"/>
                </a:lnTo>
                <a:lnTo>
                  <a:pt x="609" y="729"/>
                </a:lnTo>
                <a:lnTo>
                  <a:pt x="610" y="731"/>
                </a:lnTo>
                <a:lnTo>
                  <a:pt x="611" y="732"/>
                </a:lnTo>
                <a:lnTo>
                  <a:pt x="612" y="732"/>
                </a:lnTo>
                <a:lnTo>
                  <a:pt x="615" y="729"/>
                </a:lnTo>
                <a:lnTo>
                  <a:pt x="618" y="725"/>
                </a:lnTo>
                <a:lnTo>
                  <a:pt x="623" y="725"/>
                </a:lnTo>
                <a:lnTo>
                  <a:pt x="626" y="727"/>
                </a:lnTo>
                <a:lnTo>
                  <a:pt x="626" y="722"/>
                </a:lnTo>
                <a:lnTo>
                  <a:pt x="626" y="719"/>
                </a:lnTo>
                <a:lnTo>
                  <a:pt x="627" y="716"/>
                </a:lnTo>
                <a:lnTo>
                  <a:pt x="629" y="716"/>
                </a:lnTo>
                <a:lnTo>
                  <a:pt x="631" y="717"/>
                </a:lnTo>
                <a:lnTo>
                  <a:pt x="633" y="719"/>
                </a:lnTo>
                <a:lnTo>
                  <a:pt x="636" y="721"/>
                </a:lnTo>
                <a:lnTo>
                  <a:pt x="640" y="723"/>
                </a:lnTo>
                <a:lnTo>
                  <a:pt x="642" y="725"/>
                </a:lnTo>
                <a:lnTo>
                  <a:pt x="642" y="731"/>
                </a:lnTo>
                <a:lnTo>
                  <a:pt x="645" y="725"/>
                </a:lnTo>
                <a:lnTo>
                  <a:pt x="650" y="722"/>
                </a:lnTo>
                <a:lnTo>
                  <a:pt x="651" y="720"/>
                </a:lnTo>
                <a:lnTo>
                  <a:pt x="652" y="717"/>
                </a:lnTo>
                <a:lnTo>
                  <a:pt x="653" y="714"/>
                </a:lnTo>
                <a:lnTo>
                  <a:pt x="653" y="712"/>
                </a:lnTo>
                <a:lnTo>
                  <a:pt x="661" y="710"/>
                </a:lnTo>
                <a:lnTo>
                  <a:pt x="670" y="708"/>
                </a:lnTo>
                <a:lnTo>
                  <a:pt x="673" y="705"/>
                </a:lnTo>
                <a:lnTo>
                  <a:pt x="675" y="702"/>
                </a:lnTo>
                <a:lnTo>
                  <a:pt x="676" y="699"/>
                </a:lnTo>
                <a:lnTo>
                  <a:pt x="677" y="698"/>
                </a:lnTo>
                <a:lnTo>
                  <a:pt x="679" y="695"/>
                </a:lnTo>
                <a:lnTo>
                  <a:pt x="683" y="692"/>
                </a:lnTo>
                <a:lnTo>
                  <a:pt x="693" y="681"/>
                </a:lnTo>
                <a:lnTo>
                  <a:pt x="705" y="670"/>
                </a:lnTo>
                <a:lnTo>
                  <a:pt x="715" y="662"/>
                </a:lnTo>
                <a:lnTo>
                  <a:pt x="726" y="654"/>
                </a:lnTo>
                <a:lnTo>
                  <a:pt x="738" y="646"/>
                </a:lnTo>
                <a:lnTo>
                  <a:pt x="749" y="637"/>
                </a:lnTo>
                <a:lnTo>
                  <a:pt x="761" y="628"/>
                </a:lnTo>
                <a:lnTo>
                  <a:pt x="774" y="617"/>
                </a:lnTo>
                <a:lnTo>
                  <a:pt x="780" y="613"/>
                </a:lnTo>
                <a:lnTo>
                  <a:pt x="786" y="608"/>
                </a:lnTo>
                <a:lnTo>
                  <a:pt x="791" y="606"/>
                </a:lnTo>
                <a:lnTo>
                  <a:pt x="797" y="603"/>
                </a:lnTo>
                <a:lnTo>
                  <a:pt x="800" y="598"/>
                </a:lnTo>
                <a:lnTo>
                  <a:pt x="805" y="595"/>
                </a:lnTo>
                <a:lnTo>
                  <a:pt x="808" y="592"/>
                </a:lnTo>
                <a:lnTo>
                  <a:pt x="813" y="590"/>
                </a:lnTo>
                <a:lnTo>
                  <a:pt x="822" y="583"/>
                </a:lnTo>
                <a:lnTo>
                  <a:pt x="832" y="576"/>
                </a:lnTo>
                <a:lnTo>
                  <a:pt x="837" y="575"/>
                </a:lnTo>
                <a:lnTo>
                  <a:pt x="841" y="572"/>
                </a:lnTo>
                <a:lnTo>
                  <a:pt x="845" y="567"/>
                </a:lnTo>
                <a:lnTo>
                  <a:pt x="848" y="563"/>
                </a:lnTo>
                <a:lnTo>
                  <a:pt x="862" y="556"/>
                </a:lnTo>
                <a:lnTo>
                  <a:pt x="874" y="549"/>
                </a:lnTo>
                <a:lnTo>
                  <a:pt x="885" y="540"/>
                </a:lnTo>
                <a:lnTo>
                  <a:pt x="897" y="532"/>
                </a:lnTo>
                <a:lnTo>
                  <a:pt x="911" y="525"/>
                </a:lnTo>
                <a:lnTo>
                  <a:pt x="924" y="521"/>
                </a:lnTo>
                <a:lnTo>
                  <a:pt x="937" y="512"/>
                </a:lnTo>
                <a:lnTo>
                  <a:pt x="949" y="504"/>
                </a:lnTo>
                <a:lnTo>
                  <a:pt x="964" y="496"/>
                </a:lnTo>
                <a:lnTo>
                  <a:pt x="979" y="489"/>
                </a:lnTo>
                <a:lnTo>
                  <a:pt x="996" y="482"/>
                </a:lnTo>
                <a:lnTo>
                  <a:pt x="1012" y="474"/>
                </a:lnTo>
                <a:lnTo>
                  <a:pt x="1028" y="466"/>
                </a:lnTo>
                <a:lnTo>
                  <a:pt x="1043" y="457"/>
                </a:lnTo>
                <a:lnTo>
                  <a:pt x="1060" y="451"/>
                </a:lnTo>
                <a:lnTo>
                  <a:pt x="1076" y="445"/>
                </a:lnTo>
                <a:lnTo>
                  <a:pt x="1084" y="441"/>
                </a:lnTo>
                <a:lnTo>
                  <a:pt x="1090" y="437"/>
                </a:lnTo>
                <a:lnTo>
                  <a:pt x="1098" y="433"/>
                </a:lnTo>
                <a:lnTo>
                  <a:pt x="1106" y="432"/>
                </a:lnTo>
                <a:lnTo>
                  <a:pt x="1104" y="429"/>
                </a:lnTo>
                <a:lnTo>
                  <a:pt x="1103" y="428"/>
                </a:lnTo>
                <a:lnTo>
                  <a:pt x="1103" y="425"/>
                </a:lnTo>
                <a:lnTo>
                  <a:pt x="1104" y="424"/>
                </a:lnTo>
                <a:lnTo>
                  <a:pt x="1106" y="424"/>
                </a:lnTo>
                <a:lnTo>
                  <a:pt x="1107" y="424"/>
                </a:lnTo>
                <a:lnTo>
                  <a:pt x="1111" y="428"/>
                </a:lnTo>
                <a:lnTo>
                  <a:pt x="1113" y="430"/>
                </a:lnTo>
                <a:lnTo>
                  <a:pt x="1119" y="428"/>
                </a:lnTo>
                <a:lnTo>
                  <a:pt x="1126" y="423"/>
                </a:lnTo>
                <a:lnTo>
                  <a:pt x="1137" y="418"/>
                </a:lnTo>
                <a:lnTo>
                  <a:pt x="1150" y="414"/>
                </a:lnTo>
                <a:lnTo>
                  <a:pt x="1154" y="413"/>
                </a:lnTo>
                <a:lnTo>
                  <a:pt x="1159" y="411"/>
                </a:lnTo>
                <a:lnTo>
                  <a:pt x="1159" y="408"/>
                </a:lnTo>
                <a:lnTo>
                  <a:pt x="1159" y="407"/>
                </a:lnTo>
                <a:lnTo>
                  <a:pt x="1156" y="407"/>
                </a:lnTo>
                <a:lnTo>
                  <a:pt x="1155" y="409"/>
                </a:lnTo>
                <a:lnTo>
                  <a:pt x="1154" y="406"/>
                </a:lnTo>
                <a:lnTo>
                  <a:pt x="1152" y="404"/>
                </a:lnTo>
                <a:lnTo>
                  <a:pt x="1157" y="401"/>
                </a:lnTo>
                <a:lnTo>
                  <a:pt x="1162" y="400"/>
                </a:lnTo>
                <a:lnTo>
                  <a:pt x="1168" y="399"/>
                </a:lnTo>
                <a:lnTo>
                  <a:pt x="1173" y="398"/>
                </a:lnTo>
                <a:lnTo>
                  <a:pt x="1178" y="397"/>
                </a:lnTo>
                <a:lnTo>
                  <a:pt x="1183" y="395"/>
                </a:lnTo>
                <a:lnTo>
                  <a:pt x="1187" y="391"/>
                </a:lnTo>
                <a:lnTo>
                  <a:pt x="1190" y="387"/>
                </a:lnTo>
                <a:lnTo>
                  <a:pt x="1193" y="389"/>
                </a:lnTo>
                <a:lnTo>
                  <a:pt x="1196" y="389"/>
                </a:lnTo>
                <a:lnTo>
                  <a:pt x="1200" y="388"/>
                </a:lnTo>
                <a:lnTo>
                  <a:pt x="1203" y="384"/>
                </a:lnTo>
                <a:lnTo>
                  <a:pt x="1208" y="382"/>
                </a:lnTo>
                <a:lnTo>
                  <a:pt x="1212" y="380"/>
                </a:lnTo>
                <a:lnTo>
                  <a:pt x="1218" y="378"/>
                </a:lnTo>
                <a:lnTo>
                  <a:pt x="1224" y="376"/>
                </a:lnTo>
                <a:lnTo>
                  <a:pt x="1227" y="376"/>
                </a:lnTo>
                <a:lnTo>
                  <a:pt x="1230" y="376"/>
                </a:lnTo>
                <a:lnTo>
                  <a:pt x="1233" y="376"/>
                </a:lnTo>
                <a:lnTo>
                  <a:pt x="1237" y="374"/>
                </a:lnTo>
                <a:lnTo>
                  <a:pt x="1237" y="373"/>
                </a:lnTo>
                <a:lnTo>
                  <a:pt x="1237" y="373"/>
                </a:lnTo>
                <a:lnTo>
                  <a:pt x="1238" y="373"/>
                </a:lnTo>
                <a:lnTo>
                  <a:pt x="1239" y="373"/>
                </a:lnTo>
                <a:lnTo>
                  <a:pt x="1239" y="372"/>
                </a:lnTo>
                <a:lnTo>
                  <a:pt x="1241" y="371"/>
                </a:lnTo>
                <a:lnTo>
                  <a:pt x="1243" y="368"/>
                </a:lnTo>
                <a:lnTo>
                  <a:pt x="1244" y="366"/>
                </a:lnTo>
                <a:lnTo>
                  <a:pt x="1246" y="371"/>
                </a:lnTo>
                <a:lnTo>
                  <a:pt x="1249" y="372"/>
                </a:lnTo>
                <a:lnTo>
                  <a:pt x="1250" y="371"/>
                </a:lnTo>
                <a:lnTo>
                  <a:pt x="1252" y="370"/>
                </a:lnTo>
                <a:lnTo>
                  <a:pt x="1257" y="364"/>
                </a:lnTo>
                <a:lnTo>
                  <a:pt x="1262" y="360"/>
                </a:lnTo>
                <a:lnTo>
                  <a:pt x="1259" y="357"/>
                </a:lnTo>
                <a:lnTo>
                  <a:pt x="1254" y="356"/>
                </a:lnTo>
                <a:lnTo>
                  <a:pt x="1252" y="358"/>
                </a:lnTo>
                <a:lnTo>
                  <a:pt x="1249" y="359"/>
                </a:lnTo>
                <a:lnTo>
                  <a:pt x="1245" y="357"/>
                </a:lnTo>
                <a:lnTo>
                  <a:pt x="1243" y="355"/>
                </a:lnTo>
                <a:lnTo>
                  <a:pt x="1234" y="355"/>
                </a:lnTo>
                <a:lnTo>
                  <a:pt x="1225" y="357"/>
                </a:lnTo>
                <a:lnTo>
                  <a:pt x="1216" y="358"/>
                </a:lnTo>
                <a:lnTo>
                  <a:pt x="1208" y="360"/>
                </a:lnTo>
                <a:lnTo>
                  <a:pt x="1200" y="364"/>
                </a:lnTo>
                <a:lnTo>
                  <a:pt x="1192" y="366"/>
                </a:lnTo>
                <a:lnTo>
                  <a:pt x="1183" y="367"/>
                </a:lnTo>
                <a:lnTo>
                  <a:pt x="1173" y="370"/>
                </a:lnTo>
                <a:lnTo>
                  <a:pt x="1167" y="372"/>
                </a:lnTo>
                <a:lnTo>
                  <a:pt x="1160" y="373"/>
                </a:lnTo>
                <a:lnTo>
                  <a:pt x="1157" y="373"/>
                </a:lnTo>
                <a:lnTo>
                  <a:pt x="1156" y="371"/>
                </a:lnTo>
                <a:lnTo>
                  <a:pt x="1156" y="370"/>
                </a:lnTo>
                <a:lnTo>
                  <a:pt x="1156" y="368"/>
                </a:lnTo>
                <a:lnTo>
                  <a:pt x="1159" y="365"/>
                </a:lnTo>
                <a:lnTo>
                  <a:pt x="1162" y="363"/>
                </a:lnTo>
                <a:lnTo>
                  <a:pt x="1180" y="358"/>
                </a:lnTo>
                <a:lnTo>
                  <a:pt x="1197" y="351"/>
                </a:lnTo>
                <a:lnTo>
                  <a:pt x="1216" y="347"/>
                </a:lnTo>
                <a:lnTo>
                  <a:pt x="1234" y="342"/>
                </a:lnTo>
                <a:lnTo>
                  <a:pt x="1244" y="340"/>
                </a:lnTo>
                <a:lnTo>
                  <a:pt x="1254" y="337"/>
                </a:lnTo>
                <a:lnTo>
                  <a:pt x="1263" y="334"/>
                </a:lnTo>
                <a:lnTo>
                  <a:pt x="1274" y="331"/>
                </a:lnTo>
                <a:lnTo>
                  <a:pt x="1283" y="328"/>
                </a:lnTo>
                <a:lnTo>
                  <a:pt x="1292" y="324"/>
                </a:lnTo>
                <a:lnTo>
                  <a:pt x="1302" y="323"/>
                </a:lnTo>
                <a:lnTo>
                  <a:pt x="1313" y="321"/>
                </a:lnTo>
                <a:lnTo>
                  <a:pt x="1324" y="317"/>
                </a:lnTo>
                <a:lnTo>
                  <a:pt x="1334" y="313"/>
                </a:lnTo>
                <a:lnTo>
                  <a:pt x="1344" y="308"/>
                </a:lnTo>
                <a:lnTo>
                  <a:pt x="1354" y="305"/>
                </a:lnTo>
                <a:lnTo>
                  <a:pt x="1365" y="301"/>
                </a:lnTo>
                <a:lnTo>
                  <a:pt x="1376" y="299"/>
                </a:lnTo>
                <a:lnTo>
                  <a:pt x="1386" y="297"/>
                </a:lnTo>
                <a:lnTo>
                  <a:pt x="1396" y="291"/>
                </a:lnTo>
                <a:lnTo>
                  <a:pt x="1376" y="293"/>
                </a:lnTo>
                <a:lnTo>
                  <a:pt x="1356" y="297"/>
                </a:lnTo>
                <a:lnTo>
                  <a:pt x="1336" y="300"/>
                </a:lnTo>
                <a:lnTo>
                  <a:pt x="1316" y="302"/>
                </a:lnTo>
                <a:lnTo>
                  <a:pt x="1305" y="302"/>
                </a:lnTo>
                <a:lnTo>
                  <a:pt x="1311" y="302"/>
                </a:lnTo>
                <a:lnTo>
                  <a:pt x="1319" y="302"/>
                </a:lnTo>
                <a:lnTo>
                  <a:pt x="1316" y="302"/>
                </a:lnTo>
                <a:close/>
                <a:moveTo>
                  <a:pt x="139" y="314"/>
                </a:moveTo>
                <a:lnTo>
                  <a:pt x="138" y="313"/>
                </a:lnTo>
                <a:lnTo>
                  <a:pt x="137" y="314"/>
                </a:lnTo>
                <a:lnTo>
                  <a:pt x="138" y="314"/>
                </a:lnTo>
                <a:lnTo>
                  <a:pt x="139" y="314"/>
                </a:lnTo>
                <a:lnTo>
                  <a:pt x="138" y="313"/>
                </a:lnTo>
                <a:lnTo>
                  <a:pt x="139" y="314"/>
                </a:lnTo>
                <a:close/>
                <a:moveTo>
                  <a:pt x="80" y="270"/>
                </a:moveTo>
                <a:lnTo>
                  <a:pt x="80" y="270"/>
                </a:lnTo>
                <a:lnTo>
                  <a:pt x="80" y="270"/>
                </a:lnTo>
                <a:lnTo>
                  <a:pt x="81" y="270"/>
                </a:lnTo>
                <a:lnTo>
                  <a:pt x="80" y="270"/>
                </a:lnTo>
                <a:lnTo>
                  <a:pt x="80" y="268"/>
                </a:lnTo>
                <a:lnTo>
                  <a:pt x="80" y="270"/>
                </a:lnTo>
                <a:lnTo>
                  <a:pt x="80" y="270"/>
                </a:lnTo>
                <a:lnTo>
                  <a:pt x="80" y="270"/>
                </a:lnTo>
                <a:close/>
                <a:moveTo>
                  <a:pt x="80" y="270"/>
                </a:moveTo>
                <a:lnTo>
                  <a:pt x="81" y="270"/>
                </a:lnTo>
                <a:lnTo>
                  <a:pt x="80" y="270"/>
                </a:lnTo>
                <a:close/>
                <a:moveTo>
                  <a:pt x="123" y="231"/>
                </a:moveTo>
                <a:lnTo>
                  <a:pt x="122" y="229"/>
                </a:lnTo>
                <a:lnTo>
                  <a:pt x="120" y="227"/>
                </a:lnTo>
                <a:lnTo>
                  <a:pt x="117" y="229"/>
                </a:lnTo>
                <a:lnTo>
                  <a:pt x="115" y="231"/>
                </a:lnTo>
                <a:lnTo>
                  <a:pt x="112" y="239"/>
                </a:lnTo>
                <a:lnTo>
                  <a:pt x="110" y="247"/>
                </a:lnTo>
                <a:lnTo>
                  <a:pt x="116" y="238"/>
                </a:lnTo>
                <a:lnTo>
                  <a:pt x="123" y="231"/>
                </a:lnTo>
                <a:lnTo>
                  <a:pt x="120" y="232"/>
                </a:lnTo>
                <a:lnTo>
                  <a:pt x="123" y="23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825" y="141"/>
                </a:moveTo>
                <a:lnTo>
                  <a:pt x="825" y="141"/>
                </a:lnTo>
                <a:lnTo>
                  <a:pt x="825" y="141"/>
                </a:lnTo>
                <a:close/>
                <a:moveTo>
                  <a:pt x="711" y="105"/>
                </a:moveTo>
                <a:lnTo>
                  <a:pt x="710" y="106"/>
                </a:lnTo>
                <a:lnTo>
                  <a:pt x="709" y="106"/>
                </a:lnTo>
                <a:lnTo>
                  <a:pt x="710" y="108"/>
                </a:lnTo>
                <a:lnTo>
                  <a:pt x="711" y="108"/>
                </a:lnTo>
                <a:lnTo>
                  <a:pt x="714" y="109"/>
                </a:lnTo>
                <a:lnTo>
                  <a:pt x="714" y="107"/>
                </a:lnTo>
                <a:lnTo>
                  <a:pt x="714" y="106"/>
                </a:lnTo>
                <a:lnTo>
                  <a:pt x="711" y="105"/>
                </a:lnTo>
                <a:lnTo>
                  <a:pt x="711" y="105"/>
                </a:lnTo>
                <a:lnTo>
                  <a:pt x="711" y="105"/>
                </a:lnTo>
                <a:close/>
                <a:moveTo>
                  <a:pt x="121" y="732"/>
                </a:move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lnTo>
                  <a:pt x="121" y="732"/>
                </a:lnTo>
                <a:close/>
                <a:moveTo>
                  <a:pt x="491" y="150"/>
                </a:moveTo>
                <a:lnTo>
                  <a:pt x="489" y="150"/>
                </a:lnTo>
                <a:lnTo>
                  <a:pt x="489" y="151"/>
                </a:lnTo>
                <a:lnTo>
                  <a:pt x="491" y="151"/>
                </a:lnTo>
                <a:lnTo>
                  <a:pt x="491" y="150"/>
                </a:lnTo>
                <a:lnTo>
                  <a:pt x="491" y="150"/>
                </a:lnTo>
                <a:lnTo>
                  <a:pt x="491" y="150"/>
                </a:lnTo>
                <a:close/>
                <a:moveTo>
                  <a:pt x="703" y="108"/>
                </a:moveTo>
                <a:lnTo>
                  <a:pt x="705" y="110"/>
                </a:lnTo>
                <a:lnTo>
                  <a:pt x="707" y="110"/>
                </a:lnTo>
                <a:lnTo>
                  <a:pt x="709" y="109"/>
                </a:lnTo>
                <a:lnTo>
                  <a:pt x="709" y="108"/>
                </a:lnTo>
                <a:lnTo>
                  <a:pt x="708" y="106"/>
                </a:lnTo>
                <a:lnTo>
                  <a:pt x="706" y="106"/>
                </a:lnTo>
                <a:lnTo>
                  <a:pt x="703" y="106"/>
                </a:lnTo>
                <a:lnTo>
                  <a:pt x="703" y="108"/>
                </a:lnTo>
                <a:lnTo>
                  <a:pt x="703" y="108"/>
                </a:lnTo>
                <a:lnTo>
                  <a:pt x="703" y="108"/>
                </a:lnTo>
                <a:close/>
                <a:moveTo>
                  <a:pt x="247" y="235"/>
                </a:moveTo>
                <a:lnTo>
                  <a:pt x="245" y="243"/>
                </a:lnTo>
                <a:lnTo>
                  <a:pt x="244" y="250"/>
                </a:lnTo>
                <a:lnTo>
                  <a:pt x="242" y="250"/>
                </a:lnTo>
                <a:lnTo>
                  <a:pt x="244" y="250"/>
                </a:lnTo>
                <a:lnTo>
                  <a:pt x="246" y="249"/>
                </a:lnTo>
                <a:lnTo>
                  <a:pt x="247" y="248"/>
                </a:lnTo>
                <a:lnTo>
                  <a:pt x="248" y="247"/>
                </a:lnTo>
                <a:lnTo>
                  <a:pt x="248" y="245"/>
                </a:lnTo>
                <a:lnTo>
                  <a:pt x="248" y="240"/>
                </a:lnTo>
                <a:lnTo>
                  <a:pt x="247" y="235"/>
                </a:lnTo>
                <a:close/>
                <a:moveTo>
                  <a:pt x="244" y="250"/>
                </a:moveTo>
                <a:lnTo>
                  <a:pt x="244" y="250"/>
                </a:lnTo>
                <a:lnTo>
                  <a:pt x="244" y="250"/>
                </a:lnTo>
                <a:close/>
                <a:moveTo>
                  <a:pt x="227" y="31"/>
                </a:moveTo>
                <a:lnTo>
                  <a:pt x="224" y="33"/>
                </a:lnTo>
                <a:lnTo>
                  <a:pt x="223" y="35"/>
                </a:lnTo>
                <a:lnTo>
                  <a:pt x="223" y="38"/>
                </a:lnTo>
                <a:lnTo>
                  <a:pt x="223" y="40"/>
                </a:lnTo>
                <a:lnTo>
                  <a:pt x="222" y="42"/>
                </a:lnTo>
                <a:lnTo>
                  <a:pt x="221" y="43"/>
                </a:lnTo>
                <a:lnTo>
                  <a:pt x="222" y="42"/>
                </a:lnTo>
                <a:lnTo>
                  <a:pt x="223" y="40"/>
                </a:lnTo>
                <a:lnTo>
                  <a:pt x="224" y="36"/>
                </a:lnTo>
                <a:lnTo>
                  <a:pt x="227" y="31"/>
                </a:lnTo>
                <a:close/>
                <a:moveTo>
                  <a:pt x="921" y="565"/>
                </a:moveTo>
                <a:lnTo>
                  <a:pt x="918" y="565"/>
                </a:lnTo>
                <a:lnTo>
                  <a:pt x="916" y="567"/>
                </a:lnTo>
                <a:lnTo>
                  <a:pt x="915" y="570"/>
                </a:lnTo>
                <a:lnTo>
                  <a:pt x="915" y="572"/>
                </a:lnTo>
                <a:lnTo>
                  <a:pt x="917" y="571"/>
                </a:lnTo>
                <a:lnTo>
                  <a:pt x="921" y="569"/>
                </a:lnTo>
                <a:lnTo>
                  <a:pt x="921" y="567"/>
                </a:lnTo>
                <a:lnTo>
                  <a:pt x="922" y="566"/>
                </a:lnTo>
                <a:lnTo>
                  <a:pt x="922" y="565"/>
                </a:lnTo>
                <a:lnTo>
                  <a:pt x="921" y="565"/>
                </a:lnTo>
                <a:lnTo>
                  <a:pt x="920" y="565"/>
                </a:lnTo>
                <a:lnTo>
                  <a:pt x="921" y="565"/>
                </a:lnTo>
                <a:close/>
                <a:moveTo>
                  <a:pt x="892" y="555"/>
                </a:moveTo>
                <a:lnTo>
                  <a:pt x="889" y="556"/>
                </a:lnTo>
                <a:lnTo>
                  <a:pt x="887" y="558"/>
                </a:lnTo>
                <a:lnTo>
                  <a:pt x="887" y="561"/>
                </a:lnTo>
                <a:lnTo>
                  <a:pt x="887" y="562"/>
                </a:lnTo>
                <a:lnTo>
                  <a:pt x="888" y="563"/>
                </a:lnTo>
                <a:lnTo>
                  <a:pt x="890" y="563"/>
                </a:lnTo>
                <a:lnTo>
                  <a:pt x="891" y="563"/>
                </a:lnTo>
                <a:lnTo>
                  <a:pt x="892" y="563"/>
                </a:lnTo>
                <a:lnTo>
                  <a:pt x="893" y="561"/>
                </a:lnTo>
                <a:lnTo>
                  <a:pt x="895" y="559"/>
                </a:lnTo>
                <a:lnTo>
                  <a:pt x="895" y="557"/>
                </a:lnTo>
                <a:lnTo>
                  <a:pt x="895" y="556"/>
                </a:lnTo>
                <a:lnTo>
                  <a:pt x="893" y="555"/>
                </a:lnTo>
                <a:lnTo>
                  <a:pt x="892" y="555"/>
                </a:lnTo>
                <a:lnTo>
                  <a:pt x="892" y="555"/>
                </a:lnTo>
                <a:lnTo>
                  <a:pt x="892" y="555"/>
                </a:lnTo>
                <a:close/>
                <a:moveTo>
                  <a:pt x="846" y="584"/>
                </a:moveTo>
                <a:lnTo>
                  <a:pt x="843" y="586"/>
                </a:lnTo>
                <a:lnTo>
                  <a:pt x="839" y="588"/>
                </a:lnTo>
                <a:lnTo>
                  <a:pt x="837" y="588"/>
                </a:lnTo>
                <a:lnTo>
                  <a:pt x="835" y="589"/>
                </a:lnTo>
                <a:lnTo>
                  <a:pt x="837" y="590"/>
                </a:lnTo>
                <a:lnTo>
                  <a:pt x="838" y="592"/>
                </a:lnTo>
                <a:lnTo>
                  <a:pt x="841" y="592"/>
                </a:lnTo>
                <a:lnTo>
                  <a:pt x="845" y="591"/>
                </a:lnTo>
                <a:lnTo>
                  <a:pt x="847" y="589"/>
                </a:lnTo>
                <a:lnTo>
                  <a:pt x="848" y="587"/>
                </a:lnTo>
                <a:lnTo>
                  <a:pt x="848" y="586"/>
                </a:lnTo>
                <a:lnTo>
                  <a:pt x="848" y="584"/>
                </a:lnTo>
                <a:lnTo>
                  <a:pt x="847" y="584"/>
                </a:lnTo>
                <a:lnTo>
                  <a:pt x="846" y="584"/>
                </a:lnTo>
                <a:lnTo>
                  <a:pt x="846" y="586"/>
                </a:lnTo>
                <a:lnTo>
                  <a:pt x="846" y="584"/>
                </a:lnTo>
                <a:close/>
                <a:moveTo>
                  <a:pt x="328" y="210"/>
                </a:moveTo>
                <a:lnTo>
                  <a:pt x="324" y="212"/>
                </a:lnTo>
                <a:lnTo>
                  <a:pt x="322" y="214"/>
                </a:lnTo>
                <a:lnTo>
                  <a:pt x="321" y="217"/>
                </a:lnTo>
                <a:lnTo>
                  <a:pt x="319" y="221"/>
                </a:lnTo>
                <a:lnTo>
                  <a:pt x="322" y="218"/>
                </a:lnTo>
                <a:lnTo>
                  <a:pt x="324" y="217"/>
                </a:lnTo>
                <a:lnTo>
                  <a:pt x="327" y="214"/>
                </a:lnTo>
                <a:lnTo>
                  <a:pt x="328" y="210"/>
                </a:lnTo>
                <a:close/>
                <a:moveTo>
                  <a:pt x="957" y="99"/>
                </a:moveTo>
                <a:lnTo>
                  <a:pt x="958" y="98"/>
                </a:lnTo>
                <a:lnTo>
                  <a:pt x="958" y="94"/>
                </a:lnTo>
                <a:lnTo>
                  <a:pt x="957" y="93"/>
                </a:lnTo>
                <a:lnTo>
                  <a:pt x="956" y="92"/>
                </a:lnTo>
                <a:lnTo>
                  <a:pt x="951" y="92"/>
                </a:lnTo>
                <a:lnTo>
                  <a:pt x="947" y="92"/>
                </a:lnTo>
                <a:lnTo>
                  <a:pt x="948" y="96"/>
                </a:lnTo>
                <a:lnTo>
                  <a:pt x="950" y="98"/>
                </a:lnTo>
                <a:lnTo>
                  <a:pt x="954" y="99"/>
                </a:lnTo>
                <a:lnTo>
                  <a:pt x="957" y="99"/>
                </a:lnTo>
                <a:lnTo>
                  <a:pt x="956" y="99"/>
                </a:lnTo>
                <a:lnTo>
                  <a:pt x="957" y="99"/>
                </a:lnTo>
                <a:close/>
                <a:moveTo>
                  <a:pt x="1101" y="174"/>
                </a:moveTo>
                <a:lnTo>
                  <a:pt x="1103" y="174"/>
                </a:lnTo>
                <a:lnTo>
                  <a:pt x="1104" y="172"/>
                </a:lnTo>
                <a:lnTo>
                  <a:pt x="1103" y="169"/>
                </a:lnTo>
                <a:lnTo>
                  <a:pt x="1099" y="169"/>
                </a:lnTo>
                <a:lnTo>
                  <a:pt x="1097" y="171"/>
                </a:lnTo>
                <a:lnTo>
                  <a:pt x="1095" y="171"/>
                </a:lnTo>
                <a:lnTo>
                  <a:pt x="1090" y="173"/>
                </a:lnTo>
                <a:lnTo>
                  <a:pt x="1086" y="174"/>
                </a:lnTo>
                <a:lnTo>
                  <a:pt x="1093" y="175"/>
                </a:lnTo>
                <a:lnTo>
                  <a:pt x="1101" y="174"/>
                </a:lnTo>
                <a:lnTo>
                  <a:pt x="1099" y="175"/>
                </a:lnTo>
                <a:lnTo>
                  <a:pt x="1101" y="174"/>
                </a:lnTo>
                <a:close/>
                <a:moveTo>
                  <a:pt x="296" y="611"/>
                </a:moveTo>
                <a:lnTo>
                  <a:pt x="297" y="612"/>
                </a:lnTo>
                <a:lnTo>
                  <a:pt x="298" y="612"/>
                </a:lnTo>
                <a:lnTo>
                  <a:pt x="299" y="611"/>
                </a:lnTo>
                <a:lnTo>
                  <a:pt x="300" y="609"/>
                </a:lnTo>
                <a:lnTo>
                  <a:pt x="302" y="606"/>
                </a:lnTo>
                <a:lnTo>
                  <a:pt x="302" y="602"/>
                </a:lnTo>
                <a:lnTo>
                  <a:pt x="299" y="603"/>
                </a:lnTo>
                <a:lnTo>
                  <a:pt x="297" y="605"/>
                </a:lnTo>
                <a:lnTo>
                  <a:pt x="296" y="608"/>
                </a:lnTo>
                <a:lnTo>
                  <a:pt x="296" y="611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6" y="22"/>
                </a:lnTo>
                <a:lnTo>
                  <a:pt x="236" y="19"/>
                </a:lnTo>
                <a:lnTo>
                  <a:pt x="236" y="18"/>
                </a:lnTo>
                <a:lnTo>
                  <a:pt x="236" y="18"/>
                </a:lnTo>
                <a:lnTo>
                  <a:pt x="234" y="18"/>
                </a:lnTo>
                <a:lnTo>
                  <a:pt x="232" y="18"/>
                </a:lnTo>
                <a:lnTo>
                  <a:pt x="229" y="21"/>
                </a:lnTo>
                <a:lnTo>
                  <a:pt x="228" y="23"/>
                </a:lnTo>
                <a:lnTo>
                  <a:pt x="227" y="26"/>
                </a:lnTo>
                <a:lnTo>
                  <a:pt x="225" y="30"/>
                </a:lnTo>
                <a:lnTo>
                  <a:pt x="231" y="25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37" y="24"/>
                </a:moveTo>
                <a:lnTo>
                  <a:pt x="233" y="22"/>
                </a:lnTo>
                <a:lnTo>
                  <a:pt x="237" y="24"/>
                </a:lnTo>
                <a:close/>
                <a:moveTo>
                  <a:pt x="236" y="36"/>
                </a:moveTo>
                <a:lnTo>
                  <a:pt x="238" y="34"/>
                </a:lnTo>
                <a:lnTo>
                  <a:pt x="241" y="30"/>
                </a:lnTo>
                <a:lnTo>
                  <a:pt x="241" y="27"/>
                </a:lnTo>
                <a:lnTo>
                  <a:pt x="242" y="26"/>
                </a:lnTo>
                <a:lnTo>
                  <a:pt x="241" y="24"/>
                </a:lnTo>
                <a:lnTo>
                  <a:pt x="239" y="24"/>
                </a:lnTo>
                <a:lnTo>
                  <a:pt x="238" y="25"/>
                </a:lnTo>
                <a:lnTo>
                  <a:pt x="236" y="28"/>
                </a:lnTo>
                <a:lnTo>
                  <a:pt x="234" y="33"/>
                </a:lnTo>
                <a:lnTo>
                  <a:pt x="236" y="36"/>
                </a:lnTo>
                <a:lnTo>
                  <a:pt x="236" y="34"/>
                </a:lnTo>
                <a:lnTo>
                  <a:pt x="236" y="36"/>
                </a:lnTo>
                <a:close/>
                <a:moveTo>
                  <a:pt x="237" y="24"/>
                </a:move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lnTo>
                  <a:pt x="237" y="24"/>
                </a:lnTo>
                <a:close/>
                <a:moveTo>
                  <a:pt x="252" y="17"/>
                </a:moveTo>
                <a:lnTo>
                  <a:pt x="254" y="15"/>
                </a:lnTo>
                <a:lnTo>
                  <a:pt x="257" y="11"/>
                </a:lnTo>
                <a:lnTo>
                  <a:pt x="258" y="9"/>
                </a:lnTo>
                <a:lnTo>
                  <a:pt x="258" y="8"/>
                </a:lnTo>
                <a:lnTo>
                  <a:pt x="258" y="8"/>
                </a:lnTo>
                <a:lnTo>
                  <a:pt x="255" y="8"/>
                </a:lnTo>
                <a:lnTo>
                  <a:pt x="253" y="9"/>
                </a:lnTo>
                <a:lnTo>
                  <a:pt x="250" y="13"/>
                </a:lnTo>
                <a:lnTo>
                  <a:pt x="249" y="15"/>
                </a:lnTo>
                <a:lnTo>
                  <a:pt x="249" y="16"/>
                </a:lnTo>
                <a:lnTo>
                  <a:pt x="249" y="17"/>
                </a:lnTo>
                <a:lnTo>
                  <a:pt x="252" y="17"/>
                </a:lnTo>
                <a:lnTo>
                  <a:pt x="252" y="17"/>
                </a:lnTo>
                <a:lnTo>
                  <a:pt x="252" y="17"/>
                </a:lnTo>
                <a:close/>
                <a:moveTo>
                  <a:pt x="609" y="594"/>
                </a:moveTo>
                <a:lnTo>
                  <a:pt x="608" y="592"/>
                </a:lnTo>
                <a:lnTo>
                  <a:pt x="606" y="594"/>
                </a:lnTo>
                <a:lnTo>
                  <a:pt x="603" y="595"/>
                </a:lnTo>
                <a:lnTo>
                  <a:pt x="601" y="597"/>
                </a:lnTo>
                <a:lnTo>
                  <a:pt x="598" y="603"/>
                </a:lnTo>
                <a:lnTo>
                  <a:pt x="596" y="607"/>
                </a:lnTo>
                <a:lnTo>
                  <a:pt x="599" y="605"/>
                </a:lnTo>
                <a:lnTo>
                  <a:pt x="604" y="600"/>
                </a:lnTo>
                <a:lnTo>
                  <a:pt x="608" y="597"/>
                </a:lnTo>
                <a:lnTo>
                  <a:pt x="609" y="594"/>
                </a:lnTo>
                <a:lnTo>
                  <a:pt x="609" y="594"/>
                </a:lnTo>
                <a:lnTo>
                  <a:pt x="609" y="594"/>
                </a:lnTo>
                <a:close/>
                <a:moveTo>
                  <a:pt x="208" y="69"/>
                </a:moveTo>
                <a:lnTo>
                  <a:pt x="211" y="71"/>
                </a:lnTo>
                <a:lnTo>
                  <a:pt x="214" y="71"/>
                </a:lnTo>
                <a:lnTo>
                  <a:pt x="216" y="71"/>
                </a:lnTo>
                <a:lnTo>
                  <a:pt x="220" y="69"/>
                </a:lnTo>
                <a:lnTo>
                  <a:pt x="215" y="65"/>
                </a:lnTo>
                <a:lnTo>
                  <a:pt x="212" y="65"/>
                </a:lnTo>
                <a:lnTo>
                  <a:pt x="209" y="66"/>
                </a:lnTo>
                <a:lnTo>
                  <a:pt x="208" y="69"/>
                </a:lnTo>
                <a:close/>
                <a:moveTo>
                  <a:pt x="463" y="99"/>
                </a:moveTo>
                <a:lnTo>
                  <a:pt x="464" y="97"/>
                </a:lnTo>
                <a:lnTo>
                  <a:pt x="467" y="96"/>
                </a:lnTo>
                <a:lnTo>
                  <a:pt x="467" y="94"/>
                </a:lnTo>
                <a:lnTo>
                  <a:pt x="466" y="93"/>
                </a:lnTo>
                <a:lnTo>
                  <a:pt x="466" y="93"/>
                </a:lnTo>
                <a:lnTo>
                  <a:pt x="463" y="93"/>
                </a:lnTo>
                <a:lnTo>
                  <a:pt x="460" y="97"/>
                </a:lnTo>
                <a:lnTo>
                  <a:pt x="456" y="101"/>
                </a:lnTo>
                <a:lnTo>
                  <a:pt x="456" y="102"/>
                </a:lnTo>
                <a:lnTo>
                  <a:pt x="456" y="105"/>
                </a:lnTo>
                <a:lnTo>
                  <a:pt x="458" y="106"/>
                </a:lnTo>
                <a:lnTo>
                  <a:pt x="460" y="106"/>
                </a:lnTo>
                <a:lnTo>
                  <a:pt x="461" y="102"/>
                </a:lnTo>
                <a:lnTo>
                  <a:pt x="463" y="99"/>
                </a:lnTo>
                <a:lnTo>
                  <a:pt x="463" y="99"/>
                </a:lnTo>
                <a:lnTo>
                  <a:pt x="463" y="99"/>
                </a:lnTo>
                <a:close/>
                <a:moveTo>
                  <a:pt x="256" y="209"/>
                </a:moveTo>
                <a:lnTo>
                  <a:pt x="257" y="205"/>
                </a:lnTo>
                <a:lnTo>
                  <a:pt x="260" y="201"/>
                </a:lnTo>
                <a:lnTo>
                  <a:pt x="260" y="197"/>
                </a:lnTo>
                <a:lnTo>
                  <a:pt x="260" y="191"/>
                </a:lnTo>
                <a:lnTo>
                  <a:pt x="257" y="196"/>
                </a:lnTo>
                <a:lnTo>
                  <a:pt x="255" y="200"/>
                </a:lnTo>
                <a:lnTo>
                  <a:pt x="254" y="201"/>
                </a:lnTo>
                <a:lnTo>
                  <a:pt x="254" y="204"/>
                </a:lnTo>
                <a:lnTo>
                  <a:pt x="254" y="206"/>
                </a:lnTo>
                <a:lnTo>
                  <a:pt x="256" y="209"/>
                </a:lnTo>
                <a:close/>
                <a:moveTo>
                  <a:pt x="871" y="51"/>
                </a:moveTo>
                <a:lnTo>
                  <a:pt x="867" y="50"/>
                </a:lnTo>
                <a:lnTo>
                  <a:pt x="863" y="52"/>
                </a:lnTo>
                <a:lnTo>
                  <a:pt x="857" y="56"/>
                </a:lnTo>
                <a:lnTo>
                  <a:pt x="854" y="58"/>
                </a:lnTo>
                <a:lnTo>
                  <a:pt x="858" y="58"/>
                </a:lnTo>
                <a:lnTo>
                  <a:pt x="864" y="56"/>
                </a:lnTo>
                <a:lnTo>
                  <a:pt x="867" y="56"/>
                </a:lnTo>
                <a:lnTo>
                  <a:pt x="870" y="55"/>
                </a:lnTo>
                <a:lnTo>
                  <a:pt x="871" y="52"/>
                </a:lnTo>
                <a:lnTo>
                  <a:pt x="871" y="51"/>
                </a:lnTo>
                <a:lnTo>
                  <a:pt x="871" y="51"/>
                </a:lnTo>
                <a:lnTo>
                  <a:pt x="871" y="51"/>
                </a:lnTo>
                <a:close/>
                <a:moveTo>
                  <a:pt x="267" y="168"/>
                </a:moveTo>
                <a:lnTo>
                  <a:pt x="265" y="173"/>
                </a:lnTo>
                <a:lnTo>
                  <a:pt x="262" y="177"/>
                </a:lnTo>
                <a:lnTo>
                  <a:pt x="261" y="183"/>
                </a:lnTo>
                <a:lnTo>
                  <a:pt x="261" y="189"/>
                </a:lnTo>
                <a:lnTo>
                  <a:pt x="263" y="187"/>
                </a:lnTo>
                <a:lnTo>
                  <a:pt x="264" y="184"/>
                </a:lnTo>
                <a:lnTo>
                  <a:pt x="265" y="182"/>
                </a:lnTo>
                <a:lnTo>
                  <a:pt x="265" y="179"/>
                </a:lnTo>
                <a:lnTo>
                  <a:pt x="266" y="174"/>
                </a:lnTo>
                <a:lnTo>
                  <a:pt x="267" y="168"/>
                </a:lnTo>
                <a:close/>
                <a:moveTo>
                  <a:pt x="174" y="694"/>
                </a:moveTo>
                <a:lnTo>
                  <a:pt x="174" y="702"/>
                </a:lnTo>
                <a:lnTo>
                  <a:pt x="178" y="708"/>
                </a:lnTo>
                <a:lnTo>
                  <a:pt x="178" y="711"/>
                </a:lnTo>
                <a:lnTo>
                  <a:pt x="179" y="714"/>
                </a:lnTo>
                <a:lnTo>
                  <a:pt x="179" y="717"/>
                </a:lnTo>
                <a:lnTo>
                  <a:pt x="179" y="720"/>
                </a:lnTo>
                <a:lnTo>
                  <a:pt x="181" y="721"/>
                </a:lnTo>
                <a:lnTo>
                  <a:pt x="182" y="721"/>
                </a:lnTo>
                <a:lnTo>
                  <a:pt x="183" y="721"/>
                </a:lnTo>
                <a:lnTo>
                  <a:pt x="183" y="719"/>
                </a:lnTo>
                <a:lnTo>
                  <a:pt x="183" y="715"/>
                </a:lnTo>
                <a:lnTo>
                  <a:pt x="183" y="712"/>
                </a:lnTo>
                <a:lnTo>
                  <a:pt x="182" y="707"/>
                </a:lnTo>
                <a:lnTo>
                  <a:pt x="180" y="703"/>
                </a:lnTo>
                <a:lnTo>
                  <a:pt x="178" y="698"/>
                </a:lnTo>
                <a:lnTo>
                  <a:pt x="174" y="694"/>
                </a:lnTo>
                <a:lnTo>
                  <a:pt x="175" y="700"/>
                </a:lnTo>
                <a:lnTo>
                  <a:pt x="174" y="694"/>
                </a:lnTo>
                <a:close/>
                <a:moveTo>
                  <a:pt x="1081" y="180"/>
                </a:moveTo>
                <a:lnTo>
                  <a:pt x="1082" y="177"/>
                </a:lnTo>
                <a:lnTo>
                  <a:pt x="1081" y="175"/>
                </a:lnTo>
                <a:lnTo>
                  <a:pt x="1078" y="175"/>
                </a:lnTo>
                <a:lnTo>
                  <a:pt x="1074" y="177"/>
                </a:lnTo>
                <a:lnTo>
                  <a:pt x="1065" y="181"/>
                </a:lnTo>
                <a:lnTo>
                  <a:pt x="1057" y="185"/>
                </a:lnTo>
                <a:lnTo>
                  <a:pt x="1070" y="182"/>
                </a:lnTo>
                <a:lnTo>
                  <a:pt x="1081" y="180"/>
                </a:lnTo>
                <a:lnTo>
                  <a:pt x="1078" y="180"/>
                </a:lnTo>
                <a:lnTo>
                  <a:pt x="1081" y="180"/>
                </a:lnTo>
                <a:close/>
                <a:moveTo>
                  <a:pt x="444" y="113"/>
                </a:moveTo>
                <a:lnTo>
                  <a:pt x="444" y="110"/>
                </a:lnTo>
                <a:lnTo>
                  <a:pt x="444" y="109"/>
                </a:lnTo>
                <a:lnTo>
                  <a:pt x="444" y="109"/>
                </a:lnTo>
                <a:lnTo>
                  <a:pt x="443" y="109"/>
                </a:lnTo>
                <a:lnTo>
                  <a:pt x="439" y="110"/>
                </a:lnTo>
                <a:lnTo>
                  <a:pt x="437" y="111"/>
                </a:lnTo>
                <a:lnTo>
                  <a:pt x="430" y="116"/>
                </a:lnTo>
                <a:lnTo>
                  <a:pt x="426" y="122"/>
                </a:lnTo>
                <a:lnTo>
                  <a:pt x="430" y="121"/>
                </a:lnTo>
                <a:lnTo>
                  <a:pt x="436" y="119"/>
                </a:lnTo>
                <a:lnTo>
                  <a:pt x="438" y="118"/>
                </a:lnTo>
                <a:lnTo>
                  <a:pt x="440" y="117"/>
                </a:lnTo>
                <a:lnTo>
                  <a:pt x="443" y="115"/>
                </a:lnTo>
                <a:lnTo>
                  <a:pt x="444" y="113"/>
                </a:lnTo>
                <a:lnTo>
                  <a:pt x="443" y="116"/>
                </a:lnTo>
                <a:lnTo>
                  <a:pt x="444" y="113"/>
                </a:lnTo>
                <a:close/>
                <a:moveTo>
                  <a:pt x="645" y="637"/>
                </a:moveTo>
                <a:lnTo>
                  <a:pt x="642" y="636"/>
                </a:lnTo>
                <a:lnTo>
                  <a:pt x="640" y="637"/>
                </a:lnTo>
                <a:lnTo>
                  <a:pt x="637" y="638"/>
                </a:lnTo>
                <a:lnTo>
                  <a:pt x="635" y="640"/>
                </a:lnTo>
                <a:lnTo>
                  <a:pt x="634" y="641"/>
                </a:lnTo>
                <a:lnTo>
                  <a:pt x="632" y="641"/>
                </a:lnTo>
                <a:lnTo>
                  <a:pt x="629" y="640"/>
                </a:lnTo>
                <a:lnTo>
                  <a:pt x="627" y="636"/>
                </a:lnTo>
                <a:lnTo>
                  <a:pt x="627" y="642"/>
                </a:lnTo>
                <a:lnTo>
                  <a:pt x="626" y="648"/>
                </a:lnTo>
                <a:lnTo>
                  <a:pt x="625" y="652"/>
                </a:lnTo>
                <a:lnTo>
                  <a:pt x="623" y="654"/>
                </a:lnTo>
                <a:lnTo>
                  <a:pt x="620" y="655"/>
                </a:lnTo>
                <a:lnTo>
                  <a:pt x="617" y="657"/>
                </a:lnTo>
                <a:lnTo>
                  <a:pt x="613" y="659"/>
                </a:lnTo>
                <a:lnTo>
                  <a:pt x="610" y="664"/>
                </a:lnTo>
                <a:lnTo>
                  <a:pt x="608" y="669"/>
                </a:lnTo>
                <a:lnTo>
                  <a:pt x="609" y="673"/>
                </a:lnTo>
                <a:lnTo>
                  <a:pt x="618" y="663"/>
                </a:lnTo>
                <a:lnTo>
                  <a:pt x="628" y="654"/>
                </a:lnTo>
                <a:lnTo>
                  <a:pt x="633" y="649"/>
                </a:lnTo>
                <a:lnTo>
                  <a:pt x="637" y="646"/>
                </a:lnTo>
                <a:lnTo>
                  <a:pt x="641" y="641"/>
                </a:lnTo>
                <a:lnTo>
                  <a:pt x="645" y="637"/>
                </a:lnTo>
                <a:lnTo>
                  <a:pt x="641" y="638"/>
                </a:lnTo>
                <a:lnTo>
                  <a:pt x="645" y="637"/>
                </a:lnTo>
                <a:close/>
                <a:moveTo>
                  <a:pt x="214" y="36"/>
                </a:moveTo>
                <a:lnTo>
                  <a:pt x="212" y="36"/>
                </a:lnTo>
                <a:lnTo>
                  <a:pt x="209" y="38"/>
                </a:lnTo>
                <a:lnTo>
                  <a:pt x="208" y="40"/>
                </a:lnTo>
                <a:lnTo>
                  <a:pt x="207" y="42"/>
                </a:lnTo>
                <a:lnTo>
                  <a:pt x="205" y="46"/>
                </a:lnTo>
                <a:lnTo>
                  <a:pt x="203" y="50"/>
                </a:lnTo>
                <a:lnTo>
                  <a:pt x="200" y="53"/>
                </a:lnTo>
                <a:lnTo>
                  <a:pt x="199" y="57"/>
                </a:lnTo>
                <a:lnTo>
                  <a:pt x="197" y="59"/>
                </a:lnTo>
                <a:lnTo>
                  <a:pt x="197" y="61"/>
                </a:lnTo>
                <a:lnTo>
                  <a:pt x="197" y="63"/>
                </a:lnTo>
                <a:lnTo>
                  <a:pt x="199" y="64"/>
                </a:lnTo>
                <a:lnTo>
                  <a:pt x="207" y="50"/>
                </a:lnTo>
                <a:lnTo>
                  <a:pt x="214" y="36"/>
                </a:lnTo>
                <a:lnTo>
                  <a:pt x="212" y="40"/>
                </a:lnTo>
                <a:lnTo>
                  <a:pt x="214" y="36"/>
                </a:lnTo>
                <a:close/>
                <a:moveTo>
                  <a:pt x="1068" y="111"/>
                </a:moveTo>
                <a:lnTo>
                  <a:pt x="1073" y="105"/>
                </a:lnTo>
                <a:lnTo>
                  <a:pt x="1080" y="99"/>
                </a:lnTo>
                <a:lnTo>
                  <a:pt x="1076" y="99"/>
                </a:lnTo>
                <a:lnTo>
                  <a:pt x="1071" y="100"/>
                </a:lnTo>
                <a:lnTo>
                  <a:pt x="1068" y="101"/>
                </a:lnTo>
                <a:lnTo>
                  <a:pt x="1064" y="102"/>
                </a:lnTo>
                <a:lnTo>
                  <a:pt x="1062" y="102"/>
                </a:lnTo>
                <a:lnTo>
                  <a:pt x="1058" y="101"/>
                </a:lnTo>
                <a:lnTo>
                  <a:pt x="1056" y="101"/>
                </a:lnTo>
                <a:lnTo>
                  <a:pt x="1055" y="100"/>
                </a:lnTo>
                <a:lnTo>
                  <a:pt x="1054" y="101"/>
                </a:lnTo>
                <a:lnTo>
                  <a:pt x="1054" y="102"/>
                </a:lnTo>
                <a:lnTo>
                  <a:pt x="1062" y="108"/>
                </a:lnTo>
                <a:lnTo>
                  <a:pt x="1068" y="111"/>
                </a:lnTo>
                <a:lnTo>
                  <a:pt x="1068" y="108"/>
                </a:lnTo>
                <a:lnTo>
                  <a:pt x="1068" y="111"/>
                </a:lnTo>
                <a:close/>
                <a:moveTo>
                  <a:pt x="857" y="147"/>
                </a:moveTo>
                <a:lnTo>
                  <a:pt x="860" y="147"/>
                </a:lnTo>
                <a:lnTo>
                  <a:pt x="865" y="146"/>
                </a:lnTo>
                <a:lnTo>
                  <a:pt x="867" y="144"/>
                </a:lnTo>
                <a:lnTo>
                  <a:pt x="870" y="144"/>
                </a:lnTo>
                <a:lnTo>
                  <a:pt x="871" y="142"/>
                </a:lnTo>
                <a:lnTo>
                  <a:pt x="872" y="140"/>
                </a:lnTo>
                <a:lnTo>
                  <a:pt x="872" y="138"/>
                </a:lnTo>
                <a:lnTo>
                  <a:pt x="871" y="135"/>
                </a:lnTo>
                <a:lnTo>
                  <a:pt x="870" y="133"/>
                </a:lnTo>
                <a:lnTo>
                  <a:pt x="866" y="133"/>
                </a:lnTo>
                <a:lnTo>
                  <a:pt x="864" y="132"/>
                </a:lnTo>
                <a:lnTo>
                  <a:pt x="862" y="132"/>
                </a:lnTo>
                <a:lnTo>
                  <a:pt x="859" y="133"/>
                </a:lnTo>
                <a:lnTo>
                  <a:pt x="857" y="134"/>
                </a:lnTo>
                <a:lnTo>
                  <a:pt x="860" y="135"/>
                </a:lnTo>
                <a:lnTo>
                  <a:pt x="865" y="134"/>
                </a:lnTo>
                <a:lnTo>
                  <a:pt x="866" y="135"/>
                </a:lnTo>
                <a:lnTo>
                  <a:pt x="867" y="136"/>
                </a:lnTo>
                <a:lnTo>
                  <a:pt x="868" y="138"/>
                </a:lnTo>
                <a:lnTo>
                  <a:pt x="867" y="140"/>
                </a:lnTo>
                <a:lnTo>
                  <a:pt x="862" y="143"/>
                </a:lnTo>
                <a:lnTo>
                  <a:pt x="857" y="147"/>
                </a:lnTo>
                <a:lnTo>
                  <a:pt x="859" y="144"/>
                </a:lnTo>
                <a:lnTo>
                  <a:pt x="857" y="147"/>
                </a:lnTo>
                <a:close/>
                <a:moveTo>
                  <a:pt x="975" y="135"/>
                </a:moveTo>
                <a:lnTo>
                  <a:pt x="977" y="138"/>
                </a:lnTo>
                <a:lnTo>
                  <a:pt x="979" y="139"/>
                </a:lnTo>
                <a:lnTo>
                  <a:pt x="981" y="140"/>
                </a:lnTo>
                <a:lnTo>
                  <a:pt x="983" y="140"/>
                </a:lnTo>
                <a:lnTo>
                  <a:pt x="986" y="140"/>
                </a:lnTo>
                <a:lnTo>
                  <a:pt x="987" y="139"/>
                </a:lnTo>
                <a:lnTo>
                  <a:pt x="986" y="138"/>
                </a:lnTo>
                <a:lnTo>
                  <a:pt x="984" y="136"/>
                </a:lnTo>
                <a:lnTo>
                  <a:pt x="983" y="134"/>
                </a:lnTo>
                <a:lnTo>
                  <a:pt x="983" y="132"/>
                </a:lnTo>
                <a:lnTo>
                  <a:pt x="987" y="132"/>
                </a:lnTo>
                <a:lnTo>
                  <a:pt x="990" y="134"/>
                </a:lnTo>
                <a:lnTo>
                  <a:pt x="988" y="130"/>
                </a:lnTo>
                <a:lnTo>
                  <a:pt x="984" y="129"/>
                </a:lnTo>
                <a:lnTo>
                  <a:pt x="981" y="129"/>
                </a:lnTo>
                <a:lnTo>
                  <a:pt x="977" y="129"/>
                </a:lnTo>
                <a:lnTo>
                  <a:pt x="969" y="127"/>
                </a:lnTo>
                <a:lnTo>
                  <a:pt x="961" y="126"/>
                </a:lnTo>
                <a:lnTo>
                  <a:pt x="967" y="132"/>
                </a:lnTo>
                <a:lnTo>
                  <a:pt x="975" y="135"/>
                </a:lnTo>
                <a:lnTo>
                  <a:pt x="975" y="135"/>
                </a:lnTo>
                <a:lnTo>
                  <a:pt x="975" y="135"/>
                </a:lnTo>
                <a:close/>
                <a:moveTo>
                  <a:pt x="966" y="536"/>
                </a:moveTo>
                <a:lnTo>
                  <a:pt x="957" y="541"/>
                </a:lnTo>
                <a:lnTo>
                  <a:pt x="948" y="547"/>
                </a:lnTo>
                <a:lnTo>
                  <a:pt x="940" y="553"/>
                </a:lnTo>
                <a:lnTo>
                  <a:pt x="932" y="559"/>
                </a:lnTo>
                <a:lnTo>
                  <a:pt x="941" y="556"/>
                </a:lnTo>
                <a:lnTo>
                  <a:pt x="951" y="550"/>
                </a:lnTo>
                <a:lnTo>
                  <a:pt x="955" y="547"/>
                </a:lnTo>
                <a:lnTo>
                  <a:pt x="959" y="544"/>
                </a:lnTo>
                <a:lnTo>
                  <a:pt x="963" y="540"/>
                </a:lnTo>
                <a:lnTo>
                  <a:pt x="966" y="536"/>
                </a:lnTo>
                <a:close/>
                <a:moveTo>
                  <a:pt x="814" y="106"/>
                </a:moveTo>
                <a:lnTo>
                  <a:pt x="815" y="104"/>
                </a:lnTo>
                <a:lnTo>
                  <a:pt x="816" y="102"/>
                </a:lnTo>
                <a:lnTo>
                  <a:pt x="815" y="101"/>
                </a:lnTo>
                <a:lnTo>
                  <a:pt x="812" y="101"/>
                </a:lnTo>
                <a:lnTo>
                  <a:pt x="806" y="104"/>
                </a:lnTo>
                <a:lnTo>
                  <a:pt x="799" y="106"/>
                </a:lnTo>
                <a:lnTo>
                  <a:pt x="793" y="107"/>
                </a:lnTo>
                <a:lnTo>
                  <a:pt x="789" y="108"/>
                </a:lnTo>
                <a:lnTo>
                  <a:pt x="785" y="111"/>
                </a:lnTo>
                <a:lnTo>
                  <a:pt x="782" y="115"/>
                </a:lnTo>
                <a:lnTo>
                  <a:pt x="784" y="117"/>
                </a:lnTo>
                <a:lnTo>
                  <a:pt x="788" y="117"/>
                </a:lnTo>
                <a:lnTo>
                  <a:pt x="790" y="116"/>
                </a:lnTo>
                <a:lnTo>
                  <a:pt x="793" y="115"/>
                </a:lnTo>
                <a:lnTo>
                  <a:pt x="796" y="114"/>
                </a:lnTo>
                <a:lnTo>
                  <a:pt x="798" y="113"/>
                </a:lnTo>
                <a:lnTo>
                  <a:pt x="801" y="114"/>
                </a:lnTo>
                <a:lnTo>
                  <a:pt x="804" y="117"/>
                </a:lnTo>
                <a:lnTo>
                  <a:pt x="804" y="114"/>
                </a:lnTo>
                <a:lnTo>
                  <a:pt x="804" y="113"/>
                </a:lnTo>
                <a:lnTo>
                  <a:pt x="805" y="110"/>
                </a:lnTo>
                <a:lnTo>
                  <a:pt x="806" y="109"/>
                </a:lnTo>
                <a:lnTo>
                  <a:pt x="809" y="108"/>
                </a:lnTo>
                <a:lnTo>
                  <a:pt x="814" y="106"/>
                </a:lnTo>
                <a:lnTo>
                  <a:pt x="813" y="106"/>
                </a:lnTo>
                <a:lnTo>
                  <a:pt x="814" y="106"/>
                </a:lnTo>
                <a:close/>
                <a:moveTo>
                  <a:pt x="221" y="602"/>
                </a:moveTo>
                <a:lnTo>
                  <a:pt x="216" y="608"/>
                </a:lnTo>
                <a:lnTo>
                  <a:pt x="212" y="614"/>
                </a:lnTo>
                <a:lnTo>
                  <a:pt x="207" y="617"/>
                </a:lnTo>
                <a:lnTo>
                  <a:pt x="204" y="621"/>
                </a:lnTo>
                <a:lnTo>
                  <a:pt x="203" y="623"/>
                </a:lnTo>
                <a:lnTo>
                  <a:pt x="204" y="624"/>
                </a:lnTo>
                <a:lnTo>
                  <a:pt x="205" y="625"/>
                </a:lnTo>
                <a:lnTo>
                  <a:pt x="207" y="627"/>
                </a:lnTo>
                <a:lnTo>
                  <a:pt x="211" y="625"/>
                </a:lnTo>
                <a:lnTo>
                  <a:pt x="215" y="623"/>
                </a:lnTo>
                <a:lnTo>
                  <a:pt x="216" y="622"/>
                </a:lnTo>
                <a:lnTo>
                  <a:pt x="217" y="622"/>
                </a:lnTo>
                <a:lnTo>
                  <a:pt x="219" y="621"/>
                </a:lnTo>
                <a:lnTo>
                  <a:pt x="219" y="620"/>
                </a:lnTo>
                <a:lnTo>
                  <a:pt x="217" y="616"/>
                </a:lnTo>
                <a:lnTo>
                  <a:pt x="217" y="614"/>
                </a:lnTo>
                <a:lnTo>
                  <a:pt x="219" y="612"/>
                </a:lnTo>
                <a:lnTo>
                  <a:pt x="220" y="609"/>
                </a:lnTo>
                <a:lnTo>
                  <a:pt x="223" y="606"/>
                </a:lnTo>
                <a:lnTo>
                  <a:pt x="225" y="603"/>
                </a:lnTo>
                <a:lnTo>
                  <a:pt x="225" y="599"/>
                </a:lnTo>
                <a:lnTo>
                  <a:pt x="224" y="599"/>
                </a:lnTo>
                <a:lnTo>
                  <a:pt x="222" y="599"/>
                </a:lnTo>
                <a:lnTo>
                  <a:pt x="221" y="602"/>
                </a:lnTo>
                <a:lnTo>
                  <a:pt x="220" y="604"/>
                </a:lnTo>
                <a:lnTo>
                  <a:pt x="221" y="602"/>
                </a:lnTo>
                <a:close/>
                <a:moveTo>
                  <a:pt x="225" y="599"/>
                </a:move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lnTo>
                  <a:pt x="225" y="599"/>
                </a:lnTo>
                <a:close/>
                <a:moveTo>
                  <a:pt x="871" y="202"/>
                </a:moveTo>
                <a:lnTo>
                  <a:pt x="879" y="200"/>
                </a:lnTo>
                <a:lnTo>
                  <a:pt x="888" y="197"/>
                </a:lnTo>
                <a:lnTo>
                  <a:pt x="891" y="196"/>
                </a:lnTo>
                <a:lnTo>
                  <a:pt x="895" y="193"/>
                </a:lnTo>
                <a:lnTo>
                  <a:pt x="898" y="191"/>
                </a:lnTo>
                <a:lnTo>
                  <a:pt x="900" y="187"/>
                </a:lnTo>
                <a:lnTo>
                  <a:pt x="897" y="187"/>
                </a:lnTo>
                <a:lnTo>
                  <a:pt x="892" y="188"/>
                </a:lnTo>
                <a:lnTo>
                  <a:pt x="887" y="190"/>
                </a:lnTo>
                <a:lnTo>
                  <a:pt x="883" y="191"/>
                </a:lnTo>
                <a:lnTo>
                  <a:pt x="880" y="194"/>
                </a:lnTo>
                <a:lnTo>
                  <a:pt x="875" y="197"/>
                </a:lnTo>
                <a:lnTo>
                  <a:pt x="875" y="198"/>
                </a:lnTo>
                <a:lnTo>
                  <a:pt x="874" y="200"/>
                </a:lnTo>
                <a:lnTo>
                  <a:pt x="873" y="199"/>
                </a:lnTo>
                <a:lnTo>
                  <a:pt x="872" y="199"/>
                </a:lnTo>
                <a:lnTo>
                  <a:pt x="870" y="199"/>
                </a:lnTo>
                <a:lnTo>
                  <a:pt x="867" y="199"/>
                </a:lnTo>
                <a:lnTo>
                  <a:pt x="865" y="200"/>
                </a:lnTo>
                <a:lnTo>
                  <a:pt x="863" y="202"/>
                </a:lnTo>
                <a:lnTo>
                  <a:pt x="863" y="205"/>
                </a:lnTo>
                <a:lnTo>
                  <a:pt x="864" y="207"/>
                </a:lnTo>
                <a:lnTo>
                  <a:pt x="866" y="208"/>
                </a:lnTo>
                <a:lnTo>
                  <a:pt x="868" y="209"/>
                </a:lnTo>
                <a:lnTo>
                  <a:pt x="870" y="212"/>
                </a:lnTo>
                <a:lnTo>
                  <a:pt x="871" y="213"/>
                </a:lnTo>
                <a:lnTo>
                  <a:pt x="870" y="209"/>
                </a:lnTo>
                <a:lnTo>
                  <a:pt x="868" y="207"/>
                </a:lnTo>
                <a:lnTo>
                  <a:pt x="868" y="206"/>
                </a:lnTo>
                <a:lnTo>
                  <a:pt x="868" y="205"/>
                </a:lnTo>
                <a:lnTo>
                  <a:pt x="870" y="204"/>
                </a:lnTo>
                <a:lnTo>
                  <a:pt x="871" y="202"/>
                </a:lnTo>
                <a:lnTo>
                  <a:pt x="871" y="202"/>
                </a:lnTo>
                <a:lnTo>
                  <a:pt x="871" y="202"/>
                </a:lnTo>
                <a:close/>
                <a:moveTo>
                  <a:pt x="272" y="24"/>
                </a:moveTo>
                <a:lnTo>
                  <a:pt x="273" y="24"/>
                </a:lnTo>
                <a:lnTo>
                  <a:pt x="275" y="24"/>
                </a:lnTo>
                <a:lnTo>
                  <a:pt x="277" y="23"/>
                </a:lnTo>
                <a:lnTo>
                  <a:pt x="279" y="22"/>
                </a:lnTo>
                <a:lnTo>
                  <a:pt x="282" y="17"/>
                </a:lnTo>
                <a:lnTo>
                  <a:pt x="286" y="13"/>
                </a:lnTo>
                <a:lnTo>
                  <a:pt x="288" y="7"/>
                </a:lnTo>
                <a:lnTo>
                  <a:pt x="288" y="3"/>
                </a:lnTo>
                <a:lnTo>
                  <a:pt x="287" y="1"/>
                </a:lnTo>
                <a:lnTo>
                  <a:pt x="285" y="0"/>
                </a:lnTo>
                <a:lnTo>
                  <a:pt x="282" y="0"/>
                </a:lnTo>
                <a:lnTo>
                  <a:pt x="279" y="1"/>
                </a:lnTo>
                <a:lnTo>
                  <a:pt x="277" y="2"/>
                </a:lnTo>
                <a:lnTo>
                  <a:pt x="274" y="3"/>
                </a:lnTo>
                <a:lnTo>
                  <a:pt x="273" y="6"/>
                </a:lnTo>
                <a:lnTo>
                  <a:pt x="272" y="9"/>
                </a:lnTo>
                <a:lnTo>
                  <a:pt x="271" y="17"/>
                </a:lnTo>
                <a:lnTo>
                  <a:pt x="272" y="24"/>
                </a:lnTo>
                <a:close/>
                <a:moveTo>
                  <a:pt x="392" y="151"/>
                </a:moveTo>
                <a:lnTo>
                  <a:pt x="405" y="143"/>
                </a:lnTo>
                <a:lnTo>
                  <a:pt x="417" y="133"/>
                </a:lnTo>
                <a:lnTo>
                  <a:pt x="419" y="132"/>
                </a:lnTo>
                <a:lnTo>
                  <a:pt x="421" y="129"/>
                </a:lnTo>
                <a:lnTo>
                  <a:pt x="423" y="126"/>
                </a:lnTo>
                <a:lnTo>
                  <a:pt x="422" y="124"/>
                </a:lnTo>
                <a:lnTo>
                  <a:pt x="420" y="123"/>
                </a:lnTo>
                <a:lnTo>
                  <a:pt x="419" y="123"/>
                </a:lnTo>
                <a:lnTo>
                  <a:pt x="418" y="124"/>
                </a:lnTo>
                <a:lnTo>
                  <a:pt x="417" y="125"/>
                </a:lnTo>
                <a:lnTo>
                  <a:pt x="414" y="129"/>
                </a:lnTo>
                <a:lnTo>
                  <a:pt x="413" y="132"/>
                </a:lnTo>
                <a:lnTo>
                  <a:pt x="411" y="134"/>
                </a:lnTo>
                <a:lnTo>
                  <a:pt x="410" y="135"/>
                </a:lnTo>
                <a:lnTo>
                  <a:pt x="407" y="134"/>
                </a:lnTo>
                <a:lnTo>
                  <a:pt x="404" y="134"/>
                </a:lnTo>
                <a:lnTo>
                  <a:pt x="401" y="135"/>
                </a:lnTo>
                <a:lnTo>
                  <a:pt x="397" y="138"/>
                </a:lnTo>
                <a:lnTo>
                  <a:pt x="394" y="141"/>
                </a:lnTo>
                <a:lnTo>
                  <a:pt x="390" y="144"/>
                </a:lnTo>
                <a:lnTo>
                  <a:pt x="389" y="146"/>
                </a:lnTo>
                <a:lnTo>
                  <a:pt x="389" y="148"/>
                </a:lnTo>
                <a:lnTo>
                  <a:pt x="390" y="149"/>
                </a:lnTo>
                <a:lnTo>
                  <a:pt x="392" y="151"/>
                </a:lnTo>
                <a:lnTo>
                  <a:pt x="393" y="150"/>
                </a:lnTo>
                <a:lnTo>
                  <a:pt x="392" y="151"/>
                </a:lnTo>
                <a:close/>
                <a:moveTo>
                  <a:pt x="359" y="174"/>
                </a:moveTo>
                <a:lnTo>
                  <a:pt x="369" y="167"/>
                </a:lnTo>
                <a:lnTo>
                  <a:pt x="378" y="160"/>
                </a:lnTo>
                <a:lnTo>
                  <a:pt x="381" y="158"/>
                </a:lnTo>
                <a:lnTo>
                  <a:pt x="384" y="155"/>
                </a:lnTo>
                <a:lnTo>
                  <a:pt x="385" y="151"/>
                </a:lnTo>
                <a:lnTo>
                  <a:pt x="385" y="147"/>
                </a:lnTo>
                <a:lnTo>
                  <a:pt x="380" y="151"/>
                </a:lnTo>
                <a:lnTo>
                  <a:pt x="374" y="155"/>
                </a:lnTo>
                <a:lnTo>
                  <a:pt x="369" y="158"/>
                </a:lnTo>
                <a:lnTo>
                  <a:pt x="363" y="162"/>
                </a:lnTo>
                <a:lnTo>
                  <a:pt x="359" y="165"/>
                </a:lnTo>
                <a:lnTo>
                  <a:pt x="354" y="171"/>
                </a:lnTo>
                <a:lnTo>
                  <a:pt x="353" y="173"/>
                </a:lnTo>
                <a:lnTo>
                  <a:pt x="354" y="175"/>
                </a:lnTo>
                <a:lnTo>
                  <a:pt x="356" y="175"/>
                </a:lnTo>
                <a:lnTo>
                  <a:pt x="359" y="174"/>
                </a:lnTo>
                <a:lnTo>
                  <a:pt x="361" y="173"/>
                </a:lnTo>
                <a:lnTo>
                  <a:pt x="359" y="174"/>
                </a:lnTo>
                <a:close/>
                <a:moveTo>
                  <a:pt x="1211" y="207"/>
                </a:moveTo>
                <a:lnTo>
                  <a:pt x="1214" y="205"/>
                </a:lnTo>
                <a:lnTo>
                  <a:pt x="1218" y="202"/>
                </a:lnTo>
                <a:lnTo>
                  <a:pt x="1224" y="202"/>
                </a:lnTo>
                <a:lnTo>
                  <a:pt x="1229" y="201"/>
                </a:lnTo>
                <a:lnTo>
                  <a:pt x="1242" y="199"/>
                </a:lnTo>
                <a:lnTo>
                  <a:pt x="1253" y="196"/>
                </a:lnTo>
                <a:lnTo>
                  <a:pt x="1257" y="196"/>
                </a:lnTo>
                <a:lnTo>
                  <a:pt x="1260" y="194"/>
                </a:lnTo>
                <a:lnTo>
                  <a:pt x="1261" y="193"/>
                </a:lnTo>
                <a:lnTo>
                  <a:pt x="1262" y="192"/>
                </a:lnTo>
                <a:lnTo>
                  <a:pt x="1261" y="191"/>
                </a:lnTo>
                <a:lnTo>
                  <a:pt x="1260" y="190"/>
                </a:lnTo>
                <a:lnTo>
                  <a:pt x="1257" y="189"/>
                </a:lnTo>
                <a:lnTo>
                  <a:pt x="1251" y="190"/>
                </a:lnTo>
                <a:lnTo>
                  <a:pt x="1245" y="192"/>
                </a:lnTo>
                <a:lnTo>
                  <a:pt x="1241" y="194"/>
                </a:lnTo>
                <a:lnTo>
                  <a:pt x="1241" y="192"/>
                </a:lnTo>
                <a:lnTo>
                  <a:pt x="1241" y="190"/>
                </a:lnTo>
                <a:lnTo>
                  <a:pt x="1235" y="194"/>
                </a:lnTo>
                <a:lnTo>
                  <a:pt x="1229" y="196"/>
                </a:lnTo>
                <a:lnTo>
                  <a:pt x="1224" y="197"/>
                </a:lnTo>
                <a:lnTo>
                  <a:pt x="1217" y="198"/>
                </a:lnTo>
                <a:lnTo>
                  <a:pt x="1211" y="199"/>
                </a:lnTo>
                <a:lnTo>
                  <a:pt x="1206" y="201"/>
                </a:lnTo>
                <a:lnTo>
                  <a:pt x="1205" y="204"/>
                </a:lnTo>
                <a:lnTo>
                  <a:pt x="1206" y="206"/>
                </a:lnTo>
                <a:lnTo>
                  <a:pt x="1209" y="207"/>
                </a:lnTo>
                <a:lnTo>
                  <a:pt x="1211" y="207"/>
                </a:lnTo>
                <a:lnTo>
                  <a:pt x="1212" y="207"/>
                </a:lnTo>
                <a:lnTo>
                  <a:pt x="1211" y="207"/>
                </a:lnTo>
                <a:close/>
                <a:moveTo>
                  <a:pt x="991" y="321"/>
                </a:moveTo>
                <a:lnTo>
                  <a:pt x="990" y="323"/>
                </a:lnTo>
                <a:lnTo>
                  <a:pt x="989" y="324"/>
                </a:lnTo>
                <a:lnTo>
                  <a:pt x="989" y="326"/>
                </a:lnTo>
                <a:lnTo>
                  <a:pt x="991" y="328"/>
                </a:lnTo>
                <a:lnTo>
                  <a:pt x="997" y="325"/>
                </a:lnTo>
                <a:lnTo>
                  <a:pt x="1003" y="322"/>
                </a:lnTo>
                <a:lnTo>
                  <a:pt x="1018" y="316"/>
                </a:lnTo>
                <a:lnTo>
                  <a:pt x="1032" y="310"/>
                </a:lnTo>
                <a:lnTo>
                  <a:pt x="1043" y="306"/>
                </a:lnTo>
                <a:lnTo>
                  <a:pt x="1053" y="302"/>
                </a:lnTo>
                <a:lnTo>
                  <a:pt x="1058" y="301"/>
                </a:lnTo>
                <a:lnTo>
                  <a:pt x="1064" y="298"/>
                </a:lnTo>
                <a:lnTo>
                  <a:pt x="1070" y="295"/>
                </a:lnTo>
                <a:lnTo>
                  <a:pt x="1074" y="290"/>
                </a:lnTo>
                <a:lnTo>
                  <a:pt x="1064" y="293"/>
                </a:lnTo>
                <a:lnTo>
                  <a:pt x="1054" y="297"/>
                </a:lnTo>
                <a:lnTo>
                  <a:pt x="1044" y="300"/>
                </a:lnTo>
                <a:lnTo>
                  <a:pt x="1033" y="304"/>
                </a:lnTo>
                <a:lnTo>
                  <a:pt x="1023" y="308"/>
                </a:lnTo>
                <a:lnTo>
                  <a:pt x="1013" y="313"/>
                </a:lnTo>
                <a:lnTo>
                  <a:pt x="1003" y="317"/>
                </a:lnTo>
                <a:lnTo>
                  <a:pt x="991" y="321"/>
                </a:lnTo>
                <a:lnTo>
                  <a:pt x="994" y="321"/>
                </a:lnTo>
                <a:lnTo>
                  <a:pt x="998" y="320"/>
                </a:lnTo>
                <a:lnTo>
                  <a:pt x="999" y="318"/>
                </a:lnTo>
                <a:lnTo>
                  <a:pt x="991" y="321"/>
                </a:lnTo>
                <a:close/>
                <a:moveTo>
                  <a:pt x="93" y="267"/>
                </a:moveTo>
                <a:lnTo>
                  <a:pt x="94" y="266"/>
                </a:lnTo>
                <a:lnTo>
                  <a:pt x="93" y="265"/>
                </a:lnTo>
                <a:lnTo>
                  <a:pt x="92" y="266"/>
                </a:lnTo>
                <a:lnTo>
                  <a:pt x="91" y="266"/>
                </a:lnTo>
                <a:lnTo>
                  <a:pt x="91" y="266"/>
                </a:lnTo>
                <a:lnTo>
                  <a:pt x="93" y="267"/>
                </a:lnTo>
                <a:lnTo>
                  <a:pt x="93" y="267"/>
                </a:lnTo>
                <a:lnTo>
                  <a:pt x="93" y="267"/>
                </a:lnTo>
                <a:close/>
                <a:moveTo>
                  <a:pt x="351" y="677"/>
                </a:moveTo>
                <a:lnTo>
                  <a:pt x="352" y="672"/>
                </a:lnTo>
                <a:lnTo>
                  <a:pt x="353" y="666"/>
                </a:lnTo>
                <a:lnTo>
                  <a:pt x="355" y="661"/>
                </a:lnTo>
                <a:lnTo>
                  <a:pt x="359" y="656"/>
                </a:lnTo>
                <a:lnTo>
                  <a:pt x="360" y="661"/>
                </a:lnTo>
                <a:lnTo>
                  <a:pt x="361" y="665"/>
                </a:lnTo>
                <a:lnTo>
                  <a:pt x="361" y="671"/>
                </a:lnTo>
                <a:lnTo>
                  <a:pt x="360" y="675"/>
                </a:lnTo>
                <a:lnTo>
                  <a:pt x="359" y="678"/>
                </a:lnTo>
                <a:lnTo>
                  <a:pt x="356" y="680"/>
                </a:lnTo>
                <a:lnTo>
                  <a:pt x="354" y="681"/>
                </a:lnTo>
                <a:lnTo>
                  <a:pt x="351" y="680"/>
                </a:lnTo>
                <a:lnTo>
                  <a:pt x="351" y="678"/>
                </a:lnTo>
                <a:lnTo>
                  <a:pt x="351" y="677"/>
                </a:lnTo>
                <a:close/>
                <a:moveTo>
                  <a:pt x="1036" y="289"/>
                </a:moveTo>
                <a:lnTo>
                  <a:pt x="1032" y="292"/>
                </a:lnTo>
                <a:lnTo>
                  <a:pt x="1030" y="296"/>
                </a:lnTo>
                <a:lnTo>
                  <a:pt x="1027" y="297"/>
                </a:lnTo>
                <a:lnTo>
                  <a:pt x="1022" y="297"/>
                </a:lnTo>
                <a:lnTo>
                  <a:pt x="1024" y="293"/>
                </a:lnTo>
                <a:lnTo>
                  <a:pt x="1028" y="291"/>
                </a:lnTo>
                <a:lnTo>
                  <a:pt x="1031" y="290"/>
                </a:lnTo>
                <a:lnTo>
                  <a:pt x="1036" y="289"/>
                </a:lnTo>
                <a:close/>
                <a:moveTo>
                  <a:pt x="827" y="167"/>
                </a:moveTo>
                <a:lnTo>
                  <a:pt x="823" y="169"/>
                </a:lnTo>
                <a:lnTo>
                  <a:pt x="818" y="169"/>
                </a:lnTo>
                <a:lnTo>
                  <a:pt x="821" y="167"/>
                </a:lnTo>
                <a:lnTo>
                  <a:pt x="823" y="166"/>
                </a:lnTo>
                <a:lnTo>
                  <a:pt x="825" y="166"/>
                </a:lnTo>
                <a:lnTo>
                  <a:pt x="827" y="167"/>
                </a:lnTo>
                <a:close/>
                <a:moveTo>
                  <a:pt x="740" y="142"/>
                </a:moveTo>
                <a:lnTo>
                  <a:pt x="741" y="139"/>
                </a:lnTo>
                <a:lnTo>
                  <a:pt x="743" y="136"/>
                </a:lnTo>
                <a:lnTo>
                  <a:pt x="745" y="134"/>
                </a:lnTo>
                <a:lnTo>
                  <a:pt x="749" y="134"/>
                </a:lnTo>
                <a:lnTo>
                  <a:pt x="752" y="138"/>
                </a:lnTo>
                <a:lnTo>
                  <a:pt x="755" y="141"/>
                </a:lnTo>
                <a:lnTo>
                  <a:pt x="752" y="142"/>
                </a:lnTo>
                <a:lnTo>
                  <a:pt x="750" y="144"/>
                </a:lnTo>
                <a:lnTo>
                  <a:pt x="748" y="146"/>
                </a:lnTo>
                <a:lnTo>
                  <a:pt x="744" y="147"/>
                </a:lnTo>
                <a:lnTo>
                  <a:pt x="743" y="147"/>
                </a:lnTo>
                <a:lnTo>
                  <a:pt x="741" y="146"/>
                </a:lnTo>
                <a:lnTo>
                  <a:pt x="740" y="144"/>
                </a:lnTo>
                <a:lnTo>
                  <a:pt x="740" y="142"/>
                </a:lnTo>
                <a:lnTo>
                  <a:pt x="740" y="142"/>
                </a:lnTo>
                <a:lnTo>
                  <a:pt x="740" y="142"/>
                </a:lnTo>
                <a:close/>
                <a:moveTo>
                  <a:pt x="223" y="146"/>
                </a:moveTo>
                <a:lnTo>
                  <a:pt x="222" y="151"/>
                </a:lnTo>
                <a:lnTo>
                  <a:pt x="221" y="156"/>
                </a:lnTo>
                <a:lnTo>
                  <a:pt x="217" y="159"/>
                </a:lnTo>
                <a:lnTo>
                  <a:pt x="214" y="164"/>
                </a:lnTo>
                <a:lnTo>
                  <a:pt x="215" y="158"/>
                </a:lnTo>
                <a:lnTo>
                  <a:pt x="217" y="154"/>
                </a:lnTo>
                <a:lnTo>
                  <a:pt x="220" y="150"/>
                </a:lnTo>
                <a:lnTo>
                  <a:pt x="223" y="146"/>
                </a:lnTo>
                <a:close/>
                <a:moveTo>
                  <a:pt x="183" y="89"/>
                </a:moveTo>
                <a:lnTo>
                  <a:pt x="182" y="88"/>
                </a:lnTo>
                <a:lnTo>
                  <a:pt x="184" y="86"/>
                </a:lnTo>
                <a:lnTo>
                  <a:pt x="184" y="88"/>
                </a:lnTo>
                <a:lnTo>
                  <a:pt x="183" y="89"/>
                </a:lnTo>
                <a:lnTo>
                  <a:pt x="183" y="89"/>
                </a:lnTo>
                <a:lnTo>
                  <a:pt x="183" y="89"/>
                </a:lnTo>
                <a:close/>
                <a:moveTo>
                  <a:pt x="82" y="314"/>
                </a:moveTo>
                <a:lnTo>
                  <a:pt x="83" y="320"/>
                </a:lnTo>
                <a:lnTo>
                  <a:pt x="83" y="325"/>
                </a:lnTo>
                <a:lnTo>
                  <a:pt x="82" y="328"/>
                </a:lnTo>
                <a:lnTo>
                  <a:pt x="81" y="330"/>
                </a:lnTo>
                <a:lnTo>
                  <a:pt x="80" y="331"/>
                </a:lnTo>
                <a:lnTo>
                  <a:pt x="77" y="331"/>
                </a:lnTo>
                <a:lnTo>
                  <a:pt x="77" y="326"/>
                </a:lnTo>
                <a:lnTo>
                  <a:pt x="77" y="322"/>
                </a:lnTo>
                <a:lnTo>
                  <a:pt x="80" y="318"/>
                </a:lnTo>
                <a:lnTo>
                  <a:pt x="82" y="314"/>
                </a:lnTo>
                <a:close/>
                <a:moveTo>
                  <a:pt x="90" y="205"/>
                </a:moveTo>
                <a:lnTo>
                  <a:pt x="91" y="205"/>
                </a:lnTo>
                <a:lnTo>
                  <a:pt x="92" y="204"/>
                </a:lnTo>
                <a:lnTo>
                  <a:pt x="91" y="205"/>
                </a:lnTo>
                <a:lnTo>
                  <a:pt x="90" y="205"/>
                </a:lnTo>
                <a:close/>
                <a:moveTo>
                  <a:pt x="18" y="508"/>
                </a:moveTo>
                <a:lnTo>
                  <a:pt x="18" y="507"/>
                </a:lnTo>
                <a:lnTo>
                  <a:pt x="18" y="507"/>
                </a:lnTo>
                <a:lnTo>
                  <a:pt x="21" y="505"/>
                </a:lnTo>
                <a:lnTo>
                  <a:pt x="22" y="506"/>
                </a:lnTo>
                <a:lnTo>
                  <a:pt x="21" y="508"/>
                </a:lnTo>
                <a:lnTo>
                  <a:pt x="18" y="508"/>
                </a:lnTo>
                <a:lnTo>
                  <a:pt x="19" y="508"/>
                </a:lnTo>
                <a:lnTo>
                  <a:pt x="18" y="508"/>
                </a:lnTo>
                <a:close/>
                <a:moveTo>
                  <a:pt x="56" y="588"/>
                </a:moveTo>
                <a:lnTo>
                  <a:pt x="55" y="587"/>
                </a:lnTo>
                <a:lnTo>
                  <a:pt x="56" y="586"/>
                </a:lnTo>
                <a:lnTo>
                  <a:pt x="56" y="584"/>
                </a:lnTo>
                <a:lnTo>
                  <a:pt x="58" y="587"/>
                </a:lnTo>
                <a:lnTo>
                  <a:pt x="57" y="587"/>
                </a:lnTo>
                <a:lnTo>
                  <a:pt x="56" y="588"/>
                </a:lnTo>
                <a:close/>
                <a:moveTo>
                  <a:pt x="108" y="317"/>
                </a:moveTo>
                <a:lnTo>
                  <a:pt x="107" y="318"/>
                </a:lnTo>
                <a:lnTo>
                  <a:pt x="106" y="318"/>
                </a:lnTo>
                <a:lnTo>
                  <a:pt x="107" y="318"/>
                </a:lnTo>
                <a:lnTo>
                  <a:pt x="108" y="317"/>
                </a:lnTo>
                <a:lnTo>
                  <a:pt x="107" y="317"/>
                </a:lnTo>
                <a:lnTo>
                  <a:pt x="108" y="317"/>
                </a:lnTo>
                <a:close/>
                <a:moveTo>
                  <a:pt x="104" y="372"/>
                </a:moveTo>
                <a:lnTo>
                  <a:pt x="105" y="368"/>
                </a:lnTo>
                <a:lnTo>
                  <a:pt x="106" y="364"/>
                </a:lnTo>
                <a:lnTo>
                  <a:pt x="106" y="359"/>
                </a:lnTo>
                <a:lnTo>
                  <a:pt x="106" y="355"/>
                </a:lnTo>
                <a:lnTo>
                  <a:pt x="108" y="350"/>
                </a:lnTo>
                <a:lnTo>
                  <a:pt x="109" y="347"/>
                </a:lnTo>
                <a:lnTo>
                  <a:pt x="108" y="342"/>
                </a:lnTo>
                <a:lnTo>
                  <a:pt x="106" y="340"/>
                </a:lnTo>
                <a:lnTo>
                  <a:pt x="107" y="342"/>
                </a:lnTo>
                <a:lnTo>
                  <a:pt x="109" y="345"/>
                </a:lnTo>
                <a:lnTo>
                  <a:pt x="110" y="345"/>
                </a:lnTo>
                <a:lnTo>
                  <a:pt x="110" y="343"/>
                </a:lnTo>
                <a:lnTo>
                  <a:pt x="112" y="345"/>
                </a:lnTo>
                <a:lnTo>
                  <a:pt x="112" y="346"/>
                </a:lnTo>
                <a:lnTo>
                  <a:pt x="113" y="347"/>
                </a:lnTo>
                <a:lnTo>
                  <a:pt x="113" y="349"/>
                </a:lnTo>
                <a:lnTo>
                  <a:pt x="113" y="357"/>
                </a:lnTo>
                <a:lnTo>
                  <a:pt x="110" y="364"/>
                </a:lnTo>
                <a:lnTo>
                  <a:pt x="109" y="367"/>
                </a:lnTo>
                <a:lnTo>
                  <a:pt x="109" y="372"/>
                </a:lnTo>
                <a:lnTo>
                  <a:pt x="108" y="376"/>
                </a:lnTo>
                <a:lnTo>
                  <a:pt x="107" y="378"/>
                </a:lnTo>
                <a:lnTo>
                  <a:pt x="105" y="378"/>
                </a:lnTo>
                <a:lnTo>
                  <a:pt x="104" y="376"/>
                </a:lnTo>
                <a:lnTo>
                  <a:pt x="104" y="374"/>
                </a:lnTo>
                <a:lnTo>
                  <a:pt x="104" y="372"/>
                </a:lnTo>
                <a:lnTo>
                  <a:pt x="104" y="372"/>
                </a:lnTo>
                <a:lnTo>
                  <a:pt x="104" y="372"/>
                </a:lnTo>
                <a:close/>
                <a:moveTo>
                  <a:pt x="114" y="380"/>
                </a:moveTo>
                <a:lnTo>
                  <a:pt x="110" y="378"/>
                </a:lnTo>
                <a:lnTo>
                  <a:pt x="108" y="379"/>
                </a:lnTo>
                <a:lnTo>
                  <a:pt x="107" y="381"/>
                </a:lnTo>
                <a:lnTo>
                  <a:pt x="105" y="384"/>
                </a:lnTo>
                <a:lnTo>
                  <a:pt x="106" y="381"/>
                </a:lnTo>
                <a:lnTo>
                  <a:pt x="108" y="379"/>
                </a:lnTo>
                <a:lnTo>
                  <a:pt x="110" y="378"/>
                </a:lnTo>
                <a:lnTo>
                  <a:pt x="114" y="380"/>
                </a:lnTo>
                <a:lnTo>
                  <a:pt x="113" y="379"/>
                </a:lnTo>
                <a:lnTo>
                  <a:pt x="114" y="380"/>
                </a:lnTo>
                <a:close/>
                <a:moveTo>
                  <a:pt x="108" y="401"/>
                </a:moveTo>
                <a:lnTo>
                  <a:pt x="102" y="409"/>
                </a:lnTo>
                <a:lnTo>
                  <a:pt x="96" y="417"/>
                </a:lnTo>
                <a:lnTo>
                  <a:pt x="94" y="417"/>
                </a:lnTo>
                <a:lnTo>
                  <a:pt x="93" y="418"/>
                </a:lnTo>
                <a:lnTo>
                  <a:pt x="92" y="418"/>
                </a:lnTo>
                <a:lnTo>
                  <a:pt x="92" y="416"/>
                </a:lnTo>
                <a:lnTo>
                  <a:pt x="92" y="414"/>
                </a:lnTo>
                <a:lnTo>
                  <a:pt x="94" y="412"/>
                </a:lnTo>
                <a:lnTo>
                  <a:pt x="97" y="407"/>
                </a:lnTo>
                <a:lnTo>
                  <a:pt x="99" y="403"/>
                </a:lnTo>
                <a:lnTo>
                  <a:pt x="105" y="401"/>
                </a:lnTo>
                <a:lnTo>
                  <a:pt x="110" y="399"/>
                </a:lnTo>
                <a:lnTo>
                  <a:pt x="109" y="400"/>
                </a:lnTo>
                <a:lnTo>
                  <a:pt x="108" y="401"/>
                </a:lnTo>
                <a:lnTo>
                  <a:pt x="107" y="403"/>
                </a:lnTo>
                <a:lnTo>
                  <a:pt x="108" y="401"/>
                </a:lnTo>
                <a:close/>
                <a:moveTo>
                  <a:pt x="158" y="270"/>
                </a:moveTo>
                <a:lnTo>
                  <a:pt x="154" y="276"/>
                </a:lnTo>
                <a:lnTo>
                  <a:pt x="151" y="284"/>
                </a:lnTo>
                <a:lnTo>
                  <a:pt x="150" y="290"/>
                </a:lnTo>
                <a:lnTo>
                  <a:pt x="148" y="295"/>
                </a:lnTo>
                <a:lnTo>
                  <a:pt x="146" y="295"/>
                </a:lnTo>
                <a:lnTo>
                  <a:pt x="145" y="293"/>
                </a:lnTo>
                <a:lnTo>
                  <a:pt x="145" y="291"/>
                </a:lnTo>
                <a:lnTo>
                  <a:pt x="145" y="289"/>
                </a:lnTo>
                <a:lnTo>
                  <a:pt x="146" y="287"/>
                </a:lnTo>
                <a:lnTo>
                  <a:pt x="147" y="284"/>
                </a:lnTo>
                <a:lnTo>
                  <a:pt x="147" y="282"/>
                </a:lnTo>
                <a:lnTo>
                  <a:pt x="146" y="279"/>
                </a:lnTo>
                <a:lnTo>
                  <a:pt x="143" y="282"/>
                </a:lnTo>
                <a:lnTo>
                  <a:pt x="141" y="285"/>
                </a:lnTo>
                <a:lnTo>
                  <a:pt x="139" y="290"/>
                </a:lnTo>
                <a:lnTo>
                  <a:pt x="139" y="296"/>
                </a:lnTo>
                <a:lnTo>
                  <a:pt x="138" y="301"/>
                </a:lnTo>
                <a:lnTo>
                  <a:pt x="137" y="306"/>
                </a:lnTo>
                <a:lnTo>
                  <a:pt x="137" y="308"/>
                </a:lnTo>
                <a:lnTo>
                  <a:pt x="138" y="309"/>
                </a:lnTo>
                <a:lnTo>
                  <a:pt x="139" y="312"/>
                </a:lnTo>
                <a:lnTo>
                  <a:pt x="142" y="312"/>
                </a:lnTo>
                <a:lnTo>
                  <a:pt x="141" y="314"/>
                </a:lnTo>
                <a:lnTo>
                  <a:pt x="139" y="318"/>
                </a:lnTo>
                <a:lnTo>
                  <a:pt x="139" y="322"/>
                </a:lnTo>
                <a:lnTo>
                  <a:pt x="139" y="325"/>
                </a:lnTo>
                <a:lnTo>
                  <a:pt x="138" y="323"/>
                </a:lnTo>
                <a:lnTo>
                  <a:pt x="138" y="321"/>
                </a:lnTo>
                <a:lnTo>
                  <a:pt x="137" y="320"/>
                </a:lnTo>
                <a:lnTo>
                  <a:pt x="133" y="320"/>
                </a:lnTo>
                <a:lnTo>
                  <a:pt x="132" y="324"/>
                </a:lnTo>
                <a:lnTo>
                  <a:pt x="131" y="329"/>
                </a:lnTo>
                <a:lnTo>
                  <a:pt x="130" y="332"/>
                </a:lnTo>
                <a:lnTo>
                  <a:pt x="129" y="335"/>
                </a:lnTo>
                <a:lnTo>
                  <a:pt x="127" y="339"/>
                </a:lnTo>
                <a:lnTo>
                  <a:pt x="126" y="342"/>
                </a:lnTo>
                <a:lnTo>
                  <a:pt x="127" y="345"/>
                </a:lnTo>
                <a:lnTo>
                  <a:pt x="130" y="346"/>
                </a:lnTo>
                <a:lnTo>
                  <a:pt x="131" y="347"/>
                </a:lnTo>
                <a:lnTo>
                  <a:pt x="131" y="349"/>
                </a:lnTo>
                <a:lnTo>
                  <a:pt x="129" y="351"/>
                </a:lnTo>
                <a:lnTo>
                  <a:pt x="126" y="354"/>
                </a:lnTo>
                <a:lnTo>
                  <a:pt x="126" y="355"/>
                </a:lnTo>
                <a:lnTo>
                  <a:pt x="125" y="357"/>
                </a:lnTo>
                <a:lnTo>
                  <a:pt x="124" y="359"/>
                </a:lnTo>
                <a:lnTo>
                  <a:pt x="122" y="360"/>
                </a:lnTo>
                <a:lnTo>
                  <a:pt x="120" y="360"/>
                </a:lnTo>
                <a:lnTo>
                  <a:pt x="118" y="359"/>
                </a:lnTo>
                <a:lnTo>
                  <a:pt x="116" y="357"/>
                </a:lnTo>
                <a:lnTo>
                  <a:pt x="116" y="353"/>
                </a:lnTo>
                <a:lnTo>
                  <a:pt x="117" y="348"/>
                </a:lnTo>
                <a:lnTo>
                  <a:pt x="118" y="345"/>
                </a:lnTo>
                <a:lnTo>
                  <a:pt x="121" y="334"/>
                </a:lnTo>
                <a:lnTo>
                  <a:pt x="123" y="324"/>
                </a:lnTo>
                <a:lnTo>
                  <a:pt x="123" y="320"/>
                </a:lnTo>
                <a:lnTo>
                  <a:pt x="124" y="315"/>
                </a:lnTo>
                <a:lnTo>
                  <a:pt x="125" y="312"/>
                </a:lnTo>
                <a:lnTo>
                  <a:pt x="127" y="309"/>
                </a:lnTo>
                <a:lnTo>
                  <a:pt x="130" y="304"/>
                </a:lnTo>
                <a:lnTo>
                  <a:pt x="130" y="298"/>
                </a:lnTo>
                <a:lnTo>
                  <a:pt x="132" y="289"/>
                </a:lnTo>
                <a:lnTo>
                  <a:pt x="134" y="281"/>
                </a:lnTo>
                <a:lnTo>
                  <a:pt x="137" y="271"/>
                </a:lnTo>
                <a:lnTo>
                  <a:pt x="139" y="262"/>
                </a:lnTo>
                <a:lnTo>
                  <a:pt x="141" y="252"/>
                </a:lnTo>
                <a:lnTo>
                  <a:pt x="145" y="243"/>
                </a:lnTo>
                <a:lnTo>
                  <a:pt x="147" y="234"/>
                </a:lnTo>
                <a:lnTo>
                  <a:pt x="149" y="226"/>
                </a:lnTo>
                <a:lnTo>
                  <a:pt x="150" y="223"/>
                </a:lnTo>
                <a:lnTo>
                  <a:pt x="150" y="221"/>
                </a:lnTo>
                <a:lnTo>
                  <a:pt x="153" y="217"/>
                </a:lnTo>
                <a:lnTo>
                  <a:pt x="156" y="216"/>
                </a:lnTo>
                <a:lnTo>
                  <a:pt x="157" y="221"/>
                </a:lnTo>
                <a:lnTo>
                  <a:pt x="158" y="225"/>
                </a:lnTo>
                <a:lnTo>
                  <a:pt x="156" y="233"/>
                </a:lnTo>
                <a:lnTo>
                  <a:pt x="154" y="242"/>
                </a:lnTo>
                <a:lnTo>
                  <a:pt x="151" y="250"/>
                </a:lnTo>
                <a:lnTo>
                  <a:pt x="149" y="258"/>
                </a:lnTo>
                <a:lnTo>
                  <a:pt x="148" y="267"/>
                </a:lnTo>
                <a:lnTo>
                  <a:pt x="148" y="275"/>
                </a:lnTo>
                <a:lnTo>
                  <a:pt x="150" y="270"/>
                </a:lnTo>
                <a:lnTo>
                  <a:pt x="153" y="264"/>
                </a:lnTo>
                <a:lnTo>
                  <a:pt x="154" y="263"/>
                </a:lnTo>
                <a:lnTo>
                  <a:pt x="155" y="263"/>
                </a:lnTo>
                <a:lnTo>
                  <a:pt x="157" y="264"/>
                </a:lnTo>
                <a:lnTo>
                  <a:pt x="158" y="265"/>
                </a:lnTo>
                <a:lnTo>
                  <a:pt x="158" y="267"/>
                </a:lnTo>
                <a:lnTo>
                  <a:pt x="158" y="270"/>
                </a:lnTo>
                <a:lnTo>
                  <a:pt x="157" y="271"/>
                </a:lnTo>
                <a:lnTo>
                  <a:pt x="158" y="270"/>
                </a:lnTo>
                <a:close/>
                <a:moveTo>
                  <a:pt x="156" y="215"/>
                </a:moveTo>
                <a:lnTo>
                  <a:pt x="156" y="212"/>
                </a:lnTo>
                <a:lnTo>
                  <a:pt x="157" y="209"/>
                </a:lnTo>
                <a:lnTo>
                  <a:pt x="159" y="207"/>
                </a:lnTo>
                <a:lnTo>
                  <a:pt x="160" y="204"/>
                </a:lnTo>
                <a:lnTo>
                  <a:pt x="158" y="201"/>
                </a:lnTo>
                <a:lnTo>
                  <a:pt x="156" y="198"/>
                </a:lnTo>
                <a:lnTo>
                  <a:pt x="159" y="196"/>
                </a:lnTo>
                <a:lnTo>
                  <a:pt x="164" y="193"/>
                </a:lnTo>
                <a:lnTo>
                  <a:pt x="163" y="199"/>
                </a:lnTo>
                <a:lnTo>
                  <a:pt x="163" y="206"/>
                </a:lnTo>
                <a:lnTo>
                  <a:pt x="162" y="208"/>
                </a:lnTo>
                <a:lnTo>
                  <a:pt x="160" y="212"/>
                </a:lnTo>
                <a:lnTo>
                  <a:pt x="158" y="214"/>
                </a:lnTo>
                <a:lnTo>
                  <a:pt x="156" y="215"/>
                </a:lnTo>
                <a:lnTo>
                  <a:pt x="159" y="213"/>
                </a:lnTo>
                <a:lnTo>
                  <a:pt x="156" y="215"/>
                </a:lnTo>
                <a:close/>
                <a:moveTo>
                  <a:pt x="264" y="574"/>
                </a:moveTo>
                <a:lnTo>
                  <a:pt x="263" y="572"/>
                </a:lnTo>
                <a:lnTo>
                  <a:pt x="263" y="571"/>
                </a:lnTo>
                <a:lnTo>
                  <a:pt x="264" y="569"/>
                </a:lnTo>
                <a:lnTo>
                  <a:pt x="265" y="566"/>
                </a:lnTo>
                <a:lnTo>
                  <a:pt x="266" y="569"/>
                </a:lnTo>
                <a:lnTo>
                  <a:pt x="266" y="571"/>
                </a:lnTo>
                <a:lnTo>
                  <a:pt x="266" y="572"/>
                </a:lnTo>
                <a:lnTo>
                  <a:pt x="264" y="574"/>
                </a:lnTo>
                <a:close/>
                <a:moveTo>
                  <a:pt x="360" y="641"/>
                </a:moveTo>
                <a:lnTo>
                  <a:pt x="359" y="637"/>
                </a:lnTo>
                <a:lnTo>
                  <a:pt x="360" y="633"/>
                </a:lnTo>
                <a:lnTo>
                  <a:pt x="361" y="629"/>
                </a:lnTo>
                <a:lnTo>
                  <a:pt x="364" y="625"/>
                </a:lnTo>
                <a:lnTo>
                  <a:pt x="365" y="630"/>
                </a:lnTo>
                <a:lnTo>
                  <a:pt x="366" y="634"/>
                </a:lnTo>
                <a:lnTo>
                  <a:pt x="365" y="637"/>
                </a:lnTo>
                <a:lnTo>
                  <a:pt x="364" y="639"/>
                </a:lnTo>
                <a:lnTo>
                  <a:pt x="363" y="640"/>
                </a:lnTo>
                <a:lnTo>
                  <a:pt x="360" y="641"/>
                </a:lnTo>
                <a:close/>
                <a:moveTo>
                  <a:pt x="710" y="169"/>
                </a:moveTo>
                <a:lnTo>
                  <a:pt x="707" y="173"/>
                </a:lnTo>
                <a:lnTo>
                  <a:pt x="703" y="176"/>
                </a:lnTo>
                <a:lnTo>
                  <a:pt x="700" y="181"/>
                </a:lnTo>
                <a:lnTo>
                  <a:pt x="694" y="183"/>
                </a:lnTo>
                <a:lnTo>
                  <a:pt x="698" y="179"/>
                </a:lnTo>
                <a:lnTo>
                  <a:pt x="701" y="173"/>
                </a:lnTo>
                <a:lnTo>
                  <a:pt x="702" y="172"/>
                </a:lnTo>
                <a:lnTo>
                  <a:pt x="705" y="171"/>
                </a:lnTo>
                <a:lnTo>
                  <a:pt x="707" y="169"/>
                </a:lnTo>
                <a:lnTo>
                  <a:pt x="710" y="169"/>
                </a:lnTo>
                <a:close/>
                <a:moveTo>
                  <a:pt x="668" y="222"/>
                </a:moveTo>
                <a:lnTo>
                  <a:pt x="667" y="223"/>
                </a:lnTo>
                <a:lnTo>
                  <a:pt x="666" y="224"/>
                </a:lnTo>
                <a:lnTo>
                  <a:pt x="667" y="223"/>
                </a:lnTo>
                <a:lnTo>
                  <a:pt x="668" y="222"/>
                </a:lnTo>
                <a:close/>
                <a:moveTo>
                  <a:pt x="606" y="138"/>
                </a:moveTo>
                <a:lnTo>
                  <a:pt x="607" y="138"/>
                </a:lnTo>
                <a:lnTo>
                  <a:pt x="609" y="138"/>
                </a:lnTo>
                <a:lnTo>
                  <a:pt x="609" y="139"/>
                </a:lnTo>
                <a:lnTo>
                  <a:pt x="608" y="140"/>
                </a:lnTo>
                <a:lnTo>
                  <a:pt x="606" y="140"/>
                </a:lnTo>
                <a:lnTo>
                  <a:pt x="604" y="140"/>
                </a:lnTo>
                <a:lnTo>
                  <a:pt x="604" y="139"/>
                </a:lnTo>
                <a:lnTo>
                  <a:pt x="606" y="138"/>
                </a:lnTo>
                <a:lnTo>
                  <a:pt x="606" y="138"/>
                </a:lnTo>
                <a:lnTo>
                  <a:pt x="606" y="138"/>
                </a:lnTo>
                <a:close/>
                <a:moveTo>
                  <a:pt x="602" y="267"/>
                </a:moveTo>
                <a:lnTo>
                  <a:pt x="617" y="254"/>
                </a:lnTo>
                <a:lnTo>
                  <a:pt x="633" y="241"/>
                </a:lnTo>
                <a:lnTo>
                  <a:pt x="640" y="235"/>
                </a:lnTo>
                <a:lnTo>
                  <a:pt x="648" y="231"/>
                </a:lnTo>
                <a:lnTo>
                  <a:pt x="656" y="227"/>
                </a:lnTo>
                <a:lnTo>
                  <a:pt x="664" y="225"/>
                </a:lnTo>
                <a:lnTo>
                  <a:pt x="653" y="232"/>
                </a:lnTo>
                <a:lnTo>
                  <a:pt x="643" y="239"/>
                </a:lnTo>
                <a:lnTo>
                  <a:pt x="634" y="247"/>
                </a:lnTo>
                <a:lnTo>
                  <a:pt x="624" y="255"/>
                </a:lnTo>
                <a:lnTo>
                  <a:pt x="616" y="262"/>
                </a:lnTo>
                <a:lnTo>
                  <a:pt x="607" y="270"/>
                </a:lnTo>
                <a:lnTo>
                  <a:pt x="604" y="271"/>
                </a:lnTo>
                <a:lnTo>
                  <a:pt x="602" y="273"/>
                </a:lnTo>
                <a:lnTo>
                  <a:pt x="600" y="274"/>
                </a:lnTo>
                <a:lnTo>
                  <a:pt x="598" y="273"/>
                </a:lnTo>
                <a:lnTo>
                  <a:pt x="598" y="271"/>
                </a:lnTo>
                <a:lnTo>
                  <a:pt x="599" y="270"/>
                </a:lnTo>
                <a:lnTo>
                  <a:pt x="600" y="268"/>
                </a:lnTo>
                <a:lnTo>
                  <a:pt x="602" y="267"/>
                </a:lnTo>
                <a:lnTo>
                  <a:pt x="606" y="264"/>
                </a:lnTo>
                <a:lnTo>
                  <a:pt x="602" y="267"/>
                </a:lnTo>
                <a:close/>
                <a:moveTo>
                  <a:pt x="582" y="141"/>
                </a:moveTo>
                <a:lnTo>
                  <a:pt x="583" y="140"/>
                </a:lnTo>
                <a:lnTo>
                  <a:pt x="584" y="140"/>
                </a:lnTo>
                <a:lnTo>
                  <a:pt x="586" y="140"/>
                </a:lnTo>
                <a:lnTo>
                  <a:pt x="586" y="141"/>
                </a:lnTo>
                <a:lnTo>
                  <a:pt x="586" y="144"/>
                </a:lnTo>
                <a:lnTo>
                  <a:pt x="584" y="146"/>
                </a:lnTo>
                <a:lnTo>
                  <a:pt x="583" y="148"/>
                </a:lnTo>
                <a:lnTo>
                  <a:pt x="580" y="150"/>
                </a:lnTo>
                <a:lnTo>
                  <a:pt x="577" y="151"/>
                </a:lnTo>
                <a:lnTo>
                  <a:pt x="574" y="151"/>
                </a:lnTo>
                <a:lnTo>
                  <a:pt x="578" y="147"/>
                </a:lnTo>
                <a:lnTo>
                  <a:pt x="582" y="141"/>
                </a:lnTo>
                <a:lnTo>
                  <a:pt x="582" y="142"/>
                </a:lnTo>
                <a:lnTo>
                  <a:pt x="582" y="141"/>
                </a:lnTo>
                <a:close/>
                <a:moveTo>
                  <a:pt x="561" y="159"/>
                </a:moveTo>
                <a:lnTo>
                  <a:pt x="567" y="155"/>
                </a:lnTo>
                <a:lnTo>
                  <a:pt x="574" y="151"/>
                </a:lnTo>
                <a:lnTo>
                  <a:pt x="574" y="155"/>
                </a:lnTo>
                <a:lnTo>
                  <a:pt x="572" y="157"/>
                </a:lnTo>
                <a:lnTo>
                  <a:pt x="570" y="158"/>
                </a:lnTo>
                <a:lnTo>
                  <a:pt x="568" y="160"/>
                </a:lnTo>
                <a:lnTo>
                  <a:pt x="563" y="164"/>
                </a:lnTo>
                <a:lnTo>
                  <a:pt x="559" y="167"/>
                </a:lnTo>
                <a:lnTo>
                  <a:pt x="557" y="168"/>
                </a:lnTo>
                <a:lnTo>
                  <a:pt x="554" y="168"/>
                </a:lnTo>
                <a:lnTo>
                  <a:pt x="553" y="168"/>
                </a:lnTo>
                <a:lnTo>
                  <a:pt x="552" y="168"/>
                </a:lnTo>
                <a:lnTo>
                  <a:pt x="552" y="167"/>
                </a:lnTo>
                <a:lnTo>
                  <a:pt x="552" y="166"/>
                </a:lnTo>
                <a:lnTo>
                  <a:pt x="557" y="162"/>
                </a:lnTo>
                <a:lnTo>
                  <a:pt x="561" y="159"/>
                </a:lnTo>
                <a:lnTo>
                  <a:pt x="561" y="159"/>
                </a:lnTo>
                <a:lnTo>
                  <a:pt x="561" y="159"/>
                </a:lnTo>
                <a:close/>
                <a:moveTo>
                  <a:pt x="425" y="685"/>
                </a:moveTo>
                <a:lnTo>
                  <a:pt x="423" y="682"/>
                </a:lnTo>
                <a:lnTo>
                  <a:pt x="423" y="679"/>
                </a:lnTo>
                <a:lnTo>
                  <a:pt x="425" y="678"/>
                </a:lnTo>
                <a:lnTo>
                  <a:pt x="425" y="678"/>
                </a:lnTo>
                <a:lnTo>
                  <a:pt x="426" y="678"/>
                </a:lnTo>
                <a:lnTo>
                  <a:pt x="427" y="678"/>
                </a:lnTo>
                <a:lnTo>
                  <a:pt x="428" y="680"/>
                </a:lnTo>
                <a:lnTo>
                  <a:pt x="428" y="681"/>
                </a:lnTo>
                <a:lnTo>
                  <a:pt x="426" y="682"/>
                </a:lnTo>
                <a:lnTo>
                  <a:pt x="425" y="685"/>
                </a:lnTo>
                <a:lnTo>
                  <a:pt x="425" y="682"/>
                </a:lnTo>
                <a:lnTo>
                  <a:pt x="425" y="685"/>
                </a:lnTo>
                <a:close/>
                <a:moveTo>
                  <a:pt x="429" y="637"/>
                </a:moveTo>
                <a:lnTo>
                  <a:pt x="422" y="648"/>
                </a:lnTo>
                <a:lnTo>
                  <a:pt x="419" y="659"/>
                </a:lnTo>
                <a:lnTo>
                  <a:pt x="413" y="666"/>
                </a:lnTo>
                <a:lnTo>
                  <a:pt x="407" y="674"/>
                </a:lnTo>
                <a:lnTo>
                  <a:pt x="405" y="677"/>
                </a:lnTo>
                <a:lnTo>
                  <a:pt x="403" y="679"/>
                </a:lnTo>
                <a:lnTo>
                  <a:pt x="402" y="680"/>
                </a:lnTo>
                <a:lnTo>
                  <a:pt x="401" y="680"/>
                </a:lnTo>
                <a:lnTo>
                  <a:pt x="399" y="679"/>
                </a:lnTo>
                <a:lnTo>
                  <a:pt x="399" y="677"/>
                </a:lnTo>
                <a:lnTo>
                  <a:pt x="401" y="670"/>
                </a:lnTo>
                <a:lnTo>
                  <a:pt x="404" y="662"/>
                </a:lnTo>
                <a:lnTo>
                  <a:pt x="409" y="654"/>
                </a:lnTo>
                <a:lnTo>
                  <a:pt x="413" y="646"/>
                </a:lnTo>
                <a:lnTo>
                  <a:pt x="418" y="639"/>
                </a:lnTo>
                <a:lnTo>
                  <a:pt x="423" y="632"/>
                </a:lnTo>
                <a:lnTo>
                  <a:pt x="427" y="632"/>
                </a:lnTo>
                <a:lnTo>
                  <a:pt x="429" y="633"/>
                </a:lnTo>
                <a:lnTo>
                  <a:pt x="430" y="636"/>
                </a:lnTo>
                <a:lnTo>
                  <a:pt x="429" y="637"/>
                </a:lnTo>
                <a:lnTo>
                  <a:pt x="426" y="639"/>
                </a:lnTo>
                <a:lnTo>
                  <a:pt x="429" y="637"/>
                </a:lnTo>
                <a:close/>
                <a:moveTo>
                  <a:pt x="435" y="680"/>
                </a:moveTo>
                <a:lnTo>
                  <a:pt x="437" y="672"/>
                </a:lnTo>
                <a:lnTo>
                  <a:pt x="440" y="665"/>
                </a:lnTo>
                <a:lnTo>
                  <a:pt x="445" y="658"/>
                </a:lnTo>
                <a:lnTo>
                  <a:pt x="450" y="653"/>
                </a:lnTo>
                <a:lnTo>
                  <a:pt x="460" y="640"/>
                </a:lnTo>
                <a:lnTo>
                  <a:pt x="470" y="629"/>
                </a:lnTo>
                <a:lnTo>
                  <a:pt x="462" y="642"/>
                </a:lnTo>
                <a:lnTo>
                  <a:pt x="454" y="656"/>
                </a:lnTo>
                <a:lnTo>
                  <a:pt x="444" y="667"/>
                </a:lnTo>
                <a:lnTo>
                  <a:pt x="435" y="680"/>
                </a:lnTo>
                <a:close/>
                <a:moveTo>
                  <a:pt x="650" y="524"/>
                </a:moveTo>
                <a:lnTo>
                  <a:pt x="649" y="526"/>
                </a:lnTo>
                <a:lnTo>
                  <a:pt x="645" y="526"/>
                </a:lnTo>
                <a:lnTo>
                  <a:pt x="643" y="526"/>
                </a:lnTo>
                <a:lnTo>
                  <a:pt x="641" y="525"/>
                </a:lnTo>
                <a:lnTo>
                  <a:pt x="643" y="522"/>
                </a:lnTo>
                <a:lnTo>
                  <a:pt x="646" y="520"/>
                </a:lnTo>
                <a:lnTo>
                  <a:pt x="649" y="520"/>
                </a:lnTo>
                <a:lnTo>
                  <a:pt x="650" y="521"/>
                </a:lnTo>
                <a:lnTo>
                  <a:pt x="651" y="522"/>
                </a:lnTo>
                <a:lnTo>
                  <a:pt x="650" y="524"/>
                </a:lnTo>
                <a:lnTo>
                  <a:pt x="650" y="524"/>
                </a:lnTo>
                <a:lnTo>
                  <a:pt x="650" y="524"/>
                </a:lnTo>
                <a:close/>
                <a:moveTo>
                  <a:pt x="743" y="208"/>
                </a:moveTo>
                <a:lnTo>
                  <a:pt x="736" y="213"/>
                </a:lnTo>
                <a:lnTo>
                  <a:pt x="730" y="215"/>
                </a:lnTo>
                <a:lnTo>
                  <a:pt x="722" y="217"/>
                </a:lnTo>
                <a:lnTo>
                  <a:pt x="714" y="218"/>
                </a:lnTo>
                <a:lnTo>
                  <a:pt x="726" y="208"/>
                </a:lnTo>
                <a:lnTo>
                  <a:pt x="740" y="199"/>
                </a:lnTo>
                <a:lnTo>
                  <a:pt x="745" y="196"/>
                </a:lnTo>
                <a:lnTo>
                  <a:pt x="751" y="192"/>
                </a:lnTo>
                <a:lnTo>
                  <a:pt x="756" y="191"/>
                </a:lnTo>
                <a:lnTo>
                  <a:pt x="761" y="190"/>
                </a:lnTo>
                <a:lnTo>
                  <a:pt x="765" y="188"/>
                </a:lnTo>
                <a:lnTo>
                  <a:pt x="768" y="184"/>
                </a:lnTo>
                <a:lnTo>
                  <a:pt x="774" y="180"/>
                </a:lnTo>
                <a:lnTo>
                  <a:pt x="781" y="176"/>
                </a:lnTo>
                <a:lnTo>
                  <a:pt x="788" y="173"/>
                </a:lnTo>
                <a:lnTo>
                  <a:pt x="796" y="169"/>
                </a:lnTo>
                <a:lnTo>
                  <a:pt x="799" y="167"/>
                </a:lnTo>
                <a:lnTo>
                  <a:pt x="802" y="166"/>
                </a:lnTo>
                <a:lnTo>
                  <a:pt x="807" y="166"/>
                </a:lnTo>
                <a:lnTo>
                  <a:pt x="810" y="167"/>
                </a:lnTo>
                <a:lnTo>
                  <a:pt x="808" y="169"/>
                </a:lnTo>
                <a:lnTo>
                  <a:pt x="806" y="173"/>
                </a:lnTo>
                <a:lnTo>
                  <a:pt x="802" y="174"/>
                </a:lnTo>
                <a:lnTo>
                  <a:pt x="799" y="176"/>
                </a:lnTo>
                <a:lnTo>
                  <a:pt x="790" y="182"/>
                </a:lnTo>
                <a:lnTo>
                  <a:pt x="780" y="187"/>
                </a:lnTo>
                <a:lnTo>
                  <a:pt x="771" y="192"/>
                </a:lnTo>
                <a:lnTo>
                  <a:pt x="761" y="197"/>
                </a:lnTo>
                <a:lnTo>
                  <a:pt x="752" y="202"/>
                </a:lnTo>
                <a:lnTo>
                  <a:pt x="743" y="208"/>
                </a:lnTo>
                <a:lnTo>
                  <a:pt x="742" y="208"/>
                </a:lnTo>
                <a:lnTo>
                  <a:pt x="748" y="206"/>
                </a:lnTo>
                <a:lnTo>
                  <a:pt x="750" y="204"/>
                </a:lnTo>
                <a:lnTo>
                  <a:pt x="743" y="208"/>
                </a:lnTo>
                <a:close/>
                <a:moveTo>
                  <a:pt x="865" y="531"/>
                </a:moveTo>
                <a:lnTo>
                  <a:pt x="865" y="528"/>
                </a:lnTo>
                <a:lnTo>
                  <a:pt x="866" y="525"/>
                </a:lnTo>
                <a:lnTo>
                  <a:pt x="867" y="524"/>
                </a:lnTo>
                <a:lnTo>
                  <a:pt x="868" y="523"/>
                </a:lnTo>
                <a:lnTo>
                  <a:pt x="873" y="523"/>
                </a:lnTo>
                <a:lnTo>
                  <a:pt x="879" y="523"/>
                </a:lnTo>
                <a:lnTo>
                  <a:pt x="872" y="529"/>
                </a:lnTo>
                <a:lnTo>
                  <a:pt x="865" y="531"/>
                </a:lnTo>
                <a:close/>
                <a:moveTo>
                  <a:pt x="1139" y="415"/>
                </a:moveTo>
                <a:lnTo>
                  <a:pt x="1139" y="414"/>
                </a:lnTo>
                <a:lnTo>
                  <a:pt x="1139" y="413"/>
                </a:lnTo>
                <a:lnTo>
                  <a:pt x="1140" y="414"/>
                </a:lnTo>
                <a:lnTo>
                  <a:pt x="1139" y="415"/>
                </a:lnTo>
                <a:lnTo>
                  <a:pt x="1139" y="415"/>
                </a:lnTo>
                <a:lnTo>
                  <a:pt x="1139" y="41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EB0490A9-5E6B-4142-83CD-1C8AA423DA28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870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01920" y="2250282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2086" y="5850682"/>
            <a:ext cx="8719172" cy="6086558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Freeform 3440">
            <a:extLst>
              <a:ext uri="{FF2B5EF4-FFF2-40B4-BE49-F238E27FC236}">
                <a16:creationId xmlns:a16="http://schemas.microsoft.com/office/drawing/2014/main" id="{1AFA6BE7-7035-A94D-908E-C9A60596DF61}"/>
              </a:ext>
            </a:extLst>
          </p:cNvPr>
          <p:cNvSpPr>
            <a:spLocks noGrp="1" noEditPoints="1"/>
          </p:cNvSpPr>
          <p:nvPr>
            <p:ph type="pic" sz="quarter" idx="31"/>
          </p:nvPr>
        </p:nvSpPr>
        <p:spPr bwMode="auto">
          <a:xfrm>
            <a:off x="11257483" y="1494198"/>
            <a:ext cx="12384583" cy="10729192"/>
          </a:xfrm>
          <a:custGeom>
            <a:avLst/>
            <a:gdLst>
              <a:gd name="T0" fmla="*/ 1166 w 1335"/>
              <a:gd name="T1" fmla="*/ 206 h 634"/>
              <a:gd name="T2" fmla="*/ 1052 w 1335"/>
              <a:gd name="T3" fmla="*/ 216 h 634"/>
              <a:gd name="T4" fmla="*/ 1033 w 1335"/>
              <a:gd name="T5" fmla="*/ 206 h 634"/>
              <a:gd name="T6" fmla="*/ 1105 w 1335"/>
              <a:gd name="T7" fmla="*/ 173 h 634"/>
              <a:gd name="T8" fmla="*/ 1068 w 1335"/>
              <a:gd name="T9" fmla="*/ 179 h 634"/>
              <a:gd name="T10" fmla="*/ 1088 w 1335"/>
              <a:gd name="T11" fmla="*/ 166 h 634"/>
              <a:gd name="T12" fmla="*/ 1145 w 1335"/>
              <a:gd name="T13" fmla="*/ 154 h 634"/>
              <a:gd name="T14" fmla="*/ 1142 w 1335"/>
              <a:gd name="T15" fmla="*/ 174 h 634"/>
              <a:gd name="T16" fmla="*/ 1186 w 1335"/>
              <a:gd name="T17" fmla="*/ 159 h 634"/>
              <a:gd name="T18" fmla="*/ 1248 w 1335"/>
              <a:gd name="T19" fmla="*/ 130 h 634"/>
              <a:gd name="T20" fmla="*/ 1206 w 1335"/>
              <a:gd name="T21" fmla="*/ 73 h 634"/>
              <a:gd name="T22" fmla="*/ 1126 w 1335"/>
              <a:gd name="T23" fmla="*/ 68 h 634"/>
              <a:gd name="T24" fmla="*/ 1075 w 1335"/>
              <a:gd name="T25" fmla="*/ 53 h 634"/>
              <a:gd name="T26" fmla="*/ 1076 w 1335"/>
              <a:gd name="T27" fmla="*/ 20 h 634"/>
              <a:gd name="T28" fmla="*/ 1009 w 1335"/>
              <a:gd name="T29" fmla="*/ 0 h 634"/>
              <a:gd name="T30" fmla="*/ 701 w 1335"/>
              <a:gd name="T31" fmla="*/ 45 h 634"/>
              <a:gd name="T32" fmla="*/ 468 w 1335"/>
              <a:gd name="T33" fmla="*/ 113 h 634"/>
              <a:gd name="T34" fmla="*/ 230 w 1335"/>
              <a:gd name="T35" fmla="*/ 214 h 634"/>
              <a:gd name="T36" fmla="*/ 234 w 1335"/>
              <a:gd name="T37" fmla="*/ 303 h 634"/>
              <a:gd name="T38" fmla="*/ 12 w 1335"/>
              <a:gd name="T39" fmla="*/ 478 h 634"/>
              <a:gd name="T40" fmla="*/ 55 w 1335"/>
              <a:gd name="T41" fmla="*/ 537 h 634"/>
              <a:gd name="T42" fmla="*/ 69 w 1335"/>
              <a:gd name="T43" fmla="*/ 580 h 634"/>
              <a:gd name="T44" fmla="*/ 118 w 1335"/>
              <a:gd name="T45" fmla="*/ 630 h 634"/>
              <a:gd name="T46" fmla="*/ 320 w 1335"/>
              <a:gd name="T47" fmla="*/ 543 h 634"/>
              <a:gd name="T48" fmla="*/ 470 w 1335"/>
              <a:gd name="T49" fmla="*/ 493 h 634"/>
              <a:gd name="T50" fmla="*/ 417 w 1335"/>
              <a:gd name="T51" fmla="*/ 545 h 634"/>
              <a:gd name="T52" fmla="*/ 404 w 1335"/>
              <a:gd name="T53" fmla="*/ 624 h 634"/>
              <a:gd name="T54" fmla="*/ 557 w 1335"/>
              <a:gd name="T55" fmla="*/ 593 h 634"/>
              <a:gd name="T56" fmla="*/ 679 w 1335"/>
              <a:gd name="T57" fmla="*/ 555 h 634"/>
              <a:gd name="T58" fmla="*/ 718 w 1335"/>
              <a:gd name="T59" fmla="*/ 615 h 634"/>
              <a:gd name="T60" fmla="*/ 766 w 1335"/>
              <a:gd name="T61" fmla="*/ 613 h 634"/>
              <a:gd name="T62" fmla="*/ 837 w 1335"/>
              <a:gd name="T63" fmla="*/ 604 h 634"/>
              <a:gd name="T64" fmla="*/ 800 w 1335"/>
              <a:gd name="T65" fmla="*/ 585 h 634"/>
              <a:gd name="T66" fmla="*/ 970 w 1335"/>
              <a:gd name="T67" fmla="*/ 540 h 634"/>
              <a:gd name="T68" fmla="*/ 1092 w 1335"/>
              <a:gd name="T69" fmla="*/ 515 h 634"/>
              <a:gd name="T70" fmla="*/ 1283 w 1335"/>
              <a:gd name="T71" fmla="*/ 477 h 634"/>
              <a:gd name="T72" fmla="*/ 1150 w 1335"/>
              <a:gd name="T73" fmla="*/ 460 h 634"/>
              <a:gd name="T74" fmla="*/ 1019 w 1335"/>
              <a:gd name="T75" fmla="*/ 468 h 634"/>
              <a:gd name="T76" fmla="*/ 1124 w 1335"/>
              <a:gd name="T77" fmla="*/ 443 h 634"/>
              <a:gd name="T78" fmla="*/ 1258 w 1335"/>
              <a:gd name="T79" fmla="*/ 414 h 634"/>
              <a:gd name="T80" fmla="*/ 1221 w 1335"/>
              <a:gd name="T81" fmla="*/ 356 h 634"/>
              <a:gd name="T82" fmla="*/ 939 w 1335"/>
              <a:gd name="T83" fmla="*/ 395 h 634"/>
              <a:gd name="T84" fmla="*/ 831 w 1335"/>
              <a:gd name="T85" fmla="*/ 429 h 634"/>
              <a:gd name="T86" fmla="*/ 709 w 1335"/>
              <a:gd name="T87" fmla="*/ 473 h 634"/>
              <a:gd name="T88" fmla="*/ 671 w 1335"/>
              <a:gd name="T89" fmla="*/ 474 h 634"/>
              <a:gd name="T90" fmla="*/ 775 w 1335"/>
              <a:gd name="T91" fmla="*/ 429 h 634"/>
              <a:gd name="T92" fmla="*/ 841 w 1335"/>
              <a:gd name="T93" fmla="*/ 400 h 634"/>
              <a:gd name="T94" fmla="*/ 910 w 1335"/>
              <a:gd name="T95" fmla="*/ 374 h 634"/>
              <a:gd name="T96" fmla="*/ 975 w 1335"/>
              <a:gd name="T97" fmla="*/ 353 h 634"/>
              <a:gd name="T98" fmla="*/ 1095 w 1335"/>
              <a:gd name="T99" fmla="*/ 315 h 634"/>
              <a:gd name="T100" fmla="*/ 1298 w 1335"/>
              <a:gd name="T101" fmla="*/ 265 h 634"/>
              <a:gd name="T102" fmla="*/ 1332 w 1335"/>
              <a:gd name="T103" fmla="*/ 217 h 634"/>
              <a:gd name="T104" fmla="*/ 469 w 1335"/>
              <a:gd name="T105" fmla="*/ 394 h 634"/>
              <a:gd name="T106" fmla="*/ 590 w 1335"/>
              <a:gd name="T107" fmla="*/ 338 h 634"/>
              <a:gd name="T108" fmla="*/ 690 w 1335"/>
              <a:gd name="T109" fmla="*/ 541 h 634"/>
              <a:gd name="T110" fmla="*/ 660 w 1335"/>
              <a:gd name="T111" fmla="*/ 547 h 634"/>
              <a:gd name="T112" fmla="*/ 643 w 1335"/>
              <a:gd name="T113" fmla="*/ 313 h 634"/>
              <a:gd name="T114" fmla="*/ 717 w 1335"/>
              <a:gd name="T115" fmla="*/ 292 h 634"/>
              <a:gd name="T116" fmla="*/ 767 w 1335"/>
              <a:gd name="T117" fmla="*/ 275 h 634"/>
              <a:gd name="T118" fmla="*/ 1036 w 1335"/>
              <a:gd name="T119" fmla="*/ 126 h 634"/>
              <a:gd name="T120" fmla="*/ 1128 w 1335"/>
              <a:gd name="T121" fmla="*/ 120 h 634"/>
              <a:gd name="T122" fmla="*/ 1051 w 1335"/>
              <a:gd name="T123" fmla="*/ 140 h 634"/>
              <a:gd name="T124" fmla="*/ 946 w 1335"/>
              <a:gd name="T125" fmla="*/ 153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35" h="634">
                <a:moveTo>
                  <a:pt x="1330" y="216"/>
                </a:moveTo>
                <a:lnTo>
                  <a:pt x="1321" y="211"/>
                </a:lnTo>
                <a:lnTo>
                  <a:pt x="1310" y="205"/>
                </a:lnTo>
                <a:lnTo>
                  <a:pt x="1300" y="202"/>
                </a:lnTo>
                <a:lnTo>
                  <a:pt x="1290" y="199"/>
                </a:lnTo>
                <a:lnTo>
                  <a:pt x="1275" y="198"/>
                </a:lnTo>
                <a:lnTo>
                  <a:pt x="1261" y="198"/>
                </a:lnTo>
                <a:lnTo>
                  <a:pt x="1248" y="199"/>
                </a:lnTo>
                <a:lnTo>
                  <a:pt x="1234" y="200"/>
                </a:lnTo>
                <a:lnTo>
                  <a:pt x="1220" y="202"/>
                </a:lnTo>
                <a:lnTo>
                  <a:pt x="1207" y="203"/>
                </a:lnTo>
                <a:lnTo>
                  <a:pt x="1192" y="204"/>
                </a:lnTo>
                <a:lnTo>
                  <a:pt x="1178" y="205"/>
                </a:lnTo>
                <a:lnTo>
                  <a:pt x="1166" y="206"/>
                </a:lnTo>
                <a:lnTo>
                  <a:pt x="1153" y="207"/>
                </a:lnTo>
                <a:lnTo>
                  <a:pt x="1141" y="206"/>
                </a:lnTo>
                <a:lnTo>
                  <a:pt x="1128" y="207"/>
                </a:lnTo>
                <a:lnTo>
                  <a:pt x="1118" y="208"/>
                </a:lnTo>
                <a:lnTo>
                  <a:pt x="1108" y="208"/>
                </a:lnTo>
                <a:lnTo>
                  <a:pt x="1102" y="211"/>
                </a:lnTo>
                <a:lnTo>
                  <a:pt x="1097" y="213"/>
                </a:lnTo>
                <a:lnTo>
                  <a:pt x="1092" y="212"/>
                </a:lnTo>
                <a:lnTo>
                  <a:pt x="1087" y="211"/>
                </a:lnTo>
                <a:lnTo>
                  <a:pt x="1081" y="212"/>
                </a:lnTo>
                <a:lnTo>
                  <a:pt x="1076" y="214"/>
                </a:lnTo>
                <a:lnTo>
                  <a:pt x="1071" y="215"/>
                </a:lnTo>
                <a:lnTo>
                  <a:pt x="1066" y="215"/>
                </a:lnTo>
                <a:lnTo>
                  <a:pt x="1052" y="216"/>
                </a:lnTo>
                <a:lnTo>
                  <a:pt x="1038" y="217"/>
                </a:lnTo>
                <a:lnTo>
                  <a:pt x="1028" y="220"/>
                </a:lnTo>
                <a:lnTo>
                  <a:pt x="1017" y="222"/>
                </a:lnTo>
                <a:lnTo>
                  <a:pt x="1012" y="223"/>
                </a:lnTo>
                <a:lnTo>
                  <a:pt x="1006" y="224"/>
                </a:lnTo>
                <a:lnTo>
                  <a:pt x="1001" y="224"/>
                </a:lnTo>
                <a:lnTo>
                  <a:pt x="995" y="224"/>
                </a:lnTo>
                <a:lnTo>
                  <a:pt x="992" y="222"/>
                </a:lnTo>
                <a:lnTo>
                  <a:pt x="990" y="220"/>
                </a:lnTo>
                <a:lnTo>
                  <a:pt x="993" y="217"/>
                </a:lnTo>
                <a:lnTo>
                  <a:pt x="996" y="215"/>
                </a:lnTo>
                <a:lnTo>
                  <a:pt x="1008" y="212"/>
                </a:lnTo>
                <a:lnTo>
                  <a:pt x="1019" y="209"/>
                </a:lnTo>
                <a:lnTo>
                  <a:pt x="1033" y="206"/>
                </a:lnTo>
                <a:lnTo>
                  <a:pt x="1046" y="203"/>
                </a:lnTo>
                <a:lnTo>
                  <a:pt x="1061" y="198"/>
                </a:lnTo>
                <a:lnTo>
                  <a:pt x="1075" y="195"/>
                </a:lnTo>
                <a:lnTo>
                  <a:pt x="1085" y="194"/>
                </a:lnTo>
                <a:lnTo>
                  <a:pt x="1095" y="192"/>
                </a:lnTo>
                <a:lnTo>
                  <a:pt x="1100" y="191"/>
                </a:lnTo>
                <a:lnTo>
                  <a:pt x="1103" y="188"/>
                </a:lnTo>
                <a:lnTo>
                  <a:pt x="1105" y="187"/>
                </a:lnTo>
                <a:lnTo>
                  <a:pt x="1109" y="186"/>
                </a:lnTo>
                <a:lnTo>
                  <a:pt x="1112" y="186"/>
                </a:lnTo>
                <a:lnTo>
                  <a:pt x="1117" y="184"/>
                </a:lnTo>
                <a:lnTo>
                  <a:pt x="1112" y="180"/>
                </a:lnTo>
                <a:lnTo>
                  <a:pt x="1108" y="175"/>
                </a:lnTo>
                <a:lnTo>
                  <a:pt x="1105" y="173"/>
                </a:lnTo>
                <a:lnTo>
                  <a:pt x="1103" y="172"/>
                </a:lnTo>
                <a:lnTo>
                  <a:pt x="1100" y="171"/>
                </a:lnTo>
                <a:lnTo>
                  <a:pt x="1096" y="172"/>
                </a:lnTo>
                <a:lnTo>
                  <a:pt x="1093" y="173"/>
                </a:lnTo>
                <a:lnTo>
                  <a:pt x="1091" y="175"/>
                </a:lnTo>
                <a:lnTo>
                  <a:pt x="1086" y="176"/>
                </a:lnTo>
                <a:lnTo>
                  <a:pt x="1081" y="178"/>
                </a:lnTo>
                <a:lnTo>
                  <a:pt x="1079" y="180"/>
                </a:lnTo>
                <a:lnTo>
                  <a:pt x="1077" y="182"/>
                </a:lnTo>
                <a:lnTo>
                  <a:pt x="1076" y="186"/>
                </a:lnTo>
                <a:lnTo>
                  <a:pt x="1072" y="190"/>
                </a:lnTo>
                <a:lnTo>
                  <a:pt x="1077" y="184"/>
                </a:lnTo>
                <a:lnTo>
                  <a:pt x="1079" y="179"/>
                </a:lnTo>
                <a:lnTo>
                  <a:pt x="1068" y="179"/>
                </a:lnTo>
                <a:lnTo>
                  <a:pt x="1058" y="178"/>
                </a:lnTo>
                <a:lnTo>
                  <a:pt x="1054" y="178"/>
                </a:lnTo>
                <a:lnTo>
                  <a:pt x="1051" y="176"/>
                </a:lnTo>
                <a:lnTo>
                  <a:pt x="1048" y="175"/>
                </a:lnTo>
                <a:lnTo>
                  <a:pt x="1047" y="175"/>
                </a:lnTo>
                <a:lnTo>
                  <a:pt x="1047" y="173"/>
                </a:lnTo>
                <a:lnTo>
                  <a:pt x="1048" y="172"/>
                </a:lnTo>
                <a:lnTo>
                  <a:pt x="1051" y="171"/>
                </a:lnTo>
                <a:lnTo>
                  <a:pt x="1054" y="172"/>
                </a:lnTo>
                <a:lnTo>
                  <a:pt x="1059" y="171"/>
                </a:lnTo>
                <a:lnTo>
                  <a:pt x="1063" y="169"/>
                </a:lnTo>
                <a:lnTo>
                  <a:pt x="1072" y="167"/>
                </a:lnTo>
                <a:lnTo>
                  <a:pt x="1080" y="166"/>
                </a:lnTo>
                <a:lnTo>
                  <a:pt x="1088" y="166"/>
                </a:lnTo>
                <a:lnTo>
                  <a:pt x="1097" y="165"/>
                </a:lnTo>
                <a:lnTo>
                  <a:pt x="1102" y="163"/>
                </a:lnTo>
                <a:lnTo>
                  <a:pt x="1107" y="161"/>
                </a:lnTo>
                <a:lnTo>
                  <a:pt x="1111" y="161"/>
                </a:lnTo>
                <a:lnTo>
                  <a:pt x="1116" y="161"/>
                </a:lnTo>
                <a:lnTo>
                  <a:pt x="1126" y="161"/>
                </a:lnTo>
                <a:lnTo>
                  <a:pt x="1135" y="158"/>
                </a:lnTo>
                <a:lnTo>
                  <a:pt x="1141" y="157"/>
                </a:lnTo>
                <a:lnTo>
                  <a:pt x="1146" y="154"/>
                </a:lnTo>
                <a:lnTo>
                  <a:pt x="1150" y="151"/>
                </a:lnTo>
                <a:lnTo>
                  <a:pt x="1154" y="150"/>
                </a:lnTo>
                <a:lnTo>
                  <a:pt x="1151" y="151"/>
                </a:lnTo>
                <a:lnTo>
                  <a:pt x="1149" y="153"/>
                </a:lnTo>
                <a:lnTo>
                  <a:pt x="1145" y="154"/>
                </a:lnTo>
                <a:lnTo>
                  <a:pt x="1143" y="156"/>
                </a:lnTo>
                <a:lnTo>
                  <a:pt x="1157" y="157"/>
                </a:lnTo>
                <a:lnTo>
                  <a:pt x="1169" y="157"/>
                </a:lnTo>
                <a:lnTo>
                  <a:pt x="1161" y="161"/>
                </a:lnTo>
                <a:lnTo>
                  <a:pt x="1152" y="166"/>
                </a:lnTo>
                <a:lnTo>
                  <a:pt x="1148" y="167"/>
                </a:lnTo>
                <a:lnTo>
                  <a:pt x="1143" y="169"/>
                </a:lnTo>
                <a:lnTo>
                  <a:pt x="1137" y="169"/>
                </a:lnTo>
                <a:lnTo>
                  <a:pt x="1133" y="169"/>
                </a:lnTo>
                <a:lnTo>
                  <a:pt x="1136" y="170"/>
                </a:lnTo>
                <a:lnTo>
                  <a:pt x="1140" y="171"/>
                </a:lnTo>
                <a:lnTo>
                  <a:pt x="1141" y="172"/>
                </a:lnTo>
                <a:lnTo>
                  <a:pt x="1142" y="172"/>
                </a:lnTo>
                <a:lnTo>
                  <a:pt x="1142" y="174"/>
                </a:lnTo>
                <a:lnTo>
                  <a:pt x="1141" y="176"/>
                </a:lnTo>
                <a:lnTo>
                  <a:pt x="1149" y="176"/>
                </a:lnTo>
                <a:lnTo>
                  <a:pt x="1157" y="178"/>
                </a:lnTo>
                <a:lnTo>
                  <a:pt x="1155" y="174"/>
                </a:lnTo>
                <a:lnTo>
                  <a:pt x="1155" y="172"/>
                </a:lnTo>
                <a:lnTo>
                  <a:pt x="1157" y="171"/>
                </a:lnTo>
                <a:lnTo>
                  <a:pt x="1158" y="170"/>
                </a:lnTo>
                <a:lnTo>
                  <a:pt x="1161" y="169"/>
                </a:lnTo>
                <a:lnTo>
                  <a:pt x="1166" y="167"/>
                </a:lnTo>
                <a:lnTo>
                  <a:pt x="1171" y="164"/>
                </a:lnTo>
                <a:lnTo>
                  <a:pt x="1176" y="162"/>
                </a:lnTo>
                <a:lnTo>
                  <a:pt x="1181" y="159"/>
                </a:lnTo>
                <a:lnTo>
                  <a:pt x="1185" y="159"/>
                </a:lnTo>
                <a:lnTo>
                  <a:pt x="1186" y="159"/>
                </a:lnTo>
                <a:lnTo>
                  <a:pt x="1186" y="159"/>
                </a:lnTo>
                <a:lnTo>
                  <a:pt x="1188" y="159"/>
                </a:lnTo>
                <a:lnTo>
                  <a:pt x="1188" y="158"/>
                </a:lnTo>
                <a:lnTo>
                  <a:pt x="1196" y="157"/>
                </a:lnTo>
                <a:lnTo>
                  <a:pt x="1203" y="157"/>
                </a:lnTo>
                <a:lnTo>
                  <a:pt x="1210" y="156"/>
                </a:lnTo>
                <a:lnTo>
                  <a:pt x="1217" y="154"/>
                </a:lnTo>
                <a:lnTo>
                  <a:pt x="1223" y="149"/>
                </a:lnTo>
                <a:lnTo>
                  <a:pt x="1227" y="146"/>
                </a:lnTo>
                <a:lnTo>
                  <a:pt x="1233" y="142"/>
                </a:lnTo>
                <a:lnTo>
                  <a:pt x="1239" y="140"/>
                </a:lnTo>
                <a:lnTo>
                  <a:pt x="1243" y="138"/>
                </a:lnTo>
                <a:lnTo>
                  <a:pt x="1245" y="133"/>
                </a:lnTo>
                <a:lnTo>
                  <a:pt x="1248" y="130"/>
                </a:lnTo>
                <a:lnTo>
                  <a:pt x="1249" y="124"/>
                </a:lnTo>
                <a:lnTo>
                  <a:pt x="1251" y="114"/>
                </a:lnTo>
                <a:lnTo>
                  <a:pt x="1253" y="105"/>
                </a:lnTo>
                <a:lnTo>
                  <a:pt x="1254" y="101"/>
                </a:lnTo>
                <a:lnTo>
                  <a:pt x="1256" y="98"/>
                </a:lnTo>
                <a:lnTo>
                  <a:pt x="1257" y="93"/>
                </a:lnTo>
                <a:lnTo>
                  <a:pt x="1256" y="90"/>
                </a:lnTo>
                <a:lnTo>
                  <a:pt x="1253" y="88"/>
                </a:lnTo>
                <a:lnTo>
                  <a:pt x="1251" y="86"/>
                </a:lnTo>
                <a:lnTo>
                  <a:pt x="1247" y="84"/>
                </a:lnTo>
                <a:lnTo>
                  <a:pt x="1244" y="83"/>
                </a:lnTo>
                <a:lnTo>
                  <a:pt x="1229" y="79"/>
                </a:lnTo>
                <a:lnTo>
                  <a:pt x="1215" y="74"/>
                </a:lnTo>
                <a:lnTo>
                  <a:pt x="1206" y="73"/>
                </a:lnTo>
                <a:lnTo>
                  <a:pt x="1198" y="73"/>
                </a:lnTo>
                <a:lnTo>
                  <a:pt x="1188" y="73"/>
                </a:lnTo>
                <a:lnTo>
                  <a:pt x="1179" y="74"/>
                </a:lnTo>
                <a:lnTo>
                  <a:pt x="1163" y="73"/>
                </a:lnTo>
                <a:lnTo>
                  <a:pt x="1148" y="73"/>
                </a:lnTo>
                <a:lnTo>
                  <a:pt x="1140" y="73"/>
                </a:lnTo>
                <a:lnTo>
                  <a:pt x="1133" y="73"/>
                </a:lnTo>
                <a:lnTo>
                  <a:pt x="1127" y="72"/>
                </a:lnTo>
                <a:lnTo>
                  <a:pt x="1128" y="72"/>
                </a:lnTo>
                <a:lnTo>
                  <a:pt x="1129" y="73"/>
                </a:lnTo>
                <a:lnTo>
                  <a:pt x="1130" y="73"/>
                </a:lnTo>
                <a:lnTo>
                  <a:pt x="1130" y="72"/>
                </a:lnTo>
                <a:lnTo>
                  <a:pt x="1128" y="71"/>
                </a:lnTo>
                <a:lnTo>
                  <a:pt x="1126" y="68"/>
                </a:lnTo>
                <a:lnTo>
                  <a:pt x="1124" y="67"/>
                </a:lnTo>
                <a:lnTo>
                  <a:pt x="1118" y="67"/>
                </a:lnTo>
                <a:lnTo>
                  <a:pt x="1112" y="67"/>
                </a:lnTo>
                <a:lnTo>
                  <a:pt x="1104" y="67"/>
                </a:lnTo>
                <a:lnTo>
                  <a:pt x="1096" y="67"/>
                </a:lnTo>
                <a:lnTo>
                  <a:pt x="1089" y="67"/>
                </a:lnTo>
                <a:lnTo>
                  <a:pt x="1083" y="67"/>
                </a:lnTo>
                <a:lnTo>
                  <a:pt x="1080" y="66"/>
                </a:lnTo>
                <a:lnTo>
                  <a:pt x="1077" y="65"/>
                </a:lnTo>
                <a:lnTo>
                  <a:pt x="1075" y="63"/>
                </a:lnTo>
                <a:lnTo>
                  <a:pt x="1074" y="59"/>
                </a:lnTo>
                <a:lnTo>
                  <a:pt x="1074" y="57"/>
                </a:lnTo>
                <a:lnTo>
                  <a:pt x="1074" y="55"/>
                </a:lnTo>
                <a:lnTo>
                  <a:pt x="1075" y="53"/>
                </a:lnTo>
                <a:lnTo>
                  <a:pt x="1076" y="51"/>
                </a:lnTo>
                <a:lnTo>
                  <a:pt x="1080" y="50"/>
                </a:lnTo>
                <a:lnTo>
                  <a:pt x="1084" y="48"/>
                </a:lnTo>
                <a:lnTo>
                  <a:pt x="1087" y="47"/>
                </a:lnTo>
                <a:lnTo>
                  <a:pt x="1088" y="46"/>
                </a:lnTo>
                <a:lnTo>
                  <a:pt x="1088" y="43"/>
                </a:lnTo>
                <a:lnTo>
                  <a:pt x="1088" y="41"/>
                </a:lnTo>
                <a:lnTo>
                  <a:pt x="1086" y="38"/>
                </a:lnTo>
                <a:lnTo>
                  <a:pt x="1083" y="34"/>
                </a:lnTo>
                <a:lnTo>
                  <a:pt x="1080" y="32"/>
                </a:lnTo>
                <a:lnTo>
                  <a:pt x="1077" y="30"/>
                </a:lnTo>
                <a:lnTo>
                  <a:pt x="1074" y="28"/>
                </a:lnTo>
                <a:lnTo>
                  <a:pt x="1072" y="24"/>
                </a:lnTo>
                <a:lnTo>
                  <a:pt x="1076" y="20"/>
                </a:lnTo>
                <a:lnTo>
                  <a:pt x="1079" y="15"/>
                </a:lnTo>
                <a:lnTo>
                  <a:pt x="1079" y="14"/>
                </a:lnTo>
                <a:lnTo>
                  <a:pt x="1079" y="13"/>
                </a:lnTo>
                <a:lnTo>
                  <a:pt x="1078" y="12"/>
                </a:lnTo>
                <a:lnTo>
                  <a:pt x="1076" y="10"/>
                </a:lnTo>
                <a:lnTo>
                  <a:pt x="1072" y="9"/>
                </a:lnTo>
                <a:lnTo>
                  <a:pt x="1070" y="8"/>
                </a:lnTo>
                <a:lnTo>
                  <a:pt x="1062" y="6"/>
                </a:lnTo>
                <a:lnTo>
                  <a:pt x="1054" y="4"/>
                </a:lnTo>
                <a:lnTo>
                  <a:pt x="1046" y="1"/>
                </a:lnTo>
                <a:lnTo>
                  <a:pt x="1038" y="1"/>
                </a:lnTo>
                <a:lnTo>
                  <a:pt x="1028" y="0"/>
                </a:lnTo>
                <a:lnTo>
                  <a:pt x="1019" y="0"/>
                </a:lnTo>
                <a:lnTo>
                  <a:pt x="1009" y="0"/>
                </a:lnTo>
                <a:lnTo>
                  <a:pt x="1000" y="0"/>
                </a:lnTo>
                <a:lnTo>
                  <a:pt x="963" y="1"/>
                </a:lnTo>
                <a:lnTo>
                  <a:pt x="927" y="5"/>
                </a:lnTo>
                <a:lnTo>
                  <a:pt x="891" y="8"/>
                </a:lnTo>
                <a:lnTo>
                  <a:pt x="855" y="14"/>
                </a:lnTo>
                <a:lnTo>
                  <a:pt x="838" y="17"/>
                </a:lnTo>
                <a:lnTo>
                  <a:pt x="821" y="21"/>
                </a:lnTo>
                <a:lnTo>
                  <a:pt x="803" y="24"/>
                </a:lnTo>
                <a:lnTo>
                  <a:pt x="786" y="26"/>
                </a:lnTo>
                <a:lnTo>
                  <a:pt x="769" y="30"/>
                </a:lnTo>
                <a:lnTo>
                  <a:pt x="751" y="32"/>
                </a:lnTo>
                <a:lnTo>
                  <a:pt x="734" y="36"/>
                </a:lnTo>
                <a:lnTo>
                  <a:pt x="718" y="40"/>
                </a:lnTo>
                <a:lnTo>
                  <a:pt x="701" y="45"/>
                </a:lnTo>
                <a:lnTo>
                  <a:pt x="685" y="49"/>
                </a:lnTo>
                <a:lnTo>
                  <a:pt x="668" y="54"/>
                </a:lnTo>
                <a:lnTo>
                  <a:pt x="651" y="58"/>
                </a:lnTo>
                <a:lnTo>
                  <a:pt x="634" y="63"/>
                </a:lnTo>
                <a:lnTo>
                  <a:pt x="617" y="67"/>
                </a:lnTo>
                <a:lnTo>
                  <a:pt x="600" y="72"/>
                </a:lnTo>
                <a:lnTo>
                  <a:pt x="583" y="76"/>
                </a:lnTo>
                <a:lnTo>
                  <a:pt x="566" y="81"/>
                </a:lnTo>
                <a:lnTo>
                  <a:pt x="550" y="84"/>
                </a:lnTo>
                <a:lnTo>
                  <a:pt x="533" y="89"/>
                </a:lnTo>
                <a:lnTo>
                  <a:pt x="516" y="95"/>
                </a:lnTo>
                <a:lnTo>
                  <a:pt x="500" y="100"/>
                </a:lnTo>
                <a:lnTo>
                  <a:pt x="484" y="106"/>
                </a:lnTo>
                <a:lnTo>
                  <a:pt x="468" y="113"/>
                </a:lnTo>
                <a:lnTo>
                  <a:pt x="452" y="120"/>
                </a:lnTo>
                <a:lnTo>
                  <a:pt x="421" y="133"/>
                </a:lnTo>
                <a:lnTo>
                  <a:pt x="392" y="147"/>
                </a:lnTo>
                <a:lnTo>
                  <a:pt x="361" y="161"/>
                </a:lnTo>
                <a:lnTo>
                  <a:pt x="330" y="172"/>
                </a:lnTo>
                <a:lnTo>
                  <a:pt x="316" y="176"/>
                </a:lnTo>
                <a:lnTo>
                  <a:pt x="301" y="180"/>
                </a:lnTo>
                <a:lnTo>
                  <a:pt x="286" y="184"/>
                </a:lnTo>
                <a:lnTo>
                  <a:pt x="272" y="191"/>
                </a:lnTo>
                <a:lnTo>
                  <a:pt x="260" y="198"/>
                </a:lnTo>
                <a:lnTo>
                  <a:pt x="247" y="204"/>
                </a:lnTo>
                <a:lnTo>
                  <a:pt x="242" y="207"/>
                </a:lnTo>
                <a:lnTo>
                  <a:pt x="236" y="211"/>
                </a:lnTo>
                <a:lnTo>
                  <a:pt x="230" y="214"/>
                </a:lnTo>
                <a:lnTo>
                  <a:pt x="226" y="219"/>
                </a:lnTo>
                <a:lnTo>
                  <a:pt x="222" y="223"/>
                </a:lnTo>
                <a:lnTo>
                  <a:pt x="220" y="227"/>
                </a:lnTo>
                <a:lnTo>
                  <a:pt x="219" y="231"/>
                </a:lnTo>
                <a:lnTo>
                  <a:pt x="218" y="236"/>
                </a:lnTo>
                <a:lnTo>
                  <a:pt x="217" y="245"/>
                </a:lnTo>
                <a:lnTo>
                  <a:pt x="219" y="255"/>
                </a:lnTo>
                <a:lnTo>
                  <a:pt x="222" y="264"/>
                </a:lnTo>
                <a:lnTo>
                  <a:pt x="227" y="272"/>
                </a:lnTo>
                <a:lnTo>
                  <a:pt x="234" y="281"/>
                </a:lnTo>
                <a:lnTo>
                  <a:pt x="238" y="291"/>
                </a:lnTo>
                <a:lnTo>
                  <a:pt x="238" y="296"/>
                </a:lnTo>
                <a:lnTo>
                  <a:pt x="237" y="299"/>
                </a:lnTo>
                <a:lnTo>
                  <a:pt x="234" y="303"/>
                </a:lnTo>
                <a:lnTo>
                  <a:pt x="230" y="305"/>
                </a:lnTo>
                <a:lnTo>
                  <a:pt x="214" y="315"/>
                </a:lnTo>
                <a:lnTo>
                  <a:pt x="199" y="325"/>
                </a:lnTo>
                <a:lnTo>
                  <a:pt x="186" y="335"/>
                </a:lnTo>
                <a:lnTo>
                  <a:pt x="171" y="345"/>
                </a:lnTo>
                <a:lnTo>
                  <a:pt x="157" y="355"/>
                </a:lnTo>
                <a:lnTo>
                  <a:pt x="143" y="365"/>
                </a:lnTo>
                <a:lnTo>
                  <a:pt x="116" y="386"/>
                </a:lnTo>
                <a:lnTo>
                  <a:pt x="90" y="406"/>
                </a:lnTo>
                <a:lnTo>
                  <a:pt x="64" y="428"/>
                </a:lnTo>
                <a:lnTo>
                  <a:pt x="39" y="449"/>
                </a:lnTo>
                <a:lnTo>
                  <a:pt x="28" y="461"/>
                </a:lnTo>
                <a:lnTo>
                  <a:pt x="16" y="471"/>
                </a:lnTo>
                <a:lnTo>
                  <a:pt x="12" y="478"/>
                </a:lnTo>
                <a:lnTo>
                  <a:pt x="7" y="483"/>
                </a:lnTo>
                <a:lnTo>
                  <a:pt x="4" y="490"/>
                </a:lnTo>
                <a:lnTo>
                  <a:pt x="1" y="498"/>
                </a:lnTo>
                <a:lnTo>
                  <a:pt x="0" y="503"/>
                </a:lnTo>
                <a:lnTo>
                  <a:pt x="0" y="508"/>
                </a:lnTo>
                <a:lnTo>
                  <a:pt x="1" y="514"/>
                </a:lnTo>
                <a:lnTo>
                  <a:pt x="5" y="519"/>
                </a:lnTo>
                <a:lnTo>
                  <a:pt x="11" y="523"/>
                </a:lnTo>
                <a:lnTo>
                  <a:pt x="18" y="528"/>
                </a:lnTo>
                <a:lnTo>
                  <a:pt x="26" y="531"/>
                </a:lnTo>
                <a:lnTo>
                  <a:pt x="33" y="534"/>
                </a:lnTo>
                <a:lnTo>
                  <a:pt x="40" y="536"/>
                </a:lnTo>
                <a:lnTo>
                  <a:pt x="48" y="537"/>
                </a:lnTo>
                <a:lnTo>
                  <a:pt x="55" y="537"/>
                </a:lnTo>
                <a:lnTo>
                  <a:pt x="63" y="536"/>
                </a:lnTo>
                <a:lnTo>
                  <a:pt x="70" y="534"/>
                </a:lnTo>
                <a:lnTo>
                  <a:pt x="78" y="532"/>
                </a:lnTo>
                <a:lnTo>
                  <a:pt x="84" y="534"/>
                </a:lnTo>
                <a:lnTo>
                  <a:pt x="92" y="535"/>
                </a:lnTo>
                <a:lnTo>
                  <a:pt x="95" y="537"/>
                </a:lnTo>
                <a:lnTo>
                  <a:pt x="96" y="538"/>
                </a:lnTo>
                <a:lnTo>
                  <a:pt x="96" y="540"/>
                </a:lnTo>
                <a:lnTo>
                  <a:pt x="95" y="543"/>
                </a:lnTo>
                <a:lnTo>
                  <a:pt x="91" y="546"/>
                </a:lnTo>
                <a:lnTo>
                  <a:pt x="88" y="551"/>
                </a:lnTo>
                <a:lnTo>
                  <a:pt x="80" y="563"/>
                </a:lnTo>
                <a:lnTo>
                  <a:pt x="73" y="574"/>
                </a:lnTo>
                <a:lnTo>
                  <a:pt x="69" y="580"/>
                </a:lnTo>
                <a:lnTo>
                  <a:pt x="64" y="585"/>
                </a:lnTo>
                <a:lnTo>
                  <a:pt x="62" y="590"/>
                </a:lnTo>
                <a:lnTo>
                  <a:pt x="59" y="596"/>
                </a:lnTo>
                <a:lnTo>
                  <a:pt x="58" y="602"/>
                </a:lnTo>
                <a:lnTo>
                  <a:pt x="61" y="607"/>
                </a:lnTo>
                <a:lnTo>
                  <a:pt x="63" y="613"/>
                </a:lnTo>
                <a:lnTo>
                  <a:pt x="69" y="619"/>
                </a:lnTo>
                <a:lnTo>
                  <a:pt x="75" y="622"/>
                </a:lnTo>
                <a:lnTo>
                  <a:pt x="81" y="626"/>
                </a:lnTo>
                <a:lnTo>
                  <a:pt x="88" y="628"/>
                </a:lnTo>
                <a:lnTo>
                  <a:pt x="95" y="630"/>
                </a:lnTo>
                <a:lnTo>
                  <a:pt x="103" y="631"/>
                </a:lnTo>
                <a:lnTo>
                  <a:pt x="110" y="631"/>
                </a:lnTo>
                <a:lnTo>
                  <a:pt x="118" y="630"/>
                </a:lnTo>
                <a:lnTo>
                  <a:pt x="124" y="629"/>
                </a:lnTo>
                <a:lnTo>
                  <a:pt x="139" y="626"/>
                </a:lnTo>
                <a:lnTo>
                  <a:pt x="154" y="620"/>
                </a:lnTo>
                <a:lnTo>
                  <a:pt x="168" y="612"/>
                </a:lnTo>
                <a:lnTo>
                  <a:pt x="181" y="604"/>
                </a:lnTo>
                <a:lnTo>
                  <a:pt x="195" y="596"/>
                </a:lnTo>
                <a:lnTo>
                  <a:pt x="209" y="588"/>
                </a:lnTo>
                <a:lnTo>
                  <a:pt x="223" y="581"/>
                </a:lnTo>
                <a:lnTo>
                  <a:pt x="238" y="573"/>
                </a:lnTo>
                <a:lnTo>
                  <a:pt x="254" y="566"/>
                </a:lnTo>
                <a:lnTo>
                  <a:pt x="270" y="560"/>
                </a:lnTo>
                <a:lnTo>
                  <a:pt x="287" y="554"/>
                </a:lnTo>
                <a:lnTo>
                  <a:pt x="303" y="547"/>
                </a:lnTo>
                <a:lnTo>
                  <a:pt x="320" y="543"/>
                </a:lnTo>
                <a:lnTo>
                  <a:pt x="336" y="538"/>
                </a:lnTo>
                <a:lnTo>
                  <a:pt x="353" y="532"/>
                </a:lnTo>
                <a:lnTo>
                  <a:pt x="369" y="528"/>
                </a:lnTo>
                <a:lnTo>
                  <a:pt x="383" y="520"/>
                </a:lnTo>
                <a:lnTo>
                  <a:pt x="397" y="514"/>
                </a:lnTo>
                <a:lnTo>
                  <a:pt x="413" y="507"/>
                </a:lnTo>
                <a:lnTo>
                  <a:pt x="429" y="502"/>
                </a:lnTo>
                <a:lnTo>
                  <a:pt x="444" y="496"/>
                </a:lnTo>
                <a:lnTo>
                  <a:pt x="459" y="490"/>
                </a:lnTo>
                <a:lnTo>
                  <a:pt x="461" y="489"/>
                </a:lnTo>
                <a:lnTo>
                  <a:pt x="463" y="488"/>
                </a:lnTo>
                <a:lnTo>
                  <a:pt x="466" y="488"/>
                </a:lnTo>
                <a:lnTo>
                  <a:pt x="468" y="489"/>
                </a:lnTo>
                <a:lnTo>
                  <a:pt x="470" y="493"/>
                </a:lnTo>
                <a:lnTo>
                  <a:pt x="469" y="495"/>
                </a:lnTo>
                <a:lnTo>
                  <a:pt x="468" y="497"/>
                </a:lnTo>
                <a:lnTo>
                  <a:pt x="466" y="498"/>
                </a:lnTo>
                <a:lnTo>
                  <a:pt x="456" y="506"/>
                </a:lnTo>
                <a:lnTo>
                  <a:pt x="445" y="514"/>
                </a:lnTo>
                <a:lnTo>
                  <a:pt x="441" y="519"/>
                </a:lnTo>
                <a:lnTo>
                  <a:pt x="436" y="522"/>
                </a:lnTo>
                <a:lnTo>
                  <a:pt x="430" y="526"/>
                </a:lnTo>
                <a:lnTo>
                  <a:pt x="425" y="528"/>
                </a:lnTo>
                <a:lnTo>
                  <a:pt x="426" y="530"/>
                </a:lnTo>
                <a:lnTo>
                  <a:pt x="426" y="534"/>
                </a:lnTo>
                <a:lnTo>
                  <a:pt x="425" y="536"/>
                </a:lnTo>
                <a:lnTo>
                  <a:pt x="423" y="539"/>
                </a:lnTo>
                <a:lnTo>
                  <a:pt x="417" y="545"/>
                </a:lnTo>
                <a:lnTo>
                  <a:pt x="412" y="549"/>
                </a:lnTo>
                <a:lnTo>
                  <a:pt x="410" y="553"/>
                </a:lnTo>
                <a:lnTo>
                  <a:pt x="408" y="557"/>
                </a:lnTo>
                <a:lnTo>
                  <a:pt x="405" y="562"/>
                </a:lnTo>
                <a:lnTo>
                  <a:pt x="404" y="566"/>
                </a:lnTo>
                <a:lnTo>
                  <a:pt x="404" y="572"/>
                </a:lnTo>
                <a:lnTo>
                  <a:pt x="403" y="578"/>
                </a:lnTo>
                <a:lnTo>
                  <a:pt x="401" y="586"/>
                </a:lnTo>
                <a:lnTo>
                  <a:pt x="397" y="594"/>
                </a:lnTo>
                <a:lnTo>
                  <a:pt x="396" y="602"/>
                </a:lnTo>
                <a:lnTo>
                  <a:pt x="396" y="609"/>
                </a:lnTo>
                <a:lnTo>
                  <a:pt x="399" y="615"/>
                </a:lnTo>
                <a:lnTo>
                  <a:pt x="401" y="622"/>
                </a:lnTo>
                <a:lnTo>
                  <a:pt x="404" y="624"/>
                </a:lnTo>
                <a:lnTo>
                  <a:pt x="408" y="627"/>
                </a:lnTo>
                <a:lnTo>
                  <a:pt x="411" y="629"/>
                </a:lnTo>
                <a:lnTo>
                  <a:pt x="416" y="630"/>
                </a:lnTo>
                <a:lnTo>
                  <a:pt x="424" y="632"/>
                </a:lnTo>
                <a:lnTo>
                  <a:pt x="432" y="634"/>
                </a:lnTo>
                <a:lnTo>
                  <a:pt x="442" y="634"/>
                </a:lnTo>
                <a:lnTo>
                  <a:pt x="451" y="631"/>
                </a:lnTo>
                <a:lnTo>
                  <a:pt x="460" y="629"/>
                </a:lnTo>
                <a:lnTo>
                  <a:pt x="469" y="626"/>
                </a:lnTo>
                <a:lnTo>
                  <a:pt x="489" y="618"/>
                </a:lnTo>
                <a:lnTo>
                  <a:pt x="509" y="610"/>
                </a:lnTo>
                <a:lnTo>
                  <a:pt x="528" y="603"/>
                </a:lnTo>
                <a:lnTo>
                  <a:pt x="548" y="596"/>
                </a:lnTo>
                <a:lnTo>
                  <a:pt x="557" y="593"/>
                </a:lnTo>
                <a:lnTo>
                  <a:pt x="567" y="590"/>
                </a:lnTo>
                <a:lnTo>
                  <a:pt x="576" y="588"/>
                </a:lnTo>
                <a:lnTo>
                  <a:pt x="586" y="586"/>
                </a:lnTo>
                <a:lnTo>
                  <a:pt x="596" y="585"/>
                </a:lnTo>
                <a:lnTo>
                  <a:pt x="605" y="584"/>
                </a:lnTo>
                <a:lnTo>
                  <a:pt x="614" y="581"/>
                </a:lnTo>
                <a:lnTo>
                  <a:pt x="623" y="579"/>
                </a:lnTo>
                <a:lnTo>
                  <a:pt x="632" y="577"/>
                </a:lnTo>
                <a:lnTo>
                  <a:pt x="641" y="573"/>
                </a:lnTo>
                <a:lnTo>
                  <a:pt x="650" y="570"/>
                </a:lnTo>
                <a:lnTo>
                  <a:pt x="659" y="565"/>
                </a:lnTo>
                <a:lnTo>
                  <a:pt x="665" y="562"/>
                </a:lnTo>
                <a:lnTo>
                  <a:pt x="672" y="559"/>
                </a:lnTo>
                <a:lnTo>
                  <a:pt x="679" y="555"/>
                </a:lnTo>
                <a:lnTo>
                  <a:pt x="685" y="554"/>
                </a:lnTo>
                <a:lnTo>
                  <a:pt x="689" y="555"/>
                </a:lnTo>
                <a:lnTo>
                  <a:pt x="690" y="556"/>
                </a:lnTo>
                <a:lnTo>
                  <a:pt x="691" y="559"/>
                </a:lnTo>
                <a:lnTo>
                  <a:pt x="692" y="562"/>
                </a:lnTo>
                <a:lnTo>
                  <a:pt x="691" y="568"/>
                </a:lnTo>
                <a:lnTo>
                  <a:pt x="692" y="573"/>
                </a:lnTo>
                <a:lnTo>
                  <a:pt x="693" y="580"/>
                </a:lnTo>
                <a:lnTo>
                  <a:pt x="697" y="587"/>
                </a:lnTo>
                <a:lnTo>
                  <a:pt x="700" y="594"/>
                </a:lnTo>
                <a:lnTo>
                  <a:pt x="705" y="599"/>
                </a:lnTo>
                <a:lnTo>
                  <a:pt x="709" y="605"/>
                </a:lnTo>
                <a:lnTo>
                  <a:pt x="714" y="610"/>
                </a:lnTo>
                <a:lnTo>
                  <a:pt x="718" y="615"/>
                </a:lnTo>
                <a:lnTo>
                  <a:pt x="723" y="621"/>
                </a:lnTo>
                <a:lnTo>
                  <a:pt x="728" y="623"/>
                </a:lnTo>
                <a:lnTo>
                  <a:pt x="733" y="622"/>
                </a:lnTo>
                <a:lnTo>
                  <a:pt x="737" y="620"/>
                </a:lnTo>
                <a:lnTo>
                  <a:pt x="741" y="615"/>
                </a:lnTo>
                <a:lnTo>
                  <a:pt x="747" y="611"/>
                </a:lnTo>
                <a:lnTo>
                  <a:pt x="751" y="606"/>
                </a:lnTo>
                <a:lnTo>
                  <a:pt x="754" y="604"/>
                </a:lnTo>
                <a:lnTo>
                  <a:pt x="756" y="603"/>
                </a:lnTo>
                <a:lnTo>
                  <a:pt x="758" y="603"/>
                </a:lnTo>
                <a:lnTo>
                  <a:pt x="762" y="604"/>
                </a:lnTo>
                <a:lnTo>
                  <a:pt x="765" y="607"/>
                </a:lnTo>
                <a:lnTo>
                  <a:pt x="766" y="612"/>
                </a:lnTo>
                <a:lnTo>
                  <a:pt x="766" y="613"/>
                </a:lnTo>
                <a:lnTo>
                  <a:pt x="767" y="614"/>
                </a:lnTo>
                <a:lnTo>
                  <a:pt x="770" y="615"/>
                </a:lnTo>
                <a:lnTo>
                  <a:pt x="773" y="615"/>
                </a:lnTo>
                <a:lnTo>
                  <a:pt x="780" y="617"/>
                </a:lnTo>
                <a:lnTo>
                  <a:pt x="788" y="615"/>
                </a:lnTo>
                <a:lnTo>
                  <a:pt x="797" y="614"/>
                </a:lnTo>
                <a:lnTo>
                  <a:pt x="806" y="613"/>
                </a:lnTo>
                <a:lnTo>
                  <a:pt x="816" y="612"/>
                </a:lnTo>
                <a:lnTo>
                  <a:pt x="825" y="611"/>
                </a:lnTo>
                <a:lnTo>
                  <a:pt x="830" y="610"/>
                </a:lnTo>
                <a:lnTo>
                  <a:pt x="835" y="607"/>
                </a:lnTo>
                <a:lnTo>
                  <a:pt x="838" y="605"/>
                </a:lnTo>
                <a:lnTo>
                  <a:pt x="842" y="603"/>
                </a:lnTo>
                <a:lnTo>
                  <a:pt x="837" y="604"/>
                </a:lnTo>
                <a:lnTo>
                  <a:pt x="831" y="605"/>
                </a:lnTo>
                <a:lnTo>
                  <a:pt x="825" y="605"/>
                </a:lnTo>
                <a:lnTo>
                  <a:pt x="820" y="605"/>
                </a:lnTo>
                <a:lnTo>
                  <a:pt x="807" y="604"/>
                </a:lnTo>
                <a:lnTo>
                  <a:pt x="796" y="602"/>
                </a:lnTo>
                <a:lnTo>
                  <a:pt x="786" y="602"/>
                </a:lnTo>
                <a:lnTo>
                  <a:pt x="775" y="601"/>
                </a:lnTo>
                <a:lnTo>
                  <a:pt x="772" y="598"/>
                </a:lnTo>
                <a:lnTo>
                  <a:pt x="771" y="596"/>
                </a:lnTo>
                <a:lnTo>
                  <a:pt x="772" y="594"/>
                </a:lnTo>
                <a:lnTo>
                  <a:pt x="774" y="593"/>
                </a:lnTo>
                <a:lnTo>
                  <a:pt x="781" y="589"/>
                </a:lnTo>
                <a:lnTo>
                  <a:pt x="789" y="587"/>
                </a:lnTo>
                <a:lnTo>
                  <a:pt x="800" y="585"/>
                </a:lnTo>
                <a:lnTo>
                  <a:pt x="811" y="581"/>
                </a:lnTo>
                <a:lnTo>
                  <a:pt x="823" y="577"/>
                </a:lnTo>
                <a:lnTo>
                  <a:pt x="836" y="573"/>
                </a:lnTo>
                <a:lnTo>
                  <a:pt x="848" y="570"/>
                </a:lnTo>
                <a:lnTo>
                  <a:pt x="861" y="566"/>
                </a:lnTo>
                <a:lnTo>
                  <a:pt x="885" y="562"/>
                </a:lnTo>
                <a:lnTo>
                  <a:pt x="910" y="559"/>
                </a:lnTo>
                <a:lnTo>
                  <a:pt x="921" y="556"/>
                </a:lnTo>
                <a:lnTo>
                  <a:pt x="934" y="553"/>
                </a:lnTo>
                <a:lnTo>
                  <a:pt x="945" y="548"/>
                </a:lnTo>
                <a:lnTo>
                  <a:pt x="956" y="544"/>
                </a:lnTo>
                <a:lnTo>
                  <a:pt x="961" y="543"/>
                </a:lnTo>
                <a:lnTo>
                  <a:pt x="965" y="540"/>
                </a:lnTo>
                <a:lnTo>
                  <a:pt x="970" y="540"/>
                </a:lnTo>
                <a:lnTo>
                  <a:pt x="975" y="541"/>
                </a:lnTo>
                <a:lnTo>
                  <a:pt x="980" y="543"/>
                </a:lnTo>
                <a:lnTo>
                  <a:pt x="986" y="544"/>
                </a:lnTo>
                <a:lnTo>
                  <a:pt x="990" y="544"/>
                </a:lnTo>
                <a:lnTo>
                  <a:pt x="996" y="543"/>
                </a:lnTo>
                <a:lnTo>
                  <a:pt x="1006" y="538"/>
                </a:lnTo>
                <a:lnTo>
                  <a:pt x="1014" y="532"/>
                </a:lnTo>
                <a:lnTo>
                  <a:pt x="1023" y="527"/>
                </a:lnTo>
                <a:lnTo>
                  <a:pt x="1034" y="522"/>
                </a:lnTo>
                <a:lnTo>
                  <a:pt x="1045" y="520"/>
                </a:lnTo>
                <a:lnTo>
                  <a:pt x="1056" y="519"/>
                </a:lnTo>
                <a:lnTo>
                  <a:pt x="1068" y="518"/>
                </a:lnTo>
                <a:lnTo>
                  <a:pt x="1079" y="518"/>
                </a:lnTo>
                <a:lnTo>
                  <a:pt x="1092" y="515"/>
                </a:lnTo>
                <a:lnTo>
                  <a:pt x="1104" y="514"/>
                </a:lnTo>
                <a:lnTo>
                  <a:pt x="1116" y="511"/>
                </a:lnTo>
                <a:lnTo>
                  <a:pt x="1128" y="508"/>
                </a:lnTo>
                <a:lnTo>
                  <a:pt x="1153" y="502"/>
                </a:lnTo>
                <a:lnTo>
                  <a:pt x="1178" y="496"/>
                </a:lnTo>
                <a:lnTo>
                  <a:pt x="1203" y="490"/>
                </a:lnTo>
                <a:lnTo>
                  <a:pt x="1228" y="486"/>
                </a:lnTo>
                <a:lnTo>
                  <a:pt x="1240" y="483"/>
                </a:lnTo>
                <a:lnTo>
                  <a:pt x="1251" y="481"/>
                </a:lnTo>
                <a:lnTo>
                  <a:pt x="1264" y="480"/>
                </a:lnTo>
                <a:lnTo>
                  <a:pt x="1275" y="479"/>
                </a:lnTo>
                <a:lnTo>
                  <a:pt x="1277" y="479"/>
                </a:lnTo>
                <a:lnTo>
                  <a:pt x="1281" y="478"/>
                </a:lnTo>
                <a:lnTo>
                  <a:pt x="1283" y="477"/>
                </a:lnTo>
                <a:lnTo>
                  <a:pt x="1284" y="474"/>
                </a:lnTo>
                <a:lnTo>
                  <a:pt x="1283" y="471"/>
                </a:lnTo>
                <a:lnTo>
                  <a:pt x="1281" y="469"/>
                </a:lnTo>
                <a:lnTo>
                  <a:pt x="1277" y="468"/>
                </a:lnTo>
                <a:lnTo>
                  <a:pt x="1274" y="466"/>
                </a:lnTo>
                <a:lnTo>
                  <a:pt x="1265" y="464"/>
                </a:lnTo>
                <a:lnTo>
                  <a:pt x="1256" y="463"/>
                </a:lnTo>
                <a:lnTo>
                  <a:pt x="1241" y="462"/>
                </a:lnTo>
                <a:lnTo>
                  <a:pt x="1227" y="461"/>
                </a:lnTo>
                <a:lnTo>
                  <a:pt x="1215" y="460"/>
                </a:lnTo>
                <a:lnTo>
                  <a:pt x="1202" y="460"/>
                </a:lnTo>
                <a:lnTo>
                  <a:pt x="1190" y="458"/>
                </a:lnTo>
                <a:lnTo>
                  <a:pt x="1177" y="458"/>
                </a:lnTo>
                <a:lnTo>
                  <a:pt x="1150" y="460"/>
                </a:lnTo>
                <a:lnTo>
                  <a:pt x="1124" y="462"/>
                </a:lnTo>
                <a:lnTo>
                  <a:pt x="1097" y="464"/>
                </a:lnTo>
                <a:lnTo>
                  <a:pt x="1071" y="468"/>
                </a:lnTo>
                <a:lnTo>
                  <a:pt x="1059" y="470"/>
                </a:lnTo>
                <a:lnTo>
                  <a:pt x="1046" y="471"/>
                </a:lnTo>
                <a:lnTo>
                  <a:pt x="1041" y="471"/>
                </a:lnTo>
                <a:lnTo>
                  <a:pt x="1036" y="471"/>
                </a:lnTo>
                <a:lnTo>
                  <a:pt x="1031" y="473"/>
                </a:lnTo>
                <a:lnTo>
                  <a:pt x="1026" y="474"/>
                </a:lnTo>
                <a:lnTo>
                  <a:pt x="1021" y="474"/>
                </a:lnTo>
                <a:lnTo>
                  <a:pt x="1019" y="472"/>
                </a:lnTo>
                <a:lnTo>
                  <a:pt x="1019" y="471"/>
                </a:lnTo>
                <a:lnTo>
                  <a:pt x="1019" y="470"/>
                </a:lnTo>
                <a:lnTo>
                  <a:pt x="1019" y="468"/>
                </a:lnTo>
                <a:lnTo>
                  <a:pt x="1021" y="466"/>
                </a:lnTo>
                <a:lnTo>
                  <a:pt x="1030" y="464"/>
                </a:lnTo>
                <a:lnTo>
                  <a:pt x="1039" y="463"/>
                </a:lnTo>
                <a:lnTo>
                  <a:pt x="1042" y="462"/>
                </a:lnTo>
                <a:lnTo>
                  <a:pt x="1044" y="461"/>
                </a:lnTo>
                <a:lnTo>
                  <a:pt x="1047" y="461"/>
                </a:lnTo>
                <a:lnTo>
                  <a:pt x="1050" y="460"/>
                </a:lnTo>
                <a:lnTo>
                  <a:pt x="1055" y="460"/>
                </a:lnTo>
                <a:lnTo>
                  <a:pt x="1061" y="458"/>
                </a:lnTo>
                <a:lnTo>
                  <a:pt x="1075" y="456"/>
                </a:lnTo>
                <a:lnTo>
                  <a:pt x="1087" y="453"/>
                </a:lnTo>
                <a:lnTo>
                  <a:pt x="1099" y="449"/>
                </a:lnTo>
                <a:lnTo>
                  <a:pt x="1111" y="446"/>
                </a:lnTo>
                <a:lnTo>
                  <a:pt x="1124" y="443"/>
                </a:lnTo>
                <a:lnTo>
                  <a:pt x="1136" y="439"/>
                </a:lnTo>
                <a:lnTo>
                  <a:pt x="1149" y="438"/>
                </a:lnTo>
                <a:lnTo>
                  <a:pt x="1161" y="436"/>
                </a:lnTo>
                <a:lnTo>
                  <a:pt x="1174" y="433"/>
                </a:lnTo>
                <a:lnTo>
                  <a:pt x="1186" y="431"/>
                </a:lnTo>
                <a:lnTo>
                  <a:pt x="1196" y="428"/>
                </a:lnTo>
                <a:lnTo>
                  <a:pt x="1207" y="424"/>
                </a:lnTo>
                <a:lnTo>
                  <a:pt x="1217" y="423"/>
                </a:lnTo>
                <a:lnTo>
                  <a:pt x="1227" y="423"/>
                </a:lnTo>
                <a:lnTo>
                  <a:pt x="1237" y="423"/>
                </a:lnTo>
                <a:lnTo>
                  <a:pt x="1247" y="421"/>
                </a:lnTo>
                <a:lnTo>
                  <a:pt x="1251" y="420"/>
                </a:lnTo>
                <a:lnTo>
                  <a:pt x="1254" y="418"/>
                </a:lnTo>
                <a:lnTo>
                  <a:pt x="1258" y="414"/>
                </a:lnTo>
                <a:lnTo>
                  <a:pt x="1262" y="411"/>
                </a:lnTo>
                <a:lnTo>
                  <a:pt x="1269" y="404"/>
                </a:lnTo>
                <a:lnTo>
                  <a:pt x="1277" y="397"/>
                </a:lnTo>
                <a:lnTo>
                  <a:pt x="1284" y="389"/>
                </a:lnTo>
                <a:lnTo>
                  <a:pt x="1290" y="381"/>
                </a:lnTo>
                <a:lnTo>
                  <a:pt x="1290" y="377"/>
                </a:lnTo>
                <a:lnTo>
                  <a:pt x="1290" y="373"/>
                </a:lnTo>
                <a:lnTo>
                  <a:pt x="1287" y="371"/>
                </a:lnTo>
                <a:lnTo>
                  <a:pt x="1283" y="369"/>
                </a:lnTo>
                <a:lnTo>
                  <a:pt x="1272" y="364"/>
                </a:lnTo>
                <a:lnTo>
                  <a:pt x="1260" y="360"/>
                </a:lnTo>
                <a:lnTo>
                  <a:pt x="1248" y="357"/>
                </a:lnTo>
                <a:lnTo>
                  <a:pt x="1234" y="356"/>
                </a:lnTo>
                <a:lnTo>
                  <a:pt x="1221" y="356"/>
                </a:lnTo>
                <a:lnTo>
                  <a:pt x="1208" y="357"/>
                </a:lnTo>
                <a:lnTo>
                  <a:pt x="1182" y="361"/>
                </a:lnTo>
                <a:lnTo>
                  <a:pt x="1155" y="363"/>
                </a:lnTo>
                <a:lnTo>
                  <a:pt x="1129" y="365"/>
                </a:lnTo>
                <a:lnTo>
                  <a:pt x="1103" y="369"/>
                </a:lnTo>
                <a:lnTo>
                  <a:pt x="1077" y="373"/>
                </a:lnTo>
                <a:lnTo>
                  <a:pt x="1052" y="378"/>
                </a:lnTo>
                <a:lnTo>
                  <a:pt x="1027" y="382"/>
                </a:lnTo>
                <a:lnTo>
                  <a:pt x="1001" y="387"/>
                </a:lnTo>
                <a:lnTo>
                  <a:pt x="988" y="389"/>
                </a:lnTo>
                <a:lnTo>
                  <a:pt x="976" y="391"/>
                </a:lnTo>
                <a:lnTo>
                  <a:pt x="963" y="393"/>
                </a:lnTo>
                <a:lnTo>
                  <a:pt x="949" y="394"/>
                </a:lnTo>
                <a:lnTo>
                  <a:pt x="939" y="395"/>
                </a:lnTo>
                <a:lnTo>
                  <a:pt x="930" y="397"/>
                </a:lnTo>
                <a:lnTo>
                  <a:pt x="921" y="403"/>
                </a:lnTo>
                <a:lnTo>
                  <a:pt x="912" y="408"/>
                </a:lnTo>
                <a:lnTo>
                  <a:pt x="903" y="411"/>
                </a:lnTo>
                <a:lnTo>
                  <a:pt x="894" y="413"/>
                </a:lnTo>
                <a:lnTo>
                  <a:pt x="885" y="414"/>
                </a:lnTo>
                <a:lnTo>
                  <a:pt x="875" y="416"/>
                </a:lnTo>
                <a:lnTo>
                  <a:pt x="866" y="419"/>
                </a:lnTo>
                <a:lnTo>
                  <a:pt x="858" y="423"/>
                </a:lnTo>
                <a:lnTo>
                  <a:pt x="854" y="425"/>
                </a:lnTo>
                <a:lnTo>
                  <a:pt x="850" y="428"/>
                </a:lnTo>
                <a:lnTo>
                  <a:pt x="846" y="428"/>
                </a:lnTo>
                <a:lnTo>
                  <a:pt x="840" y="428"/>
                </a:lnTo>
                <a:lnTo>
                  <a:pt x="831" y="429"/>
                </a:lnTo>
                <a:lnTo>
                  <a:pt x="822" y="432"/>
                </a:lnTo>
                <a:lnTo>
                  <a:pt x="812" y="437"/>
                </a:lnTo>
                <a:lnTo>
                  <a:pt x="802" y="440"/>
                </a:lnTo>
                <a:lnTo>
                  <a:pt x="790" y="444"/>
                </a:lnTo>
                <a:lnTo>
                  <a:pt x="779" y="447"/>
                </a:lnTo>
                <a:lnTo>
                  <a:pt x="767" y="452"/>
                </a:lnTo>
                <a:lnTo>
                  <a:pt x="756" y="455"/>
                </a:lnTo>
                <a:lnTo>
                  <a:pt x="745" y="460"/>
                </a:lnTo>
                <a:lnTo>
                  <a:pt x="734" y="464"/>
                </a:lnTo>
                <a:lnTo>
                  <a:pt x="729" y="466"/>
                </a:lnTo>
                <a:lnTo>
                  <a:pt x="724" y="469"/>
                </a:lnTo>
                <a:lnTo>
                  <a:pt x="718" y="471"/>
                </a:lnTo>
                <a:lnTo>
                  <a:pt x="713" y="472"/>
                </a:lnTo>
                <a:lnTo>
                  <a:pt x="709" y="473"/>
                </a:lnTo>
                <a:lnTo>
                  <a:pt x="705" y="474"/>
                </a:lnTo>
                <a:lnTo>
                  <a:pt x="702" y="476"/>
                </a:lnTo>
                <a:lnTo>
                  <a:pt x="700" y="477"/>
                </a:lnTo>
                <a:lnTo>
                  <a:pt x="697" y="479"/>
                </a:lnTo>
                <a:lnTo>
                  <a:pt x="693" y="480"/>
                </a:lnTo>
                <a:lnTo>
                  <a:pt x="688" y="482"/>
                </a:lnTo>
                <a:lnTo>
                  <a:pt x="683" y="483"/>
                </a:lnTo>
                <a:lnTo>
                  <a:pt x="673" y="487"/>
                </a:lnTo>
                <a:lnTo>
                  <a:pt x="664" y="490"/>
                </a:lnTo>
                <a:lnTo>
                  <a:pt x="654" y="494"/>
                </a:lnTo>
                <a:lnTo>
                  <a:pt x="643" y="495"/>
                </a:lnTo>
                <a:lnTo>
                  <a:pt x="652" y="487"/>
                </a:lnTo>
                <a:lnTo>
                  <a:pt x="662" y="480"/>
                </a:lnTo>
                <a:lnTo>
                  <a:pt x="671" y="474"/>
                </a:lnTo>
                <a:lnTo>
                  <a:pt x="681" y="469"/>
                </a:lnTo>
                <a:lnTo>
                  <a:pt x="690" y="464"/>
                </a:lnTo>
                <a:lnTo>
                  <a:pt x="700" y="461"/>
                </a:lnTo>
                <a:lnTo>
                  <a:pt x="710" y="457"/>
                </a:lnTo>
                <a:lnTo>
                  <a:pt x="720" y="453"/>
                </a:lnTo>
                <a:lnTo>
                  <a:pt x="728" y="449"/>
                </a:lnTo>
                <a:lnTo>
                  <a:pt x="736" y="446"/>
                </a:lnTo>
                <a:lnTo>
                  <a:pt x="743" y="444"/>
                </a:lnTo>
                <a:lnTo>
                  <a:pt x="751" y="441"/>
                </a:lnTo>
                <a:lnTo>
                  <a:pt x="758" y="437"/>
                </a:lnTo>
                <a:lnTo>
                  <a:pt x="765" y="432"/>
                </a:lnTo>
                <a:lnTo>
                  <a:pt x="770" y="432"/>
                </a:lnTo>
                <a:lnTo>
                  <a:pt x="773" y="431"/>
                </a:lnTo>
                <a:lnTo>
                  <a:pt x="775" y="429"/>
                </a:lnTo>
                <a:lnTo>
                  <a:pt x="776" y="427"/>
                </a:lnTo>
                <a:lnTo>
                  <a:pt x="783" y="423"/>
                </a:lnTo>
                <a:lnTo>
                  <a:pt x="790" y="422"/>
                </a:lnTo>
                <a:lnTo>
                  <a:pt x="794" y="420"/>
                </a:lnTo>
                <a:lnTo>
                  <a:pt x="798" y="418"/>
                </a:lnTo>
                <a:lnTo>
                  <a:pt x="805" y="415"/>
                </a:lnTo>
                <a:lnTo>
                  <a:pt x="812" y="413"/>
                </a:lnTo>
                <a:lnTo>
                  <a:pt x="815" y="413"/>
                </a:lnTo>
                <a:lnTo>
                  <a:pt x="820" y="412"/>
                </a:lnTo>
                <a:lnTo>
                  <a:pt x="822" y="410"/>
                </a:lnTo>
                <a:lnTo>
                  <a:pt x="823" y="407"/>
                </a:lnTo>
                <a:lnTo>
                  <a:pt x="830" y="404"/>
                </a:lnTo>
                <a:lnTo>
                  <a:pt x="838" y="403"/>
                </a:lnTo>
                <a:lnTo>
                  <a:pt x="841" y="400"/>
                </a:lnTo>
                <a:lnTo>
                  <a:pt x="845" y="398"/>
                </a:lnTo>
                <a:lnTo>
                  <a:pt x="848" y="398"/>
                </a:lnTo>
                <a:lnTo>
                  <a:pt x="850" y="397"/>
                </a:lnTo>
                <a:lnTo>
                  <a:pt x="852" y="396"/>
                </a:lnTo>
                <a:lnTo>
                  <a:pt x="854" y="395"/>
                </a:lnTo>
                <a:lnTo>
                  <a:pt x="856" y="394"/>
                </a:lnTo>
                <a:lnTo>
                  <a:pt x="858" y="394"/>
                </a:lnTo>
                <a:lnTo>
                  <a:pt x="862" y="390"/>
                </a:lnTo>
                <a:lnTo>
                  <a:pt x="865" y="388"/>
                </a:lnTo>
                <a:lnTo>
                  <a:pt x="874" y="386"/>
                </a:lnTo>
                <a:lnTo>
                  <a:pt x="883" y="383"/>
                </a:lnTo>
                <a:lnTo>
                  <a:pt x="893" y="380"/>
                </a:lnTo>
                <a:lnTo>
                  <a:pt x="902" y="377"/>
                </a:lnTo>
                <a:lnTo>
                  <a:pt x="910" y="374"/>
                </a:lnTo>
                <a:lnTo>
                  <a:pt x="916" y="371"/>
                </a:lnTo>
                <a:lnTo>
                  <a:pt x="919" y="370"/>
                </a:lnTo>
                <a:lnTo>
                  <a:pt x="921" y="370"/>
                </a:lnTo>
                <a:lnTo>
                  <a:pt x="923" y="370"/>
                </a:lnTo>
                <a:lnTo>
                  <a:pt x="927" y="369"/>
                </a:lnTo>
                <a:lnTo>
                  <a:pt x="932" y="366"/>
                </a:lnTo>
                <a:lnTo>
                  <a:pt x="937" y="364"/>
                </a:lnTo>
                <a:lnTo>
                  <a:pt x="948" y="360"/>
                </a:lnTo>
                <a:lnTo>
                  <a:pt x="960" y="357"/>
                </a:lnTo>
                <a:lnTo>
                  <a:pt x="965" y="356"/>
                </a:lnTo>
                <a:lnTo>
                  <a:pt x="970" y="356"/>
                </a:lnTo>
                <a:lnTo>
                  <a:pt x="971" y="356"/>
                </a:lnTo>
                <a:lnTo>
                  <a:pt x="973" y="355"/>
                </a:lnTo>
                <a:lnTo>
                  <a:pt x="975" y="353"/>
                </a:lnTo>
                <a:lnTo>
                  <a:pt x="975" y="349"/>
                </a:lnTo>
                <a:lnTo>
                  <a:pt x="978" y="352"/>
                </a:lnTo>
                <a:lnTo>
                  <a:pt x="981" y="353"/>
                </a:lnTo>
                <a:lnTo>
                  <a:pt x="985" y="354"/>
                </a:lnTo>
                <a:lnTo>
                  <a:pt x="988" y="352"/>
                </a:lnTo>
                <a:lnTo>
                  <a:pt x="993" y="347"/>
                </a:lnTo>
                <a:lnTo>
                  <a:pt x="997" y="341"/>
                </a:lnTo>
                <a:lnTo>
                  <a:pt x="1003" y="341"/>
                </a:lnTo>
                <a:lnTo>
                  <a:pt x="1009" y="341"/>
                </a:lnTo>
                <a:lnTo>
                  <a:pt x="1019" y="337"/>
                </a:lnTo>
                <a:lnTo>
                  <a:pt x="1029" y="332"/>
                </a:lnTo>
                <a:lnTo>
                  <a:pt x="1051" y="325"/>
                </a:lnTo>
                <a:lnTo>
                  <a:pt x="1074" y="320"/>
                </a:lnTo>
                <a:lnTo>
                  <a:pt x="1095" y="315"/>
                </a:lnTo>
                <a:lnTo>
                  <a:pt x="1117" y="308"/>
                </a:lnTo>
                <a:lnTo>
                  <a:pt x="1138" y="300"/>
                </a:lnTo>
                <a:lnTo>
                  <a:pt x="1162" y="294"/>
                </a:lnTo>
                <a:lnTo>
                  <a:pt x="1186" y="289"/>
                </a:lnTo>
                <a:lnTo>
                  <a:pt x="1210" y="285"/>
                </a:lnTo>
                <a:lnTo>
                  <a:pt x="1221" y="282"/>
                </a:lnTo>
                <a:lnTo>
                  <a:pt x="1234" y="280"/>
                </a:lnTo>
                <a:lnTo>
                  <a:pt x="1245" y="278"/>
                </a:lnTo>
                <a:lnTo>
                  <a:pt x="1258" y="275"/>
                </a:lnTo>
                <a:lnTo>
                  <a:pt x="1267" y="273"/>
                </a:lnTo>
                <a:lnTo>
                  <a:pt x="1277" y="270"/>
                </a:lnTo>
                <a:lnTo>
                  <a:pt x="1285" y="269"/>
                </a:lnTo>
                <a:lnTo>
                  <a:pt x="1293" y="266"/>
                </a:lnTo>
                <a:lnTo>
                  <a:pt x="1298" y="265"/>
                </a:lnTo>
                <a:lnTo>
                  <a:pt x="1300" y="263"/>
                </a:lnTo>
                <a:lnTo>
                  <a:pt x="1302" y="259"/>
                </a:lnTo>
                <a:lnTo>
                  <a:pt x="1305" y="256"/>
                </a:lnTo>
                <a:lnTo>
                  <a:pt x="1307" y="252"/>
                </a:lnTo>
                <a:lnTo>
                  <a:pt x="1309" y="248"/>
                </a:lnTo>
                <a:lnTo>
                  <a:pt x="1313" y="245"/>
                </a:lnTo>
                <a:lnTo>
                  <a:pt x="1316" y="241"/>
                </a:lnTo>
                <a:lnTo>
                  <a:pt x="1323" y="237"/>
                </a:lnTo>
                <a:lnTo>
                  <a:pt x="1331" y="230"/>
                </a:lnTo>
                <a:lnTo>
                  <a:pt x="1334" y="227"/>
                </a:lnTo>
                <a:lnTo>
                  <a:pt x="1335" y="223"/>
                </a:lnTo>
                <a:lnTo>
                  <a:pt x="1335" y="221"/>
                </a:lnTo>
                <a:lnTo>
                  <a:pt x="1334" y="220"/>
                </a:lnTo>
                <a:lnTo>
                  <a:pt x="1332" y="217"/>
                </a:lnTo>
                <a:lnTo>
                  <a:pt x="1330" y="216"/>
                </a:lnTo>
                <a:lnTo>
                  <a:pt x="1325" y="214"/>
                </a:lnTo>
                <a:lnTo>
                  <a:pt x="1328" y="215"/>
                </a:lnTo>
                <a:lnTo>
                  <a:pt x="1332" y="216"/>
                </a:lnTo>
                <a:lnTo>
                  <a:pt x="1330" y="216"/>
                </a:lnTo>
                <a:close/>
                <a:moveTo>
                  <a:pt x="429" y="408"/>
                </a:moveTo>
                <a:lnTo>
                  <a:pt x="466" y="388"/>
                </a:lnTo>
                <a:lnTo>
                  <a:pt x="504" y="370"/>
                </a:lnTo>
                <a:lnTo>
                  <a:pt x="543" y="353"/>
                </a:lnTo>
                <a:lnTo>
                  <a:pt x="583" y="338"/>
                </a:lnTo>
                <a:lnTo>
                  <a:pt x="545" y="356"/>
                </a:lnTo>
                <a:lnTo>
                  <a:pt x="507" y="375"/>
                </a:lnTo>
                <a:lnTo>
                  <a:pt x="489" y="385"/>
                </a:lnTo>
                <a:lnTo>
                  <a:pt x="469" y="394"/>
                </a:lnTo>
                <a:lnTo>
                  <a:pt x="449" y="402"/>
                </a:lnTo>
                <a:lnTo>
                  <a:pt x="429" y="408"/>
                </a:lnTo>
                <a:close/>
                <a:moveTo>
                  <a:pt x="586" y="336"/>
                </a:moveTo>
                <a:lnTo>
                  <a:pt x="585" y="335"/>
                </a:lnTo>
                <a:lnTo>
                  <a:pt x="586" y="333"/>
                </a:lnTo>
                <a:lnTo>
                  <a:pt x="586" y="332"/>
                </a:lnTo>
                <a:lnTo>
                  <a:pt x="588" y="332"/>
                </a:lnTo>
                <a:lnTo>
                  <a:pt x="591" y="331"/>
                </a:lnTo>
                <a:lnTo>
                  <a:pt x="593" y="331"/>
                </a:lnTo>
                <a:lnTo>
                  <a:pt x="593" y="333"/>
                </a:lnTo>
                <a:lnTo>
                  <a:pt x="596" y="335"/>
                </a:lnTo>
                <a:lnTo>
                  <a:pt x="594" y="336"/>
                </a:lnTo>
                <a:lnTo>
                  <a:pt x="591" y="338"/>
                </a:lnTo>
                <a:lnTo>
                  <a:pt x="590" y="338"/>
                </a:lnTo>
                <a:lnTo>
                  <a:pt x="588" y="338"/>
                </a:lnTo>
                <a:lnTo>
                  <a:pt x="586" y="337"/>
                </a:lnTo>
                <a:lnTo>
                  <a:pt x="586" y="336"/>
                </a:lnTo>
                <a:lnTo>
                  <a:pt x="585" y="336"/>
                </a:lnTo>
                <a:lnTo>
                  <a:pt x="586" y="336"/>
                </a:lnTo>
                <a:close/>
                <a:moveTo>
                  <a:pt x="660" y="547"/>
                </a:moveTo>
                <a:lnTo>
                  <a:pt x="666" y="544"/>
                </a:lnTo>
                <a:lnTo>
                  <a:pt x="673" y="539"/>
                </a:lnTo>
                <a:lnTo>
                  <a:pt x="677" y="537"/>
                </a:lnTo>
                <a:lnTo>
                  <a:pt x="681" y="536"/>
                </a:lnTo>
                <a:lnTo>
                  <a:pt x="684" y="535"/>
                </a:lnTo>
                <a:lnTo>
                  <a:pt x="688" y="536"/>
                </a:lnTo>
                <a:lnTo>
                  <a:pt x="690" y="538"/>
                </a:lnTo>
                <a:lnTo>
                  <a:pt x="690" y="541"/>
                </a:lnTo>
                <a:lnTo>
                  <a:pt x="689" y="544"/>
                </a:lnTo>
                <a:lnTo>
                  <a:pt x="685" y="546"/>
                </a:lnTo>
                <a:lnTo>
                  <a:pt x="683" y="547"/>
                </a:lnTo>
                <a:lnTo>
                  <a:pt x="681" y="549"/>
                </a:lnTo>
                <a:lnTo>
                  <a:pt x="680" y="552"/>
                </a:lnTo>
                <a:lnTo>
                  <a:pt x="681" y="554"/>
                </a:lnTo>
                <a:lnTo>
                  <a:pt x="673" y="554"/>
                </a:lnTo>
                <a:lnTo>
                  <a:pt x="665" y="556"/>
                </a:lnTo>
                <a:lnTo>
                  <a:pt x="662" y="556"/>
                </a:lnTo>
                <a:lnTo>
                  <a:pt x="658" y="556"/>
                </a:lnTo>
                <a:lnTo>
                  <a:pt x="657" y="554"/>
                </a:lnTo>
                <a:lnTo>
                  <a:pt x="657" y="552"/>
                </a:lnTo>
                <a:lnTo>
                  <a:pt x="658" y="549"/>
                </a:lnTo>
                <a:lnTo>
                  <a:pt x="660" y="547"/>
                </a:lnTo>
                <a:lnTo>
                  <a:pt x="663" y="547"/>
                </a:lnTo>
                <a:lnTo>
                  <a:pt x="660" y="547"/>
                </a:lnTo>
                <a:close/>
                <a:moveTo>
                  <a:pt x="729" y="290"/>
                </a:moveTo>
                <a:lnTo>
                  <a:pt x="715" y="294"/>
                </a:lnTo>
                <a:lnTo>
                  <a:pt x="702" y="297"/>
                </a:lnTo>
                <a:lnTo>
                  <a:pt x="690" y="302"/>
                </a:lnTo>
                <a:lnTo>
                  <a:pt x="676" y="306"/>
                </a:lnTo>
                <a:lnTo>
                  <a:pt x="664" y="311"/>
                </a:lnTo>
                <a:lnTo>
                  <a:pt x="652" y="315"/>
                </a:lnTo>
                <a:lnTo>
                  <a:pt x="649" y="317"/>
                </a:lnTo>
                <a:lnTo>
                  <a:pt x="646" y="317"/>
                </a:lnTo>
                <a:lnTo>
                  <a:pt x="644" y="316"/>
                </a:lnTo>
                <a:lnTo>
                  <a:pt x="643" y="315"/>
                </a:lnTo>
                <a:lnTo>
                  <a:pt x="643" y="313"/>
                </a:lnTo>
                <a:lnTo>
                  <a:pt x="643" y="312"/>
                </a:lnTo>
                <a:lnTo>
                  <a:pt x="646" y="310"/>
                </a:lnTo>
                <a:lnTo>
                  <a:pt x="648" y="308"/>
                </a:lnTo>
                <a:lnTo>
                  <a:pt x="654" y="306"/>
                </a:lnTo>
                <a:lnTo>
                  <a:pt x="658" y="304"/>
                </a:lnTo>
                <a:lnTo>
                  <a:pt x="669" y="300"/>
                </a:lnTo>
                <a:lnTo>
                  <a:pt x="681" y="296"/>
                </a:lnTo>
                <a:lnTo>
                  <a:pt x="693" y="292"/>
                </a:lnTo>
                <a:lnTo>
                  <a:pt x="705" y="289"/>
                </a:lnTo>
                <a:lnTo>
                  <a:pt x="717" y="286"/>
                </a:lnTo>
                <a:lnTo>
                  <a:pt x="729" y="282"/>
                </a:lnTo>
                <a:lnTo>
                  <a:pt x="729" y="286"/>
                </a:lnTo>
                <a:lnTo>
                  <a:pt x="729" y="290"/>
                </a:lnTo>
                <a:lnTo>
                  <a:pt x="717" y="292"/>
                </a:lnTo>
                <a:lnTo>
                  <a:pt x="718" y="291"/>
                </a:lnTo>
                <a:lnTo>
                  <a:pt x="725" y="290"/>
                </a:lnTo>
                <a:lnTo>
                  <a:pt x="729" y="290"/>
                </a:lnTo>
                <a:close/>
                <a:moveTo>
                  <a:pt x="767" y="275"/>
                </a:moveTo>
                <a:lnTo>
                  <a:pt x="763" y="274"/>
                </a:lnTo>
                <a:lnTo>
                  <a:pt x="761" y="272"/>
                </a:lnTo>
                <a:lnTo>
                  <a:pt x="772" y="269"/>
                </a:lnTo>
                <a:lnTo>
                  <a:pt x="782" y="265"/>
                </a:lnTo>
                <a:lnTo>
                  <a:pt x="794" y="263"/>
                </a:lnTo>
                <a:lnTo>
                  <a:pt x="806" y="262"/>
                </a:lnTo>
                <a:lnTo>
                  <a:pt x="797" y="267"/>
                </a:lnTo>
                <a:lnTo>
                  <a:pt x="787" y="271"/>
                </a:lnTo>
                <a:lnTo>
                  <a:pt x="778" y="273"/>
                </a:lnTo>
                <a:lnTo>
                  <a:pt x="767" y="275"/>
                </a:lnTo>
                <a:lnTo>
                  <a:pt x="771" y="274"/>
                </a:lnTo>
                <a:lnTo>
                  <a:pt x="767" y="275"/>
                </a:lnTo>
                <a:close/>
                <a:moveTo>
                  <a:pt x="936" y="155"/>
                </a:moveTo>
                <a:lnTo>
                  <a:pt x="942" y="148"/>
                </a:lnTo>
                <a:lnTo>
                  <a:pt x="947" y="144"/>
                </a:lnTo>
                <a:lnTo>
                  <a:pt x="955" y="140"/>
                </a:lnTo>
                <a:lnTo>
                  <a:pt x="963" y="139"/>
                </a:lnTo>
                <a:lnTo>
                  <a:pt x="975" y="137"/>
                </a:lnTo>
                <a:lnTo>
                  <a:pt x="985" y="136"/>
                </a:lnTo>
                <a:lnTo>
                  <a:pt x="995" y="134"/>
                </a:lnTo>
                <a:lnTo>
                  <a:pt x="1005" y="133"/>
                </a:lnTo>
                <a:lnTo>
                  <a:pt x="1015" y="131"/>
                </a:lnTo>
                <a:lnTo>
                  <a:pt x="1026" y="129"/>
                </a:lnTo>
                <a:lnTo>
                  <a:pt x="1036" y="126"/>
                </a:lnTo>
                <a:lnTo>
                  <a:pt x="1047" y="124"/>
                </a:lnTo>
                <a:lnTo>
                  <a:pt x="1058" y="123"/>
                </a:lnTo>
                <a:lnTo>
                  <a:pt x="1068" y="121"/>
                </a:lnTo>
                <a:lnTo>
                  <a:pt x="1078" y="120"/>
                </a:lnTo>
                <a:lnTo>
                  <a:pt x="1089" y="119"/>
                </a:lnTo>
                <a:lnTo>
                  <a:pt x="1087" y="120"/>
                </a:lnTo>
                <a:lnTo>
                  <a:pt x="1087" y="121"/>
                </a:lnTo>
                <a:lnTo>
                  <a:pt x="1088" y="123"/>
                </a:lnTo>
                <a:lnTo>
                  <a:pt x="1089" y="124"/>
                </a:lnTo>
                <a:lnTo>
                  <a:pt x="1094" y="124"/>
                </a:lnTo>
                <a:lnTo>
                  <a:pt x="1099" y="123"/>
                </a:lnTo>
                <a:lnTo>
                  <a:pt x="1109" y="122"/>
                </a:lnTo>
                <a:lnTo>
                  <a:pt x="1119" y="121"/>
                </a:lnTo>
                <a:lnTo>
                  <a:pt x="1128" y="120"/>
                </a:lnTo>
                <a:lnTo>
                  <a:pt x="1138" y="122"/>
                </a:lnTo>
                <a:lnTo>
                  <a:pt x="1136" y="123"/>
                </a:lnTo>
                <a:lnTo>
                  <a:pt x="1136" y="125"/>
                </a:lnTo>
                <a:lnTo>
                  <a:pt x="1137" y="126"/>
                </a:lnTo>
                <a:lnTo>
                  <a:pt x="1137" y="129"/>
                </a:lnTo>
                <a:lnTo>
                  <a:pt x="1125" y="130"/>
                </a:lnTo>
                <a:lnTo>
                  <a:pt x="1112" y="131"/>
                </a:lnTo>
                <a:lnTo>
                  <a:pt x="1105" y="132"/>
                </a:lnTo>
                <a:lnTo>
                  <a:pt x="1101" y="133"/>
                </a:lnTo>
                <a:lnTo>
                  <a:pt x="1094" y="133"/>
                </a:lnTo>
                <a:lnTo>
                  <a:pt x="1087" y="132"/>
                </a:lnTo>
                <a:lnTo>
                  <a:pt x="1076" y="134"/>
                </a:lnTo>
                <a:lnTo>
                  <a:pt x="1063" y="137"/>
                </a:lnTo>
                <a:lnTo>
                  <a:pt x="1051" y="140"/>
                </a:lnTo>
                <a:lnTo>
                  <a:pt x="1038" y="141"/>
                </a:lnTo>
                <a:lnTo>
                  <a:pt x="1013" y="142"/>
                </a:lnTo>
                <a:lnTo>
                  <a:pt x="987" y="147"/>
                </a:lnTo>
                <a:lnTo>
                  <a:pt x="962" y="150"/>
                </a:lnTo>
                <a:lnTo>
                  <a:pt x="936" y="155"/>
                </a:lnTo>
                <a:lnTo>
                  <a:pt x="939" y="151"/>
                </a:lnTo>
                <a:lnTo>
                  <a:pt x="944" y="149"/>
                </a:lnTo>
                <a:lnTo>
                  <a:pt x="948" y="149"/>
                </a:lnTo>
                <a:lnTo>
                  <a:pt x="952" y="149"/>
                </a:lnTo>
                <a:lnTo>
                  <a:pt x="953" y="149"/>
                </a:lnTo>
                <a:lnTo>
                  <a:pt x="953" y="150"/>
                </a:lnTo>
                <a:lnTo>
                  <a:pt x="953" y="150"/>
                </a:lnTo>
                <a:lnTo>
                  <a:pt x="952" y="151"/>
                </a:lnTo>
                <a:lnTo>
                  <a:pt x="946" y="153"/>
                </a:lnTo>
                <a:lnTo>
                  <a:pt x="936" y="155"/>
                </a:ln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800" b="1" dirty="0"/>
            </a:lvl1pPr>
          </a:lstStyle>
          <a:p>
            <a:pPr lvl="0" algn="ctr"/>
            <a:endParaRPr lang="en-US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6FB7D644-B8CF-1944-8DB2-C9539B089B5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216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98">
            <a:extLst>
              <a:ext uri="{FF2B5EF4-FFF2-40B4-BE49-F238E27FC236}">
                <a16:creationId xmlns:a16="http://schemas.microsoft.com/office/drawing/2014/main" id="{BADD4D9C-C56A-C546-BB1F-658D6460C976}"/>
              </a:ext>
            </a:extLst>
          </p:cNvPr>
          <p:cNvSpPr>
            <a:spLocks noGrp="1" noEditPoints="1"/>
          </p:cNvSpPr>
          <p:nvPr>
            <p:ph type="pic" sz="quarter" idx="33"/>
          </p:nvPr>
        </p:nvSpPr>
        <p:spPr bwMode="auto">
          <a:xfrm>
            <a:off x="1" y="3474418"/>
            <a:ext cx="24387174" cy="10243170"/>
          </a:xfrm>
          <a:custGeom>
            <a:avLst/>
            <a:gdLst>
              <a:gd name="T0" fmla="*/ 16406 w 32781"/>
              <a:gd name="T1" fmla="*/ 1062 h 16312"/>
              <a:gd name="T2" fmla="*/ 4500 w 32781"/>
              <a:gd name="T3" fmla="*/ 3656 h 16312"/>
              <a:gd name="T4" fmla="*/ 4312 w 32781"/>
              <a:gd name="T5" fmla="*/ 11906 h 16312"/>
              <a:gd name="T6" fmla="*/ 8906 w 32781"/>
              <a:gd name="T7" fmla="*/ 7687 h 16312"/>
              <a:gd name="T8" fmla="*/ 10406 w 32781"/>
              <a:gd name="T9" fmla="*/ 8062 h 16312"/>
              <a:gd name="T10" fmla="*/ 12625 w 32781"/>
              <a:gd name="T11" fmla="*/ 7656 h 16312"/>
              <a:gd name="T12" fmla="*/ 13906 w 32781"/>
              <a:gd name="T13" fmla="*/ 12656 h 16312"/>
              <a:gd name="T14" fmla="*/ 26094 w 32781"/>
              <a:gd name="T15" fmla="*/ 14562 h 16312"/>
              <a:gd name="T16" fmla="*/ 29531 w 32781"/>
              <a:gd name="T17" fmla="*/ 12312 h 16312"/>
              <a:gd name="T18" fmla="*/ 21531 w 32781"/>
              <a:gd name="T19" fmla="*/ 13906 h 16312"/>
              <a:gd name="T20" fmla="*/ 24531 w 32781"/>
              <a:gd name="T21" fmla="*/ 12656 h 16312"/>
              <a:gd name="T22" fmla="*/ 29844 w 32781"/>
              <a:gd name="T23" fmla="*/ 10562 h 16312"/>
              <a:gd name="T24" fmla="*/ 23906 w 32781"/>
              <a:gd name="T25" fmla="*/ 12156 h 16312"/>
              <a:gd name="T26" fmla="*/ 31719 w 32781"/>
              <a:gd name="T27" fmla="*/ 8812 h 16312"/>
              <a:gd name="T28" fmla="*/ 28562 w 32781"/>
              <a:gd name="T29" fmla="*/ 9218 h 16312"/>
              <a:gd name="T30" fmla="*/ 24722 w 32781"/>
              <a:gd name="T31" fmla="*/ 10531 h 16312"/>
              <a:gd name="T32" fmla="*/ 24693 w 32781"/>
              <a:gd name="T33" fmla="*/ 10531 h 16312"/>
              <a:gd name="T34" fmla="*/ 23281 w 32781"/>
              <a:gd name="T35" fmla="*/ 10906 h 16312"/>
              <a:gd name="T36" fmla="*/ 32437 w 32781"/>
              <a:gd name="T37" fmla="*/ 6750 h 16312"/>
              <a:gd name="T38" fmla="*/ 31312 w 32781"/>
              <a:gd name="T39" fmla="*/ 6125 h 16312"/>
              <a:gd name="T40" fmla="*/ 21375 w 32781"/>
              <a:gd name="T41" fmla="*/ 9812 h 16312"/>
              <a:gd name="T42" fmla="*/ 23562 w 32781"/>
              <a:gd name="T43" fmla="*/ 8312 h 16312"/>
              <a:gd name="T44" fmla="*/ 28469 w 32781"/>
              <a:gd name="T45" fmla="*/ 6062 h 16312"/>
              <a:gd name="T46" fmla="*/ 32781 w 32781"/>
              <a:gd name="T47" fmla="*/ 3500 h 16312"/>
              <a:gd name="T48" fmla="*/ 844 w 32781"/>
              <a:gd name="T49" fmla="*/ 7468 h 16312"/>
              <a:gd name="T50" fmla="*/ 9219 w 32781"/>
              <a:gd name="T51" fmla="*/ 5968 h 16312"/>
              <a:gd name="T52" fmla="*/ 7500 w 32781"/>
              <a:gd name="T53" fmla="*/ 7000 h 16312"/>
              <a:gd name="T54" fmla="*/ 2844 w 32781"/>
              <a:gd name="T55" fmla="*/ 5187 h 16312"/>
              <a:gd name="T56" fmla="*/ 2687 w 32781"/>
              <a:gd name="T57" fmla="*/ 10000 h 16312"/>
              <a:gd name="T58" fmla="*/ 4750 w 32781"/>
              <a:gd name="T59" fmla="*/ 8750 h 16312"/>
              <a:gd name="T60" fmla="*/ 3781 w 32781"/>
              <a:gd name="T61" fmla="*/ 9375 h 16312"/>
              <a:gd name="T62" fmla="*/ 4406 w 32781"/>
              <a:gd name="T63" fmla="*/ 8884 h 16312"/>
              <a:gd name="T64" fmla="*/ 5406 w 32781"/>
              <a:gd name="T65" fmla="*/ 8593 h 16312"/>
              <a:gd name="T66" fmla="*/ 11094 w 32781"/>
              <a:gd name="T67" fmla="*/ 4031 h 16312"/>
              <a:gd name="T68" fmla="*/ 14219 w 32781"/>
              <a:gd name="T69" fmla="*/ 2437 h 16312"/>
              <a:gd name="T70" fmla="*/ 15406 w 32781"/>
              <a:gd name="T71" fmla="*/ 1906 h 16312"/>
              <a:gd name="T72" fmla="*/ 16051 w 32781"/>
              <a:gd name="T73" fmla="*/ 1656 h 16312"/>
              <a:gd name="T74" fmla="*/ 16094 w 32781"/>
              <a:gd name="T75" fmla="*/ 1656 h 16312"/>
              <a:gd name="T76" fmla="*/ 25250 w 32781"/>
              <a:gd name="T77" fmla="*/ 13125 h 16312"/>
              <a:gd name="T78" fmla="*/ 23844 w 32781"/>
              <a:gd name="T79" fmla="*/ 14125 h 16312"/>
              <a:gd name="T80" fmla="*/ 22344 w 32781"/>
              <a:gd name="T81" fmla="*/ 14625 h 16312"/>
              <a:gd name="T82" fmla="*/ 28906 w 32781"/>
              <a:gd name="T83" fmla="*/ 9812 h 16312"/>
              <a:gd name="T84" fmla="*/ 20437 w 32781"/>
              <a:gd name="T85" fmla="*/ 11718 h 16312"/>
              <a:gd name="T86" fmla="*/ 23844 w 32781"/>
              <a:gd name="T87" fmla="*/ 10531 h 16312"/>
              <a:gd name="T88" fmla="*/ 29594 w 32781"/>
              <a:gd name="T89" fmla="*/ 8187 h 16312"/>
              <a:gd name="T90" fmla="*/ 31500 w 32781"/>
              <a:gd name="T91" fmla="*/ 7031 h 16312"/>
              <a:gd name="T92" fmla="*/ 31187 w 32781"/>
              <a:gd name="T93" fmla="*/ 7218 h 16312"/>
              <a:gd name="T94" fmla="*/ 31687 w 32781"/>
              <a:gd name="T95" fmla="*/ 7343 h 16312"/>
              <a:gd name="T96" fmla="*/ 20437 w 32781"/>
              <a:gd name="T97" fmla="*/ 11406 h 16312"/>
              <a:gd name="T98" fmla="*/ 21531 w 32781"/>
              <a:gd name="T99" fmla="*/ 9281 h 16312"/>
              <a:gd name="T100" fmla="*/ 21281 w 32781"/>
              <a:gd name="T101" fmla="*/ 8812 h 16312"/>
              <a:gd name="T102" fmla="*/ 23812 w 32781"/>
              <a:gd name="T103" fmla="*/ 8093 h 16312"/>
              <a:gd name="T104" fmla="*/ 23500 w 32781"/>
              <a:gd name="T105" fmla="*/ 8000 h 16312"/>
              <a:gd name="T106" fmla="*/ 25344 w 32781"/>
              <a:gd name="T107" fmla="*/ 6656 h 16312"/>
              <a:gd name="T108" fmla="*/ 29219 w 32781"/>
              <a:gd name="T109" fmla="*/ 5156 h 16312"/>
              <a:gd name="T110" fmla="*/ 9187 w 32781"/>
              <a:gd name="T111" fmla="*/ 9750 h 16312"/>
              <a:gd name="T112" fmla="*/ 11437 w 32781"/>
              <a:gd name="T113" fmla="*/ 8093 h 16312"/>
              <a:gd name="T114" fmla="*/ 16500 w 32781"/>
              <a:gd name="T115" fmla="*/ 2781 h 16312"/>
              <a:gd name="T116" fmla="*/ 25031 w 32781"/>
              <a:gd name="T117" fmla="*/ 8375 h 16312"/>
              <a:gd name="T118" fmla="*/ 32156 w 32781"/>
              <a:gd name="T119" fmla="*/ 8406 h 16312"/>
              <a:gd name="T120" fmla="*/ 30455 w 32781"/>
              <a:gd name="T121" fmla="*/ 8531 h 16312"/>
              <a:gd name="T122" fmla="*/ 30875 w 32781"/>
              <a:gd name="T123" fmla="*/ 11375 h 16312"/>
              <a:gd name="T124" fmla="*/ 26312 w 32781"/>
              <a:gd name="T125" fmla="*/ 8000 h 16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781" h="16312">
                <a:moveTo>
                  <a:pt x="12906" y="10812"/>
                </a:move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ubicBezTo>
                  <a:pt x="12906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875" y="10812"/>
                </a:cubicBezTo>
                <a:cubicBezTo>
                  <a:pt x="12875" y="10812"/>
                  <a:pt x="12875" y="10812"/>
                  <a:pt x="12906" y="10812"/>
                </a:cubicBezTo>
                <a:cubicBezTo>
                  <a:pt x="12906" y="10812"/>
                  <a:pt x="12906" y="10812"/>
                  <a:pt x="12906" y="10812"/>
                </a:cubicBezTo>
                <a:close/>
                <a:moveTo>
                  <a:pt x="32312" y="3031"/>
                </a:moveTo>
                <a:cubicBezTo>
                  <a:pt x="31812" y="3250"/>
                  <a:pt x="31344" y="3437"/>
                  <a:pt x="30875" y="3656"/>
                </a:cubicBezTo>
                <a:cubicBezTo>
                  <a:pt x="30500" y="3812"/>
                  <a:pt x="30125" y="3968"/>
                  <a:pt x="29781" y="4125"/>
                </a:cubicBezTo>
                <a:cubicBezTo>
                  <a:pt x="29406" y="4281"/>
                  <a:pt x="29031" y="4437"/>
                  <a:pt x="28656" y="4593"/>
                </a:cubicBezTo>
                <a:cubicBezTo>
                  <a:pt x="28125" y="4812"/>
                  <a:pt x="27594" y="5062"/>
                  <a:pt x="27062" y="5281"/>
                </a:cubicBezTo>
                <a:cubicBezTo>
                  <a:pt x="26625" y="5437"/>
                  <a:pt x="26187" y="5625"/>
                  <a:pt x="25781" y="5812"/>
                </a:cubicBezTo>
                <a:cubicBezTo>
                  <a:pt x="25312" y="6000"/>
                  <a:pt x="24875" y="6187"/>
                  <a:pt x="24406" y="6375"/>
                </a:cubicBezTo>
                <a:cubicBezTo>
                  <a:pt x="24094" y="6500"/>
                  <a:pt x="23781" y="6625"/>
                  <a:pt x="23469" y="6750"/>
                </a:cubicBezTo>
                <a:cubicBezTo>
                  <a:pt x="22969" y="6968"/>
                  <a:pt x="22437" y="7156"/>
                  <a:pt x="21937" y="7375"/>
                </a:cubicBezTo>
                <a:cubicBezTo>
                  <a:pt x="21656" y="7468"/>
                  <a:pt x="21406" y="7562"/>
                  <a:pt x="21156" y="7656"/>
                </a:cubicBezTo>
                <a:cubicBezTo>
                  <a:pt x="20844" y="7781"/>
                  <a:pt x="20500" y="7906"/>
                  <a:pt x="20187" y="8031"/>
                </a:cubicBezTo>
                <a:cubicBezTo>
                  <a:pt x="20125" y="8062"/>
                  <a:pt x="20000" y="8062"/>
                  <a:pt x="19937" y="8156"/>
                </a:cubicBezTo>
                <a:cubicBezTo>
                  <a:pt x="19937" y="8187"/>
                  <a:pt x="19906" y="8187"/>
                  <a:pt x="19875" y="8187"/>
                </a:cubicBezTo>
                <a:cubicBezTo>
                  <a:pt x="19781" y="8187"/>
                  <a:pt x="19687" y="8218"/>
                  <a:pt x="19594" y="8250"/>
                </a:cubicBezTo>
                <a:cubicBezTo>
                  <a:pt x="19312" y="8375"/>
                  <a:pt x="19031" y="8468"/>
                  <a:pt x="18750" y="8562"/>
                </a:cubicBezTo>
                <a:cubicBezTo>
                  <a:pt x="18687" y="8593"/>
                  <a:pt x="18687" y="8562"/>
                  <a:pt x="18656" y="8531"/>
                </a:cubicBezTo>
                <a:cubicBezTo>
                  <a:pt x="18656" y="8562"/>
                  <a:pt x="18625" y="8562"/>
                  <a:pt x="18594" y="8593"/>
                </a:cubicBezTo>
                <a:cubicBezTo>
                  <a:pt x="18625" y="8562"/>
                  <a:pt x="18656" y="8562"/>
                  <a:pt x="18656" y="8531"/>
                </a:cubicBezTo>
                <a:cubicBezTo>
                  <a:pt x="18656" y="8500"/>
                  <a:pt x="18687" y="8500"/>
                  <a:pt x="18687" y="8468"/>
                </a:cubicBezTo>
                <a:cubicBezTo>
                  <a:pt x="18750" y="8437"/>
                  <a:pt x="18781" y="8406"/>
                  <a:pt x="18781" y="8343"/>
                </a:cubicBezTo>
                <a:cubicBezTo>
                  <a:pt x="18812" y="8312"/>
                  <a:pt x="18844" y="8281"/>
                  <a:pt x="18844" y="8218"/>
                </a:cubicBezTo>
                <a:cubicBezTo>
                  <a:pt x="18844" y="8218"/>
                  <a:pt x="18844" y="8218"/>
                  <a:pt x="18844" y="8218"/>
                </a:cubicBezTo>
                <a:cubicBezTo>
                  <a:pt x="18906" y="8156"/>
                  <a:pt x="18969" y="8093"/>
                  <a:pt x="19000" y="8000"/>
                </a:cubicBezTo>
                <a:cubicBezTo>
                  <a:pt x="19000" y="8000"/>
                  <a:pt x="19000" y="8000"/>
                  <a:pt x="19000" y="7968"/>
                </a:cubicBezTo>
                <a:cubicBezTo>
                  <a:pt x="19000" y="7968"/>
                  <a:pt x="19031" y="7968"/>
                  <a:pt x="19000" y="7968"/>
                </a:cubicBezTo>
                <a:cubicBezTo>
                  <a:pt x="19062" y="7875"/>
                  <a:pt x="19125" y="7812"/>
                  <a:pt x="19187" y="7718"/>
                </a:cubicBezTo>
                <a:cubicBezTo>
                  <a:pt x="19281" y="7500"/>
                  <a:pt x="19406" y="7281"/>
                  <a:pt x="19500" y="7062"/>
                </a:cubicBezTo>
                <a:cubicBezTo>
                  <a:pt x="19625" y="6812"/>
                  <a:pt x="19719" y="6562"/>
                  <a:pt x="19719" y="6281"/>
                </a:cubicBezTo>
                <a:cubicBezTo>
                  <a:pt x="19719" y="6218"/>
                  <a:pt x="19687" y="6187"/>
                  <a:pt x="19656" y="6156"/>
                </a:cubicBezTo>
                <a:cubicBezTo>
                  <a:pt x="19625" y="6156"/>
                  <a:pt x="19594" y="6250"/>
                  <a:pt x="19594" y="6156"/>
                </a:cubicBezTo>
                <a:cubicBezTo>
                  <a:pt x="19625" y="6031"/>
                  <a:pt x="19500" y="5937"/>
                  <a:pt x="19500" y="5812"/>
                </a:cubicBezTo>
                <a:cubicBezTo>
                  <a:pt x="19469" y="5781"/>
                  <a:pt x="19437" y="5718"/>
                  <a:pt x="19406" y="5750"/>
                </a:cubicBezTo>
                <a:cubicBezTo>
                  <a:pt x="19344" y="5781"/>
                  <a:pt x="19344" y="5750"/>
                  <a:pt x="19344" y="5687"/>
                </a:cubicBezTo>
                <a:cubicBezTo>
                  <a:pt x="19344" y="5656"/>
                  <a:pt x="19344" y="5625"/>
                  <a:pt x="19312" y="5625"/>
                </a:cubicBezTo>
                <a:cubicBezTo>
                  <a:pt x="19219" y="5625"/>
                  <a:pt x="19250" y="5593"/>
                  <a:pt x="19250" y="5562"/>
                </a:cubicBezTo>
                <a:cubicBezTo>
                  <a:pt x="19281" y="5468"/>
                  <a:pt x="19281" y="5375"/>
                  <a:pt x="19187" y="5343"/>
                </a:cubicBezTo>
                <a:cubicBezTo>
                  <a:pt x="19156" y="5343"/>
                  <a:pt x="19156" y="5312"/>
                  <a:pt x="19156" y="5281"/>
                </a:cubicBezTo>
                <a:cubicBezTo>
                  <a:pt x="19156" y="5218"/>
                  <a:pt x="19094" y="5250"/>
                  <a:pt x="19094" y="5218"/>
                </a:cubicBezTo>
                <a:cubicBezTo>
                  <a:pt x="18969" y="5312"/>
                  <a:pt x="19031" y="5187"/>
                  <a:pt x="19000" y="5156"/>
                </a:cubicBezTo>
                <a:cubicBezTo>
                  <a:pt x="18969" y="5156"/>
                  <a:pt x="19000" y="5125"/>
                  <a:pt x="19000" y="5093"/>
                </a:cubicBezTo>
                <a:cubicBezTo>
                  <a:pt x="18969" y="5000"/>
                  <a:pt x="18937" y="5125"/>
                  <a:pt x="18937" y="5093"/>
                </a:cubicBezTo>
                <a:cubicBezTo>
                  <a:pt x="18906" y="4937"/>
                  <a:pt x="18906" y="4937"/>
                  <a:pt x="18844" y="4968"/>
                </a:cubicBezTo>
                <a:cubicBezTo>
                  <a:pt x="18812" y="4875"/>
                  <a:pt x="18875" y="4781"/>
                  <a:pt x="18875" y="4656"/>
                </a:cubicBezTo>
                <a:cubicBezTo>
                  <a:pt x="18844" y="4718"/>
                  <a:pt x="18812" y="4781"/>
                  <a:pt x="18781" y="4843"/>
                </a:cubicBezTo>
                <a:cubicBezTo>
                  <a:pt x="18750" y="4781"/>
                  <a:pt x="18750" y="4750"/>
                  <a:pt x="18719" y="4687"/>
                </a:cubicBezTo>
                <a:cubicBezTo>
                  <a:pt x="18687" y="4625"/>
                  <a:pt x="18594" y="4562"/>
                  <a:pt x="18625" y="4468"/>
                </a:cubicBezTo>
                <a:cubicBezTo>
                  <a:pt x="18625" y="4375"/>
                  <a:pt x="18562" y="4343"/>
                  <a:pt x="18500" y="4406"/>
                </a:cubicBezTo>
                <a:cubicBezTo>
                  <a:pt x="18469" y="4343"/>
                  <a:pt x="18531" y="4281"/>
                  <a:pt x="18500" y="4250"/>
                </a:cubicBezTo>
                <a:cubicBezTo>
                  <a:pt x="18469" y="4250"/>
                  <a:pt x="18500" y="4312"/>
                  <a:pt x="18437" y="4250"/>
                </a:cubicBezTo>
                <a:cubicBezTo>
                  <a:pt x="18406" y="4250"/>
                  <a:pt x="18375" y="4218"/>
                  <a:pt x="18406" y="4156"/>
                </a:cubicBezTo>
                <a:cubicBezTo>
                  <a:pt x="18437" y="4125"/>
                  <a:pt x="18406" y="4062"/>
                  <a:pt x="18375" y="4031"/>
                </a:cubicBezTo>
                <a:cubicBezTo>
                  <a:pt x="18344" y="3968"/>
                  <a:pt x="18344" y="4062"/>
                  <a:pt x="18281" y="4062"/>
                </a:cubicBezTo>
                <a:cubicBezTo>
                  <a:pt x="18312" y="3906"/>
                  <a:pt x="18156" y="3843"/>
                  <a:pt x="18187" y="3687"/>
                </a:cubicBezTo>
                <a:cubicBezTo>
                  <a:pt x="18187" y="3656"/>
                  <a:pt x="18187" y="3656"/>
                  <a:pt x="18156" y="3656"/>
                </a:cubicBezTo>
                <a:cubicBezTo>
                  <a:pt x="18094" y="3687"/>
                  <a:pt x="18094" y="3687"/>
                  <a:pt x="18094" y="3625"/>
                </a:cubicBezTo>
                <a:cubicBezTo>
                  <a:pt x="18125" y="3593"/>
                  <a:pt x="18125" y="3531"/>
                  <a:pt x="18125" y="3500"/>
                </a:cubicBezTo>
                <a:cubicBezTo>
                  <a:pt x="18156" y="3437"/>
                  <a:pt x="18125" y="3406"/>
                  <a:pt x="18062" y="3437"/>
                </a:cubicBezTo>
                <a:cubicBezTo>
                  <a:pt x="18031" y="3437"/>
                  <a:pt x="18031" y="3500"/>
                  <a:pt x="18000" y="3468"/>
                </a:cubicBezTo>
                <a:cubicBezTo>
                  <a:pt x="17969" y="3437"/>
                  <a:pt x="17969" y="3375"/>
                  <a:pt x="17969" y="3343"/>
                </a:cubicBezTo>
                <a:cubicBezTo>
                  <a:pt x="17969" y="3250"/>
                  <a:pt x="17969" y="3125"/>
                  <a:pt x="17969" y="3031"/>
                </a:cubicBezTo>
                <a:cubicBezTo>
                  <a:pt x="17937" y="3031"/>
                  <a:pt x="17937" y="3062"/>
                  <a:pt x="17906" y="3093"/>
                </a:cubicBezTo>
                <a:cubicBezTo>
                  <a:pt x="17906" y="3031"/>
                  <a:pt x="17937" y="2968"/>
                  <a:pt x="17844" y="2937"/>
                </a:cubicBezTo>
                <a:cubicBezTo>
                  <a:pt x="17812" y="2968"/>
                  <a:pt x="17781" y="3031"/>
                  <a:pt x="17781" y="3062"/>
                </a:cubicBezTo>
                <a:cubicBezTo>
                  <a:pt x="17750" y="2968"/>
                  <a:pt x="17812" y="2875"/>
                  <a:pt x="17750" y="2781"/>
                </a:cubicBezTo>
                <a:cubicBezTo>
                  <a:pt x="17750" y="2750"/>
                  <a:pt x="17750" y="2718"/>
                  <a:pt x="17750" y="2687"/>
                </a:cubicBezTo>
                <a:cubicBezTo>
                  <a:pt x="17750" y="2593"/>
                  <a:pt x="17812" y="2531"/>
                  <a:pt x="17656" y="2531"/>
                </a:cubicBezTo>
                <a:cubicBezTo>
                  <a:pt x="17656" y="2531"/>
                  <a:pt x="17625" y="2500"/>
                  <a:pt x="17594" y="2531"/>
                </a:cubicBezTo>
                <a:cubicBezTo>
                  <a:pt x="17531" y="2562"/>
                  <a:pt x="17531" y="2531"/>
                  <a:pt x="17531" y="2500"/>
                </a:cubicBezTo>
                <a:cubicBezTo>
                  <a:pt x="17531" y="2437"/>
                  <a:pt x="17562" y="2343"/>
                  <a:pt x="17594" y="2281"/>
                </a:cubicBezTo>
                <a:cubicBezTo>
                  <a:pt x="17625" y="2187"/>
                  <a:pt x="17562" y="2125"/>
                  <a:pt x="17531" y="2062"/>
                </a:cubicBezTo>
                <a:cubicBezTo>
                  <a:pt x="17469" y="2031"/>
                  <a:pt x="17469" y="2125"/>
                  <a:pt x="17437" y="2156"/>
                </a:cubicBezTo>
                <a:cubicBezTo>
                  <a:pt x="17406" y="2156"/>
                  <a:pt x="17406" y="2156"/>
                  <a:pt x="17406" y="2156"/>
                </a:cubicBezTo>
                <a:cubicBezTo>
                  <a:pt x="17375" y="2093"/>
                  <a:pt x="17469" y="2062"/>
                  <a:pt x="17469" y="2000"/>
                </a:cubicBezTo>
                <a:cubicBezTo>
                  <a:pt x="17469" y="1968"/>
                  <a:pt x="17531" y="1875"/>
                  <a:pt x="17406" y="1906"/>
                </a:cubicBezTo>
                <a:cubicBezTo>
                  <a:pt x="17375" y="1906"/>
                  <a:pt x="17312" y="1875"/>
                  <a:pt x="17344" y="1812"/>
                </a:cubicBezTo>
                <a:cubicBezTo>
                  <a:pt x="17406" y="1687"/>
                  <a:pt x="17437" y="1562"/>
                  <a:pt x="17437" y="1437"/>
                </a:cubicBezTo>
                <a:cubicBezTo>
                  <a:pt x="17437" y="1281"/>
                  <a:pt x="17375" y="1187"/>
                  <a:pt x="17250" y="1093"/>
                </a:cubicBezTo>
                <a:cubicBezTo>
                  <a:pt x="17156" y="1031"/>
                  <a:pt x="17062" y="1031"/>
                  <a:pt x="16969" y="1031"/>
                </a:cubicBezTo>
                <a:cubicBezTo>
                  <a:pt x="16875" y="1031"/>
                  <a:pt x="16812" y="1031"/>
                  <a:pt x="16719" y="1031"/>
                </a:cubicBezTo>
                <a:cubicBezTo>
                  <a:pt x="16687" y="1031"/>
                  <a:pt x="16687" y="1031"/>
                  <a:pt x="16656" y="1031"/>
                </a:cubicBezTo>
                <a:cubicBezTo>
                  <a:pt x="16656" y="1031"/>
                  <a:pt x="16625" y="1031"/>
                  <a:pt x="16594" y="1062"/>
                </a:cubicBezTo>
                <a:cubicBezTo>
                  <a:pt x="16594" y="1062"/>
                  <a:pt x="16562" y="1062"/>
                  <a:pt x="16531" y="1062"/>
                </a:cubicBezTo>
                <a:cubicBezTo>
                  <a:pt x="16531" y="1062"/>
                  <a:pt x="16500" y="1062"/>
                  <a:pt x="16500" y="1062"/>
                </a:cubicBezTo>
                <a:cubicBezTo>
                  <a:pt x="16469" y="1062"/>
                  <a:pt x="16437" y="1062"/>
                  <a:pt x="16406" y="1062"/>
                </a:cubicBezTo>
                <a:cubicBezTo>
                  <a:pt x="16437" y="1062"/>
                  <a:pt x="16437" y="1062"/>
                  <a:pt x="16437" y="1093"/>
                </a:cubicBezTo>
                <a:cubicBezTo>
                  <a:pt x="16437" y="1062"/>
                  <a:pt x="16437" y="1062"/>
                  <a:pt x="16406" y="1062"/>
                </a:cubicBezTo>
                <a:cubicBezTo>
                  <a:pt x="16375" y="1093"/>
                  <a:pt x="16344" y="1093"/>
                  <a:pt x="16312" y="1093"/>
                </a:cubicBezTo>
                <a:cubicBezTo>
                  <a:pt x="16219" y="1125"/>
                  <a:pt x="16125" y="1125"/>
                  <a:pt x="16031" y="1156"/>
                </a:cubicBezTo>
                <a:cubicBezTo>
                  <a:pt x="16031" y="1187"/>
                  <a:pt x="16000" y="1187"/>
                  <a:pt x="15969" y="1187"/>
                </a:cubicBezTo>
                <a:cubicBezTo>
                  <a:pt x="15750" y="1218"/>
                  <a:pt x="15562" y="1312"/>
                  <a:pt x="15375" y="1406"/>
                </a:cubicBezTo>
                <a:cubicBezTo>
                  <a:pt x="15219" y="1437"/>
                  <a:pt x="15094" y="1468"/>
                  <a:pt x="15000" y="1593"/>
                </a:cubicBezTo>
                <a:cubicBezTo>
                  <a:pt x="15000" y="1593"/>
                  <a:pt x="15000" y="1593"/>
                  <a:pt x="14969" y="1593"/>
                </a:cubicBezTo>
                <a:cubicBezTo>
                  <a:pt x="14969" y="1562"/>
                  <a:pt x="14937" y="1562"/>
                  <a:pt x="14937" y="1593"/>
                </a:cubicBezTo>
                <a:cubicBezTo>
                  <a:pt x="14594" y="1718"/>
                  <a:pt x="14312" y="1906"/>
                  <a:pt x="14000" y="2062"/>
                </a:cubicBezTo>
                <a:cubicBezTo>
                  <a:pt x="13750" y="2187"/>
                  <a:pt x="13531" y="2343"/>
                  <a:pt x="13312" y="2500"/>
                </a:cubicBezTo>
                <a:cubicBezTo>
                  <a:pt x="13312" y="2531"/>
                  <a:pt x="13312" y="2562"/>
                  <a:pt x="13312" y="2562"/>
                </a:cubicBezTo>
                <a:cubicBezTo>
                  <a:pt x="13312" y="2562"/>
                  <a:pt x="13312" y="2531"/>
                  <a:pt x="13312" y="2500"/>
                </a:cubicBezTo>
                <a:cubicBezTo>
                  <a:pt x="13281" y="2500"/>
                  <a:pt x="13281" y="2500"/>
                  <a:pt x="13281" y="2500"/>
                </a:cubicBezTo>
                <a:cubicBezTo>
                  <a:pt x="13000" y="2656"/>
                  <a:pt x="12750" y="2812"/>
                  <a:pt x="12469" y="3000"/>
                </a:cubicBezTo>
                <a:cubicBezTo>
                  <a:pt x="12437" y="3000"/>
                  <a:pt x="12406" y="3031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75" y="3062"/>
                  <a:pt x="12375" y="3062"/>
                </a:cubicBezTo>
                <a:cubicBezTo>
                  <a:pt x="12375" y="3062"/>
                  <a:pt x="12344" y="3062"/>
                  <a:pt x="12344" y="3062"/>
                </a:cubicBezTo>
                <a:cubicBezTo>
                  <a:pt x="12125" y="3187"/>
                  <a:pt x="11937" y="3312"/>
                  <a:pt x="11750" y="3437"/>
                </a:cubicBezTo>
                <a:cubicBezTo>
                  <a:pt x="11281" y="3750"/>
                  <a:pt x="10812" y="4062"/>
                  <a:pt x="10344" y="4343"/>
                </a:cubicBezTo>
                <a:cubicBezTo>
                  <a:pt x="10344" y="4343"/>
                  <a:pt x="10344" y="4343"/>
                  <a:pt x="10344" y="4343"/>
                </a:cubicBezTo>
                <a:cubicBezTo>
                  <a:pt x="10312" y="4343"/>
                  <a:pt x="10312" y="4312"/>
                  <a:pt x="10281" y="4281"/>
                </a:cubicBezTo>
                <a:cubicBezTo>
                  <a:pt x="10187" y="4093"/>
                  <a:pt x="10125" y="3875"/>
                  <a:pt x="9969" y="3718"/>
                </a:cubicBezTo>
                <a:cubicBezTo>
                  <a:pt x="9906" y="3687"/>
                  <a:pt x="9844" y="3625"/>
                  <a:pt x="9875" y="3562"/>
                </a:cubicBezTo>
                <a:cubicBezTo>
                  <a:pt x="9875" y="3500"/>
                  <a:pt x="9812" y="3468"/>
                  <a:pt x="9781" y="3437"/>
                </a:cubicBezTo>
                <a:cubicBezTo>
                  <a:pt x="9750" y="3468"/>
                  <a:pt x="9781" y="3500"/>
                  <a:pt x="9719" y="3500"/>
                </a:cubicBezTo>
                <a:cubicBezTo>
                  <a:pt x="9719" y="3468"/>
                  <a:pt x="9750" y="3406"/>
                  <a:pt x="9719" y="3343"/>
                </a:cubicBezTo>
                <a:cubicBezTo>
                  <a:pt x="9687" y="3375"/>
                  <a:pt x="9687" y="3406"/>
                  <a:pt x="9656" y="3437"/>
                </a:cubicBezTo>
                <a:cubicBezTo>
                  <a:pt x="9687" y="3343"/>
                  <a:pt x="9625" y="3250"/>
                  <a:pt x="9562" y="3187"/>
                </a:cubicBezTo>
                <a:cubicBezTo>
                  <a:pt x="9500" y="3125"/>
                  <a:pt x="9500" y="3000"/>
                  <a:pt x="9375" y="2937"/>
                </a:cubicBezTo>
                <a:cubicBezTo>
                  <a:pt x="9344" y="2906"/>
                  <a:pt x="9281" y="2843"/>
                  <a:pt x="9250" y="2781"/>
                </a:cubicBezTo>
                <a:cubicBezTo>
                  <a:pt x="9219" y="2718"/>
                  <a:pt x="9219" y="2593"/>
                  <a:pt x="9094" y="2562"/>
                </a:cubicBezTo>
                <a:cubicBezTo>
                  <a:pt x="9094" y="2562"/>
                  <a:pt x="9094" y="2531"/>
                  <a:pt x="9094" y="2531"/>
                </a:cubicBezTo>
                <a:cubicBezTo>
                  <a:pt x="9094" y="2500"/>
                  <a:pt x="9031" y="2468"/>
                  <a:pt x="9031" y="2468"/>
                </a:cubicBezTo>
                <a:cubicBezTo>
                  <a:pt x="8969" y="2375"/>
                  <a:pt x="8844" y="2343"/>
                  <a:pt x="8875" y="2187"/>
                </a:cubicBezTo>
                <a:cubicBezTo>
                  <a:pt x="8875" y="2156"/>
                  <a:pt x="8875" y="2125"/>
                  <a:pt x="8844" y="2156"/>
                </a:cubicBezTo>
                <a:cubicBezTo>
                  <a:pt x="8812" y="2187"/>
                  <a:pt x="8812" y="2187"/>
                  <a:pt x="8781" y="2156"/>
                </a:cubicBezTo>
                <a:cubicBezTo>
                  <a:pt x="8687" y="2062"/>
                  <a:pt x="8687" y="1906"/>
                  <a:pt x="8562" y="1875"/>
                </a:cubicBezTo>
                <a:cubicBezTo>
                  <a:pt x="8562" y="1750"/>
                  <a:pt x="8437" y="1750"/>
                  <a:pt x="8406" y="1656"/>
                </a:cubicBezTo>
                <a:cubicBezTo>
                  <a:pt x="8344" y="1531"/>
                  <a:pt x="8281" y="1437"/>
                  <a:pt x="8187" y="1375"/>
                </a:cubicBezTo>
                <a:cubicBezTo>
                  <a:pt x="8125" y="1343"/>
                  <a:pt x="8031" y="1281"/>
                  <a:pt x="8062" y="1187"/>
                </a:cubicBezTo>
                <a:cubicBezTo>
                  <a:pt x="8062" y="1156"/>
                  <a:pt x="8062" y="1156"/>
                  <a:pt x="8062" y="1156"/>
                </a:cubicBezTo>
                <a:cubicBezTo>
                  <a:pt x="7969" y="1187"/>
                  <a:pt x="7969" y="1062"/>
                  <a:pt x="7937" y="1031"/>
                </a:cubicBezTo>
                <a:cubicBezTo>
                  <a:pt x="7969" y="937"/>
                  <a:pt x="7875" y="1000"/>
                  <a:pt x="7844" y="937"/>
                </a:cubicBezTo>
                <a:cubicBezTo>
                  <a:pt x="7750" y="843"/>
                  <a:pt x="7687" y="718"/>
                  <a:pt x="7719" y="562"/>
                </a:cubicBezTo>
                <a:cubicBezTo>
                  <a:pt x="7750" y="500"/>
                  <a:pt x="7719" y="437"/>
                  <a:pt x="7656" y="375"/>
                </a:cubicBezTo>
                <a:cubicBezTo>
                  <a:pt x="7625" y="375"/>
                  <a:pt x="7594" y="343"/>
                  <a:pt x="7594" y="281"/>
                </a:cubicBezTo>
                <a:cubicBezTo>
                  <a:pt x="7594" y="250"/>
                  <a:pt x="7562" y="156"/>
                  <a:pt x="7500" y="125"/>
                </a:cubicBezTo>
                <a:cubicBezTo>
                  <a:pt x="7375" y="93"/>
                  <a:pt x="7219" y="31"/>
                  <a:pt x="7094" y="62"/>
                </a:cubicBezTo>
                <a:cubicBezTo>
                  <a:pt x="6687" y="0"/>
                  <a:pt x="6312" y="0"/>
                  <a:pt x="5906" y="62"/>
                </a:cubicBezTo>
                <a:cubicBezTo>
                  <a:pt x="5781" y="62"/>
                  <a:pt x="5656" y="31"/>
                  <a:pt x="5500" y="93"/>
                </a:cubicBezTo>
                <a:cubicBezTo>
                  <a:pt x="5500" y="93"/>
                  <a:pt x="5469" y="93"/>
                  <a:pt x="5469" y="93"/>
                </a:cubicBezTo>
                <a:cubicBezTo>
                  <a:pt x="5375" y="93"/>
                  <a:pt x="5312" y="93"/>
                  <a:pt x="5250" y="125"/>
                </a:cubicBezTo>
                <a:cubicBezTo>
                  <a:pt x="5094" y="93"/>
                  <a:pt x="4969" y="156"/>
                  <a:pt x="4844" y="156"/>
                </a:cubicBezTo>
                <a:cubicBezTo>
                  <a:pt x="4562" y="187"/>
                  <a:pt x="4344" y="250"/>
                  <a:pt x="4094" y="281"/>
                </a:cubicBezTo>
                <a:cubicBezTo>
                  <a:pt x="3937" y="343"/>
                  <a:pt x="3750" y="375"/>
                  <a:pt x="3594" y="375"/>
                </a:cubicBezTo>
                <a:cubicBezTo>
                  <a:pt x="3250" y="437"/>
                  <a:pt x="2875" y="531"/>
                  <a:pt x="2531" y="625"/>
                </a:cubicBezTo>
                <a:cubicBezTo>
                  <a:pt x="2187" y="687"/>
                  <a:pt x="1844" y="750"/>
                  <a:pt x="1500" y="843"/>
                </a:cubicBezTo>
                <a:cubicBezTo>
                  <a:pt x="1094" y="937"/>
                  <a:pt x="687" y="1062"/>
                  <a:pt x="281" y="1156"/>
                </a:cubicBezTo>
                <a:cubicBezTo>
                  <a:pt x="187" y="1187"/>
                  <a:pt x="94" y="1218"/>
                  <a:pt x="0" y="1250"/>
                </a:cubicBezTo>
                <a:cubicBezTo>
                  <a:pt x="0" y="1281"/>
                  <a:pt x="0" y="1281"/>
                  <a:pt x="0" y="1281"/>
                </a:cubicBezTo>
                <a:cubicBezTo>
                  <a:pt x="94" y="1250"/>
                  <a:pt x="219" y="1218"/>
                  <a:pt x="312" y="1187"/>
                </a:cubicBezTo>
                <a:cubicBezTo>
                  <a:pt x="719" y="1062"/>
                  <a:pt x="1125" y="968"/>
                  <a:pt x="1531" y="843"/>
                </a:cubicBezTo>
                <a:cubicBezTo>
                  <a:pt x="1875" y="781"/>
                  <a:pt x="2219" y="687"/>
                  <a:pt x="2562" y="625"/>
                </a:cubicBezTo>
                <a:cubicBezTo>
                  <a:pt x="2719" y="625"/>
                  <a:pt x="2844" y="593"/>
                  <a:pt x="3000" y="562"/>
                </a:cubicBezTo>
                <a:cubicBezTo>
                  <a:pt x="3219" y="531"/>
                  <a:pt x="3469" y="468"/>
                  <a:pt x="3687" y="437"/>
                </a:cubicBezTo>
                <a:cubicBezTo>
                  <a:pt x="3719" y="437"/>
                  <a:pt x="3750" y="406"/>
                  <a:pt x="3781" y="437"/>
                </a:cubicBezTo>
                <a:cubicBezTo>
                  <a:pt x="3781" y="468"/>
                  <a:pt x="3750" y="468"/>
                  <a:pt x="3719" y="500"/>
                </a:cubicBezTo>
                <a:cubicBezTo>
                  <a:pt x="4281" y="437"/>
                  <a:pt x="4812" y="312"/>
                  <a:pt x="5375" y="312"/>
                </a:cubicBezTo>
                <a:cubicBezTo>
                  <a:pt x="5094" y="343"/>
                  <a:pt x="4812" y="375"/>
                  <a:pt x="4531" y="437"/>
                </a:cubicBezTo>
                <a:cubicBezTo>
                  <a:pt x="4625" y="437"/>
                  <a:pt x="4687" y="531"/>
                  <a:pt x="4750" y="531"/>
                </a:cubicBezTo>
                <a:cubicBezTo>
                  <a:pt x="4875" y="500"/>
                  <a:pt x="4969" y="500"/>
                  <a:pt x="5094" y="468"/>
                </a:cubicBezTo>
                <a:cubicBezTo>
                  <a:pt x="5250" y="468"/>
                  <a:pt x="5406" y="406"/>
                  <a:pt x="5562" y="437"/>
                </a:cubicBezTo>
                <a:cubicBezTo>
                  <a:pt x="5281" y="468"/>
                  <a:pt x="5000" y="562"/>
                  <a:pt x="4687" y="593"/>
                </a:cubicBezTo>
                <a:cubicBezTo>
                  <a:pt x="5000" y="593"/>
                  <a:pt x="5281" y="500"/>
                  <a:pt x="5594" y="593"/>
                </a:cubicBezTo>
                <a:cubicBezTo>
                  <a:pt x="5375" y="593"/>
                  <a:pt x="5156" y="656"/>
                  <a:pt x="4937" y="718"/>
                </a:cubicBezTo>
                <a:cubicBezTo>
                  <a:pt x="5250" y="687"/>
                  <a:pt x="5562" y="625"/>
                  <a:pt x="5875" y="687"/>
                </a:cubicBezTo>
                <a:cubicBezTo>
                  <a:pt x="5719" y="718"/>
                  <a:pt x="5594" y="750"/>
                  <a:pt x="5437" y="812"/>
                </a:cubicBezTo>
                <a:cubicBezTo>
                  <a:pt x="5562" y="843"/>
                  <a:pt x="5687" y="781"/>
                  <a:pt x="5781" y="781"/>
                </a:cubicBezTo>
                <a:cubicBezTo>
                  <a:pt x="5969" y="781"/>
                  <a:pt x="6156" y="843"/>
                  <a:pt x="6344" y="843"/>
                </a:cubicBezTo>
                <a:cubicBezTo>
                  <a:pt x="6375" y="812"/>
                  <a:pt x="6406" y="843"/>
                  <a:pt x="6469" y="843"/>
                </a:cubicBezTo>
                <a:cubicBezTo>
                  <a:pt x="6250" y="906"/>
                  <a:pt x="6031" y="875"/>
                  <a:pt x="5844" y="968"/>
                </a:cubicBezTo>
                <a:cubicBezTo>
                  <a:pt x="6156" y="1000"/>
                  <a:pt x="6469" y="1062"/>
                  <a:pt x="6781" y="1062"/>
                </a:cubicBezTo>
                <a:cubicBezTo>
                  <a:pt x="6719" y="1125"/>
                  <a:pt x="6625" y="1093"/>
                  <a:pt x="6562" y="1125"/>
                </a:cubicBezTo>
                <a:cubicBezTo>
                  <a:pt x="6625" y="1156"/>
                  <a:pt x="6656" y="1156"/>
                  <a:pt x="6750" y="1156"/>
                </a:cubicBezTo>
                <a:cubicBezTo>
                  <a:pt x="6656" y="1187"/>
                  <a:pt x="6562" y="1156"/>
                  <a:pt x="6437" y="1218"/>
                </a:cubicBezTo>
                <a:cubicBezTo>
                  <a:pt x="6656" y="1218"/>
                  <a:pt x="6844" y="1218"/>
                  <a:pt x="7031" y="1218"/>
                </a:cubicBezTo>
                <a:cubicBezTo>
                  <a:pt x="6812" y="1250"/>
                  <a:pt x="6594" y="1281"/>
                  <a:pt x="6375" y="1312"/>
                </a:cubicBezTo>
                <a:cubicBezTo>
                  <a:pt x="6562" y="1343"/>
                  <a:pt x="6719" y="1312"/>
                  <a:pt x="6937" y="1343"/>
                </a:cubicBezTo>
                <a:cubicBezTo>
                  <a:pt x="6812" y="1375"/>
                  <a:pt x="6687" y="1312"/>
                  <a:pt x="6562" y="1406"/>
                </a:cubicBezTo>
                <a:cubicBezTo>
                  <a:pt x="6781" y="1406"/>
                  <a:pt x="6969" y="1406"/>
                  <a:pt x="7156" y="1437"/>
                </a:cubicBezTo>
                <a:cubicBezTo>
                  <a:pt x="7094" y="1531"/>
                  <a:pt x="6969" y="1625"/>
                  <a:pt x="6906" y="1687"/>
                </a:cubicBezTo>
                <a:cubicBezTo>
                  <a:pt x="6656" y="1906"/>
                  <a:pt x="6406" y="2125"/>
                  <a:pt x="6156" y="2343"/>
                </a:cubicBezTo>
                <a:cubicBezTo>
                  <a:pt x="5969" y="2500"/>
                  <a:pt x="5781" y="2656"/>
                  <a:pt x="5562" y="2812"/>
                </a:cubicBezTo>
                <a:cubicBezTo>
                  <a:pt x="5219" y="3093"/>
                  <a:pt x="4875" y="3375"/>
                  <a:pt x="4500" y="3656"/>
                </a:cubicBezTo>
                <a:cubicBezTo>
                  <a:pt x="4344" y="3781"/>
                  <a:pt x="4156" y="3906"/>
                  <a:pt x="4000" y="4062"/>
                </a:cubicBezTo>
                <a:cubicBezTo>
                  <a:pt x="3812" y="4187"/>
                  <a:pt x="3656" y="4312"/>
                  <a:pt x="3500" y="4437"/>
                </a:cubicBezTo>
                <a:cubicBezTo>
                  <a:pt x="3344" y="4500"/>
                  <a:pt x="3187" y="4531"/>
                  <a:pt x="3000" y="4562"/>
                </a:cubicBezTo>
                <a:cubicBezTo>
                  <a:pt x="2812" y="4625"/>
                  <a:pt x="2656" y="4656"/>
                  <a:pt x="2469" y="4718"/>
                </a:cubicBezTo>
                <a:cubicBezTo>
                  <a:pt x="2375" y="4750"/>
                  <a:pt x="2344" y="4781"/>
                  <a:pt x="2375" y="4875"/>
                </a:cubicBezTo>
                <a:cubicBezTo>
                  <a:pt x="2406" y="4937"/>
                  <a:pt x="2375" y="4968"/>
                  <a:pt x="2312" y="4906"/>
                </a:cubicBezTo>
                <a:cubicBezTo>
                  <a:pt x="2281" y="4906"/>
                  <a:pt x="2281" y="4906"/>
                  <a:pt x="2250" y="4906"/>
                </a:cubicBezTo>
                <a:cubicBezTo>
                  <a:pt x="2187" y="4968"/>
                  <a:pt x="2094" y="4937"/>
                  <a:pt x="2031" y="5000"/>
                </a:cubicBezTo>
                <a:cubicBezTo>
                  <a:pt x="2000" y="5000"/>
                  <a:pt x="1937" y="5000"/>
                  <a:pt x="2031" y="5062"/>
                </a:cubicBezTo>
                <a:cubicBezTo>
                  <a:pt x="2062" y="5093"/>
                  <a:pt x="2031" y="5125"/>
                  <a:pt x="2000" y="5125"/>
                </a:cubicBezTo>
                <a:cubicBezTo>
                  <a:pt x="1937" y="5093"/>
                  <a:pt x="1875" y="5187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750" y="5218"/>
                  <a:pt x="1656" y="5187"/>
                  <a:pt x="1594" y="5250"/>
                </a:cubicBezTo>
                <a:cubicBezTo>
                  <a:pt x="1625" y="5125"/>
                  <a:pt x="1719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12" y="5156"/>
                  <a:pt x="1812" y="5156"/>
                  <a:pt x="1812" y="5156"/>
                </a:cubicBezTo>
                <a:cubicBezTo>
                  <a:pt x="1875" y="5125"/>
                  <a:pt x="1875" y="5062"/>
                  <a:pt x="1906" y="5062"/>
                </a:cubicBezTo>
                <a:cubicBezTo>
                  <a:pt x="1937" y="5031"/>
                  <a:pt x="1906" y="5031"/>
                  <a:pt x="1906" y="5000"/>
                </a:cubicBezTo>
                <a:cubicBezTo>
                  <a:pt x="1875" y="5000"/>
                  <a:pt x="1875" y="5000"/>
                  <a:pt x="1875" y="5000"/>
                </a:cubicBezTo>
                <a:cubicBezTo>
                  <a:pt x="1781" y="5125"/>
                  <a:pt x="1656" y="5093"/>
                  <a:pt x="1531" y="5125"/>
                </a:cubicBezTo>
                <a:cubicBezTo>
                  <a:pt x="1500" y="5156"/>
                  <a:pt x="1437" y="5156"/>
                  <a:pt x="1531" y="5218"/>
                </a:cubicBezTo>
                <a:cubicBezTo>
                  <a:pt x="1562" y="5250"/>
                  <a:pt x="1531" y="5250"/>
                  <a:pt x="1469" y="5281"/>
                </a:cubicBezTo>
                <a:cubicBezTo>
                  <a:pt x="1312" y="5312"/>
                  <a:pt x="1125" y="5375"/>
                  <a:pt x="937" y="5437"/>
                </a:cubicBezTo>
                <a:cubicBezTo>
                  <a:pt x="906" y="5437"/>
                  <a:pt x="844" y="5406"/>
                  <a:pt x="844" y="5468"/>
                </a:cubicBezTo>
                <a:cubicBezTo>
                  <a:pt x="875" y="5531"/>
                  <a:pt x="906" y="5562"/>
                  <a:pt x="937" y="5562"/>
                </a:cubicBezTo>
                <a:cubicBezTo>
                  <a:pt x="969" y="5562"/>
                  <a:pt x="969" y="5562"/>
                  <a:pt x="1000" y="5562"/>
                </a:cubicBezTo>
                <a:cubicBezTo>
                  <a:pt x="1000" y="5562"/>
                  <a:pt x="1000" y="5562"/>
                  <a:pt x="1000" y="5562"/>
                </a:cubicBezTo>
                <a:cubicBezTo>
                  <a:pt x="1094" y="5531"/>
                  <a:pt x="1156" y="5468"/>
                  <a:pt x="1250" y="5468"/>
                </a:cubicBezTo>
                <a:cubicBezTo>
                  <a:pt x="1594" y="5406"/>
                  <a:pt x="1906" y="5281"/>
                  <a:pt x="2250" y="5187"/>
                </a:cubicBezTo>
                <a:cubicBezTo>
                  <a:pt x="2375" y="5156"/>
                  <a:pt x="2500" y="5093"/>
                  <a:pt x="2656" y="5125"/>
                </a:cubicBezTo>
                <a:cubicBezTo>
                  <a:pt x="2625" y="5156"/>
                  <a:pt x="2562" y="5156"/>
                  <a:pt x="2531" y="5187"/>
                </a:cubicBezTo>
                <a:cubicBezTo>
                  <a:pt x="2156" y="5468"/>
                  <a:pt x="1812" y="5812"/>
                  <a:pt x="1469" y="6156"/>
                </a:cubicBezTo>
                <a:cubicBezTo>
                  <a:pt x="1250" y="6375"/>
                  <a:pt x="1000" y="6593"/>
                  <a:pt x="812" y="6875"/>
                </a:cubicBezTo>
                <a:cubicBezTo>
                  <a:pt x="812" y="6875"/>
                  <a:pt x="812" y="6875"/>
                  <a:pt x="812" y="6875"/>
                </a:cubicBezTo>
                <a:cubicBezTo>
                  <a:pt x="719" y="6968"/>
                  <a:pt x="625" y="7093"/>
                  <a:pt x="562" y="7187"/>
                </a:cubicBezTo>
                <a:cubicBezTo>
                  <a:pt x="406" y="7437"/>
                  <a:pt x="250" y="7687"/>
                  <a:pt x="250" y="8000"/>
                </a:cubicBezTo>
                <a:cubicBezTo>
                  <a:pt x="219" y="8187"/>
                  <a:pt x="281" y="8343"/>
                  <a:pt x="437" y="8500"/>
                </a:cubicBezTo>
                <a:cubicBezTo>
                  <a:pt x="594" y="8656"/>
                  <a:pt x="812" y="8812"/>
                  <a:pt x="969" y="9000"/>
                </a:cubicBezTo>
                <a:cubicBezTo>
                  <a:pt x="1219" y="9218"/>
                  <a:pt x="1437" y="9468"/>
                  <a:pt x="1656" y="9718"/>
                </a:cubicBezTo>
                <a:cubicBezTo>
                  <a:pt x="2000" y="10093"/>
                  <a:pt x="2375" y="10468"/>
                  <a:pt x="2687" y="10875"/>
                </a:cubicBezTo>
                <a:cubicBezTo>
                  <a:pt x="2719" y="10937"/>
                  <a:pt x="2781" y="10968"/>
                  <a:pt x="2844" y="11031"/>
                </a:cubicBezTo>
                <a:cubicBezTo>
                  <a:pt x="2844" y="11062"/>
                  <a:pt x="2875" y="11062"/>
                  <a:pt x="2906" y="11062"/>
                </a:cubicBezTo>
                <a:cubicBezTo>
                  <a:pt x="3000" y="10968"/>
                  <a:pt x="3000" y="11062"/>
                  <a:pt x="3000" y="11125"/>
                </a:cubicBezTo>
                <a:cubicBezTo>
                  <a:pt x="3000" y="11250"/>
                  <a:pt x="3062" y="11343"/>
                  <a:pt x="3187" y="11375"/>
                </a:cubicBezTo>
                <a:cubicBezTo>
                  <a:pt x="3250" y="11406"/>
                  <a:pt x="3281" y="11437"/>
                  <a:pt x="3250" y="11468"/>
                </a:cubicBezTo>
                <a:cubicBezTo>
                  <a:pt x="3219" y="11531"/>
                  <a:pt x="3281" y="11531"/>
                  <a:pt x="3281" y="11593"/>
                </a:cubicBezTo>
                <a:cubicBezTo>
                  <a:pt x="3375" y="11718"/>
                  <a:pt x="3469" y="11781"/>
                  <a:pt x="3562" y="11906"/>
                </a:cubicBezTo>
                <a:cubicBezTo>
                  <a:pt x="3719" y="12125"/>
                  <a:pt x="3906" y="12375"/>
                  <a:pt x="4094" y="12593"/>
                </a:cubicBezTo>
                <a:cubicBezTo>
                  <a:pt x="4187" y="12718"/>
                  <a:pt x="4344" y="12843"/>
                  <a:pt x="4531" y="12875"/>
                </a:cubicBezTo>
                <a:cubicBezTo>
                  <a:pt x="4531" y="12812"/>
                  <a:pt x="4469" y="12812"/>
                  <a:pt x="4469" y="12750"/>
                </a:cubicBezTo>
                <a:cubicBezTo>
                  <a:pt x="4437" y="12750"/>
                  <a:pt x="4406" y="12750"/>
                  <a:pt x="4375" y="12718"/>
                </a:cubicBezTo>
                <a:cubicBezTo>
                  <a:pt x="4406" y="12750"/>
                  <a:pt x="4437" y="12750"/>
                  <a:pt x="4469" y="12750"/>
                </a:cubicBezTo>
                <a:cubicBezTo>
                  <a:pt x="4469" y="12812"/>
                  <a:pt x="4531" y="12812"/>
                  <a:pt x="4531" y="12875"/>
                </a:cubicBezTo>
                <a:cubicBezTo>
                  <a:pt x="4594" y="12875"/>
                  <a:pt x="4656" y="12906"/>
                  <a:pt x="4719" y="12906"/>
                </a:cubicBezTo>
                <a:cubicBezTo>
                  <a:pt x="4937" y="12968"/>
                  <a:pt x="5156" y="12937"/>
                  <a:pt x="5344" y="12937"/>
                </a:cubicBezTo>
                <a:cubicBezTo>
                  <a:pt x="5312" y="12906"/>
                  <a:pt x="5281" y="12906"/>
                  <a:pt x="5250" y="12906"/>
                </a:cubicBezTo>
                <a:cubicBezTo>
                  <a:pt x="5250" y="12906"/>
                  <a:pt x="5250" y="12906"/>
                  <a:pt x="5250" y="12906"/>
                </a:cubicBezTo>
                <a:cubicBezTo>
                  <a:pt x="5219" y="12906"/>
                  <a:pt x="5187" y="12906"/>
                  <a:pt x="5187" y="12906"/>
                </a:cubicBezTo>
                <a:cubicBezTo>
                  <a:pt x="5062" y="12906"/>
                  <a:pt x="4969" y="12906"/>
                  <a:pt x="4844" y="12906"/>
                </a:cubicBezTo>
                <a:cubicBezTo>
                  <a:pt x="4969" y="12906"/>
                  <a:pt x="5062" y="12906"/>
                  <a:pt x="5187" y="12906"/>
                </a:cubicBezTo>
                <a:cubicBezTo>
                  <a:pt x="5187" y="12906"/>
                  <a:pt x="5219" y="12906"/>
                  <a:pt x="5250" y="12906"/>
                </a:cubicBezTo>
                <a:cubicBezTo>
                  <a:pt x="5250" y="12812"/>
                  <a:pt x="5156" y="12812"/>
                  <a:pt x="5125" y="12812"/>
                </a:cubicBezTo>
                <a:cubicBezTo>
                  <a:pt x="5094" y="12812"/>
                  <a:pt x="5062" y="12812"/>
                  <a:pt x="5031" y="12781"/>
                </a:cubicBezTo>
                <a:cubicBezTo>
                  <a:pt x="5031" y="12750"/>
                  <a:pt x="5062" y="12750"/>
                  <a:pt x="5094" y="12718"/>
                </a:cubicBezTo>
                <a:cubicBezTo>
                  <a:pt x="5094" y="12687"/>
                  <a:pt x="5156" y="12687"/>
                  <a:pt x="5219" y="12656"/>
                </a:cubicBezTo>
                <a:cubicBezTo>
                  <a:pt x="5094" y="12625"/>
                  <a:pt x="4969" y="12687"/>
                  <a:pt x="4812" y="12593"/>
                </a:cubicBezTo>
                <a:cubicBezTo>
                  <a:pt x="4937" y="12625"/>
                  <a:pt x="5031" y="12562"/>
                  <a:pt x="5156" y="12531"/>
                </a:cubicBezTo>
                <a:cubicBezTo>
                  <a:pt x="5062" y="12531"/>
                  <a:pt x="4969" y="12531"/>
                  <a:pt x="4875" y="12531"/>
                </a:cubicBezTo>
                <a:cubicBezTo>
                  <a:pt x="4906" y="12468"/>
                  <a:pt x="4969" y="12500"/>
                  <a:pt x="5000" y="12468"/>
                </a:cubicBezTo>
                <a:cubicBezTo>
                  <a:pt x="4906" y="12468"/>
                  <a:pt x="4844" y="12468"/>
                  <a:pt x="4750" y="12437"/>
                </a:cubicBezTo>
                <a:cubicBezTo>
                  <a:pt x="4875" y="12375"/>
                  <a:pt x="5000" y="12437"/>
                  <a:pt x="5094" y="12375"/>
                </a:cubicBezTo>
                <a:cubicBezTo>
                  <a:pt x="4969" y="12312"/>
                  <a:pt x="4844" y="12375"/>
                  <a:pt x="4687" y="12375"/>
                </a:cubicBezTo>
                <a:cubicBezTo>
                  <a:pt x="4656" y="12375"/>
                  <a:pt x="4594" y="12375"/>
                  <a:pt x="4562" y="12375"/>
                </a:cubicBezTo>
                <a:cubicBezTo>
                  <a:pt x="4562" y="12375"/>
                  <a:pt x="4562" y="12375"/>
                  <a:pt x="4594" y="12375"/>
                </a:cubicBezTo>
                <a:cubicBezTo>
                  <a:pt x="4562" y="12375"/>
                  <a:pt x="4531" y="12375"/>
                  <a:pt x="4500" y="12375"/>
                </a:cubicBezTo>
                <a:cubicBezTo>
                  <a:pt x="4594" y="12343"/>
                  <a:pt x="4687" y="12281"/>
                  <a:pt x="4750" y="12218"/>
                </a:cubicBezTo>
                <a:cubicBezTo>
                  <a:pt x="4687" y="12281"/>
                  <a:pt x="4594" y="12343"/>
                  <a:pt x="4500" y="12375"/>
                </a:cubicBezTo>
                <a:cubicBezTo>
                  <a:pt x="4531" y="12375"/>
                  <a:pt x="4562" y="12375"/>
                  <a:pt x="4594" y="12375"/>
                </a:cubicBezTo>
                <a:cubicBezTo>
                  <a:pt x="4687" y="12343"/>
                  <a:pt x="4750" y="12281"/>
                  <a:pt x="4844" y="12218"/>
                </a:cubicBezTo>
                <a:cubicBezTo>
                  <a:pt x="4781" y="12187"/>
                  <a:pt x="4719" y="12218"/>
                  <a:pt x="4656" y="12187"/>
                </a:cubicBezTo>
                <a:cubicBezTo>
                  <a:pt x="4656" y="12156"/>
                  <a:pt x="4719" y="12187"/>
                  <a:pt x="4719" y="12125"/>
                </a:cubicBezTo>
                <a:cubicBezTo>
                  <a:pt x="4687" y="12125"/>
                  <a:pt x="4687" y="12093"/>
                  <a:pt x="4656" y="12093"/>
                </a:cubicBezTo>
                <a:cubicBezTo>
                  <a:pt x="4594" y="12093"/>
                  <a:pt x="4562" y="12093"/>
                  <a:pt x="4500" y="12093"/>
                </a:cubicBezTo>
                <a:cubicBezTo>
                  <a:pt x="4500" y="12093"/>
                  <a:pt x="4437" y="12093"/>
                  <a:pt x="4469" y="12062"/>
                </a:cubicBezTo>
                <a:cubicBezTo>
                  <a:pt x="4500" y="12062"/>
                  <a:pt x="4500" y="12062"/>
                  <a:pt x="4531" y="12031"/>
                </a:cubicBezTo>
                <a:cubicBezTo>
                  <a:pt x="4531" y="12031"/>
                  <a:pt x="4531" y="12031"/>
                  <a:pt x="4531" y="12031"/>
                </a:cubicBezTo>
                <a:cubicBezTo>
                  <a:pt x="4437" y="12031"/>
                  <a:pt x="4375" y="12031"/>
                  <a:pt x="4312" y="12031"/>
                </a:cubicBezTo>
                <a:cubicBezTo>
                  <a:pt x="4344" y="11968"/>
                  <a:pt x="4406" y="12000"/>
                  <a:pt x="4437" y="11968"/>
                </a:cubicBezTo>
                <a:cubicBezTo>
                  <a:pt x="4562" y="11968"/>
                  <a:pt x="4719" y="12000"/>
                  <a:pt x="4812" y="11875"/>
                </a:cubicBezTo>
                <a:cubicBezTo>
                  <a:pt x="4656" y="11875"/>
                  <a:pt x="4500" y="11906"/>
                  <a:pt x="4344" y="11906"/>
                </a:cubicBezTo>
                <a:cubicBezTo>
                  <a:pt x="4344" y="11906"/>
                  <a:pt x="4312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281" y="11906"/>
                  <a:pt x="4281" y="11906"/>
                  <a:pt x="4312" y="11906"/>
                </a:cubicBezTo>
                <a:cubicBezTo>
                  <a:pt x="4281" y="11906"/>
                  <a:pt x="4281" y="11906"/>
                  <a:pt x="4281" y="11906"/>
                </a:cubicBezTo>
                <a:cubicBezTo>
                  <a:pt x="4437" y="11843"/>
                  <a:pt x="4594" y="11812"/>
                  <a:pt x="4750" y="11781"/>
                </a:cubicBezTo>
                <a:cubicBezTo>
                  <a:pt x="4594" y="11781"/>
                  <a:pt x="4406" y="11843"/>
                  <a:pt x="4219" y="11812"/>
                </a:cubicBezTo>
                <a:cubicBezTo>
                  <a:pt x="4219" y="11812"/>
                  <a:pt x="4219" y="11812"/>
                  <a:pt x="4219" y="11812"/>
                </a:cubicBezTo>
                <a:cubicBezTo>
                  <a:pt x="4219" y="11812"/>
                  <a:pt x="4187" y="11781"/>
                  <a:pt x="4156" y="11781"/>
                </a:cubicBezTo>
                <a:cubicBezTo>
                  <a:pt x="4219" y="11750"/>
                  <a:pt x="4281" y="11750"/>
                  <a:pt x="4344" y="11750"/>
                </a:cubicBezTo>
                <a:cubicBezTo>
                  <a:pt x="4281" y="11750"/>
                  <a:pt x="4219" y="11750"/>
                  <a:pt x="4156" y="11781"/>
                </a:cubicBezTo>
                <a:cubicBezTo>
                  <a:pt x="4187" y="11781"/>
                  <a:pt x="4219" y="11812"/>
                  <a:pt x="4219" y="11812"/>
                </a:cubicBezTo>
                <a:cubicBezTo>
                  <a:pt x="4344" y="11750"/>
                  <a:pt x="4469" y="11750"/>
                  <a:pt x="4594" y="11718"/>
                </a:cubicBezTo>
                <a:cubicBezTo>
                  <a:pt x="4469" y="11656"/>
                  <a:pt x="4312" y="11718"/>
                  <a:pt x="4187" y="11687"/>
                </a:cubicBezTo>
                <a:cubicBezTo>
                  <a:pt x="4281" y="11687"/>
                  <a:pt x="4375" y="11625"/>
                  <a:pt x="4469" y="11593"/>
                </a:cubicBezTo>
                <a:cubicBezTo>
                  <a:pt x="4469" y="11562"/>
                  <a:pt x="4406" y="11593"/>
                  <a:pt x="4406" y="11562"/>
                </a:cubicBezTo>
                <a:cubicBezTo>
                  <a:pt x="4500" y="11500"/>
                  <a:pt x="4594" y="11531"/>
                  <a:pt x="4656" y="11468"/>
                </a:cubicBezTo>
                <a:cubicBezTo>
                  <a:pt x="4500" y="11437"/>
                  <a:pt x="4312" y="11500"/>
                  <a:pt x="4156" y="11531"/>
                </a:cubicBezTo>
                <a:cubicBezTo>
                  <a:pt x="4094" y="11531"/>
                  <a:pt x="4031" y="11531"/>
                  <a:pt x="3969" y="11531"/>
                </a:cubicBezTo>
                <a:cubicBezTo>
                  <a:pt x="3969" y="11531"/>
                  <a:pt x="3969" y="11500"/>
                  <a:pt x="3969" y="11500"/>
                </a:cubicBezTo>
                <a:cubicBezTo>
                  <a:pt x="3937" y="11500"/>
                  <a:pt x="3937" y="11500"/>
                  <a:pt x="3906" y="11500"/>
                </a:cubicBezTo>
                <a:cubicBezTo>
                  <a:pt x="3906" y="11500"/>
                  <a:pt x="3906" y="11500"/>
                  <a:pt x="3906" y="11500"/>
                </a:cubicBezTo>
                <a:cubicBezTo>
                  <a:pt x="3937" y="11500"/>
                  <a:pt x="3937" y="11500"/>
                  <a:pt x="3969" y="11500"/>
                </a:cubicBezTo>
                <a:cubicBezTo>
                  <a:pt x="3969" y="11437"/>
                  <a:pt x="4062" y="11500"/>
                  <a:pt x="4094" y="11437"/>
                </a:cubicBezTo>
                <a:cubicBezTo>
                  <a:pt x="4031" y="11437"/>
                  <a:pt x="3937" y="11437"/>
                  <a:pt x="3875" y="11437"/>
                </a:cubicBezTo>
                <a:cubicBezTo>
                  <a:pt x="3844" y="11437"/>
                  <a:pt x="3812" y="11468"/>
                  <a:pt x="3812" y="11406"/>
                </a:cubicBezTo>
                <a:cubicBezTo>
                  <a:pt x="3875" y="11406"/>
                  <a:pt x="3937" y="11406"/>
                  <a:pt x="4000" y="11406"/>
                </a:cubicBezTo>
                <a:cubicBezTo>
                  <a:pt x="4000" y="11375"/>
                  <a:pt x="3969" y="11375"/>
                  <a:pt x="3937" y="11375"/>
                </a:cubicBezTo>
                <a:cubicBezTo>
                  <a:pt x="3969" y="11343"/>
                  <a:pt x="4000" y="11343"/>
                  <a:pt x="4062" y="11312"/>
                </a:cubicBezTo>
                <a:cubicBezTo>
                  <a:pt x="4031" y="11250"/>
                  <a:pt x="3906" y="11281"/>
                  <a:pt x="3875" y="11218"/>
                </a:cubicBezTo>
                <a:cubicBezTo>
                  <a:pt x="4000" y="11156"/>
                  <a:pt x="4156" y="11125"/>
                  <a:pt x="4312" y="11093"/>
                </a:cubicBezTo>
                <a:cubicBezTo>
                  <a:pt x="4344" y="11093"/>
                  <a:pt x="4375" y="11062"/>
                  <a:pt x="4375" y="11062"/>
                </a:cubicBezTo>
                <a:cubicBezTo>
                  <a:pt x="4250" y="11000"/>
                  <a:pt x="4469" y="11031"/>
                  <a:pt x="4375" y="10968"/>
                </a:cubicBezTo>
                <a:cubicBezTo>
                  <a:pt x="4219" y="11062"/>
                  <a:pt x="4000" y="11062"/>
                  <a:pt x="3812" y="11093"/>
                </a:cubicBezTo>
                <a:cubicBezTo>
                  <a:pt x="3750" y="11093"/>
                  <a:pt x="3719" y="11093"/>
                  <a:pt x="3687" y="11093"/>
                </a:cubicBezTo>
                <a:cubicBezTo>
                  <a:pt x="3687" y="11062"/>
                  <a:pt x="3719" y="11031"/>
                  <a:pt x="3750" y="11031"/>
                </a:cubicBezTo>
                <a:cubicBezTo>
                  <a:pt x="3844" y="11031"/>
                  <a:pt x="3937" y="11000"/>
                  <a:pt x="4031" y="10968"/>
                </a:cubicBezTo>
                <a:cubicBezTo>
                  <a:pt x="4094" y="10968"/>
                  <a:pt x="4156" y="10968"/>
                  <a:pt x="4187" y="10875"/>
                </a:cubicBezTo>
                <a:cubicBezTo>
                  <a:pt x="4062" y="10875"/>
                  <a:pt x="3906" y="10875"/>
                  <a:pt x="3750" y="10875"/>
                </a:cubicBezTo>
                <a:cubicBezTo>
                  <a:pt x="3719" y="10875"/>
                  <a:pt x="3656" y="10875"/>
                  <a:pt x="3625" y="10875"/>
                </a:cubicBezTo>
                <a:cubicBezTo>
                  <a:pt x="3594" y="10875"/>
                  <a:pt x="3594" y="10875"/>
                  <a:pt x="3594" y="10875"/>
                </a:cubicBezTo>
                <a:cubicBezTo>
                  <a:pt x="3594" y="10875"/>
                  <a:pt x="3594" y="10875"/>
                  <a:pt x="3625" y="10875"/>
                </a:cubicBezTo>
                <a:cubicBezTo>
                  <a:pt x="3594" y="10875"/>
                  <a:pt x="3594" y="10875"/>
                  <a:pt x="3562" y="10843"/>
                </a:cubicBezTo>
                <a:cubicBezTo>
                  <a:pt x="3625" y="10812"/>
                  <a:pt x="3687" y="10843"/>
                  <a:pt x="3750" y="10812"/>
                </a:cubicBezTo>
                <a:cubicBezTo>
                  <a:pt x="4000" y="10781"/>
                  <a:pt x="4250" y="10718"/>
                  <a:pt x="4531" y="10656"/>
                </a:cubicBezTo>
                <a:cubicBezTo>
                  <a:pt x="4531" y="10593"/>
                  <a:pt x="4469" y="10625"/>
                  <a:pt x="4469" y="10593"/>
                </a:cubicBezTo>
                <a:cubicBezTo>
                  <a:pt x="4656" y="10531"/>
                  <a:pt x="4844" y="10468"/>
                  <a:pt x="5031" y="10375"/>
                </a:cubicBezTo>
                <a:cubicBezTo>
                  <a:pt x="5250" y="10312"/>
                  <a:pt x="5406" y="10250"/>
                  <a:pt x="5594" y="10156"/>
                </a:cubicBezTo>
                <a:cubicBezTo>
                  <a:pt x="5781" y="10093"/>
                  <a:pt x="6000" y="10000"/>
                  <a:pt x="6187" y="9906"/>
                </a:cubicBezTo>
                <a:cubicBezTo>
                  <a:pt x="6312" y="9875"/>
                  <a:pt x="6437" y="9812"/>
                  <a:pt x="6531" y="9718"/>
                </a:cubicBezTo>
                <a:cubicBezTo>
                  <a:pt x="6500" y="9718"/>
                  <a:pt x="6469" y="9718"/>
                  <a:pt x="6469" y="9750"/>
                </a:cubicBezTo>
                <a:cubicBezTo>
                  <a:pt x="6281" y="9812"/>
                  <a:pt x="6094" y="9906"/>
                  <a:pt x="5906" y="10000"/>
                </a:cubicBezTo>
                <a:cubicBezTo>
                  <a:pt x="5812" y="10031"/>
                  <a:pt x="5687" y="10062"/>
                  <a:pt x="5594" y="10156"/>
                </a:cubicBezTo>
                <a:cubicBezTo>
                  <a:pt x="5469" y="10156"/>
                  <a:pt x="5344" y="10218"/>
                  <a:pt x="5250" y="10281"/>
                </a:cubicBezTo>
                <a:cubicBezTo>
                  <a:pt x="5156" y="10312"/>
                  <a:pt x="5062" y="10281"/>
                  <a:pt x="5031" y="10375"/>
                </a:cubicBezTo>
                <a:cubicBezTo>
                  <a:pt x="5000" y="10375"/>
                  <a:pt x="4937" y="10375"/>
                  <a:pt x="4906" y="10406"/>
                </a:cubicBezTo>
                <a:cubicBezTo>
                  <a:pt x="4625" y="10468"/>
                  <a:pt x="4375" y="10562"/>
                  <a:pt x="4094" y="10625"/>
                </a:cubicBezTo>
                <a:cubicBezTo>
                  <a:pt x="4094" y="10625"/>
                  <a:pt x="4062" y="10656"/>
                  <a:pt x="4031" y="10656"/>
                </a:cubicBezTo>
                <a:cubicBezTo>
                  <a:pt x="3937" y="10656"/>
                  <a:pt x="3844" y="10687"/>
                  <a:pt x="3719" y="10687"/>
                </a:cubicBezTo>
                <a:cubicBezTo>
                  <a:pt x="3687" y="10687"/>
                  <a:pt x="3656" y="10718"/>
                  <a:pt x="3625" y="10656"/>
                </a:cubicBezTo>
                <a:cubicBezTo>
                  <a:pt x="3750" y="10656"/>
                  <a:pt x="3875" y="10593"/>
                  <a:pt x="4000" y="10593"/>
                </a:cubicBezTo>
                <a:cubicBezTo>
                  <a:pt x="4156" y="10562"/>
                  <a:pt x="4312" y="10500"/>
                  <a:pt x="4469" y="10437"/>
                </a:cubicBezTo>
                <a:cubicBezTo>
                  <a:pt x="4656" y="10375"/>
                  <a:pt x="4844" y="10343"/>
                  <a:pt x="5031" y="10250"/>
                </a:cubicBezTo>
                <a:cubicBezTo>
                  <a:pt x="5000" y="10218"/>
                  <a:pt x="4969" y="10218"/>
                  <a:pt x="4969" y="10250"/>
                </a:cubicBezTo>
                <a:cubicBezTo>
                  <a:pt x="4812" y="10281"/>
                  <a:pt x="4656" y="10343"/>
                  <a:pt x="4500" y="10375"/>
                </a:cubicBezTo>
                <a:cubicBezTo>
                  <a:pt x="4344" y="10437"/>
                  <a:pt x="4156" y="10500"/>
                  <a:pt x="3969" y="10531"/>
                </a:cubicBezTo>
                <a:cubicBezTo>
                  <a:pt x="3906" y="10531"/>
                  <a:pt x="3875" y="10562"/>
                  <a:pt x="3812" y="10562"/>
                </a:cubicBezTo>
                <a:cubicBezTo>
                  <a:pt x="3594" y="10593"/>
                  <a:pt x="3375" y="10625"/>
                  <a:pt x="3156" y="10593"/>
                </a:cubicBezTo>
                <a:cubicBezTo>
                  <a:pt x="3156" y="10593"/>
                  <a:pt x="3187" y="10593"/>
                  <a:pt x="3187" y="10593"/>
                </a:cubicBezTo>
                <a:cubicBezTo>
                  <a:pt x="3156" y="10593"/>
                  <a:pt x="3125" y="10593"/>
                  <a:pt x="3125" y="10593"/>
                </a:cubicBezTo>
                <a:cubicBezTo>
                  <a:pt x="3156" y="10593"/>
                  <a:pt x="3187" y="10593"/>
                  <a:pt x="3250" y="10562"/>
                </a:cubicBezTo>
                <a:cubicBezTo>
                  <a:pt x="3187" y="10593"/>
                  <a:pt x="3156" y="10593"/>
                  <a:pt x="3125" y="10593"/>
                </a:cubicBezTo>
                <a:cubicBezTo>
                  <a:pt x="3125" y="10593"/>
                  <a:pt x="3156" y="10593"/>
                  <a:pt x="3187" y="10593"/>
                </a:cubicBezTo>
                <a:cubicBezTo>
                  <a:pt x="3219" y="10593"/>
                  <a:pt x="3281" y="10593"/>
                  <a:pt x="3312" y="10593"/>
                </a:cubicBezTo>
                <a:cubicBezTo>
                  <a:pt x="3625" y="10531"/>
                  <a:pt x="3906" y="10500"/>
                  <a:pt x="4219" y="10375"/>
                </a:cubicBezTo>
                <a:cubicBezTo>
                  <a:pt x="4031" y="10406"/>
                  <a:pt x="3875" y="10406"/>
                  <a:pt x="3719" y="10406"/>
                </a:cubicBezTo>
                <a:cubicBezTo>
                  <a:pt x="3562" y="10406"/>
                  <a:pt x="3406" y="10500"/>
                  <a:pt x="3219" y="10437"/>
                </a:cubicBezTo>
                <a:cubicBezTo>
                  <a:pt x="3469" y="10281"/>
                  <a:pt x="3719" y="10312"/>
                  <a:pt x="3906" y="10218"/>
                </a:cubicBezTo>
                <a:cubicBezTo>
                  <a:pt x="3875" y="10125"/>
                  <a:pt x="3781" y="10187"/>
                  <a:pt x="3750" y="10125"/>
                </a:cubicBezTo>
                <a:cubicBezTo>
                  <a:pt x="3844" y="10093"/>
                  <a:pt x="3969" y="10093"/>
                  <a:pt x="4031" y="10000"/>
                </a:cubicBezTo>
                <a:cubicBezTo>
                  <a:pt x="3781" y="10062"/>
                  <a:pt x="3500" y="10125"/>
                  <a:pt x="3250" y="10156"/>
                </a:cubicBezTo>
                <a:cubicBezTo>
                  <a:pt x="3344" y="10125"/>
                  <a:pt x="3437" y="10093"/>
                  <a:pt x="3500" y="10093"/>
                </a:cubicBezTo>
                <a:cubicBezTo>
                  <a:pt x="3781" y="10000"/>
                  <a:pt x="4062" y="9906"/>
                  <a:pt x="4344" y="9812"/>
                </a:cubicBezTo>
                <a:cubicBezTo>
                  <a:pt x="4437" y="9812"/>
                  <a:pt x="4687" y="9750"/>
                  <a:pt x="5187" y="9625"/>
                </a:cubicBezTo>
                <a:cubicBezTo>
                  <a:pt x="5969" y="9437"/>
                  <a:pt x="6031" y="9343"/>
                  <a:pt x="6437" y="9031"/>
                </a:cubicBezTo>
                <a:cubicBezTo>
                  <a:pt x="6562" y="9031"/>
                  <a:pt x="6656" y="8968"/>
                  <a:pt x="6750" y="8906"/>
                </a:cubicBezTo>
                <a:cubicBezTo>
                  <a:pt x="7094" y="8750"/>
                  <a:pt x="7437" y="8562"/>
                  <a:pt x="7781" y="8375"/>
                </a:cubicBezTo>
                <a:cubicBezTo>
                  <a:pt x="8125" y="8187"/>
                  <a:pt x="8437" y="8000"/>
                  <a:pt x="8781" y="7843"/>
                </a:cubicBezTo>
                <a:cubicBezTo>
                  <a:pt x="8812" y="7812"/>
                  <a:pt x="8844" y="7781"/>
                  <a:pt x="8875" y="7781"/>
                </a:cubicBezTo>
                <a:cubicBezTo>
                  <a:pt x="8875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50"/>
                  <a:pt x="8906" y="7718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750" y="7718"/>
                  <a:pt x="8625" y="7843"/>
                  <a:pt x="8469" y="7906"/>
                </a:cubicBezTo>
                <a:cubicBezTo>
                  <a:pt x="8437" y="7937"/>
                  <a:pt x="8406" y="7968"/>
                  <a:pt x="8344" y="7968"/>
                </a:cubicBezTo>
                <a:cubicBezTo>
                  <a:pt x="8344" y="7968"/>
                  <a:pt x="8312" y="7968"/>
                  <a:pt x="8312" y="7937"/>
                </a:cubicBezTo>
                <a:cubicBezTo>
                  <a:pt x="8906" y="7625"/>
                  <a:pt x="9469" y="7281"/>
                  <a:pt x="10031" y="6937"/>
                </a:cubicBezTo>
                <a:cubicBezTo>
                  <a:pt x="10062" y="6968"/>
                  <a:pt x="10062" y="6968"/>
                  <a:pt x="10062" y="6968"/>
                </a:cubicBezTo>
                <a:cubicBezTo>
                  <a:pt x="9906" y="7093"/>
                  <a:pt x="9719" y="7187"/>
                  <a:pt x="9562" y="7281"/>
                </a:cubicBezTo>
                <a:cubicBezTo>
                  <a:pt x="9344" y="7437"/>
                  <a:pt x="9094" y="7531"/>
                  <a:pt x="8906" y="7687"/>
                </a:cubicBezTo>
                <a:cubicBezTo>
                  <a:pt x="8906" y="7687"/>
                  <a:pt x="8906" y="7687"/>
                  <a:pt x="8906" y="7687"/>
                </a:cubicBezTo>
                <a:cubicBezTo>
                  <a:pt x="8969" y="7718"/>
                  <a:pt x="9000" y="7687"/>
                  <a:pt x="9062" y="7687"/>
                </a:cubicBezTo>
                <a:cubicBezTo>
                  <a:pt x="9000" y="7718"/>
                  <a:pt x="8937" y="7750"/>
                  <a:pt x="8906" y="7781"/>
                </a:cubicBezTo>
                <a:cubicBezTo>
                  <a:pt x="8906" y="7781"/>
                  <a:pt x="8906" y="7781"/>
                  <a:pt x="8906" y="7781"/>
                </a:cubicBezTo>
                <a:cubicBezTo>
                  <a:pt x="8906" y="7781"/>
                  <a:pt x="8906" y="7781"/>
                  <a:pt x="8875" y="7781"/>
                </a:cubicBezTo>
                <a:cubicBezTo>
                  <a:pt x="8875" y="7812"/>
                  <a:pt x="8812" y="7812"/>
                  <a:pt x="8844" y="7843"/>
                </a:cubicBezTo>
                <a:cubicBezTo>
                  <a:pt x="8875" y="7875"/>
                  <a:pt x="8906" y="7875"/>
                  <a:pt x="8969" y="7875"/>
                </a:cubicBezTo>
                <a:cubicBezTo>
                  <a:pt x="9094" y="7812"/>
                  <a:pt x="9250" y="7687"/>
                  <a:pt x="9375" y="7625"/>
                </a:cubicBezTo>
                <a:cubicBezTo>
                  <a:pt x="9562" y="7562"/>
                  <a:pt x="9687" y="7406"/>
                  <a:pt x="9906" y="7343"/>
                </a:cubicBezTo>
                <a:cubicBezTo>
                  <a:pt x="9969" y="7312"/>
                  <a:pt x="10031" y="7250"/>
                  <a:pt x="10125" y="7281"/>
                </a:cubicBezTo>
                <a:cubicBezTo>
                  <a:pt x="10062" y="7343"/>
                  <a:pt x="9969" y="7375"/>
                  <a:pt x="9906" y="7437"/>
                </a:cubicBezTo>
                <a:cubicBezTo>
                  <a:pt x="9750" y="7562"/>
                  <a:pt x="9594" y="7625"/>
                  <a:pt x="9437" y="7718"/>
                </a:cubicBezTo>
                <a:cubicBezTo>
                  <a:pt x="9406" y="7750"/>
                  <a:pt x="9375" y="7750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406" y="7812"/>
                  <a:pt x="9406" y="7812"/>
                </a:cubicBezTo>
                <a:cubicBezTo>
                  <a:pt x="9406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43"/>
                  <a:pt x="9375" y="7843"/>
                  <a:pt x="9344" y="7843"/>
                </a:cubicBezTo>
                <a:cubicBezTo>
                  <a:pt x="9344" y="7843"/>
                  <a:pt x="9312" y="7843"/>
                  <a:pt x="9312" y="7843"/>
                </a:cubicBezTo>
                <a:cubicBezTo>
                  <a:pt x="9344" y="7812"/>
                  <a:pt x="9344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812"/>
                </a:cubicBezTo>
                <a:cubicBezTo>
                  <a:pt x="9375" y="7812"/>
                  <a:pt x="9375" y="7812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75" y="7781"/>
                  <a:pt x="9375" y="7781"/>
                  <a:pt x="9375" y="7781"/>
                </a:cubicBezTo>
                <a:cubicBezTo>
                  <a:pt x="9312" y="7812"/>
                  <a:pt x="9312" y="7812"/>
                  <a:pt x="9281" y="7875"/>
                </a:cubicBezTo>
                <a:cubicBezTo>
                  <a:pt x="9281" y="7906"/>
                  <a:pt x="9219" y="7937"/>
                  <a:pt x="9187" y="7968"/>
                </a:cubicBezTo>
                <a:cubicBezTo>
                  <a:pt x="8875" y="8156"/>
                  <a:pt x="8562" y="8343"/>
                  <a:pt x="8250" y="8531"/>
                </a:cubicBezTo>
                <a:cubicBezTo>
                  <a:pt x="8219" y="8531"/>
                  <a:pt x="8219" y="8531"/>
                  <a:pt x="8219" y="8562"/>
                </a:cubicBezTo>
                <a:cubicBezTo>
                  <a:pt x="8312" y="8531"/>
                  <a:pt x="8406" y="8468"/>
                  <a:pt x="8500" y="8437"/>
                </a:cubicBezTo>
                <a:cubicBezTo>
                  <a:pt x="9187" y="8031"/>
                  <a:pt x="9875" y="7625"/>
                  <a:pt x="10562" y="7218"/>
                </a:cubicBezTo>
                <a:cubicBezTo>
                  <a:pt x="10844" y="7062"/>
                  <a:pt x="11125" y="6875"/>
                  <a:pt x="11406" y="6687"/>
                </a:cubicBezTo>
                <a:cubicBezTo>
                  <a:pt x="11437" y="6687"/>
                  <a:pt x="11469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31" y="6593"/>
                  <a:pt x="11625" y="6562"/>
                  <a:pt x="11687" y="6531"/>
                </a:cubicBezTo>
                <a:cubicBezTo>
                  <a:pt x="11656" y="6593"/>
                  <a:pt x="11594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500" y="6656"/>
                  <a:pt x="11500" y="6656"/>
                  <a:pt x="11500" y="6656"/>
                </a:cubicBezTo>
                <a:cubicBezTo>
                  <a:pt x="11375" y="6781"/>
                  <a:pt x="11219" y="6843"/>
                  <a:pt x="11094" y="6937"/>
                </a:cubicBezTo>
                <a:cubicBezTo>
                  <a:pt x="10531" y="7281"/>
                  <a:pt x="9969" y="7656"/>
                  <a:pt x="9375" y="8000"/>
                </a:cubicBezTo>
                <a:cubicBezTo>
                  <a:pt x="8969" y="8250"/>
                  <a:pt x="8531" y="8500"/>
                  <a:pt x="8094" y="8750"/>
                </a:cubicBezTo>
                <a:cubicBezTo>
                  <a:pt x="8062" y="8750"/>
                  <a:pt x="8031" y="8750"/>
                  <a:pt x="8031" y="8812"/>
                </a:cubicBezTo>
                <a:cubicBezTo>
                  <a:pt x="9219" y="8187"/>
                  <a:pt x="10344" y="7500"/>
                  <a:pt x="11500" y="6843"/>
                </a:cubicBezTo>
                <a:cubicBezTo>
                  <a:pt x="11406" y="6875"/>
                  <a:pt x="11344" y="6937"/>
                  <a:pt x="11250" y="7000"/>
                </a:cubicBezTo>
                <a:cubicBezTo>
                  <a:pt x="11156" y="7031"/>
                  <a:pt x="11094" y="7093"/>
                  <a:pt x="11000" y="7156"/>
                </a:cubicBezTo>
                <a:cubicBezTo>
                  <a:pt x="10594" y="7406"/>
                  <a:pt x="10187" y="7656"/>
                  <a:pt x="9750" y="7906"/>
                </a:cubicBezTo>
                <a:cubicBezTo>
                  <a:pt x="9281" y="8187"/>
                  <a:pt x="8812" y="8468"/>
                  <a:pt x="8344" y="8750"/>
                </a:cubicBezTo>
                <a:cubicBezTo>
                  <a:pt x="8000" y="8937"/>
                  <a:pt x="7625" y="9125"/>
                  <a:pt x="7281" y="9343"/>
                </a:cubicBezTo>
                <a:cubicBezTo>
                  <a:pt x="7250" y="9343"/>
                  <a:pt x="7250" y="9343"/>
                  <a:pt x="7250" y="9375"/>
                </a:cubicBezTo>
                <a:cubicBezTo>
                  <a:pt x="7250" y="9375"/>
                  <a:pt x="7250" y="9375"/>
                  <a:pt x="7250" y="9375"/>
                </a:cubicBezTo>
                <a:cubicBezTo>
                  <a:pt x="7250" y="9375"/>
                  <a:pt x="7250" y="9375"/>
                  <a:pt x="7281" y="9375"/>
                </a:cubicBezTo>
                <a:cubicBezTo>
                  <a:pt x="7500" y="9281"/>
                  <a:pt x="7687" y="9156"/>
                  <a:pt x="7906" y="9062"/>
                </a:cubicBezTo>
                <a:cubicBezTo>
                  <a:pt x="8000" y="9000"/>
                  <a:pt x="8125" y="8906"/>
                  <a:pt x="8250" y="8906"/>
                </a:cubicBezTo>
                <a:cubicBezTo>
                  <a:pt x="8250" y="8906"/>
                  <a:pt x="8250" y="8937"/>
                  <a:pt x="8281" y="8937"/>
                </a:cubicBezTo>
                <a:cubicBezTo>
                  <a:pt x="8312" y="8937"/>
                  <a:pt x="8281" y="8906"/>
                  <a:pt x="8281" y="8906"/>
                </a:cubicBezTo>
                <a:cubicBezTo>
                  <a:pt x="8437" y="8875"/>
                  <a:pt x="8531" y="8781"/>
                  <a:pt x="8625" y="8718"/>
                </a:cubicBezTo>
                <a:cubicBezTo>
                  <a:pt x="8875" y="8593"/>
                  <a:pt x="9094" y="8468"/>
                  <a:pt x="9312" y="8312"/>
                </a:cubicBezTo>
                <a:cubicBezTo>
                  <a:pt x="9781" y="8062"/>
                  <a:pt x="10219" y="7781"/>
                  <a:pt x="10687" y="7500"/>
                </a:cubicBezTo>
                <a:cubicBezTo>
                  <a:pt x="10750" y="7468"/>
                  <a:pt x="10781" y="7468"/>
                  <a:pt x="10844" y="7531"/>
                </a:cubicBezTo>
                <a:cubicBezTo>
                  <a:pt x="10375" y="7812"/>
                  <a:pt x="9937" y="8125"/>
                  <a:pt x="9469" y="8437"/>
                </a:cubicBezTo>
                <a:cubicBezTo>
                  <a:pt x="9406" y="8468"/>
                  <a:pt x="9281" y="8500"/>
                  <a:pt x="9250" y="8593"/>
                </a:cubicBezTo>
                <a:cubicBezTo>
                  <a:pt x="9250" y="8593"/>
                  <a:pt x="9219" y="8593"/>
                  <a:pt x="9219" y="8593"/>
                </a:cubicBezTo>
                <a:cubicBezTo>
                  <a:pt x="9219" y="8593"/>
                  <a:pt x="9219" y="8593"/>
                  <a:pt x="9219" y="8593"/>
                </a:cubicBezTo>
                <a:cubicBezTo>
                  <a:pt x="9219" y="8593"/>
                  <a:pt x="9250" y="8593"/>
                  <a:pt x="9250" y="8593"/>
                </a:cubicBezTo>
                <a:cubicBezTo>
                  <a:pt x="9406" y="8531"/>
                  <a:pt x="9531" y="8437"/>
                  <a:pt x="9687" y="8343"/>
                </a:cubicBezTo>
                <a:cubicBezTo>
                  <a:pt x="10094" y="8093"/>
                  <a:pt x="10500" y="7843"/>
                  <a:pt x="10906" y="7593"/>
                </a:cubicBezTo>
                <a:cubicBezTo>
                  <a:pt x="11281" y="7375"/>
                  <a:pt x="11656" y="7125"/>
                  <a:pt x="12000" y="6906"/>
                </a:cubicBezTo>
                <a:cubicBezTo>
                  <a:pt x="12094" y="6875"/>
                  <a:pt x="12156" y="6781"/>
                  <a:pt x="12281" y="6781"/>
                </a:cubicBezTo>
                <a:cubicBezTo>
                  <a:pt x="11625" y="7250"/>
                  <a:pt x="10906" y="7656"/>
                  <a:pt x="10250" y="8093"/>
                </a:cubicBezTo>
                <a:cubicBezTo>
                  <a:pt x="10281" y="8125"/>
                  <a:pt x="10312" y="8093"/>
                  <a:pt x="10375" y="8093"/>
                </a:cubicBezTo>
                <a:cubicBezTo>
                  <a:pt x="10375" y="8062"/>
                  <a:pt x="10344" y="8062"/>
                  <a:pt x="10344" y="8062"/>
                </a:cubicBezTo>
                <a:cubicBezTo>
                  <a:pt x="10344" y="8062"/>
                  <a:pt x="10344" y="8062"/>
                  <a:pt x="10344" y="8062"/>
                </a:cubicBezTo>
                <a:cubicBezTo>
                  <a:pt x="10344" y="8062"/>
                  <a:pt x="10375" y="8062"/>
                  <a:pt x="10375" y="8093"/>
                </a:cubicBezTo>
                <a:cubicBezTo>
                  <a:pt x="10375" y="8062"/>
                  <a:pt x="10375" y="8062"/>
                  <a:pt x="10406" y="8093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62"/>
                </a:cubicBezTo>
                <a:cubicBezTo>
                  <a:pt x="10406" y="8062"/>
                  <a:pt x="10406" y="8062"/>
                  <a:pt x="10406" y="8093"/>
                </a:cubicBezTo>
                <a:cubicBezTo>
                  <a:pt x="10437" y="8125"/>
                  <a:pt x="10469" y="8062"/>
                  <a:pt x="10500" y="8062"/>
                </a:cubicBezTo>
                <a:cubicBezTo>
                  <a:pt x="11062" y="7718"/>
                  <a:pt x="11625" y="7375"/>
                  <a:pt x="12156" y="7031"/>
                </a:cubicBezTo>
                <a:cubicBezTo>
                  <a:pt x="12219" y="7000"/>
                  <a:pt x="12281" y="6937"/>
                  <a:pt x="12375" y="6937"/>
                </a:cubicBezTo>
                <a:cubicBezTo>
                  <a:pt x="12344" y="6875"/>
                  <a:pt x="12406" y="6875"/>
                  <a:pt x="12469" y="6875"/>
                </a:cubicBezTo>
                <a:cubicBezTo>
                  <a:pt x="12437" y="6906"/>
                  <a:pt x="12406" y="6937"/>
                  <a:pt x="12375" y="6968"/>
                </a:cubicBezTo>
                <a:cubicBezTo>
                  <a:pt x="12344" y="6968"/>
                  <a:pt x="12344" y="6968"/>
                  <a:pt x="12344" y="6968"/>
                </a:cubicBezTo>
                <a:cubicBezTo>
                  <a:pt x="12344" y="6968"/>
                  <a:pt x="12344" y="7000"/>
                  <a:pt x="12344" y="7000"/>
                </a:cubicBezTo>
                <a:cubicBezTo>
                  <a:pt x="12156" y="7093"/>
                  <a:pt x="12000" y="7187"/>
                  <a:pt x="11844" y="7312"/>
                </a:cubicBezTo>
                <a:cubicBezTo>
                  <a:pt x="11781" y="7343"/>
                  <a:pt x="11687" y="7375"/>
                  <a:pt x="11625" y="7468"/>
                </a:cubicBezTo>
                <a:cubicBezTo>
                  <a:pt x="11750" y="7437"/>
                  <a:pt x="11812" y="7406"/>
                  <a:pt x="11875" y="7312"/>
                </a:cubicBezTo>
                <a:cubicBezTo>
                  <a:pt x="11906" y="7312"/>
                  <a:pt x="11969" y="7281"/>
                  <a:pt x="12000" y="7281"/>
                </a:cubicBezTo>
                <a:cubicBezTo>
                  <a:pt x="12094" y="7187"/>
                  <a:pt x="12187" y="7125"/>
                  <a:pt x="12312" y="7062"/>
                </a:cubicBezTo>
                <a:cubicBezTo>
                  <a:pt x="12344" y="7093"/>
                  <a:pt x="12375" y="7093"/>
                  <a:pt x="12312" y="7156"/>
                </a:cubicBezTo>
                <a:cubicBezTo>
                  <a:pt x="12281" y="7156"/>
                  <a:pt x="12250" y="7187"/>
                  <a:pt x="12219" y="7218"/>
                </a:cubicBezTo>
                <a:cubicBezTo>
                  <a:pt x="12125" y="7281"/>
                  <a:pt x="12062" y="7312"/>
                  <a:pt x="12000" y="7375"/>
                </a:cubicBezTo>
                <a:cubicBezTo>
                  <a:pt x="11750" y="7531"/>
                  <a:pt x="11531" y="7718"/>
                  <a:pt x="11250" y="7843"/>
                </a:cubicBezTo>
                <a:cubicBezTo>
                  <a:pt x="11125" y="7937"/>
                  <a:pt x="11000" y="8031"/>
                  <a:pt x="10844" y="8125"/>
                </a:cubicBezTo>
                <a:cubicBezTo>
                  <a:pt x="10719" y="8218"/>
                  <a:pt x="10531" y="8250"/>
                  <a:pt x="10437" y="8406"/>
                </a:cubicBezTo>
                <a:cubicBezTo>
                  <a:pt x="10437" y="8406"/>
                  <a:pt x="10437" y="8437"/>
                  <a:pt x="10437" y="8468"/>
                </a:cubicBezTo>
                <a:cubicBezTo>
                  <a:pt x="10406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44" y="8437"/>
                  <a:pt x="10312" y="8468"/>
                  <a:pt x="10281" y="8468"/>
                </a:cubicBezTo>
                <a:lnTo>
                  <a:pt x="10281" y="8468"/>
                </a:lnTo>
                <a:cubicBezTo>
                  <a:pt x="10312" y="8468"/>
                  <a:pt x="10312" y="8500"/>
                  <a:pt x="10312" y="8500"/>
                </a:cubicBezTo>
                <a:cubicBezTo>
                  <a:pt x="10344" y="8531"/>
                  <a:pt x="10375" y="8500"/>
                  <a:pt x="10406" y="8468"/>
                </a:cubicBezTo>
                <a:cubicBezTo>
                  <a:pt x="10406" y="8468"/>
                  <a:pt x="10406" y="8468"/>
                  <a:pt x="10437" y="8468"/>
                </a:cubicBezTo>
                <a:cubicBezTo>
                  <a:pt x="10625" y="8343"/>
                  <a:pt x="10812" y="8250"/>
                  <a:pt x="11000" y="8125"/>
                </a:cubicBezTo>
                <a:cubicBezTo>
                  <a:pt x="11625" y="7718"/>
                  <a:pt x="12219" y="7343"/>
                  <a:pt x="12844" y="6937"/>
                </a:cubicBezTo>
                <a:cubicBezTo>
                  <a:pt x="13031" y="6812"/>
                  <a:pt x="13250" y="6718"/>
                  <a:pt x="13406" y="6562"/>
                </a:cubicBezTo>
                <a:cubicBezTo>
                  <a:pt x="13437" y="6531"/>
                  <a:pt x="13500" y="6500"/>
                  <a:pt x="13531" y="6500"/>
                </a:cubicBezTo>
                <a:cubicBezTo>
                  <a:pt x="13531" y="6468"/>
                  <a:pt x="13562" y="6468"/>
                  <a:pt x="13562" y="6437"/>
                </a:cubicBezTo>
                <a:cubicBezTo>
                  <a:pt x="13594" y="6406"/>
                  <a:pt x="13594" y="6375"/>
                  <a:pt x="13625" y="6375"/>
                </a:cubicBezTo>
                <a:cubicBezTo>
                  <a:pt x="13625" y="6375"/>
                  <a:pt x="13625" y="6375"/>
                  <a:pt x="13625" y="6375"/>
                </a:cubicBezTo>
                <a:cubicBezTo>
                  <a:pt x="13594" y="6375"/>
                  <a:pt x="13594" y="6406"/>
                  <a:pt x="13562" y="6437"/>
                </a:cubicBezTo>
                <a:cubicBezTo>
                  <a:pt x="13562" y="6468"/>
                  <a:pt x="13531" y="6468"/>
                  <a:pt x="13531" y="6500"/>
                </a:cubicBezTo>
                <a:cubicBezTo>
                  <a:pt x="13562" y="6468"/>
                  <a:pt x="13594" y="6468"/>
                  <a:pt x="13594" y="6468"/>
                </a:cubicBezTo>
                <a:cubicBezTo>
                  <a:pt x="13594" y="6500"/>
                  <a:pt x="13531" y="6531"/>
                  <a:pt x="13531" y="6562"/>
                </a:cubicBezTo>
                <a:cubicBezTo>
                  <a:pt x="13500" y="6562"/>
                  <a:pt x="13469" y="6562"/>
                  <a:pt x="13469" y="6593"/>
                </a:cubicBezTo>
                <a:cubicBezTo>
                  <a:pt x="13469" y="6593"/>
                  <a:pt x="13437" y="6593"/>
                  <a:pt x="13437" y="6625"/>
                </a:cubicBezTo>
                <a:cubicBezTo>
                  <a:pt x="13437" y="6625"/>
                  <a:pt x="13437" y="6625"/>
                  <a:pt x="13437" y="6625"/>
                </a:cubicBezTo>
                <a:cubicBezTo>
                  <a:pt x="12937" y="6937"/>
                  <a:pt x="12469" y="7250"/>
                  <a:pt x="12000" y="7562"/>
                </a:cubicBezTo>
                <a:cubicBezTo>
                  <a:pt x="11344" y="7968"/>
                  <a:pt x="10687" y="8406"/>
                  <a:pt x="10031" y="8812"/>
                </a:cubicBezTo>
                <a:cubicBezTo>
                  <a:pt x="9906" y="8906"/>
                  <a:pt x="9750" y="9000"/>
                  <a:pt x="9594" y="9093"/>
                </a:cubicBezTo>
                <a:cubicBezTo>
                  <a:pt x="9656" y="9093"/>
                  <a:pt x="9687" y="9093"/>
                  <a:pt x="9719" y="9062"/>
                </a:cubicBezTo>
                <a:cubicBezTo>
                  <a:pt x="9969" y="8937"/>
                  <a:pt x="10187" y="8781"/>
                  <a:pt x="10437" y="8625"/>
                </a:cubicBezTo>
                <a:cubicBezTo>
                  <a:pt x="10750" y="8437"/>
                  <a:pt x="11062" y="8218"/>
                  <a:pt x="11375" y="8031"/>
                </a:cubicBezTo>
                <a:cubicBezTo>
                  <a:pt x="11406" y="8031"/>
                  <a:pt x="11406" y="8000"/>
                  <a:pt x="11437" y="8000"/>
                </a:cubicBezTo>
                <a:cubicBezTo>
                  <a:pt x="11469" y="8000"/>
                  <a:pt x="11469" y="8000"/>
                  <a:pt x="11500" y="8031"/>
                </a:cubicBezTo>
                <a:cubicBezTo>
                  <a:pt x="11469" y="8031"/>
                  <a:pt x="11469" y="8031"/>
                  <a:pt x="11469" y="8062"/>
                </a:cubicBezTo>
                <a:lnTo>
                  <a:pt x="11469" y="8062"/>
                </a:lnTo>
                <a:cubicBezTo>
                  <a:pt x="11469" y="8062"/>
                  <a:pt x="11500" y="8062"/>
                  <a:pt x="11500" y="8031"/>
                </a:cubicBezTo>
                <a:cubicBezTo>
                  <a:pt x="11531" y="8031"/>
                  <a:pt x="11594" y="8031"/>
                  <a:pt x="11625" y="8000"/>
                </a:cubicBezTo>
                <a:cubicBezTo>
                  <a:pt x="11937" y="7781"/>
                  <a:pt x="12281" y="7562"/>
                  <a:pt x="12594" y="7343"/>
                </a:cubicBezTo>
                <a:cubicBezTo>
                  <a:pt x="12812" y="7218"/>
                  <a:pt x="13000" y="7062"/>
                  <a:pt x="13219" y="6968"/>
                </a:cubicBezTo>
                <a:cubicBezTo>
                  <a:pt x="13187" y="7031"/>
                  <a:pt x="13125" y="7093"/>
                  <a:pt x="13094" y="7125"/>
                </a:cubicBezTo>
                <a:cubicBezTo>
                  <a:pt x="12906" y="7187"/>
                  <a:pt x="12781" y="7312"/>
                  <a:pt x="12625" y="7406"/>
                </a:cubicBezTo>
                <a:cubicBezTo>
                  <a:pt x="12562" y="7437"/>
                  <a:pt x="12469" y="7500"/>
                  <a:pt x="12406" y="7562"/>
                </a:cubicBezTo>
                <a:cubicBezTo>
                  <a:pt x="12406" y="7562"/>
                  <a:pt x="12406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75" y="7562"/>
                  <a:pt x="12375" y="7562"/>
                </a:cubicBezTo>
                <a:cubicBezTo>
                  <a:pt x="12375" y="7562"/>
                  <a:pt x="12344" y="7593"/>
                  <a:pt x="12344" y="7593"/>
                </a:cubicBezTo>
                <a:cubicBezTo>
                  <a:pt x="12125" y="7718"/>
                  <a:pt x="11906" y="7875"/>
                  <a:pt x="11719" y="8031"/>
                </a:cubicBezTo>
                <a:cubicBezTo>
                  <a:pt x="11625" y="8062"/>
                  <a:pt x="11562" y="8093"/>
                  <a:pt x="11500" y="8156"/>
                </a:cubicBezTo>
                <a:cubicBezTo>
                  <a:pt x="11344" y="8250"/>
                  <a:pt x="11187" y="8343"/>
                  <a:pt x="11062" y="8468"/>
                </a:cubicBezTo>
                <a:cubicBezTo>
                  <a:pt x="10844" y="8562"/>
                  <a:pt x="10625" y="8718"/>
                  <a:pt x="10437" y="8875"/>
                </a:cubicBezTo>
                <a:cubicBezTo>
                  <a:pt x="10531" y="8843"/>
                  <a:pt x="10594" y="8781"/>
                  <a:pt x="10687" y="8718"/>
                </a:cubicBezTo>
                <a:cubicBezTo>
                  <a:pt x="10812" y="8656"/>
                  <a:pt x="10969" y="8562"/>
                  <a:pt x="11062" y="8468"/>
                </a:cubicBezTo>
                <a:cubicBezTo>
                  <a:pt x="11219" y="8375"/>
                  <a:pt x="11375" y="8312"/>
                  <a:pt x="11500" y="8187"/>
                </a:cubicBezTo>
                <a:cubicBezTo>
                  <a:pt x="11594" y="8156"/>
                  <a:pt x="11656" y="8093"/>
                  <a:pt x="11719" y="8031"/>
                </a:cubicBezTo>
                <a:cubicBezTo>
                  <a:pt x="11750" y="8031"/>
                  <a:pt x="11781" y="8031"/>
                  <a:pt x="11781" y="8031"/>
                </a:cubicBezTo>
                <a:cubicBezTo>
                  <a:pt x="12000" y="7875"/>
                  <a:pt x="12250" y="7750"/>
                  <a:pt x="12437" y="7593"/>
                </a:cubicBezTo>
                <a:cubicBezTo>
                  <a:pt x="12531" y="7562"/>
                  <a:pt x="12594" y="7500"/>
                  <a:pt x="12656" y="7437"/>
                </a:cubicBezTo>
                <a:cubicBezTo>
                  <a:pt x="12687" y="7437"/>
                  <a:pt x="12719" y="7437"/>
                  <a:pt x="12719" y="7406"/>
                </a:cubicBezTo>
                <a:cubicBezTo>
                  <a:pt x="12844" y="7343"/>
                  <a:pt x="12906" y="7250"/>
                  <a:pt x="13031" y="7218"/>
                </a:cubicBezTo>
                <a:cubicBezTo>
                  <a:pt x="13031" y="7250"/>
                  <a:pt x="13000" y="7281"/>
                  <a:pt x="12969" y="7312"/>
                </a:cubicBezTo>
                <a:cubicBezTo>
                  <a:pt x="12937" y="7312"/>
                  <a:pt x="12937" y="7312"/>
                  <a:pt x="12906" y="7343"/>
                </a:cubicBezTo>
                <a:cubicBezTo>
                  <a:pt x="12906" y="7343"/>
                  <a:pt x="12875" y="7343"/>
                  <a:pt x="12875" y="7375"/>
                </a:cubicBezTo>
                <a:cubicBezTo>
                  <a:pt x="12875" y="7343"/>
                  <a:pt x="12906" y="7343"/>
                  <a:pt x="12906" y="7343"/>
                </a:cubicBezTo>
                <a:cubicBezTo>
                  <a:pt x="12781" y="7375"/>
                  <a:pt x="12687" y="7468"/>
                  <a:pt x="12594" y="7531"/>
                </a:cubicBezTo>
                <a:cubicBezTo>
                  <a:pt x="11875" y="8031"/>
                  <a:pt x="11156" y="8500"/>
                  <a:pt x="10437" y="8968"/>
                </a:cubicBezTo>
                <a:cubicBezTo>
                  <a:pt x="10406" y="8968"/>
                  <a:pt x="10406" y="8968"/>
                  <a:pt x="10406" y="9000"/>
                </a:cubicBezTo>
                <a:cubicBezTo>
                  <a:pt x="10437" y="9000"/>
                  <a:pt x="10469" y="9000"/>
                  <a:pt x="10500" y="9000"/>
                </a:cubicBezTo>
                <a:cubicBezTo>
                  <a:pt x="10625" y="8906"/>
                  <a:pt x="10750" y="8812"/>
                  <a:pt x="10875" y="8750"/>
                </a:cubicBezTo>
                <a:cubicBezTo>
                  <a:pt x="11312" y="8468"/>
                  <a:pt x="11719" y="8187"/>
                  <a:pt x="12156" y="7906"/>
                </a:cubicBezTo>
                <a:cubicBezTo>
                  <a:pt x="12375" y="7750"/>
                  <a:pt x="12625" y="7593"/>
                  <a:pt x="12875" y="7437"/>
                </a:cubicBezTo>
                <a:cubicBezTo>
                  <a:pt x="12875" y="7468"/>
                  <a:pt x="12844" y="7500"/>
                  <a:pt x="12844" y="7531"/>
                </a:cubicBezTo>
                <a:cubicBezTo>
                  <a:pt x="12750" y="7562"/>
                  <a:pt x="12687" y="7625"/>
                  <a:pt x="12625" y="7656"/>
                </a:cubicBezTo>
                <a:cubicBezTo>
                  <a:pt x="12344" y="7843"/>
                  <a:pt x="12062" y="8031"/>
                  <a:pt x="11781" y="8250"/>
                </a:cubicBezTo>
                <a:cubicBezTo>
                  <a:pt x="11594" y="8343"/>
                  <a:pt x="11437" y="8437"/>
                  <a:pt x="11281" y="8562"/>
                </a:cubicBezTo>
                <a:cubicBezTo>
                  <a:pt x="11156" y="8656"/>
                  <a:pt x="11031" y="8687"/>
                  <a:pt x="10906" y="8812"/>
                </a:cubicBezTo>
                <a:cubicBezTo>
                  <a:pt x="10781" y="8875"/>
                  <a:pt x="10656" y="8968"/>
                  <a:pt x="10531" y="9031"/>
                </a:cubicBezTo>
                <a:cubicBezTo>
                  <a:pt x="10375" y="9156"/>
                  <a:pt x="10219" y="9250"/>
                  <a:pt x="10062" y="9375"/>
                </a:cubicBezTo>
                <a:cubicBezTo>
                  <a:pt x="10031" y="9375"/>
                  <a:pt x="10000" y="9375"/>
                  <a:pt x="10000" y="9437"/>
                </a:cubicBezTo>
                <a:cubicBezTo>
                  <a:pt x="10031" y="9437"/>
                  <a:pt x="10031" y="9406"/>
                  <a:pt x="10062" y="9375"/>
                </a:cubicBezTo>
                <a:cubicBezTo>
                  <a:pt x="10156" y="9375"/>
                  <a:pt x="10187" y="9250"/>
                  <a:pt x="10281" y="9312"/>
                </a:cubicBezTo>
                <a:cubicBezTo>
                  <a:pt x="10281" y="9312"/>
                  <a:pt x="10250" y="9406"/>
                  <a:pt x="10344" y="9343"/>
                </a:cubicBezTo>
                <a:cubicBezTo>
                  <a:pt x="10375" y="9312"/>
                  <a:pt x="10469" y="9281"/>
                  <a:pt x="10500" y="9218"/>
                </a:cubicBezTo>
                <a:cubicBezTo>
                  <a:pt x="10594" y="9187"/>
                  <a:pt x="10719" y="9125"/>
                  <a:pt x="10781" y="9031"/>
                </a:cubicBezTo>
                <a:cubicBezTo>
                  <a:pt x="10875" y="9031"/>
                  <a:pt x="10937" y="8968"/>
                  <a:pt x="11000" y="8906"/>
                </a:cubicBezTo>
                <a:cubicBezTo>
                  <a:pt x="11062" y="8906"/>
                  <a:pt x="11125" y="8843"/>
                  <a:pt x="11156" y="8812"/>
                </a:cubicBezTo>
                <a:cubicBezTo>
                  <a:pt x="11187" y="8812"/>
                  <a:pt x="11219" y="8812"/>
                  <a:pt x="11219" y="8781"/>
                </a:cubicBezTo>
                <a:lnTo>
                  <a:pt x="11219" y="8781"/>
                </a:lnTo>
                <a:cubicBezTo>
                  <a:pt x="11187" y="8718"/>
                  <a:pt x="11156" y="8750"/>
                  <a:pt x="11156" y="8750"/>
                </a:cubicBezTo>
                <a:cubicBezTo>
                  <a:pt x="11219" y="8625"/>
                  <a:pt x="11375" y="8562"/>
                  <a:pt x="11500" y="8500"/>
                </a:cubicBezTo>
                <a:cubicBezTo>
                  <a:pt x="11500" y="8562"/>
                  <a:pt x="11437" y="8562"/>
                  <a:pt x="11437" y="8625"/>
                </a:cubicBezTo>
                <a:cubicBezTo>
                  <a:pt x="11562" y="8562"/>
                  <a:pt x="11625" y="8500"/>
                  <a:pt x="11719" y="8437"/>
                </a:cubicBezTo>
                <a:cubicBezTo>
                  <a:pt x="11781" y="8406"/>
                  <a:pt x="11875" y="8375"/>
                  <a:pt x="11844" y="8343"/>
                </a:cubicBezTo>
                <a:lnTo>
                  <a:pt x="11844" y="8343"/>
                </a:lnTo>
                <a:cubicBezTo>
                  <a:pt x="11812" y="8281"/>
                  <a:pt x="11781" y="8406"/>
                  <a:pt x="11719" y="8375"/>
                </a:cubicBezTo>
                <a:cubicBezTo>
                  <a:pt x="11719" y="8312"/>
                  <a:pt x="11812" y="8312"/>
                  <a:pt x="11812" y="8250"/>
                </a:cubicBezTo>
                <a:cubicBezTo>
                  <a:pt x="11844" y="8250"/>
                  <a:pt x="11875" y="8218"/>
                  <a:pt x="11937" y="8187"/>
                </a:cubicBezTo>
                <a:cubicBezTo>
                  <a:pt x="12000" y="8156"/>
                  <a:pt x="12062" y="8093"/>
                  <a:pt x="12156" y="8062"/>
                </a:cubicBezTo>
                <a:cubicBezTo>
                  <a:pt x="12187" y="8000"/>
                  <a:pt x="12281" y="7937"/>
                  <a:pt x="12375" y="7937"/>
                </a:cubicBezTo>
                <a:cubicBezTo>
                  <a:pt x="12375" y="7875"/>
                  <a:pt x="12406" y="7875"/>
                  <a:pt x="12437" y="7875"/>
                </a:cubicBezTo>
                <a:cubicBezTo>
                  <a:pt x="12469" y="7812"/>
                  <a:pt x="12500" y="7812"/>
                  <a:pt x="12562" y="7781"/>
                </a:cubicBezTo>
                <a:cubicBezTo>
                  <a:pt x="12594" y="7750"/>
                  <a:pt x="12625" y="7718"/>
                  <a:pt x="12687" y="7687"/>
                </a:cubicBezTo>
                <a:cubicBezTo>
                  <a:pt x="12687" y="7687"/>
                  <a:pt x="12687" y="7687"/>
                  <a:pt x="12687" y="7656"/>
                </a:cubicBezTo>
                <a:cubicBezTo>
                  <a:pt x="12687" y="7656"/>
                  <a:pt x="12719" y="7625"/>
                  <a:pt x="12719" y="7625"/>
                </a:cubicBezTo>
                <a:cubicBezTo>
                  <a:pt x="12719" y="7625"/>
                  <a:pt x="12687" y="7656"/>
                  <a:pt x="12687" y="7656"/>
                </a:cubicBezTo>
                <a:cubicBezTo>
                  <a:pt x="12687" y="7687"/>
                  <a:pt x="12687" y="7687"/>
                  <a:pt x="12687" y="7687"/>
                </a:cubicBezTo>
                <a:cubicBezTo>
                  <a:pt x="12719" y="7687"/>
                  <a:pt x="12719" y="7687"/>
                  <a:pt x="12750" y="7656"/>
                </a:cubicBezTo>
                <a:cubicBezTo>
                  <a:pt x="12750" y="7718"/>
                  <a:pt x="12719" y="7718"/>
                  <a:pt x="12687" y="7750"/>
                </a:cubicBezTo>
                <a:cubicBezTo>
                  <a:pt x="12625" y="7718"/>
                  <a:pt x="12625" y="7812"/>
                  <a:pt x="12562" y="7781"/>
                </a:cubicBezTo>
                <a:cubicBezTo>
                  <a:pt x="12531" y="7843"/>
                  <a:pt x="12500" y="7875"/>
                  <a:pt x="12437" y="7875"/>
                </a:cubicBezTo>
                <a:cubicBezTo>
                  <a:pt x="12437" y="7937"/>
                  <a:pt x="12406" y="7937"/>
                  <a:pt x="12375" y="7937"/>
                </a:cubicBezTo>
                <a:cubicBezTo>
                  <a:pt x="12312" y="8000"/>
                  <a:pt x="12219" y="8031"/>
                  <a:pt x="12156" y="8062"/>
                </a:cubicBezTo>
                <a:cubicBezTo>
                  <a:pt x="12094" y="8187"/>
                  <a:pt x="11969" y="8187"/>
                  <a:pt x="11906" y="8281"/>
                </a:cubicBezTo>
                <a:cubicBezTo>
                  <a:pt x="11937" y="8312"/>
                  <a:pt x="11969" y="8281"/>
                  <a:pt x="12000" y="8250"/>
                </a:cubicBezTo>
                <a:cubicBezTo>
                  <a:pt x="12219" y="8125"/>
                  <a:pt x="12406" y="7968"/>
                  <a:pt x="12625" y="7843"/>
                </a:cubicBezTo>
                <a:cubicBezTo>
                  <a:pt x="12531" y="8031"/>
                  <a:pt x="12437" y="8218"/>
                  <a:pt x="12344" y="8437"/>
                </a:cubicBezTo>
                <a:cubicBezTo>
                  <a:pt x="12344" y="8437"/>
                  <a:pt x="12344" y="8468"/>
                  <a:pt x="12312" y="8468"/>
                </a:cubicBezTo>
                <a:cubicBezTo>
                  <a:pt x="12281" y="8500"/>
                  <a:pt x="12281" y="8500"/>
                  <a:pt x="12250" y="8531"/>
                </a:cubicBezTo>
                <a:cubicBezTo>
                  <a:pt x="12031" y="8656"/>
                  <a:pt x="11812" y="8812"/>
                  <a:pt x="11594" y="8968"/>
                </a:cubicBezTo>
                <a:lnTo>
                  <a:pt x="11594" y="8968"/>
                </a:lnTo>
                <a:cubicBezTo>
                  <a:pt x="11531" y="9031"/>
                  <a:pt x="11437" y="9062"/>
                  <a:pt x="11375" y="9156"/>
                </a:cubicBezTo>
                <a:cubicBezTo>
                  <a:pt x="11469" y="9093"/>
                  <a:pt x="11594" y="9062"/>
                  <a:pt x="11656" y="9000"/>
                </a:cubicBezTo>
                <a:cubicBezTo>
                  <a:pt x="11844" y="8843"/>
                  <a:pt x="12031" y="8718"/>
                  <a:pt x="12219" y="8593"/>
                </a:cubicBezTo>
                <a:cubicBezTo>
                  <a:pt x="12250" y="8593"/>
                  <a:pt x="12281" y="8562"/>
                  <a:pt x="12281" y="8562"/>
                </a:cubicBezTo>
                <a:cubicBezTo>
                  <a:pt x="12219" y="8812"/>
                  <a:pt x="12219" y="9062"/>
                  <a:pt x="12219" y="9312"/>
                </a:cubicBezTo>
                <a:cubicBezTo>
                  <a:pt x="12187" y="9343"/>
                  <a:pt x="12187" y="9343"/>
                  <a:pt x="12156" y="9343"/>
                </a:cubicBezTo>
                <a:cubicBezTo>
                  <a:pt x="12187" y="9437"/>
                  <a:pt x="12187" y="9531"/>
                  <a:pt x="12187" y="9593"/>
                </a:cubicBezTo>
                <a:cubicBezTo>
                  <a:pt x="12250" y="9843"/>
                  <a:pt x="12375" y="10031"/>
                  <a:pt x="12594" y="10156"/>
                </a:cubicBezTo>
                <a:cubicBezTo>
                  <a:pt x="12625" y="10156"/>
                  <a:pt x="12719" y="10156"/>
                  <a:pt x="12625" y="10250"/>
                </a:cubicBezTo>
                <a:cubicBezTo>
                  <a:pt x="12625" y="10281"/>
                  <a:pt x="12656" y="10281"/>
                  <a:pt x="12687" y="10312"/>
                </a:cubicBezTo>
                <a:cubicBezTo>
                  <a:pt x="12750" y="10375"/>
                  <a:pt x="12875" y="10343"/>
                  <a:pt x="12937" y="10406"/>
                </a:cubicBezTo>
                <a:cubicBezTo>
                  <a:pt x="12812" y="10437"/>
                  <a:pt x="12812" y="10437"/>
                  <a:pt x="12656" y="10406"/>
                </a:cubicBezTo>
                <a:cubicBezTo>
                  <a:pt x="12625" y="10375"/>
                  <a:pt x="12625" y="10406"/>
                  <a:pt x="12594" y="10406"/>
                </a:cubicBezTo>
                <a:cubicBezTo>
                  <a:pt x="12594" y="10406"/>
                  <a:pt x="12594" y="10437"/>
                  <a:pt x="12594" y="10437"/>
                </a:cubicBezTo>
                <a:cubicBezTo>
                  <a:pt x="12625" y="10468"/>
                  <a:pt x="12656" y="10500"/>
                  <a:pt x="12687" y="10500"/>
                </a:cubicBezTo>
                <a:cubicBezTo>
                  <a:pt x="12844" y="10562"/>
                  <a:pt x="13031" y="10656"/>
                  <a:pt x="13219" y="10656"/>
                </a:cubicBezTo>
                <a:cubicBezTo>
                  <a:pt x="13281" y="10656"/>
                  <a:pt x="13344" y="10656"/>
                  <a:pt x="13406" y="10718"/>
                </a:cubicBezTo>
                <a:cubicBezTo>
                  <a:pt x="13281" y="10718"/>
                  <a:pt x="13187" y="10718"/>
                  <a:pt x="13125" y="10750"/>
                </a:cubicBezTo>
                <a:cubicBezTo>
                  <a:pt x="13031" y="10750"/>
                  <a:pt x="12937" y="10812"/>
                  <a:pt x="12906" y="10906"/>
                </a:cubicBezTo>
                <a:cubicBezTo>
                  <a:pt x="12969" y="10843"/>
                  <a:pt x="12969" y="10906"/>
                  <a:pt x="13031" y="10937"/>
                </a:cubicBezTo>
                <a:cubicBezTo>
                  <a:pt x="13062" y="10968"/>
                  <a:pt x="13156" y="10968"/>
                  <a:pt x="13219" y="10968"/>
                </a:cubicBezTo>
                <a:cubicBezTo>
                  <a:pt x="13219" y="11000"/>
                  <a:pt x="13219" y="11000"/>
                  <a:pt x="13219" y="11000"/>
                </a:cubicBezTo>
                <a:cubicBezTo>
                  <a:pt x="13156" y="11000"/>
                  <a:pt x="13094" y="11000"/>
                  <a:pt x="13031" y="11000"/>
                </a:cubicBezTo>
                <a:cubicBezTo>
                  <a:pt x="13094" y="11062"/>
                  <a:pt x="13156" y="11093"/>
                  <a:pt x="13219" y="11093"/>
                </a:cubicBezTo>
                <a:cubicBezTo>
                  <a:pt x="13187" y="11125"/>
                  <a:pt x="13125" y="11093"/>
                  <a:pt x="13125" y="11156"/>
                </a:cubicBezTo>
                <a:cubicBezTo>
                  <a:pt x="13125" y="11218"/>
                  <a:pt x="13156" y="11187"/>
                  <a:pt x="13187" y="11187"/>
                </a:cubicBezTo>
                <a:cubicBezTo>
                  <a:pt x="13219" y="11187"/>
                  <a:pt x="13219" y="11218"/>
                  <a:pt x="13219" y="11218"/>
                </a:cubicBezTo>
                <a:cubicBezTo>
                  <a:pt x="13250" y="11375"/>
                  <a:pt x="13375" y="11375"/>
                  <a:pt x="13469" y="11468"/>
                </a:cubicBezTo>
                <a:cubicBezTo>
                  <a:pt x="13344" y="11468"/>
                  <a:pt x="13219" y="11437"/>
                  <a:pt x="13125" y="11375"/>
                </a:cubicBezTo>
                <a:cubicBezTo>
                  <a:pt x="13094" y="11375"/>
                  <a:pt x="13062" y="11343"/>
                  <a:pt x="13031" y="11406"/>
                </a:cubicBezTo>
                <a:cubicBezTo>
                  <a:pt x="13031" y="11406"/>
                  <a:pt x="13031" y="11437"/>
                  <a:pt x="13062" y="11437"/>
                </a:cubicBezTo>
                <a:cubicBezTo>
                  <a:pt x="13156" y="11562"/>
                  <a:pt x="13312" y="11562"/>
                  <a:pt x="13406" y="11718"/>
                </a:cubicBezTo>
                <a:cubicBezTo>
                  <a:pt x="13437" y="11750"/>
                  <a:pt x="13531" y="11687"/>
                  <a:pt x="13531" y="11781"/>
                </a:cubicBezTo>
                <a:cubicBezTo>
                  <a:pt x="13531" y="11781"/>
                  <a:pt x="13594" y="11781"/>
                  <a:pt x="13562" y="11843"/>
                </a:cubicBezTo>
                <a:cubicBezTo>
                  <a:pt x="13562" y="11906"/>
                  <a:pt x="13500" y="11843"/>
                  <a:pt x="13469" y="11906"/>
                </a:cubicBezTo>
                <a:cubicBezTo>
                  <a:pt x="13656" y="11937"/>
                  <a:pt x="13844" y="12031"/>
                  <a:pt x="14031" y="12062"/>
                </a:cubicBezTo>
                <a:cubicBezTo>
                  <a:pt x="13969" y="12093"/>
                  <a:pt x="13906" y="12062"/>
                  <a:pt x="13844" y="12093"/>
                </a:cubicBezTo>
                <a:cubicBezTo>
                  <a:pt x="13937" y="12093"/>
                  <a:pt x="13906" y="12218"/>
                  <a:pt x="14000" y="12187"/>
                </a:cubicBezTo>
                <a:cubicBezTo>
                  <a:pt x="13969" y="12250"/>
                  <a:pt x="13937" y="12218"/>
                  <a:pt x="13906" y="12250"/>
                </a:cubicBezTo>
                <a:cubicBezTo>
                  <a:pt x="13937" y="12281"/>
                  <a:pt x="14000" y="12218"/>
                  <a:pt x="14031" y="12281"/>
                </a:cubicBezTo>
                <a:cubicBezTo>
                  <a:pt x="13969" y="12312"/>
                  <a:pt x="13906" y="12281"/>
                  <a:pt x="13875" y="12312"/>
                </a:cubicBezTo>
                <a:cubicBezTo>
                  <a:pt x="13969" y="12343"/>
                  <a:pt x="14062" y="12375"/>
                  <a:pt x="14156" y="12375"/>
                </a:cubicBezTo>
                <a:cubicBezTo>
                  <a:pt x="14125" y="12406"/>
                  <a:pt x="14062" y="12375"/>
                  <a:pt x="14031" y="12437"/>
                </a:cubicBezTo>
                <a:cubicBezTo>
                  <a:pt x="14125" y="12468"/>
                  <a:pt x="14187" y="12500"/>
                  <a:pt x="14250" y="12531"/>
                </a:cubicBezTo>
                <a:cubicBezTo>
                  <a:pt x="14094" y="12562"/>
                  <a:pt x="13969" y="12500"/>
                  <a:pt x="13844" y="12500"/>
                </a:cubicBezTo>
                <a:cubicBezTo>
                  <a:pt x="14000" y="12593"/>
                  <a:pt x="14156" y="12625"/>
                  <a:pt x="14344" y="12687"/>
                </a:cubicBezTo>
                <a:cubicBezTo>
                  <a:pt x="14187" y="12687"/>
                  <a:pt x="14062" y="12687"/>
                  <a:pt x="13906" y="12656"/>
                </a:cubicBezTo>
                <a:cubicBezTo>
                  <a:pt x="14250" y="12812"/>
                  <a:pt x="14625" y="12843"/>
                  <a:pt x="15000" y="12906"/>
                </a:cubicBezTo>
                <a:cubicBezTo>
                  <a:pt x="15000" y="12906"/>
                  <a:pt x="15000" y="12906"/>
                  <a:pt x="15000" y="12906"/>
                </a:cubicBezTo>
                <a:cubicBezTo>
                  <a:pt x="14906" y="12906"/>
                  <a:pt x="14812" y="12906"/>
                  <a:pt x="14750" y="12906"/>
                </a:cubicBezTo>
                <a:cubicBezTo>
                  <a:pt x="14719" y="12906"/>
                  <a:pt x="14687" y="12875"/>
                  <a:pt x="14687" y="12906"/>
                </a:cubicBezTo>
                <a:cubicBezTo>
                  <a:pt x="14687" y="12968"/>
                  <a:pt x="14750" y="12937"/>
                  <a:pt x="14750" y="12968"/>
                </a:cubicBezTo>
                <a:cubicBezTo>
                  <a:pt x="14594" y="13000"/>
                  <a:pt x="14437" y="12937"/>
                  <a:pt x="14281" y="12937"/>
                </a:cubicBezTo>
                <a:cubicBezTo>
                  <a:pt x="14344" y="13062"/>
                  <a:pt x="14437" y="13125"/>
                  <a:pt x="14594" y="13187"/>
                </a:cubicBezTo>
                <a:cubicBezTo>
                  <a:pt x="14469" y="13218"/>
                  <a:pt x="14344" y="13156"/>
                  <a:pt x="14219" y="13187"/>
                </a:cubicBezTo>
                <a:cubicBezTo>
                  <a:pt x="14531" y="13312"/>
                  <a:pt x="14844" y="13343"/>
                  <a:pt x="15094" y="13375"/>
                </a:cubicBezTo>
                <a:cubicBezTo>
                  <a:pt x="14969" y="13375"/>
                  <a:pt x="14875" y="13500"/>
                  <a:pt x="14719" y="13468"/>
                </a:cubicBezTo>
                <a:cubicBezTo>
                  <a:pt x="14719" y="13468"/>
                  <a:pt x="14687" y="13500"/>
                  <a:pt x="14687" y="13500"/>
                </a:cubicBezTo>
                <a:cubicBezTo>
                  <a:pt x="14687" y="13531"/>
                  <a:pt x="14719" y="13562"/>
                  <a:pt x="14719" y="13531"/>
                </a:cubicBezTo>
                <a:cubicBezTo>
                  <a:pt x="14844" y="13531"/>
                  <a:pt x="14937" y="13625"/>
                  <a:pt x="15062" y="13593"/>
                </a:cubicBezTo>
                <a:cubicBezTo>
                  <a:pt x="15000" y="13625"/>
                  <a:pt x="14969" y="13625"/>
                  <a:pt x="14937" y="13625"/>
                </a:cubicBezTo>
                <a:cubicBezTo>
                  <a:pt x="14906" y="13625"/>
                  <a:pt x="14844" y="13593"/>
                  <a:pt x="14812" y="13656"/>
                </a:cubicBezTo>
                <a:cubicBezTo>
                  <a:pt x="14812" y="13750"/>
                  <a:pt x="14875" y="13718"/>
                  <a:pt x="14906" y="13750"/>
                </a:cubicBezTo>
                <a:cubicBezTo>
                  <a:pt x="14844" y="13781"/>
                  <a:pt x="14781" y="13718"/>
                  <a:pt x="14687" y="13750"/>
                </a:cubicBezTo>
                <a:cubicBezTo>
                  <a:pt x="14750" y="13843"/>
                  <a:pt x="14875" y="13781"/>
                  <a:pt x="14937" y="13843"/>
                </a:cubicBezTo>
                <a:cubicBezTo>
                  <a:pt x="14906" y="13906"/>
                  <a:pt x="14875" y="13843"/>
                  <a:pt x="14812" y="13906"/>
                </a:cubicBezTo>
                <a:cubicBezTo>
                  <a:pt x="15031" y="13968"/>
                  <a:pt x="15219" y="14000"/>
                  <a:pt x="15437" y="14031"/>
                </a:cubicBezTo>
                <a:cubicBezTo>
                  <a:pt x="15437" y="14062"/>
                  <a:pt x="15437" y="14062"/>
                  <a:pt x="15437" y="14062"/>
                </a:cubicBezTo>
                <a:cubicBezTo>
                  <a:pt x="15375" y="14125"/>
                  <a:pt x="15312" y="14062"/>
                  <a:pt x="15219" y="14125"/>
                </a:cubicBezTo>
                <a:cubicBezTo>
                  <a:pt x="15281" y="14125"/>
                  <a:pt x="15344" y="14156"/>
                  <a:pt x="15375" y="14187"/>
                </a:cubicBezTo>
                <a:cubicBezTo>
                  <a:pt x="15250" y="14218"/>
                  <a:pt x="15156" y="14156"/>
                  <a:pt x="15031" y="14187"/>
                </a:cubicBezTo>
                <a:cubicBezTo>
                  <a:pt x="15094" y="14218"/>
                  <a:pt x="15156" y="14250"/>
                  <a:pt x="15219" y="14312"/>
                </a:cubicBezTo>
                <a:cubicBezTo>
                  <a:pt x="15125" y="14343"/>
                  <a:pt x="15062" y="14250"/>
                  <a:pt x="14969" y="14250"/>
                </a:cubicBezTo>
                <a:cubicBezTo>
                  <a:pt x="14969" y="14250"/>
                  <a:pt x="14937" y="14250"/>
                  <a:pt x="14937" y="14250"/>
                </a:cubicBezTo>
                <a:lnTo>
                  <a:pt x="14937" y="14250"/>
                </a:lnTo>
                <a:cubicBezTo>
                  <a:pt x="14937" y="14250"/>
                  <a:pt x="14937" y="14250"/>
                  <a:pt x="14937" y="14250"/>
                </a:cubicBezTo>
                <a:cubicBezTo>
                  <a:pt x="14969" y="14250"/>
                  <a:pt x="14969" y="14250"/>
                  <a:pt x="14969" y="14250"/>
                </a:cubicBezTo>
                <a:cubicBezTo>
                  <a:pt x="15031" y="14343"/>
                  <a:pt x="15156" y="14343"/>
                  <a:pt x="15250" y="14406"/>
                </a:cubicBezTo>
                <a:cubicBezTo>
                  <a:pt x="15156" y="14437"/>
                  <a:pt x="15094" y="14375"/>
                  <a:pt x="15031" y="14406"/>
                </a:cubicBezTo>
                <a:cubicBezTo>
                  <a:pt x="15031" y="14437"/>
                  <a:pt x="15094" y="14437"/>
                  <a:pt x="15125" y="14468"/>
                </a:cubicBezTo>
                <a:cubicBezTo>
                  <a:pt x="15062" y="14500"/>
                  <a:pt x="15031" y="14468"/>
                  <a:pt x="14969" y="14500"/>
                </a:cubicBezTo>
                <a:cubicBezTo>
                  <a:pt x="15031" y="14531"/>
                  <a:pt x="15062" y="14500"/>
                  <a:pt x="15125" y="14500"/>
                </a:cubicBezTo>
                <a:cubicBezTo>
                  <a:pt x="15187" y="14500"/>
                  <a:pt x="15219" y="14531"/>
                  <a:pt x="15187" y="14593"/>
                </a:cubicBezTo>
                <a:cubicBezTo>
                  <a:pt x="15156" y="14625"/>
                  <a:pt x="15156" y="14656"/>
                  <a:pt x="15219" y="14687"/>
                </a:cubicBezTo>
                <a:cubicBezTo>
                  <a:pt x="15250" y="14687"/>
                  <a:pt x="15312" y="14718"/>
                  <a:pt x="15344" y="14750"/>
                </a:cubicBezTo>
                <a:cubicBezTo>
                  <a:pt x="15406" y="14812"/>
                  <a:pt x="15594" y="14750"/>
                  <a:pt x="15562" y="14937"/>
                </a:cubicBezTo>
                <a:cubicBezTo>
                  <a:pt x="15562" y="14937"/>
                  <a:pt x="15594" y="14968"/>
                  <a:pt x="15594" y="14968"/>
                </a:cubicBezTo>
                <a:cubicBezTo>
                  <a:pt x="15687" y="15000"/>
                  <a:pt x="15750" y="15000"/>
                  <a:pt x="15875" y="15062"/>
                </a:cubicBezTo>
                <a:cubicBezTo>
                  <a:pt x="15812" y="15031"/>
                  <a:pt x="15812" y="15093"/>
                  <a:pt x="15781" y="15125"/>
                </a:cubicBezTo>
                <a:cubicBezTo>
                  <a:pt x="15719" y="15125"/>
                  <a:pt x="15687" y="15093"/>
                  <a:pt x="15656" y="15093"/>
                </a:cubicBezTo>
                <a:cubicBezTo>
                  <a:pt x="15625" y="15093"/>
                  <a:pt x="15594" y="15093"/>
                  <a:pt x="15562" y="15125"/>
                </a:cubicBezTo>
                <a:cubicBezTo>
                  <a:pt x="15656" y="15187"/>
                  <a:pt x="15781" y="15187"/>
                  <a:pt x="15875" y="15250"/>
                </a:cubicBezTo>
                <a:cubicBezTo>
                  <a:pt x="15844" y="15281"/>
                  <a:pt x="15781" y="15250"/>
                  <a:pt x="15750" y="15281"/>
                </a:cubicBezTo>
                <a:cubicBezTo>
                  <a:pt x="15781" y="15375"/>
                  <a:pt x="15875" y="15437"/>
                  <a:pt x="15969" y="15468"/>
                </a:cubicBezTo>
                <a:cubicBezTo>
                  <a:pt x="15844" y="15500"/>
                  <a:pt x="15750" y="15437"/>
                  <a:pt x="15656" y="15406"/>
                </a:cubicBezTo>
                <a:cubicBezTo>
                  <a:pt x="15719" y="15500"/>
                  <a:pt x="15812" y="15531"/>
                  <a:pt x="15906" y="15593"/>
                </a:cubicBezTo>
                <a:cubicBezTo>
                  <a:pt x="15937" y="15625"/>
                  <a:pt x="16031" y="15625"/>
                  <a:pt x="15937" y="15687"/>
                </a:cubicBezTo>
                <a:cubicBezTo>
                  <a:pt x="15906" y="15718"/>
                  <a:pt x="15906" y="15718"/>
                  <a:pt x="15906" y="15750"/>
                </a:cubicBezTo>
                <a:cubicBezTo>
                  <a:pt x="16031" y="15812"/>
                  <a:pt x="16125" y="15843"/>
                  <a:pt x="16156" y="15968"/>
                </a:cubicBezTo>
                <a:cubicBezTo>
                  <a:pt x="16156" y="15968"/>
                  <a:pt x="16187" y="15968"/>
                  <a:pt x="16187" y="16000"/>
                </a:cubicBezTo>
                <a:cubicBezTo>
                  <a:pt x="16469" y="16156"/>
                  <a:pt x="16812" y="16187"/>
                  <a:pt x="17125" y="16250"/>
                </a:cubicBezTo>
                <a:cubicBezTo>
                  <a:pt x="17562" y="16312"/>
                  <a:pt x="18000" y="16281"/>
                  <a:pt x="18437" y="16281"/>
                </a:cubicBezTo>
                <a:cubicBezTo>
                  <a:pt x="18469" y="16281"/>
                  <a:pt x="18531" y="16281"/>
                  <a:pt x="18562" y="16250"/>
                </a:cubicBezTo>
                <a:cubicBezTo>
                  <a:pt x="18781" y="16250"/>
                  <a:pt x="19000" y="16218"/>
                  <a:pt x="19219" y="16187"/>
                </a:cubicBezTo>
                <a:cubicBezTo>
                  <a:pt x="19406" y="16187"/>
                  <a:pt x="19562" y="16156"/>
                  <a:pt x="19750" y="16125"/>
                </a:cubicBezTo>
                <a:cubicBezTo>
                  <a:pt x="19750" y="16125"/>
                  <a:pt x="19781" y="16125"/>
                  <a:pt x="19781" y="16093"/>
                </a:cubicBezTo>
                <a:cubicBezTo>
                  <a:pt x="19781" y="16062"/>
                  <a:pt x="19812" y="16093"/>
                  <a:pt x="19812" y="16062"/>
                </a:cubicBezTo>
                <a:cubicBezTo>
                  <a:pt x="19812" y="16062"/>
                  <a:pt x="19812" y="16062"/>
                  <a:pt x="19812" y="16062"/>
                </a:cubicBezTo>
                <a:cubicBezTo>
                  <a:pt x="19812" y="16093"/>
                  <a:pt x="19781" y="16062"/>
                  <a:pt x="19781" y="16093"/>
                </a:cubicBezTo>
                <a:cubicBezTo>
                  <a:pt x="19844" y="16125"/>
                  <a:pt x="19906" y="16125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19969" y="16093"/>
                  <a:pt x="19969" y="16093"/>
                  <a:pt x="19969" y="16093"/>
                </a:cubicBezTo>
                <a:cubicBezTo>
                  <a:pt x="20000" y="16093"/>
                  <a:pt x="20031" y="16062"/>
                  <a:pt x="20062" y="16062"/>
                </a:cubicBezTo>
                <a:cubicBezTo>
                  <a:pt x="20125" y="16062"/>
                  <a:pt x="20156" y="16062"/>
                  <a:pt x="20187" y="16031"/>
                </a:cubicBezTo>
                <a:cubicBezTo>
                  <a:pt x="20375" y="16000"/>
                  <a:pt x="20594" y="15968"/>
                  <a:pt x="20781" y="15937"/>
                </a:cubicBezTo>
                <a:cubicBezTo>
                  <a:pt x="21000" y="15906"/>
                  <a:pt x="21219" y="15812"/>
                  <a:pt x="21469" y="15812"/>
                </a:cubicBezTo>
                <a:cubicBezTo>
                  <a:pt x="21469" y="15812"/>
                  <a:pt x="21500" y="15781"/>
                  <a:pt x="21500" y="15781"/>
                </a:cubicBezTo>
                <a:cubicBezTo>
                  <a:pt x="21500" y="15781"/>
                  <a:pt x="21469" y="15812"/>
                  <a:pt x="21469" y="15812"/>
                </a:cubicBezTo>
                <a:cubicBezTo>
                  <a:pt x="21500" y="15812"/>
                  <a:pt x="21531" y="15812"/>
                  <a:pt x="21562" y="15781"/>
                </a:cubicBezTo>
                <a:cubicBezTo>
                  <a:pt x="21594" y="15781"/>
                  <a:pt x="21625" y="15781"/>
                  <a:pt x="21625" y="15750"/>
                </a:cubicBezTo>
                <a:cubicBezTo>
                  <a:pt x="21687" y="15750"/>
                  <a:pt x="21750" y="15750"/>
                  <a:pt x="21812" y="15750"/>
                </a:cubicBezTo>
                <a:cubicBezTo>
                  <a:pt x="21969" y="15687"/>
                  <a:pt x="22125" y="15687"/>
                  <a:pt x="22281" y="15593"/>
                </a:cubicBezTo>
                <a:cubicBezTo>
                  <a:pt x="22344" y="15593"/>
                  <a:pt x="22375" y="15593"/>
                  <a:pt x="22406" y="15562"/>
                </a:cubicBezTo>
                <a:cubicBezTo>
                  <a:pt x="22531" y="15531"/>
                  <a:pt x="22656" y="15562"/>
                  <a:pt x="22750" y="15500"/>
                </a:cubicBezTo>
                <a:cubicBezTo>
                  <a:pt x="22750" y="15500"/>
                  <a:pt x="22750" y="15500"/>
                  <a:pt x="22750" y="15500"/>
                </a:cubicBezTo>
                <a:cubicBezTo>
                  <a:pt x="23094" y="15406"/>
                  <a:pt x="23437" y="15312"/>
                  <a:pt x="23781" y="15250"/>
                </a:cubicBezTo>
                <a:cubicBezTo>
                  <a:pt x="23812" y="15218"/>
                  <a:pt x="23906" y="15218"/>
                  <a:pt x="23937" y="15156"/>
                </a:cubicBezTo>
                <a:cubicBezTo>
                  <a:pt x="23969" y="15156"/>
                  <a:pt x="24000" y="15156"/>
                  <a:pt x="24062" y="15125"/>
                </a:cubicBezTo>
                <a:cubicBezTo>
                  <a:pt x="24187" y="15093"/>
                  <a:pt x="24312" y="15062"/>
                  <a:pt x="24437" y="15031"/>
                </a:cubicBezTo>
                <a:cubicBezTo>
                  <a:pt x="24469" y="15031"/>
                  <a:pt x="24500" y="15031"/>
                  <a:pt x="24500" y="15031"/>
                </a:cubicBezTo>
                <a:cubicBezTo>
                  <a:pt x="24719" y="14968"/>
                  <a:pt x="24906" y="14906"/>
                  <a:pt x="25094" y="14843"/>
                </a:cubicBezTo>
                <a:cubicBezTo>
                  <a:pt x="25156" y="14843"/>
                  <a:pt x="25250" y="14843"/>
                  <a:pt x="25312" y="14781"/>
                </a:cubicBezTo>
                <a:cubicBezTo>
                  <a:pt x="25312" y="14781"/>
                  <a:pt x="25312" y="14781"/>
                  <a:pt x="25312" y="14781"/>
                </a:cubicBezTo>
                <a:cubicBezTo>
                  <a:pt x="25312" y="14781"/>
                  <a:pt x="25312" y="14781"/>
                  <a:pt x="25344" y="14781"/>
                </a:cubicBezTo>
                <a:cubicBezTo>
                  <a:pt x="25406" y="14781"/>
                  <a:pt x="25500" y="14750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62" y="14718"/>
                  <a:pt x="25562" y="14718"/>
                  <a:pt x="25562" y="14718"/>
                </a:cubicBezTo>
                <a:cubicBezTo>
                  <a:pt x="25594" y="14687"/>
                  <a:pt x="25656" y="14718"/>
                  <a:pt x="25656" y="14687"/>
                </a:cubicBezTo>
                <a:cubicBezTo>
                  <a:pt x="25656" y="14687"/>
                  <a:pt x="25656" y="14687"/>
                  <a:pt x="25656" y="14687"/>
                </a:cubicBezTo>
                <a:cubicBezTo>
                  <a:pt x="25812" y="14656"/>
                  <a:pt x="25969" y="14625"/>
                  <a:pt x="26094" y="14562"/>
                </a:cubicBezTo>
                <a:cubicBezTo>
                  <a:pt x="26250" y="14562"/>
                  <a:pt x="26375" y="14437"/>
                  <a:pt x="26500" y="14406"/>
                </a:cubicBezTo>
                <a:cubicBezTo>
                  <a:pt x="26594" y="14437"/>
                  <a:pt x="26719" y="14406"/>
                  <a:pt x="26781" y="14343"/>
                </a:cubicBezTo>
                <a:cubicBezTo>
                  <a:pt x="26969" y="14312"/>
                  <a:pt x="27125" y="14218"/>
                  <a:pt x="27281" y="14187"/>
                </a:cubicBezTo>
                <a:cubicBezTo>
                  <a:pt x="27156" y="14187"/>
                  <a:pt x="27031" y="14250"/>
                  <a:pt x="26937" y="14250"/>
                </a:cubicBezTo>
                <a:cubicBezTo>
                  <a:pt x="26750" y="14250"/>
                  <a:pt x="26594" y="14343"/>
                  <a:pt x="26437" y="14375"/>
                </a:cubicBezTo>
                <a:cubicBezTo>
                  <a:pt x="26406" y="14406"/>
                  <a:pt x="26344" y="14437"/>
                  <a:pt x="26281" y="14375"/>
                </a:cubicBezTo>
                <a:cubicBezTo>
                  <a:pt x="26844" y="14187"/>
                  <a:pt x="27375" y="14000"/>
                  <a:pt x="27937" y="13843"/>
                </a:cubicBezTo>
                <a:cubicBezTo>
                  <a:pt x="27781" y="13781"/>
                  <a:pt x="27687" y="13875"/>
                  <a:pt x="27594" y="13906"/>
                </a:cubicBezTo>
                <a:cubicBezTo>
                  <a:pt x="27469" y="13906"/>
                  <a:pt x="27344" y="13937"/>
                  <a:pt x="27219" y="13968"/>
                </a:cubicBezTo>
                <a:cubicBezTo>
                  <a:pt x="26687" y="14125"/>
                  <a:pt x="26187" y="14281"/>
                  <a:pt x="25656" y="14406"/>
                </a:cubicBezTo>
                <a:cubicBezTo>
                  <a:pt x="25312" y="14531"/>
                  <a:pt x="24969" y="14625"/>
                  <a:pt x="24594" y="14718"/>
                </a:cubicBezTo>
                <a:cubicBezTo>
                  <a:pt x="24219" y="14843"/>
                  <a:pt x="23844" y="14937"/>
                  <a:pt x="23469" y="15031"/>
                </a:cubicBezTo>
                <a:cubicBezTo>
                  <a:pt x="23469" y="15031"/>
                  <a:pt x="23469" y="15000"/>
                  <a:pt x="23469" y="15000"/>
                </a:cubicBezTo>
                <a:cubicBezTo>
                  <a:pt x="23437" y="15000"/>
                  <a:pt x="23437" y="15000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06" y="15031"/>
                  <a:pt x="23406" y="15031"/>
                  <a:pt x="23406" y="15031"/>
                </a:cubicBezTo>
                <a:cubicBezTo>
                  <a:pt x="23437" y="15000"/>
                  <a:pt x="23437" y="15000"/>
                  <a:pt x="23469" y="15000"/>
                </a:cubicBezTo>
                <a:cubicBezTo>
                  <a:pt x="23469" y="15000"/>
                  <a:pt x="23469" y="15000"/>
                  <a:pt x="23469" y="15000"/>
                </a:cubicBezTo>
                <a:cubicBezTo>
                  <a:pt x="23531" y="14968"/>
                  <a:pt x="23625" y="14937"/>
                  <a:pt x="23719" y="14906"/>
                </a:cubicBezTo>
                <a:cubicBezTo>
                  <a:pt x="24000" y="14812"/>
                  <a:pt x="24312" y="14750"/>
                  <a:pt x="24562" y="14593"/>
                </a:cubicBezTo>
                <a:cubicBezTo>
                  <a:pt x="24625" y="14562"/>
                  <a:pt x="24719" y="14562"/>
                  <a:pt x="24781" y="14500"/>
                </a:cubicBezTo>
                <a:cubicBezTo>
                  <a:pt x="24937" y="14437"/>
                  <a:pt x="25125" y="14375"/>
                  <a:pt x="25281" y="14312"/>
                </a:cubicBezTo>
                <a:cubicBezTo>
                  <a:pt x="25469" y="14281"/>
                  <a:pt x="25656" y="14218"/>
                  <a:pt x="25844" y="14156"/>
                </a:cubicBezTo>
                <a:cubicBezTo>
                  <a:pt x="26125" y="14062"/>
                  <a:pt x="26406" y="13968"/>
                  <a:pt x="26687" y="13875"/>
                </a:cubicBezTo>
                <a:cubicBezTo>
                  <a:pt x="26844" y="13812"/>
                  <a:pt x="27031" y="13812"/>
                  <a:pt x="27156" y="13687"/>
                </a:cubicBezTo>
                <a:cubicBezTo>
                  <a:pt x="27219" y="13656"/>
                  <a:pt x="27250" y="13625"/>
                  <a:pt x="27312" y="13593"/>
                </a:cubicBezTo>
                <a:cubicBezTo>
                  <a:pt x="27375" y="13593"/>
                  <a:pt x="27437" y="13531"/>
                  <a:pt x="27531" y="13531"/>
                </a:cubicBezTo>
                <a:cubicBezTo>
                  <a:pt x="27562" y="13531"/>
                  <a:pt x="27625" y="13531"/>
                  <a:pt x="27656" y="13468"/>
                </a:cubicBezTo>
                <a:cubicBezTo>
                  <a:pt x="27719" y="13468"/>
                  <a:pt x="27750" y="13468"/>
                  <a:pt x="27812" y="13437"/>
                </a:cubicBezTo>
                <a:cubicBezTo>
                  <a:pt x="28000" y="13375"/>
                  <a:pt x="28187" y="13312"/>
                  <a:pt x="28375" y="13250"/>
                </a:cubicBezTo>
                <a:cubicBezTo>
                  <a:pt x="28625" y="13156"/>
                  <a:pt x="28906" y="13093"/>
                  <a:pt x="29156" y="13000"/>
                </a:cubicBezTo>
                <a:cubicBezTo>
                  <a:pt x="29500" y="12875"/>
                  <a:pt x="29812" y="12781"/>
                  <a:pt x="30156" y="12656"/>
                </a:cubicBezTo>
                <a:cubicBezTo>
                  <a:pt x="30281" y="12625"/>
                  <a:pt x="30406" y="12625"/>
                  <a:pt x="30531" y="12531"/>
                </a:cubicBezTo>
                <a:cubicBezTo>
                  <a:pt x="30719" y="12531"/>
                  <a:pt x="30906" y="12437"/>
                  <a:pt x="31094" y="12375"/>
                </a:cubicBezTo>
                <a:cubicBezTo>
                  <a:pt x="31562" y="12218"/>
                  <a:pt x="32000" y="12062"/>
                  <a:pt x="32469" y="11906"/>
                </a:cubicBezTo>
                <a:cubicBezTo>
                  <a:pt x="32562" y="11875"/>
                  <a:pt x="32656" y="11812"/>
                  <a:pt x="32781" y="11812"/>
                </a:cubicBezTo>
                <a:cubicBezTo>
                  <a:pt x="32781" y="11812"/>
                  <a:pt x="32781" y="11812"/>
                  <a:pt x="32781" y="11812"/>
                </a:cubicBezTo>
                <a:cubicBezTo>
                  <a:pt x="32781" y="11781"/>
                  <a:pt x="32781" y="11781"/>
                  <a:pt x="32781" y="11750"/>
                </a:cubicBezTo>
                <a:cubicBezTo>
                  <a:pt x="32625" y="11812"/>
                  <a:pt x="32500" y="11843"/>
                  <a:pt x="32375" y="11875"/>
                </a:cubicBezTo>
                <a:cubicBezTo>
                  <a:pt x="32187" y="11937"/>
                  <a:pt x="32000" y="12000"/>
                  <a:pt x="31812" y="12062"/>
                </a:cubicBezTo>
                <a:cubicBezTo>
                  <a:pt x="31594" y="12156"/>
                  <a:pt x="31344" y="12250"/>
                  <a:pt x="31094" y="12312"/>
                </a:cubicBezTo>
                <a:cubicBezTo>
                  <a:pt x="30906" y="12343"/>
                  <a:pt x="30719" y="12437"/>
                  <a:pt x="30531" y="12500"/>
                </a:cubicBezTo>
                <a:cubicBezTo>
                  <a:pt x="30531" y="12500"/>
                  <a:pt x="30531" y="12500"/>
                  <a:pt x="30531" y="12531"/>
                </a:cubicBezTo>
                <a:cubicBezTo>
                  <a:pt x="30437" y="12500"/>
                  <a:pt x="30375" y="12531"/>
                  <a:pt x="30312" y="12562"/>
                </a:cubicBezTo>
                <a:cubicBezTo>
                  <a:pt x="30062" y="12656"/>
                  <a:pt x="29812" y="12718"/>
                  <a:pt x="29562" y="12812"/>
                </a:cubicBezTo>
                <a:cubicBezTo>
                  <a:pt x="29375" y="12875"/>
                  <a:pt x="29156" y="12937"/>
                  <a:pt x="28969" y="13000"/>
                </a:cubicBezTo>
                <a:cubicBezTo>
                  <a:pt x="28719" y="13093"/>
                  <a:pt x="28469" y="13156"/>
                  <a:pt x="28250" y="13250"/>
                </a:cubicBezTo>
                <a:cubicBezTo>
                  <a:pt x="28062" y="13312"/>
                  <a:pt x="27875" y="13375"/>
                  <a:pt x="27687" y="13406"/>
                </a:cubicBezTo>
                <a:cubicBezTo>
                  <a:pt x="27656" y="13437"/>
                  <a:pt x="27656" y="13437"/>
                  <a:pt x="27656" y="13468"/>
                </a:cubicBezTo>
                <a:cubicBezTo>
                  <a:pt x="27531" y="13437"/>
                  <a:pt x="27437" y="13500"/>
                  <a:pt x="27344" y="13531"/>
                </a:cubicBezTo>
                <a:cubicBezTo>
                  <a:pt x="27062" y="13625"/>
                  <a:pt x="26812" y="13687"/>
                  <a:pt x="26531" y="13781"/>
                </a:cubicBezTo>
                <a:cubicBezTo>
                  <a:pt x="26344" y="13843"/>
                  <a:pt x="26125" y="13906"/>
                  <a:pt x="25937" y="13968"/>
                </a:cubicBezTo>
                <a:cubicBezTo>
                  <a:pt x="25719" y="14031"/>
                  <a:pt x="25531" y="14093"/>
                  <a:pt x="25312" y="14156"/>
                </a:cubicBezTo>
                <a:cubicBezTo>
                  <a:pt x="25125" y="14218"/>
                  <a:pt x="24937" y="14281"/>
                  <a:pt x="24750" y="14312"/>
                </a:cubicBezTo>
                <a:cubicBezTo>
                  <a:pt x="24531" y="14375"/>
                  <a:pt x="24344" y="14437"/>
                  <a:pt x="24125" y="14500"/>
                </a:cubicBezTo>
                <a:cubicBezTo>
                  <a:pt x="24062" y="14531"/>
                  <a:pt x="24000" y="14531"/>
                  <a:pt x="23937" y="14562"/>
                </a:cubicBezTo>
                <a:cubicBezTo>
                  <a:pt x="23937" y="14531"/>
                  <a:pt x="23937" y="14500"/>
                  <a:pt x="23937" y="14468"/>
                </a:cubicBezTo>
                <a:cubicBezTo>
                  <a:pt x="23969" y="14468"/>
                  <a:pt x="24000" y="14468"/>
                  <a:pt x="24031" y="14468"/>
                </a:cubicBezTo>
                <a:cubicBezTo>
                  <a:pt x="24312" y="14375"/>
                  <a:pt x="24594" y="14281"/>
                  <a:pt x="24875" y="14187"/>
                </a:cubicBezTo>
                <a:cubicBezTo>
                  <a:pt x="25281" y="14062"/>
                  <a:pt x="25687" y="13937"/>
                  <a:pt x="26062" y="13812"/>
                </a:cubicBezTo>
                <a:cubicBezTo>
                  <a:pt x="26312" y="13750"/>
                  <a:pt x="26562" y="13656"/>
                  <a:pt x="26781" y="13593"/>
                </a:cubicBezTo>
                <a:cubicBezTo>
                  <a:pt x="27125" y="13468"/>
                  <a:pt x="27437" y="13343"/>
                  <a:pt x="27750" y="13250"/>
                </a:cubicBezTo>
                <a:cubicBezTo>
                  <a:pt x="28219" y="13093"/>
                  <a:pt x="28656" y="12937"/>
                  <a:pt x="29125" y="12781"/>
                </a:cubicBezTo>
                <a:cubicBezTo>
                  <a:pt x="29437" y="12687"/>
                  <a:pt x="29781" y="12562"/>
                  <a:pt x="30125" y="12437"/>
                </a:cubicBezTo>
                <a:cubicBezTo>
                  <a:pt x="30344" y="12375"/>
                  <a:pt x="30375" y="12375"/>
                  <a:pt x="30437" y="12312"/>
                </a:cubicBezTo>
                <a:cubicBezTo>
                  <a:pt x="30250" y="12312"/>
                  <a:pt x="30062" y="12406"/>
                  <a:pt x="29906" y="12468"/>
                </a:cubicBezTo>
                <a:cubicBezTo>
                  <a:pt x="29469" y="12593"/>
                  <a:pt x="29062" y="12718"/>
                  <a:pt x="28656" y="12843"/>
                </a:cubicBezTo>
                <a:cubicBezTo>
                  <a:pt x="28312" y="12968"/>
                  <a:pt x="27969" y="13093"/>
                  <a:pt x="27625" y="13187"/>
                </a:cubicBezTo>
                <a:cubicBezTo>
                  <a:pt x="27062" y="13343"/>
                  <a:pt x="26500" y="13562"/>
                  <a:pt x="25906" y="13718"/>
                </a:cubicBezTo>
                <a:cubicBezTo>
                  <a:pt x="25531" y="13812"/>
                  <a:pt x="25187" y="13937"/>
                  <a:pt x="24812" y="14031"/>
                </a:cubicBezTo>
                <a:cubicBezTo>
                  <a:pt x="24750" y="14031"/>
                  <a:pt x="24719" y="14031"/>
                  <a:pt x="24687" y="14000"/>
                </a:cubicBezTo>
                <a:cubicBezTo>
                  <a:pt x="24812" y="13968"/>
                  <a:pt x="24937" y="13937"/>
                  <a:pt x="25062" y="13875"/>
                </a:cubicBezTo>
                <a:cubicBezTo>
                  <a:pt x="25156" y="13843"/>
                  <a:pt x="25281" y="13875"/>
                  <a:pt x="25344" y="13781"/>
                </a:cubicBezTo>
                <a:cubicBezTo>
                  <a:pt x="25375" y="13781"/>
                  <a:pt x="25406" y="13781"/>
                  <a:pt x="25437" y="13781"/>
                </a:cubicBezTo>
                <a:cubicBezTo>
                  <a:pt x="25594" y="13718"/>
                  <a:pt x="25750" y="13656"/>
                  <a:pt x="25906" y="13625"/>
                </a:cubicBezTo>
                <a:cubicBezTo>
                  <a:pt x="26094" y="13562"/>
                  <a:pt x="26281" y="13468"/>
                  <a:pt x="26500" y="13437"/>
                </a:cubicBezTo>
                <a:cubicBezTo>
                  <a:pt x="26406" y="13406"/>
                  <a:pt x="26375" y="13406"/>
                  <a:pt x="26312" y="13437"/>
                </a:cubicBezTo>
                <a:cubicBezTo>
                  <a:pt x="26156" y="13500"/>
                  <a:pt x="26000" y="13531"/>
                  <a:pt x="25844" y="13593"/>
                </a:cubicBezTo>
                <a:cubicBezTo>
                  <a:pt x="25687" y="13656"/>
                  <a:pt x="25500" y="13656"/>
                  <a:pt x="25344" y="13750"/>
                </a:cubicBezTo>
                <a:cubicBezTo>
                  <a:pt x="25344" y="13750"/>
                  <a:pt x="25344" y="13750"/>
                  <a:pt x="25375" y="13750"/>
                </a:cubicBezTo>
                <a:cubicBezTo>
                  <a:pt x="25344" y="13750"/>
                  <a:pt x="25344" y="13750"/>
                  <a:pt x="25344" y="13750"/>
                </a:cubicBezTo>
                <a:cubicBezTo>
                  <a:pt x="25344" y="13781"/>
                  <a:pt x="25344" y="13781"/>
                  <a:pt x="25344" y="13781"/>
                </a:cubicBezTo>
                <a:cubicBezTo>
                  <a:pt x="25312" y="13781"/>
                  <a:pt x="25281" y="13781"/>
                  <a:pt x="25281" y="13781"/>
                </a:cubicBezTo>
                <a:cubicBezTo>
                  <a:pt x="25250" y="13812"/>
                  <a:pt x="25187" y="13843"/>
                  <a:pt x="25125" y="13843"/>
                </a:cubicBezTo>
                <a:cubicBezTo>
                  <a:pt x="25187" y="13843"/>
                  <a:pt x="25250" y="13812"/>
                  <a:pt x="25281" y="13781"/>
                </a:cubicBezTo>
                <a:cubicBezTo>
                  <a:pt x="25250" y="13781"/>
                  <a:pt x="25250" y="13781"/>
                  <a:pt x="25219" y="13781"/>
                </a:cubicBezTo>
                <a:cubicBezTo>
                  <a:pt x="25031" y="13843"/>
                  <a:pt x="24844" y="13906"/>
                  <a:pt x="24625" y="13968"/>
                </a:cubicBezTo>
                <a:cubicBezTo>
                  <a:pt x="24625" y="13906"/>
                  <a:pt x="24687" y="13906"/>
                  <a:pt x="24719" y="13843"/>
                </a:cubicBezTo>
                <a:cubicBezTo>
                  <a:pt x="24844" y="13843"/>
                  <a:pt x="24969" y="13781"/>
                  <a:pt x="25094" y="13750"/>
                </a:cubicBezTo>
                <a:cubicBezTo>
                  <a:pt x="25406" y="13656"/>
                  <a:pt x="25750" y="13562"/>
                  <a:pt x="26062" y="13437"/>
                </a:cubicBezTo>
                <a:cubicBezTo>
                  <a:pt x="26406" y="13343"/>
                  <a:pt x="26750" y="13218"/>
                  <a:pt x="27094" y="13093"/>
                </a:cubicBezTo>
                <a:cubicBezTo>
                  <a:pt x="27312" y="13031"/>
                  <a:pt x="27562" y="12968"/>
                  <a:pt x="27781" y="12875"/>
                </a:cubicBezTo>
                <a:cubicBezTo>
                  <a:pt x="28125" y="12750"/>
                  <a:pt x="28469" y="12656"/>
                  <a:pt x="28812" y="12531"/>
                </a:cubicBezTo>
                <a:cubicBezTo>
                  <a:pt x="29031" y="12468"/>
                  <a:pt x="29281" y="12375"/>
                  <a:pt x="29531" y="12312"/>
                </a:cubicBezTo>
                <a:cubicBezTo>
                  <a:pt x="29844" y="12187"/>
                  <a:pt x="30187" y="12062"/>
                  <a:pt x="30531" y="11968"/>
                </a:cubicBezTo>
                <a:cubicBezTo>
                  <a:pt x="30687" y="11906"/>
                  <a:pt x="30844" y="11843"/>
                  <a:pt x="31000" y="11812"/>
                </a:cubicBezTo>
                <a:cubicBezTo>
                  <a:pt x="31281" y="11718"/>
                  <a:pt x="31531" y="11625"/>
                  <a:pt x="31812" y="11531"/>
                </a:cubicBezTo>
                <a:cubicBezTo>
                  <a:pt x="31969" y="11468"/>
                  <a:pt x="32156" y="11406"/>
                  <a:pt x="32312" y="11343"/>
                </a:cubicBezTo>
                <a:cubicBezTo>
                  <a:pt x="32469" y="11312"/>
                  <a:pt x="32625" y="11250"/>
                  <a:pt x="32781" y="11218"/>
                </a:cubicBezTo>
                <a:cubicBezTo>
                  <a:pt x="32781" y="11187"/>
                  <a:pt x="32781" y="11187"/>
                  <a:pt x="32781" y="11187"/>
                </a:cubicBezTo>
                <a:cubicBezTo>
                  <a:pt x="32781" y="11156"/>
                  <a:pt x="32781" y="11125"/>
                  <a:pt x="32781" y="11093"/>
                </a:cubicBezTo>
                <a:cubicBezTo>
                  <a:pt x="32656" y="11125"/>
                  <a:pt x="32531" y="11156"/>
                  <a:pt x="32406" y="11187"/>
                </a:cubicBezTo>
                <a:cubicBezTo>
                  <a:pt x="32156" y="11281"/>
                  <a:pt x="31906" y="11375"/>
                  <a:pt x="31656" y="11437"/>
                </a:cubicBezTo>
                <a:cubicBezTo>
                  <a:pt x="31469" y="11500"/>
                  <a:pt x="31312" y="11562"/>
                  <a:pt x="31125" y="11625"/>
                </a:cubicBezTo>
                <a:cubicBezTo>
                  <a:pt x="30875" y="11718"/>
                  <a:pt x="30625" y="11812"/>
                  <a:pt x="30375" y="11875"/>
                </a:cubicBezTo>
                <a:cubicBezTo>
                  <a:pt x="30187" y="11937"/>
                  <a:pt x="29969" y="12000"/>
                  <a:pt x="29750" y="12093"/>
                </a:cubicBezTo>
                <a:cubicBezTo>
                  <a:pt x="29437" y="12187"/>
                  <a:pt x="29125" y="12312"/>
                  <a:pt x="28812" y="12406"/>
                </a:cubicBezTo>
                <a:cubicBezTo>
                  <a:pt x="28656" y="12468"/>
                  <a:pt x="28500" y="12500"/>
                  <a:pt x="28344" y="12562"/>
                </a:cubicBezTo>
                <a:cubicBezTo>
                  <a:pt x="28094" y="12656"/>
                  <a:pt x="27844" y="12718"/>
                  <a:pt x="27594" y="12812"/>
                </a:cubicBezTo>
                <a:cubicBezTo>
                  <a:pt x="27344" y="12906"/>
                  <a:pt x="27062" y="12968"/>
                  <a:pt x="26812" y="13062"/>
                </a:cubicBezTo>
                <a:cubicBezTo>
                  <a:pt x="26531" y="13156"/>
                  <a:pt x="26250" y="13250"/>
                  <a:pt x="25969" y="13343"/>
                </a:cubicBezTo>
                <a:cubicBezTo>
                  <a:pt x="25656" y="13437"/>
                  <a:pt x="25344" y="13531"/>
                  <a:pt x="25031" y="13625"/>
                </a:cubicBezTo>
                <a:cubicBezTo>
                  <a:pt x="24937" y="13687"/>
                  <a:pt x="24781" y="13656"/>
                  <a:pt x="24687" y="13750"/>
                </a:cubicBezTo>
                <a:cubicBezTo>
                  <a:pt x="24656" y="13750"/>
                  <a:pt x="24594" y="13750"/>
                  <a:pt x="24562" y="13781"/>
                </a:cubicBezTo>
                <a:cubicBezTo>
                  <a:pt x="24437" y="13812"/>
                  <a:pt x="24312" y="13843"/>
                  <a:pt x="24187" y="13875"/>
                </a:cubicBezTo>
                <a:cubicBezTo>
                  <a:pt x="24187" y="13875"/>
                  <a:pt x="24187" y="13875"/>
                  <a:pt x="24219" y="13843"/>
                </a:cubicBezTo>
                <a:cubicBezTo>
                  <a:pt x="24187" y="13875"/>
                  <a:pt x="24156" y="13875"/>
                  <a:pt x="24156" y="13875"/>
                </a:cubicBezTo>
                <a:cubicBezTo>
                  <a:pt x="24156" y="13875"/>
                  <a:pt x="24156" y="13875"/>
                  <a:pt x="24156" y="13875"/>
                </a:cubicBezTo>
                <a:cubicBezTo>
                  <a:pt x="24156" y="13875"/>
                  <a:pt x="24187" y="13875"/>
                  <a:pt x="24219" y="13843"/>
                </a:cubicBezTo>
                <a:cubicBezTo>
                  <a:pt x="24219" y="13843"/>
                  <a:pt x="24219" y="13812"/>
                  <a:pt x="24187" y="13781"/>
                </a:cubicBezTo>
                <a:cubicBezTo>
                  <a:pt x="24219" y="13781"/>
                  <a:pt x="24250" y="13781"/>
                  <a:pt x="24281" y="13781"/>
                </a:cubicBezTo>
                <a:cubicBezTo>
                  <a:pt x="24344" y="13750"/>
                  <a:pt x="24437" y="13750"/>
                  <a:pt x="24469" y="13656"/>
                </a:cubicBezTo>
                <a:cubicBezTo>
                  <a:pt x="24531" y="13656"/>
                  <a:pt x="24594" y="13625"/>
                  <a:pt x="24625" y="13625"/>
                </a:cubicBezTo>
                <a:cubicBezTo>
                  <a:pt x="24625" y="13625"/>
                  <a:pt x="24625" y="13625"/>
                  <a:pt x="24625" y="13625"/>
                </a:cubicBezTo>
                <a:cubicBezTo>
                  <a:pt x="24656" y="13656"/>
                  <a:pt x="24656" y="13656"/>
                  <a:pt x="24687" y="13625"/>
                </a:cubicBezTo>
                <a:cubicBezTo>
                  <a:pt x="24687" y="13625"/>
                  <a:pt x="24687" y="13625"/>
                  <a:pt x="24687" y="13625"/>
                </a:cubicBezTo>
                <a:cubicBezTo>
                  <a:pt x="24812" y="13593"/>
                  <a:pt x="25000" y="13531"/>
                  <a:pt x="25187" y="13468"/>
                </a:cubicBezTo>
                <a:cubicBezTo>
                  <a:pt x="25187" y="13468"/>
                  <a:pt x="25219" y="13468"/>
                  <a:pt x="25250" y="13468"/>
                </a:cubicBezTo>
                <a:cubicBezTo>
                  <a:pt x="25375" y="13406"/>
                  <a:pt x="25469" y="13375"/>
                  <a:pt x="25594" y="13343"/>
                </a:cubicBezTo>
                <a:cubicBezTo>
                  <a:pt x="25906" y="13250"/>
                  <a:pt x="26219" y="13125"/>
                  <a:pt x="26562" y="13031"/>
                </a:cubicBezTo>
                <a:cubicBezTo>
                  <a:pt x="26687" y="12968"/>
                  <a:pt x="26812" y="12937"/>
                  <a:pt x="26937" y="12843"/>
                </a:cubicBezTo>
                <a:cubicBezTo>
                  <a:pt x="26906" y="12843"/>
                  <a:pt x="26875" y="12843"/>
                  <a:pt x="26875" y="12843"/>
                </a:cubicBezTo>
                <a:cubicBezTo>
                  <a:pt x="26844" y="12843"/>
                  <a:pt x="26812" y="12875"/>
                  <a:pt x="26781" y="12843"/>
                </a:cubicBezTo>
                <a:cubicBezTo>
                  <a:pt x="26781" y="12812"/>
                  <a:pt x="26812" y="12812"/>
                  <a:pt x="26844" y="12781"/>
                </a:cubicBezTo>
                <a:cubicBezTo>
                  <a:pt x="26875" y="12781"/>
                  <a:pt x="26906" y="12750"/>
                  <a:pt x="26937" y="12750"/>
                </a:cubicBezTo>
                <a:cubicBezTo>
                  <a:pt x="27094" y="12687"/>
                  <a:pt x="27250" y="12656"/>
                  <a:pt x="27437" y="12593"/>
                </a:cubicBezTo>
                <a:cubicBezTo>
                  <a:pt x="27687" y="12500"/>
                  <a:pt x="27937" y="12406"/>
                  <a:pt x="28187" y="12312"/>
                </a:cubicBezTo>
                <a:cubicBezTo>
                  <a:pt x="28500" y="12218"/>
                  <a:pt x="28812" y="12125"/>
                  <a:pt x="29125" y="12000"/>
                </a:cubicBezTo>
                <a:cubicBezTo>
                  <a:pt x="29469" y="11906"/>
                  <a:pt x="29781" y="11781"/>
                  <a:pt x="30125" y="11656"/>
                </a:cubicBezTo>
                <a:cubicBezTo>
                  <a:pt x="30219" y="11625"/>
                  <a:pt x="30344" y="11625"/>
                  <a:pt x="30406" y="11531"/>
                </a:cubicBezTo>
                <a:cubicBezTo>
                  <a:pt x="30281" y="11531"/>
                  <a:pt x="30156" y="11593"/>
                  <a:pt x="30031" y="11625"/>
                </a:cubicBezTo>
                <a:cubicBezTo>
                  <a:pt x="29781" y="11718"/>
                  <a:pt x="29562" y="11812"/>
                  <a:pt x="29312" y="11875"/>
                </a:cubicBezTo>
                <a:cubicBezTo>
                  <a:pt x="29125" y="11937"/>
                  <a:pt x="28937" y="12000"/>
                  <a:pt x="28750" y="12062"/>
                </a:cubicBezTo>
                <a:cubicBezTo>
                  <a:pt x="28500" y="12156"/>
                  <a:pt x="28281" y="12218"/>
                  <a:pt x="28031" y="12312"/>
                </a:cubicBezTo>
                <a:cubicBezTo>
                  <a:pt x="27844" y="12375"/>
                  <a:pt x="27656" y="12437"/>
                  <a:pt x="27469" y="12500"/>
                </a:cubicBezTo>
                <a:cubicBezTo>
                  <a:pt x="27219" y="12593"/>
                  <a:pt x="26969" y="12656"/>
                  <a:pt x="26719" y="12750"/>
                </a:cubicBezTo>
                <a:cubicBezTo>
                  <a:pt x="26531" y="12812"/>
                  <a:pt x="26344" y="12875"/>
                  <a:pt x="26125" y="12937"/>
                </a:cubicBezTo>
                <a:cubicBezTo>
                  <a:pt x="26000" y="12968"/>
                  <a:pt x="25844" y="13062"/>
                  <a:pt x="25687" y="13062"/>
                </a:cubicBezTo>
                <a:cubicBezTo>
                  <a:pt x="25687" y="13062"/>
                  <a:pt x="25687" y="13031"/>
                  <a:pt x="25687" y="13031"/>
                </a:cubicBezTo>
                <a:cubicBezTo>
                  <a:pt x="25687" y="13031"/>
                  <a:pt x="25656" y="13031"/>
                  <a:pt x="25625" y="13031"/>
                </a:cubicBezTo>
                <a:cubicBezTo>
                  <a:pt x="25625" y="13031"/>
                  <a:pt x="25625" y="13031"/>
                  <a:pt x="25625" y="13031"/>
                </a:cubicBezTo>
                <a:cubicBezTo>
                  <a:pt x="25656" y="13031"/>
                  <a:pt x="25656" y="13031"/>
                  <a:pt x="25656" y="13031"/>
                </a:cubicBezTo>
                <a:cubicBezTo>
                  <a:pt x="25656" y="13031"/>
                  <a:pt x="25656" y="13031"/>
                  <a:pt x="25625" y="13031"/>
                </a:cubicBezTo>
                <a:cubicBezTo>
                  <a:pt x="25656" y="13031"/>
                  <a:pt x="25687" y="13031"/>
                  <a:pt x="25687" y="13031"/>
                </a:cubicBezTo>
                <a:cubicBezTo>
                  <a:pt x="25719" y="13031"/>
                  <a:pt x="25719" y="13031"/>
                  <a:pt x="25719" y="13000"/>
                </a:cubicBezTo>
                <a:cubicBezTo>
                  <a:pt x="25750" y="13000"/>
                  <a:pt x="25750" y="13000"/>
                  <a:pt x="25750" y="13000"/>
                </a:cubicBezTo>
                <a:cubicBezTo>
                  <a:pt x="26031" y="12937"/>
                  <a:pt x="26312" y="12812"/>
                  <a:pt x="26562" y="12718"/>
                </a:cubicBezTo>
                <a:cubicBezTo>
                  <a:pt x="26844" y="12656"/>
                  <a:pt x="27094" y="12562"/>
                  <a:pt x="27375" y="12468"/>
                </a:cubicBezTo>
                <a:cubicBezTo>
                  <a:pt x="27594" y="12375"/>
                  <a:pt x="27844" y="12312"/>
                  <a:pt x="28062" y="12218"/>
                </a:cubicBezTo>
                <a:cubicBezTo>
                  <a:pt x="28312" y="12125"/>
                  <a:pt x="28562" y="12031"/>
                  <a:pt x="28812" y="11968"/>
                </a:cubicBezTo>
                <a:cubicBezTo>
                  <a:pt x="29000" y="11906"/>
                  <a:pt x="29187" y="11843"/>
                  <a:pt x="29375" y="11750"/>
                </a:cubicBezTo>
                <a:cubicBezTo>
                  <a:pt x="29250" y="11781"/>
                  <a:pt x="29094" y="11812"/>
                  <a:pt x="28969" y="11843"/>
                </a:cubicBezTo>
                <a:cubicBezTo>
                  <a:pt x="28781" y="11906"/>
                  <a:pt x="28625" y="11968"/>
                  <a:pt x="28469" y="12031"/>
                </a:cubicBezTo>
                <a:cubicBezTo>
                  <a:pt x="28250" y="12093"/>
                  <a:pt x="28062" y="12156"/>
                  <a:pt x="27844" y="12218"/>
                </a:cubicBezTo>
                <a:cubicBezTo>
                  <a:pt x="27750" y="12250"/>
                  <a:pt x="27625" y="12343"/>
                  <a:pt x="27531" y="12312"/>
                </a:cubicBezTo>
                <a:cubicBezTo>
                  <a:pt x="27437" y="12281"/>
                  <a:pt x="27375" y="12281"/>
                  <a:pt x="27281" y="12312"/>
                </a:cubicBezTo>
                <a:cubicBezTo>
                  <a:pt x="27312" y="12343"/>
                  <a:pt x="27344" y="12312"/>
                  <a:pt x="27344" y="12375"/>
                </a:cubicBezTo>
                <a:cubicBezTo>
                  <a:pt x="27281" y="12437"/>
                  <a:pt x="27187" y="12343"/>
                  <a:pt x="27125" y="12375"/>
                </a:cubicBezTo>
                <a:cubicBezTo>
                  <a:pt x="26781" y="12500"/>
                  <a:pt x="26437" y="12593"/>
                  <a:pt x="26094" y="12718"/>
                </a:cubicBezTo>
                <a:cubicBezTo>
                  <a:pt x="25875" y="12781"/>
                  <a:pt x="25656" y="12875"/>
                  <a:pt x="25437" y="12937"/>
                </a:cubicBezTo>
                <a:cubicBezTo>
                  <a:pt x="25437" y="12937"/>
                  <a:pt x="25437" y="12937"/>
                  <a:pt x="25437" y="12937"/>
                </a:cubicBezTo>
                <a:cubicBezTo>
                  <a:pt x="25500" y="12968"/>
                  <a:pt x="25594" y="12968"/>
                  <a:pt x="25656" y="13000"/>
                </a:cubicBezTo>
                <a:cubicBezTo>
                  <a:pt x="25594" y="12968"/>
                  <a:pt x="25500" y="12968"/>
                  <a:pt x="25437" y="12937"/>
                </a:cubicBezTo>
                <a:cubicBezTo>
                  <a:pt x="25281" y="12937"/>
                  <a:pt x="25156" y="13000"/>
                  <a:pt x="25031" y="13062"/>
                </a:cubicBezTo>
                <a:cubicBezTo>
                  <a:pt x="24937" y="13093"/>
                  <a:pt x="24812" y="13125"/>
                  <a:pt x="24719" y="13156"/>
                </a:cubicBezTo>
                <a:cubicBezTo>
                  <a:pt x="24687" y="13156"/>
                  <a:pt x="24656" y="13156"/>
                  <a:pt x="24656" y="13187"/>
                </a:cubicBezTo>
                <a:cubicBezTo>
                  <a:pt x="24562" y="13218"/>
                  <a:pt x="24500" y="13218"/>
                  <a:pt x="24437" y="13250"/>
                </a:cubicBezTo>
                <a:cubicBezTo>
                  <a:pt x="24406" y="13250"/>
                  <a:pt x="24375" y="13250"/>
                  <a:pt x="24344" y="13250"/>
                </a:cubicBezTo>
                <a:cubicBezTo>
                  <a:pt x="24281" y="13281"/>
                  <a:pt x="24250" y="13312"/>
                  <a:pt x="24219" y="13312"/>
                </a:cubicBezTo>
                <a:cubicBezTo>
                  <a:pt x="23781" y="13437"/>
                  <a:pt x="23375" y="13562"/>
                  <a:pt x="22969" y="13687"/>
                </a:cubicBezTo>
                <a:cubicBezTo>
                  <a:pt x="22844" y="13718"/>
                  <a:pt x="22719" y="13750"/>
                  <a:pt x="22562" y="13750"/>
                </a:cubicBezTo>
                <a:cubicBezTo>
                  <a:pt x="22594" y="13718"/>
                  <a:pt x="22594" y="13687"/>
                  <a:pt x="22625" y="13687"/>
                </a:cubicBezTo>
                <a:cubicBezTo>
                  <a:pt x="22875" y="13625"/>
                  <a:pt x="23094" y="13500"/>
                  <a:pt x="23375" y="13468"/>
                </a:cubicBezTo>
                <a:cubicBezTo>
                  <a:pt x="23344" y="13437"/>
                  <a:pt x="23281" y="13406"/>
                  <a:pt x="23250" y="13437"/>
                </a:cubicBezTo>
                <a:cubicBezTo>
                  <a:pt x="23094" y="13468"/>
                  <a:pt x="22969" y="13531"/>
                  <a:pt x="22812" y="13562"/>
                </a:cubicBezTo>
                <a:cubicBezTo>
                  <a:pt x="22406" y="13687"/>
                  <a:pt x="21969" y="13812"/>
                  <a:pt x="21562" y="13906"/>
                </a:cubicBezTo>
                <a:cubicBezTo>
                  <a:pt x="21562" y="13906"/>
                  <a:pt x="21562" y="13906"/>
                  <a:pt x="21562" y="13875"/>
                </a:cubicBezTo>
                <a:cubicBezTo>
                  <a:pt x="21562" y="13906"/>
                  <a:pt x="21531" y="13906"/>
                  <a:pt x="21531" y="13906"/>
                </a:cubicBezTo>
                <a:cubicBezTo>
                  <a:pt x="21531" y="13906"/>
                  <a:pt x="21531" y="13906"/>
                  <a:pt x="21531" y="13906"/>
                </a:cubicBezTo>
                <a:cubicBezTo>
                  <a:pt x="21531" y="13906"/>
                  <a:pt x="21562" y="13906"/>
                  <a:pt x="21562" y="13875"/>
                </a:cubicBezTo>
                <a:cubicBezTo>
                  <a:pt x="21594" y="13875"/>
                  <a:pt x="21594" y="13843"/>
                  <a:pt x="21625" y="13843"/>
                </a:cubicBezTo>
                <a:cubicBezTo>
                  <a:pt x="21875" y="13781"/>
                  <a:pt x="22156" y="13687"/>
                  <a:pt x="22406" y="13625"/>
                </a:cubicBezTo>
                <a:cubicBezTo>
                  <a:pt x="22750" y="13500"/>
                  <a:pt x="23062" y="13406"/>
                  <a:pt x="23406" y="13312"/>
                </a:cubicBezTo>
                <a:cubicBezTo>
                  <a:pt x="23875" y="13156"/>
                  <a:pt x="24375" y="13000"/>
                  <a:pt x="24875" y="12812"/>
                </a:cubicBezTo>
                <a:cubicBezTo>
                  <a:pt x="24906" y="12843"/>
                  <a:pt x="24937" y="12875"/>
                  <a:pt x="24937" y="12906"/>
                </a:cubicBezTo>
                <a:cubicBezTo>
                  <a:pt x="24906" y="12906"/>
                  <a:pt x="24906" y="12906"/>
                  <a:pt x="24906" y="12906"/>
                </a:cubicBezTo>
                <a:cubicBezTo>
                  <a:pt x="24906" y="12906"/>
                  <a:pt x="24906" y="12937"/>
                  <a:pt x="24906" y="12937"/>
                </a:cubicBezTo>
                <a:cubicBezTo>
                  <a:pt x="24906" y="12937"/>
                  <a:pt x="24906" y="12906"/>
                  <a:pt x="24906" y="12906"/>
                </a:cubicBezTo>
                <a:cubicBezTo>
                  <a:pt x="24844" y="12937"/>
                  <a:pt x="24812" y="12937"/>
                  <a:pt x="24781" y="12968"/>
                </a:cubicBezTo>
                <a:cubicBezTo>
                  <a:pt x="24719" y="12968"/>
                  <a:pt x="24656" y="12968"/>
                  <a:pt x="24594" y="13031"/>
                </a:cubicBezTo>
                <a:cubicBezTo>
                  <a:pt x="24375" y="13062"/>
                  <a:pt x="24156" y="13156"/>
                  <a:pt x="23937" y="13218"/>
                </a:cubicBezTo>
                <a:cubicBezTo>
                  <a:pt x="23844" y="13250"/>
                  <a:pt x="23750" y="13250"/>
                  <a:pt x="23687" y="13312"/>
                </a:cubicBezTo>
                <a:cubicBezTo>
                  <a:pt x="23687" y="13312"/>
                  <a:pt x="23687" y="13312"/>
                  <a:pt x="23656" y="13312"/>
                </a:cubicBezTo>
                <a:cubicBezTo>
                  <a:pt x="23656" y="13312"/>
                  <a:pt x="23656" y="13343"/>
                  <a:pt x="23625" y="13343"/>
                </a:cubicBezTo>
                <a:cubicBezTo>
                  <a:pt x="23656" y="13343"/>
                  <a:pt x="23656" y="13312"/>
                  <a:pt x="23656" y="13312"/>
                </a:cubicBezTo>
                <a:cubicBezTo>
                  <a:pt x="23562" y="13312"/>
                  <a:pt x="23500" y="13343"/>
                  <a:pt x="23437" y="13437"/>
                </a:cubicBezTo>
                <a:cubicBezTo>
                  <a:pt x="23531" y="13406"/>
                  <a:pt x="23656" y="13375"/>
                  <a:pt x="23750" y="13312"/>
                </a:cubicBezTo>
                <a:cubicBezTo>
                  <a:pt x="23781" y="13312"/>
                  <a:pt x="23812" y="13312"/>
                  <a:pt x="23844" y="13312"/>
                </a:cubicBezTo>
                <a:cubicBezTo>
                  <a:pt x="24000" y="13250"/>
                  <a:pt x="24187" y="13218"/>
                  <a:pt x="24344" y="13156"/>
                </a:cubicBezTo>
                <a:cubicBezTo>
                  <a:pt x="24437" y="13125"/>
                  <a:pt x="24531" y="13125"/>
                  <a:pt x="24594" y="13062"/>
                </a:cubicBezTo>
                <a:cubicBezTo>
                  <a:pt x="24656" y="13031"/>
                  <a:pt x="24750" y="13062"/>
                  <a:pt x="24781" y="12968"/>
                </a:cubicBezTo>
                <a:cubicBezTo>
                  <a:pt x="24844" y="12968"/>
                  <a:pt x="24906" y="12968"/>
                  <a:pt x="24969" y="12937"/>
                </a:cubicBezTo>
                <a:cubicBezTo>
                  <a:pt x="25094" y="12906"/>
                  <a:pt x="25094" y="12906"/>
                  <a:pt x="25031" y="12812"/>
                </a:cubicBezTo>
                <a:cubicBezTo>
                  <a:pt x="25000" y="12812"/>
                  <a:pt x="25000" y="12781"/>
                  <a:pt x="25000" y="12781"/>
                </a:cubicBezTo>
                <a:cubicBezTo>
                  <a:pt x="25062" y="12750"/>
                  <a:pt x="25125" y="12750"/>
                  <a:pt x="25187" y="12687"/>
                </a:cubicBezTo>
                <a:cubicBezTo>
                  <a:pt x="25219" y="12687"/>
                  <a:pt x="25281" y="12718"/>
                  <a:pt x="25312" y="12656"/>
                </a:cubicBezTo>
                <a:cubicBezTo>
                  <a:pt x="25375" y="12687"/>
                  <a:pt x="25437" y="12625"/>
                  <a:pt x="25531" y="12593"/>
                </a:cubicBezTo>
                <a:cubicBezTo>
                  <a:pt x="25844" y="12500"/>
                  <a:pt x="26156" y="12406"/>
                  <a:pt x="26437" y="12312"/>
                </a:cubicBezTo>
                <a:cubicBezTo>
                  <a:pt x="26844" y="12156"/>
                  <a:pt x="27219" y="12031"/>
                  <a:pt x="27625" y="11906"/>
                </a:cubicBezTo>
                <a:cubicBezTo>
                  <a:pt x="27937" y="11781"/>
                  <a:pt x="28219" y="11656"/>
                  <a:pt x="28531" y="11562"/>
                </a:cubicBezTo>
                <a:cubicBezTo>
                  <a:pt x="28844" y="11468"/>
                  <a:pt x="29156" y="11343"/>
                  <a:pt x="29469" y="11250"/>
                </a:cubicBezTo>
                <a:cubicBezTo>
                  <a:pt x="29781" y="11125"/>
                  <a:pt x="30062" y="11031"/>
                  <a:pt x="30375" y="10937"/>
                </a:cubicBezTo>
                <a:cubicBezTo>
                  <a:pt x="30750" y="10812"/>
                  <a:pt x="31125" y="10656"/>
                  <a:pt x="31531" y="10531"/>
                </a:cubicBezTo>
                <a:cubicBezTo>
                  <a:pt x="31750" y="10437"/>
                  <a:pt x="32000" y="10343"/>
                  <a:pt x="32250" y="10281"/>
                </a:cubicBezTo>
                <a:cubicBezTo>
                  <a:pt x="32437" y="10218"/>
                  <a:pt x="32594" y="10125"/>
                  <a:pt x="32781" y="10093"/>
                </a:cubicBezTo>
                <a:cubicBezTo>
                  <a:pt x="32781" y="10093"/>
                  <a:pt x="32781" y="10093"/>
                  <a:pt x="32781" y="10062"/>
                </a:cubicBezTo>
                <a:cubicBezTo>
                  <a:pt x="32781" y="10031"/>
                  <a:pt x="32781" y="10000"/>
                  <a:pt x="32781" y="9968"/>
                </a:cubicBezTo>
                <a:cubicBezTo>
                  <a:pt x="32719" y="9968"/>
                  <a:pt x="32687" y="10000"/>
                  <a:pt x="32656" y="10031"/>
                </a:cubicBezTo>
                <a:cubicBezTo>
                  <a:pt x="32469" y="10062"/>
                  <a:pt x="32312" y="10125"/>
                  <a:pt x="32125" y="10187"/>
                </a:cubicBezTo>
                <a:cubicBezTo>
                  <a:pt x="31812" y="10312"/>
                  <a:pt x="31531" y="10406"/>
                  <a:pt x="31219" y="10531"/>
                </a:cubicBezTo>
                <a:cubicBezTo>
                  <a:pt x="31000" y="10593"/>
                  <a:pt x="30812" y="10625"/>
                  <a:pt x="30594" y="10718"/>
                </a:cubicBezTo>
                <a:cubicBezTo>
                  <a:pt x="30281" y="10843"/>
                  <a:pt x="29937" y="10968"/>
                  <a:pt x="29594" y="11093"/>
                </a:cubicBezTo>
                <a:cubicBezTo>
                  <a:pt x="29344" y="11187"/>
                  <a:pt x="29094" y="11250"/>
                  <a:pt x="28844" y="11343"/>
                </a:cubicBezTo>
                <a:cubicBezTo>
                  <a:pt x="28469" y="11500"/>
                  <a:pt x="28094" y="11593"/>
                  <a:pt x="27719" y="11718"/>
                </a:cubicBezTo>
                <a:cubicBezTo>
                  <a:pt x="27344" y="11875"/>
                  <a:pt x="26937" y="12000"/>
                  <a:pt x="26531" y="12125"/>
                </a:cubicBezTo>
                <a:cubicBezTo>
                  <a:pt x="26125" y="12250"/>
                  <a:pt x="25719" y="12406"/>
                  <a:pt x="25312" y="12531"/>
                </a:cubicBezTo>
                <a:cubicBezTo>
                  <a:pt x="25250" y="12531"/>
                  <a:pt x="25219" y="12562"/>
                  <a:pt x="25187" y="12593"/>
                </a:cubicBezTo>
                <a:cubicBezTo>
                  <a:pt x="25094" y="12593"/>
                  <a:pt x="25000" y="12625"/>
                  <a:pt x="24937" y="12687"/>
                </a:cubicBezTo>
                <a:cubicBezTo>
                  <a:pt x="24875" y="12687"/>
                  <a:pt x="24844" y="12687"/>
                  <a:pt x="24781" y="12718"/>
                </a:cubicBezTo>
                <a:cubicBezTo>
                  <a:pt x="24594" y="12781"/>
                  <a:pt x="24375" y="12843"/>
                  <a:pt x="24187" y="12906"/>
                </a:cubicBezTo>
                <a:cubicBezTo>
                  <a:pt x="24156" y="12906"/>
                  <a:pt x="24156" y="12906"/>
                  <a:pt x="24125" y="12906"/>
                </a:cubicBezTo>
                <a:cubicBezTo>
                  <a:pt x="23844" y="13000"/>
                  <a:pt x="23562" y="13093"/>
                  <a:pt x="23281" y="13187"/>
                </a:cubicBezTo>
                <a:cubicBezTo>
                  <a:pt x="23094" y="13250"/>
                  <a:pt x="22937" y="13281"/>
                  <a:pt x="22781" y="13343"/>
                </a:cubicBezTo>
                <a:cubicBezTo>
                  <a:pt x="22500" y="13406"/>
                  <a:pt x="22250" y="13500"/>
                  <a:pt x="21969" y="13562"/>
                </a:cubicBezTo>
                <a:cubicBezTo>
                  <a:pt x="21937" y="13562"/>
                  <a:pt x="21937" y="13562"/>
                  <a:pt x="21906" y="13562"/>
                </a:cubicBezTo>
                <a:cubicBezTo>
                  <a:pt x="21906" y="13562"/>
                  <a:pt x="21906" y="13562"/>
                  <a:pt x="21906" y="13562"/>
                </a:cubicBezTo>
                <a:cubicBezTo>
                  <a:pt x="21906" y="13562"/>
                  <a:pt x="21875" y="13531"/>
                  <a:pt x="21875" y="13531"/>
                </a:cubicBezTo>
                <a:cubicBezTo>
                  <a:pt x="21875" y="13531"/>
                  <a:pt x="21906" y="13562"/>
                  <a:pt x="21906" y="13562"/>
                </a:cubicBezTo>
                <a:cubicBezTo>
                  <a:pt x="21969" y="13500"/>
                  <a:pt x="22031" y="13500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062" y="13468"/>
                  <a:pt x="22062" y="13468"/>
                  <a:pt x="22062" y="13468"/>
                </a:cubicBezTo>
                <a:cubicBezTo>
                  <a:pt x="22125" y="13468"/>
                  <a:pt x="22219" y="13437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281" y="13406"/>
                  <a:pt x="22281" y="13406"/>
                  <a:pt x="22281" y="13406"/>
                </a:cubicBezTo>
                <a:cubicBezTo>
                  <a:pt x="22375" y="13437"/>
                  <a:pt x="22469" y="13343"/>
                  <a:pt x="22562" y="13312"/>
                </a:cubicBezTo>
                <a:cubicBezTo>
                  <a:pt x="22719" y="13281"/>
                  <a:pt x="22875" y="13250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00" y="13187"/>
                  <a:pt x="23000" y="13187"/>
                  <a:pt x="23000" y="13187"/>
                </a:cubicBezTo>
                <a:cubicBezTo>
                  <a:pt x="23062" y="13187"/>
                  <a:pt x="23125" y="13156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187" y="13093"/>
                  <a:pt x="23187" y="13093"/>
                  <a:pt x="23187" y="13093"/>
                </a:cubicBezTo>
                <a:cubicBezTo>
                  <a:pt x="23344" y="13093"/>
                  <a:pt x="23437" y="13031"/>
                  <a:pt x="23562" y="13000"/>
                </a:cubicBezTo>
                <a:cubicBezTo>
                  <a:pt x="23594" y="13000"/>
                  <a:pt x="23656" y="13000"/>
                  <a:pt x="23687" y="12937"/>
                </a:cubicBezTo>
                <a:cubicBezTo>
                  <a:pt x="23719" y="12937"/>
                  <a:pt x="23750" y="12937"/>
                  <a:pt x="23750" y="12906"/>
                </a:cubicBezTo>
                <a:cubicBezTo>
                  <a:pt x="23844" y="12906"/>
                  <a:pt x="23937" y="12937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00" y="12843"/>
                  <a:pt x="24000" y="12843"/>
                  <a:pt x="24000" y="12843"/>
                </a:cubicBezTo>
                <a:cubicBezTo>
                  <a:pt x="24031" y="12843"/>
                  <a:pt x="24062" y="12843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25" y="12812"/>
                  <a:pt x="24125" y="12812"/>
                  <a:pt x="24125" y="12812"/>
                </a:cubicBezTo>
                <a:cubicBezTo>
                  <a:pt x="24187" y="12843"/>
                  <a:pt x="24250" y="12781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312" y="12750"/>
                  <a:pt x="24312" y="12750"/>
                  <a:pt x="24312" y="12750"/>
                </a:cubicBezTo>
                <a:cubicBezTo>
                  <a:pt x="24406" y="12750"/>
                  <a:pt x="24469" y="12687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31" y="12656"/>
                  <a:pt x="24531" y="12656"/>
                  <a:pt x="24531" y="12656"/>
                </a:cubicBezTo>
                <a:cubicBezTo>
                  <a:pt x="24562" y="12656"/>
                  <a:pt x="24625" y="12687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25" y="12625"/>
                  <a:pt x="24625" y="12625"/>
                  <a:pt x="24625" y="12625"/>
                </a:cubicBezTo>
                <a:cubicBezTo>
                  <a:pt x="24687" y="12625"/>
                  <a:pt x="24719" y="12625"/>
                  <a:pt x="24750" y="12593"/>
                </a:cubicBezTo>
                <a:cubicBezTo>
                  <a:pt x="25375" y="12375"/>
                  <a:pt x="26000" y="12187"/>
                  <a:pt x="26656" y="11968"/>
                </a:cubicBezTo>
                <a:cubicBezTo>
                  <a:pt x="26906" y="11875"/>
                  <a:pt x="27125" y="11812"/>
                  <a:pt x="27375" y="11718"/>
                </a:cubicBezTo>
                <a:cubicBezTo>
                  <a:pt x="27594" y="11625"/>
                  <a:pt x="27812" y="11531"/>
                  <a:pt x="28031" y="11500"/>
                </a:cubicBezTo>
                <a:cubicBezTo>
                  <a:pt x="28219" y="11437"/>
                  <a:pt x="28406" y="11343"/>
                  <a:pt x="28594" y="11281"/>
                </a:cubicBezTo>
                <a:cubicBezTo>
                  <a:pt x="28687" y="11281"/>
                  <a:pt x="28781" y="11281"/>
                  <a:pt x="28812" y="11187"/>
                </a:cubicBezTo>
                <a:cubicBezTo>
                  <a:pt x="28812" y="11187"/>
                  <a:pt x="28812" y="11187"/>
                  <a:pt x="28812" y="11187"/>
                </a:cubicBezTo>
                <a:cubicBezTo>
                  <a:pt x="28844" y="11187"/>
                  <a:pt x="28844" y="11187"/>
                  <a:pt x="28875" y="11187"/>
                </a:cubicBezTo>
                <a:cubicBezTo>
                  <a:pt x="28906" y="11187"/>
                  <a:pt x="28906" y="11187"/>
                  <a:pt x="28937" y="11156"/>
                </a:cubicBezTo>
                <a:cubicBezTo>
                  <a:pt x="29250" y="11062"/>
                  <a:pt x="29594" y="10937"/>
                  <a:pt x="29906" y="10812"/>
                </a:cubicBezTo>
                <a:cubicBezTo>
                  <a:pt x="30125" y="10750"/>
                  <a:pt x="30344" y="10687"/>
                  <a:pt x="30562" y="10593"/>
                </a:cubicBezTo>
                <a:cubicBezTo>
                  <a:pt x="30656" y="10562"/>
                  <a:pt x="30781" y="10562"/>
                  <a:pt x="30844" y="10468"/>
                </a:cubicBezTo>
                <a:cubicBezTo>
                  <a:pt x="31031" y="10437"/>
                  <a:pt x="31250" y="10375"/>
                  <a:pt x="31406" y="10281"/>
                </a:cubicBezTo>
                <a:cubicBezTo>
                  <a:pt x="31594" y="10250"/>
                  <a:pt x="31781" y="10187"/>
                  <a:pt x="31937" y="10125"/>
                </a:cubicBezTo>
                <a:cubicBezTo>
                  <a:pt x="32156" y="10031"/>
                  <a:pt x="32344" y="9968"/>
                  <a:pt x="32562" y="9906"/>
                </a:cubicBezTo>
                <a:cubicBezTo>
                  <a:pt x="32625" y="9875"/>
                  <a:pt x="32687" y="9843"/>
                  <a:pt x="32781" y="9812"/>
                </a:cubicBezTo>
                <a:cubicBezTo>
                  <a:pt x="32781" y="9812"/>
                  <a:pt x="32781" y="9812"/>
                  <a:pt x="32781" y="9812"/>
                </a:cubicBezTo>
                <a:cubicBezTo>
                  <a:pt x="32781" y="9781"/>
                  <a:pt x="32781" y="9781"/>
                  <a:pt x="32781" y="9750"/>
                </a:cubicBezTo>
                <a:cubicBezTo>
                  <a:pt x="32594" y="9812"/>
                  <a:pt x="32406" y="9875"/>
                  <a:pt x="32250" y="9937"/>
                </a:cubicBezTo>
                <a:cubicBezTo>
                  <a:pt x="31937" y="10031"/>
                  <a:pt x="31656" y="10125"/>
                  <a:pt x="31344" y="10250"/>
                </a:cubicBezTo>
                <a:lnTo>
                  <a:pt x="31344" y="10250"/>
                </a:lnTo>
                <a:cubicBezTo>
                  <a:pt x="31187" y="10312"/>
                  <a:pt x="31062" y="10343"/>
                  <a:pt x="30906" y="10406"/>
                </a:cubicBezTo>
                <a:cubicBezTo>
                  <a:pt x="30844" y="10406"/>
                  <a:pt x="30844" y="10437"/>
                  <a:pt x="30844" y="10468"/>
                </a:cubicBezTo>
                <a:cubicBezTo>
                  <a:pt x="30812" y="10468"/>
                  <a:pt x="30781" y="10437"/>
                  <a:pt x="30750" y="10437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81" y="10468"/>
                </a:cubicBezTo>
                <a:cubicBezTo>
                  <a:pt x="30781" y="10468"/>
                  <a:pt x="30781" y="10468"/>
                  <a:pt x="30750" y="10437"/>
                </a:cubicBezTo>
                <a:cubicBezTo>
                  <a:pt x="30687" y="10437"/>
                  <a:pt x="30625" y="10500"/>
                  <a:pt x="30562" y="10531"/>
                </a:cubicBezTo>
                <a:cubicBezTo>
                  <a:pt x="30125" y="10656"/>
                  <a:pt x="29719" y="10812"/>
                  <a:pt x="29281" y="10968"/>
                </a:cubicBezTo>
                <a:cubicBezTo>
                  <a:pt x="29156" y="11000"/>
                  <a:pt x="29031" y="11031"/>
                  <a:pt x="28906" y="11125"/>
                </a:cubicBezTo>
                <a:cubicBezTo>
                  <a:pt x="28844" y="11093"/>
                  <a:pt x="28781" y="11156"/>
                  <a:pt x="28750" y="11156"/>
                </a:cubicBezTo>
                <a:cubicBezTo>
                  <a:pt x="28469" y="11218"/>
                  <a:pt x="28219" y="11312"/>
                  <a:pt x="27969" y="11406"/>
                </a:cubicBezTo>
                <a:cubicBezTo>
                  <a:pt x="27625" y="11531"/>
                  <a:pt x="27281" y="11656"/>
                  <a:pt x="26937" y="11750"/>
                </a:cubicBezTo>
                <a:cubicBezTo>
                  <a:pt x="26906" y="11781"/>
                  <a:pt x="26875" y="11781"/>
                  <a:pt x="26875" y="11812"/>
                </a:cubicBezTo>
                <a:cubicBezTo>
                  <a:pt x="26875" y="11812"/>
                  <a:pt x="26844" y="11812"/>
                  <a:pt x="26844" y="11812"/>
                </a:cubicBezTo>
                <a:cubicBezTo>
                  <a:pt x="26812" y="11812"/>
                  <a:pt x="26750" y="11812"/>
                  <a:pt x="26719" y="11843"/>
                </a:cubicBezTo>
                <a:cubicBezTo>
                  <a:pt x="26719" y="11843"/>
                  <a:pt x="26719" y="11843"/>
                  <a:pt x="26719" y="11843"/>
                </a:cubicBezTo>
                <a:cubicBezTo>
                  <a:pt x="26687" y="11843"/>
                  <a:pt x="26656" y="11843"/>
                  <a:pt x="26625" y="11875"/>
                </a:cubicBezTo>
                <a:cubicBezTo>
                  <a:pt x="26625" y="11875"/>
                  <a:pt x="26625" y="11875"/>
                  <a:pt x="26625" y="11875"/>
                </a:cubicBezTo>
                <a:cubicBezTo>
                  <a:pt x="26500" y="11875"/>
                  <a:pt x="26375" y="11937"/>
                  <a:pt x="26250" y="12000"/>
                </a:cubicBezTo>
                <a:cubicBezTo>
                  <a:pt x="26187" y="12031"/>
                  <a:pt x="26062" y="12000"/>
                  <a:pt x="26000" y="12093"/>
                </a:cubicBezTo>
                <a:cubicBezTo>
                  <a:pt x="26000" y="12093"/>
                  <a:pt x="26000" y="12093"/>
                  <a:pt x="26000" y="12093"/>
                </a:cubicBezTo>
                <a:cubicBezTo>
                  <a:pt x="25937" y="12093"/>
                  <a:pt x="25844" y="12093"/>
                  <a:pt x="25781" y="12156"/>
                </a:cubicBezTo>
                <a:cubicBezTo>
                  <a:pt x="25781" y="12156"/>
                  <a:pt x="25781" y="12156"/>
                  <a:pt x="25781" y="12156"/>
                </a:cubicBezTo>
                <a:cubicBezTo>
                  <a:pt x="25719" y="12156"/>
                  <a:pt x="25625" y="12156"/>
                  <a:pt x="25562" y="12250"/>
                </a:cubicBezTo>
                <a:cubicBezTo>
                  <a:pt x="25562" y="12250"/>
                  <a:pt x="25562" y="12250"/>
                  <a:pt x="25562" y="12250"/>
                </a:cubicBezTo>
                <a:cubicBezTo>
                  <a:pt x="25406" y="12250"/>
                  <a:pt x="25281" y="12312"/>
                  <a:pt x="25156" y="12343"/>
                </a:cubicBezTo>
                <a:cubicBezTo>
                  <a:pt x="25094" y="12375"/>
                  <a:pt x="24969" y="12375"/>
                  <a:pt x="24937" y="12468"/>
                </a:cubicBezTo>
                <a:cubicBezTo>
                  <a:pt x="24937" y="12468"/>
                  <a:pt x="24937" y="12468"/>
                  <a:pt x="24937" y="12468"/>
                </a:cubicBezTo>
                <a:cubicBezTo>
                  <a:pt x="24875" y="12437"/>
                  <a:pt x="24844" y="12437"/>
                  <a:pt x="24812" y="12468"/>
                </a:cubicBezTo>
                <a:cubicBezTo>
                  <a:pt x="24812" y="12468"/>
                  <a:pt x="24812" y="12468"/>
                  <a:pt x="24812" y="12468"/>
                </a:cubicBezTo>
                <a:cubicBezTo>
                  <a:pt x="24656" y="12500"/>
                  <a:pt x="24500" y="12562"/>
                  <a:pt x="24344" y="12625"/>
                </a:cubicBezTo>
                <a:cubicBezTo>
                  <a:pt x="24344" y="12625"/>
                  <a:pt x="24344" y="12625"/>
                  <a:pt x="24344" y="12625"/>
                </a:cubicBezTo>
                <a:cubicBezTo>
                  <a:pt x="24250" y="12656"/>
                  <a:pt x="24125" y="12656"/>
                  <a:pt x="24031" y="12750"/>
                </a:cubicBezTo>
                <a:cubicBezTo>
                  <a:pt x="24031" y="12750"/>
                  <a:pt x="24031" y="12750"/>
                  <a:pt x="24031" y="12750"/>
                </a:cubicBezTo>
                <a:cubicBezTo>
                  <a:pt x="23875" y="12750"/>
                  <a:pt x="23719" y="12812"/>
                  <a:pt x="23562" y="12875"/>
                </a:cubicBezTo>
                <a:cubicBezTo>
                  <a:pt x="23562" y="12875"/>
                  <a:pt x="23562" y="12875"/>
                  <a:pt x="23562" y="12875"/>
                </a:cubicBezTo>
                <a:cubicBezTo>
                  <a:pt x="23469" y="12875"/>
                  <a:pt x="23406" y="12906"/>
                  <a:pt x="23344" y="12968"/>
                </a:cubicBezTo>
                <a:cubicBezTo>
                  <a:pt x="23344" y="12968"/>
                  <a:pt x="23344" y="12968"/>
                  <a:pt x="23344" y="12968"/>
                </a:cubicBezTo>
                <a:cubicBezTo>
                  <a:pt x="23312" y="12937"/>
                  <a:pt x="23250" y="12968"/>
                  <a:pt x="23219" y="12968"/>
                </a:cubicBezTo>
                <a:cubicBezTo>
                  <a:pt x="22875" y="13062"/>
                  <a:pt x="22500" y="13187"/>
                  <a:pt x="22125" y="13312"/>
                </a:cubicBezTo>
                <a:cubicBezTo>
                  <a:pt x="22031" y="13343"/>
                  <a:pt x="21906" y="13343"/>
                  <a:pt x="21781" y="13406"/>
                </a:cubicBezTo>
                <a:cubicBezTo>
                  <a:pt x="21781" y="13343"/>
                  <a:pt x="21844" y="13343"/>
                  <a:pt x="21844" y="13312"/>
                </a:cubicBezTo>
                <a:cubicBezTo>
                  <a:pt x="21844" y="13312"/>
                  <a:pt x="21844" y="13312"/>
                  <a:pt x="21844" y="13312"/>
                </a:cubicBezTo>
                <a:cubicBezTo>
                  <a:pt x="21937" y="13343"/>
                  <a:pt x="22031" y="13281"/>
                  <a:pt x="22094" y="13250"/>
                </a:cubicBezTo>
                <a:cubicBezTo>
                  <a:pt x="22094" y="13250"/>
                  <a:pt x="22094" y="13250"/>
                  <a:pt x="22094" y="13250"/>
                </a:cubicBezTo>
                <a:cubicBezTo>
                  <a:pt x="22187" y="13250"/>
                  <a:pt x="22281" y="13218"/>
                  <a:pt x="22344" y="13187"/>
                </a:cubicBezTo>
                <a:cubicBezTo>
                  <a:pt x="22344" y="13187"/>
                  <a:pt x="22344" y="13187"/>
                  <a:pt x="22344" y="13187"/>
                </a:cubicBezTo>
                <a:cubicBezTo>
                  <a:pt x="22437" y="13187"/>
                  <a:pt x="22500" y="13156"/>
                  <a:pt x="22562" y="13093"/>
                </a:cubicBezTo>
                <a:cubicBezTo>
                  <a:pt x="22562" y="13093"/>
                  <a:pt x="22562" y="13093"/>
                  <a:pt x="22562" y="13093"/>
                </a:cubicBezTo>
                <a:cubicBezTo>
                  <a:pt x="22719" y="13093"/>
                  <a:pt x="22875" y="13031"/>
                  <a:pt x="23031" y="12968"/>
                </a:cubicBezTo>
                <a:cubicBezTo>
                  <a:pt x="23031" y="12968"/>
                  <a:pt x="23031" y="12968"/>
                  <a:pt x="23031" y="12968"/>
                </a:cubicBezTo>
                <a:cubicBezTo>
                  <a:pt x="23125" y="12968"/>
                  <a:pt x="23187" y="12937"/>
                  <a:pt x="23250" y="12875"/>
                </a:cubicBezTo>
                <a:cubicBezTo>
                  <a:pt x="23250" y="12875"/>
                  <a:pt x="23250" y="12875"/>
                  <a:pt x="23250" y="12875"/>
                </a:cubicBezTo>
                <a:cubicBezTo>
                  <a:pt x="23281" y="12875"/>
                  <a:pt x="23312" y="12875"/>
                  <a:pt x="23344" y="12875"/>
                </a:cubicBezTo>
                <a:cubicBezTo>
                  <a:pt x="23812" y="12718"/>
                  <a:pt x="24281" y="12562"/>
                  <a:pt x="24750" y="12406"/>
                </a:cubicBezTo>
                <a:cubicBezTo>
                  <a:pt x="25094" y="12281"/>
                  <a:pt x="25437" y="12156"/>
                  <a:pt x="25781" y="12062"/>
                </a:cubicBezTo>
                <a:cubicBezTo>
                  <a:pt x="26281" y="11906"/>
                  <a:pt x="26781" y="11718"/>
                  <a:pt x="27250" y="11531"/>
                </a:cubicBezTo>
                <a:cubicBezTo>
                  <a:pt x="27594" y="11437"/>
                  <a:pt x="27937" y="11312"/>
                  <a:pt x="28281" y="11187"/>
                </a:cubicBezTo>
                <a:cubicBezTo>
                  <a:pt x="28750" y="11031"/>
                  <a:pt x="29219" y="10875"/>
                  <a:pt x="29719" y="10687"/>
                </a:cubicBezTo>
                <a:cubicBezTo>
                  <a:pt x="30250" y="10500"/>
                  <a:pt x="30781" y="10312"/>
                  <a:pt x="31312" y="10125"/>
                </a:cubicBezTo>
                <a:cubicBezTo>
                  <a:pt x="31812" y="9937"/>
                  <a:pt x="32281" y="9781"/>
                  <a:pt x="32781" y="9593"/>
                </a:cubicBezTo>
                <a:cubicBezTo>
                  <a:pt x="32781" y="9593"/>
                  <a:pt x="32781" y="9593"/>
                  <a:pt x="32781" y="9562"/>
                </a:cubicBezTo>
                <a:cubicBezTo>
                  <a:pt x="32781" y="9562"/>
                  <a:pt x="32781" y="9531"/>
                  <a:pt x="32781" y="9531"/>
                </a:cubicBezTo>
                <a:cubicBezTo>
                  <a:pt x="32656" y="9562"/>
                  <a:pt x="32531" y="9625"/>
                  <a:pt x="32406" y="9656"/>
                </a:cubicBezTo>
                <a:cubicBezTo>
                  <a:pt x="32094" y="9750"/>
                  <a:pt x="31781" y="9875"/>
                  <a:pt x="31469" y="9968"/>
                </a:cubicBezTo>
                <a:cubicBezTo>
                  <a:pt x="31156" y="10093"/>
                  <a:pt x="30812" y="10218"/>
                  <a:pt x="30469" y="10312"/>
                </a:cubicBezTo>
                <a:cubicBezTo>
                  <a:pt x="30250" y="10406"/>
                  <a:pt x="30031" y="10468"/>
                  <a:pt x="29844" y="10562"/>
                </a:cubicBezTo>
                <a:cubicBezTo>
                  <a:pt x="29531" y="10656"/>
                  <a:pt x="29219" y="10781"/>
                  <a:pt x="28906" y="10875"/>
                </a:cubicBezTo>
                <a:cubicBezTo>
                  <a:pt x="28656" y="10968"/>
                  <a:pt x="28406" y="11031"/>
                  <a:pt x="28187" y="11125"/>
                </a:cubicBezTo>
                <a:cubicBezTo>
                  <a:pt x="27906" y="11218"/>
                  <a:pt x="27625" y="11343"/>
                  <a:pt x="27312" y="11437"/>
                </a:cubicBezTo>
                <a:cubicBezTo>
                  <a:pt x="26906" y="11562"/>
                  <a:pt x="26531" y="11718"/>
                  <a:pt x="26125" y="11843"/>
                </a:cubicBezTo>
                <a:cubicBezTo>
                  <a:pt x="25812" y="11937"/>
                  <a:pt x="25500" y="12062"/>
                  <a:pt x="25156" y="12156"/>
                </a:cubicBezTo>
                <a:cubicBezTo>
                  <a:pt x="24781" y="12312"/>
                  <a:pt x="24375" y="12406"/>
                  <a:pt x="23969" y="12562"/>
                </a:cubicBezTo>
                <a:cubicBezTo>
                  <a:pt x="23875" y="12593"/>
                  <a:pt x="23750" y="12593"/>
                  <a:pt x="23656" y="12656"/>
                </a:cubicBezTo>
                <a:cubicBezTo>
                  <a:pt x="23625" y="12687"/>
                  <a:pt x="23594" y="12656"/>
                  <a:pt x="23562" y="12687"/>
                </a:cubicBezTo>
                <a:cubicBezTo>
                  <a:pt x="23437" y="12718"/>
                  <a:pt x="23312" y="12750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87" y="12812"/>
                  <a:pt x="23187" y="12812"/>
                  <a:pt x="23187" y="12812"/>
                </a:cubicBezTo>
                <a:cubicBezTo>
                  <a:pt x="23156" y="12812"/>
                  <a:pt x="23125" y="12812"/>
                  <a:pt x="23094" y="12843"/>
                </a:cubicBezTo>
                <a:cubicBezTo>
                  <a:pt x="23094" y="12843"/>
                  <a:pt x="23094" y="12843"/>
                  <a:pt x="23094" y="12843"/>
                </a:cubicBezTo>
                <a:cubicBezTo>
                  <a:pt x="23062" y="12843"/>
                  <a:pt x="23000" y="12843"/>
                  <a:pt x="22969" y="12875"/>
                </a:cubicBezTo>
                <a:cubicBezTo>
                  <a:pt x="22719" y="12968"/>
                  <a:pt x="22469" y="13062"/>
                  <a:pt x="22219" y="13093"/>
                </a:cubicBezTo>
                <a:cubicBezTo>
                  <a:pt x="22156" y="13125"/>
                  <a:pt x="22094" y="13125"/>
                  <a:pt x="22062" y="13156"/>
                </a:cubicBezTo>
                <a:cubicBezTo>
                  <a:pt x="22000" y="13187"/>
                  <a:pt x="21937" y="13156"/>
                  <a:pt x="21906" y="13187"/>
                </a:cubicBezTo>
                <a:cubicBezTo>
                  <a:pt x="21906" y="13187"/>
                  <a:pt x="21906" y="13187"/>
                  <a:pt x="21906" y="13187"/>
                </a:cubicBezTo>
                <a:cubicBezTo>
                  <a:pt x="21844" y="13187"/>
                  <a:pt x="21812" y="13187"/>
                  <a:pt x="21781" y="13250"/>
                </a:cubicBezTo>
                <a:cubicBezTo>
                  <a:pt x="21687" y="13250"/>
                  <a:pt x="21594" y="13250"/>
                  <a:pt x="21500" y="13312"/>
                </a:cubicBezTo>
                <a:cubicBezTo>
                  <a:pt x="21562" y="13312"/>
                  <a:pt x="21594" y="13312"/>
                  <a:pt x="21656" y="13312"/>
                </a:cubicBezTo>
                <a:cubicBezTo>
                  <a:pt x="21656" y="13281"/>
                  <a:pt x="21656" y="13281"/>
                  <a:pt x="21687" y="13281"/>
                </a:cubicBezTo>
                <a:cubicBezTo>
                  <a:pt x="21656" y="13281"/>
                  <a:pt x="21656" y="13281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656" y="13312"/>
                  <a:pt x="21656" y="13312"/>
                  <a:pt x="21656" y="13312"/>
                </a:cubicBezTo>
                <a:cubicBezTo>
                  <a:pt x="21594" y="13312"/>
                  <a:pt x="21562" y="13312"/>
                  <a:pt x="21500" y="13312"/>
                </a:cubicBezTo>
                <a:cubicBezTo>
                  <a:pt x="21500" y="13343"/>
                  <a:pt x="21500" y="13343"/>
                  <a:pt x="21500" y="13343"/>
                </a:cubicBezTo>
                <a:cubicBezTo>
                  <a:pt x="21469" y="13343"/>
                  <a:pt x="21437" y="13343"/>
                  <a:pt x="21406" y="13343"/>
                </a:cubicBezTo>
                <a:cubicBezTo>
                  <a:pt x="21344" y="13343"/>
                  <a:pt x="21281" y="13312"/>
                  <a:pt x="21250" y="13406"/>
                </a:cubicBezTo>
                <a:cubicBezTo>
                  <a:pt x="21250" y="13406"/>
                  <a:pt x="21250" y="13406"/>
                  <a:pt x="21250" y="13406"/>
                </a:cubicBezTo>
                <a:cubicBezTo>
                  <a:pt x="21219" y="13375"/>
                  <a:pt x="21187" y="13375"/>
                  <a:pt x="21187" y="13406"/>
                </a:cubicBezTo>
                <a:cubicBezTo>
                  <a:pt x="21187" y="13406"/>
                  <a:pt x="21187" y="13406"/>
                  <a:pt x="21187" y="13406"/>
                </a:cubicBezTo>
                <a:cubicBezTo>
                  <a:pt x="21156" y="13375"/>
                  <a:pt x="21187" y="13343"/>
                  <a:pt x="21250" y="13312"/>
                </a:cubicBezTo>
                <a:cubicBezTo>
                  <a:pt x="21281" y="13312"/>
                  <a:pt x="21312" y="13312"/>
                  <a:pt x="21344" y="13312"/>
                </a:cubicBezTo>
                <a:cubicBezTo>
                  <a:pt x="21531" y="13218"/>
                  <a:pt x="21719" y="13156"/>
                  <a:pt x="21906" y="13093"/>
                </a:cubicBezTo>
                <a:cubicBezTo>
                  <a:pt x="22094" y="13000"/>
                  <a:pt x="22344" y="12968"/>
                  <a:pt x="22531" y="12906"/>
                </a:cubicBezTo>
                <a:cubicBezTo>
                  <a:pt x="22875" y="12781"/>
                  <a:pt x="23187" y="12687"/>
                  <a:pt x="23531" y="12593"/>
                </a:cubicBezTo>
                <a:cubicBezTo>
                  <a:pt x="23937" y="12437"/>
                  <a:pt x="24344" y="12312"/>
                  <a:pt x="24750" y="12156"/>
                </a:cubicBezTo>
                <a:cubicBezTo>
                  <a:pt x="24969" y="12093"/>
                  <a:pt x="25187" y="12031"/>
                  <a:pt x="25406" y="11937"/>
                </a:cubicBezTo>
                <a:cubicBezTo>
                  <a:pt x="25781" y="11812"/>
                  <a:pt x="26156" y="11687"/>
                  <a:pt x="26531" y="11562"/>
                </a:cubicBezTo>
                <a:cubicBezTo>
                  <a:pt x="26937" y="11406"/>
                  <a:pt x="27344" y="11281"/>
                  <a:pt x="27750" y="11125"/>
                </a:cubicBezTo>
                <a:cubicBezTo>
                  <a:pt x="28062" y="11000"/>
                  <a:pt x="28406" y="10906"/>
                  <a:pt x="28719" y="10781"/>
                </a:cubicBezTo>
                <a:cubicBezTo>
                  <a:pt x="29219" y="10593"/>
                  <a:pt x="29750" y="10406"/>
                  <a:pt x="30281" y="10218"/>
                </a:cubicBezTo>
                <a:cubicBezTo>
                  <a:pt x="30469" y="10156"/>
                  <a:pt x="30656" y="10125"/>
                  <a:pt x="30812" y="10000"/>
                </a:cubicBezTo>
                <a:cubicBezTo>
                  <a:pt x="30656" y="10000"/>
                  <a:pt x="30531" y="10062"/>
                  <a:pt x="30375" y="10125"/>
                </a:cubicBezTo>
                <a:cubicBezTo>
                  <a:pt x="30000" y="10250"/>
                  <a:pt x="29625" y="10406"/>
                  <a:pt x="29250" y="10500"/>
                </a:cubicBezTo>
                <a:cubicBezTo>
                  <a:pt x="28937" y="10625"/>
                  <a:pt x="28625" y="10750"/>
                  <a:pt x="28312" y="10843"/>
                </a:cubicBezTo>
                <a:cubicBezTo>
                  <a:pt x="28125" y="10906"/>
                  <a:pt x="27937" y="10968"/>
                  <a:pt x="27750" y="11031"/>
                </a:cubicBezTo>
                <a:cubicBezTo>
                  <a:pt x="27531" y="11125"/>
                  <a:pt x="27281" y="11218"/>
                  <a:pt x="27062" y="11281"/>
                </a:cubicBezTo>
                <a:cubicBezTo>
                  <a:pt x="27000" y="11312"/>
                  <a:pt x="26937" y="11343"/>
                  <a:pt x="26937" y="11218"/>
                </a:cubicBezTo>
                <a:cubicBezTo>
                  <a:pt x="26969" y="11218"/>
                  <a:pt x="27031" y="11187"/>
                  <a:pt x="27062" y="11187"/>
                </a:cubicBezTo>
                <a:cubicBezTo>
                  <a:pt x="27125" y="11218"/>
                  <a:pt x="27187" y="11187"/>
                  <a:pt x="27250" y="11156"/>
                </a:cubicBezTo>
                <a:cubicBezTo>
                  <a:pt x="27437" y="11093"/>
                  <a:pt x="27594" y="11031"/>
                  <a:pt x="27750" y="10968"/>
                </a:cubicBezTo>
                <a:cubicBezTo>
                  <a:pt x="28125" y="10843"/>
                  <a:pt x="28469" y="10687"/>
                  <a:pt x="28844" y="10562"/>
                </a:cubicBezTo>
                <a:cubicBezTo>
                  <a:pt x="29094" y="10468"/>
                  <a:pt x="29344" y="10375"/>
                  <a:pt x="29594" y="10281"/>
                </a:cubicBezTo>
                <a:cubicBezTo>
                  <a:pt x="29875" y="10187"/>
                  <a:pt x="30156" y="10093"/>
                  <a:pt x="30406" y="10000"/>
                </a:cubicBezTo>
                <a:cubicBezTo>
                  <a:pt x="30875" y="9843"/>
                  <a:pt x="31312" y="9687"/>
                  <a:pt x="31750" y="9531"/>
                </a:cubicBezTo>
                <a:cubicBezTo>
                  <a:pt x="31906" y="9468"/>
                  <a:pt x="32062" y="9406"/>
                  <a:pt x="32219" y="9343"/>
                </a:cubicBezTo>
                <a:cubicBezTo>
                  <a:pt x="32406" y="9281"/>
                  <a:pt x="32594" y="9187"/>
                  <a:pt x="32781" y="9156"/>
                </a:cubicBezTo>
                <a:cubicBezTo>
                  <a:pt x="32781" y="9156"/>
                  <a:pt x="32781" y="9156"/>
                  <a:pt x="32781" y="9156"/>
                </a:cubicBezTo>
                <a:cubicBezTo>
                  <a:pt x="32781" y="9093"/>
                  <a:pt x="32781" y="9062"/>
                  <a:pt x="32781" y="9031"/>
                </a:cubicBezTo>
                <a:cubicBezTo>
                  <a:pt x="32750" y="9031"/>
                  <a:pt x="32719" y="9031"/>
                  <a:pt x="32687" y="9062"/>
                </a:cubicBezTo>
                <a:cubicBezTo>
                  <a:pt x="32500" y="9187"/>
                  <a:pt x="32250" y="9218"/>
                  <a:pt x="32000" y="9312"/>
                </a:cubicBezTo>
                <a:cubicBezTo>
                  <a:pt x="31750" y="9437"/>
                  <a:pt x="31437" y="9500"/>
                  <a:pt x="31156" y="9625"/>
                </a:cubicBezTo>
                <a:cubicBezTo>
                  <a:pt x="31094" y="9593"/>
                  <a:pt x="31031" y="9656"/>
                  <a:pt x="30969" y="9687"/>
                </a:cubicBezTo>
                <a:cubicBezTo>
                  <a:pt x="30969" y="9687"/>
                  <a:pt x="30969" y="9687"/>
                  <a:pt x="30969" y="9687"/>
                </a:cubicBezTo>
                <a:cubicBezTo>
                  <a:pt x="30937" y="9687"/>
                  <a:pt x="30906" y="9687"/>
                  <a:pt x="30875" y="9718"/>
                </a:cubicBezTo>
                <a:cubicBezTo>
                  <a:pt x="30844" y="9718"/>
                  <a:pt x="30812" y="9718"/>
                  <a:pt x="30812" y="9750"/>
                </a:cubicBezTo>
                <a:cubicBezTo>
                  <a:pt x="30531" y="9843"/>
                  <a:pt x="30281" y="9937"/>
                  <a:pt x="30000" y="10031"/>
                </a:cubicBezTo>
                <a:cubicBezTo>
                  <a:pt x="29844" y="10062"/>
                  <a:pt x="29687" y="10156"/>
                  <a:pt x="29500" y="10218"/>
                </a:cubicBezTo>
                <a:cubicBezTo>
                  <a:pt x="29250" y="10281"/>
                  <a:pt x="29000" y="10375"/>
                  <a:pt x="28750" y="10468"/>
                </a:cubicBezTo>
                <a:cubicBezTo>
                  <a:pt x="28500" y="10562"/>
                  <a:pt x="28250" y="10625"/>
                  <a:pt x="28031" y="10750"/>
                </a:cubicBezTo>
                <a:cubicBezTo>
                  <a:pt x="27875" y="10812"/>
                  <a:pt x="27656" y="10843"/>
                  <a:pt x="27500" y="10937"/>
                </a:cubicBezTo>
                <a:cubicBezTo>
                  <a:pt x="27437" y="11000"/>
                  <a:pt x="27312" y="10937"/>
                  <a:pt x="27250" y="11031"/>
                </a:cubicBezTo>
                <a:cubicBezTo>
                  <a:pt x="27219" y="11031"/>
                  <a:pt x="27219" y="11031"/>
                  <a:pt x="27187" y="11031"/>
                </a:cubicBezTo>
                <a:cubicBezTo>
                  <a:pt x="27094" y="11062"/>
                  <a:pt x="27031" y="11093"/>
                  <a:pt x="26937" y="11125"/>
                </a:cubicBezTo>
                <a:cubicBezTo>
                  <a:pt x="26875" y="11093"/>
                  <a:pt x="26844" y="11187"/>
                  <a:pt x="26812" y="11187"/>
                </a:cubicBezTo>
                <a:cubicBezTo>
                  <a:pt x="26531" y="11218"/>
                  <a:pt x="26281" y="11343"/>
                  <a:pt x="26031" y="11437"/>
                </a:cubicBezTo>
                <a:cubicBezTo>
                  <a:pt x="25906" y="11500"/>
                  <a:pt x="25750" y="11500"/>
                  <a:pt x="25625" y="11562"/>
                </a:cubicBezTo>
                <a:cubicBezTo>
                  <a:pt x="25469" y="11656"/>
                  <a:pt x="25312" y="11687"/>
                  <a:pt x="25156" y="11750"/>
                </a:cubicBezTo>
                <a:cubicBezTo>
                  <a:pt x="25031" y="11812"/>
                  <a:pt x="24906" y="11843"/>
                  <a:pt x="24781" y="11875"/>
                </a:cubicBezTo>
                <a:cubicBezTo>
                  <a:pt x="24750" y="11875"/>
                  <a:pt x="24687" y="11875"/>
                  <a:pt x="24656" y="11906"/>
                </a:cubicBezTo>
                <a:cubicBezTo>
                  <a:pt x="24656" y="11906"/>
                  <a:pt x="24656" y="11906"/>
                  <a:pt x="24656" y="11906"/>
                </a:cubicBezTo>
                <a:cubicBezTo>
                  <a:pt x="24625" y="11906"/>
                  <a:pt x="24562" y="11906"/>
                  <a:pt x="24562" y="11937"/>
                </a:cubicBezTo>
                <a:cubicBezTo>
                  <a:pt x="24469" y="11937"/>
                  <a:pt x="24406" y="11968"/>
                  <a:pt x="24344" y="12000"/>
                </a:cubicBezTo>
                <a:cubicBezTo>
                  <a:pt x="24281" y="12031"/>
                  <a:pt x="24187" y="12031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125" y="12093"/>
                  <a:pt x="24125" y="12093"/>
                  <a:pt x="24125" y="12093"/>
                </a:cubicBezTo>
                <a:cubicBezTo>
                  <a:pt x="24062" y="12093"/>
                  <a:pt x="23969" y="12093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906" y="12156"/>
                  <a:pt x="23906" y="12156"/>
                  <a:pt x="23906" y="12156"/>
                </a:cubicBezTo>
                <a:cubicBezTo>
                  <a:pt x="23844" y="12187"/>
                  <a:pt x="23750" y="12156"/>
                  <a:pt x="23687" y="12250"/>
                </a:cubicBezTo>
                <a:cubicBezTo>
                  <a:pt x="23687" y="12250"/>
                  <a:pt x="23719" y="12250"/>
                  <a:pt x="23719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687" y="12250"/>
                  <a:pt x="23687" y="12250"/>
                  <a:pt x="23687" y="12250"/>
                </a:cubicBezTo>
                <a:cubicBezTo>
                  <a:pt x="23594" y="12218"/>
                  <a:pt x="23531" y="12281"/>
                  <a:pt x="23437" y="12312"/>
                </a:cubicBezTo>
                <a:cubicBezTo>
                  <a:pt x="23187" y="12375"/>
                  <a:pt x="22937" y="12468"/>
                  <a:pt x="22687" y="12562"/>
                </a:cubicBezTo>
                <a:cubicBezTo>
                  <a:pt x="22687" y="12562"/>
                  <a:pt x="22687" y="12562"/>
                  <a:pt x="22687" y="12562"/>
                </a:cubicBezTo>
                <a:cubicBezTo>
                  <a:pt x="22656" y="12562"/>
                  <a:pt x="22594" y="12562"/>
                  <a:pt x="22562" y="12593"/>
                </a:cubicBezTo>
                <a:cubicBezTo>
                  <a:pt x="22531" y="12593"/>
                  <a:pt x="22531" y="12625"/>
                  <a:pt x="22500" y="12625"/>
                </a:cubicBezTo>
                <a:cubicBezTo>
                  <a:pt x="22500" y="12593"/>
                  <a:pt x="22469" y="12593"/>
                  <a:pt x="22469" y="12625"/>
                </a:cubicBezTo>
                <a:cubicBezTo>
                  <a:pt x="22469" y="12625"/>
                  <a:pt x="22469" y="12625"/>
                  <a:pt x="22469" y="12625"/>
                </a:cubicBezTo>
                <a:cubicBezTo>
                  <a:pt x="22437" y="12656"/>
                  <a:pt x="22375" y="12687"/>
                  <a:pt x="22344" y="12687"/>
                </a:cubicBezTo>
                <a:cubicBezTo>
                  <a:pt x="22375" y="12687"/>
                  <a:pt x="22437" y="12656"/>
                  <a:pt x="22469" y="12625"/>
                </a:cubicBezTo>
                <a:cubicBezTo>
                  <a:pt x="22312" y="12656"/>
                  <a:pt x="22156" y="12718"/>
                  <a:pt x="22000" y="12750"/>
                </a:cubicBezTo>
                <a:cubicBezTo>
                  <a:pt x="21719" y="12843"/>
                  <a:pt x="21469" y="12937"/>
                  <a:pt x="21187" y="13000"/>
                </a:cubicBezTo>
                <a:cubicBezTo>
                  <a:pt x="21187" y="12968"/>
                  <a:pt x="21156" y="12968"/>
                  <a:pt x="21187" y="12968"/>
                </a:cubicBezTo>
                <a:cubicBezTo>
                  <a:pt x="21344" y="12875"/>
                  <a:pt x="21500" y="12843"/>
                  <a:pt x="21656" y="12781"/>
                </a:cubicBezTo>
                <a:cubicBezTo>
                  <a:pt x="21906" y="12718"/>
                  <a:pt x="22156" y="12625"/>
                  <a:pt x="22406" y="12531"/>
                </a:cubicBezTo>
                <a:cubicBezTo>
                  <a:pt x="22625" y="12468"/>
                  <a:pt x="22812" y="12437"/>
                  <a:pt x="23000" y="12343"/>
                </a:cubicBezTo>
                <a:cubicBezTo>
                  <a:pt x="23406" y="12218"/>
                  <a:pt x="23781" y="12093"/>
                  <a:pt x="24187" y="11937"/>
                </a:cubicBezTo>
                <a:cubicBezTo>
                  <a:pt x="24469" y="11843"/>
                  <a:pt x="24750" y="11750"/>
                  <a:pt x="25031" y="11656"/>
                </a:cubicBezTo>
                <a:cubicBezTo>
                  <a:pt x="25437" y="11500"/>
                  <a:pt x="25812" y="11375"/>
                  <a:pt x="26187" y="11250"/>
                </a:cubicBezTo>
                <a:cubicBezTo>
                  <a:pt x="26344" y="11187"/>
                  <a:pt x="26469" y="11125"/>
                  <a:pt x="26625" y="11062"/>
                </a:cubicBezTo>
                <a:cubicBezTo>
                  <a:pt x="26406" y="11125"/>
                  <a:pt x="26187" y="11187"/>
                  <a:pt x="25969" y="11281"/>
                </a:cubicBezTo>
                <a:cubicBezTo>
                  <a:pt x="25750" y="11343"/>
                  <a:pt x="25531" y="11437"/>
                  <a:pt x="25281" y="11531"/>
                </a:cubicBezTo>
                <a:cubicBezTo>
                  <a:pt x="24875" y="11656"/>
                  <a:pt x="24469" y="11812"/>
                  <a:pt x="24031" y="11937"/>
                </a:cubicBezTo>
                <a:cubicBezTo>
                  <a:pt x="23937" y="11968"/>
                  <a:pt x="23844" y="12031"/>
                  <a:pt x="23750" y="12062"/>
                </a:cubicBezTo>
                <a:cubicBezTo>
                  <a:pt x="23656" y="12062"/>
                  <a:pt x="23562" y="12093"/>
                  <a:pt x="23437" y="12125"/>
                </a:cubicBezTo>
                <a:cubicBezTo>
                  <a:pt x="23094" y="12250"/>
                  <a:pt x="22750" y="12375"/>
                  <a:pt x="22406" y="12468"/>
                </a:cubicBezTo>
                <a:cubicBezTo>
                  <a:pt x="22094" y="12562"/>
                  <a:pt x="21781" y="12656"/>
                  <a:pt x="21469" y="12750"/>
                </a:cubicBezTo>
                <a:cubicBezTo>
                  <a:pt x="21281" y="12812"/>
                  <a:pt x="21031" y="12875"/>
                  <a:pt x="20844" y="12937"/>
                </a:cubicBezTo>
                <a:cubicBezTo>
                  <a:pt x="20781" y="12968"/>
                  <a:pt x="20719" y="13000"/>
                  <a:pt x="20656" y="12937"/>
                </a:cubicBezTo>
                <a:cubicBezTo>
                  <a:pt x="20687" y="12906"/>
                  <a:pt x="20719" y="12906"/>
                  <a:pt x="20719" y="12906"/>
                </a:cubicBezTo>
                <a:cubicBezTo>
                  <a:pt x="20750" y="12937"/>
                  <a:pt x="20781" y="12937"/>
                  <a:pt x="20812" y="12875"/>
                </a:cubicBezTo>
                <a:cubicBezTo>
                  <a:pt x="20844" y="12875"/>
                  <a:pt x="20844" y="12875"/>
                  <a:pt x="20875" y="12843"/>
                </a:cubicBezTo>
                <a:cubicBezTo>
                  <a:pt x="21094" y="12812"/>
                  <a:pt x="21312" y="12718"/>
                  <a:pt x="21531" y="12656"/>
                </a:cubicBezTo>
                <a:cubicBezTo>
                  <a:pt x="21750" y="12593"/>
                  <a:pt x="21937" y="12531"/>
                  <a:pt x="22156" y="12468"/>
                </a:cubicBezTo>
                <a:cubicBezTo>
                  <a:pt x="22406" y="12437"/>
                  <a:pt x="22656" y="12281"/>
                  <a:pt x="22906" y="12218"/>
                </a:cubicBezTo>
                <a:cubicBezTo>
                  <a:pt x="23219" y="12156"/>
                  <a:pt x="23531" y="12000"/>
                  <a:pt x="23844" y="11906"/>
                </a:cubicBezTo>
                <a:cubicBezTo>
                  <a:pt x="24094" y="11812"/>
                  <a:pt x="24344" y="11750"/>
                  <a:pt x="24594" y="11656"/>
                </a:cubicBezTo>
                <a:cubicBezTo>
                  <a:pt x="24969" y="11531"/>
                  <a:pt x="25312" y="11406"/>
                  <a:pt x="25687" y="11250"/>
                </a:cubicBezTo>
                <a:cubicBezTo>
                  <a:pt x="25937" y="11187"/>
                  <a:pt x="26187" y="11093"/>
                  <a:pt x="26437" y="11000"/>
                </a:cubicBezTo>
                <a:cubicBezTo>
                  <a:pt x="26906" y="10843"/>
                  <a:pt x="27375" y="10687"/>
                  <a:pt x="27812" y="10500"/>
                </a:cubicBezTo>
                <a:cubicBezTo>
                  <a:pt x="27937" y="10468"/>
                  <a:pt x="28062" y="10468"/>
                  <a:pt x="28156" y="10375"/>
                </a:cubicBezTo>
                <a:cubicBezTo>
                  <a:pt x="28250" y="10406"/>
                  <a:pt x="28312" y="10343"/>
                  <a:pt x="28375" y="10312"/>
                </a:cubicBezTo>
                <a:cubicBezTo>
                  <a:pt x="28594" y="10250"/>
                  <a:pt x="28812" y="10156"/>
                  <a:pt x="29062" y="10062"/>
                </a:cubicBezTo>
                <a:cubicBezTo>
                  <a:pt x="29437" y="9937"/>
                  <a:pt x="29812" y="9781"/>
                  <a:pt x="30219" y="9656"/>
                </a:cubicBezTo>
                <a:cubicBezTo>
                  <a:pt x="30406" y="9593"/>
                  <a:pt x="30625" y="9500"/>
                  <a:pt x="30844" y="9437"/>
                </a:cubicBezTo>
                <a:cubicBezTo>
                  <a:pt x="31156" y="9312"/>
                  <a:pt x="31469" y="9187"/>
                  <a:pt x="31812" y="9093"/>
                </a:cubicBezTo>
                <a:cubicBezTo>
                  <a:pt x="31937" y="9031"/>
                  <a:pt x="32094" y="8937"/>
                  <a:pt x="32250" y="8906"/>
                </a:cubicBezTo>
                <a:cubicBezTo>
                  <a:pt x="32437" y="8843"/>
                  <a:pt x="32594" y="8781"/>
                  <a:pt x="32781" y="8718"/>
                </a:cubicBezTo>
                <a:cubicBezTo>
                  <a:pt x="32781" y="8718"/>
                  <a:pt x="32781" y="8718"/>
                  <a:pt x="32781" y="8718"/>
                </a:cubicBezTo>
                <a:cubicBezTo>
                  <a:pt x="32781" y="8718"/>
                  <a:pt x="32781" y="8687"/>
                  <a:pt x="32781" y="8687"/>
                </a:cubicBezTo>
                <a:cubicBezTo>
                  <a:pt x="32656" y="8718"/>
                  <a:pt x="32562" y="8750"/>
                  <a:pt x="32469" y="8781"/>
                </a:cubicBezTo>
                <a:cubicBezTo>
                  <a:pt x="32250" y="8875"/>
                  <a:pt x="32000" y="8968"/>
                  <a:pt x="31781" y="9031"/>
                </a:cubicBezTo>
                <a:cubicBezTo>
                  <a:pt x="31469" y="9156"/>
                  <a:pt x="31156" y="9281"/>
                  <a:pt x="30844" y="9375"/>
                </a:cubicBezTo>
                <a:cubicBezTo>
                  <a:pt x="30406" y="9562"/>
                  <a:pt x="29969" y="9687"/>
                  <a:pt x="29531" y="9875"/>
                </a:cubicBezTo>
                <a:cubicBezTo>
                  <a:pt x="29187" y="10000"/>
                  <a:pt x="28812" y="10125"/>
                  <a:pt x="28469" y="10250"/>
                </a:cubicBezTo>
                <a:cubicBezTo>
                  <a:pt x="28344" y="10281"/>
                  <a:pt x="28250" y="10281"/>
                  <a:pt x="28156" y="10375"/>
                </a:cubicBezTo>
                <a:cubicBezTo>
                  <a:pt x="28125" y="10375"/>
                  <a:pt x="28125" y="10375"/>
                  <a:pt x="28094" y="10375"/>
                </a:cubicBezTo>
                <a:cubicBezTo>
                  <a:pt x="28062" y="10406"/>
                  <a:pt x="28062" y="10406"/>
                  <a:pt x="28031" y="10406"/>
                </a:cubicBezTo>
                <a:cubicBezTo>
                  <a:pt x="28062" y="10406"/>
                  <a:pt x="28062" y="10406"/>
                  <a:pt x="28094" y="10375"/>
                </a:cubicBezTo>
                <a:cubicBezTo>
                  <a:pt x="28062" y="10375"/>
                  <a:pt x="28031" y="10406"/>
                  <a:pt x="28000" y="10406"/>
                </a:cubicBezTo>
                <a:cubicBezTo>
                  <a:pt x="27719" y="10500"/>
                  <a:pt x="27437" y="10625"/>
                  <a:pt x="27125" y="10718"/>
                </a:cubicBezTo>
                <a:cubicBezTo>
                  <a:pt x="26719" y="10875"/>
                  <a:pt x="26312" y="11031"/>
                  <a:pt x="25906" y="11156"/>
                </a:cubicBezTo>
                <a:cubicBezTo>
                  <a:pt x="25406" y="11312"/>
                  <a:pt x="24937" y="11500"/>
                  <a:pt x="24469" y="11656"/>
                </a:cubicBezTo>
                <a:cubicBezTo>
                  <a:pt x="24094" y="11781"/>
                  <a:pt x="23750" y="11906"/>
                  <a:pt x="23406" y="12031"/>
                </a:cubicBezTo>
                <a:cubicBezTo>
                  <a:pt x="22969" y="12156"/>
                  <a:pt x="22531" y="12281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312" y="12437"/>
                  <a:pt x="22469" y="12343"/>
                  <a:pt x="22656" y="12281"/>
                </a:cubicBezTo>
                <a:cubicBezTo>
                  <a:pt x="22469" y="12343"/>
                  <a:pt x="22312" y="12437"/>
                  <a:pt x="22094" y="12437"/>
                </a:cubicBezTo>
                <a:cubicBezTo>
                  <a:pt x="21906" y="12500"/>
                  <a:pt x="21687" y="12593"/>
                  <a:pt x="21469" y="12656"/>
                </a:cubicBezTo>
                <a:cubicBezTo>
                  <a:pt x="21687" y="12593"/>
                  <a:pt x="21906" y="12500"/>
                  <a:pt x="22094" y="12437"/>
                </a:cubicBezTo>
                <a:cubicBezTo>
                  <a:pt x="22094" y="12437"/>
                  <a:pt x="22094" y="12437"/>
                  <a:pt x="22094" y="12437"/>
                </a:cubicBezTo>
                <a:cubicBezTo>
                  <a:pt x="22031" y="12468"/>
                  <a:pt x="21937" y="12468"/>
                  <a:pt x="21875" y="12500"/>
                </a:cubicBezTo>
                <a:cubicBezTo>
                  <a:pt x="21875" y="12500"/>
                  <a:pt x="21844" y="12468"/>
                  <a:pt x="21812" y="12468"/>
                </a:cubicBezTo>
                <a:cubicBezTo>
                  <a:pt x="22687" y="12156"/>
                  <a:pt x="23562" y="11906"/>
                  <a:pt x="24406" y="11562"/>
                </a:cubicBezTo>
                <a:cubicBezTo>
                  <a:pt x="24375" y="11531"/>
                  <a:pt x="24344" y="11562"/>
                  <a:pt x="24344" y="11562"/>
                </a:cubicBezTo>
                <a:cubicBezTo>
                  <a:pt x="23969" y="11687"/>
                  <a:pt x="23625" y="11781"/>
                  <a:pt x="23281" y="11906"/>
                </a:cubicBezTo>
                <a:cubicBezTo>
                  <a:pt x="23219" y="11906"/>
                  <a:pt x="23187" y="11937"/>
                  <a:pt x="23156" y="11875"/>
                </a:cubicBezTo>
                <a:cubicBezTo>
                  <a:pt x="23281" y="11843"/>
                  <a:pt x="23437" y="11781"/>
                  <a:pt x="23562" y="11750"/>
                </a:cubicBezTo>
                <a:cubicBezTo>
                  <a:pt x="23812" y="11656"/>
                  <a:pt x="24031" y="11593"/>
                  <a:pt x="24250" y="11500"/>
                </a:cubicBezTo>
                <a:cubicBezTo>
                  <a:pt x="24562" y="11406"/>
                  <a:pt x="24875" y="11281"/>
                  <a:pt x="25187" y="11187"/>
                </a:cubicBezTo>
                <a:cubicBezTo>
                  <a:pt x="25406" y="11093"/>
                  <a:pt x="25656" y="11031"/>
                  <a:pt x="25906" y="10937"/>
                </a:cubicBezTo>
                <a:cubicBezTo>
                  <a:pt x="26187" y="10843"/>
                  <a:pt x="26500" y="10718"/>
                  <a:pt x="26781" y="10593"/>
                </a:cubicBezTo>
                <a:cubicBezTo>
                  <a:pt x="27031" y="10531"/>
                  <a:pt x="27250" y="10437"/>
                  <a:pt x="27469" y="10375"/>
                </a:cubicBezTo>
                <a:cubicBezTo>
                  <a:pt x="27875" y="10218"/>
                  <a:pt x="28250" y="10093"/>
                  <a:pt x="28656" y="9937"/>
                </a:cubicBezTo>
                <a:cubicBezTo>
                  <a:pt x="28687" y="9968"/>
                  <a:pt x="28719" y="9968"/>
                  <a:pt x="28750" y="9968"/>
                </a:cubicBezTo>
                <a:cubicBezTo>
                  <a:pt x="28812" y="9906"/>
                  <a:pt x="28875" y="9875"/>
                  <a:pt x="28969" y="9812"/>
                </a:cubicBezTo>
                <a:cubicBezTo>
                  <a:pt x="29000" y="9812"/>
                  <a:pt x="29031" y="9812"/>
                  <a:pt x="29062" y="9781"/>
                </a:cubicBezTo>
                <a:cubicBezTo>
                  <a:pt x="29375" y="9656"/>
                  <a:pt x="29687" y="9562"/>
                  <a:pt x="30031" y="9437"/>
                </a:cubicBezTo>
                <a:cubicBezTo>
                  <a:pt x="30219" y="9375"/>
                  <a:pt x="30437" y="9281"/>
                  <a:pt x="30656" y="9218"/>
                </a:cubicBezTo>
                <a:cubicBezTo>
                  <a:pt x="31000" y="9062"/>
                  <a:pt x="31375" y="8937"/>
                  <a:pt x="31719" y="8812"/>
                </a:cubicBezTo>
                <a:cubicBezTo>
                  <a:pt x="31969" y="8718"/>
                  <a:pt x="32219" y="8625"/>
                  <a:pt x="32469" y="8531"/>
                </a:cubicBezTo>
                <a:cubicBezTo>
                  <a:pt x="32562" y="8500"/>
                  <a:pt x="32656" y="8437"/>
                  <a:pt x="32781" y="8437"/>
                </a:cubicBezTo>
                <a:cubicBezTo>
                  <a:pt x="32781" y="8437"/>
                  <a:pt x="32781" y="8437"/>
                  <a:pt x="32781" y="8437"/>
                </a:cubicBezTo>
                <a:cubicBezTo>
                  <a:pt x="32781" y="8406"/>
                  <a:pt x="32781" y="8406"/>
                  <a:pt x="32781" y="8375"/>
                </a:cubicBezTo>
                <a:cubicBezTo>
                  <a:pt x="32594" y="8437"/>
                  <a:pt x="32437" y="8531"/>
                  <a:pt x="32281" y="8562"/>
                </a:cubicBezTo>
                <a:cubicBezTo>
                  <a:pt x="32031" y="8656"/>
                  <a:pt x="31781" y="8750"/>
                  <a:pt x="31562" y="8812"/>
                </a:cubicBezTo>
                <a:cubicBezTo>
                  <a:pt x="31187" y="8968"/>
                  <a:pt x="30844" y="9093"/>
                  <a:pt x="30469" y="9218"/>
                </a:cubicBezTo>
                <a:cubicBezTo>
                  <a:pt x="30250" y="9312"/>
                  <a:pt x="30000" y="9406"/>
                  <a:pt x="29781" y="9468"/>
                </a:cubicBezTo>
                <a:cubicBezTo>
                  <a:pt x="29500" y="9593"/>
                  <a:pt x="29250" y="9687"/>
                  <a:pt x="29000" y="9750"/>
                </a:cubicBezTo>
                <a:cubicBezTo>
                  <a:pt x="28875" y="9812"/>
                  <a:pt x="28750" y="9843"/>
                  <a:pt x="28625" y="9906"/>
                </a:cubicBezTo>
                <a:cubicBezTo>
                  <a:pt x="28562" y="9937"/>
                  <a:pt x="28469" y="9937"/>
                  <a:pt x="28406" y="9968"/>
                </a:cubicBezTo>
                <a:cubicBezTo>
                  <a:pt x="28031" y="10125"/>
                  <a:pt x="27687" y="10250"/>
                  <a:pt x="27312" y="10375"/>
                </a:cubicBezTo>
                <a:cubicBezTo>
                  <a:pt x="27062" y="10468"/>
                  <a:pt x="26844" y="10531"/>
                  <a:pt x="26594" y="10625"/>
                </a:cubicBezTo>
                <a:cubicBezTo>
                  <a:pt x="26312" y="10750"/>
                  <a:pt x="26000" y="10843"/>
                  <a:pt x="25719" y="10937"/>
                </a:cubicBezTo>
                <a:cubicBezTo>
                  <a:pt x="25469" y="11031"/>
                  <a:pt x="25219" y="11125"/>
                  <a:pt x="24969" y="11218"/>
                </a:cubicBezTo>
                <a:cubicBezTo>
                  <a:pt x="24687" y="11312"/>
                  <a:pt x="24375" y="11406"/>
                  <a:pt x="24094" y="11531"/>
                </a:cubicBezTo>
                <a:cubicBezTo>
                  <a:pt x="23812" y="11593"/>
                  <a:pt x="23562" y="11687"/>
                  <a:pt x="23312" y="11781"/>
                </a:cubicBezTo>
                <a:cubicBezTo>
                  <a:pt x="22937" y="11906"/>
                  <a:pt x="22562" y="12031"/>
                  <a:pt x="22219" y="12125"/>
                </a:cubicBezTo>
                <a:cubicBezTo>
                  <a:pt x="22187" y="12125"/>
                  <a:pt x="22156" y="12125"/>
                  <a:pt x="22156" y="12156"/>
                </a:cubicBezTo>
                <a:cubicBezTo>
                  <a:pt x="22094" y="12187"/>
                  <a:pt x="22031" y="12187"/>
                  <a:pt x="21969" y="12187"/>
                </a:cubicBezTo>
                <a:cubicBezTo>
                  <a:pt x="21969" y="12187"/>
                  <a:pt x="21937" y="12187"/>
                  <a:pt x="21906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1906" y="12187"/>
                  <a:pt x="21906" y="12187"/>
                  <a:pt x="21875" y="12187"/>
                </a:cubicBezTo>
                <a:cubicBezTo>
                  <a:pt x="21906" y="12187"/>
                  <a:pt x="21906" y="12187"/>
                  <a:pt x="21906" y="12187"/>
                </a:cubicBezTo>
                <a:cubicBezTo>
                  <a:pt x="24219" y="11312"/>
                  <a:pt x="26562" y="10500"/>
                  <a:pt x="28844" y="9656"/>
                </a:cubicBezTo>
                <a:cubicBezTo>
                  <a:pt x="28906" y="9656"/>
                  <a:pt x="28937" y="9593"/>
                  <a:pt x="29000" y="9593"/>
                </a:cubicBezTo>
                <a:cubicBezTo>
                  <a:pt x="29000" y="9593"/>
                  <a:pt x="29062" y="9593"/>
                  <a:pt x="29062" y="9562"/>
                </a:cubicBezTo>
                <a:cubicBezTo>
                  <a:pt x="29125" y="9531"/>
                  <a:pt x="29156" y="9562"/>
                  <a:pt x="29219" y="9500"/>
                </a:cubicBezTo>
                <a:cubicBezTo>
                  <a:pt x="29281" y="9500"/>
                  <a:pt x="29375" y="9468"/>
                  <a:pt x="29469" y="9406"/>
                </a:cubicBezTo>
                <a:cubicBezTo>
                  <a:pt x="29469" y="9406"/>
                  <a:pt x="29500" y="9406"/>
                  <a:pt x="29531" y="9375"/>
                </a:cubicBezTo>
                <a:cubicBezTo>
                  <a:pt x="29594" y="9406"/>
                  <a:pt x="29656" y="9343"/>
                  <a:pt x="29750" y="9312"/>
                </a:cubicBezTo>
                <a:cubicBezTo>
                  <a:pt x="29875" y="9281"/>
                  <a:pt x="30031" y="9218"/>
                  <a:pt x="30187" y="9156"/>
                </a:cubicBezTo>
                <a:cubicBezTo>
                  <a:pt x="30219" y="9125"/>
                  <a:pt x="30250" y="9125"/>
                  <a:pt x="30250" y="9093"/>
                </a:cubicBezTo>
                <a:cubicBezTo>
                  <a:pt x="30250" y="9093"/>
                  <a:pt x="30250" y="9093"/>
                  <a:pt x="30219" y="9093"/>
                </a:cubicBezTo>
                <a:cubicBezTo>
                  <a:pt x="30250" y="9093"/>
                  <a:pt x="30250" y="9093"/>
                  <a:pt x="30250" y="9093"/>
                </a:cubicBezTo>
                <a:cubicBezTo>
                  <a:pt x="30250" y="9093"/>
                  <a:pt x="30250" y="9093"/>
                  <a:pt x="30250" y="9062"/>
                </a:cubicBezTo>
                <a:cubicBezTo>
                  <a:pt x="30219" y="9062"/>
                  <a:pt x="30187" y="9031"/>
                  <a:pt x="30187" y="9031"/>
                </a:cubicBezTo>
                <a:cubicBezTo>
                  <a:pt x="30125" y="9125"/>
                  <a:pt x="30062" y="9093"/>
                  <a:pt x="30000" y="9125"/>
                </a:cubicBezTo>
                <a:cubicBezTo>
                  <a:pt x="29844" y="9187"/>
                  <a:pt x="29719" y="9250"/>
                  <a:pt x="29562" y="9281"/>
                </a:cubicBezTo>
                <a:cubicBezTo>
                  <a:pt x="29562" y="9281"/>
                  <a:pt x="29531" y="9281"/>
                  <a:pt x="29531" y="9250"/>
                </a:cubicBezTo>
                <a:cubicBezTo>
                  <a:pt x="29531" y="9250"/>
                  <a:pt x="29531" y="9281"/>
                  <a:pt x="29500" y="9281"/>
                </a:cubicBezTo>
                <a:cubicBezTo>
                  <a:pt x="29500" y="9312"/>
                  <a:pt x="29500" y="9312"/>
                  <a:pt x="29500" y="9343"/>
                </a:cubicBezTo>
                <a:cubicBezTo>
                  <a:pt x="29500" y="9312"/>
                  <a:pt x="29500" y="9312"/>
                  <a:pt x="29500" y="9281"/>
                </a:cubicBezTo>
                <a:cubicBezTo>
                  <a:pt x="29531" y="9281"/>
                  <a:pt x="29531" y="9250"/>
                  <a:pt x="29531" y="9250"/>
                </a:cubicBezTo>
                <a:cubicBezTo>
                  <a:pt x="29469" y="9218"/>
                  <a:pt x="29406" y="9218"/>
                  <a:pt x="29312" y="9250"/>
                </a:cubicBezTo>
                <a:cubicBezTo>
                  <a:pt x="29312" y="9250"/>
                  <a:pt x="29281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312" y="9281"/>
                  <a:pt x="29312" y="9281"/>
                  <a:pt x="29312" y="9281"/>
                </a:cubicBezTo>
                <a:cubicBezTo>
                  <a:pt x="29281" y="9281"/>
                  <a:pt x="29250" y="9281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219" y="9312"/>
                  <a:pt x="29219" y="9312"/>
                  <a:pt x="29219" y="9312"/>
                </a:cubicBezTo>
                <a:cubicBezTo>
                  <a:pt x="29187" y="9312"/>
                  <a:pt x="29125" y="9312"/>
                  <a:pt x="29094" y="9343"/>
                </a:cubicBezTo>
                <a:cubicBezTo>
                  <a:pt x="29031" y="9343"/>
                  <a:pt x="28969" y="9375"/>
                  <a:pt x="28906" y="9406"/>
                </a:cubicBezTo>
                <a:cubicBezTo>
                  <a:pt x="28875" y="9406"/>
                  <a:pt x="28875" y="9437"/>
                  <a:pt x="28875" y="9468"/>
                </a:cubicBezTo>
                <a:cubicBezTo>
                  <a:pt x="28687" y="9468"/>
                  <a:pt x="28531" y="9562"/>
                  <a:pt x="28344" y="9625"/>
                </a:cubicBezTo>
                <a:cubicBezTo>
                  <a:pt x="28312" y="9687"/>
                  <a:pt x="28219" y="9687"/>
                  <a:pt x="28156" y="9718"/>
                </a:cubicBezTo>
                <a:cubicBezTo>
                  <a:pt x="28062" y="9718"/>
                  <a:pt x="28000" y="9718"/>
                  <a:pt x="27937" y="9781"/>
                </a:cubicBezTo>
                <a:cubicBezTo>
                  <a:pt x="27875" y="9843"/>
                  <a:pt x="27812" y="9812"/>
                  <a:pt x="27750" y="9843"/>
                </a:cubicBezTo>
                <a:cubicBezTo>
                  <a:pt x="27719" y="9843"/>
                  <a:pt x="27687" y="9875"/>
                  <a:pt x="27656" y="9875"/>
                </a:cubicBezTo>
                <a:cubicBezTo>
                  <a:pt x="27500" y="9937"/>
                  <a:pt x="27312" y="9968"/>
                  <a:pt x="27125" y="10093"/>
                </a:cubicBezTo>
                <a:cubicBezTo>
                  <a:pt x="27125" y="10093"/>
                  <a:pt x="27094" y="10125"/>
                  <a:pt x="27094" y="10093"/>
                </a:cubicBezTo>
                <a:cubicBezTo>
                  <a:pt x="27062" y="10093"/>
                  <a:pt x="27031" y="10093"/>
                  <a:pt x="27031" y="10093"/>
                </a:cubicBezTo>
                <a:cubicBezTo>
                  <a:pt x="26906" y="10187"/>
                  <a:pt x="26750" y="10187"/>
                  <a:pt x="26656" y="10250"/>
                </a:cubicBezTo>
                <a:cubicBezTo>
                  <a:pt x="26656" y="10250"/>
                  <a:pt x="26656" y="10250"/>
                  <a:pt x="26656" y="10250"/>
                </a:cubicBezTo>
                <a:cubicBezTo>
                  <a:pt x="26531" y="10281"/>
                  <a:pt x="26437" y="10312"/>
                  <a:pt x="26344" y="10375"/>
                </a:cubicBezTo>
                <a:cubicBezTo>
                  <a:pt x="26312" y="10375"/>
                  <a:pt x="26312" y="10375"/>
                  <a:pt x="26281" y="10406"/>
                </a:cubicBezTo>
                <a:cubicBezTo>
                  <a:pt x="26250" y="10406"/>
                  <a:pt x="26250" y="10406"/>
                  <a:pt x="26219" y="10406"/>
                </a:cubicBezTo>
                <a:cubicBezTo>
                  <a:pt x="25937" y="10500"/>
                  <a:pt x="25656" y="10593"/>
                  <a:pt x="25344" y="10718"/>
                </a:cubicBezTo>
                <a:cubicBezTo>
                  <a:pt x="25281" y="10750"/>
                  <a:pt x="25187" y="10718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5125" y="10812"/>
                  <a:pt x="25125" y="10812"/>
                  <a:pt x="25125" y="10812"/>
                </a:cubicBezTo>
                <a:cubicBezTo>
                  <a:pt x="24937" y="10812"/>
                  <a:pt x="24781" y="10937"/>
                  <a:pt x="24594" y="10968"/>
                </a:cubicBezTo>
                <a:cubicBezTo>
                  <a:pt x="24594" y="10968"/>
                  <a:pt x="24562" y="11000"/>
                  <a:pt x="24562" y="11000"/>
                </a:cubicBezTo>
                <a:cubicBezTo>
                  <a:pt x="24500" y="11031"/>
                  <a:pt x="24437" y="11000"/>
                  <a:pt x="24406" y="11062"/>
                </a:cubicBezTo>
                <a:cubicBezTo>
                  <a:pt x="24219" y="11125"/>
                  <a:pt x="24031" y="11187"/>
                  <a:pt x="23875" y="11250"/>
                </a:cubicBezTo>
                <a:cubicBezTo>
                  <a:pt x="23562" y="11343"/>
                  <a:pt x="23281" y="11437"/>
                  <a:pt x="23000" y="11531"/>
                </a:cubicBezTo>
                <a:cubicBezTo>
                  <a:pt x="23000" y="11531"/>
                  <a:pt x="23000" y="11531"/>
                  <a:pt x="23000" y="11531"/>
                </a:cubicBezTo>
                <a:cubicBezTo>
                  <a:pt x="22875" y="11562"/>
                  <a:pt x="22750" y="11625"/>
                  <a:pt x="22625" y="11656"/>
                </a:cubicBezTo>
                <a:cubicBezTo>
                  <a:pt x="22625" y="11656"/>
                  <a:pt x="22594" y="11687"/>
                  <a:pt x="22594" y="11687"/>
                </a:cubicBezTo>
                <a:cubicBezTo>
                  <a:pt x="22562" y="11656"/>
                  <a:pt x="22562" y="11687"/>
                  <a:pt x="22531" y="11687"/>
                </a:cubicBezTo>
                <a:cubicBezTo>
                  <a:pt x="22406" y="11718"/>
                  <a:pt x="22312" y="11781"/>
                  <a:pt x="22187" y="11781"/>
                </a:cubicBezTo>
                <a:cubicBezTo>
                  <a:pt x="22375" y="11656"/>
                  <a:pt x="22562" y="11625"/>
                  <a:pt x="22750" y="11531"/>
                </a:cubicBezTo>
                <a:cubicBezTo>
                  <a:pt x="23187" y="11312"/>
                  <a:pt x="23656" y="11187"/>
                  <a:pt x="24094" y="11031"/>
                </a:cubicBezTo>
                <a:cubicBezTo>
                  <a:pt x="24406" y="10906"/>
                  <a:pt x="24719" y="10812"/>
                  <a:pt x="25031" y="10687"/>
                </a:cubicBezTo>
                <a:cubicBezTo>
                  <a:pt x="25312" y="10562"/>
                  <a:pt x="25594" y="10468"/>
                  <a:pt x="25906" y="10343"/>
                </a:cubicBezTo>
                <a:cubicBezTo>
                  <a:pt x="26156" y="10250"/>
                  <a:pt x="26437" y="10187"/>
                  <a:pt x="26719" y="10093"/>
                </a:cubicBezTo>
                <a:cubicBezTo>
                  <a:pt x="27094" y="9937"/>
                  <a:pt x="27437" y="9812"/>
                  <a:pt x="27812" y="9656"/>
                </a:cubicBezTo>
                <a:cubicBezTo>
                  <a:pt x="28000" y="9593"/>
                  <a:pt x="28187" y="9531"/>
                  <a:pt x="28344" y="9468"/>
                </a:cubicBezTo>
                <a:cubicBezTo>
                  <a:pt x="28469" y="9437"/>
                  <a:pt x="28594" y="9375"/>
                  <a:pt x="28687" y="9312"/>
                </a:cubicBezTo>
                <a:cubicBezTo>
                  <a:pt x="28750" y="9312"/>
                  <a:pt x="28812" y="9312"/>
                  <a:pt x="28844" y="9250"/>
                </a:cubicBezTo>
                <a:cubicBezTo>
                  <a:pt x="28844" y="9218"/>
                  <a:pt x="28750" y="9156"/>
                  <a:pt x="28719" y="9156"/>
                </a:cubicBezTo>
                <a:cubicBezTo>
                  <a:pt x="28656" y="9156"/>
                  <a:pt x="28562" y="9125"/>
                  <a:pt x="28562" y="9218"/>
                </a:cubicBezTo>
                <a:cubicBezTo>
                  <a:pt x="28562" y="9250"/>
                  <a:pt x="28531" y="9250"/>
                  <a:pt x="28531" y="9250"/>
                </a:cubicBezTo>
                <a:cubicBezTo>
                  <a:pt x="28469" y="9187"/>
                  <a:pt x="28406" y="9250"/>
                  <a:pt x="28375" y="9250"/>
                </a:cubicBezTo>
                <a:cubicBezTo>
                  <a:pt x="28125" y="9343"/>
                  <a:pt x="27906" y="9437"/>
                  <a:pt x="27687" y="9500"/>
                </a:cubicBezTo>
                <a:cubicBezTo>
                  <a:pt x="27375" y="9625"/>
                  <a:pt x="27062" y="9750"/>
                  <a:pt x="26750" y="9843"/>
                </a:cubicBezTo>
                <a:cubicBezTo>
                  <a:pt x="26594" y="9906"/>
                  <a:pt x="26437" y="10000"/>
                  <a:pt x="26281" y="10000"/>
                </a:cubicBezTo>
                <a:cubicBezTo>
                  <a:pt x="26312" y="9906"/>
                  <a:pt x="26437" y="9937"/>
                  <a:pt x="26469" y="9875"/>
                </a:cubicBezTo>
                <a:cubicBezTo>
                  <a:pt x="26312" y="9875"/>
                  <a:pt x="26219" y="9968"/>
                  <a:pt x="26062" y="10031"/>
                </a:cubicBezTo>
                <a:cubicBezTo>
                  <a:pt x="26125" y="10031"/>
                  <a:pt x="26156" y="10000"/>
                  <a:pt x="26219" y="10000"/>
                </a:cubicBezTo>
                <a:cubicBezTo>
                  <a:pt x="26219" y="10000"/>
                  <a:pt x="26219" y="10000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9968"/>
                  <a:pt x="26219" y="9968"/>
                  <a:pt x="26219" y="9968"/>
                </a:cubicBezTo>
                <a:cubicBezTo>
                  <a:pt x="26219" y="10000"/>
                  <a:pt x="26219" y="10000"/>
                  <a:pt x="26219" y="10000"/>
                </a:cubicBezTo>
                <a:cubicBezTo>
                  <a:pt x="26219" y="10000"/>
                  <a:pt x="26250" y="10000"/>
                  <a:pt x="26281" y="10000"/>
                </a:cubicBezTo>
                <a:cubicBezTo>
                  <a:pt x="26250" y="10031"/>
                  <a:pt x="26219" y="10062"/>
                  <a:pt x="26187" y="10062"/>
                </a:cubicBezTo>
                <a:cubicBezTo>
                  <a:pt x="25781" y="10218"/>
                  <a:pt x="25375" y="10375"/>
                  <a:pt x="24969" y="10500"/>
                </a:cubicBezTo>
                <a:cubicBezTo>
                  <a:pt x="24906" y="10531"/>
                  <a:pt x="24812" y="10562"/>
                  <a:pt x="24750" y="10531"/>
                </a:cubicBezTo>
                <a:lnTo>
                  <a:pt x="24750" y="10531"/>
                </a:lnTo>
                <a:lnTo>
                  <a:pt x="24750" y="10531"/>
                </a:lnTo>
                <a:lnTo>
                  <a:pt x="24750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9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8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7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6" y="10531"/>
                </a:lnTo>
                <a:lnTo>
                  <a:pt x="24745" y="10531"/>
                </a:lnTo>
                <a:lnTo>
                  <a:pt x="24745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4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3" y="10531"/>
                </a:lnTo>
                <a:lnTo>
                  <a:pt x="24742" y="10531"/>
                </a:lnTo>
                <a:lnTo>
                  <a:pt x="24742" y="10531"/>
                </a:lnTo>
                <a:lnTo>
                  <a:pt x="24741" y="10531"/>
                </a:lnTo>
                <a:lnTo>
                  <a:pt x="24741" y="10531"/>
                </a:lnTo>
                <a:lnTo>
                  <a:pt x="24740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9" y="10531"/>
                </a:lnTo>
                <a:lnTo>
                  <a:pt x="24738" y="10531"/>
                </a:lnTo>
                <a:lnTo>
                  <a:pt x="24738" y="10531"/>
                </a:lnTo>
                <a:lnTo>
                  <a:pt x="24737" y="10531"/>
                </a:lnTo>
                <a:lnTo>
                  <a:pt x="24737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6" y="10531"/>
                </a:lnTo>
                <a:lnTo>
                  <a:pt x="24735" y="10531"/>
                </a:lnTo>
                <a:lnTo>
                  <a:pt x="24735" y="10531"/>
                </a:lnTo>
                <a:lnTo>
                  <a:pt x="24734" y="10531"/>
                </a:lnTo>
                <a:lnTo>
                  <a:pt x="24734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3" y="10531"/>
                </a:lnTo>
                <a:lnTo>
                  <a:pt x="24732" y="10531"/>
                </a:lnTo>
                <a:lnTo>
                  <a:pt x="24732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1" y="10531"/>
                </a:lnTo>
                <a:lnTo>
                  <a:pt x="24730" y="10531"/>
                </a:lnTo>
                <a:lnTo>
                  <a:pt x="24730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9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8" y="10531"/>
                </a:lnTo>
                <a:lnTo>
                  <a:pt x="24727" y="10531"/>
                </a:lnTo>
                <a:lnTo>
                  <a:pt x="24727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6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5" y="10531"/>
                </a:lnTo>
                <a:lnTo>
                  <a:pt x="24724" y="10531"/>
                </a:lnTo>
                <a:lnTo>
                  <a:pt x="24724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3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2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1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20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lnTo>
                  <a:pt x="24719" y="10531"/>
                </a:lnTo>
                <a:cubicBezTo>
                  <a:pt x="24719" y="10531"/>
                  <a:pt x="24719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cubicBezTo>
                  <a:pt x="24719" y="10500"/>
                  <a:pt x="24719" y="10500"/>
                  <a:pt x="24719" y="10500"/>
                </a:cubicBezTo>
                <a:cubicBezTo>
                  <a:pt x="24750" y="10468"/>
                  <a:pt x="24781" y="10468"/>
                  <a:pt x="24812" y="10468"/>
                </a:cubicBezTo>
                <a:cubicBezTo>
                  <a:pt x="24844" y="10437"/>
                  <a:pt x="24875" y="10437"/>
                  <a:pt x="24906" y="10437"/>
                </a:cubicBezTo>
                <a:cubicBezTo>
                  <a:pt x="25031" y="10375"/>
                  <a:pt x="25187" y="10312"/>
                  <a:pt x="25344" y="10281"/>
                </a:cubicBezTo>
                <a:cubicBezTo>
                  <a:pt x="25312" y="10281"/>
                  <a:pt x="25312" y="10312"/>
                  <a:pt x="25281" y="10312"/>
                </a:cubicBezTo>
                <a:cubicBezTo>
                  <a:pt x="25312" y="10312"/>
                  <a:pt x="25312" y="10281"/>
                  <a:pt x="25344" y="10281"/>
                </a:cubicBezTo>
                <a:cubicBezTo>
                  <a:pt x="25375" y="10281"/>
                  <a:pt x="25406" y="10250"/>
                  <a:pt x="25437" y="10250"/>
                </a:cubicBezTo>
                <a:cubicBezTo>
                  <a:pt x="25437" y="10250"/>
                  <a:pt x="25469" y="10250"/>
                  <a:pt x="25469" y="10218"/>
                </a:cubicBezTo>
                <a:cubicBezTo>
                  <a:pt x="25531" y="10187"/>
                  <a:pt x="25562" y="10187"/>
                  <a:pt x="25625" y="10156"/>
                </a:cubicBezTo>
                <a:cubicBezTo>
                  <a:pt x="25656" y="10156"/>
                  <a:pt x="25687" y="10156"/>
                  <a:pt x="25719" y="10156"/>
                </a:cubicBezTo>
                <a:cubicBezTo>
                  <a:pt x="25750" y="10125"/>
                  <a:pt x="25750" y="10125"/>
                  <a:pt x="25781" y="10125"/>
                </a:cubicBezTo>
                <a:cubicBezTo>
                  <a:pt x="25812" y="10093"/>
                  <a:pt x="25875" y="10062"/>
                  <a:pt x="25937" y="10062"/>
                </a:cubicBezTo>
                <a:cubicBezTo>
                  <a:pt x="25875" y="10062"/>
                  <a:pt x="25812" y="10093"/>
                  <a:pt x="25781" y="10125"/>
                </a:cubicBezTo>
                <a:cubicBezTo>
                  <a:pt x="25844" y="10062"/>
                  <a:pt x="25906" y="10062"/>
                  <a:pt x="25969" y="10031"/>
                </a:cubicBezTo>
                <a:cubicBezTo>
                  <a:pt x="26000" y="10062"/>
                  <a:pt x="26000" y="10062"/>
                  <a:pt x="26000" y="10062"/>
                </a:cubicBezTo>
                <a:cubicBezTo>
                  <a:pt x="25906" y="10093"/>
                  <a:pt x="25812" y="10125"/>
                  <a:pt x="25719" y="10156"/>
                </a:cubicBezTo>
                <a:cubicBezTo>
                  <a:pt x="25625" y="10187"/>
                  <a:pt x="25531" y="10250"/>
                  <a:pt x="25437" y="10250"/>
                </a:cubicBezTo>
                <a:cubicBezTo>
                  <a:pt x="25375" y="10343"/>
                  <a:pt x="25281" y="10312"/>
                  <a:pt x="25219" y="10343"/>
                </a:cubicBezTo>
                <a:cubicBezTo>
                  <a:pt x="25125" y="10406"/>
                  <a:pt x="25031" y="10468"/>
                  <a:pt x="24906" y="10437"/>
                </a:cubicBezTo>
                <a:cubicBezTo>
                  <a:pt x="24844" y="10500"/>
                  <a:pt x="24781" y="10531"/>
                  <a:pt x="24719" y="10531"/>
                </a:cubicBezTo>
                <a:cubicBezTo>
                  <a:pt x="24719" y="10531"/>
                  <a:pt x="24719" y="10531"/>
                  <a:pt x="24719" y="10531"/>
                </a:cubicBezTo>
                <a:lnTo>
                  <a:pt x="24718" y="10531"/>
                </a:lnTo>
                <a:lnTo>
                  <a:pt x="24717" y="10531"/>
                </a:lnTo>
                <a:lnTo>
                  <a:pt x="24717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6" y="10531"/>
                </a:lnTo>
                <a:lnTo>
                  <a:pt x="24715" y="10531"/>
                </a:lnTo>
                <a:lnTo>
                  <a:pt x="24714" y="10531"/>
                </a:lnTo>
                <a:lnTo>
                  <a:pt x="24714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3" y="10531"/>
                </a:lnTo>
                <a:lnTo>
                  <a:pt x="24712" y="10531"/>
                </a:lnTo>
                <a:lnTo>
                  <a:pt x="24711" y="10531"/>
                </a:lnTo>
                <a:lnTo>
                  <a:pt x="24711" y="10531"/>
                </a:lnTo>
                <a:lnTo>
                  <a:pt x="24710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9" y="10531"/>
                </a:lnTo>
                <a:lnTo>
                  <a:pt x="24708" y="10531"/>
                </a:lnTo>
                <a:lnTo>
                  <a:pt x="24708" y="10531"/>
                </a:lnTo>
                <a:lnTo>
                  <a:pt x="24707" y="10531"/>
                </a:lnTo>
                <a:lnTo>
                  <a:pt x="24707" y="10531"/>
                </a:lnTo>
                <a:lnTo>
                  <a:pt x="24706" y="10531"/>
                </a:lnTo>
                <a:lnTo>
                  <a:pt x="24706" y="10531"/>
                </a:lnTo>
                <a:lnTo>
                  <a:pt x="24705" y="10531"/>
                </a:lnTo>
                <a:lnTo>
                  <a:pt x="24705" y="10531"/>
                </a:lnTo>
                <a:lnTo>
                  <a:pt x="24704" y="10531"/>
                </a:lnTo>
                <a:lnTo>
                  <a:pt x="24704" y="10531"/>
                </a:lnTo>
                <a:lnTo>
                  <a:pt x="24703" y="10531"/>
                </a:lnTo>
                <a:lnTo>
                  <a:pt x="24703" y="10531"/>
                </a:lnTo>
                <a:lnTo>
                  <a:pt x="24702" y="10531"/>
                </a:lnTo>
                <a:lnTo>
                  <a:pt x="24702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1" y="10531"/>
                </a:lnTo>
                <a:lnTo>
                  <a:pt x="24700" y="10531"/>
                </a:lnTo>
                <a:lnTo>
                  <a:pt x="24700" y="10531"/>
                </a:lnTo>
                <a:lnTo>
                  <a:pt x="24699" y="10531"/>
                </a:lnTo>
                <a:lnTo>
                  <a:pt x="24699" y="10531"/>
                </a:lnTo>
                <a:lnTo>
                  <a:pt x="24698" y="10531"/>
                </a:lnTo>
                <a:lnTo>
                  <a:pt x="24698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7" y="10531"/>
                </a:lnTo>
                <a:lnTo>
                  <a:pt x="24696" y="10531"/>
                </a:lnTo>
                <a:lnTo>
                  <a:pt x="24696" y="10531"/>
                </a:lnTo>
                <a:lnTo>
                  <a:pt x="24695" y="10531"/>
                </a:lnTo>
                <a:lnTo>
                  <a:pt x="24695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4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3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2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1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90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9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8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lnTo>
                  <a:pt x="24687" y="10531"/>
                </a:lnTo>
                <a:cubicBezTo>
                  <a:pt x="24625" y="10531"/>
                  <a:pt x="24562" y="10531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531" y="10593"/>
                  <a:pt x="24531" y="10593"/>
                  <a:pt x="24531" y="10593"/>
                </a:cubicBezTo>
                <a:cubicBezTo>
                  <a:pt x="24375" y="10593"/>
                  <a:pt x="24250" y="10656"/>
                  <a:pt x="24125" y="10718"/>
                </a:cubicBezTo>
                <a:cubicBezTo>
                  <a:pt x="24062" y="10750"/>
                  <a:pt x="23969" y="10718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906" y="10812"/>
                  <a:pt x="23906" y="10812"/>
                  <a:pt x="23906" y="10812"/>
                </a:cubicBezTo>
                <a:cubicBezTo>
                  <a:pt x="23844" y="10812"/>
                  <a:pt x="23750" y="10812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719" y="10875"/>
                  <a:pt x="23719" y="10875"/>
                  <a:pt x="23719" y="10875"/>
                </a:cubicBezTo>
                <a:cubicBezTo>
                  <a:pt x="23531" y="10906"/>
                  <a:pt x="23375" y="10968"/>
                  <a:pt x="23187" y="11031"/>
                </a:cubicBezTo>
                <a:cubicBezTo>
                  <a:pt x="23219" y="11031"/>
                  <a:pt x="23219" y="11031"/>
                  <a:pt x="23219" y="11031"/>
                </a:cubicBezTo>
                <a:cubicBezTo>
                  <a:pt x="23125" y="11031"/>
                  <a:pt x="23062" y="11093"/>
                  <a:pt x="23000" y="11125"/>
                </a:cubicBezTo>
                <a:cubicBezTo>
                  <a:pt x="23000" y="11125"/>
                  <a:pt x="23000" y="11125"/>
                  <a:pt x="23000" y="11125"/>
                </a:cubicBezTo>
                <a:cubicBezTo>
                  <a:pt x="22969" y="11125"/>
                  <a:pt x="22937" y="11093"/>
                  <a:pt x="22937" y="11125"/>
                </a:cubicBezTo>
                <a:cubicBezTo>
                  <a:pt x="22906" y="11156"/>
                  <a:pt x="22906" y="11156"/>
                  <a:pt x="22906" y="11156"/>
                </a:cubicBezTo>
                <a:cubicBezTo>
                  <a:pt x="22750" y="11187"/>
                  <a:pt x="22594" y="11218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469" y="11312"/>
                  <a:pt x="22469" y="11312"/>
                  <a:pt x="22469" y="11312"/>
                </a:cubicBezTo>
                <a:cubicBezTo>
                  <a:pt x="22375" y="11312"/>
                  <a:pt x="22312" y="11312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250" y="11375"/>
                  <a:pt x="22250" y="11375"/>
                  <a:pt x="22250" y="11375"/>
                </a:cubicBezTo>
                <a:cubicBezTo>
                  <a:pt x="22094" y="11406"/>
                  <a:pt x="21969" y="11437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44" y="11531"/>
                  <a:pt x="21844" y="11531"/>
                  <a:pt x="21844" y="11531"/>
                </a:cubicBezTo>
                <a:cubicBezTo>
                  <a:pt x="21812" y="11531"/>
                  <a:pt x="21781" y="11531"/>
                  <a:pt x="21750" y="11531"/>
                </a:cubicBezTo>
                <a:cubicBezTo>
                  <a:pt x="21656" y="11562"/>
                  <a:pt x="21594" y="11593"/>
                  <a:pt x="21531" y="11593"/>
                </a:cubicBezTo>
                <a:cubicBezTo>
                  <a:pt x="21594" y="11593"/>
                  <a:pt x="21656" y="11562"/>
                  <a:pt x="21750" y="11531"/>
                </a:cubicBezTo>
                <a:cubicBezTo>
                  <a:pt x="21625" y="11562"/>
                  <a:pt x="21500" y="11593"/>
                  <a:pt x="21375" y="11656"/>
                </a:cubicBezTo>
                <a:cubicBezTo>
                  <a:pt x="21375" y="11656"/>
                  <a:pt x="21375" y="11656"/>
                  <a:pt x="21375" y="11656"/>
                </a:cubicBezTo>
                <a:cubicBezTo>
                  <a:pt x="21219" y="11687"/>
                  <a:pt x="21094" y="11718"/>
                  <a:pt x="20969" y="11812"/>
                </a:cubicBezTo>
                <a:cubicBezTo>
                  <a:pt x="20969" y="11812"/>
                  <a:pt x="20969" y="11812"/>
                  <a:pt x="20969" y="11812"/>
                </a:cubicBezTo>
                <a:cubicBezTo>
                  <a:pt x="20937" y="11812"/>
                  <a:pt x="20937" y="11812"/>
                  <a:pt x="20937" y="11812"/>
                </a:cubicBezTo>
                <a:cubicBezTo>
                  <a:pt x="20937" y="11812"/>
                  <a:pt x="20937" y="11812"/>
                  <a:pt x="20969" y="11812"/>
                </a:cubicBezTo>
                <a:cubicBezTo>
                  <a:pt x="20812" y="11781"/>
                  <a:pt x="20719" y="11875"/>
                  <a:pt x="20594" y="11906"/>
                </a:cubicBezTo>
                <a:cubicBezTo>
                  <a:pt x="20562" y="11875"/>
                  <a:pt x="20531" y="11875"/>
                  <a:pt x="20562" y="11843"/>
                </a:cubicBezTo>
                <a:cubicBezTo>
                  <a:pt x="20594" y="11812"/>
                  <a:pt x="20625" y="11812"/>
                  <a:pt x="20687" y="11812"/>
                </a:cubicBezTo>
                <a:cubicBezTo>
                  <a:pt x="20875" y="11750"/>
                  <a:pt x="21094" y="11687"/>
                  <a:pt x="21281" y="11593"/>
                </a:cubicBezTo>
                <a:cubicBezTo>
                  <a:pt x="21344" y="11625"/>
                  <a:pt x="21406" y="11562"/>
                  <a:pt x="21437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469" y="11531"/>
                  <a:pt x="21469" y="11531"/>
                  <a:pt x="21469" y="11531"/>
                </a:cubicBezTo>
                <a:cubicBezTo>
                  <a:pt x="21625" y="11531"/>
                  <a:pt x="21781" y="11437"/>
                  <a:pt x="21906" y="11375"/>
                </a:cubicBezTo>
                <a:cubicBezTo>
                  <a:pt x="21906" y="11375"/>
                  <a:pt x="21906" y="11375"/>
                  <a:pt x="21906" y="11375"/>
                </a:cubicBezTo>
                <a:cubicBezTo>
                  <a:pt x="22000" y="11375"/>
                  <a:pt x="22062" y="11343"/>
                  <a:pt x="22125" y="11312"/>
                </a:cubicBezTo>
                <a:cubicBezTo>
                  <a:pt x="22125" y="11312"/>
                  <a:pt x="22125" y="11312"/>
                  <a:pt x="22125" y="11312"/>
                </a:cubicBezTo>
                <a:cubicBezTo>
                  <a:pt x="22187" y="11312"/>
                  <a:pt x="22250" y="11250"/>
                  <a:pt x="22281" y="11250"/>
                </a:cubicBezTo>
                <a:cubicBezTo>
                  <a:pt x="22312" y="11250"/>
                  <a:pt x="22344" y="11250"/>
                  <a:pt x="22344" y="11250"/>
                </a:cubicBezTo>
                <a:cubicBezTo>
                  <a:pt x="22344" y="11250"/>
                  <a:pt x="22344" y="11250"/>
                  <a:pt x="22344" y="11250"/>
                </a:cubicBezTo>
                <a:cubicBezTo>
                  <a:pt x="22562" y="11187"/>
                  <a:pt x="22750" y="11093"/>
                  <a:pt x="22969" y="11031"/>
                </a:cubicBezTo>
                <a:cubicBezTo>
                  <a:pt x="22969" y="11031"/>
                  <a:pt x="22969" y="11031"/>
                  <a:pt x="22969" y="11031"/>
                </a:cubicBezTo>
                <a:cubicBezTo>
                  <a:pt x="23000" y="11031"/>
                  <a:pt x="23062" y="11031"/>
                  <a:pt x="23062" y="10968"/>
                </a:cubicBezTo>
                <a:cubicBezTo>
                  <a:pt x="23094" y="10968"/>
                  <a:pt x="23125" y="10968"/>
                  <a:pt x="23156" y="10968"/>
                </a:cubicBezTo>
                <a:cubicBezTo>
                  <a:pt x="23187" y="10937"/>
                  <a:pt x="23250" y="10968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281" y="10906"/>
                  <a:pt x="23281" y="10906"/>
                  <a:pt x="23281" y="10906"/>
                </a:cubicBezTo>
                <a:cubicBezTo>
                  <a:pt x="23375" y="10906"/>
                  <a:pt x="23469" y="10875"/>
                  <a:pt x="23562" y="10812"/>
                </a:cubicBezTo>
                <a:cubicBezTo>
                  <a:pt x="23781" y="10718"/>
                  <a:pt x="24031" y="10625"/>
                  <a:pt x="24250" y="10562"/>
                </a:cubicBezTo>
                <a:cubicBezTo>
                  <a:pt x="24375" y="10531"/>
                  <a:pt x="24500" y="10531"/>
                  <a:pt x="24562" y="10437"/>
                </a:cubicBezTo>
                <a:cubicBezTo>
                  <a:pt x="24687" y="10437"/>
                  <a:pt x="24750" y="10343"/>
                  <a:pt x="24844" y="10343"/>
                </a:cubicBezTo>
                <a:cubicBezTo>
                  <a:pt x="24906" y="10312"/>
                  <a:pt x="24937" y="10343"/>
                  <a:pt x="24969" y="10312"/>
                </a:cubicBezTo>
                <a:cubicBezTo>
                  <a:pt x="24969" y="10312"/>
                  <a:pt x="24969" y="10312"/>
                  <a:pt x="24969" y="10312"/>
                </a:cubicBezTo>
                <a:cubicBezTo>
                  <a:pt x="25000" y="10312"/>
                  <a:pt x="25062" y="10312"/>
                  <a:pt x="25062" y="10250"/>
                </a:cubicBezTo>
                <a:cubicBezTo>
                  <a:pt x="25156" y="10218"/>
                  <a:pt x="25250" y="10218"/>
                  <a:pt x="25344" y="10187"/>
                </a:cubicBezTo>
                <a:cubicBezTo>
                  <a:pt x="25656" y="10031"/>
                  <a:pt x="26031" y="9937"/>
                  <a:pt x="26344" y="9781"/>
                </a:cubicBezTo>
                <a:cubicBezTo>
                  <a:pt x="26562" y="9687"/>
                  <a:pt x="26750" y="9656"/>
                  <a:pt x="26937" y="9562"/>
                </a:cubicBezTo>
                <a:cubicBezTo>
                  <a:pt x="27156" y="9500"/>
                  <a:pt x="27375" y="9437"/>
                  <a:pt x="27594" y="9343"/>
                </a:cubicBezTo>
                <a:cubicBezTo>
                  <a:pt x="27656" y="9312"/>
                  <a:pt x="27750" y="9312"/>
                  <a:pt x="27812" y="9250"/>
                </a:cubicBezTo>
                <a:cubicBezTo>
                  <a:pt x="28000" y="9187"/>
                  <a:pt x="28187" y="9125"/>
                  <a:pt x="28375" y="9031"/>
                </a:cubicBezTo>
                <a:cubicBezTo>
                  <a:pt x="28375" y="9031"/>
                  <a:pt x="28375" y="9031"/>
                  <a:pt x="28375" y="9031"/>
                </a:cubicBezTo>
                <a:cubicBezTo>
                  <a:pt x="28437" y="9125"/>
                  <a:pt x="28437" y="9125"/>
                  <a:pt x="28437" y="9125"/>
                </a:cubicBezTo>
                <a:cubicBezTo>
                  <a:pt x="28375" y="9156"/>
                  <a:pt x="28281" y="9156"/>
                  <a:pt x="28219" y="9218"/>
                </a:cubicBezTo>
                <a:cubicBezTo>
                  <a:pt x="28125" y="9218"/>
                  <a:pt x="28031" y="9281"/>
                  <a:pt x="27937" y="9312"/>
                </a:cubicBezTo>
                <a:cubicBezTo>
                  <a:pt x="27844" y="9343"/>
                  <a:pt x="27750" y="9375"/>
                  <a:pt x="27656" y="9437"/>
                </a:cubicBezTo>
                <a:cubicBezTo>
                  <a:pt x="27562" y="9500"/>
                  <a:pt x="27469" y="9531"/>
                  <a:pt x="27375" y="9531"/>
                </a:cubicBezTo>
                <a:cubicBezTo>
                  <a:pt x="27281" y="9625"/>
                  <a:pt x="27187" y="9625"/>
                  <a:pt x="27094" y="9656"/>
                </a:cubicBezTo>
                <a:lnTo>
                  <a:pt x="27094" y="9656"/>
                </a:lnTo>
                <a:cubicBezTo>
                  <a:pt x="27156" y="9562"/>
                  <a:pt x="27281" y="9562"/>
                  <a:pt x="27375" y="9531"/>
                </a:cubicBezTo>
                <a:cubicBezTo>
                  <a:pt x="27469" y="9500"/>
                  <a:pt x="27531" y="9437"/>
                  <a:pt x="27656" y="9437"/>
                </a:cubicBezTo>
                <a:cubicBezTo>
                  <a:pt x="27750" y="9406"/>
                  <a:pt x="27844" y="9406"/>
                  <a:pt x="27937" y="9312"/>
                </a:cubicBezTo>
                <a:cubicBezTo>
                  <a:pt x="28062" y="9312"/>
                  <a:pt x="28125" y="9281"/>
                  <a:pt x="28219" y="9218"/>
                </a:cubicBezTo>
                <a:cubicBezTo>
                  <a:pt x="28312" y="9187"/>
                  <a:pt x="28437" y="9187"/>
                  <a:pt x="28500" y="9125"/>
                </a:cubicBezTo>
                <a:cubicBezTo>
                  <a:pt x="28500" y="9125"/>
                  <a:pt x="28531" y="9125"/>
                  <a:pt x="28531" y="9093"/>
                </a:cubicBezTo>
                <a:cubicBezTo>
                  <a:pt x="28594" y="9125"/>
                  <a:pt x="28625" y="9093"/>
                  <a:pt x="28687" y="9062"/>
                </a:cubicBezTo>
                <a:cubicBezTo>
                  <a:pt x="28812" y="9031"/>
                  <a:pt x="28969" y="8968"/>
                  <a:pt x="29094" y="8937"/>
                </a:cubicBezTo>
                <a:cubicBezTo>
                  <a:pt x="29125" y="8937"/>
                  <a:pt x="29125" y="8906"/>
                  <a:pt x="29125" y="8906"/>
                </a:cubicBezTo>
                <a:cubicBezTo>
                  <a:pt x="29187" y="8875"/>
                  <a:pt x="29219" y="8875"/>
                  <a:pt x="29281" y="8843"/>
                </a:cubicBezTo>
                <a:cubicBezTo>
                  <a:pt x="29281" y="8875"/>
                  <a:pt x="29250" y="8937"/>
                  <a:pt x="29156" y="8968"/>
                </a:cubicBezTo>
                <a:cubicBezTo>
                  <a:pt x="29125" y="8968"/>
                  <a:pt x="29094" y="8968"/>
                  <a:pt x="29094" y="9000"/>
                </a:cubicBezTo>
                <a:cubicBezTo>
                  <a:pt x="29062" y="9031"/>
                  <a:pt x="29031" y="9031"/>
                  <a:pt x="29000" y="9062"/>
                </a:cubicBezTo>
                <a:cubicBezTo>
                  <a:pt x="28969" y="9093"/>
                  <a:pt x="28906" y="9125"/>
                  <a:pt x="28969" y="9187"/>
                </a:cubicBezTo>
                <a:cubicBezTo>
                  <a:pt x="29000" y="9250"/>
                  <a:pt x="29031" y="9218"/>
                  <a:pt x="29062" y="9187"/>
                </a:cubicBezTo>
                <a:cubicBezTo>
                  <a:pt x="29125" y="9187"/>
                  <a:pt x="29187" y="9156"/>
                  <a:pt x="29250" y="9125"/>
                </a:cubicBezTo>
                <a:cubicBezTo>
                  <a:pt x="29281" y="9125"/>
                  <a:pt x="29312" y="9093"/>
                  <a:pt x="29375" y="9093"/>
                </a:cubicBezTo>
                <a:cubicBezTo>
                  <a:pt x="29406" y="9093"/>
                  <a:pt x="29437" y="9093"/>
                  <a:pt x="29469" y="9031"/>
                </a:cubicBezTo>
                <a:cubicBezTo>
                  <a:pt x="29500" y="9031"/>
                  <a:pt x="29562" y="9031"/>
                  <a:pt x="29594" y="9000"/>
                </a:cubicBezTo>
                <a:cubicBezTo>
                  <a:pt x="29656" y="8968"/>
                  <a:pt x="29781" y="8968"/>
                  <a:pt x="29844" y="8906"/>
                </a:cubicBezTo>
                <a:cubicBezTo>
                  <a:pt x="29875" y="8875"/>
                  <a:pt x="29937" y="8906"/>
                  <a:pt x="29969" y="8875"/>
                </a:cubicBezTo>
                <a:cubicBezTo>
                  <a:pt x="30031" y="8875"/>
                  <a:pt x="30031" y="8812"/>
                  <a:pt x="30062" y="8812"/>
                </a:cubicBezTo>
                <a:cubicBezTo>
                  <a:pt x="30187" y="8812"/>
                  <a:pt x="30125" y="8781"/>
                  <a:pt x="30094" y="8718"/>
                </a:cubicBezTo>
                <a:cubicBezTo>
                  <a:pt x="30094" y="8656"/>
                  <a:pt x="30156" y="8687"/>
                  <a:pt x="30187" y="8656"/>
                </a:cubicBezTo>
                <a:cubicBezTo>
                  <a:pt x="30125" y="8593"/>
                  <a:pt x="30094" y="8562"/>
                  <a:pt x="30156" y="8531"/>
                </a:cubicBezTo>
                <a:cubicBezTo>
                  <a:pt x="30500" y="8406"/>
                  <a:pt x="30781" y="8312"/>
                  <a:pt x="30781" y="8312"/>
                </a:cubicBezTo>
                <a:cubicBezTo>
                  <a:pt x="30781" y="8312"/>
                  <a:pt x="30781" y="8312"/>
                  <a:pt x="30812" y="8281"/>
                </a:cubicBezTo>
                <a:cubicBezTo>
                  <a:pt x="30844" y="8281"/>
                  <a:pt x="30875" y="8281"/>
                  <a:pt x="30937" y="8250"/>
                </a:cubicBezTo>
                <a:cubicBezTo>
                  <a:pt x="30969" y="8218"/>
                  <a:pt x="31031" y="8187"/>
                  <a:pt x="31062" y="8156"/>
                </a:cubicBezTo>
                <a:cubicBezTo>
                  <a:pt x="31156" y="8156"/>
                  <a:pt x="31219" y="8125"/>
                  <a:pt x="31281" y="8062"/>
                </a:cubicBezTo>
                <a:cubicBezTo>
                  <a:pt x="31312" y="8062"/>
                  <a:pt x="31375" y="8093"/>
                  <a:pt x="31375" y="8031"/>
                </a:cubicBezTo>
                <a:lnTo>
                  <a:pt x="31375" y="8031"/>
                </a:lnTo>
                <a:cubicBezTo>
                  <a:pt x="31344" y="8031"/>
                  <a:pt x="31312" y="8031"/>
                  <a:pt x="31281" y="8062"/>
                </a:cubicBezTo>
                <a:cubicBezTo>
                  <a:pt x="31250" y="8062"/>
                  <a:pt x="31219" y="8093"/>
                  <a:pt x="31187" y="8093"/>
                </a:cubicBezTo>
                <a:cubicBezTo>
                  <a:pt x="31156" y="8125"/>
                  <a:pt x="31125" y="8125"/>
                  <a:pt x="31062" y="8125"/>
                </a:cubicBezTo>
                <a:cubicBezTo>
                  <a:pt x="31125" y="8125"/>
                  <a:pt x="31156" y="8125"/>
                  <a:pt x="31187" y="8093"/>
                </a:cubicBezTo>
                <a:cubicBezTo>
                  <a:pt x="31156" y="8093"/>
                  <a:pt x="31125" y="8125"/>
                  <a:pt x="31094" y="8125"/>
                </a:cubicBezTo>
                <a:cubicBezTo>
                  <a:pt x="31125" y="8093"/>
                  <a:pt x="31125" y="8062"/>
                  <a:pt x="31125" y="8031"/>
                </a:cubicBezTo>
                <a:cubicBezTo>
                  <a:pt x="31187" y="8000"/>
                  <a:pt x="31219" y="8000"/>
                  <a:pt x="31250" y="7968"/>
                </a:cubicBezTo>
                <a:cubicBezTo>
                  <a:pt x="31312" y="7937"/>
                  <a:pt x="31375" y="7937"/>
                  <a:pt x="31406" y="7906"/>
                </a:cubicBezTo>
                <a:cubicBezTo>
                  <a:pt x="31594" y="7843"/>
                  <a:pt x="31781" y="7750"/>
                  <a:pt x="31937" y="7687"/>
                </a:cubicBezTo>
                <a:cubicBezTo>
                  <a:pt x="32156" y="7625"/>
                  <a:pt x="32344" y="7562"/>
                  <a:pt x="32531" y="7468"/>
                </a:cubicBezTo>
                <a:cubicBezTo>
                  <a:pt x="32594" y="7437"/>
                  <a:pt x="32687" y="7406"/>
                  <a:pt x="32781" y="7406"/>
                </a:cubicBezTo>
                <a:cubicBezTo>
                  <a:pt x="32781" y="7375"/>
                  <a:pt x="32781" y="7375"/>
                  <a:pt x="32781" y="7375"/>
                </a:cubicBezTo>
                <a:cubicBezTo>
                  <a:pt x="32781" y="7312"/>
                  <a:pt x="32781" y="7281"/>
                  <a:pt x="32781" y="7218"/>
                </a:cubicBezTo>
                <a:cubicBezTo>
                  <a:pt x="32781" y="7218"/>
                  <a:pt x="32781" y="7187"/>
                  <a:pt x="32781" y="7156"/>
                </a:cubicBezTo>
                <a:cubicBezTo>
                  <a:pt x="32687" y="7187"/>
                  <a:pt x="32594" y="7250"/>
                  <a:pt x="32500" y="7281"/>
                </a:cubicBezTo>
                <a:cubicBezTo>
                  <a:pt x="32437" y="7281"/>
                  <a:pt x="32375" y="7312"/>
                  <a:pt x="32344" y="7312"/>
                </a:cubicBezTo>
                <a:cubicBezTo>
                  <a:pt x="32344" y="7312"/>
                  <a:pt x="32344" y="7281"/>
                  <a:pt x="32312" y="7281"/>
                </a:cubicBezTo>
                <a:cubicBezTo>
                  <a:pt x="32312" y="7281"/>
                  <a:pt x="32250" y="7250"/>
                  <a:pt x="32187" y="7250"/>
                </a:cubicBezTo>
                <a:cubicBezTo>
                  <a:pt x="32281" y="7218"/>
                  <a:pt x="32344" y="7187"/>
                  <a:pt x="32406" y="7156"/>
                </a:cubicBezTo>
                <a:cubicBezTo>
                  <a:pt x="32531" y="7125"/>
                  <a:pt x="32656" y="7062"/>
                  <a:pt x="32781" y="7031"/>
                </a:cubicBezTo>
                <a:cubicBezTo>
                  <a:pt x="32781" y="7031"/>
                  <a:pt x="32781" y="7031"/>
                  <a:pt x="32781" y="7000"/>
                </a:cubicBezTo>
                <a:cubicBezTo>
                  <a:pt x="32781" y="7000"/>
                  <a:pt x="32781" y="6968"/>
                  <a:pt x="32781" y="6968"/>
                </a:cubicBezTo>
                <a:cubicBezTo>
                  <a:pt x="32781" y="6937"/>
                  <a:pt x="32781" y="6937"/>
                  <a:pt x="32781" y="6906"/>
                </a:cubicBezTo>
                <a:cubicBezTo>
                  <a:pt x="32594" y="6968"/>
                  <a:pt x="32469" y="7031"/>
                  <a:pt x="32312" y="7093"/>
                </a:cubicBezTo>
                <a:cubicBezTo>
                  <a:pt x="32281" y="7093"/>
                  <a:pt x="32281" y="7093"/>
                  <a:pt x="32281" y="7093"/>
                </a:cubicBezTo>
                <a:cubicBezTo>
                  <a:pt x="32281" y="7093"/>
                  <a:pt x="32250" y="7093"/>
                  <a:pt x="32250" y="7093"/>
                </a:cubicBezTo>
                <a:cubicBezTo>
                  <a:pt x="32187" y="7156"/>
                  <a:pt x="32125" y="7187"/>
                  <a:pt x="32062" y="7187"/>
                </a:cubicBezTo>
                <a:cubicBezTo>
                  <a:pt x="32125" y="7187"/>
                  <a:pt x="32187" y="7156"/>
                  <a:pt x="32250" y="7093"/>
                </a:cubicBezTo>
                <a:cubicBezTo>
                  <a:pt x="32250" y="7093"/>
                  <a:pt x="32281" y="7093"/>
                  <a:pt x="32281" y="7093"/>
                </a:cubicBezTo>
                <a:cubicBezTo>
                  <a:pt x="32250" y="7031"/>
                  <a:pt x="32219" y="7000"/>
                  <a:pt x="32156" y="7000"/>
                </a:cubicBezTo>
                <a:cubicBezTo>
                  <a:pt x="32187" y="6968"/>
                  <a:pt x="32250" y="6968"/>
                  <a:pt x="32312" y="6937"/>
                </a:cubicBezTo>
                <a:cubicBezTo>
                  <a:pt x="32406" y="6906"/>
                  <a:pt x="32531" y="6906"/>
                  <a:pt x="32500" y="6750"/>
                </a:cubicBezTo>
                <a:cubicBezTo>
                  <a:pt x="32500" y="6718"/>
                  <a:pt x="32531" y="6750"/>
                  <a:pt x="32531" y="6718"/>
                </a:cubicBezTo>
                <a:lnTo>
                  <a:pt x="32531" y="6718"/>
                </a:lnTo>
                <a:cubicBezTo>
                  <a:pt x="32531" y="6718"/>
                  <a:pt x="32500" y="6718"/>
                  <a:pt x="32500" y="6750"/>
                </a:cubicBezTo>
                <a:cubicBezTo>
                  <a:pt x="32469" y="6750"/>
                  <a:pt x="32469" y="6750"/>
                  <a:pt x="32437" y="6750"/>
                </a:cubicBezTo>
                <a:cubicBezTo>
                  <a:pt x="32437" y="6781"/>
                  <a:pt x="32437" y="6812"/>
                  <a:pt x="32437" y="6812"/>
                </a:cubicBezTo>
                <a:cubicBezTo>
                  <a:pt x="32437" y="6812"/>
                  <a:pt x="32437" y="6781"/>
                  <a:pt x="32437" y="6750"/>
                </a:cubicBezTo>
                <a:cubicBezTo>
                  <a:pt x="32281" y="6812"/>
                  <a:pt x="32125" y="6843"/>
                  <a:pt x="31969" y="6937"/>
                </a:cubicBezTo>
                <a:cubicBezTo>
                  <a:pt x="31937" y="6937"/>
                  <a:pt x="31906" y="6906"/>
                  <a:pt x="31906" y="6843"/>
                </a:cubicBezTo>
                <a:cubicBezTo>
                  <a:pt x="32000" y="6812"/>
                  <a:pt x="32094" y="6781"/>
                  <a:pt x="32156" y="6750"/>
                </a:cubicBezTo>
                <a:cubicBezTo>
                  <a:pt x="32187" y="6750"/>
                  <a:pt x="32187" y="6750"/>
                  <a:pt x="32187" y="6750"/>
                </a:cubicBezTo>
                <a:cubicBezTo>
                  <a:pt x="32406" y="6687"/>
                  <a:pt x="32531" y="6625"/>
                  <a:pt x="32531" y="6625"/>
                </a:cubicBezTo>
                <a:cubicBezTo>
                  <a:pt x="32531" y="6625"/>
                  <a:pt x="32562" y="6500"/>
                  <a:pt x="32562" y="6500"/>
                </a:cubicBezTo>
                <a:cubicBezTo>
                  <a:pt x="32531" y="6500"/>
                  <a:pt x="32500" y="6500"/>
                  <a:pt x="32469" y="6500"/>
                </a:cubicBezTo>
                <a:cubicBezTo>
                  <a:pt x="32531" y="6468"/>
                  <a:pt x="32594" y="6437"/>
                  <a:pt x="32656" y="6437"/>
                </a:cubicBezTo>
                <a:cubicBezTo>
                  <a:pt x="32687" y="6437"/>
                  <a:pt x="32687" y="6437"/>
                  <a:pt x="32687" y="6406"/>
                </a:cubicBezTo>
                <a:cubicBezTo>
                  <a:pt x="32687" y="6375"/>
                  <a:pt x="32656" y="6375"/>
                  <a:pt x="32625" y="6375"/>
                </a:cubicBezTo>
                <a:cubicBezTo>
                  <a:pt x="32562" y="6406"/>
                  <a:pt x="32469" y="6437"/>
                  <a:pt x="32406" y="6468"/>
                </a:cubicBezTo>
                <a:cubicBezTo>
                  <a:pt x="32344" y="6468"/>
                  <a:pt x="32281" y="6468"/>
                  <a:pt x="32219" y="6468"/>
                </a:cubicBezTo>
                <a:cubicBezTo>
                  <a:pt x="32250" y="6437"/>
                  <a:pt x="32281" y="6437"/>
                  <a:pt x="32312" y="6437"/>
                </a:cubicBezTo>
                <a:cubicBezTo>
                  <a:pt x="32375" y="6406"/>
                  <a:pt x="32469" y="6375"/>
                  <a:pt x="32562" y="6343"/>
                </a:cubicBezTo>
                <a:cubicBezTo>
                  <a:pt x="32687" y="6312"/>
                  <a:pt x="32562" y="6250"/>
                  <a:pt x="32562" y="6218"/>
                </a:cubicBezTo>
                <a:cubicBezTo>
                  <a:pt x="32562" y="6156"/>
                  <a:pt x="32531" y="6156"/>
                  <a:pt x="32500" y="6156"/>
                </a:cubicBezTo>
                <a:cubicBezTo>
                  <a:pt x="32406" y="6218"/>
                  <a:pt x="32281" y="6218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219" y="6312"/>
                  <a:pt x="32219" y="6312"/>
                  <a:pt x="32219" y="6312"/>
                </a:cubicBezTo>
                <a:cubicBezTo>
                  <a:pt x="32000" y="6343"/>
                  <a:pt x="31812" y="6437"/>
                  <a:pt x="31656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625" y="6531"/>
                  <a:pt x="31625" y="6531"/>
                </a:cubicBezTo>
                <a:cubicBezTo>
                  <a:pt x="31625" y="6531"/>
                  <a:pt x="31594" y="6531"/>
                  <a:pt x="31594" y="6531"/>
                </a:cubicBezTo>
                <a:cubicBezTo>
                  <a:pt x="31625" y="6562"/>
                  <a:pt x="31656" y="6625"/>
                  <a:pt x="31719" y="6625"/>
                </a:cubicBezTo>
                <a:cubicBezTo>
                  <a:pt x="31719" y="6625"/>
                  <a:pt x="31719" y="6625"/>
                  <a:pt x="31719" y="6625"/>
                </a:cubicBezTo>
                <a:cubicBezTo>
                  <a:pt x="31656" y="6625"/>
                  <a:pt x="31625" y="6562"/>
                  <a:pt x="31594" y="6531"/>
                </a:cubicBezTo>
                <a:cubicBezTo>
                  <a:pt x="31594" y="6531"/>
                  <a:pt x="31594" y="6531"/>
                  <a:pt x="31594" y="6531"/>
                </a:cubicBezTo>
                <a:cubicBezTo>
                  <a:pt x="31250" y="6656"/>
                  <a:pt x="30937" y="6781"/>
                  <a:pt x="30625" y="6906"/>
                </a:cubicBezTo>
                <a:cubicBezTo>
                  <a:pt x="30375" y="7031"/>
                  <a:pt x="30094" y="7125"/>
                  <a:pt x="29844" y="7218"/>
                </a:cubicBezTo>
                <a:cubicBezTo>
                  <a:pt x="29469" y="7343"/>
                  <a:pt x="29125" y="7500"/>
                  <a:pt x="28781" y="7625"/>
                </a:cubicBezTo>
                <a:cubicBezTo>
                  <a:pt x="28500" y="7750"/>
                  <a:pt x="28250" y="7843"/>
                  <a:pt x="28000" y="7937"/>
                </a:cubicBezTo>
                <a:cubicBezTo>
                  <a:pt x="27687" y="8031"/>
                  <a:pt x="27406" y="8156"/>
                  <a:pt x="27094" y="8281"/>
                </a:cubicBezTo>
                <a:cubicBezTo>
                  <a:pt x="27000" y="8312"/>
                  <a:pt x="26875" y="8406"/>
                  <a:pt x="26719" y="8375"/>
                </a:cubicBezTo>
                <a:cubicBezTo>
                  <a:pt x="26750" y="8375"/>
                  <a:pt x="26750" y="8375"/>
                  <a:pt x="26750" y="8375"/>
                </a:cubicBezTo>
                <a:cubicBezTo>
                  <a:pt x="26719" y="8375"/>
                  <a:pt x="26687" y="8375"/>
                  <a:pt x="26687" y="8343"/>
                </a:cubicBezTo>
                <a:cubicBezTo>
                  <a:pt x="26687" y="8343"/>
                  <a:pt x="26687" y="8343"/>
                  <a:pt x="26687" y="8343"/>
                </a:cubicBezTo>
                <a:cubicBezTo>
                  <a:pt x="26687" y="8375"/>
                  <a:pt x="26719" y="8375"/>
                  <a:pt x="26750" y="8375"/>
                </a:cubicBezTo>
                <a:cubicBezTo>
                  <a:pt x="26750" y="8375"/>
                  <a:pt x="26781" y="8375"/>
                  <a:pt x="26781" y="8375"/>
                </a:cubicBezTo>
                <a:cubicBezTo>
                  <a:pt x="27062" y="8250"/>
                  <a:pt x="27375" y="8125"/>
                  <a:pt x="27656" y="8000"/>
                </a:cubicBezTo>
                <a:cubicBezTo>
                  <a:pt x="27906" y="7906"/>
                  <a:pt x="28156" y="7843"/>
                  <a:pt x="28375" y="7718"/>
                </a:cubicBezTo>
                <a:cubicBezTo>
                  <a:pt x="28375" y="7718"/>
                  <a:pt x="28375" y="7718"/>
                  <a:pt x="28375" y="7718"/>
                </a:cubicBezTo>
                <a:cubicBezTo>
                  <a:pt x="28469" y="7687"/>
                  <a:pt x="28594" y="7656"/>
                  <a:pt x="28687" y="7593"/>
                </a:cubicBezTo>
                <a:cubicBezTo>
                  <a:pt x="29125" y="7437"/>
                  <a:pt x="29562" y="7281"/>
                  <a:pt x="29969" y="7093"/>
                </a:cubicBezTo>
                <a:cubicBezTo>
                  <a:pt x="30406" y="6937"/>
                  <a:pt x="30844" y="6781"/>
                  <a:pt x="31250" y="6593"/>
                </a:cubicBezTo>
                <a:cubicBezTo>
                  <a:pt x="31375" y="6562"/>
                  <a:pt x="31469" y="6500"/>
                  <a:pt x="31594" y="6500"/>
                </a:cubicBezTo>
                <a:cubicBezTo>
                  <a:pt x="31594" y="6468"/>
                  <a:pt x="31625" y="6468"/>
                  <a:pt x="31656" y="6437"/>
                </a:cubicBezTo>
                <a:cubicBezTo>
                  <a:pt x="31937" y="6343"/>
                  <a:pt x="32250" y="6218"/>
                  <a:pt x="32562" y="6093"/>
                </a:cubicBezTo>
                <a:cubicBezTo>
                  <a:pt x="32625" y="6125"/>
                  <a:pt x="32687" y="6000"/>
                  <a:pt x="32781" y="6031"/>
                </a:cubicBezTo>
                <a:cubicBezTo>
                  <a:pt x="32687" y="6125"/>
                  <a:pt x="32687" y="6187"/>
                  <a:pt x="32781" y="6250"/>
                </a:cubicBezTo>
                <a:lnTo>
                  <a:pt x="32781" y="6250"/>
                </a:lnTo>
                <a:cubicBezTo>
                  <a:pt x="32781" y="6187"/>
                  <a:pt x="32781" y="6125"/>
                  <a:pt x="32781" y="6031"/>
                </a:cubicBezTo>
                <a:cubicBezTo>
                  <a:pt x="32781" y="5968"/>
                  <a:pt x="32781" y="5937"/>
                  <a:pt x="32781" y="5875"/>
                </a:cubicBezTo>
                <a:cubicBezTo>
                  <a:pt x="32719" y="5906"/>
                  <a:pt x="32687" y="5937"/>
                  <a:pt x="32656" y="5937"/>
                </a:cubicBezTo>
                <a:cubicBezTo>
                  <a:pt x="32500" y="5968"/>
                  <a:pt x="32344" y="6062"/>
                  <a:pt x="32187" y="6093"/>
                </a:cubicBezTo>
                <a:cubicBezTo>
                  <a:pt x="31969" y="6187"/>
                  <a:pt x="31781" y="6281"/>
                  <a:pt x="31562" y="6343"/>
                </a:cubicBezTo>
                <a:cubicBezTo>
                  <a:pt x="31281" y="6468"/>
                  <a:pt x="31000" y="6593"/>
                  <a:pt x="30719" y="6687"/>
                </a:cubicBezTo>
                <a:cubicBezTo>
                  <a:pt x="30437" y="6812"/>
                  <a:pt x="30187" y="6906"/>
                  <a:pt x="29906" y="7000"/>
                </a:cubicBezTo>
                <a:cubicBezTo>
                  <a:pt x="29625" y="7125"/>
                  <a:pt x="29344" y="7218"/>
                  <a:pt x="29062" y="7343"/>
                </a:cubicBezTo>
                <a:cubicBezTo>
                  <a:pt x="28781" y="7437"/>
                  <a:pt x="28531" y="7531"/>
                  <a:pt x="28250" y="7656"/>
                </a:cubicBezTo>
                <a:cubicBezTo>
                  <a:pt x="27969" y="7750"/>
                  <a:pt x="27687" y="7875"/>
                  <a:pt x="27406" y="8000"/>
                </a:cubicBezTo>
                <a:cubicBezTo>
                  <a:pt x="27187" y="8062"/>
                  <a:pt x="26969" y="8125"/>
                  <a:pt x="26781" y="8218"/>
                </a:cubicBezTo>
                <a:cubicBezTo>
                  <a:pt x="26437" y="8343"/>
                  <a:pt x="26125" y="8468"/>
                  <a:pt x="25812" y="8625"/>
                </a:cubicBezTo>
                <a:cubicBezTo>
                  <a:pt x="25625" y="8687"/>
                  <a:pt x="25469" y="8718"/>
                  <a:pt x="25312" y="8781"/>
                </a:cubicBezTo>
                <a:cubicBezTo>
                  <a:pt x="25000" y="8906"/>
                  <a:pt x="24719" y="9000"/>
                  <a:pt x="24406" y="9125"/>
                </a:cubicBezTo>
                <a:cubicBezTo>
                  <a:pt x="24187" y="9187"/>
                  <a:pt x="23969" y="9281"/>
                  <a:pt x="23750" y="9375"/>
                </a:cubicBezTo>
                <a:cubicBezTo>
                  <a:pt x="23437" y="9500"/>
                  <a:pt x="23125" y="9593"/>
                  <a:pt x="22812" y="9718"/>
                </a:cubicBezTo>
                <a:cubicBezTo>
                  <a:pt x="22594" y="9812"/>
                  <a:pt x="22344" y="9875"/>
                  <a:pt x="22125" y="9968"/>
                </a:cubicBezTo>
                <a:cubicBezTo>
                  <a:pt x="22031" y="10000"/>
                  <a:pt x="21969" y="10031"/>
                  <a:pt x="21844" y="10031"/>
                </a:cubicBezTo>
                <a:cubicBezTo>
                  <a:pt x="22031" y="9968"/>
                  <a:pt x="22219" y="9906"/>
                  <a:pt x="22375" y="9843"/>
                </a:cubicBezTo>
                <a:cubicBezTo>
                  <a:pt x="22812" y="9656"/>
                  <a:pt x="23250" y="9500"/>
                  <a:pt x="23687" y="9343"/>
                </a:cubicBezTo>
                <a:cubicBezTo>
                  <a:pt x="24031" y="9218"/>
                  <a:pt x="24375" y="9093"/>
                  <a:pt x="24687" y="8968"/>
                </a:cubicBezTo>
                <a:cubicBezTo>
                  <a:pt x="25094" y="8781"/>
                  <a:pt x="25500" y="8625"/>
                  <a:pt x="25937" y="8468"/>
                </a:cubicBezTo>
                <a:cubicBezTo>
                  <a:pt x="26250" y="8343"/>
                  <a:pt x="26594" y="8218"/>
                  <a:pt x="26937" y="8093"/>
                </a:cubicBezTo>
                <a:cubicBezTo>
                  <a:pt x="27312" y="7937"/>
                  <a:pt x="27719" y="7781"/>
                  <a:pt x="28125" y="7625"/>
                </a:cubicBezTo>
                <a:cubicBezTo>
                  <a:pt x="28500" y="7468"/>
                  <a:pt x="28906" y="7312"/>
                  <a:pt x="29281" y="7156"/>
                </a:cubicBezTo>
                <a:cubicBezTo>
                  <a:pt x="29687" y="7000"/>
                  <a:pt x="30062" y="6843"/>
                  <a:pt x="30469" y="6687"/>
                </a:cubicBezTo>
                <a:cubicBezTo>
                  <a:pt x="30781" y="6562"/>
                  <a:pt x="31094" y="6437"/>
                  <a:pt x="31437" y="6312"/>
                </a:cubicBezTo>
                <a:cubicBezTo>
                  <a:pt x="31844" y="6156"/>
                  <a:pt x="32219" y="5968"/>
                  <a:pt x="32625" y="5812"/>
                </a:cubicBezTo>
                <a:cubicBezTo>
                  <a:pt x="32687" y="5812"/>
                  <a:pt x="32719" y="5781"/>
                  <a:pt x="32781" y="5781"/>
                </a:cubicBezTo>
                <a:cubicBezTo>
                  <a:pt x="32781" y="5750"/>
                  <a:pt x="32781" y="5750"/>
                  <a:pt x="32781" y="5750"/>
                </a:cubicBezTo>
                <a:cubicBezTo>
                  <a:pt x="32781" y="5687"/>
                  <a:pt x="32781" y="5625"/>
                  <a:pt x="32781" y="5562"/>
                </a:cubicBezTo>
                <a:cubicBezTo>
                  <a:pt x="32687" y="5593"/>
                  <a:pt x="32625" y="5625"/>
                  <a:pt x="32531" y="5656"/>
                </a:cubicBezTo>
                <a:cubicBezTo>
                  <a:pt x="32437" y="5656"/>
                  <a:pt x="32375" y="5718"/>
                  <a:pt x="32312" y="5750"/>
                </a:cubicBezTo>
                <a:cubicBezTo>
                  <a:pt x="32281" y="5750"/>
                  <a:pt x="32250" y="5750"/>
                  <a:pt x="32250" y="5781"/>
                </a:cubicBezTo>
                <a:cubicBezTo>
                  <a:pt x="32219" y="5781"/>
                  <a:pt x="32156" y="5781"/>
                  <a:pt x="32125" y="5812"/>
                </a:cubicBezTo>
                <a:cubicBezTo>
                  <a:pt x="32094" y="5812"/>
                  <a:pt x="32062" y="5843"/>
                  <a:pt x="32000" y="5843"/>
                </a:cubicBezTo>
                <a:cubicBezTo>
                  <a:pt x="32062" y="5843"/>
                  <a:pt x="32094" y="5812"/>
                  <a:pt x="32125" y="5812"/>
                </a:cubicBezTo>
                <a:cubicBezTo>
                  <a:pt x="32062" y="5812"/>
                  <a:pt x="32000" y="5843"/>
                  <a:pt x="31937" y="5875"/>
                </a:cubicBezTo>
                <a:cubicBezTo>
                  <a:pt x="31937" y="5906"/>
                  <a:pt x="31906" y="5906"/>
                  <a:pt x="31875" y="5906"/>
                </a:cubicBezTo>
                <a:cubicBezTo>
                  <a:pt x="31781" y="5937"/>
                  <a:pt x="31687" y="5968"/>
                  <a:pt x="31594" y="6031"/>
                </a:cubicBezTo>
                <a:cubicBezTo>
                  <a:pt x="31562" y="6031"/>
                  <a:pt x="31562" y="6031"/>
                  <a:pt x="31531" y="6062"/>
                </a:cubicBezTo>
                <a:cubicBezTo>
                  <a:pt x="31500" y="6062"/>
                  <a:pt x="31469" y="6062"/>
                  <a:pt x="31437" y="6093"/>
                </a:cubicBezTo>
                <a:cubicBezTo>
                  <a:pt x="31375" y="6093"/>
                  <a:pt x="31344" y="6125"/>
                  <a:pt x="31312" y="6125"/>
                </a:cubicBezTo>
                <a:cubicBezTo>
                  <a:pt x="31344" y="6125"/>
                  <a:pt x="31375" y="6093"/>
                  <a:pt x="31437" y="6093"/>
                </a:cubicBezTo>
                <a:cubicBezTo>
                  <a:pt x="31344" y="6093"/>
                  <a:pt x="31281" y="6125"/>
                  <a:pt x="31219" y="6156"/>
                </a:cubicBezTo>
                <a:cubicBezTo>
                  <a:pt x="31219" y="6187"/>
                  <a:pt x="31187" y="6187"/>
                  <a:pt x="31156" y="6187"/>
                </a:cubicBezTo>
                <a:cubicBezTo>
                  <a:pt x="31125" y="6218"/>
                  <a:pt x="31094" y="6218"/>
                  <a:pt x="31062" y="6218"/>
                </a:cubicBezTo>
                <a:cubicBezTo>
                  <a:pt x="31062" y="6218"/>
                  <a:pt x="31031" y="6250"/>
                  <a:pt x="31000" y="6250"/>
                </a:cubicBezTo>
                <a:cubicBezTo>
                  <a:pt x="31031" y="6250"/>
                  <a:pt x="31062" y="6218"/>
                  <a:pt x="31062" y="6218"/>
                </a:cubicBezTo>
                <a:cubicBezTo>
                  <a:pt x="31031" y="6218"/>
                  <a:pt x="30969" y="6250"/>
                  <a:pt x="30937" y="6281"/>
                </a:cubicBezTo>
                <a:cubicBezTo>
                  <a:pt x="30906" y="6312"/>
                  <a:pt x="30844" y="6312"/>
                  <a:pt x="30812" y="6343"/>
                </a:cubicBezTo>
                <a:cubicBezTo>
                  <a:pt x="30781" y="6343"/>
                  <a:pt x="30750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719" y="6343"/>
                  <a:pt x="30719" y="6343"/>
                  <a:pt x="30719" y="6343"/>
                </a:cubicBezTo>
                <a:cubicBezTo>
                  <a:pt x="30625" y="6375"/>
                  <a:pt x="30562" y="6437"/>
                  <a:pt x="30469" y="6468"/>
                </a:cubicBezTo>
                <a:cubicBezTo>
                  <a:pt x="30375" y="6500"/>
                  <a:pt x="30281" y="6500"/>
                  <a:pt x="30250" y="6562"/>
                </a:cubicBezTo>
                <a:cubicBezTo>
                  <a:pt x="30219" y="6562"/>
                  <a:pt x="30187" y="6593"/>
                  <a:pt x="30156" y="6593"/>
                </a:cubicBezTo>
                <a:cubicBezTo>
                  <a:pt x="30062" y="6625"/>
                  <a:pt x="29969" y="6656"/>
                  <a:pt x="29875" y="6718"/>
                </a:cubicBezTo>
                <a:cubicBezTo>
                  <a:pt x="29844" y="6718"/>
                  <a:pt x="29844" y="6718"/>
                  <a:pt x="29812" y="6750"/>
                </a:cubicBezTo>
                <a:cubicBezTo>
                  <a:pt x="29781" y="6750"/>
                  <a:pt x="29750" y="6750"/>
                  <a:pt x="29719" y="6750"/>
                </a:cubicBezTo>
                <a:cubicBezTo>
                  <a:pt x="29687" y="6781"/>
                  <a:pt x="29656" y="6781"/>
                  <a:pt x="29625" y="6812"/>
                </a:cubicBezTo>
                <a:cubicBezTo>
                  <a:pt x="29656" y="6781"/>
                  <a:pt x="29687" y="6781"/>
                  <a:pt x="29719" y="6750"/>
                </a:cubicBezTo>
                <a:cubicBezTo>
                  <a:pt x="29656" y="6781"/>
                  <a:pt x="29625" y="6812"/>
                  <a:pt x="29562" y="6843"/>
                </a:cubicBezTo>
                <a:cubicBezTo>
                  <a:pt x="29531" y="6843"/>
                  <a:pt x="29500" y="6875"/>
                  <a:pt x="29437" y="6875"/>
                </a:cubicBezTo>
                <a:cubicBezTo>
                  <a:pt x="29344" y="6875"/>
                  <a:pt x="29281" y="6937"/>
                  <a:pt x="29219" y="6968"/>
                </a:cubicBezTo>
                <a:cubicBezTo>
                  <a:pt x="29187" y="6968"/>
                  <a:pt x="29187" y="7000"/>
                  <a:pt x="29156" y="7000"/>
                </a:cubicBezTo>
                <a:cubicBezTo>
                  <a:pt x="29062" y="7000"/>
                  <a:pt x="28969" y="7062"/>
                  <a:pt x="28844" y="7093"/>
                </a:cubicBezTo>
                <a:cubicBezTo>
                  <a:pt x="28844" y="7125"/>
                  <a:pt x="28812" y="7125"/>
                  <a:pt x="28781" y="7125"/>
                </a:cubicBezTo>
                <a:cubicBezTo>
                  <a:pt x="28687" y="7156"/>
                  <a:pt x="28594" y="7187"/>
                  <a:pt x="28500" y="7250"/>
                </a:cubicBezTo>
                <a:cubicBezTo>
                  <a:pt x="28375" y="7312"/>
                  <a:pt x="28219" y="7375"/>
                  <a:pt x="28094" y="7406"/>
                </a:cubicBezTo>
                <a:cubicBezTo>
                  <a:pt x="28062" y="7437"/>
                  <a:pt x="28000" y="7437"/>
                  <a:pt x="27969" y="7437"/>
                </a:cubicBezTo>
                <a:cubicBezTo>
                  <a:pt x="27969" y="7468"/>
                  <a:pt x="27937" y="7468"/>
                  <a:pt x="27906" y="7468"/>
                </a:cubicBezTo>
                <a:cubicBezTo>
                  <a:pt x="27937" y="7468"/>
                  <a:pt x="27969" y="7468"/>
                  <a:pt x="27969" y="7437"/>
                </a:cubicBezTo>
                <a:cubicBezTo>
                  <a:pt x="27937" y="7468"/>
                  <a:pt x="27875" y="7468"/>
                  <a:pt x="27844" y="7500"/>
                </a:cubicBezTo>
                <a:cubicBezTo>
                  <a:pt x="27844" y="7531"/>
                  <a:pt x="27812" y="7531"/>
                  <a:pt x="27812" y="7531"/>
                </a:cubicBezTo>
                <a:cubicBezTo>
                  <a:pt x="27719" y="7562"/>
                  <a:pt x="27594" y="7562"/>
                  <a:pt x="27500" y="7656"/>
                </a:cubicBezTo>
                <a:cubicBezTo>
                  <a:pt x="27500" y="7656"/>
                  <a:pt x="27469" y="7687"/>
                  <a:pt x="27437" y="7656"/>
                </a:cubicBezTo>
                <a:cubicBezTo>
                  <a:pt x="27344" y="7687"/>
                  <a:pt x="27250" y="7718"/>
                  <a:pt x="27156" y="7781"/>
                </a:cubicBezTo>
                <a:cubicBezTo>
                  <a:pt x="27031" y="7843"/>
                  <a:pt x="26906" y="7875"/>
                  <a:pt x="26781" y="7937"/>
                </a:cubicBezTo>
                <a:cubicBezTo>
                  <a:pt x="26687" y="7937"/>
                  <a:pt x="26594" y="8000"/>
                  <a:pt x="26500" y="8031"/>
                </a:cubicBezTo>
                <a:cubicBezTo>
                  <a:pt x="26469" y="8031"/>
                  <a:pt x="26437" y="8062"/>
                  <a:pt x="26437" y="8062"/>
                </a:cubicBezTo>
                <a:cubicBezTo>
                  <a:pt x="26406" y="8062"/>
                  <a:pt x="26375" y="8093"/>
                  <a:pt x="26344" y="8093"/>
                </a:cubicBezTo>
                <a:cubicBezTo>
                  <a:pt x="26312" y="8093"/>
                  <a:pt x="26312" y="8093"/>
                  <a:pt x="26312" y="8125"/>
                </a:cubicBezTo>
                <a:cubicBezTo>
                  <a:pt x="26312" y="8093"/>
                  <a:pt x="26312" y="8093"/>
                  <a:pt x="26344" y="8093"/>
                </a:cubicBezTo>
                <a:cubicBezTo>
                  <a:pt x="26281" y="8093"/>
                  <a:pt x="26250" y="8093"/>
                  <a:pt x="26219" y="8156"/>
                </a:cubicBezTo>
                <a:cubicBezTo>
                  <a:pt x="26156" y="8156"/>
                  <a:pt x="26125" y="8187"/>
                  <a:pt x="26062" y="8187"/>
                </a:cubicBezTo>
                <a:cubicBezTo>
                  <a:pt x="26000" y="8250"/>
                  <a:pt x="25906" y="8218"/>
                  <a:pt x="25844" y="8281"/>
                </a:cubicBezTo>
                <a:cubicBezTo>
                  <a:pt x="25656" y="8375"/>
                  <a:pt x="25437" y="8437"/>
                  <a:pt x="25219" y="8531"/>
                </a:cubicBezTo>
                <a:cubicBezTo>
                  <a:pt x="25125" y="8562"/>
                  <a:pt x="25000" y="8593"/>
                  <a:pt x="24937" y="8656"/>
                </a:cubicBezTo>
                <a:cubicBezTo>
                  <a:pt x="24906" y="8656"/>
                  <a:pt x="24875" y="8687"/>
                  <a:pt x="24844" y="8687"/>
                </a:cubicBezTo>
                <a:cubicBezTo>
                  <a:pt x="24750" y="8687"/>
                  <a:pt x="24656" y="8718"/>
                  <a:pt x="24562" y="8781"/>
                </a:cubicBezTo>
                <a:cubicBezTo>
                  <a:pt x="24469" y="8812"/>
                  <a:pt x="24375" y="8843"/>
                  <a:pt x="24281" y="8906"/>
                </a:cubicBezTo>
                <a:cubicBezTo>
                  <a:pt x="24062" y="8937"/>
                  <a:pt x="23875" y="9031"/>
                  <a:pt x="23687" y="9125"/>
                </a:cubicBezTo>
                <a:cubicBezTo>
                  <a:pt x="23656" y="9125"/>
                  <a:pt x="23656" y="9125"/>
                  <a:pt x="23625" y="9125"/>
                </a:cubicBezTo>
                <a:cubicBezTo>
                  <a:pt x="23594" y="9156"/>
                  <a:pt x="23562" y="9156"/>
                  <a:pt x="23531" y="9156"/>
                </a:cubicBezTo>
                <a:cubicBezTo>
                  <a:pt x="23531" y="9156"/>
                  <a:pt x="23531" y="9187"/>
                  <a:pt x="23500" y="9187"/>
                </a:cubicBezTo>
                <a:cubicBezTo>
                  <a:pt x="23531" y="9187"/>
                  <a:pt x="23531" y="9156"/>
                  <a:pt x="23531" y="9156"/>
                </a:cubicBezTo>
                <a:cubicBezTo>
                  <a:pt x="23469" y="9156"/>
                  <a:pt x="23437" y="9187"/>
                  <a:pt x="23375" y="9187"/>
                </a:cubicBezTo>
                <a:cubicBezTo>
                  <a:pt x="23375" y="9156"/>
                  <a:pt x="23344" y="9125"/>
                  <a:pt x="23312" y="9156"/>
                </a:cubicBezTo>
                <a:cubicBezTo>
                  <a:pt x="23219" y="9156"/>
                  <a:pt x="23125" y="9218"/>
                  <a:pt x="23062" y="9250"/>
                </a:cubicBezTo>
                <a:cubicBezTo>
                  <a:pt x="23094" y="9281"/>
                  <a:pt x="23125" y="9281"/>
                  <a:pt x="23156" y="9281"/>
                </a:cubicBezTo>
                <a:cubicBezTo>
                  <a:pt x="23156" y="9343"/>
                  <a:pt x="23094" y="9343"/>
                  <a:pt x="23062" y="9343"/>
                </a:cubicBezTo>
                <a:cubicBezTo>
                  <a:pt x="23031" y="9375"/>
                  <a:pt x="23000" y="9375"/>
                  <a:pt x="22969" y="9375"/>
                </a:cubicBezTo>
                <a:cubicBezTo>
                  <a:pt x="22969" y="9375"/>
                  <a:pt x="22937" y="9375"/>
                  <a:pt x="22937" y="9406"/>
                </a:cubicBezTo>
                <a:cubicBezTo>
                  <a:pt x="22937" y="9375"/>
                  <a:pt x="22969" y="9375"/>
                  <a:pt x="22969" y="9375"/>
                </a:cubicBezTo>
                <a:cubicBezTo>
                  <a:pt x="22906" y="9375"/>
                  <a:pt x="22875" y="9406"/>
                  <a:pt x="22844" y="9437"/>
                </a:cubicBezTo>
                <a:cubicBezTo>
                  <a:pt x="22812" y="9437"/>
                  <a:pt x="22812" y="9468"/>
                  <a:pt x="22781" y="9468"/>
                </a:cubicBezTo>
                <a:cubicBezTo>
                  <a:pt x="22750" y="9468"/>
                  <a:pt x="22687" y="9437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87" y="9500"/>
                  <a:pt x="22687" y="9500"/>
                  <a:pt x="22687" y="9500"/>
                </a:cubicBezTo>
                <a:cubicBezTo>
                  <a:pt x="22625" y="9500"/>
                  <a:pt x="22562" y="9531"/>
                  <a:pt x="22500" y="9562"/>
                </a:cubicBezTo>
                <a:cubicBezTo>
                  <a:pt x="22500" y="9562"/>
                  <a:pt x="22500" y="9562"/>
                  <a:pt x="22469" y="9562"/>
                </a:cubicBezTo>
                <a:cubicBezTo>
                  <a:pt x="22406" y="9593"/>
                  <a:pt x="22344" y="9593"/>
                  <a:pt x="22250" y="9625"/>
                </a:cubicBezTo>
                <a:cubicBezTo>
                  <a:pt x="22250" y="9593"/>
                  <a:pt x="22250" y="9562"/>
                  <a:pt x="22250" y="9562"/>
                </a:cubicBezTo>
                <a:cubicBezTo>
                  <a:pt x="22156" y="9656"/>
                  <a:pt x="22000" y="9593"/>
                  <a:pt x="21906" y="9718"/>
                </a:cubicBezTo>
                <a:cubicBezTo>
                  <a:pt x="21875" y="9750"/>
                  <a:pt x="21781" y="9718"/>
                  <a:pt x="21750" y="9812"/>
                </a:cubicBezTo>
                <a:cubicBezTo>
                  <a:pt x="21687" y="9843"/>
                  <a:pt x="21656" y="9875"/>
                  <a:pt x="21562" y="9906"/>
                </a:cubicBezTo>
                <a:cubicBezTo>
                  <a:pt x="21531" y="9906"/>
                  <a:pt x="21500" y="9906"/>
                  <a:pt x="21469" y="9906"/>
                </a:cubicBezTo>
                <a:cubicBezTo>
                  <a:pt x="21469" y="9906"/>
                  <a:pt x="21469" y="9875"/>
                  <a:pt x="21500" y="9875"/>
                </a:cubicBezTo>
                <a:cubicBezTo>
                  <a:pt x="21469" y="9875"/>
                  <a:pt x="21437" y="9875"/>
                  <a:pt x="21437" y="9875"/>
                </a:cubicBezTo>
                <a:cubicBezTo>
                  <a:pt x="21406" y="9906"/>
                  <a:pt x="21406" y="9906"/>
                  <a:pt x="21375" y="9937"/>
                </a:cubicBezTo>
                <a:cubicBezTo>
                  <a:pt x="21406" y="9906"/>
                  <a:pt x="21406" y="9906"/>
                  <a:pt x="21437" y="9875"/>
                </a:cubicBezTo>
                <a:cubicBezTo>
                  <a:pt x="21437" y="9875"/>
                  <a:pt x="21469" y="9875"/>
                  <a:pt x="21500" y="9875"/>
                </a:cubicBezTo>
                <a:cubicBezTo>
                  <a:pt x="21500" y="9875"/>
                  <a:pt x="21500" y="9875"/>
                  <a:pt x="21500" y="9875"/>
                </a:cubicBezTo>
                <a:cubicBezTo>
                  <a:pt x="21531" y="9843"/>
                  <a:pt x="21500" y="9843"/>
                  <a:pt x="21469" y="9812"/>
                </a:cubicBezTo>
                <a:cubicBezTo>
                  <a:pt x="21437" y="9812"/>
                  <a:pt x="21406" y="9843"/>
                  <a:pt x="21375" y="9843"/>
                </a:cubicBezTo>
                <a:cubicBezTo>
                  <a:pt x="21375" y="9906"/>
                  <a:pt x="21312" y="9875"/>
                  <a:pt x="21250" y="9875"/>
                </a:cubicBezTo>
                <a:cubicBezTo>
                  <a:pt x="21250" y="9875"/>
                  <a:pt x="21250" y="9875"/>
                  <a:pt x="21250" y="9875"/>
                </a:cubicBezTo>
                <a:cubicBezTo>
                  <a:pt x="21187" y="9937"/>
                  <a:pt x="21094" y="9968"/>
                  <a:pt x="20969" y="9968"/>
                </a:cubicBezTo>
                <a:cubicBezTo>
                  <a:pt x="20937" y="10062"/>
                  <a:pt x="20875" y="10031"/>
                  <a:pt x="20781" y="10031"/>
                </a:cubicBezTo>
                <a:cubicBezTo>
                  <a:pt x="20812" y="10000"/>
                  <a:pt x="20844" y="10000"/>
                  <a:pt x="20844" y="9968"/>
                </a:cubicBezTo>
                <a:cubicBezTo>
                  <a:pt x="20906" y="9968"/>
                  <a:pt x="20937" y="9968"/>
                  <a:pt x="20969" y="9968"/>
                </a:cubicBezTo>
                <a:cubicBezTo>
                  <a:pt x="20969" y="9968"/>
                  <a:pt x="20969" y="9968"/>
                  <a:pt x="20969" y="9968"/>
                </a:cubicBezTo>
                <a:cubicBezTo>
                  <a:pt x="21062" y="9906"/>
                  <a:pt x="21156" y="9875"/>
                  <a:pt x="21250" y="9875"/>
                </a:cubicBezTo>
                <a:cubicBezTo>
                  <a:pt x="21281" y="9812"/>
                  <a:pt x="21312" y="9843"/>
                  <a:pt x="21375" y="9812"/>
                </a:cubicBezTo>
                <a:cubicBezTo>
                  <a:pt x="21375" y="9812"/>
                  <a:pt x="21375" y="9812"/>
                  <a:pt x="21375" y="9812"/>
                </a:cubicBezTo>
                <a:cubicBezTo>
                  <a:pt x="21437" y="9781"/>
                  <a:pt x="21500" y="9750"/>
                  <a:pt x="21594" y="9718"/>
                </a:cubicBezTo>
                <a:cubicBezTo>
                  <a:pt x="21812" y="9656"/>
                  <a:pt x="22031" y="9562"/>
                  <a:pt x="22250" y="9468"/>
                </a:cubicBezTo>
                <a:cubicBezTo>
                  <a:pt x="22375" y="9437"/>
                  <a:pt x="22500" y="9343"/>
                  <a:pt x="22625" y="9375"/>
                </a:cubicBezTo>
                <a:cubicBezTo>
                  <a:pt x="22594" y="9437"/>
                  <a:pt x="22531" y="9437"/>
                  <a:pt x="22469" y="9468"/>
                </a:cubicBezTo>
                <a:cubicBezTo>
                  <a:pt x="22594" y="9468"/>
                  <a:pt x="22687" y="9406"/>
                  <a:pt x="22844" y="9375"/>
                </a:cubicBezTo>
                <a:cubicBezTo>
                  <a:pt x="22750" y="9343"/>
                  <a:pt x="22687" y="9406"/>
                  <a:pt x="22625" y="9375"/>
                </a:cubicBezTo>
                <a:cubicBezTo>
                  <a:pt x="22625" y="9343"/>
                  <a:pt x="22625" y="9343"/>
                  <a:pt x="22656" y="9312"/>
                </a:cubicBezTo>
                <a:cubicBezTo>
                  <a:pt x="22812" y="9281"/>
                  <a:pt x="22937" y="9218"/>
                  <a:pt x="23094" y="9156"/>
                </a:cubicBezTo>
                <a:cubicBezTo>
                  <a:pt x="23344" y="9062"/>
                  <a:pt x="23594" y="8968"/>
                  <a:pt x="23844" y="8875"/>
                </a:cubicBezTo>
                <a:cubicBezTo>
                  <a:pt x="23719" y="8843"/>
                  <a:pt x="23656" y="8906"/>
                  <a:pt x="23562" y="8937"/>
                </a:cubicBezTo>
                <a:cubicBezTo>
                  <a:pt x="23219" y="9093"/>
                  <a:pt x="22844" y="9218"/>
                  <a:pt x="22469" y="9343"/>
                </a:cubicBezTo>
                <a:cubicBezTo>
                  <a:pt x="22375" y="9406"/>
                  <a:pt x="22281" y="9468"/>
                  <a:pt x="22187" y="9437"/>
                </a:cubicBezTo>
                <a:cubicBezTo>
                  <a:pt x="22156" y="9375"/>
                  <a:pt x="22250" y="9437"/>
                  <a:pt x="22250" y="9375"/>
                </a:cubicBezTo>
                <a:lnTo>
                  <a:pt x="22250" y="9375"/>
                </a:lnTo>
                <a:cubicBezTo>
                  <a:pt x="22187" y="9375"/>
                  <a:pt x="22125" y="9375"/>
                  <a:pt x="22062" y="9406"/>
                </a:cubicBezTo>
                <a:cubicBezTo>
                  <a:pt x="22094" y="9468"/>
                  <a:pt x="22125" y="9437"/>
                  <a:pt x="22187" y="9437"/>
                </a:cubicBezTo>
                <a:cubicBezTo>
                  <a:pt x="22094" y="9531"/>
                  <a:pt x="21969" y="9531"/>
                  <a:pt x="21844" y="9593"/>
                </a:cubicBezTo>
                <a:cubicBezTo>
                  <a:pt x="21562" y="9687"/>
                  <a:pt x="21250" y="9781"/>
                  <a:pt x="20937" y="9906"/>
                </a:cubicBezTo>
                <a:cubicBezTo>
                  <a:pt x="20906" y="9843"/>
                  <a:pt x="20906" y="9812"/>
                  <a:pt x="20969" y="9812"/>
                </a:cubicBezTo>
                <a:cubicBezTo>
                  <a:pt x="21062" y="9812"/>
                  <a:pt x="21125" y="9781"/>
                  <a:pt x="21156" y="9687"/>
                </a:cubicBezTo>
                <a:cubicBezTo>
                  <a:pt x="21469" y="9593"/>
                  <a:pt x="21750" y="9468"/>
                  <a:pt x="22062" y="9343"/>
                </a:cubicBezTo>
                <a:cubicBezTo>
                  <a:pt x="22281" y="9281"/>
                  <a:pt x="22469" y="9218"/>
                  <a:pt x="22656" y="9125"/>
                </a:cubicBezTo>
                <a:cubicBezTo>
                  <a:pt x="23000" y="9000"/>
                  <a:pt x="23344" y="8875"/>
                  <a:pt x="23687" y="8750"/>
                </a:cubicBezTo>
                <a:cubicBezTo>
                  <a:pt x="23906" y="8656"/>
                  <a:pt x="24125" y="8593"/>
                  <a:pt x="24344" y="8500"/>
                </a:cubicBezTo>
                <a:cubicBezTo>
                  <a:pt x="24594" y="8406"/>
                  <a:pt x="24875" y="8281"/>
                  <a:pt x="25156" y="8156"/>
                </a:cubicBezTo>
                <a:cubicBezTo>
                  <a:pt x="25406" y="8062"/>
                  <a:pt x="25687" y="7968"/>
                  <a:pt x="25969" y="7843"/>
                </a:cubicBezTo>
                <a:cubicBezTo>
                  <a:pt x="26312" y="7718"/>
                  <a:pt x="26656" y="7593"/>
                  <a:pt x="26969" y="7437"/>
                </a:cubicBezTo>
                <a:cubicBezTo>
                  <a:pt x="27250" y="7343"/>
                  <a:pt x="27531" y="7250"/>
                  <a:pt x="27781" y="7125"/>
                </a:cubicBezTo>
                <a:cubicBezTo>
                  <a:pt x="28125" y="7000"/>
                  <a:pt x="28469" y="6875"/>
                  <a:pt x="28781" y="6718"/>
                </a:cubicBezTo>
                <a:cubicBezTo>
                  <a:pt x="29000" y="6656"/>
                  <a:pt x="29219" y="6562"/>
                  <a:pt x="29406" y="6500"/>
                </a:cubicBezTo>
                <a:cubicBezTo>
                  <a:pt x="29750" y="6343"/>
                  <a:pt x="30094" y="6218"/>
                  <a:pt x="30406" y="6062"/>
                </a:cubicBezTo>
                <a:cubicBezTo>
                  <a:pt x="30625" y="6000"/>
                  <a:pt x="30812" y="5937"/>
                  <a:pt x="31000" y="5843"/>
                </a:cubicBezTo>
                <a:cubicBezTo>
                  <a:pt x="31281" y="5718"/>
                  <a:pt x="31562" y="5625"/>
                  <a:pt x="31844" y="5500"/>
                </a:cubicBezTo>
                <a:cubicBezTo>
                  <a:pt x="32062" y="5406"/>
                  <a:pt x="32250" y="5312"/>
                  <a:pt x="32469" y="5250"/>
                </a:cubicBezTo>
                <a:cubicBezTo>
                  <a:pt x="32562" y="5218"/>
                  <a:pt x="32656" y="5156"/>
                  <a:pt x="32781" y="5125"/>
                </a:cubicBezTo>
                <a:cubicBezTo>
                  <a:pt x="32781" y="5125"/>
                  <a:pt x="32781" y="5125"/>
                  <a:pt x="32781" y="5125"/>
                </a:cubicBezTo>
                <a:cubicBezTo>
                  <a:pt x="32781" y="5093"/>
                  <a:pt x="32781" y="5062"/>
                  <a:pt x="32781" y="5062"/>
                </a:cubicBezTo>
                <a:cubicBezTo>
                  <a:pt x="32781" y="4937"/>
                  <a:pt x="32781" y="4843"/>
                  <a:pt x="32781" y="4750"/>
                </a:cubicBezTo>
                <a:cubicBezTo>
                  <a:pt x="32781" y="4718"/>
                  <a:pt x="32781" y="4718"/>
                  <a:pt x="32781" y="4718"/>
                </a:cubicBezTo>
                <a:cubicBezTo>
                  <a:pt x="32500" y="4781"/>
                  <a:pt x="32250" y="4937"/>
                  <a:pt x="32000" y="5031"/>
                </a:cubicBezTo>
                <a:cubicBezTo>
                  <a:pt x="31969" y="5031"/>
                  <a:pt x="31937" y="5031"/>
                  <a:pt x="31969" y="5062"/>
                </a:cubicBezTo>
                <a:cubicBezTo>
                  <a:pt x="31969" y="5156"/>
                  <a:pt x="31906" y="5093"/>
                  <a:pt x="31844" y="5125"/>
                </a:cubicBezTo>
                <a:cubicBezTo>
                  <a:pt x="31750" y="5093"/>
                  <a:pt x="31656" y="5125"/>
                  <a:pt x="31594" y="5218"/>
                </a:cubicBezTo>
                <a:cubicBezTo>
                  <a:pt x="31562" y="5218"/>
                  <a:pt x="31562" y="5250"/>
                  <a:pt x="31562" y="5250"/>
                </a:cubicBezTo>
                <a:cubicBezTo>
                  <a:pt x="31437" y="5187"/>
                  <a:pt x="31375" y="5281"/>
                  <a:pt x="31281" y="5312"/>
                </a:cubicBezTo>
                <a:cubicBezTo>
                  <a:pt x="31219" y="5343"/>
                  <a:pt x="31094" y="5312"/>
                  <a:pt x="31094" y="5437"/>
                </a:cubicBezTo>
                <a:cubicBezTo>
                  <a:pt x="31000" y="5468"/>
                  <a:pt x="30937" y="5531"/>
                  <a:pt x="30812" y="5531"/>
                </a:cubicBezTo>
                <a:cubicBezTo>
                  <a:pt x="30812" y="5500"/>
                  <a:pt x="30781" y="5500"/>
                  <a:pt x="30750" y="5531"/>
                </a:cubicBezTo>
                <a:cubicBezTo>
                  <a:pt x="30656" y="5593"/>
                  <a:pt x="30531" y="5593"/>
                  <a:pt x="30437" y="5656"/>
                </a:cubicBezTo>
                <a:cubicBezTo>
                  <a:pt x="30437" y="5687"/>
                  <a:pt x="30437" y="5750"/>
                  <a:pt x="30375" y="5718"/>
                </a:cubicBezTo>
                <a:cubicBezTo>
                  <a:pt x="30344" y="5718"/>
                  <a:pt x="30312" y="5718"/>
                  <a:pt x="30312" y="5718"/>
                </a:cubicBezTo>
                <a:cubicBezTo>
                  <a:pt x="30250" y="5718"/>
                  <a:pt x="30219" y="5750"/>
                  <a:pt x="30156" y="5750"/>
                </a:cubicBezTo>
                <a:cubicBezTo>
                  <a:pt x="30125" y="5781"/>
                  <a:pt x="30094" y="5812"/>
                  <a:pt x="30094" y="5843"/>
                </a:cubicBezTo>
                <a:cubicBezTo>
                  <a:pt x="30062" y="5843"/>
                  <a:pt x="30031" y="5843"/>
                  <a:pt x="30031" y="5843"/>
                </a:cubicBezTo>
                <a:cubicBezTo>
                  <a:pt x="29937" y="5843"/>
                  <a:pt x="29844" y="5875"/>
                  <a:pt x="29781" y="5937"/>
                </a:cubicBezTo>
                <a:cubicBezTo>
                  <a:pt x="29844" y="5906"/>
                  <a:pt x="29875" y="5906"/>
                  <a:pt x="29937" y="5875"/>
                </a:cubicBezTo>
                <a:cubicBezTo>
                  <a:pt x="29875" y="5906"/>
                  <a:pt x="29844" y="5906"/>
                  <a:pt x="29781" y="5937"/>
                </a:cubicBezTo>
                <a:cubicBezTo>
                  <a:pt x="29750" y="5937"/>
                  <a:pt x="29719" y="5968"/>
                  <a:pt x="29719" y="5968"/>
                </a:cubicBezTo>
                <a:cubicBezTo>
                  <a:pt x="29656" y="6000"/>
                  <a:pt x="29594" y="6062"/>
                  <a:pt x="29500" y="6062"/>
                </a:cubicBezTo>
                <a:cubicBezTo>
                  <a:pt x="29469" y="6062"/>
                  <a:pt x="29469" y="6062"/>
                  <a:pt x="29437" y="6062"/>
                </a:cubicBezTo>
                <a:cubicBezTo>
                  <a:pt x="29406" y="6062"/>
                  <a:pt x="29406" y="6093"/>
                  <a:pt x="29375" y="6093"/>
                </a:cubicBezTo>
                <a:cubicBezTo>
                  <a:pt x="29406" y="6093"/>
                  <a:pt x="29406" y="6062"/>
                  <a:pt x="29437" y="6062"/>
                </a:cubicBezTo>
                <a:cubicBezTo>
                  <a:pt x="29375" y="6062"/>
                  <a:pt x="29344" y="6093"/>
                  <a:pt x="29312" y="6156"/>
                </a:cubicBezTo>
                <a:cubicBezTo>
                  <a:pt x="29281" y="6156"/>
                  <a:pt x="29250" y="6187"/>
                  <a:pt x="29219" y="6156"/>
                </a:cubicBezTo>
                <a:cubicBezTo>
                  <a:pt x="29219" y="6187"/>
                  <a:pt x="29187" y="6187"/>
                  <a:pt x="29156" y="6187"/>
                </a:cubicBezTo>
                <a:cubicBezTo>
                  <a:pt x="29125" y="6187"/>
                  <a:pt x="29125" y="6187"/>
                  <a:pt x="29094" y="6218"/>
                </a:cubicBezTo>
                <a:cubicBezTo>
                  <a:pt x="29125" y="6187"/>
                  <a:pt x="29125" y="6187"/>
                  <a:pt x="29156" y="6187"/>
                </a:cubicBezTo>
                <a:cubicBezTo>
                  <a:pt x="29062" y="6187"/>
                  <a:pt x="29000" y="6218"/>
                  <a:pt x="28937" y="6281"/>
                </a:cubicBezTo>
                <a:cubicBezTo>
                  <a:pt x="28781" y="6343"/>
                  <a:pt x="28594" y="6406"/>
                  <a:pt x="28437" y="6500"/>
                </a:cubicBezTo>
                <a:cubicBezTo>
                  <a:pt x="28344" y="6500"/>
                  <a:pt x="28219" y="6531"/>
                  <a:pt x="28156" y="6625"/>
                </a:cubicBezTo>
                <a:cubicBezTo>
                  <a:pt x="28125" y="6625"/>
                  <a:pt x="28125" y="6625"/>
                  <a:pt x="28094" y="6656"/>
                </a:cubicBezTo>
                <a:cubicBezTo>
                  <a:pt x="28000" y="6625"/>
                  <a:pt x="27906" y="6687"/>
                  <a:pt x="27844" y="6718"/>
                </a:cubicBezTo>
                <a:cubicBezTo>
                  <a:pt x="27500" y="6875"/>
                  <a:pt x="27125" y="7031"/>
                  <a:pt x="26781" y="7156"/>
                </a:cubicBezTo>
                <a:cubicBezTo>
                  <a:pt x="26469" y="7250"/>
                  <a:pt x="26219" y="7375"/>
                  <a:pt x="25937" y="7500"/>
                </a:cubicBezTo>
                <a:cubicBezTo>
                  <a:pt x="25687" y="7593"/>
                  <a:pt x="25437" y="7687"/>
                  <a:pt x="25187" y="7781"/>
                </a:cubicBezTo>
                <a:cubicBezTo>
                  <a:pt x="25062" y="7843"/>
                  <a:pt x="24969" y="7875"/>
                  <a:pt x="24875" y="7937"/>
                </a:cubicBezTo>
                <a:cubicBezTo>
                  <a:pt x="24750" y="8000"/>
                  <a:pt x="24594" y="8031"/>
                  <a:pt x="24437" y="8093"/>
                </a:cubicBezTo>
                <a:cubicBezTo>
                  <a:pt x="24250" y="8156"/>
                  <a:pt x="24031" y="8250"/>
                  <a:pt x="23844" y="8312"/>
                </a:cubicBezTo>
                <a:cubicBezTo>
                  <a:pt x="23500" y="8437"/>
                  <a:pt x="23187" y="8562"/>
                  <a:pt x="22844" y="8687"/>
                </a:cubicBezTo>
                <a:cubicBezTo>
                  <a:pt x="22437" y="8843"/>
                  <a:pt x="22000" y="9000"/>
                  <a:pt x="21594" y="9156"/>
                </a:cubicBezTo>
                <a:cubicBezTo>
                  <a:pt x="21531" y="9187"/>
                  <a:pt x="21500" y="9218"/>
                  <a:pt x="21437" y="9218"/>
                </a:cubicBezTo>
                <a:cubicBezTo>
                  <a:pt x="21406" y="9187"/>
                  <a:pt x="21375" y="9218"/>
                  <a:pt x="21344" y="9187"/>
                </a:cubicBezTo>
                <a:cubicBezTo>
                  <a:pt x="21375" y="9187"/>
                  <a:pt x="21406" y="9156"/>
                  <a:pt x="21437" y="9156"/>
                </a:cubicBezTo>
                <a:cubicBezTo>
                  <a:pt x="21906" y="9000"/>
                  <a:pt x="22375" y="8812"/>
                  <a:pt x="22844" y="8625"/>
                </a:cubicBezTo>
                <a:cubicBezTo>
                  <a:pt x="22875" y="8593"/>
                  <a:pt x="22969" y="8625"/>
                  <a:pt x="23000" y="8531"/>
                </a:cubicBezTo>
                <a:cubicBezTo>
                  <a:pt x="23000" y="8531"/>
                  <a:pt x="23000" y="8531"/>
                  <a:pt x="23000" y="8531"/>
                </a:cubicBezTo>
                <a:cubicBezTo>
                  <a:pt x="23094" y="8531"/>
                  <a:pt x="23156" y="8531"/>
                  <a:pt x="23187" y="8468"/>
                </a:cubicBezTo>
                <a:cubicBezTo>
                  <a:pt x="23187" y="8468"/>
                  <a:pt x="23187" y="8468"/>
                  <a:pt x="23187" y="8468"/>
                </a:cubicBezTo>
                <a:cubicBezTo>
                  <a:pt x="23312" y="8468"/>
                  <a:pt x="23406" y="8406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00" y="8375"/>
                  <a:pt x="23500" y="8375"/>
                  <a:pt x="23500" y="8375"/>
                </a:cubicBezTo>
                <a:cubicBezTo>
                  <a:pt x="23531" y="8343"/>
                  <a:pt x="23562" y="8375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562" y="8312"/>
                  <a:pt x="23562" y="8312"/>
                  <a:pt x="23562" y="8312"/>
                </a:cubicBezTo>
                <a:cubicBezTo>
                  <a:pt x="23687" y="8343"/>
                  <a:pt x="23750" y="8281"/>
                  <a:pt x="23844" y="8218"/>
                </a:cubicBezTo>
                <a:cubicBezTo>
                  <a:pt x="23844" y="8218"/>
                  <a:pt x="23844" y="8218"/>
                  <a:pt x="23844" y="8218"/>
                </a:cubicBezTo>
                <a:cubicBezTo>
                  <a:pt x="23875" y="8218"/>
                  <a:pt x="23937" y="8218"/>
                  <a:pt x="23937" y="8187"/>
                </a:cubicBezTo>
                <a:cubicBezTo>
                  <a:pt x="23937" y="8187"/>
                  <a:pt x="23937" y="8187"/>
                  <a:pt x="23937" y="8187"/>
                </a:cubicBezTo>
                <a:cubicBezTo>
                  <a:pt x="23969" y="8187"/>
                  <a:pt x="24000" y="8187"/>
                  <a:pt x="24031" y="8156"/>
                </a:cubicBezTo>
                <a:cubicBezTo>
                  <a:pt x="24031" y="8156"/>
                  <a:pt x="24031" y="8156"/>
                  <a:pt x="24031" y="8156"/>
                </a:cubicBezTo>
                <a:cubicBezTo>
                  <a:pt x="24062" y="8125"/>
                  <a:pt x="24125" y="8156"/>
                  <a:pt x="24125" y="8093"/>
                </a:cubicBezTo>
                <a:cubicBezTo>
                  <a:pt x="24125" y="8093"/>
                  <a:pt x="24125" y="8093"/>
                  <a:pt x="24125" y="8093"/>
                </a:cubicBezTo>
                <a:cubicBezTo>
                  <a:pt x="24187" y="8093"/>
                  <a:pt x="24281" y="8093"/>
                  <a:pt x="24312" y="8031"/>
                </a:cubicBezTo>
                <a:cubicBezTo>
                  <a:pt x="24312" y="8031"/>
                  <a:pt x="24312" y="8031"/>
                  <a:pt x="24312" y="8031"/>
                </a:cubicBezTo>
                <a:cubicBezTo>
                  <a:pt x="24375" y="8031"/>
                  <a:pt x="24437" y="8031"/>
                  <a:pt x="24500" y="7968"/>
                </a:cubicBezTo>
                <a:cubicBezTo>
                  <a:pt x="24656" y="7906"/>
                  <a:pt x="24812" y="7843"/>
                  <a:pt x="24969" y="7781"/>
                </a:cubicBezTo>
                <a:cubicBezTo>
                  <a:pt x="25312" y="7656"/>
                  <a:pt x="25625" y="7500"/>
                  <a:pt x="25969" y="7375"/>
                </a:cubicBezTo>
                <a:cubicBezTo>
                  <a:pt x="26344" y="7218"/>
                  <a:pt x="26719" y="7062"/>
                  <a:pt x="27125" y="6906"/>
                </a:cubicBezTo>
                <a:cubicBezTo>
                  <a:pt x="27437" y="6781"/>
                  <a:pt x="27781" y="6656"/>
                  <a:pt x="28094" y="6500"/>
                </a:cubicBezTo>
                <a:cubicBezTo>
                  <a:pt x="28344" y="6406"/>
                  <a:pt x="28625" y="6312"/>
                  <a:pt x="28875" y="6187"/>
                </a:cubicBezTo>
                <a:cubicBezTo>
                  <a:pt x="29187" y="6062"/>
                  <a:pt x="29531" y="5937"/>
                  <a:pt x="29844" y="5781"/>
                </a:cubicBezTo>
                <a:cubicBezTo>
                  <a:pt x="30031" y="5718"/>
                  <a:pt x="30250" y="5625"/>
                  <a:pt x="30437" y="5562"/>
                </a:cubicBezTo>
                <a:cubicBezTo>
                  <a:pt x="30781" y="5437"/>
                  <a:pt x="31094" y="5281"/>
                  <a:pt x="31406" y="5156"/>
                </a:cubicBezTo>
                <a:cubicBezTo>
                  <a:pt x="31594" y="5062"/>
                  <a:pt x="31812" y="5000"/>
                  <a:pt x="32031" y="4906"/>
                </a:cubicBezTo>
                <a:cubicBezTo>
                  <a:pt x="32281" y="4812"/>
                  <a:pt x="32531" y="4718"/>
                  <a:pt x="32781" y="4593"/>
                </a:cubicBezTo>
                <a:cubicBezTo>
                  <a:pt x="32781" y="4593"/>
                  <a:pt x="32781" y="4593"/>
                  <a:pt x="32781" y="4562"/>
                </a:cubicBezTo>
                <a:cubicBezTo>
                  <a:pt x="32781" y="4562"/>
                  <a:pt x="32781" y="4531"/>
                  <a:pt x="32781" y="4531"/>
                </a:cubicBezTo>
                <a:cubicBezTo>
                  <a:pt x="32469" y="4656"/>
                  <a:pt x="32156" y="4781"/>
                  <a:pt x="31844" y="4906"/>
                </a:cubicBezTo>
                <a:cubicBezTo>
                  <a:pt x="31656" y="5000"/>
                  <a:pt x="31469" y="5062"/>
                  <a:pt x="31281" y="5156"/>
                </a:cubicBezTo>
                <a:cubicBezTo>
                  <a:pt x="30937" y="5281"/>
                  <a:pt x="30625" y="5406"/>
                  <a:pt x="30281" y="5562"/>
                </a:cubicBezTo>
                <a:cubicBezTo>
                  <a:pt x="30094" y="5625"/>
                  <a:pt x="29875" y="5718"/>
                  <a:pt x="29687" y="5781"/>
                </a:cubicBezTo>
                <a:cubicBezTo>
                  <a:pt x="29344" y="5906"/>
                  <a:pt x="29031" y="6062"/>
                  <a:pt x="28687" y="6187"/>
                </a:cubicBezTo>
                <a:cubicBezTo>
                  <a:pt x="28500" y="6281"/>
                  <a:pt x="28281" y="6375"/>
                  <a:pt x="28062" y="6437"/>
                </a:cubicBezTo>
                <a:cubicBezTo>
                  <a:pt x="27969" y="6468"/>
                  <a:pt x="27906" y="6531"/>
                  <a:pt x="27812" y="6531"/>
                </a:cubicBezTo>
                <a:cubicBezTo>
                  <a:pt x="27750" y="6625"/>
                  <a:pt x="27656" y="6625"/>
                  <a:pt x="27562" y="6656"/>
                </a:cubicBezTo>
                <a:cubicBezTo>
                  <a:pt x="27250" y="6781"/>
                  <a:pt x="26906" y="6937"/>
                  <a:pt x="26562" y="7062"/>
                </a:cubicBezTo>
                <a:cubicBezTo>
                  <a:pt x="26375" y="7125"/>
                  <a:pt x="26187" y="7218"/>
                  <a:pt x="26000" y="7281"/>
                </a:cubicBezTo>
                <a:cubicBezTo>
                  <a:pt x="25750" y="7375"/>
                  <a:pt x="25500" y="7468"/>
                  <a:pt x="25281" y="7562"/>
                </a:cubicBezTo>
                <a:cubicBezTo>
                  <a:pt x="25250" y="7593"/>
                  <a:pt x="25219" y="7593"/>
                  <a:pt x="25219" y="7593"/>
                </a:cubicBezTo>
                <a:cubicBezTo>
                  <a:pt x="25250" y="7468"/>
                  <a:pt x="25375" y="7500"/>
                  <a:pt x="25437" y="7468"/>
                </a:cubicBezTo>
                <a:cubicBezTo>
                  <a:pt x="25906" y="7250"/>
                  <a:pt x="26375" y="7062"/>
                  <a:pt x="26844" y="6906"/>
                </a:cubicBezTo>
                <a:cubicBezTo>
                  <a:pt x="27125" y="6781"/>
                  <a:pt x="27437" y="6656"/>
                  <a:pt x="27719" y="6531"/>
                </a:cubicBezTo>
                <a:cubicBezTo>
                  <a:pt x="27750" y="6531"/>
                  <a:pt x="27781" y="6531"/>
                  <a:pt x="27812" y="6531"/>
                </a:cubicBezTo>
                <a:cubicBezTo>
                  <a:pt x="27937" y="6406"/>
                  <a:pt x="28125" y="6375"/>
                  <a:pt x="28281" y="6312"/>
                </a:cubicBezTo>
                <a:cubicBezTo>
                  <a:pt x="28656" y="6125"/>
                  <a:pt x="29062" y="5968"/>
                  <a:pt x="29469" y="5812"/>
                </a:cubicBezTo>
                <a:cubicBezTo>
                  <a:pt x="29844" y="5656"/>
                  <a:pt x="30219" y="5531"/>
                  <a:pt x="30562" y="5375"/>
                </a:cubicBezTo>
                <a:cubicBezTo>
                  <a:pt x="30937" y="5218"/>
                  <a:pt x="31312" y="5062"/>
                  <a:pt x="31687" y="4906"/>
                </a:cubicBezTo>
                <a:cubicBezTo>
                  <a:pt x="32000" y="4781"/>
                  <a:pt x="32344" y="4656"/>
                  <a:pt x="32656" y="4500"/>
                </a:cubicBezTo>
                <a:cubicBezTo>
                  <a:pt x="32687" y="4500"/>
                  <a:pt x="32719" y="4468"/>
                  <a:pt x="32781" y="4468"/>
                </a:cubicBezTo>
                <a:cubicBezTo>
                  <a:pt x="32781" y="4437"/>
                  <a:pt x="32781" y="4437"/>
                  <a:pt x="32781" y="4437"/>
                </a:cubicBezTo>
                <a:cubicBezTo>
                  <a:pt x="32781" y="4406"/>
                  <a:pt x="32781" y="4375"/>
                  <a:pt x="32781" y="4343"/>
                </a:cubicBezTo>
                <a:cubicBezTo>
                  <a:pt x="32781" y="4312"/>
                  <a:pt x="32781" y="4281"/>
                  <a:pt x="32781" y="4281"/>
                </a:cubicBezTo>
                <a:cubicBezTo>
                  <a:pt x="32531" y="4375"/>
                  <a:pt x="32281" y="4468"/>
                  <a:pt x="32031" y="4593"/>
                </a:cubicBezTo>
                <a:cubicBezTo>
                  <a:pt x="31906" y="4625"/>
                  <a:pt x="31781" y="4656"/>
                  <a:pt x="31687" y="4750"/>
                </a:cubicBezTo>
                <a:cubicBezTo>
                  <a:pt x="31719" y="4718"/>
                  <a:pt x="31750" y="4718"/>
                  <a:pt x="31812" y="4718"/>
                </a:cubicBezTo>
                <a:cubicBezTo>
                  <a:pt x="31750" y="4781"/>
                  <a:pt x="31687" y="4812"/>
                  <a:pt x="31594" y="4812"/>
                </a:cubicBezTo>
                <a:lnTo>
                  <a:pt x="31594" y="4812"/>
                </a:lnTo>
                <a:lnTo>
                  <a:pt x="31594" y="4812"/>
                </a:lnTo>
                <a:cubicBezTo>
                  <a:pt x="31531" y="4750"/>
                  <a:pt x="31312" y="4843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312" y="4937"/>
                  <a:pt x="31375" y="4843"/>
                  <a:pt x="31437" y="4875"/>
                </a:cubicBezTo>
                <a:cubicBezTo>
                  <a:pt x="31469" y="4843"/>
                  <a:pt x="31500" y="4843"/>
                  <a:pt x="31531" y="4843"/>
                </a:cubicBezTo>
                <a:cubicBezTo>
                  <a:pt x="31500" y="4875"/>
                  <a:pt x="31469" y="4875"/>
                  <a:pt x="31437" y="4875"/>
                </a:cubicBezTo>
                <a:cubicBezTo>
                  <a:pt x="31437" y="4875"/>
                  <a:pt x="31437" y="4875"/>
                  <a:pt x="31437" y="4875"/>
                </a:cubicBezTo>
                <a:cubicBezTo>
                  <a:pt x="31375" y="4937"/>
                  <a:pt x="31281" y="4968"/>
                  <a:pt x="31187" y="5000"/>
                </a:cubicBezTo>
                <a:cubicBezTo>
                  <a:pt x="31187" y="4937"/>
                  <a:pt x="31250" y="4968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250" y="4906"/>
                  <a:pt x="31250" y="4906"/>
                  <a:pt x="31250" y="4906"/>
                </a:cubicBezTo>
                <a:cubicBezTo>
                  <a:pt x="31094" y="4937"/>
                  <a:pt x="30937" y="5000"/>
                  <a:pt x="30812" y="5093"/>
                </a:cubicBezTo>
                <a:cubicBezTo>
                  <a:pt x="30687" y="5125"/>
                  <a:pt x="30562" y="5156"/>
                  <a:pt x="30437" y="5218"/>
                </a:cubicBezTo>
                <a:cubicBezTo>
                  <a:pt x="30562" y="5250"/>
                  <a:pt x="30625" y="5156"/>
                  <a:pt x="30750" y="5156"/>
                </a:cubicBezTo>
                <a:cubicBezTo>
                  <a:pt x="30656" y="5250"/>
                  <a:pt x="30531" y="5281"/>
                  <a:pt x="30406" y="5312"/>
                </a:cubicBezTo>
                <a:cubicBezTo>
                  <a:pt x="30406" y="5312"/>
                  <a:pt x="30406" y="5281"/>
                  <a:pt x="30375" y="5281"/>
                </a:cubicBezTo>
                <a:cubicBezTo>
                  <a:pt x="30312" y="5250"/>
                  <a:pt x="30250" y="5312"/>
                  <a:pt x="30156" y="5343"/>
                </a:cubicBezTo>
                <a:cubicBezTo>
                  <a:pt x="30219" y="5375"/>
                  <a:pt x="30281" y="5312"/>
                  <a:pt x="30281" y="5375"/>
                </a:cubicBezTo>
                <a:cubicBezTo>
                  <a:pt x="30281" y="5375"/>
                  <a:pt x="30250" y="5406"/>
                  <a:pt x="30250" y="5406"/>
                </a:cubicBezTo>
                <a:cubicBezTo>
                  <a:pt x="30219" y="5406"/>
                  <a:pt x="30187" y="5406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56" y="5437"/>
                  <a:pt x="30156" y="5437"/>
                  <a:pt x="30156" y="5437"/>
                </a:cubicBezTo>
                <a:cubicBezTo>
                  <a:pt x="30125" y="5437"/>
                  <a:pt x="30094" y="5437"/>
                  <a:pt x="30062" y="5437"/>
                </a:cubicBezTo>
                <a:cubicBezTo>
                  <a:pt x="30000" y="5406"/>
                  <a:pt x="29906" y="5437"/>
                  <a:pt x="29844" y="5468"/>
                </a:cubicBezTo>
                <a:cubicBezTo>
                  <a:pt x="29750" y="5500"/>
                  <a:pt x="29656" y="5531"/>
                  <a:pt x="29562" y="5593"/>
                </a:cubicBezTo>
                <a:cubicBezTo>
                  <a:pt x="29344" y="5687"/>
                  <a:pt x="29094" y="5781"/>
                  <a:pt x="28875" y="5875"/>
                </a:cubicBezTo>
                <a:cubicBezTo>
                  <a:pt x="28937" y="5906"/>
                  <a:pt x="28969" y="5843"/>
                  <a:pt x="29031" y="5843"/>
                </a:cubicBezTo>
                <a:cubicBezTo>
                  <a:pt x="29062" y="5843"/>
                  <a:pt x="29094" y="5781"/>
                  <a:pt x="29156" y="5812"/>
                </a:cubicBezTo>
                <a:cubicBezTo>
                  <a:pt x="29156" y="5875"/>
                  <a:pt x="29094" y="5843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94" y="5875"/>
                  <a:pt x="29094" y="5875"/>
                  <a:pt x="29094" y="5875"/>
                </a:cubicBezTo>
                <a:cubicBezTo>
                  <a:pt x="29062" y="5875"/>
                  <a:pt x="29000" y="5875"/>
                  <a:pt x="28969" y="5906"/>
                </a:cubicBezTo>
                <a:cubicBezTo>
                  <a:pt x="28937" y="5937"/>
                  <a:pt x="28875" y="5968"/>
                  <a:pt x="28812" y="5937"/>
                </a:cubicBezTo>
                <a:cubicBezTo>
                  <a:pt x="28719" y="5875"/>
                  <a:pt x="28656" y="5968"/>
                  <a:pt x="28562" y="5968"/>
                </a:cubicBezTo>
                <a:cubicBezTo>
                  <a:pt x="28625" y="6031"/>
                  <a:pt x="28687" y="5968"/>
                  <a:pt x="28719" y="6000"/>
                </a:cubicBezTo>
                <a:cubicBezTo>
                  <a:pt x="28656" y="6062"/>
                  <a:pt x="28562" y="6062"/>
                  <a:pt x="28469" y="6062"/>
                </a:cubicBezTo>
                <a:cubicBezTo>
                  <a:pt x="28312" y="6062"/>
                  <a:pt x="28187" y="6125"/>
                  <a:pt x="28094" y="6218"/>
                </a:cubicBezTo>
                <a:cubicBezTo>
                  <a:pt x="27906" y="6218"/>
                  <a:pt x="27719" y="6343"/>
                  <a:pt x="27562" y="6406"/>
                </a:cubicBezTo>
                <a:cubicBezTo>
                  <a:pt x="27406" y="6437"/>
                  <a:pt x="27250" y="6562"/>
                  <a:pt x="27094" y="6562"/>
                </a:cubicBezTo>
                <a:cubicBezTo>
                  <a:pt x="27125" y="6468"/>
                  <a:pt x="27250" y="6500"/>
                  <a:pt x="27312" y="6437"/>
                </a:cubicBezTo>
                <a:cubicBezTo>
                  <a:pt x="27594" y="6343"/>
                  <a:pt x="27875" y="6218"/>
                  <a:pt x="28125" y="6125"/>
                </a:cubicBezTo>
                <a:cubicBezTo>
                  <a:pt x="28406" y="6000"/>
                  <a:pt x="28656" y="5906"/>
                  <a:pt x="28906" y="5812"/>
                </a:cubicBezTo>
                <a:cubicBezTo>
                  <a:pt x="29187" y="5687"/>
                  <a:pt x="29437" y="5562"/>
                  <a:pt x="29719" y="5468"/>
                </a:cubicBezTo>
                <a:cubicBezTo>
                  <a:pt x="29969" y="5375"/>
                  <a:pt x="30219" y="5250"/>
                  <a:pt x="30469" y="5156"/>
                </a:cubicBezTo>
                <a:cubicBezTo>
                  <a:pt x="30750" y="5031"/>
                  <a:pt x="31000" y="4937"/>
                  <a:pt x="31281" y="4812"/>
                </a:cubicBezTo>
                <a:cubicBezTo>
                  <a:pt x="31469" y="4750"/>
                  <a:pt x="31656" y="4656"/>
                  <a:pt x="31844" y="4593"/>
                </a:cubicBezTo>
                <a:cubicBezTo>
                  <a:pt x="32125" y="4468"/>
                  <a:pt x="32406" y="4343"/>
                  <a:pt x="32687" y="4218"/>
                </a:cubicBezTo>
                <a:cubicBezTo>
                  <a:pt x="32719" y="4218"/>
                  <a:pt x="32750" y="4218"/>
                  <a:pt x="32781" y="4218"/>
                </a:cubicBezTo>
                <a:cubicBezTo>
                  <a:pt x="32781" y="4218"/>
                  <a:pt x="32781" y="4187"/>
                  <a:pt x="32781" y="4187"/>
                </a:cubicBezTo>
                <a:cubicBezTo>
                  <a:pt x="32781" y="4125"/>
                  <a:pt x="32781" y="4062"/>
                  <a:pt x="32781" y="4000"/>
                </a:cubicBezTo>
                <a:cubicBezTo>
                  <a:pt x="32781" y="3968"/>
                  <a:pt x="32781" y="3937"/>
                  <a:pt x="32781" y="3906"/>
                </a:cubicBezTo>
                <a:cubicBezTo>
                  <a:pt x="32781" y="3875"/>
                  <a:pt x="32781" y="3875"/>
                  <a:pt x="32781" y="3843"/>
                </a:cubicBezTo>
                <a:cubicBezTo>
                  <a:pt x="32625" y="3906"/>
                  <a:pt x="32500" y="3968"/>
                  <a:pt x="32344" y="4031"/>
                </a:cubicBezTo>
                <a:cubicBezTo>
                  <a:pt x="32000" y="4156"/>
                  <a:pt x="31687" y="4312"/>
                  <a:pt x="31375" y="4437"/>
                </a:cubicBezTo>
                <a:cubicBezTo>
                  <a:pt x="31125" y="4531"/>
                  <a:pt x="30875" y="4625"/>
                  <a:pt x="30625" y="4750"/>
                </a:cubicBezTo>
                <a:cubicBezTo>
                  <a:pt x="30281" y="4875"/>
                  <a:pt x="29937" y="5000"/>
                  <a:pt x="29625" y="5156"/>
                </a:cubicBezTo>
                <a:cubicBezTo>
                  <a:pt x="29500" y="5218"/>
                  <a:pt x="29344" y="5281"/>
                  <a:pt x="29219" y="5343"/>
                </a:cubicBezTo>
                <a:cubicBezTo>
                  <a:pt x="28937" y="5437"/>
                  <a:pt x="28687" y="5562"/>
                  <a:pt x="28406" y="5656"/>
                </a:cubicBezTo>
                <a:cubicBezTo>
                  <a:pt x="28219" y="5718"/>
                  <a:pt x="28000" y="5812"/>
                  <a:pt x="27812" y="5906"/>
                </a:cubicBezTo>
                <a:cubicBezTo>
                  <a:pt x="27562" y="6000"/>
                  <a:pt x="27281" y="6125"/>
                  <a:pt x="27031" y="6218"/>
                </a:cubicBezTo>
                <a:cubicBezTo>
                  <a:pt x="26844" y="6312"/>
                  <a:pt x="26625" y="6375"/>
                  <a:pt x="26437" y="6468"/>
                </a:cubicBezTo>
                <a:cubicBezTo>
                  <a:pt x="26187" y="6593"/>
                  <a:pt x="25906" y="6656"/>
                  <a:pt x="25625" y="6781"/>
                </a:cubicBezTo>
                <a:cubicBezTo>
                  <a:pt x="25531" y="6843"/>
                  <a:pt x="25406" y="6875"/>
                  <a:pt x="25312" y="6906"/>
                </a:cubicBezTo>
                <a:cubicBezTo>
                  <a:pt x="25062" y="7031"/>
                  <a:pt x="24781" y="7125"/>
                  <a:pt x="24500" y="7250"/>
                </a:cubicBezTo>
                <a:cubicBezTo>
                  <a:pt x="24219" y="7343"/>
                  <a:pt x="23937" y="7468"/>
                  <a:pt x="23656" y="7593"/>
                </a:cubicBezTo>
                <a:cubicBezTo>
                  <a:pt x="23531" y="7625"/>
                  <a:pt x="23406" y="7687"/>
                  <a:pt x="23312" y="7718"/>
                </a:cubicBezTo>
                <a:cubicBezTo>
                  <a:pt x="23281" y="7687"/>
                  <a:pt x="23250" y="7687"/>
                  <a:pt x="23187" y="7656"/>
                </a:cubicBezTo>
                <a:cubicBezTo>
                  <a:pt x="23219" y="7687"/>
                  <a:pt x="23219" y="7687"/>
                  <a:pt x="23250" y="7687"/>
                </a:cubicBezTo>
                <a:cubicBezTo>
                  <a:pt x="23219" y="7687"/>
                  <a:pt x="23219" y="7687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87" y="7656"/>
                  <a:pt x="23187" y="7656"/>
                </a:cubicBezTo>
                <a:cubicBezTo>
                  <a:pt x="23187" y="7656"/>
                  <a:pt x="23156" y="7656"/>
                  <a:pt x="23156" y="7656"/>
                </a:cubicBezTo>
                <a:cubicBezTo>
                  <a:pt x="23094" y="7656"/>
                  <a:pt x="23062" y="7656"/>
                  <a:pt x="23000" y="7687"/>
                </a:cubicBezTo>
                <a:cubicBezTo>
                  <a:pt x="23000" y="7656"/>
                  <a:pt x="23000" y="7656"/>
                  <a:pt x="23000" y="7625"/>
                </a:cubicBezTo>
                <a:cubicBezTo>
                  <a:pt x="23000" y="7656"/>
                  <a:pt x="23000" y="7656"/>
                  <a:pt x="23000" y="7687"/>
                </a:cubicBezTo>
                <a:cubicBezTo>
                  <a:pt x="23062" y="7656"/>
                  <a:pt x="23094" y="7656"/>
                  <a:pt x="23156" y="7656"/>
                </a:cubicBezTo>
                <a:cubicBezTo>
                  <a:pt x="23156" y="7656"/>
                  <a:pt x="23156" y="7656"/>
                  <a:pt x="23156" y="7656"/>
                </a:cubicBezTo>
                <a:cubicBezTo>
                  <a:pt x="23156" y="7656"/>
                  <a:pt x="23187" y="7656"/>
                  <a:pt x="23187" y="7656"/>
                </a:cubicBezTo>
                <a:cubicBezTo>
                  <a:pt x="23281" y="7593"/>
                  <a:pt x="23375" y="7625"/>
                  <a:pt x="23437" y="7531"/>
                </a:cubicBezTo>
                <a:cubicBezTo>
                  <a:pt x="23500" y="7531"/>
                  <a:pt x="23562" y="7531"/>
                  <a:pt x="23625" y="7468"/>
                </a:cubicBezTo>
                <a:cubicBezTo>
                  <a:pt x="23844" y="7406"/>
                  <a:pt x="24094" y="7312"/>
                  <a:pt x="24312" y="7218"/>
                </a:cubicBezTo>
                <a:cubicBezTo>
                  <a:pt x="24750" y="7031"/>
                  <a:pt x="25187" y="6843"/>
                  <a:pt x="25625" y="6687"/>
                </a:cubicBezTo>
                <a:cubicBezTo>
                  <a:pt x="26062" y="6500"/>
                  <a:pt x="26500" y="6312"/>
                  <a:pt x="26937" y="6125"/>
                </a:cubicBezTo>
                <a:cubicBezTo>
                  <a:pt x="27344" y="5968"/>
                  <a:pt x="27750" y="5812"/>
                  <a:pt x="28156" y="5625"/>
                </a:cubicBezTo>
                <a:cubicBezTo>
                  <a:pt x="28250" y="5593"/>
                  <a:pt x="28344" y="5593"/>
                  <a:pt x="28406" y="5500"/>
                </a:cubicBezTo>
                <a:cubicBezTo>
                  <a:pt x="28469" y="5531"/>
                  <a:pt x="28437" y="5468"/>
                  <a:pt x="28500" y="5437"/>
                </a:cubicBezTo>
                <a:cubicBezTo>
                  <a:pt x="28594" y="5406"/>
                  <a:pt x="28687" y="5437"/>
                  <a:pt x="28750" y="5343"/>
                </a:cubicBezTo>
                <a:cubicBezTo>
                  <a:pt x="28750" y="5312"/>
                  <a:pt x="28781" y="5312"/>
                  <a:pt x="28781" y="5312"/>
                </a:cubicBezTo>
                <a:cubicBezTo>
                  <a:pt x="28875" y="5406"/>
                  <a:pt x="28875" y="5281"/>
                  <a:pt x="28906" y="5250"/>
                </a:cubicBezTo>
                <a:cubicBezTo>
                  <a:pt x="29062" y="5312"/>
                  <a:pt x="29156" y="5187"/>
                  <a:pt x="29281" y="5156"/>
                </a:cubicBezTo>
                <a:cubicBezTo>
                  <a:pt x="29281" y="5156"/>
                  <a:pt x="29312" y="5156"/>
                  <a:pt x="29312" y="5125"/>
                </a:cubicBezTo>
                <a:cubicBezTo>
                  <a:pt x="29437" y="5125"/>
                  <a:pt x="29531" y="5031"/>
                  <a:pt x="29656" y="5000"/>
                </a:cubicBezTo>
                <a:cubicBezTo>
                  <a:pt x="29656" y="5000"/>
                  <a:pt x="29656" y="4968"/>
                  <a:pt x="29656" y="4968"/>
                </a:cubicBezTo>
                <a:cubicBezTo>
                  <a:pt x="29687" y="4968"/>
                  <a:pt x="29719" y="4968"/>
                  <a:pt x="29750" y="4937"/>
                </a:cubicBezTo>
                <a:cubicBezTo>
                  <a:pt x="29906" y="4937"/>
                  <a:pt x="30000" y="4843"/>
                  <a:pt x="30156" y="4781"/>
                </a:cubicBezTo>
                <a:cubicBezTo>
                  <a:pt x="30187" y="4750"/>
                  <a:pt x="30250" y="4750"/>
                  <a:pt x="30281" y="4718"/>
                </a:cubicBezTo>
                <a:cubicBezTo>
                  <a:pt x="30312" y="4656"/>
                  <a:pt x="30406" y="4718"/>
                  <a:pt x="30469" y="4656"/>
                </a:cubicBezTo>
                <a:cubicBezTo>
                  <a:pt x="30469" y="4656"/>
                  <a:pt x="30531" y="4656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00" y="4593"/>
                  <a:pt x="30500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31" y="4593"/>
                  <a:pt x="30531" y="4593"/>
                  <a:pt x="30531" y="4593"/>
                </a:cubicBezTo>
                <a:cubicBezTo>
                  <a:pt x="30562" y="4625"/>
                  <a:pt x="30594" y="4656"/>
                  <a:pt x="30594" y="4593"/>
                </a:cubicBezTo>
                <a:cubicBezTo>
                  <a:pt x="30750" y="4562"/>
                  <a:pt x="30875" y="4500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00" y="4406"/>
                  <a:pt x="31000" y="4406"/>
                  <a:pt x="31000" y="4406"/>
                </a:cubicBezTo>
                <a:cubicBezTo>
                  <a:pt x="31031" y="4406"/>
                  <a:pt x="31062" y="4437"/>
                  <a:pt x="31094" y="4406"/>
                </a:cubicBezTo>
                <a:cubicBezTo>
                  <a:pt x="31281" y="4343"/>
                  <a:pt x="31437" y="4250"/>
                  <a:pt x="31625" y="4187"/>
                </a:cubicBezTo>
                <a:cubicBezTo>
                  <a:pt x="31687" y="4156"/>
                  <a:pt x="31781" y="4156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781" y="4093"/>
                  <a:pt x="31781" y="4093"/>
                  <a:pt x="31750" y="4093"/>
                </a:cubicBezTo>
                <a:cubicBezTo>
                  <a:pt x="31781" y="4062"/>
                  <a:pt x="31781" y="4062"/>
                  <a:pt x="31812" y="4062"/>
                </a:cubicBezTo>
                <a:cubicBezTo>
                  <a:pt x="31812" y="4062"/>
                  <a:pt x="31812" y="4062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1812" y="4093"/>
                  <a:pt x="31812" y="4093"/>
                  <a:pt x="31812" y="4093"/>
                </a:cubicBezTo>
                <a:cubicBezTo>
                  <a:pt x="32000" y="4062"/>
                  <a:pt x="32156" y="3937"/>
                  <a:pt x="32312" y="3906"/>
                </a:cubicBezTo>
                <a:cubicBezTo>
                  <a:pt x="32312" y="3875"/>
                  <a:pt x="32312" y="3875"/>
                  <a:pt x="32312" y="3875"/>
                </a:cubicBezTo>
                <a:cubicBezTo>
                  <a:pt x="32469" y="3875"/>
                  <a:pt x="32594" y="3781"/>
                  <a:pt x="32719" y="3718"/>
                </a:cubicBezTo>
                <a:cubicBezTo>
                  <a:pt x="32750" y="3718"/>
                  <a:pt x="32750" y="3687"/>
                  <a:pt x="32781" y="3687"/>
                </a:cubicBezTo>
                <a:cubicBezTo>
                  <a:pt x="32781" y="3687"/>
                  <a:pt x="32781" y="3656"/>
                  <a:pt x="32781" y="3656"/>
                </a:cubicBezTo>
                <a:cubicBezTo>
                  <a:pt x="32781" y="3625"/>
                  <a:pt x="32781" y="3593"/>
                  <a:pt x="32781" y="3562"/>
                </a:cubicBezTo>
                <a:cubicBezTo>
                  <a:pt x="32781" y="3531"/>
                  <a:pt x="32781" y="3531"/>
                  <a:pt x="32781" y="3500"/>
                </a:cubicBezTo>
                <a:cubicBezTo>
                  <a:pt x="32781" y="3468"/>
                  <a:pt x="32781" y="3437"/>
                  <a:pt x="32781" y="3406"/>
                </a:cubicBezTo>
                <a:cubicBezTo>
                  <a:pt x="32781" y="3375"/>
                  <a:pt x="32781" y="3343"/>
                  <a:pt x="32781" y="3343"/>
                </a:cubicBezTo>
                <a:cubicBezTo>
                  <a:pt x="32531" y="3437"/>
                  <a:pt x="32281" y="3531"/>
                  <a:pt x="32031" y="3656"/>
                </a:cubicBezTo>
                <a:cubicBezTo>
                  <a:pt x="31656" y="3812"/>
                  <a:pt x="31281" y="3968"/>
                  <a:pt x="30937" y="4125"/>
                </a:cubicBezTo>
                <a:cubicBezTo>
                  <a:pt x="30687" y="4218"/>
                  <a:pt x="30469" y="4312"/>
                  <a:pt x="30219" y="4406"/>
                </a:cubicBezTo>
                <a:cubicBezTo>
                  <a:pt x="29969" y="4531"/>
                  <a:pt x="29687" y="4625"/>
                  <a:pt x="29406" y="4750"/>
                </a:cubicBezTo>
                <a:cubicBezTo>
                  <a:pt x="29406" y="4750"/>
                  <a:pt x="29406" y="4718"/>
                  <a:pt x="29406" y="4718"/>
                </a:cubicBezTo>
                <a:cubicBezTo>
                  <a:pt x="29375" y="4718"/>
                  <a:pt x="29375" y="4718"/>
                  <a:pt x="29344" y="4750"/>
                </a:cubicBezTo>
                <a:cubicBezTo>
                  <a:pt x="29156" y="4812"/>
                  <a:pt x="28969" y="4906"/>
                  <a:pt x="28750" y="5000"/>
                </a:cubicBezTo>
                <a:cubicBezTo>
                  <a:pt x="28969" y="4906"/>
                  <a:pt x="29156" y="4812"/>
                  <a:pt x="29344" y="4750"/>
                </a:cubicBezTo>
                <a:cubicBezTo>
                  <a:pt x="29375" y="4718"/>
                  <a:pt x="29375" y="4718"/>
                  <a:pt x="29406" y="4718"/>
                </a:cubicBezTo>
                <a:cubicBezTo>
                  <a:pt x="29375" y="4718"/>
                  <a:pt x="29375" y="4687"/>
                  <a:pt x="29375" y="4687"/>
                </a:cubicBezTo>
                <a:cubicBezTo>
                  <a:pt x="29594" y="4593"/>
                  <a:pt x="29781" y="4531"/>
                  <a:pt x="29969" y="4437"/>
                </a:cubicBezTo>
                <a:cubicBezTo>
                  <a:pt x="30312" y="4281"/>
                  <a:pt x="30625" y="4156"/>
                  <a:pt x="30937" y="4031"/>
                </a:cubicBezTo>
                <a:cubicBezTo>
                  <a:pt x="31125" y="3937"/>
                  <a:pt x="31312" y="3875"/>
                  <a:pt x="31500" y="3781"/>
                </a:cubicBezTo>
                <a:cubicBezTo>
                  <a:pt x="31750" y="3687"/>
                  <a:pt x="32031" y="3562"/>
                  <a:pt x="32281" y="3437"/>
                </a:cubicBezTo>
                <a:cubicBezTo>
                  <a:pt x="32437" y="3406"/>
                  <a:pt x="32562" y="3343"/>
                  <a:pt x="32687" y="3281"/>
                </a:cubicBezTo>
                <a:cubicBezTo>
                  <a:pt x="32719" y="3281"/>
                  <a:pt x="32750" y="3250"/>
                  <a:pt x="32781" y="3250"/>
                </a:cubicBezTo>
                <a:cubicBezTo>
                  <a:pt x="32781" y="3250"/>
                  <a:pt x="32781" y="3218"/>
                  <a:pt x="32781" y="3218"/>
                </a:cubicBezTo>
                <a:cubicBezTo>
                  <a:pt x="32781" y="3187"/>
                  <a:pt x="32781" y="3156"/>
                  <a:pt x="32781" y="3125"/>
                </a:cubicBezTo>
                <a:cubicBezTo>
                  <a:pt x="32781" y="3125"/>
                  <a:pt x="32781" y="3093"/>
                  <a:pt x="32781" y="3093"/>
                </a:cubicBezTo>
                <a:cubicBezTo>
                  <a:pt x="32781" y="3062"/>
                  <a:pt x="32781" y="3031"/>
                  <a:pt x="32781" y="3000"/>
                </a:cubicBezTo>
                <a:cubicBezTo>
                  <a:pt x="32781" y="2968"/>
                  <a:pt x="32781" y="2937"/>
                  <a:pt x="32781" y="2906"/>
                </a:cubicBezTo>
                <a:cubicBezTo>
                  <a:pt x="32781" y="2906"/>
                  <a:pt x="32781" y="2875"/>
                  <a:pt x="32781" y="2843"/>
                </a:cubicBezTo>
                <a:cubicBezTo>
                  <a:pt x="32625" y="2906"/>
                  <a:pt x="32469" y="2968"/>
                  <a:pt x="32312" y="3031"/>
                </a:cubicBezTo>
                <a:close/>
                <a:moveTo>
                  <a:pt x="8281" y="8875"/>
                </a:moveTo>
                <a:cubicBezTo>
                  <a:pt x="8281" y="8875"/>
                  <a:pt x="8312" y="8875"/>
                  <a:pt x="8312" y="8875"/>
                </a:cubicBezTo>
                <a:cubicBezTo>
                  <a:pt x="8312" y="8875"/>
                  <a:pt x="8281" y="8875"/>
                  <a:pt x="8281" y="8875"/>
                </a:cubicBezTo>
                <a:close/>
                <a:moveTo>
                  <a:pt x="10500" y="9218"/>
                </a:moveTo>
                <a:cubicBezTo>
                  <a:pt x="10437" y="9218"/>
                  <a:pt x="10406" y="9250"/>
                  <a:pt x="10375" y="9281"/>
                </a:cubicBezTo>
                <a:cubicBezTo>
                  <a:pt x="10344" y="9281"/>
                  <a:pt x="10312" y="9343"/>
                  <a:pt x="10281" y="9312"/>
                </a:cubicBezTo>
                <a:cubicBezTo>
                  <a:pt x="10250" y="9250"/>
                  <a:pt x="10281" y="9250"/>
                  <a:pt x="10312" y="9218"/>
                </a:cubicBezTo>
                <a:cubicBezTo>
                  <a:pt x="10500" y="9125"/>
                  <a:pt x="10687" y="9000"/>
                  <a:pt x="10875" y="8875"/>
                </a:cubicBezTo>
                <a:cubicBezTo>
                  <a:pt x="10906" y="8875"/>
                  <a:pt x="10937" y="8843"/>
                  <a:pt x="10937" y="8812"/>
                </a:cubicBezTo>
                <a:cubicBezTo>
                  <a:pt x="11000" y="8843"/>
                  <a:pt x="11062" y="8718"/>
                  <a:pt x="11156" y="8750"/>
                </a:cubicBezTo>
                <a:cubicBezTo>
                  <a:pt x="11125" y="8812"/>
                  <a:pt x="11031" y="8812"/>
                  <a:pt x="11000" y="8875"/>
                </a:cubicBezTo>
                <a:cubicBezTo>
                  <a:pt x="10906" y="8937"/>
                  <a:pt x="10844" y="8937"/>
                  <a:pt x="10781" y="9031"/>
                </a:cubicBezTo>
                <a:cubicBezTo>
                  <a:pt x="10687" y="9062"/>
                  <a:pt x="10562" y="9125"/>
                  <a:pt x="10500" y="9218"/>
                </a:cubicBezTo>
                <a:close/>
                <a:moveTo>
                  <a:pt x="11500" y="8500"/>
                </a:moveTo>
                <a:cubicBezTo>
                  <a:pt x="11500" y="8437"/>
                  <a:pt x="11531" y="8468"/>
                  <a:pt x="11562" y="8468"/>
                </a:cubicBezTo>
                <a:cubicBezTo>
                  <a:pt x="11562" y="8500"/>
                  <a:pt x="11531" y="8500"/>
                  <a:pt x="11500" y="8500"/>
                </a:cubicBezTo>
                <a:close/>
                <a:moveTo>
                  <a:pt x="11562" y="8468"/>
                </a:moveTo>
                <a:cubicBezTo>
                  <a:pt x="11594" y="8375"/>
                  <a:pt x="11656" y="8375"/>
                  <a:pt x="11719" y="8375"/>
                </a:cubicBezTo>
                <a:cubicBezTo>
                  <a:pt x="11687" y="8437"/>
                  <a:pt x="11625" y="8468"/>
                  <a:pt x="11562" y="8468"/>
                </a:cubicBezTo>
                <a:close/>
                <a:moveTo>
                  <a:pt x="30812" y="5093"/>
                </a:moveTo>
                <a:cubicBezTo>
                  <a:pt x="30844" y="5093"/>
                  <a:pt x="30875" y="5093"/>
                  <a:pt x="30906" y="5093"/>
                </a:cubicBezTo>
                <a:cubicBezTo>
                  <a:pt x="30937" y="5031"/>
                  <a:pt x="30969" y="5062"/>
                  <a:pt x="31000" y="5062"/>
                </a:cubicBezTo>
                <a:cubicBezTo>
                  <a:pt x="31000" y="5031"/>
                  <a:pt x="31000" y="5031"/>
                  <a:pt x="31000" y="5031"/>
                </a:cubicBezTo>
                <a:cubicBezTo>
                  <a:pt x="31000" y="5031"/>
                  <a:pt x="31031" y="5031"/>
                  <a:pt x="31031" y="5031"/>
                </a:cubicBezTo>
                <a:cubicBezTo>
                  <a:pt x="31031" y="5031"/>
                  <a:pt x="31031" y="5062"/>
                  <a:pt x="31000" y="5062"/>
                </a:cubicBezTo>
                <a:cubicBezTo>
                  <a:pt x="31000" y="5062"/>
                  <a:pt x="31000" y="5062"/>
                  <a:pt x="31000" y="5062"/>
                </a:cubicBezTo>
                <a:cubicBezTo>
                  <a:pt x="30969" y="5093"/>
                  <a:pt x="30937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906" y="5093"/>
                  <a:pt x="30906" y="5093"/>
                  <a:pt x="30906" y="5093"/>
                </a:cubicBezTo>
                <a:cubicBezTo>
                  <a:pt x="30875" y="5156"/>
                  <a:pt x="30812" y="5156"/>
                  <a:pt x="30750" y="5156"/>
                </a:cubicBezTo>
                <a:cubicBezTo>
                  <a:pt x="30750" y="5125"/>
                  <a:pt x="30812" y="5156"/>
                  <a:pt x="30812" y="5093"/>
                </a:cubicBezTo>
                <a:close/>
                <a:moveTo>
                  <a:pt x="19156" y="6843"/>
                </a:moveTo>
                <a:cubicBezTo>
                  <a:pt x="19156" y="6812"/>
                  <a:pt x="19156" y="6812"/>
                  <a:pt x="19156" y="6781"/>
                </a:cubicBezTo>
                <a:cubicBezTo>
                  <a:pt x="19156" y="6812"/>
                  <a:pt x="19156" y="6812"/>
                  <a:pt x="19156" y="6843"/>
                </a:cubicBezTo>
                <a:close/>
                <a:moveTo>
                  <a:pt x="19125" y="6718"/>
                </a:moveTo>
                <a:cubicBezTo>
                  <a:pt x="19125" y="6718"/>
                  <a:pt x="19125" y="6718"/>
                  <a:pt x="19125" y="6718"/>
                </a:cubicBezTo>
                <a:cubicBezTo>
                  <a:pt x="19125" y="6718"/>
                  <a:pt x="19125" y="6718"/>
                  <a:pt x="19125" y="6718"/>
                </a:cubicBezTo>
                <a:close/>
                <a:moveTo>
                  <a:pt x="5562" y="93"/>
                </a:moveTo>
                <a:cubicBezTo>
                  <a:pt x="5594" y="93"/>
                  <a:pt x="5625" y="93"/>
                  <a:pt x="5625" y="125"/>
                </a:cubicBezTo>
                <a:cubicBezTo>
                  <a:pt x="5625" y="125"/>
                  <a:pt x="5625" y="125"/>
                  <a:pt x="5625" y="125"/>
                </a:cubicBezTo>
                <a:cubicBezTo>
                  <a:pt x="5625" y="93"/>
                  <a:pt x="5594" y="93"/>
                  <a:pt x="5562" y="93"/>
                </a:cubicBezTo>
                <a:close/>
                <a:moveTo>
                  <a:pt x="6219" y="187"/>
                </a:moveTo>
                <a:cubicBezTo>
                  <a:pt x="6187" y="187"/>
                  <a:pt x="6156" y="187"/>
                  <a:pt x="6125" y="187"/>
                </a:cubicBezTo>
                <a:cubicBezTo>
                  <a:pt x="6156" y="187"/>
                  <a:pt x="6187" y="187"/>
                  <a:pt x="6219" y="187"/>
                </a:cubicBezTo>
                <a:cubicBezTo>
                  <a:pt x="6219" y="187"/>
                  <a:pt x="6219" y="187"/>
                  <a:pt x="6250" y="218"/>
                </a:cubicBezTo>
                <a:cubicBezTo>
                  <a:pt x="6219" y="187"/>
                  <a:pt x="6219" y="187"/>
                  <a:pt x="6219" y="187"/>
                </a:cubicBezTo>
                <a:close/>
                <a:moveTo>
                  <a:pt x="6375" y="406"/>
                </a:moveTo>
                <a:cubicBezTo>
                  <a:pt x="6406" y="406"/>
                  <a:pt x="6406" y="406"/>
                  <a:pt x="6437" y="375"/>
                </a:cubicBezTo>
                <a:cubicBezTo>
                  <a:pt x="6437" y="375"/>
                  <a:pt x="6437" y="375"/>
                  <a:pt x="6437" y="375"/>
                </a:cubicBezTo>
                <a:cubicBezTo>
                  <a:pt x="6406" y="406"/>
                  <a:pt x="6406" y="406"/>
                  <a:pt x="6375" y="406"/>
                </a:cubicBezTo>
                <a:close/>
                <a:moveTo>
                  <a:pt x="6500" y="156"/>
                </a:moveTo>
                <a:cubicBezTo>
                  <a:pt x="6469" y="156"/>
                  <a:pt x="6469" y="125"/>
                  <a:pt x="6406" y="93"/>
                </a:cubicBezTo>
                <a:cubicBezTo>
                  <a:pt x="6469" y="125"/>
                  <a:pt x="6469" y="156"/>
                  <a:pt x="6500" y="156"/>
                </a:cubicBezTo>
                <a:cubicBezTo>
                  <a:pt x="6531" y="156"/>
                  <a:pt x="6531" y="156"/>
                  <a:pt x="6562" y="156"/>
                </a:cubicBezTo>
                <a:cubicBezTo>
                  <a:pt x="6531" y="156"/>
                  <a:pt x="6531" y="156"/>
                  <a:pt x="6500" y="156"/>
                </a:cubicBezTo>
                <a:close/>
                <a:moveTo>
                  <a:pt x="1812" y="5093"/>
                </a:moveTo>
                <a:cubicBezTo>
                  <a:pt x="1781" y="5125"/>
                  <a:pt x="1781" y="5125"/>
                  <a:pt x="1750" y="5156"/>
                </a:cubicBezTo>
                <a:cubicBezTo>
                  <a:pt x="1750" y="5156"/>
                  <a:pt x="1750" y="5156"/>
                  <a:pt x="1750" y="5156"/>
                </a:cubicBezTo>
                <a:cubicBezTo>
                  <a:pt x="1781" y="5125"/>
                  <a:pt x="1781" y="5125"/>
                  <a:pt x="1812" y="5093"/>
                </a:cubicBezTo>
                <a:close/>
                <a:moveTo>
                  <a:pt x="2625" y="4843"/>
                </a:moveTo>
                <a:cubicBezTo>
                  <a:pt x="2594" y="4906"/>
                  <a:pt x="2562" y="4812"/>
                  <a:pt x="2531" y="4812"/>
                </a:cubicBezTo>
                <a:cubicBezTo>
                  <a:pt x="2531" y="4875"/>
                  <a:pt x="2469" y="4906"/>
                  <a:pt x="2437" y="4906"/>
                </a:cubicBezTo>
                <a:cubicBezTo>
                  <a:pt x="2406" y="4906"/>
                  <a:pt x="2406" y="4875"/>
                  <a:pt x="2406" y="4843"/>
                </a:cubicBezTo>
                <a:cubicBezTo>
                  <a:pt x="2406" y="4781"/>
                  <a:pt x="2469" y="4781"/>
                  <a:pt x="2500" y="4781"/>
                </a:cubicBezTo>
                <a:cubicBezTo>
                  <a:pt x="2500" y="4781"/>
                  <a:pt x="2531" y="4781"/>
                  <a:pt x="2531" y="4781"/>
                </a:cubicBezTo>
                <a:cubicBezTo>
                  <a:pt x="2562" y="4750"/>
                  <a:pt x="2625" y="4718"/>
                  <a:pt x="2656" y="4781"/>
                </a:cubicBezTo>
                <a:cubicBezTo>
                  <a:pt x="2656" y="4812"/>
                  <a:pt x="2656" y="4843"/>
                  <a:pt x="2625" y="4843"/>
                </a:cubicBezTo>
                <a:close/>
                <a:moveTo>
                  <a:pt x="844" y="7468"/>
                </a:move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ubicBezTo>
                  <a:pt x="844" y="7468"/>
                  <a:pt x="844" y="7468"/>
                  <a:pt x="844" y="7468"/>
                </a:cubicBezTo>
                <a:close/>
                <a:moveTo>
                  <a:pt x="906" y="6812"/>
                </a:moveTo>
                <a:cubicBezTo>
                  <a:pt x="937" y="6812"/>
                  <a:pt x="937" y="6781"/>
                  <a:pt x="969" y="6750"/>
                </a:cubicBezTo>
                <a:cubicBezTo>
                  <a:pt x="937" y="6781"/>
                  <a:pt x="937" y="6812"/>
                  <a:pt x="906" y="6812"/>
                </a:cubicBezTo>
                <a:close/>
                <a:moveTo>
                  <a:pt x="1250" y="6750"/>
                </a:moveTo>
                <a:cubicBezTo>
                  <a:pt x="1250" y="6718"/>
                  <a:pt x="1250" y="6718"/>
                  <a:pt x="1250" y="6687"/>
                </a:cubicBezTo>
                <a:cubicBezTo>
                  <a:pt x="1250" y="6687"/>
                  <a:pt x="1250" y="6687"/>
                  <a:pt x="1250" y="6687"/>
                </a:cubicBezTo>
                <a:cubicBezTo>
                  <a:pt x="1250" y="6718"/>
                  <a:pt x="1250" y="6718"/>
                  <a:pt x="1250" y="6750"/>
                </a:cubicBezTo>
                <a:close/>
                <a:moveTo>
                  <a:pt x="4562" y="12750"/>
                </a:moveTo>
                <a:cubicBezTo>
                  <a:pt x="4562" y="12750"/>
                  <a:pt x="4562" y="12750"/>
                  <a:pt x="4562" y="12750"/>
                </a:cubicBezTo>
                <a:cubicBezTo>
                  <a:pt x="4531" y="12750"/>
                  <a:pt x="4500" y="12750"/>
                  <a:pt x="4500" y="12750"/>
                </a:cubicBezTo>
                <a:cubicBezTo>
                  <a:pt x="4500" y="12750"/>
                  <a:pt x="4531" y="12750"/>
                  <a:pt x="4562" y="12750"/>
                </a:cubicBezTo>
                <a:close/>
                <a:moveTo>
                  <a:pt x="4500" y="11718"/>
                </a:moveTo>
                <a:cubicBezTo>
                  <a:pt x="4469" y="11718"/>
                  <a:pt x="4437" y="11718"/>
                  <a:pt x="4375" y="11750"/>
                </a:cubicBezTo>
                <a:cubicBezTo>
                  <a:pt x="4437" y="11718"/>
                  <a:pt x="4469" y="11718"/>
                  <a:pt x="4500" y="11718"/>
                </a:cubicBezTo>
                <a:close/>
                <a:moveTo>
                  <a:pt x="4187" y="12312"/>
                </a:moveTo>
                <a:cubicBezTo>
                  <a:pt x="4187" y="12312"/>
                  <a:pt x="4156" y="12312"/>
                  <a:pt x="4156" y="12312"/>
                </a:cubicBezTo>
                <a:cubicBezTo>
                  <a:pt x="4156" y="12312"/>
                  <a:pt x="4156" y="12312"/>
                  <a:pt x="4156" y="12312"/>
                </a:cubicBezTo>
                <a:cubicBezTo>
                  <a:pt x="4156" y="12312"/>
                  <a:pt x="4187" y="12312"/>
                  <a:pt x="4187" y="12312"/>
                </a:cubicBezTo>
                <a:close/>
                <a:moveTo>
                  <a:pt x="3219" y="11218"/>
                </a:moveTo>
                <a:cubicBezTo>
                  <a:pt x="3250" y="11218"/>
                  <a:pt x="3281" y="11187"/>
                  <a:pt x="3344" y="11187"/>
                </a:cubicBezTo>
                <a:cubicBezTo>
                  <a:pt x="3281" y="11187"/>
                  <a:pt x="3250" y="11218"/>
                  <a:pt x="3219" y="11218"/>
                </a:cubicBezTo>
                <a:close/>
                <a:moveTo>
                  <a:pt x="3469" y="11593"/>
                </a:moveTo>
                <a:cubicBezTo>
                  <a:pt x="3469" y="11593"/>
                  <a:pt x="3469" y="11593"/>
                  <a:pt x="3469" y="11593"/>
                </a:cubicBezTo>
                <a:cubicBezTo>
                  <a:pt x="3469" y="11593"/>
                  <a:pt x="3469" y="11593"/>
                  <a:pt x="3469" y="11593"/>
                </a:cubicBezTo>
                <a:cubicBezTo>
                  <a:pt x="3531" y="11593"/>
                  <a:pt x="3562" y="11593"/>
                  <a:pt x="3594" y="11593"/>
                </a:cubicBezTo>
                <a:cubicBezTo>
                  <a:pt x="3562" y="11593"/>
                  <a:pt x="3531" y="11593"/>
                  <a:pt x="3469" y="11593"/>
                </a:cubicBezTo>
                <a:close/>
                <a:moveTo>
                  <a:pt x="4031" y="11937"/>
                </a:moveTo>
                <a:cubicBezTo>
                  <a:pt x="4062" y="11937"/>
                  <a:pt x="4062" y="11937"/>
                  <a:pt x="4031" y="11906"/>
                </a:cubicBezTo>
                <a:cubicBezTo>
                  <a:pt x="4000" y="11906"/>
                  <a:pt x="3937" y="11906"/>
                  <a:pt x="3875" y="11875"/>
                </a:cubicBezTo>
                <a:cubicBezTo>
                  <a:pt x="3937" y="11906"/>
                  <a:pt x="4000" y="11906"/>
                  <a:pt x="4031" y="11906"/>
                </a:cubicBezTo>
                <a:cubicBezTo>
                  <a:pt x="4062" y="11937"/>
                  <a:pt x="4062" y="11937"/>
                  <a:pt x="4031" y="11937"/>
                </a:cubicBezTo>
                <a:close/>
                <a:moveTo>
                  <a:pt x="3875" y="11593"/>
                </a:moveTo>
                <a:cubicBezTo>
                  <a:pt x="3937" y="11593"/>
                  <a:pt x="3969" y="11562"/>
                  <a:pt x="4031" y="11531"/>
                </a:cubicBezTo>
                <a:cubicBezTo>
                  <a:pt x="3969" y="11562"/>
                  <a:pt x="3937" y="11593"/>
                  <a:pt x="3875" y="11593"/>
                </a:cubicBezTo>
                <a:cubicBezTo>
                  <a:pt x="3875" y="11593"/>
                  <a:pt x="3844" y="11593"/>
                  <a:pt x="3844" y="11593"/>
                </a:cubicBezTo>
                <a:cubicBezTo>
                  <a:pt x="3844" y="11593"/>
                  <a:pt x="3875" y="11593"/>
                  <a:pt x="3875" y="11593"/>
                </a:cubicBezTo>
                <a:close/>
                <a:moveTo>
                  <a:pt x="3969" y="11718"/>
                </a:moveTo>
                <a:cubicBezTo>
                  <a:pt x="3844" y="11718"/>
                  <a:pt x="3750" y="11687"/>
                  <a:pt x="3656" y="11687"/>
                </a:cubicBezTo>
                <a:cubicBezTo>
                  <a:pt x="3656" y="11656"/>
                  <a:pt x="3656" y="11656"/>
                  <a:pt x="3656" y="11656"/>
                </a:cubicBezTo>
                <a:cubicBezTo>
                  <a:pt x="3750" y="11687"/>
                  <a:pt x="3844" y="11718"/>
                  <a:pt x="3969" y="11718"/>
                </a:cubicBezTo>
                <a:close/>
                <a:moveTo>
                  <a:pt x="3625" y="10656"/>
                </a:moveTo>
                <a:cubicBezTo>
                  <a:pt x="3594" y="10656"/>
                  <a:pt x="3594" y="10656"/>
                  <a:pt x="3562" y="10656"/>
                </a:cubicBezTo>
                <a:cubicBezTo>
                  <a:pt x="3562" y="10656"/>
                  <a:pt x="3562" y="10656"/>
                  <a:pt x="3562" y="10656"/>
                </a:cubicBezTo>
                <a:cubicBezTo>
                  <a:pt x="3594" y="10656"/>
                  <a:pt x="3594" y="10656"/>
                  <a:pt x="3625" y="10656"/>
                </a:cubicBezTo>
                <a:close/>
                <a:moveTo>
                  <a:pt x="3594" y="10812"/>
                </a:moveTo>
                <a:cubicBezTo>
                  <a:pt x="3562" y="10812"/>
                  <a:pt x="3531" y="10812"/>
                  <a:pt x="3531" y="10843"/>
                </a:cubicBezTo>
                <a:cubicBezTo>
                  <a:pt x="3531" y="10812"/>
                  <a:pt x="3562" y="10812"/>
                  <a:pt x="3594" y="10812"/>
                </a:cubicBezTo>
                <a:close/>
                <a:moveTo>
                  <a:pt x="3344" y="10750"/>
                </a:moveTo>
                <a:cubicBezTo>
                  <a:pt x="3344" y="10750"/>
                  <a:pt x="3375" y="10750"/>
                  <a:pt x="3375" y="10750"/>
                </a:cubicBezTo>
                <a:cubicBezTo>
                  <a:pt x="3375" y="10750"/>
                  <a:pt x="3344" y="10750"/>
                  <a:pt x="3344" y="10750"/>
                </a:cubicBezTo>
                <a:cubicBezTo>
                  <a:pt x="3344" y="10750"/>
                  <a:pt x="3344" y="10750"/>
                  <a:pt x="3344" y="10750"/>
                </a:cubicBezTo>
                <a:close/>
                <a:moveTo>
                  <a:pt x="3281" y="11093"/>
                </a:moveTo>
                <a:cubicBezTo>
                  <a:pt x="3281" y="11093"/>
                  <a:pt x="3312" y="11093"/>
                  <a:pt x="3344" y="11093"/>
                </a:cubicBezTo>
                <a:cubicBezTo>
                  <a:pt x="3437" y="11093"/>
                  <a:pt x="3531" y="11062"/>
                  <a:pt x="3625" y="11062"/>
                </a:cubicBezTo>
                <a:cubicBezTo>
                  <a:pt x="3625" y="11031"/>
                  <a:pt x="3656" y="11031"/>
                  <a:pt x="3687" y="11031"/>
                </a:cubicBezTo>
                <a:cubicBezTo>
                  <a:pt x="3656" y="11031"/>
                  <a:pt x="3625" y="11031"/>
                  <a:pt x="3625" y="11062"/>
                </a:cubicBezTo>
                <a:cubicBezTo>
                  <a:pt x="3625" y="11062"/>
                  <a:pt x="3625" y="11062"/>
                  <a:pt x="3625" y="11062"/>
                </a:cubicBezTo>
                <a:cubicBezTo>
                  <a:pt x="3531" y="11062"/>
                  <a:pt x="3437" y="11093"/>
                  <a:pt x="3344" y="11093"/>
                </a:cubicBezTo>
                <a:cubicBezTo>
                  <a:pt x="3312" y="11093"/>
                  <a:pt x="3281" y="11093"/>
                  <a:pt x="3281" y="11093"/>
                </a:cubicBezTo>
                <a:cubicBezTo>
                  <a:pt x="3250" y="11093"/>
                  <a:pt x="3219" y="11093"/>
                  <a:pt x="3219" y="11093"/>
                </a:cubicBezTo>
                <a:cubicBezTo>
                  <a:pt x="3219" y="11093"/>
                  <a:pt x="3250" y="11093"/>
                  <a:pt x="3281" y="11093"/>
                </a:cubicBezTo>
                <a:close/>
                <a:moveTo>
                  <a:pt x="9719" y="5656"/>
                </a:move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ubicBezTo>
                  <a:pt x="9719" y="5656"/>
                  <a:pt x="9719" y="5656"/>
                  <a:pt x="9719" y="5656"/>
                </a:cubicBezTo>
                <a:close/>
                <a:moveTo>
                  <a:pt x="9687" y="5718"/>
                </a:moveTo>
                <a:cubicBezTo>
                  <a:pt x="9687" y="5718"/>
                  <a:pt x="9687" y="5718"/>
                  <a:pt x="9687" y="5718"/>
                </a:cubicBezTo>
                <a:cubicBezTo>
                  <a:pt x="9687" y="5687"/>
                  <a:pt x="9687" y="5687"/>
                  <a:pt x="9687" y="5687"/>
                </a:cubicBezTo>
                <a:cubicBezTo>
                  <a:pt x="9687" y="5687"/>
                  <a:pt x="9687" y="5687"/>
                  <a:pt x="9687" y="5718"/>
                </a:cubicBezTo>
                <a:close/>
                <a:moveTo>
                  <a:pt x="9937" y="5687"/>
                </a:moveTo>
                <a:cubicBezTo>
                  <a:pt x="9937" y="5687"/>
                  <a:pt x="9937" y="5687"/>
                  <a:pt x="9937" y="5687"/>
                </a:cubicBezTo>
                <a:cubicBezTo>
                  <a:pt x="9844" y="5718"/>
                  <a:pt x="9750" y="5781"/>
                  <a:pt x="9656" y="5843"/>
                </a:cubicBezTo>
                <a:cubicBezTo>
                  <a:pt x="9656" y="5843"/>
                  <a:pt x="9656" y="5843"/>
                  <a:pt x="9656" y="5843"/>
                </a:cubicBezTo>
                <a:cubicBezTo>
                  <a:pt x="9750" y="5781"/>
                  <a:pt x="9844" y="5718"/>
                  <a:pt x="9937" y="5687"/>
                </a:cubicBezTo>
                <a:close/>
                <a:moveTo>
                  <a:pt x="9687" y="5875"/>
                </a:moveTo>
                <a:cubicBezTo>
                  <a:pt x="9687" y="5937"/>
                  <a:pt x="9656" y="5937"/>
                  <a:pt x="9625" y="5968"/>
                </a:cubicBezTo>
                <a:cubicBezTo>
                  <a:pt x="9656" y="5937"/>
                  <a:pt x="9687" y="5937"/>
                  <a:pt x="9687" y="5875"/>
                </a:cubicBezTo>
                <a:close/>
                <a:moveTo>
                  <a:pt x="9312" y="6187"/>
                </a:moveTo>
                <a:cubicBezTo>
                  <a:pt x="9312" y="6187"/>
                  <a:pt x="9312" y="6187"/>
                  <a:pt x="9312" y="6187"/>
                </a:cubicBezTo>
                <a:cubicBezTo>
                  <a:pt x="9281" y="6187"/>
                  <a:pt x="9281" y="6156"/>
                  <a:pt x="9281" y="6156"/>
                </a:cubicBezTo>
                <a:cubicBezTo>
                  <a:pt x="9281" y="6156"/>
                  <a:pt x="9281" y="6187"/>
                  <a:pt x="9312" y="6187"/>
                </a:cubicBezTo>
                <a:close/>
                <a:moveTo>
                  <a:pt x="9281" y="6687"/>
                </a:moveTo>
                <a:cubicBezTo>
                  <a:pt x="9375" y="6656"/>
                  <a:pt x="9469" y="6562"/>
                  <a:pt x="9594" y="6531"/>
                </a:cubicBezTo>
                <a:cubicBezTo>
                  <a:pt x="9531" y="6625"/>
                  <a:pt x="9406" y="6625"/>
                  <a:pt x="9312" y="6718"/>
                </a:cubicBezTo>
                <a:cubicBezTo>
                  <a:pt x="9312" y="6718"/>
                  <a:pt x="9281" y="6718"/>
                  <a:pt x="9281" y="6718"/>
                </a:cubicBezTo>
                <a:cubicBezTo>
                  <a:pt x="9250" y="6718"/>
                  <a:pt x="9281" y="6687"/>
                  <a:pt x="9281" y="6687"/>
                </a:cubicBezTo>
                <a:close/>
                <a:moveTo>
                  <a:pt x="9219" y="5968"/>
                </a:moveTo>
                <a:cubicBezTo>
                  <a:pt x="9219" y="5968"/>
                  <a:pt x="9219" y="6000"/>
                  <a:pt x="9219" y="6000"/>
                </a:cubicBezTo>
                <a:cubicBezTo>
                  <a:pt x="9219" y="6031"/>
                  <a:pt x="9250" y="6031"/>
                  <a:pt x="9250" y="6062"/>
                </a:cubicBezTo>
                <a:cubicBezTo>
                  <a:pt x="9250" y="6031"/>
                  <a:pt x="9219" y="6031"/>
                  <a:pt x="9219" y="6000"/>
                </a:cubicBezTo>
                <a:cubicBezTo>
                  <a:pt x="9219" y="6000"/>
                  <a:pt x="9219" y="5968"/>
                  <a:pt x="9219" y="5968"/>
                </a:cubicBezTo>
                <a:close/>
                <a:moveTo>
                  <a:pt x="9250" y="6343"/>
                </a:moveTo>
                <a:cubicBezTo>
                  <a:pt x="9219" y="6343"/>
                  <a:pt x="9219" y="6343"/>
                  <a:pt x="9219" y="6312"/>
                </a:cubicBezTo>
                <a:cubicBezTo>
                  <a:pt x="9219" y="6312"/>
                  <a:pt x="9219" y="6312"/>
                  <a:pt x="9219" y="6312"/>
                </a:cubicBezTo>
                <a:cubicBezTo>
                  <a:pt x="9219" y="6343"/>
                  <a:pt x="9219" y="6343"/>
                  <a:pt x="9250" y="6343"/>
                </a:cubicBezTo>
                <a:close/>
                <a:moveTo>
                  <a:pt x="9219" y="6093"/>
                </a:moveTo>
                <a:cubicBezTo>
                  <a:pt x="9219" y="6093"/>
                  <a:pt x="9219" y="6093"/>
                  <a:pt x="9219" y="6093"/>
                </a:cubicBezTo>
                <a:cubicBezTo>
                  <a:pt x="9187" y="6093"/>
                  <a:pt x="9187" y="6093"/>
                  <a:pt x="9187" y="6093"/>
                </a:cubicBezTo>
                <a:cubicBezTo>
                  <a:pt x="9187" y="6093"/>
                  <a:pt x="9187" y="6093"/>
                  <a:pt x="9219" y="6093"/>
                </a:cubicBezTo>
                <a:close/>
                <a:moveTo>
                  <a:pt x="9062" y="6406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406"/>
                </a:cubicBezTo>
                <a:close/>
                <a:moveTo>
                  <a:pt x="9062" y="6375"/>
                </a:moveTo>
                <a:cubicBezTo>
                  <a:pt x="9062" y="6406"/>
                  <a:pt x="9062" y="6406"/>
                  <a:pt x="9062" y="6406"/>
                </a:cubicBezTo>
                <a:cubicBezTo>
                  <a:pt x="9062" y="6406"/>
                  <a:pt x="9062" y="6406"/>
                  <a:pt x="9062" y="6375"/>
                </a:cubicBezTo>
                <a:cubicBezTo>
                  <a:pt x="9062" y="6375"/>
                  <a:pt x="9062" y="6375"/>
                  <a:pt x="9062" y="6375"/>
                </a:cubicBezTo>
                <a:close/>
                <a:moveTo>
                  <a:pt x="9219" y="6750"/>
                </a:moveTo>
                <a:cubicBezTo>
                  <a:pt x="9094" y="6843"/>
                  <a:pt x="9000" y="6937"/>
                  <a:pt x="8844" y="6968"/>
                </a:cubicBezTo>
                <a:cubicBezTo>
                  <a:pt x="8937" y="6875"/>
                  <a:pt x="9062" y="6781"/>
                  <a:pt x="9219" y="6750"/>
                </a:cubicBezTo>
                <a:close/>
                <a:moveTo>
                  <a:pt x="8562" y="6375"/>
                </a:moveTo>
                <a:cubicBezTo>
                  <a:pt x="8594" y="6375"/>
                  <a:pt x="8594" y="6375"/>
                  <a:pt x="8625" y="6375"/>
                </a:cubicBezTo>
                <a:cubicBezTo>
                  <a:pt x="8594" y="6375"/>
                  <a:pt x="8594" y="6375"/>
                  <a:pt x="8562" y="6375"/>
                </a:cubicBezTo>
                <a:close/>
                <a:moveTo>
                  <a:pt x="8687" y="7031"/>
                </a:moveTo>
                <a:cubicBezTo>
                  <a:pt x="8719" y="7000"/>
                  <a:pt x="8750" y="7000"/>
                  <a:pt x="8781" y="7000"/>
                </a:cubicBezTo>
                <a:cubicBezTo>
                  <a:pt x="8625" y="7125"/>
                  <a:pt x="8469" y="7218"/>
                  <a:pt x="8312" y="7312"/>
                </a:cubicBezTo>
                <a:cubicBezTo>
                  <a:pt x="8156" y="7375"/>
                  <a:pt x="8000" y="7500"/>
                  <a:pt x="7844" y="7562"/>
                </a:cubicBezTo>
                <a:cubicBezTo>
                  <a:pt x="7656" y="7656"/>
                  <a:pt x="7469" y="7781"/>
                  <a:pt x="7281" y="7875"/>
                </a:cubicBezTo>
                <a:cubicBezTo>
                  <a:pt x="7281" y="7843"/>
                  <a:pt x="7250" y="7812"/>
                  <a:pt x="7250" y="7812"/>
                </a:cubicBezTo>
                <a:cubicBezTo>
                  <a:pt x="7281" y="7781"/>
                  <a:pt x="7312" y="7781"/>
                  <a:pt x="7344" y="7781"/>
                </a:cubicBezTo>
                <a:cubicBezTo>
                  <a:pt x="7406" y="7750"/>
                  <a:pt x="7437" y="7656"/>
                  <a:pt x="7500" y="7656"/>
                </a:cubicBezTo>
                <a:cubicBezTo>
                  <a:pt x="7687" y="7593"/>
                  <a:pt x="7812" y="7500"/>
                  <a:pt x="7969" y="7406"/>
                </a:cubicBezTo>
                <a:cubicBezTo>
                  <a:pt x="8219" y="7281"/>
                  <a:pt x="8437" y="7156"/>
                  <a:pt x="8687" y="7031"/>
                </a:cubicBezTo>
                <a:close/>
                <a:moveTo>
                  <a:pt x="7219" y="7843"/>
                </a:moveTo>
                <a:cubicBezTo>
                  <a:pt x="7219" y="7843"/>
                  <a:pt x="7219" y="7812"/>
                  <a:pt x="7219" y="7781"/>
                </a:cubicBezTo>
                <a:cubicBezTo>
                  <a:pt x="7156" y="7781"/>
                  <a:pt x="7094" y="7781"/>
                  <a:pt x="7062" y="7750"/>
                </a:cubicBezTo>
                <a:cubicBezTo>
                  <a:pt x="7094" y="7781"/>
                  <a:pt x="7156" y="7781"/>
                  <a:pt x="7219" y="7781"/>
                </a:cubicBezTo>
                <a:cubicBezTo>
                  <a:pt x="7250" y="7781"/>
                  <a:pt x="7250" y="7781"/>
                  <a:pt x="7281" y="7750"/>
                </a:cubicBezTo>
                <a:cubicBezTo>
                  <a:pt x="7281" y="7750"/>
                  <a:pt x="7312" y="7750"/>
                  <a:pt x="7312" y="7750"/>
                </a:cubicBezTo>
                <a:cubicBezTo>
                  <a:pt x="7312" y="7750"/>
                  <a:pt x="7281" y="7750"/>
                  <a:pt x="7281" y="7750"/>
                </a:cubicBezTo>
                <a:cubicBezTo>
                  <a:pt x="7250" y="7781"/>
                  <a:pt x="7250" y="7781"/>
                  <a:pt x="7219" y="7781"/>
                </a:cubicBezTo>
                <a:cubicBezTo>
                  <a:pt x="7219" y="7812"/>
                  <a:pt x="7219" y="7843"/>
                  <a:pt x="7219" y="7843"/>
                </a:cubicBezTo>
                <a:close/>
                <a:moveTo>
                  <a:pt x="7844" y="7281"/>
                </a:moveTo>
                <a:cubicBezTo>
                  <a:pt x="7781" y="7250"/>
                  <a:pt x="7719" y="7218"/>
                  <a:pt x="7687" y="7156"/>
                </a:cubicBezTo>
                <a:cubicBezTo>
                  <a:pt x="7687" y="7156"/>
                  <a:pt x="7687" y="7156"/>
                  <a:pt x="7687" y="7156"/>
                </a:cubicBezTo>
                <a:cubicBezTo>
                  <a:pt x="7719" y="7218"/>
                  <a:pt x="7781" y="7250"/>
                  <a:pt x="7844" y="7281"/>
                </a:cubicBezTo>
                <a:close/>
                <a:moveTo>
                  <a:pt x="7719" y="7125"/>
                </a:moveTo>
                <a:cubicBezTo>
                  <a:pt x="7719" y="7125"/>
                  <a:pt x="7750" y="7093"/>
                  <a:pt x="7750" y="7062"/>
                </a:cubicBezTo>
                <a:cubicBezTo>
                  <a:pt x="7750" y="7093"/>
                  <a:pt x="7781" y="7093"/>
                  <a:pt x="7781" y="7125"/>
                </a:cubicBezTo>
                <a:cubicBezTo>
                  <a:pt x="7781" y="7093"/>
                  <a:pt x="7750" y="7093"/>
                  <a:pt x="7750" y="7062"/>
                </a:cubicBezTo>
                <a:cubicBezTo>
                  <a:pt x="7750" y="7093"/>
                  <a:pt x="7719" y="7125"/>
                  <a:pt x="7719" y="7125"/>
                </a:cubicBezTo>
                <a:close/>
                <a:moveTo>
                  <a:pt x="8312" y="6812"/>
                </a:move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ubicBezTo>
                  <a:pt x="8312" y="6812"/>
                  <a:pt x="8312" y="6812"/>
                  <a:pt x="8312" y="6812"/>
                </a:cubicBezTo>
                <a:close/>
                <a:moveTo>
                  <a:pt x="7781" y="6843"/>
                </a:moveTo>
                <a:cubicBezTo>
                  <a:pt x="7812" y="6812"/>
                  <a:pt x="7844" y="6812"/>
                  <a:pt x="7844" y="6781"/>
                </a:cubicBezTo>
                <a:cubicBezTo>
                  <a:pt x="7844" y="6812"/>
                  <a:pt x="7812" y="6812"/>
                  <a:pt x="7781" y="6843"/>
                </a:cubicBezTo>
                <a:cubicBezTo>
                  <a:pt x="7750" y="6843"/>
                  <a:pt x="7719" y="6875"/>
                  <a:pt x="7656" y="6906"/>
                </a:cubicBezTo>
                <a:cubicBezTo>
                  <a:pt x="7719" y="6875"/>
                  <a:pt x="7750" y="6843"/>
                  <a:pt x="7781" y="6843"/>
                </a:cubicBezTo>
                <a:close/>
                <a:moveTo>
                  <a:pt x="7594" y="6906"/>
                </a:move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ubicBezTo>
                  <a:pt x="7594" y="6906"/>
                  <a:pt x="7594" y="6906"/>
                  <a:pt x="7594" y="6906"/>
                </a:cubicBezTo>
                <a:close/>
                <a:moveTo>
                  <a:pt x="7594" y="6968"/>
                </a:moveTo>
                <a:cubicBezTo>
                  <a:pt x="7562" y="6968"/>
                  <a:pt x="7562" y="6968"/>
                  <a:pt x="7562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594" y="6968"/>
                  <a:pt x="7594" y="6968"/>
                  <a:pt x="7594" y="6968"/>
                </a:cubicBezTo>
                <a:cubicBezTo>
                  <a:pt x="7625" y="6968"/>
                  <a:pt x="7625" y="6968"/>
                  <a:pt x="7656" y="6937"/>
                </a:cubicBezTo>
                <a:cubicBezTo>
                  <a:pt x="7656" y="6937"/>
                  <a:pt x="7656" y="6937"/>
                  <a:pt x="7656" y="6937"/>
                </a:cubicBezTo>
                <a:cubicBezTo>
                  <a:pt x="7719" y="6937"/>
                  <a:pt x="7781" y="6875"/>
                  <a:pt x="7844" y="6843"/>
                </a:cubicBezTo>
                <a:cubicBezTo>
                  <a:pt x="7875" y="6843"/>
                  <a:pt x="7875" y="6812"/>
                  <a:pt x="7906" y="6812"/>
                </a:cubicBezTo>
                <a:cubicBezTo>
                  <a:pt x="8031" y="6750"/>
                  <a:pt x="8125" y="6687"/>
                  <a:pt x="8250" y="6625"/>
                </a:cubicBezTo>
                <a:cubicBezTo>
                  <a:pt x="8281" y="6593"/>
                  <a:pt x="8281" y="6593"/>
                  <a:pt x="8312" y="6593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62"/>
                </a:cubicBezTo>
                <a:cubicBezTo>
                  <a:pt x="8312" y="6562"/>
                  <a:pt x="8312" y="6562"/>
                  <a:pt x="8312" y="6593"/>
                </a:cubicBezTo>
                <a:cubicBezTo>
                  <a:pt x="8312" y="6593"/>
                  <a:pt x="8344" y="6562"/>
                  <a:pt x="8375" y="6562"/>
                </a:cubicBezTo>
                <a:cubicBezTo>
                  <a:pt x="8375" y="6593"/>
                  <a:pt x="8344" y="6625"/>
                  <a:pt x="8344" y="6656"/>
                </a:cubicBezTo>
                <a:cubicBezTo>
                  <a:pt x="8281" y="6656"/>
                  <a:pt x="8250" y="6687"/>
                  <a:pt x="8250" y="6718"/>
                </a:cubicBezTo>
                <a:cubicBezTo>
                  <a:pt x="8219" y="6718"/>
                  <a:pt x="8219" y="6718"/>
                  <a:pt x="8187" y="6718"/>
                </a:cubicBezTo>
                <a:cubicBezTo>
                  <a:pt x="8219" y="6750"/>
                  <a:pt x="8250" y="6781"/>
                  <a:pt x="8281" y="6781"/>
                </a:cubicBezTo>
                <a:cubicBezTo>
                  <a:pt x="8250" y="6781"/>
                  <a:pt x="8219" y="6750"/>
                  <a:pt x="8187" y="6718"/>
                </a:cubicBezTo>
                <a:cubicBezTo>
                  <a:pt x="8156" y="6718"/>
                  <a:pt x="8125" y="6750"/>
                  <a:pt x="8094" y="6781"/>
                </a:cubicBezTo>
                <a:cubicBezTo>
                  <a:pt x="8031" y="6812"/>
                  <a:pt x="7969" y="6843"/>
                  <a:pt x="7906" y="6906"/>
                </a:cubicBezTo>
                <a:cubicBezTo>
                  <a:pt x="7937" y="6906"/>
                  <a:pt x="7937" y="6906"/>
                  <a:pt x="7969" y="6937"/>
                </a:cubicBezTo>
                <a:cubicBezTo>
                  <a:pt x="7937" y="6906"/>
                  <a:pt x="7937" y="6906"/>
                  <a:pt x="7906" y="6906"/>
                </a:cubicBezTo>
                <a:cubicBezTo>
                  <a:pt x="7906" y="6906"/>
                  <a:pt x="7906" y="6906"/>
                  <a:pt x="7906" y="6906"/>
                </a:cubicBezTo>
                <a:cubicBezTo>
                  <a:pt x="7875" y="6937"/>
                  <a:pt x="7844" y="7000"/>
                  <a:pt x="7781" y="7000"/>
                </a:cubicBezTo>
                <a:cubicBezTo>
                  <a:pt x="7687" y="7000"/>
                  <a:pt x="7625" y="7031"/>
                  <a:pt x="7594" y="7062"/>
                </a:cubicBezTo>
                <a:cubicBezTo>
                  <a:pt x="7562" y="7062"/>
                  <a:pt x="7531" y="7062"/>
                  <a:pt x="7531" y="7031"/>
                </a:cubicBezTo>
                <a:cubicBezTo>
                  <a:pt x="7531" y="7000"/>
                  <a:pt x="7594" y="7000"/>
                  <a:pt x="7594" y="6968"/>
                </a:cubicBezTo>
                <a:close/>
                <a:moveTo>
                  <a:pt x="7531" y="6937"/>
                </a:moveTo>
                <a:cubicBezTo>
                  <a:pt x="7531" y="6937"/>
                  <a:pt x="7531" y="6937"/>
                  <a:pt x="7531" y="6937"/>
                </a:cubicBezTo>
                <a:cubicBezTo>
                  <a:pt x="7531" y="6968"/>
                  <a:pt x="7531" y="6968"/>
                  <a:pt x="7500" y="7000"/>
                </a:cubicBezTo>
                <a:cubicBezTo>
                  <a:pt x="7531" y="6968"/>
                  <a:pt x="7531" y="6968"/>
                  <a:pt x="7531" y="6937"/>
                </a:cubicBezTo>
                <a:close/>
                <a:moveTo>
                  <a:pt x="7469" y="7031"/>
                </a:move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37" y="7031"/>
                </a:cubicBezTo>
                <a:cubicBezTo>
                  <a:pt x="7469" y="7031"/>
                  <a:pt x="7469" y="7031"/>
                  <a:pt x="7469" y="7031"/>
                </a:cubicBezTo>
                <a:close/>
                <a:moveTo>
                  <a:pt x="7312" y="750"/>
                </a:moveTo>
                <a:cubicBezTo>
                  <a:pt x="7312" y="781"/>
                  <a:pt x="7344" y="781"/>
                  <a:pt x="7375" y="781"/>
                </a:cubicBezTo>
                <a:cubicBezTo>
                  <a:pt x="7344" y="781"/>
                  <a:pt x="7312" y="781"/>
                  <a:pt x="7312" y="750"/>
                </a:cubicBezTo>
                <a:cubicBezTo>
                  <a:pt x="7312" y="750"/>
                  <a:pt x="7312" y="750"/>
                  <a:pt x="7312" y="750"/>
                </a:cubicBezTo>
                <a:close/>
                <a:moveTo>
                  <a:pt x="7344" y="1187"/>
                </a:moveTo>
                <a:cubicBezTo>
                  <a:pt x="7344" y="1187"/>
                  <a:pt x="7344" y="1187"/>
                  <a:pt x="7344" y="1187"/>
                </a:cubicBezTo>
                <a:cubicBezTo>
                  <a:pt x="7344" y="1218"/>
                  <a:pt x="7344" y="1218"/>
                  <a:pt x="7344" y="1218"/>
                </a:cubicBezTo>
                <a:cubicBezTo>
                  <a:pt x="7344" y="1218"/>
                  <a:pt x="7344" y="1218"/>
                  <a:pt x="7344" y="1187"/>
                </a:cubicBezTo>
                <a:cubicBezTo>
                  <a:pt x="7344" y="1187"/>
                  <a:pt x="7344" y="1187"/>
                  <a:pt x="7344" y="1187"/>
                </a:cubicBezTo>
                <a:close/>
                <a:moveTo>
                  <a:pt x="7281" y="1281"/>
                </a:moveTo>
                <a:cubicBezTo>
                  <a:pt x="7281" y="1281"/>
                  <a:pt x="7281" y="1281"/>
                  <a:pt x="7281" y="1281"/>
                </a:cubicBezTo>
                <a:cubicBezTo>
                  <a:pt x="7281" y="1281"/>
                  <a:pt x="7281" y="1281"/>
                  <a:pt x="7281" y="1281"/>
                </a:cubicBezTo>
                <a:close/>
                <a:moveTo>
                  <a:pt x="7125" y="406"/>
                </a:moveTo>
                <a:cubicBezTo>
                  <a:pt x="7156" y="437"/>
                  <a:pt x="7187" y="437"/>
                  <a:pt x="7219" y="468"/>
                </a:cubicBezTo>
                <a:cubicBezTo>
                  <a:pt x="7219" y="468"/>
                  <a:pt x="7250" y="468"/>
                  <a:pt x="7250" y="468"/>
                </a:cubicBezTo>
                <a:cubicBezTo>
                  <a:pt x="7250" y="468"/>
                  <a:pt x="7219" y="468"/>
                  <a:pt x="7219" y="468"/>
                </a:cubicBezTo>
                <a:cubicBezTo>
                  <a:pt x="7219" y="468"/>
                  <a:pt x="7219" y="468"/>
                  <a:pt x="7219" y="468"/>
                </a:cubicBezTo>
                <a:cubicBezTo>
                  <a:pt x="7187" y="437"/>
                  <a:pt x="7156" y="437"/>
                  <a:pt x="7094" y="406"/>
                </a:cubicBezTo>
                <a:cubicBezTo>
                  <a:pt x="7094" y="437"/>
                  <a:pt x="7031" y="406"/>
                  <a:pt x="7000" y="406"/>
                </a:cubicBezTo>
                <a:cubicBezTo>
                  <a:pt x="7031" y="406"/>
                  <a:pt x="7094" y="437"/>
                  <a:pt x="7125" y="406"/>
                </a:cubicBezTo>
                <a:close/>
                <a:moveTo>
                  <a:pt x="7250" y="875"/>
                </a:moveTo>
                <a:cubicBezTo>
                  <a:pt x="7250" y="875"/>
                  <a:pt x="7250" y="843"/>
                  <a:pt x="7219" y="843"/>
                </a:cubicBezTo>
                <a:cubicBezTo>
                  <a:pt x="7219" y="843"/>
                  <a:pt x="7219" y="843"/>
                  <a:pt x="7219" y="843"/>
                </a:cubicBezTo>
                <a:cubicBezTo>
                  <a:pt x="7250" y="843"/>
                  <a:pt x="7250" y="875"/>
                  <a:pt x="7250" y="875"/>
                </a:cubicBezTo>
                <a:close/>
                <a:moveTo>
                  <a:pt x="6937" y="468"/>
                </a:moveTo>
                <a:cubicBezTo>
                  <a:pt x="6937" y="500"/>
                  <a:pt x="6937" y="500"/>
                  <a:pt x="6937" y="531"/>
                </a:cubicBezTo>
                <a:cubicBezTo>
                  <a:pt x="6937" y="500"/>
                  <a:pt x="6937" y="500"/>
                  <a:pt x="6937" y="468"/>
                </a:cubicBezTo>
                <a:cubicBezTo>
                  <a:pt x="7000" y="468"/>
                  <a:pt x="7094" y="468"/>
                  <a:pt x="7156" y="468"/>
                </a:cubicBezTo>
                <a:cubicBezTo>
                  <a:pt x="7094" y="468"/>
                  <a:pt x="7000" y="468"/>
                  <a:pt x="6937" y="468"/>
                </a:cubicBezTo>
                <a:close/>
                <a:moveTo>
                  <a:pt x="7094" y="1437"/>
                </a:moveTo>
                <a:cubicBezTo>
                  <a:pt x="7031" y="1406"/>
                  <a:pt x="7000" y="1406"/>
                  <a:pt x="6969" y="1406"/>
                </a:cubicBezTo>
                <a:cubicBezTo>
                  <a:pt x="7000" y="1406"/>
                  <a:pt x="7031" y="1406"/>
                  <a:pt x="7094" y="1437"/>
                </a:cubicBezTo>
                <a:close/>
                <a:moveTo>
                  <a:pt x="7125" y="1406"/>
                </a:moveTo>
                <a:cubicBezTo>
                  <a:pt x="7156" y="1375"/>
                  <a:pt x="7156" y="1343"/>
                  <a:pt x="7187" y="1343"/>
                </a:cubicBezTo>
                <a:cubicBezTo>
                  <a:pt x="7156" y="1343"/>
                  <a:pt x="7156" y="1375"/>
                  <a:pt x="7125" y="1406"/>
                </a:cubicBezTo>
                <a:close/>
                <a:moveTo>
                  <a:pt x="7125" y="7156"/>
                </a:moveTo>
                <a:cubicBezTo>
                  <a:pt x="7125" y="7187"/>
                  <a:pt x="7156" y="7187"/>
                  <a:pt x="7156" y="7187"/>
                </a:cubicBezTo>
                <a:cubicBezTo>
                  <a:pt x="7156" y="7187"/>
                  <a:pt x="7156" y="7187"/>
                  <a:pt x="7156" y="7187"/>
                </a:cubicBezTo>
                <a:cubicBezTo>
                  <a:pt x="7156" y="7187"/>
                  <a:pt x="7125" y="7187"/>
                  <a:pt x="7125" y="7156"/>
                </a:cubicBezTo>
                <a:cubicBezTo>
                  <a:pt x="7125" y="7156"/>
                  <a:pt x="7125" y="7156"/>
                  <a:pt x="7125" y="7156"/>
                </a:cubicBezTo>
                <a:close/>
                <a:moveTo>
                  <a:pt x="6875" y="7312"/>
                </a:moveTo>
                <a:cubicBezTo>
                  <a:pt x="6875" y="7312"/>
                  <a:pt x="6875" y="7312"/>
                  <a:pt x="6875" y="7312"/>
                </a:cubicBezTo>
                <a:cubicBezTo>
                  <a:pt x="6844" y="7343"/>
                  <a:pt x="6812" y="7375"/>
                  <a:pt x="6781" y="7375"/>
                </a:cubicBezTo>
                <a:cubicBezTo>
                  <a:pt x="6812" y="7375"/>
                  <a:pt x="6844" y="7343"/>
                  <a:pt x="6875" y="7312"/>
                </a:cubicBezTo>
                <a:close/>
                <a:moveTo>
                  <a:pt x="5875" y="7812"/>
                </a:move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75" y="7812"/>
                  <a:pt x="5875" y="7812"/>
                  <a:pt x="5875" y="7812"/>
                </a:cubicBezTo>
                <a:cubicBezTo>
                  <a:pt x="5812" y="7843"/>
                  <a:pt x="5781" y="7843"/>
                  <a:pt x="5750" y="7875"/>
                </a:cubicBezTo>
                <a:cubicBezTo>
                  <a:pt x="5781" y="7843"/>
                  <a:pt x="5812" y="7843"/>
                  <a:pt x="5875" y="7812"/>
                </a:cubicBezTo>
                <a:close/>
                <a:moveTo>
                  <a:pt x="5000" y="8187"/>
                </a:moveTo>
                <a:cubicBezTo>
                  <a:pt x="5000" y="8187"/>
                  <a:pt x="5000" y="8187"/>
                  <a:pt x="5000" y="8187"/>
                </a:cubicBezTo>
                <a:cubicBezTo>
                  <a:pt x="5000" y="8187"/>
                  <a:pt x="5000" y="8218"/>
                  <a:pt x="5000" y="8218"/>
                </a:cubicBezTo>
                <a:cubicBezTo>
                  <a:pt x="5000" y="8218"/>
                  <a:pt x="5000" y="8218"/>
                  <a:pt x="5000" y="8218"/>
                </a:cubicBezTo>
                <a:cubicBezTo>
                  <a:pt x="5000" y="8218"/>
                  <a:pt x="5000" y="8187"/>
                  <a:pt x="5000" y="8187"/>
                </a:cubicBezTo>
                <a:close/>
                <a:moveTo>
                  <a:pt x="4469" y="8437"/>
                </a:moveTo>
                <a:cubicBezTo>
                  <a:pt x="4437" y="8437"/>
                  <a:pt x="4437" y="8437"/>
                  <a:pt x="4437" y="8437"/>
                </a:cubicBezTo>
                <a:cubicBezTo>
                  <a:pt x="4437" y="8437"/>
                  <a:pt x="4437" y="8437"/>
                  <a:pt x="4469" y="8437"/>
                </a:cubicBezTo>
                <a:close/>
                <a:moveTo>
                  <a:pt x="4406" y="8437"/>
                </a:moveTo>
                <a:cubicBezTo>
                  <a:pt x="4406" y="8437"/>
                  <a:pt x="4406" y="8437"/>
                  <a:pt x="4437" y="8437"/>
                </a:cubicBezTo>
                <a:cubicBezTo>
                  <a:pt x="4406" y="8437"/>
                  <a:pt x="4406" y="8437"/>
                  <a:pt x="4406" y="8437"/>
                </a:cubicBezTo>
                <a:cubicBezTo>
                  <a:pt x="4406" y="8437"/>
                  <a:pt x="4406" y="8468"/>
                  <a:pt x="4406" y="8468"/>
                </a:cubicBezTo>
                <a:cubicBezTo>
                  <a:pt x="4406" y="8468"/>
                  <a:pt x="4406" y="8437"/>
                  <a:pt x="4406" y="8437"/>
                </a:cubicBezTo>
                <a:close/>
                <a:moveTo>
                  <a:pt x="4219" y="8562"/>
                </a:move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ubicBezTo>
                  <a:pt x="4219" y="8562"/>
                  <a:pt x="4219" y="8562"/>
                  <a:pt x="4219" y="8562"/>
                </a:cubicBezTo>
                <a:close/>
                <a:moveTo>
                  <a:pt x="4062" y="8656"/>
                </a:moveTo>
                <a:cubicBezTo>
                  <a:pt x="4062" y="8656"/>
                  <a:pt x="4062" y="8656"/>
                  <a:pt x="4062" y="8656"/>
                </a:cubicBezTo>
                <a:cubicBezTo>
                  <a:pt x="4031" y="8656"/>
                  <a:pt x="4031" y="8656"/>
                  <a:pt x="4031" y="8656"/>
                </a:cubicBezTo>
                <a:cubicBezTo>
                  <a:pt x="4031" y="8656"/>
                  <a:pt x="4031" y="8656"/>
                  <a:pt x="4062" y="8656"/>
                </a:cubicBezTo>
                <a:close/>
                <a:moveTo>
                  <a:pt x="3437" y="4468"/>
                </a:moveTo>
                <a:cubicBezTo>
                  <a:pt x="3406" y="4500"/>
                  <a:pt x="3344" y="4500"/>
                  <a:pt x="3312" y="4531"/>
                </a:cubicBezTo>
                <a:cubicBezTo>
                  <a:pt x="3344" y="4500"/>
                  <a:pt x="3406" y="4500"/>
                  <a:pt x="3437" y="4468"/>
                </a:cubicBezTo>
                <a:close/>
                <a:moveTo>
                  <a:pt x="2719" y="4718"/>
                </a:moveTo>
                <a:cubicBezTo>
                  <a:pt x="2906" y="4656"/>
                  <a:pt x="3125" y="4593"/>
                  <a:pt x="3312" y="4562"/>
                </a:cubicBezTo>
                <a:cubicBezTo>
                  <a:pt x="3344" y="4562"/>
                  <a:pt x="3344" y="4562"/>
                  <a:pt x="3375" y="4562"/>
                </a:cubicBezTo>
                <a:cubicBezTo>
                  <a:pt x="3312" y="4625"/>
                  <a:pt x="3250" y="4656"/>
                  <a:pt x="3187" y="4687"/>
                </a:cubicBezTo>
                <a:cubicBezTo>
                  <a:pt x="3125" y="4687"/>
                  <a:pt x="3000" y="4687"/>
                  <a:pt x="2937" y="4718"/>
                </a:cubicBezTo>
                <a:cubicBezTo>
                  <a:pt x="2875" y="4750"/>
                  <a:pt x="2812" y="4750"/>
                  <a:pt x="2750" y="4781"/>
                </a:cubicBezTo>
                <a:cubicBezTo>
                  <a:pt x="2719" y="4812"/>
                  <a:pt x="2687" y="4843"/>
                  <a:pt x="2687" y="4812"/>
                </a:cubicBezTo>
                <a:cubicBezTo>
                  <a:pt x="2656" y="4781"/>
                  <a:pt x="2687" y="4718"/>
                  <a:pt x="2719" y="4718"/>
                </a:cubicBezTo>
                <a:close/>
                <a:moveTo>
                  <a:pt x="2937" y="5125"/>
                </a:move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ubicBezTo>
                  <a:pt x="2937" y="5125"/>
                  <a:pt x="2937" y="5125"/>
                  <a:pt x="2937" y="5125"/>
                </a:cubicBezTo>
                <a:close/>
                <a:moveTo>
                  <a:pt x="2844" y="5187"/>
                </a:moveTo>
                <a:cubicBezTo>
                  <a:pt x="2844" y="5187"/>
                  <a:pt x="2844" y="5187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ubicBezTo>
                  <a:pt x="2875" y="5187"/>
                  <a:pt x="2875" y="5187"/>
                  <a:pt x="2875" y="5187"/>
                </a:cubicBezTo>
                <a:cubicBezTo>
                  <a:pt x="2875" y="5187"/>
                  <a:pt x="2875" y="5187"/>
                  <a:pt x="2844" y="5187"/>
                </a:cubicBezTo>
                <a:cubicBezTo>
                  <a:pt x="2812" y="5218"/>
                  <a:pt x="2812" y="5250"/>
                  <a:pt x="2781" y="5250"/>
                </a:cubicBezTo>
                <a:cubicBezTo>
                  <a:pt x="2812" y="5250"/>
                  <a:pt x="2812" y="5218"/>
                  <a:pt x="2844" y="5187"/>
                </a:cubicBezTo>
                <a:cubicBezTo>
                  <a:pt x="2844" y="5187"/>
                  <a:pt x="2844" y="5187"/>
                  <a:pt x="2844" y="5187"/>
                </a:cubicBezTo>
                <a:close/>
                <a:moveTo>
                  <a:pt x="2750" y="5281"/>
                </a:moveTo>
                <a:cubicBezTo>
                  <a:pt x="2750" y="5281"/>
                  <a:pt x="2750" y="5281"/>
                  <a:pt x="2750" y="5281"/>
                </a:cubicBezTo>
                <a:cubicBezTo>
                  <a:pt x="2750" y="5281"/>
                  <a:pt x="2750" y="5281"/>
                  <a:pt x="2750" y="5281"/>
                </a:cubicBezTo>
                <a:cubicBezTo>
                  <a:pt x="2687" y="5281"/>
                  <a:pt x="2656" y="5312"/>
                  <a:pt x="2625" y="5375"/>
                </a:cubicBezTo>
                <a:cubicBezTo>
                  <a:pt x="2656" y="5312"/>
                  <a:pt x="2687" y="5281"/>
                  <a:pt x="2750" y="5281"/>
                </a:cubicBezTo>
                <a:close/>
                <a:moveTo>
                  <a:pt x="2719" y="9093"/>
                </a:moveTo>
                <a:cubicBezTo>
                  <a:pt x="2687" y="9093"/>
                  <a:pt x="2656" y="9093"/>
                  <a:pt x="2656" y="9093"/>
                </a:cubicBezTo>
                <a:cubicBezTo>
                  <a:pt x="2656" y="9093"/>
                  <a:pt x="2656" y="9093"/>
                  <a:pt x="2656" y="9093"/>
                </a:cubicBezTo>
                <a:cubicBezTo>
                  <a:pt x="2656" y="9093"/>
                  <a:pt x="2687" y="9093"/>
                  <a:pt x="2719" y="9093"/>
                </a:cubicBezTo>
                <a:close/>
                <a:moveTo>
                  <a:pt x="2562" y="5687"/>
                </a:moveTo>
                <a:cubicBezTo>
                  <a:pt x="2562" y="5687"/>
                  <a:pt x="2562" y="5687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94" y="5687"/>
                </a:cubicBezTo>
                <a:cubicBezTo>
                  <a:pt x="2594" y="5687"/>
                  <a:pt x="2594" y="5687"/>
                  <a:pt x="2562" y="5687"/>
                </a:cubicBezTo>
                <a:cubicBezTo>
                  <a:pt x="2562" y="5718"/>
                  <a:pt x="2562" y="5718"/>
                  <a:pt x="2562" y="5718"/>
                </a:cubicBezTo>
                <a:cubicBezTo>
                  <a:pt x="2562" y="5718"/>
                  <a:pt x="2562" y="5718"/>
                  <a:pt x="2562" y="5687"/>
                </a:cubicBezTo>
                <a:cubicBezTo>
                  <a:pt x="2562" y="5687"/>
                  <a:pt x="2562" y="5687"/>
                  <a:pt x="2562" y="5687"/>
                </a:cubicBezTo>
                <a:close/>
                <a:moveTo>
                  <a:pt x="2625" y="9125"/>
                </a:moveTo>
                <a:cubicBezTo>
                  <a:pt x="2594" y="9156"/>
                  <a:pt x="2562" y="9156"/>
                  <a:pt x="2531" y="9156"/>
                </a:cubicBezTo>
                <a:cubicBezTo>
                  <a:pt x="2562" y="9156"/>
                  <a:pt x="2594" y="9156"/>
                  <a:pt x="2625" y="9125"/>
                </a:cubicBezTo>
                <a:close/>
                <a:moveTo>
                  <a:pt x="2437" y="9156"/>
                </a:moveTo>
                <a:cubicBezTo>
                  <a:pt x="2437" y="9156"/>
                  <a:pt x="2437" y="9156"/>
                  <a:pt x="2437" y="9156"/>
                </a:cubicBezTo>
                <a:cubicBezTo>
                  <a:pt x="2406" y="9156"/>
                  <a:pt x="2406" y="9156"/>
                  <a:pt x="2375" y="9156"/>
                </a:cubicBezTo>
                <a:cubicBezTo>
                  <a:pt x="2406" y="9156"/>
                  <a:pt x="2406" y="9156"/>
                  <a:pt x="2437" y="9156"/>
                </a:cubicBezTo>
                <a:close/>
                <a:moveTo>
                  <a:pt x="2375" y="5843"/>
                </a:moveTo>
                <a:cubicBezTo>
                  <a:pt x="2375" y="5875"/>
                  <a:pt x="2375" y="5875"/>
                  <a:pt x="2375" y="5875"/>
                </a:cubicBezTo>
                <a:cubicBezTo>
                  <a:pt x="2375" y="5875"/>
                  <a:pt x="2375" y="5875"/>
                  <a:pt x="2375" y="5843"/>
                </a:cubicBezTo>
                <a:close/>
                <a:moveTo>
                  <a:pt x="2312" y="5906"/>
                </a:moveTo>
                <a:cubicBezTo>
                  <a:pt x="2312" y="5875"/>
                  <a:pt x="2344" y="5875"/>
                  <a:pt x="2344" y="5875"/>
                </a:cubicBezTo>
                <a:cubicBezTo>
                  <a:pt x="2344" y="5875"/>
                  <a:pt x="2312" y="5875"/>
                  <a:pt x="2312" y="5906"/>
                </a:cubicBezTo>
                <a:cubicBezTo>
                  <a:pt x="2312" y="5906"/>
                  <a:pt x="2344" y="5906"/>
                  <a:pt x="2344" y="5906"/>
                </a:cubicBezTo>
                <a:cubicBezTo>
                  <a:pt x="2344" y="5906"/>
                  <a:pt x="2344" y="5906"/>
                  <a:pt x="2344" y="5906"/>
                </a:cubicBezTo>
                <a:cubicBezTo>
                  <a:pt x="2344" y="5906"/>
                  <a:pt x="2312" y="5906"/>
                  <a:pt x="2312" y="5906"/>
                </a:cubicBezTo>
                <a:cubicBezTo>
                  <a:pt x="2250" y="5937"/>
                  <a:pt x="2219" y="5968"/>
                  <a:pt x="2156" y="6031"/>
                </a:cubicBezTo>
                <a:cubicBezTo>
                  <a:pt x="2219" y="5968"/>
                  <a:pt x="2250" y="5937"/>
                  <a:pt x="2312" y="5906"/>
                </a:cubicBezTo>
                <a:close/>
                <a:moveTo>
                  <a:pt x="2250" y="9093"/>
                </a:moveTo>
                <a:cubicBezTo>
                  <a:pt x="2250" y="9093"/>
                  <a:pt x="2250" y="9093"/>
                  <a:pt x="2250" y="9093"/>
                </a:cubicBezTo>
                <a:cubicBezTo>
                  <a:pt x="2250" y="9156"/>
                  <a:pt x="2187" y="9156"/>
                  <a:pt x="2156" y="9125"/>
                </a:cubicBezTo>
                <a:cubicBezTo>
                  <a:pt x="2187" y="9156"/>
                  <a:pt x="2250" y="9156"/>
                  <a:pt x="2250" y="9093"/>
                </a:cubicBezTo>
                <a:close/>
                <a:moveTo>
                  <a:pt x="2031" y="6156"/>
                </a:moveTo>
                <a:cubicBezTo>
                  <a:pt x="2031" y="6156"/>
                  <a:pt x="2062" y="6156"/>
                  <a:pt x="2062" y="6156"/>
                </a:cubicBezTo>
                <a:cubicBezTo>
                  <a:pt x="2062" y="6156"/>
                  <a:pt x="2031" y="6156"/>
                  <a:pt x="2031" y="6156"/>
                </a:cubicBezTo>
                <a:close/>
                <a:moveTo>
                  <a:pt x="1969" y="6218"/>
                </a:moveTo>
                <a:cubicBezTo>
                  <a:pt x="1969" y="6187"/>
                  <a:pt x="2000" y="6156"/>
                  <a:pt x="2000" y="6156"/>
                </a:cubicBezTo>
                <a:cubicBezTo>
                  <a:pt x="2000" y="6156"/>
                  <a:pt x="1969" y="6187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69" y="6218"/>
                  <a:pt x="1969" y="6218"/>
                  <a:pt x="1969" y="6218"/>
                </a:cubicBezTo>
                <a:cubicBezTo>
                  <a:pt x="1937" y="6218"/>
                  <a:pt x="1906" y="6250"/>
                  <a:pt x="1906" y="6250"/>
                </a:cubicBezTo>
                <a:cubicBezTo>
                  <a:pt x="1906" y="6250"/>
                  <a:pt x="1937" y="6218"/>
                  <a:pt x="1969" y="6218"/>
                </a:cubicBezTo>
                <a:close/>
                <a:moveTo>
                  <a:pt x="1906" y="6312"/>
                </a:moveTo>
                <a:cubicBezTo>
                  <a:pt x="1906" y="6312"/>
                  <a:pt x="1906" y="6312"/>
                  <a:pt x="1906" y="6312"/>
                </a:cubicBezTo>
                <a:cubicBezTo>
                  <a:pt x="1906" y="6281"/>
                  <a:pt x="1906" y="6281"/>
                  <a:pt x="1906" y="6281"/>
                </a:cubicBezTo>
                <a:cubicBezTo>
                  <a:pt x="1906" y="6281"/>
                  <a:pt x="1906" y="6281"/>
                  <a:pt x="1906" y="6312"/>
                </a:cubicBezTo>
                <a:close/>
                <a:moveTo>
                  <a:pt x="1844" y="9000"/>
                </a:move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ubicBezTo>
                  <a:pt x="1844" y="9000"/>
                  <a:pt x="1844" y="9000"/>
                  <a:pt x="1844" y="9000"/>
                </a:cubicBezTo>
                <a:close/>
                <a:moveTo>
                  <a:pt x="2125" y="9000"/>
                </a:moveTo>
                <a:cubicBezTo>
                  <a:pt x="2125" y="9000"/>
                  <a:pt x="2125" y="9000"/>
                  <a:pt x="2125" y="9000"/>
                </a:cubicBezTo>
                <a:cubicBezTo>
                  <a:pt x="2031" y="9031"/>
                  <a:pt x="1937" y="9031"/>
                  <a:pt x="1844" y="9093"/>
                </a:cubicBezTo>
                <a:cubicBezTo>
                  <a:pt x="1937" y="9031"/>
                  <a:pt x="2031" y="9031"/>
                  <a:pt x="2125" y="9000"/>
                </a:cubicBezTo>
                <a:close/>
                <a:moveTo>
                  <a:pt x="2187" y="9968"/>
                </a:moveTo>
                <a:cubicBezTo>
                  <a:pt x="2250" y="10000"/>
                  <a:pt x="2344" y="10000"/>
                  <a:pt x="2406" y="10000"/>
                </a:cubicBezTo>
                <a:cubicBezTo>
                  <a:pt x="2344" y="10000"/>
                  <a:pt x="2250" y="10000"/>
                  <a:pt x="2187" y="9968"/>
                </a:cubicBezTo>
                <a:close/>
                <a:moveTo>
                  <a:pt x="2500" y="9656"/>
                </a:moveTo>
                <a:cubicBezTo>
                  <a:pt x="2469" y="9656"/>
                  <a:pt x="2406" y="9656"/>
                  <a:pt x="2406" y="9593"/>
                </a:cubicBezTo>
                <a:cubicBezTo>
                  <a:pt x="2406" y="9593"/>
                  <a:pt x="2406" y="9593"/>
                  <a:pt x="2406" y="9593"/>
                </a:cubicBezTo>
                <a:cubicBezTo>
                  <a:pt x="2406" y="9656"/>
                  <a:pt x="2469" y="9656"/>
                  <a:pt x="2500" y="9656"/>
                </a:cubicBezTo>
                <a:close/>
                <a:moveTo>
                  <a:pt x="2469" y="9437"/>
                </a:move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ubicBezTo>
                  <a:pt x="2469" y="9437"/>
                  <a:pt x="2469" y="9437"/>
                  <a:pt x="2469" y="9437"/>
                </a:cubicBezTo>
                <a:close/>
                <a:moveTo>
                  <a:pt x="2531" y="9781"/>
                </a:moveTo>
                <a:cubicBezTo>
                  <a:pt x="2500" y="9781"/>
                  <a:pt x="2500" y="9750"/>
                  <a:pt x="2500" y="9718"/>
                </a:cubicBezTo>
                <a:cubicBezTo>
                  <a:pt x="2500" y="9718"/>
                  <a:pt x="2531" y="9718"/>
                  <a:pt x="2531" y="9718"/>
                </a:cubicBezTo>
                <a:cubicBezTo>
                  <a:pt x="2562" y="9718"/>
                  <a:pt x="2562" y="9687"/>
                  <a:pt x="2594" y="9687"/>
                </a:cubicBezTo>
                <a:cubicBezTo>
                  <a:pt x="2562" y="9687"/>
                  <a:pt x="2562" y="9718"/>
                  <a:pt x="2531" y="9718"/>
                </a:cubicBezTo>
                <a:cubicBezTo>
                  <a:pt x="2531" y="9718"/>
                  <a:pt x="2500" y="9718"/>
                  <a:pt x="2500" y="9718"/>
                </a:cubicBezTo>
                <a:cubicBezTo>
                  <a:pt x="2500" y="9750"/>
                  <a:pt x="2500" y="9781"/>
                  <a:pt x="2531" y="9781"/>
                </a:cubicBezTo>
                <a:close/>
                <a:moveTo>
                  <a:pt x="2594" y="10250"/>
                </a:moveTo>
                <a:cubicBezTo>
                  <a:pt x="2594" y="10250"/>
                  <a:pt x="2625" y="10218"/>
                  <a:pt x="2625" y="10218"/>
                </a:cubicBezTo>
                <a:cubicBezTo>
                  <a:pt x="2625" y="10218"/>
                  <a:pt x="2625" y="10218"/>
                  <a:pt x="2625" y="10218"/>
                </a:cubicBezTo>
                <a:cubicBezTo>
                  <a:pt x="2625" y="10218"/>
                  <a:pt x="2594" y="10250"/>
                  <a:pt x="2594" y="10250"/>
                </a:cubicBezTo>
                <a:close/>
                <a:moveTo>
                  <a:pt x="2562" y="10031"/>
                </a:moveTo>
                <a:cubicBezTo>
                  <a:pt x="2594" y="10031"/>
                  <a:pt x="2656" y="10031"/>
                  <a:pt x="2687" y="10000"/>
                </a:cubicBezTo>
                <a:cubicBezTo>
                  <a:pt x="2687" y="10000"/>
                  <a:pt x="2687" y="10000"/>
                  <a:pt x="2687" y="10000"/>
                </a:cubicBezTo>
                <a:cubicBezTo>
                  <a:pt x="2656" y="10031"/>
                  <a:pt x="2594" y="10031"/>
                  <a:pt x="2562" y="10031"/>
                </a:cubicBezTo>
                <a:close/>
                <a:moveTo>
                  <a:pt x="2500" y="9250"/>
                </a:moveTo>
                <a:cubicBezTo>
                  <a:pt x="2500" y="9250"/>
                  <a:pt x="2531" y="9250"/>
                  <a:pt x="2531" y="9281"/>
                </a:cubicBezTo>
                <a:cubicBezTo>
                  <a:pt x="2531" y="9250"/>
                  <a:pt x="2500" y="9250"/>
                  <a:pt x="2500" y="9250"/>
                </a:cubicBezTo>
                <a:cubicBezTo>
                  <a:pt x="2500" y="9250"/>
                  <a:pt x="2500" y="9250"/>
                  <a:pt x="2500" y="9250"/>
                </a:cubicBezTo>
                <a:cubicBezTo>
                  <a:pt x="2437" y="9250"/>
                  <a:pt x="2406" y="9250"/>
                  <a:pt x="2344" y="9250"/>
                </a:cubicBezTo>
                <a:cubicBezTo>
                  <a:pt x="2312" y="9250"/>
                  <a:pt x="2312" y="9250"/>
                  <a:pt x="2281" y="9250"/>
                </a:cubicBezTo>
                <a:cubicBezTo>
                  <a:pt x="2281" y="9281"/>
                  <a:pt x="2250" y="9281"/>
                  <a:pt x="2219" y="9281"/>
                </a:cubicBezTo>
                <a:cubicBezTo>
                  <a:pt x="2250" y="9281"/>
                  <a:pt x="2281" y="9281"/>
                  <a:pt x="2281" y="9250"/>
                </a:cubicBezTo>
                <a:cubicBezTo>
                  <a:pt x="2219" y="9250"/>
                  <a:pt x="2125" y="9250"/>
                  <a:pt x="2062" y="9218"/>
                </a:cubicBezTo>
                <a:cubicBezTo>
                  <a:pt x="2125" y="9250"/>
                  <a:pt x="2187" y="9250"/>
                  <a:pt x="2250" y="9218"/>
                </a:cubicBezTo>
                <a:cubicBezTo>
                  <a:pt x="2312" y="9218"/>
                  <a:pt x="2406" y="9156"/>
                  <a:pt x="2500" y="9187"/>
                </a:cubicBezTo>
                <a:cubicBezTo>
                  <a:pt x="2562" y="9125"/>
                  <a:pt x="2656" y="9187"/>
                  <a:pt x="2687" y="9125"/>
                </a:cubicBezTo>
                <a:cubicBezTo>
                  <a:pt x="2719" y="9125"/>
                  <a:pt x="2750" y="9093"/>
                  <a:pt x="2781" y="9093"/>
                </a:cubicBezTo>
                <a:cubicBezTo>
                  <a:pt x="3000" y="9062"/>
                  <a:pt x="3250" y="8968"/>
                  <a:pt x="3469" y="8906"/>
                </a:cubicBezTo>
                <a:cubicBezTo>
                  <a:pt x="3656" y="8843"/>
                  <a:pt x="3812" y="8781"/>
                  <a:pt x="4000" y="8718"/>
                </a:cubicBezTo>
                <a:cubicBezTo>
                  <a:pt x="4031" y="8718"/>
                  <a:pt x="4062" y="8687"/>
                  <a:pt x="4062" y="8687"/>
                </a:cubicBezTo>
                <a:cubicBezTo>
                  <a:pt x="4094" y="8687"/>
                  <a:pt x="4094" y="8656"/>
                  <a:pt x="4094" y="8656"/>
                </a:cubicBezTo>
                <a:cubicBezTo>
                  <a:pt x="4156" y="8687"/>
                  <a:pt x="4156" y="8656"/>
                  <a:pt x="4156" y="8625"/>
                </a:cubicBezTo>
                <a:cubicBezTo>
                  <a:pt x="4219" y="8625"/>
                  <a:pt x="4219" y="8562"/>
                  <a:pt x="4281" y="8562"/>
                </a:cubicBezTo>
                <a:cubicBezTo>
                  <a:pt x="4406" y="8593"/>
                  <a:pt x="4531" y="8500"/>
                  <a:pt x="4625" y="8468"/>
                </a:cubicBezTo>
                <a:cubicBezTo>
                  <a:pt x="4781" y="8406"/>
                  <a:pt x="4937" y="8343"/>
                  <a:pt x="5062" y="8250"/>
                </a:cubicBezTo>
                <a:cubicBezTo>
                  <a:pt x="5125" y="8250"/>
                  <a:pt x="5156" y="8187"/>
                  <a:pt x="5219" y="8187"/>
                </a:cubicBezTo>
                <a:cubicBezTo>
                  <a:pt x="5250" y="8187"/>
                  <a:pt x="5281" y="8187"/>
                  <a:pt x="5312" y="8156"/>
                </a:cubicBezTo>
                <a:cubicBezTo>
                  <a:pt x="5312" y="8156"/>
                  <a:pt x="5312" y="8156"/>
                  <a:pt x="5312" y="8156"/>
                </a:cubicBezTo>
                <a:cubicBezTo>
                  <a:pt x="5375" y="8125"/>
                  <a:pt x="5469" y="8125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531" y="8031"/>
                  <a:pt x="5531" y="8031"/>
                  <a:pt x="5531" y="8031"/>
                </a:cubicBezTo>
                <a:cubicBezTo>
                  <a:pt x="5625" y="8031"/>
                  <a:pt x="5719" y="7968"/>
                  <a:pt x="5781" y="7875"/>
                </a:cubicBezTo>
                <a:cubicBezTo>
                  <a:pt x="5844" y="7875"/>
                  <a:pt x="5875" y="7843"/>
                  <a:pt x="5906" y="7843"/>
                </a:cubicBezTo>
                <a:cubicBezTo>
                  <a:pt x="6000" y="7812"/>
                  <a:pt x="6062" y="7750"/>
                  <a:pt x="6156" y="7750"/>
                </a:cubicBezTo>
                <a:cubicBezTo>
                  <a:pt x="6312" y="7687"/>
                  <a:pt x="6469" y="7625"/>
                  <a:pt x="6594" y="7500"/>
                </a:cubicBezTo>
                <a:cubicBezTo>
                  <a:pt x="6594" y="7500"/>
                  <a:pt x="6594" y="7500"/>
                  <a:pt x="6594" y="7500"/>
                </a:cubicBezTo>
                <a:cubicBezTo>
                  <a:pt x="6719" y="7468"/>
                  <a:pt x="6812" y="7406"/>
                  <a:pt x="6906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6937" y="7343"/>
                  <a:pt x="6937" y="7343"/>
                  <a:pt x="6937" y="7343"/>
                </a:cubicBezTo>
                <a:cubicBezTo>
                  <a:pt x="7031" y="7312"/>
                  <a:pt x="7094" y="7250"/>
                  <a:pt x="7187" y="7218"/>
                </a:cubicBezTo>
                <a:cubicBezTo>
                  <a:pt x="7250" y="7187"/>
                  <a:pt x="7281" y="7125"/>
                  <a:pt x="7344" y="7093"/>
                </a:cubicBezTo>
                <a:cubicBezTo>
                  <a:pt x="7375" y="7093"/>
                  <a:pt x="7406" y="7093"/>
                  <a:pt x="7437" y="7062"/>
                </a:cubicBezTo>
                <a:cubicBezTo>
                  <a:pt x="7437" y="7062"/>
                  <a:pt x="7437" y="7062"/>
                  <a:pt x="7437" y="7031"/>
                </a:cubicBezTo>
                <a:cubicBezTo>
                  <a:pt x="7437" y="7031"/>
                  <a:pt x="7437" y="7031"/>
                  <a:pt x="7437" y="7031"/>
                </a:cubicBezTo>
                <a:cubicBezTo>
                  <a:pt x="7437" y="7062"/>
                  <a:pt x="7437" y="7062"/>
                  <a:pt x="7437" y="7062"/>
                </a:cubicBezTo>
                <a:cubicBezTo>
                  <a:pt x="7437" y="7062"/>
                  <a:pt x="7469" y="7062"/>
                  <a:pt x="7469" y="7062"/>
                </a:cubicBezTo>
                <a:cubicBezTo>
                  <a:pt x="7469" y="7062"/>
                  <a:pt x="7500" y="7031"/>
                  <a:pt x="7500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469" y="7031"/>
                </a:cubicBezTo>
                <a:cubicBezTo>
                  <a:pt x="7469" y="7031"/>
                  <a:pt x="7469" y="7031"/>
                  <a:pt x="7500" y="7031"/>
                </a:cubicBezTo>
                <a:cubicBezTo>
                  <a:pt x="7500" y="7031"/>
                  <a:pt x="7500" y="7031"/>
                  <a:pt x="7531" y="7031"/>
                </a:cubicBezTo>
                <a:cubicBezTo>
                  <a:pt x="7531" y="7031"/>
                  <a:pt x="7500" y="7031"/>
                  <a:pt x="7500" y="7062"/>
                </a:cubicBezTo>
                <a:cubicBezTo>
                  <a:pt x="7531" y="7062"/>
                  <a:pt x="7531" y="7062"/>
                  <a:pt x="7531" y="7062"/>
                </a:cubicBezTo>
                <a:cubicBezTo>
                  <a:pt x="7562" y="7093"/>
                  <a:pt x="7594" y="7125"/>
                  <a:pt x="7625" y="7156"/>
                </a:cubicBezTo>
                <a:cubicBezTo>
                  <a:pt x="7594" y="7125"/>
                  <a:pt x="7562" y="7093"/>
                  <a:pt x="7531" y="7062"/>
                </a:cubicBezTo>
                <a:cubicBezTo>
                  <a:pt x="7531" y="7062"/>
                  <a:pt x="7531" y="7062"/>
                  <a:pt x="7500" y="7062"/>
                </a:cubicBezTo>
                <a:cubicBezTo>
                  <a:pt x="7500" y="7062"/>
                  <a:pt x="7500" y="7062"/>
                  <a:pt x="7500" y="7062"/>
                </a:cubicBezTo>
                <a:cubicBezTo>
                  <a:pt x="7469" y="7093"/>
                  <a:pt x="7469" y="7125"/>
                  <a:pt x="7469" y="7125"/>
                </a:cubicBezTo>
                <a:cubicBezTo>
                  <a:pt x="7469" y="7156"/>
                  <a:pt x="7469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437" y="7156"/>
                  <a:pt x="7437" y="7156"/>
                  <a:pt x="7437" y="7156"/>
                </a:cubicBezTo>
                <a:cubicBezTo>
                  <a:pt x="7281" y="7250"/>
                  <a:pt x="7125" y="7312"/>
                  <a:pt x="6969" y="7406"/>
                </a:cubicBezTo>
                <a:cubicBezTo>
                  <a:pt x="6687" y="7562"/>
                  <a:pt x="6375" y="7718"/>
                  <a:pt x="6062" y="7875"/>
                </a:cubicBezTo>
                <a:cubicBezTo>
                  <a:pt x="5750" y="8031"/>
                  <a:pt x="5437" y="8187"/>
                  <a:pt x="5094" y="8343"/>
                </a:cubicBezTo>
                <a:cubicBezTo>
                  <a:pt x="4844" y="8468"/>
                  <a:pt x="4625" y="8562"/>
                  <a:pt x="4375" y="8656"/>
                </a:cubicBezTo>
                <a:cubicBezTo>
                  <a:pt x="4250" y="8718"/>
                  <a:pt x="4125" y="8750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4000" y="8812"/>
                  <a:pt x="4000" y="8812"/>
                </a:cubicBezTo>
                <a:cubicBezTo>
                  <a:pt x="4000" y="8812"/>
                  <a:pt x="3969" y="8812"/>
                  <a:pt x="3969" y="8812"/>
                </a:cubicBezTo>
                <a:cubicBezTo>
                  <a:pt x="3750" y="8875"/>
                  <a:pt x="3531" y="8968"/>
                  <a:pt x="3312" y="9031"/>
                </a:cubicBezTo>
                <a:cubicBezTo>
                  <a:pt x="3156" y="9062"/>
                  <a:pt x="3000" y="9125"/>
                  <a:pt x="2844" y="9156"/>
                </a:cubicBezTo>
                <a:cubicBezTo>
                  <a:pt x="2719" y="9187"/>
                  <a:pt x="2625" y="9218"/>
                  <a:pt x="2500" y="9250"/>
                </a:cubicBezTo>
                <a:close/>
                <a:moveTo>
                  <a:pt x="6969" y="7531"/>
                </a:move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62"/>
                </a:cubicBezTo>
                <a:cubicBezTo>
                  <a:pt x="6969" y="7562"/>
                  <a:pt x="6969" y="7562"/>
                  <a:pt x="6969" y="7531"/>
                </a:cubicBezTo>
                <a:close/>
                <a:moveTo>
                  <a:pt x="6344" y="7875"/>
                </a:moveTo>
                <a:cubicBezTo>
                  <a:pt x="6469" y="7781"/>
                  <a:pt x="6594" y="7718"/>
                  <a:pt x="6750" y="7656"/>
                </a:cubicBezTo>
                <a:cubicBezTo>
                  <a:pt x="6750" y="7656"/>
                  <a:pt x="6750" y="7625"/>
                  <a:pt x="6750" y="7625"/>
                </a:cubicBezTo>
                <a:cubicBezTo>
                  <a:pt x="6750" y="7625"/>
                  <a:pt x="6750" y="7656"/>
                  <a:pt x="6750" y="7656"/>
                </a:cubicBezTo>
                <a:cubicBezTo>
                  <a:pt x="6594" y="7718"/>
                  <a:pt x="6469" y="7781"/>
                  <a:pt x="6344" y="7875"/>
                </a:cubicBezTo>
                <a:close/>
                <a:moveTo>
                  <a:pt x="6437" y="7937"/>
                </a:moveTo>
                <a:cubicBezTo>
                  <a:pt x="6437" y="7937"/>
                  <a:pt x="6406" y="7968"/>
                  <a:pt x="6406" y="7937"/>
                </a:cubicBezTo>
                <a:cubicBezTo>
                  <a:pt x="6406" y="7937"/>
                  <a:pt x="6406" y="7937"/>
                  <a:pt x="6406" y="7937"/>
                </a:cubicBezTo>
                <a:cubicBezTo>
                  <a:pt x="6406" y="7968"/>
                  <a:pt x="6437" y="7937"/>
                  <a:pt x="6437" y="7937"/>
                </a:cubicBezTo>
                <a:close/>
                <a:moveTo>
                  <a:pt x="5344" y="8656"/>
                </a:moveTo>
                <a:cubicBezTo>
                  <a:pt x="5344" y="8656"/>
                  <a:pt x="5344" y="8687"/>
                  <a:pt x="5344" y="8718"/>
                </a:cubicBezTo>
                <a:cubicBezTo>
                  <a:pt x="5344" y="8718"/>
                  <a:pt x="5312" y="8718"/>
                  <a:pt x="5312" y="8718"/>
                </a:cubicBezTo>
                <a:cubicBezTo>
                  <a:pt x="5312" y="8718"/>
                  <a:pt x="5344" y="8718"/>
                  <a:pt x="5344" y="8718"/>
                </a:cubicBezTo>
                <a:cubicBezTo>
                  <a:pt x="5344" y="8687"/>
                  <a:pt x="5344" y="8656"/>
                  <a:pt x="5344" y="8656"/>
                </a:cubicBezTo>
                <a:close/>
                <a:moveTo>
                  <a:pt x="5156" y="8656"/>
                </a:moveTo>
                <a:cubicBezTo>
                  <a:pt x="5125" y="8656"/>
                  <a:pt x="5125" y="8687"/>
                  <a:pt x="5094" y="8687"/>
                </a:cubicBezTo>
                <a:cubicBezTo>
                  <a:pt x="5031" y="8687"/>
                  <a:pt x="5031" y="8687"/>
                  <a:pt x="4969" y="8750"/>
                </a:cubicBezTo>
                <a:cubicBezTo>
                  <a:pt x="4906" y="8812"/>
                  <a:pt x="4812" y="8781"/>
                  <a:pt x="4750" y="8781"/>
                </a:cubicBezTo>
                <a:cubicBezTo>
                  <a:pt x="4750" y="8781"/>
                  <a:pt x="4750" y="8750"/>
                  <a:pt x="4750" y="8750"/>
                </a:cubicBezTo>
                <a:cubicBezTo>
                  <a:pt x="4906" y="8687"/>
                  <a:pt x="5031" y="8562"/>
                  <a:pt x="5219" y="8593"/>
                </a:cubicBezTo>
                <a:cubicBezTo>
                  <a:pt x="5219" y="8625"/>
                  <a:pt x="5156" y="8593"/>
                  <a:pt x="5156" y="8593"/>
                </a:cubicBezTo>
                <a:cubicBezTo>
                  <a:pt x="5125" y="8593"/>
                  <a:pt x="5094" y="8593"/>
                  <a:pt x="5094" y="8625"/>
                </a:cubicBezTo>
                <a:cubicBezTo>
                  <a:pt x="5094" y="8656"/>
                  <a:pt x="5125" y="8656"/>
                  <a:pt x="5156" y="8656"/>
                </a:cubicBezTo>
                <a:close/>
                <a:moveTo>
                  <a:pt x="5281" y="8656"/>
                </a:moveTo>
                <a:cubicBezTo>
                  <a:pt x="5281" y="8656"/>
                  <a:pt x="5281" y="8656"/>
                  <a:pt x="5312" y="8656"/>
                </a:cubicBezTo>
                <a:cubicBezTo>
                  <a:pt x="5281" y="8656"/>
                  <a:pt x="5281" y="8656"/>
                  <a:pt x="5281" y="8656"/>
                </a:cubicBezTo>
                <a:cubicBezTo>
                  <a:pt x="5250" y="8656"/>
                  <a:pt x="5219" y="8656"/>
                  <a:pt x="5219" y="8656"/>
                </a:cubicBezTo>
                <a:cubicBezTo>
                  <a:pt x="5219" y="8656"/>
                  <a:pt x="5250" y="8656"/>
                  <a:pt x="5281" y="8656"/>
                </a:cubicBezTo>
                <a:close/>
                <a:moveTo>
                  <a:pt x="4406" y="8843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375" y="8875"/>
                </a:cubicBezTo>
                <a:cubicBezTo>
                  <a:pt x="4375" y="8875"/>
                  <a:pt x="4375" y="8875"/>
                  <a:pt x="4406" y="8843"/>
                </a:cubicBezTo>
                <a:close/>
                <a:moveTo>
                  <a:pt x="4375" y="8875"/>
                </a:moveTo>
                <a:cubicBezTo>
                  <a:pt x="4375" y="8875"/>
                  <a:pt x="4375" y="8875"/>
                  <a:pt x="4375" y="8875"/>
                </a:cubicBezTo>
                <a:cubicBezTo>
                  <a:pt x="4312" y="8906"/>
                  <a:pt x="4281" y="8906"/>
                  <a:pt x="4250" y="8906"/>
                </a:cubicBezTo>
                <a:cubicBezTo>
                  <a:pt x="4281" y="8906"/>
                  <a:pt x="4312" y="8906"/>
                  <a:pt x="4375" y="8875"/>
                </a:cubicBezTo>
                <a:close/>
                <a:moveTo>
                  <a:pt x="3375" y="9312"/>
                </a:moveTo>
                <a:cubicBezTo>
                  <a:pt x="3344" y="9312"/>
                  <a:pt x="3312" y="9281"/>
                  <a:pt x="3250" y="9281"/>
                </a:cubicBezTo>
                <a:cubicBezTo>
                  <a:pt x="3344" y="9250"/>
                  <a:pt x="3406" y="9218"/>
                  <a:pt x="3500" y="9218"/>
                </a:cubicBezTo>
                <a:cubicBezTo>
                  <a:pt x="3500" y="9250"/>
                  <a:pt x="3625" y="9312"/>
                  <a:pt x="3500" y="9281"/>
                </a:cubicBezTo>
                <a:cubicBezTo>
                  <a:pt x="3469" y="9281"/>
                  <a:pt x="3406" y="9312"/>
                  <a:pt x="3375" y="9312"/>
                </a:cubicBezTo>
                <a:close/>
                <a:moveTo>
                  <a:pt x="3437" y="9343"/>
                </a:moveTo>
                <a:cubicBezTo>
                  <a:pt x="3406" y="9375"/>
                  <a:pt x="3375" y="9375"/>
                  <a:pt x="3312" y="9375"/>
                </a:cubicBezTo>
                <a:cubicBezTo>
                  <a:pt x="3312" y="9375"/>
                  <a:pt x="3312" y="9375"/>
                  <a:pt x="3312" y="9375"/>
                </a:cubicBezTo>
                <a:cubicBezTo>
                  <a:pt x="3375" y="9375"/>
                  <a:pt x="3406" y="9375"/>
                  <a:pt x="3437" y="9343"/>
                </a:cubicBezTo>
                <a:close/>
                <a:moveTo>
                  <a:pt x="3312" y="9375"/>
                </a:moveTo>
                <a:cubicBezTo>
                  <a:pt x="3281" y="9375"/>
                  <a:pt x="3281" y="9375"/>
                  <a:pt x="3250" y="9375"/>
                </a:cubicBezTo>
                <a:cubicBezTo>
                  <a:pt x="3281" y="9375"/>
                  <a:pt x="3281" y="9375"/>
                  <a:pt x="3312" y="9375"/>
                </a:cubicBezTo>
                <a:close/>
                <a:moveTo>
                  <a:pt x="3469" y="9218"/>
                </a:moveTo>
                <a:cubicBezTo>
                  <a:pt x="3469" y="9218"/>
                  <a:pt x="3469" y="9218"/>
                  <a:pt x="3469" y="9218"/>
                </a:cubicBezTo>
                <a:cubicBezTo>
                  <a:pt x="3469" y="9218"/>
                  <a:pt x="3469" y="9218"/>
                  <a:pt x="3469" y="9218"/>
                </a:cubicBezTo>
                <a:close/>
                <a:moveTo>
                  <a:pt x="3500" y="9218"/>
                </a:moveTo>
                <a:cubicBezTo>
                  <a:pt x="3531" y="9156"/>
                  <a:pt x="3562" y="9187"/>
                  <a:pt x="3594" y="9187"/>
                </a:cubicBezTo>
                <a:cubicBezTo>
                  <a:pt x="3594" y="9281"/>
                  <a:pt x="3531" y="9187"/>
                  <a:pt x="3500" y="9218"/>
                </a:cubicBezTo>
                <a:close/>
                <a:moveTo>
                  <a:pt x="2969" y="9468"/>
                </a:moveTo>
                <a:cubicBezTo>
                  <a:pt x="2937" y="9468"/>
                  <a:pt x="2937" y="9468"/>
                  <a:pt x="2937" y="9500"/>
                </a:cubicBezTo>
                <a:cubicBezTo>
                  <a:pt x="2937" y="9500"/>
                  <a:pt x="2937" y="9500"/>
                  <a:pt x="2937" y="9500"/>
                </a:cubicBezTo>
                <a:cubicBezTo>
                  <a:pt x="2937" y="9468"/>
                  <a:pt x="2937" y="9468"/>
                  <a:pt x="2969" y="9468"/>
                </a:cubicBezTo>
                <a:close/>
                <a:moveTo>
                  <a:pt x="2719" y="9875"/>
                </a:moveTo>
                <a:cubicBezTo>
                  <a:pt x="2719" y="9875"/>
                  <a:pt x="2750" y="9875"/>
                  <a:pt x="2781" y="9875"/>
                </a:cubicBezTo>
                <a:cubicBezTo>
                  <a:pt x="2750" y="9875"/>
                  <a:pt x="2719" y="9875"/>
                  <a:pt x="2719" y="9875"/>
                </a:cubicBezTo>
                <a:cubicBezTo>
                  <a:pt x="2719" y="9875"/>
                  <a:pt x="2719" y="9875"/>
                  <a:pt x="2719" y="9875"/>
                </a:cubicBezTo>
                <a:close/>
                <a:moveTo>
                  <a:pt x="2812" y="10156"/>
                </a:moveTo>
                <a:cubicBezTo>
                  <a:pt x="2812" y="10156"/>
                  <a:pt x="2812" y="10156"/>
                  <a:pt x="2812" y="10156"/>
                </a:cubicBezTo>
                <a:cubicBezTo>
                  <a:pt x="2844" y="10156"/>
                  <a:pt x="2875" y="10156"/>
                  <a:pt x="2906" y="10187"/>
                </a:cubicBezTo>
                <a:cubicBezTo>
                  <a:pt x="2875" y="10156"/>
                  <a:pt x="2844" y="10156"/>
                  <a:pt x="2812" y="10156"/>
                </a:cubicBezTo>
                <a:close/>
                <a:moveTo>
                  <a:pt x="3062" y="10812"/>
                </a:moveTo>
                <a:cubicBezTo>
                  <a:pt x="3031" y="10812"/>
                  <a:pt x="3000" y="10812"/>
                  <a:pt x="3000" y="10812"/>
                </a:cubicBezTo>
                <a:cubicBezTo>
                  <a:pt x="3000" y="10812"/>
                  <a:pt x="3031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ubicBezTo>
                  <a:pt x="3062" y="10812"/>
                  <a:pt x="3062" y="10812"/>
                  <a:pt x="3062" y="10812"/>
                </a:cubicBezTo>
                <a:close/>
                <a:moveTo>
                  <a:pt x="4844" y="9500"/>
                </a:moveTo>
                <a:cubicBezTo>
                  <a:pt x="4781" y="9562"/>
                  <a:pt x="4719" y="9625"/>
                  <a:pt x="4625" y="9593"/>
                </a:cubicBezTo>
                <a:cubicBezTo>
                  <a:pt x="4625" y="9593"/>
                  <a:pt x="4625" y="9593"/>
                  <a:pt x="4625" y="9562"/>
                </a:cubicBezTo>
                <a:cubicBezTo>
                  <a:pt x="4625" y="9562"/>
                  <a:pt x="4625" y="9562"/>
                  <a:pt x="4625" y="9562"/>
                </a:cubicBezTo>
                <a:cubicBezTo>
                  <a:pt x="4625" y="9625"/>
                  <a:pt x="4594" y="9656"/>
                  <a:pt x="4562" y="9656"/>
                </a:cubicBezTo>
                <a:cubicBezTo>
                  <a:pt x="4531" y="9687"/>
                  <a:pt x="4500" y="9687"/>
                  <a:pt x="4500" y="9687"/>
                </a:cubicBezTo>
                <a:cubicBezTo>
                  <a:pt x="4469" y="9687"/>
                  <a:pt x="4437" y="9687"/>
                  <a:pt x="4406" y="9687"/>
                </a:cubicBezTo>
                <a:cubicBezTo>
                  <a:pt x="4281" y="9750"/>
                  <a:pt x="4187" y="9781"/>
                  <a:pt x="4062" y="9812"/>
                </a:cubicBezTo>
                <a:cubicBezTo>
                  <a:pt x="4031" y="9812"/>
                  <a:pt x="4000" y="9812"/>
                  <a:pt x="3969" y="9812"/>
                </a:cubicBezTo>
                <a:cubicBezTo>
                  <a:pt x="3969" y="9812"/>
                  <a:pt x="3969" y="9750"/>
                  <a:pt x="3969" y="9781"/>
                </a:cubicBezTo>
                <a:cubicBezTo>
                  <a:pt x="3875" y="9937"/>
                  <a:pt x="3719" y="9875"/>
                  <a:pt x="3594" y="9937"/>
                </a:cubicBezTo>
                <a:cubicBezTo>
                  <a:pt x="3531" y="9968"/>
                  <a:pt x="3406" y="10000"/>
                  <a:pt x="3312" y="10000"/>
                </a:cubicBezTo>
                <a:cubicBezTo>
                  <a:pt x="3250" y="10031"/>
                  <a:pt x="3187" y="10062"/>
                  <a:pt x="3156" y="10000"/>
                </a:cubicBezTo>
                <a:cubicBezTo>
                  <a:pt x="3125" y="9968"/>
                  <a:pt x="3094" y="10000"/>
                  <a:pt x="3062" y="10031"/>
                </a:cubicBezTo>
                <a:cubicBezTo>
                  <a:pt x="3031" y="10031"/>
                  <a:pt x="3031" y="10031"/>
                  <a:pt x="3000" y="10000"/>
                </a:cubicBezTo>
                <a:cubicBezTo>
                  <a:pt x="3000" y="10031"/>
                  <a:pt x="3000" y="10031"/>
                  <a:pt x="3000" y="10031"/>
                </a:cubicBezTo>
                <a:cubicBezTo>
                  <a:pt x="3000" y="10031"/>
                  <a:pt x="3000" y="10031"/>
                  <a:pt x="3000" y="10000"/>
                </a:cubicBezTo>
                <a:cubicBezTo>
                  <a:pt x="3000" y="10000"/>
                  <a:pt x="3000" y="10000"/>
                  <a:pt x="2969" y="10000"/>
                </a:cubicBezTo>
                <a:cubicBezTo>
                  <a:pt x="2969" y="10000"/>
                  <a:pt x="2969" y="10000"/>
                  <a:pt x="2969" y="10000"/>
                </a:cubicBezTo>
                <a:cubicBezTo>
                  <a:pt x="2969" y="10000"/>
                  <a:pt x="2937" y="10000"/>
                  <a:pt x="2937" y="10000"/>
                </a:cubicBezTo>
                <a:cubicBezTo>
                  <a:pt x="2937" y="10000"/>
                  <a:pt x="2969" y="10000"/>
                  <a:pt x="2969" y="10000"/>
                </a:cubicBezTo>
                <a:cubicBezTo>
                  <a:pt x="2969" y="9968"/>
                  <a:pt x="2937" y="9937"/>
                  <a:pt x="2906" y="9937"/>
                </a:cubicBezTo>
                <a:cubicBezTo>
                  <a:pt x="2844" y="9937"/>
                  <a:pt x="2812" y="9906"/>
                  <a:pt x="2750" y="9875"/>
                </a:cubicBezTo>
                <a:cubicBezTo>
                  <a:pt x="2937" y="9875"/>
                  <a:pt x="3094" y="9812"/>
                  <a:pt x="3250" y="9781"/>
                </a:cubicBezTo>
                <a:cubicBezTo>
                  <a:pt x="3531" y="9750"/>
                  <a:pt x="3781" y="9656"/>
                  <a:pt x="4031" y="9562"/>
                </a:cubicBezTo>
                <a:cubicBezTo>
                  <a:pt x="4094" y="9593"/>
                  <a:pt x="4219" y="9562"/>
                  <a:pt x="4437" y="9531"/>
                </a:cubicBezTo>
                <a:cubicBezTo>
                  <a:pt x="4687" y="9500"/>
                  <a:pt x="4812" y="9468"/>
                  <a:pt x="4906" y="9468"/>
                </a:cubicBezTo>
                <a:cubicBezTo>
                  <a:pt x="4906" y="9500"/>
                  <a:pt x="4875" y="9500"/>
                  <a:pt x="4844" y="9500"/>
                </a:cubicBezTo>
                <a:close/>
                <a:moveTo>
                  <a:pt x="3219" y="9781"/>
                </a:moveTo>
                <a:cubicBezTo>
                  <a:pt x="3312" y="9750"/>
                  <a:pt x="3375" y="9750"/>
                  <a:pt x="3406" y="9750"/>
                </a:cubicBezTo>
                <a:cubicBezTo>
                  <a:pt x="3375" y="9750"/>
                  <a:pt x="3312" y="9750"/>
                  <a:pt x="3219" y="9781"/>
                </a:cubicBezTo>
                <a:close/>
                <a:moveTo>
                  <a:pt x="5812" y="8593"/>
                </a:moveTo>
                <a:cubicBezTo>
                  <a:pt x="5781" y="8593"/>
                  <a:pt x="5750" y="8656"/>
                  <a:pt x="5719" y="8687"/>
                </a:cubicBezTo>
                <a:cubicBezTo>
                  <a:pt x="5625" y="8687"/>
                  <a:pt x="5531" y="8750"/>
                  <a:pt x="5437" y="8781"/>
                </a:cubicBezTo>
                <a:cubicBezTo>
                  <a:pt x="5250" y="8906"/>
                  <a:pt x="5062" y="8968"/>
                  <a:pt x="4875" y="9031"/>
                </a:cubicBezTo>
                <a:cubicBezTo>
                  <a:pt x="4656" y="9156"/>
                  <a:pt x="4406" y="9218"/>
                  <a:pt x="4156" y="9312"/>
                </a:cubicBezTo>
                <a:cubicBezTo>
                  <a:pt x="4031" y="9343"/>
                  <a:pt x="3875" y="9375"/>
                  <a:pt x="3750" y="9437"/>
                </a:cubicBezTo>
                <a:cubicBezTo>
                  <a:pt x="3687" y="9437"/>
                  <a:pt x="3594" y="9437"/>
                  <a:pt x="3531" y="9500"/>
                </a:cubicBezTo>
                <a:cubicBezTo>
                  <a:pt x="3406" y="9562"/>
                  <a:pt x="3250" y="9562"/>
                  <a:pt x="3094" y="9625"/>
                </a:cubicBezTo>
                <a:cubicBezTo>
                  <a:pt x="3094" y="9593"/>
                  <a:pt x="3062" y="9625"/>
                  <a:pt x="3062" y="9593"/>
                </a:cubicBezTo>
                <a:cubicBezTo>
                  <a:pt x="3094" y="9562"/>
                  <a:pt x="3125" y="9562"/>
                  <a:pt x="3125" y="9531"/>
                </a:cubicBezTo>
                <a:cubicBezTo>
                  <a:pt x="3344" y="9500"/>
                  <a:pt x="3562" y="9437"/>
                  <a:pt x="3781" y="9375"/>
                </a:cubicBezTo>
                <a:cubicBezTo>
                  <a:pt x="4000" y="9281"/>
                  <a:pt x="4219" y="9218"/>
                  <a:pt x="4406" y="9125"/>
                </a:cubicBezTo>
                <a:cubicBezTo>
                  <a:pt x="4469" y="9093"/>
                  <a:pt x="4594" y="9125"/>
                  <a:pt x="4594" y="9031"/>
                </a:cubicBezTo>
                <a:cubicBezTo>
                  <a:pt x="4750" y="8937"/>
                  <a:pt x="4875" y="8875"/>
                  <a:pt x="5031" y="8875"/>
                </a:cubicBezTo>
                <a:cubicBezTo>
                  <a:pt x="5094" y="8781"/>
                  <a:pt x="5156" y="8781"/>
                  <a:pt x="5219" y="8750"/>
                </a:cubicBezTo>
                <a:cubicBezTo>
                  <a:pt x="5219" y="8750"/>
                  <a:pt x="5219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50" y="8750"/>
                  <a:pt x="5250" y="8750"/>
                </a:cubicBezTo>
                <a:cubicBezTo>
                  <a:pt x="5250" y="8750"/>
                  <a:pt x="5281" y="8718"/>
                  <a:pt x="5281" y="8718"/>
                </a:cubicBezTo>
                <a:cubicBezTo>
                  <a:pt x="5312" y="8718"/>
                  <a:pt x="5312" y="8718"/>
                  <a:pt x="5344" y="8718"/>
                </a:cubicBezTo>
                <a:cubicBezTo>
                  <a:pt x="5344" y="8687"/>
                  <a:pt x="5312" y="8687"/>
                  <a:pt x="5312" y="8687"/>
                </a:cubicBezTo>
                <a:cubicBezTo>
                  <a:pt x="5281" y="8687"/>
                  <a:pt x="5281" y="8687"/>
                  <a:pt x="5250" y="8687"/>
                </a:cubicBezTo>
                <a:cubicBezTo>
                  <a:pt x="4937" y="8812"/>
                  <a:pt x="4656" y="8937"/>
                  <a:pt x="4344" y="9062"/>
                </a:cubicBezTo>
                <a:cubicBezTo>
                  <a:pt x="4281" y="9093"/>
                  <a:pt x="4187" y="9125"/>
                  <a:pt x="4125" y="9156"/>
                </a:cubicBezTo>
                <a:cubicBezTo>
                  <a:pt x="4062" y="9156"/>
                  <a:pt x="4031" y="9187"/>
                  <a:pt x="4031" y="9125"/>
                </a:cubicBezTo>
                <a:cubicBezTo>
                  <a:pt x="4000" y="9062"/>
                  <a:pt x="4062" y="9093"/>
                  <a:pt x="4094" y="9062"/>
                </a:cubicBezTo>
                <a:cubicBezTo>
                  <a:pt x="4125" y="9062"/>
                  <a:pt x="4156" y="9093"/>
                  <a:pt x="4187" y="9062"/>
                </a:cubicBezTo>
                <a:cubicBezTo>
                  <a:pt x="4250" y="8968"/>
                  <a:pt x="4344" y="8968"/>
                  <a:pt x="4437" y="8968"/>
                </a:cubicBezTo>
                <a:cubicBezTo>
                  <a:pt x="4469" y="8968"/>
                  <a:pt x="4469" y="8937"/>
                  <a:pt x="4469" y="8937"/>
                </a:cubicBezTo>
                <a:cubicBezTo>
                  <a:pt x="4437" y="8937"/>
                  <a:pt x="4406" y="8937"/>
                  <a:pt x="4406" y="8906"/>
                </a:cubicBezTo>
                <a:cubicBezTo>
                  <a:pt x="4250" y="8937"/>
                  <a:pt x="4094" y="9000"/>
                  <a:pt x="3937" y="9062"/>
                </a:cubicBezTo>
                <a:cubicBezTo>
                  <a:pt x="3906" y="9062"/>
                  <a:pt x="3812" y="9062"/>
                  <a:pt x="3844" y="9125"/>
                </a:cubicBezTo>
                <a:cubicBezTo>
                  <a:pt x="3875" y="9156"/>
                  <a:pt x="3937" y="9218"/>
                  <a:pt x="3844" y="9218"/>
                </a:cubicBezTo>
                <a:cubicBezTo>
                  <a:pt x="3687" y="9281"/>
                  <a:pt x="3531" y="9375"/>
                  <a:pt x="3375" y="9375"/>
                </a:cubicBezTo>
                <a:cubicBezTo>
                  <a:pt x="3344" y="9406"/>
                  <a:pt x="3312" y="9375"/>
                  <a:pt x="3281" y="9406"/>
                </a:cubicBezTo>
                <a:cubicBezTo>
                  <a:pt x="3281" y="9406"/>
                  <a:pt x="3281" y="9437"/>
                  <a:pt x="3281" y="9437"/>
                </a:cubicBezTo>
                <a:cubicBezTo>
                  <a:pt x="3312" y="9437"/>
                  <a:pt x="3312" y="9437"/>
                  <a:pt x="3312" y="9468"/>
                </a:cubicBezTo>
                <a:cubicBezTo>
                  <a:pt x="3437" y="9406"/>
                  <a:pt x="3594" y="9375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562" y="9406"/>
                  <a:pt x="3406" y="9468"/>
                  <a:pt x="3250" y="9500"/>
                </a:cubicBezTo>
                <a:cubicBezTo>
                  <a:pt x="3406" y="9468"/>
                  <a:pt x="3562" y="9406"/>
                  <a:pt x="3719" y="9343"/>
                </a:cubicBezTo>
                <a:cubicBezTo>
                  <a:pt x="3719" y="9343"/>
                  <a:pt x="3719" y="9343"/>
                  <a:pt x="3719" y="9343"/>
                </a:cubicBezTo>
                <a:cubicBezTo>
                  <a:pt x="3719" y="9343"/>
                  <a:pt x="3750" y="9312"/>
                  <a:pt x="3781" y="9312"/>
                </a:cubicBezTo>
                <a:cubicBezTo>
                  <a:pt x="4031" y="9218"/>
                  <a:pt x="4281" y="9156"/>
                  <a:pt x="4531" y="9031"/>
                </a:cubicBezTo>
                <a:cubicBezTo>
                  <a:pt x="4562" y="9031"/>
                  <a:pt x="4594" y="9031"/>
                  <a:pt x="4594" y="9031"/>
                </a:cubicBezTo>
                <a:cubicBezTo>
                  <a:pt x="4781" y="9031"/>
                  <a:pt x="4906" y="8937"/>
                  <a:pt x="5031" y="8875"/>
                </a:cubicBezTo>
                <a:cubicBezTo>
                  <a:pt x="5125" y="8843"/>
                  <a:pt x="5219" y="8812"/>
                  <a:pt x="5281" y="8750"/>
                </a:cubicBezTo>
                <a:cubicBezTo>
                  <a:pt x="5312" y="8750"/>
                  <a:pt x="5375" y="8750"/>
                  <a:pt x="5406" y="8718"/>
                </a:cubicBezTo>
                <a:cubicBezTo>
                  <a:pt x="5406" y="8718"/>
                  <a:pt x="5437" y="8718"/>
                  <a:pt x="5469" y="8718"/>
                </a:cubicBezTo>
                <a:cubicBezTo>
                  <a:pt x="5625" y="8625"/>
                  <a:pt x="5750" y="8531"/>
                  <a:pt x="5937" y="8500"/>
                </a:cubicBezTo>
                <a:cubicBezTo>
                  <a:pt x="5906" y="8562"/>
                  <a:pt x="5875" y="8593"/>
                  <a:pt x="5812" y="8593"/>
                </a:cubicBezTo>
                <a:close/>
                <a:moveTo>
                  <a:pt x="4406" y="8875"/>
                </a:moveTo>
                <a:cubicBezTo>
                  <a:pt x="4500" y="8843"/>
                  <a:pt x="4594" y="8781"/>
                  <a:pt x="4719" y="8812"/>
                </a:cubicBezTo>
                <a:cubicBezTo>
                  <a:pt x="4687" y="8812"/>
                  <a:pt x="4687" y="8843"/>
                  <a:pt x="4625" y="8812"/>
                </a:cubicBezTo>
                <a:cubicBezTo>
                  <a:pt x="4625" y="8812"/>
                  <a:pt x="4594" y="8812"/>
                  <a:pt x="4594" y="8843"/>
                </a:cubicBezTo>
                <a:cubicBezTo>
                  <a:pt x="4594" y="8875"/>
                  <a:pt x="4625" y="8875"/>
                  <a:pt x="4625" y="8875"/>
                </a:cubicBezTo>
                <a:cubicBezTo>
                  <a:pt x="4625" y="8906"/>
                  <a:pt x="4594" y="8875"/>
                  <a:pt x="4562" y="8875"/>
                </a:cubicBezTo>
                <a:cubicBezTo>
                  <a:pt x="4531" y="8875"/>
                  <a:pt x="4500" y="8843"/>
                  <a:pt x="4531" y="8906"/>
                </a:cubicBezTo>
                <a:cubicBezTo>
                  <a:pt x="4562" y="8937"/>
                  <a:pt x="4500" y="8937"/>
                  <a:pt x="4500" y="8937"/>
                </a:cubicBezTo>
                <a:cubicBezTo>
                  <a:pt x="4500" y="8875"/>
                  <a:pt x="4437" y="8906"/>
                  <a:pt x="4406" y="8875"/>
                </a:cubicBez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5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6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7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8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79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0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1"/>
                </a:lnTo>
                <a:lnTo>
                  <a:pt x="4406" y="8882"/>
                </a:lnTo>
                <a:lnTo>
                  <a:pt x="4406" y="8882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3"/>
                </a:lnTo>
                <a:lnTo>
                  <a:pt x="4406" y="8884"/>
                </a:lnTo>
                <a:lnTo>
                  <a:pt x="4406" y="8884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5"/>
                </a:lnTo>
                <a:lnTo>
                  <a:pt x="4406" y="8886"/>
                </a:lnTo>
                <a:lnTo>
                  <a:pt x="4406" y="8886"/>
                </a:lnTo>
                <a:lnTo>
                  <a:pt x="4406" y="8887"/>
                </a:lnTo>
                <a:lnTo>
                  <a:pt x="4406" y="8887"/>
                </a:lnTo>
                <a:lnTo>
                  <a:pt x="4406" y="8888"/>
                </a:lnTo>
                <a:lnTo>
                  <a:pt x="4406" y="8888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89"/>
                </a:lnTo>
                <a:lnTo>
                  <a:pt x="4406" y="8890"/>
                </a:lnTo>
                <a:lnTo>
                  <a:pt x="4406" y="8890"/>
                </a:lnTo>
                <a:lnTo>
                  <a:pt x="4406" y="8891"/>
                </a:lnTo>
                <a:lnTo>
                  <a:pt x="4406" y="8891"/>
                </a:lnTo>
                <a:lnTo>
                  <a:pt x="4406" y="8892"/>
                </a:lnTo>
                <a:lnTo>
                  <a:pt x="4406" y="8892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3"/>
                </a:lnTo>
                <a:lnTo>
                  <a:pt x="4406" y="8894"/>
                </a:lnTo>
                <a:lnTo>
                  <a:pt x="4406" y="8894"/>
                </a:lnTo>
                <a:lnTo>
                  <a:pt x="4406" y="8895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6"/>
                </a:lnTo>
                <a:lnTo>
                  <a:pt x="4406" y="8897"/>
                </a:lnTo>
                <a:lnTo>
                  <a:pt x="4406" y="8897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8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899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0"/>
                </a:lnTo>
                <a:lnTo>
                  <a:pt x="4406" y="8901"/>
                </a:lnTo>
                <a:lnTo>
                  <a:pt x="4406" y="8901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2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3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4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5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lnTo>
                  <a:pt x="4406" y="8906"/>
                </a:lnTo>
                <a:moveTo>
                  <a:pt x="5937" y="8500"/>
                </a:moveTo>
                <a:cubicBezTo>
                  <a:pt x="5937" y="8500"/>
                  <a:pt x="5937" y="8468"/>
                  <a:pt x="5937" y="8468"/>
                </a:cubicBezTo>
                <a:cubicBezTo>
                  <a:pt x="5937" y="8468"/>
                  <a:pt x="5937" y="8437"/>
                  <a:pt x="5937" y="8437"/>
                </a:cubicBezTo>
                <a:cubicBezTo>
                  <a:pt x="5937" y="8437"/>
                  <a:pt x="5937" y="8437"/>
                  <a:pt x="5937" y="8437"/>
                </a:cubicBezTo>
                <a:cubicBezTo>
                  <a:pt x="5937" y="8437"/>
                  <a:pt x="5937" y="8468"/>
                  <a:pt x="5937" y="8468"/>
                </a:cubicBezTo>
                <a:cubicBezTo>
                  <a:pt x="5969" y="8468"/>
                  <a:pt x="5969" y="8468"/>
                  <a:pt x="6000" y="8437"/>
                </a:cubicBezTo>
                <a:cubicBezTo>
                  <a:pt x="6000" y="8500"/>
                  <a:pt x="5969" y="8531"/>
                  <a:pt x="5937" y="8500"/>
                </a:cubicBezTo>
                <a:close/>
                <a:moveTo>
                  <a:pt x="6000" y="8406"/>
                </a:moveTo>
                <a:cubicBezTo>
                  <a:pt x="6000" y="8406"/>
                  <a:pt x="6000" y="8406"/>
                  <a:pt x="6000" y="8406"/>
                </a:cubicBezTo>
                <a:cubicBezTo>
                  <a:pt x="6031" y="8437"/>
                  <a:pt x="6031" y="8437"/>
                  <a:pt x="6031" y="8437"/>
                </a:cubicBezTo>
                <a:cubicBezTo>
                  <a:pt x="6031" y="8437"/>
                  <a:pt x="6031" y="8437"/>
                  <a:pt x="6000" y="8406"/>
                </a:cubicBezTo>
                <a:close/>
                <a:moveTo>
                  <a:pt x="6250" y="8250"/>
                </a:moveTo>
                <a:cubicBezTo>
                  <a:pt x="6187" y="8312"/>
                  <a:pt x="6156" y="8375"/>
                  <a:pt x="6125" y="8437"/>
                </a:cubicBezTo>
                <a:cubicBezTo>
                  <a:pt x="6125" y="8468"/>
                  <a:pt x="6094" y="8468"/>
                  <a:pt x="6094" y="8468"/>
                </a:cubicBezTo>
                <a:cubicBezTo>
                  <a:pt x="6094" y="8437"/>
                  <a:pt x="6062" y="8437"/>
                  <a:pt x="6062" y="8437"/>
                </a:cubicBezTo>
                <a:cubicBezTo>
                  <a:pt x="6062" y="8375"/>
                  <a:pt x="6000" y="8375"/>
                  <a:pt x="5969" y="8406"/>
                </a:cubicBezTo>
                <a:cubicBezTo>
                  <a:pt x="5875" y="8437"/>
                  <a:pt x="5750" y="8531"/>
                  <a:pt x="5625" y="8562"/>
                </a:cubicBezTo>
                <a:cubicBezTo>
                  <a:pt x="5562" y="8593"/>
                  <a:pt x="5531" y="8656"/>
                  <a:pt x="5437" y="8625"/>
                </a:cubicBezTo>
                <a:cubicBezTo>
                  <a:pt x="5437" y="8625"/>
                  <a:pt x="5406" y="8625"/>
                  <a:pt x="5406" y="8593"/>
                </a:cubicBezTo>
                <a:cubicBezTo>
                  <a:pt x="5406" y="8593"/>
                  <a:pt x="5406" y="8593"/>
                  <a:pt x="5406" y="8593"/>
                </a:cubicBezTo>
                <a:cubicBezTo>
                  <a:pt x="5406" y="8625"/>
                  <a:pt x="5437" y="8625"/>
                  <a:pt x="5437" y="8625"/>
                </a:cubicBezTo>
                <a:cubicBezTo>
                  <a:pt x="5437" y="8625"/>
                  <a:pt x="5437" y="8625"/>
                  <a:pt x="5437" y="8625"/>
                </a:cubicBezTo>
                <a:cubicBezTo>
                  <a:pt x="5625" y="8500"/>
                  <a:pt x="5844" y="8406"/>
                  <a:pt x="6062" y="8312"/>
                </a:cubicBezTo>
                <a:cubicBezTo>
                  <a:pt x="6125" y="8281"/>
                  <a:pt x="6156" y="8218"/>
                  <a:pt x="6250" y="8250"/>
                </a:cubicBezTo>
                <a:cubicBezTo>
                  <a:pt x="6250" y="8218"/>
                  <a:pt x="6281" y="8218"/>
                  <a:pt x="6281" y="8218"/>
                </a:cubicBezTo>
                <a:cubicBezTo>
                  <a:pt x="6281" y="8250"/>
                  <a:pt x="6250" y="8250"/>
                  <a:pt x="6250" y="8250"/>
                </a:cubicBezTo>
                <a:close/>
                <a:moveTo>
                  <a:pt x="6250" y="8187"/>
                </a:moveTo>
                <a:cubicBezTo>
                  <a:pt x="6250" y="8218"/>
                  <a:pt x="6250" y="8218"/>
                  <a:pt x="6250" y="8218"/>
                </a:cubicBezTo>
                <a:cubicBezTo>
                  <a:pt x="6250" y="8218"/>
                  <a:pt x="6250" y="8218"/>
                  <a:pt x="6250" y="8187"/>
                </a:cubicBezTo>
                <a:cubicBezTo>
                  <a:pt x="6250" y="8187"/>
                  <a:pt x="6281" y="8156"/>
                  <a:pt x="6312" y="8156"/>
                </a:cubicBezTo>
                <a:cubicBezTo>
                  <a:pt x="6281" y="8156"/>
                  <a:pt x="6250" y="8187"/>
                  <a:pt x="6250" y="8187"/>
                </a:cubicBezTo>
                <a:close/>
                <a:moveTo>
                  <a:pt x="6375" y="8062"/>
                </a:moveTo>
                <a:cubicBezTo>
                  <a:pt x="6187" y="8156"/>
                  <a:pt x="6031" y="8250"/>
                  <a:pt x="5844" y="8343"/>
                </a:cubicBezTo>
                <a:cubicBezTo>
                  <a:pt x="5781" y="8375"/>
                  <a:pt x="5719" y="8406"/>
                  <a:pt x="5656" y="8437"/>
                </a:cubicBezTo>
                <a:cubicBezTo>
                  <a:pt x="5656" y="8406"/>
                  <a:pt x="5625" y="8375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37"/>
                </a:cubicBezTo>
                <a:cubicBezTo>
                  <a:pt x="5594" y="8437"/>
                  <a:pt x="5594" y="8406"/>
                  <a:pt x="5594" y="8406"/>
                </a:cubicBezTo>
                <a:cubicBezTo>
                  <a:pt x="5594" y="8406"/>
                  <a:pt x="5594" y="8406"/>
                  <a:pt x="5594" y="8406"/>
                </a:cubicBezTo>
                <a:cubicBezTo>
                  <a:pt x="5594" y="8406"/>
                  <a:pt x="5594" y="8437"/>
                  <a:pt x="5594" y="8437"/>
                </a:cubicBezTo>
                <a:cubicBezTo>
                  <a:pt x="5594" y="8437"/>
                  <a:pt x="5625" y="8437"/>
                  <a:pt x="5625" y="8437"/>
                </a:cubicBezTo>
                <a:cubicBezTo>
                  <a:pt x="5594" y="8500"/>
                  <a:pt x="5531" y="8406"/>
                  <a:pt x="5500" y="8437"/>
                </a:cubicBezTo>
                <a:cubicBezTo>
                  <a:pt x="5500" y="8468"/>
                  <a:pt x="5531" y="8468"/>
                  <a:pt x="5562" y="8500"/>
                </a:cubicBezTo>
                <a:cubicBezTo>
                  <a:pt x="5500" y="8500"/>
                  <a:pt x="5437" y="8500"/>
                  <a:pt x="5406" y="8500"/>
                </a:cubicBezTo>
                <a:cubicBezTo>
                  <a:pt x="5375" y="8437"/>
                  <a:pt x="5469" y="8437"/>
                  <a:pt x="5469" y="8406"/>
                </a:cubicBezTo>
                <a:cubicBezTo>
                  <a:pt x="5812" y="8281"/>
                  <a:pt x="6094" y="8125"/>
                  <a:pt x="6406" y="7968"/>
                </a:cubicBezTo>
                <a:cubicBezTo>
                  <a:pt x="6437" y="7968"/>
                  <a:pt x="6437" y="7968"/>
                  <a:pt x="6437" y="7968"/>
                </a:cubicBezTo>
                <a:cubicBezTo>
                  <a:pt x="6437" y="8031"/>
                  <a:pt x="6406" y="8031"/>
                  <a:pt x="6375" y="8062"/>
                </a:cubicBezTo>
                <a:close/>
                <a:moveTo>
                  <a:pt x="6469" y="9000"/>
                </a:moveTo>
                <a:cubicBezTo>
                  <a:pt x="6625" y="8906"/>
                  <a:pt x="6812" y="8750"/>
                  <a:pt x="7094" y="8593"/>
                </a:cubicBezTo>
                <a:cubicBezTo>
                  <a:pt x="7094" y="8593"/>
                  <a:pt x="7094" y="8593"/>
                  <a:pt x="7094" y="8593"/>
                </a:cubicBezTo>
                <a:cubicBezTo>
                  <a:pt x="7437" y="8406"/>
                  <a:pt x="7781" y="8218"/>
                  <a:pt x="8125" y="8062"/>
                </a:cubicBezTo>
                <a:cubicBezTo>
                  <a:pt x="8156" y="8031"/>
                  <a:pt x="8219" y="8000"/>
                  <a:pt x="8281" y="8000"/>
                </a:cubicBezTo>
                <a:cubicBezTo>
                  <a:pt x="7719" y="8375"/>
                  <a:pt x="7094" y="8687"/>
                  <a:pt x="6469" y="9000"/>
                </a:cubicBezTo>
                <a:close/>
                <a:moveTo>
                  <a:pt x="9812" y="6718"/>
                </a:move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781" y="6781"/>
                  <a:pt x="9781" y="6812"/>
                  <a:pt x="9844" y="6812"/>
                </a:cubicBezTo>
                <a:cubicBezTo>
                  <a:pt x="9719" y="6875"/>
                  <a:pt x="9625" y="6968"/>
                  <a:pt x="9500" y="7031"/>
                </a:cubicBezTo>
                <a:cubicBezTo>
                  <a:pt x="9500" y="7031"/>
                  <a:pt x="9500" y="7031"/>
                  <a:pt x="9500" y="7062"/>
                </a:cubicBezTo>
                <a:cubicBezTo>
                  <a:pt x="9500" y="7125"/>
                  <a:pt x="9500" y="7125"/>
                  <a:pt x="9437" y="7156"/>
                </a:cubicBezTo>
                <a:cubicBezTo>
                  <a:pt x="9344" y="7218"/>
                  <a:pt x="9187" y="7218"/>
                  <a:pt x="9094" y="7281"/>
                </a:cubicBezTo>
                <a:cubicBezTo>
                  <a:pt x="9031" y="7312"/>
                  <a:pt x="9000" y="7343"/>
                  <a:pt x="8969" y="7375"/>
                </a:cubicBezTo>
                <a:cubicBezTo>
                  <a:pt x="8937" y="7437"/>
                  <a:pt x="8875" y="7468"/>
                  <a:pt x="8781" y="7500"/>
                </a:cubicBezTo>
                <a:cubicBezTo>
                  <a:pt x="8687" y="7500"/>
                  <a:pt x="8531" y="7531"/>
                  <a:pt x="8469" y="7687"/>
                </a:cubicBezTo>
                <a:cubicBezTo>
                  <a:pt x="8469" y="7781"/>
                  <a:pt x="8312" y="7812"/>
                  <a:pt x="8219" y="7875"/>
                </a:cubicBezTo>
                <a:cubicBezTo>
                  <a:pt x="8125" y="7906"/>
                  <a:pt x="8031" y="7875"/>
                  <a:pt x="7969" y="7937"/>
                </a:cubicBezTo>
                <a:cubicBezTo>
                  <a:pt x="7937" y="7937"/>
                  <a:pt x="7937" y="7937"/>
                  <a:pt x="7937" y="7937"/>
                </a:cubicBezTo>
                <a:cubicBezTo>
                  <a:pt x="7906" y="8000"/>
                  <a:pt x="7906" y="8031"/>
                  <a:pt x="7875" y="8062"/>
                </a:cubicBezTo>
                <a:cubicBezTo>
                  <a:pt x="7719" y="8125"/>
                  <a:pt x="7594" y="8218"/>
                  <a:pt x="7469" y="8312"/>
                </a:cubicBezTo>
                <a:cubicBezTo>
                  <a:pt x="7406" y="8343"/>
                  <a:pt x="7281" y="8343"/>
                  <a:pt x="7219" y="8375"/>
                </a:cubicBezTo>
                <a:cubicBezTo>
                  <a:pt x="7156" y="8406"/>
                  <a:pt x="7094" y="8468"/>
                  <a:pt x="7031" y="8500"/>
                </a:cubicBezTo>
                <a:cubicBezTo>
                  <a:pt x="6969" y="8531"/>
                  <a:pt x="6875" y="8562"/>
                  <a:pt x="6781" y="8593"/>
                </a:cubicBezTo>
                <a:cubicBezTo>
                  <a:pt x="7000" y="8468"/>
                  <a:pt x="6969" y="8375"/>
                  <a:pt x="6875" y="8343"/>
                </a:cubicBezTo>
                <a:cubicBezTo>
                  <a:pt x="6906" y="8312"/>
                  <a:pt x="6937" y="8312"/>
                  <a:pt x="6969" y="8281"/>
                </a:cubicBezTo>
                <a:cubicBezTo>
                  <a:pt x="7281" y="8125"/>
                  <a:pt x="7562" y="7968"/>
                  <a:pt x="7875" y="7812"/>
                </a:cubicBezTo>
                <a:cubicBezTo>
                  <a:pt x="8281" y="7593"/>
                  <a:pt x="8687" y="7343"/>
                  <a:pt x="9094" y="7125"/>
                </a:cubicBezTo>
                <a:cubicBezTo>
                  <a:pt x="9281" y="7000"/>
                  <a:pt x="9500" y="6843"/>
                  <a:pt x="9719" y="6750"/>
                </a:cubicBezTo>
                <a:cubicBezTo>
                  <a:pt x="9719" y="6718"/>
                  <a:pt x="9750" y="6718"/>
                  <a:pt x="9750" y="6687"/>
                </a:cubicBezTo>
                <a:cubicBezTo>
                  <a:pt x="9750" y="6687"/>
                  <a:pt x="9750" y="6687"/>
                  <a:pt x="9750" y="6687"/>
                </a:cubicBezTo>
                <a:cubicBezTo>
                  <a:pt x="9750" y="6718"/>
                  <a:pt x="9719" y="6718"/>
                  <a:pt x="9719" y="6750"/>
                </a:cubicBezTo>
                <a:cubicBezTo>
                  <a:pt x="9750" y="6750"/>
                  <a:pt x="9781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12" y="6718"/>
                  <a:pt x="9812" y="6718"/>
                  <a:pt x="9812" y="6718"/>
                </a:cubicBezTo>
                <a:cubicBezTo>
                  <a:pt x="9844" y="6656"/>
                  <a:pt x="9937" y="6656"/>
                  <a:pt x="9969" y="6593"/>
                </a:cubicBezTo>
                <a:cubicBezTo>
                  <a:pt x="9937" y="6718"/>
                  <a:pt x="9937" y="6718"/>
                  <a:pt x="9812" y="6718"/>
                </a:cubicBezTo>
                <a:close/>
                <a:moveTo>
                  <a:pt x="9469" y="7781"/>
                </a:moveTo>
                <a:cubicBezTo>
                  <a:pt x="9469" y="7781"/>
                  <a:pt x="9437" y="7781"/>
                  <a:pt x="9437" y="7781"/>
                </a:cubicBezTo>
                <a:cubicBezTo>
                  <a:pt x="9469" y="7750"/>
                  <a:pt x="9469" y="7750"/>
                  <a:pt x="9469" y="7750"/>
                </a:cubicBezTo>
                <a:cubicBezTo>
                  <a:pt x="9469" y="7750"/>
                  <a:pt x="9469" y="7750"/>
                  <a:pt x="9500" y="7781"/>
                </a:cubicBezTo>
                <a:cubicBezTo>
                  <a:pt x="9469" y="7781"/>
                  <a:pt x="9469" y="7781"/>
                  <a:pt x="9469" y="7781"/>
                </a:cubicBezTo>
                <a:close/>
                <a:moveTo>
                  <a:pt x="10625" y="4437"/>
                </a:moveTo>
                <a:cubicBezTo>
                  <a:pt x="10594" y="4437"/>
                  <a:pt x="10594" y="4468"/>
                  <a:pt x="10594" y="4468"/>
                </a:cubicBezTo>
                <a:cubicBezTo>
                  <a:pt x="10594" y="4468"/>
                  <a:pt x="10594" y="4437"/>
                  <a:pt x="10625" y="4437"/>
                </a:cubicBezTo>
                <a:close/>
                <a:moveTo>
                  <a:pt x="10937" y="4218"/>
                </a:moveTo>
                <a:cubicBezTo>
                  <a:pt x="10875" y="4250"/>
                  <a:pt x="10812" y="4281"/>
                  <a:pt x="10781" y="4312"/>
                </a:cubicBezTo>
                <a:cubicBezTo>
                  <a:pt x="10812" y="4281"/>
                  <a:pt x="10875" y="4250"/>
                  <a:pt x="10937" y="4218"/>
                </a:cubicBezTo>
                <a:close/>
                <a:moveTo>
                  <a:pt x="11000" y="4187"/>
                </a:moveTo>
                <a:cubicBezTo>
                  <a:pt x="10969" y="4187"/>
                  <a:pt x="10969" y="4218"/>
                  <a:pt x="10937" y="4218"/>
                </a:cubicBezTo>
                <a:cubicBezTo>
                  <a:pt x="10969" y="4218"/>
                  <a:pt x="10969" y="4187"/>
                  <a:pt x="11000" y="4187"/>
                </a:cubicBezTo>
                <a:cubicBezTo>
                  <a:pt x="11000" y="4187"/>
                  <a:pt x="11000" y="4156"/>
                  <a:pt x="11000" y="4156"/>
                </a:cubicBezTo>
                <a:cubicBezTo>
                  <a:pt x="11000" y="4156"/>
                  <a:pt x="11000" y="4187"/>
                  <a:pt x="11000" y="4187"/>
                </a:cubicBezTo>
                <a:close/>
                <a:moveTo>
                  <a:pt x="11062" y="4156"/>
                </a:moveTo>
                <a:cubicBezTo>
                  <a:pt x="11062" y="4156"/>
                  <a:pt x="11062" y="4156"/>
                  <a:pt x="11062" y="4125"/>
                </a:cubicBezTo>
                <a:cubicBezTo>
                  <a:pt x="11062" y="4125"/>
                  <a:pt x="11062" y="4125"/>
                  <a:pt x="11062" y="4125"/>
                </a:cubicBezTo>
                <a:cubicBezTo>
                  <a:pt x="11062" y="4156"/>
                  <a:pt x="11062" y="4156"/>
                  <a:pt x="11062" y="4156"/>
                </a:cubicBezTo>
                <a:close/>
                <a:moveTo>
                  <a:pt x="11000" y="4125"/>
                </a:moveTo>
                <a:cubicBezTo>
                  <a:pt x="10906" y="4156"/>
                  <a:pt x="10812" y="4218"/>
                  <a:pt x="10750" y="4281"/>
                </a:cubicBezTo>
                <a:cubicBezTo>
                  <a:pt x="10719" y="4281"/>
                  <a:pt x="10719" y="4281"/>
                  <a:pt x="10687" y="4312"/>
                </a:cubicBezTo>
                <a:cubicBezTo>
                  <a:pt x="10719" y="4281"/>
                  <a:pt x="10719" y="4281"/>
                  <a:pt x="10750" y="4281"/>
                </a:cubicBezTo>
                <a:cubicBezTo>
                  <a:pt x="10812" y="4218"/>
                  <a:pt x="10906" y="4156"/>
                  <a:pt x="11000" y="4125"/>
                </a:cubicBezTo>
                <a:cubicBezTo>
                  <a:pt x="11031" y="4093"/>
                  <a:pt x="11062" y="4062"/>
                  <a:pt x="11094" y="4031"/>
                </a:cubicBezTo>
                <a:cubicBezTo>
                  <a:pt x="11062" y="4062"/>
                  <a:pt x="11031" y="4093"/>
                  <a:pt x="11000" y="4125"/>
                </a:cubicBezTo>
                <a:close/>
                <a:moveTo>
                  <a:pt x="11406" y="6687"/>
                </a:moveTo>
                <a:cubicBezTo>
                  <a:pt x="11406" y="6687"/>
                  <a:pt x="11437" y="6656"/>
                  <a:pt x="11437" y="6656"/>
                </a:cubicBezTo>
                <a:cubicBezTo>
                  <a:pt x="11437" y="6656"/>
                  <a:pt x="11437" y="6656"/>
                  <a:pt x="11437" y="6656"/>
                </a:cubicBezTo>
                <a:cubicBezTo>
                  <a:pt x="11437" y="6656"/>
                  <a:pt x="11406" y="6687"/>
                  <a:pt x="11406" y="6687"/>
                </a:cubicBezTo>
                <a:close/>
                <a:moveTo>
                  <a:pt x="11437" y="3843"/>
                </a:moveTo>
                <a:cubicBezTo>
                  <a:pt x="11437" y="3843"/>
                  <a:pt x="11437" y="3843"/>
                  <a:pt x="11437" y="3843"/>
                </a:cubicBezTo>
                <a:cubicBezTo>
                  <a:pt x="11437" y="3843"/>
                  <a:pt x="11437" y="3843"/>
                  <a:pt x="11437" y="3843"/>
                </a:cubicBezTo>
                <a:cubicBezTo>
                  <a:pt x="11437" y="3875"/>
                  <a:pt x="11406" y="3875"/>
                  <a:pt x="11406" y="3875"/>
                </a:cubicBezTo>
                <a:cubicBezTo>
                  <a:pt x="11406" y="3875"/>
                  <a:pt x="11437" y="3875"/>
                  <a:pt x="11437" y="3843"/>
                </a:cubicBezTo>
                <a:cubicBezTo>
                  <a:pt x="11469" y="3843"/>
                  <a:pt x="11469" y="3843"/>
                  <a:pt x="11469" y="3843"/>
                </a:cubicBezTo>
                <a:cubicBezTo>
                  <a:pt x="11469" y="3843"/>
                  <a:pt x="11469" y="3843"/>
                  <a:pt x="11437" y="3843"/>
                </a:cubicBezTo>
                <a:close/>
                <a:moveTo>
                  <a:pt x="11500" y="3875"/>
                </a:moveTo>
                <a:cubicBezTo>
                  <a:pt x="11500" y="3875"/>
                  <a:pt x="11531" y="3875"/>
                  <a:pt x="11531" y="3843"/>
                </a:cubicBezTo>
                <a:cubicBezTo>
                  <a:pt x="11531" y="3843"/>
                  <a:pt x="11531" y="3843"/>
                  <a:pt x="11531" y="3843"/>
                </a:cubicBezTo>
                <a:cubicBezTo>
                  <a:pt x="11531" y="3875"/>
                  <a:pt x="11500" y="3875"/>
                  <a:pt x="11500" y="3875"/>
                </a:cubicBezTo>
                <a:close/>
                <a:moveTo>
                  <a:pt x="11531" y="3781"/>
                </a:moveTo>
                <a:cubicBezTo>
                  <a:pt x="11531" y="3781"/>
                  <a:pt x="11531" y="3781"/>
                  <a:pt x="11531" y="3781"/>
                </a:cubicBezTo>
                <a:cubicBezTo>
                  <a:pt x="11562" y="3781"/>
                  <a:pt x="11562" y="3750"/>
                  <a:pt x="11562" y="3750"/>
                </a:cubicBezTo>
                <a:cubicBezTo>
                  <a:pt x="11562" y="3750"/>
                  <a:pt x="11562" y="3781"/>
                  <a:pt x="11531" y="3781"/>
                </a:cubicBezTo>
                <a:close/>
                <a:moveTo>
                  <a:pt x="11719" y="3906"/>
                </a:moveTo>
                <a:cubicBezTo>
                  <a:pt x="11719" y="3906"/>
                  <a:pt x="11719" y="3906"/>
                  <a:pt x="11719" y="3906"/>
                </a:cubicBezTo>
                <a:cubicBezTo>
                  <a:pt x="11719" y="3875"/>
                  <a:pt x="11750" y="3875"/>
                  <a:pt x="11750" y="3843"/>
                </a:cubicBezTo>
                <a:cubicBezTo>
                  <a:pt x="11750" y="3875"/>
                  <a:pt x="11719" y="3875"/>
                  <a:pt x="11719" y="3906"/>
                </a:cubicBezTo>
                <a:close/>
                <a:moveTo>
                  <a:pt x="11844" y="3625"/>
                </a:moveTo>
                <a:cubicBezTo>
                  <a:pt x="11844" y="3625"/>
                  <a:pt x="11844" y="3625"/>
                  <a:pt x="11844" y="3625"/>
                </a:cubicBezTo>
                <a:cubicBezTo>
                  <a:pt x="11844" y="3593"/>
                  <a:pt x="11844" y="3593"/>
                  <a:pt x="11844" y="3593"/>
                </a:cubicBezTo>
                <a:cubicBezTo>
                  <a:pt x="11844" y="3593"/>
                  <a:pt x="11844" y="3593"/>
                  <a:pt x="11844" y="3625"/>
                </a:cubicBezTo>
                <a:close/>
                <a:moveTo>
                  <a:pt x="12312" y="3531"/>
                </a:move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ubicBezTo>
                  <a:pt x="12312" y="3531"/>
                  <a:pt x="12312" y="3531"/>
                  <a:pt x="12312" y="3531"/>
                </a:cubicBezTo>
                <a:close/>
                <a:moveTo>
                  <a:pt x="12594" y="3343"/>
                </a:moveTo>
                <a:cubicBezTo>
                  <a:pt x="12625" y="3343"/>
                  <a:pt x="12625" y="3312"/>
                  <a:pt x="12656" y="3312"/>
                </a:cubicBezTo>
                <a:cubicBezTo>
                  <a:pt x="12625" y="3312"/>
                  <a:pt x="12625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94" y="3343"/>
                </a:cubicBezTo>
                <a:cubicBezTo>
                  <a:pt x="12594" y="3343"/>
                  <a:pt x="12594" y="3343"/>
                  <a:pt x="12562" y="3343"/>
                </a:cubicBezTo>
                <a:cubicBezTo>
                  <a:pt x="12594" y="3343"/>
                  <a:pt x="12594" y="3343"/>
                  <a:pt x="12594" y="3343"/>
                </a:cubicBezTo>
                <a:close/>
                <a:moveTo>
                  <a:pt x="12594" y="6812"/>
                </a:moveTo>
                <a:cubicBezTo>
                  <a:pt x="12562" y="6843"/>
                  <a:pt x="12500" y="6875"/>
                  <a:pt x="12469" y="6906"/>
                </a:cubicBezTo>
                <a:cubicBezTo>
                  <a:pt x="12500" y="6875"/>
                  <a:pt x="12562" y="6843"/>
                  <a:pt x="12594" y="6812"/>
                </a:cubicBezTo>
                <a:cubicBezTo>
                  <a:pt x="12656" y="6781"/>
                  <a:pt x="12719" y="6750"/>
                  <a:pt x="12781" y="6687"/>
                </a:cubicBezTo>
                <a:cubicBezTo>
                  <a:pt x="12719" y="6750"/>
                  <a:pt x="12656" y="6781"/>
                  <a:pt x="12594" y="6812"/>
                </a:cubicBezTo>
                <a:close/>
                <a:moveTo>
                  <a:pt x="12812" y="3218"/>
                </a:moveTo>
                <a:cubicBezTo>
                  <a:pt x="12812" y="3218"/>
                  <a:pt x="12844" y="3218"/>
                  <a:pt x="12844" y="3218"/>
                </a:cubicBezTo>
                <a:cubicBezTo>
                  <a:pt x="12844" y="3218"/>
                  <a:pt x="12844" y="3218"/>
                  <a:pt x="12844" y="3218"/>
                </a:cubicBezTo>
                <a:cubicBezTo>
                  <a:pt x="12844" y="3218"/>
                  <a:pt x="12812" y="3218"/>
                  <a:pt x="12812" y="3218"/>
                </a:cubicBezTo>
                <a:close/>
                <a:moveTo>
                  <a:pt x="13094" y="6500"/>
                </a:moveTo>
                <a:cubicBezTo>
                  <a:pt x="13062" y="6500"/>
                  <a:pt x="13000" y="6531"/>
                  <a:pt x="12969" y="6531"/>
                </a:cubicBezTo>
                <a:cubicBezTo>
                  <a:pt x="13000" y="6531"/>
                  <a:pt x="13062" y="6500"/>
                  <a:pt x="13094" y="6500"/>
                </a:cubicBezTo>
                <a:cubicBezTo>
                  <a:pt x="13094" y="6468"/>
                  <a:pt x="13125" y="6468"/>
                  <a:pt x="13125" y="6437"/>
                </a:cubicBezTo>
                <a:cubicBezTo>
                  <a:pt x="13125" y="6468"/>
                  <a:pt x="13094" y="6468"/>
                  <a:pt x="13094" y="6500"/>
                </a:cubicBezTo>
                <a:close/>
                <a:moveTo>
                  <a:pt x="13000" y="7218"/>
                </a:moveTo>
                <a:cubicBezTo>
                  <a:pt x="12937" y="7218"/>
                  <a:pt x="12875" y="7250"/>
                  <a:pt x="12844" y="7281"/>
                </a:cubicBezTo>
                <a:cubicBezTo>
                  <a:pt x="12875" y="7250"/>
                  <a:pt x="12937" y="7218"/>
                  <a:pt x="13000" y="7218"/>
                </a:cubicBezTo>
                <a:close/>
                <a:moveTo>
                  <a:pt x="10219" y="9281"/>
                </a:moveTo>
                <a:cubicBezTo>
                  <a:pt x="10219" y="9281"/>
                  <a:pt x="10219" y="9281"/>
                  <a:pt x="10219" y="9281"/>
                </a:cubicBezTo>
                <a:cubicBezTo>
                  <a:pt x="10219" y="9281"/>
                  <a:pt x="10219" y="9250"/>
                  <a:pt x="10219" y="9250"/>
                </a:cubicBezTo>
                <a:cubicBezTo>
                  <a:pt x="10219" y="9250"/>
                  <a:pt x="10219" y="9281"/>
                  <a:pt x="10219" y="9281"/>
                </a:cubicBezTo>
                <a:cubicBezTo>
                  <a:pt x="10219" y="9281"/>
                  <a:pt x="10219" y="9281"/>
                  <a:pt x="10219" y="9281"/>
                </a:cubicBezTo>
                <a:close/>
                <a:moveTo>
                  <a:pt x="12312" y="7906"/>
                </a:moveTo>
                <a:cubicBezTo>
                  <a:pt x="12312" y="7906"/>
                  <a:pt x="12312" y="7906"/>
                  <a:pt x="12312" y="7906"/>
                </a:cubicBezTo>
                <a:cubicBezTo>
                  <a:pt x="12312" y="7906"/>
                  <a:pt x="12312" y="7906"/>
                  <a:pt x="12312" y="7875"/>
                </a:cubicBezTo>
                <a:cubicBezTo>
                  <a:pt x="12312" y="7906"/>
                  <a:pt x="12312" y="7906"/>
                  <a:pt x="12312" y="7906"/>
                </a:cubicBezTo>
                <a:close/>
                <a:moveTo>
                  <a:pt x="12531" y="7781"/>
                </a:moveTo>
                <a:cubicBezTo>
                  <a:pt x="12531" y="7781"/>
                  <a:pt x="12531" y="7781"/>
                  <a:pt x="12531" y="7781"/>
                </a:cubicBezTo>
                <a:cubicBezTo>
                  <a:pt x="12531" y="7750"/>
                  <a:pt x="12562" y="7718"/>
                  <a:pt x="12594" y="7718"/>
                </a:cubicBezTo>
                <a:cubicBezTo>
                  <a:pt x="12562" y="7718"/>
                  <a:pt x="12531" y="7750"/>
                  <a:pt x="12531" y="7781"/>
                </a:cubicBezTo>
                <a:close/>
                <a:moveTo>
                  <a:pt x="16937" y="1500"/>
                </a:moveTo>
                <a:cubicBezTo>
                  <a:pt x="16937" y="1500"/>
                  <a:pt x="16937" y="1500"/>
                  <a:pt x="16969" y="1500"/>
                </a:cubicBezTo>
                <a:cubicBezTo>
                  <a:pt x="16937" y="1500"/>
                  <a:pt x="16937" y="1500"/>
                  <a:pt x="16937" y="1500"/>
                </a:cubicBezTo>
                <a:cubicBezTo>
                  <a:pt x="16906" y="1500"/>
                  <a:pt x="16875" y="1500"/>
                  <a:pt x="16875" y="1500"/>
                </a:cubicBezTo>
                <a:cubicBezTo>
                  <a:pt x="16875" y="1500"/>
                  <a:pt x="16906" y="1500"/>
                  <a:pt x="16937" y="1500"/>
                </a:cubicBezTo>
                <a:close/>
                <a:moveTo>
                  <a:pt x="14312" y="2125"/>
                </a:moveTo>
                <a:cubicBezTo>
                  <a:pt x="14312" y="2125"/>
                  <a:pt x="14312" y="2125"/>
                  <a:pt x="14312" y="2125"/>
                </a:cubicBezTo>
                <a:cubicBezTo>
                  <a:pt x="14312" y="2125"/>
                  <a:pt x="14312" y="2125"/>
                  <a:pt x="14312" y="2125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3750"/>
                </a:move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ubicBezTo>
                  <a:pt x="14219" y="3750"/>
                  <a:pt x="14219" y="3750"/>
                  <a:pt x="14219" y="3750"/>
                </a:cubicBezTo>
                <a:close/>
                <a:moveTo>
                  <a:pt x="14219" y="2437"/>
                </a:move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68"/>
                  <a:pt x="14219" y="2468"/>
                </a:cubicBezTo>
                <a:cubicBezTo>
                  <a:pt x="14187" y="2468"/>
                  <a:pt x="14187" y="2468"/>
                  <a:pt x="14187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219" y="2437"/>
                  <a:pt x="14219" y="2437"/>
                  <a:pt x="14219" y="2437"/>
                </a:cubicBezTo>
                <a:cubicBezTo>
                  <a:pt x="14312" y="2406"/>
                  <a:pt x="14375" y="2343"/>
                  <a:pt x="14437" y="2343"/>
                </a:cubicBezTo>
                <a:cubicBezTo>
                  <a:pt x="14375" y="2375"/>
                  <a:pt x="14312" y="2437"/>
                  <a:pt x="14219" y="2437"/>
                </a:cubicBezTo>
                <a:close/>
                <a:moveTo>
                  <a:pt x="16375" y="3218"/>
                </a:moveTo>
                <a:cubicBezTo>
                  <a:pt x="16187" y="3437"/>
                  <a:pt x="16000" y="3656"/>
                  <a:pt x="15812" y="3875"/>
                </a:cubicBezTo>
                <a:cubicBezTo>
                  <a:pt x="15656" y="4031"/>
                  <a:pt x="15531" y="4218"/>
                  <a:pt x="15375" y="4406"/>
                </a:cubicBezTo>
                <a:cubicBezTo>
                  <a:pt x="15344" y="4406"/>
                  <a:pt x="15344" y="4437"/>
                  <a:pt x="15312" y="4437"/>
                </a:cubicBezTo>
                <a:cubicBezTo>
                  <a:pt x="15281" y="4437"/>
                  <a:pt x="15281" y="4437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81" y="4500"/>
                  <a:pt x="15281" y="4500"/>
                  <a:pt x="15281" y="4500"/>
                </a:cubicBezTo>
                <a:cubicBezTo>
                  <a:pt x="15250" y="4468"/>
                  <a:pt x="15219" y="4468"/>
                  <a:pt x="15219" y="4500"/>
                </a:cubicBezTo>
                <a:cubicBezTo>
                  <a:pt x="15187" y="4593"/>
                  <a:pt x="15125" y="4593"/>
                  <a:pt x="15062" y="4593"/>
                </a:cubicBezTo>
                <a:cubicBezTo>
                  <a:pt x="15094" y="4625"/>
                  <a:pt x="15031" y="4625"/>
                  <a:pt x="15000" y="4656"/>
                </a:cubicBezTo>
                <a:cubicBezTo>
                  <a:pt x="14875" y="4718"/>
                  <a:pt x="14750" y="4812"/>
                  <a:pt x="14625" y="4906"/>
                </a:cubicBezTo>
                <a:cubicBezTo>
                  <a:pt x="14781" y="4843"/>
                  <a:pt x="14969" y="4750"/>
                  <a:pt x="15125" y="4656"/>
                </a:cubicBezTo>
                <a:cubicBezTo>
                  <a:pt x="15187" y="4625"/>
                  <a:pt x="15219" y="4593"/>
                  <a:pt x="15250" y="4531"/>
                </a:cubicBezTo>
                <a:cubicBezTo>
                  <a:pt x="15219" y="4531"/>
                  <a:pt x="15219" y="4531"/>
                  <a:pt x="15219" y="4500"/>
                </a:cubicBezTo>
                <a:cubicBezTo>
                  <a:pt x="15156" y="4500"/>
                  <a:pt x="15094" y="4531"/>
                  <a:pt x="15062" y="4593"/>
                </a:cubicBezTo>
                <a:cubicBezTo>
                  <a:pt x="14937" y="4625"/>
                  <a:pt x="14812" y="4687"/>
                  <a:pt x="14719" y="4750"/>
                </a:cubicBezTo>
                <a:cubicBezTo>
                  <a:pt x="14594" y="4812"/>
                  <a:pt x="14469" y="4875"/>
                  <a:pt x="14312" y="4937"/>
                </a:cubicBezTo>
                <a:cubicBezTo>
                  <a:pt x="14437" y="4812"/>
                  <a:pt x="14625" y="4750"/>
                  <a:pt x="14781" y="4656"/>
                </a:cubicBezTo>
                <a:cubicBezTo>
                  <a:pt x="14812" y="4625"/>
                  <a:pt x="14812" y="4625"/>
                  <a:pt x="14781" y="4593"/>
                </a:cubicBezTo>
                <a:cubicBezTo>
                  <a:pt x="14750" y="4562"/>
                  <a:pt x="14687" y="4500"/>
                  <a:pt x="14781" y="4468"/>
                </a:cubicBezTo>
                <a:cubicBezTo>
                  <a:pt x="14844" y="4437"/>
                  <a:pt x="14875" y="4406"/>
                  <a:pt x="14937" y="4343"/>
                </a:cubicBezTo>
                <a:cubicBezTo>
                  <a:pt x="14906" y="4343"/>
                  <a:pt x="14906" y="4312"/>
                  <a:pt x="14875" y="4281"/>
                </a:cubicBezTo>
                <a:cubicBezTo>
                  <a:pt x="14906" y="4281"/>
                  <a:pt x="14937" y="4250"/>
                  <a:pt x="14969" y="4250"/>
                </a:cubicBezTo>
                <a:cubicBezTo>
                  <a:pt x="15031" y="4281"/>
                  <a:pt x="15062" y="4218"/>
                  <a:pt x="15062" y="4218"/>
                </a:cubicBezTo>
                <a:cubicBezTo>
                  <a:pt x="15094" y="4187"/>
                  <a:pt x="15031" y="4156"/>
                  <a:pt x="15000" y="4156"/>
                </a:cubicBezTo>
                <a:cubicBezTo>
                  <a:pt x="15125" y="4031"/>
                  <a:pt x="15250" y="4000"/>
                  <a:pt x="15375" y="3906"/>
                </a:cubicBezTo>
                <a:cubicBezTo>
                  <a:pt x="15094" y="4000"/>
                  <a:pt x="14812" y="4156"/>
                  <a:pt x="14562" y="4250"/>
                </a:cubicBezTo>
                <a:cubicBezTo>
                  <a:pt x="14625" y="4156"/>
                  <a:pt x="14781" y="4125"/>
                  <a:pt x="14875" y="4062"/>
                </a:cubicBezTo>
                <a:cubicBezTo>
                  <a:pt x="15000" y="3937"/>
                  <a:pt x="15125" y="3781"/>
                  <a:pt x="15312" y="3750"/>
                </a:cubicBezTo>
                <a:cubicBezTo>
                  <a:pt x="15219" y="3687"/>
                  <a:pt x="15156" y="3718"/>
                  <a:pt x="15062" y="3750"/>
                </a:cubicBezTo>
                <a:cubicBezTo>
                  <a:pt x="15031" y="3781"/>
                  <a:pt x="14969" y="3843"/>
                  <a:pt x="14937" y="3781"/>
                </a:cubicBezTo>
                <a:cubicBezTo>
                  <a:pt x="14937" y="3750"/>
                  <a:pt x="14906" y="3687"/>
                  <a:pt x="14969" y="3625"/>
                </a:cubicBezTo>
                <a:cubicBezTo>
                  <a:pt x="14969" y="3625"/>
                  <a:pt x="15031" y="3625"/>
                  <a:pt x="15031" y="3593"/>
                </a:cubicBezTo>
                <a:cubicBezTo>
                  <a:pt x="15062" y="3593"/>
                  <a:pt x="15094" y="3593"/>
                  <a:pt x="15094" y="3562"/>
                </a:cubicBezTo>
                <a:cubicBezTo>
                  <a:pt x="15062" y="3562"/>
                  <a:pt x="15031" y="3531"/>
                  <a:pt x="15000" y="3562"/>
                </a:cubicBezTo>
                <a:cubicBezTo>
                  <a:pt x="14969" y="3562"/>
                  <a:pt x="14937" y="3562"/>
                  <a:pt x="14937" y="3625"/>
                </a:cubicBezTo>
                <a:cubicBezTo>
                  <a:pt x="14844" y="3625"/>
                  <a:pt x="14781" y="3625"/>
                  <a:pt x="14687" y="3687"/>
                </a:cubicBezTo>
                <a:cubicBezTo>
                  <a:pt x="14687" y="3687"/>
                  <a:pt x="14656" y="3718"/>
                  <a:pt x="14656" y="3656"/>
                </a:cubicBezTo>
                <a:cubicBezTo>
                  <a:pt x="14656" y="3562"/>
                  <a:pt x="14594" y="3562"/>
                  <a:pt x="14531" y="3562"/>
                </a:cubicBezTo>
                <a:cubicBezTo>
                  <a:pt x="14687" y="3437"/>
                  <a:pt x="14844" y="3375"/>
                  <a:pt x="15031" y="3281"/>
                </a:cubicBezTo>
                <a:cubicBezTo>
                  <a:pt x="15094" y="3250"/>
                  <a:pt x="15187" y="3218"/>
                  <a:pt x="15219" y="3156"/>
                </a:cubicBezTo>
                <a:cubicBezTo>
                  <a:pt x="15250" y="3156"/>
                  <a:pt x="15281" y="3156"/>
                  <a:pt x="15281" y="3125"/>
                </a:cubicBezTo>
                <a:cubicBezTo>
                  <a:pt x="15281" y="3125"/>
                  <a:pt x="15281" y="3125"/>
                  <a:pt x="15281" y="3125"/>
                </a:cubicBezTo>
                <a:cubicBezTo>
                  <a:pt x="15250" y="3125"/>
                  <a:pt x="15250" y="3125"/>
                  <a:pt x="15219" y="3156"/>
                </a:cubicBezTo>
                <a:cubicBezTo>
                  <a:pt x="15062" y="3218"/>
                  <a:pt x="14906" y="3281"/>
                  <a:pt x="14719" y="3375"/>
                </a:cubicBezTo>
                <a:cubicBezTo>
                  <a:pt x="14750" y="3250"/>
                  <a:pt x="14844" y="3250"/>
                  <a:pt x="14906" y="3218"/>
                </a:cubicBezTo>
                <a:cubicBezTo>
                  <a:pt x="15125" y="3093"/>
                  <a:pt x="15344" y="3000"/>
                  <a:pt x="15562" y="2906"/>
                </a:cubicBezTo>
                <a:cubicBezTo>
                  <a:pt x="15625" y="2875"/>
                  <a:pt x="15625" y="2843"/>
                  <a:pt x="15594" y="2781"/>
                </a:cubicBezTo>
                <a:cubicBezTo>
                  <a:pt x="15625" y="2781"/>
                  <a:pt x="15625" y="2781"/>
                  <a:pt x="15656" y="2781"/>
                </a:cubicBezTo>
                <a:cubicBezTo>
                  <a:pt x="15625" y="2781"/>
                  <a:pt x="15594" y="2750"/>
                  <a:pt x="15594" y="2781"/>
                </a:cubicBezTo>
                <a:cubicBezTo>
                  <a:pt x="15562" y="2781"/>
                  <a:pt x="15562" y="2781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562" y="2812"/>
                  <a:pt x="15562" y="2812"/>
                  <a:pt x="15562" y="2812"/>
                </a:cubicBezTo>
                <a:cubicBezTo>
                  <a:pt x="15406" y="2843"/>
                  <a:pt x="15281" y="2906"/>
                  <a:pt x="15156" y="2968"/>
                </a:cubicBezTo>
                <a:cubicBezTo>
                  <a:pt x="14937" y="3062"/>
                  <a:pt x="14719" y="3187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37" y="3312"/>
                  <a:pt x="14437" y="3343"/>
                  <a:pt x="14406" y="3312"/>
                </a:cubicBezTo>
                <a:cubicBezTo>
                  <a:pt x="14406" y="3312"/>
                  <a:pt x="14406" y="3312"/>
                  <a:pt x="14406" y="3312"/>
                </a:cubicBezTo>
                <a:cubicBezTo>
                  <a:pt x="14406" y="3281"/>
                  <a:pt x="14437" y="3312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469" y="3281"/>
                  <a:pt x="14469" y="3281"/>
                  <a:pt x="14469" y="3281"/>
                </a:cubicBezTo>
                <a:cubicBezTo>
                  <a:pt x="14594" y="3062"/>
                  <a:pt x="14812" y="3031"/>
                  <a:pt x="15000" y="2906"/>
                </a:cubicBezTo>
                <a:cubicBezTo>
                  <a:pt x="15062" y="2875"/>
                  <a:pt x="15156" y="2812"/>
                  <a:pt x="15156" y="2812"/>
                </a:cubicBezTo>
                <a:cubicBezTo>
                  <a:pt x="15125" y="2718"/>
                  <a:pt x="15219" y="2750"/>
                  <a:pt x="15250" y="2687"/>
                </a:cubicBezTo>
                <a:cubicBezTo>
                  <a:pt x="15281" y="2687"/>
                  <a:pt x="15281" y="2687"/>
                  <a:pt x="15281" y="2625"/>
                </a:cubicBezTo>
                <a:cubicBezTo>
                  <a:pt x="14937" y="2718"/>
                  <a:pt x="14625" y="2937"/>
                  <a:pt x="14281" y="3062"/>
                </a:cubicBezTo>
                <a:cubicBezTo>
                  <a:pt x="14375" y="2968"/>
                  <a:pt x="14562" y="2843"/>
                  <a:pt x="14687" y="2781"/>
                </a:cubicBezTo>
                <a:cubicBezTo>
                  <a:pt x="14781" y="2750"/>
                  <a:pt x="14906" y="2718"/>
                  <a:pt x="14969" y="2625"/>
                </a:cubicBezTo>
                <a:cubicBezTo>
                  <a:pt x="15000" y="2625"/>
                  <a:pt x="15031" y="2625"/>
                  <a:pt x="15062" y="2593"/>
                </a:cubicBezTo>
                <a:cubicBezTo>
                  <a:pt x="15000" y="2562"/>
                  <a:pt x="14969" y="2562"/>
                  <a:pt x="14969" y="2625"/>
                </a:cubicBezTo>
                <a:cubicBezTo>
                  <a:pt x="14937" y="2593"/>
                  <a:pt x="14875" y="2625"/>
                  <a:pt x="14937" y="2562"/>
                </a:cubicBezTo>
                <a:cubicBezTo>
                  <a:pt x="15031" y="2500"/>
                  <a:pt x="15125" y="2500"/>
                  <a:pt x="15219" y="2437"/>
                </a:cubicBezTo>
                <a:cubicBezTo>
                  <a:pt x="15250" y="2406"/>
                  <a:pt x="15312" y="2406"/>
                  <a:pt x="15312" y="2343"/>
                </a:cubicBezTo>
                <a:cubicBezTo>
                  <a:pt x="15312" y="2343"/>
                  <a:pt x="15344" y="2375"/>
                  <a:pt x="15375" y="2343"/>
                </a:cubicBezTo>
                <a:cubicBezTo>
                  <a:pt x="15344" y="2312"/>
                  <a:pt x="15312" y="2312"/>
                  <a:pt x="15312" y="2343"/>
                </a:cubicBezTo>
                <a:cubicBezTo>
                  <a:pt x="15125" y="2375"/>
                  <a:pt x="14969" y="2468"/>
                  <a:pt x="14812" y="2531"/>
                </a:cubicBezTo>
                <a:cubicBezTo>
                  <a:pt x="14781" y="2562"/>
                  <a:pt x="14750" y="2593"/>
                  <a:pt x="14687" y="2562"/>
                </a:cubicBezTo>
                <a:cubicBezTo>
                  <a:pt x="14844" y="2343"/>
                  <a:pt x="15125" y="2281"/>
                  <a:pt x="15312" y="2156"/>
                </a:cubicBezTo>
                <a:cubicBezTo>
                  <a:pt x="15250" y="2125"/>
                  <a:pt x="15219" y="2156"/>
                  <a:pt x="15187" y="2187"/>
                </a:cubicBezTo>
                <a:cubicBezTo>
                  <a:pt x="14969" y="2250"/>
                  <a:pt x="14781" y="2375"/>
                  <a:pt x="14562" y="2468"/>
                </a:cubicBezTo>
                <a:cubicBezTo>
                  <a:pt x="14531" y="2500"/>
                  <a:pt x="14469" y="2531"/>
                  <a:pt x="14469" y="2468"/>
                </a:cubicBezTo>
                <a:cubicBezTo>
                  <a:pt x="14437" y="2406"/>
                  <a:pt x="14500" y="2406"/>
                  <a:pt x="14531" y="2406"/>
                </a:cubicBezTo>
                <a:cubicBezTo>
                  <a:pt x="14781" y="2250"/>
                  <a:pt x="15000" y="2125"/>
                  <a:pt x="15250" y="2000"/>
                </a:cubicBezTo>
                <a:cubicBezTo>
                  <a:pt x="15281" y="2000"/>
                  <a:pt x="15281" y="1968"/>
                  <a:pt x="15281" y="1968"/>
                </a:cubicBezTo>
                <a:cubicBezTo>
                  <a:pt x="15281" y="1937"/>
                  <a:pt x="15312" y="1937"/>
                  <a:pt x="15344" y="1937"/>
                </a:cubicBezTo>
                <a:cubicBezTo>
                  <a:pt x="15344" y="1937"/>
                  <a:pt x="15344" y="1937"/>
                  <a:pt x="15344" y="1937"/>
                </a:cubicBezTo>
                <a:cubicBezTo>
                  <a:pt x="15406" y="1906"/>
                  <a:pt x="15437" y="1875"/>
                  <a:pt x="15500" y="1843"/>
                </a:cubicBezTo>
                <a:cubicBezTo>
                  <a:pt x="15469" y="1875"/>
                  <a:pt x="15437" y="1875"/>
                  <a:pt x="15406" y="1906"/>
                </a:cubicBezTo>
                <a:cubicBezTo>
                  <a:pt x="15437" y="1875"/>
                  <a:pt x="15469" y="1875"/>
                  <a:pt x="15500" y="1843"/>
                </a:cubicBezTo>
                <a:lnTo>
                  <a:pt x="15500" y="1843"/>
                </a:lnTo>
                <a:cubicBezTo>
                  <a:pt x="15531" y="1843"/>
                  <a:pt x="15562" y="1843"/>
                  <a:pt x="15625" y="1843"/>
                </a:cubicBezTo>
                <a:cubicBezTo>
                  <a:pt x="15625" y="1812"/>
                  <a:pt x="15625" y="1812"/>
                  <a:pt x="15625" y="1812"/>
                </a:cubicBezTo>
                <a:cubicBezTo>
                  <a:pt x="15625" y="1812"/>
                  <a:pt x="15656" y="1812"/>
                  <a:pt x="15656" y="1812"/>
                </a:cubicBezTo>
                <a:cubicBezTo>
                  <a:pt x="15656" y="1781"/>
                  <a:pt x="15687" y="1781"/>
                  <a:pt x="15719" y="1781"/>
                </a:cubicBezTo>
                <a:cubicBezTo>
                  <a:pt x="15750" y="1750"/>
                  <a:pt x="15781" y="1750"/>
                  <a:pt x="15812" y="1750"/>
                </a:cubicBezTo>
                <a:cubicBezTo>
                  <a:pt x="15844" y="1718"/>
                  <a:pt x="15875" y="1718"/>
                  <a:pt x="15906" y="1718"/>
                </a:cubicBezTo>
                <a:lnTo>
                  <a:pt x="15906" y="1718"/>
                </a:lnTo>
                <a:cubicBezTo>
                  <a:pt x="15875" y="1750"/>
                  <a:pt x="15844" y="1750"/>
                  <a:pt x="15812" y="1750"/>
                </a:cubicBezTo>
                <a:cubicBezTo>
                  <a:pt x="15781" y="1812"/>
                  <a:pt x="15750" y="1781"/>
                  <a:pt x="15719" y="1781"/>
                </a:cubicBezTo>
                <a:cubicBezTo>
                  <a:pt x="15687" y="1843"/>
                  <a:pt x="15656" y="1812"/>
                  <a:pt x="15625" y="1843"/>
                </a:cubicBezTo>
                <a:cubicBezTo>
                  <a:pt x="15500" y="1906"/>
                  <a:pt x="15406" y="1937"/>
                  <a:pt x="15281" y="1968"/>
                </a:cubicBezTo>
                <a:cubicBezTo>
                  <a:pt x="15187" y="1968"/>
                  <a:pt x="15125" y="2062"/>
                  <a:pt x="15031" y="2062"/>
                </a:cubicBezTo>
                <a:cubicBezTo>
                  <a:pt x="15000" y="2062"/>
                  <a:pt x="14969" y="2093"/>
                  <a:pt x="14969" y="2062"/>
                </a:cubicBezTo>
                <a:cubicBezTo>
                  <a:pt x="14969" y="2062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4969" y="2031"/>
                  <a:pt x="14969" y="2031"/>
                </a:cubicBezTo>
                <a:cubicBezTo>
                  <a:pt x="14969" y="2031"/>
                  <a:pt x="15000" y="2031"/>
                  <a:pt x="15000" y="2031"/>
                </a:cubicBezTo>
                <a:cubicBezTo>
                  <a:pt x="15000" y="2031"/>
                  <a:pt x="15031" y="2062"/>
                  <a:pt x="15031" y="2062"/>
                </a:cubicBezTo>
                <a:cubicBezTo>
                  <a:pt x="15031" y="2062"/>
                  <a:pt x="15000" y="2031"/>
                  <a:pt x="15000" y="2031"/>
                </a:cubicBezTo>
                <a:cubicBezTo>
                  <a:pt x="15094" y="1968"/>
                  <a:pt x="15219" y="1906"/>
                  <a:pt x="15312" y="1875"/>
                </a:cubicBezTo>
                <a:cubicBezTo>
                  <a:pt x="15312" y="1875"/>
                  <a:pt x="15312" y="1875"/>
                  <a:pt x="15312" y="1875"/>
                </a:cubicBezTo>
                <a:cubicBezTo>
                  <a:pt x="15312" y="1843"/>
                  <a:pt x="15281" y="1843"/>
                  <a:pt x="15250" y="1875"/>
                </a:cubicBezTo>
                <a:cubicBezTo>
                  <a:pt x="15219" y="1906"/>
                  <a:pt x="15156" y="1906"/>
                  <a:pt x="15125" y="1843"/>
                </a:cubicBezTo>
                <a:cubicBezTo>
                  <a:pt x="15219" y="1781"/>
                  <a:pt x="15344" y="1750"/>
                  <a:pt x="15437" y="1687"/>
                </a:cubicBezTo>
                <a:cubicBezTo>
                  <a:pt x="15406" y="1687"/>
                  <a:pt x="15375" y="1687"/>
                  <a:pt x="15344" y="1718"/>
                </a:cubicBezTo>
                <a:cubicBezTo>
                  <a:pt x="15312" y="1718"/>
                  <a:pt x="15281" y="1718"/>
                  <a:pt x="15250" y="1750"/>
                </a:cubicBezTo>
                <a:cubicBezTo>
                  <a:pt x="15281" y="1718"/>
                  <a:pt x="15312" y="1718"/>
                  <a:pt x="15344" y="1718"/>
                </a:cubicBezTo>
                <a:cubicBezTo>
                  <a:pt x="15187" y="1750"/>
                  <a:pt x="15094" y="1812"/>
                  <a:pt x="14937" y="1875"/>
                </a:cubicBezTo>
                <a:cubicBezTo>
                  <a:pt x="14750" y="1968"/>
                  <a:pt x="14562" y="2093"/>
                  <a:pt x="14375" y="2156"/>
                </a:cubicBezTo>
                <a:cubicBezTo>
                  <a:pt x="14281" y="2218"/>
                  <a:pt x="14219" y="2281"/>
                  <a:pt x="14094" y="2281"/>
                </a:cubicBezTo>
                <a:cubicBezTo>
                  <a:pt x="14187" y="2250"/>
                  <a:pt x="14250" y="2156"/>
                  <a:pt x="14375" y="2125"/>
                </a:cubicBezTo>
                <a:cubicBezTo>
                  <a:pt x="14375" y="2125"/>
                  <a:pt x="14375" y="2125"/>
                  <a:pt x="14375" y="2156"/>
                </a:cubicBezTo>
                <a:cubicBezTo>
                  <a:pt x="14375" y="2125"/>
                  <a:pt x="14375" y="2125"/>
                  <a:pt x="14375" y="2125"/>
                </a:cubicBezTo>
                <a:cubicBezTo>
                  <a:pt x="14500" y="2000"/>
                  <a:pt x="14687" y="1937"/>
                  <a:pt x="14875" y="1843"/>
                </a:cubicBezTo>
                <a:cubicBezTo>
                  <a:pt x="14937" y="1812"/>
                  <a:pt x="15031" y="1781"/>
                  <a:pt x="15125" y="1718"/>
                </a:cubicBezTo>
                <a:cubicBezTo>
                  <a:pt x="15062" y="1687"/>
                  <a:pt x="15000" y="1750"/>
                  <a:pt x="14969" y="1687"/>
                </a:cubicBezTo>
                <a:cubicBezTo>
                  <a:pt x="14937" y="1656"/>
                  <a:pt x="15031" y="1656"/>
                  <a:pt x="15031" y="1593"/>
                </a:cubicBezTo>
                <a:cubicBezTo>
                  <a:pt x="15031" y="1593"/>
                  <a:pt x="15062" y="1593"/>
                  <a:pt x="15062" y="1593"/>
                </a:cubicBezTo>
                <a:cubicBezTo>
                  <a:pt x="15187" y="1562"/>
                  <a:pt x="15312" y="1531"/>
                  <a:pt x="15406" y="1437"/>
                </a:cubicBezTo>
                <a:cubicBezTo>
                  <a:pt x="15594" y="1312"/>
                  <a:pt x="15812" y="1250"/>
                  <a:pt x="16031" y="1187"/>
                </a:cubicBezTo>
                <a:cubicBezTo>
                  <a:pt x="16031" y="1187"/>
                  <a:pt x="16062" y="1187"/>
                  <a:pt x="16094" y="1187"/>
                </a:cubicBezTo>
                <a:cubicBezTo>
                  <a:pt x="16125" y="1218"/>
                  <a:pt x="16156" y="1187"/>
                  <a:pt x="16219" y="1187"/>
                </a:cubicBezTo>
                <a:cubicBezTo>
                  <a:pt x="16312" y="1187"/>
                  <a:pt x="16406" y="1125"/>
                  <a:pt x="16531" y="1156"/>
                </a:cubicBezTo>
                <a:cubicBezTo>
                  <a:pt x="16500" y="1187"/>
                  <a:pt x="16469" y="1187"/>
                  <a:pt x="16469" y="1187"/>
                </a:cubicBezTo>
                <a:cubicBezTo>
                  <a:pt x="16437" y="1218"/>
                  <a:pt x="16375" y="1218"/>
                  <a:pt x="16375" y="1250"/>
                </a:cubicBezTo>
                <a:cubicBezTo>
                  <a:pt x="16406" y="1312"/>
                  <a:pt x="16437" y="1281"/>
                  <a:pt x="16469" y="1281"/>
                </a:cubicBezTo>
                <a:cubicBezTo>
                  <a:pt x="16531" y="1281"/>
                  <a:pt x="16594" y="1250"/>
                  <a:pt x="16656" y="1281"/>
                </a:cubicBezTo>
                <a:cubicBezTo>
                  <a:pt x="16625" y="1343"/>
                  <a:pt x="16531" y="1312"/>
                  <a:pt x="16469" y="1343"/>
                </a:cubicBezTo>
                <a:cubicBezTo>
                  <a:pt x="16406" y="1375"/>
                  <a:pt x="16469" y="1468"/>
                  <a:pt x="16375" y="1468"/>
                </a:cubicBezTo>
                <a:cubicBezTo>
                  <a:pt x="16531" y="1500"/>
                  <a:pt x="16625" y="1437"/>
                  <a:pt x="16750" y="1468"/>
                </a:cubicBezTo>
                <a:cubicBezTo>
                  <a:pt x="16594" y="1500"/>
                  <a:pt x="16469" y="1562"/>
                  <a:pt x="16344" y="1562"/>
                </a:cubicBezTo>
                <a:cubicBezTo>
                  <a:pt x="16312" y="1562"/>
                  <a:pt x="16312" y="1593"/>
                  <a:pt x="16281" y="1593"/>
                </a:cubicBezTo>
                <a:cubicBezTo>
                  <a:pt x="16312" y="1593"/>
                  <a:pt x="16344" y="1593"/>
                  <a:pt x="16375" y="1593"/>
                </a:cubicBezTo>
                <a:cubicBezTo>
                  <a:pt x="16344" y="1593"/>
                  <a:pt x="16312" y="1593"/>
                  <a:pt x="16281" y="1593"/>
                </a:cubicBezTo>
                <a:cubicBezTo>
                  <a:pt x="16281" y="1593"/>
                  <a:pt x="16281" y="1625"/>
                  <a:pt x="16281" y="1625"/>
                </a:cubicBezTo>
                <a:cubicBezTo>
                  <a:pt x="16250" y="1656"/>
                  <a:pt x="16219" y="1625"/>
                  <a:pt x="16156" y="1625"/>
                </a:cubicBezTo>
                <a:cubicBezTo>
                  <a:pt x="16125" y="1687"/>
                  <a:pt x="16062" y="1656"/>
                  <a:pt x="16031" y="1687"/>
                </a:cubicBezTo>
                <a:cubicBezTo>
                  <a:pt x="16000" y="1718"/>
                  <a:pt x="16000" y="1718"/>
                  <a:pt x="15969" y="1687"/>
                </a:cubicBezTo>
                <a:cubicBezTo>
                  <a:pt x="16000" y="1687"/>
                  <a:pt x="16000" y="1687"/>
                  <a:pt x="16031" y="1687"/>
                </a:cubicBezTo>
                <a:cubicBezTo>
                  <a:pt x="16031" y="1687"/>
                  <a:pt x="16031" y="1656"/>
                  <a:pt x="16031" y="1656"/>
                </a:cubicBezTo>
                <a:lnTo>
                  <a:pt x="16033" y="1656"/>
                </a:lnTo>
                <a:lnTo>
                  <a:pt x="16033" y="1656"/>
                </a:lnTo>
                <a:lnTo>
                  <a:pt x="16034" y="1656"/>
                </a:lnTo>
                <a:lnTo>
                  <a:pt x="16034" y="1656"/>
                </a:lnTo>
                <a:lnTo>
                  <a:pt x="16035" y="1656"/>
                </a:lnTo>
                <a:lnTo>
                  <a:pt x="16035" y="1656"/>
                </a:lnTo>
                <a:lnTo>
                  <a:pt x="16037" y="1656"/>
                </a:lnTo>
                <a:lnTo>
                  <a:pt x="16037" y="1656"/>
                </a:lnTo>
                <a:lnTo>
                  <a:pt x="16038" y="1656"/>
                </a:lnTo>
                <a:lnTo>
                  <a:pt x="16038" y="1656"/>
                </a:lnTo>
                <a:lnTo>
                  <a:pt x="16039" y="1656"/>
                </a:lnTo>
                <a:lnTo>
                  <a:pt x="16040" y="1656"/>
                </a:lnTo>
                <a:lnTo>
                  <a:pt x="16040" y="1656"/>
                </a:lnTo>
                <a:lnTo>
                  <a:pt x="16041" y="1656"/>
                </a:lnTo>
                <a:lnTo>
                  <a:pt x="16041" y="1656"/>
                </a:lnTo>
                <a:lnTo>
                  <a:pt x="16043" y="1656"/>
                </a:lnTo>
                <a:lnTo>
                  <a:pt x="16043" y="1656"/>
                </a:lnTo>
                <a:lnTo>
                  <a:pt x="16044" y="1656"/>
                </a:lnTo>
                <a:lnTo>
                  <a:pt x="16044" y="1656"/>
                </a:lnTo>
                <a:lnTo>
                  <a:pt x="16045" y="1656"/>
                </a:lnTo>
                <a:lnTo>
                  <a:pt x="16046" y="1656"/>
                </a:lnTo>
                <a:lnTo>
                  <a:pt x="16046" y="1656"/>
                </a:lnTo>
                <a:lnTo>
                  <a:pt x="16047" y="1656"/>
                </a:lnTo>
                <a:lnTo>
                  <a:pt x="16047" y="1656"/>
                </a:lnTo>
                <a:lnTo>
                  <a:pt x="16048" y="1656"/>
                </a:lnTo>
                <a:lnTo>
                  <a:pt x="16048" y="1656"/>
                </a:lnTo>
                <a:lnTo>
                  <a:pt x="16049" y="1656"/>
                </a:lnTo>
                <a:lnTo>
                  <a:pt x="16050" y="1656"/>
                </a:lnTo>
                <a:lnTo>
                  <a:pt x="16050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1" y="1656"/>
                </a:lnTo>
                <a:lnTo>
                  <a:pt x="16052" y="1656"/>
                </a:lnTo>
                <a:lnTo>
                  <a:pt x="16053" y="1656"/>
                </a:lnTo>
                <a:lnTo>
                  <a:pt x="16053" y="1656"/>
                </a:lnTo>
                <a:lnTo>
                  <a:pt x="16054" y="1656"/>
                </a:lnTo>
                <a:lnTo>
                  <a:pt x="16054" y="1656"/>
                </a:lnTo>
                <a:lnTo>
                  <a:pt x="16055" y="1656"/>
                </a:lnTo>
                <a:lnTo>
                  <a:pt x="16055" y="1656"/>
                </a:lnTo>
                <a:lnTo>
                  <a:pt x="16056" y="1656"/>
                </a:lnTo>
                <a:lnTo>
                  <a:pt x="16056" y="1656"/>
                </a:lnTo>
                <a:lnTo>
                  <a:pt x="16057" y="1656"/>
                </a:lnTo>
                <a:lnTo>
                  <a:pt x="16057" y="1656"/>
                </a:lnTo>
                <a:lnTo>
                  <a:pt x="16058" y="1656"/>
                </a:lnTo>
                <a:lnTo>
                  <a:pt x="16058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59" y="1656"/>
                </a:lnTo>
                <a:lnTo>
                  <a:pt x="16060" y="1656"/>
                </a:lnTo>
                <a:lnTo>
                  <a:pt x="16061" y="1656"/>
                </a:lnTo>
                <a:lnTo>
                  <a:pt x="16061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2" y="1656"/>
                </a:lnTo>
                <a:lnTo>
                  <a:pt x="16063" y="1656"/>
                </a:lnTo>
                <a:lnTo>
                  <a:pt x="16063" y="1656"/>
                </a:lnTo>
                <a:lnTo>
                  <a:pt x="16064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5" y="1656"/>
                </a:lnTo>
                <a:lnTo>
                  <a:pt x="16066" y="1656"/>
                </a:lnTo>
                <a:lnTo>
                  <a:pt x="16066" y="1656"/>
                </a:lnTo>
                <a:lnTo>
                  <a:pt x="16067" y="1656"/>
                </a:lnTo>
                <a:lnTo>
                  <a:pt x="16067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8" y="1656"/>
                </a:lnTo>
                <a:lnTo>
                  <a:pt x="16069" y="1656"/>
                </a:lnTo>
                <a:lnTo>
                  <a:pt x="16070" y="1656"/>
                </a:lnTo>
                <a:lnTo>
                  <a:pt x="16070" y="1656"/>
                </a:lnTo>
                <a:lnTo>
                  <a:pt x="16071" y="1656"/>
                </a:lnTo>
                <a:lnTo>
                  <a:pt x="16071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2" y="1656"/>
                </a:lnTo>
                <a:lnTo>
                  <a:pt x="16073" y="1656"/>
                </a:lnTo>
                <a:lnTo>
                  <a:pt x="16073" y="1656"/>
                </a:lnTo>
                <a:lnTo>
                  <a:pt x="16074" y="1656"/>
                </a:lnTo>
                <a:lnTo>
                  <a:pt x="16074" y="1656"/>
                </a:lnTo>
                <a:lnTo>
                  <a:pt x="16075" y="1656"/>
                </a:lnTo>
                <a:lnTo>
                  <a:pt x="16075" y="1656"/>
                </a:lnTo>
                <a:lnTo>
                  <a:pt x="16076" y="1656"/>
                </a:lnTo>
                <a:lnTo>
                  <a:pt x="16076" y="1656"/>
                </a:lnTo>
                <a:lnTo>
                  <a:pt x="16077" y="1656"/>
                </a:lnTo>
                <a:lnTo>
                  <a:pt x="16077" y="1656"/>
                </a:lnTo>
                <a:lnTo>
                  <a:pt x="16078" y="1656"/>
                </a:lnTo>
                <a:lnTo>
                  <a:pt x="16078" y="1656"/>
                </a:lnTo>
                <a:lnTo>
                  <a:pt x="16079" y="1656"/>
                </a:lnTo>
                <a:lnTo>
                  <a:pt x="16079" y="1656"/>
                </a:lnTo>
                <a:lnTo>
                  <a:pt x="16080" y="1656"/>
                </a:lnTo>
                <a:lnTo>
                  <a:pt x="16080" y="1656"/>
                </a:lnTo>
                <a:lnTo>
                  <a:pt x="16081" y="1656"/>
                </a:lnTo>
                <a:lnTo>
                  <a:pt x="16081" y="1656"/>
                </a:lnTo>
                <a:lnTo>
                  <a:pt x="16082" y="1656"/>
                </a:lnTo>
                <a:lnTo>
                  <a:pt x="16082" y="1656"/>
                </a:lnTo>
                <a:lnTo>
                  <a:pt x="16083" y="1656"/>
                </a:lnTo>
                <a:lnTo>
                  <a:pt x="16083" y="1656"/>
                </a:lnTo>
                <a:lnTo>
                  <a:pt x="16084" y="1656"/>
                </a:lnTo>
                <a:lnTo>
                  <a:pt x="16084" y="1656"/>
                </a:lnTo>
                <a:lnTo>
                  <a:pt x="16085" y="1656"/>
                </a:lnTo>
                <a:lnTo>
                  <a:pt x="16085" y="1656"/>
                </a:lnTo>
                <a:lnTo>
                  <a:pt x="16086" y="1656"/>
                </a:lnTo>
                <a:lnTo>
                  <a:pt x="16086" y="1656"/>
                </a:lnTo>
                <a:lnTo>
                  <a:pt x="16087" y="1656"/>
                </a:lnTo>
                <a:lnTo>
                  <a:pt x="16087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8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89" y="1656"/>
                </a:lnTo>
                <a:lnTo>
                  <a:pt x="16090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1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2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3" y="1656"/>
                </a:lnTo>
                <a:lnTo>
                  <a:pt x="16094" y="1656"/>
                </a:lnTo>
                <a:lnTo>
                  <a:pt x="16094" y="1656"/>
                </a:lnTo>
                <a:lnTo>
                  <a:pt x="16094" y="1656"/>
                </a:lnTo>
                <a:cubicBezTo>
                  <a:pt x="16125" y="1656"/>
                  <a:pt x="16156" y="1656"/>
                  <a:pt x="16156" y="1625"/>
                </a:cubicBezTo>
                <a:cubicBezTo>
                  <a:pt x="16187" y="1625"/>
                  <a:pt x="16187" y="1625"/>
                  <a:pt x="16187" y="1625"/>
                </a:cubicBezTo>
                <a:cubicBezTo>
                  <a:pt x="16187" y="1625"/>
                  <a:pt x="16219" y="1625"/>
                  <a:pt x="16219" y="1625"/>
                </a:cubicBezTo>
                <a:cubicBezTo>
                  <a:pt x="16250" y="1625"/>
                  <a:pt x="16250" y="1625"/>
                  <a:pt x="16281" y="1625"/>
                </a:cubicBezTo>
                <a:cubicBezTo>
                  <a:pt x="16375" y="1625"/>
                  <a:pt x="16500" y="1593"/>
                  <a:pt x="16594" y="1625"/>
                </a:cubicBezTo>
                <a:cubicBezTo>
                  <a:pt x="16562" y="1656"/>
                  <a:pt x="16531" y="1625"/>
                  <a:pt x="16500" y="1656"/>
                </a:cubicBezTo>
                <a:cubicBezTo>
                  <a:pt x="16594" y="1750"/>
                  <a:pt x="16406" y="1687"/>
                  <a:pt x="16469" y="1750"/>
                </a:cubicBezTo>
                <a:cubicBezTo>
                  <a:pt x="16562" y="1781"/>
                  <a:pt x="16687" y="1718"/>
                  <a:pt x="16781" y="1812"/>
                </a:cubicBezTo>
                <a:cubicBezTo>
                  <a:pt x="16750" y="1843"/>
                  <a:pt x="16687" y="1875"/>
                  <a:pt x="16625" y="1937"/>
                </a:cubicBezTo>
                <a:cubicBezTo>
                  <a:pt x="16687" y="1937"/>
                  <a:pt x="16750" y="1937"/>
                  <a:pt x="16844" y="1937"/>
                </a:cubicBezTo>
                <a:cubicBezTo>
                  <a:pt x="16781" y="2000"/>
                  <a:pt x="16750" y="1937"/>
                  <a:pt x="16719" y="2000"/>
                </a:cubicBezTo>
                <a:cubicBezTo>
                  <a:pt x="16781" y="2031"/>
                  <a:pt x="16906" y="1937"/>
                  <a:pt x="16969" y="2062"/>
                </a:cubicBezTo>
                <a:cubicBezTo>
                  <a:pt x="16844" y="2093"/>
                  <a:pt x="16719" y="2156"/>
                  <a:pt x="16594" y="2187"/>
                </a:cubicBezTo>
                <a:cubicBezTo>
                  <a:pt x="16687" y="2281"/>
                  <a:pt x="16875" y="2187"/>
                  <a:pt x="16969" y="2343"/>
                </a:cubicBezTo>
                <a:cubicBezTo>
                  <a:pt x="16937" y="2375"/>
                  <a:pt x="16875" y="2343"/>
                  <a:pt x="16844" y="2375"/>
                </a:cubicBezTo>
                <a:cubicBezTo>
                  <a:pt x="16906" y="2406"/>
                  <a:pt x="16937" y="2406"/>
                  <a:pt x="17000" y="2406"/>
                </a:cubicBezTo>
                <a:cubicBezTo>
                  <a:pt x="16812" y="2718"/>
                  <a:pt x="16594" y="2968"/>
                  <a:pt x="16375" y="3218"/>
                </a:cubicBezTo>
                <a:close/>
                <a:moveTo>
                  <a:pt x="14812" y="3156"/>
                </a:move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ubicBezTo>
                  <a:pt x="14812" y="3156"/>
                  <a:pt x="14812" y="3156"/>
                  <a:pt x="14812" y="3156"/>
                </a:cubicBezTo>
                <a:close/>
                <a:moveTo>
                  <a:pt x="14844" y="3156"/>
                </a:moveTo>
                <a:cubicBezTo>
                  <a:pt x="14844" y="3156"/>
                  <a:pt x="14875" y="3156"/>
                  <a:pt x="14875" y="3156"/>
                </a:cubicBezTo>
                <a:cubicBezTo>
                  <a:pt x="14875" y="3156"/>
                  <a:pt x="14875" y="3156"/>
                  <a:pt x="14875" y="3187"/>
                </a:cubicBezTo>
                <a:cubicBezTo>
                  <a:pt x="14875" y="3187"/>
                  <a:pt x="14875" y="3187"/>
                  <a:pt x="14875" y="3187"/>
                </a:cubicBezTo>
                <a:cubicBezTo>
                  <a:pt x="14844" y="3187"/>
                  <a:pt x="14844" y="3156"/>
                  <a:pt x="14844" y="3156"/>
                </a:cubicBezTo>
                <a:close/>
                <a:moveTo>
                  <a:pt x="14406" y="3281"/>
                </a:moveTo>
                <a:cubicBezTo>
                  <a:pt x="14469" y="3187"/>
                  <a:pt x="14531" y="3125"/>
                  <a:pt x="14594" y="3093"/>
                </a:cubicBezTo>
                <a:cubicBezTo>
                  <a:pt x="14531" y="3125"/>
                  <a:pt x="14469" y="3187"/>
                  <a:pt x="14406" y="3281"/>
                </a:cubicBezTo>
                <a:cubicBezTo>
                  <a:pt x="14406" y="3281"/>
                  <a:pt x="14406" y="3281"/>
                  <a:pt x="14406" y="3281"/>
                </a:cubicBezTo>
                <a:close/>
                <a:moveTo>
                  <a:pt x="17094" y="1625"/>
                </a:moveTo>
                <a:cubicBezTo>
                  <a:pt x="17062" y="1593"/>
                  <a:pt x="17031" y="1593"/>
                  <a:pt x="17000" y="1593"/>
                </a:cubicBezTo>
                <a:cubicBezTo>
                  <a:pt x="17031" y="1593"/>
                  <a:pt x="17062" y="1593"/>
                  <a:pt x="17125" y="1625"/>
                </a:cubicBezTo>
                <a:cubicBezTo>
                  <a:pt x="17125" y="1625"/>
                  <a:pt x="17125" y="1625"/>
                  <a:pt x="17094" y="1625"/>
                </a:cubicBezTo>
                <a:close/>
                <a:moveTo>
                  <a:pt x="17187" y="1625"/>
                </a:move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ubicBezTo>
                  <a:pt x="17187" y="1625"/>
                  <a:pt x="17187" y="1625"/>
                  <a:pt x="17187" y="1625"/>
                </a:cubicBezTo>
                <a:close/>
                <a:moveTo>
                  <a:pt x="17625" y="8906"/>
                </a:move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ubicBezTo>
                  <a:pt x="17625" y="8906"/>
                  <a:pt x="17625" y="8906"/>
                  <a:pt x="17625" y="8906"/>
                </a:cubicBezTo>
                <a:close/>
                <a:moveTo>
                  <a:pt x="18062" y="8781"/>
                </a:moveTo>
                <a:cubicBezTo>
                  <a:pt x="17969" y="8812"/>
                  <a:pt x="17906" y="8843"/>
                  <a:pt x="17844" y="8875"/>
                </a:cubicBezTo>
                <a:cubicBezTo>
                  <a:pt x="17906" y="8843"/>
                  <a:pt x="17969" y="8812"/>
                  <a:pt x="18062" y="8781"/>
                </a:cubicBezTo>
                <a:cubicBezTo>
                  <a:pt x="18062" y="8750"/>
                  <a:pt x="18062" y="8718"/>
                  <a:pt x="18094" y="8718"/>
                </a:cubicBezTo>
                <a:cubicBezTo>
                  <a:pt x="18062" y="8718"/>
                  <a:pt x="18062" y="8750"/>
                  <a:pt x="18062" y="8781"/>
                </a:cubicBezTo>
                <a:close/>
                <a:moveTo>
                  <a:pt x="18219" y="8218"/>
                </a:moveTo>
                <a:cubicBezTo>
                  <a:pt x="18219" y="8218"/>
                  <a:pt x="18219" y="8218"/>
                  <a:pt x="18219" y="8218"/>
                </a:cubicBezTo>
                <a:cubicBezTo>
                  <a:pt x="18219" y="8218"/>
                  <a:pt x="18219" y="8218"/>
                  <a:pt x="18219" y="8218"/>
                </a:cubicBezTo>
                <a:close/>
                <a:moveTo>
                  <a:pt x="18344" y="8156"/>
                </a:moveTo>
                <a:cubicBezTo>
                  <a:pt x="18344" y="8156"/>
                  <a:pt x="18344" y="8156"/>
                  <a:pt x="18344" y="8156"/>
                </a:cubicBezTo>
                <a:cubicBezTo>
                  <a:pt x="18344" y="8156"/>
                  <a:pt x="18344" y="8156"/>
                  <a:pt x="18344" y="8156"/>
                </a:cubicBezTo>
                <a:close/>
                <a:moveTo>
                  <a:pt x="18437" y="7812"/>
                </a:move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ubicBezTo>
                  <a:pt x="18437" y="7812"/>
                  <a:pt x="18437" y="7812"/>
                  <a:pt x="18437" y="7812"/>
                </a:cubicBezTo>
                <a:close/>
                <a:moveTo>
                  <a:pt x="18500" y="8218"/>
                </a:moveTo>
                <a:cubicBezTo>
                  <a:pt x="18500" y="8218"/>
                  <a:pt x="18500" y="8218"/>
                  <a:pt x="18500" y="8218"/>
                </a:cubicBezTo>
                <a:cubicBezTo>
                  <a:pt x="18469" y="8218"/>
                  <a:pt x="18469" y="8218"/>
                  <a:pt x="18469" y="8218"/>
                </a:cubicBezTo>
                <a:cubicBezTo>
                  <a:pt x="18469" y="8218"/>
                  <a:pt x="18500" y="8218"/>
                  <a:pt x="18500" y="8218"/>
                </a:cubicBezTo>
                <a:close/>
                <a:moveTo>
                  <a:pt x="18906" y="15968"/>
                </a:moveTo>
                <a:cubicBezTo>
                  <a:pt x="18750" y="16000"/>
                  <a:pt x="18594" y="16000"/>
                  <a:pt x="18437" y="16031"/>
                </a:cubicBezTo>
                <a:cubicBezTo>
                  <a:pt x="18594" y="16000"/>
                  <a:pt x="18750" y="16000"/>
                  <a:pt x="18906" y="15968"/>
                </a:cubicBezTo>
                <a:cubicBezTo>
                  <a:pt x="19031" y="15968"/>
                  <a:pt x="19125" y="15968"/>
                  <a:pt x="19219" y="15968"/>
                </a:cubicBezTo>
                <a:cubicBezTo>
                  <a:pt x="19125" y="15968"/>
                  <a:pt x="19031" y="15968"/>
                  <a:pt x="18906" y="15968"/>
                </a:cubicBezTo>
                <a:close/>
                <a:moveTo>
                  <a:pt x="26125" y="14406"/>
                </a:moveTo>
                <a:cubicBezTo>
                  <a:pt x="26125" y="14406"/>
                  <a:pt x="26125" y="14406"/>
                  <a:pt x="26125" y="14406"/>
                </a:cubicBezTo>
                <a:cubicBezTo>
                  <a:pt x="26125" y="14406"/>
                  <a:pt x="26156" y="14406"/>
                  <a:pt x="26156" y="14406"/>
                </a:cubicBezTo>
                <a:cubicBezTo>
                  <a:pt x="26187" y="14375"/>
                  <a:pt x="26219" y="14375"/>
                  <a:pt x="26250" y="14406"/>
                </a:cubicBezTo>
                <a:cubicBezTo>
                  <a:pt x="26250" y="14437"/>
                  <a:pt x="26219" y="14437"/>
                  <a:pt x="26187" y="14437"/>
                </a:cubicBezTo>
                <a:cubicBezTo>
                  <a:pt x="26156" y="14437"/>
                  <a:pt x="26156" y="14406"/>
                  <a:pt x="26156" y="14406"/>
                </a:cubicBezTo>
                <a:cubicBezTo>
                  <a:pt x="26156" y="14406"/>
                  <a:pt x="26156" y="14437"/>
                  <a:pt x="26187" y="14437"/>
                </a:cubicBezTo>
                <a:cubicBezTo>
                  <a:pt x="26125" y="14500"/>
                  <a:pt x="26031" y="14500"/>
                  <a:pt x="25937" y="14500"/>
                </a:cubicBezTo>
                <a:cubicBezTo>
                  <a:pt x="26000" y="14468"/>
                  <a:pt x="26062" y="14406"/>
                  <a:pt x="26125" y="14406"/>
                </a:cubicBezTo>
                <a:cubicBezTo>
                  <a:pt x="26125" y="14406"/>
                  <a:pt x="26125" y="14406"/>
                  <a:pt x="26125" y="14406"/>
                </a:cubicBezTo>
                <a:close/>
                <a:moveTo>
                  <a:pt x="25594" y="13093"/>
                </a:moveTo>
                <a:cubicBezTo>
                  <a:pt x="25594" y="13093"/>
                  <a:pt x="25562" y="13093"/>
                  <a:pt x="25562" y="13093"/>
                </a:cubicBezTo>
                <a:cubicBezTo>
                  <a:pt x="25562" y="13093"/>
                  <a:pt x="25594" y="13093"/>
                  <a:pt x="25594" y="13093"/>
                </a:cubicBezTo>
                <a:close/>
                <a:moveTo>
                  <a:pt x="25469" y="13093"/>
                </a:moveTo>
                <a:cubicBezTo>
                  <a:pt x="25500" y="13093"/>
                  <a:pt x="25531" y="13093"/>
                  <a:pt x="25562" y="13125"/>
                </a:cubicBezTo>
                <a:cubicBezTo>
                  <a:pt x="25500" y="13156"/>
                  <a:pt x="25406" y="13187"/>
                  <a:pt x="25344" y="13187"/>
                </a:cubicBezTo>
                <a:cubicBezTo>
                  <a:pt x="25281" y="13187"/>
                  <a:pt x="25281" y="13156"/>
                  <a:pt x="25281" y="13125"/>
                </a:cubicBezTo>
                <a:cubicBezTo>
                  <a:pt x="25344" y="13125"/>
                  <a:pt x="25406" y="13125"/>
                  <a:pt x="25469" y="13093"/>
                </a:cubicBezTo>
                <a:close/>
                <a:moveTo>
                  <a:pt x="25281" y="13187"/>
                </a:moveTo>
                <a:cubicBezTo>
                  <a:pt x="25281" y="13187"/>
                  <a:pt x="25281" y="13218"/>
                  <a:pt x="25312" y="13218"/>
                </a:cubicBezTo>
                <a:cubicBezTo>
                  <a:pt x="25281" y="13218"/>
                  <a:pt x="25281" y="13187"/>
                  <a:pt x="25281" y="13187"/>
                </a:cubicBezTo>
                <a:close/>
                <a:moveTo>
                  <a:pt x="25250" y="13031"/>
                </a:moveTo>
                <a:cubicBezTo>
                  <a:pt x="25187" y="13031"/>
                  <a:pt x="25219" y="13062"/>
                  <a:pt x="25250" y="13125"/>
                </a:cubicBezTo>
                <a:cubicBezTo>
                  <a:pt x="25250" y="13125"/>
                  <a:pt x="25250" y="13156"/>
                  <a:pt x="25250" y="13156"/>
                </a:cubicBezTo>
                <a:cubicBezTo>
                  <a:pt x="25250" y="13156"/>
                  <a:pt x="25250" y="13156"/>
                  <a:pt x="25250" y="13156"/>
                </a:cubicBezTo>
                <a:cubicBezTo>
                  <a:pt x="25250" y="13156"/>
                  <a:pt x="25250" y="13125"/>
                  <a:pt x="25250" y="13125"/>
                </a:cubicBezTo>
                <a:cubicBezTo>
                  <a:pt x="25219" y="13062"/>
                  <a:pt x="25187" y="13031"/>
                  <a:pt x="25250" y="13031"/>
                </a:cubicBezTo>
                <a:close/>
                <a:moveTo>
                  <a:pt x="24469" y="13406"/>
                </a:moveTo>
                <a:cubicBezTo>
                  <a:pt x="24469" y="13406"/>
                  <a:pt x="24469" y="13406"/>
                  <a:pt x="24500" y="13406"/>
                </a:cubicBezTo>
                <a:cubicBezTo>
                  <a:pt x="24719" y="13343"/>
                  <a:pt x="25031" y="13250"/>
                  <a:pt x="25187" y="13218"/>
                </a:cubicBezTo>
                <a:cubicBezTo>
                  <a:pt x="25187" y="13218"/>
                  <a:pt x="25187" y="13218"/>
                  <a:pt x="25187" y="13250"/>
                </a:cubicBezTo>
                <a:cubicBezTo>
                  <a:pt x="25156" y="13250"/>
                  <a:pt x="25125" y="13250"/>
                  <a:pt x="25062" y="13281"/>
                </a:cubicBezTo>
                <a:cubicBezTo>
                  <a:pt x="25031" y="13312"/>
                  <a:pt x="25000" y="13312"/>
                  <a:pt x="24969" y="13312"/>
                </a:cubicBezTo>
                <a:cubicBezTo>
                  <a:pt x="24875" y="13312"/>
                  <a:pt x="24812" y="13343"/>
                  <a:pt x="24750" y="13375"/>
                </a:cubicBezTo>
                <a:cubicBezTo>
                  <a:pt x="24687" y="13406"/>
                  <a:pt x="24625" y="13437"/>
                  <a:pt x="24562" y="13437"/>
                </a:cubicBezTo>
                <a:cubicBezTo>
                  <a:pt x="24531" y="13437"/>
                  <a:pt x="24500" y="13468"/>
                  <a:pt x="24469" y="13468"/>
                </a:cubicBezTo>
                <a:cubicBezTo>
                  <a:pt x="24406" y="13468"/>
                  <a:pt x="24375" y="13500"/>
                  <a:pt x="24312" y="13531"/>
                </a:cubicBezTo>
                <a:cubicBezTo>
                  <a:pt x="24281" y="13531"/>
                  <a:pt x="24219" y="13531"/>
                  <a:pt x="24219" y="13531"/>
                </a:cubicBezTo>
                <a:cubicBezTo>
                  <a:pt x="24187" y="13500"/>
                  <a:pt x="24187" y="13500"/>
                  <a:pt x="24187" y="13500"/>
                </a:cubicBezTo>
                <a:cubicBezTo>
                  <a:pt x="24281" y="13500"/>
                  <a:pt x="24375" y="13437"/>
                  <a:pt x="24469" y="13406"/>
                </a:cubicBezTo>
                <a:close/>
                <a:moveTo>
                  <a:pt x="22000" y="15000"/>
                </a:moveTo>
                <a:cubicBezTo>
                  <a:pt x="22000" y="15000"/>
                  <a:pt x="22000" y="15031"/>
                  <a:pt x="22000" y="15031"/>
                </a:cubicBezTo>
                <a:cubicBezTo>
                  <a:pt x="22000" y="15031"/>
                  <a:pt x="22000" y="15000"/>
                  <a:pt x="22000" y="15000"/>
                </a:cubicBezTo>
                <a:close/>
                <a:moveTo>
                  <a:pt x="22125" y="14968"/>
                </a:moveTo>
                <a:cubicBezTo>
                  <a:pt x="22250" y="14906"/>
                  <a:pt x="22406" y="14906"/>
                  <a:pt x="22500" y="14843"/>
                </a:cubicBezTo>
                <a:cubicBezTo>
                  <a:pt x="22594" y="14718"/>
                  <a:pt x="22656" y="14687"/>
                  <a:pt x="22750" y="14687"/>
                </a:cubicBezTo>
                <a:cubicBezTo>
                  <a:pt x="22656" y="14687"/>
                  <a:pt x="22594" y="14718"/>
                  <a:pt x="22500" y="14843"/>
                </a:cubicBezTo>
                <a:cubicBezTo>
                  <a:pt x="22406" y="14906"/>
                  <a:pt x="22250" y="14906"/>
                  <a:pt x="22125" y="14968"/>
                </a:cubicBezTo>
                <a:cubicBezTo>
                  <a:pt x="22125" y="14968"/>
                  <a:pt x="22125" y="14968"/>
                  <a:pt x="22125" y="14968"/>
                </a:cubicBezTo>
                <a:close/>
                <a:moveTo>
                  <a:pt x="22687" y="15468"/>
                </a:move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687" y="15468"/>
                </a:cubicBezTo>
                <a:cubicBezTo>
                  <a:pt x="22687" y="15468"/>
                  <a:pt x="22687" y="15468"/>
                  <a:pt x="22719" y="15468"/>
                </a:cubicBezTo>
                <a:cubicBezTo>
                  <a:pt x="22687" y="15468"/>
                  <a:pt x="22687" y="15468"/>
                  <a:pt x="22687" y="15468"/>
                </a:cubicBezTo>
                <a:close/>
                <a:moveTo>
                  <a:pt x="22812" y="14843"/>
                </a:moveTo>
                <a:cubicBezTo>
                  <a:pt x="22781" y="14875"/>
                  <a:pt x="22750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687" y="14906"/>
                  <a:pt x="22687" y="14906"/>
                  <a:pt x="22687" y="14906"/>
                </a:cubicBezTo>
                <a:cubicBezTo>
                  <a:pt x="22594" y="14906"/>
                  <a:pt x="22562" y="14937"/>
                  <a:pt x="22500" y="14968"/>
                </a:cubicBezTo>
                <a:cubicBezTo>
                  <a:pt x="22469" y="15000"/>
                  <a:pt x="22469" y="15000"/>
                  <a:pt x="22437" y="15031"/>
                </a:cubicBezTo>
                <a:cubicBezTo>
                  <a:pt x="22375" y="14968"/>
                  <a:pt x="22344" y="15000"/>
                  <a:pt x="22281" y="15031"/>
                </a:cubicBezTo>
                <a:cubicBezTo>
                  <a:pt x="22250" y="15062"/>
                  <a:pt x="22187" y="15031"/>
                  <a:pt x="22187" y="14968"/>
                </a:cubicBezTo>
                <a:cubicBezTo>
                  <a:pt x="22312" y="14937"/>
                  <a:pt x="22437" y="14937"/>
                  <a:pt x="22562" y="14843"/>
                </a:cubicBezTo>
                <a:cubicBezTo>
                  <a:pt x="22687" y="14875"/>
                  <a:pt x="22812" y="14781"/>
                  <a:pt x="22937" y="14750"/>
                </a:cubicBezTo>
                <a:cubicBezTo>
                  <a:pt x="22969" y="14781"/>
                  <a:pt x="23000" y="14781"/>
                  <a:pt x="23031" y="14781"/>
                </a:cubicBezTo>
                <a:cubicBezTo>
                  <a:pt x="23031" y="14781"/>
                  <a:pt x="23031" y="14812"/>
                  <a:pt x="23031" y="14812"/>
                </a:cubicBezTo>
                <a:cubicBezTo>
                  <a:pt x="22969" y="14843"/>
                  <a:pt x="22906" y="14843"/>
                  <a:pt x="22844" y="14843"/>
                </a:cubicBezTo>
                <a:cubicBezTo>
                  <a:pt x="22844" y="14843"/>
                  <a:pt x="22812" y="14843"/>
                  <a:pt x="22812" y="14843"/>
                </a:cubicBezTo>
                <a:close/>
                <a:moveTo>
                  <a:pt x="22969" y="14750"/>
                </a:moveTo>
                <a:cubicBezTo>
                  <a:pt x="22969" y="14750"/>
                  <a:pt x="23000" y="14750"/>
                  <a:pt x="23000" y="14750"/>
                </a:cubicBezTo>
                <a:cubicBezTo>
                  <a:pt x="23000" y="14750"/>
                  <a:pt x="23031" y="14750"/>
                  <a:pt x="23031" y="14750"/>
                </a:cubicBezTo>
                <a:cubicBezTo>
                  <a:pt x="23031" y="14750"/>
                  <a:pt x="23031" y="14750"/>
                  <a:pt x="23031" y="14750"/>
                </a:cubicBezTo>
                <a:cubicBezTo>
                  <a:pt x="23031" y="14750"/>
                  <a:pt x="23000" y="14750"/>
                  <a:pt x="23000" y="14750"/>
                </a:cubicBezTo>
                <a:lnTo>
                  <a:pt x="22969" y="14750"/>
                </a:lnTo>
                <a:close/>
                <a:moveTo>
                  <a:pt x="22875" y="15406"/>
                </a:move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ubicBezTo>
                  <a:pt x="22875" y="15406"/>
                  <a:pt x="22875" y="15406"/>
                  <a:pt x="22875" y="15406"/>
                </a:cubicBezTo>
                <a:close/>
                <a:moveTo>
                  <a:pt x="23000" y="15375"/>
                </a:moveTo>
                <a:cubicBezTo>
                  <a:pt x="23000" y="15375"/>
                  <a:pt x="22969" y="15375"/>
                  <a:pt x="22969" y="15375"/>
                </a:cubicBezTo>
                <a:cubicBezTo>
                  <a:pt x="22969" y="15375"/>
                  <a:pt x="23000" y="15375"/>
                  <a:pt x="23000" y="15375"/>
                </a:cubicBezTo>
                <a:cubicBezTo>
                  <a:pt x="23000" y="15375"/>
                  <a:pt x="23031" y="15406"/>
                  <a:pt x="23062" y="15375"/>
                </a:cubicBezTo>
                <a:cubicBezTo>
                  <a:pt x="23031" y="15406"/>
                  <a:pt x="23000" y="15375"/>
                  <a:pt x="23000" y="15375"/>
                </a:cubicBezTo>
                <a:close/>
                <a:moveTo>
                  <a:pt x="23281" y="15031"/>
                </a:moveTo>
                <a:cubicBezTo>
                  <a:pt x="23312" y="15062"/>
                  <a:pt x="23344" y="15062"/>
                  <a:pt x="23375" y="15062"/>
                </a:cubicBezTo>
                <a:cubicBezTo>
                  <a:pt x="23344" y="15062"/>
                  <a:pt x="23312" y="15062"/>
                  <a:pt x="23281" y="15031"/>
                </a:cubicBezTo>
                <a:close/>
                <a:moveTo>
                  <a:pt x="23781" y="14625"/>
                </a:moveTo>
                <a:cubicBezTo>
                  <a:pt x="23750" y="14625"/>
                  <a:pt x="23750" y="14625"/>
                  <a:pt x="23719" y="14625"/>
                </a:cubicBezTo>
                <a:cubicBezTo>
                  <a:pt x="23594" y="14625"/>
                  <a:pt x="23469" y="14718"/>
                  <a:pt x="23312" y="14750"/>
                </a:cubicBezTo>
                <a:cubicBezTo>
                  <a:pt x="23312" y="14750"/>
                  <a:pt x="23281" y="14781"/>
                  <a:pt x="23250" y="14750"/>
                </a:cubicBezTo>
                <a:cubicBezTo>
                  <a:pt x="23250" y="14750"/>
                  <a:pt x="23219" y="14750"/>
                  <a:pt x="23219" y="14750"/>
                </a:cubicBezTo>
                <a:cubicBezTo>
                  <a:pt x="23250" y="14812"/>
                  <a:pt x="23312" y="14875"/>
                  <a:pt x="23344" y="14906"/>
                </a:cubicBezTo>
                <a:cubicBezTo>
                  <a:pt x="23312" y="14875"/>
                  <a:pt x="23250" y="14812"/>
                  <a:pt x="23219" y="14750"/>
                </a:cubicBezTo>
                <a:cubicBezTo>
                  <a:pt x="23156" y="14781"/>
                  <a:pt x="23125" y="14781"/>
                  <a:pt x="23094" y="14781"/>
                </a:cubicBezTo>
                <a:cubicBezTo>
                  <a:pt x="23062" y="14687"/>
                  <a:pt x="23156" y="14718"/>
                  <a:pt x="23187" y="14687"/>
                </a:cubicBezTo>
                <a:cubicBezTo>
                  <a:pt x="23406" y="14625"/>
                  <a:pt x="23594" y="14562"/>
                  <a:pt x="23812" y="14531"/>
                </a:cubicBezTo>
                <a:cubicBezTo>
                  <a:pt x="23812" y="14562"/>
                  <a:pt x="23812" y="14593"/>
                  <a:pt x="23781" y="14625"/>
                </a:cubicBezTo>
                <a:close/>
                <a:moveTo>
                  <a:pt x="23094" y="14656"/>
                </a:moveTo>
                <a:cubicBezTo>
                  <a:pt x="23125" y="14656"/>
                  <a:pt x="23125" y="14656"/>
                  <a:pt x="23156" y="14687"/>
                </a:cubicBezTo>
                <a:cubicBezTo>
                  <a:pt x="23125" y="14656"/>
                  <a:pt x="23125" y="14656"/>
                  <a:pt x="23094" y="14656"/>
                </a:cubicBezTo>
                <a:close/>
                <a:moveTo>
                  <a:pt x="23594" y="14312"/>
                </a:moveTo>
                <a:cubicBezTo>
                  <a:pt x="23594" y="14312"/>
                  <a:pt x="23625" y="14312"/>
                  <a:pt x="23625" y="14312"/>
                </a:cubicBezTo>
                <a:cubicBezTo>
                  <a:pt x="23625" y="14312"/>
                  <a:pt x="23594" y="14312"/>
                  <a:pt x="23594" y="14312"/>
                </a:cubicBezTo>
                <a:close/>
                <a:moveTo>
                  <a:pt x="23625" y="14281"/>
                </a:moveTo>
                <a:cubicBezTo>
                  <a:pt x="23625" y="14281"/>
                  <a:pt x="23625" y="14281"/>
                  <a:pt x="23625" y="14281"/>
                </a:cubicBezTo>
                <a:cubicBezTo>
                  <a:pt x="23750" y="14281"/>
                  <a:pt x="23812" y="14343"/>
                  <a:pt x="23875" y="14406"/>
                </a:cubicBezTo>
                <a:cubicBezTo>
                  <a:pt x="23812" y="14343"/>
                  <a:pt x="23750" y="14281"/>
                  <a:pt x="23625" y="14281"/>
                </a:cubicBezTo>
                <a:close/>
                <a:moveTo>
                  <a:pt x="23875" y="14593"/>
                </a:moveTo>
                <a:cubicBezTo>
                  <a:pt x="23875" y="14593"/>
                  <a:pt x="23875" y="14593"/>
                  <a:pt x="23875" y="14593"/>
                </a:cubicBezTo>
                <a:cubicBezTo>
                  <a:pt x="23875" y="14562"/>
                  <a:pt x="23875" y="14562"/>
                  <a:pt x="23875" y="14562"/>
                </a:cubicBezTo>
                <a:cubicBezTo>
                  <a:pt x="23875" y="14562"/>
                  <a:pt x="23875" y="14562"/>
                  <a:pt x="23875" y="14593"/>
                </a:cubicBezTo>
                <a:close/>
                <a:moveTo>
                  <a:pt x="23875" y="14187"/>
                </a:moveTo>
                <a:cubicBezTo>
                  <a:pt x="23750" y="14218"/>
                  <a:pt x="23625" y="14250"/>
                  <a:pt x="23500" y="14281"/>
                </a:cubicBezTo>
                <a:cubicBezTo>
                  <a:pt x="23469" y="14281"/>
                  <a:pt x="23469" y="14312"/>
                  <a:pt x="23469" y="14312"/>
                </a:cubicBezTo>
                <a:cubicBezTo>
                  <a:pt x="23469" y="14312"/>
                  <a:pt x="23469" y="14312"/>
                  <a:pt x="23500" y="14312"/>
                </a:cubicBezTo>
                <a:cubicBezTo>
                  <a:pt x="23469" y="14312"/>
                  <a:pt x="23469" y="14312"/>
                  <a:pt x="23469" y="14312"/>
                </a:cubicBezTo>
                <a:cubicBezTo>
                  <a:pt x="23437" y="14343"/>
                  <a:pt x="23437" y="14343"/>
                  <a:pt x="23406" y="14343"/>
                </a:cubicBezTo>
                <a:cubicBezTo>
                  <a:pt x="23375" y="14312"/>
                  <a:pt x="23406" y="14281"/>
                  <a:pt x="23437" y="14250"/>
                </a:cubicBezTo>
                <a:cubicBezTo>
                  <a:pt x="23469" y="14250"/>
                  <a:pt x="23531" y="14187"/>
                  <a:pt x="23562" y="14187"/>
                </a:cubicBezTo>
                <a:cubicBezTo>
                  <a:pt x="23656" y="14187"/>
                  <a:pt x="23750" y="14156"/>
                  <a:pt x="23844" y="14125"/>
                </a:cubicBezTo>
                <a:cubicBezTo>
                  <a:pt x="23844" y="14125"/>
                  <a:pt x="23875" y="14156"/>
                  <a:pt x="23875" y="14187"/>
                </a:cubicBezTo>
                <a:close/>
                <a:moveTo>
                  <a:pt x="24000" y="14156"/>
                </a:moveTo>
                <a:cubicBezTo>
                  <a:pt x="24031" y="14187"/>
                  <a:pt x="24062" y="14187"/>
                  <a:pt x="24062" y="14187"/>
                </a:cubicBezTo>
                <a:cubicBezTo>
                  <a:pt x="24062" y="14187"/>
                  <a:pt x="24031" y="14187"/>
                  <a:pt x="24000" y="14156"/>
                </a:cubicBezTo>
                <a:close/>
                <a:moveTo>
                  <a:pt x="24250" y="14218"/>
                </a:moveTo>
                <a:cubicBezTo>
                  <a:pt x="24250" y="14187"/>
                  <a:pt x="24219" y="14156"/>
                  <a:pt x="24187" y="14125"/>
                </a:cubicBezTo>
                <a:cubicBezTo>
                  <a:pt x="24187" y="14125"/>
                  <a:pt x="24187" y="14125"/>
                  <a:pt x="24187" y="14125"/>
                </a:cubicBezTo>
                <a:cubicBezTo>
                  <a:pt x="24219" y="14156"/>
                  <a:pt x="24250" y="14187"/>
                  <a:pt x="24250" y="14218"/>
                </a:cubicBezTo>
                <a:close/>
                <a:moveTo>
                  <a:pt x="24562" y="13937"/>
                </a:moveTo>
                <a:cubicBezTo>
                  <a:pt x="24562" y="13937"/>
                  <a:pt x="24594" y="13906"/>
                  <a:pt x="24625" y="13875"/>
                </a:cubicBezTo>
                <a:cubicBezTo>
                  <a:pt x="24594" y="13906"/>
                  <a:pt x="24562" y="13937"/>
                  <a:pt x="24562" y="13937"/>
                </a:cubicBezTo>
                <a:cubicBezTo>
                  <a:pt x="24562" y="13937"/>
                  <a:pt x="24562" y="13937"/>
                  <a:pt x="24562" y="13937"/>
                </a:cubicBezTo>
                <a:cubicBezTo>
                  <a:pt x="24562" y="13968"/>
                  <a:pt x="24531" y="14000"/>
                  <a:pt x="24500" y="14000"/>
                </a:cubicBezTo>
                <a:cubicBezTo>
                  <a:pt x="24500" y="14000"/>
                  <a:pt x="24500" y="14031"/>
                  <a:pt x="24500" y="14031"/>
                </a:cubicBezTo>
                <a:cubicBezTo>
                  <a:pt x="24500" y="14031"/>
                  <a:pt x="24500" y="14000"/>
                  <a:pt x="24500" y="14000"/>
                </a:cubicBezTo>
                <a:cubicBezTo>
                  <a:pt x="24531" y="14000"/>
                  <a:pt x="24562" y="13968"/>
                  <a:pt x="24562" y="13937"/>
                </a:cubicBezTo>
                <a:close/>
                <a:moveTo>
                  <a:pt x="24406" y="13968"/>
                </a:moveTo>
                <a:cubicBezTo>
                  <a:pt x="24406" y="13968"/>
                  <a:pt x="24437" y="13968"/>
                  <a:pt x="24437" y="13937"/>
                </a:cubicBezTo>
                <a:cubicBezTo>
                  <a:pt x="24437" y="13937"/>
                  <a:pt x="24406" y="13937"/>
                  <a:pt x="24406" y="13906"/>
                </a:cubicBezTo>
                <a:cubicBezTo>
                  <a:pt x="24406" y="13906"/>
                  <a:pt x="24406" y="13906"/>
                  <a:pt x="24406" y="13906"/>
                </a:cubicBezTo>
                <a:cubicBezTo>
                  <a:pt x="24406" y="13937"/>
                  <a:pt x="24437" y="13937"/>
                  <a:pt x="24437" y="13937"/>
                </a:cubicBezTo>
                <a:cubicBezTo>
                  <a:pt x="24437" y="13937"/>
                  <a:pt x="24469" y="13937"/>
                  <a:pt x="24469" y="13937"/>
                </a:cubicBezTo>
                <a:cubicBezTo>
                  <a:pt x="24469" y="13937"/>
                  <a:pt x="24531" y="13968"/>
                  <a:pt x="24500" y="14000"/>
                </a:cubicBezTo>
                <a:cubicBezTo>
                  <a:pt x="24500" y="14000"/>
                  <a:pt x="24469" y="14000"/>
                  <a:pt x="24469" y="14000"/>
                </a:cubicBezTo>
                <a:cubicBezTo>
                  <a:pt x="24469" y="14000"/>
                  <a:pt x="24469" y="14000"/>
                  <a:pt x="24469" y="14031"/>
                </a:cubicBezTo>
                <a:cubicBezTo>
                  <a:pt x="24469" y="14000"/>
                  <a:pt x="24469" y="14000"/>
                  <a:pt x="24469" y="14000"/>
                </a:cubicBezTo>
                <a:cubicBezTo>
                  <a:pt x="24312" y="14062"/>
                  <a:pt x="24187" y="14093"/>
                  <a:pt x="24031" y="14125"/>
                </a:cubicBezTo>
                <a:cubicBezTo>
                  <a:pt x="24000" y="14125"/>
                  <a:pt x="23969" y="14125"/>
                  <a:pt x="23969" y="14093"/>
                </a:cubicBezTo>
                <a:cubicBezTo>
                  <a:pt x="24125" y="14062"/>
                  <a:pt x="24250" y="14000"/>
                  <a:pt x="24406" y="13968"/>
                </a:cubicBezTo>
                <a:close/>
                <a:moveTo>
                  <a:pt x="23844" y="13781"/>
                </a:moveTo>
                <a:cubicBezTo>
                  <a:pt x="23844" y="13781"/>
                  <a:pt x="23844" y="13781"/>
                  <a:pt x="23844" y="13781"/>
                </a:cubicBezTo>
                <a:cubicBezTo>
                  <a:pt x="23875" y="13812"/>
                  <a:pt x="23875" y="13812"/>
                  <a:pt x="23844" y="13843"/>
                </a:cubicBezTo>
                <a:cubicBezTo>
                  <a:pt x="23844" y="13843"/>
                  <a:pt x="23844" y="13843"/>
                  <a:pt x="23844" y="13843"/>
                </a:cubicBezTo>
                <a:cubicBezTo>
                  <a:pt x="23875" y="13812"/>
                  <a:pt x="23875" y="13812"/>
                  <a:pt x="23844" y="13781"/>
                </a:cubicBezTo>
                <a:close/>
                <a:moveTo>
                  <a:pt x="23875" y="13875"/>
                </a:moveTo>
                <a:cubicBezTo>
                  <a:pt x="23969" y="13906"/>
                  <a:pt x="24000" y="13812"/>
                  <a:pt x="24062" y="13843"/>
                </a:cubicBezTo>
                <a:cubicBezTo>
                  <a:pt x="24094" y="13843"/>
                  <a:pt x="24125" y="13843"/>
                  <a:pt x="24125" y="13906"/>
                </a:cubicBezTo>
                <a:cubicBezTo>
                  <a:pt x="24062" y="13937"/>
                  <a:pt x="23969" y="13937"/>
                  <a:pt x="23875" y="14000"/>
                </a:cubicBezTo>
                <a:cubicBezTo>
                  <a:pt x="23875" y="14000"/>
                  <a:pt x="23844" y="14000"/>
                  <a:pt x="23844" y="14000"/>
                </a:cubicBezTo>
                <a:cubicBezTo>
                  <a:pt x="23844" y="14000"/>
                  <a:pt x="23844" y="14000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44" y="13968"/>
                  <a:pt x="23844" y="13968"/>
                  <a:pt x="23844" y="13968"/>
                </a:cubicBezTo>
                <a:cubicBezTo>
                  <a:pt x="23812" y="13937"/>
                  <a:pt x="23844" y="13906"/>
                  <a:pt x="23875" y="13875"/>
                </a:cubicBezTo>
                <a:close/>
                <a:moveTo>
                  <a:pt x="23781" y="13906"/>
                </a:moveTo>
                <a:cubicBezTo>
                  <a:pt x="23781" y="13906"/>
                  <a:pt x="23781" y="13906"/>
                  <a:pt x="23781" y="13937"/>
                </a:cubicBezTo>
                <a:cubicBezTo>
                  <a:pt x="23781" y="13906"/>
                  <a:pt x="23781" y="13906"/>
                  <a:pt x="23781" y="13906"/>
                </a:cubicBezTo>
                <a:close/>
                <a:moveTo>
                  <a:pt x="23781" y="14000"/>
                </a:moveTo>
                <a:cubicBezTo>
                  <a:pt x="23750" y="14000"/>
                  <a:pt x="23750" y="14031"/>
                  <a:pt x="23719" y="14031"/>
                </a:cubicBezTo>
                <a:cubicBezTo>
                  <a:pt x="23719" y="14031"/>
                  <a:pt x="23719" y="14031"/>
                  <a:pt x="23719" y="14062"/>
                </a:cubicBezTo>
                <a:cubicBezTo>
                  <a:pt x="23719" y="14031"/>
                  <a:pt x="23719" y="14031"/>
                  <a:pt x="23719" y="14031"/>
                </a:cubicBezTo>
                <a:cubicBezTo>
                  <a:pt x="23750" y="14031"/>
                  <a:pt x="23750" y="14000"/>
                  <a:pt x="23781" y="14000"/>
                </a:cubicBezTo>
                <a:close/>
                <a:moveTo>
                  <a:pt x="22812" y="13937"/>
                </a:moveTo>
                <a:cubicBezTo>
                  <a:pt x="22844" y="13906"/>
                  <a:pt x="22875" y="13906"/>
                  <a:pt x="22875" y="13906"/>
                </a:cubicBezTo>
                <a:cubicBezTo>
                  <a:pt x="22594" y="14031"/>
                  <a:pt x="22594" y="14031"/>
                  <a:pt x="22594" y="14031"/>
                </a:cubicBezTo>
                <a:cubicBezTo>
                  <a:pt x="22594" y="14031"/>
                  <a:pt x="22562" y="14031"/>
                  <a:pt x="22531" y="14031"/>
                </a:cubicBezTo>
                <a:cubicBezTo>
                  <a:pt x="22625" y="13968"/>
                  <a:pt x="22719" y="13968"/>
                  <a:pt x="22812" y="13937"/>
                </a:cubicBezTo>
                <a:close/>
                <a:moveTo>
                  <a:pt x="22562" y="13656"/>
                </a:moveTo>
                <a:cubicBezTo>
                  <a:pt x="22562" y="13656"/>
                  <a:pt x="22562" y="13656"/>
                  <a:pt x="22562" y="13656"/>
                </a:cubicBezTo>
                <a:cubicBezTo>
                  <a:pt x="22469" y="13687"/>
                  <a:pt x="22375" y="13718"/>
                  <a:pt x="22281" y="13750"/>
                </a:cubicBezTo>
                <a:cubicBezTo>
                  <a:pt x="22375" y="13718"/>
                  <a:pt x="22469" y="13687"/>
                  <a:pt x="22562" y="13656"/>
                </a:cubicBezTo>
                <a:close/>
                <a:moveTo>
                  <a:pt x="23562" y="13968"/>
                </a:moveTo>
                <a:cubicBezTo>
                  <a:pt x="23562" y="13968"/>
                  <a:pt x="23562" y="13968"/>
                  <a:pt x="23531" y="13968"/>
                </a:cubicBezTo>
                <a:cubicBezTo>
                  <a:pt x="23531" y="13968"/>
                  <a:pt x="23531" y="13968"/>
                  <a:pt x="23531" y="13968"/>
                </a:cubicBezTo>
                <a:cubicBezTo>
                  <a:pt x="23562" y="13968"/>
                  <a:pt x="23562" y="13968"/>
                  <a:pt x="23562" y="13968"/>
                </a:cubicBezTo>
                <a:cubicBezTo>
                  <a:pt x="23562" y="13968"/>
                  <a:pt x="23594" y="13968"/>
                  <a:pt x="23594" y="13968"/>
                </a:cubicBezTo>
                <a:cubicBezTo>
                  <a:pt x="23625" y="14000"/>
                  <a:pt x="23656" y="14000"/>
                  <a:pt x="23656" y="14062"/>
                </a:cubicBezTo>
                <a:cubicBezTo>
                  <a:pt x="23625" y="14062"/>
                  <a:pt x="23594" y="14062"/>
                  <a:pt x="23562" y="14093"/>
                </a:cubicBezTo>
                <a:cubicBezTo>
                  <a:pt x="23500" y="14093"/>
                  <a:pt x="23406" y="14125"/>
                  <a:pt x="23344" y="14156"/>
                </a:cubicBezTo>
                <a:cubicBezTo>
                  <a:pt x="22969" y="14250"/>
                  <a:pt x="22594" y="14343"/>
                  <a:pt x="22219" y="14468"/>
                </a:cubicBezTo>
                <a:cubicBezTo>
                  <a:pt x="22156" y="14468"/>
                  <a:pt x="22094" y="14468"/>
                  <a:pt x="22031" y="14500"/>
                </a:cubicBezTo>
                <a:cubicBezTo>
                  <a:pt x="22031" y="14500"/>
                  <a:pt x="22000" y="14500"/>
                  <a:pt x="21937" y="14468"/>
                </a:cubicBezTo>
                <a:cubicBezTo>
                  <a:pt x="22500" y="14312"/>
                  <a:pt x="23031" y="14156"/>
                  <a:pt x="23562" y="13968"/>
                </a:cubicBezTo>
                <a:close/>
                <a:moveTo>
                  <a:pt x="22000" y="14687"/>
                </a:moveTo>
                <a:cubicBezTo>
                  <a:pt x="22031" y="14656"/>
                  <a:pt x="22094" y="14656"/>
                  <a:pt x="22156" y="14625"/>
                </a:cubicBezTo>
                <a:cubicBezTo>
                  <a:pt x="22219" y="14593"/>
                  <a:pt x="22312" y="14593"/>
                  <a:pt x="22375" y="14562"/>
                </a:cubicBezTo>
                <a:cubicBezTo>
                  <a:pt x="22375" y="14562"/>
                  <a:pt x="22375" y="14562"/>
                  <a:pt x="22375" y="14562"/>
                </a:cubicBezTo>
                <a:cubicBezTo>
                  <a:pt x="22562" y="14500"/>
                  <a:pt x="22719" y="14468"/>
                  <a:pt x="22906" y="14406"/>
                </a:cubicBezTo>
                <a:cubicBezTo>
                  <a:pt x="22937" y="14406"/>
                  <a:pt x="23000" y="14375"/>
                  <a:pt x="23062" y="14375"/>
                </a:cubicBezTo>
                <a:cubicBezTo>
                  <a:pt x="23062" y="14375"/>
                  <a:pt x="23062" y="14343"/>
                  <a:pt x="23062" y="14343"/>
                </a:cubicBezTo>
                <a:cubicBezTo>
                  <a:pt x="23156" y="14375"/>
                  <a:pt x="23187" y="14343"/>
                  <a:pt x="23219" y="14281"/>
                </a:cubicBezTo>
                <a:cubicBezTo>
                  <a:pt x="23187" y="14343"/>
                  <a:pt x="23156" y="14375"/>
                  <a:pt x="23062" y="14343"/>
                </a:cubicBezTo>
                <a:cubicBezTo>
                  <a:pt x="23062" y="14343"/>
                  <a:pt x="23062" y="14375"/>
                  <a:pt x="23062" y="14375"/>
                </a:cubicBezTo>
                <a:cubicBezTo>
                  <a:pt x="23094" y="14375"/>
                  <a:pt x="23094" y="14343"/>
                  <a:pt x="23125" y="14343"/>
                </a:cubicBezTo>
                <a:cubicBezTo>
                  <a:pt x="23125" y="14406"/>
                  <a:pt x="23094" y="14406"/>
                  <a:pt x="23062" y="14437"/>
                </a:cubicBezTo>
                <a:cubicBezTo>
                  <a:pt x="23031" y="14437"/>
                  <a:pt x="23000" y="14437"/>
                  <a:pt x="23000" y="14437"/>
                </a:cubicBezTo>
                <a:cubicBezTo>
                  <a:pt x="22969" y="14437"/>
                  <a:pt x="22969" y="14468"/>
                  <a:pt x="22969" y="14468"/>
                </a:cubicBezTo>
                <a:cubicBezTo>
                  <a:pt x="22969" y="14468"/>
                  <a:pt x="22969" y="14437"/>
                  <a:pt x="23000" y="14437"/>
                </a:cubicBezTo>
                <a:cubicBezTo>
                  <a:pt x="22812" y="14468"/>
                  <a:pt x="22656" y="14531"/>
                  <a:pt x="22500" y="14562"/>
                </a:cubicBezTo>
                <a:cubicBezTo>
                  <a:pt x="22469" y="14562"/>
                  <a:pt x="22406" y="14562"/>
                  <a:pt x="22437" y="14593"/>
                </a:cubicBezTo>
                <a:cubicBezTo>
                  <a:pt x="22437" y="14625"/>
                  <a:pt x="22437" y="14625"/>
                  <a:pt x="22437" y="14625"/>
                </a:cubicBezTo>
                <a:cubicBezTo>
                  <a:pt x="22406" y="14593"/>
                  <a:pt x="22406" y="14625"/>
                  <a:pt x="22406" y="14625"/>
                </a:cubicBezTo>
                <a:cubicBezTo>
                  <a:pt x="22375" y="14625"/>
                  <a:pt x="22375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344" y="14625"/>
                  <a:pt x="22344" y="14625"/>
                  <a:pt x="22344" y="14625"/>
                </a:cubicBezTo>
                <a:cubicBezTo>
                  <a:pt x="22281" y="14593"/>
                  <a:pt x="22250" y="14625"/>
                  <a:pt x="22187" y="14687"/>
                </a:cubicBezTo>
                <a:cubicBezTo>
                  <a:pt x="22156" y="14687"/>
                  <a:pt x="22156" y="14687"/>
                  <a:pt x="22125" y="14687"/>
                </a:cubicBezTo>
                <a:cubicBezTo>
                  <a:pt x="22125" y="14687"/>
                  <a:pt x="22094" y="14687"/>
                  <a:pt x="22062" y="14687"/>
                </a:cubicBezTo>
                <a:cubicBezTo>
                  <a:pt x="22031" y="14718"/>
                  <a:pt x="22031" y="14718"/>
                  <a:pt x="22000" y="14750"/>
                </a:cubicBezTo>
                <a:cubicBezTo>
                  <a:pt x="22031" y="14718"/>
                  <a:pt x="22031" y="14718"/>
                  <a:pt x="22062" y="14687"/>
                </a:cubicBezTo>
                <a:cubicBezTo>
                  <a:pt x="22031" y="14687"/>
                  <a:pt x="22000" y="14687"/>
                  <a:pt x="21969" y="14687"/>
                </a:cubicBezTo>
                <a:cubicBezTo>
                  <a:pt x="21969" y="14687"/>
                  <a:pt x="21969" y="14687"/>
                  <a:pt x="22000" y="14687"/>
                </a:cubicBezTo>
                <a:cubicBezTo>
                  <a:pt x="21969" y="14687"/>
                  <a:pt x="21937" y="14687"/>
                  <a:pt x="21906" y="14687"/>
                </a:cubicBezTo>
                <a:cubicBezTo>
                  <a:pt x="21937" y="14687"/>
                  <a:pt x="21969" y="14687"/>
                  <a:pt x="22000" y="14687"/>
                </a:cubicBezTo>
                <a:close/>
                <a:moveTo>
                  <a:pt x="21812" y="15187"/>
                </a:moveTo>
                <a:cubicBezTo>
                  <a:pt x="21812" y="15187"/>
                  <a:pt x="21812" y="15187"/>
                  <a:pt x="21812" y="15218"/>
                </a:cubicBezTo>
                <a:cubicBezTo>
                  <a:pt x="21812" y="15187"/>
                  <a:pt x="21812" y="15187"/>
                  <a:pt x="21812" y="15187"/>
                </a:cubicBezTo>
                <a:close/>
                <a:moveTo>
                  <a:pt x="21750" y="15125"/>
                </a:moveTo>
                <a:cubicBezTo>
                  <a:pt x="21719" y="15093"/>
                  <a:pt x="21719" y="15125"/>
                  <a:pt x="21687" y="15156"/>
                </a:cubicBezTo>
                <a:cubicBezTo>
                  <a:pt x="21687" y="15156"/>
                  <a:pt x="21687" y="15156"/>
                  <a:pt x="21687" y="15156"/>
                </a:cubicBezTo>
                <a:cubicBezTo>
                  <a:pt x="21719" y="15125"/>
                  <a:pt x="21719" y="15093"/>
                  <a:pt x="21750" y="15125"/>
                </a:cubicBezTo>
                <a:close/>
                <a:moveTo>
                  <a:pt x="24812" y="12812"/>
                </a:moveTo>
                <a:cubicBezTo>
                  <a:pt x="24812" y="12812"/>
                  <a:pt x="24812" y="12781"/>
                  <a:pt x="24812" y="12781"/>
                </a:cubicBezTo>
                <a:cubicBezTo>
                  <a:pt x="24812" y="12781"/>
                  <a:pt x="24812" y="12781"/>
                  <a:pt x="24812" y="12781"/>
                </a:cubicBezTo>
                <a:cubicBezTo>
                  <a:pt x="24812" y="12781"/>
                  <a:pt x="24812" y="12812"/>
                  <a:pt x="24812" y="12812"/>
                </a:cubicBezTo>
                <a:cubicBezTo>
                  <a:pt x="24437" y="12937"/>
                  <a:pt x="24094" y="13062"/>
                  <a:pt x="23719" y="13187"/>
                </a:cubicBezTo>
                <a:cubicBezTo>
                  <a:pt x="24094" y="13062"/>
                  <a:pt x="24437" y="12937"/>
                  <a:pt x="24812" y="12812"/>
                </a:cubicBezTo>
                <a:close/>
                <a:moveTo>
                  <a:pt x="28812" y="11187"/>
                </a:moveTo>
                <a:cubicBezTo>
                  <a:pt x="28812" y="11187"/>
                  <a:pt x="28812" y="11187"/>
                  <a:pt x="28812" y="11187"/>
                </a:cubicBezTo>
                <a:cubicBezTo>
                  <a:pt x="28812" y="11187"/>
                  <a:pt x="28781" y="11187"/>
                  <a:pt x="28781" y="11187"/>
                </a:cubicBezTo>
                <a:cubicBezTo>
                  <a:pt x="28781" y="11187"/>
                  <a:pt x="28812" y="11187"/>
                  <a:pt x="28812" y="11187"/>
                </a:cubicBezTo>
                <a:close/>
                <a:moveTo>
                  <a:pt x="28781" y="11187"/>
                </a:moveTo>
                <a:cubicBezTo>
                  <a:pt x="28781" y="11187"/>
                  <a:pt x="28781" y="11187"/>
                  <a:pt x="28781" y="11187"/>
                </a:cubicBezTo>
                <a:cubicBezTo>
                  <a:pt x="28750" y="11156"/>
                  <a:pt x="28750" y="11187"/>
                  <a:pt x="28719" y="11187"/>
                </a:cubicBezTo>
                <a:cubicBezTo>
                  <a:pt x="28750" y="11187"/>
                  <a:pt x="28750" y="11156"/>
                  <a:pt x="28781" y="11187"/>
                </a:cubicBezTo>
                <a:close/>
                <a:moveTo>
                  <a:pt x="26562" y="11906"/>
                </a:moveTo>
                <a:cubicBezTo>
                  <a:pt x="26562" y="11906"/>
                  <a:pt x="26562" y="11906"/>
                  <a:pt x="26562" y="11906"/>
                </a:cubicBezTo>
                <a:cubicBezTo>
                  <a:pt x="26531" y="11906"/>
                  <a:pt x="26500" y="11906"/>
                  <a:pt x="26469" y="11937"/>
                </a:cubicBezTo>
                <a:cubicBezTo>
                  <a:pt x="26500" y="11906"/>
                  <a:pt x="26531" y="11906"/>
                  <a:pt x="26562" y="11906"/>
                </a:cubicBezTo>
                <a:close/>
                <a:moveTo>
                  <a:pt x="24687" y="12593"/>
                </a:moveTo>
                <a:cubicBezTo>
                  <a:pt x="25312" y="12375"/>
                  <a:pt x="25969" y="12156"/>
                  <a:pt x="26594" y="11937"/>
                </a:cubicBezTo>
                <a:cubicBezTo>
                  <a:pt x="25969" y="12156"/>
                  <a:pt x="25312" y="12375"/>
                  <a:pt x="24687" y="12593"/>
                </a:cubicBezTo>
                <a:cubicBezTo>
                  <a:pt x="24687" y="12593"/>
                  <a:pt x="24656" y="12625"/>
                  <a:pt x="24656" y="12625"/>
                </a:cubicBezTo>
                <a:cubicBezTo>
                  <a:pt x="24656" y="12625"/>
                  <a:pt x="24687" y="12593"/>
                  <a:pt x="24687" y="12593"/>
                </a:cubicBezTo>
                <a:close/>
                <a:moveTo>
                  <a:pt x="22219" y="13375"/>
                </a:moveTo>
                <a:cubicBezTo>
                  <a:pt x="22219" y="13375"/>
                  <a:pt x="22219" y="13375"/>
                  <a:pt x="22219" y="13375"/>
                </a:cubicBezTo>
                <a:cubicBezTo>
                  <a:pt x="22187" y="13406"/>
                  <a:pt x="22156" y="13406"/>
                  <a:pt x="22156" y="13437"/>
                </a:cubicBezTo>
                <a:cubicBezTo>
                  <a:pt x="22156" y="13406"/>
                  <a:pt x="22187" y="13406"/>
                  <a:pt x="22219" y="13375"/>
                </a:cubicBezTo>
                <a:close/>
                <a:moveTo>
                  <a:pt x="21937" y="13437"/>
                </a:moveTo>
                <a:cubicBezTo>
                  <a:pt x="21906" y="13437"/>
                  <a:pt x="21875" y="13437"/>
                  <a:pt x="21844" y="13468"/>
                </a:cubicBezTo>
                <a:cubicBezTo>
                  <a:pt x="21875" y="13437"/>
                  <a:pt x="21906" y="13437"/>
                  <a:pt x="21937" y="13437"/>
                </a:cubicBezTo>
                <a:close/>
                <a:moveTo>
                  <a:pt x="23500" y="12718"/>
                </a:moveTo>
                <a:cubicBezTo>
                  <a:pt x="23500" y="12718"/>
                  <a:pt x="23500" y="12718"/>
                  <a:pt x="23500" y="12718"/>
                </a:cubicBezTo>
                <a:cubicBezTo>
                  <a:pt x="23500" y="12750"/>
                  <a:pt x="23500" y="12750"/>
                  <a:pt x="23500" y="12750"/>
                </a:cubicBezTo>
                <a:cubicBezTo>
                  <a:pt x="23500" y="12750"/>
                  <a:pt x="23500" y="12750"/>
                  <a:pt x="23500" y="12718"/>
                </a:cubicBezTo>
                <a:close/>
                <a:moveTo>
                  <a:pt x="23187" y="12875"/>
                </a:moveTo>
                <a:cubicBezTo>
                  <a:pt x="23219" y="12875"/>
                  <a:pt x="23281" y="12875"/>
                  <a:pt x="23281" y="12875"/>
                </a:cubicBezTo>
                <a:cubicBezTo>
                  <a:pt x="23281" y="12875"/>
                  <a:pt x="23219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ubicBezTo>
                  <a:pt x="23187" y="12875"/>
                  <a:pt x="23187" y="12875"/>
                  <a:pt x="23187" y="12875"/>
                </a:cubicBezTo>
                <a:close/>
                <a:moveTo>
                  <a:pt x="22969" y="12937"/>
                </a:moveTo>
                <a:cubicBezTo>
                  <a:pt x="22969" y="12937"/>
                  <a:pt x="22969" y="12937"/>
                  <a:pt x="22969" y="12937"/>
                </a:cubicBezTo>
                <a:cubicBezTo>
                  <a:pt x="22906" y="12968"/>
                  <a:pt x="22812" y="13031"/>
                  <a:pt x="22750" y="13031"/>
                </a:cubicBezTo>
                <a:cubicBezTo>
                  <a:pt x="22812" y="13031"/>
                  <a:pt x="22906" y="12968"/>
                  <a:pt x="22969" y="12937"/>
                </a:cubicBezTo>
                <a:close/>
                <a:moveTo>
                  <a:pt x="22062" y="13250"/>
                </a:moveTo>
                <a:cubicBezTo>
                  <a:pt x="22062" y="13250"/>
                  <a:pt x="22062" y="13250"/>
                  <a:pt x="22062" y="13250"/>
                </a:cubicBezTo>
                <a:cubicBezTo>
                  <a:pt x="22062" y="13250"/>
                  <a:pt x="22062" y="13250"/>
                  <a:pt x="22062" y="13250"/>
                </a:cubicBezTo>
                <a:cubicBezTo>
                  <a:pt x="22031" y="13250"/>
                  <a:pt x="22000" y="13250"/>
                  <a:pt x="22000" y="13281"/>
                </a:cubicBezTo>
                <a:cubicBezTo>
                  <a:pt x="22000" y="13250"/>
                  <a:pt x="22031" y="13250"/>
                  <a:pt x="22062" y="13250"/>
                </a:cubicBezTo>
                <a:close/>
                <a:moveTo>
                  <a:pt x="21781" y="13312"/>
                </a:moveTo>
                <a:cubicBezTo>
                  <a:pt x="21844" y="13312"/>
                  <a:pt x="21875" y="13312"/>
                  <a:pt x="21937" y="13281"/>
                </a:cubicBezTo>
                <a:cubicBezTo>
                  <a:pt x="21875" y="13312"/>
                  <a:pt x="21844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ubicBezTo>
                  <a:pt x="21781" y="13312"/>
                  <a:pt x="21781" y="13312"/>
                  <a:pt x="21781" y="13312"/>
                </a:cubicBezTo>
                <a:close/>
                <a:moveTo>
                  <a:pt x="21781" y="13312"/>
                </a:moveTo>
                <a:cubicBezTo>
                  <a:pt x="21781" y="13312"/>
                  <a:pt x="21781" y="13312"/>
                  <a:pt x="21781" y="13312"/>
                </a:cubicBezTo>
                <a:cubicBezTo>
                  <a:pt x="21781" y="13343"/>
                  <a:pt x="21781" y="13343"/>
                  <a:pt x="21750" y="13343"/>
                </a:cubicBezTo>
                <a:cubicBezTo>
                  <a:pt x="21781" y="13343"/>
                  <a:pt x="21781" y="13343"/>
                  <a:pt x="21781" y="13312"/>
                </a:cubicBezTo>
                <a:close/>
                <a:moveTo>
                  <a:pt x="21156" y="12968"/>
                </a:moveTo>
                <a:cubicBezTo>
                  <a:pt x="21156" y="12968"/>
                  <a:pt x="21156" y="12968"/>
                  <a:pt x="21156" y="12968"/>
                </a:cubicBezTo>
                <a:cubicBezTo>
                  <a:pt x="21156" y="12968"/>
                  <a:pt x="21125" y="12968"/>
                  <a:pt x="21125" y="12968"/>
                </a:cubicBezTo>
                <a:cubicBezTo>
                  <a:pt x="21125" y="12968"/>
                  <a:pt x="21156" y="12968"/>
                  <a:pt x="21156" y="12968"/>
                </a:cubicBezTo>
                <a:close/>
                <a:moveTo>
                  <a:pt x="21125" y="13406"/>
                </a:moveTo>
                <a:cubicBezTo>
                  <a:pt x="21125" y="13406"/>
                  <a:pt x="21125" y="13406"/>
                  <a:pt x="21125" y="13406"/>
                </a:cubicBezTo>
                <a:cubicBezTo>
                  <a:pt x="21125" y="13406"/>
                  <a:pt x="21094" y="13437"/>
                  <a:pt x="21094" y="13437"/>
                </a:cubicBezTo>
                <a:cubicBezTo>
                  <a:pt x="21094" y="13437"/>
                  <a:pt x="21125" y="13406"/>
                  <a:pt x="21125" y="13406"/>
                </a:cubicBezTo>
                <a:close/>
                <a:moveTo>
                  <a:pt x="21031" y="13406"/>
                </a:moveTo>
                <a:cubicBezTo>
                  <a:pt x="21031" y="13406"/>
                  <a:pt x="21031" y="13406"/>
                  <a:pt x="21062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ubicBezTo>
                  <a:pt x="21031" y="13406"/>
                  <a:pt x="21031" y="13406"/>
                  <a:pt x="21031" y="13406"/>
                </a:cubicBezTo>
                <a:close/>
                <a:moveTo>
                  <a:pt x="20687" y="13187"/>
                </a:moveTo>
                <a:cubicBezTo>
                  <a:pt x="20687" y="13218"/>
                  <a:pt x="20687" y="13218"/>
                  <a:pt x="20687" y="13218"/>
                </a:cubicBezTo>
                <a:cubicBezTo>
                  <a:pt x="20687" y="13218"/>
                  <a:pt x="20687" y="13218"/>
                  <a:pt x="20687" y="13187"/>
                </a:cubicBezTo>
                <a:close/>
                <a:moveTo>
                  <a:pt x="28906" y="9812"/>
                </a:moveTo>
                <a:cubicBezTo>
                  <a:pt x="28937" y="9812"/>
                  <a:pt x="28969" y="9781"/>
                  <a:pt x="29000" y="9781"/>
                </a:cubicBezTo>
                <a:cubicBezTo>
                  <a:pt x="28969" y="9781"/>
                  <a:pt x="28937" y="9812"/>
                  <a:pt x="28906" y="9812"/>
                </a:cubicBezTo>
                <a:cubicBezTo>
                  <a:pt x="28906" y="9812"/>
                  <a:pt x="28906" y="9812"/>
                  <a:pt x="28906" y="9812"/>
                </a:cubicBezTo>
                <a:close/>
                <a:moveTo>
                  <a:pt x="29031" y="9562"/>
                </a:moveTo>
                <a:cubicBezTo>
                  <a:pt x="29031" y="9531"/>
                  <a:pt x="29062" y="9531"/>
                  <a:pt x="29062" y="9531"/>
                </a:cubicBezTo>
                <a:cubicBezTo>
                  <a:pt x="29062" y="9531"/>
                  <a:pt x="29031" y="9531"/>
                  <a:pt x="29031" y="9562"/>
                </a:cubicBezTo>
                <a:cubicBezTo>
                  <a:pt x="29000" y="9562"/>
                  <a:pt x="29000" y="9562"/>
                  <a:pt x="29000" y="9562"/>
                </a:cubicBezTo>
                <a:cubicBezTo>
                  <a:pt x="29000" y="9562"/>
                  <a:pt x="29000" y="9562"/>
                  <a:pt x="29031" y="9562"/>
                </a:cubicBezTo>
                <a:close/>
                <a:moveTo>
                  <a:pt x="28937" y="9593"/>
                </a:moveTo>
                <a:cubicBezTo>
                  <a:pt x="28937" y="9593"/>
                  <a:pt x="28937" y="9593"/>
                  <a:pt x="28937" y="9593"/>
                </a:cubicBezTo>
                <a:cubicBezTo>
                  <a:pt x="28906" y="9562"/>
                  <a:pt x="28906" y="9531"/>
                  <a:pt x="28875" y="9500"/>
                </a:cubicBezTo>
                <a:cubicBezTo>
                  <a:pt x="28906" y="9531"/>
                  <a:pt x="28906" y="9562"/>
                  <a:pt x="28937" y="9593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56" y="11750"/>
                </a:moveTo>
                <a:cubicBezTo>
                  <a:pt x="22156" y="11750"/>
                  <a:pt x="22156" y="11750"/>
                  <a:pt x="22156" y="11750"/>
                </a:cubicBezTo>
                <a:cubicBezTo>
                  <a:pt x="22156" y="11750"/>
                  <a:pt x="22156" y="11750"/>
                  <a:pt x="22156" y="11750"/>
                </a:cubicBezTo>
                <a:close/>
                <a:moveTo>
                  <a:pt x="22187" y="11750"/>
                </a:moveTo>
                <a:cubicBezTo>
                  <a:pt x="22219" y="11843"/>
                  <a:pt x="22156" y="11812"/>
                  <a:pt x="22125" y="11812"/>
                </a:cubicBezTo>
                <a:cubicBezTo>
                  <a:pt x="22094" y="11718"/>
                  <a:pt x="22156" y="11781"/>
                  <a:pt x="22187" y="11750"/>
                </a:cubicBezTo>
                <a:close/>
                <a:moveTo>
                  <a:pt x="22000" y="11812"/>
                </a:moveTo>
                <a:cubicBezTo>
                  <a:pt x="22031" y="11812"/>
                  <a:pt x="22031" y="11812"/>
                  <a:pt x="22031" y="11812"/>
                </a:cubicBezTo>
                <a:cubicBezTo>
                  <a:pt x="22031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62" y="11812"/>
                  <a:pt x="22062" y="11812"/>
                </a:cubicBezTo>
                <a:cubicBezTo>
                  <a:pt x="22062" y="11812"/>
                  <a:pt x="22031" y="11812"/>
                  <a:pt x="22031" y="11812"/>
                </a:cubicBezTo>
                <a:cubicBezTo>
                  <a:pt x="22062" y="11812"/>
                  <a:pt x="22094" y="11812"/>
                  <a:pt x="22094" y="11812"/>
                </a:cubicBezTo>
                <a:cubicBezTo>
                  <a:pt x="22094" y="11843"/>
                  <a:pt x="22031" y="11843"/>
                  <a:pt x="22031" y="11843"/>
                </a:cubicBezTo>
                <a:cubicBezTo>
                  <a:pt x="22000" y="11843"/>
                  <a:pt x="21969" y="11812"/>
                  <a:pt x="22000" y="11812"/>
                </a:cubicBezTo>
                <a:close/>
                <a:moveTo>
                  <a:pt x="21812" y="12468"/>
                </a:moveTo>
                <a:cubicBezTo>
                  <a:pt x="21812" y="12468"/>
                  <a:pt x="21812" y="12468"/>
                  <a:pt x="21812" y="12468"/>
                </a:cubicBezTo>
                <a:cubicBezTo>
                  <a:pt x="21812" y="12468"/>
                  <a:pt x="21812" y="12468"/>
                  <a:pt x="21781" y="12468"/>
                </a:cubicBezTo>
                <a:cubicBezTo>
                  <a:pt x="21812" y="12468"/>
                  <a:pt x="21812" y="12468"/>
                  <a:pt x="21812" y="12468"/>
                </a:cubicBezTo>
                <a:close/>
                <a:moveTo>
                  <a:pt x="21469" y="12625"/>
                </a:moveTo>
                <a:cubicBezTo>
                  <a:pt x="21562" y="12562"/>
                  <a:pt x="21656" y="12562"/>
                  <a:pt x="21750" y="12531"/>
                </a:cubicBezTo>
                <a:cubicBezTo>
                  <a:pt x="21656" y="12562"/>
                  <a:pt x="21562" y="12562"/>
                  <a:pt x="21469" y="12625"/>
                </a:cubicBezTo>
                <a:cubicBezTo>
                  <a:pt x="21469" y="12625"/>
                  <a:pt x="21437" y="12625"/>
                  <a:pt x="21406" y="12625"/>
                </a:cubicBezTo>
                <a:cubicBezTo>
                  <a:pt x="21437" y="12625"/>
                  <a:pt x="21469" y="12625"/>
                  <a:pt x="21469" y="12625"/>
                </a:cubicBezTo>
                <a:close/>
                <a:moveTo>
                  <a:pt x="32219" y="6437"/>
                </a:moveTo>
                <a:cubicBezTo>
                  <a:pt x="32187" y="6437"/>
                  <a:pt x="32187" y="6437"/>
                  <a:pt x="32156" y="6468"/>
                </a:cubicBezTo>
                <a:cubicBezTo>
                  <a:pt x="32187" y="6437"/>
                  <a:pt x="32187" y="6437"/>
                  <a:pt x="32219" y="6437"/>
                </a:cubicBezTo>
                <a:close/>
                <a:moveTo>
                  <a:pt x="32500" y="6062"/>
                </a:moveTo>
                <a:cubicBezTo>
                  <a:pt x="32500" y="6062"/>
                  <a:pt x="32500" y="6062"/>
                  <a:pt x="32500" y="6062"/>
                </a:cubicBezTo>
                <a:cubicBezTo>
                  <a:pt x="32500" y="6062"/>
                  <a:pt x="32500" y="6062"/>
                  <a:pt x="32500" y="6062"/>
                </a:cubicBezTo>
                <a:close/>
                <a:moveTo>
                  <a:pt x="25937" y="8250"/>
                </a:moveTo>
                <a:cubicBezTo>
                  <a:pt x="25906" y="8281"/>
                  <a:pt x="25875" y="8281"/>
                  <a:pt x="25875" y="8281"/>
                </a:cubicBezTo>
                <a:cubicBezTo>
                  <a:pt x="25875" y="8281"/>
                  <a:pt x="25906" y="8281"/>
                  <a:pt x="25937" y="8250"/>
                </a:cubicBezTo>
                <a:close/>
                <a:moveTo>
                  <a:pt x="23312" y="9187"/>
                </a:moveTo>
                <a:cubicBezTo>
                  <a:pt x="23312" y="9187"/>
                  <a:pt x="23312" y="9187"/>
                  <a:pt x="23312" y="9187"/>
                </a:cubicBezTo>
                <a:cubicBezTo>
                  <a:pt x="23312" y="9187"/>
                  <a:pt x="23312" y="9156"/>
                  <a:pt x="23312" y="9156"/>
                </a:cubicBezTo>
                <a:cubicBezTo>
                  <a:pt x="23312" y="9156"/>
                  <a:pt x="23312" y="9187"/>
                  <a:pt x="23312" y="9187"/>
                </a:cubicBezTo>
                <a:close/>
                <a:moveTo>
                  <a:pt x="21344" y="9812"/>
                </a:moveTo>
                <a:cubicBezTo>
                  <a:pt x="21344" y="9812"/>
                  <a:pt x="21312" y="9812"/>
                  <a:pt x="21312" y="9812"/>
                </a:cubicBezTo>
                <a:cubicBezTo>
                  <a:pt x="21312" y="9812"/>
                  <a:pt x="21344" y="9812"/>
                  <a:pt x="21344" y="9812"/>
                </a:cubicBezTo>
                <a:close/>
                <a:moveTo>
                  <a:pt x="21062" y="8125"/>
                </a:moveTo>
                <a:cubicBezTo>
                  <a:pt x="21062" y="8125"/>
                  <a:pt x="21062" y="8125"/>
                  <a:pt x="21062" y="8125"/>
                </a:cubicBezTo>
                <a:cubicBezTo>
                  <a:pt x="21062" y="8156"/>
                  <a:pt x="21031" y="8156"/>
                  <a:pt x="21031" y="8156"/>
                </a:cubicBezTo>
                <a:cubicBezTo>
                  <a:pt x="21031" y="8156"/>
                  <a:pt x="21062" y="8156"/>
                  <a:pt x="21062" y="8125"/>
                </a:cubicBezTo>
                <a:close/>
                <a:moveTo>
                  <a:pt x="20906" y="8937"/>
                </a:move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ubicBezTo>
                  <a:pt x="20906" y="8937"/>
                  <a:pt x="20906" y="8937"/>
                  <a:pt x="20906" y="8937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875" y="9250"/>
                </a:move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ubicBezTo>
                  <a:pt x="20875" y="9250"/>
                  <a:pt x="20875" y="9250"/>
                  <a:pt x="20875" y="9250"/>
                </a:cubicBezTo>
                <a:close/>
                <a:moveTo>
                  <a:pt x="20750" y="9000"/>
                </a:moveTo>
                <a:cubicBezTo>
                  <a:pt x="20750" y="9000"/>
                  <a:pt x="20719" y="9000"/>
                  <a:pt x="20719" y="9031"/>
                </a:cubicBezTo>
                <a:cubicBezTo>
                  <a:pt x="20719" y="9031"/>
                  <a:pt x="20719" y="9031"/>
                  <a:pt x="20719" y="9031"/>
                </a:cubicBezTo>
                <a:cubicBezTo>
                  <a:pt x="20719" y="9000"/>
                  <a:pt x="20750" y="9000"/>
                  <a:pt x="20750" y="9000"/>
                </a:cubicBezTo>
                <a:close/>
                <a:moveTo>
                  <a:pt x="20437" y="9125"/>
                </a:moveTo>
                <a:cubicBezTo>
                  <a:pt x="20469" y="9125"/>
                  <a:pt x="20469" y="9125"/>
                  <a:pt x="20500" y="9125"/>
                </a:cubicBezTo>
                <a:cubicBezTo>
                  <a:pt x="20531" y="9062"/>
                  <a:pt x="20562" y="9062"/>
                  <a:pt x="20594" y="9031"/>
                </a:cubicBezTo>
                <a:cubicBezTo>
                  <a:pt x="20562" y="9062"/>
                  <a:pt x="20531" y="9062"/>
                  <a:pt x="20500" y="9125"/>
                </a:cubicBezTo>
                <a:cubicBezTo>
                  <a:pt x="20469" y="9125"/>
                  <a:pt x="20469" y="9125"/>
                  <a:pt x="20437" y="9125"/>
                </a:cubicBezTo>
                <a:cubicBezTo>
                  <a:pt x="20437" y="9125"/>
                  <a:pt x="20437" y="9125"/>
                  <a:pt x="20437" y="9125"/>
                </a:cubicBezTo>
                <a:close/>
                <a:moveTo>
                  <a:pt x="20219" y="9531"/>
                </a:moveTo>
                <a:cubicBezTo>
                  <a:pt x="20375" y="9468"/>
                  <a:pt x="20562" y="9406"/>
                  <a:pt x="20781" y="9343"/>
                </a:cubicBezTo>
                <a:cubicBezTo>
                  <a:pt x="20781" y="9312"/>
                  <a:pt x="20812" y="9312"/>
                  <a:pt x="20844" y="9312"/>
                </a:cubicBezTo>
                <a:cubicBezTo>
                  <a:pt x="20812" y="9312"/>
                  <a:pt x="20781" y="9312"/>
                  <a:pt x="20781" y="9343"/>
                </a:cubicBezTo>
                <a:cubicBezTo>
                  <a:pt x="20562" y="9406"/>
                  <a:pt x="20375" y="9468"/>
                  <a:pt x="20219" y="9531"/>
                </a:cubicBezTo>
                <a:close/>
                <a:moveTo>
                  <a:pt x="20031" y="9968"/>
                </a:moveTo>
                <a:cubicBezTo>
                  <a:pt x="20125" y="9937"/>
                  <a:pt x="20187" y="9906"/>
                  <a:pt x="20250" y="9875"/>
                </a:cubicBezTo>
                <a:cubicBezTo>
                  <a:pt x="20250" y="9875"/>
                  <a:pt x="20250" y="9875"/>
                  <a:pt x="20250" y="9875"/>
                </a:cubicBezTo>
                <a:cubicBezTo>
                  <a:pt x="20187" y="9906"/>
                  <a:pt x="20125" y="9937"/>
                  <a:pt x="20031" y="9968"/>
                </a:cubicBezTo>
                <a:cubicBezTo>
                  <a:pt x="20031" y="9968"/>
                  <a:pt x="20031" y="9968"/>
                  <a:pt x="20031" y="9968"/>
                </a:cubicBezTo>
                <a:close/>
                <a:moveTo>
                  <a:pt x="20281" y="11781"/>
                </a:moveTo>
                <a:cubicBezTo>
                  <a:pt x="20281" y="11750"/>
                  <a:pt x="20312" y="11750"/>
                  <a:pt x="20344" y="11750"/>
                </a:cubicBezTo>
                <a:cubicBezTo>
                  <a:pt x="20344" y="11750"/>
                  <a:pt x="20375" y="11750"/>
                  <a:pt x="20406" y="11750"/>
                </a:cubicBezTo>
                <a:cubicBezTo>
                  <a:pt x="20406" y="11750"/>
                  <a:pt x="20406" y="11750"/>
                  <a:pt x="20437" y="11718"/>
                </a:cubicBezTo>
                <a:cubicBezTo>
                  <a:pt x="20437" y="11718"/>
                  <a:pt x="20469" y="11718"/>
                  <a:pt x="20500" y="11718"/>
                </a:cubicBezTo>
                <a:cubicBezTo>
                  <a:pt x="20500" y="11687"/>
                  <a:pt x="20500" y="11687"/>
                  <a:pt x="20531" y="11687"/>
                </a:cubicBezTo>
                <a:cubicBezTo>
                  <a:pt x="20500" y="11687"/>
                  <a:pt x="20500" y="11687"/>
                  <a:pt x="20500" y="11718"/>
                </a:cubicBezTo>
                <a:cubicBezTo>
                  <a:pt x="20469" y="11718"/>
                  <a:pt x="20437" y="11718"/>
                  <a:pt x="20437" y="11718"/>
                </a:cubicBezTo>
                <a:cubicBezTo>
                  <a:pt x="20406" y="11750"/>
                  <a:pt x="20406" y="11750"/>
                  <a:pt x="20406" y="11750"/>
                </a:cubicBezTo>
                <a:cubicBezTo>
                  <a:pt x="20375" y="11750"/>
                  <a:pt x="20344" y="11750"/>
                  <a:pt x="20344" y="11750"/>
                </a:cubicBezTo>
                <a:cubicBezTo>
                  <a:pt x="20312" y="11750"/>
                  <a:pt x="20281" y="11750"/>
                  <a:pt x="20281" y="11781"/>
                </a:cubicBezTo>
                <a:cubicBezTo>
                  <a:pt x="20250" y="11812"/>
                  <a:pt x="20187" y="11812"/>
                  <a:pt x="20156" y="11812"/>
                </a:cubicBezTo>
                <a:cubicBezTo>
                  <a:pt x="20187" y="11812"/>
                  <a:pt x="20250" y="11812"/>
                  <a:pt x="20281" y="11781"/>
                </a:cubicBezTo>
                <a:close/>
                <a:moveTo>
                  <a:pt x="20125" y="10000"/>
                </a:moveTo>
                <a:cubicBezTo>
                  <a:pt x="20156" y="10000"/>
                  <a:pt x="20187" y="10000"/>
                  <a:pt x="20187" y="10031"/>
                </a:cubicBezTo>
                <a:cubicBezTo>
                  <a:pt x="20187" y="10031"/>
                  <a:pt x="20187" y="10031"/>
                  <a:pt x="20187" y="10031"/>
                </a:cubicBezTo>
                <a:cubicBezTo>
                  <a:pt x="20187" y="10000"/>
                  <a:pt x="20156" y="10000"/>
                  <a:pt x="20125" y="10000"/>
                </a:cubicBezTo>
                <a:close/>
                <a:moveTo>
                  <a:pt x="20187" y="10031"/>
                </a:move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219" y="10031"/>
                </a:cubicBezTo>
                <a:cubicBezTo>
                  <a:pt x="20219" y="10031"/>
                  <a:pt x="20219" y="10031"/>
                  <a:pt x="20187" y="10031"/>
                </a:cubicBezTo>
                <a:close/>
                <a:moveTo>
                  <a:pt x="20187" y="10375"/>
                </a:move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ubicBezTo>
                  <a:pt x="20187" y="10375"/>
                  <a:pt x="20187" y="10375"/>
                  <a:pt x="20187" y="10375"/>
                </a:cubicBezTo>
                <a:close/>
                <a:moveTo>
                  <a:pt x="20000" y="10593"/>
                </a:moveTo>
                <a:cubicBezTo>
                  <a:pt x="20000" y="10593"/>
                  <a:pt x="20000" y="10593"/>
                  <a:pt x="20000" y="10593"/>
                </a:cubicBezTo>
                <a:cubicBezTo>
                  <a:pt x="20000" y="10593"/>
                  <a:pt x="20000" y="10625"/>
                  <a:pt x="20000" y="10625"/>
                </a:cubicBezTo>
                <a:cubicBezTo>
                  <a:pt x="20000" y="10625"/>
                  <a:pt x="20000" y="10593"/>
                  <a:pt x="20000" y="10593"/>
                </a:cubicBezTo>
                <a:close/>
                <a:moveTo>
                  <a:pt x="19906" y="8500"/>
                </a:move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875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500"/>
                  <a:pt x="19875" y="8500"/>
                </a:cubicBezTo>
                <a:cubicBezTo>
                  <a:pt x="19844" y="8500"/>
                  <a:pt x="19781" y="8500"/>
                  <a:pt x="19750" y="8531"/>
                </a:cubicBezTo>
                <a:cubicBezTo>
                  <a:pt x="19781" y="8500"/>
                  <a:pt x="19844" y="8500"/>
                  <a:pt x="19875" y="8500"/>
                </a:cubicBezTo>
                <a:cubicBezTo>
                  <a:pt x="19906" y="8500"/>
                  <a:pt x="19906" y="8500"/>
                  <a:pt x="19906" y="8500"/>
                </a:cubicBezTo>
                <a:cubicBezTo>
                  <a:pt x="19906" y="8500"/>
                  <a:pt x="19906" y="8468"/>
                  <a:pt x="19906" y="8468"/>
                </a:cubicBezTo>
                <a:cubicBezTo>
                  <a:pt x="19906" y="8468"/>
                  <a:pt x="19906" y="8500"/>
                  <a:pt x="19906" y="8500"/>
                </a:cubicBezTo>
                <a:close/>
                <a:moveTo>
                  <a:pt x="19937" y="11937"/>
                </a:moveTo>
                <a:cubicBezTo>
                  <a:pt x="20000" y="11937"/>
                  <a:pt x="20031" y="11937"/>
                  <a:pt x="20062" y="11937"/>
                </a:cubicBezTo>
                <a:cubicBezTo>
                  <a:pt x="20062" y="11937"/>
                  <a:pt x="20062" y="11937"/>
                  <a:pt x="20062" y="11937"/>
                </a:cubicBezTo>
                <a:cubicBezTo>
                  <a:pt x="20031" y="11937"/>
                  <a:pt x="20000" y="11937"/>
                  <a:pt x="19937" y="11937"/>
                </a:cubicBezTo>
                <a:close/>
                <a:moveTo>
                  <a:pt x="20781" y="12812"/>
                </a:moveTo>
                <a:cubicBezTo>
                  <a:pt x="20875" y="12781"/>
                  <a:pt x="20969" y="12750"/>
                  <a:pt x="21031" y="12718"/>
                </a:cubicBezTo>
                <a:cubicBezTo>
                  <a:pt x="20969" y="12750"/>
                  <a:pt x="20875" y="12781"/>
                  <a:pt x="20781" y="12812"/>
                </a:cubicBezTo>
                <a:cubicBezTo>
                  <a:pt x="20625" y="12875"/>
                  <a:pt x="20437" y="12906"/>
                  <a:pt x="20250" y="12968"/>
                </a:cubicBezTo>
                <a:cubicBezTo>
                  <a:pt x="20437" y="12906"/>
                  <a:pt x="20625" y="12875"/>
                  <a:pt x="20781" y="12812"/>
                </a:cubicBezTo>
                <a:close/>
                <a:moveTo>
                  <a:pt x="20281" y="11906"/>
                </a:moveTo>
                <a:cubicBezTo>
                  <a:pt x="20344" y="11875"/>
                  <a:pt x="20406" y="11843"/>
                  <a:pt x="20469" y="11843"/>
                </a:cubicBezTo>
                <a:cubicBezTo>
                  <a:pt x="20406" y="11843"/>
                  <a:pt x="20344" y="11875"/>
                  <a:pt x="20281" y="11906"/>
                </a:cubicBezTo>
                <a:close/>
                <a:moveTo>
                  <a:pt x="20625" y="11781"/>
                </a:moveTo>
                <a:cubicBezTo>
                  <a:pt x="20625" y="11781"/>
                  <a:pt x="20625" y="11781"/>
                  <a:pt x="20625" y="11781"/>
                </a:cubicBezTo>
                <a:cubicBezTo>
                  <a:pt x="20625" y="11781"/>
                  <a:pt x="20625" y="11750"/>
                  <a:pt x="20656" y="11718"/>
                </a:cubicBezTo>
                <a:cubicBezTo>
                  <a:pt x="20469" y="11781"/>
                  <a:pt x="20312" y="11843"/>
                  <a:pt x="20125" y="11875"/>
                </a:cubicBezTo>
                <a:cubicBezTo>
                  <a:pt x="20125" y="11906"/>
                  <a:pt x="20094" y="11906"/>
                  <a:pt x="20062" y="11906"/>
                </a:cubicBezTo>
                <a:cubicBezTo>
                  <a:pt x="20094" y="11906"/>
                  <a:pt x="20125" y="11906"/>
                  <a:pt x="20125" y="11875"/>
                </a:cubicBezTo>
                <a:cubicBezTo>
                  <a:pt x="20312" y="11843"/>
                  <a:pt x="20469" y="11781"/>
                  <a:pt x="20656" y="11718"/>
                </a:cubicBezTo>
                <a:cubicBezTo>
                  <a:pt x="20625" y="11750"/>
                  <a:pt x="20625" y="11781"/>
                  <a:pt x="20625" y="11781"/>
                </a:cubicBezTo>
                <a:close/>
                <a:moveTo>
                  <a:pt x="21437" y="11500"/>
                </a:moveTo>
                <a:cubicBezTo>
                  <a:pt x="21437" y="11500"/>
                  <a:pt x="21437" y="11500"/>
                  <a:pt x="21437" y="11500"/>
                </a:cubicBezTo>
                <a:cubicBezTo>
                  <a:pt x="21437" y="11500"/>
                  <a:pt x="21406" y="11500"/>
                  <a:pt x="21406" y="11500"/>
                </a:cubicBezTo>
                <a:cubicBezTo>
                  <a:pt x="21344" y="11500"/>
                  <a:pt x="21281" y="11531"/>
                  <a:pt x="21219" y="11562"/>
                </a:cubicBezTo>
                <a:cubicBezTo>
                  <a:pt x="21094" y="11593"/>
                  <a:pt x="21000" y="11625"/>
                  <a:pt x="20875" y="11656"/>
                </a:cubicBezTo>
                <a:cubicBezTo>
                  <a:pt x="21000" y="11625"/>
                  <a:pt x="21094" y="11593"/>
                  <a:pt x="21219" y="11562"/>
                </a:cubicBezTo>
                <a:cubicBezTo>
                  <a:pt x="21281" y="11531"/>
                  <a:pt x="21344" y="11500"/>
                  <a:pt x="21406" y="11500"/>
                </a:cubicBezTo>
                <a:cubicBezTo>
                  <a:pt x="21406" y="11500"/>
                  <a:pt x="21437" y="11500"/>
                  <a:pt x="21437" y="11500"/>
                </a:cubicBezTo>
                <a:cubicBezTo>
                  <a:pt x="21437" y="11500"/>
                  <a:pt x="21437" y="11500"/>
                  <a:pt x="21437" y="11500"/>
                </a:cubicBezTo>
                <a:close/>
                <a:moveTo>
                  <a:pt x="21844" y="11375"/>
                </a:moveTo>
                <a:cubicBezTo>
                  <a:pt x="21812" y="11375"/>
                  <a:pt x="21781" y="11406"/>
                  <a:pt x="21750" y="11406"/>
                </a:cubicBezTo>
                <a:cubicBezTo>
                  <a:pt x="21781" y="11406"/>
                  <a:pt x="21812" y="11375"/>
                  <a:pt x="21844" y="11375"/>
                </a:cubicBezTo>
                <a:cubicBezTo>
                  <a:pt x="21844" y="11375"/>
                  <a:pt x="21844" y="11375"/>
                  <a:pt x="21844" y="11375"/>
                </a:cubicBezTo>
                <a:close/>
                <a:moveTo>
                  <a:pt x="22156" y="11218"/>
                </a:moveTo>
                <a:cubicBezTo>
                  <a:pt x="22187" y="11218"/>
                  <a:pt x="22219" y="11218"/>
                  <a:pt x="22250" y="11218"/>
                </a:cubicBezTo>
                <a:cubicBezTo>
                  <a:pt x="22250" y="11218"/>
                  <a:pt x="22281" y="11218"/>
                  <a:pt x="22281" y="11218"/>
                </a:cubicBezTo>
                <a:cubicBezTo>
                  <a:pt x="22281" y="11218"/>
                  <a:pt x="22250" y="11218"/>
                  <a:pt x="22250" y="11218"/>
                </a:cubicBezTo>
                <a:cubicBezTo>
                  <a:pt x="22219" y="11218"/>
                  <a:pt x="22187" y="11218"/>
                  <a:pt x="22156" y="11218"/>
                </a:cubicBezTo>
                <a:close/>
                <a:moveTo>
                  <a:pt x="22281" y="11218"/>
                </a:moveTo>
                <a:cubicBezTo>
                  <a:pt x="22281" y="11218"/>
                  <a:pt x="22281" y="11250"/>
                  <a:pt x="22281" y="11250"/>
                </a:cubicBezTo>
                <a:cubicBezTo>
                  <a:pt x="22281" y="11250"/>
                  <a:pt x="22281" y="11218"/>
                  <a:pt x="22281" y="11218"/>
                </a:cubicBezTo>
                <a:close/>
                <a:moveTo>
                  <a:pt x="22906" y="11000"/>
                </a:moveTo>
                <a:cubicBezTo>
                  <a:pt x="22875" y="11031"/>
                  <a:pt x="22812" y="11062"/>
                  <a:pt x="22750" y="11062"/>
                </a:cubicBezTo>
                <a:cubicBezTo>
                  <a:pt x="22812" y="11062"/>
                  <a:pt x="22875" y="11031"/>
                  <a:pt x="22906" y="11000"/>
                </a:cubicBezTo>
                <a:close/>
                <a:moveTo>
                  <a:pt x="22937" y="11000"/>
                </a:moveTo>
                <a:cubicBezTo>
                  <a:pt x="22969" y="11000"/>
                  <a:pt x="23000" y="11000"/>
                  <a:pt x="23000" y="11000"/>
                </a:cubicBezTo>
                <a:cubicBezTo>
                  <a:pt x="23000" y="11000"/>
                  <a:pt x="22969" y="11000"/>
                  <a:pt x="22937" y="11000"/>
                </a:cubicBezTo>
                <a:close/>
                <a:moveTo>
                  <a:pt x="23031" y="10968"/>
                </a:moveTo>
                <a:cubicBezTo>
                  <a:pt x="23031" y="10968"/>
                  <a:pt x="23031" y="10968"/>
                  <a:pt x="23031" y="10968"/>
                </a:cubicBezTo>
                <a:cubicBezTo>
                  <a:pt x="23031" y="10968"/>
                  <a:pt x="23062" y="10968"/>
                  <a:pt x="23094" y="10937"/>
                </a:cubicBezTo>
                <a:cubicBezTo>
                  <a:pt x="23062" y="10968"/>
                  <a:pt x="23031" y="10968"/>
                  <a:pt x="23031" y="10968"/>
                </a:cubicBezTo>
                <a:close/>
                <a:moveTo>
                  <a:pt x="23500" y="10781"/>
                </a:moveTo>
                <a:cubicBezTo>
                  <a:pt x="23469" y="10812"/>
                  <a:pt x="23437" y="10843"/>
                  <a:pt x="23375" y="10843"/>
                </a:cubicBezTo>
                <a:cubicBezTo>
                  <a:pt x="23437" y="10843"/>
                  <a:pt x="23469" y="10812"/>
                  <a:pt x="23500" y="10781"/>
                </a:cubicBezTo>
                <a:cubicBezTo>
                  <a:pt x="23750" y="10718"/>
                  <a:pt x="23969" y="10625"/>
                  <a:pt x="24219" y="10531"/>
                </a:cubicBezTo>
                <a:cubicBezTo>
                  <a:pt x="23969" y="10625"/>
                  <a:pt x="23750" y="10718"/>
                  <a:pt x="23500" y="10781"/>
                </a:cubicBezTo>
                <a:close/>
                <a:moveTo>
                  <a:pt x="23781" y="10593"/>
                </a:moveTo>
                <a:cubicBezTo>
                  <a:pt x="23812" y="10593"/>
                  <a:pt x="23812" y="10562"/>
                  <a:pt x="23844" y="10531"/>
                </a:cubicBezTo>
                <a:cubicBezTo>
                  <a:pt x="23937" y="10500"/>
                  <a:pt x="24062" y="10468"/>
                  <a:pt x="24156" y="10437"/>
                </a:cubicBezTo>
                <a:cubicBezTo>
                  <a:pt x="24062" y="10468"/>
                  <a:pt x="23937" y="10500"/>
                  <a:pt x="23844" y="10531"/>
                </a:cubicBezTo>
                <a:cubicBezTo>
                  <a:pt x="23812" y="10562"/>
                  <a:pt x="23812" y="10593"/>
                  <a:pt x="23781" y="10593"/>
                </a:cubicBezTo>
                <a:close/>
                <a:moveTo>
                  <a:pt x="24531" y="10406"/>
                </a:moveTo>
                <a:cubicBezTo>
                  <a:pt x="24500" y="10437"/>
                  <a:pt x="24469" y="10468"/>
                  <a:pt x="24437" y="10468"/>
                </a:cubicBezTo>
                <a:cubicBezTo>
                  <a:pt x="24469" y="10468"/>
                  <a:pt x="24500" y="10437"/>
                  <a:pt x="24531" y="10406"/>
                </a:cubicBezTo>
                <a:cubicBezTo>
                  <a:pt x="24594" y="10406"/>
                  <a:pt x="24625" y="10375"/>
                  <a:pt x="24687" y="10375"/>
                </a:cubicBezTo>
                <a:cubicBezTo>
                  <a:pt x="24625" y="10375"/>
                  <a:pt x="24594" y="10406"/>
                  <a:pt x="24531" y="10406"/>
                </a:cubicBezTo>
                <a:close/>
                <a:moveTo>
                  <a:pt x="24969" y="10281"/>
                </a:moveTo>
                <a:cubicBezTo>
                  <a:pt x="24969" y="10281"/>
                  <a:pt x="25000" y="10281"/>
                  <a:pt x="25000" y="10281"/>
                </a:cubicBezTo>
                <a:cubicBezTo>
                  <a:pt x="25000" y="10281"/>
                  <a:pt x="24969" y="10281"/>
                  <a:pt x="24969" y="10281"/>
                </a:cubicBezTo>
                <a:close/>
                <a:moveTo>
                  <a:pt x="25031" y="10250"/>
                </a:moveTo>
                <a:cubicBezTo>
                  <a:pt x="25031" y="10250"/>
                  <a:pt x="25031" y="10250"/>
                  <a:pt x="25031" y="10250"/>
                </a:cubicBezTo>
                <a:cubicBezTo>
                  <a:pt x="25062" y="10218"/>
                  <a:pt x="25125" y="10218"/>
                  <a:pt x="25187" y="10187"/>
                </a:cubicBezTo>
                <a:cubicBezTo>
                  <a:pt x="25125" y="10218"/>
                  <a:pt x="25062" y="10218"/>
                  <a:pt x="25031" y="10250"/>
                </a:cubicBezTo>
                <a:close/>
                <a:moveTo>
                  <a:pt x="26031" y="9750"/>
                </a:moveTo>
                <a:cubicBezTo>
                  <a:pt x="26000" y="9750"/>
                  <a:pt x="25969" y="9781"/>
                  <a:pt x="25937" y="9781"/>
                </a:cubicBezTo>
                <a:cubicBezTo>
                  <a:pt x="25969" y="9781"/>
                  <a:pt x="26000" y="9750"/>
                  <a:pt x="26031" y="9750"/>
                </a:cubicBezTo>
                <a:cubicBezTo>
                  <a:pt x="26094" y="9718"/>
                  <a:pt x="26156" y="9718"/>
                  <a:pt x="26219" y="9687"/>
                </a:cubicBezTo>
                <a:cubicBezTo>
                  <a:pt x="26156" y="9718"/>
                  <a:pt x="26094" y="9718"/>
                  <a:pt x="26031" y="9750"/>
                </a:cubicBezTo>
                <a:close/>
                <a:moveTo>
                  <a:pt x="27625" y="9312"/>
                </a:moveTo>
                <a:cubicBezTo>
                  <a:pt x="27656" y="9312"/>
                  <a:pt x="27687" y="9281"/>
                  <a:pt x="27719" y="9250"/>
                </a:cubicBezTo>
                <a:cubicBezTo>
                  <a:pt x="27687" y="9281"/>
                  <a:pt x="27656" y="9312"/>
                  <a:pt x="27625" y="9312"/>
                </a:cubicBezTo>
                <a:close/>
                <a:moveTo>
                  <a:pt x="27750" y="9250"/>
                </a:moveTo>
                <a:cubicBezTo>
                  <a:pt x="27750" y="9250"/>
                  <a:pt x="27750" y="9250"/>
                  <a:pt x="27750" y="9250"/>
                </a:cubicBezTo>
                <a:cubicBezTo>
                  <a:pt x="27937" y="9156"/>
                  <a:pt x="28125" y="9093"/>
                  <a:pt x="28312" y="9031"/>
                </a:cubicBezTo>
                <a:cubicBezTo>
                  <a:pt x="28125" y="9093"/>
                  <a:pt x="27937" y="9156"/>
                  <a:pt x="27750" y="9250"/>
                </a:cubicBezTo>
                <a:close/>
                <a:moveTo>
                  <a:pt x="28562" y="8812"/>
                </a:moveTo>
                <a:cubicBezTo>
                  <a:pt x="28562" y="8812"/>
                  <a:pt x="28562" y="8812"/>
                  <a:pt x="28562" y="8812"/>
                </a:cubicBezTo>
                <a:cubicBezTo>
                  <a:pt x="28562" y="8812"/>
                  <a:pt x="28562" y="8812"/>
                  <a:pt x="28562" y="8843"/>
                </a:cubicBezTo>
                <a:cubicBezTo>
                  <a:pt x="28562" y="8812"/>
                  <a:pt x="28562" y="8812"/>
                  <a:pt x="28562" y="8812"/>
                </a:cubicBezTo>
                <a:close/>
                <a:moveTo>
                  <a:pt x="29000" y="8937"/>
                </a:moveTo>
                <a:cubicBezTo>
                  <a:pt x="29000" y="8937"/>
                  <a:pt x="29000" y="8937"/>
                  <a:pt x="29000" y="8937"/>
                </a:cubicBezTo>
                <a:cubicBezTo>
                  <a:pt x="29031" y="8937"/>
                  <a:pt x="29031" y="8937"/>
                  <a:pt x="29062" y="8937"/>
                </a:cubicBezTo>
                <a:cubicBezTo>
                  <a:pt x="29031" y="8937"/>
                  <a:pt x="29031" y="8937"/>
                  <a:pt x="29000" y="8937"/>
                </a:cubicBezTo>
                <a:close/>
                <a:moveTo>
                  <a:pt x="28562" y="8750"/>
                </a:moveTo>
                <a:cubicBezTo>
                  <a:pt x="28344" y="8843"/>
                  <a:pt x="28125" y="8906"/>
                  <a:pt x="27937" y="9000"/>
                </a:cubicBezTo>
                <a:cubicBezTo>
                  <a:pt x="27906" y="9000"/>
                  <a:pt x="27906" y="9031"/>
                  <a:pt x="27875" y="9031"/>
                </a:cubicBezTo>
                <a:cubicBezTo>
                  <a:pt x="27875" y="9031"/>
                  <a:pt x="27875" y="9031"/>
                  <a:pt x="27906" y="9031"/>
                </a:cubicBezTo>
                <a:cubicBezTo>
                  <a:pt x="27875" y="9031"/>
                  <a:pt x="27875" y="9031"/>
                  <a:pt x="27875" y="9031"/>
                </a:cubicBezTo>
                <a:cubicBezTo>
                  <a:pt x="27687" y="9062"/>
                  <a:pt x="27500" y="9156"/>
                  <a:pt x="27312" y="9218"/>
                </a:cubicBezTo>
                <a:cubicBezTo>
                  <a:pt x="26937" y="9375"/>
                  <a:pt x="26594" y="9468"/>
                  <a:pt x="26219" y="9625"/>
                </a:cubicBezTo>
                <a:cubicBezTo>
                  <a:pt x="26156" y="9656"/>
                  <a:pt x="26062" y="9656"/>
                  <a:pt x="26000" y="9718"/>
                </a:cubicBezTo>
                <a:cubicBezTo>
                  <a:pt x="25969" y="9718"/>
                  <a:pt x="25969" y="9718"/>
                  <a:pt x="25937" y="9750"/>
                </a:cubicBezTo>
                <a:cubicBezTo>
                  <a:pt x="25906" y="9718"/>
                  <a:pt x="25906" y="9750"/>
                  <a:pt x="25875" y="9750"/>
                </a:cubicBezTo>
                <a:cubicBezTo>
                  <a:pt x="25875" y="9750"/>
                  <a:pt x="25875" y="9750"/>
                  <a:pt x="25875" y="9750"/>
                </a:cubicBezTo>
                <a:cubicBezTo>
                  <a:pt x="25812" y="9750"/>
                  <a:pt x="25781" y="9812"/>
                  <a:pt x="25719" y="9812"/>
                </a:cubicBezTo>
                <a:cubicBezTo>
                  <a:pt x="25375" y="9937"/>
                  <a:pt x="25000" y="10062"/>
                  <a:pt x="24656" y="10187"/>
                </a:cubicBezTo>
                <a:cubicBezTo>
                  <a:pt x="24437" y="10281"/>
                  <a:pt x="24219" y="10343"/>
                  <a:pt x="24000" y="10437"/>
                </a:cubicBezTo>
                <a:cubicBezTo>
                  <a:pt x="23969" y="10437"/>
                  <a:pt x="23937" y="10437"/>
                  <a:pt x="23906" y="10468"/>
                </a:cubicBezTo>
                <a:cubicBezTo>
                  <a:pt x="23906" y="10468"/>
                  <a:pt x="23906" y="10468"/>
                  <a:pt x="23906" y="10468"/>
                </a:cubicBezTo>
                <a:cubicBezTo>
                  <a:pt x="23750" y="10531"/>
                  <a:pt x="23625" y="10562"/>
                  <a:pt x="23500" y="10625"/>
                </a:cubicBezTo>
                <a:cubicBezTo>
                  <a:pt x="23437" y="10593"/>
                  <a:pt x="23406" y="10625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75" y="10656"/>
                  <a:pt x="23375" y="10656"/>
                  <a:pt x="23375" y="10656"/>
                </a:cubicBezTo>
                <a:cubicBezTo>
                  <a:pt x="23344" y="10656"/>
                  <a:pt x="23312" y="10656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81" y="10687"/>
                  <a:pt x="23281" y="10687"/>
                  <a:pt x="23281" y="10687"/>
                </a:cubicBezTo>
                <a:cubicBezTo>
                  <a:pt x="23219" y="10687"/>
                  <a:pt x="23187" y="10687"/>
                  <a:pt x="23156" y="10750"/>
                </a:cubicBezTo>
                <a:cubicBezTo>
                  <a:pt x="23000" y="10781"/>
                  <a:pt x="22844" y="10812"/>
                  <a:pt x="22687" y="10906"/>
                </a:cubicBezTo>
                <a:cubicBezTo>
                  <a:pt x="22687" y="10906"/>
                  <a:pt x="22687" y="10906"/>
                  <a:pt x="22687" y="10906"/>
                </a:cubicBezTo>
                <a:cubicBezTo>
                  <a:pt x="22625" y="10906"/>
                  <a:pt x="22562" y="10906"/>
                  <a:pt x="22531" y="10968"/>
                </a:cubicBezTo>
                <a:cubicBezTo>
                  <a:pt x="22469" y="11000"/>
                  <a:pt x="22406" y="11000"/>
                  <a:pt x="22375" y="11000"/>
                </a:cubicBezTo>
                <a:cubicBezTo>
                  <a:pt x="22250" y="11000"/>
                  <a:pt x="22156" y="11062"/>
                  <a:pt x="22031" y="11125"/>
                </a:cubicBezTo>
                <a:cubicBezTo>
                  <a:pt x="21906" y="11156"/>
                  <a:pt x="21781" y="11218"/>
                  <a:pt x="21625" y="11250"/>
                </a:cubicBezTo>
                <a:cubicBezTo>
                  <a:pt x="21594" y="11218"/>
                  <a:pt x="21531" y="11281"/>
                  <a:pt x="21469" y="11250"/>
                </a:cubicBezTo>
                <a:cubicBezTo>
                  <a:pt x="21656" y="11187"/>
                  <a:pt x="21844" y="11125"/>
                  <a:pt x="22031" y="11062"/>
                </a:cubicBezTo>
                <a:cubicBezTo>
                  <a:pt x="22437" y="10906"/>
                  <a:pt x="22844" y="10781"/>
                  <a:pt x="23250" y="10625"/>
                </a:cubicBezTo>
                <a:cubicBezTo>
                  <a:pt x="23687" y="10437"/>
                  <a:pt x="24156" y="10281"/>
                  <a:pt x="24625" y="10125"/>
                </a:cubicBezTo>
                <a:cubicBezTo>
                  <a:pt x="25062" y="9937"/>
                  <a:pt x="25531" y="9781"/>
                  <a:pt x="25969" y="9625"/>
                </a:cubicBezTo>
                <a:cubicBezTo>
                  <a:pt x="26437" y="9437"/>
                  <a:pt x="26875" y="9281"/>
                  <a:pt x="27312" y="9093"/>
                </a:cubicBezTo>
                <a:cubicBezTo>
                  <a:pt x="27750" y="8937"/>
                  <a:pt x="28187" y="8781"/>
                  <a:pt x="28625" y="8625"/>
                </a:cubicBezTo>
                <a:cubicBezTo>
                  <a:pt x="28937" y="8500"/>
                  <a:pt x="29281" y="8375"/>
                  <a:pt x="29594" y="8250"/>
                </a:cubicBezTo>
                <a:cubicBezTo>
                  <a:pt x="29625" y="8218"/>
                  <a:pt x="29656" y="8218"/>
                  <a:pt x="29656" y="8187"/>
                </a:cubicBezTo>
                <a:cubicBezTo>
                  <a:pt x="29719" y="8218"/>
                  <a:pt x="29750" y="8156"/>
                  <a:pt x="29781" y="8156"/>
                </a:cubicBezTo>
                <a:cubicBezTo>
                  <a:pt x="29781" y="8156"/>
                  <a:pt x="29781" y="8156"/>
                  <a:pt x="29812" y="8156"/>
                </a:cubicBezTo>
                <a:cubicBezTo>
                  <a:pt x="29844" y="8125"/>
                  <a:pt x="29875" y="8125"/>
                  <a:pt x="29906" y="8125"/>
                </a:cubicBezTo>
                <a:cubicBezTo>
                  <a:pt x="29969" y="8218"/>
                  <a:pt x="29969" y="8218"/>
                  <a:pt x="29969" y="8218"/>
                </a:cubicBezTo>
                <a:cubicBezTo>
                  <a:pt x="29906" y="8250"/>
                  <a:pt x="29812" y="8281"/>
                  <a:pt x="29719" y="8312"/>
                </a:cubicBezTo>
                <a:cubicBezTo>
                  <a:pt x="29687" y="8312"/>
                  <a:pt x="29656" y="8343"/>
                  <a:pt x="29625" y="8375"/>
                </a:cubicBezTo>
                <a:cubicBezTo>
                  <a:pt x="29625" y="8375"/>
                  <a:pt x="29625" y="8375"/>
                  <a:pt x="29594" y="8375"/>
                </a:cubicBezTo>
                <a:cubicBezTo>
                  <a:pt x="29562" y="8375"/>
                  <a:pt x="29562" y="8375"/>
                  <a:pt x="29531" y="8375"/>
                </a:cubicBezTo>
                <a:cubicBezTo>
                  <a:pt x="29531" y="8375"/>
                  <a:pt x="29531" y="8375"/>
                  <a:pt x="29531" y="8375"/>
                </a:cubicBezTo>
                <a:cubicBezTo>
                  <a:pt x="29500" y="8406"/>
                  <a:pt x="29469" y="8406"/>
                  <a:pt x="29437" y="8437"/>
                </a:cubicBezTo>
                <a:cubicBezTo>
                  <a:pt x="29156" y="8531"/>
                  <a:pt x="28844" y="8625"/>
                  <a:pt x="28562" y="8750"/>
                </a:cubicBezTo>
                <a:close/>
                <a:moveTo>
                  <a:pt x="28000" y="8781"/>
                </a:moveTo>
                <a:cubicBezTo>
                  <a:pt x="28062" y="8750"/>
                  <a:pt x="28094" y="8718"/>
                  <a:pt x="28125" y="8718"/>
                </a:cubicBezTo>
                <a:cubicBezTo>
                  <a:pt x="28125" y="8718"/>
                  <a:pt x="28156" y="8718"/>
                  <a:pt x="28156" y="8718"/>
                </a:cubicBezTo>
                <a:cubicBezTo>
                  <a:pt x="28156" y="8718"/>
                  <a:pt x="28125" y="8718"/>
                  <a:pt x="28125" y="8718"/>
                </a:cubicBezTo>
                <a:cubicBezTo>
                  <a:pt x="28094" y="8718"/>
                  <a:pt x="28062" y="8750"/>
                  <a:pt x="28000" y="8781"/>
                </a:cubicBezTo>
                <a:close/>
                <a:moveTo>
                  <a:pt x="29594" y="8187"/>
                </a:moveTo>
                <a:cubicBezTo>
                  <a:pt x="29594" y="8187"/>
                  <a:pt x="29594" y="8187"/>
                  <a:pt x="29594" y="8187"/>
                </a:cubicBezTo>
                <a:cubicBezTo>
                  <a:pt x="29594" y="8218"/>
                  <a:pt x="29594" y="8218"/>
                  <a:pt x="29562" y="8218"/>
                </a:cubicBezTo>
                <a:cubicBezTo>
                  <a:pt x="29594" y="8218"/>
                  <a:pt x="29594" y="8218"/>
                  <a:pt x="29594" y="8187"/>
                </a:cubicBezTo>
                <a:close/>
                <a:moveTo>
                  <a:pt x="29656" y="8156"/>
                </a:moveTo>
                <a:cubicBezTo>
                  <a:pt x="29687" y="8156"/>
                  <a:pt x="29687" y="8156"/>
                  <a:pt x="29719" y="8125"/>
                </a:cubicBezTo>
                <a:cubicBezTo>
                  <a:pt x="29719" y="8125"/>
                  <a:pt x="29750" y="8125"/>
                  <a:pt x="29750" y="8125"/>
                </a:cubicBezTo>
                <a:cubicBezTo>
                  <a:pt x="29781" y="8093"/>
                  <a:pt x="29812" y="8093"/>
                  <a:pt x="29812" y="8062"/>
                </a:cubicBezTo>
                <a:cubicBezTo>
                  <a:pt x="29812" y="8093"/>
                  <a:pt x="29781" y="8093"/>
                  <a:pt x="29750" y="8125"/>
                </a:cubicBezTo>
                <a:cubicBezTo>
                  <a:pt x="29750" y="8125"/>
                  <a:pt x="29719" y="8125"/>
                  <a:pt x="29719" y="8125"/>
                </a:cubicBezTo>
                <a:cubicBezTo>
                  <a:pt x="29687" y="8156"/>
                  <a:pt x="29687" y="8156"/>
                  <a:pt x="29656" y="8156"/>
                </a:cubicBezTo>
                <a:close/>
                <a:moveTo>
                  <a:pt x="29656" y="8375"/>
                </a:move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ubicBezTo>
                  <a:pt x="29656" y="8375"/>
                  <a:pt x="29656" y="8375"/>
                  <a:pt x="29656" y="8375"/>
                </a:cubicBezTo>
                <a:close/>
                <a:moveTo>
                  <a:pt x="29594" y="8437"/>
                </a:moveTo>
                <a:cubicBezTo>
                  <a:pt x="29594" y="8437"/>
                  <a:pt x="29594" y="8437"/>
                  <a:pt x="29594" y="8437"/>
                </a:cubicBezTo>
                <a:cubicBezTo>
                  <a:pt x="29594" y="8437"/>
                  <a:pt x="29594" y="8406"/>
                  <a:pt x="29594" y="8406"/>
                </a:cubicBezTo>
                <a:cubicBezTo>
                  <a:pt x="29594" y="8406"/>
                  <a:pt x="29594" y="8437"/>
                  <a:pt x="29594" y="8437"/>
                </a:cubicBezTo>
                <a:close/>
                <a:moveTo>
                  <a:pt x="29219" y="8531"/>
                </a:moveTo>
                <a:cubicBezTo>
                  <a:pt x="29312" y="8500"/>
                  <a:pt x="29406" y="8468"/>
                  <a:pt x="29500" y="8468"/>
                </a:cubicBezTo>
                <a:cubicBezTo>
                  <a:pt x="29531" y="8437"/>
                  <a:pt x="29531" y="8437"/>
                  <a:pt x="29562" y="8406"/>
                </a:cubicBezTo>
                <a:cubicBezTo>
                  <a:pt x="29531" y="8437"/>
                  <a:pt x="29531" y="8437"/>
                  <a:pt x="29500" y="8468"/>
                </a:cubicBezTo>
                <a:cubicBezTo>
                  <a:pt x="29406" y="8468"/>
                  <a:pt x="29312" y="8500"/>
                  <a:pt x="29219" y="8531"/>
                </a:cubicBezTo>
                <a:close/>
                <a:moveTo>
                  <a:pt x="29437" y="8843"/>
                </a:moveTo>
                <a:cubicBezTo>
                  <a:pt x="29469" y="8906"/>
                  <a:pt x="29469" y="8937"/>
                  <a:pt x="29531" y="8968"/>
                </a:cubicBezTo>
                <a:cubicBezTo>
                  <a:pt x="29469" y="8937"/>
                  <a:pt x="29469" y="8906"/>
                  <a:pt x="29437" y="8843"/>
                </a:cubicBezTo>
                <a:cubicBezTo>
                  <a:pt x="29406" y="8843"/>
                  <a:pt x="29406" y="8812"/>
                  <a:pt x="29375" y="8812"/>
                </a:cubicBezTo>
                <a:cubicBezTo>
                  <a:pt x="29375" y="8812"/>
                  <a:pt x="29375" y="8812"/>
                  <a:pt x="29375" y="8812"/>
                </a:cubicBezTo>
                <a:cubicBezTo>
                  <a:pt x="29406" y="8812"/>
                  <a:pt x="29406" y="8843"/>
                  <a:pt x="29437" y="8843"/>
                </a:cubicBezTo>
                <a:close/>
                <a:moveTo>
                  <a:pt x="29187" y="9125"/>
                </a:moveTo>
                <a:cubicBezTo>
                  <a:pt x="29125" y="9156"/>
                  <a:pt x="29062" y="9156"/>
                  <a:pt x="29031" y="9187"/>
                </a:cubicBezTo>
                <a:cubicBezTo>
                  <a:pt x="29062" y="9156"/>
                  <a:pt x="29125" y="9156"/>
                  <a:pt x="29187" y="9125"/>
                </a:cubicBezTo>
                <a:cubicBezTo>
                  <a:pt x="29219" y="9093"/>
                  <a:pt x="29281" y="9093"/>
                  <a:pt x="29312" y="9062"/>
                </a:cubicBezTo>
                <a:cubicBezTo>
                  <a:pt x="29281" y="9093"/>
                  <a:pt x="29219" y="9093"/>
                  <a:pt x="29187" y="9125"/>
                </a:cubicBezTo>
                <a:close/>
                <a:moveTo>
                  <a:pt x="29406" y="9031"/>
                </a:moveTo>
                <a:cubicBezTo>
                  <a:pt x="29406" y="9062"/>
                  <a:pt x="29375" y="9062"/>
                  <a:pt x="29344" y="9062"/>
                </a:cubicBezTo>
                <a:cubicBezTo>
                  <a:pt x="29375" y="9062"/>
                  <a:pt x="29406" y="9062"/>
                  <a:pt x="29406" y="9031"/>
                </a:cubicBezTo>
                <a:cubicBezTo>
                  <a:pt x="29437" y="9031"/>
                  <a:pt x="29500" y="9031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31" y="9000"/>
                  <a:pt x="29531" y="9000"/>
                  <a:pt x="29531" y="9000"/>
                </a:cubicBezTo>
                <a:cubicBezTo>
                  <a:pt x="29500" y="9031"/>
                  <a:pt x="29437" y="9031"/>
                  <a:pt x="29406" y="9031"/>
                </a:cubicBezTo>
                <a:close/>
                <a:moveTo>
                  <a:pt x="29500" y="8843"/>
                </a:moveTo>
                <a:cubicBezTo>
                  <a:pt x="29469" y="8843"/>
                  <a:pt x="29437" y="8843"/>
                  <a:pt x="29437" y="8781"/>
                </a:cubicBezTo>
                <a:cubicBezTo>
                  <a:pt x="29437" y="8781"/>
                  <a:pt x="29437" y="8781"/>
                  <a:pt x="29469" y="8781"/>
                </a:cubicBezTo>
                <a:cubicBezTo>
                  <a:pt x="29500" y="8750"/>
                  <a:pt x="29562" y="8750"/>
                  <a:pt x="29625" y="8718"/>
                </a:cubicBezTo>
                <a:cubicBezTo>
                  <a:pt x="29625" y="8718"/>
                  <a:pt x="29656" y="8718"/>
                  <a:pt x="29656" y="8718"/>
                </a:cubicBezTo>
                <a:cubicBezTo>
                  <a:pt x="29656" y="8718"/>
                  <a:pt x="29687" y="8718"/>
                  <a:pt x="29687" y="8687"/>
                </a:cubicBezTo>
                <a:cubicBezTo>
                  <a:pt x="29687" y="8718"/>
                  <a:pt x="29719" y="8718"/>
                  <a:pt x="29719" y="8750"/>
                </a:cubicBezTo>
                <a:cubicBezTo>
                  <a:pt x="29656" y="8812"/>
                  <a:pt x="29562" y="8812"/>
                  <a:pt x="29500" y="8843"/>
                </a:cubicBezTo>
                <a:close/>
                <a:moveTo>
                  <a:pt x="29781" y="8875"/>
                </a:moveTo>
                <a:cubicBezTo>
                  <a:pt x="29750" y="8937"/>
                  <a:pt x="29687" y="8937"/>
                  <a:pt x="29656" y="8968"/>
                </a:cubicBezTo>
                <a:cubicBezTo>
                  <a:pt x="29687" y="8937"/>
                  <a:pt x="29750" y="8937"/>
                  <a:pt x="29781" y="8875"/>
                </a:cubicBezTo>
                <a:cubicBezTo>
                  <a:pt x="29844" y="8875"/>
                  <a:pt x="29875" y="8875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906" y="8843"/>
                  <a:pt x="29906" y="8843"/>
                  <a:pt x="29906" y="8843"/>
                </a:cubicBezTo>
                <a:cubicBezTo>
                  <a:pt x="29875" y="8875"/>
                  <a:pt x="29844" y="8875"/>
                  <a:pt x="29781" y="8875"/>
                </a:cubicBezTo>
                <a:close/>
                <a:moveTo>
                  <a:pt x="29844" y="8718"/>
                </a:moveTo>
                <a:cubicBezTo>
                  <a:pt x="29844" y="8687"/>
                  <a:pt x="29812" y="8687"/>
                  <a:pt x="29812" y="8656"/>
                </a:cubicBezTo>
                <a:cubicBezTo>
                  <a:pt x="29875" y="8625"/>
                  <a:pt x="29906" y="8625"/>
                  <a:pt x="29969" y="8593"/>
                </a:cubicBezTo>
                <a:cubicBezTo>
                  <a:pt x="30000" y="8625"/>
                  <a:pt x="30000" y="8625"/>
                  <a:pt x="30000" y="8656"/>
                </a:cubicBezTo>
                <a:cubicBezTo>
                  <a:pt x="29969" y="8687"/>
                  <a:pt x="29906" y="8687"/>
                  <a:pt x="29844" y="8718"/>
                </a:cubicBezTo>
                <a:close/>
                <a:moveTo>
                  <a:pt x="30031" y="8718"/>
                </a:moveTo>
                <a:cubicBezTo>
                  <a:pt x="30062" y="8750"/>
                  <a:pt x="30094" y="8781"/>
                  <a:pt x="30062" y="8781"/>
                </a:cubicBezTo>
                <a:cubicBezTo>
                  <a:pt x="30094" y="8781"/>
                  <a:pt x="30062" y="8750"/>
                  <a:pt x="30031" y="8718"/>
                </a:cubicBezTo>
                <a:cubicBezTo>
                  <a:pt x="30031" y="8656"/>
                  <a:pt x="30094" y="8687"/>
                  <a:pt x="30125" y="8656"/>
                </a:cubicBezTo>
                <a:cubicBezTo>
                  <a:pt x="30094" y="8687"/>
                  <a:pt x="30031" y="8656"/>
                  <a:pt x="30031" y="8718"/>
                </a:cubicBezTo>
                <a:close/>
                <a:moveTo>
                  <a:pt x="30250" y="8156"/>
                </a:moveTo>
                <a:cubicBezTo>
                  <a:pt x="30312" y="8125"/>
                  <a:pt x="30406" y="8093"/>
                  <a:pt x="30469" y="8062"/>
                </a:cubicBezTo>
                <a:cubicBezTo>
                  <a:pt x="30469" y="8062"/>
                  <a:pt x="30469" y="8062"/>
                  <a:pt x="30469" y="8062"/>
                </a:cubicBezTo>
                <a:cubicBezTo>
                  <a:pt x="30406" y="8093"/>
                  <a:pt x="30312" y="8125"/>
                  <a:pt x="30250" y="8156"/>
                </a:cubicBezTo>
                <a:close/>
                <a:moveTo>
                  <a:pt x="31344" y="7906"/>
                </a:moveTo>
                <a:cubicBezTo>
                  <a:pt x="31312" y="7937"/>
                  <a:pt x="31250" y="7937"/>
                  <a:pt x="31219" y="7937"/>
                </a:cubicBezTo>
                <a:cubicBezTo>
                  <a:pt x="31250" y="7937"/>
                  <a:pt x="31312" y="7937"/>
                  <a:pt x="31344" y="7906"/>
                </a:cubicBezTo>
                <a:cubicBezTo>
                  <a:pt x="31531" y="7812"/>
                  <a:pt x="31719" y="7750"/>
                  <a:pt x="31906" y="7687"/>
                </a:cubicBezTo>
                <a:cubicBezTo>
                  <a:pt x="31719" y="7750"/>
                  <a:pt x="31531" y="7812"/>
                  <a:pt x="31344" y="7906"/>
                </a:cubicBezTo>
                <a:close/>
                <a:moveTo>
                  <a:pt x="31875" y="6875"/>
                </a:move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ubicBezTo>
                  <a:pt x="31875" y="6875"/>
                  <a:pt x="31875" y="6875"/>
                  <a:pt x="31875" y="6875"/>
                </a:cubicBezTo>
                <a:close/>
                <a:moveTo>
                  <a:pt x="31719" y="6625"/>
                </a:moveTo>
                <a:cubicBezTo>
                  <a:pt x="31719" y="6625"/>
                  <a:pt x="31719" y="6625"/>
                  <a:pt x="31719" y="6625"/>
                </a:cubicBezTo>
                <a:cubicBezTo>
                  <a:pt x="31687" y="6656"/>
                  <a:pt x="31687" y="6656"/>
                  <a:pt x="31656" y="6656"/>
                </a:cubicBezTo>
                <a:cubicBezTo>
                  <a:pt x="31656" y="6656"/>
                  <a:pt x="31656" y="6656"/>
                  <a:pt x="31656" y="6656"/>
                </a:cubicBezTo>
                <a:cubicBezTo>
                  <a:pt x="31687" y="6656"/>
                  <a:pt x="31687" y="6656"/>
                  <a:pt x="31719" y="6625"/>
                </a:cubicBezTo>
                <a:close/>
                <a:moveTo>
                  <a:pt x="31500" y="7031"/>
                </a:moveTo>
                <a:cubicBezTo>
                  <a:pt x="31562" y="7031"/>
                  <a:pt x="31594" y="7000"/>
                  <a:pt x="31594" y="6968"/>
                </a:cubicBezTo>
                <a:cubicBezTo>
                  <a:pt x="31625" y="6937"/>
                  <a:pt x="31687" y="6937"/>
                  <a:pt x="31719" y="6906"/>
                </a:cubicBezTo>
                <a:cubicBezTo>
                  <a:pt x="31750" y="6906"/>
                  <a:pt x="31750" y="6906"/>
                  <a:pt x="31750" y="6906"/>
                </a:cubicBezTo>
                <a:cubicBezTo>
                  <a:pt x="31750" y="6906"/>
                  <a:pt x="31781" y="6906"/>
                  <a:pt x="31781" y="6906"/>
                </a:cubicBezTo>
                <a:cubicBezTo>
                  <a:pt x="31812" y="6906"/>
                  <a:pt x="31844" y="6937"/>
                  <a:pt x="31844" y="7000"/>
                </a:cubicBezTo>
                <a:cubicBezTo>
                  <a:pt x="31812" y="7000"/>
                  <a:pt x="31812" y="7000"/>
                  <a:pt x="31812" y="7000"/>
                </a:cubicBezTo>
                <a:cubicBezTo>
                  <a:pt x="31812" y="7000"/>
                  <a:pt x="31844" y="7031"/>
                  <a:pt x="31844" y="7031"/>
                </a:cubicBezTo>
                <a:cubicBezTo>
                  <a:pt x="31844" y="7031"/>
                  <a:pt x="31812" y="7000"/>
                  <a:pt x="31812" y="7000"/>
                </a:cubicBezTo>
                <a:cubicBezTo>
                  <a:pt x="31687" y="7031"/>
                  <a:pt x="31562" y="7093"/>
                  <a:pt x="31437" y="7125"/>
                </a:cubicBezTo>
                <a:cubicBezTo>
                  <a:pt x="31437" y="7062"/>
                  <a:pt x="31469" y="7062"/>
                  <a:pt x="31500" y="7031"/>
                </a:cubicBezTo>
                <a:close/>
                <a:moveTo>
                  <a:pt x="31437" y="7031"/>
                </a:moveTo>
                <a:cubicBezTo>
                  <a:pt x="31406" y="7062"/>
                  <a:pt x="31406" y="7062"/>
                  <a:pt x="31406" y="7062"/>
                </a:cubicBezTo>
                <a:cubicBezTo>
                  <a:pt x="31406" y="7062"/>
                  <a:pt x="31406" y="7062"/>
                  <a:pt x="31437" y="7031"/>
                </a:cubicBezTo>
                <a:close/>
                <a:moveTo>
                  <a:pt x="26375" y="8437"/>
                </a:moveTo>
                <a:cubicBezTo>
                  <a:pt x="26375" y="8437"/>
                  <a:pt x="26375" y="8437"/>
                  <a:pt x="26375" y="8437"/>
                </a:cubicBezTo>
                <a:cubicBezTo>
                  <a:pt x="26375" y="8437"/>
                  <a:pt x="26375" y="8437"/>
                  <a:pt x="26375" y="8437"/>
                </a:cubicBezTo>
                <a:close/>
                <a:moveTo>
                  <a:pt x="26094" y="8562"/>
                </a:moveTo>
                <a:cubicBezTo>
                  <a:pt x="26156" y="8500"/>
                  <a:pt x="26219" y="8468"/>
                  <a:pt x="26281" y="8468"/>
                </a:cubicBezTo>
                <a:cubicBezTo>
                  <a:pt x="26219" y="8468"/>
                  <a:pt x="26156" y="8500"/>
                  <a:pt x="26094" y="8562"/>
                </a:cubicBezTo>
                <a:cubicBezTo>
                  <a:pt x="26062" y="8562"/>
                  <a:pt x="26031" y="8562"/>
                  <a:pt x="26000" y="8562"/>
                </a:cubicBezTo>
                <a:cubicBezTo>
                  <a:pt x="26031" y="8562"/>
                  <a:pt x="26062" y="8562"/>
                  <a:pt x="26094" y="8562"/>
                </a:cubicBezTo>
                <a:close/>
                <a:moveTo>
                  <a:pt x="25437" y="9062"/>
                </a:moveTo>
                <a:cubicBezTo>
                  <a:pt x="25406" y="9093"/>
                  <a:pt x="25375" y="9093"/>
                  <a:pt x="25375" y="9093"/>
                </a:cubicBezTo>
                <a:cubicBezTo>
                  <a:pt x="25375" y="9093"/>
                  <a:pt x="25406" y="9093"/>
                  <a:pt x="25437" y="9062"/>
                </a:cubicBezTo>
                <a:close/>
                <a:moveTo>
                  <a:pt x="24875" y="9031"/>
                </a:moveTo>
                <a:cubicBezTo>
                  <a:pt x="24875" y="9031"/>
                  <a:pt x="24875" y="9031"/>
                  <a:pt x="24875" y="9031"/>
                </a:cubicBezTo>
                <a:cubicBezTo>
                  <a:pt x="24875" y="9031"/>
                  <a:pt x="24875" y="9031"/>
                  <a:pt x="24875" y="9031"/>
                </a:cubicBezTo>
                <a:close/>
                <a:moveTo>
                  <a:pt x="24594" y="9156"/>
                </a:moveTo>
                <a:cubicBezTo>
                  <a:pt x="24594" y="9156"/>
                  <a:pt x="24594" y="9125"/>
                  <a:pt x="24594" y="9125"/>
                </a:cubicBezTo>
                <a:cubicBezTo>
                  <a:pt x="24594" y="9125"/>
                  <a:pt x="24594" y="9125"/>
                  <a:pt x="24594" y="9125"/>
                </a:cubicBezTo>
                <a:cubicBezTo>
                  <a:pt x="24594" y="9125"/>
                  <a:pt x="24594" y="9156"/>
                  <a:pt x="24594" y="9156"/>
                </a:cubicBezTo>
                <a:cubicBezTo>
                  <a:pt x="24687" y="9125"/>
                  <a:pt x="24781" y="9093"/>
                  <a:pt x="24875" y="9031"/>
                </a:cubicBezTo>
                <a:cubicBezTo>
                  <a:pt x="24906" y="9031"/>
                  <a:pt x="24969" y="9031"/>
                  <a:pt x="25000" y="9000"/>
                </a:cubicBezTo>
                <a:cubicBezTo>
                  <a:pt x="24969" y="9031"/>
                  <a:pt x="24906" y="9031"/>
                  <a:pt x="24875" y="9031"/>
                </a:cubicBezTo>
                <a:cubicBezTo>
                  <a:pt x="24781" y="9093"/>
                  <a:pt x="24687" y="9125"/>
                  <a:pt x="24594" y="9156"/>
                </a:cubicBezTo>
                <a:cubicBezTo>
                  <a:pt x="24594" y="9156"/>
                  <a:pt x="24562" y="9156"/>
                  <a:pt x="24562" y="9156"/>
                </a:cubicBezTo>
                <a:cubicBezTo>
                  <a:pt x="24562" y="9156"/>
                  <a:pt x="24594" y="9156"/>
                  <a:pt x="24594" y="9156"/>
                </a:cubicBezTo>
                <a:close/>
                <a:moveTo>
                  <a:pt x="24406" y="9218"/>
                </a:moveTo>
                <a:cubicBezTo>
                  <a:pt x="24406" y="9156"/>
                  <a:pt x="24437" y="9156"/>
                  <a:pt x="24469" y="9156"/>
                </a:cubicBezTo>
                <a:cubicBezTo>
                  <a:pt x="24437" y="9156"/>
                  <a:pt x="24406" y="9156"/>
                  <a:pt x="24406" y="9218"/>
                </a:cubicBezTo>
                <a:cubicBezTo>
                  <a:pt x="24344" y="9218"/>
                  <a:pt x="24312" y="9218"/>
                  <a:pt x="24281" y="9218"/>
                </a:cubicBezTo>
                <a:cubicBezTo>
                  <a:pt x="24312" y="9218"/>
                  <a:pt x="24344" y="9218"/>
                  <a:pt x="24406" y="9218"/>
                </a:cubicBezTo>
                <a:close/>
                <a:moveTo>
                  <a:pt x="24406" y="9218"/>
                </a:move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ubicBezTo>
                  <a:pt x="24406" y="9218"/>
                  <a:pt x="24406" y="9218"/>
                  <a:pt x="24406" y="9218"/>
                </a:cubicBezTo>
                <a:close/>
                <a:moveTo>
                  <a:pt x="24219" y="9281"/>
                </a:moveTo>
                <a:cubicBezTo>
                  <a:pt x="24219" y="9281"/>
                  <a:pt x="24219" y="9281"/>
                  <a:pt x="24219" y="9281"/>
                </a:cubicBezTo>
                <a:cubicBezTo>
                  <a:pt x="24187" y="9281"/>
                  <a:pt x="24187" y="9312"/>
                  <a:pt x="24156" y="9312"/>
                </a:cubicBezTo>
                <a:cubicBezTo>
                  <a:pt x="24187" y="9312"/>
                  <a:pt x="24187" y="9281"/>
                  <a:pt x="24219" y="9281"/>
                </a:cubicBezTo>
                <a:close/>
                <a:moveTo>
                  <a:pt x="23719" y="9437"/>
                </a:moveTo>
                <a:cubicBezTo>
                  <a:pt x="23719" y="9468"/>
                  <a:pt x="23719" y="9468"/>
                  <a:pt x="23719" y="9468"/>
                </a:cubicBezTo>
                <a:cubicBezTo>
                  <a:pt x="23719" y="9468"/>
                  <a:pt x="23719" y="9437"/>
                  <a:pt x="23719" y="9437"/>
                </a:cubicBezTo>
                <a:cubicBezTo>
                  <a:pt x="23719" y="9437"/>
                  <a:pt x="23719" y="9437"/>
                  <a:pt x="23719" y="9437"/>
                </a:cubicBezTo>
                <a:close/>
                <a:moveTo>
                  <a:pt x="23031" y="9968"/>
                </a:moveTo>
                <a:cubicBezTo>
                  <a:pt x="23000" y="10000"/>
                  <a:pt x="22969" y="10031"/>
                  <a:pt x="22906" y="10031"/>
                </a:cubicBezTo>
                <a:cubicBezTo>
                  <a:pt x="22906" y="10031"/>
                  <a:pt x="22906" y="10031"/>
                  <a:pt x="22906" y="10031"/>
                </a:cubicBezTo>
                <a:cubicBezTo>
                  <a:pt x="22969" y="10031"/>
                  <a:pt x="23000" y="10000"/>
                  <a:pt x="23031" y="9968"/>
                </a:cubicBezTo>
                <a:close/>
                <a:moveTo>
                  <a:pt x="22656" y="9843"/>
                </a:moveTo>
                <a:cubicBezTo>
                  <a:pt x="22656" y="9843"/>
                  <a:pt x="22656" y="9843"/>
                  <a:pt x="22656" y="9843"/>
                </a:cubicBezTo>
                <a:cubicBezTo>
                  <a:pt x="22656" y="9843"/>
                  <a:pt x="22656" y="9843"/>
                  <a:pt x="22656" y="9843"/>
                </a:cubicBezTo>
                <a:close/>
                <a:moveTo>
                  <a:pt x="22562" y="10281"/>
                </a:moveTo>
                <a:cubicBezTo>
                  <a:pt x="22781" y="10187"/>
                  <a:pt x="23000" y="10125"/>
                  <a:pt x="23219" y="10031"/>
                </a:cubicBezTo>
                <a:cubicBezTo>
                  <a:pt x="23219" y="10000"/>
                  <a:pt x="23219" y="10000"/>
                  <a:pt x="23219" y="10000"/>
                </a:cubicBezTo>
                <a:cubicBezTo>
                  <a:pt x="23187" y="10000"/>
                  <a:pt x="23187" y="10000"/>
                  <a:pt x="23187" y="10000"/>
                </a:cubicBezTo>
                <a:cubicBezTo>
                  <a:pt x="23187" y="10000"/>
                  <a:pt x="23156" y="10000"/>
                  <a:pt x="23125" y="10031"/>
                </a:cubicBezTo>
                <a:cubicBezTo>
                  <a:pt x="23094" y="10031"/>
                  <a:pt x="23094" y="10031"/>
                  <a:pt x="23062" y="10031"/>
                </a:cubicBezTo>
                <a:cubicBezTo>
                  <a:pt x="23094" y="10031"/>
                  <a:pt x="23094" y="10031"/>
                  <a:pt x="23125" y="10031"/>
                </a:cubicBezTo>
                <a:cubicBezTo>
                  <a:pt x="23062" y="10031"/>
                  <a:pt x="23031" y="10062"/>
                  <a:pt x="22969" y="10031"/>
                </a:cubicBezTo>
                <a:cubicBezTo>
                  <a:pt x="23062" y="10000"/>
                  <a:pt x="23156" y="9937"/>
                  <a:pt x="23281" y="9937"/>
                </a:cubicBezTo>
                <a:cubicBezTo>
                  <a:pt x="23281" y="9968"/>
                  <a:pt x="23219" y="10031"/>
                  <a:pt x="23281" y="10000"/>
                </a:cubicBezTo>
                <a:lnTo>
                  <a:pt x="23281" y="10000"/>
                </a:lnTo>
                <a:cubicBezTo>
                  <a:pt x="23344" y="9968"/>
                  <a:pt x="23437" y="9968"/>
                  <a:pt x="23531" y="9906"/>
                </a:cubicBezTo>
                <a:cubicBezTo>
                  <a:pt x="23406" y="9843"/>
                  <a:pt x="23344" y="9968"/>
                  <a:pt x="23281" y="9937"/>
                </a:cubicBezTo>
                <a:cubicBezTo>
                  <a:pt x="23312" y="9843"/>
                  <a:pt x="23437" y="9875"/>
                  <a:pt x="23500" y="9843"/>
                </a:cubicBezTo>
                <a:cubicBezTo>
                  <a:pt x="23781" y="9718"/>
                  <a:pt x="24094" y="9625"/>
                  <a:pt x="24375" y="9500"/>
                </a:cubicBezTo>
                <a:cubicBezTo>
                  <a:pt x="24719" y="9375"/>
                  <a:pt x="25062" y="9250"/>
                  <a:pt x="25406" y="9125"/>
                </a:cubicBezTo>
                <a:cubicBezTo>
                  <a:pt x="25469" y="9093"/>
                  <a:pt x="25500" y="9062"/>
                  <a:pt x="25562" y="9093"/>
                </a:cubicBezTo>
                <a:cubicBezTo>
                  <a:pt x="25687" y="9093"/>
                  <a:pt x="25781" y="9000"/>
                  <a:pt x="25875" y="9000"/>
                </a:cubicBezTo>
                <a:cubicBezTo>
                  <a:pt x="26000" y="8968"/>
                  <a:pt x="26062" y="8906"/>
                  <a:pt x="26187" y="8906"/>
                </a:cubicBezTo>
                <a:lnTo>
                  <a:pt x="26187" y="8906"/>
                </a:lnTo>
                <a:cubicBezTo>
                  <a:pt x="25375" y="9218"/>
                  <a:pt x="24531" y="9531"/>
                  <a:pt x="23719" y="9843"/>
                </a:cubicBezTo>
                <a:cubicBezTo>
                  <a:pt x="23687" y="9843"/>
                  <a:pt x="23687" y="9812"/>
                  <a:pt x="23687" y="9812"/>
                </a:cubicBezTo>
                <a:cubicBezTo>
                  <a:pt x="23969" y="9718"/>
                  <a:pt x="24219" y="9625"/>
                  <a:pt x="24500" y="9500"/>
                </a:cubicBezTo>
                <a:cubicBezTo>
                  <a:pt x="24844" y="9375"/>
                  <a:pt x="25187" y="9250"/>
                  <a:pt x="25562" y="9093"/>
                </a:cubicBezTo>
                <a:cubicBezTo>
                  <a:pt x="25625" y="9000"/>
                  <a:pt x="25750" y="9000"/>
                  <a:pt x="25812" y="8968"/>
                </a:cubicBezTo>
                <a:cubicBezTo>
                  <a:pt x="26187" y="8812"/>
                  <a:pt x="26531" y="8687"/>
                  <a:pt x="26906" y="8531"/>
                </a:cubicBezTo>
                <a:cubicBezTo>
                  <a:pt x="27156" y="8437"/>
                  <a:pt x="27437" y="8343"/>
                  <a:pt x="27687" y="8250"/>
                </a:cubicBezTo>
                <a:cubicBezTo>
                  <a:pt x="28000" y="8125"/>
                  <a:pt x="28281" y="8000"/>
                  <a:pt x="28562" y="7906"/>
                </a:cubicBezTo>
                <a:cubicBezTo>
                  <a:pt x="28812" y="7812"/>
                  <a:pt x="29094" y="7687"/>
                  <a:pt x="29344" y="7593"/>
                </a:cubicBezTo>
                <a:cubicBezTo>
                  <a:pt x="29594" y="7500"/>
                  <a:pt x="29844" y="7406"/>
                  <a:pt x="30094" y="7312"/>
                </a:cubicBezTo>
                <a:cubicBezTo>
                  <a:pt x="30125" y="7343"/>
                  <a:pt x="30125" y="7343"/>
                  <a:pt x="30125" y="7343"/>
                </a:cubicBezTo>
                <a:cubicBezTo>
                  <a:pt x="30094" y="7375"/>
                  <a:pt x="30062" y="7375"/>
                  <a:pt x="30062" y="7375"/>
                </a:cubicBezTo>
                <a:cubicBezTo>
                  <a:pt x="29906" y="7437"/>
                  <a:pt x="29781" y="7500"/>
                  <a:pt x="29625" y="7562"/>
                </a:cubicBezTo>
                <a:cubicBezTo>
                  <a:pt x="29656" y="7593"/>
                  <a:pt x="29687" y="7562"/>
                  <a:pt x="29687" y="7562"/>
                </a:cubicBezTo>
                <a:cubicBezTo>
                  <a:pt x="29812" y="7500"/>
                  <a:pt x="29937" y="7468"/>
                  <a:pt x="30062" y="7437"/>
                </a:cubicBezTo>
                <a:cubicBezTo>
                  <a:pt x="30094" y="7406"/>
                  <a:pt x="30125" y="7406"/>
                  <a:pt x="30156" y="7375"/>
                </a:cubicBezTo>
                <a:cubicBezTo>
                  <a:pt x="30187" y="7437"/>
                  <a:pt x="30187" y="7437"/>
                  <a:pt x="30187" y="7437"/>
                </a:cubicBezTo>
                <a:cubicBezTo>
                  <a:pt x="30253" y="7437"/>
                  <a:pt x="30484" y="7361"/>
                  <a:pt x="30787" y="7252"/>
                </a:cubicBezTo>
                <a:cubicBezTo>
                  <a:pt x="30712" y="7293"/>
                  <a:pt x="30637" y="7318"/>
                  <a:pt x="30562" y="7343"/>
                </a:cubicBezTo>
                <a:cubicBezTo>
                  <a:pt x="30677" y="7372"/>
                  <a:pt x="30740" y="7321"/>
                  <a:pt x="30822" y="7240"/>
                </a:cubicBezTo>
                <a:cubicBezTo>
                  <a:pt x="30945" y="7195"/>
                  <a:pt x="31080" y="7145"/>
                  <a:pt x="31219" y="7093"/>
                </a:cubicBezTo>
                <a:cubicBezTo>
                  <a:pt x="31281" y="7093"/>
                  <a:pt x="31281" y="7125"/>
                  <a:pt x="31219" y="7218"/>
                </a:cubicBezTo>
                <a:cubicBezTo>
                  <a:pt x="31219" y="7218"/>
                  <a:pt x="31187" y="7218"/>
                  <a:pt x="31187" y="7218"/>
                </a:cubicBezTo>
                <a:cubicBezTo>
                  <a:pt x="31187" y="7250"/>
                  <a:pt x="31187" y="7250"/>
                  <a:pt x="31187" y="7250"/>
                </a:cubicBezTo>
                <a:cubicBezTo>
                  <a:pt x="31187" y="7250"/>
                  <a:pt x="31187" y="7250"/>
                  <a:pt x="31187" y="7218"/>
                </a:cubicBezTo>
                <a:cubicBezTo>
                  <a:pt x="31156" y="7250"/>
                  <a:pt x="31156" y="7250"/>
                  <a:pt x="31125" y="7250"/>
                </a:cubicBezTo>
                <a:cubicBezTo>
                  <a:pt x="31062" y="7250"/>
                  <a:pt x="31031" y="7312"/>
                  <a:pt x="31000" y="7312"/>
                </a:cubicBezTo>
                <a:cubicBezTo>
                  <a:pt x="30969" y="7312"/>
                  <a:pt x="30969" y="7343"/>
                  <a:pt x="30969" y="7343"/>
                </a:cubicBezTo>
                <a:cubicBezTo>
                  <a:pt x="30969" y="7343"/>
                  <a:pt x="30969" y="7343"/>
                  <a:pt x="30969" y="7343"/>
                </a:cubicBezTo>
                <a:cubicBezTo>
                  <a:pt x="30719" y="7406"/>
                  <a:pt x="30469" y="7500"/>
                  <a:pt x="30219" y="7593"/>
                </a:cubicBezTo>
                <a:cubicBezTo>
                  <a:pt x="29906" y="7718"/>
                  <a:pt x="29562" y="7875"/>
                  <a:pt x="29219" y="8000"/>
                </a:cubicBezTo>
                <a:cubicBezTo>
                  <a:pt x="28656" y="8218"/>
                  <a:pt x="28062" y="8437"/>
                  <a:pt x="27500" y="8625"/>
                </a:cubicBezTo>
                <a:cubicBezTo>
                  <a:pt x="27344" y="8687"/>
                  <a:pt x="27187" y="8781"/>
                  <a:pt x="27000" y="8781"/>
                </a:cubicBezTo>
                <a:cubicBezTo>
                  <a:pt x="26969" y="8843"/>
                  <a:pt x="26906" y="8906"/>
                  <a:pt x="26844" y="8843"/>
                </a:cubicBezTo>
                <a:cubicBezTo>
                  <a:pt x="26781" y="8812"/>
                  <a:pt x="26781" y="8843"/>
                  <a:pt x="26719" y="8843"/>
                </a:cubicBezTo>
                <a:cubicBezTo>
                  <a:pt x="26500" y="8875"/>
                  <a:pt x="26281" y="9000"/>
                  <a:pt x="26094" y="9062"/>
                </a:cubicBezTo>
                <a:cubicBezTo>
                  <a:pt x="25781" y="9218"/>
                  <a:pt x="25437" y="9312"/>
                  <a:pt x="25094" y="9437"/>
                </a:cubicBezTo>
                <a:cubicBezTo>
                  <a:pt x="24781" y="9562"/>
                  <a:pt x="24437" y="9718"/>
                  <a:pt x="24094" y="9812"/>
                </a:cubicBezTo>
                <a:cubicBezTo>
                  <a:pt x="23844" y="9906"/>
                  <a:pt x="23594" y="10000"/>
                  <a:pt x="23344" y="10093"/>
                </a:cubicBezTo>
                <a:cubicBezTo>
                  <a:pt x="23094" y="10187"/>
                  <a:pt x="22844" y="10281"/>
                  <a:pt x="22594" y="10375"/>
                </a:cubicBezTo>
                <a:cubicBezTo>
                  <a:pt x="22562" y="10375"/>
                  <a:pt x="22531" y="10375"/>
                  <a:pt x="22531" y="10375"/>
                </a:cubicBezTo>
                <a:cubicBezTo>
                  <a:pt x="22531" y="10312"/>
                  <a:pt x="22562" y="10312"/>
                  <a:pt x="22562" y="10281"/>
                </a:cubicBezTo>
                <a:close/>
                <a:moveTo>
                  <a:pt x="31375" y="7250"/>
                </a:moveTo>
                <a:cubicBezTo>
                  <a:pt x="31312" y="7281"/>
                  <a:pt x="31281" y="7312"/>
                  <a:pt x="31219" y="7312"/>
                </a:cubicBezTo>
                <a:cubicBezTo>
                  <a:pt x="31219" y="7312"/>
                  <a:pt x="31187" y="7343"/>
                  <a:pt x="31156" y="7343"/>
                </a:cubicBezTo>
                <a:cubicBezTo>
                  <a:pt x="31187" y="7343"/>
                  <a:pt x="31219" y="7312"/>
                  <a:pt x="31219" y="7312"/>
                </a:cubicBezTo>
                <a:cubicBezTo>
                  <a:pt x="31281" y="7312"/>
                  <a:pt x="31312" y="7281"/>
                  <a:pt x="31375" y="7250"/>
                </a:cubicBezTo>
                <a:close/>
                <a:moveTo>
                  <a:pt x="25562" y="9500"/>
                </a:moveTo>
                <a:cubicBezTo>
                  <a:pt x="25375" y="9562"/>
                  <a:pt x="25156" y="9625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4969" y="9687"/>
                  <a:pt x="24969" y="9687"/>
                  <a:pt x="24969" y="9687"/>
                </a:cubicBezTo>
                <a:cubicBezTo>
                  <a:pt x="25156" y="9625"/>
                  <a:pt x="25375" y="9562"/>
                  <a:pt x="25562" y="9500"/>
                </a:cubicBezTo>
                <a:close/>
                <a:moveTo>
                  <a:pt x="22281" y="10312"/>
                </a:moveTo>
                <a:cubicBezTo>
                  <a:pt x="22281" y="10312"/>
                  <a:pt x="22312" y="10281"/>
                  <a:pt x="22312" y="10281"/>
                </a:cubicBezTo>
                <a:cubicBezTo>
                  <a:pt x="22281" y="10281"/>
                  <a:pt x="22250" y="10281"/>
                  <a:pt x="22250" y="10281"/>
                </a:cubicBezTo>
                <a:cubicBezTo>
                  <a:pt x="22250" y="10281"/>
                  <a:pt x="22281" y="10281"/>
                  <a:pt x="22312" y="10281"/>
                </a:cubicBezTo>
                <a:cubicBezTo>
                  <a:pt x="22344" y="10250"/>
                  <a:pt x="22406" y="10250"/>
                  <a:pt x="22469" y="10218"/>
                </a:cubicBezTo>
                <a:cubicBezTo>
                  <a:pt x="22500" y="10281"/>
                  <a:pt x="22437" y="10250"/>
                  <a:pt x="22437" y="10281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37" y="10281"/>
                  <a:pt x="22437" y="10281"/>
                  <a:pt x="22469" y="10250"/>
                </a:cubicBezTo>
                <a:cubicBezTo>
                  <a:pt x="22437" y="10281"/>
                  <a:pt x="22437" y="10281"/>
                  <a:pt x="22437" y="10281"/>
                </a:cubicBezTo>
                <a:cubicBezTo>
                  <a:pt x="22406" y="10281"/>
                  <a:pt x="22406" y="10281"/>
                  <a:pt x="22406" y="10312"/>
                </a:cubicBezTo>
                <a:cubicBezTo>
                  <a:pt x="22375" y="10312"/>
                  <a:pt x="22344" y="10312"/>
                  <a:pt x="22281" y="10312"/>
                </a:cubicBezTo>
                <a:cubicBezTo>
                  <a:pt x="22250" y="10343"/>
                  <a:pt x="22219" y="10312"/>
                  <a:pt x="22187" y="10343"/>
                </a:cubicBezTo>
                <a:cubicBezTo>
                  <a:pt x="22219" y="10281"/>
                  <a:pt x="22250" y="10312"/>
                  <a:pt x="22281" y="10312"/>
                </a:cubicBezTo>
                <a:close/>
                <a:moveTo>
                  <a:pt x="22125" y="10312"/>
                </a:moveTo>
                <a:cubicBezTo>
                  <a:pt x="22094" y="10343"/>
                  <a:pt x="22062" y="10343"/>
                  <a:pt x="22031" y="10375"/>
                </a:cubicBezTo>
                <a:cubicBezTo>
                  <a:pt x="22062" y="10343"/>
                  <a:pt x="22094" y="10343"/>
                  <a:pt x="22125" y="10312"/>
                </a:cubicBezTo>
                <a:close/>
                <a:moveTo>
                  <a:pt x="21969" y="10093"/>
                </a:move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ubicBezTo>
                  <a:pt x="21969" y="10093"/>
                  <a:pt x="21969" y="10093"/>
                  <a:pt x="21969" y="10093"/>
                </a:cubicBezTo>
                <a:close/>
                <a:moveTo>
                  <a:pt x="21750" y="10593"/>
                </a:moveTo>
                <a:cubicBezTo>
                  <a:pt x="21937" y="10531"/>
                  <a:pt x="22094" y="10437"/>
                  <a:pt x="22281" y="10437"/>
                </a:cubicBezTo>
                <a:cubicBezTo>
                  <a:pt x="22125" y="10531"/>
                  <a:pt x="21969" y="10593"/>
                  <a:pt x="21781" y="10656"/>
                </a:cubicBezTo>
                <a:cubicBezTo>
                  <a:pt x="21750" y="10656"/>
                  <a:pt x="21750" y="10656"/>
                  <a:pt x="21750" y="10625"/>
                </a:cubicBezTo>
                <a:cubicBezTo>
                  <a:pt x="21750" y="10625"/>
                  <a:pt x="21719" y="10593"/>
                  <a:pt x="21750" y="10593"/>
                </a:cubicBezTo>
                <a:close/>
                <a:moveTo>
                  <a:pt x="21656" y="10218"/>
                </a:moveTo>
                <a:cubicBezTo>
                  <a:pt x="21656" y="10218"/>
                  <a:pt x="21656" y="10218"/>
                  <a:pt x="21656" y="10218"/>
                </a:cubicBezTo>
                <a:cubicBezTo>
                  <a:pt x="21656" y="10218"/>
                  <a:pt x="21656" y="10218"/>
                  <a:pt x="21656" y="10218"/>
                </a:cubicBezTo>
                <a:close/>
                <a:moveTo>
                  <a:pt x="21344" y="10312"/>
                </a:moveTo>
                <a:cubicBezTo>
                  <a:pt x="21344" y="10312"/>
                  <a:pt x="21344" y="10312"/>
                  <a:pt x="21375" y="10312"/>
                </a:cubicBezTo>
                <a:cubicBezTo>
                  <a:pt x="21344" y="10312"/>
                  <a:pt x="21344" y="10312"/>
                  <a:pt x="21344" y="10312"/>
                </a:cubicBezTo>
                <a:cubicBezTo>
                  <a:pt x="21344" y="10312"/>
                  <a:pt x="21344" y="10312"/>
                  <a:pt x="21344" y="10312"/>
                </a:cubicBezTo>
                <a:close/>
                <a:moveTo>
                  <a:pt x="21562" y="10718"/>
                </a:moveTo>
                <a:cubicBezTo>
                  <a:pt x="21500" y="10750"/>
                  <a:pt x="21437" y="10781"/>
                  <a:pt x="21344" y="10750"/>
                </a:cubicBezTo>
                <a:cubicBezTo>
                  <a:pt x="21406" y="10718"/>
                  <a:pt x="21469" y="10656"/>
                  <a:pt x="21562" y="10718"/>
                </a:cubicBezTo>
                <a:close/>
                <a:moveTo>
                  <a:pt x="21812" y="10875"/>
                </a:moveTo>
                <a:cubicBezTo>
                  <a:pt x="22031" y="10812"/>
                  <a:pt x="22250" y="10718"/>
                  <a:pt x="22469" y="10656"/>
                </a:cubicBezTo>
                <a:cubicBezTo>
                  <a:pt x="22781" y="10531"/>
                  <a:pt x="23094" y="10406"/>
                  <a:pt x="23437" y="10312"/>
                </a:cubicBezTo>
                <a:cubicBezTo>
                  <a:pt x="23625" y="10218"/>
                  <a:pt x="23844" y="10156"/>
                  <a:pt x="24062" y="10062"/>
                </a:cubicBezTo>
                <a:cubicBezTo>
                  <a:pt x="24375" y="9937"/>
                  <a:pt x="24687" y="9843"/>
                  <a:pt x="25000" y="9718"/>
                </a:cubicBezTo>
                <a:cubicBezTo>
                  <a:pt x="25000" y="9718"/>
                  <a:pt x="25031" y="9718"/>
                  <a:pt x="25031" y="9718"/>
                </a:cubicBezTo>
                <a:cubicBezTo>
                  <a:pt x="25031" y="9718"/>
                  <a:pt x="25031" y="9718"/>
                  <a:pt x="25031" y="9718"/>
                </a:cubicBezTo>
                <a:cubicBezTo>
                  <a:pt x="25219" y="9625"/>
                  <a:pt x="25406" y="9562"/>
                  <a:pt x="25594" y="9500"/>
                </a:cubicBezTo>
                <a:cubicBezTo>
                  <a:pt x="25906" y="9375"/>
                  <a:pt x="26219" y="9281"/>
                  <a:pt x="26500" y="9156"/>
                </a:cubicBezTo>
                <a:cubicBezTo>
                  <a:pt x="26719" y="9093"/>
                  <a:pt x="26906" y="9000"/>
                  <a:pt x="27125" y="8937"/>
                </a:cubicBezTo>
                <a:cubicBezTo>
                  <a:pt x="27469" y="8781"/>
                  <a:pt x="27812" y="8656"/>
                  <a:pt x="28156" y="8531"/>
                </a:cubicBezTo>
                <a:cubicBezTo>
                  <a:pt x="28437" y="8437"/>
                  <a:pt x="28719" y="8312"/>
                  <a:pt x="29000" y="8218"/>
                </a:cubicBezTo>
                <a:cubicBezTo>
                  <a:pt x="29344" y="8093"/>
                  <a:pt x="29687" y="7937"/>
                  <a:pt x="30031" y="7812"/>
                </a:cubicBezTo>
                <a:cubicBezTo>
                  <a:pt x="30344" y="7687"/>
                  <a:pt x="30625" y="7562"/>
                  <a:pt x="30937" y="7468"/>
                </a:cubicBezTo>
                <a:cubicBezTo>
                  <a:pt x="31000" y="7437"/>
                  <a:pt x="31062" y="7437"/>
                  <a:pt x="31125" y="7375"/>
                </a:cubicBezTo>
                <a:cubicBezTo>
                  <a:pt x="31125" y="7375"/>
                  <a:pt x="31156" y="7375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156" y="7343"/>
                  <a:pt x="31156" y="7343"/>
                  <a:pt x="31156" y="7343"/>
                </a:cubicBezTo>
                <a:cubicBezTo>
                  <a:pt x="31219" y="7375"/>
                  <a:pt x="31250" y="7343"/>
                  <a:pt x="31281" y="7312"/>
                </a:cubicBezTo>
                <a:cubicBezTo>
                  <a:pt x="31344" y="7312"/>
                  <a:pt x="31375" y="7281"/>
                  <a:pt x="31437" y="7281"/>
                </a:cubicBezTo>
                <a:cubicBezTo>
                  <a:pt x="31594" y="7187"/>
                  <a:pt x="31750" y="7156"/>
                  <a:pt x="31906" y="7093"/>
                </a:cubicBezTo>
                <a:cubicBezTo>
                  <a:pt x="31969" y="7125"/>
                  <a:pt x="32000" y="7156"/>
                  <a:pt x="32031" y="7187"/>
                </a:cubicBezTo>
                <a:cubicBezTo>
                  <a:pt x="32031" y="7187"/>
                  <a:pt x="32031" y="7187"/>
                  <a:pt x="32031" y="7187"/>
                </a:cubicBezTo>
                <a:cubicBezTo>
                  <a:pt x="32000" y="7218"/>
                  <a:pt x="31937" y="7218"/>
                  <a:pt x="31906" y="7250"/>
                </a:cubicBezTo>
                <a:cubicBezTo>
                  <a:pt x="31906" y="7250"/>
                  <a:pt x="31875" y="7250"/>
                  <a:pt x="31875" y="7250"/>
                </a:cubicBezTo>
                <a:cubicBezTo>
                  <a:pt x="31875" y="7250"/>
                  <a:pt x="31875" y="7281"/>
                  <a:pt x="31875" y="7281"/>
                </a:cubicBezTo>
                <a:cubicBezTo>
                  <a:pt x="31812" y="7250"/>
                  <a:pt x="31781" y="7281"/>
                  <a:pt x="31719" y="7312"/>
                </a:cubicBezTo>
                <a:cubicBezTo>
                  <a:pt x="31719" y="7312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687" y="7343"/>
                  <a:pt x="31687" y="7343"/>
                  <a:pt x="31687" y="7343"/>
                </a:cubicBezTo>
                <a:cubicBezTo>
                  <a:pt x="31562" y="7375"/>
                  <a:pt x="31469" y="7406"/>
                  <a:pt x="31344" y="7437"/>
                </a:cubicBezTo>
                <a:cubicBezTo>
                  <a:pt x="31281" y="7468"/>
                  <a:pt x="31187" y="7500"/>
                  <a:pt x="31094" y="7531"/>
                </a:cubicBezTo>
                <a:cubicBezTo>
                  <a:pt x="31062" y="7531"/>
                  <a:pt x="31031" y="7562"/>
                  <a:pt x="31000" y="7562"/>
                </a:cubicBezTo>
                <a:cubicBezTo>
                  <a:pt x="30719" y="7656"/>
                  <a:pt x="30437" y="7750"/>
                  <a:pt x="30375" y="7812"/>
                </a:cubicBezTo>
                <a:cubicBezTo>
                  <a:pt x="30375" y="7812"/>
                  <a:pt x="30344" y="7843"/>
                  <a:pt x="30312" y="7843"/>
                </a:cubicBezTo>
                <a:cubicBezTo>
                  <a:pt x="30250" y="7875"/>
                  <a:pt x="30187" y="7906"/>
                  <a:pt x="30125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94" y="7937"/>
                  <a:pt x="30094" y="7937"/>
                  <a:pt x="30094" y="7937"/>
                </a:cubicBezTo>
                <a:cubicBezTo>
                  <a:pt x="30031" y="7937"/>
                  <a:pt x="30000" y="7937"/>
                  <a:pt x="30000" y="7968"/>
                </a:cubicBezTo>
                <a:cubicBezTo>
                  <a:pt x="29969" y="8000"/>
                  <a:pt x="29969" y="8000"/>
                  <a:pt x="29937" y="8000"/>
                </a:cubicBezTo>
                <a:cubicBezTo>
                  <a:pt x="29875" y="8000"/>
                  <a:pt x="29812" y="8000"/>
                  <a:pt x="29750" y="8062"/>
                </a:cubicBezTo>
                <a:cubicBezTo>
                  <a:pt x="29719" y="8062"/>
                  <a:pt x="29687" y="8093"/>
                  <a:pt x="29656" y="8093"/>
                </a:cubicBezTo>
                <a:cubicBezTo>
                  <a:pt x="29656" y="8093"/>
                  <a:pt x="29625" y="8093"/>
                  <a:pt x="29625" y="8125"/>
                </a:cubicBezTo>
                <a:cubicBezTo>
                  <a:pt x="29625" y="8125"/>
                  <a:pt x="29594" y="8125"/>
                  <a:pt x="29594" y="8125"/>
                </a:cubicBezTo>
                <a:cubicBezTo>
                  <a:pt x="29594" y="8125"/>
                  <a:pt x="29594" y="8156"/>
                  <a:pt x="29594" y="8156"/>
                </a:cubicBezTo>
                <a:cubicBezTo>
                  <a:pt x="29375" y="8250"/>
                  <a:pt x="29125" y="8343"/>
                  <a:pt x="28906" y="8437"/>
                </a:cubicBezTo>
                <a:cubicBezTo>
                  <a:pt x="29125" y="8343"/>
                  <a:pt x="29375" y="8250"/>
                  <a:pt x="29594" y="8156"/>
                </a:cubicBezTo>
                <a:cubicBezTo>
                  <a:pt x="29594" y="8156"/>
                  <a:pt x="29594" y="8125"/>
                  <a:pt x="29594" y="8125"/>
                </a:cubicBezTo>
                <a:cubicBezTo>
                  <a:pt x="29344" y="8218"/>
                  <a:pt x="29094" y="8312"/>
                  <a:pt x="28844" y="8406"/>
                </a:cubicBezTo>
                <a:cubicBezTo>
                  <a:pt x="28625" y="8500"/>
                  <a:pt x="28375" y="8593"/>
                  <a:pt x="28156" y="8687"/>
                </a:cubicBezTo>
                <a:cubicBezTo>
                  <a:pt x="28062" y="8656"/>
                  <a:pt x="28000" y="8718"/>
                  <a:pt x="27937" y="8750"/>
                </a:cubicBezTo>
                <a:cubicBezTo>
                  <a:pt x="27812" y="8812"/>
                  <a:pt x="27656" y="8812"/>
                  <a:pt x="27500" y="8906"/>
                </a:cubicBezTo>
                <a:cubicBezTo>
                  <a:pt x="27406" y="8906"/>
                  <a:pt x="27281" y="8968"/>
                  <a:pt x="27187" y="9031"/>
                </a:cubicBezTo>
                <a:cubicBezTo>
                  <a:pt x="26875" y="9156"/>
                  <a:pt x="26531" y="9281"/>
                  <a:pt x="26219" y="9406"/>
                </a:cubicBezTo>
                <a:cubicBezTo>
                  <a:pt x="26156" y="9406"/>
                  <a:pt x="26125" y="9406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125" y="9437"/>
                  <a:pt x="26125" y="9437"/>
                  <a:pt x="26125" y="9437"/>
                </a:cubicBezTo>
                <a:cubicBezTo>
                  <a:pt x="26062" y="9437"/>
                  <a:pt x="26031" y="9437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6000" y="9468"/>
                  <a:pt x="26000" y="9468"/>
                  <a:pt x="26000" y="9468"/>
                </a:cubicBezTo>
                <a:cubicBezTo>
                  <a:pt x="25969" y="9468"/>
                  <a:pt x="25937" y="9468"/>
                  <a:pt x="25906" y="9500"/>
                </a:cubicBezTo>
                <a:cubicBezTo>
                  <a:pt x="25750" y="9562"/>
                  <a:pt x="25594" y="9625"/>
                  <a:pt x="25437" y="9687"/>
                </a:cubicBezTo>
                <a:cubicBezTo>
                  <a:pt x="25375" y="9656"/>
                  <a:pt x="25312" y="9718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250" y="9750"/>
                  <a:pt x="25250" y="9750"/>
                  <a:pt x="25250" y="9750"/>
                </a:cubicBezTo>
                <a:cubicBezTo>
                  <a:pt x="25187" y="9750"/>
                  <a:pt x="25156" y="9750"/>
                  <a:pt x="25125" y="9812"/>
                </a:cubicBezTo>
                <a:cubicBezTo>
                  <a:pt x="25031" y="9843"/>
                  <a:pt x="24969" y="9875"/>
                  <a:pt x="24875" y="9906"/>
                </a:cubicBezTo>
                <a:cubicBezTo>
                  <a:pt x="24781" y="9875"/>
                  <a:pt x="24719" y="9937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625" y="9968"/>
                  <a:pt x="24625" y="9968"/>
                  <a:pt x="24625" y="9968"/>
                </a:cubicBezTo>
                <a:cubicBezTo>
                  <a:pt x="24562" y="9968"/>
                  <a:pt x="24500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37" y="10031"/>
                  <a:pt x="24437" y="10031"/>
                  <a:pt x="24437" y="10031"/>
                </a:cubicBezTo>
                <a:cubicBezTo>
                  <a:pt x="24406" y="10031"/>
                  <a:pt x="24375" y="10031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344" y="10093"/>
                  <a:pt x="24344" y="10093"/>
                  <a:pt x="24344" y="10093"/>
                </a:cubicBezTo>
                <a:cubicBezTo>
                  <a:pt x="24281" y="10093"/>
                  <a:pt x="24219" y="10093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56" y="10156"/>
                  <a:pt x="24156" y="10156"/>
                  <a:pt x="24156" y="10156"/>
                </a:cubicBezTo>
                <a:cubicBezTo>
                  <a:pt x="24125" y="10156"/>
                  <a:pt x="24094" y="10156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62" y="10187"/>
                  <a:pt x="24062" y="10187"/>
                  <a:pt x="24062" y="10187"/>
                </a:cubicBezTo>
                <a:cubicBezTo>
                  <a:pt x="24031" y="10187"/>
                  <a:pt x="23969" y="10156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69" y="10218"/>
                  <a:pt x="23969" y="10218"/>
                  <a:pt x="23969" y="10218"/>
                </a:cubicBezTo>
                <a:cubicBezTo>
                  <a:pt x="23937" y="10218"/>
                  <a:pt x="23875" y="10218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844" y="10250"/>
                  <a:pt x="23844" y="10250"/>
                  <a:pt x="23844" y="10250"/>
                </a:cubicBezTo>
                <a:cubicBezTo>
                  <a:pt x="23781" y="10250"/>
                  <a:pt x="23719" y="10312"/>
                  <a:pt x="23656" y="10312"/>
                </a:cubicBezTo>
                <a:cubicBezTo>
                  <a:pt x="23656" y="10312"/>
                  <a:pt x="23656" y="10312"/>
                  <a:pt x="23656" y="10312"/>
                </a:cubicBezTo>
                <a:cubicBezTo>
                  <a:pt x="23625" y="10343"/>
                  <a:pt x="23562" y="10312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562" y="10375"/>
                  <a:pt x="23562" y="10375"/>
                  <a:pt x="23562" y="10375"/>
                </a:cubicBezTo>
                <a:cubicBezTo>
                  <a:pt x="23469" y="10375"/>
                  <a:pt x="23406" y="10375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344" y="10437"/>
                  <a:pt x="23344" y="10437"/>
                  <a:pt x="23344" y="10437"/>
                </a:cubicBezTo>
                <a:cubicBezTo>
                  <a:pt x="23156" y="10468"/>
                  <a:pt x="23000" y="10531"/>
                  <a:pt x="22844" y="10625"/>
                </a:cubicBezTo>
                <a:cubicBezTo>
                  <a:pt x="22844" y="10625"/>
                  <a:pt x="22844" y="10625"/>
                  <a:pt x="22844" y="10625"/>
                </a:cubicBezTo>
                <a:cubicBezTo>
                  <a:pt x="22625" y="10656"/>
                  <a:pt x="22406" y="10750"/>
                  <a:pt x="22219" y="10843"/>
                </a:cubicBezTo>
                <a:cubicBezTo>
                  <a:pt x="22219" y="10843"/>
                  <a:pt x="22219" y="10843"/>
                  <a:pt x="22219" y="10843"/>
                </a:cubicBezTo>
                <a:cubicBezTo>
                  <a:pt x="22094" y="10843"/>
                  <a:pt x="22000" y="10875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906" y="10937"/>
                  <a:pt x="21906" y="10937"/>
                  <a:pt x="21906" y="10937"/>
                </a:cubicBezTo>
                <a:cubicBezTo>
                  <a:pt x="21875" y="10937"/>
                  <a:pt x="21844" y="10937"/>
                  <a:pt x="21812" y="10968"/>
                </a:cubicBezTo>
                <a:cubicBezTo>
                  <a:pt x="21812" y="10968"/>
                  <a:pt x="21812" y="10968"/>
                  <a:pt x="21812" y="10968"/>
                </a:cubicBezTo>
                <a:cubicBezTo>
                  <a:pt x="21687" y="10968"/>
                  <a:pt x="21594" y="11031"/>
                  <a:pt x="21500" y="11062"/>
                </a:cubicBezTo>
                <a:cubicBezTo>
                  <a:pt x="21156" y="11187"/>
                  <a:pt x="20781" y="11281"/>
                  <a:pt x="20437" y="11406"/>
                </a:cubicBezTo>
                <a:cubicBezTo>
                  <a:pt x="20406" y="11406"/>
                  <a:pt x="20375" y="11406"/>
                  <a:pt x="20344" y="11375"/>
                </a:cubicBezTo>
                <a:cubicBezTo>
                  <a:pt x="20312" y="11406"/>
                  <a:pt x="20312" y="11406"/>
                  <a:pt x="20281" y="11375"/>
                </a:cubicBezTo>
                <a:cubicBezTo>
                  <a:pt x="20281" y="11375"/>
                  <a:pt x="20281" y="11375"/>
                  <a:pt x="20281" y="11375"/>
                </a:cubicBezTo>
                <a:cubicBezTo>
                  <a:pt x="20312" y="11406"/>
                  <a:pt x="20312" y="11406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344" y="11375"/>
                  <a:pt x="20344" y="11375"/>
                  <a:pt x="20344" y="11375"/>
                </a:cubicBezTo>
                <a:cubicBezTo>
                  <a:pt x="20406" y="11406"/>
                  <a:pt x="20437" y="11375"/>
                  <a:pt x="20469" y="11343"/>
                </a:cubicBezTo>
                <a:cubicBezTo>
                  <a:pt x="20594" y="11312"/>
                  <a:pt x="20719" y="11250"/>
                  <a:pt x="20812" y="11218"/>
                </a:cubicBezTo>
                <a:cubicBezTo>
                  <a:pt x="21156" y="11125"/>
                  <a:pt x="21469" y="11000"/>
                  <a:pt x="21812" y="10875"/>
                </a:cubicBezTo>
                <a:close/>
                <a:moveTo>
                  <a:pt x="20469" y="9906"/>
                </a:moveTo>
                <a:cubicBezTo>
                  <a:pt x="20406" y="9968"/>
                  <a:pt x="20406" y="9968"/>
                  <a:pt x="20500" y="10000"/>
                </a:cubicBezTo>
                <a:cubicBezTo>
                  <a:pt x="20500" y="10031"/>
                  <a:pt x="20500" y="10062"/>
                  <a:pt x="20562" y="10093"/>
                </a:cubicBezTo>
                <a:cubicBezTo>
                  <a:pt x="20500" y="10062"/>
                  <a:pt x="20500" y="10031"/>
                  <a:pt x="20500" y="10000"/>
                </a:cubicBezTo>
                <a:cubicBezTo>
                  <a:pt x="20406" y="9968"/>
                  <a:pt x="20406" y="9968"/>
                  <a:pt x="20469" y="9906"/>
                </a:cubicBezTo>
                <a:cubicBezTo>
                  <a:pt x="20437" y="9875"/>
                  <a:pt x="20406" y="9875"/>
                  <a:pt x="20406" y="9875"/>
                </a:cubicBezTo>
                <a:cubicBezTo>
                  <a:pt x="20375" y="9875"/>
                  <a:pt x="20375" y="9875"/>
                  <a:pt x="20375" y="9875"/>
                </a:cubicBezTo>
                <a:cubicBezTo>
                  <a:pt x="20375" y="9875"/>
                  <a:pt x="20375" y="9875"/>
                  <a:pt x="20406" y="9875"/>
                </a:cubicBezTo>
                <a:cubicBezTo>
                  <a:pt x="20406" y="9812"/>
                  <a:pt x="20437" y="9812"/>
                  <a:pt x="20469" y="9812"/>
                </a:cubicBezTo>
                <a:cubicBezTo>
                  <a:pt x="20437" y="9812"/>
                  <a:pt x="20406" y="9812"/>
                  <a:pt x="20406" y="9875"/>
                </a:cubicBezTo>
                <a:cubicBezTo>
                  <a:pt x="20406" y="9875"/>
                  <a:pt x="20437" y="9875"/>
                  <a:pt x="20469" y="9906"/>
                </a:cubicBezTo>
                <a:close/>
                <a:moveTo>
                  <a:pt x="20625" y="9875"/>
                </a:moveTo>
                <a:cubicBezTo>
                  <a:pt x="20687" y="9906"/>
                  <a:pt x="20625" y="9937"/>
                  <a:pt x="20656" y="9968"/>
                </a:cubicBezTo>
                <a:cubicBezTo>
                  <a:pt x="20625" y="10000"/>
                  <a:pt x="20562" y="10000"/>
                  <a:pt x="20531" y="10000"/>
                </a:cubicBezTo>
                <a:cubicBezTo>
                  <a:pt x="20469" y="9968"/>
                  <a:pt x="20469" y="9968"/>
                  <a:pt x="20500" y="9906"/>
                </a:cubicBezTo>
                <a:cubicBezTo>
                  <a:pt x="20562" y="9906"/>
                  <a:pt x="20594" y="9906"/>
                  <a:pt x="20625" y="9875"/>
                </a:cubicBezTo>
                <a:close/>
                <a:moveTo>
                  <a:pt x="20531" y="9781"/>
                </a:moveTo>
                <a:cubicBezTo>
                  <a:pt x="20594" y="9687"/>
                  <a:pt x="20625" y="9656"/>
                  <a:pt x="20719" y="9687"/>
                </a:cubicBezTo>
                <a:cubicBezTo>
                  <a:pt x="20625" y="9656"/>
                  <a:pt x="20594" y="9687"/>
                  <a:pt x="20531" y="9781"/>
                </a:cubicBezTo>
                <a:cubicBezTo>
                  <a:pt x="20531" y="9781"/>
                  <a:pt x="20531" y="9781"/>
                  <a:pt x="20531" y="9781"/>
                </a:cubicBezTo>
                <a:close/>
                <a:moveTo>
                  <a:pt x="20406" y="10343"/>
                </a:move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12"/>
                </a:cubicBezTo>
                <a:cubicBezTo>
                  <a:pt x="20406" y="10343"/>
                  <a:pt x="20406" y="10343"/>
                  <a:pt x="20406" y="10343"/>
                </a:cubicBezTo>
                <a:cubicBezTo>
                  <a:pt x="20406" y="10343"/>
                  <a:pt x="20406" y="10343"/>
                  <a:pt x="20406" y="10343"/>
                </a:cubicBezTo>
                <a:close/>
                <a:moveTo>
                  <a:pt x="20406" y="11312"/>
                </a:moveTo>
                <a:cubicBezTo>
                  <a:pt x="20406" y="11312"/>
                  <a:pt x="20406" y="11312"/>
                  <a:pt x="20406" y="11312"/>
                </a:cubicBezTo>
                <a:cubicBezTo>
                  <a:pt x="20406" y="11343"/>
                  <a:pt x="20375" y="11343"/>
                  <a:pt x="20375" y="11343"/>
                </a:cubicBezTo>
                <a:cubicBezTo>
                  <a:pt x="20375" y="11343"/>
                  <a:pt x="20406" y="11343"/>
                  <a:pt x="20406" y="11312"/>
                </a:cubicBezTo>
                <a:close/>
                <a:moveTo>
                  <a:pt x="21156" y="10375"/>
                </a:moveTo>
                <a:cubicBezTo>
                  <a:pt x="21219" y="10343"/>
                  <a:pt x="21250" y="10312"/>
                  <a:pt x="21312" y="10312"/>
                </a:cubicBezTo>
                <a:cubicBezTo>
                  <a:pt x="21250" y="10312"/>
                  <a:pt x="21219" y="10343"/>
                  <a:pt x="21156" y="10375"/>
                </a:cubicBezTo>
                <a:cubicBezTo>
                  <a:pt x="21156" y="10375"/>
                  <a:pt x="21156" y="10375"/>
                  <a:pt x="21156" y="10406"/>
                </a:cubicBezTo>
                <a:cubicBezTo>
                  <a:pt x="21156" y="10406"/>
                  <a:pt x="21156" y="10406"/>
                  <a:pt x="21156" y="10406"/>
                </a:cubicBezTo>
                <a:cubicBezTo>
                  <a:pt x="21156" y="10375"/>
                  <a:pt x="21156" y="10375"/>
                  <a:pt x="21156" y="10375"/>
                </a:cubicBezTo>
                <a:cubicBezTo>
                  <a:pt x="21000" y="10406"/>
                  <a:pt x="20844" y="10468"/>
                  <a:pt x="20719" y="10500"/>
                </a:cubicBezTo>
                <a:cubicBezTo>
                  <a:pt x="20844" y="10468"/>
                  <a:pt x="21000" y="10406"/>
                  <a:pt x="21156" y="10375"/>
                </a:cubicBezTo>
                <a:close/>
                <a:moveTo>
                  <a:pt x="20812" y="9500"/>
                </a:moveTo>
                <a:cubicBezTo>
                  <a:pt x="20781" y="9531"/>
                  <a:pt x="20781" y="9593"/>
                  <a:pt x="20812" y="9656"/>
                </a:cubicBezTo>
                <a:cubicBezTo>
                  <a:pt x="20812" y="9656"/>
                  <a:pt x="20812" y="9656"/>
                  <a:pt x="20812" y="9656"/>
                </a:cubicBezTo>
                <a:cubicBezTo>
                  <a:pt x="20781" y="9593"/>
                  <a:pt x="20781" y="9531"/>
                  <a:pt x="20812" y="9500"/>
                </a:cubicBezTo>
                <a:close/>
                <a:moveTo>
                  <a:pt x="20812" y="9937"/>
                </a:moveTo>
                <a:cubicBezTo>
                  <a:pt x="20812" y="9937"/>
                  <a:pt x="20812" y="9937"/>
                  <a:pt x="20812" y="9937"/>
                </a:cubicBezTo>
                <a:cubicBezTo>
                  <a:pt x="20844" y="9937"/>
                  <a:pt x="20875" y="9906"/>
                  <a:pt x="20906" y="9875"/>
                </a:cubicBezTo>
                <a:cubicBezTo>
                  <a:pt x="20875" y="9906"/>
                  <a:pt x="20844" y="9937"/>
                  <a:pt x="20812" y="9937"/>
                </a:cubicBezTo>
                <a:close/>
                <a:moveTo>
                  <a:pt x="20875" y="9843"/>
                </a:moveTo>
                <a:cubicBezTo>
                  <a:pt x="20875" y="9843"/>
                  <a:pt x="20875" y="9812"/>
                  <a:pt x="20875" y="9812"/>
                </a:cubicBezTo>
                <a:cubicBezTo>
                  <a:pt x="20875" y="9812"/>
                  <a:pt x="20875" y="9843"/>
                  <a:pt x="20875" y="9843"/>
                </a:cubicBezTo>
                <a:close/>
                <a:moveTo>
                  <a:pt x="20969" y="9375"/>
                </a:moveTo>
                <a:cubicBezTo>
                  <a:pt x="20750" y="9468"/>
                  <a:pt x="20531" y="9562"/>
                  <a:pt x="20312" y="9625"/>
                </a:cubicBezTo>
                <a:cubicBezTo>
                  <a:pt x="20250" y="9656"/>
                  <a:pt x="20187" y="9687"/>
                  <a:pt x="20125" y="9718"/>
                </a:cubicBezTo>
                <a:cubicBezTo>
                  <a:pt x="20125" y="9687"/>
                  <a:pt x="20156" y="9656"/>
                  <a:pt x="20156" y="9625"/>
                </a:cubicBezTo>
                <a:cubicBezTo>
                  <a:pt x="20187" y="9625"/>
                  <a:pt x="20187" y="9625"/>
                  <a:pt x="20219" y="9625"/>
                </a:cubicBezTo>
                <a:cubicBezTo>
                  <a:pt x="20406" y="9531"/>
                  <a:pt x="20625" y="9468"/>
                  <a:pt x="20844" y="9375"/>
                </a:cubicBezTo>
                <a:cubicBezTo>
                  <a:pt x="20875" y="9375"/>
                  <a:pt x="20937" y="9375"/>
                  <a:pt x="20969" y="9312"/>
                </a:cubicBezTo>
                <a:cubicBezTo>
                  <a:pt x="20969" y="9343"/>
                  <a:pt x="21000" y="9343"/>
                  <a:pt x="21031" y="9343"/>
                </a:cubicBezTo>
                <a:cubicBezTo>
                  <a:pt x="21000" y="9375"/>
                  <a:pt x="21000" y="9375"/>
                  <a:pt x="20969" y="9375"/>
                </a:cubicBezTo>
                <a:close/>
                <a:moveTo>
                  <a:pt x="21125" y="9562"/>
                </a:moveTo>
                <a:cubicBezTo>
                  <a:pt x="21094" y="9593"/>
                  <a:pt x="21094" y="9593"/>
                  <a:pt x="21062" y="9593"/>
                </a:cubicBezTo>
                <a:cubicBezTo>
                  <a:pt x="21062" y="9593"/>
                  <a:pt x="21062" y="9593"/>
                  <a:pt x="21062" y="9593"/>
                </a:cubicBezTo>
                <a:cubicBezTo>
                  <a:pt x="21062" y="9593"/>
                  <a:pt x="21031" y="9562"/>
                  <a:pt x="21000" y="9562"/>
                </a:cubicBezTo>
                <a:cubicBezTo>
                  <a:pt x="21031" y="9562"/>
                  <a:pt x="21062" y="9593"/>
                  <a:pt x="21062" y="9593"/>
                </a:cubicBezTo>
                <a:cubicBezTo>
                  <a:pt x="21094" y="9593"/>
                  <a:pt x="21094" y="9593"/>
                  <a:pt x="21125" y="9562"/>
                </a:cubicBezTo>
                <a:cubicBezTo>
                  <a:pt x="21125" y="9562"/>
                  <a:pt x="21125" y="9593"/>
                  <a:pt x="21156" y="9593"/>
                </a:cubicBezTo>
                <a:cubicBezTo>
                  <a:pt x="21125" y="9593"/>
                  <a:pt x="21125" y="9562"/>
                  <a:pt x="21125" y="9562"/>
                </a:cubicBezTo>
                <a:close/>
                <a:moveTo>
                  <a:pt x="32219" y="4937"/>
                </a:moveTo>
                <a:cubicBezTo>
                  <a:pt x="32250" y="4937"/>
                  <a:pt x="32281" y="4906"/>
                  <a:pt x="32312" y="4906"/>
                </a:cubicBezTo>
                <a:cubicBezTo>
                  <a:pt x="32281" y="4906"/>
                  <a:pt x="32250" y="4937"/>
                  <a:pt x="32219" y="4937"/>
                </a:cubicBezTo>
                <a:cubicBezTo>
                  <a:pt x="32187" y="4968"/>
                  <a:pt x="32187" y="4968"/>
                  <a:pt x="32187" y="4968"/>
                </a:cubicBezTo>
                <a:cubicBezTo>
                  <a:pt x="32187" y="4968"/>
                  <a:pt x="32187" y="4968"/>
                  <a:pt x="32219" y="4937"/>
                </a:cubicBezTo>
                <a:close/>
                <a:moveTo>
                  <a:pt x="32250" y="4968"/>
                </a:moveTo>
                <a:cubicBezTo>
                  <a:pt x="32250" y="5000"/>
                  <a:pt x="32219" y="5031"/>
                  <a:pt x="32156" y="5000"/>
                </a:cubicBezTo>
                <a:cubicBezTo>
                  <a:pt x="32219" y="5031"/>
                  <a:pt x="32219" y="4906"/>
                  <a:pt x="32250" y="4968"/>
                </a:cubicBezTo>
                <a:close/>
                <a:moveTo>
                  <a:pt x="21969" y="9093"/>
                </a:moveTo>
                <a:cubicBezTo>
                  <a:pt x="21969" y="9093"/>
                  <a:pt x="21969" y="9093"/>
                  <a:pt x="21969" y="9093"/>
                </a:cubicBezTo>
                <a:cubicBezTo>
                  <a:pt x="21969" y="9093"/>
                  <a:pt x="21969" y="9093"/>
                  <a:pt x="21969" y="9093"/>
                </a:cubicBezTo>
                <a:close/>
                <a:moveTo>
                  <a:pt x="21844" y="9125"/>
                </a:moveTo>
                <a:cubicBezTo>
                  <a:pt x="21844" y="9125"/>
                  <a:pt x="21844" y="9156"/>
                  <a:pt x="21844" y="9156"/>
                </a:cubicBezTo>
                <a:cubicBezTo>
                  <a:pt x="21844" y="9156"/>
                  <a:pt x="21844" y="9125"/>
                  <a:pt x="21844" y="9125"/>
                </a:cubicBezTo>
                <a:close/>
                <a:moveTo>
                  <a:pt x="21875" y="9156"/>
                </a:moveTo>
                <a:cubicBezTo>
                  <a:pt x="21875" y="9125"/>
                  <a:pt x="21906" y="9156"/>
                  <a:pt x="21937" y="9156"/>
                </a:cubicBezTo>
                <a:cubicBezTo>
                  <a:pt x="21906" y="9156"/>
                  <a:pt x="21875" y="9125"/>
                  <a:pt x="21875" y="9156"/>
                </a:cubicBezTo>
                <a:cubicBezTo>
                  <a:pt x="21844" y="9156"/>
                  <a:pt x="21844" y="9156"/>
                  <a:pt x="21812" y="9156"/>
                </a:cubicBezTo>
                <a:cubicBezTo>
                  <a:pt x="21844" y="9156"/>
                  <a:pt x="21844" y="9156"/>
                  <a:pt x="21875" y="9156"/>
                </a:cubicBezTo>
                <a:close/>
                <a:moveTo>
                  <a:pt x="21531" y="9281"/>
                </a:moveTo>
                <a:cubicBezTo>
                  <a:pt x="21531" y="9281"/>
                  <a:pt x="21500" y="9281"/>
                  <a:pt x="21500" y="9281"/>
                </a:cubicBezTo>
                <a:cubicBezTo>
                  <a:pt x="21500" y="9312"/>
                  <a:pt x="21469" y="9312"/>
                  <a:pt x="21469" y="9312"/>
                </a:cubicBezTo>
                <a:cubicBezTo>
                  <a:pt x="21469" y="9312"/>
                  <a:pt x="21500" y="9312"/>
                  <a:pt x="21500" y="9281"/>
                </a:cubicBezTo>
                <a:cubicBezTo>
                  <a:pt x="21500" y="9281"/>
                  <a:pt x="21531" y="9281"/>
                  <a:pt x="21531" y="9281"/>
                </a:cubicBezTo>
                <a:close/>
                <a:moveTo>
                  <a:pt x="21500" y="9281"/>
                </a:moveTo>
                <a:cubicBezTo>
                  <a:pt x="21469" y="9281"/>
                  <a:pt x="21437" y="9281"/>
                  <a:pt x="21406" y="9281"/>
                </a:cubicBezTo>
                <a:cubicBezTo>
                  <a:pt x="21406" y="9281"/>
                  <a:pt x="21406" y="9281"/>
                  <a:pt x="21406" y="9281"/>
                </a:cubicBezTo>
                <a:cubicBezTo>
                  <a:pt x="21437" y="9281"/>
                  <a:pt x="21469" y="9281"/>
                  <a:pt x="21500" y="9281"/>
                </a:cubicBezTo>
                <a:close/>
                <a:moveTo>
                  <a:pt x="21469" y="9406"/>
                </a:moveTo>
                <a:cubicBezTo>
                  <a:pt x="21469" y="9437"/>
                  <a:pt x="21469" y="9437"/>
                  <a:pt x="21500" y="9437"/>
                </a:cubicBezTo>
                <a:cubicBezTo>
                  <a:pt x="21469" y="9437"/>
                  <a:pt x="21469" y="9437"/>
                  <a:pt x="21469" y="9406"/>
                </a:cubicBezTo>
                <a:cubicBezTo>
                  <a:pt x="21437" y="9406"/>
                  <a:pt x="21437" y="9406"/>
                  <a:pt x="21406" y="9437"/>
                </a:cubicBezTo>
                <a:cubicBezTo>
                  <a:pt x="21437" y="9406"/>
                  <a:pt x="21437" y="9406"/>
                  <a:pt x="21469" y="9406"/>
                </a:cubicBezTo>
                <a:close/>
                <a:moveTo>
                  <a:pt x="32406" y="4468"/>
                </a:moveTo>
                <a:cubicBezTo>
                  <a:pt x="32406" y="4437"/>
                  <a:pt x="32469" y="4437"/>
                  <a:pt x="32500" y="4437"/>
                </a:cubicBezTo>
                <a:cubicBezTo>
                  <a:pt x="32500" y="4437"/>
                  <a:pt x="32500" y="4437"/>
                  <a:pt x="32500" y="4437"/>
                </a:cubicBezTo>
                <a:cubicBezTo>
                  <a:pt x="32562" y="4375"/>
                  <a:pt x="32656" y="4343"/>
                  <a:pt x="32781" y="4343"/>
                </a:cubicBezTo>
                <a:cubicBezTo>
                  <a:pt x="32750" y="4406"/>
                  <a:pt x="32687" y="4406"/>
                  <a:pt x="32625" y="4437"/>
                </a:cubicBezTo>
                <a:cubicBezTo>
                  <a:pt x="32594" y="4437"/>
                  <a:pt x="32531" y="4468"/>
                  <a:pt x="32500" y="4437"/>
                </a:cubicBezTo>
                <a:cubicBezTo>
                  <a:pt x="32500" y="4500"/>
                  <a:pt x="32437" y="4468"/>
                  <a:pt x="32437" y="4500"/>
                </a:cubicBezTo>
                <a:cubicBezTo>
                  <a:pt x="32406" y="4500"/>
                  <a:pt x="32375" y="4468"/>
                  <a:pt x="32406" y="4468"/>
                </a:cubicBezTo>
                <a:close/>
                <a:moveTo>
                  <a:pt x="32031" y="4593"/>
                </a:moveTo>
                <a:cubicBezTo>
                  <a:pt x="32094" y="4593"/>
                  <a:pt x="32156" y="4562"/>
                  <a:pt x="32219" y="4531"/>
                </a:cubicBezTo>
                <a:cubicBezTo>
                  <a:pt x="32250" y="4500"/>
                  <a:pt x="32281" y="4500"/>
                  <a:pt x="32312" y="4531"/>
                </a:cubicBezTo>
                <a:cubicBezTo>
                  <a:pt x="32312" y="4562"/>
                  <a:pt x="32250" y="4531"/>
                  <a:pt x="32219" y="4593"/>
                </a:cubicBezTo>
                <a:cubicBezTo>
                  <a:pt x="32219" y="4593"/>
                  <a:pt x="32187" y="4593"/>
                  <a:pt x="32187" y="4593"/>
                </a:cubicBezTo>
                <a:cubicBezTo>
                  <a:pt x="32094" y="4593"/>
                  <a:pt x="32062" y="4656"/>
                  <a:pt x="31969" y="4656"/>
                </a:cubicBezTo>
                <a:cubicBezTo>
                  <a:pt x="31969" y="4625"/>
                  <a:pt x="32062" y="4656"/>
                  <a:pt x="32031" y="4593"/>
                </a:cubicBezTo>
                <a:close/>
                <a:moveTo>
                  <a:pt x="30875" y="5093"/>
                </a:moveTo>
                <a:cubicBezTo>
                  <a:pt x="30844" y="5062"/>
                  <a:pt x="30844" y="5062"/>
                  <a:pt x="30844" y="5062"/>
                </a:cubicBezTo>
                <a:cubicBezTo>
                  <a:pt x="30844" y="5062"/>
                  <a:pt x="30875" y="5093"/>
                  <a:pt x="30875" y="5093"/>
                </a:cubicBezTo>
                <a:close/>
                <a:moveTo>
                  <a:pt x="30125" y="5468"/>
                </a:moveTo>
                <a:cubicBezTo>
                  <a:pt x="30094" y="5468"/>
                  <a:pt x="30062" y="5500"/>
                  <a:pt x="30031" y="5500"/>
                </a:cubicBezTo>
                <a:cubicBezTo>
                  <a:pt x="30062" y="5500"/>
                  <a:pt x="30094" y="5468"/>
                  <a:pt x="30125" y="5468"/>
                </a:cubicBezTo>
                <a:close/>
                <a:moveTo>
                  <a:pt x="29625" y="5562"/>
                </a:moveTo>
                <a:cubicBezTo>
                  <a:pt x="29625" y="5562"/>
                  <a:pt x="29625" y="5562"/>
                  <a:pt x="29625" y="5593"/>
                </a:cubicBezTo>
                <a:cubicBezTo>
                  <a:pt x="29625" y="5562"/>
                  <a:pt x="29625" y="5562"/>
                  <a:pt x="29625" y="5562"/>
                </a:cubicBezTo>
                <a:cubicBezTo>
                  <a:pt x="29625" y="5562"/>
                  <a:pt x="29625" y="5562"/>
                  <a:pt x="29625" y="5562"/>
                </a:cubicBezTo>
                <a:close/>
                <a:moveTo>
                  <a:pt x="29687" y="5593"/>
                </a:moveTo>
                <a:cubicBezTo>
                  <a:pt x="29687" y="5593"/>
                  <a:pt x="29687" y="5593"/>
                  <a:pt x="29687" y="5593"/>
                </a:cubicBezTo>
                <a:cubicBezTo>
                  <a:pt x="29687" y="5593"/>
                  <a:pt x="29687" y="5593"/>
                  <a:pt x="29687" y="5593"/>
                </a:cubicBezTo>
                <a:cubicBezTo>
                  <a:pt x="29750" y="5531"/>
                  <a:pt x="29844" y="5500"/>
                  <a:pt x="29969" y="5500"/>
                </a:cubicBezTo>
                <a:cubicBezTo>
                  <a:pt x="29875" y="5531"/>
                  <a:pt x="29781" y="5593"/>
                  <a:pt x="29687" y="5593"/>
                </a:cubicBezTo>
                <a:cubicBezTo>
                  <a:pt x="29687" y="5656"/>
                  <a:pt x="29625" y="5656"/>
                  <a:pt x="29594" y="5625"/>
                </a:cubicBezTo>
                <a:cubicBezTo>
                  <a:pt x="29594" y="5562"/>
                  <a:pt x="29656" y="5593"/>
                  <a:pt x="29687" y="5593"/>
                </a:cubicBezTo>
                <a:close/>
                <a:moveTo>
                  <a:pt x="28094" y="6218"/>
                </a:moveTo>
                <a:cubicBezTo>
                  <a:pt x="28187" y="6218"/>
                  <a:pt x="28250" y="6125"/>
                  <a:pt x="28375" y="6156"/>
                </a:cubicBezTo>
                <a:cubicBezTo>
                  <a:pt x="28344" y="6187"/>
                  <a:pt x="28281" y="6156"/>
                  <a:pt x="28281" y="6187"/>
                </a:cubicBezTo>
                <a:cubicBezTo>
                  <a:pt x="28187" y="6187"/>
                  <a:pt x="28125" y="6281"/>
                  <a:pt x="28031" y="6281"/>
                </a:cubicBezTo>
                <a:cubicBezTo>
                  <a:pt x="28000" y="6218"/>
                  <a:pt x="28094" y="6250"/>
                  <a:pt x="28094" y="6218"/>
                </a:cubicBezTo>
                <a:close/>
                <a:moveTo>
                  <a:pt x="27812" y="6468"/>
                </a:moveTo>
                <a:cubicBezTo>
                  <a:pt x="27781" y="6468"/>
                  <a:pt x="27781" y="6500"/>
                  <a:pt x="27750" y="6500"/>
                </a:cubicBezTo>
                <a:cubicBezTo>
                  <a:pt x="27750" y="6500"/>
                  <a:pt x="27750" y="6500"/>
                  <a:pt x="27750" y="6500"/>
                </a:cubicBezTo>
                <a:cubicBezTo>
                  <a:pt x="27781" y="6500"/>
                  <a:pt x="27781" y="6468"/>
                  <a:pt x="27812" y="6468"/>
                </a:cubicBezTo>
                <a:close/>
                <a:moveTo>
                  <a:pt x="22844" y="7750"/>
                </a:move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44" y="7750"/>
                  <a:pt x="22844" y="7750"/>
                </a:cubicBezTo>
                <a:cubicBezTo>
                  <a:pt x="22844" y="7750"/>
                  <a:pt x="22875" y="7781"/>
                  <a:pt x="22875" y="7781"/>
                </a:cubicBezTo>
                <a:cubicBezTo>
                  <a:pt x="22875" y="7781"/>
                  <a:pt x="22844" y="7750"/>
                  <a:pt x="22844" y="7750"/>
                </a:cubicBezTo>
                <a:cubicBezTo>
                  <a:pt x="22844" y="7781"/>
                  <a:pt x="22844" y="7812"/>
                  <a:pt x="22812" y="7812"/>
                </a:cubicBezTo>
                <a:cubicBezTo>
                  <a:pt x="22844" y="7812"/>
                  <a:pt x="22844" y="7781"/>
                  <a:pt x="22844" y="7750"/>
                </a:cubicBezTo>
                <a:close/>
                <a:moveTo>
                  <a:pt x="22062" y="8062"/>
                </a:moveTo>
                <a:cubicBezTo>
                  <a:pt x="22094" y="8062"/>
                  <a:pt x="22094" y="8062"/>
                  <a:pt x="22094" y="8062"/>
                </a:cubicBezTo>
                <a:cubicBezTo>
                  <a:pt x="22094" y="8062"/>
                  <a:pt x="22094" y="8062"/>
                  <a:pt x="22062" y="8062"/>
                </a:cubicBezTo>
                <a:close/>
                <a:moveTo>
                  <a:pt x="22000" y="8093"/>
                </a:moveTo>
                <a:cubicBezTo>
                  <a:pt x="22000" y="8093"/>
                  <a:pt x="22031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62" y="8062"/>
                  <a:pt x="22062" y="8062"/>
                  <a:pt x="22062" y="8062"/>
                </a:cubicBezTo>
                <a:cubicBezTo>
                  <a:pt x="22031" y="8062"/>
                  <a:pt x="22000" y="8093"/>
                  <a:pt x="22000" y="8093"/>
                </a:cubicBezTo>
                <a:cubicBezTo>
                  <a:pt x="21969" y="8093"/>
                  <a:pt x="21969" y="8093"/>
                  <a:pt x="21969" y="8093"/>
                </a:cubicBezTo>
                <a:cubicBezTo>
                  <a:pt x="21969" y="8093"/>
                  <a:pt x="21969" y="8093"/>
                  <a:pt x="22000" y="8093"/>
                </a:cubicBezTo>
                <a:close/>
                <a:moveTo>
                  <a:pt x="21844" y="8125"/>
                </a:moveTo>
                <a:cubicBezTo>
                  <a:pt x="21875" y="8125"/>
                  <a:pt x="21906" y="8125"/>
                  <a:pt x="21937" y="8125"/>
                </a:cubicBezTo>
                <a:cubicBezTo>
                  <a:pt x="21906" y="8125"/>
                  <a:pt x="21875" y="8125"/>
                  <a:pt x="21844" y="8125"/>
                </a:cubicBezTo>
                <a:cubicBezTo>
                  <a:pt x="21844" y="8156"/>
                  <a:pt x="21812" y="8156"/>
                  <a:pt x="21781" y="8156"/>
                </a:cubicBezTo>
                <a:cubicBezTo>
                  <a:pt x="21812" y="8156"/>
                  <a:pt x="21844" y="8156"/>
                  <a:pt x="21844" y="8125"/>
                </a:cubicBezTo>
                <a:close/>
                <a:moveTo>
                  <a:pt x="21562" y="8156"/>
                </a:moveTo>
                <a:cubicBezTo>
                  <a:pt x="21562" y="8125"/>
                  <a:pt x="21594" y="8125"/>
                  <a:pt x="21594" y="8125"/>
                </a:cubicBezTo>
                <a:cubicBezTo>
                  <a:pt x="21594" y="8125"/>
                  <a:pt x="21562" y="8125"/>
                  <a:pt x="21562" y="8156"/>
                </a:cubicBezTo>
                <a:cubicBezTo>
                  <a:pt x="21500" y="8187"/>
                  <a:pt x="21469" y="8218"/>
                  <a:pt x="21406" y="8218"/>
                </a:cubicBezTo>
                <a:cubicBezTo>
                  <a:pt x="21469" y="8218"/>
                  <a:pt x="21500" y="8187"/>
                  <a:pt x="21562" y="8156"/>
                </a:cubicBezTo>
                <a:close/>
                <a:moveTo>
                  <a:pt x="21187" y="9531"/>
                </a:moveTo>
                <a:cubicBezTo>
                  <a:pt x="21187" y="9500"/>
                  <a:pt x="21219" y="9500"/>
                  <a:pt x="21219" y="9500"/>
                </a:cubicBezTo>
                <a:cubicBezTo>
                  <a:pt x="21219" y="9500"/>
                  <a:pt x="21219" y="9500"/>
                  <a:pt x="21219" y="9500"/>
                </a:cubicBezTo>
                <a:cubicBezTo>
                  <a:pt x="21219" y="9500"/>
                  <a:pt x="21187" y="9500"/>
                  <a:pt x="21187" y="9531"/>
                </a:cubicBezTo>
                <a:close/>
                <a:moveTo>
                  <a:pt x="21250" y="8343"/>
                </a:moveTo>
                <a:cubicBezTo>
                  <a:pt x="21250" y="8312"/>
                  <a:pt x="21219" y="8312"/>
                  <a:pt x="21219" y="8312"/>
                </a:cubicBezTo>
                <a:cubicBezTo>
                  <a:pt x="21219" y="8312"/>
                  <a:pt x="21250" y="8312"/>
                  <a:pt x="21250" y="8343"/>
                </a:cubicBezTo>
                <a:cubicBezTo>
                  <a:pt x="21250" y="8343"/>
                  <a:pt x="21250" y="8343"/>
                  <a:pt x="21250" y="8343"/>
                </a:cubicBezTo>
                <a:close/>
                <a:moveTo>
                  <a:pt x="21281" y="8812"/>
                </a:moveTo>
                <a:cubicBezTo>
                  <a:pt x="21281" y="8812"/>
                  <a:pt x="21281" y="8781"/>
                  <a:pt x="21312" y="8781"/>
                </a:cubicBezTo>
                <a:cubicBezTo>
                  <a:pt x="21281" y="8781"/>
                  <a:pt x="21281" y="8812"/>
                  <a:pt x="21281" y="8812"/>
                </a:cubicBezTo>
                <a:cubicBezTo>
                  <a:pt x="21281" y="8812"/>
                  <a:pt x="21281" y="8812"/>
                  <a:pt x="21281" y="8812"/>
                </a:cubicBezTo>
                <a:close/>
                <a:moveTo>
                  <a:pt x="21312" y="9156"/>
                </a:moveTo>
                <a:cubicBezTo>
                  <a:pt x="21312" y="9187"/>
                  <a:pt x="21312" y="9187"/>
                  <a:pt x="21312" y="9187"/>
                </a:cubicBezTo>
                <a:cubicBezTo>
                  <a:pt x="21312" y="9187"/>
                  <a:pt x="21312" y="9187"/>
                  <a:pt x="21312" y="9156"/>
                </a:cubicBezTo>
                <a:cubicBezTo>
                  <a:pt x="21312" y="9156"/>
                  <a:pt x="21281" y="9156"/>
                  <a:pt x="21281" y="9156"/>
                </a:cubicBezTo>
                <a:cubicBezTo>
                  <a:pt x="21281" y="9156"/>
                  <a:pt x="21312" y="9156"/>
                  <a:pt x="21312" y="9156"/>
                </a:cubicBezTo>
                <a:close/>
                <a:moveTo>
                  <a:pt x="21312" y="9531"/>
                </a:moveTo>
                <a:cubicBezTo>
                  <a:pt x="21312" y="9500"/>
                  <a:pt x="21344" y="9500"/>
                  <a:pt x="21344" y="9500"/>
                </a:cubicBezTo>
                <a:cubicBezTo>
                  <a:pt x="21344" y="9500"/>
                  <a:pt x="21312" y="9500"/>
                  <a:pt x="21312" y="9531"/>
                </a:cubicBezTo>
                <a:close/>
                <a:moveTo>
                  <a:pt x="21344" y="8343"/>
                </a:moveTo>
                <a:cubicBezTo>
                  <a:pt x="21375" y="8343"/>
                  <a:pt x="21406" y="8312"/>
                  <a:pt x="21437" y="8312"/>
                </a:cubicBezTo>
                <a:cubicBezTo>
                  <a:pt x="21562" y="8281"/>
                  <a:pt x="21656" y="8250"/>
                  <a:pt x="21750" y="8187"/>
                </a:cubicBezTo>
                <a:cubicBezTo>
                  <a:pt x="21750" y="8187"/>
                  <a:pt x="21750" y="8156"/>
                  <a:pt x="21750" y="8156"/>
                </a:cubicBezTo>
                <a:cubicBezTo>
                  <a:pt x="21750" y="8187"/>
                  <a:pt x="21750" y="8187"/>
                  <a:pt x="21750" y="8187"/>
                </a:cubicBezTo>
                <a:cubicBezTo>
                  <a:pt x="21656" y="8250"/>
                  <a:pt x="21562" y="8281"/>
                  <a:pt x="21437" y="8312"/>
                </a:cubicBezTo>
                <a:cubicBezTo>
                  <a:pt x="21406" y="8312"/>
                  <a:pt x="21375" y="8343"/>
                  <a:pt x="21344" y="8343"/>
                </a:cubicBezTo>
                <a:close/>
                <a:moveTo>
                  <a:pt x="21469" y="8750"/>
                </a:moveTo>
                <a:cubicBezTo>
                  <a:pt x="21469" y="8750"/>
                  <a:pt x="21469" y="8750"/>
                  <a:pt x="21469" y="8750"/>
                </a:cubicBezTo>
                <a:cubicBezTo>
                  <a:pt x="21469" y="8718"/>
                  <a:pt x="21469" y="8718"/>
                  <a:pt x="21500" y="8718"/>
                </a:cubicBezTo>
                <a:cubicBezTo>
                  <a:pt x="21469" y="8718"/>
                  <a:pt x="21469" y="8718"/>
                  <a:pt x="21469" y="8750"/>
                </a:cubicBezTo>
                <a:close/>
                <a:moveTo>
                  <a:pt x="22406" y="8375"/>
                </a:moveTo>
                <a:cubicBezTo>
                  <a:pt x="22406" y="8375"/>
                  <a:pt x="22406" y="8375"/>
                  <a:pt x="22406" y="8406"/>
                </a:cubicBezTo>
                <a:cubicBezTo>
                  <a:pt x="22406" y="8375"/>
                  <a:pt x="22406" y="8375"/>
                  <a:pt x="22406" y="8375"/>
                </a:cubicBezTo>
                <a:cubicBezTo>
                  <a:pt x="22437" y="8375"/>
                  <a:pt x="22437" y="8375"/>
                  <a:pt x="22437" y="8343"/>
                </a:cubicBezTo>
                <a:cubicBezTo>
                  <a:pt x="22437" y="8375"/>
                  <a:pt x="22437" y="8375"/>
                  <a:pt x="22406" y="8375"/>
                </a:cubicBezTo>
                <a:close/>
                <a:moveTo>
                  <a:pt x="22531" y="8593"/>
                </a:moveTo>
                <a:cubicBezTo>
                  <a:pt x="22562" y="8562"/>
                  <a:pt x="22625" y="8593"/>
                  <a:pt x="22656" y="8593"/>
                </a:cubicBezTo>
                <a:cubicBezTo>
                  <a:pt x="22625" y="8625"/>
                  <a:pt x="22594" y="8593"/>
                  <a:pt x="22531" y="8593"/>
                </a:cubicBezTo>
                <a:close/>
                <a:moveTo>
                  <a:pt x="22562" y="8500"/>
                </a:moveTo>
                <a:cubicBezTo>
                  <a:pt x="22562" y="8500"/>
                  <a:pt x="22562" y="8468"/>
                  <a:pt x="22562" y="8468"/>
                </a:cubicBezTo>
                <a:cubicBezTo>
                  <a:pt x="22562" y="8468"/>
                  <a:pt x="22562" y="8468"/>
                  <a:pt x="22562" y="8468"/>
                </a:cubicBezTo>
                <a:cubicBezTo>
                  <a:pt x="22562" y="8468"/>
                  <a:pt x="22562" y="8500"/>
                  <a:pt x="22562" y="8500"/>
                </a:cubicBezTo>
                <a:close/>
                <a:moveTo>
                  <a:pt x="22625" y="8343"/>
                </a:moveTo>
                <a:cubicBezTo>
                  <a:pt x="22594" y="8375"/>
                  <a:pt x="22594" y="8375"/>
                  <a:pt x="22594" y="8375"/>
                </a:cubicBezTo>
                <a:cubicBezTo>
                  <a:pt x="22594" y="8375"/>
                  <a:pt x="22594" y="8375"/>
                  <a:pt x="22625" y="8343"/>
                </a:cubicBezTo>
                <a:cubicBezTo>
                  <a:pt x="22625" y="8343"/>
                  <a:pt x="22625" y="8343"/>
                  <a:pt x="22656" y="8343"/>
                </a:cubicBezTo>
                <a:cubicBezTo>
                  <a:pt x="22625" y="8343"/>
                  <a:pt x="22625" y="8343"/>
                  <a:pt x="22625" y="8343"/>
                </a:cubicBezTo>
                <a:close/>
                <a:moveTo>
                  <a:pt x="22656" y="8593"/>
                </a:moveTo>
                <a:cubicBezTo>
                  <a:pt x="22719" y="8531"/>
                  <a:pt x="22781" y="8500"/>
                  <a:pt x="22844" y="8531"/>
                </a:cubicBezTo>
                <a:cubicBezTo>
                  <a:pt x="22781" y="8531"/>
                  <a:pt x="22719" y="8593"/>
                  <a:pt x="22656" y="8593"/>
                </a:cubicBezTo>
                <a:close/>
                <a:moveTo>
                  <a:pt x="22687" y="8093"/>
                </a:moveTo>
                <a:cubicBezTo>
                  <a:pt x="22812" y="8062"/>
                  <a:pt x="22937" y="8000"/>
                  <a:pt x="23062" y="7968"/>
                </a:cubicBezTo>
                <a:cubicBezTo>
                  <a:pt x="23062" y="7968"/>
                  <a:pt x="23062" y="7937"/>
                  <a:pt x="23062" y="7937"/>
                </a:cubicBezTo>
                <a:cubicBezTo>
                  <a:pt x="23062" y="7937"/>
                  <a:pt x="23062" y="7968"/>
                  <a:pt x="23062" y="7968"/>
                </a:cubicBezTo>
                <a:cubicBezTo>
                  <a:pt x="22937" y="8000"/>
                  <a:pt x="22812" y="8062"/>
                  <a:pt x="22687" y="8093"/>
                </a:cubicBezTo>
                <a:close/>
                <a:moveTo>
                  <a:pt x="22750" y="8250"/>
                </a:moveTo>
                <a:cubicBezTo>
                  <a:pt x="22750" y="8250"/>
                  <a:pt x="22750" y="8250"/>
                  <a:pt x="22719" y="8250"/>
                </a:cubicBezTo>
                <a:cubicBezTo>
                  <a:pt x="22719" y="8250"/>
                  <a:pt x="22719" y="8250"/>
                  <a:pt x="22719" y="8250"/>
                </a:cubicBezTo>
                <a:cubicBezTo>
                  <a:pt x="22750" y="8250"/>
                  <a:pt x="22750" y="8250"/>
                  <a:pt x="22750" y="8250"/>
                </a:cubicBezTo>
                <a:close/>
                <a:moveTo>
                  <a:pt x="22906" y="8468"/>
                </a:moveTo>
                <a:cubicBezTo>
                  <a:pt x="22906" y="8468"/>
                  <a:pt x="22906" y="8468"/>
                  <a:pt x="22906" y="8468"/>
                </a:cubicBezTo>
                <a:cubicBezTo>
                  <a:pt x="22906" y="8468"/>
                  <a:pt x="22906" y="8468"/>
                  <a:pt x="22906" y="8468"/>
                </a:cubicBezTo>
                <a:close/>
                <a:moveTo>
                  <a:pt x="22906" y="8468"/>
                </a:moveTo>
                <a:cubicBezTo>
                  <a:pt x="23000" y="8437"/>
                  <a:pt x="23094" y="8375"/>
                  <a:pt x="23219" y="8375"/>
                </a:cubicBezTo>
                <a:cubicBezTo>
                  <a:pt x="23125" y="8406"/>
                  <a:pt x="23031" y="8468"/>
                  <a:pt x="22906" y="8468"/>
                </a:cubicBezTo>
                <a:close/>
                <a:moveTo>
                  <a:pt x="22906" y="8343"/>
                </a:moveTo>
                <a:cubicBezTo>
                  <a:pt x="23156" y="8250"/>
                  <a:pt x="23375" y="8156"/>
                  <a:pt x="23625" y="8062"/>
                </a:cubicBezTo>
                <a:cubicBezTo>
                  <a:pt x="23625" y="8062"/>
                  <a:pt x="23625" y="8062"/>
                  <a:pt x="23625" y="8062"/>
                </a:cubicBezTo>
                <a:cubicBezTo>
                  <a:pt x="23375" y="8156"/>
                  <a:pt x="23156" y="8250"/>
                  <a:pt x="22906" y="8343"/>
                </a:cubicBezTo>
                <a:close/>
                <a:moveTo>
                  <a:pt x="23094" y="8093"/>
                </a:moveTo>
                <a:cubicBezTo>
                  <a:pt x="23094" y="8093"/>
                  <a:pt x="23125" y="8062"/>
                  <a:pt x="23156" y="8062"/>
                </a:cubicBezTo>
                <a:cubicBezTo>
                  <a:pt x="23125" y="8062"/>
                  <a:pt x="23094" y="8093"/>
                  <a:pt x="23094" y="8093"/>
                </a:cubicBezTo>
                <a:close/>
                <a:moveTo>
                  <a:pt x="23156" y="8031"/>
                </a:moveTo>
                <a:cubicBezTo>
                  <a:pt x="23187" y="8031"/>
                  <a:pt x="23187" y="8031"/>
                  <a:pt x="23219" y="8031"/>
                </a:cubicBezTo>
                <a:cubicBezTo>
                  <a:pt x="23187" y="8062"/>
                  <a:pt x="23187" y="8062"/>
                  <a:pt x="23156" y="8062"/>
                </a:cubicBezTo>
                <a:cubicBezTo>
                  <a:pt x="23187" y="8062"/>
                  <a:pt x="23187" y="8062"/>
                  <a:pt x="23219" y="8031"/>
                </a:cubicBezTo>
                <a:cubicBezTo>
                  <a:pt x="23187" y="8031"/>
                  <a:pt x="23187" y="8031"/>
                  <a:pt x="23156" y="8031"/>
                </a:cubicBezTo>
                <a:close/>
                <a:moveTo>
                  <a:pt x="23656" y="8156"/>
                </a:moveTo>
                <a:cubicBezTo>
                  <a:pt x="23625" y="8156"/>
                  <a:pt x="23625" y="8156"/>
                  <a:pt x="23594" y="8156"/>
                </a:cubicBezTo>
                <a:cubicBezTo>
                  <a:pt x="23594" y="8156"/>
                  <a:pt x="23594" y="8156"/>
                  <a:pt x="23594" y="8156"/>
                </a:cubicBezTo>
                <a:cubicBezTo>
                  <a:pt x="23625" y="8156"/>
                  <a:pt x="23625" y="8156"/>
                  <a:pt x="23656" y="8156"/>
                </a:cubicBezTo>
                <a:close/>
                <a:moveTo>
                  <a:pt x="23500" y="8250"/>
                </a:moveTo>
                <a:cubicBezTo>
                  <a:pt x="23500" y="8250"/>
                  <a:pt x="23500" y="8250"/>
                  <a:pt x="23500" y="8250"/>
                </a:cubicBezTo>
                <a:cubicBezTo>
                  <a:pt x="23500" y="8250"/>
                  <a:pt x="23500" y="8218"/>
                  <a:pt x="23500" y="8218"/>
                </a:cubicBezTo>
                <a:cubicBezTo>
                  <a:pt x="23500" y="8218"/>
                  <a:pt x="23500" y="8250"/>
                  <a:pt x="23500" y="8250"/>
                </a:cubicBezTo>
                <a:close/>
                <a:moveTo>
                  <a:pt x="23594" y="8250"/>
                </a:moveTo>
                <a:cubicBezTo>
                  <a:pt x="23594" y="8250"/>
                  <a:pt x="23562" y="8250"/>
                  <a:pt x="23562" y="8250"/>
                </a:cubicBezTo>
                <a:cubicBezTo>
                  <a:pt x="23562" y="8250"/>
                  <a:pt x="23594" y="8250"/>
                  <a:pt x="23594" y="8250"/>
                </a:cubicBezTo>
                <a:cubicBezTo>
                  <a:pt x="23594" y="8250"/>
                  <a:pt x="23594" y="8250"/>
                  <a:pt x="23594" y="8250"/>
                </a:cubicBezTo>
                <a:close/>
                <a:moveTo>
                  <a:pt x="23844" y="8093"/>
                </a:moveTo>
                <a:cubicBezTo>
                  <a:pt x="23812" y="8187"/>
                  <a:pt x="23719" y="8156"/>
                  <a:pt x="23656" y="8187"/>
                </a:cubicBezTo>
                <a:cubicBezTo>
                  <a:pt x="23656" y="8250"/>
                  <a:pt x="23594" y="8218"/>
                  <a:pt x="23562" y="8218"/>
                </a:cubicBezTo>
                <a:cubicBezTo>
                  <a:pt x="23594" y="8156"/>
                  <a:pt x="23625" y="8187"/>
                  <a:pt x="23656" y="8187"/>
                </a:cubicBezTo>
                <a:cubicBezTo>
                  <a:pt x="23656" y="8187"/>
                  <a:pt x="23656" y="8187"/>
                  <a:pt x="23656" y="8187"/>
                </a:cubicBezTo>
                <a:cubicBezTo>
                  <a:pt x="23719" y="8156"/>
                  <a:pt x="23781" y="8093"/>
                  <a:pt x="23844" y="8093"/>
                </a:cubicBezTo>
                <a:cubicBezTo>
                  <a:pt x="23844" y="8093"/>
                  <a:pt x="23844" y="8093"/>
                  <a:pt x="23844" y="8093"/>
                </a:cubicBezTo>
                <a:cubicBezTo>
                  <a:pt x="23937" y="8062"/>
                  <a:pt x="24031" y="8000"/>
                  <a:pt x="24125" y="8000"/>
                </a:cubicBezTo>
                <a:cubicBezTo>
                  <a:pt x="24031" y="8062"/>
                  <a:pt x="23969" y="8093"/>
                  <a:pt x="23844" y="8093"/>
                </a:cubicBezTo>
                <a:close/>
                <a:moveTo>
                  <a:pt x="23687" y="8062"/>
                </a:moveTo>
                <a:cubicBezTo>
                  <a:pt x="23687" y="8062"/>
                  <a:pt x="23687" y="8031"/>
                  <a:pt x="23687" y="8031"/>
                </a:cubicBezTo>
                <a:cubicBezTo>
                  <a:pt x="23687" y="8031"/>
                  <a:pt x="23687" y="8031"/>
                  <a:pt x="23687" y="8031"/>
                </a:cubicBezTo>
                <a:cubicBezTo>
                  <a:pt x="23687" y="8031"/>
                  <a:pt x="23687" y="8062"/>
                  <a:pt x="23687" y="8062"/>
                </a:cubicBezTo>
                <a:close/>
                <a:moveTo>
                  <a:pt x="23812" y="8093"/>
                </a:moveTo>
                <a:cubicBezTo>
                  <a:pt x="23812" y="8093"/>
                  <a:pt x="23812" y="8093"/>
                  <a:pt x="23812" y="8093"/>
                </a:cubicBezTo>
                <a:cubicBezTo>
                  <a:pt x="23844" y="8062"/>
                  <a:pt x="23875" y="8031"/>
                  <a:pt x="23937" y="8031"/>
                </a:cubicBezTo>
                <a:cubicBezTo>
                  <a:pt x="23875" y="8031"/>
                  <a:pt x="23844" y="8062"/>
                  <a:pt x="23812" y="8093"/>
                </a:cubicBezTo>
                <a:close/>
                <a:moveTo>
                  <a:pt x="24125" y="7750"/>
                </a:moveTo>
                <a:cubicBezTo>
                  <a:pt x="24250" y="7687"/>
                  <a:pt x="24375" y="7625"/>
                  <a:pt x="24500" y="7593"/>
                </a:cubicBezTo>
                <a:cubicBezTo>
                  <a:pt x="24500" y="7593"/>
                  <a:pt x="24500" y="7593"/>
                  <a:pt x="24500" y="7593"/>
                </a:cubicBezTo>
                <a:cubicBezTo>
                  <a:pt x="24719" y="7500"/>
                  <a:pt x="24906" y="7406"/>
                  <a:pt x="25125" y="7343"/>
                </a:cubicBezTo>
                <a:cubicBezTo>
                  <a:pt x="25062" y="7437"/>
                  <a:pt x="24937" y="7437"/>
                  <a:pt x="24844" y="7468"/>
                </a:cubicBezTo>
                <a:cubicBezTo>
                  <a:pt x="24750" y="7531"/>
                  <a:pt x="24625" y="7625"/>
                  <a:pt x="24500" y="7593"/>
                </a:cubicBezTo>
                <a:cubicBezTo>
                  <a:pt x="24406" y="7687"/>
                  <a:pt x="24250" y="7718"/>
                  <a:pt x="24125" y="7750"/>
                </a:cubicBezTo>
                <a:close/>
                <a:moveTo>
                  <a:pt x="24437" y="7593"/>
                </a:moveTo>
                <a:cubicBezTo>
                  <a:pt x="24437" y="7593"/>
                  <a:pt x="24437" y="7593"/>
                  <a:pt x="24437" y="7593"/>
                </a:cubicBezTo>
                <a:cubicBezTo>
                  <a:pt x="24469" y="7562"/>
                  <a:pt x="24500" y="7562"/>
                  <a:pt x="24531" y="7562"/>
                </a:cubicBezTo>
                <a:cubicBezTo>
                  <a:pt x="24500" y="7562"/>
                  <a:pt x="24469" y="7562"/>
                  <a:pt x="24437" y="7593"/>
                </a:cubicBezTo>
                <a:close/>
                <a:moveTo>
                  <a:pt x="24906" y="7625"/>
                </a:moveTo>
                <a:cubicBezTo>
                  <a:pt x="24875" y="7656"/>
                  <a:pt x="24844" y="7687"/>
                  <a:pt x="24812" y="7718"/>
                </a:cubicBezTo>
                <a:cubicBezTo>
                  <a:pt x="24812" y="7718"/>
                  <a:pt x="24812" y="7718"/>
                  <a:pt x="24812" y="7718"/>
                </a:cubicBezTo>
                <a:cubicBezTo>
                  <a:pt x="24844" y="7687"/>
                  <a:pt x="24875" y="7656"/>
                  <a:pt x="24906" y="7625"/>
                </a:cubicBezTo>
                <a:close/>
                <a:moveTo>
                  <a:pt x="24656" y="7750"/>
                </a:moveTo>
                <a:cubicBezTo>
                  <a:pt x="24625" y="7750"/>
                  <a:pt x="24625" y="7750"/>
                  <a:pt x="24625" y="7781"/>
                </a:cubicBezTo>
                <a:cubicBezTo>
                  <a:pt x="24625" y="7781"/>
                  <a:pt x="24625" y="7781"/>
                  <a:pt x="24625" y="7781"/>
                </a:cubicBezTo>
                <a:cubicBezTo>
                  <a:pt x="24625" y="7750"/>
                  <a:pt x="24625" y="7750"/>
                  <a:pt x="24656" y="7750"/>
                </a:cubicBezTo>
                <a:close/>
                <a:moveTo>
                  <a:pt x="24187" y="7968"/>
                </a:moveTo>
                <a:cubicBezTo>
                  <a:pt x="24187" y="7968"/>
                  <a:pt x="24219" y="7968"/>
                  <a:pt x="24219" y="7968"/>
                </a:cubicBezTo>
                <a:cubicBezTo>
                  <a:pt x="24219" y="7968"/>
                  <a:pt x="24187" y="7968"/>
                  <a:pt x="24187" y="7968"/>
                </a:cubicBezTo>
                <a:close/>
                <a:moveTo>
                  <a:pt x="24437" y="7937"/>
                </a:moveTo>
                <a:cubicBezTo>
                  <a:pt x="24406" y="7968"/>
                  <a:pt x="24375" y="8000"/>
                  <a:pt x="24344" y="8000"/>
                </a:cubicBezTo>
                <a:cubicBezTo>
                  <a:pt x="24375" y="8000"/>
                  <a:pt x="24406" y="7968"/>
                  <a:pt x="24437" y="7937"/>
                </a:cubicBezTo>
                <a:cubicBezTo>
                  <a:pt x="24594" y="7875"/>
                  <a:pt x="24750" y="7843"/>
                  <a:pt x="24906" y="7781"/>
                </a:cubicBezTo>
                <a:cubicBezTo>
                  <a:pt x="24750" y="7843"/>
                  <a:pt x="24594" y="7875"/>
                  <a:pt x="24437" y="7937"/>
                </a:cubicBezTo>
                <a:close/>
                <a:moveTo>
                  <a:pt x="24844" y="7718"/>
                </a:moveTo>
                <a:cubicBezTo>
                  <a:pt x="24844" y="7718"/>
                  <a:pt x="24844" y="7718"/>
                  <a:pt x="24844" y="7718"/>
                </a:cubicBezTo>
                <a:cubicBezTo>
                  <a:pt x="24781" y="7750"/>
                  <a:pt x="24750" y="7812"/>
                  <a:pt x="24656" y="7781"/>
                </a:cubicBezTo>
                <a:cubicBezTo>
                  <a:pt x="24656" y="7781"/>
                  <a:pt x="24656" y="7781"/>
                  <a:pt x="24656" y="7781"/>
                </a:cubicBezTo>
                <a:cubicBezTo>
                  <a:pt x="24531" y="7875"/>
                  <a:pt x="24375" y="7937"/>
                  <a:pt x="24219" y="7968"/>
                </a:cubicBezTo>
                <a:cubicBezTo>
                  <a:pt x="24344" y="7906"/>
                  <a:pt x="24500" y="7812"/>
                  <a:pt x="24656" y="7781"/>
                </a:cubicBezTo>
                <a:cubicBezTo>
                  <a:pt x="24719" y="7718"/>
                  <a:pt x="24781" y="7718"/>
                  <a:pt x="24844" y="7718"/>
                </a:cubicBezTo>
                <a:cubicBezTo>
                  <a:pt x="24937" y="7656"/>
                  <a:pt x="25031" y="7593"/>
                  <a:pt x="25125" y="7593"/>
                </a:cubicBezTo>
                <a:cubicBezTo>
                  <a:pt x="25062" y="7656"/>
                  <a:pt x="24937" y="7687"/>
                  <a:pt x="24844" y="7718"/>
                </a:cubicBezTo>
                <a:close/>
                <a:moveTo>
                  <a:pt x="25156" y="7562"/>
                </a:moveTo>
                <a:cubicBezTo>
                  <a:pt x="25125" y="7593"/>
                  <a:pt x="25125" y="7593"/>
                  <a:pt x="25094" y="7593"/>
                </a:cubicBezTo>
                <a:cubicBezTo>
                  <a:pt x="25125" y="7593"/>
                  <a:pt x="25125" y="7593"/>
                  <a:pt x="25156" y="7562"/>
                </a:cubicBezTo>
                <a:cubicBezTo>
                  <a:pt x="25156" y="7562"/>
                  <a:pt x="25156" y="7562"/>
                  <a:pt x="25156" y="7562"/>
                </a:cubicBezTo>
                <a:close/>
                <a:moveTo>
                  <a:pt x="25187" y="7500"/>
                </a:moveTo>
                <a:cubicBezTo>
                  <a:pt x="25250" y="7468"/>
                  <a:pt x="25312" y="7468"/>
                  <a:pt x="25375" y="7468"/>
                </a:cubicBezTo>
                <a:cubicBezTo>
                  <a:pt x="25312" y="7468"/>
                  <a:pt x="25250" y="7468"/>
                  <a:pt x="25187" y="7500"/>
                </a:cubicBezTo>
                <a:close/>
                <a:moveTo>
                  <a:pt x="25937" y="7031"/>
                </a:moveTo>
                <a:cubicBezTo>
                  <a:pt x="25937" y="7031"/>
                  <a:pt x="25937" y="7031"/>
                  <a:pt x="25937" y="7031"/>
                </a:cubicBezTo>
                <a:cubicBezTo>
                  <a:pt x="26156" y="6906"/>
                  <a:pt x="26406" y="6843"/>
                  <a:pt x="26625" y="6718"/>
                </a:cubicBezTo>
                <a:cubicBezTo>
                  <a:pt x="26750" y="6687"/>
                  <a:pt x="26875" y="6625"/>
                  <a:pt x="27000" y="6593"/>
                </a:cubicBezTo>
                <a:cubicBezTo>
                  <a:pt x="27031" y="6562"/>
                  <a:pt x="27062" y="6562"/>
                  <a:pt x="27094" y="6562"/>
                </a:cubicBezTo>
                <a:cubicBezTo>
                  <a:pt x="27031" y="6625"/>
                  <a:pt x="26969" y="6625"/>
                  <a:pt x="26937" y="6656"/>
                </a:cubicBezTo>
                <a:cubicBezTo>
                  <a:pt x="26812" y="6687"/>
                  <a:pt x="26687" y="6750"/>
                  <a:pt x="26562" y="6812"/>
                </a:cubicBezTo>
                <a:cubicBezTo>
                  <a:pt x="26594" y="6812"/>
                  <a:pt x="26625" y="6812"/>
                  <a:pt x="26687" y="6812"/>
                </a:cubicBezTo>
                <a:cubicBezTo>
                  <a:pt x="26750" y="6812"/>
                  <a:pt x="26812" y="6812"/>
                  <a:pt x="26875" y="6750"/>
                </a:cubicBezTo>
                <a:cubicBezTo>
                  <a:pt x="26781" y="6718"/>
                  <a:pt x="26750" y="6781"/>
                  <a:pt x="26687" y="6812"/>
                </a:cubicBezTo>
                <a:cubicBezTo>
                  <a:pt x="26656" y="6875"/>
                  <a:pt x="26562" y="6906"/>
                  <a:pt x="26531" y="6875"/>
                </a:cubicBezTo>
                <a:cubicBezTo>
                  <a:pt x="26469" y="6812"/>
                  <a:pt x="26437" y="6843"/>
                  <a:pt x="26406" y="6875"/>
                </a:cubicBezTo>
                <a:cubicBezTo>
                  <a:pt x="26281" y="6906"/>
                  <a:pt x="26156" y="6968"/>
                  <a:pt x="26031" y="7000"/>
                </a:cubicBezTo>
                <a:cubicBezTo>
                  <a:pt x="26000" y="7031"/>
                  <a:pt x="25969" y="7031"/>
                  <a:pt x="25937" y="7031"/>
                </a:cubicBezTo>
                <a:cubicBezTo>
                  <a:pt x="25906" y="7125"/>
                  <a:pt x="25844" y="7093"/>
                  <a:pt x="25781" y="7125"/>
                </a:cubicBezTo>
                <a:cubicBezTo>
                  <a:pt x="25594" y="7187"/>
                  <a:pt x="25437" y="7281"/>
                  <a:pt x="25219" y="7312"/>
                </a:cubicBezTo>
                <a:cubicBezTo>
                  <a:pt x="25437" y="7187"/>
                  <a:pt x="25687" y="7093"/>
                  <a:pt x="25937" y="7031"/>
                </a:cubicBezTo>
                <a:close/>
                <a:moveTo>
                  <a:pt x="26937" y="6656"/>
                </a:moveTo>
                <a:cubicBezTo>
                  <a:pt x="26969" y="6656"/>
                  <a:pt x="27000" y="6656"/>
                  <a:pt x="27031" y="6656"/>
                </a:cubicBezTo>
                <a:cubicBezTo>
                  <a:pt x="27062" y="6625"/>
                  <a:pt x="27125" y="6656"/>
                  <a:pt x="27156" y="6593"/>
                </a:cubicBezTo>
                <a:cubicBezTo>
                  <a:pt x="27125" y="6687"/>
                  <a:pt x="27062" y="6656"/>
                  <a:pt x="27031" y="6656"/>
                </a:cubicBezTo>
                <a:cubicBezTo>
                  <a:pt x="27031" y="6656"/>
                  <a:pt x="27031" y="6656"/>
                  <a:pt x="27031" y="6656"/>
                </a:cubicBezTo>
                <a:cubicBezTo>
                  <a:pt x="27000" y="6750"/>
                  <a:pt x="26937" y="6718"/>
                  <a:pt x="26875" y="6750"/>
                </a:cubicBezTo>
                <a:cubicBezTo>
                  <a:pt x="26875" y="6687"/>
                  <a:pt x="26969" y="6718"/>
                  <a:pt x="26937" y="6656"/>
                </a:cubicBezTo>
                <a:close/>
                <a:moveTo>
                  <a:pt x="25500" y="7000"/>
                </a:moveTo>
                <a:cubicBezTo>
                  <a:pt x="25531" y="7000"/>
                  <a:pt x="25531" y="6968"/>
                  <a:pt x="25531" y="6968"/>
                </a:cubicBezTo>
                <a:cubicBezTo>
                  <a:pt x="25562" y="6968"/>
                  <a:pt x="25562" y="6968"/>
                  <a:pt x="25562" y="6937"/>
                </a:cubicBezTo>
                <a:cubicBezTo>
                  <a:pt x="25562" y="6937"/>
                  <a:pt x="25562" y="6937"/>
                  <a:pt x="25562" y="6937"/>
                </a:cubicBezTo>
                <a:cubicBezTo>
                  <a:pt x="25562" y="6968"/>
                  <a:pt x="25562" y="6968"/>
                  <a:pt x="25531" y="6968"/>
                </a:cubicBezTo>
                <a:cubicBezTo>
                  <a:pt x="25531" y="6968"/>
                  <a:pt x="25531" y="7000"/>
                  <a:pt x="25500" y="7000"/>
                </a:cubicBezTo>
                <a:cubicBezTo>
                  <a:pt x="25031" y="7187"/>
                  <a:pt x="24562" y="7375"/>
                  <a:pt x="24094" y="7562"/>
                </a:cubicBezTo>
                <a:cubicBezTo>
                  <a:pt x="24562" y="7375"/>
                  <a:pt x="25031" y="7187"/>
                  <a:pt x="25500" y="7000"/>
                </a:cubicBezTo>
                <a:close/>
                <a:moveTo>
                  <a:pt x="24156" y="7687"/>
                </a:moveTo>
                <a:cubicBezTo>
                  <a:pt x="24125" y="7687"/>
                  <a:pt x="24094" y="7718"/>
                  <a:pt x="24094" y="7750"/>
                </a:cubicBezTo>
                <a:cubicBezTo>
                  <a:pt x="24094" y="7750"/>
                  <a:pt x="24094" y="7750"/>
                  <a:pt x="24094" y="7750"/>
                </a:cubicBezTo>
                <a:cubicBezTo>
                  <a:pt x="24094" y="7718"/>
                  <a:pt x="24125" y="7687"/>
                  <a:pt x="24156" y="7687"/>
                </a:cubicBezTo>
                <a:close/>
                <a:moveTo>
                  <a:pt x="24062" y="7750"/>
                </a:moveTo>
                <a:cubicBezTo>
                  <a:pt x="24031" y="7750"/>
                  <a:pt x="24000" y="7781"/>
                  <a:pt x="24000" y="7781"/>
                </a:cubicBezTo>
                <a:cubicBezTo>
                  <a:pt x="24000" y="7781"/>
                  <a:pt x="24031" y="7750"/>
                  <a:pt x="24062" y="7750"/>
                </a:cubicBezTo>
                <a:close/>
                <a:moveTo>
                  <a:pt x="23719" y="7875"/>
                </a:moveTo>
                <a:cubicBezTo>
                  <a:pt x="23719" y="7875"/>
                  <a:pt x="23750" y="7875"/>
                  <a:pt x="23750" y="7875"/>
                </a:cubicBezTo>
                <a:cubicBezTo>
                  <a:pt x="23750" y="7875"/>
                  <a:pt x="23719" y="7875"/>
                  <a:pt x="23719" y="7875"/>
                </a:cubicBezTo>
                <a:close/>
                <a:moveTo>
                  <a:pt x="23781" y="7875"/>
                </a:moveTo>
                <a:cubicBezTo>
                  <a:pt x="23781" y="7875"/>
                  <a:pt x="23781" y="7875"/>
                  <a:pt x="23781" y="7875"/>
                </a:cubicBezTo>
                <a:cubicBezTo>
                  <a:pt x="23844" y="7843"/>
                  <a:pt x="23906" y="7812"/>
                  <a:pt x="23969" y="7812"/>
                </a:cubicBezTo>
                <a:cubicBezTo>
                  <a:pt x="23906" y="7875"/>
                  <a:pt x="23844" y="7875"/>
                  <a:pt x="23781" y="7875"/>
                </a:cubicBezTo>
                <a:cubicBezTo>
                  <a:pt x="23781" y="7968"/>
                  <a:pt x="23687" y="7937"/>
                  <a:pt x="23656" y="7968"/>
                </a:cubicBezTo>
                <a:cubicBezTo>
                  <a:pt x="23625" y="7968"/>
                  <a:pt x="23625" y="7968"/>
                  <a:pt x="23594" y="7968"/>
                </a:cubicBezTo>
                <a:cubicBezTo>
                  <a:pt x="23594" y="8031"/>
                  <a:pt x="23531" y="8000"/>
                  <a:pt x="23500" y="8000"/>
                </a:cubicBezTo>
                <a:cubicBezTo>
                  <a:pt x="23500" y="7968"/>
                  <a:pt x="23562" y="7968"/>
                  <a:pt x="23594" y="7968"/>
                </a:cubicBezTo>
                <a:cubicBezTo>
                  <a:pt x="23594" y="7968"/>
                  <a:pt x="23594" y="7968"/>
                  <a:pt x="23594" y="7968"/>
                </a:cubicBezTo>
                <a:cubicBezTo>
                  <a:pt x="23656" y="7937"/>
                  <a:pt x="23719" y="7875"/>
                  <a:pt x="23781" y="7875"/>
                </a:cubicBezTo>
                <a:close/>
                <a:moveTo>
                  <a:pt x="23562" y="7937"/>
                </a:moveTo>
                <a:cubicBezTo>
                  <a:pt x="23562" y="7937"/>
                  <a:pt x="23531" y="7937"/>
                  <a:pt x="23531" y="7937"/>
                </a:cubicBezTo>
                <a:cubicBezTo>
                  <a:pt x="23531" y="7937"/>
                  <a:pt x="23531" y="7937"/>
                  <a:pt x="23531" y="7937"/>
                </a:cubicBezTo>
                <a:cubicBezTo>
                  <a:pt x="23531" y="7937"/>
                  <a:pt x="23562" y="7937"/>
                  <a:pt x="23562" y="7937"/>
                </a:cubicBezTo>
                <a:close/>
                <a:moveTo>
                  <a:pt x="23437" y="8000"/>
                </a:moveTo>
                <a:cubicBezTo>
                  <a:pt x="23437" y="7968"/>
                  <a:pt x="23469" y="7968"/>
                  <a:pt x="23500" y="7968"/>
                </a:cubicBezTo>
                <a:cubicBezTo>
                  <a:pt x="23469" y="7968"/>
                  <a:pt x="23437" y="7968"/>
                  <a:pt x="23437" y="8000"/>
                </a:cubicBezTo>
                <a:cubicBezTo>
                  <a:pt x="23375" y="8031"/>
                  <a:pt x="23312" y="8062"/>
                  <a:pt x="23281" y="8093"/>
                </a:cubicBezTo>
                <a:cubicBezTo>
                  <a:pt x="23312" y="8062"/>
                  <a:pt x="23375" y="8031"/>
                  <a:pt x="23437" y="8000"/>
                </a:cubicBezTo>
                <a:close/>
                <a:moveTo>
                  <a:pt x="23219" y="7718"/>
                </a:moveTo>
                <a:cubicBezTo>
                  <a:pt x="23219" y="7718"/>
                  <a:pt x="23219" y="7718"/>
                  <a:pt x="23250" y="7718"/>
                </a:cubicBezTo>
                <a:cubicBezTo>
                  <a:pt x="23250" y="7718"/>
                  <a:pt x="23250" y="7718"/>
                  <a:pt x="23250" y="7718"/>
                </a:cubicBezTo>
                <a:cubicBezTo>
                  <a:pt x="23250" y="7718"/>
                  <a:pt x="23281" y="7718"/>
                  <a:pt x="23281" y="7718"/>
                </a:cubicBezTo>
                <a:cubicBezTo>
                  <a:pt x="23281" y="7718"/>
                  <a:pt x="23250" y="7718"/>
                  <a:pt x="23250" y="7718"/>
                </a:cubicBezTo>
                <a:cubicBezTo>
                  <a:pt x="23219" y="7718"/>
                  <a:pt x="23219" y="7718"/>
                  <a:pt x="23219" y="7718"/>
                </a:cubicBezTo>
                <a:cubicBezTo>
                  <a:pt x="23125" y="7781"/>
                  <a:pt x="23031" y="7812"/>
                  <a:pt x="22937" y="7843"/>
                </a:cubicBezTo>
                <a:cubicBezTo>
                  <a:pt x="22937" y="7843"/>
                  <a:pt x="22937" y="7843"/>
                  <a:pt x="22937" y="7843"/>
                </a:cubicBezTo>
                <a:cubicBezTo>
                  <a:pt x="22937" y="7843"/>
                  <a:pt x="22969" y="7843"/>
                  <a:pt x="22969" y="7843"/>
                </a:cubicBezTo>
                <a:cubicBezTo>
                  <a:pt x="22844" y="7906"/>
                  <a:pt x="22750" y="7937"/>
                  <a:pt x="22625" y="8000"/>
                </a:cubicBezTo>
                <a:cubicBezTo>
                  <a:pt x="22625" y="8000"/>
                  <a:pt x="22625" y="8000"/>
                  <a:pt x="22594" y="8000"/>
                </a:cubicBezTo>
                <a:cubicBezTo>
                  <a:pt x="22625" y="8031"/>
                  <a:pt x="22625" y="8031"/>
                  <a:pt x="22625" y="8031"/>
                </a:cubicBezTo>
                <a:cubicBezTo>
                  <a:pt x="22625" y="8031"/>
                  <a:pt x="22625" y="8031"/>
                  <a:pt x="22594" y="8000"/>
                </a:cubicBezTo>
                <a:cubicBezTo>
                  <a:pt x="22437" y="8062"/>
                  <a:pt x="22250" y="8125"/>
                  <a:pt x="22094" y="8187"/>
                </a:cubicBezTo>
                <a:cubicBezTo>
                  <a:pt x="21937" y="8250"/>
                  <a:pt x="21781" y="8343"/>
                  <a:pt x="21594" y="8343"/>
                </a:cubicBezTo>
                <a:cubicBezTo>
                  <a:pt x="21531" y="8375"/>
                  <a:pt x="21531" y="8468"/>
                  <a:pt x="21437" y="8437"/>
                </a:cubicBezTo>
                <a:cubicBezTo>
                  <a:pt x="21437" y="8375"/>
                  <a:pt x="21375" y="8406"/>
                  <a:pt x="21375" y="8375"/>
                </a:cubicBezTo>
                <a:cubicBezTo>
                  <a:pt x="21406" y="8375"/>
                  <a:pt x="21437" y="8343"/>
                  <a:pt x="21500" y="8312"/>
                </a:cubicBezTo>
                <a:cubicBezTo>
                  <a:pt x="21594" y="8312"/>
                  <a:pt x="21719" y="8250"/>
                  <a:pt x="21812" y="8187"/>
                </a:cubicBezTo>
                <a:cubicBezTo>
                  <a:pt x="21812" y="8187"/>
                  <a:pt x="21812" y="8187"/>
                  <a:pt x="21812" y="8187"/>
                </a:cubicBezTo>
                <a:cubicBezTo>
                  <a:pt x="21844" y="8187"/>
                  <a:pt x="21875" y="8187"/>
                  <a:pt x="21906" y="8156"/>
                </a:cubicBezTo>
                <a:cubicBezTo>
                  <a:pt x="21937" y="8156"/>
                  <a:pt x="22000" y="8156"/>
                  <a:pt x="22000" y="8093"/>
                </a:cubicBezTo>
                <a:cubicBezTo>
                  <a:pt x="22031" y="8093"/>
                  <a:pt x="22031" y="8093"/>
                  <a:pt x="22031" y="8093"/>
                </a:cubicBezTo>
                <a:cubicBezTo>
                  <a:pt x="22062" y="8093"/>
                  <a:pt x="22094" y="8093"/>
                  <a:pt x="22094" y="8062"/>
                </a:cubicBezTo>
                <a:cubicBezTo>
                  <a:pt x="22125" y="8093"/>
                  <a:pt x="22125" y="8093"/>
                  <a:pt x="22125" y="8093"/>
                </a:cubicBezTo>
                <a:cubicBezTo>
                  <a:pt x="22125" y="8062"/>
                  <a:pt x="22125" y="8062"/>
                  <a:pt x="22125" y="8062"/>
                </a:cubicBezTo>
                <a:cubicBezTo>
                  <a:pt x="22312" y="8000"/>
                  <a:pt x="22500" y="7937"/>
                  <a:pt x="22687" y="7843"/>
                </a:cubicBezTo>
                <a:cubicBezTo>
                  <a:pt x="22750" y="7843"/>
                  <a:pt x="22781" y="7812"/>
                  <a:pt x="22844" y="7812"/>
                </a:cubicBezTo>
                <a:cubicBezTo>
                  <a:pt x="22875" y="7812"/>
                  <a:pt x="22906" y="7781"/>
                  <a:pt x="22906" y="7750"/>
                </a:cubicBezTo>
                <a:cubicBezTo>
                  <a:pt x="22906" y="7781"/>
                  <a:pt x="22937" y="7812"/>
                  <a:pt x="22937" y="7843"/>
                </a:cubicBezTo>
                <a:cubicBezTo>
                  <a:pt x="23031" y="7812"/>
                  <a:pt x="23125" y="7781"/>
                  <a:pt x="23219" y="7718"/>
                </a:cubicBezTo>
                <a:close/>
                <a:moveTo>
                  <a:pt x="23156" y="7468"/>
                </a:moveTo>
                <a:cubicBezTo>
                  <a:pt x="23156" y="7468"/>
                  <a:pt x="23156" y="7468"/>
                  <a:pt x="23156" y="7468"/>
                </a:cubicBezTo>
                <a:cubicBezTo>
                  <a:pt x="23156" y="7500"/>
                  <a:pt x="23156" y="7531"/>
                  <a:pt x="23156" y="7531"/>
                </a:cubicBezTo>
                <a:cubicBezTo>
                  <a:pt x="23156" y="7531"/>
                  <a:pt x="23156" y="7500"/>
                  <a:pt x="23156" y="7468"/>
                </a:cubicBezTo>
                <a:close/>
                <a:moveTo>
                  <a:pt x="23406" y="7531"/>
                </a:moveTo>
                <a:cubicBezTo>
                  <a:pt x="23375" y="7562"/>
                  <a:pt x="23312" y="7593"/>
                  <a:pt x="23281" y="7593"/>
                </a:cubicBezTo>
                <a:cubicBezTo>
                  <a:pt x="23312" y="7593"/>
                  <a:pt x="23375" y="7562"/>
                  <a:pt x="23406" y="7531"/>
                </a:cubicBezTo>
                <a:cubicBezTo>
                  <a:pt x="23469" y="7531"/>
                  <a:pt x="23531" y="7531"/>
                  <a:pt x="23562" y="7468"/>
                </a:cubicBezTo>
                <a:cubicBezTo>
                  <a:pt x="23562" y="7468"/>
                  <a:pt x="23562" y="7468"/>
                  <a:pt x="23562" y="7468"/>
                </a:cubicBezTo>
                <a:cubicBezTo>
                  <a:pt x="23531" y="7531"/>
                  <a:pt x="23469" y="7531"/>
                  <a:pt x="23406" y="7531"/>
                </a:cubicBezTo>
                <a:close/>
                <a:moveTo>
                  <a:pt x="23562" y="7406"/>
                </a:moveTo>
                <a:cubicBezTo>
                  <a:pt x="23562" y="7406"/>
                  <a:pt x="23594" y="7406"/>
                  <a:pt x="23594" y="7375"/>
                </a:cubicBezTo>
                <a:cubicBezTo>
                  <a:pt x="23594" y="7406"/>
                  <a:pt x="23562" y="7406"/>
                  <a:pt x="23562" y="7406"/>
                </a:cubicBezTo>
                <a:close/>
                <a:moveTo>
                  <a:pt x="24094" y="6937"/>
                </a:moveTo>
                <a:cubicBezTo>
                  <a:pt x="24062" y="6968"/>
                  <a:pt x="24062" y="7000"/>
                  <a:pt x="24031" y="7000"/>
                </a:cubicBezTo>
                <a:cubicBezTo>
                  <a:pt x="24062" y="7000"/>
                  <a:pt x="24062" y="6968"/>
                  <a:pt x="24094" y="6937"/>
                </a:cubicBezTo>
                <a:close/>
                <a:moveTo>
                  <a:pt x="24031" y="6656"/>
                </a:moveTo>
                <a:cubicBezTo>
                  <a:pt x="24031" y="6656"/>
                  <a:pt x="24031" y="6656"/>
                  <a:pt x="24031" y="6656"/>
                </a:cubicBezTo>
                <a:cubicBezTo>
                  <a:pt x="24000" y="6687"/>
                  <a:pt x="23969" y="6687"/>
                  <a:pt x="23937" y="6718"/>
                </a:cubicBezTo>
                <a:cubicBezTo>
                  <a:pt x="23969" y="6687"/>
                  <a:pt x="24000" y="6687"/>
                  <a:pt x="24031" y="6656"/>
                </a:cubicBezTo>
                <a:close/>
                <a:moveTo>
                  <a:pt x="23750" y="7312"/>
                </a:moveTo>
                <a:cubicBezTo>
                  <a:pt x="23750" y="7312"/>
                  <a:pt x="23750" y="7312"/>
                  <a:pt x="23750" y="7312"/>
                </a:cubicBezTo>
                <a:cubicBezTo>
                  <a:pt x="23750" y="7312"/>
                  <a:pt x="23750" y="7312"/>
                  <a:pt x="23750" y="7312"/>
                </a:cubicBezTo>
                <a:close/>
                <a:moveTo>
                  <a:pt x="23937" y="7218"/>
                </a:moveTo>
                <a:cubicBezTo>
                  <a:pt x="23906" y="7281"/>
                  <a:pt x="23844" y="7281"/>
                  <a:pt x="23812" y="7281"/>
                </a:cubicBezTo>
                <a:cubicBezTo>
                  <a:pt x="23844" y="7281"/>
                  <a:pt x="23906" y="7281"/>
                  <a:pt x="23937" y="7218"/>
                </a:cubicBezTo>
                <a:cubicBezTo>
                  <a:pt x="23969" y="7218"/>
                  <a:pt x="24031" y="7156"/>
                  <a:pt x="24094" y="7156"/>
                </a:cubicBezTo>
                <a:cubicBezTo>
                  <a:pt x="24031" y="7156"/>
                  <a:pt x="23969" y="7218"/>
                  <a:pt x="23937" y="7218"/>
                </a:cubicBezTo>
                <a:close/>
                <a:moveTo>
                  <a:pt x="24281" y="7093"/>
                </a:moveTo>
                <a:cubicBezTo>
                  <a:pt x="24250" y="7156"/>
                  <a:pt x="24219" y="7156"/>
                  <a:pt x="24156" y="7156"/>
                </a:cubicBezTo>
                <a:cubicBezTo>
                  <a:pt x="24219" y="7156"/>
                  <a:pt x="24250" y="7156"/>
                  <a:pt x="24281" y="7093"/>
                </a:cubicBezTo>
                <a:cubicBezTo>
                  <a:pt x="24312" y="7062"/>
                  <a:pt x="24375" y="7031"/>
                  <a:pt x="24406" y="7031"/>
                </a:cubicBezTo>
                <a:cubicBezTo>
                  <a:pt x="24375" y="7031"/>
                  <a:pt x="24312" y="7062"/>
                  <a:pt x="24281" y="7093"/>
                </a:cubicBezTo>
                <a:close/>
                <a:moveTo>
                  <a:pt x="24312" y="6875"/>
                </a:moveTo>
                <a:cubicBezTo>
                  <a:pt x="24375" y="6843"/>
                  <a:pt x="24437" y="6812"/>
                  <a:pt x="24500" y="6781"/>
                </a:cubicBezTo>
                <a:cubicBezTo>
                  <a:pt x="24500" y="6781"/>
                  <a:pt x="24500" y="6781"/>
                  <a:pt x="24500" y="6781"/>
                </a:cubicBezTo>
                <a:cubicBezTo>
                  <a:pt x="24437" y="6812"/>
                  <a:pt x="24375" y="6843"/>
                  <a:pt x="24312" y="6875"/>
                </a:cubicBezTo>
                <a:close/>
                <a:moveTo>
                  <a:pt x="24719" y="6906"/>
                </a:moveTo>
                <a:cubicBezTo>
                  <a:pt x="24687" y="6968"/>
                  <a:pt x="24625" y="7000"/>
                  <a:pt x="24562" y="7031"/>
                </a:cubicBezTo>
                <a:cubicBezTo>
                  <a:pt x="24625" y="7000"/>
                  <a:pt x="24687" y="6968"/>
                  <a:pt x="24719" y="6906"/>
                </a:cubicBezTo>
                <a:cubicBezTo>
                  <a:pt x="24781" y="6875"/>
                  <a:pt x="24812" y="6843"/>
                  <a:pt x="24875" y="6843"/>
                </a:cubicBezTo>
                <a:cubicBezTo>
                  <a:pt x="24812" y="6843"/>
                  <a:pt x="24781" y="6875"/>
                  <a:pt x="24719" y="6906"/>
                </a:cubicBezTo>
                <a:close/>
                <a:moveTo>
                  <a:pt x="24844" y="6625"/>
                </a:moveTo>
                <a:cubicBezTo>
                  <a:pt x="24844" y="6625"/>
                  <a:pt x="24875" y="6625"/>
                  <a:pt x="24875" y="6625"/>
                </a:cubicBezTo>
                <a:cubicBezTo>
                  <a:pt x="24875" y="6625"/>
                  <a:pt x="24875" y="6625"/>
                  <a:pt x="24875" y="6625"/>
                </a:cubicBezTo>
                <a:cubicBezTo>
                  <a:pt x="24875" y="6625"/>
                  <a:pt x="24844" y="6625"/>
                  <a:pt x="24844" y="6625"/>
                </a:cubicBezTo>
                <a:close/>
                <a:moveTo>
                  <a:pt x="25094" y="6781"/>
                </a:moveTo>
                <a:cubicBezTo>
                  <a:pt x="25125" y="6781"/>
                  <a:pt x="25125" y="6750"/>
                  <a:pt x="25156" y="6718"/>
                </a:cubicBezTo>
                <a:cubicBezTo>
                  <a:pt x="25156" y="6718"/>
                  <a:pt x="25156" y="6718"/>
                  <a:pt x="25156" y="6718"/>
                </a:cubicBezTo>
                <a:cubicBezTo>
                  <a:pt x="25125" y="6750"/>
                  <a:pt x="25125" y="6781"/>
                  <a:pt x="25094" y="6781"/>
                </a:cubicBezTo>
                <a:close/>
                <a:moveTo>
                  <a:pt x="25344" y="6656"/>
                </a:moveTo>
                <a:cubicBezTo>
                  <a:pt x="25312" y="6687"/>
                  <a:pt x="25312" y="6687"/>
                  <a:pt x="25312" y="6687"/>
                </a:cubicBezTo>
                <a:cubicBezTo>
                  <a:pt x="25312" y="6687"/>
                  <a:pt x="25312" y="6687"/>
                  <a:pt x="25344" y="6656"/>
                </a:cubicBezTo>
                <a:close/>
                <a:moveTo>
                  <a:pt x="25500" y="6593"/>
                </a:moveTo>
                <a:cubicBezTo>
                  <a:pt x="25500" y="6593"/>
                  <a:pt x="25500" y="6593"/>
                  <a:pt x="25531" y="6593"/>
                </a:cubicBezTo>
                <a:cubicBezTo>
                  <a:pt x="25531" y="6593"/>
                  <a:pt x="25531" y="6593"/>
                  <a:pt x="25531" y="6593"/>
                </a:cubicBezTo>
                <a:cubicBezTo>
                  <a:pt x="25500" y="6593"/>
                  <a:pt x="25500" y="6593"/>
                  <a:pt x="25500" y="6593"/>
                </a:cubicBezTo>
                <a:close/>
                <a:moveTo>
                  <a:pt x="25594" y="6562"/>
                </a:moveTo>
                <a:cubicBezTo>
                  <a:pt x="25594" y="6562"/>
                  <a:pt x="25594" y="6562"/>
                  <a:pt x="25594" y="6562"/>
                </a:cubicBezTo>
                <a:cubicBezTo>
                  <a:pt x="25594" y="6562"/>
                  <a:pt x="25594" y="6562"/>
                  <a:pt x="25594" y="6562"/>
                </a:cubicBezTo>
                <a:close/>
                <a:moveTo>
                  <a:pt x="25625" y="6343"/>
                </a:moveTo>
                <a:cubicBezTo>
                  <a:pt x="25656" y="6343"/>
                  <a:pt x="25656" y="6312"/>
                  <a:pt x="25656" y="6281"/>
                </a:cubicBezTo>
                <a:cubicBezTo>
                  <a:pt x="25656" y="6281"/>
                  <a:pt x="25656" y="6281"/>
                  <a:pt x="25656" y="6281"/>
                </a:cubicBezTo>
                <a:cubicBezTo>
                  <a:pt x="25656" y="6312"/>
                  <a:pt x="25656" y="6343"/>
                  <a:pt x="25625" y="6343"/>
                </a:cubicBezTo>
                <a:close/>
                <a:moveTo>
                  <a:pt x="25687" y="6500"/>
                </a:moveTo>
                <a:cubicBezTo>
                  <a:pt x="25687" y="6531"/>
                  <a:pt x="25687" y="6562"/>
                  <a:pt x="25656" y="6562"/>
                </a:cubicBezTo>
                <a:cubicBezTo>
                  <a:pt x="25687" y="6562"/>
                  <a:pt x="25687" y="6531"/>
                  <a:pt x="25687" y="6500"/>
                </a:cubicBezTo>
                <a:close/>
                <a:moveTo>
                  <a:pt x="25875" y="6437"/>
                </a:moveTo>
                <a:cubicBezTo>
                  <a:pt x="25844" y="6500"/>
                  <a:pt x="25812" y="6500"/>
                  <a:pt x="25750" y="6500"/>
                </a:cubicBezTo>
                <a:cubicBezTo>
                  <a:pt x="25812" y="6500"/>
                  <a:pt x="25844" y="6500"/>
                  <a:pt x="25875" y="6437"/>
                </a:cubicBezTo>
                <a:cubicBezTo>
                  <a:pt x="25906" y="6406"/>
                  <a:pt x="25969" y="6406"/>
                  <a:pt x="26000" y="6375"/>
                </a:cubicBezTo>
                <a:cubicBezTo>
                  <a:pt x="25969" y="6406"/>
                  <a:pt x="25906" y="6406"/>
                  <a:pt x="25875" y="6437"/>
                </a:cubicBezTo>
                <a:close/>
                <a:moveTo>
                  <a:pt x="25844" y="6250"/>
                </a:moveTo>
                <a:cubicBezTo>
                  <a:pt x="25937" y="6218"/>
                  <a:pt x="26000" y="6187"/>
                  <a:pt x="26094" y="6125"/>
                </a:cubicBezTo>
                <a:cubicBezTo>
                  <a:pt x="26094" y="6125"/>
                  <a:pt x="26094" y="6125"/>
                  <a:pt x="26094" y="6125"/>
                </a:cubicBezTo>
                <a:cubicBezTo>
                  <a:pt x="26000" y="6187"/>
                  <a:pt x="25937" y="6218"/>
                  <a:pt x="25844" y="6250"/>
                </a:cubicBezTo>
                <a:close/>
                <a:moveTo>
                  <a:pt x="26250" y="6281"/>
                </a:moveTo>
                <a:cubicBezTo>
                  <a:pt x="26219" y="6343"/>
                  <a:pt x="26156" y="6343"/>
                  <a:pt x="26094" y="6375"/>
                </a:cubicBezTo>
                <a:cubicBezTo>
                  <a:pt x="26156" y="6343"/>
                  <a:pt x="26219" y="6343"/>
                  <a:pt x="26250" y="6281"/>
                </a:cubicBezTo>
                <a:cubicBezTo>
                  <a:pt x="26281" y="6250"/>
                  <a:pt x="26312" y="6250"/>
                  <a:pt x="26312" y="6250"/>
                </a:cubicBezTo>
                <a:cubicBezTo>
                  <a:pt x="26312" y="6250"/>
                  <a:pt x="26281" y="6250"/>
                  <a:pt x="26250" y="6281"/>
                </a:cubicBezTo>
                <a:close/>
                <a:moveTo>
                  <a:pt x="26312" y="6062"/>
                </a:moveTo>
                <a:cubicBezTo>
                  <a:pt x="26344" y="6031"/>
                  <a:pt x="26344" y="6031"/>
                  <a:pt x="26344" y="6000"/>
                </a:cubicBezTo>
                <a:cubicBezTo>
                  <a:pt x="26344" y="6000"/>
                  <a:pt x="26344" y="6000"/>
                  <a:pt x="26344" y="6000"/>
                </a:cubicBezTo>
                <a:cubicBezTo>
                  <a:pt x="26344" y="6031"/>
                  <a:pt x="26344" y="6031"/>
                  <a:pt x="26312" y="6062"/>
                </a:cubicBezTo>
                <a:close/>
                <a:moveTo>
                  <a:pt x="26531" y="5937"/>
                </a:moveTo>
                <a:cubicBezTo>
                  <a:pt x="26500" y="6000"/>
                  <a:pt x="26469" y="6000"/>
                  <a:pt x="26437" y="6000"/>
                </a:cubicBezTo>
                <a:cubicBezTo>
                  <a:pt x="26469" y="6000"/>
                  <a:pt x="26500" y="6000"/>
                  <a:pt x="26531" y="5937"/>
                </a:cubicBezTo>
                <a:cubicBezTo>
                  <a:pt x="26531" y="5937"/>
                  <a:pt x="26562" y="5906"/>
                  <a:pt x="26562" y="5906"/>
                </a:cubicBezTo>
                <a:cubicBezTo>
                  <a:pt x="26562" y="5906"/>
                  <a:pt x="26531" y="5937"/>
                  <a:pt x="26531" y="5937"/>
                </a:cubicBezTo>
                <a:close/>
                <a:moveTo>
                  <a:pt x="26625" y="5906"/>
                </a:move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ubicBezTo>
                  <a:pt x="26625" y="5906"/>
                  <a:pt x="26625" y="5906"/>
                  <a:pt x="26625" y="5906"/>
                </a:cubicBezTo>
                <a:close/>
                <a:moveTo>
                  <a:pt x="26719" y="5875"/>
                </a:move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ubicBezTo>
                  <a:pt x="26719" y="5875"/>
                  <a:pt x="26719" y="5875"/>
                  <a:pt x="26719" y="5875"/>
                </a:cubicBezTo>
                <a:close/>
                <a:moveTo>
                  <a:pt x="26781" y="5843"/>
                </a:move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ubicBezTo>
                  <a:pt x="26781" y="5843"/>
                  <a:pt x="26781" y="5843"/>
                  <a:pt x="26781" y="5843"/>
                </a:cubicBezTo>
                <a:close/>
                <a:moveTo>
                  <a:pt x="26875" y="5781"/>
                </a:move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ubicBezTo>
                  <a:pt x="26875" y="5781"/>
                  <a:pt x="26875" y="5781"/>
                  <a:pt x="26875" y="5781"/>
                </a:cubicBezTo>
                <a:close/>
                <a:moveTo>
                  <a:pt x="26906" y="6000"/>
                </a:moveTo>
                <a:cubicBezTo>
                  <a:pt x="26906" y="6031"/>
                  <a:pt x="26875" y="6031"/>
                  <a:pt x="26875" y="6062"/>
                </a:cubicBezTo>
                <a:cubicBezTo>
                  <a:pt x="26875" y="6031"/>
                  <a:pt x="26906" y="6031"/>
                  <a:pt x="26906" y="6000"/>
                </a:cubicBezTo>
                <a:close/>
                <a:moveTo>
                  <a:pt x="27094" y="5937"/>
                </a:moveTo>
                <a:cubicBezTo>
                  <a:pt x="27094" y="5937"/>
                  <a:pt x="27094" y="5937"/>
                  <a:pt x="27094" y="5937"/>
                </a:cubicBezTo>
                <a:cubicBezTo>
                  <a:pt x="27094" y="5937"/>
                  <a:pt x="27094" y="5906"/>
                  <a:pt x="27125" y="5906"/>
                </a:cubicBezTo>
                <a:cubicBezTo>
                  <a:pt x="27094" y="5906"/>
                  <a:pt x="27094" y="5937"/>
                  <a:pt x="27094" y="5937"/>
                </a:cubicBezTo>
                <a:close/>
                <a:moveTo>
                  <a:pt x="27594" y="5750"/>
                </a:moveTo>
                <a:cubicBezTo>
                  <a:pt x="27594" y="5750"/>
                  <a:pt x="27594" y="5718"/>
                  <a:pt x="27594" y="5718"/>
                </a:cubicBezTo>
                <a:cubicBezTo>
                  <a:pt x="27594" y="5718"/>
                  <a:pt x="27594" y="5718"/>
                  <a:pt x="27594" y="5718"/>
                </a:cubicBezTo>
                <a:cubicBezTo>
                  <a:pt x="27594" y="5718"/>
                  <a:pt x="27594" y="5750"/>
                  <a:pt x="27594" y="5750"/>
                </a:cubicBezTo>
                <a:close/>
                <a:moveTo>
                  <a:pt x="27812" y="5562"/>
                </a:moveTo>
                <a:cubicBezTo>
                  <a:pt x="27812" y="5562"/>
                  <a:pt x="27812" y="5562"/>
                  <a:pt x="27812" y="5562"/>
                </a:cubicBezTo>
                <a:cubicBezTo>
                  <a:pt x="27844" y="5562"/>
                  <a:pt x="27906" y="5531"/>
                  <a:pt x="27937" y="5500"/>
                </a:cubicBezTo>
                <a:cubicBezTo>
                  <a:pt x="27906" y="5531"/>
                  <a:pt x="27844" y="5562"/>
                  <a:pt x="27812" y="5562"/>
                </a:cubicBezTo>
                <a:close/>
                <a:moveTo>
                  <a:pt x="28125" y="5531"/>
                </a:moveTo>
                <a:cubicBezTo>
                  <a:pt x="28125" y="5531"/>
                  <a:pt x="28125" y="5531"/>
                  <a:pt x="28125" y="5500"/>
                </a:cubicBezTo>
                <a:cubicBezTo>
                  <a:pt x="28125" y="5500"/>
                  <a:pt x="28125" y="5500"/>
                  <a:pt x="28125" y="5500"/>
                </a:cubicBezTo>
                <a:cubicBezTo>
                  <a:pt x="28125" y="5531"/>
                  <a:pt x="28125" y="5531"/>
                  <a:pt x="28125" y="5531"/>
                </a:cubicBezTo>
                <a:close/>
                <a:moveTo>
                  <a:pt x="28375" y="5437"/>
                </a:moveTo>
                <a:cubicBezTo>
                  <a:pt x="28375" y="5468"/>
                  <a:pt x="28375" y="5468"/>
                  <a:pt x="28375" y="5468"/>
                </a:cubicBezTo>
                <a:cubicBezTo>
                  <a:pt x="28344" y="5437"/>
                  <a:pt x="28344" y="5437"/>
                  <a:pt x="28344" y="5437"/>
                </a:cubicBezTo>
                <a:cubicBezTo>
                  <a:pt x="28312" y="5531"/>
                  <a:pt x="28219" y="5500"/>
                  <a:pt x="28156" y="5500"/>
                </a:cubicBezTo>
                <a:cubicBezTo>
                  <a:pt x="28219" y="5500"/>
                  <a:pt x="28312" y="5531"/>
                  <a:pt x="28344" y="5437"/>
                </a:cubicBezTo>
                <a:cubicBezTo>
                  <a:pt x="28344" y="5437"/>
                  <a:pt x="28375" y="5468"/>
                  <a:pt x="28375" y="5468"/>
                </a:cubicBezTo>
                <a:cubicBezTo>
                  <a:pt x="28375" y="5468"/>
                  <a:pt x="28375" y="5437"/>
                  <a:pt x="28375" y="5437"/>
                </a:cubicBezTo>
                <a:close/>
                <a:moveTo>
                  <a:pt x="31781" y="4062"/>
                </a:moveTo>
                <a:cubicBezTo>
                  <a:pt x="31781" y="4031"/>
                  <a:pt x="31781" y="4031"/>
                  <a:pt x="31812" y="4031"/>
                </a:cubicBezTo>
                <a:cubicBezTo>
                  <a:pt x="31781" y="4031"/>
                  <a:pt x="31781" y="4031"/>
                  <a:pt x="31781" y="4062"/>
                </a:cubicBezTo>
                <a:cubicBezTo>
                  <a:pt x="31750" y="4062"/>
                  <a:pt x="31750" y="4062"/>
                  <a:pt x="31750" y="4062"/>
                </a:cubicBezTo>
                <a:cubicBezTo>
                  <a:pt x="31750" y="4062"/>
                  <a:pt x="31750" y="4062"/>
                  <a:pt x="31781" y="4062"/>
                </a:cubicBezTo>
                <a:close/>
                <a:moveTo>
                  <a:pt x="30937" y="4406"/>
                </a:moveTo>
                <a:cubicBezTo>
                  <a:pt x="30969" y="4406"/>
                  <a:pt x="30969" y="4406"/>
                  <a:pt x="31000" y="4406"/>
                </a:cubicBezTo>
                <a:cubicBezTo>
                  <a:pt x="30969" y="4406"/>
                  <a:pt x="30969" y="4406"/>
                  <a:pt x="30937" y="4406"/>
                </a:cubicBezTo>
                <a:close/>
                <a:moveTo>
                  <a:pt x="29219" y="5156"/>
                </a:move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219" y="5156"/>
                </a:cubicBezTo>
                <a:cubicBezTo>
                  <a:pt x="29219" y="5156"/>
                  <a:pt x="29219" y="5156"/>
                  <a:pt x="29187" y="5156"/>
                </a:cubicBezTo>
                <a:cubicBezTo>
                  <a:pt x="29219" y="5156"/>
                  <a:pt x="29219" y="5156"/>
                  <a:pt x="29219" y="5156"/>
                </a:cubicBezTo>
                <a:close/>
                <a:moveTo>
                  <a:pt x="28875" y="5125"/>
                </a:moveTo>
                <a:cubicBezTo>
                  <a:pt x="28844" y="5125"/>
                  <a:pt x="28781" y="5125"/>
                  <a:pt x="28750" y="5187"/>
                </a:cubicBezTo>
                <a:cubicBezTo>
                  <a:pt x="28750" y="5187"/>
                  <a:pt x="28750" y="5187"/>
                  <a:pt x="28750" y="5187"/>
                </a:cubicBezTo>
                <a:cubicBezTo>
                  <a:pt x="28781" y="5125"/>
                  <a:pt x="28844" y="5125"/>
                  <a:pt x="28875" y="5125"/>
                </a:cubicBezTo>
                <a:close/>
                <a:moveTo>
                  <a:pt x="187" y="2125"/>
                </a:moveTo>
                <a:cubicBezTo>
                  <a:pt x="250" y="2031"/>
                  <a:pt x="375" y="2062"/>
                  <a:pt x="437" y="2031"/>
                </a:cubicBezTo>
                <a:cubicBezTo>
                  <a:pt x="469" y="1968"/>
                  <a:pt x="531" y="2000"/>
                  <a:pt x="594" y="2000"/>
                </a:cubicBezTo>
                <a:cubicBezTo>
                  <a:pt x="594" y="2000"/>
                  <a:pt x="594" y="2000"/>
                  <a:pt x="594" y="2000"/>
                </a:cubicBezTo>
                <a:cubicBezTo>
                  <a:pt x="625" y="1937"/>
                  <a:pt x="687" y="1968"/>
                  <a:pt x="719" y="1968"/>
                </a:cubicBezTo>
                <a:cubicBezTo>
                  <a:pt x="719" y="1968"/>
                  <a:pt x="719" y="1968"/>
                  <a:pt x="719" y="1968"/>
                </a:cubicBezTo>
                <a:cubicBezTo>
                  <a:pt x="750" y="1875"/>
                  <a:pt x="812" y="1937"/>
                  <a:pt x="844" y="1937"/>
                </a:cubicBezTo>
                <a:cubicBezTo>
                  <a:pt x="844" y="1937"/>
                  <a:pt x="844" y="1937"/>
                  <a:pt x="844" y="1937"/>
                </a:cubicBezTo>
                <a:cubicBezTo>
                  <a:pt x="937" y="1875"/>
                  <a:pt x="1000" y="1843"/>
                  <a:pt x="1094" y="1843"/>
                </a:cubicBezTo>
                <a:cubicBezTo>
                  <a:pt x="1250" y="1812"/>
                  <a:pt x="1375" y="1718"/>
                  <a:pt x="1531" y="1750"/>
                </a:cubicBezTo>
                <a:cubicBezTo>
                  <a:pt x="1500" y="1718"/>
                  <a:pt x="1531" y="1718"/>
                  <a:pt x="1562" y="1718"/>
                </a:cubicBezTo>
                <a:cubicBezTo>
                  <a:pt x="1750" y="1656"/>
                  <a:pt x="1937" y="1593"/>
                  <a:pt x="2156" y="1562"/>
                </a:cubicBezTo>
                <a:cubicBezTo>
                  <a:pt x="2031" y="1562"/>
                  <a:pt x="1937" y="1562"/>
                  <a:pt x="1875" y="1593"/>
                </a:cubicBezTo>
                <a:cubicBezTo>
                  <a:pt x="1656" y="1656"/>
                  <a:pt x="1437" y="1718"/>
                  <a:pt x="1219" y="1781"/>
                </a:cubicBezTo>
                <a:cubicBezTo>
                  <a:pt x="1062" y="1812"/>
                  <a:pt x="906" y="1843"/>
                  <a:pt x="781" y="1875"/>
                </a:cubicBezTo>
                <a:cubicBezTo>
                  <a:pt x="625" y="1906"/>
                  <a:pt x="500" y="2000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2031"/>
                  <a:pt x="281" y="2000"/>
                  <a:pt x="219" y="2000"/>
                </a:cubicBezTo>
                <a:cubicBezTo>
                  <a:pt x="281" y="1968"/>
                  <a:pt x="312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75" y="1968"/>
                  <a:pt x="375" y="1968"/>
                  <a:pt x="375" y="1968"/>
                </a:cubicBezTo>
                <a:cubicBezTo>
                  <a:pt x="344" y="1906"/>
                  <a:pt x="406" y="1937"/>
                  <a:pt x="437" y="1906"/>
                </a:cubicBezTo>
                <a:cubicBezTo>
                  <a:pt x="937" y="1750"/>
                  <a:pt x="1437" y="1625"/>
                  <a:pt x="1937" y="1468"/>
                </a:cubicBezTo>
                <a:cubicBezTo>
                  <a:pt x="2031" y="1468"/>
                  <a:pt x="2125" y="1437"/>
                  <a:pt x="2250" y="1406"/>
                </a:cubicBezTo>
                <a:cubicBezTo>
                  <a:pt x="2187" y="1343"/>
                  <a:pt x="2156" y="1343"/>
                  <a:pt x="2125" y="1375"/>
                </a:cubicBezTo>
                <a:cubicBezTo>
                  <a:pt x="1969" y="1437"/>
                  <a:pt x="1781" y="1437"/>
                  <a:pt x="1625" y="1468"/>
                </a:cubicBezTo>
                <a:cubicBezTo>
                  <a:pt x="1469" y="1531"/>
                  <a:pt x="1312" y="1562"/>
                  <a:pt x="1156" y="1593"/>
                </a:cubicBezTo>
                <a:cubicBezTo>
                  <a:pt x="844" y="1687"/>
                  <a:pt x="531" y="1750"/>
                  <a:pt x="219" y="1843"/>
                </a:cubicBezTo>
                <a:cubicBezTo>
                  <a:pt x="125" y="1843"/>
                  <a:pt x="62" y="1875"/>
                  <a:pt x="0" y="1906"/>
                </a:cubicBezTo>
                <a:cubicBezTo>
                  <a:pt x="0" y="2156"/>
                  <a:pt x="0" y="2156"/>
                  <a:pt x="0" y="2156"/>
                </a:cubicBezTo>
                <a:cubicBezTo>
                  <a:pt x="62" y="2125"/>
                  <a:pt x="125" y="2125"/>
                  <a:pt x="187" y="2125"/>
                </a:cubicBezTo>
                <a:close/>
                <a:moveTo>
                  <a:pt x="344" y="1906"/>
                </a:moveTo>
                <a:cubicBezTo>
                  <a:pt x="312" y="1906"/>
                  <a:pt x="312" y="1937"/>
                  <a:pt x="312" y="1968"/>
                </a:cubicBezTo>
                <a:cubicBezTo>
                  <a:pt x="312" y="1968"/>
                  <a:pt x="312" y="1968"/>
                  <a:pt x="312" y="1968"/>
                </a:cubicBezTo>
                <a:cubicBezTo>
                  <a:pt x="312" y="1937"/>
                  <a:pt x="312" y="1906"/>
                  <a:pt x="344" y="1906"/>
                </a:cubicBezTo>
                <a:close/>
                <a:moveTo>
                  <a:pt x="1375" y="2187"/>
                </a:moveTo>
                <a:cubicBezTo>
                  <a:pt x="1594" y="2093"/>
                  <a:pt x="1812" y="2062"/>
                  <a:pt x="2031" y="2000"/>
                </a:cubicBezTo>
                <a:cubicBezTo>
                  <a:pt x="2156" y="1968"/>
                  <a:pt x="2281" y="1937"/>
                  <a:pt x="2406" y="1843"/>
                </a:cubicBezTo>
                <a:cubicBezTo>
                  <a:pt x="2344" y="1843"/>
                  <a:pt x="2344" y="1843"/>
                  <a:pt x="2312" y="1843"/>
                </a:cubicBezTo>
                <a:cubicBezTo>
                  <a:pt x="2125" y="1875"/>
                  <a:pt x="1906" y="1937"/>
                  <a:pt x="1719" y="2000"/>
                </a:cubicBezTo>
                <a:cubicBezTo>
                  <a:pt x="1656" y="2000"/>
                  <a:pt x="1594" y="1968"/>
                  <a:pt x="1562" y="2000"/>
                </a:cubicBezTo>
                <a:cubicBezTo>
                  <a:pt x="1469" y="2093"/>
                  <a:pt x="1344" y="2062"/>
                  <a:pt x="1250" y="2062"/>
                </a:cubicBezTo>
                <a:cubicBezTo>
                  <a:pt x="1156" y="2062"/>
                  <a:pt x="1031" y="2093"/>
                  <a:pt x="937" y="2062"/>
                </a:cubicBezTo>
                <a:cubicBezTo>
                  <a:pt x="937" y="2062"/>
                  <a:pt x="906" y="2031"/>
                  <a:pt x="875" y="2062"/>
                </a:cubicBezTo>
                <a:cubicBezTo>
                  <a:pt x="875" y="2093"/>
                  <a:pt x="906" y="2125"/>
                  <a:pt x="906" y="2125"/>
                </a:cubicBezTo>
                <a:cubicBezTo>
                  <a:pt x="937" y="2156"/>
                  <a:pt x="969" y="2156"/>
                  <a:pt x="969" y="2187"/>
                </a:cubicBezTo>
                <a:cubicBezTo>
                  <a:pt x="875" y="2218"/>
                  <a:pt x="844" y="2156"/>
                  <a:pt x="781" y="2125"/>
                </a:cubicBezTo>
                <a:cubicBezTo>
                  <a:pt x="781" y="2093"/>
                  <a:pt x="750" y="2062"/>
                  <a:pt x="719" y="2093"/>
                </a:cubicBezTo>
                <a:cubicBezTo>
                  <a:pt x="469" y="2156"/>
                  <a:pt x="250" y="2218"/>
                  <a:pt x="0" y="2281"/>
                </a:cubicBezTo>
                <a:cubicBezTo>
                  <a:pt x="0" y="2531"/>
                  <a:pt x="0" y="2531"/>
                  <a:pt x="0" y="2531"/>
                </a:cubicBezTo>
                <a:cubicBezTo>
                  <a:pt x="344" y="2437"/>
                  <a:pt x="687" y="2343"/>
                  <a:pt x="1031" y="2250"/>
                </a:cubicBezTo>
                <a:cubicBezTo>
                  <a:pt x="1156" y="2218"/>
                  <a:pt x="1250" y="2218"/>
                  <a:pt x="1375" y="2187"/>
                </a:cubicBezTo>
                <a:close/>
                <a:moveTo>
                  <a:pt x="594" y="5687"/>
                </a:moveTo>
                <a:cubicBezTo>
                  <a:pt x="594" y="5656"/>
                  <a:pt x="594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25" y="5656"/>
                  <a:pt x="625" y="5656"/>
                  <a:pt x="625" y="5656"/>
                </a:cubicBezTo>
                <a:cubicBezTo>
                  <a:pt x="687" y="5656"/>
                  <a:pt x="719" y="5625"/>
                  <a:pt x="781" y="5625"/>
                </a:cubicBezTo>
                <a:cubicBezTo>
                  <a:pt x="781" y="5593"/>
                  <a:pt x="750" y="5562"/>
                  <a:pt x="750" y="5531"/>
                </a:cubicBezTo>
                <a:cubicBezTo>
                  <a:pt x="750" y="5468"/>
                  <a:pt x="719" y="5500"/>
                  <a:pt x="687" y="5500"/>
                </a:cubicBezTo>
                <a:cubicBezTo>
                  <a:pt x="562" y="5531"/>
                  <a:pt x="469" y="5562"/>
                  <a:pt x="375" y="5593"/>
                </a:cubicBezTo>
                <a:cubicBezTo>
                  <a:pt x="250" y="5625"/>
                  <a:pt x="125" y="5687"/>
                  <a:pt x="0" y="5718"/>
                </a:cubicBezTo>
                <a:cubicBezTo>
                  <a:pt x="0" y="5843"/>
                  <a:pt x="0" y="5843"/>
                  <a:pt x="0" y="5843"/>
                </a:cubicBezTo>
                <a:cubicBezTo>
                  <a:pt x="156" y="5812"/>
                  <a:pt x="344" y="5750"/>
                  <a:pt x="531" y="5687"/>
                </a:cubicBezTo>
                <a:cubicBezTo>
                  <a:pt x="531" y="5687"/>
                  <a:pt x="562" y="5687"/>
                  <a:pt x="594" y="5687"/>
                </a:cubicBezTo>
                <a:close/>
                <a:moveTo>
                  <a:pt x="7250" y="12250"/>
                </a:moveTo>
                <a:cubicBezTo>
                  <a:pt x="7250" y="12250"/>
                  <a:pt x="7219" y="12250"/>
                  <a:pt x="7219" y="12250"/>
                </a:cubicBezTo>
                <a:cubicBezTo>
                  <a:pt x="7219" y="12250"/>
                  <a:pt x="7219" y="12281"/>
                  <a:pt x="7219" y="12281"/>
                </a:cubicBezTo>
                <a:cubicBezTo>
                  <a:pt x="7062" y="12375"/>
                  <a:pt x="6875" y="12406"/>
                  <a:pt x="6687" y="12531"/>
                </a:cubicBezTo>
                <a:cubicBezTo>
                  <a:pt x="6719" y="12531"/>
                  <a:pt x="6719" y="12531"/>
                  <a:pt x="6750" y="12531"/>
                </a:cubicBezTo>
                <a:cubicBezTo>
                  <a:pt x="6937" y="12437"/>
                  <a:pt x="7125" y="12375"/>
                  <a:pt x="7281" y="12281"/>
                </a:cubicBezTo>
                <a:cubicBezTo>
                  <a:pt x="7281" y="12250"/>
                  <a:pt x="7250" y="12250"/>
                  <a:pt x="7250" y="12250"/>
                </a:cubicBezTo>
                <a:close/>
                <a:moveTo>
                  <a:pt x="7406" y="12031"/>
                </a:moveTo>
                <a:cubicBezTo>
                  <a:pt x="7406" y="12031"/>
                  <a:pt x="7406" y="12031"/>
                  <a:pt x="7406" y="12031"/>
                </a:cubicBezTo>
                <a:cubicBezTo>
                  <a:pt x="7406" y="12031"/>
                  <a:pt x="7406" y="12031"/>
                  <a:pt x="7406" y="12031"/>
                </a:cubicBezTo>
                <a:cubicBezTo>
                  <a:pt x="7437" y="12062"/>
                  <a:pt x="7406" y="12062"/>
                  <a:pt x="7375" y="12093"/>
                </a:cubicBezTo>
                <a:cubicBezTo>
                  <a:pt x="7312" y="12093"/>
                  <a:pt x="7250" y="12125"/>
                  <a:pt x="7187" y="12187"/>
                </a:cubicBezTo>
                <a:cubicBezTo>
                  <a:pt x="7156" y="12187"/>
                  <a:pt x="7125" y="12187"/>
                  <a:pt x="7156" y="12218"/>
                </a:cubicBezTo>
                <a:cubicBezTo>
                  <a:pt x="7156" y="12250"/>
                  <a:pt x="7156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50"/>
                  <a:pt x="7187" y="12250"/>
                  <a:pt x="7187" y="12250"/>
                </a:cubicBezTo>
                <a:cubicBezTo>
                  <a:pt x="7187" y="12218"/>
                  <a:pt x="7219" y="12218"/>
                  <a:pt x="7219" y="12187"/>
                </a:cubicBezTo>
                <a:cubicBezTo>
                  <a:pt x="7281" y="12156"/>
                  <a:pt x="7344" y="12093"/>
                  <a:pt x="7437" y="12093"/>
                </a:cubicBezTo>
                <a:cubicBezTo>
                  <a:pt x="7469" y="12093"/>
                  <a:pt x="7469" y="12062"/>
                  <a:pt x="7469" y="12031"/>
                </a:cubicBezTo>
                <a:cubicBezTo>
                  <a:pt x="7469" y="12000"/>
                  <a:pt x="7437" y="12031"/>
                  <a:pt x="7406" y="12031"/>
                </a:cubicBezTo>
                <a:close/>
                <a:moveTo>
                  <a:pt x="9187" y="9750"/>
                </a:moveTo>
                <a:cubicBezTo>
                  <a:pt x="9281" y="9750"/>
                  <a:pt x="9344" y="9687"/>
                  <a:pt x="9437" y="9625"/>
                </a:cubicBezTo>
                <a:cubicBezTo>
                  <a:pt x="9437" y="9625"/>
                  <a:pt x="9406" y="9625"/>
                  <a:pt x="9406" y="9593"/>
                </a:cubicBezTo>
                <a:cubicBezTo>
                  <a:pt x="9344" y="9656"/>
                  <a:pt x="9281" y="9687"/>
                  <a:pt x="9187" y="9750"/>
                </a:cubicBezTo>
                <a:close/>
                <a:moveTo>
                  <a:pt x="6250" y="9718"/>
                </a:moveTo>
                <a:cubicBezTo>
                  <a:pt x="6312" y="9750"/>
                  <a:pt x="6344" y="9687"/>
                  <a:pt x="6375" y="9656"/>
                </a:cubicBezTo>
                <a:cubicBezTo>
                  <a:pt x="6469" y="9625"/>
                  <a:pt x="6562" y="9625"/>
                  <a:pt x="6625" y="9531"/>
                </a:cubicBezTo>
                <a:cubicBezTo>
                  <a:pt x="6656" y="9531"/>
                  <a:pt x="6656" y="9531"/>
                  <a:pt x="6687" y="9500"/>
                </a:cubicBezTo>
                <a:cubicBezTo>
                  <a:pt x="6656" y="9531"/>
                  <a:pt x="6625" y="9500"/>
                  <a:pt x="6625" y="9531"/>
                </a:cubicBezTo>
                <a:cubicBezTo>
                  <a:pt x="6594" y="9531"/>
                  <a:pt x="6562" y="9562"/>
                  <a:pt x="6531" y="9562"/>
                </a:cubicBezTo>
                <a:cubicBezTo>
                  <a:pt x="6531" y="9562"/>
                  <a:pt x="6500" y="9562"/>
                  <a:pt x="6500" y="9593"/>
                </a:cubicBezTo>
                <a:cubicBezTo>
                  <a:pt x="6500" y="9562"/>
                  <a:pt x="6531" y="9562"/>
                  <a:pt x="6531" y="9562"/>
                </a:cubicBezTo>
                <a:cubicBezTo>
                  <a:pt x="6469" y="9593"/>
                  <a:pt x="6406" y="9593"/>
                  <a:pt x="6375" y="9656"/>
                </a:cubicBezTo>
                <a:cubicBezTo>
                  <a:pt x="6344" y="9656"/>
                  <a:pt x="6312" y="9656"/>
                  <a:pt x="6312" y="9656"/>
                </a:cubicBezTo>
                <a:cubicBezTo>
                  <a:pt x="6281" y="9656"/>
                  <a:pt x="6250" y="9687"/>
                  <a:pt x="6250" y="9718"/>
                </a:cubicBezTo>
                <a:cubicBezTo>
                  <a:pt x="6219" y="9718"/>
                  <a:pt x="6187" y="9718"/>
                  <a:pt x="6156" y="9750"/>
                </a:cubicBezTo>
                <a:cubicBezTo>
                  <a:pt x="6125" y="9750"/>
                  <a:pt x="6125" y="9750"/>
                  <a:pt x="6094" y="9750"/>
                </a:cubicBezTo>
                <a:cubicBezTo>
                  <a:pt x="6062" y="9781"/>
                  <a:pt x="6031" y="9812"/>
                  <a:pt x="6000" y="9812"/>
                </a:cubicBezTo>
                <a:cubicBezTo>
                  <a:pt x="6031" y="9812"/>
                  <a:pt x="6062" y="9781"/>
                  <a:pt x="6094" y="9750"/>
                </a:cubicBezTo>
                <a:cubicBezTo>
                  <a:pt x="6031" y="9781"/>
                  <a:pt x="5969" y="9812"/>
                  <a:pt x="5906" y="9875"/>
                </a:cubicBezTo>
                <a:cubicBezTo>
                  <a:pt x="5875" y="9875"/>
                  <a:pt x="5844" y="9875"/>
                  <a:pt x="5844" y="9875"/>
                </a:cubicBezTo>
                <a:cubicBezTo>
                  <a:pt x="5875" y="9906"/>
                  <a:pt x="5875" y="9906"/>
                  <a:pt x="5906" y="9875"/>
                </a:cubicBezTo>
                <a:cubicBezTo>
                  <a:pt x="6000" y="9843"/>
                  <a:pt x="6094" y="9812"/>
                  <a:pt x="6156" y="9750"/>
                </a:cubicBezTo>
                <a:cubicBezTo>
                  <a:pt x="6187" y="9750"/>
                  <a:pt x="6219" y="9750"/>
                  <a:pt x="6250" y="9718"/>
                </a:cubicBezTo>
                <a:close/>
                <a:moveTo>
                  <a:pt x="6250" y="9718"/>
                </a:moveTo>
                <a:cubicBezTo>
                  <a:pt x="6250" y="9718"/>
                  <a:pt x="6250" y="9687"/>
                  <a:pt x="6250" y="9687"/>
                </a:cubicBezTo>
                <a:cubicBezTo>
                  <a:pt x="6250" y="9687"/>
                  <a:pt x="6250" y="9718"/>
                  <a:pt x="6250" y="9718"/>
                </a:cubicBezTo>
                <a:close/>
                <a:moveTo>
                  <a:pt x="10281" y="8312"/>
                </a:moveTo>
                <a:cubicBezTo>
                  <a:pt x="10375" y="8312"/>
                  <a:pt x="10437" y="8250"/>
                  <a:pt x="10500" y="8187"/>
                </a:cubicBezTo>
                <a:cubicBezTo>
                  <a:pt x="10406" y="8187"/>
                  <a:pt x="10344" y="8250"/>
                  <a:pt x="10281" y="8312"/>
                </a:cubicBezTo>
                <a:close/>
                <a:moveTo>
                  <a:pt x="10375" y="8468"/>
                </a:move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37"/>
                </a:cubicBezTo>
                <a:cubicBezTo>
                  <a:pt x="10375" y="8437"/>
                  <a:pt x="10375" y="8437"/>
                  <a:pt x="10375" y="8468"/>
                </a:cubicBezTo>
                <a:close/>
                <a:moveTo>
                  <a:pt x="10219" y="8343"/>
                </a:moveTo>
                <a:cubicBezTo>
                  <a:pt x="10094" y="8375"/>
                  <a:pt x="10062" y="8437"/>
                  <a:pt x="10000" y="8500"/>
                </a:cubicBezTo>
                <a:cubicBezTo>
                  <a:pt x="10062" y="8468"/>
                  <a:pt x="10156" y="8437"/>
                  <a:pt x="10219" y="8343"/>
                </a:cubicBezTo>
                <a:close/>
                <a:moveTo>
                  <a:pt x="10562" y="8156"/>
                </a:moveTo>
                <a:cubicBezTo>
                  <a:pt x="10656" y="8125"/>
                  <a:pt x="10719" y="8093"/>
                  <a:pt x="10781" y="8000"/>
                </a:cubicBezTo>
                <a:cubicBezTo>
                  <a:pt x="10687" y="8031"/>
                  <a:pt x="10625" y="8093"/>
                  <a:pt x="10562" y="8156"/>
                </a:cubicBezTo>
                <a:close/>
                <a:moveTo>
                  <a:pt x="8406" y="10218"/>
                </a:moveTo>
                <a:cubicBezTo>
                  <a:pt x="8437" y="10250"/>
                  <a:pt x="8437" y="10218"/>
                  <a:pt x="8469" y="10187"/>
                </a:cubicBezTo>
                <a:cubicBezTo>
                  <a:pt x="8469" y="10187"/>
                  <a:pt x="8500" y="10187"/>
                  <a:pt x="8500" y="10156"/>
                </a:cubicBezTo>
                <a:cubicBezTo>
                  <a:pt x="8594" y="10156"/>
                  <a:pt x="8625" y="10093"/>
                  <a:pt x="8687" y="10062"/>
                </a:cubicBezTo>
                <a:cubicBezTo>
                  <a:pt x="8625" y="10093"/>
                  <a:pt x="8562" y="10093"/>
                  <a:pt x="8500" y="10156"/>
                </a:cubicBezTo>
                <a:cubicBezTo>
                  <a:pt x="8500" y="10156"/>
                  <a:pt x="8469" y="10156"/>
                  <a:pt x="8469" y="10187"/>
                </a:cubicBezTo>
                <a:cubicBezTo>
                  <a:pt x="8437" y="10187"/>
                  <a:pt x="8375" y="10187"/>
                  <a:pt x="8406" y="10218"/>
                </a:cubicBezTo>
                <a:close/>
                <a:moveTo>
                  <a:pt x="2281" y="1343"/>
                </a:moveTo>
                <a:cubicBezTo>
                  <a:pt x="2312" y="1375"/>
                  <a:pt x="2344" y="1375"/>
                  <a:pt x="2375" y="1343"/>
                </a:cubicBezTo>
                <a:cubicBezTo>
                  <a:pt x="2344" y="1343"/>
                  <a:pt x="2312" y="1343"/>
                  <a:pt x="2281" y="1343"/>
                </a:cubicBezTo>
                <a:close/>
                <a:moveTo>
                  <a:pt x="1719" y="4937"/>
                </a:moveTo>
                <a:cubicBezTo>
                  <a:pt x="1500" y="5000"/>
                  <a:pt x="1312" y="5031"/>
                  <a:pt x="1094" y="5125"/>
                </a:cubicBezTo>
                <a:cubicBezTo>
                  <a:pt x="1031" y="5125"/>
                  <a:pt x="937" y="5125"/>
                  <a:pt x="844" y="5218"/>
                </a:cubicBezTo>
                <a:cubicBezTo>
                  <a:pt x="906" y="5218"/>
                  <a:pt x="906" y="5218"/>
                  <a:pt x="937" y="5218"/>
                </a:cubicBezTo>
                <a:cubicBezTo>
                  <a:pt x="1187" y="5125"/>
                  <a:pt x="1469" y="5062"/>
                  <a:pt x="1719" y="5000"/>
                </a:cubicBezTo>
                <a:cubicBezTo>
                  <a:pt x="1750" y="4968"/>
                  <a:pt x="1812" y="5000"/>
                  <a:pt x="1781" y="4937"/>
                </a:cubicBezTo>
                <a:cubicBezTo>
                  <a:pt x="1781" y="4906"/>
                  <a:pt x="1750" y="4937"/>
                  <a:pt x="1719" y="4937"/>
                </a:cubicBezTo>
                <a:close/>
                <a:moveTo>
                  <a:pt x="10844" y="7968"/>
                </a:moveTo>
                <a:cubicBezTo>
                  <a:pt x="10937" y="7937"/>
                  <a:pt x="11000" y="7875"/>
                  <a:pt x="11062" y="7843"/>
                </a:cubicBezTo>
                <a:cubicBezTo>
                  <a:pt x="10969" y="7843"/>
                  <a:pt x="10906" y="7875"/>
                  <a:pt x="10844" y="7968"/>
                </a:cubicBezTo>
                <a:close/>
                <a:moveTo>
                  <a:pt x="2594" y="1437"/>
                </a:moveTo>
                <a:cubicBezTo>
                  <a:pt x="2500" y="1437"/>
                  <a:pt x="2437" y="1468"/>
                  <a:pt x="2344" y="1500"/>
                </a:cubicBezTo>
                <a:cubicBezTo>
                  <a:pt x="2437" y="1500"/>
                  <a:pt x="2500" y="1468"/>
                  <a:pt x="2594" y="1437"/>
                </a:cubicBezTo>
                <a:close/>
                <a:moveTo>
                  <a:pt x="6219" y="12593"/>
                </a:moveTo>
                <a:cubicBezTo>
                  <a:pt x="6031" y="12562"/>
                  <a:pt x="5906" y="12656"/>
                  <a:pt x="5719" y="12687"/>
                </a:cubicBezTo>
                <a:cubicBezTo>
                  <a:pt x="5719" y="12687"/>
                  <a:pt x="5719" y="12687"/>
                  <a:pt x="5719" y="12687"/>
                </a:cubicBezTo>
                <a:cubicBezTo>
                  <a:pt x="5875" y="12687"/>
                  <a:pt x="6031" y="12593"/>
                  <a:pt x="6219" y="12593"/>
                </a:cubicBezTo>
                <a:cubicBezTo>
                  <a:pt x="6219" y="12593"/>
                  <a:pt x="6219" y="12593"/>
                  <a:pt x="6219" y="12593"/>
                </a:cubicBezTo>
                <a:close/>
                <a:moveTo>
                  <a:pt x="10031" y="8625"/>
                </a:moveTo>
                <a:cubicBezTo>
                  <a:pt x="9969" y="8656"/>
                  <a:pt x="9906" y="8687"/>
                  <a:pt x="9844" y="8750"/>
                </a:cubicBezTo>
                <a:cubicBezTo>
                  <a:pt x="9937" y="8750"/>
                  <a:pt x="10000" y="8687"/>
                  <a:pt x="10031" y="8625"/>
                </a:cubicBezTo>
                <a:close/>
                <a:moveTo>
                  <a:pt x="7969" y="8875"/>
                </a:moveTo>
                <a:cubicBezTo>
                  <a:pt x="7969" y="8875"/>
                  <a:pt x="8000" y="8843"/>
                  <a:pt x="8000" y="8843"/>
                </a:cubicBezTo>
                <a:cubicBezTo>
                  <a:pt x="7969" y="8781"/>
                  <a:pt x="7937" y="8812"/>
                  <a:pt x="7906" y="8812"/>
                </a:cubicBezTo>
                <a:cubicBezTo>
                  <a:pt x="7750" y="8937"/>
                  <a:pt x="7562" y="9031"/>
                  <a:pt x="7406" y="9125"/>
                </a:cubicBezTo>
                <a:cubicBezTo>
                  <a:pt x="7281" y="9156"/>
                  <a:pt x="7187" y="9218"/>
                  <a:pt x="7094" y="9281"/>
                </a:cubicBezTo>
                <a:cubicBezTo>
                  <a:pt x="7125" y="9312"/>
                  <a:pt x="7156" y="9312"/>
                  <a:pt x="7156" y="9281"/>
                </a:cubicBezTo>
                <a:cubicBezTo>
                  <a:pt x="7437" y="9156"/>
                  <a:pt x="7687" y="9000"/>
                  <a:pt x="7969" y="8875"/>
                </a:cubicBezTo>
                <a:close/>
                <a:moveTo>
                  <a:pt x="10406" y="8875"/>
                </a:moveTo>
                <a:cubicBezTo>
                  <a:pt x="10375" y="8875"/>
                  <a:pt x="10312" y="8906"/>
                  <a:pt x="10281" y="8968"/>
                </a:cubicBezTo>
                <a:cubicBezTo>
                  <a:pt x="10250" y="8968"/>
                  <a:pt x="10219" y="8968"/>
                  <a:pt x="10219" y="9000"/>
                </a:cubicBezTo>
                <a:cubicBezTo>
                  <a:pt x="10219" y="9000"/>
                  <a:pt x="10219" y="9000"/>
                  <a:pt x="10219" y="9000"/>
                </a:cubicBezTo>
                <a:cubicBezTo>
                  <a:pt x="10250" y="9000"/>
                  <a:pt x="10281" y="8968"/>
                  <a:pt x="10281" y="8968"/>
                </a:cubicBezTo>
                <a:cubicBezTo>
                  <a:pt x="10344" y="8937"/>
                  <a:pt x="10406" y="8937"/>
                  <a:pt x="10406" y="8875"/>
                </a:cubicBezTo>
                <a:close/>
                <a:moveTo>
                  <a:pt x="7656" y="10000"/>
                </a:moveTo>
                <a:cubicBezTo>
                  <a:pt x="7750" y="10000"/>
                  <a:pt x="7812" y="9968"/>
                  <a:pt x="7875" y="9937"/>
                </a:cubicBezTo>
                <a:cubicBezTo>
                  <a:pt x="7781" y="9937"/>
                  <a:pt x="7719" y="9937"/>
                  <a:pt x="7656" y="10000"/>
                </a:cubicBezTo>
                <a:close/>
                <a:moveTo>
                  <a:pt x="7812" y="9750"/>
                </a:moveTo>
                <a:cubicBezTo>
                  <a:pt x="7750" y="9781"/>
                  <a:pt x="7687" y="9812"/>
                  <a:pt x="7625" y="9843"/>
                </a:cubicBezTo>
                <a:cubicBezTo>
                  <a:pt x="7625" y="9843"/>
                  <a:pt x="7625" y="9875"/>
                  <a:pt x="7625" y="9875"/>
                </a:cubicBezTo>
                <a:cubicBezTo>
                  <a:pt x="7687" y="9843"/>
                  <a:pt x="7750" y="9812"/>
                  <a:pt x="7812" y="9781"/>
                </a:cubicBezTo>
                <a:cubicBezTo>
                  <a:pt x="7812" y="9781"/>
                  <a:pt x="7812" y="9750"/>
                  <a:pt x="7812" y="9750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1437" y="8093"/>
                </a:moveTo>
                <a:cubicBezTo>
                  <a:pt x="11437" y="8093"/>
                  <a:pt x="11437" y="8093"/>
                  <a:pt x="11437" y="8093"/>
                </a:cubicBezTo>
                <a:cubicBezTo>
                  <a:pt x="11437" y="8093"/>
                  <a:pt x="11437" y="8062"/>
                  <a:pt x="11437" y="8093"/>
                </a:cubicBezTo>
                <a:close/>
                <a:moveTo>
                  <a:pt x="6562" y="12593"/>
                </a:moveTo>
                <a:cubicBezTo>
                  <a:pt x="6531" y="12562"/>
                  <a:pt x="6500" y="12593"/>
                  <a:pt x="6469" y="12593"/>
                </a:cubicBezTo>
                <a:cubicBezTo>
                  <a:pt x="6375" y="12625"/>
                  <a:pt x="6281" y="12656"/>
                  <a:pt x="6156" y="12687"/>
                </a:cubicBezTo>
                <a:cubicBezTo>
                  <a:pt x="6156" y="12687"/>
                  <a:pt x="6156" y="12687"/>
                  <a:pt x="6125" y="12687"/>
                </a:cubicBezTo>
                <a:cubicBezTo>
                  <a:pt x="6281" y="12718"/>
                  <a:pt x="6406" y="12625"/>
                  <a:pt x="6500" y="12625"/>
                </a:cubicBezTo>
                <a:cubicBezTo>
                  <a:pt x="6531" y="12593"/>
                  <a:pt x="6531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62" y="12593"/>
                  <a:pt x="6562" y="12593"/>
                  <a:pt x="6562" y="12593"/>
                </a:cubicBezTo>
                <a:cubicBezTo>
                  <a:pt x="6594" y="12593"/>
                  <a:pt x="6594" y="12593"/>
                  <a:pt x="6625" y="12593"/>
                </a:cubicBezTo>
                <a:cubicBezTo>
                  <a:pt x="6625" y="12562"/>
                  <a:pt x="6656" y="12531"/>
                  <a:pt x="6656" y="12562"/>
                </a:cubicBezTo>
                <a:cubicBezTo>
                  <a:pt x="6625" y="12531"/>
                  <a:pt x="6594" y="12500"/>
                  <a:pt x="6562" y="12593"/>
                </a:cubicBezTo>
                <a:close/>
                <a:moveTo>
                  <a:pt x="11375" y="8125"/>
                </a:move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ubicBezTo>
                  <a:pt x="11375" y="8125"/>
                  <a:pt x="11375" y="8125"/>
                  <a:pt x="11375" y="8125"/>
                </a:cubicBezTo>
                <a:close/>
                <a:moveTo>
                  <a:pt x="15625" y="2000"/>
                </a:moveTo>
                <a:cubicBezTo>
                  <a:pt x="15594" y="2000"/>
                  <a:pt x="15562" y="2000"/>
                  <a:pt x="15531" y="2031"/>
                </a:cubicBezTo>
                <a:cubicBezTo>
                  <a:pt x="15500" y="2062"/>
                  <a:pt x="15469" y="2062"/>
                  <a:pt x="15469" y="2093"/>
                </a:cubicBezTo>
                <a:cubicBezTo>
                  <a:pt x="15531" y="2062"/>
                  <a:pt x="15625" y="2031"/>
                  <a:pt x="15719" y="1968"/>
                </a:cubicBezTo>
                <a:cubicBezTo>
                  <a:pt x="15750" y="1968"/>
                  <a:pt x="15781" y="2000"/>
                  <a:pt x="15812" y="1937"/>
                </a:cubicBezTo>
                <a:cubicBezTo>
                  <a:pt x="15844" y="1937"/>
                  <a:pt x="15875" y="1937"/>
                  <a:pt x="15937" y="1906"/>
                </a:cubicBezTo>
                <a:cubicBezTo>
                  <a:pt x="15937" y="1875"/>
                  <a:pt x="16000" y="1906"/>
                  <a:pt x="16000" y="1875"/>
                </a:cubicBezTo>
                <a:cubicBezTo>
                  <a:pt x="15969" y="1843"/>
                  <a:pt x="15937" y="1843"/>
                  <a:pt x="15937" y="1906"/>
                </a:cubicBezTo>
                <a:cubicBezTo>
                  <a:pt x="15875" y="1906"/>
                  <a:pt x="15844" y="1906"/>
                  <a:pt x="15812" y="1937"/>
                </a:cubicBezTo>
                <a:cubicBezTo>
                  <a:pt x="15781" y="1937"/>
                  <a:pt x="15750" y="1937"/>
                  <a:pt x="15750" y="1937"/>
                </a:cubicBezTo>
                <a:cubicBezTo>
                  <a:pt x="15750" y="1937"/>
                  <a:pt x="15719" y="1937"/>
                  <a:pt x="15719" y="1937"/>
                </a:cubicBezTo>
                <a:cubicBezTo>
                  <a:pt x="15719" y="1968"/>
                  <a:pt x="15719" y="1968"/>
                  <a:pt x="15719" y="1968"/>
                </a:cubicBezTo>
                <a:cubicBezTo>
                  <a:pt x="15687" y="1968"/>
                  <a:pt x="15656" y="1968"/>
                  <a:pt x="15625" y="2000"/>
                </a:cubicBezTo>
                <a:close/>
                <a:moveTo>
                  <a:pt x="15312" y="3218"/>
                </a:moveTo>
                <a:cubicBezTo>
                  <a:pt x="15312" y="3250"/>
                  <a:pt x="15312" y="3250"/>
                  <a:pt x="15312" y="3250"/>
                </a:cubicBezTo>
                <a:cubicBezTo>
                  <a:pt x="15312" y="3250"/>
                  <a:pt x="15312" y="3218"/>
                  <a:pt x="15344" y="3218"/>
                </a:cubicBezTo>
                <a:cubicBezTo>
                  <a:pt x="15469" y="3187"/>
                  <a:pt x="15594" y="3125"/>
                  <a:pt x="15719" y="3062"/>
                </a:cubicBezTo>
                <a:cubicBezTo>
                  <a:pt x="15594" y="3062"/>
                  <a:pt x="15437" y="3125"/>
                  <a:pt x="15344" y="3218"/>
                </a:cubicBezTo>
                <a:cubicBezTo>
                  <a:pt x="15312" y="3218"/>
                  <a:pt x="15312" y="3218"/>
                  <a:pt x="15312" y="3218"/>
                </a:cubicBezTo>
                <a:close/>
                <a:moveTo>
                  <a:pt x="15344" y="2625"/>
                </a:moveTo>
                <a:cubicBezTo>
                  <a:pt x="15344" y="2625"/>
                  <a:pt x="15344" y="2656"/>
                  <a:pt x="15344" y="2656"/>
                </a:cubicBezTo>
                <a:cubicBezTo>
                  <a:pt x="15375" y="2656"/>
                  <a:pt x="15375" y="2625"/>
                  <a:pt x="15375" y="2625"/>
                </a:cubicBezTo>
                <a:cubicBezTo>
                  <a:pt x="15375" y="2625"/>
                  <a:pt x="15375" y="2625"/>
                  <a:pt x="15375" y="2625"/>
                </a:cubicBezTo>
                <a:cubicBezTo>
                  <a:pt x="15375" y="2625"/>
                  <a:pt x="15344" y="2625"/>
                  <a:pt x="15344" y="2625"/>
                </a:cubicBezTo>
                <a:close/>
                <a:moveTo>
                  <a:pt x="15719" y="1937"/>
                </a:moveTo>
                <a:close/>
                <a:moveTo>
                  <a:pt x="9719" y="9718"/>
                </a:moveTo>
                <a:cubicBezTo>
                  <a:pt x="9781" y="9687"/>
                  <a:pt x="9844" y="9656"/>
                  <a:pt x="9906" y="9593"/>
                </a:cubicBezTo>
                <a:cubicBezTo>
                  <a:pt x="9812" y="9593"/>
                  <a:pt x="9781" y="9687"/>
                  <a:pt x="9719" y="9718"/>
                </a:cubicBezTo>
                <a:cubicBezTo>
                  <a:pt x="9719" y="9718"/>
                  <a:pt x="9719" y="9718"/>
                  <a:pt x="9719" y="9718"/>
                </a:cubicBezTo>
                <a:close/>
                <a:moveTo>
                  <a:pt x="9500" y="9562"/>
                </a:moveTo>
                <a:cubicBezTo>
                  <a:pt x="9594" y="9531"/>
                  <a:pt x="9687" y="9468"/>
                  <a:pt x="9781" y="9406"/>
                </a:cubicBezTo>
                <a:cubicBezTo>
                  <a:pt x="9656" y="9437"/>
                  <a:pt x="9594" y="9500"/>
                  <a:pt x="9500" y="9562"/>
                </a:cubicBezTo>
                <a:close/>
                <a:moveTo>
                  <a:pt x="11219" y="9250"/>
                </a:moveTo>
                <a:cubicBezTo>
                  <a:pt x="11219" y="9250"/>
                  <a:pt x="11250" y="9250"/>
                  <a:pt x="11281" y="9250"/>
                </a:cubicBezTo>
                <a:cubicBezTo>
                  <a:pt x="11250" y="9218"/>
                  <a:pt x="11219" y="9218"/>
                  <a:pt x="11219" y="9250"/>
                </a:cubicBezTo>
                <a:close/>
                <a:moveTo>
                  <a:pt x="14875" y="4593"/>
                </a:moveTo>
                <a:cubicBezTo>
                  <a:pt x="14906" y="4593"/>
                  <a:pt x="14937" y="4562"/>
                  <a:pt x="14969" y="4531"/>
                </a:cubicBezTo>
                <a:cubicBezTo>
                  <a:pt x="14906" y="4500"/>
                  <a:pt x="14875" y="4531"/>
                  <a:pt x="14875" y="4593"/>
                </a:cubicBezTo>
                <a:close/>
                <a:moveTo>
                  <a:pt x="4406" y="8875"/>
                </a:moveTo>
                <a:cubicBezTo>
                  <a:pt x="4406" y="8875"/>
                  <a:pt x="4406" y="8875"/>
                  <a:pt x="4406" y="8875"/>
                </a:cubicBezTo>
                <a:close/>
                <a:moveTo>
                  <a:pt x="8875" y="9937"/>
                </a:moveTo>
                <a:cubicBezTo>
                  <a:pt x="8937" y="9937"/>
                  <a:pt x="8969" y="9906"/>
                  <a:pt x="9000" y="9875"/>
                </a:cubicBezTo>
                <a:cubicBezTo>
                  <a:pt x="9062" y="9875"/>
                  <a:pt x="9062" y="9875"/>
                  <a:pt x="9062" y="9812"/>
                </a:cubicBezTo>
                <a:cubicBezTo>
                  <a:pt x="9031" y="9812"/>
                  <a:pt x="9000" y="9843"/>
                  <a:pt x="9000" y="9875"/>
                </a:cubicBezTo>
                <a:cubicBezTo>
                  <a:pt x="8969" y="9875"/>
                  <a:pt x="8937" y="9906"/>
                  <a:pt x="8875" y="9937"/>
                </a:cubicBezTo>
                <a:close/>
                <a:moveTo>
                  <a:pt x="2594" y="1406"/>
                </a:moveTo>
                <a:cubicBezTo>
                  <a:pt x="2625" y="1406"/>
                  <a:pt x="2687" y="1406"/>
                  <a:pt x="2719" y="1406"/>
                </a:cubicBezTo>
                <a:cubicBezTo>
                  <a:pt x="2687" y="1406"/>
                  <a:pt x="2625" y="1406"/>
                  <a:pt x="2594" y="1406"/>
                </a:cubicBezTo>
                <a:close/>
                <a:moveTo>
                  <a:pt x="15469" y="1687"/>
                </a:moveTo>
                <a:cubicBezTo>
                  <a:pt x="15469" y="1687"/>
                  <a:pt x="15500" y="1687"/>
                  <a:pt x="15500" y="1687"/>
                </a:cubicBezTo>
                <a:cubicBezTo>
                  <a:pt x="15469" y="1687"/>
                  <a:pt x="15469" y="1687"/>
                  <a:pt x="15469" y="1687"/>
                </a:cubicBezTo>
                <a:cubicBezTo>
                  <a:pt x="15469" y="1687"/>
                  <a:pt x="15469" y="1687"/>
                  <a:pt x="15469" y="1687"/>
                </a:cubicBezTo>
                <a:close/>
                <a:moveTo>
                  <a:pt x="10000" y="9531"/>
                </a:moveTo>
                <a:cubicBezTo>
                  <a:pt x="10062" y="9531"/>
                  <a:pt x="10094" y="9531"/>
                  <a:pt x="10125" y="9468"/>
                </a:cubicBezTo>
                <a:cubicBezTo>
                  <a:pt x="10156" y="9468"/>
                  <a:pt x="10187" y="9437"/>
                  <a:pt x="10219" y="9406"/>
                </a:cubicBezTo>
                <a:cubicBezTo>
                  <a:pt x="10156" y="9406"/>
                  <a:pt x="10125" y="9437"/>
                  <a:pt x="10125" y="9468"/>
                </a:cubicBezTo>
                <a:cubicBezTo>
                  <a:pt x="10062" y="9468"/>
                  <a:pt x="10031" y="9500"/>
                  <a:pt x="10000" y="9531"/>
                </a:cubicBezTo>
                <a:close/>
                <a:moveTo>
                  <a:pt x="9187" y="8968"/>
                </a:moveTo>
                <a:cubicBezTo>
                  <a:pt x="9125" y="9000"/>
                  <a:pt x="9031" y="9031"/>
                  <a:pt x="8969" y="9125"/>
                </a:cubicBezTo>
                <a:cubicBezTo>
                  <a:pt x="9062" y="9062"/>
                  <a:pt x="9125" y="9031"/>
                  <a:pt x="9219" y="9000"/>
                </a:cubicBezTo>
                <a:cubicBezTo>
                  <a:pt x="9187" y="8968"/>
                  <a:pt x="9187" y="8968"/>
                  <a:pt x="9187" y="8968"/>
                </a:cubicBezTo>
                <a:close/>
                <a:moveTo>
                  <a:pt x="9875" y="9375"/>
                </a:moveTo>
                <a:cubicBezTo>
                  <a:pt x="10031" y="9281"/>
                  <a:pt x="10187" y="9156"/>
                  <a:pt x="10375" y="9062"/>
                </a:cubicBezTo>
                <a:cubicBezTo>
                  <a:pt x="10375" y="9062"/>
                  <a:pt x="10344" y="9031"/>
                  <a:pt x="10344" y="9031"/>
                </a:cubicBezTo>
                <a:cubicBezTo>
                  <a:pt x="10187" y="9125"/>
                  <a:pt x="10000" y="9250"/>
                  <a:pt x="9844" y="9343"/>
                </a:cubicBezTo>
                <a:cubicBezTo>
                  <a:pt x="9844" y="9343"/>
                  <a:pt x="9844" y="9375"/>
                  <a:pt x="9875" y="9375"/>
                </a:cubicBezTo>
                <a:close/>
                <a:moveTo>
                  <a:pt x="16187" y="1437"/>
                </a:moveTo>
                <a:cubicBezTo>
                  <a:pt x="16062" y="1406"/>
                  <a:pt x="16000" y="1468"/>
                  <a:pt x="15937" y="1500"/>
                </a:cubicBezTo>
                <a:cubicBezTo>
                  <a:pt x="16000" y="1500"/>
                  <a:pt x="16062" y="1468"/>
                  <a:pt x="16187" y="1437"/>
                </a:cubicBezTo>
                <a:close/>
                <a:moveTo>
                  <a:pt x="16281" y="2812"/>
                </a:moveTo>
                <a:cubicBezTo>
                  <a:pt x="16219" y="2843"/>
                  <a:pt x="16156" y="2843"/>
                  <a:pt x="16094" y="2875"/>
                </a:cubicBezTo>
                <a:lnTo>
                  <a:pt x="16094" y="2875"/>
                </a:lnTo>
                <a:cubicBezTo>
                  <a:pt x="16062" y="2906"/>
                  <a:pt x="16031" y="2906"/>
                  <a:pt x="16000" y="2937"/>
                </a:cubicBezTo>
                <a:cubicBezTo>
                  <a:pt x="15937" y="2906"/>
                  <a:pt x="15875" y="2968"/>
                  <a:pt x="15812" y="3000"/>
                </a:cubicBezTo>
                <a:lnTo>
                  <a:pt x="15812" y="3000"/>
                </a:lnTo>
                <a:cubicBezTo>
                  <a:pt x="15875" y="3000"/>
                  <a:pt x="15969" y="3000"/>
                  <a:pt x="16000" y="2937"/>
                </a:cubicBezTo>
                <a:cubicBezTo>
                  <a:pt x="16156" y="2906"/>
                  <a:pt x="16281" y="2875"/>
                  <a:pt x="16406" y="2781"/>
                </a:cubicBezTo>
                <a:cubicBezTo>
                  <a:pt x="16437" y="2781"/>
                  <a:pt x="16469" y="2812"/>
                  <a:pt x="16500" y="2781"/>
                </a:cubicBezTo>
                <a:cubicBezTo>
                  <a:pt x="16469" y="2750"/>
                  <a:pt x="16437" y="2750"/>
                  <a:pt x="16437" y="2781"/>
                </a:cubicBezTo>
                <a:lnTo>
                  <a:pt x="16437" y="2781"/>
                </a:lnTo>
                <a:cubicBezTo>
                  <a:pt x="16437" y="2781"/>
                  <a:pt x="16437" y="2781"/>
                  <a:pt x="16437" y="2781"/>
                </a:cubicBezTo>
                <a:cubicBezTo>
                  <a:pt x="16406" y="2781"/>
                  <a:pt x="16406" y="2781"/>
                  <a:pt x="16406" y="2781"/>
                </a:cubicBezTo>
                <a:cubicBezTo>
                  <a:pt x="16344" y="2812"/>
                  <a:pt x="16312" y="2812"/>
                  <a:pt x="16281" y="2812"/>
                </a:cubicBezTo>
                <a:close/>
                <a:moveTo>
                  <a:pt x="16281" y="2812"/>
                </a:moveTo>
                <a:cubicBezTo>
                  <a:pt x="16219" y="2843"/>
                  <a:pt x="16156" y="2875"/>
                  <a:pt x="16094" y="2875"/>
                </a:cubicBezTo>
                <a:moveTo>
                  <a:pt x="11562" y="7500"/>
                </a:moveTo>
                <a:cubicBezTo>
                  <a:pt x="11500" y="7531"/>
                  <a:pt x="11406" y="7562"/>
                  <a:pt x="11344" y="7625"/>
                </a:cubicBezTo>
                <a:cubicBezTo>
                  <a:pt x="11250" y="7656"/>
                  <a:pt x="11156" y="7718"/>
                  <a:pt x="11094" y="7812"/>
                </a:cubicBezTo>
                <a:cubicBezTo>
                  <a:pt x="11187" y="7781"/>
                  <a:pt x="11281" y="7718"/>
                  <a:pt x="11375" y="7656"/>
                </a:cubicBezTo>
                <a:cubicBezTo>
                  <a:pt x="11437" y="7625"/>
                  <a:pt x="11500" y="7562"/>
                  <a:pt x="11562" y="7500"/>
                </a:cubicBezTo>
                <a:close/>
                <a:moveTo>
                  <a:pt x="32031" y="11562"/>
                </a:moveTo>
                <a:cubicBezTo>
                  <a:pt x="32031" y="11562"/>
                  <a:pt x="32031" y="11562"/>
                  <a:pt x="32000" y="11562"/>
                </a:cubicBezTo>
                <a:cubicBezTo>
                  <a:pt x="31687" y="11656"/>
                  <a:pt x="31344" y="11781"/>
                  <a:pt x="31031" y="11906"/>
                </a:cubicBezTo>
                <a:cubicBezTo>
                  <a:pt x="31031" y="11906"/>
                  <a:pt x="31062" y="11906"/>
                  <a:pt x="31094" y="11906"/>
                </a:cubicBezTo>
                <a:cubicBezTo>
                  <a:pt x="31344" y="11812"/>
                  <a:pt x="31625" y="11750"/>
                  <a:pt x="31875" y="11656"/>
                </a:cubicBezTo>
                <a:cubicBezTo>
                  <a:pt x="31937" y="11625"/>
                  <a:pt x="32062" y="11625"/>
                  <a:pt x="32094" y="11562"/>
                </a:cubicBezTo>
                <a:cubicBezTo>
                  <a:pt x="32094" y="11562"/>
                  <a:pt x="32062" y="11562"/>
                  <a:pt x="32031" y="11562"/>
                </a:cubicBezTo>
                <a:cubicBezTo>
                  <a:pt x="32031" y="11562"/>
                  <a:pt x="32031" y="11562"/>
                  <a:pt x="32000" y="11593"/>
                </a:cubicBezTo>
                <a:cubicBezTo>
                  <a:pt x="32031" y="11562"/>
                  <a:pt x="32031" y="11562"/>
                  <a:pt x="32031" y="11562"/>
                </a:cubicBezTo>
                <a:close/>
                <a:moveTo>
                  <a:pt x="23719" y="9000"/>
                </a:moveTo>
                <a:cubicBezTo>
                  <a:pt x="23594" y="9000"/>
                  <a:pt x="23531" y="9093"/>
                  <a:pt x="23437" y="9093"/>
                </a:cubicBezTo>
                <a:cubicBezTo>
                  <a:pt x="23531" y="9093"/>
                  <a:pt x="23625" y="9093"/>
                  <a:pt x="23719" y="9000"/>
                </a:cubicBezTo>
                <a:close/>
                <a:moveTo>
                  <a:pt x="32094" y="11531"/>
                </a:moveTo>
                <a:cubicBezTo>
                  <a:pt x="32187" y="11531"/>
                  <a:pt x="32250" y="11531"/>
                  <a:pt x="32312" y="11468"/>
                </a:cubicBezTo>
                <a:cubicBezTo>
                  <a:pt x="32406" y="11468"/>
                  <a:pt x="32469" y="11468"/>
                  <a:pt x="32531" y="11406"/>
                </a:cubicBezTo>
                <a:cubicBezTo>
                  <a:pt x="32625" y="11406"/>
                  <a:pt x="32687" y="11375"/>
                  <a:pt x="32781" y="11343"/>
                </a:cubicBezTo>
                <a:cubicBezTo>
                  <a:pt x="32781" y="11343"/>
                  <a:pt x="32781" y="11312"/>
                  <a:pt x="32781" y="11312"/>
                </a:cubicBezTo>
                <a:cubicBezTo>
                  <a:pt x="32781" y="11312"/>
                  <a:pt x="32781" y="11312"/>
                  <a:pt x="32781" y="11312"/>
                </a:cubicBezTo>
                <a:cubicBezTo>
                  <a:pt x="32719" y="11312"/>
                  <a:pt x="32656" y="11343"/>
                  <a:pt x="32594" y="11375"/>
                </a:cubicBezTo>
                <a:cubicBezTo>
                  <a:pt x="32594" y="11375"/>
                  <a:pt x="32625" y="11375"/>
                  <a:pt x="32625" y="11375"/>
                </a:cubicBezTo>
                <a:lnTo>
                  <a:pt x="32625" y="11375"/>
                </a:lnTo>
                <a:cubicBezTo>
                  <a:pt x="32625" y="11375"/>
                  <a:pt x="32594" y="11375"/>
                  <a:pt x="32594" y="11375"/>
                </a:cubicBezTo>
                <a:cubicBezTo>
                  <a:pt x="32562" y="11375"/>
                  <a:pt x="32562" y="11406"/>
                  <a:pt x="32531" y="11406"/>
                </a:cubicBezTo>
                <a:cubicBezTo>
                  <a:pt x="32500" y="11406"/>
                  <a:pt x="32469" y="11406"/>
                  <a:pt x="32469" y="11406"/>
                </a:cubicBezTo>
                <a:cubicBezTo>
                  <a:pt x="32437" y="11437"/>
                  <a:pt x="32406" y="11437"/>
                  <a:pt x="32375" y="11437"/>
                </a:cubicBezTo>
                <a:cubicBezTo>
                  <a:pt x="32406" y="11437"/>
                  <a:pt x="32437" y="11437"/>
                  <a:pt x="32469" y="11406"/>
                </a:cubicBezTo>
                <a:cubicBezTo>
                  <a:pt x="32437" y="11437"/>
                  <a:pt x="32375" y="11437"/>
                  <a:pt x="32344" y="11468"/>
                </a:cubicBezTo>
                <a:lnTo>
                  <a:pt x="32344" y="11468"/>
                </a:lnTo>
                <a:cubicBezTo>
                  <a:pt x="32344" y="11468"/>
                  <a:pt x="32344" y="11468"/>
                  <a:pt x="32312" y="11468"/>
                </a:cubicBezTo>
                <a:cubicBezTo>
                  <a:pt x="32281" y="11468"/>
                  <a:pt x="32281" y="11468"/>
                  <a:pt x="32250" y="11500"/>
                </a:cubicBezTo>
                <a:cubicBezTo>
                  <a:pt x="32219" y="11500"/>
                  <a:pt x="32219" y="11500"/>
                  <a:pt x="32219" y="11500"/>
                </a:cubicBezTo>
                <a:cubicBezTo>
                  <a:pt x="32219" y="11500"/>
                  <a:pt x="32219" y="11500"/>
                  <a:pt x="32250" y="11500"/>
                </a:cubicBezTo>
                <a:cubicBezTo>
                  <a:pt x="32187" y="11500"/>
                  <a:pt x="32156" y="11531"/>
                  <a:pt x="32094" y="11531"/>
                </a:cubicBezTo>
                <a:close/>
                <a:moveTo>
                  <a:pt x="30500" y="12093"/>
                </a:moveTo>
                <a:cubicBezTo>
                  <a:pt x="30406" y="12093"/>
                  <a:pt x="30312" y="12125"/>
                  <a:pt x="30250" y="12156"/>
                </a:cubicBezTo>
                <a:cubicBezTo>
                  <a:pt x="30344" y="12187"/>
                  <a:pt x="30406" y="12125"/>
                  <a:pt x="30500" y="12093"/>
                </a:cubicBezTo>
                <a:close/>
                <a:moveTo>
                  <a:pt x="26656" y="13375"/>
                </a:moveTo>
                <a:cubicBezTo>
                  <a:pt x="26875" y="13312"/>
                  <a:pt x="27094" y="13250"/>
                  <a:pt x="27312" y="13156"/>
                </a:cubicBezTo>
                <a:cubicBezTo>
                  <a:pt x="27687" y="13062"/>
                  <a:pt x="28031" y="12937"/>
                  <a:pt x="28375" y="12812"/>
                </a:cubicBezTo>
                <a:cubicBezTo>
                  <a:pt x="28562" y="12750"/>
                  <a:pt x="28719" y="12687"/>
                  <a:pt x="28875" y="12625"/>
                </a:cubicBezTo>
                <a:cubicBezTo>
                  <a:pt x="29094" y="12593"/>
                  <a:pt x="29281" y="12500"/>
                  <a:pt x="29469" y="12437"/>
                </a:cubicBezTo>
                <a:cubicBezTo>
                  <a:pt x="29719" y="12375"/>
                  <a:pt x="29937" y="12281"/>
                  <a:pt x="30156" y="12218"/>
                </a:cubicBezTo>
                <a:cubicBezTo>
                  <a:pt x="30156" y="12218"/>
                  <a:pt x="30156" y="12187"/>
                  <a:pt x="30156" y="12187"/>
                </a:cubicBezTo>
                <a:cubicBezTo>
                  <a:pt x="28937" y="12593"/>
                  <a:pt x="27750" y="12968"/>
                  <a:pt x="26531" y="13375"/>
                </a:cubicBezTo>
                <a:cubicBezTo>
                  <a:pt x="26594" y="13375"/>
                  <a:pt x="26625" y="13406"/>
                  <a:pt x="26656" y="13375"/>
                </a:cubicBezTo>
                <a:close/>
                <a:moveTo>
                  <a:pt x="30500" y="12312"/>
                </a:moveTo>
                <a:cubicBezTo>
                  <a:pt x="30594" y="12281"/>
                  <a:pt x="30687" y="12250"/>
                  <a:pt x="30781" y="12218"/>
                </a:cubicBezTo>
                <a:cubicBezTo>
                  <a:pt x="30781" y="12218"/>
                  <a:pt x="30781" y="12187"/>
                  <a:pt x="30750" y="12187"/>
                </a:cubicBezTo>
                <a:cubicBezTo>
                  <a:pt x="30687" y="12250"/>
                  <a:pt x="30562" y="12218"/>
                  <a:pt x="30500" y="12312"/>
                </a:cubicBezTo>
                <a:close/>
                <a:moveTo>
                  <a:pt x="32750" y="10250"/>
                </a:moveTo>
                <a:cubicBezTo>
                  <a:pt x="32594" y="10281"/>
                  <a:pt x="32437" y="10343"/>
                  <a:pt x="32281" y="10406"/>
                </a:cubicBezTo>
                <a:cubicBezTo>
                  <a:pt x="32312" y="10406"/>
                  <a:pt x="32312" y="10437"/>
                  <a:pt x="32312" y="10437"/>
                </a:cubicBezTo>
                <a:cubicBezTo>
                  <a:pt x="32469" y="10375"/>
                  <a:pt x="32625" y="10343"/>
                  <a:pt x="32781" y="10281"/>
                </a:cubicBezTo>
                <a:cubicBezTo>
                  <a:pt x="32781" y="10281"/>
                  <a:pt x="32750" y="10250"/>
                  <a:pt x="32750" y="10250"/>
                </a:cubicBezTo>
                <a:close/>
                <a:moveTo>
                  <a:pt x="32031" y="10500"/>
                </a:moveTo>
                <a:cubicBezTo>
                  <a:pt x="31437" y="10687"/>
                  <a:pt x="30812" y="10906"/>
                  <a:pt x="30219" y="11125"/>
                </a:cubicBezTo>
                <a:cubicBezTo>
                  <a:pt x="30219" y="11125"/>
                  <a:pt x="30219" y="11156"/>
                  <a:pt x="30219" y="11156"/>
                </a:cubicBezTo>
                <a:cubicBezTo>
                  <a:pt x="30812" y="10937"/>
                  <a:pt x="31437" y="10781"/>
                  <a:pt x="32031" y="10531"/>
                </a:cubicBezTo>
                <a:cubicBezTo>
                  <a:pt x="32031" y="10531"/>
                  <a:pt x="32031" y="10500"/>
                  <a:pt x="32031" y="10500"/>
                </a:cubicBezTo>
                <a:close/>
                <a:moveTo>
                  <a:pt x="32156" y="8218"/>
                </a:moveTo>
                <a:cubicBezTo>
                  <a:pt x="32125" y="8218"/>
                  <a:pt x="32062" y="8218"/>
                  <a:pt x="32094" y="8281"/>
                </a:cubicBezTo>
                <a:cubicBezTo>
                  <a:pt x="32125" y="8312"/>
                  <a:pt x="32125" y="8281"/>
                  <a:pt x="32156" y="8281"/>
                </a:cubicBezTo>
                <a:cubicBezTo>
                  <a:pt x="32375" y="8187"/>
                  <a:pt x="32562" y="8125"/>
                  <a:pt x="32781" y="8062"/>
                </a:cubicBezTo>
                <a:cubicBezTo>
                  <a:pt x="32781" y="8031"/>
                  <a:pt x="32781" y="8031"/>
                  <a:pt x="32781" y="8031"/>
                </a:cubicBezTo>
                <a:cubicBezTo>
                  <a:pt x="32781" y="8000"/>
                  <a:pt x="32781" y="8000"/>
                  <a:pt x="32781" y="8000"/>
                </a:cubicBezTo>
                <a:cubicBezTo>
                  <a:pt x="32781" y="8000"/>
                  <a:pt x="32781" y="8000"/>
                  <a:pt x="32750" y="8000"/>
                </a:cubicBezTo>
                <a:cubicBezTo>
                  <a:pt x="32562" y="8062"/>
                  <a:pt x="32344" y="8156"/>
                  <a:pt x="32156" y="8218"/>
                </a:cubicBezTo>
                <a:close/>
                <a:moveTo>
                  <a:pt x="31375" y="12875"/>
                </a:moveTo>
                <a:cubicBezTo>
                  <a:pt x="31312" y="12906"/>
                  <a:pt x="31281" y="12906"/>
                  <a:pt x="31219" y="12937"/>
                </a:cubicBezTo>
                <a:cubicBezTo>
                  <a:pt x="31281" y="12937"/>
                  <a:pt x="31344" y="12937"/>
                  <a:pt x="31375" y="12875"/>
                </a:cubicBezTo>
                <a:close/>
                <a:moveTo>
                  <a:pt x="25625" y="8187"/>
                </a:moveTo>
                <a:cubicBezTo>
                  <a:pt x="25656" y="8156"/>
                  <a:pt x="25687" y="8187"/>
                  <a:pt x="25687" y="8156"/>
                </a:cubicBezTo>
                <a:cubicBezTo>
                  <a:pt x="25656" y="8156"/>
                  <a:pt x="25625" y="8125"/>
                  <a:pt x="25625" y="8187"/>
                </a:cubicBezTo>
                <a:cubicBezTo>
                  <a:pt x="25594" y="8187"/>
                  <a:pt x="25562" y="8187"/>
                  <a:pt x="25531" y="8187"/>
                </a:cubicBezTo>
                <a:lnTo>
                  <a:pt x="25531" y="8187"/>
                </a:lnTo>
                <a:cubicBezTo>
                  <a:pt x="25500" y="8218"/>
                  <a:pt x="25500" y="8218"/>
                  <a:pt x="25469" y="8218"/>
                </a:cubicBezTo>
                <a:cubicBezTo>
                  <a:pt x="25469" y="8218"/>
                  <a:pt x="25437" y="8218"/>
                  <a:pt x="25437" y="8250"/>
                </a:cubicBezTo>
                <a:cubicBezTo>
                  <a:pt x="25375" y="8250"/>
                  <a:pt x="25344" y="8281"/>
                  <a:pt x="25281" y="8281"/>
                </a:cubicBezTo>
                <a:lnTo>
                  <a:pt x="25281" y="8281"/>
                </a:lnTo>
                <a:cubicBezTo>
                  <a:pt x="25281" y="8281"/>
                  <a:pt x="25281" y="8281"/>
                  <a:pt x="25281" y="8281"/>
                </a:cubicBezTo>
                <a:cubicBezTo>
                  <a:pt x="25312" y="8281"/>
                  <a:pt x="25344" y="8250"/>
                  <a:pt x="25375" y="8250"/>
                </a:cubicBezTo>
                <a:cubicBezTo>
                  <a:pt x="25250" y="8281"/>
                  <a:pt x="25125" y="8312"/>
                  <a:pt x="25031" y="8375"/>
                </a:cubicBezTo>
                <a:cubicBezTo>
                  <a:pt x="25062" y="8375"/>
                  <a:pt x="25125" y="8343"/>
                  <a:pt x="25156" y="8343"/>
                </a:cubicBezTo>
                <a:cubicBezTo>
                  <a:pt x="25156" y="8343"/>
                  <a:pt x="25156" y="8343"/>
                  <a:pt x="25156" y="8343"/>
                </a:cubicBezTo>
                <a:cubicBezTo>
                  <a:pt x="25125" y="8343"/>
                  <a:pt x="25094" y="8375"/>
                  <a:pt x="25062" y="8375"/>
                </a:cubicBezTo>
                <a:cubicBezTo>
                  <a:pt x="25062" y="8406"/>
                  <a:pt x="25031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5000" y="8406"/>
                  <a:pt x="25000" y="8406"/>
                </a:cubicBezTo>
                <a:cubicBezTo>
                  <a:pt x="25000" y="8406"/>
                  <a:pt x="24969" y="8406"/>
                  <a:pt x="24969" y="8437"/>
                </a:cubicBezTo>
                <a:cubicBezTo>
                  <a:pt x="24937" y="8437"/>
                  <a:pt x="24875" y="8437"/>
                  <a:pt x="24844" y="8468"/>
                </a:cubicBezTo>
                <a:lnTo>
                  <a:pt x="24844" y="8468"/>
                </a:lnTo>
                <a:cubicBezTo>
                  <a:pt x="24906" y="8468"/>
                  <a:pt x="24937" y="8468"/>
                  <a:pt x="24969" y="8437"/>
                </a:cubicBezTo>
                <a:cubicBezTo>
                  <a:pt x="25000" y="8437"/>
                  <a:pt x="25062" y="8437"/>
                  <a:pt x="25062" y="8375"/>
                </a:cubicBezTo>
                <a:cubicBezTo>
                  <a:pt x="25187" y="8343"/>
                  <a:pt x="25312" y="8312"/>
                  <a:pt x="25437" y="8250"/>
                </a:cubicBezTo>
                <a:cubicBezTo>
                  <a:pt x="25500" y="8250"/>
                  <a:pt x="25562" y="8218"/>
                  <a:pt x="25625" y="8187"/>
                </a:cubicBezTo>
                <a:close/>
                <a:moveTo>
                  <a:pt x="2844" y="1375"/>
                </a:moveTo>
                <a:cubicBezTo>
                  <a:pt x="2844" y="1375"/>
                  <a:pt x="2844" y="1375"/>
                  <a:pt x="2844" y="1375"/>
                </a:cubicBezTo>
                <a:cubicBezTo>
                  <a:pt x="2844" y="1375"/>
                  <a:pt x="2875" y="1375"/>
                  <a:pt x="2875" y="1343"/>
                </a:cubicBezTo>
                <a:cubicBezTo>
                  <a:pt x="2875" y="1375"/>
                  <a:pt x="2844" y="1375"/>
                  <a:pt x="2844" y="1375"/>
                </a:cubicBezTo>
                <a:close/>
                <a:moveTo>
                  <a:pt x="32031" y="12687"/>
                </a:moveTo>
                <a:cubicBezTo>
                  <a:pt x="32094" y="12687"/>
                  <a:pt x="32156" y="12687"/>
                  <a:pt x="32219" y="12625"/>
                </a:cubicBezTo>
                <a:cubicBezTo>
                  <a:pt x="32156" y="12625"/>
                  <a:pt x="32125" y="12687"/>
                  <a:pt x="32062" y="12687"/>
                </a:cubicBezTo>
                <a:cubicBezTo>
                  <a:pt x="32031" y="12687"/>
                  <a:pt x="32031" y="12687"/>
                  <a:pt x="32031" y="12687"/>
                </a:cubicBezTo>
                <a:close/>
                <a:moveTo>
                  <a:pt x="24937" y="8531"/>
                </a:moveTo>
                <a:cubicBezTo>
                  <a:pt x="25031" y="8531"/>
                  <a:pt x="25125" y="8500"/>
                  <a:pt x="25219" y="8437"/>
                </a:cubicBezTo>
                <a:cubicBezTo>
                  <a:pt x="25125" y="8437"/>
                  <a:pt x="25031" y="8500"/>
                  <a:pt x="24937" y="8531"/>
                </a:cubicBezTo>
                <a:close/>
                <a:moveTo>
                  <a:pt x="23906" y="8843"/>
                </a:moveTo>
                <a:cubicBezTo>
                  <a:pt x="24000" y="8812"/>
                  <a:pt x="24125" y="8781"/>
                  <a:pt x="24219" y="8718"/>
                </a:cubicBezTo>
                <a:cubicBezTo>
                  <a:pt x="24250" y="8718"/>
                  <a:pt x="24312" y="8687"/>
                  <a:pt x="24344" y="8718"/>
                </a:cubicBezTo>
                <a:cubicBezTo>
                  <a:pt x="24406" y="8843"/>
                  <a:pt x="24469" y="8718"/>
                  <a:pt x="24531" y="8718"/>
                </a:cubicBezTo>
                <a:lnTo>
                  <a:pt x="24531" y="8718"/>
                </a:lnTo>
                <a:cubicBezTo>
                  <a:pt x="24625" y="8687"/>
                  <a:pt x="24750" y="8625"/>
                  <a:pt x="24875" y="8593"/>
                </a:cubicBezTo>
                <a:cubicBezTo>
                  <a:pt x="24750" y="8562"/>
                  <a:pt x="24656" y="8656"/>
                  <a:pt x="24531" y="8687"/>
                </a:cubicBezTo>
                <a:cubicBezTo>
                  <a:pt x="24469" y="8656"/>
                  <a:pt x="24437" y="8750"/>
                  <a:pt x="24344" y="8718"/>
                </a:cubicBezTo>
                <a:cubicBezTo>
                  <a:pt x="24312" y="8687"/>
                  <a:pt x="24375" y="8687"/>
                  <a:pt x="24375" y="8656"/>
                </a:cubicBezTo>
                <a:lnTo>
                  <a:pt x="24375" y="8656"/>
                </a:lnTo>
                <a:cubicBezTo>
                  <a:pt x="24406" y="8656"/>
                  <a:pt x="24469" y="8656"/>
                  <a:pt x="24500" y="8593"/>
                </a:cubicBezTo>
                <a:cubicBezTo>
                  <a:pt x="24594" y="8593"/>
                  <a:pt x="24687" y="8562"/>
                  <a:pt x="24781" y="8500"/>
                </a:cubicBezTo>
                <a:cubicBezTo>
                  <a:pt x="24656" y="8500"/>
                  <a:pt x="24562" y="8562"/>
                  <a:pt x="24500" y="8593"/>
                </a:cubicBezTo>
                <a:cubicBezTo>
                  <a:pt x="24469" y="8625"/>
                  <a:pt x="24437" y="8625"/>
                  <a:pt x="24406" y="8625"/>
                </a:cubicBezTo>
                <a:cubicBezTo>
                  <a:pt x="24406" y="8625"/>
                  <a:pt x="24375" y="8656"/>
                  <a:pt x="24375" y="8656"/>
                </a:cubicBezTo>
                <a:cubicBezTo>
                  <a:pt x="24375" y="8656"/>
                  <a:pt x="24406" y="8625"/>
                  <a:pt x="24406" y="8625"/>
                </a:cubicBezTo>
                <a:cubicBezTo>
                  <a:pt x="24344" y="8656"/>
                  <a:pt x="24250" y="8656"/>
                  <a:pt x="24219" y="8718"/>
                </a:cubicBezTo>
                <a:cubicBezTo>
                  <a:pt x="24094" y="8718"/>
                  <a:pt x="24000" y="8781"/>
                  <a:pt x="23906" y="8843"/>
                </a:cubicBezTo>
                <a:close/>
                <a:moveTo>
                  <a:pt x="27344" y="14187"/>
                </a:moveTo>
                <a:cubicBezTo>
                  <a:pt x="27469" y="14125"/>
                  <a:pt x="27625" y="14125"/>
                  <a:pt x="27719" y="14031"/>
                </a:cubicBezTo>
                <a:cubicBezTo>
                  <a:pt x="27625" y="14062"/>
                  <a:pt x="27500" y="14125"/>
                  <a:pt x="27375" y="14125"/>
                </a:cubicBezTo>
                <a:cubicBezTo>
                  <a:pt x="27375" y="14125"/>
                  <a:pt x="27344" y="14156"/>
                  <a:pt x="27344" y="14187"/>
                </a:cubicBezTo>
                <a:close/>
                <a:moveTo>
                  <a:pt x="31156" y="12968"/>
                </a:moveTo>
                <a:cubicBezTo>
                  <a:pt x="31062" y="13000"/>
                  <a:pt x="30969" y="13031"/>
                  <a:pt x="30875" y="13062"/>
                </a:cubicBezTo>
                <a:cubicBezTo>
                  <a:pt x="30969" y="13062"/>
                  <a:pt x="31062" y="13000"/>
                  <a:pt x="31156" y="12968"/>
                </a:cubicBezTo>
                <a:close/>
                <a:moveTo>
                  <a:pt x="32000" y="12687"/>
                </a:moveTo>
                <a:cubicBezTo>
                  <a:pt x="31875" y="12718"/>
                  <a:pt x="31781" y="12750"/>
                  <a:pt x="31656" y="12812"/>
                </a:cubicBezTo>
                <a:cubicBezTo>
                  <a:pt x="31781" y="12781"/>
                  <a:pt x="31875" y="12750"/>
                  <a:pt x="32000" y="12687"/>
                </a:cubicBezTo>
                <a:close/>
                <a:moveTo>
                  <a:pt x="27875" y="14031"/>
                </a:moveTo>
                <a:cubicBezTo>
                  <a:pt x="27906" y="14031"/>
                  <a:pt x="27906" y="14031"/>
                  <a:pt x="27906" y="14031"/>
                </a:cubicBezTo>
                <a:cubicBezTo>
                  <a:pt x="28031" y="13968"/>
                  <a:pt x="28156" y="13937"/>
                  <a:pt x="28281" y="13875"/>
                </a:cubicBezTo>
                <a:cubicBezTo>
                  <a:pt x="28156" y="13906"/>
                  <a:pt x="28031" y="13937"/>
                  <a:pt x="27906" y="14000"/>
                </a:cubicBezTo>
                <a:cubicBezTo>
                  <a:pt x="27906" y="14000"/>
                  <a:pt x="27906" y="14000"/>
                  <a:pt x="27875" y="14031"/>
                </a:cubicBezTo>
                <a:close/>
                <a:moveTo>
                  <a:pt x="29062" y="13625"/>
                </a:moveTo>
                <a:cubicBezTo>
                  <a:pt x="29000" y="13656"/>
                  <a:pt x="28937" y="13687"/>
                  <a:pt x="28875" y="13687"/>
                </a:cubicBezTo>
                <a:cubicBezTo>
                  <a:pt x="28937" y="13687"/>
                  <a:pt x="29000" y="13687"/>
                  <a:pt x="29062" y="13625"/>
                </a:cubicBezTo>
                <a:close/>
                <a:moveTo>
                  <a:pt x="28281" y="13875"/>
                </a:moveTo>
                <a:cubicBezTo>
                  <a:pt x="28406" y="13843"/>
                  <a:pt x="28500" y="13843"/>
                  <a:pt x="28594" y="13781"/>
                </a:cubicBezTo>
                <a:cubicBezTo>
                  <a:pt x="28656" y="13750"/>
                  <a:pt x="28719" y="13781"/>
                  <a:pt x="28781" y="13718"/>
                </a:cubicBezTo>
                <a:cubicBezTo>
                  <a:pt x="28687" y="13718"/>
                  <a:pt x="28625" y="13750"/>
                  <a:pt x="28562" y="13781"/>
                </a:cubicBezTo>
                <a:cubicBezTo>
                  <a:pt x="28469" y="13843"/>
                  <a:pt x="28344" y="13781"/>
                  <a:pt x="28281" y="13875"/>
                </a:cubicBezTo>
                <a:close/>
                <a:moveTo>
                  <a:pt x="32219" y="8343"/>
                </a:moveTo>
                <a:cubicBezTo>
                  <a:pt x="32250" y="8406"/>
                  <a:pt x="32281" y="8375"/>
                  <a:pt x="32312" y="8375"/>
                </a:cubicBezTo>
                <a:cubicBezTo>
                  <a:pt x="32469" y="8312"/>
                  <a:pt x="32625" y="8250"/>
                  <a:pt x="32781" y="8187"/>
                </a:cubicBezTo>
                <a:cubicBezTo>
                  <a:pt x="32781" y="8187"/>
                  <a:pt x="32781" y="8156"/>
                  <a:pt x="32781" y="8156"/>
                </a:cubicBezTo>
                <a:cubicBezTo>
                  <a:pt x="32781" y="8156"/>
                  <a:pt x="32781" y="8125"/>
                  <a:pt x="32781" y="8125"/>
                </a:cubicBezTo>
                <a:cubicBezTo>
                  <a:pt x="32594" y="8156"/>
                  <a:pt x="32437" y="8250"/>
                  <a:pt x="32250" y="8281"/>
                </a:cubicBezTo>
                <a:cubicBezTo>
                  <a:pt x="32219" y="8312"/>
                  <a:pt x="32219" y="8343"/>
                  <a:pt x="32219" y="8343"/>
                </a:cubicBezTo>
                <a:close/>
                <a:moveTo>
                  <a:pt x="32375" y="7656"/>
                </a:moveTo>
                <a:cubicBezTo>
                  <a:pt x="32281" y="7656"/>
                  <a:pt x="32219" y="7687"/>
                  <a:pt x="32187" y="7750"/>
                </a:cubicBezTo>
                <a:cubicBezTo>
                  <a:pt x="32062" y="7750"/>
                  <a:pt x="31969" y="7781"/>
                  <a:pt x="31875" y="7875"/>
                </a:cubicBezTo>
                <a:lnTo>
                  <a:pt x="31875" y="7875"/>
                </a:lnTo>
                <a:cubicBezTo>
                  <a:pt x="31969" y="7843"/>
                  <a:pt x="32094" y="7812"/>
                  <a:pt x="32187" y="7750"/>
                </a:cubicBezTo>
                <a:cubicBezTo>
                  <a:pt x="32250" y="7750"/>
                  <a:pt x="32312" y="7718"/>
                  <a:pt x="32375" y="7656"/>
                </a:cubicBezTo>
                <a:close/>
                <a:moveTo>
                  <a:pt x="32781" y="7531"/>
                </a:moveTo>
                <a:cubicBezTo>
                  <a:pt x="32781" y="7531"/>
                  <a:pt x="32781" y="7531"/>
                  <a:pt x="32781" y="7500"/>
                </a:cubicBezTo>
                <a:cubicBezTo>
                  <a:pt x="32781" y="7500"/>
                  <a:pt x="32781" y="7500"/>
                  <a:pt x="32781" y="7500"/>
                </a:cubicBezTo>
                <a:cubicBezTo>
                  <a:pt x="32687" y="7531"/>
                  <a:pt x="32625" y="7562"/>
                  <a:pt x="32531" y="7593"/>
                </a:cubicBezTo>
                <a:cubicBezTo>
                  <a:pt x="32625" y="7625"/>
                  <a:pt x="32687" y="7562"/>
                  <a:pt x="32781" y="7531"/>
                </a:cubicBezTo>
                <a:close/>
                <a:moveTo>
                  <a:pt x="24687" y="10531"/>
                </a:moveTo>
                <a:cubicBezTo>
                  <a:pt x="24719" y="10531"/>
                  <a:pt x="24719" y="10531"/>
                  <a:pt x="24750" y="10531"/>
                </a:cubicBezTo>
                <a:moveTo>
                  <a:pt x="26500" y="9875"/>
                </a:moveTo>
                <a:cubicBezTo>
                  <a:pt x="26594" y="9843"/>
                  <a:pt x="26687" y="9812"/>
                  <a:pt x="26781" y="9750"/>
                </a:cubicBezTo>
                <a:cubicBezTo>
                  <a:pt x="26906" y="9750"/>
                  <a:pt x="27000" y="9687"/>
                  <a:pt x="27062" y="9656"/>
                </a:cubicBezTo>
                <a:lnTo>
                  <a:pt x="27062" y="9656"/>
                </a:lnTo>
                <a:cubicBezTo>
                  <a:pt x="26969" y="9656"/>
                  <a:pt x="26875" y="9687"/>
                  <a:pt x="26781" y="9750"/>
                </a:cubicBezTo>
                <a:cubicBezTo>
                  <a:pt x="26687" y="9781"/>
                  <a:pt x="26562" y="9812"/>
                  <a:pt x="26500" y="9875"/>
                </a:cubicBezTo>
                <a:close/>
                <a:moveTo>
                  <a:pt x="31500" y="8656"/>
                </a:moveTo>
                <a:cubicBezTo>
                  <a:pt x="31656" y="8593"/>
                  <a:pt x="31844" y="8562"/>
                  <a:pt x="32000" y="8468"/>
                </a:cubicBezTo>
                <a:cubicBezTo>
                  <a:pt x="32062" y="8468"/>
                  <a:pt x="32125" y="8437"/>
                  <a:pt x="32156" y="8406"/>
                </a:cubicBezTo>
                <a:cubicBezTo>
                  <a:pt x="32187" y="8406"/>
                  <a:pt x="32219" y="8375"/>
                  <a:pt x="32187" y="8343"/>
                </a:cubicBezTo>
                <a:cubicBezTo>
                  <a:pt x="32156" y="8312"/>
                  <a:pt x="32156" y="8343"/>
                  <a:pt x="32125" y="8343"/>
                </a:cubicBezTo>
                <a:cubicBezTo>
                  <a:pt x="32031" y="8375"/>
                  <a:pt x="31906" y="8406"/>
                  <a:pt x="31812" y="8468"/>
                </a:cubicBezTo>
                <a:cubicBezTo>
                  <a:pt x="31687" y="8500"/>
                  <a:pt x="31562" y="8500"/>
                  <a:pt x="31469" y="8593"/>
                </a:cubicBezTo>
                <a:cubicBezTo>
                  <a:pt x="31469" y="8625"/>
                  <a:pt x="31437" y="8593"/>
                  <a:pt x="31437" y="8656"/>
                </a:cubicBezTo>
                <a:cubicBezTo>
                  <a:pt x="31469" y="8656"/>
                  <a:pt x="31469" y="8656"/>
                  <a:pt x="31500" y="8656"/>
                </a:cubicBezTo>
                <a:close/>
                <a:moveTo>
                  <a:pt x="31906" y="8031"/>
                </a:moveTo>
                <a:cubicBezTo>
                  <a:pt x="31687" y="8093"/>
                  <a:pt x="31469" y="8187"/>
                  <a:pt x="31250" y="8281"/>
                </a:cubicBezTo>
                <a:cubicBezTo>
                  <a:pt x="31062" y="8312"/>
                  <a:pt x="30906" y="8406"/>
                  <a:pt x="30719" y="8468"/>
                </a:cubicBezTo>
                <a:cubicBezTo>
                  <a:pt x="30656" y="8375"/>
                  <a:pt x="30594" y="8437"/>
                  <a:pt x="30500" y="8468"/>
                </a:cubicBezTo>
                <a:cubicBezTo>
                  <a:pt x="30469" y="8468"/>
                  <a:pt x="30437" y="8468"/>
                  <a:pt x="30437" y="8531"/>
                </a:cubicBez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7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8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39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0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1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2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3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4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5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6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7" y="8531"/>
                </a:lnTo>
                <a:lnTo>
                  <a:pt x="30448" y="8531"/>
                </a:lnTo>
                <a:lnTo>
                  <a:pt x="30448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49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0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1" y="8531"/>
                </a:lnTo>
                <a:lnTo>
                  <a:pt x="30452" y="8531"/>
                </a:lnTo>
                <a:lnTo>
                  <a:pt x="30452" y="8531"/>
                </a:lnTo>
                <a:lnTo>
                  <a:pt x="30453" y="8531"/>
                </a:lnTo>
                <a:lnTo>
                  <a:pt x="30453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4" y="8531"/>
                </a:lnTo>
                <a:lnTo>
                  <a:pt x="30455" y="8531"/>
                </a:lnTo>
                <a:lnTo>
                  <a:pt x="30455" y="8531"/>
                </a:lnTo>
                <a:lnTo>
                  <a:pt x="30456" y="8531"/>
                </a:lnTo>
                <a:lnTo>
                  <a:pt x="30456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7" y="8531"/>
                </a:lnTo>
                <a:lnTo>
                  <a:pt x="30458" y="8531"/>
                </a:lnTo>
                <a:lnTo>
                  <a:pt x="30458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59" y="8531"/>
                </a:lnTo>
                <a:lnTo>
                  <a:pt x="30460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1" y="8531"/>
                </a:lnTo>
                <a:lnTo>
                  <a:pt x="30462" y="8531"/>
                </a:lnTo>
                <a:lnTo>
                  <a:pt x="30462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3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4" y="8531"/>
                </a:lnTo>
                <a:lnTo>
                  <a:pt x="30465" y="8531"/>
                </a:lnTo>
                <a:lnTo>
                  <a:pt x="30465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6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7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8" y="8531"/>
                </a:lnTo>
                <a:lnTo>
                  <a:pt x="30469" y="8531"/>
                </a:lnTo>
                <a:lnTo>
                  <a:pt x="30469" y="8531"/>
                </a:lnTo>
                <a:cubicBezTo>
                  <a:pt x="30469" y="8531"/>
                  <a:pt x="30437" y="8531"/>
                  <a:pt x="30437" y="8531"/>
                </a:cubicBezTo>
                <a:lnTo>
                  <a:pt x="30437" y="8531"/>
                </a:lnTo>
                <a:moveTo>
                  <a:pt x="30469" y="8531"/>
                </a:moveTo>
                <a:cubicBezTo>
                  <a:pt x="30469" y="8562"/>
                  <a:pt x="30500" y="8562"/>
                  <a:pt x="30500" y="8562"/>
                </a:cubicBezTo>
                <a:cubicBezTo>
                  <a:pt x="30500" y="8562"/>
                  <a:pt x="30500" y="8562"/>
                  <a:pt x="30469" y="8562"/>
                </a:cubicBezTo>
                <a:cubicBezTo>
                  <a:pt x="30437" y="8562"/>
                  <a:pt x="30344" y="8562"/>
                  <a:pt x="30375" y="8625"/>
                </a:cubicBezTo>
                <a:cubicBezTo>
                  <a:pt x="30375" y="8687"/>
                  <a:pt x="30437" y="8687"/>
                  <a:pt x="30500" y="8656"/>
                </a:cubicBezTo>
                <a:cubicBezTo>
                  <a:pt x="30594" y="8625"/>
                  <a:pt x="30687" y="8593"/>
                  <a:pt x="30781" y="8562"/>
                </a:cubicBezTo>
                <a:cubicBezTo>
                  <a:pt x="31062" y="8468"/>
                  <a:pt x="31375" y="8343"/>
                  <a:pt x="31656" y="8250"/>
                </a:cubicBezTo>
                <a:cubicBezTo>
                  <a:pt x="31875" y="8156"/>
                  <a:pt x="32125" y="8062"/>
                  <a:pt x="32344" y="7968"/>
                </a:cubicBezTo>
                <a:cubicBezTo>
                  <a:pt x="32500" y="7937"/>
                  <a:pt x="32625" y="7843"/>
                  <a:pt x="32781" y="7812"/>
                </a:cubicBezTo>
                <a:cubicBezTo>
                  <a:pt x="32781" y="7812"/>
                  <a:pt x="32781" y="7812"/>
                  <a:pt x="32781" y="7812"/>
                </a:cubicBezTo>
                <a:cubicBezTo>
                  <a:pt x="32781" y="7781"/>
                  <a:pt x="32781" y="7750"/>
                  <a:pt x="32781" y="7718"/>
                </a:cubicBezTo>
                <a:cubicBezTo>
                  <a:pt x="32719" y="7718"/>
                  <a:pt x="32687" y="7750"/>
                  <a:pt x="32625" y="7750"/>
                </a:cubicBezTo>
                <a:cubicBezTo>
                  <a:pt x="32375" y="7843"/>
                  <a:pt x="32156" y="7937"/>
                  <a:pt x="31906" y="8031"/>
                </a:cubicBezTo>
                <a:lnTo>
                  <a:pt x="31906" y="8031"/>
                </a:lnTo>
                <a:moveTo>
                  <a:pt x="30312" y="9093"/>
                </a:moveTo>
                <a:cubicBezTo>
                  <a:pt x="30344" y="9093"/>
                  <a:pt x="30344" y="9093"/>
                  <a:pt x="30344" y="9093"/>
                </a:cubicBezTo>
                <a:cubicBezTo>
                  <a:pt x="30656" y="9000"/>
                  <a:pt x="30937" y="8875"/>
                  <a:pt x="31219" y="8750"/>
                </a:cubicBezTo>
                <a:cubicBezTo>
                  <a:pt x="31281" y="8750"/>
                  <a:pt x="31344" y="8718"/>
                  <a:pt x="31375" y="8687"/>
                </a:cubicBezTo>
                <a:cubicBezTo>
                  <a:pt x="31406" y="8687"/>
                  <a:pt x="31406" y="8656"/>
                  <a:pt x="31406" y="8656"/>
                </a:cubicBezTo>
                <a:cubicBezTo>
                  <a:pt x="31406" y="8625"/>
                  <a:pt x="31375" y="8625"/>
                  <a:pt x="31344" y="8625"/>
                </a:cubicBezTo>
                <a:cubicBezTo>
                  <a:pt x="31219" y="8718"/>
                  <a:pt x="31031" y="8718"/>
                  <a:pt x="30875" y="8812"/>
                </a:cubicBezTo>
                <a:cubicBezTo>
                  <a:pt x="30781" y="8875"/>
                  <a:pt x="30687" y="8875"/>
                  <a:pt x="30594" y="8906"/>
                </a:cubicBezTo>
                <a:cubicBezTo>
                  <a:pt x="30500" y="8937"/>
                  <a:pt x="30375" y="9000"/>
                  <a:pt x="30281" y="9031"/>
                </a:cubicBezTo>
                <a:cubicBezTo>
                  <a:pt x="30281" y="9062"/>
                  <a:pt x="30281" y="9062"/>
                  <a:pt x="30281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281" y="9093"/>
                  <a:pt x="30312" y="9093"/>
                </a:cubicBezTo>
                <a:cubicBezTo>
                  <a:pt x="30281" y="9093"/>
                  <a:pt x="30281" y="9093"/>
                  <a:pt x="30281" y="9093"/>
                </a:cubicBezTo>
                <a:cubicBezTo>
                  <a:pt x="30281" y="9093"/>
                  <a:pt x="30312" y="9093"/>
                  <a:pt x="30312" y="9093"/>
                </a:cubicBezTo>
                <a:close/>
                <a:moveTo>
                  <a:pt x="28281" y="11812"/>
                </a:moveTo>
                <a:cubicBezTo>
                  <a:pt x="28937" y="11625"/>
                  <a:pt x="29562" y="11406"/>
                  <a:pt x="30187" y="11187"/>
                </a:cubicBezTo>
                <a:cubicBezTo>
                  <a:pt x="30187" y="11156"/>
                  <a:pt x="30156" y="11156"/>
                  <a:pt x="30156" y="11125"/>
                </a:cubicBezTo>
                <a:cubicBezTo>
                  <a:pt x="29531" y="11343"/>
                  <a:pt x="28906" y="11562"/>
                  <a:pt x="28281" y="11781"/>
                </a:cubicBezTo>
                <a:cubicBezTo>
                  <a:pt x="28281" y="11812"/>
                  <a:pt x="28281" y="11812"/>
                  <a:pt x="28281" y="11812"/>
                </a:cubicBezTo>
                <a:close/>
                <a:moveTo>
                  <a:pt x="26125" y="12562"/>
                </a:moveTo>
                <a:cubicBezTo>
                  <a:pt x="26812" y="12343"/>
                  <a:pt x="27500" y="12093"/>
                  <a:pt x="28187" y="11875"/>
                </a:cubicBezTo>
                <a:cubicBezTo>
                  <a:pt x="28187" y="11843"/>
                  <a:pt x="28187" y="11843"/>
                  <a:pt x="28187" y="11812"/>
                </a:cubicBezTo>
                <a:cubicBezTo>
                  <a:pt x="27500" y="12062"/>
                  <a:pt x="26812" y="12281"/>
                  <a:pt x="26125" y="12500"/>
                </a:cubicBezTo>
                <a:cubicBezTo>
                  <a:pt x="26125" y="12531"/>
                  <a:pt x="26125" y="12531"/>
                  <a:pt x="26125" y="12562"/>
                </a:cubicBezTo>
                <a:close/>
                <a:moveTo>
                  <a:pt x="32031" y="8250"/>
                </a:moveTo>
                <a:cubicBezTo>
                  <a:pt x="31344" y="8531"/>
                  <a:pt x="30625" y="8781"/>
                  <a:pt x="29937" y="9031"/>
                </a:cubicBezTo>
                <a:cubicBezTo>
                  <a:pt x="29937" y="9062"/>
                  <a:pt x="29969" y="9062"/>
                  <a:pt x="29969" y="9093"/>
                </a:cubicBezTo>
                <a:cubicBezTo>
                  <a:pt x="30656" y="8843"/>
                  <a:pt x="31344" y="8562"/>
                  <a:pt x="32062" y="8312"/>
                </a:cubicBezTo>
                <a:cubicBezTo>
                  <a:pt x="32062" y="8281"/>
                  <a:pt x="32031" y="8281"/>
                  <a:pt x="32031" y="8250"/>
                </a:cubicBezTo>
                <a:close/>
                <a:moveTo>
                  <a:pt x="31406" y="8031"/>
                </a:moveTo>
                <a:cubicBezTo>
                  <a:pt x="31562" y="8000"/>
                  <a:pt x="31719" y="7937"/>
                  <a:pt x="31844" y="7875"/>
                </a:cubicBezTo>
                <a:cubicBezTo>
                  <a:pt x="31812" y="7875"/>
                  <a:pt x="31750" y="7875"/>
                  <a:pt x="31719" y="7906"/>
                </a:cubicBezTo>
                <a:cubicBezTo>
                  <a:pt x="31656" y="7937"/>
                  <a:pt x="31594" y="7968"/>
                  <a:pt x="31531" y="7968"/>
                </a:cubicBezTo>
                <a:cubicBezTo>
                  <a:pt x="31594" y="7968"/>
                  <a:pt x="31656" y="7937"/>
                  <a:pt x="31719" y="7906"/>
                </a:cubicBezTo>
                <a:cubicBezTo>
                  <a:pt x="31594" y="7937"/>
                  <a:pt x="31500" y="7968"/>
                  <a:pt x="31406" y="8031"/>
                </a:cubicBezTo>
                <a:close/>
                <a:moveTo>
                  <a:pt x="30469" y="8531"/>
                </a:moveTo>
                <a:cubicBezTo>
                  <a:pt x="30469" y="8531"/>
                  <a:pt x="30469" y="8531"/>
                  <a:pt x="30469" y="8531"/>
                </a:cubicBezTo>
                <a:moveTo>
                  <a:pt x="31125" y="11281"/>
                </a:moveTo>
                <a:cubicBezTo>
                  <a:pt x="31031" y="11312"/>
                  <a:pt x="30937" y="11281"/>
                  <a:pt x="30875" y="11375"/>
                </a:cubicBezTo>
                <a:cubicBezTo>
                  <a:pt x="30719" y="11375"/>
                  <a:pt x="30594" y="11437"/>
                  <a:pt x="30469" y="11500"/>
                </a:cubicBezTo>
                <a:cubicBezTo>
                  <a:pt x="30625" y="11500"/>
                  <a:pt x="30750" y="11468"/>
                  <a:pt x="30875" y="11375"/>
                </a:cubicBezTo>
                <a:cubicBezTo>
                  <a:pt x="31031" y="11375"/>
                  <a:pt x="31156" y="11312"/>
                  <a:pt x="31281" y="11250"/>
                </a:cubicBezTo>
                <a:cubicBezTo>
                  <a:pt x="31781" y="11093"/>
                  <a:pt x="32281" y="10937"/>
                  <a:pt x="32781" y="10750"/>
                </a:cubicBezTo>
                <a:cubicBezTo>
                  <a:pt x="32781" y="10750"/>
                  <a:pt x="32781" y="10718"/>
                  <a:pt x="32781" y="10718"/>
                </a:cubicBezTo>
                <a:cubicBezTo>
                  <a:pt x="32781" y="10718"/>
                  <a:pt x="32781" y="10718"/>
                  <a:pt x="32781" y="10718"/>
                </a:cubicBezTo>
                <a:cubicBezTo>
                  <a:pt x="32531" y="10781"/>
                  <a:pt x="32312" y="10875"/>
                  <a:pt x="32062" y="10937"/>
                </a:cubicBezTo>
                <a:cubicBezTo>
                  <a:pt x="31750" y="11062"/>
                  <a:pt x="31437" y="11156"/>
                  <a:pt x="31125" y="11281"/>
                </a:cubicBezTo>
                <a:close/>
                <a:moveTo>
                  <a:pt x="25312" y="12843"/>
                </a:moveTo>
                <a:cubicBezTo>
                  <a:pt x="25562" y="12750"/>
                  <a:pt x="25812" y="12656"/>
                  <a:pt x="26062" y="12593"/>
                </a:cubicBezTo>
                <a:cubicBezTo>
                  <a:pt x="26062" y="12562"/>
                  <a:pt x="26062" y="12562"/>
                  <a:pt x="26062" y="12562"/>
                </a:cubicBezTo>
                <a:cubicBezTo>
                  <a:pt x="25812" y="12625"/>
                  <a:pt x="25531" y="12687"/>
                  <a:pt x="25281" y="12781"/>
                </a:cubicBezTo>
                <a:cubicBezTo>
                  <a:pt x="25281" y="12812"/>
                  <a:pt x="25312" y="12812"/>
                  <a:pt x="25312" y="12843"/>
                </a:cubicBezTo>
                <a:close/>
                <a:moveTo>
                  <a:pt x="27000" y="8781"/>
                </a:moveTo>
                <a:cubicBezTo>
                  <a:pt x="27000" y="8781"/>
                  <a:pt x="26969" y="8781"/>
                  <a:pt x="26969" y="8781"/>
                </a:cubicBezTo>
                <a:cubicBezTo>
                  <a:pt x="26969" y="8781"/>
                  <a:pt x="26969" y="8781"/>
                  <a:pt x="26969" y="8781"/>
                </a:cubicBezTo>
                <a:cubicBezTo>
                  <a:pt x="26969" y="8781"/>
                  <a:pt x="27000" y="8781"/>
                  <a:pt x="27000" y="8781"/>
                </a:cubicBezTo>
                <a:cubicBezTo>
                  <a:pt x="27031" y="8750"/>
                  <a:pt x="27094" y="8750"/>
                  <a:pt x="27062" y="8687"/>
                </a:cubicBezTo>
                <a:cubicBezTo>
                  <a:pt x="27031" y="8718"/>
                  <a:pt x="26969" y="8750"/>
                  <a:pt x="26906" y="8781"/>
                </a:cubicBezTo>
                <a:cubicBezTo>
                  <a:pt x="26937" y="8812"/>
                  <a:pt x="26969" y="8781"/>
                  <a:pt x="27000" y="8781"/>
                </a:cubicBezTo>
                <a:close/>
                <a:moveTo>
                  <a:pt x="30156" y="5750"/>
                </a:moveTo>
                <a:cubicBezTo>
                  <a:pt x="30219" y="5750"/>
                  <a:pt x="30250" y="5718"/>
                  <a:pt x="30312" y="5718"/>
                </a:cubicBezTo>
                <a:moveTo>
                  <a:pt x="30156" y="5750"/>
                </a:moveTo>
                <a:close/>
                <a:moveTo>
                  <a:pt x="29469" y="7656"/>
                </a:moveTo>
                <a:cubicBezTo>
                  <a:pt x="29437" y="7656"/>
                  <a:pt x="29437" y="7625"/>
                  <a:pt x="29437" y="7625"/>
                </a:cubicBezTo>
                <a:cubicBezTo>
                  <a:pt x="28937" y="7812"/>
                  <a:pt x="28437" y="8000"/>
                  <a:pt x="27937" y="8187"/>
                </a:cubicBezTo>
                <a:cubicBezTo>
                  <a:pt x="27937" y="8218"/>
                  <a:pt x="27969" y="8218"/>
                  <a:pt x="27969" y="8250"/>
                </a:cubicBezTo>
                <a:cubicBezTo>
                  <a:pt x="28469" y="8031"/>
                  <a:pt x="28969" y="7843"/>
                  <a:pt x="29469" y="7656"/>
                </a:cubicBezTo>
                <a:close/>
                <a:moveTo>
                  <a:pt x="29625" y="7718"/>
                </a:moveTo>
                <a:cubicBezTo>
                  <a:pt x="29750" y="7718"/>
                  <a:pt x="29844" y="7687"/>
                  <a:pt x="29906" y="7593"/>
                </a:cubicBezTo>
                <a:cubicBezTo>
                  <a:pt x="29812" y="7656"/>
                  <a:pt x="29719" y="7625"/>
                  <a:pt x="29625" y="7718"/>
                </a:cubicBezTo>
                <a:close/>
                <a:moveTo>
                  <a:pt x="28125" y="8281"/>
                </a:moveTo>
                <a:cubicBezTo>
                  <a:pt x="28156" y="8281"/>
                  <a:pt x="28156" y="8312"/>
                  <a:pt x="28156" y="8312"/>
                </a:cubicBezTo>
                <a:cubicBezTo>
                  <a:pt x="28437" y="8218"/>
                  <a:pt x="28719" y="8093"/>
                  <a:pt x="29031" y="7968"/>
                </a:cubicBezTo>
                <a:cubicBezTo>
                  <a:pt x="29000" y="7968"/>
                  <a:pt x="29000" y="7968"/>
                  <a:pt x="29000" y="7937"/>
                </a:cubicBezTo>
                <a:cubicBezTo>
                  <a:pt x="28719" y="8062"/>
                  <a:pt x="28437" y="8156"/>
                  <a:pt x="28125" y="8281"/>
                </a:cubicBezTo>
                <a:close/>
                <a:moveTo>
                  <a:pt x="27219" y="8625"/>
                </a:moveTo>
                <a:cubicBezTo>
                  <a:pt x="27344" y="8656"/>
                  <a:pt x="27406" y="8593"/>
                  <a:pt x="27531" y="8562"/>
                </a:cubicBezTo>
                <a:cubicBezTo>
                  <a:pt x="27500" y="8562"/>
                  <a:pt x="27500" y="8531"/>
                  <a:pt x="27500" y="8531"/>
                </a:cubicBezTo>
                <a:cubicBezTo>
                  <a:pt x="27406" y="8562"/>
                  <a:pt x="27312" y="8593"/>
                  <a:pt x="27219" y="8625"/>
                </a:cubicBezTo>
                <a:close/>
                <a:moveTo>
                  <a:pt x="32656" y="5468"/>
                </a:moveTo>
                <a:cubicBezTo>
                  <a:pt x="32562" y="5500"/>
                  <a:pt x="32469" y="5531"/>
                  <a:pt x="32375" y="5593"/>
                </a:cubicBezTo>
                <a:cubicBezTo>
                  <a:pt x="32281" y="5625"/>
                  <a:pt x="32187" y="5656"/>
                  <a:pt x="32094" y="5718"/>
                </a:cubicBezTo>
                <a:cubicBezTo>
                  <a:pt x="32062" y="5718"/>
                  <a:pt x="32062" y="5718"/>
                  <a:pt x="32031" y="5750"/>
                </a:cubicBezTo>
                <a:cubicBezTo>
                  <a:pt x="32156" y="5718"/>
                  <a:pt x="32250" y="5656"/>
                  <a:pt x="32375" y="5625"/>
                </a:cubicBezTo>
                <a:lnTo>
                  <a:pt x="32375" y="5625"/>
                </a:lnTo>
                <a:cubicBezTo>
                  <a:pt x="32500" y="5562"/>
                  <a:pt x="32625" y="5531"/>
                  <a:pt x="32781" y="5468"/>
                </a:cubicBezTo>
                <a:cubicBezTo>
                  <a:pt x="32719" y="5468"/>
                  <a:pt x="32687" y="5468"/>
                  <a:pt x="32656" y="5468"/>
                </a:cubicBezTo>
                <a:close/>
                <a:moveTo>
                  <a:pt x="29625" y="13468"/>
                </a:moveTo>
                <a:cubicBezTo>
                  <a:pt x="29531" y="13468"/>
                  <a:pt x="29437" y="13500"/>
                  <a:pt x="29344" y="13562"/>
                </a:cubicBezTo>
                <a:cubicBezTo>
                  <a:pt x="29437" y="13531"/>
                  <a:pt x="29531" y="13500"/>
                  <a:pt x="29625" y="13468"/>
                </a:cubicBezTo>
                <a:close/>
                <a:moveTo>
                  <a:pt x="27094" y="7750"/>
                </a:moveTo>
                <a:cubicBezTo>
                  <a:pt x="27469" y="7593"/>
                  <a:pt x="27875" y="7437"/>
                  <a:pt x="28250" y="7281"/>
                </a:cubicBezTo>
                <a:cubicBezTo>
                  <a:pt x="28250" y="7250"/>
                  <a:pt x="28250" y="7250"/>
                  <a:pt x="28219" y="7218"/>
                </a:cubicBezTo>
                <a:cubicBezTo>
                  <a:pt x="27844" y="7375"/>
                  <a:pt x="27469" y="7531"/>
                  <a:pt x="27062" y="7687"/>
                </a:cubicBezTo>
                <a:cubicBezTo>
                  <a:pt x="27062" y="7718"/>
                  <a:pt x="27094" y="7718"/>
                  <a:pt x="27094" y="7750"/>
                </a:cubicBezTo>
                <a:close/>
                <a:moveTo>
                  <a:pt x="26594" y="7906"/>
                </a:moveTo>
                <a:cubicBezTo>
                  <a:pt x="26687" y="7875"/>
                  <a:pt x="26781" y="7875"/>
                  <a:pt x="26906" y="7781"/>
                </a:cubicBezTo>
                <a:cubicBezTo>
                  <a:pt x="26781" y="7812"/>
                  <a:pt x="26656" y="7812"/>
                  <a:pt x="26594" y="7906"/>
                </a:cubicBezTo>
                <a:close/>
                <a:moveTo>
                  <a:pt x="26094" y="8125"/>
                </a:moveTo>
                <a:cubicBezTo>
                  <a:pt x="26156" y="8093"/>
                  <a:pt x="26219" y="8093"/>
                  <a:pt x="26250" y="8062"/>
                </a:cubicBezTo>
                <a:cubicBezTo>
                  <a:pt x="26156" y="8000"/>
                  <a:pt x="26125" y="8062"/>
                  <a:pt x="26062" y="8093"/>
                </a:cubicBezTo>
                <a:cubicBezTo>
                  <a:pt x="25906" y="8156"/>
                  <a:pt x="25719" y="8187"/>
                  <a:pt x="25562" y="8281"/>
                </a:cubicBezTo>
                <a:cubicBezTo>
                  <a:pt x="25469" y="8281"/>
                  <a:pt x="25375" y="8343"/>
                  <a:pt x="25312" y="8406"/>
                </a:cubicBezTo>
                <a:cubicBezTo>
                  <a:pt x="25375" y="8375"/>
                  <a:pt x="25500" y="8375"/>
                  <a:pt x="25562" y="8312"/>
                </a:cubicBezTo>
                <a:cubicBezTo>
                  <a:pt x="25750" y="8281"/>
                  <a:pt x="25906" y="8187"/>
                  <a:pt x="26094" y="8125"/>
                </a:cubicBezTo>
                <a:close/>
                <a:moveTo>
                  <a:pt x="29656" y="13468"/>
                </a:moveTo>
                <a:cubicBezTo>
                  <a:pt x="29656" y="13437"/>
                  <a:pt x="29656" y="13437"/>
                  <a:pt x="29656" y="13437"/>
                </a:cubicBezTo>
                <a:cubicBezTo>
                  <a:pt x="29750" y="13468"/>
                  <a:pt x="29812" y="13406"/>
                  <a:pt x="29875" y="13375"/>
                </a:cubicBezTo>
                <a:cubicBezTo>
                  <a:pt x="30125" y="13312"/>
                  <a:pt x="30375" y="13218"/>
                  <a:pt x="30625" y="13156"/>
                </a:cubicBezTo>
                <a:cubicBezTo>
                  <a:pt x="30625" y="13156"/>
                  <a:pt x="30687" y="13156"/>
                  <a:pt x="30687" y="13125"/>
                </a:cubicBezTo>
                <a:cubicBezTo>
                  <a:pt x="30406" y="13187"/>
                  <a:pt x="30156" y="13281"/>
                  <a:pt x="29875" y="13375"/>
                </a:cubicBezTo>
                <a:cubicBezTo>
                  <a:pt x="29812" y="13406"/>
                  <a:pt x="29719" y="13375"/>
                  <a:pt x="29656" y="13468"/>
                </a:cubicBezTo>
                <a:close/>
                <a:moveTo>
                  <a:pt x="30344" y="6437"/>
                </a:moveTo>
                <a:cubicBezTo>
                  <a:pt x="30219" y="6406"/>
                  <a:pt x="30125" y="6500"/>
                  <a:pt x="30062" y="6531"/>
                </a:cubicBezTo>
                <a:cubicBezTo>
                  <a:pt x="30156" y="6531"/>
                  <a:pt x="30250" y="6500"/>
                  <a:pt x="30344" y="6437"/>
                </a:cubicBezTo>
                <a:close/>
                <a:moveTo>
                  <a:pt x="24312" y="8718"/>
                </a:moveTo>
                <a:cubicBezTo>
                  <a:pt x="24281" y="8718"/>
                  <a:pt x="24281" y="8687"/>
                  <a:pt x="24281" y="8687"/>
                </a:cubicBezTo>
                <a:cubicBezTo>
                  <a:pt x="24281" y="8687"/>
                  <a:pt x="24281" y="8718"/>
                  <a:pt x="24312" y="8718"/>
                </a:cubicBezTo>
                <a:cubicBezTo>
                  <a:pt x="24312" y="8718"/>
                  <a:pt x="24312" y="8718"/>
                  <a:pt x="24312" y="8718"/>
                </a:cubicBezTo>
                <a:close/>
                <a:moveTo>
                  <a:pt x="27875" y="8281"/>
                </a:moveTo>
                <a:cubicBezTo>
                  <a:pt x="27875" y="8250"/>
                  <a:pt x="27875" y="8250"/>
                  <a:pt x="27844" y="8250"/>
                </a:cubicBezTo>
                <a:cubicBezTo>
                  <a:pt x="27344" y="8437"/>
                  <a:pt x="26875" y="8625"/>
                  <a:pt x="26375" y="8812"/>
                </a:cubicBezTo>
                <a:cubicBezTo>
                  <a:pt x="26375" y="8812"/>
                  <a:pt x="26375" y="8843"/>
                  <a:pt x="26375" y="8843"/>
                </a:cubicBezTo>
                <a:cubicBezTo>
                  <a:pt x="26875" y="8656"/>
                  <a:pt x="27375" y="8468"/>
                  <a:pt x="27875" y="8281"/>
                </a:cubicBezTo>
                <a:close/>
                <a:moveTo>
                  <a:pt x="24469" y="8718"/>
                </a:move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ubicBezTo>
                  <a:pt x="24469" y="8718"/>
                  <a:pt x="24469" y="8718"/>
                  <a:pt x="24469" y="8718"/>
                </a:cubicBezTo>
                <a:close/>
                <a:moveTo>
                  <a:pt x="0" y="5281"/>
                </a:moveTo>
                <a:cubicBezTo>
                  <a:pt x="31" y="5312"/>
                  <a:pt x="62" y="5312"/>
                  <a:pt x="94" y="5281"/>
                </a:cubicBezTo>
                <a:cubicBezTo>
                  <a:pt x="62" y="5281"/>
                  <a:pt x="31" y="5281"/>
                  <a:pt x="0" y="5281"/>
                </a:cubicBezTo>
                <a:close/>
                <a:moveTo>
                  <a:pt x="26562" y="7906"/>
                </a:moveTo>
                <a:cubicBezTo>
                  <a:pt x="26500" y="7937"/>
                  <a:pt x="26406" y="7937"/>
                  <a:pt x="26312" y="8000"/>
                </a:cubicBezTo>
                <a:cubicBezTo>
                  <a:pt x="26437" y="8031"/>
                  <a:pt x="26500" y="7968"/>
                  <a:pt x="26562" y="7906"/>
                </a:cubicBezTo>
                <a:close/>
                <a:moveTo>
                  <a:pt x="31594" y="4812"/>
                </a:moveTo>
                <a:close/>
                <a:moveTo>
                  <a:pt x="2937" y="1343"/>
                </a:moveTo>
                <a:cubicBezTo>
                  <a:pt x="2969" y="1343"/>
                  <a:pt x="3000" y="1343"/>
                  <a:pt x="3031" y="1343"/>
                </a:cubicBezTo>
                <a:cubicBezTo>
                  <a:pt x="3000" y="1343"/>
                  <a:pt x="2969" y="1343"/>
                  <a:pt x="2937" y="1343"/>
                </a:cubicBezTo>
                <a:close/>
                <a:moveTo>
                  <a:pt x="14969" y="14250"/>
                </a:move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lnTo>
                  <a:pt x="14969" y="14250"/>
                </a:lnTo>
                <a:cubicBezTo>
                  <a:pt x="14969" y="14250"/>
                  <a:pt x="14969" y="14250"/>
                  <a:pt x="14969" y="14250"/>
                </a:cubicBezTo>
                <a:cubicBezTo>
                  <a:pt x="14969" y="14250"/>
                  <a:pt x="14969" y="14250"/>
                  <a:pt x="14969" y="14250"/>
                </a:cubicBezTo>
                <a:close/>
                <a:moveTo>
                  <a:pt x="15687" y="15250"/>
                </a:move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ubicBezTo>
                  <a:pt x="15687" y="15250"/>
                  <a:pt x="15687" y="15250"/>
                  <a:pt x="15687" y="15250"/>
                </a:cubicBezTo>
                <a:close/>
                <a:moveTo>
                  <a:pt x="13781" y="12281"/>
                </a:moveTo>
                <a:cubicBezTo>
                  <a:pt x="13750" y="12281"/>
                  <a:pt x="13750" y="12281"/>
                  <a:pt x="13781" y="12281"/>
                </a:cubicBezTo>
                <a:cubicBezTo>
                  <a:pt x="13781" y="12281"/>
                  <a:pt x="13812" y="12281"/>
                  <a:pt x="13812" y="12281"/>
                </a:cubicBezTo>
                <a:cubicBezTo>
                  <a:pt x="13812" y="12281"/>
                  <a:pt x="13812" y="12250"/>
                  <a:pt x="13812" y="12250"/>
                </a:cubicBezTo>
                <a:cubicBezTo>
                  <a:pt x="13781" y="12281"/>
                  <a:pt x="13781" y="12281"/>
                  <a:pt x="13781" y="12281"/>
                </a:cubicBezTo>
                <a:close/>
                <a:moveTo>
                  <a:pt x="18781" y="4625"/>
                </a:moveTo>
                <a:cubicBezTo>
                  <a:pt x="18750" y="4625"/>
                  <a:pt x="18750" y="4593"/>
                  <a:pt x="18750" y="4593"/>
                </a:cubicBezTo>
                <a:cubicBezTo>
                  <a:pt x="18750" y="4593"/>
                  <a:pt x="18750" y="4625"/>
                  <a:pt x="18750" y="4625"/>
                </a:cubicBezTo>
                <a:cubicBezTo>
                  <a:pt x="18750" y="4625"/>
                  <a:pt x="18750" y="4625"/>
                  <a:pt x="18750" y="4656"/>
                </a:cubicBezTo>
                <a:cubicBezTo>
                  <a:pt x="18750" y="4625"/>
                  <a:pt x="18750" y="4625"/>
                  <a:pt x="18781" y="4625"/>
                </a:cubicBezTo>
                <a:close/>
                <a:moveTo>
                  <a:pt x="18281" y="3750"/>
                </a:moveTo>
                <a:cubicBezTo>
                  <a:pt x="18281" y="3750"/>
                  <a:pt x="18281" y="3781"/>
                  <a:pt x="18281" y="3812"/>
                </a:cubicBezTo>
                <a:cubicBezTo>
                  <a:pt x="18281" y="3781"/>
                  <a:pt x="18312" y="3750"/>
                  <a:pt x="18281" y="3750"/>
                </a:cubicBezTo>
                <a:close/>
                <a:moveTo>
                  <a:pt x="18156" y="3218"/>
                </a:moveTo>
                <a:cubicBezTo>
                  <a:pt x="18125" y="3250"/>
                  <a:pt x="18125" y="3281"/>
                  <a:pt x="18156" y="3343"/>
                </a:cubicBezTo>
                <a:cubicBezTo>
                  <a:pt x="18156" y="3281"/>
                  <a:pt x="18156" y="3250"/>
                  <a:pt x="18156" y="321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1161391-FEC2-4642-B772-86C49C7763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AF479333-14CE-FD4B-99D1-71399EEADB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BC618A1-3F31-FF4A-AD5B-E313A2F44D2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E3C1D8BA-8E91-B342-A032-46D6185A126D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828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2209C912-E949-694D-AACA-F39A2AAEBEFA}"/>
              </a:ext>
            </a:extLst>
          </p:cNvPr>
          <p:cNvSpPr>
            <a:spLocks noGrp="1" noEditPoints="1"/>
          </p:cNvSpPr>
          <p:nvPr>
            <p:ph type="pic" sz="quarter" idx="28"/>
          </p:nvPr>
        </p:nvSpPr>
        <p:spPr bwMode="auto">
          <a:xfrm>
            <a:off x="0" y="3906466"/>
            <a:ext cx="23975009" cy="10965667"/>
          </a:xfrm>
          <a:custGeom>
            <a:avLst/>
            <a:gdLst>
              <a:gd name="T0" fmla="*/ 8594 w 35281"/>
              <a:gd name="T1" fmla="*/ 3625 h 18469"/>
              <a:gd name="T2" fmla="*/ 33844 w 35281"/>
              <a:gd name="T3" fmla="*/ 2500 h 18469"/>
              <a:gd name="T4" fmla="*/ 31938 w 35281"/>
              <a:gd name="T5" fmla="*/ 0 h 18469"/>
              <a:gd name="T6" fmla="*/ 17344 w 35281"/>
              <a:gd name="T7" fmla="*/ 5438 h 18469"/>
              <a:gd name="T8" fmla="*/ 13125 w 35281"/>
              <a:gd name="T9" fmla="*/ 4907 h 18469"/>
              <a:gd name="T10" fmla="*/ 14719 w 35281"/>
              <a:gd name="T11" fmla="*/ 6594 h 18469"/>
              <a:gd name="T12" fmla="*/ 14438 w 35281"/>
              <a:gd name="T13" fmla="*/ 7313 h 18469"/>
              <a:gd name="T14" fmla="*/ 11375 w 35281"/>
              <a:gd name="T15" fmla="*/ 6875 h 18469"/>
              <a:gd name="T16" fmla="*/ 11219 w 35281"/>
              <a:gd name="T17" fmla="*/ 7782 h 18469"/>
              <a:gd name="T18" fmla="*/ 8219 w 35281"/>
              <a:gd name="T19" fmla="*/ 5907 h 18469"/>
              <a:gd name="T20" fmla="*/ 8313 w 35281"/>
              <a:gd name="T21" fmla="*/ 4594 h 18469"/>
              <a:gd name="T22" fmla="*/ 4281 w 35281"/>
              <a:gd name="T23" fmla="*/ 4188 h 18469"/>
              <a:gd name="T24" fmla="*/ 3250 w 35281"/>
              <a:gd name="T25" fmla="*/ 4719 h 18469"/>
              <a:gd name="T26" fmla="*/ 4156 w 35281"/>
              <a:gd name="T27" fmla="*/ 6407 h 18469"/>
              <a:gd name="T28" fmla="*/ 3344 w 35281"/>
              <a:gd name="T29" fmla="*/ 7094 h 18469"/>
              <a:gd name="T30" fmla="*/ 9938 w 35281"/>
              <a:gd name="T31" fmla="*/ 10157 h 18469"/>
              <a:gd name="T32" fmla="*/ 10656 w 35281"/>
              <a:gd name="T33" fmla="*/ 11782 h 18469"/>
              <a:gd name="T34" fmla="*/ 13594 w 35281"/>
              <a:gd name="T35" fmla="*/ 12625 h 18469"/>
              <a:gd name="T36" fmla="*/ 17156 w 35281"/>
              <a:gd name="T37" fmla="*/ 13688 h 18469"/>
              <a:gd name="T38" fmla="*/ 19875 w 35281"/>
              <a:gd name="T39" fmla="*/ 14094 h 18469"/>
              <a:gd name="T40" fmla="*/ 25469 w 35281"/>
              <a:gd name="T41" fmla="*/ 13969 h 18469"/>
              <a:gd name="T42" fmla="*/ 33938 w 35281"/>
              <a:gd name="T43" fmla="*/ 10407 h 18469"/>
              <a:gd name="T44" fmla="*/ 34625 w 35281"/>
              <a:gd name="T45" fmla="*/ 6125 h 18469"/>
              <a:gd name="T46" fmla="*/ 33344 w 35281"/>
              <a:gd name="T47" fmla="*/ 5063 h 18469"/>
              <a:gd name="T48" fmla="*/ 34531 w 35281"/>
              <a:gd name="T49" fmla="*/ 2688 h 18469"/>
              <a:gd name="T50" fmla="*/ 9688 w 35281"/>
              <a:gd name="T51" fmla="*/ 3282 h 18469"/>
              <a:gd name="T52" fmla="*/ 4656 w 35281"/>
              <a:gd name="T53" fmla="*/ 3563 h 18469"/>
              <a:gd name="T54" fmla="*/ 5938 w 35281"/>
              <a:gd name="T55" fmla="*/ 10032 h 18469"/>
              <a:gd name="T56" fmla="*/ 10688 w 35281"/>
              <a:gd name="T57" fmla="*/ 3094 h 18469"/>
              <a:gd name="T58" fmla="*/ 12313 w 35281"/>
              <a:gd name="T59" fmla="*/ 4688 h 18469"/>
              <a:gd name="T60" fmla="*/ 4219 w 35281"/>
              <a:gd name="T61" fmla="*/ 9125 h 18469"/>
              <a:gd name="T62" fmla="*/ 5094 w 35281"/>
              <a:gd name="T63" fmla="*/ 9782 h 18469"/>
              <a:gd name="T64" fmla="*/ 7969 w 35281"/>
              <a:gd name="T65" fmla="*/ 10844 h 18469"/>
              <a:gd name="T66" fmla="*/ 6469 w 35281"/>
              <a:gd name="T67" fmla="*/ 10125 h 18469"/>
              <a:gd name="T68" fmla="*/ 12031 w 35281"/>
              <a:gd name="T69" fmla="*/ 5188 h 18469"/>
              <a:gd name="T70" fmla="*/ 14750 w 35281"/>
              <a:gd name="T71" fmla="*/ 4875 h 18469"/>
              <a:gd name="T72" fmla="*/ 10781 w 35281"/>
              <a:gd name="T73" fmla="*/ 4313 h 18469"/>
              <a:gd name="T74" fmla="*/ 9500 w 35281"/>
              <a:gd name="T75" fmla="*/ 2969 h 18469"/>
              <a:gd name="T76" fmla="*/ 34406 w 35281"/>
              <a:gd name="T77" fmla="*/ 8063 h 18469"/>
              <a:gd name="T78" fmla="*/ 9938 w 35281"/>
              <a:gd name="T79" fmla="*/ 2969 h 18469"/>
              <a:gd name="T80" fmla="*/ 3032 w 35281"/>
              <a:gd name="T81" fmla="*/ 6907 h 18469"/>
              <a:gd name="T82" fmla="*/ 32500 w 35281"/>
              <a:gd name="T83" fmla="*/ 2282 h 18469"/>
              <a:gd name="T84" fmla="*/ 11594 w 35281"/>
              <a:gd name="T85" fmla="*/ 4563 h 18469"/>
              <a:gd name="T86" fmla="*/ 7906 w 35281"/>
              <a:gd name="T87" fmla="*/ 4157 h 18469"/>
              <a:gd name="T88" fmla="*/ 7281 w 35281"/>
              <a:gd name="T89" fmla="*/ 3032 h 18469"/>
              <a:gd name="T90" fmla="*/ 4875 w 35281"/>
              <a:gd name="T91" fmla="*/ 2813 h 18469"/>
              <a:gd name="T92" fmla="*/ 7406 w 35281"/>
              <a:gd name="T93" fmla="*/ 9250 h 18469"/>
              <a:gd name="T94" fmla="*/ 10781 w 35281"/>
              <a:gd name="T95" fmla="*/ 5875 h 18469"/>
              <a:gd name="T96" fmla="*/ 14625 w 35281"/>
              <a:gd name="T97" fmla="*/ 5750 h 18469"/>
              <a:gd name="T98" fmla="*/ 12406 w 35281"/>
              <a:gd name="T99" fmla="*/ 7500 h 18469"/>
              <a:gd name="T100" fmla="*/ 28656 w 35281"/>
              <a:gd name="T101" fmla="*/ 3688 h 18469"/>
              <a:gd name="T102" fmla="*/ 17719 w 35281"/>
              <a:gd name="T103" fmla="*/ 5532 h 18469"/>
              <a:gd name="T104" fmla="*/ 12719 w 35281"/>
              <a:gd name="T105" fmla="*/ 9188 h 18469"/>
              <a:gd name="T106" fmla="*/ 11219 w 35281"/>
              <a:gd name="T107" fmla="*/ 9438 h 18469"/>
              <a:gd name="T108" fmla="*/ 5719 w 35281"/>
              <a:gd name="T109" fmla="*/ 6500 h 18469"/>
              <a:gd name="T110" fmla="*/ 7125 w 35281"/>
              <a:gd name="T111" fmla="*/ 5219 h 18469"/>
              <a:gd name="T112" fmla="*/ 5156 w 35281"/>
              <a:gd name="T113" fmla="*/ 6157 h 18469"/>
              <a:gd name="T114" fmla="*/ 7063 w 35281"/>
              <a:gd name="T115" fmla="*/ 8563 h 18469"/>
              <a:gd name="T116" fmla="*/ 6313 w 35281"/>
              <a:gd name="T117" fmla="*/ 7000 h 18469"/>
              <a:gd name="T118" fmla="*/ 8031 w 35281"/>
              <a:gd name="T119" fmla="*/ 6750 h 18469"/>
              <a:gd name="T120" fmla="*/ 10406 w 35281"/>
              <a:gd name="T121" fmla="*/ 8813 h 18469"/>
              <a:gd name="T122" fmla="*/ 14313 w 35281"/>
              <a:gd name="T123" fmla="*/ 12532 h 18469"/>
              <a:gd name="T124" fmla="*/ 8688 w 35281"/>
              <a:gd name="T125" fmla="*/ 18469 h 18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281" h="18469">
                <a:moveTo>
                  <a:pt x="28844" y="17188"/>
                </a:moveTo>
                <a:cubicBezTo>
                  <a:pt x="28844" y="17188"/>
                  <a:pt x="28844" y="17219"/>
                  <a:pt x="28844" y="17219"/>
                </a:cubicBezTo>
                <a:cubicBezTo>
                  <a:pt x="28875" y="17219"/>
                  <a:pt x="28875" y="17219"/>
                  <a:pt x="28875" y="17219"/>
                </a:cubicBezTo>
                <a:cubicBezTo>
                  <a:pt x="28875" y="17219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75" y="17188"/>
                </a:cubicBezTo>
                <a:cubicBezTo>
                  <a:pt x="28875" y="17188"/>
                  <a:pt x="28875" y="17188"/>
                  <a:pt x="28844" y="17188"/>
                </a:cubicBezTo>
                <a:close/>
                <a:moveTo>
                  <a:pt x="14688" y="5969"/>
                </a:moveTo>
                <a:cubicBezTo>
                  <a:pt x="14688" y="6094"/>
                  <a:pt x="14750" y="6125"/>
                  <a:pt x="14813" y="6157"/>
                </a:cubicBezTo>
                <a:cubicBezTo>
                  <a:pt x="14906" y="6188"/>
                  <a:pt x="14844" y="6063"/>
                  <a:pt x="14875" y="6063"/>
                </a:cubicBezTo>
                <a:cubicBezTo>
                  <a:pt x="14813" y="6063"/>
                  <a:pt x="14750" y="6032"/>
                  <a:pt x="14688" y="5969"/>
                </a:cubicBezTo>
                <a:close/>
                <a:moveTo>
                  <a:pt x="15125" y="12719"/>
                </a:moveTo>
                <a:cubicBezTo>
                  <a:pt x="15094" y="12719"/>
                  <a:pt x="15094" y="12719"/>
                  <a:pt x="15094" y="12719"/>
                </a:cubicBezTo>
                <a:cubicBezTo>
                  <a:pt x="15094" y="12750"/>
                  <a:pt x="15125" y="12750"/>
                  <a:pt x="15125" y="12719"/>
                </a:cubicBezTo>
                <a:cubicBezTo>
                  <a:pt x="15156" y="12719"/>
                  <a:pt x="15156" y="12719"/>
                  <a:pt x="15188" y="12719"/>
                </a:cubicBezTo>
                <a:cubicBezTo>
                  <a:pt x="15156" y="12719"/>
                  <a:pt x="15125" y="12688"/>
                  <a:pt x="15125" y="12719"/>
                </a:cubicBezTo>
                <a:close/>
                <a:moveTo>
                  <a:pt x="14750" y="12563"/>
                </a:moveTo>
                <a:cubicBezTo>
                  <a:pt x="14813" y="12563"/>
                  <a:pt x="14844" y="12625"/>
                  <a:pt x="14938" y="12594"/>
                </a:cubicBezTo>
                <a:cubicBezTo>
                  <a:pt x="14875" y="12532"/>
                  <a:pt x="14875" y="12532"/>
                  <a:pt x="14750" y="12563"/>
                </a:cubicBezTo>
                <a:close/>
                <a:moveTo>
                  <a:pt x="7469" y="7375"/>
                </a:moveTo>
                <a:cubicBezTo>
                  <a:pt x="7469" y="7407"/>
                  <a:pt x="7469" y="7407"/>
                  <a:pt x="7469" y="7438"/>
                </a:cubicBezTo>
                <a:cubicBezTo>
                  <a:pt x="7531" y="7469"/>
                  <a:pt x="7563" y="7469"/>
                  <a:pt x="7656" y="7438"/>
                </a:cubicBezTo>
                <a:cubicBezTo>
                  <a:pt x="7594" y="7375"/>
                  <a:pt x="7531" y="7344"/>
                  <a:pt x="7469" y="7375"/>
                </a:cubicBezTo>
                <a:close/>
                <a:moveTo>
                  <a:pt x="7344" y="6938"/>
                </a:moveTo>
                <a:cubicBezTo>
                  <a:pt x="7344" y="6938"/>
                  <a:pt x="7344" y="6938"/>
                  <a:pt x="7344" y="6938"/>
                </a:cubicBezTo>
                <a:cubicBezTo>
                  <a:pt x="7375" y="6969"/>
                  <a:pt x="7375" y="6938"/>
                  <a:pt x="7406" y="6938"/>
                </a:cubicBezTo>
                <a:cubicBezTo>
                  <a:pt x="7406" y="6938"/>
                  <a:pt x="7375" y="6907"/>
                  <a:pt x="7375" y="6907"/>
                </a:cubicBezTo>
                <a:cubicBezTo>
                  <a:pt x="7344" y="6907"/>
                  <a:pt x="7344" y="6907"/>
                  <a:pt x="7344" y="6938"/>
                </a:cubicBezTo>
                <a:close/>
                <a:moveTo>
                  <a:pt x="5125" y="7125"/>
                </a:moveTo>
                <a:cubicBezTo>
                  <a:pt x="5156" y="7125"/>
                  <a:pt x="5156" y="7125"/>
                  <a:pt x="5156" y="7094"/>
                </a:cubicBezTo>
                <a:cubicBezTo>
                  <a:pt x="5156" y="7063"/>
                  <a:pt x="5125" y="7094"/>
                  <a:pt x="5125" y="7094"/>
                </a:cubicBezTo>
                <a:cubicBezTo>
                  <a:pt x="5125" y="7094"/>
                  <a:pt x="5094" y="7094"/>
                  <a:pt x="5094" y="7094"/>
                </a:cubicBezTo>
                <a:cubicBezTo>
                  <a:pt x="5094" y="7125"/>
                  <a:pt x="5125" y="7125"/>
                  <a:pt x="5125" y="7125"/>
                </a:cubicBezTo>
                <a:close/>
                <a:moveTo>
                  <a:pt x="9156" y="10157"/>
                </a:moveTo>
                <a:cubicBezTo>
                  <a:pt x="9219" y="10219"/>
                  <a:pt x="9313" y="10250"/>
                  <a:pt x="9406" y="10250"/>
                </a:cubicBezTo>
                <a:cubicBezTo>
                  <a:pt x="9344" y="10157"/>
                  <a:pt x="9250" y="10125"/>
                  <a:pt x="9156" y="10157"/>
                </a:cubicBezTo>
                <a:close/>
                <a:moveTo>
                  <a:pt x="7750" y="3875"/>
                </a:moveTo>
                <a:cubicBezTo>
                  <a:pt x="7750" y="3875"/>
                  <a:pt x="7750" y="3907"/>
                  <a:pt x="7750" y="3907"/>
                </a:cubicBezTo>
                <a:cubicBezTo>
                  <a:pt x="7750" y="3875"/>
                  <a:pt x="7750" y="3875"/>
                  <a:pt x="7750" y="3875"/>
                </a:cubicBezTo>
                <a:cubicBezTo>
                  <a:pt x="7781" y="3875"/>
                  <a:pt x="7781" y="3844"/>
                  <a:pt x="7781" y="3813"/>
                </a:cubicBezTo>
                <a:cubicBezTo>
                  <a:pt x="7813" y="3750"/>
                  <a:pt x="7875" y="3750"/>
                  <a:pt x="7969" y="3782"/>
                </a:cubicBezTo>
                <a:cubicBezTo>
                  <a:pt x="8031" y="3813"/>
                  <a:pt x="8094" y="3813"/>
                  <a:pt x="8156" y="3782"/>
                </a:cubicBezTo>
                <a:cubicBezTo>
                  <a:pt x="7969" y="3719"/>
                  <a:pt x="7781" y="3594"/>
                  <a:pt x="7563" y="3688"/>
                </a:cubicBezTo>
                <a:cubicBezTo>
                  <a:pt x="7625" y="3657"/>
                  <a:pt x="7625" y="3625"/>
                  <a:pt x="7625" y="3594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ubicBezTo>
                  <a:pt x="7813" y="3563"/>
                  <a:pt x="8000" y="3594"/>
                  <a:pt x="8156" y="3688"/>
                </a:cubicBezTo>
                <a:cubicBezTo>
                  <a:pt x="8219" y="3719"/>
                  <a:pt x="8281" y="3782"/>
                  <a:pt x="8344" y="3782"/>
                </a:cubicBezTo>
                <a:cubicBezTo>
                  <a:pt x="8375" y="3782"/>
                  <a:pt x="8375" y="3782"/>
                  <a:pt x="8375" y="3813"/>
                </a:cubicBezTo>
                <a:cubicBezTo>
                  <a:pt x="8375" y="3813"/>
                  <a:pt x="8406" y="3813"/>
                  <a:pt x="8406" y="3813"/>
                </a:cubicBezTo>
                <a:cubicBezTo>
                  <a:pt x="8406" y="3782"/>
                  <a:pt x="8406" y="3750"/>
                  <a:pt x="8375" y="3719"/>
                </a:cubicBezTo>
                <a:cubicBezTo>
                  <a:pt x="8344" y="3688"/>
                  <a:pt x="8250" y="3688"/>
                  <a:pt x="8281" y="3594"/>
                </a:cubicBezTo>
                <a:cubicBezTo>
                  <a:pt x="8281" y="3563"/>
                  <a:pt x="8250" y="3500"/>
                  <a:pt x="8281" y="3469"/>
                </a:cubicBezTo>
                <a:cubicBezTo>
                  <a:pt x="8344" y="3438"/>
                  <a:pt x="8406" y="3469"/>
                  <a:pt x="8469" y="3532"/>
                </a:cubicBezTo>
                <a:cubicBezTo>
                  <a:pt x="8500" y="3532"/>
                  <a:pt x="8563" y="3532"/>
                  <a:pt x="8594" y="3532"/>
                </a:cubicBezTo>
                <a:cubicBezTo>
                  <a:pt x="8656" y="3563"/>
                  <a:pt x="8656" y="3594"/>
                  <a:pt x="8594" y="3625"/>
                </a:cubicBezTo>
                <a:cubicBezTo>
                  <a:pt x="8594" y="3657"/>
                  <a:pt x="8594" y="3657"/>
                  <a:pt x="8563" y="3657"/>
                </a:cubicBezTo>
                <a:cubicBezTo>
                  <a:pt x="8563" y="3657"/>
                  <a:pt x="8563" y="3657"/>
                  <a:pt x="8563" y="3657"/>
                </a:cubicBezTo>
                <a:cubicBezTo>
                  <a:pt x="8563" y="3719"/>
                  <a:pt x="8656" y="3688"/>
                  <a:pt x="8656" y="3719"/>
                </a:cubicBezTo>
                <a:cubicBezTo>
                  <a:pt x="8688" y="3719"/>
                  <a:pt x="8750" y="3750"/>
                  <a:pt x="8781" y="3719"/>
                </a:cubicBezTo>
                <a:cubicBezTo>
                  <a:pt x="8781" y="3688"/>
                  <a:pt x="8719" y="3657"/>
                  <a:pt x="8750" y="3625"/>
                </a:cubicBezTo>
                <a:cubicBezTo>
                  <a:pt x="8781" y="3594"/>
                  <a:pt x="8844" y="3625"/>
                  <a:pt x="8875" y="3657"/>
                </a:cubicBezTo>
                <a:cubicBezTo>
                  <a:pt x="8906" y="3688"/>
                  <a:pt x="8969" y="3719"/>
                  <a:pt x="9000" y="3750"/>
                </a:cubicBezTo>
                <a:lnTo>
                  <a:pt x="9000" y="3750"/>
                </a:lnTo>
                <a:cubicBezTo>
                  <a:pt x="9031" y="3750"/>
                  <a:pt x="9063" y="3782"/>
                  <a:pt x="9094" y="3782"/>
                </a:cubicBezTo>
                <a:cubicBezTo>
                  <a:pt x="9125" y="3782"/>
                  <a:pt x="9156" y="3782"/>
                  <a:pt x="9156" y="3750"/>
                </a:cubicBezTo>
                <a:cubicBezTo>
                  <a:pt x="9156" y="3688"/>
                  <a:pt x="9125" y="3688"/>
                  <a:pt x="9125" y="3688"/>
                </a:cubicBezTo>
                <a:cubicBezTo>
                  <a:pt x="9031" y="3688"/>
                  <a:pt x="9031" y="3657"/>
                  <a:pt x="9094" y="3594"/>
                </a:cubicBezTo>
                <a:cubicBezTo>
                  <a:pt x="9094" y="3594"/>
                  <a:pt x="9094" y="3594"/>
                  <a:pt x="9094" y="3563"/>
                </a:cubicBezTo>
                <a:cubicBezTo>
                  <a:pt x="8844" y="3563"/>
                  <a:pt x="8594" y="3563"/>
                  <a:pt x="8375" y="3344"/>
                </a:cubicBezTo>
                <a:cubicBezTo>
                  <a:pt x="8531" y="3344"/>
                  <a:pt x="8656" y="3375"/>
                  <a:pt x="8750" y="3469"/>
                </a:cubicBezTo>
                <a:cubicBezTo>
                  <a:pt x="8813" y="3532"/>
                  <a:pt x="8875" y="3532"/>
                  <a:pt x="8969" y="3500"/>
                </a:cubicBezTo>
                <a:cubicBezTo>
                  <a:pt x="8875" y="3469"/>
                  <a:pt x="8750" y="3438"/>
                  <a:pt x="8688" y="3344"/>
                </a:cubicBezTo>
                <a:cubicBezTo>
                  <a:pt x="8688" y="3313"/>
                  <a:pt x="8656" y="3282"/>
                  <a:pt x="8656" y="3282"/>
                </a:cubicBezTo>
                <a:cubicBezTo>
                  <a:pt x="8563" y="3344"/>
                  <a:pt x="8469" y="3282"/>
                  <a:pt x="8406" y="3250"/>
                </a:cubicBezTo>
                <a:cubicBezTo>
                  <a:pt x="8344" y="3219"/>
                  <a:pt x="8281" y="3188"/>
                  <a:pt x="8281" y="3282"/>
                </a:cubicBezTo>
                <a:cubicBezTo>
                  <a:pt x="8281" y="3313"/>
                  <a:pt x="8313" y="3375"/>
                  <a:pt x="8250" y="3375"/>
                </a:cubicBezTo>
                <a:cubicBezTo>
                  <a:pt x="8219" y="3375"/>
                  <a:pt x="8188" y="3344"/>
                  <a:pt x="8156" y="3313"/>
                </a:cubicBezTo>
                <a:cubicBezTo>
                  <a:pt x="8125" y="3313"/>
                  <a:pt x="8125" y="3282"/>
                  <a:pt x="8094" y="3250"/>
                </a:cubicBezTo>
                <a:cubicBezTo>
                  <a:pt x="8094" y="3250"/>
                  <a:pt x="8063" y="3188"/>
                  <a:pt x="8031" y="3219"/>
                </a:cubicBezTo>
                <a:cubicBezTo>
                  <a:pt x="8094" y="3313"/>
                  <a:pt x="8000" y="3469"/>
                  <a:pt x="8219" y="3438"/>
                </a:cubicBezTo>
                <a:cubicBezTo>
                  <a:pt x="8219" y="3469"/>
                  <a:pt x="8219" y="3469"/>
                  <a:pt x="8219" y="3500"/>
                </a:cubicBezTo>
                <a:cubicBezTo>
                  <a:pt x="8063" y="3438"/>
                  <a:pt x="7906" y="3563"/>
                  <a:pt x="7750" y="3500"/>
                </a:cubicBezTo>
                <a:cubicBezTo>
                  <a:pt x="7750" y="3469"/>
                  <a:pt x="7844" y="3469"/>
                  <a:pt x="7813" y="3438"/>
                </a:cubicBezTo>
                <a:cubicBezTo>
                  <a:pt x="7750" y="3375"/>
                  <a:pt x="7656" y="3407"/>
                  <a:pt x="7594" y="3375"/>
                </a:cubicBezTo>
                <a:cubicBezTo>
                  <a:pt x="7594" y="3469"/>
                  <a:pt x="7719" y="3500"/>
                  <a:pt x="7625" y="3563"/>
                </a:cubicBezTo>
                <a:cubicBezTo>
                  <a:pt x="7625" y="3563"/>
                  <a:pt x="7625" y="3563"/>
                  <a:pt x="7625" y="3594"/>
                </a:cubicBezTo>
                <a:cubicBezTo>
                  <a:pt x="7594" y="3625"/>
                  <a:pt x="7563" y="3594"/>
                  <a:pt x="7531" y="3594"/>
                </a:cubicBezTo>
                <a:lnTo>
                  <a:pt x="7531" y="3594"/>
                </a:lnTo>
                <a:cubicBezTo>
                  <a:pt x="7375" y="3532"/>
                  <a:pt x="7219" y="3469"/>
                  <a:pt x="7063" y="3438"/>
                </a:cubicBezTo>
                <a:cubicBezTo>
                  <a:pt x="7063" y="3500"/>
                  <a:pt x="7156" y="3532"/>
                  <a:pt x="7188" y="3594"/>
                </a:cubicBezTo>
                <a:cubicBezTo>
                  <a:pt x="7250" y="3563"/>
                  <a:pt x="7313" y="3563"/>
                  <a:pt x="7375" y="3563"/>
                </a:cubicBezTo>
                <a:cubicBezTo>
                  <a:pt x="7375" y="3625"/>
                  <a:pt x="7313" y="3625"/>
                  <a:pt x="7281" y="3657"/>
                </a:cubicBezTo>
                <a:cubicBezTo>
                  <a:pt x="7313" y="3719"/>
                  <a:pt x="7188" y="3750"/>
                  <a:pt x="7219" y="3844"/>
                </a:cubicBezTo>
                <a:cubicBezTo>
                  <a:pt x="7281" y="3875"/>
                  <a:pt x="7406" y="3844"/>
                  <a:pt x="7406" y="3938"/>
                </a:cubicBezTo>
                <a:cubicBezTo>
                  <a:pt x="7438" y="4032"/>
                  <a:pt x="7469" y="4000"/>
                  <a:pt x="7531" y="4000"/>
                </a:cubicBezTo>
                <a:cubicBezTo>
                  <a:pt x="7563" y="3969"/>
                  <a:pt x="7594" y="3938"/>
                  <a:pt x="7625" y="3875"/>
                </a:cubicBezTo>
                <a:cubicBezTo>
                  <a:pt x="7625" y="3844"/>
                  <a:pt x="7594" y="3813"/>
                  <a:pt x="7563" y="3844"/>
                </a:cubicBezTo>
                <a:cubicBezTo>
                  <a:pt x="7531" y="3844"/>
                  <a:pt x="7469" y="3907"/>
                  <a:pt x="7469" y="3813"/>
                </a:cubicBezTo>
                <a:cubicBezTo>
                  <a:pt x="7469" y="3750"/>
                  <a:pt x="7531" y="3782"/>
                  <a:pt x="7594" y="3782"/>
                </a:cubicBezTo>
                <a:cubicBezTo>
                  <a:pt x="7625" y="3750"/>
                  <a:pt x="7688" y="3782"/>
                  <a:pt x="7719" y="3813"/>
                </a:cubicBezTo>
                <a:cubicBezTo>
                  <a:pt x="7750" y="3813"/>
                  <a:pt x="7750" y="3813"/>
                  <a:pt x="7781" y="3813"/>
                </a:cubicBezTo>
                <a:cubicBezTo>
                  <a:pt x="7750" y="3844"/>
                  <a:pt x="7750" y="3875"/>
                  <a:pt x="7750" y="3875"/>
                </a:cubicBezTo>
                <a:close/>
                <a:moveTo>
                  <a:pt x="34188" y="2469"/>
                </a:moveTo>
                <a:cubicBezTo>
                  <a:pt x="34188" y="2469"/>
                  <a:pt x="34188" y="2469"/>
                  <a:pt x="34188" y="2469"/>
                </a:cubicBezTo>
                <a:cubicBezTo>
                  <a:pt x="34156" y="2469"/>
                  <a:pt x="34156" y="2469"/>
                  <a:pt x="34156" y="2500"/>
                </a:cubicBezTo>
                <a:cubicBezTo>
                  <a:pt x="34188" y="2500"/>
                  <a:pt x="34188" y="2500"/>
                  <a:pt x="34188" y="2469"/>
                </a:cubicBezTo>
                <a:close/>
                <a:moveTo>
                  <a:pt x="34156" y="2500"/>
                </a:moveTo>
                <a:cubicBezTo>
                  <a:pt x="34063" y="2563"/>
                  <a:pt x="33969" y="2594"/>
                  <a:pt x="33906" y="2657"/>
                </a:cubicBezTo>
                <a:cubicBezTo>
                  <a:pt x="33844" y="2657"/>
                  <a:pt x="33750" y="2688"/>
                  <a:pt x="33688" y="2657"/>
                </a:cubicBezTo>
                <a:cubicBezTo>
                  <a:pt x="33719" y="2594"/>
                  <a:pt x="33750" y="2532"/>
                  <a:pt x="33844" y="2500"/>
                </a:cubicBezTo>
                <a:cubicBezTo>
                  <a:pt x="34000" y="2469"/>
                  <a:pt x="34125" y="2344"/>
                  <a:pt x="34250" y="2250"/>
                </a:cubicBezTo>
                <a:cubicBezTo>
                  <a:pt x="34313" y="2219"/>
                  <a:pt x="34281" y="2188"/>
                  <a:pt x="34281" y="2188"/>
                </a:cubicBezTo>
                <a:cubicBezTo>
                  <a:pt x="34250" y="2157"/>
                  <a:pt x="34250" y="2188"/>
                  <a:pt x="34219" y="2188"/>
                </a:cubicBezTo>
                <a:cubicBezTo>
                  <a:pt x="33875" y="2407"/>
                  <a:pt x="33500" y="2594"/>
                  <a:pt x="33125" y="2750"/>
                </a:cubicBezTo>
                <a:cubicBezTo>
                  <a:pt x="33063" y="2750"/>
                  <a:pt x="32969" y="2750"/>
                  <a:pt x="32969" y="2813"/>
                </a:cubicBezTo>
                <a:cubicBezTo>
                  <a:pt x="32906" y="2938"/>
                  <a:pt x="32813" y="2875"/>
                  <a:pt x="32719" y="2907"/>
                </a:cubicBezTo>
                <a:cubicBezTo>
                  <a:pt x="32594" y="3000"/>
                  <a:pt x="32625" y="2813"/>
                  <a:pt x="32500" y="2782"/>
                </a:cubicBezTo>
                <a:cubicBezTo>
                  <a:pt x="32688" y="2750"/>
                  <a:pt x="32781" y="2625"/>
                  <a:pt x="32938" y="2719"/>
                </a:cubicBezTo>
                <a:cubicBezTo>
                  <a:pt x="32938" y="2719"/>
                  <a:pt x="32969" y="2719"/>
                  <a:pt x="32969" y="2688"/>
                </a:cubicBezTo>
                <a:cubicBezTo>
                  <a:pt x="33000" y="2532"/>
                  <a:pt x="33156" y="2625"/>
                  <a:pt x="33250" y="2594"/>
                </a:cubicBezTo>
                <a:cubicBezTo>
                  <a:pt x="33344" y="2563"/>
                  <a:pt x="33469" y="2563"/>
                  <a:pt x="33531" y="2438"/>
                </a:cubicBezTo>
                <a:cubicBezTo>
                  <a:pt x="33563" y="2375"/>
                  <a:pt x="33688" y="2344"/>
                  <a:pt x="33625" y="2282"/>
                </a:cubicBezTo>
                <a:cubicBezTo>
                  <a:pt x="33594" y="2219"/>
                  <a:pt x="33500" y="2250"/>
                  <a:pt x="33438" y="2250"/>
                </a:cubicBezTo>
                <a:cubicBezTo>
                  <a:pt x="33438" y="2250"/>
                  <a:pt x="33438" y="2250"/>
                  <a:pt x="33406" y="2250"/>
                </a:cubicBezTo>
                <a:cubicBezTo>
                  <a:pt x="33406" y="2282"/>
                  <a:pt x="33500" y="2282"/>
                  <a:pt x="33469" y="2344"/>
                </a:cubicBezTo>
                <a:cubicBezTo>
                  <a:pt x="33375" y="2438"/>
                  <a:pt x="33344" y="2282"/>
                  <a:pt x="33281" y="2313"/>
                </a:cubicBezTo>
                <a:cubicBezTo>
                  <a:pt x="33281" y="2407"/>
                  <a:pt x="33281" y="2407"/>
                  <a:pt x="33188" y="2375"/>
                </a:cubicBezTo>
                <a:cubicBezTo>
                  <a:pt x="33125" y="2375"/>
                  <a:pt x="33063" y="2375"/>
                  <a:pt x="33000" y="2407"/>
                </a:cubicBezTo>
                <a:cubicBezTo>
                  <a:pt x="32844" y="2438"/>
                  <a:pt x="32719" y="2563"/>
                  <a:pt x="32563" y="2625"/>
                </a:cubicBezTo>
                <a:cubicBezTo>
                  <a:pt x="32531" y="2657"/>
                  <a:pt x="32500" y="2688"/>
                  <a:pt x="32469" y="2657"/>
                </a:cubicBezTo>
                <a:cubicBezTo>
                  <a:pt x="32344" y="2532"/>
                  <a:pt x="32219" y="2438"/>
                  <a:pt x="32031" y="2532"/>
                </a:cubicBezTo>
                <a:cubicBezTo>
                  <a:pt x="32000" y="2563"/>
                  <a:pt x="31969" y="2594"/>
                  <a:pt x="31906" y="2563"/>
                </a:cubicBezTo>
                <a:cubicBezTo>
                  <a:pt x="31875" y="2532"/>
                  <a:pt x="31906" y="2469"/>
                  <a:pt x="31938" y="2438"/>
                </a:cubicBezTo>
                <a:cubicBezTo>
                  <a:pt x="31969" y="2344"/>
                  <a:pt x="32031" y="2250"/>
                  <a:pt x="31844" y="2250"/>
                </a:cubicBezTo>
                <a:cubicBezTo>
                  <a:pt x="31781" y="2250"/>
                  <a:pt x="31750" y="2219"/>
                  <a:pt x="31781" y="2188"/>
                </a:cubicBezTo>
                <a:cubicBezTo>
                  <a:pt x="31813" y="2157"/>
                  <a:pt x="31875" y="2125"/>
                  <a:pt x="31906" y="2125"/>
                </a:cubicBezTo>
                <a:cubicBezTo>
                  <a:pt x="32000" y="2157"/>
                  <a:pt x="32063" y="2125"/>
                  <a:pt x="32094" y="2032"/>
                </a:cubicBezTo>
                <a:cubicBezTo>
                  <a:pt x="32156" y="1969"/>
                  <a:pt x="32188" y="1969"/>
                  <a:pt x="32250" y="2000"/>
                </a:cubicBezTo>
                <a:cubicBezTo>
                  <a:pt x="32281" y="2000"/>
                  <a:pt x="32250" y="2094"/>
                  <a:pt x="32344" y="2032"/>
                </a:cubicBezTo>
                <a:lnTo>
                  <a:pt x="32344" y="2032"/>
                </a:lnTo>
                <a:cubicBezTo>
                  <a:pt x="32375" y="2000"/>
                  <a:pt x="32438" y="2000"/>
                  <a:pt x="32500" y="1969"/>
                </a:cubicBezTo>
                <a:cubicBezTo>
                  <a:pt x="32406" y="1875"/>
                  <a:pt x="32344" y="2000"/>
                  <a:pt x="32250" y="2000"/>
                </a:cubicBezTo>
                <a:cubicBezTo>
                  <a:pt x="32344" y="1875"/>
                  <a:pt x="32469" y="1782"/>
                  <a:pt x="32594" y="1719"/>
                </a:cubicBezTo>
                <a:cubicBezTo>
                  <a:pt x="32563" y="1657"/>
                  <a:pt x="32500" y="1657"/>
                  <a:pt x="32406" y="1657"/>
                </a:cubicBezTo>
                <a:cubicBezTo>
                  <a:pt x="32281" y="1719"/>
                  <a:pt x="32188" y="1813"/>
                  <a:pt x="32063" y="1907"/>
                </a:cubicBezTo>
                <a:cubicBezTo>
                  <a:pt x="31906" y="2032"/>
                  <a:pt x="31750" y="2125"/>
                  <a:pt x="31594" y="2219"/>
                </a:cubicBezTo>
                <a:cubicBezTo>
                  <a:pt x="31344" y="2344"/>
                  <a:pt x="31125" y="2532"/>
                  <a:pt x="30844" y="2625"/>
                </a:cubicBezTo>
                <a:cubicBezTo>
                  <a:pt x="31063" y="2313"/>
                  <a:pt x="31313" y="2032"/>
                  <a:pt x="31469" y="1688"/>
                </a:cubicBezTo>
                <a:cubicBezTo>
                  <a:pt x="31469" y="1688"/>
                  <a:pt x="31500" y="1657"/>
                  <a:pt x="31500" y="1657"/>
                </a:cubicBezTo>
                <a:cubicBezTo>
                  <a:pt x="31625" y="1594"/>
                  <a:pt x="31656" y="1532"/>
                  <a:pt x="31625" y="1375"/>
                </a:cubicBezTo>
                <a:cubicBezTo>
                  <a:pt x="31594" y="1344"/>
                  <a:pt x="31625" y="1344"/>
                  <a:pt x="31656" y="1313"/>
                </a:cubicBezTo>
                <a:cubicBezTo>
                  <a:pt x="31844" y="1250"/>
                  <a:pt x="31906" y="1094"/>
                  <a:pt x="31969" y="907"/>
                </a:cubicBezTo>
                <a:cubicBezTo>
                  <a:pt x="32000" y="875"/>
                  <a:pt x="31938" y="813"/>
                  <a:pt x="31969" y="750"/>
                </a:cubicBezTo>
                <a:cubicBezTo>
                  <a:pt x="32063" y="625"/>
                  <a:pt x="32156" y="469"/>
                  <a:pt x="32281" y="407"/>
                </a:cubicBezTo>
                <a:cubicBezTo>
                  <a:pt x="32281" y="313"/>
                  <a:pt x="32281" y="313"/>
                  <a:pt x="32344" y="313"/>
                </a:cubicBezTo>
                <a:cubicBezTo>
                  <a:pt x="32375" y="282"/>
                  <a:pt x="32438" y="313"/>
                  <a:pt x="32438" y="250"/>
                </a:cubicBezTo>
                <a:cubicBezTo>
                  <a:pt x="32438" y="188"/>
                  <a:pt x="32375" y="188"/>
                  <a:pt x="32344" y="188"/>
                </a:cubicBezTo>
                <a:cubicBezTo>
                  <a:pt x="32313" y="157"/>
                  <a:pt x="32281" y="219"/>
                  <a:pt x="32250" y="250"/>
                </a:cubicBezTo>
                <a:cubicBezTo>
                  <a:pt x="32219" y="282"/>
                  <a:pt x="32219" y="313"/>
                  <a:pt x="32219" y="313"/>
                </a:cubicBezTo>
                <a:cubicBezTo>
                  <a:pt x="32219" y="375"/>
                  <a:pt x="32188" y="375"/>
                  <a:pt x="32156" y="375"/>
                </a:cubicBezTo>
                <a:cubicBezTo>
                  <a:pt x="32063" y="407"/>
                  <a:pt x="31969" y="500"/>
                  <a:pt x="31906" y="594"/>
                </a:cubicBezTo>
                <a:cubicBezTo>
                  <a:pt x="31844" y="719"/>
                  <a:pt x="31750" y="813"/>
                  <a:pt x="31656" y="907"/>
                </a:cubicBezTo>
                <a:cubicBezTo>
                  <a:pt x="31656" y="907"/>
                  <a:pt x="31625" y="938"/>
                  <a:pt x="31594" y="938"/>
                </a:cubicBezTo>
                <a:cubicBezTo>
                  <a:pt x="31563" y="875"/>
                  <a:pt x="31594" y="875"/>
                  <a:pt x="31625" y="875"/>
                </a:cubicBezTo>
                <a:cubicBezTo>
                  <a:pt x="31781" y="594"/>
                  <a:pt x="31969" y="344"/>
                  <a:pt x="31938" y="0"/>
                </a:cubicBezTo>
                <a:cubicBezTo>
                  <a:pt x="31750" y="157"/>
                  <a:pt x="31563" y="250"/>
                  <a:pt x="31406" y="469"/>
                </a:cubicBezTo>
                <a:cubicBezTo>
                  <a:pt x="31250" y="688"/>
                  <a:pt x="31063" y="875"/>
                  <a:pt x="30906" y="1063"/>
                </a:cubicBezTo>
                <a:cubicBezTo>
                  <a:pt x="30781" y="1219"/>
                  <a:pt x="30625" y="1375"/>
                  <a:pt x="30469" y="1469"/>
                </a:cubicBezTo>
                <a:cubicBezTo>
                  <a:pt x="30094" y="1688"/>
                  <a:pt x="29750" y="1969"/>
                  <a:pt x="29375" y="2188"/>
                </a:cubicBezTo>
                <a:cubicBezTo>
                  <a:pt x="28906" y="2500"/>
                  <a:pt x="28438" y="2813"/>
                  <a:pt x="27969" y="3094"/>
                </a:cubicBezTo>
                <a:cubicBezTo>
                  <a:pt x="27438" y="3407"/>
                  <a:pt x="26844" y="3657"/>
                  <a:pt x="26281" y="3875"/>
                </a:cubicBezTo>
                <a:cubicBezTo>
                  <a:pt x="25813" y="4063"/>
                  <a:pt x="25344" y="4219"/>
                  <a:pt x="24875" y="4344"/>
                </a:cubicBezTo>
                <a:cubicBezTo>
                  <a:pt x="24656" y="4407"/>
                  <a:pt x="24438" y="4500"/>
                  <a:pt x="24219" y="4438"/>
                </a:cubicBezTo>
                <a:cubicBezTo>
                  <a:pt x="24156" y="4438"/>
                  <a:pt x="24125" y="4469"/>
                  <a:pt x="24125" y="4532"/>
                </a:cubicBezTo>
                <a:cubicBezTo>
                  <a:pt x="24344" y="4532"/>
                  <a:pt x="24563" y="4532"/>
                  <a:pt x="24750" y="4657"/>
                </a:cubicBezTo>
                <a:cubicBezTo>
                  <a:pt x="24063" y="4813"/>
                  <a:pt x="23344" y="4907"/>
                  <a:pt x="22656" y="4969"/>
                </a:cubicBezTo>
                <a:cubicBezTo>
                  <a:pt x="22719" y="5000"/>
                  <a:pt x="22781" y="5125"/>
                  <a:pt x="22906" y="5063"/>
                </a:cubicBezTo>
                <a:cubicBezTo>
                  <a:pt x="22938" y="5032"/>
                  <a:pt x="23031" y="5094"/>
                  <a:pt x="23031" y="5125"/>
                </a:cubicBezTo>
                <a:cubicBezTo>
                  <a:pt x="23031" y="5219"/>
                  <a:pt x="22938" y="5188"/>
                  <a:pt x="22906" y="5157"/>
                </a:cubicBezTo>
                <a:cubicBezTo>
                  <a:pt x="22781" y="5157"/>
                  <a:pt x="22656" y="5157"/>
                  <a:pt x="22500" y="5219"/>
                </a:cubicBezTo>
                <a:cubicBezTo>
                  <a:pt x="22594" y="5250"/>
                  <a:pt x="22625" y="5438"/>
                  <a:pt x="22750" y="5250"/>
                </a:cubicBezTo>
                <a:cubicBezTo>
                  <a:pt x="22750" y="5250"/>
                  <a:pt x="22781" y="5250"/>
                  <a:pt x="22813" y="5250"/>
                </a:cubicBezTo>
                <a:cubicBezTo>
                  <a:pt x="22906" y="5250"/>
                  <a:pt x="22938" y="5250"/>
                  <a:pt x="23125" y="5344"/>
                </a:cubicBezTo>
                <a:cubicBezTo>
                  <a:pt x="22938" y="5407"/>
                  <a:pt x="22781" y="5438"/>
                  <a:pt x="22594" y="5407"/>
                </a:cubicBezTo>
                <a:cubicBezTo>
                  <a:pt x="22500" y="5407"/>
                  <a:pt x="22438" y="5407"/>
                  <a:pt x="22344" y="5438"/>
                </a:cubicBezTo>
                <a:cubicBezTo>
                  <a:pt x="22281" y="5469"/>
                  <a:pt x="22250" y="5500"/>
                  <a:pt x="22188" y="5438"/>
                </a:cubicBezTo>
                <a:cubicBezTo>
                  <a:pt x="22063" y="5375"/>
                  <a:pt x="21906" y="5375"/>
                  <a:pt x="21781" y="5313"/>
                </a:cubicBezTo>
                <a:cubicBezTo>
                  <a:pt x="21781" y="5313"/>
                  <a:pt x="21750" y="5313"/>
                  <a:pt x="21750" y="5313"/>
                </a:cubicBezTo>
                <a:cubicBezTo>
                  <a:pt x="21844" y="5438"/>
                  <a:pt x="21813" y="5500"/>
                  <a:pt x="21688" y="5532"/>
                </a:cubicBezTo>
                <a:cubicBezTo>
                  <a:pt x="21563" y="5532"/>
                  <a:pt x="21406" y="5563"/>
                  <a:pt x="21281" y="5438"/>
                </a:cubicBezTo>
                <a:cubicBezTo>
                  <a:pt x="21344" y="5532"/>
                  <a:pt x="21313" y="5563"/>
                  <a:pt x="21219" y="5563"/>
                </a:cubicBezTo>
                <a:cubicBezTo>
                  <a:pt x="21031" y="5563"/>
                  <a:pt x="20875" y="5594"/>
                  <a:pt x="20719" y="5594"/>
                </a:cubicBezTo>
                <a:cubicBezTo>
                  <a:pt x="20188" y="5594"/>
                  <a:pt x="19688" y="5594"/>
                  <a:pt x="19156" y="5532"/>
                </a:cubicBezTo>
                <a:cubicBezTo>
                  <a:pt x="18906" y="5500"/>
                  <a:pt x="18656" y="5438"/>
                  <a:pt x="18438" y="5375"/>
                </a:cubicBezTo>
                <a:cubicBezTo>
                  <a:pt x="18406" y="5344"/>
                  <a:pt x="18375" y="5344"/>
                  <a:pt x="18344" y="5375"/>
                </a:cubicBezTo>
                <a:cubicBezTo>
                  <a:pt x="18344" y="5407"/>
                  <a:pt x="18375" y="5438"/>
                  <a:pt x="18406" y="5438"/>
                </a:cubicBezTo>
                <a:cubicBezTo>
                  <a:pt x="18469" y="5407"/>
                  <a:pt x="18500" y="5469"/>
                  <a:pt x="18563" y="5469"/>
                </a:cubicBezTo>
                <a:cubicBezTo>
                  <a:pt x="18594" y="5469"/>
                  <a:pt x="18625" y="5469"/>
                  <a:pt x="18625" y="5500"/>
                </a:cubicBezTo>
                <a:cubicBezTo>
                  <a:pt x="18656" y="5500"/>
                  <a:pt x="18656" y="5500"/>
                  <a:pt x="18688" y="5532"/>
                </a:cubicBezTo>
                <a:cubicBezTo>
                  <a:pt x="18688" y="5532"/>
                  <a:pt x="18719" y="5532"/>
                  <a:pt x="18719" y="5532"/>
                </a:cubicBezTo>
                <a:cubicBezTo>
                  <a:pt x="18813" y="5500"/>
                  <a:pt x="18875" y="5563"/>
                  <a:pt x="18969" y="5563"/>
                </a:cubicBezTo>
                <a:cubicBezTo>
                  <a:pt x="18844" y="5625"/>
                  <a:pt x="18719" y="5563"/>
                  <a:pt x="18594" y="5563"/>
                </a:cubicBezTo>
                <a:cubicBezTo>
                  <a:pt x="18563" y="5563"/>
                  <a:pt x="18531" y="5532"/>
                  <a:pt x="18500" y="5500"/>
                </a:cubicBezTo>
                <a:cubicBezTo>
                  <a:pt x="18469" y="5500"/>
                  <a:pt x="18469" y="5500"/>
                  <a:pt x="18438" y="5500"/>
                </a:cubicBezTo>
                <a:cubicBezTo>
                  <a:pt x="18406" y="5500"/>
                  <a:pt x="18375" y="5532"/>
                  <a:pt x="18344" y="5500"/>
                </a:cubicBezTo>
                <a:cubicBezTo>
                  <a:pt x="18313" y="5500"/>
                  <a:pt x="18281" y="5532"/>
                  <a:pt x="18250" y="5532"/>
                </a:cubicBezTo>
                <a:cubicBezTo>
                  <a:pt x="18344" y="5563"/>
                  <a:pt x="18438" y="5625"/>
                  <a:pt x="18531" y="5594"/>
                </a:cubicBezTo>
                <a:cubicBezTo>
                  <a:pt x="18531" y="5657"/>
                  <a:pt x="18469" y="5657"/>
                  <a:pt x="18469" y="5657"/>
                </a:cubicBezTo>
                <a:cubicBezTo>
                  <a:pt x="18406" y="5750"/>
                  <a:pt x="18375" y="5750"/>
                  <a:pt x="18344" y="5657"/>
                </a:cubicBezTo>
                <a:cubicBezTo>
                  <a:pt x="18344" y="5625"/>
                  <a:pt x="18281" y="5625"/>
                  <a:pt x="18250" y="5625"/>
                </a:cubicBezTo>
                <a:cubicBezTo>
                  <a:pt x="18156" y="5750"/>
                  <a:pt x="18156" y="5563"/>
                  <a:pt x="18094" y="5594"/>
                </a:cubicBezTo>
                <a:cubicBezTo>
                  <a:pt x="18063" y="5532"/>
                  <a:pt x="18125" y="5563"/>
                  <a:pt x="18125" y="5563"/>
                </a:cubicBezTo>
                <a:cubicBezTo>
                  <a:pt x="18188" y="5500"/>
                  <a:pt x="18156" y="5469"/>
                  <a:pt x="18094" y="5438"/>
                </a:cubicBezTo>
                <a:cubicBezTo>
                  <a:pt x="17938" y="5407"/>
                  <a:pt x="17750" y="5375"/>
                  <a:pt x="17594" y="5313"/>
                </a:cubicBezTo>
                <a:cubicBezTo>
                  <a:pt x="17438" y="5250"/>
                  <a:pt x="17281" y="5219"/>
                  <a:pt x="17156" y="5157"/>
                </a:cubicBezTo>
                <a:cubicBezTo>
                  <a:pt x="17125" y="5125"/>
                  <a:pt x="17063" y="5125"/>
                  <a:pt x="17031" y="5157"/>
                </a:cubicBezTo>
                <a:cubicBezTo>
                  <a:pt x="17125" y="5282"/>
                  <a:pt x="17250" y="5344"/>
                  <a:pt x="17344" y="5250"/>
                </a:cubicBezTo>
                <a:cubicBezTo>
                  <a:pt x="17344" y="5344"/>
                  <a:pt x="17375" y="5407"/>
                  <a:pt x="17500" y="5407"/>
                </a:cubicBezTo>
                <a:cubicBezTo>
                  <a:pt x="17531" y="5407"/>
                  <a:pt x="17563" y="5438"/>
                  <a:pt x="17625" y="5469"/>
                </a:cubicBezTo>
                <a:cubicBezTo>
                  <a:pt x="17531" y="5500"/>
                  <a:pt x="17438" y="5469"/>
                  <a:pt x="17344" y="5438"/>
                </a:cubicBezTo>
                <a:cubicBezTo>
                  <a:pt x="17125" y="5344"/>
                  <a:pt x="16938" y="5282"/>
                  <a:pt x="16719" y="5188"/>
                </a:cubicBezTo>
                <a:cubicBezTo>
                  <a:pt x="16688" y="5188"/>
                  <a:pt x="16656" y="5157"/>
                  <a:pt x="16625" y="5219"/>
                </a:cubicBezTo>
                <a:cubicBezTo>
                  <a:pt x="16594" y="5313"/>
                  <a:pt x="16500" y="5250"/>
                  <a:pt x="16469" y="5219"/>
                </a:cubicBezTo>
                <a:cubicBezTo>
                  <a:pt x="16313" y="5094"/>
                  <a:pt x="16313" y="5094"/>
                  <a:pt x="16188" y="5250"/>
                </a:cubicBezTo>
                <a:cubicBezTo>
                  <a:pt x="16375" y="5250"/>
                  <a:pt x="16500" y="5344"/>
                  <a:pt x="16656" y="5438"/>
                </a:cubicBezTo>
                <a:cubicBezTo>
                  <a:pt x="16500" y="5594"/>
                  <a:pt x="16438" y="5438"/>
                  <a:pt x="16344" y="5375"/>
                </a:cubicBezTo>
                <a:cubicBezTo>
                  <a:pt x="16313" y="5375"/>
                  <a:pt x="16344" y="5282"/>
                  <a:pt x="16313" y="5344"/>
                </a:cubicBezTo>
                <a:cubicBezTo>
                  <a:pt x="16250" y="5407"/>
                  <a:pt x="16219" y="5344"/>
                  <a:pt x="16156" y="5313"/>
                </a:cubicBezTo>
                <a:cubicBezTo>
                  <a:pt x="16063" y="5282"/>
                  <a:pt x="16031" y="5313"/>
                  <a:pt x="16063" y="5438"/>
                </a:cubicBezTo>
                <a:cubicBezTo>
                  <a:pt x="15969" y="5344"/>
                  <a:pt x="15719" y="5500"/>
                  <a:pt x="15719" y="5219"/>
                </a:cubicBezTo>
                <a:cubicBezTo>
                  <a:pt x="15719" y="5219"/>
                  <a:pt x="15688" y="5219"/>
                  <a:pt x="15656" y="5188"/>
                </a:cubicBezTo>
                <a:cubicBezTo>
                  <a:pt x="15625" y="5188"/>
                  <a:pt x="15594" y="5188"/>
                  <a:pt x="15563" y="5157"/>
                </a:cubicBezTo>
                <a:cubicBezTo>
                  <a:pt x="15500" y="5157"/>
                  <a:pt x="15594" y="5313"/>
                  <a:pt x="15469" y="5250"/>
                </a:cubicBezTo>
                <a:cubicBezTo>
                  <a:pt x="15438" y="5250"/>
                  <a:pt x="15375" y="5219"/>
                  <a:pt x="15406" y="5188"/>
                </a:cubicBezTo>
                <a:cubicBezTo>
                  <a:pt x="15438" y="5125"/>
                  <a:pt x="15469" y="5125"/>
                  <a:pt x="15500" y="5125"/>
                </a:cubicBezTo>
                <a:cubicBezTo>
                  <a:pt x="15531" y="5125"/>
                  <a:pt x="15531" y="5125"/>
                  <a:pt x="15563" y="5125"/>
                </a:cubicBezTo>
                <a:cubicBezTo>
                  <a:pt x="15563" y="5032"/>
                  <a:pt x="15469" y="5063"/>
                  <a:pt x="15375" y="5032"/>
                </a:cubicBezTo>
                <a:cubicBezTo>
                  <a:pt x="15375" y="5000"/>
                  <a:pt x="15469" y="5032"/>
                  <a:pt x="15469" y="4969"/>
                </a:cubicBezTo>
                <a:cubicBezTo>
                  <a:pt x="15406" y="4938"/>
                  <a:pt x="15344" y="4907"/>
                  <a:pt x="15281" y="4907"/>
                </a:cubicBezTo>
                <a:cubicBezTo>
                  <a:pt x="15156" y="4844"/>
                  <a:pt x="15188" y="4907"/>
                  <a:pt x="15219" y="4969"/>
                </a:cubicBezTo>
                <a:cubicBezTo>
                  <a:pt x="15094" y="5000"/>
                  <a:pt x="15000" y="4813"/>
                  <a:pt x="14844" y="4907"/>
                </a:cubicBezTo>
                <a:cubicBezTo>
                  <a:pt x="14906" y="5000"/>
                  <a:pt x="15031" y="5000"/>
                  <a:pt x="15125" y="5032"/>
                </a:cubicBezTo>
                <a:cubicBezTo>
                  <a:pt x="15188" y="5094"/>
                  <a:pt x="15219" y="5125"/>
                  <a:pt x="15156" y="5219"/>
                </a:cubicBezTo>
                <a:cubicBezTo>
                  <a:pt x="15219" y="5219"/>
                  <a:pt x="15250" y="5219"/>
                  <a:pt x="15313" y="5219"/>
                </a:cubicBezTo>
                <a:cubicBezTo>
                  <a:pt x="15219" y="5313"/>
                  <a:pt x="15156" y="5313"/>
                  <a:pt x="15094" y="5250"/>
                </a:cubicBezTo>
                <a:cubicBezTo>
                  <a:pt x="15031" y="5219"/>
                  <a:pt x="14938" y="5157"/>
                  <a:pt x="14844" y="5125"/>
                </a:cubicBezTo>
                <a:cubicBezTo>
                  <a:pt x="14813" y="5125"/>
                  <a:pt x="14781" y="5125"/>
                  <a:pt x="14781" y="5188"/>
                </a:cubicBezTo>
                <a:cubicBezTo>
                  <a:pt x="14781" y="5219"/>
                  <a:pt x="14813" y="5219"/>
                  <a:pt x="14844" y="5219"/>
                </a:cubicBezTo>
                <a:cubicBezTo>
                  <a:pt x="14938" y="5219"/>
                  <a:pt x="15031" y="5250"/>
                  <a:pt x="15031" y="5375"/>
                </a:cubicBezTo>
                <a:cubicBezTo>
                  <a:pt x="15063" y="5438"/>
                  <a:pt x="15094" y="5438"/>
                  <a:pt x="15156" y="5469"/>
                </a:cubicBezTo>
                <a:cubicBezTo>
                  <a:pt x="15250" y="5469"/>
                  <a:pt x="15313" y="5500"/>
                  <a:pt x="15344" y="5563"/>
                </a:cubicBezTo>
                <a:cubicBezTo>
                  <a:pt x="15375" y="5657"/>
                  <a:pt x="15438" y="5625"/>
                  <a:pt x="15469" y="5625"/>
                </a:cubicBezTo>
                <a:cubicBezTo>
                  <a:pt x="15625" y="5594"/>
                  <a:pt x="15719" y="5688"/>
                  <a:pt x="15813" y="5813"/>
                </a:cubicBezTo>
                <a:cubicBezTo>
                  <a:pt x="15875" y="5813"/>
                  <a:pt x="15938" y="5813"/>
                  <a:pt x="16000" y="5875"/>
                </a:cubicBezTo>
                <a:cubicBezTo>
                  <a:pt x="16031" y="5938"/>
                  <a:pt x="16094" y="5969"/>
                  <a:pt x="16188" y="5969"/>
                </a:cubicBezTo>
                <a:cubicBezTo>
                  <a:pt x="16219" y="5969"/>
                  <a:pt x="16281" y="6000"/>
                  <a:pt x="16250" y="6032"/>
                </a:cubicBezTo>
                <a:cubicBezTo>
                  <a:pt x="16250" y="6094"/>
                  <a:pt x="16188" y="6063"/>
                  <a:pt x="16156" y="6032"/>
                </a:cubicBezTo>
                <a:cubicBezTo>
                  <a:pt x="16063" y="5969"/>
                  <a:pt x="15906" y="6032"/>
                  <a:pt x="15875" y="5907"/>
                </a:cubicBezTo>
                <a:cubicBezTo>
                  <a:pt x="15844" y="5875"/>
                  <a:pt x="15781" y="5907"/>
                  <a:pt x="15750" y="5844"/>
                </a:cubicBezTo>
                <a:cubicBezTo>
                  <a:pt x="15688" y="5813"/>
                  <a:pt x="15625" y="5782"/>
                  <a:pt x="15531" y="5750"/>
                </a:cubicBezTo>
                <a:cubicBezTo>
                  <a:pt x="15313" y="5688"/>
                  <a:pt x="15125" y="5532"/>
                  <a:pt x="14875" y="5500"/>
                </a:cubicBezTo>
                <a:cubicBezTo>
                  <a:pt x="14844" y="5500"/>
                  <a:pt x="14781" y="5500"/>
                  <a:pt x="14750" y="5469"/>
                </a:cubicBezTo>
                <a:cubicBezTo>
                  <a:pt x="14719" y="5344"/>
                  <a:pt x="14625" y="5375"/>
                  <a:pt x="14563" y="5344"/>
                </a:cubicBezTo>
                <a:cubicBezTo>
                  <a:pt x="14500" y="5282"/>
                  <a:pt x="14438" y="5188"/>
                  <a:pt x="14313" y="5219"/>
                </a:cubicBezTo>
                <a:cubicBezTo>
                  <a:pt x="14281" y="5219"/>
                  <a:pt x="14219" y="5188"/>
                  <a:pt x="14156" y="5157"/>
                </a:cubicBezTo>
                <a:cubicBezTo>
                  <a:pt x="13969" y="5000"/>
                  <a:pt x="13719" y="4969"/>
                  <a:pt x="13531" y="4813"/>
                </a:cubicBezTo>
                <a:cubicBezTo>
                  <a:pt x="13469" y="4782"/>
                  <a:pt x="13406" y="4782"/>
                  <a:pt x="13344" y="4750"/>
                </a:cubicBezTo>
                <a:cubicBezTo>
                  <a:pt x="13313" y="4750"/>
                  <a:pt x="13281" y="4719"/>
                  <a:pt x="13281" y="4813"/>
                </a:cubicBezTo>
                <a:cubicBezTo>
                  <a:pt x="13281" y="4844"/>
                  <a:pt x="13250" y="4875"/>
                  <a:pt x="13344" y="4875"/>
                </a:cubicBezTo>
                <a:cubicBezTo>
                  <a:pt x="13438" y="4875"/>
                  <a:pt x="13469" y="4969"/>
                  <a:pt x="13500" y="5032"/>
                </a:cubicBezTo>
                <a:cubicBezTo>
                  <a:pt x="13438" y="5063"/>
                  <a:pt x="13406" y="5063"/>
                  <a:pt x="13344" y="5063"/>
                </a:cubicBezTo>
                <a:cubicBezTo>
                  <a:pt x="13313" y="5063"/>
                  <a:pt x="13375" y="5157"/>
                  <a:pt x="13281" y="5125"/>
                </a:cubicBezTo>
                <a:cubicBezTo>
                  <a:pt x="13219" y="5063"/>
                  <a:pt x="13313" y="5032"/>
                  <a:pt x="13281" y="5000"/>
                </a:cubicBezTo>
                <a:cubicBezTo>
                  <a:pt x="13281" y="5000"/>
                  <a:pt x="13281" y="5000"/>
                  <a:pt x="13250" y="5000"/>
                </a:cubicBezTo>
                <a:cubicBezTo>
                  <a:pt x="13188" y="5000"/>
                  <a:pt x="13156" y="4938"/>
                  <a:pt x="13125" y="4907"/>
                </a:cubicBezTo>
                <a:cubicBezTo>
                  <a:pt x="13063" y="4844"/>
                  <a:pt x="12969" y="4813"/>
                  <a:pt x="12875" y="4750"/>
                </a:cubicBezTo>
                <a:cubicBezTo>
                  <a:pt x="12875" y="4750"/>
                  <a:pt x="12781" y="4719"/>
                  <a:pt x="12813" y="4813"/>
                </a:cubicBezTo>
                <a:cubicBezTo>
                  <a:pt x="12875" y="4844"/>
                  <a:pt x="12813" y="4907"/>
                  <a:pt x="12844" y="4969"/>
                </a:cubicBezTo>
                <a:cubicBezTo>
                  <a:pt x="12781" y="4969"/>
                  <a:pt x="12719" y="4969"/>
                  <a:pt x="12750" y="4875"/>
                </a:cubicBezTo>
                <a:cubicBezTo>
                  <a:pt x="12688" y="4813"/>
                  <a:pt x="12594" y="4813"/>
                  <a:pt x="12531" y="4907"/>
                </a:cubicBezTo>
                <a:cubicBezTo>
                  <a:pt x="12531" y="4938"/>
                  <a:pt x="12563" y="4938"/>
                  <a:pt x="12563" y="4938"/>
                </a:cubicBezTo>
                <a:cubicBezTo>
                  <a:pt x="12719" y="4969"/>
                  <a:pt x="12688" y="5032"/>
                  <a:pt x="12656" y="5125"/>
                </a:cubicBezTo>
                <a:cubicBezTo>
                  <a:pt x="12656" y="5157"/>
                  <a:pt x="12688" y="5188"/>
                  <a:pt x="12719" y="5157"/>
                </a:cubicBezTo>
                <a:cubicBezTo>
                  <a:pt x="12813" y="5125"/>
                  <a:pt x="12875" y="5188"/>
                  <a:pt x="12906" y="5282"/>
                </a:cubicBezTo>
                <a:cubicBezTo>
                  <a:pt x="12938" y="5282"/>
                  <a:pt x="12969" y="5282"/>
                  <a:pt x="12969" y="5313"/>
                </a:cubicBezTo>
                <a:cubicBezTo>
                  <a:pt x="13031" y="5407"/>
                  <a:pt x="13156" y="5375"/>
                  <a:pt x="13250" y="5438"/>
                </a:cubicBezTo>
                <a:cubicBezTo>
                  <a:pt x="13406" y="5563"/>
                  <a:pt x="13594" y="5688"/>
                  <a:pt x="13750" y="5813"/>
                </a:cubicBezTo>
                <a:cubicBezTo>
                  <a:pt x="13813" y="5813"/>
                  <a:pt x="13906" y="5813"/>
                  <a:pt x="13906" y="5907"/>
                </a:cubicBezTo>
                <a:cubicBezTo>
                  <a:pt x="13938" y="5907"/>
                  <a:pt x="13969" y="5938"/>
                  <a:pt x="14000" y="5969"/>
                </a:cubicBezTo>
                <a:cubicBezTo>
                  <a:pt x="14094" y="6000"/>
                  <a:pt x="14063" y="5938"/>
                  <a:pt x="14063" y="5907"/>
                </a:cubicBezTo>
                <a:cubicBezTo>
                  <a:pt x="14000" y="5813"/>
                  <a:pt x="13938" y="5750"/>
                  <a:pt x="13844" y="5688"/>
                </a:cubicBezTo>
                <a:cubicBezTo>
                  <a:pt x="13813" y="5688"/>
                  <a:pt x="13750" y="5844"/>
                  <a:pt x="13750" y="5688"/>
                </a:cubicBezTo>
                <a:cubicBezTo>
                  <a:pt x="13750" y="5657"/>
                  <a:pt x="13781" y="5657"/>
                  <a:pt x="13750" y="5657"/>
                </a:cubicBezTo>
                <a:cubicBezTo>
                  <a:pt x="13563" y="5594"/>
                  <a:pt x="13500" y="5407"/>
                  <a:pt x="13313" y="5375"/>
                </a:cubicBezTo>
                <a:cubicBezTo>
                  <a:pt x="13219" y="5375"/>
                  <a:pt x="13281" y="5282"/>
                  <a:pt x="13250" y="5219"/>
                </a:cubicBezTo>
                <a:cubicBezTo>
                  <a:pt x="13375" y="5313"/>
                  <a:pt x="13500" y="5344"/>
                  <a:pt x="13656" y="5407"/>
                </a:cubicBezTo>
                <a:cubicBezTo>
                  <a:pt x="13719" y="5407"/>
                  <a:pt x="13875" y="5407"/>
                  <a:pt x="13813" y="5563"/>
                </a:cubicBezTo>
                <a:cubicBezTo>
                  <a:pt x="13781" y="5594"/>
                  <a:pt x="13844" y="5657"/>
                  <a:pt x="13844" y="5688"/>
                </a:cubicBezTo>
                <a:cubicBezTo>
                  <a:pt x="13938" y="5594"/>
                  <a:pt x="13969" y="5657"/>
                  <a:pt x="14031" y="5719"/>
                </a:cubicBezTo>
                <a:cubicBezTo>
                  <a:pt x="14063" y="5719"/>
                  <a:pt x="14063" y="5719"/>
                  <a:pt x="14094" y="5688"/>
                </a:cubicBezTo>
                <a:cubicBezTo>
                  <a:pt x="14094" y="5719"/>
                  <a:pt x="14094" y="5750"/>
                  <a:pt x="14094" y="5750"/>
                </a:cubicBezTo>
                <a:cubicBezTo>
                  <a:pt x="14156" y="5813"/>
                  <a:pt x="14188" y="5875"/>
                  <a:pt x="14281" y="5844"/>
                </a:cubicBezTo>
                <a:cubicBezTo>
                  <a:pt x="14281" y="5750"/>
                  <a:pt x="14219" y="5688"/>
                  <a:pt x="14094" y="5688"/>
                </a:cubicBezTo>
                <a:cubicBezTo>
                  <a:pt x="14156" y="5594"/>
                  <a:pt x="14219" y="5625"/>
                  <a:pt x="14281" y="5688"/>
                </a:cubicBezTo>
                <a:cubicBezTo>
                  <a:pt x="14313" y="5719"/>
                  <a:pt x="14344" y="5813"/>
                  <a:pt x="14406" y="5844"/>
                </a:cubicBezTo>
                <a:cubicBezTo>
                  <a:pt x="14563" y="5907"/>
                  <a:pt x="14813" y="5938"/>
                  <a:pt x="15031" y="5875"/>
                </a:cubicBezTo>
                <a:cubicBezTo>
                  <a:pt x="15000" y="5844"/>
                  <a:pt x="14969" y="5844"/>
                  <a:pt x="14938" y="5813"/>
                </a:cubicBezTo>
                <a:cubicBezTo>
                  <a:pt x="14906" y="5813"/>
                  <a:pt x="14844" y="5813"/>
                  <a:pt x="14875" y="5750"/>
                </a:cubicBezTo>
                <a:cubicBezTo>
                  <a:pt x="14875" y="5719"/>
                  <a:pt x="14906" y="5750"/>
                  <a:pt x="14938" y="5750"/>
                </a:cubicBezTo>
                <a:cubicBezTo>
                  <a:pt x="15031" y="5719"/>
                  <a:pt x="15094" y="5750"/>
                  <a:pt x="15125" y="5813"/>
                </a:cubicBezTo>
                <a:cubicBezTo>
                  <a:pt x="15156" y="5907"/>
                  <a:pt x="15063" y="5907"/>
                  <a:pt x="15031" y="5938"/>
                </a:cubicBezTo>
                <a:cubicBezTo>
                  <a:pt x="14969" y="6000"/>
                  <a:pt x="14906" y="6063"/>
                  <a:pt x="15031" y="6125"/>
                </a:cubicBezTo>
                <a:cubicBezTo>
                  <a:pt x="15094" y="6157"/>
                  <a:pt x="15125" y="6219"/>
                  <a:pt x="15125" y="6313"/>
                </a:cubicBezTo>
                <a:cubicBezTo>
                  <a:pt x="15188" y="6344"/>
                  <a:pt x="15281" y="6344"/>
                  <a:pt x="15313" y="6438"/>
                </a:cubicBezTo>
                <a:cubicBezTo>
                  <a:pt x="15344" y="6469"/>
                  <a:pt x="15375" y="6469"/>
                  <a:pt x="15406" y="6469"/>
                </a:cubicBezTo>
                <a:cubicBezTo>
                  <a:pt x="15469" y="6438"/>
                  <a:pt x="15563" y="6469"/>
                  <a:pt x="15625" y="6500"/>
                </a:cubicBezTo>
                <a:cubicBezTo>
                  <a:pt x="15531" y="6625"/>
                  <a:pt x="15469" y="6625"/>
                  <a:pt x="15281" y="6500"/>
                </a:cubicBezTo>
                <a:cubicBezTo>
                  <a:pt x="15188" y="6469"/>
                  <a:pt x="15125" y="6407"/>
                  <a:pt x="15031" y="6344"/>
                </a:cubicBezTo>
                <a:cubicBezTo>
                  <a:pt x="15031" y="6313"/>
                  <a:pt x="15031" y="6282"/>
                  <a:pt x="15000" y="6250"/>
                </a:cubicBezTo>
                <a:cubicBezTo>
                  <a:pt x="14969" y="6250"/>
                  <a:pt x="14969" y="6250"/>
                  <a:pt x="14969" y="6250"/>
                </a:cubicBezTo>
                <a:cubicBezTo>
                  <a:pt x="14875" y="6438"/>
                  <a:pt x="14813" y="6250"/>
                  <a:pt x="14750" y="6219"/>
                </a:cubicBezTo>
                <a:cubicBezTo>
                  <a:pt x="14531" y="6188"/>
                  <a:pt x="14375" y="6032"/>
                  <a:pt x="14188" y="5938"/>
                </a:cubicBezTo>
                <a:cubicBezTo>
                  <a:pt x="14188" y="5969"/>
                  <a:pt x="14188" y="6000"/>
                  <a:pt x="14219" y="6032"/>
                </a:cubicBezTo>
                <a:cubicBezTo>
                  <a:pt x="14375" y="6157"/>
                  <a:pt x="14594" y="6188"/>
                  <a:pt x="14719" y="6407"/>
                </a:cubicBezTo>
                <a:cubicBezTo>
                  <a:pt x="14688" y="6407"/>
                  <a:pt x="14625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594" y="6407"/>
                  <a:pt x="14594" y="6407"/>
                  <a:pt x="14594" y="6407"/>
                </a:cubicBezTo>
                <a:cubicBezTo>
                  <a:pt x="14625" y="6407"/>
                  <a:pt x="14625" y="6407"/>
                  <a:pt x="14625" y="6407"/>
                </a:cubicBezTo>
                <a:cubicBezTo>
                  <a:pt x="14594" y="6532"/>
                  <a:pt x="14750" y="6469"/>
                  <a:pt x="14781" y="6563"/>
                </a:cubicBezTo>
                <a:cubicBezTo>
                  <a:pt x="14781" y="6594"/>
                  <a:pt x="14688" y="6563"/>
                  <a:pt x="14719" y="6594"/>
                </a:cubicBezTo>
                <a:cubicBezTo>
                  <a:pt x="14719" y="6625"/>
                  <a:pt x="14719" y="6657"/>
                  <a:pt x="14750" y="6657"/>
                </a:cubicBezTo>
                <a:cubicBezTo>
                  <a:pt x="14844" y="6688"/>
                  <a:pt x="14938" y="6688"/>
                  <a:pt x="15031" y="6719"/>
                </a:cubicBezTo>
                <a:cubicBezTo>
                  <a:pt x="14938" y="6594"/>
                  <a:pt x="14844" y="6500"/>
                  <a:pt x="14750" y="6438"/>
                </a:cubicBezTo>
                <a:cubicBezTo>
                  <a:pt x="14906" y="6469"/>
                  <a:pt x="15063" y="6532"/>
                  <a:pt x="15188" y="6625"/>
                </a:cubicBezTo>
                <a:cubicBezTo>
                  <a:pt x="15250" y="6657"/>
                  <a:pt x="15375" y="6657"/>
                  <a:pt x="15375" y="6782"/>
                </a:cubicBezTo>
                <a:cubicBezTo>
                  <a:pt x="15375" y="6782"/>
                  <a:pt x="15375" y="6782"/>
                  <a:pt x="15406" y="6813"/>
                </a:cubicBezTo>
                <a:cubicBezTo>
                  <a:pt x="15406" y="6813"/>
                  <a:pt x="15438" y="6782"/>
                  <a:pt x="15469" y="6782"/>
                </a:cubicBezTo>
                <a:cubicBezTo>
                  <a:pt x="15531" y="6750"/>
                  <a:pt x="15563" y="6750"/>
                  <a:pt x="15625" y="6782"/>
                </a:cubicBezTo>
                <a:cubicBezTo>
                  <a:pt x="15656" y="6782"/>
                  <a:pt x="15688" y="6813"/>
                  <a:pt x="15750" y="6813"/>
                </a:cubicBezTo>
                <a:cubicBezTo>
                  <a:pt x="15781" y="6813"/>
                  <a:pt x="15813" y="6782"/>
                  <a:pt x="15844" y="6782"/>
                </a:cubicBezTo>
                <a:cubicBezTo>
                  <a:pt x="15781" y="6719"/>
                  <a:pt x="15688" y="6688"/>
                  <a:pt x="15656" y="6563"/>
                </a:cubicBezTo>
                <a:cubicBezTo>
                  <a:pt x="15813" y="6719"/>
                  <a:pt x="16000" y="6750"/>
                  <a:pt x="16156" y="6844"/>
                </a:cubicBezTo>
                <a:cubicBezTo>
                  <a:pt x="16063" y="6844"/>
                  <a:pt x="15969" y="6844"/>
                  <a:pt x="15906" y="6813"/>
                </a:cubicBezTo>
                <a:cubicBezTo>
                  <a:pt x="15875" y="6782"/>
                  <a:pt x="15813" y="6750"/>
                  <a:pt x="15813" y="6844"/>
                </a:cubicBezTo>
                <a:cubicBezTo>
                  <a:pt x="15875" y="6969"/>
                  <a:pt x="16031" y="6875"/>
                  <a:pt x="16063" y="7000"/>
                </a:cubicBezTo>
                <a:cubicBezTo>
                  <a:pt x="16031" y="7032"/>
                  <a:pt x="16000" y="6969"/>
                  <a:pt x="15969" y="7032"/>
                </a:cubicBezTo>
                <a:cubicBezTo>
                  <a:pt x="16031" y="7125"/>
                  <a:pt x="16125" y="7094"/>
                  <a:pt x="16219" y="7094"/>
                </a:cubicBezTo>
                <a:cubicBezTo>
                  <a:pt x="16188" y="7125"/>
                  <a:pt x="16188" y="7188"/>
                  <a:pt x="16156" y="7250"/>
                </a:cubicBezTo>
                <a:cubicBezTo>
                  <a:pt x="16125" y="7157"/>
                  <a:pt x="16063" y="7188"/>
                  <a:pt x="15969" y="7188"/>
                </a:cubicBezTo>
                <a:cubicBezTo>
                  <a:pt x="15938" y="7157"/>
                  <a:pt x="15906" y="7219"/>
                  <a:pt x="15875" y="7157"/>
                </a:cubicBezTo>
                <a:cubicBezTo>
                  <a:pt x="15813" y="7063"/>
                  <a:pt x="15719" y="7032"/>
                  <a:pt x="15625" y="7000"/>
                </a:cubicBezTo>
                <a:cubicBezTo>
                  <a:pt x="15500" y="6938"/>
                  <a:pt x="15375" y="6938"/>
                  <a:pt x="15281" y="6844"/>
                </a:cubicBezTo>
                <a:cubicBezTo>
                  <a:pt x="15250" y="6813"/>
                  <a:pt x="15188" y="6750"/>
                  <a:pt x="15156" y="6782"/>
                </a:cubicBezTo>
                <a:cubicBezTo>
                  <a:pt x="15094" y="6844"/>
                  <a:pt x="15125" y="6907"/>
                  <a:pt x="15094" y="7000"/>
                </a:cubicBezTo>
                <a:cubicBezTo>
                  <a:pt x="15094" y="7000"/>
                  <a:pt x="15125" y="7032"/>
                  <a:pt x="15156" y="7032"/>
                </a:cubicBezTo>
                <a:cubicBezTo>
                  <a:pt x="15219" y="7032"/>
                  <a:pt x="15188" y="7000"/>
                  <a:pt x="15188" y="6969"/>
                </a:cubicBezTo>
                <a:cubicBezTo>
                  <a:pt x="15156" y="6938"/>
                  <a:pt x="15188" y="6907"/>
                  <a:pt x="15219" y="6875"/>
                </a:cubicBezTo>
                <a:cubicBezTo>
                  <a:pt x="15219" y="6907"/>
                  <a:pt x="15219" y="6938"/>
                  <a:pt x="15250" y="6969"/>
                </a:cubicBezTo>
                <a:cubicBezTo>
                  <a:pt x="15281" y="7032"/>
                  <a:pt x="15281" y="7094"/>
                  <a:pt x="15313" y="7157"/>
                </a:cubicBezTo>
                <a:cubicBezTo>
                  <a:pt x="15375" y="7188"/>
                  <a:pt x="15438" y="7125"/>
                  <a:pt x="15531" y="7125"/>
                </a:cubicBezTo>
                <a:cubicBezTo>
                  <a:pt x="15594" y="7094"/>
                  <a:pt x="15594" y="7125"/>
                  <a:pt x="15625" y="7188"/>
                </a:cubicBezTo>
                <a:cubicBezTo>
                  <a:pt x="15625" y="7282"/>
                  <a:pt x="15688" y="7344"/>
                  <a:pt x="15781" y="7344"/>
                </a:cubicBezTo>
                <a:cubicBezTo>
                  <a:pt x="15781" y="7313"/>
                  <a:pt x="15781" y="7313"/>
                  <a:pt x="15781" y="7313"/>
                </a:cubicBezTo>
                <a:cubicBezTo>
                  <a:pt x="15781" y="7250"/>
                  <a:pt x="15656" y="7250"/>
                  <a:pt x="15719" y="7188"/>
                </a:cubicBezTo>
                <a:cubicBezTo>
                  <a:pt x="15781" y="7157"/>
                  <a:pt x="15813" y="7219"/>
                  <a:pt x="15875" y="7250"/>
                </a:cubicBezTo>
                <a:cubicBezTo>
                  <a:pt x="15906" y="7250"/>
                  <a:pt x="15906" y="7282"/>
                  <a:pt x="15938" y="7313"/>
                </a:cubicBezTo>
                <a:cubicBezTo>
                  <a:pt x="15969" y="7375"/>
                  <a:pt x="16000" y="7438"/>
                  <a:pt x="16094" y="7375"/>
                </a:cubicBezTo>
                <a:cubicBezTo>
                  <a:pt x="16094" y="7375"/>
                  <a:pt x="16125" y="7407"/>
                  <a:pt x="16125" y="7438"/>
                </a:cubicBezTo>
                <a:cubicBezTo>
                  <a:pt x="16313" y="7500"/>
                  <a:pt x="16500" y="7500"/>
                  <a:pt x="16625" y="7688"/>
                </a:cubicBezTo>
                <a:cubicBezTo>
                  <a:pt x="16594" y="7688"/>
                  <a:pt x="16563" y="7688"/>
                  <a:pt x="16531" y="7688"/>
                </a:cubicBezTo>
                <a:cubicBezTo>
                  <a:pt x="16375" y="7625"/>
                  <a:pt x="16094" y="7532"/>
                  <a:pt x="16094" y="7532"/>
                </a:cubicBezTo>
                <a:cubicBezTo>
                  <a:pt x="15906" y="7438"/>
                  <a:pt x="15688" y="7407"/>
                  <a:pt x="15500" y="7313"/>
                </a:cubicBezTo>
                <a:cubicBezTo>
                  <a:pt x="15219" y="7188"/>
                  <a:pt x="14938" y="7094"/>
                  <a:pt x="14688" y="6907"/>
                </a:cubicBezTo>
                <a:cubicBezTo>
                  <a:pt x="14656" y="6875"/>
                  <a:pt x="14563" y="6907"/>
                  <a:pt x="14531" y="6938"/>
                </a:cubicBezTo>
                <a:cubicBezTo>
                  <a:pt x="14500" y="6969"/>
                  <a:pt x="14531" y="7032"/>
                  <a:pt x="14563" y="7063"/>
                </a:cubicBezTo>
                <a:cubicBezTo>
                  <a:pt x="14594" y="7125"/>
                  <a:pt x="14656" y="7188"/>
                  <a:pt x="14594" y="7282"/>
                </a:cubicBezTo>
                <a:cubicBezTo>
                  <a:pt x="14563" y="7313"/>
                  <a:pt x="14563" y="7344"/>
                  <a:pt x="14625" y="7344"/>
                </a:cubicBezTo>
                <a:cubicBezTo>
                  <a:pt x="14656" y="7344"/>
                  <a:pt x="14719" y="7375"/>
                  <a:pt x="14719" y="7313"/>
                </a:cubicBezTo>
                <a:cubicBezTo>
                  <a:pt x="14719" y="7282"/>
                  <a:pt x="14688" y="7250"/>
                  <a:pt x="14750" y="7250"/>
                </a:cubicBezTo>
                <a:cubicBezTo>
                  <a:pt x="14781" y="7250"/>
                  <a:pt x="14781" y="7282"/>
                  <a:pt x="14781" y="7313"/>
                </a:cubicBezTo>
                <a:cubicBezTo>
                  <a:pt x="14781" y="7344"/>
                  <a:pt x="14781" y="7375"/>
                  <a:pt x="14781" y="7375"/>
                </a:cubicBezTo>
                <a:cubicBezTo>
                  <a:pt x="14844" y="7407"/>
                  <a:pt x="14906" y="7438"/>
                  <a:pt x="14875" y="7500"/>
                </a:cubicBezTo>
                <a:cubicBezTo>
                  <a:pt x="14844" y="7532"/>
                  <a:pt x="14750" y="7532"/>
                  <a:pt x="14719" y="7532"/>
                </a:cubicBezTo>
                <a:cubicBezTo>
                  <a:pt x="14625" y="7500"/>
                  <a:pt x="14531" y="7469"/>
                  <a:pt x="14531" y="7375"/>
                </a:cubicBezTo>
                <a:cubicBezTo>
                  <a:pt x="14500" y="7313"/>
                  <a:pt x="14469" y="7282"/>
                  <a:pt x="14438" y="7313"/>
                </a:cubicBezTo>
                <a:cubicBezTo>
                  <a:pt x="14438" y="7469"/>
                  <a:pt x="14344" y="7375"/>
                  <a:pt x="14281" y="7375"/>
                </a:cubicBezTo>
                <a:cubicBezTo>
                  <a:pt x="14156" y="7344"/>
                  <a:pt x="14031" y="7313"/>
                  <a:pt x="13938" y="7250"/>
                </a:cubicBezTo>
                <a:cubicBezTo>
                  <a:pt x="13938" y="7219"/>
                  <a:pt x="13938" y="7219"/>
                  <a:pt x="13938" y="7219"/>
                </a:cubicBezTo>
                <a:cubicBezTo>
                  <a:pt x="14063" y="7157"/>
                  <a:pt x="13938" y="7094"/>
                  <a:pt x="13906" y="7032"/>
                </a:cubicBezTo>
                <a:lnTo>
                  <a:pt x="13906" y="7032"/>
                </a:lnTo>
                <a:cubicBezTo>
                  <a:pt x="13875" y="7000"/>
                  <a:pt x="13844" y="6875"/>
                  <a:pt x="13750" y="7000"/>
                </a:cubicBezTo>
                <a:cubicBezTo>
                  <a:pt x="13719" y="7032"/>
                  <a:pt x="13688" y="7032"/>
                  <a:pt x="13656" y="7000"/>
                </a:cubicBezTo>
                <a:cubicBezTo>
                  <a:pt x="13906" y="7157"/>
                  <a:pt x="13906" y="7157"/>
                  <a:pt x="13938" y="7219"/>
                </a:cubicBezTo>
                <a:cubicBezTo>
                  <a:pt x="13938" y="7219"/>
                  <a:pt x="13938" y="7250"/>
                  <a:pt x="13938" y="7250"/>
                </a:cubicBezTo>
                <a:cubicBezTo>
                  <a:pt x="13656" y="7157"/>
                  <a:pt x="13406" y="7000"/>
                  <a:pt x="13156" y="6875"/>
                </a:cubicBezTo>
                <a:cubicBezTo>
                  <a:pt x="13000" y="6813"/>
                  <a:pt x="12844" y="6782"/>
                  <a:pt x="12719" y="6688"/>
                </a:cubicBezTo>
                <a:cubicBezTo>
                  <a:pt x="12594" y="6594"/>
                  <a:pt x="12438" y="6500"/>
                  <a:pt x="12281" y="6532"/>
                </a:cubicBezTo>
                <a:cubicBezTo>
                  <a:pt x="12219" y="6532"/>
                  <a:pt x="12188" y="6500"/>
                  <a:pt x="12188" y="6469"/>
                </a:cubicBezTo>
                <a:cubicBezTo>
                  <a:pt x="12094" y="6375"/>
                  <a:pt x="12000" y="6344"/>
                  <a:pt x="11906" y="6313"/>
                </a:cubicBezTo>
                <a:cubicBezTo>
                  <a:pt x="11813" y="6313"/>
                  <a:pt x="11750" y="6250"/>
                  <a:pt x="11656" y="6250"/>
                </a:cubicBezTo>
                <a:cubicBezTo>
                  <a:pt x="11625" y="6219"/>
                  <a:pt x="11656" y="6125"/>
                  <a:pt x="11594" y="6157"/>
                </a:cubicBezTo>
                <a:cubicBezTo>
                  <a:pt x="11531" y="6188"/>
                  <a:pt x="11438" y="6188"/>
                  <a:pt x="11375" y="6219"/>
                </a:cubicBezTo>
                <a:cubicBezTo>
                  <a:pt x="11281" y="6282"/>
                  <a:pt x="11188" y="6313"/>
                  <a:pt x="11094" y="6250"/>
                </a:cubicBezTo>
                <a:cubicBezTo>
                  <a:pt x="11063" y="6219"/>
                  <a:pt x="11031" y="6219"/>
                  <a:pt x="11000" y="6250"/>
                </a:cubicBezTo>
                <a:cubicBezTo>
                  <a:pt x="11000" y="6250"/>
                  <a:pt x="11000" y="6282"/>
                  <a:pt x="11000" y="6313"/>
                </a:cubicBezTo>
                <a:cubicBezTo>
                  <a:pt x="11000" y="6344"/>
                  <a:pt x="11031" y="6313"/>
                  <a:pt x="11063" y="6313"/>
                </a:cubicBezTo>
                <a:cubicBezTo>
                  <a:pt x="11094" y="6313"/>
                  <a:pt x="11125" y="6313"/>
                  <a:pt x="11125" y="6313"/>
                </a:cubicBezTo>
                <a:cubicBezTo>
                  <a:pt x="11219" y="6375"/>
                  <a:pt x="11281" y="6438"/>
                  <a:pt x="11375" y="6344"/>
                </a:cubicBezTo>
                <a:cubicBezTo>
                  <a:pt x="11406" y="6313"/>
                  <a:pt x="11438" y="6313"/>
                  <a:pt x="11469" y="6344"/>
                </a:cubicBezTo>
                <a:cubicBezTo>
                  <a:pt x="11469" y="6375"/>
                  <a:pt x="11500" y="6407"/>
                  <a:pt x="11469" y="6407"/>
                </a:cubicBezTo>
                <a:cubicBezTo>
                  <a:pt x="11375" y="6438"/>
                  <a:pt x="11469" y="6469"/>
                  <a:pt x="11469" y="6469"/>
                </a:cubicBezTo>
                <a:cubicBezTo>
                  <a:pt x="11563" y="6532"/>
                  <a:pt x="11625" y="6625"/>
                  <a:pt x="11719" y="6563"/>
                </a:cubicBezTo>
                <a:cubicBezTo>
                  <a:pt x="11750" y="6563"/>
                  <a:pt x="11781" y="6594"/>
                  <a:pt x="11781" y="6594"/>
                </a:cubicBezTo>
                <a:cubicBezTo>
                  <a:pt x="11750" y="6750"/>
                  <a:pt x="11875" y="6625"/>
                  <a:pt x="11906" y="6657"/>
                </a:cubicBezTo>
                <a:cubicBezTo>
                  <a:pt x="12094" y="6657"/>
                  <a:pt x="12219" y="6750"/>
                  <a:pt x="12375" y="6813"/>
                </a:cubicBezTo>
                <a:cubicBezTo>
                  <a:pt x="12281" y="6844"/>
                  <a:pt x="12219" y="6813"/>
                  <a:pt x="12156" y="6782"/>
                </a:cubicBezTo>
                <a:cubicBezTo>
                  <a:pt x="12094" y="6750"/>
                  <a:pt x="12063" y="6688"/>
                  <a:pt x="12063" y="6813"/>
                </a:cubicBezTo>
                <a:cubicBezTo>
                  <a:pt x="12094" y="6844"/>
                  <a:pt x="12125" y="6907"/>
                  <a:pt x="12156" y="6907"/>
                </a:cubicBezTo>
                <a:cubicBezTo>
                  <a:pt x="12344" y="6875"/>
                  <a:pt x="12438" y="7063"/>
                  <a:pt x="12563" y="7125"/>
                </a:cubicBezTo>
                <a:cubicBezTo>
                  <a:pt x="12594" y="7157"/>
                  <a:pt x="12625" y="7157"/>
                  <a:pt x="12656" y="7188"/>
                </a:cubicBezTo>
                <a:cubicBezTo>
                  <a:pt x="12875" y="7282"/>
                  <a:pt x="13125" y="7313"/>
                  <a:pt x="13313" y="7469"/>
                </a:cubicBezTo>
                <a:cubicBezTo>
                  <a:pt x="13500" y="7625"/>
                  <a:pt x="13719" y="7594"/>
                  <a:pt x="13875" y="7750"/>
                </a:cubicBezTo>
                <a:cubicBezTo>
                  <a:pt x="13906" y="7750"/>
                  <a:pt x="13938" y="7719"/>
                  <a:pt x="13969" y="7750"/>
                </a:cubicBezTo>
                <a:cubicBezTo>
                  <a:pt x="14031" y="7782"/>
                  <a:pt x="14125" y="7782"/>
                  <a:pt x="14125" y="7844"/>
                </a:cubicBezTo>
                <a:cubicBezTo>
                  <a:pt x="14094" y="7907"/>
                  <a:pt x="14125" y="7907"/>
                  <a:pt x="14156" y="7938"/>
                </a:cubicBezTo>
                <a:cubicBezTo>
                  <a:pt x="14219" y="7969"/>
                  <a:pt x="14250" y="8000"/>
                  <a:pt x="14281" y="8032"/>
                </a:cubicBezTo>
                <a:cubicBezTo>
                  <a:pt x="14188" y="8063"/>
                  <a:pt x="14156" y="8032"/>
                  <a:pt x="14094" y="8032"/>
                </a:cubicBezTo>
                <a:cubicBezTo>
                  <a:pt x="13813" y="7938"/>
                  <a:pt x="13531" y="7875"/>
                  <a:pt x="13281" y="7688"/>
                </a:cubicBezTo>
                <a:cubicBezTo>
                  <a:pt x="13063" y="7532"/>
                  <a:pt x="12844" y="7407"/>
                  <a:pt x="12594" y="7344"/>
                </a:cubicBezTo>
                <a:cubicBezTo>
                  <a:pt x="12469" y="7313"/>
                  <a:pt x="12313" y="7282"/>
                  <a:pt x="12250" y="7188"/>
                </a:cubicBezTo>
                <a:cubicBezTo>
                  <a:pt x="12125" y="7094"/>
                  <a:pt x="12000" y="7063"/>
                  <a:pt x="11875" y="7000"/>
                </a:cubicBezTo>
                <a:cubicBezTo>
                  <a:pt x="11719" y="6938"/>
                  <a:pt x="11531" y="6844"/>
                  <a:pt x="11438" y="6719"/>
                </a:cubicBezTo>
                <a:cubicBezTo>
                  <a:pt x="11438" y="6688"/>
                  <a:pt x="11406" y="6688"/>
                  <a:pt x="11375" y="6657"/>
                </a:cubicBezTo>
                <a:cubicBezTo>
                  <a:pt x="11250" y="6594"/>
                  <a:pt x="11125" y="6594"/>
                  <a:pt x="10969" y="6594"/>
                </a:cubicBezTo>
                <a:cubicBezTo>
                  <a:pt x="10875" y="6563"/>
                  <a:pt x="10906" y="6594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938" y="6657"/>
                  <a:pt x="10938" y="6657"/>
                  <a:pt x="10938" y="6657"/>
                </a:cubicBezTo>
                <a:cubicBezTo>
                  <a:pt x="10813" y="6750"/>
                  <a:pt x="10813" y="6813"/>
                  <a:pt x="10938" y="6844"/>
                </a:cubicBezTo>
                <a:cubicBezTo>
                  <a:pt x="11063" y="6875"/>
                  <a:pt x="11188" y="6844"/>
                  <a:pt x="11313" y="6844"/>
                </a:cubicBezTo>
                <a:cubicBezTo>
                  <a:pt x="11375" y="6844"/>
                  <a:pt x="11375" y="6875"/>
                  <a:pt x="11375" y="6875"/>
                </a:cubicBezTo>
                <a:cubicBezTo>
                  <a:pt x="11406" y="6907"/>
                  <a:pt x="11375" y="6938"/>
                  <a:pt x="11375" y="6938"/>
                </a:cubicBezTo>
                <a:cubicBezTo>
                  <a:pt x="11344" y="6969"/>
                  <a:pt x="11281" y="6938"/>
                  <a:pt x="11281" y="7000"/>
                </a:cubicBezTo>
                <a:cubicBezTo>
                  <a:pt x="11344" y="6969"/>
                  <a:pt x="11344" y="7157"/>
                  <a:pt x="11438" y="7032"/>
                </a:cubicBezTo>
                <a:cubicBezTo>
                  <a:pt x="11469" y="7032"/>
                  <a:pt x="11500" y="7063"/>
                  <a:pt x="11500" y="7094"/>
                </a:cubicBezTo>
                <a:cubicBezTo>
                  <a:pt x="11500" y="7125"/>
                  <a:pt x="11500" y="7125"/>
                  <a:pt x="11438" y="7125"/>
                </a:cubicBezTo>
                <a:cubicBezTo>
                  <a:pt x="11281" y="7157"/>
                  <a:pt x="11125" y="7188"/>
                  <a:pt x="11000" y="7032"/>
                </a:cubicBezTo>
                <a:cubicBezTo>
                  <a:pt x="10969" y="7000"/>
                  <a:pt x="10906" y="6938"/>
                  <a:pt x="10844" y="6938"/>
                </a:cubicBezTo>
                <a:cubicBezTo>
                  <a:pt x="10750" y="6907"/>
                  <a:pt x="10656" y="6813"/>
                  <a:pt x="10500" y="6907"/>
                </a:cubicBezTo>
                <a:cubicBezTo>
                  <a:pt x="10656" y="6907"/>
                  <a:pt x="10750" y="6969"/>
                  <a:pt x="10844" y="7032"/>
                </a:cubicBezTo>
                <a:cubicBezTo>
                  <a:pt x="11000" y="7125"/>
                  <a:pt x="11156" y="7250"/>
                  <a:pt x="11344" y="7344"/>
                </a:cubicBezTo>
                <a:cubicBezTo>
                  <a:pt x="11781" y="7563"/>
                  <a:pt x="12250" y="7719"/>
                  <a:pt x="12688" y="8000"/>
                </a:cubicBezTo>
                <a:cubicBezTo>
                  <a:pt x="12688" y="8000"/>
                  <a:pt x="12719" y="8000"/>
                  <a:pt x="12750" y="8032"/>
                </a:cubicBezTo>
                <a:cubicBezTo>
                  <a:pt x="12781" y="8032"/>
                  <a:pt x="12813" y="8032"/>
                  <a:pt x="12844" y="8000"/>
                </a:cubicBezTo>
                <a:cubicBezTo>
                  <a:pt x="12844" y="7969"/>
                  <a:pt x="12813" y="7938"/>
                  <a:pt x="12750" y="7938"/>
                </a:cubicBezTo>
                <a:cubicBezTo>
                  <a:pt x="12688" y="7907"/>
                  <a:pt x="12563" y="7875"/>
                  <a:pt x="12531" y="7750"/>
                </a:cubicBezTo>
                <a:cubicBezTo>
                  <a:pt x="12625" y="7750"/>
                  <a:pt x="12688" y="7813"/>
                  <a:pt x="12781" y="7875"/>
                </a:cubicBezTo>
                <a:cubicBezTo>
                  <a:pt x="12969" y="7969"/>
                  <a:pt x="13156" y="8032"/>
                  <a:pt x="13344" y="8188"/>
                </a:cubicBezTo>
                <a:cubicBezTo>
                  <a:pt x="13281" y="8219"/>
                  <a:pt x="13219" y="8188"/>
                  <a:pt x="13188" y="8157"/>
                </a:cubicBezTo>
                <a:lnTo>
                  <a:pt x="13188" y="8157"/>
                </a:lnTo>
                <a:cubicBezTo>
                  <a:pt x="13094" y="8125"/>
                  <a:pt x="13031" y="8094"/>
                  <a:pt x="12906" y="8063"/>
                </a:cubicBezTo>
                <a:cubicBezTo>
                  <a:pt x="13125" y="8282"/>
                  <a:pt x="13375" y="8375"/>
                  <a:pt x="13656" y="8375"/>
                </a:cubicBezTo>
                <a:cubicBezTo>
                  <a:pt x="13594" y="8375"/>
                  <a:pt x="13531" y="8344"/>
                  <a:pt x="13469" y="8313"/>
                </a:cubicBezTo>
                <a:cubicBezTo>
                  <a:pt x="13438" y="8282"/>
                  <a:pt x="13344" y="8282"/>
                  <a:pt x="13344" y="8188"/>
                </a:cubicBezTo>
                <a:cubicBezTo>
                  <a:pt x="13469" y="8157"/>
                  <a:pt x="13594" y="8188"/>
                  <a:pt x="13750" y="8250"/>
                </a:cubicBezTo>
                <a:cubicBezTo>
                  <a:pt x="13781" y="8282"/>
                  <a:pt x="13813" y="8344"/>
                  <a:pt x="13875" y="8375"/>
                </a:cubicBezTo>
                <a:cubicBezTo>
                  <a:pt x="13938" y="8375"/>
                  <a:pt x="13938" y="8407"/>
                  <a:pt x="13938" y="8438"/>
                </a:cubicBezTo>
                <a:cubicBezTo>
                  <a:pt x="13906" y="8469"/>
                  <a:pt x="13875" y="8469"/>
                  <a:pt x="13844" y="8469"/>
                </a:cubicBezTo>
                <a:cubicBezTo>
                  <a:pt x="13813" y="8469"/>
                  <a:pt x="13781" y="8438"/>
                  <a:pt x="13719" y="8469"/>
                </a:cubicBezTo>
                <a:cubicBezTo>
                  <a:pt x="13813" y="8532"/>
                  <a:pt x="13875" y="8594"/>
                  <a:pt x="14000" y="8594"/>
                </a:cubicBezTo>
                <a:cubicBezTo>
                  <a:pt x="14094" y="8594"/>
                  <a:pt x="14219" y="8594"/>
                  <a:pt x="14281" y="8719"/>
                </a:cubicBezTo>
                <a:cubicBezTo>
                  <a:pt x="14406" y="8782"/>
                  <a:pt x="14563" y="8813"/>
                  <a:pt x="14656" y="8969"/>
                </a:cubicBezTo>
                <a:cubicBezTo>
                  <a:pt x="14500" y="8938"/>
                  <a:pt x="14344" y="9000"/>
                  <a:pt x="14281" y="8844"/>
                </a:cubicBezTo>
                <a:cubicBezTo>
                  <a:pt x="13969" y="8782"/>
                  <a:pt x="13750" y="8625"/>
                  <a:pt x="13500" y="8500"/>
                </a:cubicBezTo>
                <a:cubicBezTo>
                  <a:pt x="13313" y="8407"/>
                  <a:pt x="13156" y="8250"/>
                  <a:pt x="12938" y="8344"/>
                </a:cubicBezTo>
                <a:cubicBezTo>
                  <a:pt x="12875" y="8375"/>
                  <a:pt x="12844" y="8344"/>
                  <a:pt x="12844" y="8313"/>
                </a:cubicBezTo>
                <a:cubicBezTo>
                  <a:pt x="12813" y="8250"/>
                  <a:pt x="12875" y="8282"/>
                  <a:pt x="12875" y="8282"/>
                </a:cubicBezTo>
                <a:cubicBezTo>
                  <a:pt x="12938" y="8250"/>
                  <a:pt x="12906" y="8219"/>
                  <a:pt x="12875" y="8219"/>
                </a:cubicBezTo>
                <a:cubicBezTo>
                  <a:pt x="12656" y="8125"/>
                  <a:pt x="12469" y="8000"/>
                  <a:pt x="12250" y="7938"/>
                </a:cubicBezTo>
                <a:cubicBezTo>
                  <a:pt x="12094" y="7875"/>
                  <a:pt x="11906" y="7938"/>
                  <a:pt x="11813" y="7782"/>
                </a:cubicBezTo>
                <a:cubicBezTo>
                  <a:pt x="11781" y="7782"/>
                  <a:pt x="11781" y="7782"/>
                  <a:pt x="11781" y="7782"/>
                </a:cubicBezTo>
                <a:cubicBezTo>
                  <a:pt x="11781" y="7782"/>
                  <a:pt x="11781" y="7782"/>
                  <a:pt x="11813" y="7782"/>
                </a:cubicBezTo>
                <a:cubicBezTo>
                  <a:pt x="11875" y="7750"/>
                  <a:pt x="11875" y="7750"/>
                  <a:pt x="11813" y="7719"/>
                </a:cubicBezTo>
                <a:cubicBezTo>
                  <a:pt x="11688" y="7625"/>
                  <a:pt x="11563" y="7532"/>
                  <a:pt x="11375" y="7594"/>
                </a:cubicBezTo>
                <a:cubicBezTo>
                  <a:pt x="11344" y="7594"/>
                  <a:pt x="11313" y="7594"/>
                  <a:pt x="11250" y="7594"/>
                </a:cubicBezTo>
                <a:cubicBezTo>
                  <a:pt x="11281" y="7532"/>
                  <a:pt x="11344" y="7563"/>
                  <a:pt x="11375" y="7563"/>
                </a:cubicBezTo>
                <a:cubicBezTo>
                  <a:pt x="11375" y="7563"/>
                  <a:pt x="11406" y="7532"/>
                  <a:pt x="11406" y="7500"/>
                </a:cubicBezTo>
                <a:cubicBezTo>
                  <a:pt x="11375" y="7469"/>
                  <a:pt x="11094" y="7313"/>
                  <a:pt x="11063" y="7344"/>
                </a:cubicBezTo>
                <a:cubicBezTo>
                  <a:pt x="11031" y="7344"/>
                  <a:pt x="11031" y="7375"/>
                  <a:pt x="11031" y="7375"/>
                </a:cubicBezTo>
                <a:cubicBezTo>
                  <a:pt x="10969" y="7500"/>
                  <a:pt x="10875" y="7500"/>
                  <a:pt x="10781" y="7407"/>
                </a:cubicBezTo>
                <a:cubicBezTo>
                  <a:pt x="10688" y="7344"/>
                  <a:pt x="10563" y="7313"/>
                  <a:pt x="10438" y="7375"/>
                </a:cubicBezTo>
                <a:cubicBezTo>
                  <a:pt x="10469" y="7375"/>
                  <a:pt x="10469" y="7407"/>
                  <a:pt x="10500" y="7407"/>
                </a:cubicBezTo>
                <a:cubicBezTo>
                  <a:pt x="10594" y="7438"/>
                  <a:pt x="10656" y="7500"/>
                  <a:pt x="10750" y="7532"/>
                </a:cubicBezTo>
                <a:cubicBezTo>
                  <a:pt x="10844" y="7532"/>
                  <a:pt x="10938" y="7657"/>
                  <a:pt x="11000" y="7657"/>
                </a:cubicBezTo>
                <a:cubicBezTo>
                  <a:pt x="11125" y="7625"/>
                  <a:pt x="11125" y="7719"/>
                  <a:pt x="11156" y="7750"/>
                </a:cubicBezTo>
                <a:cubicBezTo>
                  <a:pt x="11188" y="7750"/>
                  <a:pt x="11188" y="7782"/>
                  <a:pt x="11219" y="7782"/>
                </a:cubicBezTo>
                <a:cubicBezTo>
                  <a:pt x="11281" y="7782"/>
                  <a:pt x="11344" y="7813"/>
                  <a:pt x="11375" y="7844"/>
                </a:cubicBezTo>
                <a:cubicBezTo>
                  <a:pt x="11281" y="7844"/>
                  <a:pt x="11188" y="7875"/>
                  <a:pt x="11063" y="7875"/>
                </a:cubicBezTo>
                <a:cubicBezTo>
                  <a:pt x="11031" y="7875"/>
                  <a:pt x="10938" y="7875"/>
                  <a:pt x="10969" y="7782"/>
                </a:cubicBezTo>
                <a:cubicBezTo>
                  <a:pt x="10969" y="7750"/>
                  <a:pt x="10906" y="7719"/>
                  <a:pt x="10875" y="7719"/>
                </a:cubicBezTo>
                <a:cubicBezTo>
                  <a:pt x="10844" y="7688"/>
                  <a:pt x="10844" y="7750"/>
                  <a:pt x="10844" y="7782"/>
                </a:cubicBezTo>
                <a:cubicBezTo>
                  <a:pt x="10844" y="7813"/>
                  <a:pt x="10813" y="7813"/>
                  <a:pt x="10781" y="7782"/>
                </a:cubicBezTo>
                <a:cubicBezTo>
                  <a:pt x="10750" y="7719"/>
                  <a:pt x="10656" y="7719"/>
                  <a:pt x="10594" y="7688"/>
                </a:cubicBezTo>
                <a:cubicBezTo>
                  <a:pt x="10469" y="7657"/>
                  <a:pt x="10344" y="7594"/>
                  <a:pt x="10250" y="7532"/>
                </a:cubicBezTo>
                <a:cubicBezTo>
                  <a:pt x="10188" y="7469"/>
                  <a:pt x="10094" y="7407"/>
                  <a:pt x="9969" y="7438"/>
                </a:cubicBezTo>
                <a:cubicBezTo>
                  <a:pt x="9938" y="7375"/>
                  <a:pt x="9875" y="7313"/>
                  <a:pt x="9813" y="7313"/>
                </a:cubicBezTo>
                <a:cubicBezTo>
                  <a:pt x="9656" y="7282"/>
                  <a:pt x="9531" y="7250"/>
                  <a:pt x="9375" y="7250"/>
                </a:cubicBezTo>
                <a:cubicBezTo>
                  <a:pt x="9250" y="7250"/>
                  <a:pt x="9188" y="7219"/>
                  <a:pt x="9156" y="7094"/>
                </a:cubicBezTo>
                <a:cubicBezTo>
                  <a:pt x="9281" y="7063"/>
                  <a:pt x="9375" y="7157"/>
                  <a:pt x="9469" y="7063"/>
                </a:cubicBezTo>
                <a:cubicBezTo>
                  <a:pt x="9375" y="7000"/>
                  <a:pt x="9281" y="6969"/>
                  <a:pt x="9188" y="7000"/>
                </a:cubicBezTo>
                <a:cubicBezTo>
                  <a:pt x="9063" y="7032"/>
                  <a:pt x="9000" y="7000"/>
                  <a:pt x="8875" y="6938"/>
                </a:cubicBezTo>
                <a:cubicBezTo>
                  <a:pt x="8781" y="6907"/>
                  <a:pt x="8844" y="6844"/>
                  <a:pt x="8844" y="6813"/>
                </a:cubicBezTo>
                <a:cubicBezTo>
                  <a:pt x="8906" y="6719"/>
                  <a:pt x="8906" y="6719"/>
                  <a:pt x="8781" y="6688"/>
                </a:cubicBezTo>
                <a:cubicBezTo>
                  <a:pt x="8750" y="6688"/>
                  <a:pt x="8688" y="6657"/>
                  <a:pt x="8688" y="6719"/>
                </a:cubicBezTo>
                <a:cubicBezTo>
                  <a:pt x="8656" y="6782"/>
                  <a:pt x="8625" y="6750"/>
                  <a:pt x="8594" y="6750"/>
                </a:cubicBezTo>
                <a:cubicBezTo>
                  <a:pt x="8500" y="6625"/>
                  <a:pt x="8500" y="6750"/>
                  <a:pt x="8469" y="6782"/>
                </a:cubicBezTo>
                <a:cubicBezTo>
                  <a:pt x="8438" y="6813"/>
                  <a:pt x="8438" y="6844"/>
                  <a:pt x="8375" y="6813"/>
                </a:cubicBezTo>
                <a:cubicBezTo>
                  <a:pt x="8438" y="6719"/>
                  <a:pt x="8375" y="6688"/>
                  <a:pt x="8313" y="6625"/>
                </a:cubicBezTo>
                <a:cubicBezTo>
                  <a:pt x="8219" y="6563"/>
                  <a:pt x="8125" y="6469"/>
                  <a:pt x="8000" y="6407"/>
                </a:cubicBezTo>
                <a:cubicBezTo>
                  <a:pt x="7906" y="6344"/>
                  <a:pt x="7750" y="6313"/>
                  <a:pt x="7594" y="6313"/>
                </a:cubicBezTo>
                <a:cubicBezTo>
                  <a:pt x="7500" y="6344"/>
                  <a:pt x="7500" y="6282"/>
                  <a:pt x="7469" y="6219"/>
                </a:cubicBezTo>
                <a:cubicBezTo>
                  <a:pt x="7438" y="6157"/>
                  <a:pt x="7500" y="6157"/>
                  <a:pt x="7563" y="6125"/>
                </a:cubicBezTo>
                <a:cubicBezTo>
                  <a:pt x="7313" y="5969"/>
                  <a:pt x="7031" y="6032"/>
                  <a:pt x="6781" y="5969"/>
                </a:cubicBezTo>
                <a:cubicBezTo>
                  <a:pt x="6781" y="5938"/>
                  <a:pt x="6813" y="5938"/>
                  <a:pt x="6844" y="5907"/>
                </a:cubicBezTo>
                <a:cubicBezTo>
                  <a:pt x="6875" y="5875"/>
                  <a:pt x="6906" y="5844"/>
                  <a:pt x="6875" y="5813"/>
                </a:cubicBezTo>
                <a:cubicBezTo>
                  <a:pt x="6844" y="5750"/>
                  <a:pt x="6813" y="5782"/>
                  <a:pt x="6781" y="5813"/>
                </a:cubicBezTo>
                <a:cubicBezTo>
                  <a:pt x="6750" y="5813"/>
                  <a:pt x="6719" y="5844"/>
                  <a:pt x="6719" y="5782"/>
                </a:cubicBezTo>
                <a:cubicBezTo>
                  <a:pt x="6719" y="5688"/>
                  <a:pt x="6656" y="5688"/>
                  <a:pt x="6594" y="5688"/>
                </a:cubicBezTo>
                <a:cubicBezTo>
                  <a:pt x="6500" y="5688"/>
                  <a:pt x="6406" y="5657"/>
                  <a:pt x="6344" y="5657"/>
                </a:cubicBezTo>
                <a:cubicBezTo>
                  <a:pt x="6281" y="5625"/>
                  <a:pt x="6281" y="5625"/>
                  <a:pt x="6281" y="5563"/>
                </a:cubicBezTo>
                <a:cubicBezTo>
                  <a:pt x="6281" y="5500"/>
                  <a:pt x="6313" y="5532"/>
                  <a:pt x="6375" y="5532"/>
                </a:cubicBezTo>
                <a:cubicBezTo>
                  <a:pt x="6438" y="5563"/>
                  <a:pt x="6500" y="5563"/>
                  <a:pt x="6563" y="5563"/>
                </a:cubicBezTo>
                <a:cubicBezTo>
                  <a:pt x="6281" y="5375"/>
                  <a:pt x="6000" y="5250"/>
                  <a:pt x="5688" y="5125"/>
                </a:cubicBezTo>
                <a:cubicBezTo>
                  <a:pt x="5531" y="5063"/>
                  <a:pt x="5406" y="4969"/>
                  <a:pt x="5250" y="4938"/>
                </a:cubicBezTo>
                <a:cubicBezTo>
                  <a:pt x="5438" y="4969"/>
                  <a:pt x="5594" y="5000"/>
                  <a:pt x="5781" y="5094"/>
                </a:cubicBezTo>
                <a:cubicBezTo>
                  <a:pt x="5875" y="5125"/>
                  <a:pt x="5969" y="5157"/>
                  <a:pt x="6063" y="5188"/>
                </a:cubicBezTo>
                <a:cubicBezTo>
                  <a:pt x="6406" y="5282"/>
                  <a:pt x="6750" y="5438"/>
                  <a:pt x="7063" y="5563"/>
                </a:cubicBezTo>
                <a:cubicBezTo>
                  <a:pt x="7156" y="5594"/>
                  <a:pt x="7219" y="5719"/>
                  <a:pt x="7313" y="5719"/>
                </a:cubicBezTo>
                <a:cubicBezTo>
                  <a:pt x="7625" y="5782"/>
                  <a:pt x="7875" y="5875"/>
                  <a:pt x="8094" y="6032"/>
                </a:cubicBezTo>
                <a:cubicBezTo>
                  <a:pt x="8156" y="6094"/>
                  <a:pt x="8250" y="6125"/>
                  <a:pt x="8313" y="6063"/>
                </a:cubicBezTo>
                <a:cubicBezTo>
                  <a:pt x="8344" y="6000"/>
                  <a:pt x="8344" y="5938"/>
                  <a:pt x="8406" y="6000"/>
                </a:cubicBezTo>
                <a:cubicBezTo>
                  <a:pt x="8438" y="6032"/>
                  <a:pt x="8406" y="6063"/>
                  <a:pt x="8375" y="6125"/>
                </a:cubicBezTo>
                <a:cubicBezTo>
                  <a:pt x="8375" y="6157"/>
                  <a:pt x="8313" y="6188"/>
                  <a:pt x="8406" y="6188"/>
                </a:cubicBezTo>
                <a:cubicBezTo>
                  <a:pt x="8656" y="6250"/>
                  <a:pt x="8844" y="6407"/>
                  <a:pt x="9125" y="6469"/>
                </a:cubicBezTo>
                <a:cubicBezTo>
                  <a:pt x="9094" y="6375"/>
                  <a:pt x="9000" y="6375"/>
                  <a:pt x="8938" y="6313"/>
                </a:cubicBezTo>
                <a:cubicBezTo>
                  <a:pt x="8906" y="6313"/>
                  <a:pt x="8750" y="6313"/>
                  <a:pt x="8906" y="6219"/>
                </a:cubicBezTo>
                <a:cubicBezTo>
                  <a:pt x="8938" y="6188"/>
                  <a:pt x="8906" y="6157"/>
                  <a:pt x="8844" y="6157"/>
                </a:cubicBezTo>
                <a:cubicBezTo>
                  <a:pt x="8719" y="6157"/>
                  <a:pt x="8625" y="6063"/>
                  <a:pt x="8500" y="6000"/>
                </a:cubicBezTo>
                <a:cubicBezTo>
                  <a:pt x="8563" y="5969"/>
                  <a:pt x="8625" y="5969"/>
                  <a:pt x="8656" y="5969"/>
                </a:cubicBezTo>
                <a:cubicBezTo>
                  <a:pt x="8594" y="5907"/>
                  <a:pt x="8500" y="5907"/>
                  <a:pt x="8406" y="5875"/>
                </a:cubicBezTo>
                <a:cubicBezTo>
                  <a:pt x="8344" y="5875"/>
                  <a:pt x="8281" y="5813"/>
                  <a:pt x="8219" y="5907"/>
                </a:cubicBezTo>
                <a:cubicBezTo>
                  <a:pt x="8188" y="5938"/>
                  <a:pt x="8063" y="5907"/>
                  <a:pt x="8031" y="5844"/>
                </a:cubicBezTo>
                <a:cubicBezTo>
                  <a:pt x="7969" y="5750"/>
                  <a:pt x="8125" y="5782"/>
                  <a:pt x="8125" y="5719"/>
                </a:cubicBezTo>
                <a:cubicBezTo>
                  <a:pt x="8125" y="5719"/>
                  <a:pt x="8094" y="5719"/>
                  <a:pt x="8094" y="5719"/>
                </a:cubicBezTo>
                <a:cubicBezTo>
                  <a:pt x="8094" y="5719"/>
                  <a:pt x="8094" y="5719"/>
                  <a:pt x="8094" y="5719"/>
                </a:cubicBezTo>
                <a:cubicBezTo>
                  <a:pt x="8188" y="5657"/>
                  <a:pt x="8156" y="5625"/>
                  <a:pt x="8063" y="5594"/>
                </a:cubicBezTo>
                <a:cubicBezTo>
                  <a:pt x="8031" y="5594"/>
                  <a:pt x="7969" y="5625"/>
                  <a:pt x="7938" y="5594"/>
                </a:cubicBezTo>
                <a:cubicBezTo>
                  <a:pt x="8031" y="5438"/>
                  <a:pt x="8031" y="5438"/>
                  <a:pt x="8188" y="5532"/>
                </a:cubicBezTo>
                <a:cubicBezTo>
                  <a:pt x="8219" y="5532"/>
                  <a:pt x="8250" y="5563"/>
                  <a:pt x="8250" y="5563"/>
                </a:cubicBezTo>
                <a:cubicBezTo>
                  <a:pt x="8438" y="5657"/>
                  <a:pt x="8688" y="5625"/>
                  <a:pt x="8844" y="5813"/>
                </a:cubicBezTo>
                <a:cubicBezTo>
                  <a:pt x="8844" y="5813"/>
                  <a:pt x="9000" y="5907"/>
                  <a:pt x="8969" y="5750"/>
                </a:cubicBezTo>
                <a:cubicBezTo>
                  <a:pt x="8938" y="5719"/>
                  <a:pt x="9000" y="5719"/>
                  <a:pt x="9000" y="5719"/>
                </a:cubicBezTo>
                <a:cubicBezTo>
                  <a:pt x="9125" y="5782"/>
                  <a:pt x="9250" y="5782"/>
                  <a:pt x="9344" y="5907"/>
                </a:cubicBezTo>
                <a:cubicBezTo>
                  <a:pt x="9406" y="5907"/>
                  <a:pt x="9438" y="5907"/>
                  <a:pt x="9438" y="5969"/>
                </a:cubicBezTo>
                <a:cubicBezTo>
                  <a:pt x="9375" y="5969"/>
                  <a:pt x="9344" y="6000"/>
                  <a:pt x="9313" y="5938"/>
                </a:cubicBezTo>
                <a:cubicBezTo>
                  <a:pt x="9250" y="5938"/>
                  <a:pt x="9188" y="5907"/>
                  <a:pt x="9156" y="5969"/>
                </a:cubicBezTo>
                <a:cubicBezTo>
                  <a:pt x="9344" y="6094"/>
                  <a:pt x="9531" y="6063"/>
                  <a:pt x="9719" y="6032"/>
                </a:cubicBezTo>
                <a:cubicBezTo>
                  <a:pt x="9719" y="6000"/>
                  <a:pt x="9719" y="6000"/>
                  <a:pt x="9688" y="5969"/>
                </a:cubicBezTo>
                <a:cubicBezTo>
                  <a:pt x="9531" y="5813"/>
                  <a:pt x="9313" y="5719"/>
                  <a:pt x="9094" y="5657"/>
                </a:cubicBezTo>
                <a:cubicBezTo>
                  <a:pt x="8906" y="5594"/>
                  <a:pt x="8719" y="5469"/>
                  <a:pt x="8531" y="5438"/>
                </a:cubicBezTo>
                <a:cubicBezTo>
                  <a:pt x="8500" y="5438"/>
                  <a:pt x="8500" y="5407"/>
                  <a:pt x="8469" y="5375"/>
                </a:cubicBezTo>
                <a:cubicBezTo>
                  <a:pt x="8375" y="5282"/>
                  <a:pt x="8188" y="5313"/>
                  <a:pt x="8125" y="5188"/>
                </a:cubicBezTo>
                <a:cubicBezTo>
                  <a:pt x="7969" y="5282"/>
                  <a:pt x="7875" y="5125"/>
                  <a:pt x="7750" y="5063"/>
                </a:cubicBezTo>
                <a:cubicBezTo>
                  <a:pt x="7625" y="5032"/>
                  <a:pt x="7531" y="4875"/>
                  <a:pt x="7375" y="5000"/>
                </a:cubicBezTo>
                <a:cubicBezTo>
                  <a:pt x="7344" y="5032"/>
                  <a:pt x="7313" y="5000"/>
                  <a:pt x="7313" y="4969"/>
                </a:cubicBezTo>
                <a:cubicBezTo>
                  <a:pt x="7406" y="4907"/>
                  <a:pt x="7281" y="4875"/>
                  <a:pt x="7313" y="4813"/>
                </a:cubicBezTo>
                <a:cubicBezTo>
                  <a:pt x="7375" y="4844"/>
                  <a:pt x="7438" y="4875"/>
                  <a:pt x="7469" y="4875"/>
                </a:cubicBezTo>
                <a:cubicBezTo>
                  <a:pt x="7500" y="4875"/>
                  <a:pt x="7563" y="4875"/>
                  <a:pt x="7563" y="4844"/>
                </a:cubicBezTo>
                <a:cubicBezTo>
                  <a:pt x="7563" y="4782"/>
                  <a:pt x="7531" y="4782"/>
                  <a:pt x="7500" y="4782"/>
                </a:cubicBezTo>
                <a:cubicBezTo>
                  <a:pt x="7219" y="4782"/>
                  <a:pt x="6969" y="4844"/>
                  <a:pt x="6719" y="4688"/>
                </a:cubicBezTo>
                <a:cubicBezTo>
                  <a:pt x="6750" y="4625"/>
                  <a:pt x="6781" y="4625"/>
                  <a:pt x="6875" y="4657"/>
                </a:cubicBezTo>
                <a:cubicBezTo>
                  <a:pt x="6938" y="4657"/>
                  <a:pt x="7000" y="4719"/>
                  <a:pt x="7063" y="4719"/>
                </a:cubicBezTo>
                <a:cubicBezTo>
                  <a:pt x="7156" y="4719"/>
                  <a:pt x="7156" y="4688"/>
                  <a:pt x="7125" y="4625"/>
                </a:cubicBezTo>
                <a:cubicBezTo>
                  <a:pt x="7156" y="4563"/>
                  <a:pt x="7125" y="4500"/>
                  <a:pt x="7094" y="4469"/>
                </a:cubicBezTo>
                <a:cubicBezTo>
                  <a:pt x="7063" y="4407"/>
                  <a:pt x="7063" y="4407"/>
                  <a:pt x="7031" y="4469"/>
                </a:cubicBezTo>
                <a:cubicBezTo>
                  <a:pt x="7031" y="4500"/>
                  <a:pt x="7000" y="4532"/>
                  <a:pt x="6969" y="4500"/>
                </a:cubicBezTo>
                <a:cubicBezTo>
                  <a:pt x="6875" y="4438"/>
                  <a:pt x="6750" y="4469"/>
                  <a:pt x="6656" y="4438"/>
                </a:cubicBezTo>
                <a:cubicBezTo>
                  <a:pt x="6625" y="4438"/>
                  <a:pt x="6594" y="4407"/>
                  <a:pt x="6563" y="4375"/>
                </a:cubicBezTo>
                <a:cubicBezTo>
                  <a:pt x="6750" y="4157"/>
                  <a:pt x="6719" y="4063"/>
                  <a:pt x="6500" y="3907"/>
                </a:cubicBezTo>
                <a:cubicBezTo>
                  <a:pt x="6469" y="3875"/>
                  <a:pt x="6469" y="3875"/>
                  <a:pt x="6469" y="3844"/>
                </a:cubicBezTo>
                <a:cubicBezTo>
                  <a:pt x="6438" y="3719"/>
                  <a:pt x="6375" y="3688"/>
                  <a:pt x="6281" y="3688"/>
                </a:cubicBezTo>
                <a:cubicBezTo>
                  <a:pt x="6219" y="3750"/>
                  <a:pt x="6125" y="3750"/>
                  <a:pt x="6094" y="3813"/>
                </a:cubicBezTo>
                <a:cubicBezTo>
                  <a:pt x="6031" y="3875"/>
                  <a:pt x="6031" y="3969"/>
                  <a:pt x="6125" y="4000"/>
                </a:cubicBezTo>
                <a:cubicBezTo>
                  <a:pt x="6188" y="4000"/>
                  <a:pt x="6438" y="3875"/>
                  <a:pt x="6469" y="3844"/>
                </a:cubicBezTo>
                <a:cubicBezTo>
                  <a:pt x="6563" y="3813"/>
                  <a:pt x="6656" y="3813"/>
                  <a:pt x="6719" y="3875"/>
                </a:cubicBezTo>
                <a:cubicBezTo>
                  <a:pt x="6844" y="3938"/>
                  <a:pt x="7000" y="3938"/>
                  <a:pt x="7125" y="4000"/>
                </a:cubicBezTo>
                <a:cubicBezTo>
                  <a:pt x="7125" y="4063"/>
                  <a:pt x="7031" y="4000"/>
                  <a:pt x="7031" y="4063"/>
                </a:cubicBezTo>
                <a:cubicBezTo>
                  <a:pt x="7063" y="4125"/>
                  <a:pt x="7094" y="4125"/>
                  <a:pt x="7125" y="4094"/>
                </a:cubicBezTo>
                <a:cubicBezTo>
                  <a:pt x="7313" y="4032"/>
                  <a:pt x="7469" y="4125"/>
                  <a:pt x="7594" y="4219"/>
                </a:cubicBezTo>
                <a:cubicBezTo>
                  <a:pt x="7656" y="4250"/>
                  <a:pt x="7719" y="4250"/>
                  <a:pt x="7750" y="4250"/>
                </a:cubicBezTo>
                <a:cubicBezTo>
                  <a:pt x="7750" y="4313"/>
                  <a:pt x="7688" y="4313"/>
                  <a:pt x="7656" y="4375"/>
                </a:cubicBezTo>
                <a:cubicBezTo>
                  <a:pt x="7719" y="4375"/>
                  <a:pt x="7781" y="4375"/>
                  <a:pt x="7844" y="4344"/>
                </a:cubicBezTo>
                <a:cubicBezTo>
                  <a:pt x="7906" y="4313"/>
                  <a:pt x="8063" y="4344"/>
                  <a:pt x="8125" y="4407"/>
                </a:cubicBezTo>
                <a:cubicBezTo>
                  <a:pt x="8188" y="4438"/>
                  <a:pt x="8281" y="4469"/>
                  <a:pt x="8344" y="4500"/>
                </a:cubicBezTo>
                <a:cubicBezTo>
                  <a:pt x="8375" y="4532"/>
                  <a:pt x="8406" y="4500"/>
                  <a:pt x="8406" y="4563"/>
                </a:cubicBezTo>
                <a:cubicBezTo>
                  <a:pt x="8406" y="4625"/>
                  <a:pt x="8344" y="4594"/>
                  <a:pt x="8313" y="4594"/>
                </a:cubicBezTo>
                <a:cubicBezTo>
                  <a:pt x="8281" y="4594"/>
                  <a:pt x="8281" y="4594"/>
                  <a:pt x="8219" y="4594"/>
                </a:cubicBezTo>
                <a:cubicBezTo>
                  <a:pt x="8344" y="4688"/>
                  <a:pt x="8531" y="4719"/>
                  <a:pt x="8656" y="4782"/>
                </a:cubicBezTo>
                <a:cubicBezTo>
                  <a:pt x="8781" y="4875"/>
                  <a:pt x="8875" y="4969"/>
                  <a:pt x="9063" y="4969"/>
                </a:cubicBezTo>
                <a:cubicBezTo>
                  <a:pt x="9000" y="5063"/>
                  <a:pt x="8938" y="5000"/>
                  <a:pt x="8875" y="5000"/>
                </a:cubicBezTo>
                <a:cubicBezTo>
                  <a:pt x="8750" y="4938"/>
                  <a:pt x="8594" y="4875"/>
                  <a:pt x="8438" y="4813"/>
                </a:cubicBezTo>
                <a:cubicBezTo>
                  <a:pt x="8438" y="4813"/>
                  <a:pt x="8406" y="4782"/>
                  <a:pt x="8406" y="4813"/>
                </a:cubicBezTo>
                <a:cubicBezTo>
                  <a:pt x="8375" y="4844"/>
                  <a:pt x="8406" y="4875"/>
                  <a:pt x="8438" y="4875"/>
                </a:cubicBezTo>
                <a:cubicBezTo>
                  <a:pt x="8563" y="4907"/>
                  <a:pt x="8688" y="5000"/>
                  <a:pt x="8844" y="5032"/>
                </a:cubicBezTo>
                <a:cubicBezTo>
                  <a:pt x="8875" y="5063"/>
                  <a:pt x="8844" y="5063"/>
                  <a:pt x="8844" y="5094"/>
                </a:cubicBezTo>
                <a:cubicBezTo>
                  <a:pt x="8844" y="5125"/>
                  <a:pt x="8750" y="5125"/>
                  <a:pt x="8813" y="5157"/>
                </a:cubicBezTo>
                <a:cubicBezTo>
                  <a:pt x="8844" y="5188"/>
                  <a:pt x="8875" y="5219"/>
                  <a:pt x="8906" y="5188"/>
                </a:cubicBezTo>
                <a:cubicBezTo>
                  <a:pt x="8906" y="5157"/>
                  <a:pt x="8938" y="5157"/>
                  <a:pt x="8938" y="5157"/>
                </a:cubicBezTo>
                <a:cubicBezTo>
                  <a:pt x="9094" y="5250"/>
                  <a:pt x="9250" y="5094"/>
                  <a:pt x="9406" y="5157"/>
                </a:cubicBezTo>
                <a:cubicBezTo>
                  <a:pt x="9500" y="5219"/>
                  <a:pt x="9500" y="5219"/>
                  <a:pt x="9500" y="5282"/>
                </a:cubicBezTo>
                <a:cubicBezTo>
                  <a:pt x="9438" y="5375"/>
                  <a:pt x="9375" y="5438"/>
                  <a:pt x="9281" y="5375"/>
                </a:cubicBezTo>
                <a:cubicBezTo>
                  <a:pt x="9219" y="5313"/>
                  <a:pt x="9156" y="5282"/>
                  <a:pt x="9094" y="5250"/>
                </a:cubicBezTo>
                <a:cubicBezTo>
                  <a:pt x="9031" y="5188"/>
                  <a:pt x="8969" y="5188"/>
                  <a:pt x="8875" y="5282"/>
                </a:cubicBezTo>
                <a:cubicBezTo>
                  <a:pt x="8781" y="5344"/>
                  <a:pt x="8750" y="5219"/>
                  <a:pt x="8719" y="5188"/>
                </a:cubicBezTo>
                <a:cubicBezTo>
                  <a:pt x="8688" y="5125"/>
                  <a:pt x="8656" y="5125"/>
                  <a:pt x="8625" y="5157"/>
                </a:cubicBezTo>
                <a:cubicBezTo>
                  <a:pt x="8531" y="5250"/>
                  <a:pt x="8469" y="5188"/>
                  <a:pt x="8438" y="5125"/>
                </a:cubicBezTo>
                <a:cubicBezTo>
                  <a:pt x="8375" y="5063"/>
                  <a:pt x="8344" y="5063"/>
                  <a:pt x="8281" y="5063"/>
                </a:cubicBezTo>
                <a:cubicBezTo>
                  <a:pt x="8250" y="5063"/>
                  <a:pt x="8188" y="5032"/>
                  <a:pt x="8156" y="5000"/>
                </a:cubicBezTo>
                <a:cubicBezTo>
                  <a:pt x="8094" y="4907"/>
                  <a:pt x="7969" y="4907"/>
                  <a:pt x="7875" y="4875"/>
                </a:cubicBezTo>
                <a:lnTo>
                  <a:pt x="7875" y="4875"/>
                </a:lnTo>
                <a:cubicBezTo>
                  <a:pt x="7750" y="4813"/>
                  <a:pt x="7594" y="4750"/>
                  <a:pt x="7469" y="4688"/>
                </a:cubicBezTo>
                <a:cubicBezTo>
                  <a:pt x="7375" y="4657"/>
                  <a:pt x="7250" y="4625"/>
                  <a:pt x="7125" y="4625"/>
                </a:cubicBezTo>
                <a:cubicBezTo>
                  <a:pt x="7000" y="4625"/>
                  <a:pt x="6875" y="4594"/>
                  <a:pt x="6750" y="4594"/>
                </a:cubicBezTo>
                <a:cubicBezTo>
                  <a:pt x="6719" y="4594"/>
                  <a:pt x="6688" y="4594"/>
                  <a:pt x="6688" y="4563"/>
                </a:cubicBezTo>
                <a:cubicBezTo>
                  <a:pt x="6688" y="4438"/>
                  <a:pt x="6563" y="4438"/>
                  <a:pt x="6500" y="4469"/>
                </a:cubicBezTo>
                <a:cubicBezTo>
                  <a:pt x="6344" y="4469"/>
                  <a:pt x="6250" y="4344"/>
                  <a:pt x="6094" y="4375"/>
                </a:cubicBezTo>
                <a:cubicBezTo>
                  <a:pt x="6063" y="4375"/>
                  <a:pt x="6063" y="4344"/>
                  <a:pt x="6063" y="4344"/>
                </a:cubicBezTo>
                <a:cubicBezTo>
                  <a:pt x="6063" y="4250"/>
                  <a:pt x="6000" y="4219"/>
                  <a:pt x="5906" y="4219"/>
                </a:cubicBezTo>
                <a:cubicBezTo>
                  <a:pt x="5813" y="4188"/>
                  <a:pt x="5688" y="4188"/>
                  <a:pt x="5594" y="4125"/>
                </a:cubicBezTo>
                <a:cubicBezTo>
                  <a:pt x="5375" y="4000"/>
                  <a:pt x="5094" y="4063"/>
                  <a:pt x="4875" y="3907"/>
                </a:cubicBezTo>
                <a:cubicBezTo>
                  <a:pt x="4813" y="3875"/>
                  <a:pt x="4656" y="3969"/>
                  <a:pt x="4625" y="3813"/>
                </a:cubicBezTo>
                <a:cubicBezTo>
                  <a:pt x="4625" y="3813"/>
                  <a:pt x="4625" y="3813"/>
                  <a:pt x="4594" y="3813"/>
                </a:cubicBezTo>
                <a:cubicBezTo>
                  <a:pt x="4219" y="3813"/>
                  <a:pt x="3875" y="3657"/>
                  <a:pt x="3500" y="3563"/>
                </a:cubicBezTo>
                <a:cubicBezTo>
                  <a:pt x="3438" y="3563"/>
                  <a:pt x="3375" y="3532"/>
                  <a:pt x="3344" y="3594"/>
                </a:cubicBezTo>
                <a:cubicBezTo>
                  <a:pt x="3407" y="3657"/>
                  <a:pt x="3531" y="3625"/>
                  <a:pt x="3594" y="3657"/>
                </a:cubicBezTo>
                <a:cubicBezTo>
                  <a:pt x="3594" y="3719"/>
                  <a:pt x="3500" y="3688"/>
                  <a:pt x="3531" y="3782"/>
                </a:cubicBezTo>
                <a:cubicBezTo>
                  <a:pt x="3594" y="3813"/>
                  <a:pt x="3688" y="3750"/>
                  <a:pt x="3781" y="3782"/>
                </a:cubicBezTo>
                <a:cubicBezTo>
                  <a:pt x="3844" y="3875"/>
                  <a:pt x="4031" y="3938"/>
                  <a:pt x="4125" y="3907"/>
                </a:cubicBezTo>
                <a:cubicBezTo>
                  <a:pt x="4156" y="3907"/>
                  <a:pt x="4156" y="3813"/>
                  <a:pt x="4188" y="3907"/>
                </a:cubicBezTo>
                <a:cubicBezTo>
                  <a:pt x="4219" y="4032"/>
                  <a:pt x="4344" y="4063"/>
                  <a:pt x="4469" y="4094"/>
                </a:cubicBezTo>
                <a:cubicBezTo>
                  <a:pt x="4500" y="4125"/>
                  <a:pt x="4594" y="4157"/>
                  <a:pt x="4594" y="4032"/>
                </a:cubicBezTo>
                <a:cubicBezTo>
                  <a:pt x="4594" y="4000"/>
                  <a:pt x="4594" y="4000"/>
                  <a:pt x="4625" y="4000"/>
                </a:cubicBezTo>
                <a:cubicBezTo>
                  <a:pt x="4688" y="4000"/>
                  <a:pt x="4719" y="4000"/>
                  <a:pt x="4750" y="4032"/>
                </a:cubicBezTo>
                <a:cubicBezTo>
                  <a:pt x="4750" y="4063"/>
                  <a:pt x="4750" y="4094"/>
                  <a:pt x="4719" y="4094"/>
                </a:cubicBezTo>
                <a:cubicBezTo>
                  <a:pt x="4688" y="4094"/>
                  <a:pt x="4656" y="4063"/>
                  <a:pt x="4688" y="4125"/>
                </a:cubicBezTo>
                <a:cubicBezTo>
                  <a:pt x="4688" y="4157"/>
                  <a:pt x="4719" y="4219"/>
                  <a:pt x="4750" y="4219"/>
                </a:cubicBezTo>
                <a:cubicBezTo>
                  <a:pt x="4906" y="4125"/>
                  <a:pt x="4938" y="4313"/>
                  <a:pt x="5063" y="4344"/>
                </a:cubicBezTo>
                <a:cubicBezTo>
                  <a:pt x="4969" y="4375"/>
                  <a:pt x="4906" y="4375"/>
                  <a:pt x="4844" y="4375"/>
                </a:cubicBezTo>
                <a:cubicBezTo>
                  <a:pt x="4750" y="4344"/>
                  <a:pt x="4688" y="4344"/>
                  <a:pt x="4625" y="4282"/>
                </a:cubicBezTo>
                <a:cubicBezTo>
                  <a:pt x="4563" y="4219"/>
                  <a:pt x="4500" y="4219"/>
                  <a:pt x="4438" y="4219"/>
                </a:cubicBezTo>
                <a:cubicBezTo>
                  <a:pt x="4375" y="4219"/>
                  <a:pt x="4344" y="4250"/>
                  <a:pt x="4281" y="4188"/>
                </a:cubicBezTo>
                <a:cubicBezTo>
                  <a:pt x="4219" y="4125"/>
                  <a:pt x="4125" y="4094"/>
                  <a:pt x="4000" y="4094"/>
                </a:cubicBezTo>
                <a:cubicBezTo>
                  <a:pt x="3969" y="4094"/>
                  <a:pt x="3906" y="4157"/>
                  <a:pt x="3906" y="4094"/>
                </a:cubicBezTo>
                <a:cubicBezTo>
                  <a:pt x="3875" y="4000"/>
                  <a:pt x="3813" y="4032"/>
                  <a:pt x="3781" y="4032"/>
                </a:cubicBezTo>
                <a:cubicBezTo>
                  <a:pt x="3625" y="4063"/>
                  <a:pt x="3500" y="4000"/>
                  <a:pt x="3344" y="4000"/>
                </a:cubicBezTo>
                <a:cubicBezTo>
                  <a:pt x="3282" y="3969"/>
                  <a:pt x="3250" y="3907"/>
                  <a:pt x="3188" y="3938"/>
                </a:cubicBezTo>
                <a:cubicBezTo>
                  <a:pt x="3094" y="4032"/>
                  <a:pt x="3000" y="3938"/>
                  <a:pt x="2875" y="3938"/>
                </a:cubicBezTo>
                <a:cubicBezTo>
                  <a:pt x="2844" y="3938"/>
                  <a:pt x="2813" y="3907"/>
                  <a:pt x="2782" y="3938"/>
                </a:cubicBezTo>
                <a:cubicBezTo>
                  <a:pt x="2875" y="4000"/>
                  <a:pt x="2969" y="4000"/>
                  <a:pt x="3063" y="4032"/>
                </a:cubicBezTo>
                <a:cubicBezTo>
                  <a:pt x="3032" y="4125"/>
                  <a:pt x="2969" y="4063"/>
                  <a:pt x="2938" y="4125"/>
                </a:cubicBezTo>
                <a:cubicBezTo>
                  <a:pt x="3094" y="4157"/>
                  <a:pt x="3219" y="4250"/>
                  <a:pt x="3407" y="4250"/>
                </a:cubicBezTo>
                <a:cubicBezTo>
                  <a:pt x="3344" y="4157"/>
                  <a:pt x="3219" y="4188"/>
                  <a:pt x="3157" y="4063"/>
                </a:cubicBezTo>
                <a:cubicBezTo>
                  <a:pt x="3282" y="4094"/>
                  <a:pt x="3375" y="4125"/>
                  <a:pt x="3500" y="4125"/>
                </a:cubicBezTo>
                <a:cubicBezTo>
                  <a:pt x="3531" y="4125"/>
                  <a:pt x="3563" y="4157"/>
                  <a:pt x="3563" y="4219"/>
                </a:cubicBezTo>
                <a:cubicBezTo>
                  <a:pt x="3500" y="4313"/>
                  <a:pt x="3563" y="4313"/>
                  <a:pt x="3625" y="4344"/>
                </a:cubicBezTo>
                <a:cubicBezTo>
                  <a:pt x="3688" y="4344"/>
                  <a:pt x="3750" y="4375"/>
                  <a:pt x="3813" y="4375"/>
                </a:cubicBezTo>
                <a:cubicBezTo>
                  <a:pt x="3844" y="4344"/>
                  <a:pt x="3844" y="4344"/>
                  <a:pt x="3813" y="4313"/>
                </a:cubicBezTo>
                <a:cubicBezTo>
                  <a:pt x="3781" y="4313"/>
                  <a:pt x="3719" y="4344"/>
                  <a:pt x="3719" y="4282"/>
                </a:cubicBezTo>
                <a:cubicBezTo>
                  <a:pt x="3750" y="4250"/>
                  <a:pt x="3781" y="4250"/>
                  <a:pt x="3813" y="4219"/>
                </a:cubicBezTo>
                <a:cubicBezTo>
                  <a:pt x="3844" y="4219"/>
                  <a:pt x="3906" y="4188"/>
                  <a:pt x="3969" y="4219"/>
                </a:cubicBezTo>
                <a:cubicBezTo>
                  <a:pt x="3875" y="4250"/>
                  <a:pt x="3938" y="4344"/>
                  <a:pt x="3875" y="4407"/>
                </a:cubicBezTo>
                <a:cubicBezTo>
                  <a:pt x="3844" y="4407"/>
                  <a:pt x="3906" y="4407"/>
                  <a:pt x="3938" y="4407"/>
                </a:cubicBezTo>
                <a:cubicBezTo>
                  <a:pt x="4031" y="4438"/>
                  <a:pt x="4000" y="4438"/>
                  <a:pt x="4031" y="4375"/>
                </a:cubicBezTo>
                <a:cubicBezTo>
                  <a:pt x="4063" y="4344"/>
                  <a:pt x="4063" y="4282"/>
                  <a:pt x="4125" y="4282"/>
                </a:cubicBezTo>
                <a:cubicBezTo>
                  <a:pt x="4188" y="4313"/>
                  <a:pt x="4156" y="4375"/>
                  <a:pt x="4188" y="4407"/>
                </a:cubicBezTo>
                <a:cubicBezTo>
                  <a:pt x="4219" y="4500"/>
                  <a:pt x="4125" y="4438"/>
                  <a:pt x="4094" y="4469"/>
                </a:cubicBezTo>
                <a:cubicBezTo>
                  <a:pt x="4344" y="4563"/>
                  <a:pt x="4594" y="4688"/>
                  <a:pt x="4844" y="4782"/>
                </a:cubicBezTo>
                <a:cubicBezTo>
                  <a:pt x="4844" y="4782"/>
                  <a:pt x="4844" y="4782"/>
                  <a:pt x="4813" y="4782"/>
                </a:cubicBezTo>
                <a:cubicBezTo>
                  <a:pt x="4688" y="4750"/>
                  <a:pt x="4563" y="4719"/>
                  <a:pt x="4406" y="4688"/>
                </a:cubicBezTo>
                <a:cubicBezTo>
                  <a:pt x="4344" y="4657"/>
                  <a:pt x="4250" y="4625"/>
                  <a:pt x="4156" y="4625"/>
                </a:cubicBezTo>
                <a:cubicBezTo>
                  <a:pt x="4094" y="4625"/>
                  <a:pt x="4063" y="4500"/>
                  <a:pt x="3969" y="4563"/>
                </a:cubicBezTo>
                <a:cubicBezTo>
                  <a:pt x="3938" y="4438"/>
                  <a:pt x="3813" y="4469"/>
                  <a:pt x="3719" y="4438"/>
                </a:cubicBezTo>
                <a:cubicBezTo>
                  <a:pt x="3594" y="4407"/>
                  <a:pt x="3469" y="4344"/>
                  <a:pt x="3344" y="4375"/>
                </a:cubicBezTo>
                <a:cubicBezTo>
                  <a:pt x="3250" y="4375"/>
                  <a:pt x="3157" y="4344"/>
                  <a:pt x="3094" y="4282"/>
                </a:cubicBezTo>
                <a:cubicBezTo>
                  <a:pt x="3000" y="4219"/>
                  <a:pt x="2875" y="4219"/>
                  <a:pt x="2782" y="4250"/>
                </a:cubicBezTo>
                <a:cubicBezTo>
                  <a:pt x="2750" y="4250"/>
                  <a:pt x="2719" y="4282"/>
                  <a:pt x="2719" y="4219"/>
                </a:cubicBezTo>
                <a:cubicBezTo>
                  <a:pt x="2719" y="4157"/>
                  <a:pt x="2657" y="4157"/>
                  <a:pt x="2625" y="4188"/>
                </a:cubicBezTo>
                <a:cubicBezTo>
                  <a:pt x="2594" y="4188"/>
                  <a:pt x="2563" y="4188"/>
                  <a:pt x="2563" y="4219"/>
                </a:cubicBezTo>
                <a:cubicBezTo>
                  <a:pt x="2594" y="4282"/>
                  <a:pt x="2625" y="4282"/>
                  <a:pt x="2657" y="4282"/>
                </a:cubicBezTo>
                <a:cubicBezTo>
                  <a:pt x="2750" y="4313"/>
                  <a:pt x="2875" y="4282"/>
                  <a:pt x="2969" y="4344"/>
                </a:cubicBezTo>
                <a:cubicBezTo>
                  <a:pt x="3157" y="4469"/>
                  <a:pt x="3407" y="4563"/>
                  <a:pt x="3625" y="4594"/>
                </a:cubicBezTo>
                <a:cubicBezTo>
                  <a:pt x="3906" y="4625"/>
                  <a:pt x="4156" y="4750"/>
                  <a:pt x="4438" y="4875"/>
                </a:cubicBezTo>
                <a:cubicBezTo>
                  <a:pt x="4313" y="4875"/>
                  <a:pt x="4219" y="4875"/>
                  <a:pt x="4156" y="4813"/>
                </a:cubicBezTo>
                <a:cubicBezTo>
                  <a:pt x="4094" y="4782"/>
                  <a:pt x="4063" y="4813"/>
                  <a:pt x="4031" y="4844"/>
                </a:cubicBezTo>
                <a:cubicBezTo>
                  <a:pt x="4000" y="4907"/>
                  <a:pt x="4063" y="4907"/>
                  <a:pt x="4094" y="4907"/>
                </a:cubicBezTo>
                <a:cubicBezTo>
                  <a:pt x="4125" y="4907"/>
                  <a:pt x="4156" y="4907"/>
                  <a:pt x="4156" y="4969"/>
                </a:cubicBezTo>
                <a:cubicBezTo>
                  <a:pt x="4031" y="5000"/>
                  <a:pt x="3938" y="4969"/>
                  <a:pt x="3844" y="4969"/>
                </a:cubicBezTo>
                <a:cubicBezTo>
                  <a:pt x="3781" y="4969"/>
                  <a:pt x="3719" y="4938"/>
                  <a:pt x="3719" y="4907"/>
                </a:cubicBezTo>
                <a:cubicBezTo>
                  <a:pt x="3688" y="4844"/>
                  <a:pt x="3781" y="4844"/>
                  <a:pt x="3750" y="4813"/>
                </a:cubicBezTo>
                <a:cubicBezTo>
                  <a:pt x="3750" y="4782"/>
                  <a:pt x="3719" y="4782"/>
                  <a:pt x="3688" y="4782"/>
                </a:cubicBezTo>
                <a:cubicBezTo>
                  <a:pt x="3656" y="4782"/>
                  <a:pt x="3656" y="4782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656" y="4750"/>
                  <a:pt x="3656" y="4750"/>
                  <a:pt x="3656" y="4750"/>
                </a:cubicBezTo>
                <a:cubicBezTo>
                  <a:pt x="3563" y="4750"/>
                  <a:pt x="3469" y="4750"/>
                  <a:pt x="3438" y="4844"/>
                </a:cubicBezTo>
                <a:cubicBezTo>
                  <a:pt x="3407" y="4782"/>
                  <a:pt x="3500" y="4750"/>
                  <a:pt x="3469" y="4719"/>
                </a:cubicBezTo>
                <a:cubicBezTo>
                  <a:pt x="3438" y="4688"/>
                  <a:pt x="3313" y="4719"/>
                  <a:pt x="3250" y="4719"/>
                </a:cubicBezTo>
                <a:cubicBezTo>
                  <a:pt x="3282" y="4750"/>
                  <a:pt x="3344" y="4750"/>
                  <a:pt x="3375" y="4782"/>
                </a:cubicBezTo>
                <a:cubicBezTo>
                  <a:pt x="3375" y="4782"/>
                  <a:pt x="3375" y="4782"/>
                  <a:pt x="3375" y="4813"/>
                </a:cubicBezTo>
                <a:cubicBezTo>
                  <a:pt x="3375" y="4813"/>
                  <a:pt x="3375" y="4813"/>
                  <a:pt x="3344" y="4813"/>
                </a:cubicBezTo>
                <a:cubicBezTo>
                  <a:pt x="3250" y="4813"/>
                  <a:pt x="3157" y="4813"/>
                  <a:pt x="3032" y="4782"/>
                </a:cubicBezTo>
                <a:cubicBezTo>
                  <a:pt x="3063" y="4875"/>
                  <a:pt x="3125" y="4875"/>
                  <a:pt x="3188" y="4875"/>
                </a:cubicBezTo>
                <a:cubicBezTo>
                  <a:pt x="3250" y="4875"/>
                  <a:pt x="3313" y="4875"/>
                  <a:pt x="3344" y="4907"/>
                </a:cubicBezTo>
                <a:cubicBezTo>
                  <a:pt x="3594" y="4969"/>
                  <a:pt x="3813" y="5063"/>
                  <a:pt x="4031" y="5125"/>
                </a:cubicBezTo>
                <a:cubicBezTo>
                  <a:pt x="4125" y="5188"/>
                  <a:pt x="4250" y="5188"/>
                  <a:pt x="4313" y="5282"/>
                </a:cubicBezTo>
                <a:cubicBezTo>
                  <a:pt x="4188" y="5282"/>
                  <a:pt x="4094" y="5188"/>
                  <a:pt x="3938" y="5219"/>
                </a:cubicBezTo>
                <a:cubicBezTo>
                  <a:pt x="4000" y="5250"/>
                  <a:pt x="4063" y="5282"/>
                  <a:pt x="4125" y="5313"/>
                </a:cubicBezTo>
                <a:cubicBezTo>
                  <a:pt x="4188" y="5344"/>
                  <a:pt x="4281" y="5375"/>
                  <a:pt x="4250" y="5407"/>
                </a:cubicBezTo>
                <a:cubicBezTo>
                  <a:pt x="4250" y="5469"/>
                  <a:pt x="4156" y="5469"/>
                  <a:pt x="4094" y="5469"/>
                </a:cubicBezTo>
                <a:cubicBezTo>
                  <a:pt x="4094" y="5532"/>
                  <a:pt x="4188" y="5563"/>
                  <a:pt x="4125" y="5625"/>
                </a:cubicBezTo>
                <a:cubicBezTo>
                  <a:pt x="4000" y="5594"/>
                  <a:pt x="3875" y="5438"/>
                  <a:pt x="3719" y="5532"/>
                </a:cubicBezTo>
                <a:cubicBezTo>
                  <a:pt x="3656" y="5438"/>
                  <a:pt x="3594" y="5532"/>
                  <a:pt x="3531" y="5500"/>
                </a:cubicBezTo>
                <a:cubicBezTo>
                  <a:pt x="3438" y="5375"/>
                  <a:pt x="3282" y="5375"/>
                  <a:pt x="3157" y="5375"/>
                </a:cubicBezTo>
                <a:cubicBezTo>
                  <a:pt x="3125" y="5375"/>
                  <a:pt x="3063" y="5375"/>
                  <a:pt x="3032" y="5375"/>
                </a:cubicBezTo>
                <a:cubicBezTo>
                  <a:pt x="2907" y="5313"/>
                  <a:pt x="2750" y="5282"/>
                  <a:pt x="2594" y="5313"/>
                </a:cubicBezTo>
                <a:cubicBezTo>
                  <a:pt x="2688" y="5407"/>
                  <a:pt x="2813" y="5407"/>
                  <a:pt x="2907" y="5375"/>
                </a:cubicBezTo>
                <a:cubicBezTo>
                  <a:pt x="3000" y="5375"/>
                  <a:pt x="3032" y="5469"/>
                  <a:pt x="3125" y="5469"/>
                </a:cubicBezTo>
                <a:cubicBezTo>
                  <a:pt x="3282" y="5500"/>
                  <a:pt x="3438" y="5500"/>
                  <a:pt x="3563" y="5657"/>
                </a:cubicBezTo>
                <a:cubicBezTo>
                  <a:pt x="3656" y="5657"/>
                  <a:pt x="3781" y="5657"/>
                  <a:pt x="3875" y="5719"/>
                </a:cubicBezTo>
                <a:cubicBezTo>
                  <a:pt x="3688" y="5844"/>
                  <a:pt x="3625" y="5844"/>
                  <a:pt x="3500" y="5688"/>
                </a:cubicBezTo>
                <a:cubicBezTo>
                  <a:pt x="3469" y="5688"/>
                  <a:pt x="3407" y="5688"/>
                  <a:pt x="3375" y="5688"/>
                </a:cubicBezTo>
                <a:cubicBezTo>
                  <a:pt x="3313" y="5688"/>
                  <a:pt x="3219" y="5625"/>
                  <a:pt x="3157" y="5657"/>
                </a:cubicBezTo>
                <a:cubicBezTo>
                  <a:pt x="3094" y="5657"/>
                  <a:pt x="3063" y="5625"/>
                  <a:pt x="3063" y="5688"/>
                </a:cubicBezTo>
                <a:cubicBezTo>
                  <a:pt x="3063" y="5750"/>
                  <a:pt x="3125" y="5719"/>
                  <a:pt x="3125" y="5719"/>
                </a:cubicBezTo>
                <a:cubicBezTo>
                  <a:pt x="3157" y="5719"/>
                  <a:pt x="3219" y="5688"/>
                  <a:pt x="3219" y="5750"/>
                </a:cubicBezTo>
                <a:cubicBezTo>
                  <a:pt x="3188" y="5813"/>
                  <a:pt x="3125" y="5750"/>
                  <a:pt x="3094" y="5782"/>
                </a:cubicBezTo>
                <a:cubicBezTo>
                  <a:pt x="3157" y="5875"/>
                  <a:pt x="3188" y="5844"/>
                  <a:pt x="3250" y="5813"/>
                </a:cubicBezTo>
                <a:cubicBezTo>
                  <a:pt x="3282" y="5782"/>
                  <a:pt x="3375" y="5813"/>
                  <a:pt x="3407" y="5844"/>
                </a:cubicBezTo>
                <a:cubicBezTo>
                  <a:pt x="3438" y="5844"/>
                  <a:pt x="3438" y="5875"/>
                  <a:pt x="3469" y="5844"/>
                </a:cubicBezTo>
                <a:cubicBezTo>
                  <a:pt x="3500" y="5844"/>
                  <a:pt x="3531" y="5844"/>
                  <a:pt x="3531" y="5907"/>
                </a:cubicBezTo>
                <a:cubicBezTo>
                  <a:pt x="3531" y="5969"/>
                  <a:pt x="3594" y="5969"/>
                  <a:pt x="3625" y="5938"/>
                </a:cubicBezTo>
                <a:cubicBezTo>
                  <a:pt x="3719" y="5875"/>
                  <a:pt x="3813" y="5875"/>
                  <a:pt x="3875" y="5938"/>
                </a:cubicBezTo>
                <a:cubicBezTo>
                  <a:pt x="3906" y="5969"/>
                  <a:pt x="3938" y="5969"/>
                  <a:pt x="3938" y="5938"/>
                </a:cubicBezTo>
                <a:cubicBezTo>
                  <a:pt x="3938" y="5907"/>
                  <a:pt x="4000" y="5907"/>
                  <a:pt x="3938" y="5875"/>
                </a:cubicBezTo>
                <a:cubicBezTo>
                  <a:pt x="3844" y="5782"/>
                  <a:pt x="3938" y="5782"/>
                  <a:pt x="4000" y="5782"/>
                </a:cubicBezTo>
                <a:cubicBezTo>
                  <a:pt x="4031" y="5782"/>
                  <a:pt x="4094" y="5782"/>
                  <a:pt x="4156" y="5750"/>
                </a:cubicBezTo>
                <a:cubicBezTo>
                  <a:pt x="4219" y="5719"/>
                  <a:pt x="4219" y="5782"/>
                  <a:pt x="4250" y="5813"/>
                </a:cubicBezTo>
                <a:cubicBezTo>
                  <a:pt x="4281" y="5844"/>
                  <a:pt x="4281" y="5875"/>
                  <a:pt x="4250" y="5907"/>
                </a:cubicBezTo>
                <a:cubicBezTo>
                  <a:pt x="4219" y="5907"/>
                  <a:pt x="4188" y="5875"/>
                  <a:pt x="4156" y="5844"/>
                </a:cubicBezTo>
                <a:cubicBezTo>
                  <a:pt x="4063" y="5782"/>
                  <a:pt x="4063" y="5907"/>
                  <a:pt x="4000" y="5938"/>
                </a:cubicBezTo>
                <a:cubicBezTo>
                  <a:pt x="3969" y="5969"/>
                  <a:pt x="3969" y="6000"/>
                  <a:pt x="4031" y="6032"/>
                </a:cubicBezTo>
                <a:cubicBezTo>
                  <a:pt x="4188" y="6094"/>
                  <a:pt x="4313" y="6125"/>
                  <a:pt x="4438" y="6157"/>
                </a:cubicBezTo>
                <a:cubicBezTo>
                  <a:pt x="4625" y="6219"/>
                  <a:pt x="4625" y="6219"/>
                  <a:pt x="4594" y="6407"/>
                </a:cubicBezTo>
                <a:cubicBezTo>
                  <a:pt x="4719" y="6407"/>
                  <a:pt x="4844" y="6407"/>
                  <a:pt x="4969" y="6500"/>
                </a:cubicBezTo>
                <a:cubicBezTo>
                  <a:pt x="4813" y="6438"/>
                  <a:pt x="4688" y="6563"/>
                  <a:pt x="4563" y="6438"/>
                </a:cubicBezTo>
                <a:cubicBezTo>
                  <a:pt x="4500" y="6407"/>
                  <a:pt x="4438" y="6344"/>
                  <a:pt x="4375" y="6313"/>
                </a:cubicBezTo>
                <a:cubicBezTo>
                  <a:pt x="4375" y="6344"/>
                  <a:pt x="4375" y="6344"/>
                  <a:pt x="4344" y="6344"/>
                </a:cubicBezTo>
                <a:cubicBezTo>
                  <a:pt x="4313" y="6375"/>
                  <a:pt x="4281" y="6375"/>
                  <a:pt x="4250" y="6375"/>
                </a:cubicBezTo>
                <a:cubicBezTo>
                  <a:pt x="4219" y="6375"/>
                  <a:pt x="4219" y="6375"/>
                  <a:pt x="4219" y="6375"/>
                </a:cubicBezTo>
                <a:cubicBezTo>
                  <a:pt x="4188" y="6344"/>
                  <a:pt x="4188" y="6344"/>
                  <a:pt x="4156" y="6344"/>
                </a:cubicBezTo>
                <a:cubicBezTo>
                  <a:pt x="4125" y="6375"/>
                  <a:pt x="4063" y="6313"/>
                  <a:pt x="4063" y="6375"/>
                </a:cubicBezTo>
                <a:cubicBezTo>
                  <a:pt x="4063" y="6438"/>
                  <a:pt x="4125" y="6407"/>
                  <a:pt x="4156" y="6407"/>
                </a:cubicBezTo>
                <a:cubicBezTo>
                  <a:pt x="4188" y="6407"/>
                  <a:pt x="4219" y="6407"/>
                  <a:pt x="4219" y="6407"/>
                </a:cubicBezTo>
                <a:cubicBezTo>
                  <a:pt x="4250" y="6407"/>
                  <a:pt x="4281" y="6407"/>
                  <a:pt x="4281" y="6438"/>
                </a:cubicBezTo>
                <a:cubicBezTo>
                  <a:pt x="4281" y="6438"/>
                  <a:pt x="4281" y="6469"/>
                  <a:pt x="4250" y="6469"/>
                </a:cubicBezTo>
                <a:cubicBezTo>
                  <a:pt x="4219" y="6500"/>
                  <a:pt x="4156" y="6500"/>
                  <a:pt x="4125" y="6500"/>
                </a:cubicBezTo>
                <a:cubicBezTo>
                  <a:pt x="3969" y="6438"/>
                  <a:pt x="3813" y="6438"/>
                  <a:pt x="3688" y="6313"/>
                </a:cubicBezTo>
                <a:cubicBezTo>
                  <a:pt x="3813" y="6375"/>
                  <a:pt x="3969" y="6313"/>
                  <a:pt x="4094" y="6313"/>
                </a:cubicBezTo>
                <a:cubicBezTo>
                  <a:pt x="4063" y="6313"/>
                  <a:pt x="4063" y="6282"/>
                  <a:pt x="4063" y="6282"/>
                </a:cubicBezTo>
                <a:cubicBezTo>
                  <a:pt x="4063" y="6250"/>
                  <a:pt x="4063" y="6250"/>
                  <a:pt x="4031" y="6250"/>
                </a:cubicBezTo>
                <a:cubicBezTo>
                  <a:pt x="3906" y="6219"/>
                  <a:pt x="3719" y="6250"/>
                  <a:pt x="3594" y="6188"/>
                </a:cubicBezTo>
                <a:cubicBezTo>
                  <a:pt x="3531" y="6157"/>
                  <a:pt x="3469" y="6125"/>
                  <a:pt x="3469" y="6063"/>
                </a:cubicBezTo>
                <a:cubicBezTo>
                  <a:pt x="3469" y="6032"/>
                  <a:pt x="3344" y="6094"/>
                  <a:pt x="3282" y="6063"/>
                </a:cubicBezTo>
                <a:cubicBezTo>
                  <a:pt x="3157" y="5969"/>
                  <a:pt x="3032" y="6032"/>
                  <a:pt x="2938" y="6188"/>
                </a:cubicBezTo>
                <a:cubicBezTo>
                  <a:pt x="3125" y="6250"/>
                  <a:pt x="3313" y="6313"/>
                  <a:pt x="3500" y="6375"/>
                </a:cubicBezTo>
                <a:cubicBezTo>
                  <a:pt x="3938" y="6500"/>
                  <a:pt x="4375" y="6625"/>
                  <a:pt x="4781" y="6844"/>
                </a:cubicBezTo>
                <a:cubicBezTo>
                  <a:pt x="4875" y="6844"/>
                  <a:pt x="4938" y="6907"/>
                  <a:pt x="5031" y="6969"/>
                </a:cubicBezTo>
                <a:cubicBezTo>
                  <a:pt x="5125" y="7063"/>
                  <a:pt x="5281" y="7032"/>
                  <a:pt x="5406" y="7094"/>
                </a:cubicBezTo>
                <a:cubicBezTo>
                  <a:pt x="5438" y="7094"/>
                  <a:pt x="5469" y="7094"/>
                  <a:pt x="5438" y="7157"/>
                </a:cubicBezTo>
                <a:cubicBezTo>
                  <a:pt x="5375" y="7219"/>
                  <a:pt x="5469" y="7282"/>
                  <a:pt x="5531" y="7344"/>
                </a:cubicBezTo>
                <a:cubicBezTo>
                  <a:pt x="5438" y="7344"/>
                  <a:pt x="5375" y="7375"/>
                  <a:pt x="5313" y="7282"/>
                </a:cubicBezTo>
                <a:cubicBezTo>
                  <a:pt x="5281" y="7250"/>
                  <a:pt x="5188" y="7250"/>
                  <a:pt x="5125" y="7219"/>
                </a:cubicBezTo>
                <a:cubicBezTo>
                  <a:pt x="5031" y="7188"/>
                  <a:pt x="4906" y="7188"/>
                  <a:pt x="4813" y="7094"/>
                </a:cubicBezTo>
                <a:cubicBezTo>
                  <a:pt x="4906" y="7063"/>
                  <a:pt x="4969" y="7094"/>
                  <a:pt x="5063" y="7063"/>
                </a:cubicBezTo>
                <a:cubicBezTo>
                  <a:pt x="4938" y="7063"/>
                  <a:pt x="4906" y="6969"/>
                  <a:pt x="4781" y="7000"/>
                </a:cubicBezTo>
                <a:cubicBezTo>
                  <a:pt x="4719" y="7000"/>
                  <a:pt x="4781" y="6938"/>
                  <a:pt x="4781" y="6907"/>
                </a:cubicBezTo>
                <a:cubicBezTo>
                  <a:pt x="4656" y="6875"/>
                  <a:pt x="4531" y="6875"/>
                  <a:pt x="4406" y="6938"/>
                </a:cubicBezTo>
                <a:cubicBezTo>
                  <a:pt x="4406" y="6875"/>
                  <a:pt x="4500" y="6844"/>
                  <a:pt x="4438" y="6813"/>
                </a:cubicBezTo>
                <a:cubicBezTo>
                  <a:pt x="4375" y="6782"/>
                  <a:pt x="4375" y="6907"/>
                  <a:pt x="4313" y="6907"/>
                </a:cubicBezTo>
                <a:cubicBezTo>
                  <a:pt x="4281" y="6813"/>
                  <a:pt x="4219" y="6844"/>
                  <a:pt x="4156" y="6844"/>
                </a:cubicBezTo>
                <a:cubicBezTo>
                  <a:pt x="3938" y="6875"/>
                  <a:pt x="3719" y="6907"/>
                  <a:pt x="3500" y="6875"/>
                </a:cubicBezTo>
                <a:cubicBezTo>
                  <a:pt x="3438" y="6875"/>
                  <a:pt x="3375" y="6875"/>
                  <a:pt x="3313" y="6813"/>
                </a:cubicBezTo>
                <a:cubicBezTo>
                  <a:pt x="3813" y="6813"/>
                  <a:pt x="3938" y="6782"/>
                  <a:pt x="4000" y="6657"/>
                </a:cubicBezTo>
                <a:cubicBezTo>
                  <a:pt x="3906" y="6688"/>
                  <a:pt x="3844" y="6688"/>
                  <a:pt x="3750" y="6719"/>
                </a:cubicBezTo>
                <a:cubicBezTo>
                  <a:pt x="3688" y="6719"/>
                  <a:pt x="3625" y="6719"/>
                  <a:pt x="3563" y="6688"/>
                </a:cubicBezTo>
                <a:cubicBezTo>
                  <a:pt x="3438" y="6657"/>
                  <a:pt x="3344" y="6532"/>
                  <a:pt x="3188" y="6625"/>
                </a:cubicBezTo>
                <a:cubicBezTo>
                  <a:pt x="3188" y="6625"/>
                  <a:pt x="3125" y="6594"/>
                  <a:pt x="3125" y="6563"/>
                </a:cubicBezTo>
                <a:cubicBezTo>
                  <a:pt x="3125" y="6532"/>
                  <a:pt x="3094" y="6532"/>
                  <a:pt x="3063" y="6532"/>
                </a:cubicBezTo>
                <a:cubicBezTo>
                  <a:pt x="2938" y="6625"/>
                  <a:pt x="2844" y="6563"/>
                  <a:pt x="2750" y="6500"/>
                </a:cubicBezTo>
                <a:cubicBezTo>
                  <a:pt x="2688" y="6469"/>
                  <a:pt x="2594" y="6438"/>
                  <a:pt x="2532" y="6407"/>
                </a:cubicBezTo>
                <a:cubicBezTo>
                  <a:pt x="2469" y="6407"/>
                  <a:pt x="2375" y="6375"/>
                  <a:pt x="2344" y="6438"/>
                </a:cubicBezTo>
                <a:cubicBezTo>
                  <a:pt x="2282" y="6500"/>
                  <a:pt x="2219" y="6500"/>
                  <a:pt x="2157" y="6469"/>
                </a:cubicBezTo>
                <a:cubicBezTo>
                  <a:pt x="2063" y="6438"/>
                  <a:pt x="1969" y="6438"/>
                  <a:pt x="1875" y="6532"/>
                </a:cubicBezTo>
                <a:cubicBezTo>
                  <a:pt x="2000" y="6532"/>
                  <a:pt x="2094" y="6625"/>
                  <a:pt x="2188" y="6532"/>
                </a:cubicBezTo>
                <a:cubicBezTo>
                  <a:pt x="2219" y="6532"/>
                  <a:pt x="2282" y="6532"/>
                  <a:pt x="2250" y="6563"/>
                </a:cubicBezTo>
                <a:cubicBezTo>
                  <a:pt x="2250" y="6657"/>
                  <a:pt x="2313" y="6625"/>
                  <a:pt x="2375" y="6625"/>
                </a:cubicBezTo>
                <a:cubicBezTo>
                  <a:pt x="2532" y="6688"/>
                  <a:pt x="2657" y="6719"/>
                  <a:pt x="2813" y="6750"/>
                </a:cubicBezTo>
                <a:cubicBezTo>
                  <a:pt x="2844" y="6688"/>
                  <a:pt x="2938" y="6625"/>
                  <a:pt x="3032" y="6657"/>
                </a:cubicBezTo>
                <a:cubicBezTo>
                  <a:pt x="3032" y="6657"/>
                  <a:pt x="3063" y="6688"/>
                  <a:pt x="3032" y="6719"/>
                </a:cubicBezTo>
                <a:cubicBezTo>
                  <a:pt x="3032" y="6750"/>
                  <a:pt x="3000" y="6750"/>
                  <a:pt x="3000" y="6750"/>
                </a:cubicBezTo>
                <a:cubicBezTo>
                  <a:pt x="2969" y="6750"/>
                  <a:pt x="2875" y="6688"/>
                  <a:pt x="2907" y="6813"/>
                </a:cubicBezTo>
                <a:cubicBezTo>
                  <a:pt x="2969" y="6813"/>
                  <a:pt x="3000" y="6813"/>
                  <a:pt x="3032" y="6844"/>
                </a:cubicBezTo>
                <a:cubicBezTo>
                  <a:pt x="3157" y="6907"/>
                  <a:pt x="3313" y="6907"/>
                  <a:pt x="3438" y="6969"/>
                </a:cubicBezTo>
                <a:cubicBezTo>
                  <a:pt x="3531" y="6969"/>
                  <a:pt x="3656" y="7000"/>
                  <a:pt x="3750" y="7094"/>
                </a:cubicBezTo>
                <a:cubicBezTo>
                  <a:pt x="3625" y="7094"/>
                  <a:pt x="3531" y="7063"/>
                  <a:pt x="3407" y="7032"/>
                </a:cubicBezTo>
                <a:cubicBezTo>
                  <a:pt x="3375" y="7032"/>
                  <a:pt x="3375" y="7032"/>
                  <a:pt x="3344" y="7063"/>
                </a:cubicBezTo>
                <a:cubicBezTo>
                  <a:pt x="3344" y="7063"/>
                  <a:pt x="3344" y="7063"/>
                  <a:pt x="3344" y="7094"/>
                </a:cubicBezTo>
                <a:cubicBezTo>
                  <a:pt x="3438" y="7157"/>
                  <a:pt x="3375" y="7157"/>
                  <a:pt x="3344" y="7157"/>
                </a:cubicBezTo>
                <a:cubicBezTo>
                  <a:pt x="3282" y="7188"/>
                  <a:pt x="3219" y="7157"/>
                  <a:pt x="3157" y="7157"/>
                </a:cubicBezTo>
                <a:cubicBezTo>
                  <a:pt x="3063" y="7125"/>
                  <a:pt x="2969" y="7094"/>
                  <a:pt x="2844" y="7157"/>
                </a:cubicBezTo>
                <a:cubicBezTo>
                  <a:pt x="3032" y="7219"/>
                  <a:pt x="3219" y="7188"/>
                  <a:pt x="3344" y="7313"/>
                </a:cubicBezTo>
                <a:cubicBezTo>
                  <a:pt x="3375" y="7344"/>
                  <a:pt x="3407" y="7344"/>
                  <a:pt x="3407" y="7250"/>
                </a:cubicBezTo>
                <a:cubicBezTo>
                  <a:pt x="3407" y="7157"/>
                  <a:pt x="3407" y="7125"/>
                  <a:pt x="3531" y="7157"/>
                </a:cubicBezTo>
                <a:cubicBezTo>
                  <a:pt x="3656" y="7219"/>
                  <a:pt x="3813" y="7250"/>
                  <a:pt x="3938" y="7282"/>
                </a:cubicBezTo>
                <a:cubicBezTo>
                  <a:pt x="3969" y="7282"/>
                  <a:pt x="4031" y="7313"/>
                  <a:pt x="4031" y="7282"/>
                </a:cubicBezTo>
                <a:cubicBezTo>
                  <a:pt x="4031" y="7157"/>
                  <a:pt x="4125" y="7219"/>
                  <a:pt x="4156" y="7219"/>
                </a:cubicBezTo>
                <a:cubicBezTo>
                  <a:pt x="4250" y="7219"/>
                  <a:pt x="4344" y="7313"/>
                  <a:pt x="4438" y="7313"/>
                </a:cubicBezTo>
                <a:cubicBezTo>
                  <a:pt x="4375" y="7344"/>
                  <a:pt x="4281" y="7313"/>
                  <a:pt x="4219" y="7375"/>
                </a:cubicBezTo>
                <a:cubicBezTo>
                  <a:pt x="4313" y="7407"/>
                  <a:pt x="4375" y="7438"/>
                  <a:pt x="4469" y="7469"/>
                </a:cubicBezTo>
                <a:cubicBezTo>
                  <a:pt x="4563" y="7532"/>
                  <a:pt x="4594" y="7532"/>
                  <a:pt x="4688" y="7438"/>
                </a:cubicBezTo>
                <a:cubicBezTo>
                  <a:pt x="4688" y="7438"/>
                  <a:pt x="4688" y="7438"/>
                  <a:pt x="4719" y="7438"/>
                </a:cubicBezTo>
                <a:cubicBezTo>
                  <a:pt x="4875" y="7438"/>
                  <a:pt x="5000" y="7500"/>
                  <a:pt x="5156" y="7625"/>
                </a:cubicBezTo>
                <a:cubicBezTo>
                  <a:pt x="5063" y="7657"/>
                  <a:pt x="5000" y="7563"/>
                  <a:pt x="4938" y="7594"/>
                </a:cubicBezTo>
                <a:cubicBezTo>
                  <a:pt x="4906" y="7532"/>
                  <a:pt x="4844" y="7532"/>
                  <a:pt x="4781" y="7594"/>
                </a:cubicBezTo>
                <a:cubicBezTo>
                  <a:pt x="4844" y="7594"/>
                  <a:pt x="4875" y="7594"/>
                  <a:pt x="4906" y="7625"/>
                </a:cubicBezTo>
                <a:cubicBezTo>
                  <a:pt x="5094" y="7719"/>
                  <a:pt x="5250" y="7782"/>
                  <a:pt x="5438" y="7875"/>
                </a:cubicBezTo>
                <a:cubicBezTo>
                  <a:pt x="5594" y="7938"/>
                  <a:pt x="5750" y="8000"/>
                  <a:pt x="5906" y="8032"/>
                </a:cubicBezTo>
                <a:cubicBezTo>
                  <a:pt x="6000" y="8032"/>
                  <a:pt x="6094" y="7969"/>
                  <a:pt x="6156" y="8094"/>
                </a:cubicBezTo>
                <a:cubicBezTo>
                  <a:pt x="6188" y="8125"/>
                  <a:pt x="6344" y="8094"/>
                  <a:pt x="6406" y="8125"/>
                </a:cubicBezTo>
                <a:cubicBezTo>
                  <a:pt x="6438" y="8125"/>
                  <a:pt x="6469" y="8157"/>
                  <a:pt x="6469" y="8188"/>
                </a:cubicBezTo>
                <a:cubicBezTo>
                  <a:pt x="6438" y="8219"/>
                  <a:pt x="6344" y="8125"/>
                  <a:pt x="6344" y="8219"/>
                </a:cubicBezTo>
                <a:cubicBezTo>
                  <a:pt x="6344" y="8250"/>
                  <a:pt x="6406" y="8282"/>
                  <a:pt x="6469" y="8282"/>
                </a:cubicBezTo>
                <a:cubicBezTo>
                  <a:pt x="6469" y="8282"/>
                  <a:pt x="6500" y="8282"/>
                  <a:pt x="6500" y="8282"/>
                </a:cubicBezTo>
                <a:cubicBezTo>
                  <a:pt x="6531" y="8282"/>
                  <a:pt x="6594" y="8313"/>
                  <a:pt x="6563" y="8344"/>
                </a:cubicBezTo>
                <a:cubicBezTo>
                  <a:pt x="6563" y="8375"/>
                  <a:pt x="6500" y="8375"/>
                  <a:pt x="6469" y="8375"/>
                </a:cubicBezTo>
                <a:cubicBezTo>
                  <a:pt x="6438" y="8344"/>
                  <a:pt x="6406" y="8344"/>
                  <a:pt x="6375" y="8313"/>
                </a:cubicBezTo>
                <a:cubicBezTo>
                  <a:pt x="6344" y="8313"/>
                  <a:pt x="6313" y="8313"/>
                  <a:pt x="6313" y="8375"/>
                </a:cubicBezTo>
                <a:cubicBezTo>
                  <a:pt x="6344" y="8438"/>
                  <a:pt x="6375" y="8469"/>
                  <a:pt x="6438" y="8438"/>
                </a:cubicBezTo>
                <a:cubicBezTo>
                  <a:pt x="6469" y="8407"/>
                  <a:pt x="6500" y="8375"/>
                  <a:pt x="6531" y="8407"/>
                </a:cubicBezTo>
                <a:cubicBezTo>
                  <a:pt x="6594" y="8500"/>
                  <a:pt x="6719" y="8438"/>
                  <a:pt x="6781" y="8438"/>
                </a:cubicBezTo>
                <a:cubicBezTo>
                  <a:pt x="6844" y="8438"/>
                  <a:pt x="6906" y="8438"/>
                  <a:pt x="6938" y="8469"/>
                </a:cubicBezTo>
                <a:cubicBezTo>
                  <a:pt x="6969" y="8469"/>
                  <a:pt x="7031" y="8500"/>
                  <a:pt x="7000" y="8563"/>
                </a:cubicBezTo>
                <a:cubicBezTo>
                  <a:pt x="6969" y="8594"/>
                  <a:pt x="6906" y="8594"/>
                  <a:pt x="6875" y="8563"/>
                </a:cubicBezTo>
                <a:cubicBezTo>
                  <a:pt x="6750" y="8438"/>
                  <a:pt x="6719" y="8469"/>
                  <a:pt x="6688" y="8563"/>
                </a:cubicBezTo>
                <a:cubicBezTo>
                  <a:pt x="6938" y="8657"/>
                  <a:pt x="7188" y="8719"/>
                  <a:pt x="7375" y="8875"/>
                </a:cubicBezTo>
                <a:cubicBezTo>
                  <a:pt x="7500" y="8750"/>
                  <a:pt x="7500" y="8750"/>
                  <a:pt x="7625" y="8969"/>
                </a:cubicBezTo>
                <a:cubicBezTo>
                  <a:pt x="7875" y="9063"/>
                  <a:pt x="8094" y="9219"/>
                  <a:pt x="8375" y="9282"/>
                </a:cubicBezTo>
                <a:cubicBezTo>
                  <a:pt x="8438" y="9313"/>
                  <a:pt x="8375" y="9407"/>
                  <a:pt x="8438" y="9375"/>
                </a:cubicBezTo>
                <a:cubicBezTo>
                  <a:pt x="8531" y="9375"/>
                  <a:pt x="8594" y="9469"/>
                  <a:pt x="8688" y="9500"/>
                </a:cubicBezTo>
                <a:cubicBezTo>
                  <a:pt x="8719" y="9469"/>
                  <a:pt x="8750" y="9469"/>
                  <a:pt x="8750" y="9500"/>
                </a:cubicBezTo>
                <a:cubicBezTo>
                  <a:pt x="8750" y="9500"/>
                  <a:pt x="8750" y="9500"/>
                  <a:pt x="8750" y="9500"/>
                </a:cubicBezTo>
                <a:cubicBezTo>
                  <a:pt x="8781" y="9500"/>
                  <a:pt x="8813" y="9500"/>
                  <a:pt x="8813" y="9532"/>
                </a:cubicBezTo>
                <a:cubicBezTo>
                  <a:pt x="8844" y="9532"/>
                  <a:pt x="8844" y="9532"/>
                  <a:pt x="8844" y="9532"/>
                </a:cubicBezTo>
                <a:cubicBezTo>
                  <a:pt x="8875" y="9532"/>
                  <a:pt x="8875" y="9532"/>
                  <a:pt x="8875" y="9532"/>
                </a:cubicBezTo>
                <a:cubicBezTo>
                  <a:pt x="8969" y="9657"/>
                  <a:pt x="9156" y="9688"/>
                  <a:pt x="9281" y="9750"/>
                </a:cubicBezTo>
                <a:cubicBezTo>
                  <a:pt x="9313" y="9782"/>
                  <a:pt x="9344" y="9813"/>
                  <a:pt x="9344" y="9875"/>
                </a:cubicBezTo>
                <a:cubicBezTo>
                  <a:pt x="9344" y="9907"/>
                  <a:pt x="9281" y="9907"/>
                  <a:pt x="9250" y="9907"/>
                </a:cubicBezTo>
                <a:cubicBezTo>
                  <a:pt x="9188" y="9907"/>
                  <a:pt x="9125" y="9907"/>
                  <a:pt x="9125" y="9969"/>
                </a:cubicBezTo>
                <a:cubicBezTo>
                  <a:pt x="9125" y="10063"/>
                  <a:pt x="9188" y="10063"/>
                  <a:pt x="9219" y="10063"/>
                </a:cubicBezTo>
                <a:cubicBezTo>
                  <a:pt x="9375" y="10125"/>
                  <a:pt x="9531" y="10094"/>
                  <a:pt x="9688" y="10032"/>
                </a:cubicBezTo>
                <a:cubicBezTo>
                  <a:pt x="9656" y="10125"/>
                  <a:pt x="9688" y="10157"/>
                  <a:pt x="9781" y="10157"/>
                </a:cubicBezTo>
                <a:cubicBezTo>
                  <a:pt x="9844" y="10157"/>
                  <a:pt x="9875" y="10157"/>
                  <a:pt x="9938" y="10157"/>
                </a:cubicBezTo>
                <a:cubicBezTo>
                  <a:pt x="9969" y="10157"/>
                  <a:pt x="10031" y="10157"/>
                  <a:pt x="10031" y="10188"/>
                </a:cubicBezTo>
                <a:cubicBezTo>
                  <a:pt x="10094" y="10282"/>
                  <a:pt x="10000" y="10219"/>
                  <a:pt x="9969" y="10250"/>
                </a:cubicBezTo>
                <a:cubicBezTo>
                  <a:pt x="9969" y="10313"/>
                  <a:pt x="10000" y="10313"/>
                  <a:pt x="10031" y="10313"/>
                </a:cubicBezTo>
                <a:cubicBezTo>
                  <a:pt x="10219" y="10344"/>
                  <a:pt x="10375" y="10375"/>
                  <a:pt x="10531" y="10469"/>
                </a:cubicBezTo>
                <a:cubicBezTo>
                  <a:pt x="10188" y="10532"/>
                  <a:pt x="10000" y="10500"/>
                  <a:pt x="9844" y="10313"/>
                </a:cubicBezTo>
                <a:cubicBezTo>
                  <a:pt x="9719" y="10188"/>
                  <a:pt x="9500" y="10219"/>
                  <a:pt x="9438" y="10407"/>
                </a:cubicBezTo>
                <a:cubicBezTo>
                  <a:pt x="9438" y="10438"/>
                  <a:pt x="9438" y="10469"/>
                  <a:pt x="9438" y="10469"/>
                </a:cubicBezTo>
                <a:cubicBezTo>
                  <a:pt x="9531" y="10438"/>
                  <a:pt x="9563" y="10594"/>
                  <a:pt x="9656" y="10563"/>
                </a:cubicBezTo>
                <a:cubicBezTo>
                  <a:pt x="9688" y="10563"/>
                  <a:pt x="9688" y="10500"/>
                  <a:pt x="9719" y="10532"/>
                </a:cubicBezTo>
                <a:cubicBezTo>
                  <a:pt x="9719" y="10563"/>
                  <a:pt x="9688" y="10563"/>
                  <a:pt x="9688" y="10563"/>
                </a:cubicBezTo>
                <a:cubicBezTo>
                  <a:pt x="9781" y="10625"/>
                  <a:pt x="9875" y="10688"/>
                  <a:pt x="9938" y="10813"/>
                </a:cubicBezTo>
                <a:cubicBezTo>
                  <a:pt x="10094" y="10813"/>
                  <a:pt x="10281" y="10782"/>
                  <a:pt x="10375" y="11000"/>
                </a:cubicBezTo>
                <a:cubicBezTo>
                  <a:pt x="10375" y="11000"/>
                  <a:pt x="10406" y="11000"/>
                  <a:pt x="10438" y="11000"/>
                </a:cubicBezTo>
                <a:cubicBezTo>
                  <a:pt x="10563" y="11000"/>
                  <a:pt x="10656" y="11094"/>
                  <a:pt x="10781" y="11157"/>
                </a:cubicBezTo>
                <a:cubicBezTo>
                  <a:pt x="10688" y="11188"/>
                  <a:pt x="10625" y="11250"/>
                  <a:pt x="10531" y="11219"/>
                </a:cubicBezTo>
                <a:cubicBezTo>
                  <a:pt x="10594" y="11282"/>
                  <a:pt x="10688" y="11282"/>
                  <a:pt x="10781" y="11313"/>
                </a:cubicBezTo>
                <a:cubicBezTo>
                  <a:pt x="10844" y="11344"/>
                  <a:pt x="10875" y="11313"/>
                  <a:pt x="10875" y="11250"/>
                </a:cubicBezTo>
                <a:cubicBezTo>
                  <a:pt x="10969" y="11157"/>
                  <a:pt x="10938" y="11094"/>
                  <a:pt x="10813" y="11063"/>
                </a:cubicBezTo>
                <a:cubicBezTo>
                  <a:pt x="11000" y="11032"/>
                  <a:pt x="11156" y="11125"/>
                  <a:pt x="11281" y="11219"/>
                </a:cubicBezTo>
                <a:cubicBezTo>
                  <a:pt x="11313" y="11219"/>
                  <a:pt x="11344" y="11250"/>
                  <a:pt x="11375" y="11282"/>
                </a:cubicBezTo>
                <a:cubicBezTo>
                  <a:pt x="11375" y="11282"/>
                  <a:pt x="11375" y="11313"/>
                  <a:pt x="11375" y="11313"/>
                </a:cubicBezTo>
                <a:cubicBezTo>
                  <a:pt x="11344" y="11344"/>
                  <a:pt x="11344" y="11344"/>
                  <a:pt x="11313" y="11313"/>
                </a:cubicBezTo>
                <a:cubicBezTo>
                  <a:pt x="11250" y="11282"/>
                  <a:pt x="11188" y="11219"/>
                  <a:pt x="11125" y="11188"/>
                </a:cubicBezTo>
                <a:cubicBezTo>
                  <a:pt x="11031" y="11157"/>
                  <a:pt x="11000" y="11188"/>
                  <a:pt x="10938" y="11250"/>
                </a:cubicBezTo>
                <a:cubicBezTo>
                  <a:pt x="11031" y="11438"/>
                  <a:pt x="11188" y="11469"/>
                  <a:pt x="11344" y="11469"/>
                </a:cubicBezTo>
                <a:cubicBezTo>
                  <a:pt x="11406" y="11469"/>
                  <a:pt x="11438" y="11469"/>
                  <a:pt x="11469" y="11469"/>
                </a:cubicBezTo>
                <a:cubicBezTo>
                  <a:pt x="11531" y="11500"/>
                  <a:pt x="11625" y="11563"/>
                  <a:pt x="11563" y="11407"/>
                </a:cubicBezTo>
                <a:cubicBezTo>
                  <a:pt x="11531" y="11375"/>
                  <a:pt x="11594" y="11375"/>
                  <a:pt x="11594" y="11407"/>
                </a:cubicBezTo>
                <a:cubicBezTo>
                  <a:pt x="11688" y="11438"/>
                  <a:pt x="11813" y="11438"/>
                  <a:pt x="11906" y="11532"/>
                </a:cubicBezTo>
                <a:cubicBezTo>
                  <a:pt x="11938" y="11500"/>
                  <a:pt x="11969" y="11532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00" y="11563"/>
                  <a:pt x="12000" y="11563"/>
                  <a:pt x="12000" y="11563"/>
                </a:cubicBezTo>
                <a:cubicBezTo>
                  <a:pt x="12094" y="11657"/>
                  <a:pt x="12219" y="11719"/>
                  <a:pt x="12344" y="11750"/>
                </a:cubicBezTo>
                <a:cubicBezTo>
                  <a:pt x="12375" y="11750"/>
                  <a:pt x="12406" y="11782"/>
                  <a:pt x="12406" y="11813"/>
                </a:cubicBezTo>
                <a:cubicBezTo>
                  <a:pt x="12375" y="11844"/>
                  <a:pt x="12344" y="11844"/>
                  <a:pt x="12313" y="11813"/>
                </a:cubicBezTo>
                <a:cubicBezTo>
                  <a:pt x="12188" y="11782"/>
                  <a:pt x="12031" y="11782"/>
                  <a:pt x="12000" y="11625"/>
                </a:cubicBezTo>
                <a:cubicBezTo>
                  <a:pt x="11969" y="11625"/>
                  <a:pt x="11938" y="11657"/>
                  <a:pt x="11906" y="11657"/>
                </a:cubicBezTo>
                <a:cubicBezTo>
                  <a:pt x="11906" y="11657"/>
                  <a:pt x="11875" y="11657"/>
                  <a:pt x="11875" y="11657"/>
                </a:cubicBezTo>
                <a:cubicBezTo>
                  <a:pt x="11750" y="11782"/>
                  <a:pt x="11719" y="11594"/>
                  <a:pt x="11656" y="11594"/>
                </a:cubicBezTo>
                <a:cubicBezTo>
                  <a:pt x="11625" y="11594"/>
                  <a:pt x="11625" y="11532"/>
                  <a:pt x="11656" y="11532"/>
                </a:cubicBezTo>
                <a:lnTo>
                  <a:pt x="11656" y="11532"/>
                </a:lnTo>
                <a:cubicBezTo>
                  <a:pt x="11688" y="11532"/>
                  <a:pt x="11688" y="11532"/>
                  <a:pt x="11719" y="11532"/>
                </a:cubicBezTo>
                <a:cubicBezTo>
                  <a:pt x="11750" y="11594"/>
                  <a:pt x="11813" y="11657"/>
                  <a:pt x="11875" y="11657"/>
                </a:cubicBezTo>
                <a:cubicBezTo>
                  <a:pt x="11875" y="11657"/>
                  <a:pt x="11906" y="11625"/>
                  <a:pt x="11906" y="11625"/>
                </a:cubicBezTo>
                <a:cubicBezTo>
                  <a:pt x="11906" y="11625"/>
                  <a:pt x="11906" y="11657"/>
                  <a:pt x="11906" y="11657"/>
                </a:cubicBezTo>
                <a:cubicBezTo>
                  <a:pt x="11875" y="11782"/>
                  <a:pt x="11906" y="11844"/>
                  <a:pt x="12031" y="11813"/>
                </a:cubicBezTo>
                <a:cubicBezTo>
                  <a:pt x="12063" y="11782"/>
                  <a:pt x="12094" y="11813"/>
                  <a:pt x="12125" y="11844"/>
                </a:cubicBezTo>
                <a:cubicBezTo>
                  <a:pt x="12063" y="11875"/>
                  <a:pt x="12031" y="11844"/>
                  <a:pt x="12000" y="11844"/>
                </a:cubicBezTo>
                <a:cubicBezTo>
                  <a:pt x="11844" y="11875"/>
                  <a:pt x="11656" y="11875"/>
                  <a:pt x="11500" y="11782"/>
                </a:cubicBezTo>
                <a:cubicBezTo>
                  <a:pt x="11281" y="11688"/>
                  <a:pt x="11094" y="11594"/>
                  <a:pt x="10844" y="11594"/>
                </a:cubicBezTo>
                <a:cubicBezTo>
                  <a:pt x="10813" y="11594"/>
                  <a:pt x="10781" y="11563"/>
                  <a:pt x="10750" y="11563"/>
                </a:cubicBezTo>
                <a:cubicBezTo>
                  <a:pt x="10469" y="11532"/>
                  <a:pt x="10250" y="11282"/>
                  <a:pt x="9938" y="11344"/>
                </a:cubicBezTo>
                <a:cubicBezTo>
                  <a:pt x="9906" y="11375"/>
                  <a:pt x="9813" y="11407"/>
                  <a:pt x="9938" y="11438"/>
                </a:cubicBezTo>
                <a:cubicBezTo>
                  <a:pt x="10156" y="11407"/>
                  <a:pt x="10281" y="11594"/>
                  <a:pt x="10438" y="11688"/>
                </a:cubicBezTo>
                <a:cubicBezTo>
                  <a:pt x="10531" y="11688"/>
                  <a:pt x="10594" y="11750"/>
                  <a:pt x="10656" y="11782"/>
                </a:cubicBezTo>
                <a:cubicBezTo>
                  <a:pt x="10563" y="11782"/>
                  <a:pt x="10500" y="11844"/>
                  <a:pt x="10438" y="11750"/>
                </a:cubicBezTo>
                <a:cubicBezTo>
                  <a:pt x="10250" y="11813"/>
                  <a:pt x="10031" y="11688"/>
                  <a:pt x="9844" y="11844"/>
                </a:cubicBezTo>
                <a:cubicBezTo>
                  <a:pt x="9938" y="11844"/>
                  <a:pt x="10000" y="11844"/>
                  <a:pt x="10094" y="11875"/>
                </a:cubicBezTo>
                <a:cubicBezTo>
                  <a:pt x="10156" y="11907"/>
                  <a:pt x="10250" y="11844"/>
                  <a:pt x="10313" y="11844"/>
                </a:cubicBezTo>
                <a:cubicBezTo>
                  <a:pt x="10375" y="11844"/>
                  <a:pt x="10469" y="11844"/>
                  <a:pt x="10563" y="11844"/>
                </a:cubicBezTo>
                <a:cubicBezTo>
                  <a:pt x="10594" y="11844"/>
                  <a:pt x="10625" y="11875"/>
                  <a:pt x="10625" y="11938"/>
                </a:cubicBezTo>
                <a:cubicBezTo>
                  <a:pt x="10625" y="11938"/>
                  <a:pt x="10625" y="11938"/>
                  <a:pt x="10594" y="11938"/>
                </a:cubicBezTo>
                <a:cubicBezTo>
                  <a:pt x="10563" y="12000"/>
                  <a:pt x="10438" y="11875"/>
                  <a:pt x="10469" y="12000"/>
                </a:cubicBezTo>
                <a:lnTo>
                  <a:pt x="10469" y="12000"/>
                </a:lnTo>
                <a:cubicBezTo>
                  <a:pt x="10469" y="12063"/>
                  <a:pt x="10563" y="12000"/>
                  <a:pt x="10625" y="12032"/>
                </a:cubicBezTo>
                <a:cubicBezTo>
                  <a:pt x="10625" y="12063"/>
                  <a:pt x="10656" y="12032"/>
                  <a:pt x="10656" y="12032"/>
                </a:cubicBezTo>
                <a:cubicBezTo>
                  <a:pt x="10688" y="12000"/>
                  <a:pt x="10594" y="12000"/>
                  <a:pt x="10594" y="11938"/>
                </a:cubicBezTo>
                <a:cubicBezTo>
                  <a:pt x="10625" y="11938"/>
                  <a:pt x="10625" y="11938"/>
                  <a:pt x="10625" y="11938"/>
                </a:cubicBezTo>
                <a:cubicBezTo>
                  <a:pt x="10750" y="11969"/>
                  <a:pt x="10906" y="12032"/>
                  <a:pt x="11063" y="12094"/>
                </a:cubicBezTo>
                <a:cubicBezTo>
                  <a:pt x="11094" y="12094"/>
                  <a:pt x="11125" y="12094"/>
                  <a:pt x="11188" y="12125"/>
                </a:cubicBezTo>
                <a:cubicBezTo>
                  <a:pt x="11125" y="12188"/>
                  <a:pt x="11063" y="12157"/>
                  <a:pt x="11031" y="12125"/>
                </a:cubicBezTo>
                <a:cubicBezTo>
                  <a:pt x="11000" y="12125"/>
                  <a:pt x="10938" y="12094"/>
                  <a:pt x="10906" y="12125"/>
                </a:cubicBezTo>
                <a:cubicBezTo>
                  <a:pt x="10938" y="12188"/>
                  <a:pt x="10969" y="12188"/>
                  <a:pt x="11031" y="12188"/>
                </a:cubicBezTo>
                <a:cubicBezTo>
                  <a:pt x="11125" y="12250"/>
                  <a:pt x="11219" y="12219"/>
                  <a:pt x="11313" y="12250"/>
                </a:cubicBezTo>
                <a:cubicBezTo>
                  <a:pt x="11438" y="12313"/>
                  <a:pt x="11531" y="12344"/>
                  <a:pt x="11656" y="12282"/>
                </a:cubicBezTo>
                <a:cubicBezTo>
                  <a:pt x="11688" y="12282"/>
                  <a:pt x="11719" y="12282"/>
                  <a:pt x="11719" y="12313"/>
                </a:cubicBezTo>
                <a:cubicBezTo>
                  <a:pt x="11719" y="12344"/>
                  <a:pt x="11688" y="12344"/>
                  <a:pt x="11656" y="12344"/>
                </a:cubicBezTo>
                <a:cubicBezTo>
                  <a:pt x="11594" y="12344"/>
                  <a:pt x="11500" y="12375"/>
                  <a:pt x="11438" y="12438"/>
                </a:cubicBezTo>
                <a:cubicBezTo>
                  <a:pt x="11594" y="12438"/>
                  <a:pt x="11688" y="12532"/>
                  <a:pt x="11813" y="12469"/>
                </a:cubicBezTo>
                <a:cubicBezTo>
                  <a:pt x="11875" y="12407"/>
                  <a:pt x="11938" y="12407"/>
                  <a:pt x="11844" y="12375"/>
                </a:cubicBezTo>
                <a:cubicBezTo>
                  <a:pt x="11781" y="12313"/>
                  <a:pt x="11844" y="12313"/>
                  <a:pt x="11844" y="12282"/>
                </a:cubicBezTo>
                <a:cubicBezTo>
                  <a:pt x="11906" y="12282"/>
                  <a:pt x="11938" y="12282"/>
                  <a:pt x="12000" y="12282"/>
                </a:cubicBezTo>
                <a:cubicBezTo>
                  <a:pt x="12125" y="12344"/>
                  <a:pt x="12250" y="12375"/>
                  <a:pt x="12344" y="12282"/>
                </a:cubicBezTo>
                <a:cubicBezTo>
                  <a:pt x="12313" y="12250"/>
                  <a:pt x="12250" y="12219"/>
                  <a:pt x="12188" y="12219"/>
                </a:cubicBezTo>
                <a:cubicBezTo>
                  <a:pt x="12000" y="12219"/>
                  <a:pt x="11844" y="12125"/>
                  <a:pt x="11688" y="12094"/>
                </a:cubicBezTo>
                <a:cubicBezTo>
                  <a:pt x="11656" y="12094"/>
                  <a:pt x="11625" y="12063"/>
                  <a:pt x="11594" y="12063"/>
                </a:cubicBezTo>
                <a:cubicBezTo>
                  <a:pt x="11531" y="12032"/>
                  <a:pt x="11531" y="11969"/>
                  <a:pt x="11563" y="11938"/>
                </a:cubicBezTo>
                <a:cubicBezTo>
                  <a:pt x="11563" y="11875"/>
                  <a:pt x="11594" y="11907"/>
                  <a:pt x="11656" y="11938"/>
                </a:cubicBezTo>
                <a:cubicBezTo>
                  <a:pt x="11719" y="11938"/>
                  <a:pt x="11844" y="12094"/>
                  <a:pt x="11906" y="11907"/>
                </a:cubicBezTo>
                <a:cubicBezTo>
                  <a:pt x="11969" y="11938"/>
                  <a:pt x="12063" y="11907"/>
                  <a:pt x="12125" y="11969"/>
                </a:cubicBezTo>
                <a:cubicBezTo>
                  <a:pt x="12156" y="12000"/>
                  <a:pt x="12125" y="12032"/>
                  <a:pt x="12094" y="12032"/>
                </a:cubicBezTo>
                <a:cubicBezTo>
                  <a:pt x="12094" y="12032"/>
                  <a:pt x="12031" y="12000"/>
                  <a:pt x="12031" y="12063"/>
                </a:cubicBezTo>
                <a:cubicBezTo>
                  <a:pt x="12063" y="12094"/>
                  <a:pt x="12063" y="12125"/>
                  <a:pt x="12125" y="12125"/>
                </a:cubicBezTo>
                <a:cubicBezTo>
                  <a:pt x="12188" y="12125"/>
                  <a:pt x="12250" y="12125"/>
                  <a:pt x="12313" y="12125"/>
                </a:cubicBezTo>
                <a:cubicBezTo>
                  <a:pt x="12313" y="12063"/>
                  <a:pt x="12281" y="12063"/>
                  <a:pt x="12250" y="12063"/>
                </a:cubicBezTo>
                <a:cubicBezTo>
                  <a:pt x="12219" y="12032"/>
                  <a:pt x="12188" y="12032"/>
                  <a:pt x="12219" y="12000"/>
                </a:cubicBezTo>
                <a:cubicBezTo>
                  <a:pt x="12219" y="11969"/>
                  <a:pt x="12250" y="11938"/>
                  <a:pt x="12281" y="11938"/>
                </a:cubicBezTo>
                <a:cubicBezTo>
                  <a:pt x="12313" y="11938"/>
                  <a:pt x="12344" y="11907"/>
                  <a:pt x="12375" y="11969"/>
                </a:cubicBezTo>
                <a:cubicBezTo>
                  <a:pt x="12375" y="12032"/>
                  <a:pt x="12438" y="12094"/>
                  <a:pt x="12469" y="12094"/>
                </a:cubicBezTo>
                <a:cubicBezTo>
                  <a:pt x="12500" y="12094"/>
                  <a:pt x="12531" y="12094"/>
                  <a:pt x="12563" y="12094"/>
                </a:cubicBezTo>
                <a:cubicBezTo>
                  <a:pt x="12625" y="12032"/>
                  <a:pt x="12406" y="12063"/>
                  <a:pt x="12531" y="11969"/>
                </a:cubicBezTo>
                <a:cubicBezTo>
                  <a:pt x="12625" y="11907"/>
                  <a:pt x="12719" y="11907"/>
                  <a:pt x="12781" y="12000"/>
                </a:cubicBezTo>
                <a:cubicBezTo>
                  <a:pt x="12719" y="12063"/>
                  <a:pt x="12656" y="12000"/>
                  <a:pt x="12594" y="12032"/>
                </a:cubicBezTo>
                <a:cubicBezTo>
                  <a:pt x="12719" y="12063"/>
                  <a:pt x="12594" y="12125"/>
                  <a:pt x="12625" y="12188"/>
                </a:cubicBezTo>
                <a:cubicBezTo>
                  <a:pt x="12688" y="12250"/>
                  <a:pt x="12781" y="12219"/>
                  <a:pt x="12844" y="12188"/>
                </a:cubicBezTo>
                <a:cubicBezTo>
                  <a:pt x="12875" y="12188"/>
                  <a:pt x="12906" y="12157"/>
                  <a:pt x="12938" y="12219"/>
                </a:cubicBezTo>
                <a:cubicBezTo>
                  <a:pt x="12969" y="12250"/>
                  <a:pt x="12906" y="12250"/>
                  <a:pt x="12906" y="12313"/>
                </a:cubicBezTo>
                <a:cubicBezTo>
                  <a:pt x="12969" y="12313"/>
                  <a:pt x="13031" y="12313"/>
                  <a:pt x="13094" y="12313"/>
                </a:cubicBezTo>
                <a:cubicBezTo>
                  <a:pt x="13250" y="12344"/>
                  <a:pt x="13406" y="12375"/>
                  <a:pt x="13500" y="12563"/>
                </a:cubicBezTo>
                <a:cubicBezTo>
                  <a:pt x="13531" y="12625"/>
                  <a:pt x="13563" y="12625"/>
                  <a:pt x="13594" y="12625"/>
                </a:cubicBezTo>
                <a:cubicBezTo>
                  <a:pt x="13719" y="12625"/>
                  <a:pt x="13906" y="12625"/>
                  <a:pt x="13938" y="12688"/>
                </a:cubicBezTo>
                <a:cubicBezTo>
                  <a:pt x="14063" y="12813"/>
                  <a:pt x="14250" y="12750"/>
                  <a:pt x="14313" y="12938"/>
                </a:cubicBezTo>
                <a:cubicBezTo>
                  <a:pt x="14344" y="12938"/>
                  <a:pt x="14375" y="12969"/>
                  <a:pt x="14406" y="12938"/>
                </a:cubicBezTo>
                <a:cubicBezTo>
                  <a:pt x="14563" y="12875"/>
                  <a:pt x="14688" y="12969"/>
                  <a:pt x="14813" y="13063"/>
                </a:cubicBezTo>
                <a:cubicBezTo>
                  <a:pt x="14875" y="13094"/>
                  <a:pt x="14875" y="13157"/>
                  <a:pt x="14938" y="13157"/>
                </a:cubicBezTo>
                <a:cubicBezTo>
                  <a:pt x="15031" y="13157"/>
                  <a:pt x="15125" y="13157"/>
                  <a:pt x="15219" y="13157"/>
                </a:cubicBezTo>
                <a:cubicBezTo>
                  <a:pt x="15250" y="13157"/>
                  <a:pt x="15281" y="13125"/>
                  <a:pt x="15313" y="13125"/>
                </a:cubicBezTo>
                <a:cubicBezTo>
                  <a:pt x="15063" y="13125"/>
                  <a:pt x="14906" y="12969"/>
                  <a:pt x="14719" y="12938"/>
                </a:cubicBezTo>
                <a:cubicBezTo>
                  <a:pt x="14688" y="12938"/>
                  <a:pt x="14656" y="12938"/>
                  <a:pt x="14656" y="12938"/>
                </a:cubicBezTo>
                <a:cubicBezTo>
                  <a:pt x="14594" y="12782"/>
                  <a:pt x="14438" y="12844"/>
                  <a:pt x="14313" y="12782"/>
                </a:cubicBezTo>
                <a:cubicBezTo>
                  <a:pt x="14188" y="12719"/>
                  <a:pt x="14063" y="12657"/>
                  <a:pt x="13938" y="12594"/>
                </a:cubicBezTo>
                <a:cubicBezTo>
                  <a:pt x="13844" y="12532"/>
                  <a:pt x="13719" y="12469"/>
                  <a:pt x="13594" y="12469"/>
                </a:cubicBezTo>
                <a:cubicBezTo>
                  <a:pt x="13438" y="12438"/>
                  <a:pt x="13344" y="12313"/>
                  <a:pt x="13188" y="12282"/>
                </a:cubicBezTo>
                <a:cubicBezTo>
                  <a:pt x="13063" y="12250"/>
                  <a:pt x="13000" y="12188"/>
                  <a:pt x="12969" y="12063"/>
                </a:cubicBezTo>
                <a:cubicBezTo>
                  <a:pt x="13125" y="12125"/>
                  <a:pt x="13313" y="12094"/>
                  <a:pt x="13406" y="12282"/>
                </a:cubicBezTo>
                <a:cubicBezTo>
                  <a:pt x="13406" y="12282"/>
                  <a:pt x="13438" y="12282"/>
                  <a:pt x="13438" y="12282"/>
                </a:cubicBezTo>
                <a:cubicBezTo>
                  <a:pt x="13781" y="12344"/>
                  <a:pt x="14094" y="12563"/>
                  <a:pt x="14438" y="12657"/>
                </a:cubicBezTo>
                <a:cubicBezTo>
                  <a:pt x="14438" y="12657"/>
                  <a:pt x="14438" y="12657"/>
                  <a:pt x="14438" y="12657"/>
                </a:cubicBezTo>
                <a:cubicBezTo>
                  <a:pt x="14438" y="12719"/>
                  <a:pt x="14438" y="12750"/>
                  <a:pt x="14500" y="12782"/>
                </a:cubicBezTo>
                <a:cubicBezTo>
                  <a:pt x="14875" y="12813"/>
                  <a:pt x="15219" y="13000"/>
                  <a:pt x="15563" y="13125"/>
                </a:cubicBezTo>
                <a:cubicBezTo>
                  <a:pt x="15469" y="13219"/>
                  <a:pt x="15313" y="13063"/>
                  <a:pt x="15250" y="13250"/>
                </a:cubicBezTo>
                <a:cubicBezTo>
                  <a:pt x="15281" y="13250"/>
                  <a:pt x="15281" y="13250"/>
                  <a:pt x="15281" y="13250"/>
                </a:cubicBezTo>
                <a:cubicBezTo>
                  <a:pt x="15344" y="13250"/>
                  <a:pt x="15406" y="13250"/>
                  <a:pt x="15438" y="13282"/>
                </a:cubicBezTo>
                <a:cubicBezTo>
                  <a:pt x="15813" y="13313"/>
                  <a:pt x="16156" y="13250"/>
                  <a:pt x="16531" y="13375"/>
                </a:cubicBezTo>
                <a:cubicBezTo>
                  <a:pt x="16531" y="13375"/>
                  <a:pt x="16531" y="13375"/>
                  <a:pt x="16563" y="13375"/>
                </a:cubicBezTo>
                <a:cubicBezTo>
                  <a:pt x="16563" y="13313"/>
                  <a:pt x="16625" y="13344"/>
                  <a:pt x="16656" y="13313"/>
                </a:cubicBezTo>
                <a:cubicBezTo>
                  <a:pt x="16656" y="13313"/>
                  <a:pt x="16656" y="13313"/>
                  <a:pt x="16656" y="13313"/>
                </a:cubicBezTo>
                <a:cubicBezTo>
                  <a:pt x="16625" y="13282"/>
                  <a:pt x="16531" y="13282"/>
                  <a:pt x="16563" y="13219"/>
                </a:cubicBezTo>
                <a:cubicBezTo>
                  <a:pt x="16594" y="13125"/>
                  <a:pt x="16563" y="13063"/>
                  <a:pt x="16469" y="13032"/>
                </a:cubicBezTo>
                <a:cubicBezTo>
                  <a:pt x="16406" y="13032"/>
                  <a:pt x="16313" y="12969"/>
                  <a:pt x="16281" y="13125"/>
                </a:cubicBezTo>
                <a:cubicBezTo>
                  <a:pt x="16281" y="13157"/>
                  <a:pt x="16188" y="13157"/>
                  <a:pt x="16125" y="13125"/>
                </a:cubicBezTo>
                <a:cubicBezTo>
                  <a:pt x="16094" y="13125"/>
                  <a:pt x="16094" y="13125"/>
                  <a:pt x="16094" y="13094"/>
                </a:cubicBezTo>
                <a:cubicBezTo>
                  <a:pt x="16125" y="13063"/>
                  <a:pt x="16125" y="13000"/>
                  <a:pt x="16219" y="12969"/>
                </a:cubicBezTo>
                <a:cubicBezTo>
                  <a:pt x="16344" y="12969"/>
                  <a:pt x="16438" y="12938"/>
                  <a:pt x="16563" y="13000"/>
                </a:cubicBezTo>
                <a:cubicBezTo>
                  <a:pt x="16656" y="13032"/>
                  <a:pt x="16719" y="13063"/>
                  <a:pt x="16844" y="13125"/>
                </a:cubicBezTo>
                <a:cubicBezTo>
                  <a:pt x="16750" y="13125"/>
                  <a:pt x="16656" y="13094"/>
                  <a:pt x="16625" y="13219"/>
                </a:cubicBezTo>
                <a:cubicBezTo>
                  <a:pt x="16750" y="13313"/>
                  <a:pt x="16875" y="13282"/>
                  <a:pt x="17031" y="13250"/>
                </a:cubicBezTo>
                <a:cubicBezTo>
                  <a:pt x="17063" y="13250"/>
                  <a:pt x="17094" y="13219"/>
                  <a:pt x="17094" y="13188"/>
                </a:cubicBezTo>
                <a:cubicBezTo>
                  <a:pt x="17094" y="13094"/>
                  <a:pt x="17156" y="13125"/>
                  <a:pt x="17219" y="13125"/>
                </a:cubicBezTo>
                <a:cubicBezTo>
                  <a:pt x="17281" y="13125"/>
                  <a:pt x="17313" y="13157"/>
                  <a:pt x="17344" y="13219"/>
                </a:cubicBezTo>
                <a:cubicBezTo>
                  <a:pt x="17375" y="13250"/>
                  <a:pt x="17281" y="13250"/>
                  <a:pt x="17313" y="13313"/>
                </a:cubicBezTo>
                <a:cubicBezTo>
                  <a:pt x="17438" y="13313"/>
                  <a:pt x="17563" y="13375"/>
                  <a:pt x="17688" y="13282"/>
                </a:cubicBezTo>
                <a:cubicBezTo>
                  <a:pt x="17688" y="13250"/>
                  <a:pt x="17719" y="13250"/>
                  <a:pt x="17750" y="13250"/>
                </a:cubicBezTo>
                <a:cubicBezTo>
                  <a:pt x="17906" y="13375"/>
                  <a:pt x="18125" y="13344"/>
                  <a:pt x="18281" y="13469"/>
                </a:cubicBezTo>
                <a:cubicBezTo>
                  <a:pt x="18188" y="13469"/>
                  <a:pt x="18125" y="13469"/>
                  <a:pt x="18031" y="13438"/>
                </a:cubicBezTo>
                <a:cubicBezTo>
                  <a:pt x="17750" y="13407"/>
                  <a:pt x="17469" y="13344"/>
                  <a:pt x="17188" y="13500"/>
                </a:cubicBezTo>
                <a:cubicBezTo>
                  <a:pt x="17156" y="13532"/>
                  <a:pt x="17125" y="13500"/>
                  <a:pt x="17094" y="13469"/>
                </a:cubicBezTo>
                <a:cubicBezTo>
                  <a:pt x="17031" y="13407"/>
                  <a:pt x="16844" y="13500"/>
                  <a:pt x="16813" y="13344"/>
                </a:cubicBezTo>
                <a:cubicBezTo>
                  <a:pt x="16813" y="13313"/>
                  <a:pt x="16750" y="13375"/>
                  <a:pt x="16750" y="13375"/>
                </a:cubicBezTo>
                <a:cubicBezTo>
                  <a:pt x="16688" y="13469"/>
                  <a:pt x="16844" y="13469"/>
                  <a:pt x="16813" y="13563"/>
                </a:cubicBezTo>
                <a:cubicBezTo>
                  <a:pt x="16625" y="13532"/>
                  <a:pt x="16438" y="13407"/>
                  <a:pt x="16188" y="13469"/>
                </a:cubicBezTo>
                <a:cubicBezTo>
                  <a:pt x="16313" y="13500"/>
                  <a:pt x="16375" y="13563"/>
                  <a:pt x="16469" y="13563"/>
                </a:cubicBezTo>
                <a:cubicBezTo>
                  <a:pt x="16594" y="13532"/>
                  <a:pt x="16719" y="13594"/>
                  <a:pt x="16844" y="13688"/>
                </a:cubicBezTo>
                <a:cubicBezTo>
                  <a:pt x="16938" y="13750"/>
                  <a:pt x="17031" y="13719"/>
                  <a:pt x="17125" y="13719"/>
                </a:cubicBezTo>
                <a:cubicBezTo>
                  <a:pt x="17125" y="13719"/>
                  <a:pt x="17156" y="13719"/>
                  <a:pt x="17156" y="13688"/>
                </a:cubicBezTo>
                <a:cubicBezTo>
                  <a:pt x="17094" y="13532"/>
                  <a:pt x="17219" y="13625"/>
                  <a:pt x="17250" y="13625"/>
                </a:cubicBezTo>
                <a:cubicBezTo>
                  <a:pt x="17313" y="13625"/>
                  <a:pt x="17375" y="13657"/>
                  <a:pt x="17438" y="13657"/>
                </a:cubicBezTo>
                <a:cubicBezTo>
                  <a:pt x="17531" y="13657"/>
                  <a:pt x="17500" y="13500"/>
                  <a:pt x="17563" y="13532"/>
                </a:cubicBezTo>
                <a:cubicBezTo>
                  <a:pt x="17625" y="13532"/>
                  <a:pt x="17656" y="13625"/>
                  <a:pt x="17750" y="13594"/>
                </a:cubicBezTo>
                <a:cubicBezTo>
                  <a:pt x="17844" y="13532"/>
                  <a:pt x="17969" y="13563"/>
                  <a:pt x="18094" y="13563"/>
                </a:cubicBezTo>
                <a:cubicBezTo>
                  <a:pt x="18188" y="13532"/>
                  <a:pt x="18281" y="13625"/>
                  <a:pt x="18375" y="13594"/>
                </a:cubicBezTo>
                <a:cubicBezTo>
                  <a:pt x="18406" y="13563"/>
                  <a:pt x="18469" y="13532"/>
                  <a:pt x="18469" y="13594"/>
                </a:cubicBezTo>
                <a:cubicBezTo>
                  <a:pt x="18500" y="13657"/>
                  <a:pt x="18438" y="13657"/>
                  <a:pt x="18406" y="13657"/>
                </a:cubicBezTo>
                <a:cubicBezTo>
                  <a:pt x="18375" y="13688"/>
                  <a:pt x="18313" y="13688"/>
                  <a:pt x="18281" y="13688"/>
                </a:cubicBezTo>
                <a:cubicBezTo>
                  <a:pt x="18125" y="13688"/>
                  <a:pt x="18000" y="13657"/>
                  <a:pt x="17844" y="13657"/>
                </a:cubicBezTo>
                <a:cubicBezTo>
                  <a:pt x="17781" y="13657"/>
                  <a:pt x="17719" y="13657"/>
                  <a:pt x="17688" y="13688"/>
                </a:cubicBezTo>
                <a:cubicBezTo>
                  <a:pt x="17656" y="13813"/>
                  <a:pt x="17563" y="13750"/>
                  <a:pt x="17531" y="13750"/>
                </a:cubicBezTo>
                <a:cubicBezTo>
                  <a:pt x="17469" y="13719"/>
                  <a:pt x="17406" y="13719"/>
                  <a:pt x="17344" y="13719"/>
                </a:cubicBezTo>
                <a:cubicBezTo>
                  <a:pt x="17375" y="13782"/>
                  <a:pt x="17531" y="13813"/>
                  <a:pt x="17344" y="13875"/>
                </a:cubicBezTo>
                <a:cubicBezTo>
                  <a:pt x="17531" y="13875"/>
                  <a:pt x="17688" y="13875"/>
                  <a:pt x="17844" y="13875"/>
                </a:cubicBezTo>
                <a:cubicBezTo>
                  <a:pt x="17844" y="13875"/>
                  <a:pt x="17969" y="13844"/>
                  <a:pt x="17875" y="13969"/>
                </a:cubicBezTo>
                <a:cubicBezTo>
                  <a:pt x="17969" y="14000"/>
                  <a:pt x="17969" y="14094"/>
                  <a:pt x="18094" y="14125"/>
                </a:cubicBezTo>
                <a:cubicBezTo>
                  <a:pt x="18281" y="14157"/>
                  <a:pt x="18344" y="14063"/>
                  <a:pt x="18438" y="14000"/>
                </a:cubicBezTo>
                <a:cubicBezTo>
                  <a:pt x="18406" y="13938"/>
                  <a:pt x="18313" y="13938"/>
                  <a:pt x="18250" y="13907"/>
                </a:cubicBezTo>
                <a:cubicBezTo>
                  <a:pt x="18156" y="13875"/>
                  <a:pt x="18031" y="13907"/>
                  <a:pt x="17938" y="13844"/>
                </a:cubicBezTo>
                <a:cubicBezTo>
                  <a:pt x="17906" y="13844"/>
                  <a:pt x="17875" y="13813"/>
                  <a:pt x="17906" y="13782"/>
                </a:cubicBezTo>
                <a:cubicBezTo>
                  <a:pt x="17906" y="13782"/>
                  <a:pt x="17938" y="13750"/>
                  <a:pt x="17969" y="13782"/>
                </a:cubicBezTo>
                <a:cubicBezTo>
                  <a:pt x="18000" y="13813"/>
                  <a:pt x="18063" y="13813"/>
                  <a:pt x="18094" y="13782"/>
                </a:cubicBezTo>
                <a:cubicBezTo>
                  <a:pt x="18281" y="13688"/>
                  <a:pt x="18469" y="13782"/>
                  <a:pt x="18656" y="13688"/>
                </a:cubicBezTo>
                <a:cubicBezTo>
                  <a:pt x="18719" y="13657"/>
                  <a:pt x="18844" y="13563"/>
                  <a:pt x="18875" y="13719"/>
                </a:cubicBezTo>
                <a:cubicBezTo>
                  <a:pt x="18875" y="13719"/>
                  <a:pt x="18938" y="13719"/>
                  <a:pt x="18938" y="13719"/>
                </a:cubicBezTo>
                <a:cubicBezTo>
                  <a:pt x="19094" y="13594"/>
                  <a:pt x="19281" y="13625"/>
                  <a:pt x="19438" y="13657"/>
                </a:cubicBezTo>
                <a:cubicBezTo>
                  <a:pt x="19500" y="13688"/>
                  <a:pt x="19594" y="13688"/>
                  <a:pt x="19625" y="13657"/>
                </a:cubicBezTo>
                <a:cubicBezTo>
                  <a:pt x="19781" y="13594"/>
                  <a:pt x="19906" y="13625"/>
                  <a:pt x="20063" y="13625"/>
                </a:cubicBezTo>
                <a:cubicBezTo>
                  <a:pt x="20469" y="13625"/>
                  <a:pt x="20844" y="13625"/>
                  <a:pt x="21250" y="13625"/>
                </a:cubicBezTo>
                <a:cubicBezTo>
                  <a:pt x="21344" y="13657"/>
                  <a:pt x="21406" y="13657"/>
                  <a:pt x="21500" y="13719"/>
                </a:cubicBezTo>
                <a:cubicBezTo>
                  <a:pt x="21406" y="13813"/>
                  <a:pt x="21188" y="13875"/>
                  <a:pt x="21094" y="13844"/>
                </a:cubicBezTo>
                <a:cubicBezTo>
                  <a:pt x="21063" y="13844"/>
                  <a:pt x="21063" y="13813"/>
                  <a:pt x="21063" y="13782"/>
                </a:cubicBezTo>
                <a:cubicBezTo>
                  <a:pt x="21063" y="13750"/>
                  <a:pt x="21063" y="13719"/>
                  <a:pt x="21125" y="13719"/>
                </a:cubicBezTo>
                <a:cubicBezTo>
                  <a:pt x="21156" y="13719"/>
                  <a:pt x="21188" y="13750"/>
                  <a:pt x="21250" y="13719"/>
                </a:cubicBezTo>
                <a:lnTo>
                  <a:pt x="21250" y="13719"/>
                </a:lnTo>
                <a:cubicBezTo>
                  <a:pt x="21313" y="13750"/>
                  <a:pt x="21406" y="13750"/>
                  <a:pt x="21500" y="13719"/>
                </a:cubicBezTo>
                <a:cubicBezTo>
                  <a:pt x="21563" y="13688"/>
                  <a:pt x="21594" y="13782"/>
                  <a:pt x="21656" y="13750"/>
                </a:cubicBezTo>
                <a:cubicBezTo>
                  <a:pt x="21813" y="13657"/>
                  <a:pt x="21969" y="13750"/>
                  <a:pt x="22156" y="13719"/>
                </a:cubicBezTo>
                <a:cubicBezTo>
                  <a:pt x="22188" y="13719"/>
                  <a:pt x="22250" y="13719"/>
                  <a:pt x="22250" y="13782"/>
                </a:cubicBezTo>
                <a:cubicBezTo>
                  <a:pt x="22250" y="13844"/>
                  <a:pt x="22125" y="13907"/>
                  <a:pt x="22125" y="13875"/>
                </a:cubicBezTo>
                <a:cubicBezTo>
                  <a:pt x="22031" y="13782"/>
                  <a:pt x="22000" y="13907"/>
                  <a:pt x="22000" y="13907"/>
                </a:cubicBezTo>
                <a:cubicBezTo>
                  <a:pt x="22000" y="13969"/>
                  <a:pt x="21938" y="13969"/>
                  <a:pt x="21906" y="13969"/>
                </a:cubicBezTo>
                <a:cubicBezTo>
                  <a:pt x="21750" y="13907"/>
                  <a:pt x="21594" y="13969"/>
                  <a:pt x="21469" y="14032"/>
                </a:cubicBezTo>
                <a:cubicBezTo>
                  <a:pt x="21344" y="14094"/>
                  <a:pt x="21219" y="14063"/>
                  <a:pt x="21094" y="14032"/>
                </a:cubicBezTo>
                <a:cubicBezTo>
                  <a:pt x="21031" y="14032"/>
                  <a:pt x="21063" y="14000"/>
                  <a:pt x="21063" y="13969"/>
                </a:cubicBezTo>
                <a:cubicBezTo>
                  <a:pt x="21094" y="13907"/>
                  <a:pt x="21000" y="13875"/>
                  <a:pt x="21000" y="13813"/>
                </a:cubicBezTo>
                <a:cubicBezTo>
                  <a:pt x="20938" y="13813"/>
                  <a:pt x="20906" y="13844"/>
                  <a:pt x="20875" y="13875"/>
                </a:cubicBezTo>
                <a:cubicBezTo>
                  <a:pt x="20813" y="13875"/>
                  <a:pt x="20719" y="13813"/>
                  <a:pt x="20656" y="13907"/>
                </a:cubicBezTo>
                <a:cubicBezTo>
                  <a:pt x="20594" y="13969"/>
                  <a:pt x="20531" y="14063"/>
                  <a:pt x="20438" y="13907"/>
                </a:cubicBezTo>
                <a:cubicBezTo>
                  <a:pt x="20438" y="13875"/>
                  <a:pt x="20375" y="13844"/>
                  <a:pt x="20313" y="13875"/>
                </a:cubicBezTo>
                <a:cubicBezTo>
                  <a:pt x="20281" y="13875"/>
                  <a:pt x="20281" y="13907"/>
                  <a:pt x="20281" y="13907"/>
                </a:cubicBezTo>
                <a:cubicBezTo>
                  <a:pt x="20281" y="13969"/>
                  <a:pt x="20344" y="13938"/>
                  <a:pt x="20375" y="13969"/>
                </a:cubicBezTo>
                <a:cubicBezTo>
                  <a:pt x="20375" y="14000"/>
                  <a:pt x="20313" y="14032"/>
                  <a:pt x="20281" y="14063"/>
                </a:cubicBezTo>
                <a:cubicBezTo>
                  <a:pt x="20156" y="14125"/>
                  <a:pt x="20031" y="14157"/>
                  <a:pt x="19875" y="14094"/>
                </a:cubicBezTo>
                <a:cubicBezTo>
                  <a:pt x="19656" y="14032"/>
                  <a:pt x="19438" y="14157"/>
                  <a:pt x="19219" y="14157"/>
                </a:cubicBezTo>
                <a:cubicBezTo>
                  <a:pt x="19188" y="14157"/>
                  <a:pt x="19125" y="14157"/>
                  <a:pt x="19125" y="14250"/>
                </a:cubicBezTo>
                <a:cubicBezTo>
                  <a:pt x="19094" y="14250"/>
                  <a:pt x="19063" y="14250"/>
                  <a:pt x="19063" y="14250"/>
                </a:cubicBezTo>
                <a:cubicBezTo>
                  <a:pt x="19031" y="14250"/>
                  <a:pt x="19031" y="14282"/>
                  <a:pt x="19031" y="14282"/>
                </a:cubicBezTo>
                <a:cubicBezTo>
                  <a:pt x="18875" y="14313"/>
                  <a:pt x="18813" y="14188"/>
                  <a:pt x="18688" y="14157"/>
                </a:cubicBezTo>
                <a:cubicBezTo>
                  <a:pt x="18750" y="14157"/>
                  <a:pt x="18813" y="14157"/>
                  <a:pt x="18844" y="14125"/>
                </a:cubicBezTo>
                <a:cubicBezTo>
                  <a:pt x="18875" y="14125"/>
                  <a:pt x="18969" y="14094"/>
                  <a:pt x="18906" y="14032"/>
                </a:cubicBezTo>
                <a:cubicBezTo>
                  <a:pt x="18906" y="14000"/>
                  <a:pt x="18906" y="13969"/>
                  <a:pt x="18938" y="13969"/>
                </a:cubicBezTo>
                <a:cubicBezTo>
                  <a:pt x="18969" y="13969"/>
                  <a:pt x="18969" y="14000"/>
                  <a:pt x="19000" y="14032"/>
                </a:cubicBezTo>
                <a:cubicBezTo>
                  <a:pt x="19000" y="14063"/>
                  <a:pt x="18938" y="14125"/>
                  <a:pt x="18969" y="14188"/>
                </a:cubicBezTo>
                <a:lnTo>
                  <a:pt x="18969" y="14188"/>
                </a:lnTo>
                <a:cubicBezTo>
                  <a:pt x="18969" y="14188"/>
                  <a:pt x="18906" y="14250"/>
                  <a:pt x="18969" y="14250"/>
                </a:cubicBezTo>
                <a:cubicBezTo>
                  <a:pt x="18969" y="14250"/>
                  <a:pt x="19000" y="14282"/>
                  <a:pt x="19031" y="14282"/>
                </a:cubicBezTo>
                <a:cubicBezTo>
                  <a:pt x="19063" y="14282"/>
                  <a:pt x="19094" y="14313"/>
                  <a:pt x="19125" y="14250"/>
                </a:cubicBezTo>
                <a:cubicBezTo>
                  <a:pt x="19250" y="14219"/>
                  <a:pt x="19438" y="14282"/>
                  <a:pt x="19563" y="14157"/>
                </a:cubicBezTo>
                <a:cubicBezTo>
                  <a:pt x="19563" y="14157"/>
                  <a:pt x="19563" y="14157"/>
                  <a:pt x="19563" y="14188"/>
                </a:cubicBezTo>
                <a:cubicBezTo>
                  <a:pt x="19563" y="14250"/>
                  <a:pt x="19656" y="14188"/>
                  <a:pt x="19688" y="14250"/>
                </a:cubicBezTo>
                <a:cubicBezTo>
                  <a:pt x="19656" y="14250"/>
                  <a:pt x="19656" y="14282"/>
                  <a:pt x="19656" y="14282"/>
                </a:cubicBezTo>
                <a:cubicBezTo>
                  <a:pt x="19656" y="14344"/>
                  <a:pt x="19500" y="14282"/>
                  <a:pt x="19563" y="14344"/>
                </a:cubicBezTo>
                <a:cubicBezTo>
                  <a:pt x="19594" y="14407"/>
                  <a:pt x="19656" y="14344"/>
                  <a:pt x="19688" y="14313"/>
                </a:cubicBezTo>
                <a:cubicBezTo>
                  <a:pt x="19719" y="14313"/>
                  <a:pt x="19719" y="14313"/>
                  <a:pt x="19719" y="14313"/>
                </a:cubicBezTo>
                <a:cubicBezTo>
                  <a:pt x="19781" y="14250"/>
                  <a:pt x="19719" y="14219"/>
                  <a:pt x="19719" y="14157"/>
                </a:cubicBezTo>
                <a:cubicBezTo>
                  <a:pt x="19813" y="14219"/>
                  <a:pt x="19938" y="14063"/>
                  <a:pt x="20063" y="14157"/>
                </a:cubicBezTo>
                <a:cubicBezTo>
                  <a:pt x="19969" y="14188"/>
                  <a:pt x="19938" y="14219"/>
                  <a:pt x="19875" y="14219"/>
                </a:cubicBezTo>
                <a:cubicBezTo>
                  <a:pt x="19813" y="14250"/>
                  <a:pt x="19781" y="14250"/>
                  <a:pt x="19781" y="14313"/>
                </a:cubicBezTo>
                <a:cubicBezTo>
                  <a:pt x="19969" y="14250"/>
                  <a:pt x="20125" y="14250"/>
                  <a:pt x="20313" y="14188"/>
                </a:cubicBezTo>
                <a:cubicBezTo>
                  <a:pt x="20375" y="14094"/>
                  <a:pt x="20500" y="14157"/>
                  <a:pt x="20625" y="14125"/>
                </a:cubicBezTo>
                <a:cubicBezTo>
                  <a:pt x="20531" y="14250"/>
                  <a:pt x="20469" y="14157"/>
                  <a:pt x="20406" y="14188"/>
                </a:cubicBezTo>
                <a:cubicBezTo>
                  <a:pt x="20375" y="14219"/>
                  <a:pt x="20313" y="14250"/>
                  <a:pt x="20344" y="14282"/>
                </a:cubicBezTo>
                <a:cubicBezTo>
                  <a:pt x="20375" y="14344"/>
                  <a:pt x="20406" y="14313"/>
                  <a:pt x="20438" y="14282"/>
                </a:cubicBezTo>
                <a:cubicBezTo>
                  <a:pt x="20500" y="14282"/>
                  <a:pt x="20563" y="14250"/>
                  <a:pt x="20625" y="14250"/>
                </a:cubicBezTo>
                <a:cubicBezTo>
                  <a:pt x="20813" y="14219"/>
                  <a:pt x="20969" y="14157"/>
                  <a:pt x="21156" y="14219"/>
                </a:cubicBezTo>
                <a:cubicBezTo>
                  <a:pt x="21094" y="14219"/>
                  <a:pt x="21063" y="14282"/>
                  <a:pt x="21031" y="14313"/>
                </a:cubicBezTo>
                <a:cubicBezTo>
                  <a:pt x="21000" y="14344"/>
                  <a:pt x="21031" y="14407"/>
                  <a:pt x="21063" y="14375"/>
                </a:cubicBezTo>
                <a:cubicBezTo>
                  <a:pt x="21156" y="14313"/>
                  <a:pt x="21313" y="14313"/>
                  <a:pt x="21375" y="14219"/>
                </a:cubicBezTo>
                <a:cubicBezTo>
                  <a:pt x="21438" y="14157"/>
                  <a:pt x="21469" y="14125"/>
                  <a:pt x="21563" y="14157"/>
                </a:cubicBezTo>
                <a:cubicBezTo>
                  <a:pt x="21531" y="14188"/>
                  <a:pt x="21438" y="14188"/>
                  <a:pt x="21500" y="14250"/>
                </a:cubicBezTo>
                <a:cubicBezTo>
                  <a:pt x="21500" y="14282"/>
                  <a:pt x="21594" y="14282"/>
                  <a:pt x="21594" y="14250"/>
                </a:cubicBezTo>
                <a:cubicBezTo>
                  <a:pt x="21656" y="14125"/>
                  <a:pt x="21750" y="14188"/>
                  <a:pt x="21844" y="14157"/>
                </a:cubicBezTo>
                <a:cubicBezTo>
                  <a:pt x="21844" y="14094"/>
                  <a:pt x="21875" y="14125"/>
                  <a:pt x="21906" y="14125"/>
                </a:cubicBezTo>
                <a:cubicBezTo>
                  <a:pt x="21906" y="14125"/>
                  <a:pt x="21906" y="14125"/>
                  <a:pt x="21906" y="14125"/>
                </a:cubicBezTo>
                <a:cubicBezTo>
                  <a:pt x="21875" y="14157"/>
                  <a:pt x="21875" y="14157"/>
                  <a:pt x="21844" y="14157"/>
                </a:cubicBezTo>
                <a:cubicBezTo>
                  <a:pt x="21813" y="14250"/>
                  <a:pt x="21906" y="14219"/>
                  <a:pt x="21938" y="14219"/>
                </a:cubicBezTo>
                <a:cubicBezTo>
                  <a:pt x="22344" y="14188"/>
                  <a:pt x="22719" y="14157"/>
                  <a:pt x="23125" y="14063"/>
                </a:cubicBezTo>
                <a:cubicBezTo>
                  <a:pt x="23719" y="13938"/>
                  <a:pt x="24313" y="13938"/>
                  <a:pt x="24906" y="13813"/>
                </a:cubicBezTo>
                <a:cubicBezTo>
                  <a:pt x="25094" y="13750"/>
                  <a:pt x="25250" y="13719"/>
                  <a:pt x="25438" y="13688"/>
                </a:cubicBezTo>
                <a:cubicBezTo>
                  <a:pt x="25719" y="13625"/>
                  <a:pt x="26031" y="13532"/>
                  <a:pt x="26313" y="13469"/>
                </a:cubicBezTo>
                <a:cubicBezTo>
                  <a:pt x="26469" y="13438"/>
                  <a:pt x="26656" y="13438"/>
                  <a:pt x="26875" y="13438"/>
                </a:cubicBezTo>
                <a:cubicBezTo>
                  <a:pt x="26781" y="13500"/>
                  <a:pt x="26719" y="13532"/>
                  <a:pt x="26656" y="13563"/>
                </a:cubicBezTo>
                <a:cubicBezTo>
                  <a:pt x="26500" y="13625"/>
                  <a:pt x="26313" y="13657"/>
                  <a:pt x="26188" y="13813"/>
                </a:cubicBezTo>
                <a:cubicBezTo>
                  <a:pt x="26063" y="13938"/>
                  <a:pt x="26063" y="13938"/>
                  <a:pt x="25906" y="13907"/>
                </a:cubicBezTo>
                <a:cubicBezTo>
                  <a:pt x="25938" y="13813"/>
                  <a:pt x="26063" y="13844"/>
                  <a:pt x="26063" y="13719"/>
                </a:cubicBezTo>
                <a:cubicBezTo>
                  <a:pt x="25844" y="13688"/>
                  <a:pt x="25781" y="13750"/>
                  <a:pt x="25781" y="13969"/>
                </a:cubicBezTo>
                <a:cubicBezTo>
                  <a:pt x="25781" y="13969"/>
                  <a:pt x="25781" y="14000"/>
                  <a:pt x="25781" y="14032"/>
                </a:cubicBezTo>
                <a:cubicBezTo>
                  <a:pt x="25719" y="14063"/>
                  <a:pt x="25500" y="14032"/>
                  <a:pt x="25469" y="13969"/>
                </a:cubicBezTo>
                <a:cubicBezTo>
                  <a:pt x="25406" y="13875"/>
                  <a:pt x="25344" y="13875"/>
                  <a:pt x="25250" y="13938"/>
                </a:cubicBezTo>
                <a:cubicBezTo>
                  <a:pt x="25156" y="13969"/>
                  <a:pt x="25094" y="14063"/>
                  <a:pt x="25000" y="14032"/>
                </a:cubicBezTo>
                <a:cubicBezTo>
                  <a:pt x="24938" y="14032"/>
                  <a:pt x="24906" y="14032"/>
                  <a:pt x="24875" y="14063"/>
                </a:cubicBezTo>
                <a:cubicBezTo>
                  <a:pt x="24750" y="14188"/>
                  <a:pt x="24563" y="14219"/>
                  <a:pt x="24375" y="14282"/>
                </a:cubicBezTo>
                <a:cubicBezTo>
                  <a:pt x="24156" y="14313"/>
                  <a:pt x="23938" y="14282"/>
                  <a:pt x="23719" y="14344"/>
                </a:cubicBezTo>
                <a:cubicBezTo>
                  <a:pt x="23656" y="14375"/>
                  <a:pt x="23563" y="14375"/>
                  <a:pt x="23563" y="14469"/>
                </a:cubicBezTo>
                <a:cubicBezTo>
                  <a:pt x="23781" y="14500"/>
                  <a:pt x="24000" y="14407"/>
                  <a:pt x="24188" y="14375"/>
                </a:cubicBezTo>
                <a:cubicBezTo>
                  <a:pt x="24500" y="14344"/>
                  <a:pt x="24781" y="14313"/>
                  <a:pt x="25063" y="14250"/>
                </a:cubicBezTo>
                <a:cubicBezTo>
                  <a:pt x="25094" y="14219"/>
                  <a:pt x="25188" y="14188"/>
                  <a:pt x="25188" y="14250"/>
                </a:cubicBezTo>
                <a:cubicBezTo>
                  <a:pt x="25219" y="14375"/>
                  <a:pt x="25281" y="14282"/>
                  <a:pt x="25313" y="14313"/>
                </a:cubicBezTo>
                <a:cubicBezTo>
                  <a:pt x="25313" y="14157"/>
                  <a:pt x="25438" y="14250"/>
                  <a:pt x="25500" y="14219"/>
                </a:cubicBezTo>
                <a:cubicBezTo>
                  <a:pt x="25531" y="14219"/>
                  <a:pt x="25594" y="14250"/>
                  <a:pt x="25625" y="14188"/>
                </a:cubicBezTo>
                <a:cubicBezTo>
                  <a:pt x="25813" y="13969"/>
                  <a:pt x="26094" y="14063"/>
                  <a:pt x="26344" y="13938"/>
                </a:cubicBezTo>
                <a:cubicBezTo>
                  <a:pt x="26313" y="14063"/>
                  <a:pt x="26250" y="14094"/>
                  <a:pt x="26250" y="14188"/>
                </a:cubicBezTo>
                <a:cubicBezTo>
                  <a:pt x="26344" y="14125"/>
                  <a:pt x="26469" y="14157"/>
                  <a:pt x="26500" y="14063"/>
                </a:cubicBezTo>
                <a:cubicBezTo>
                  <a:pt x="26563" y="14063"/>
                  <a:pt x="26594" y="14032"/>
                  <a:pt x="26625" y="14000"/>
                </a:cubicBezTo>
                <a:cubicBezTo>
                  <a:pt x="26719" y="13938"/>
                  <a:pt x="26781" y="13844"/>
                  <a:pt x="26906" y="13782"/>
                </a:cubicBezTo>
                <a:cubicBezTo>
                  <a:pt x="26906" y="13782"/>
                  <a:pt x="26938" y="13719"/>
                  <a:pt x="26969" y="13750"/>
                </a:cubicBezTo>
                <a:cubicBezTo>
                  <a:pt x="26969" y="13782"/>
                  <a:pt x="27000" y="13813"/>
                  <a:pt x="26969" y="13844"/>
                </a:cubicBezTo>
                <a:cubicBezTo>
                  <a:pt x="26938" y="13844"/>
                  <a:pt x="26938" y="13875"/>
                  <a:pt x="26938" y="13907"/>
                </a:cubicBezTo>
                <a:cubicBezTo>
                  <a:pt x="27031" y="13907"/>
                  <a:pt x="27063" y="13875"/>
                  <a:pt x="27063" y="13782"/>
                </a:cubicBezTo>
                <a:cubicBezTo>
                  <a:pt x="27031" y="13719"/>
                  <a:pt x="27094" y="13657"/>
                  <a:pt x="27156" y="13625"/>
                </a:cubicBezTo>
                <a:cubicBezTo>
                  <a:pt x="27344" y="13563"/>
                  <a:pt x="27563" y="13469"/>
                  <a:pt x="27750" y="13375"/>
                </a:cubicBezTo>
                <a:cubicBezTo>
                  <a:pt x="27906" y="13282"/>
                  <a:pt x="28031" y="13219"/>
                  <a:pt x="28188" y="13313"/>
                </a:cubicBezTo>
                <a:cubicBezTo>
                  <a:pt x="28188" y="13344"/>
                  <a:pt x="28125" y="13344"/>
                  <a:pt x="28125" y="13407"/>
                </a:cubicBezTo>
                <a:cubicBezTo>
                  <a:pt x="28188" y="13407"/>
                  <a:pt x="28281" y="13407"/>
                  <a:pt x="28344" y="13407"/>
                </a:cubicBezTo>
                <a:cubicBezTo>
                  <a:pt x="28344" y="13375"/>
                  <a:pt x="28313" y="13344"/>
                  <a:pt x="28313" y="13313"/>
                </a:cubicBezTo>
                <a:cubicBezTo>
                  <a:pt x="28281" y="13250"/>
                  <a:pt x="28250" y="13157"/>
                  <a:pt x="28375" y="13094"/>
                </a:cubicBezTo>
                <a:cubicBezTo>
                  <a:pt x="28438" y="13063"/>
                  <a:pt x="28500" y="13032"/>
                  <a:pt x="28594" y="13032"/>
                </a:cubicBezTo>
                <a:cubicBezTo>
                  <a:pt x="28688" y="13000"/>
                  <a:pt x="28781" y="12938"/>
                  <a:pt x="28906" y="12907"/>
                </a:cubicBezTo>
                <a:cubicBezTo>
                  <a:pt x="28969" y="12875"/>
                  <a:pt x="29031" y="12844"/>
                  <a:pt x="29063" y="12907"/>
                </a:cubicBezTo>
                <a:cubicBezTo>
                  <a:pt x="29094" y="12938"/>
                  <a:pt x="29094" y="13000"/>
                  <a:pt x="29156" y="12969"/>
                </a:cubicBezTo>
                <a:cubicBezTo>
                  <a:pt x="29188" y="12938"/>
                  <a:pt x="29219" y="12907"/>
                  <a:pt x="29219" y="12875"/>
                </a:cubicBezTo>
                <a:cubicBezTo>
                  <a:pt x="29219" y="12813"/>
                  <a:pt x="29219" y="12782"/>
                  <a:pt x="29281" y="12782"/>
                </a:cubicBezTo>
                <a:cubicBezTo>
                  <a:pt x="29344" y="12782"/>
                  <a:pt x="29406" y="12782"/>
                  <a:pt x="29469" y="12813"/>
                </a:cubicBezTo>
                <a:cubicBezTo>
                  <a:pt x="29469" y="12844"/>
                  <a:pt x="29500" y="12875"/>
                  <a:pt x="29469" y="12875"/>
                </a:cubicBezTo>
                <a:cubicBezTo>
                  <a:pt x="29313" y="12907"/>
                  <a:pt x="29438" y="13000"/>
                  <a:pt x="29406" y="13063"/>
                </a:cubicBezTo>
                <a:cubicBezTo>
                  <a:pt x="29563" y="12907"/>
                  <a:pt x="29750" y="12875"/>
                  <a:pt x="29969" y="12813"/>
                </a:cubicBezTo>
                <a:cubicBezTo>
                  <a:pt x="30031" y="12813"/>
                  <a:pt x="30094" y="12782"/>
                  <a:pt x="30125" y="12750"/>
                </a:cubicBezTo>
                <a:cubicBezTo>
                  <a:pt x="30250" y="12688"/>
                  <a:pt x="30344" y="12625"/>
                  <a:pt x="30469" y="12657"/>
                </a:cubicBezTo>
                <a:cubicBezTo>
                  <a:pt x="30531" y="12657"/>
                  <a:pt x="30625" y="12594"/>
                  <a:pt x="30688" y="12563"/>
                </a:cubicBezTo>
                <a:cubicBezTo>
                  <a:pt x="30875" y="12500"/>
                  <a:pt x="31063" y="12407"/>
                  <a:pt x="31250" y="12375"/>
                </a:cubicBezTo>
                <a:cubicBezTo>
                  <a:pt x="31625" y="12250"/>
                  <a:pt x="31969" y="12407"/>
                  <a:pt x="32344" y="12313"/>
                </a:cubicBezTo>
                <a:cubicBezTo>
                  <a:pt x="32344" y="12313"/>
                  <a:pt x="32375" y="12313"/>
                  <a:pt x="32375" y="12344"/>
                </a:cubicBezTo>
                <a:cubicBezTo>
                  <a:pt x="32719" y="12469"/>
                  <a:pt x="33063" y="12407"/>
                  <a:pt x="33375" y="12532"/>
                </a:cubicBezTo>
                <a:cubicBezTo>
                  <a:pt x="33406" y="12469"/>
                  <a:pt x="33313" y="12438"/>
                  <a:pt x="33375" y="12375"/>
                </a:cubicBezTo>
                <a:cubicBezTo>
                  <a:pt x="33406" y="12313"/>
                  <a:pt x="33375" y="12313"/>
                  <a:pt x="33344" y="12250"/>
                </a:cubicBezTo>
                <a:cubicBezTo>
                  <a:pt x="33156" y="12157"/>
                  <a:pt x="33031" y="12000"/>
                  <a:pt x="32906" y="11844"/>
                </a:cubicBezTo>
                <a:cubicBezTo>
                  <a:pt x="32875" y="11813"/>
                  <a:pt x="32813" y="11750"/>
                  <a:pt x="32813" y="11688"/>
                </a:cubicBezTo>
                <a:cubicBezTo>
                  <a:pt x="32906" y="11688"/>
                  <a:pt x="32969" y="11782"/>
                  <a:pt x="33063" y="11782"/>
                </a:cubicBezTo>
                <a:cubicBezTo>
                  <a:pt x="33156" y="11782"/>
                  <a:pt x="33156" y="11750"/>
                  <a:pt x="33125" y="11688"/>
                </a:cubicBezTo>
                <a:cubicBezTo>
                  <a:pt x="33063" y="11594"/>
                  <a:pt x="33000" y="11500"/>
                  <a:pt x="32938" y="11438"/>
                </a:cubicBezTo>
                <a:cubicBezTo>
                  <a:pt x="32750" y="11250"/>
                  <a:pt x="32563" y="11063"/>
                  <a:pt x="32313" y="10875"/>
                </a:cubicBezTo>
                <a:cubicBezTo>
                  <a:pt x="32563" y="10844"/>
                  <a:pt x="32719" y="10594"/>
                  <a:pt x="32938" y="10750"/>
                </a:cubicBezTo>
                <a:cubicBezTo>
                  <a:pt x="33281" y="10657"/>
                  <a:pt x="33625" y="10563"/>
                  <a:pt x="33938" y="10407"/>
                </a:cubicBezTo>
                <a:cubicBezTo>
                  <a:pt x="33938" y="10407"/>
                  <a:pt x="33969" y="10375"/>
                  <a:pt x="34000" y="10407"/>
                </a:cubicBezTo>
                <a:cubicBezTo>
                  <a:pt x="34094" y="10532"/>
                  <a:pt x="34063" y="10313"/>
                  <a:pt x="34156" y="10344"/>
                </a:cubicBezTo>
                <a:cubicBezTo>
                  <a:pt x="34188" y="10344"/>
                  <a:pt x="34219" y="10313"/>
                  <a:pt x="34188" y="10282"/>
                </a:cubicBezTo>
                <a:cubicBezTo>
                  <a:pt x="34125" y="10219"/>
                  <a:pt x="34156" y="10188"/>
                  <a:pt x="34219" y="10188"/>
                </a:cubicBezTo>
                <a:cubicBezTo>
                  <a:pt x="34250" y="10188"/>
                  <a:pt x="34313" y="10157"/>
                  <a:pt x="34281" y="10094"/>
                </a:cubicBezTo>
                <a:cubicBezTo>
                  <a:pt x="34250" y="10032"/>
                  <a:pt x="34250" y="10125"/>
                  <a:pt x="34219" y="10125"/>
                </a:cubicBezTo>
                <a:cubicBezTo>
                  <a:pt x="34188" y="10094"/>
                  <a:pt x="34125" y="10125"/>
                  <a:pt x="34094" y="10094"/>
                </a:cubicBezTo>
                <a:cubicBezTo>
                  <a:pt x="34156" y="10032"/>
                  <a:pt x="34188" y="10000"/>
                  <a:pt x="34250" y="9938"/>
                </a:cubicBezTo>
                <a:cubicBezTo>
                  <a:pt x="34313" y="9907"/>
                  <a:pt x="34281" y="9875"/>
                  <a:pt x="34250" y="9813"/>
                </a:cubicBezTo>
                <a:cubicBezTo>
                  <a:pt x="34219" y="9782"/>
                  <a:pt x="34188" y="9750"/>
                  <a:pt x="34125" y="9782"/>
                </a:cubicBezTo>
                <a:cubicBezTo>
                  <a:pt x="34094" y="9813"/>
                  <a:pt x="34000" y="9782"/>
                  <a:pt x="34000" y="9719"/>
                </a:cubicBezTo>
                <a:cubicBezTo>
                  <a:pt x="34000" y="9688"/>
                  <a:pt x="34000" y="9657"/>
                  <a:pt x="34031" y="9657"/>
                </a:cubicBezTo>
                <a:cubicBezTo>
                  <a:pt x="34125" y="9625"/>
                  <a:pt x="34219" y="9563"/>
                  <a:pt x="34344" y="9532"/>
                </a:cubicBezTo>
                <a:cubicBezTo>
                  <a:pt x="34375" y="9532"/>
                  <a:pt x="34438" y="9563"/>
                  <a:pt x="34438" y="9500"/>
                </a:cubicBezTo>
                <a:cubicBezTo>
                  <a:pt x="34469" y="9438"/>
                  <a:pt x="34406" y="9407"/>
                  <a:pt x="34375" y="9375"/>
                </a:cubicBezTo>
                <a:cubicBezTo>
                  <a:pt x="34281" y="9313"/>
                  <a:pt x="34156" y="9313"/>
                  <a:pt x="34250" y="9157"/>
                </a:cubicBezTo>
                <a:cubicBezTo>
                  <a:pt x="34250" y="9125"/>
                  <a:pt x="34219" y="9125"/>
                  <a:pt x="34188" y="9125"/>
                </a:cubicBezTo>
                <a:cubicBezTo>
                  <a:pt x="34125" y="9094"/>
                  <a:pt x="34094" y="9063"/>
                  <a:pt x="34031" y="9032"/>
                </a:cubicBezTo>
                <a:cubicBezTo>
                  <a:pt x="33906" y="9000"/>
                  <a:pt x="33813" y="8938"/>
                  <a:pt x="33719" y="8844"/>
                </a:cubicBezTo>
                <a:cubicBezTo>
                  <a:pt x="33688" y="8813"/>
                  <a:pt x="33688" y="8782"/>
                  <a:pt x="33719" y="8750"/>
                </a:cubicBezTo>
                <a:cubicBezTo>
                  <a:pt x="33875" y="8625"/>
                  <a:pt x="33938" y="8438"/>
                  <a:pt x="34094" y="8313"/>
                </a:cubicBezTo>
                <a:cubicBezTo>
                  <a:pt x="34156" y="8219"/>
                  <a:pt x="34219" y="8125"/>
                  <a:pt x="34250" y="8032"/>
                </a:cubicBezTo>
                <a:cubicBezTo>
                  <a:pt x="34281" y="7969"/>
                  <a:pt x="34281" y="7969"/>
                  <a:pt x="34219" y="7938"/>
                </a:cubicBezTo>
                <a:cubicBezTo>
                  <a:pt x="34188" y="7907"/>
                  <a:pt x="34156" y="7844"/>
                  <a:pt x="34156" y="7844"/>
                </a:cubicBezTo>
                <a:cubicBezTo>
                  <a:pt x="34281" y="7844"/>
                  <a:pt x="34281" y="7719"/>
                  <a:pt x="34344" y="7688"/>
                </a:cubicBezTo>
                <a:cubicBezTo>
                  <a:pt x="34438" y="7657"/>
                  <a:pt x="34531" y="7594"/>
                  <a:pt x="34594" y="7532"/>
                </a:cubicBezTo>
                <a:cubicBezTo>
                  <a:pt x="34531" y="7469"/>
                  <a:pt x="34469" y="7407"/>
                  <a:pt x="34531" y="7313"/>
                </a:cubicBezTo>
                <a:cubicBezTo>
                  <a:pt x="34563" y="7282"/>
                  <a:pt x="34563" y="7250"/>
                  <a:pt x="34594" y="7250"/>
                </a:cubicBezTo>
                <a:cubicBezTo>
                  <a:pt x="34656" y="7157"/>
                  <a:pt x="34750" y="7157"/>
                  <a:pt x="34813" y="7125"/>
                </a:cubicBezTo>
                <a:cubicBezTo>
                  <a:pt x="34906" y="7094"/>
                  <a:pt x="34969" y="7125"/>
                  <a:pt x="35000" y="7219"/>
                </a:cubicBezTo>
                <a:cubicBezTo>
                  <a:pt x="35031" y="7219"/>
                  <a:pt x="35031" y="7219"/>
                  <a:pt x="35031" y="7188"/>
                </a:cubicBezTo>
                <a:cubicBezTo>
                  <a:pt x="35031" y="7188"/>
                  <a:pt x="35063" y="7188"/>
                  <a:pt x="35063" y="7188"/>
                </a:cubicBezTo>
                <a:cubicBezTo>
                  <a:pt x="35094" y="7125"/>
                  <a:pt x="35156" y="7094"/>
                  <a:pt x="35063" y="7063"/>
                </a:cubicBezTo>
                <a:cubicBezTo>
                  <a:pt x="35000" y="7063"/>
                  <a:pt x="34969" y="7032"/>
                  <a:pt x="34906" y="7063"/>
                </a:cubicBezTo>
                <a:cubicBezTo>
                  <a:pt x="34875" y="7094"/>
                  <a:pt x="34781" y="7094"/>
                  <a:pt x="34750" y="7063"/>
                </a:cubicBezTo>
                <a:cubicBezTo>
                  <a:pt x="34750" y="6907"/>
                  <a:pt x="34625" y="6844"/>
                  <a:pt x="34625" y="6719"/>
                </a:cubicBezTo>
                <a:cubicBezTo>
                  <a:pt x="34625" y="6688"/>
                  <a:pt x="34625" y="6688"/>
                  <a:pt x="34625" y="6688"/>
                </a:cubicBezTo>
                <a:cubicBezTo>
                  <a:pt x="34625" y="6625"/>
                  <a:pt x="34781" y="6532"/>
                  <a:pt x="34781" y="6563"/>
                </a:cubicBezTo>
                <a:cubicBezTo>
                  <a:pt x="34813" y="6657"/>
                  <a:pt x="34906" y="6625"/>
                  <a:pt x="34969" y="6625"/>
                </a:cubicBezTo>
                <a:cubicBezTo>
                  <a:pt x="35000" y="6657"/>
                  <a:pt x="35031" y="6657"/>
                  <a:pt x="35031" y="6688"/>
                </a:cubicBezTo>
                <a:cubicBezTo>
                  <a:pt x="35031" y="6750"/>
                  <a:pt x="35000" y="6750"/>
                  <a:pt x="34969" y="6750"/>
                </a:cubicBezTo>
                <a:cubicBezTo>
                  <a:pt x="34906" y="6750"/>
                  <a:pt x="34844" y="6782"/>
                  <a:pt x="34813" y="6813"/>
                </a:cubicBezTo>
                <a:cubicBezTo>
                  <a:pt x="34813" y="6844"/>
                  <a:pt x="34750" y="6813"/>
                  <a:pt x="34781" y="6875"/>
                </a:cubicBezTo>
                <a:cubicBezTo>
                  <a:pt x="34781" y="6875"/>
                  <a:pt x="34813" y="6875"/>
                  <a:pt x="34844" y="6844"/>
                </a:cubicBezTo>
                <a:cubicBezTo>
                  <a:pt x="34938" y="6875"/>
                  <a:pt x="35156" y="6750"/>
                  <a:pt x="35188" y="6688"/>
                </a:cubicBezTo>
                <a:cubicBezTo>
                  <a:pt x="35219" y="6563"/>
                  <a:pt x="35156" y="6500"/>
                  <a:pt x="35000" y="6469"/>
                </a:cubicBezTo>
                <a:cubicBezTo>
                  <a:pt x="35156" y="6313"/>
                  <a:pt x="35156" y="6313"/>
                  <a:pt x="35125" y="6219"/>
                </a:cubicBezTo>
                <a:cubicBezTo>
                  <a:pt x="35063" y="6219"/>
                  <a:pt x="35063" y="6282"/>
                  <a:pt x="35000" y="6250"/>
                </a:cubicBezTo>
                <a:cubicBezTo>
                  <a:pt x="35031" y="6188"/>
                  <a:pt x="35031" y="6157"/>
                  <a:pt x="34938" y="6157"/>
                </a:cubicBezTo>
                <a:cubicBezTo>
                  <a:pt x="34906" y="6157"/>
                  <a:pt x="34906" y="6157"/>
                  <a:pt x="34906" y="6188"/>
                </a:cubicBezTo>
                <a:cubicBezTo>
                  <a:pt x="34875" y="6188"/>
                  <a:pt x="34875" y="6188"/>
                  <a:pt x="34875" y="6219"/>
                </a:cubicBezTo>
                <a:cubicBezTo>
                  <a:pt x="34875" y="6250"/>
                  <a:pt x="34875" y="6313"/>
                  <a:pt x="34813" y="6313"/>
                </a:cubicBezTo>
                <a:cubicBezTo>
                  <a:pt x="34750" y="6313"/>
                  <a:pt x="34750" y="6282"/>
                  <a:pt x="34781" y="6250"/>
                </a:cubicBezTo>
                <a:cubicBezTo>
                  <a:pt x="34781" y="6219"/>
                  <a:pt x="34813" y="6219"/>
                  <a:pt x="34813" y="6188"/>
                </a:cubicBezTo>
                <a:cubicBezTo>
                  <a:pt x="34750" y="6125"/>
                  <a:pt x="34688" y="6157"/>
                  <a:pt x="34625" y="6125"/>
                </a:cubicBezTo>
                <a:cubicBezTo>
                  <a:pt x="34781" y="6032"/>
                  <a:pt x="34969" y="6032"/>
                  <a:pt x="35094" y="5907"/>
                </a:cubicBezTo>
                <a:cubicBezTo>
                  <a:pt x="35031" y="5875"/>
                  <a:pt x="34969" y="5907"/>
                  <a:pt x="34906" y="5907"/>
                </a:cubicBezTo>
                <a:cubicBezTo>
                  <a:pt x="34813" y="5969"/>
                  <a:pt x="34719" y="6032"/>
                  <a:pt x="34594" y="5938"/>
                </a:cubicBezTo>
                <a:cubicBezTo>
                  <a:pt x="34594" y="5875"/>
                  <a:pt x="34625" y="5907"/>
                  <a:pt x="34656" y="5875"/>
                </a:cubicBezTo>
                <a:cubicBezTo>
                  <a:pt x="34719" y="5844"/>
                  <a:pt x="34781" y="5844"/>
                  <a:pt x="34844" y="5813"/>
                </a:cubicBezTo>
                <a:cubicBezTo>
                  <a:pt x="34875" y="5813"/>
                  <a:pt x="34906" y="5813"/>
                  <a:pt x="34938" y="5782"/>
                </a:cubicBezTo>
                <a:cubicBezTo>
                  <a:pt x="34969" y="5750"/>
                  <a:pt x="34969" y="5719"/>
                  <a:pt x="35000" y="5719"/>
                </a:cubicBezTo>
                <a:cubicBezTo>
                  <a:pt x="35063" y="5719"/>
                  <a:pt x="35094" y="5719"/>
                  <a:pt x="35156" y="5719"/>
                </a:cubicBezTo>
                <a:cubicBezTo>
                  <a:pt x="35188" y="5719"/>
                  <a:pt x="35219" y="5688"/>
                  <a:pt x="35188" y="5657"/>
                </a:cubicBezTo>
                <a:cubicBezTo>
                  <a:pt x="35156" y="5625"/>
                  <a:pt x="35125" y="5532"/>
                  <a:pt x="35031" y="5563"/>
                </a:cubicBezTo>
                <a:cubicBezTo>
                  <a:pt x="34938" y="5563"/>
                  <a:pt x="34875" y="5657"/>
                  <a:pt x="34813" y="5625"/>
                </a:cubicBezTo>
                <a:cubicBezTo>
                  <a:pt x="34625" y="5594"/>
                  <a:pt x="34438" y="5657"/>
                  <a:pt x="34250" y="5657"/>
                </a:cubicBezTo>
                <a:cubicBezTo>
                  <a:pt x="34219" y="5688"/>
                  <a:pt x="34156" y="5688"/>
                  <a:pt x="34125" y="5657"/>
                </a:cubicBezTo>
                <a:cubicBezTo>
                  <a:pt x="34063" y="5657"/>
                  <a:pt x="34031" y="5657"/>
                  <a:pt x="34000" y="5657"/>
                </a:cubicBezTo>
                <a:cubicBezTo>
                  <a:pt x="33938" y="5688"/>
                  <a:pt x="33875" y="5688"/>
                  <a:pt x="33844" y="5657"/>
                </a:cubicBezTo>
                <a:cubicBezTo>
                  <a:pt x="33813" y="5625"/>
                  <a:pt x="33813" y="5625"/>
                  <a:pt x="33813" y="5625"/>
                </a:cubicBezTo>
                <a:cubicBezTo>
                  <a:pt x="33813" y="5625"/>
                  <a:pt x="33813" y="5625"/>
                  <a:pt x="33844" y="5625"/>
                </a:cubicBezTo>
                <a:cubicBezTo>
                  <a:pt x="33844" y="5594"/>
                  <a:pt x="33844" y="5594"/>
                  <a:pt x="33844" y="5594"/>
                </a:cubicBezTo>
                <a:cubicBezTo>
                  <a:pt x="33844" y="5625"/>
                  <a:pt x="33844" y="5625"/>
                  <a:pt x="33844" y="5625"/>
                </a:cubicBezTo>
                <a:cubicBezTo>
                  <a:pt x="33875" y="5594"/>
                  <a:pt x="33875" y="5594"/>
                  <a:pt x="33906" y="5594"/>
                </a:cubicBezTo>
                <a:cubicBezTo>
                  <a:pt x="33938" y="5563"/>
                  <a:pt x="34000" y="5563"/>
                  <a:pt x="34031" y="5563"/>
                </a:cubicBezTo>
                <a:cubicBezTo>
                  <a:pt x="34094" y="5563"/>
                  <a:pt x="34156" y="5532"/>
                  <a:pt x="34219" y="5532"/>
                </a:cubicBezTo>
                <a:cubicBezTo>
                  <a:pt x="34250" y="5500"/>
                  <a:pt x="34281" y="5469"/>
                  <a:pt x="34344" y="5469"/>
                </a:cubicBezTo>
                <a:cubicBezTo>
                  <a:pt x="34531" y="5438"/>
                  <a:pt x="34719" y="5375"/>
                  <a:pt x="34906" y="5313"/>
                </a:cubicBezTo>
                <a:cubicBezTo>
                  <a:pt x="34938" y="5313"/>
                  <a:pt x="35000" y="5250"/>
                  <a:pt x="35000" y="5219"/>
                </a:cubicBezTo>
                <a:cubicBezTo>
                  <a:pt x="35000" y="5157"/>
                  <a:pt x="34938" y="5188"/>
                  <a:pt x="34938" y="5157"/>
                </a:cubicBezTo>
                <a:cubicBezTo>
                  <a:pt x="35031" y="5125"/>
                  <a:pt x="35094" y="5000"/>
                  <a:pt x="35188" y="5063"/>
                </a:cubicBezTo>
                <a:cubicBezTo>
                  <a:pt x="35219" y="5063"/>
                  <a:pt x="35281" y="5063"/>
                  <a:pt x="35281" y="5032"/>
                </a:cubicBezTo>
                <a:cubicBezTo>
                  <a:pt x="35281" y="4938"/>
                  <a:pt x="35219" y="4969"/>
                  <a:pt x="35188" y="4969"/>
                </a:cubicBezTo>
                <a:lnTo>
                  <a:pt x="35188" y="4969"/>
                </a:lnTo>
                <a:cubicBezTo>
                  <a:pt x="34969" y="4938"/>
                  <a:pt x="34781" y="5063"/>
                  <a:pt x="34563" y="5063"/>
                </a:cubicBezTo>
                <a:cubicBezTo>
                  <a:pt x="34469" y="5032"/>
                  <a:pt x="34406" y="5032"/>
                  <a:pt x="34375" y="5125"/>
                </a:cubicBezTo>
                <a:cubicBezTo>
                  <a:pt x="34344" y="5157"/>
                  <a:pt x="34281" y="5188"/>
                  <a:pt x="34219" y="5157"/>
                </a:cubicBezTo>
                <a:cubicBezTo>
                  <a:pt x="34156" y="5094"/>
                  <a:pt x="34125" y="5125"/>
                  <a:pt x="34094" y="5188"/>
                </a:cubicBezTo>
                <a:cubicBezTo>
                  <a:pt x="34094" y="5219"/>
                  <a:pt x="34063" y="5219"/>
                  <a:pt x="34031" y="5219"/>
                </a:cubicBezTo>
                <a:cubicBezTo>
                  <a:pt x="33906" y="5157"/>
                  <a:pt x="33938" y="5250"/>
                  <a:pt x="33938" y="5313"/>
                </a:cubicBezTo>
                <a:cubicBezTo>
                  <a:pt x="34094" y="5344"/>
                  <a:pt x="34250" y="5250"/>
                  <a:pt x="34406" y="5219"/>
                </a:cubicBezTo>
                <a:cubicBezTo>
                  <a:pt x="34438" y="5219"/>
                  <a:pt x="34500" y="5157"/>
                  <a:pt x="34500" y="5250"/>
                </a:cubicBezTo>
                <a:cubicBezTo>
                  <a:pt x="34500" y="5282"/>
                  <a:pt x="34563" y="5250"/>
                  <a:pt x="34563" y="5250"/>
                </a:cubicBezTo>
                <a:cubicBezTo>
                  <a:pt x="34656" y="5125"/>
                  <a:pt x="34750" y="5250"/>
                  <a:pt x="34844" y="5219"/>
                </a:cubicBezTo>
                <a:cubicBezTo>
                  <a:pt x="34719" y="5282"/>
                  <a:pt x="34594" y="5344"/>
                  <a:pt x="34438" y="5313"/>
                </a:cubicBezTo>
                <a:cubicBezTo>
                  <a:pt x="34344" y="5282"/>
                  <a:pt x="34250" y="5313"/>
                  <a:pt x="34156" y="5375"/>
                </a:cubicBezTo>
                <a:cubicBezTo>
                  <a:pt x="34063" y="5407"/>
                  <a:pt x="33969" y="5407"/>
                  <a:pt x="33906" y="5313"/>
                </a:cubicBezTo>
                <a:cubicBezTo>
                  <a:pt x="33875" y="5282"/>
                  <a:pt x="33781" y="5375"/>
                  <a:pt x="33750" y="5282"/>
                </a:cubicBezTo>
                <a:cubicBezTo>
                  <a:pt x="33781" y="5250"/>
                  <a:pt x="33844" y="5250"/>
                  <a:pt x="33875" y="5188"/>
                </a:cubicBezTo>
                <a:cubicBezTo>
                  <a:pt x="33656" y="5188"/>
                  <a:pt x="33469" y="5219"/>
                  <a:pt x="33281" y="5282"/>
                </a:cubicBezTo>
                <a:cubicBezTo>
                  <a:pt x="33188" y="5313"/>
                  <a:pt x="33094" y="5313"/>
                  <a:pt x="32969" y="5313"/>
                </a:cubicBezTo>
                <a:cubicBezTo>
                  <a:pt x="32938" y="5313"/>
                  <a:pt x="32938" y="5313"/>
                  <a:pt x="32938" y="5282"/>
                </a:cubicBezTo>
                <a:cubicBezTo>
                  <a:pt x="32938" y="5250"/>
                  <a:pt x="32938" y="5250"/>
                  <a:pt x="32969" y="5250"/>
                </a:cubicBezTo>
                <a:cubicBezTo>
                  <a:pt x="33094" y="5313"/>
                  <a:pt x="33125" y="5219"/>
                  <a:pt x="33188" y="5157"/>
                </a:cubicBezTo>
                <a:cubicBezTo>
                  <a:pt x="33250" y="5125"/>
                  <a:pt x="33250" y="5063"/>
                  <a:pt x="33313" y="5157"/>
                </a:cubicBezTo>
                <a:cubicBezTo>
                  <a:pt x="33344" y="5219"/>
                  <a:pt x="33438" y="5157"/>
                  <a:pt x="33500" y="5125"/>
                </a:cubicBezTo>
                <a:cubicBezTo>
                  <a:pt x="33531" y="5125"/>
                  <a:pt x="33531" y="5094"/>
                  <a:pt x="33531" y="5063"/>
                </a:cubicBezTo>
                <a:cubicBezTo>
                  <a:pt x="33500" y="5032"/>
                  <a:pt x="33469" y="5094"/>
                  <a:pt x="33406" y="5094"/>
                </a:cubicBezTo>
                <a:cubicBezTo>
                  <a:pt x="33375" y="5094"/>
                  <a:pt x="33375" y="5094"/>
                  <a:pt x="33344" y="5063"/>
                </a:cubicBezTo>
                <a:cubicBezTo>
                  <a:pt x="33344" y="5000"/>
                  <a:pt x="33375" y="5000"/>
                  <a:pt x="33406" y="5000"/>
                </a:cubicBezTo>
                <a:cubicBezTo>
                  <a:pt x="33531" y="4969"/>
                  <a:pt x="33656" y="4938"/>
                  <a:pt x="33750" y="4907"/>
                </a:cubicBezTo>
                <a:cubicBezTo>
                  <a:pt x="33844" y="4875"/>
                  <a:pt x="33938" y="4782"/>
                  <a:pt x="34031" y="4875"/>
                </a:cubicBezTo>
                <a:cubicBezTo>
                  <a:pt x="34063" y="4907"/>
                  <a:pt x="34125" y="4875"/>
                  <a:pt x="34156" y="4875"/>
                </a:cubicBezTo>
                <a:cubicBezTo>
                  <a:pt x="34125" y="4750"/>
                  <a:pt x="34219" y="4813"/>
                  <a:pt x="34281" y="4782"/>
                </a:cubicBezTo>
                <a:cubicBezTo>
                  <a:pt x="34313" y="4750"/>
                  <a:pt x="34375" y="4782"/>
                  <a:pt x="34406" y="4719"/>
                </a:cubicBezTo>
                <a:cubicBezTo>
                  <a:pt x="34406" y="4688"/>
                  <a:pt x="34500" y="4688"/>
                  <a:pt x="34500" y="4719"/>
                </a:cubicBezTo>
                <a:cubicBezTo>
                  <a:pt x="34563" y="4813"/>
                  <a:pt x="34656" y="4782"/>
                  <a:pt x="34719" y="4782"/>
                </a:cubicBezTo>
                <a:cubicBezTo>
                  <a:pt x="34781" y="4782"/>
                  <a:pt x="34875" y="4719"/>
                  <a:pt x="34906" y="4657"/>
                </a:cubicBezTo>
                <a:cubicBezTo>
                  <a:pt x="34938" y="4657"/>
                  <a:pt x="34938" y="4563"/>
                  <a:pt x="34906" y="4532"/>
                </a:cubicBezTo>
                <a:cubicBezTo>
                  <a:pt x="34844" y="4532"/>
                  <a:pt x="34750" y="4500"/>
                  <a:pt x="34688" y="4532"/>
                </a:cubicBezTo>
                <a:cubicBezTo>
                  <a:pt x="34500" y="4688"/>
                  <a:pt x="34219" y="4719"/>
                  <a:pt x="34000" y="4782"/>
                </a:cubicBezTo>
                <a:cubicBezTo>
                  <a:pt x="33906" y="4782"/>
                  <a:pt x="33813" y="4813"/>
                  <a:pt x="33688" y="4782"/>
                </a:cubicBezTo>
                <a:cubicBezTo>
                  <a:pt x="33875" y="4719"/>
                  <a:pt x="34031" y="4688"/>
                  <a:pt x="34156" y="4594"/>
                </a:cubicBezTo>
                <a:cubicBezTo>
                  <a:pt x="33906" y="4625"/>
                  <a:pt x="33688" y="4657"/>
                  <a:pt x="33438" y="4750"/>
                </a:cubicBezTo>
                <a:cubicBezTo>
                  <a:pt x="33281" y="4813"/>
                  <a:pt x="33063" y="4813"/>
                  <a:pt x="32906" y="4875"/>
                </a:cubicBezTo>
                <a:cubicBezTo>
                  <a:pt x="32875" y="4875"/>
                  <a:pt x="32875" y="4875"/>
                  <a:pt x="32844" y="4875"/>
                </a:cubicBezTo>
                <a:cubicBezTo>
                  <a:pt x="32813" y="4844"/>
                  <a:pt x="32781" y="4844"/>
                  <a:pt x="32781" y="4813"/>
                </a:cubicBezTo>
                <a:cubicBezTo>
                  <a:pt x="32781" y="4782"/>
                  <a:pt x="32813" y="4750"/>
                  <a:pt x="32844" y="4750"/>
                </a:cubicBezTo>
                <a:cubicBezTo>
                  <a:pt x="32906" y="4719"/>
                  <a:pt x="32969" y="4719"/>
                  <a:pt x="32969" y="4625"/>
                </a:cubicBezTo>
                <a:cubicBezTo>
                  <a:pt x="32906" y="4594"/>
                  <a:pt x="32875" y="4657"/>
                  <a:pt x="32781" y="4594"/>
                </a:cubicBezTo>
                <a:cubicBezTo>
                  <a:pt x="32844" y="4594"/>
                  <a:pt x="32906" y="4563"/>
                  <a:pt x="32969" y="4563"/>
                </a:cubicBezTo>
                <a:cubicBezTo>
                  <a:pt x="33031" y="4532"/>
                  <a:pt x="33094" y="4532"/>
                  <a:pt x="33125" y="4469"/>
                </a:cubicBezTo>
                <a:cubicBezTo>
                  <a:pt x="33031" y="4407"/>
                  <a:pt x="32969" y="4532"/>
                  <a:pt x="32875" y="4469"/>
                </a:cubicBezTo>
                <a:cubicBezTo>
                  <a:pt x="32938" y="4407"/>
                  <a:pt x="33031" y="4375"/>
                  <a:pt x="33094" y="4313"/>
                </a:cubicBezTo>
                <a:cubicBezTo>
                  <a:pt x="33250" y="4250"/>
                  <a:pt x="33375" y="4157"/>
                  <a:pt x="33563" y="4188"/>
                </a:cubicBezTo>
                <a:cubicBezTo>
                  <a:pt x="33625" y="4219"/>
                  <a:pt x="33688" y="4188"/>
                  <a:pt x="33750" y="4157"/>
                </a:cubicBezTo>
                <a:cubicBezTo>
                  <a:pt x="33875" y="4157"/>
                  <a:pt x="33781" y="4000"/>
                  <a:pt x="33875" y="4000"/>
                </a:cubicBezTo>
                <a:cubicBezTo>
                  <a:pt x="33969" y="4000"/>
                  <a:pt x="34031" y="3969"/>
                  <a:pt x="34094" y="3844"/>
                </a:cubicBezTo>
                <a:cubicBezTo>
                  <a:pt x="33906" y="3875"/>
                  <a:pt x="33781" y="3907"/>
                  <a:pt x="33625" y="3969"/>
                </a:cubicBezTo>
                <a:cubicBezTo>
                  <a:pt x="33344" y="4125"/>
                  <a:pt x="33000" y="4157"/>
                  <a:pt x="32688" y="4282"/>
                </a:cubicBezTo>
                <a:cubicBezTo>
                  <a:pt x="32656" y="4282"/>
                  <a:pt x="32563" y="4313"/>
                  <a:pt x="32563" y="4250"/>
                </a:cubicBezTo>
                <a:cubicBezTo>
                  <a:pt x="32531" y="4188"/>
                  <a:pt x="32594" y="4188"/>
                  <a:pt x="32625" y="4157"/>
                </a:cubicBezTo>
                <a:cubicBezTo>
                  <a:pt x="32750" y="4094"/>
                  <a:pt x="32844" y="4032"/>
                  <a:pt x="32969" y="3969"/>
                </a:cubicBezTo>
                <a:cubicBezTo>
                  <a:pt x="33031" y="3938"/>
                  <a:pt x="33094" y="3875"/>
                  <a:pt x="32969" y="3844"/>
                </a:cubicBezTo>
                <a:cubicBezTo>
                  <a:pt x="32969" y="3844"/>
                  <a:pt x="32938" y="3813"/>
                  <a:pt x="32969" y="3782"/>
                </a:cubicBezTo>
                <a:cubicBezTo>
                  <a:pt x="33063" y="3750"/>
                  <a:pt x="33156" y="3657"/>
                  <a:pt x="33250" y="3657"/>
                </a:cubicBezTo>
                <a:cubicBezTo>
                  <a:pt x="33281" y="3625"/>
                  <a:pt x="33313" y="3625"/>
                  <a:pt x="33313" y="3594"/>
                </a:cubicBezTo>
                <a:cubicBezTo>
                  <a:pt x="33281" y="3563"/>
                  <a:pt x="33250" y="3563"/>
                  <a:pt x="33250" y="3563"/>
                </a:cubicBezTo>
                <a:cubicBezTo>
                  <a:pt x="33156" y="3594"/>
                  <a:pt x="33094" y="3688"/>
                  <a:pt x="33031" y="3594"/>
                </a:cubicBezTo>
                <a:cubicBezTo>
                  <a:pt x="33000" y="3563"/>
                  <a:pt x="33125" y="3532"/>
                  <a:pt x="33188" y="3500"/>
                </a:cubicBezTo>
                <a:cubicBezTo>
                  <a:pt x="33250" y="3438"/>
                  <a:pt x="33188" y="3407"/>
                  <a:pt x="33188" y="3375"/>
                </a:cubicBezTo>
                <a:cubicBezTo>
                  <a:pt x="33281" y="3313"/>
                  <a:pt x="33344" y="3375"/>
                  <a:pt x="33375" y="3438"/>
                </a:cubicBezTo>
                <a:cubicBezTo>
                  <a:pt x="33438" y="3532"/>
                  <a:pt x="33313" y="3532"/>
                  <a:pt x="33313" y="3594"/>
                </a:cubicBezTo>
                <a:cubicBezTo>
                  <a:pt x="33313" y="3625"/>
                  <a:pt x="33375" y="3594"/>
                  <a:pt x="33406" y="3625"/>
                </a:cubicBezTo>
                <a:cubicBezTo>
                  <a:pt x="33438" y="3625"/>
                  <a:pt x="33500" y="3625"/>
                  <a:pt x="33563" y="3657"/>
                </a:cubicBezTo>
                <a:cubicBezTo>
                  <a:pt x="33563" y="3625"/>
                  <a:pt x="33594" y="3594"/>
                  <a:pt x="33625" y="3625"/>
                </a:cubicBezTo>
                <a:cubicBezTo>
                  <a:pt x="33719" y="3563"/>
                  <a:pt x="33813" y="3500"/>
                  <a:pt x="33906" y="3469"/>
                </a:cubicBezTo>
                <a:cubicBezTo>
                  <a:pt x="33875" y="3407"/>
                  <a:pt x="33813" y="3438"/>
                  <a:pt x="33813" y="3375"/>
                </a:cubicBezTo>
                <a:cubicBezTo>
                  <a:pt x="34125" y="3344"/>
                  <a:pt x="34375" y="3188"/>
                  <a:pt x="34563" y="2938"/>
                </a:cubicBezTo>
                <a:cubicBezTo>
                  <a:pt x="34406" y="2969"/>
                  <a:pt x="34281" y="3063"/>
                  <a:pt x="34125" y="3125"/>
                </a:cubicBezTo>
                <a:cubicBezTo>
                  <a:pt x="34000" y="3219"/>
                  <a:pt x="33844" y="3313"/>
                  <a:pt x="33656" y="3344"/>
                </a:cubicBezTo>
                <a:cubicBezTo>
                  <a:pt x="33688" y="3250"/>
                  <a:pt x="33750" y="3219"/>
                  <a:pt x="33813" y="3188"/>
                </a:cubicBezTo>
                <a:cubicBezTo>
                  <a:pt x="33938" y="3125"/>
                  <a:pt x="34063" y="3032"/>
                  <a:pt x="34188" y="2938"/>
                </a:cubicBezTo>
                <a:cubicBezTo>
                  <a:pt x="34281" y="2844"/>
                  <a:pt x="34406" y="2750"/>
                  <a:pt x="34531" y="2688"/>
                </a:cubicBezTo>
                <a:cubicBezTo>
                  <a:pt x="34563" y="2657"/>
                  <a:pt x="34625" y="2657"/>
                  <a:pt x="34594" y="2594"/>
                </a:cubicBezTo>
                <a:cubicBezTo>
                  <a:pt x="34563" y="2563"/>
                  <a:pt x="34531" y="2594"/>
                  <a:pt x="34500" y="2625"/>
                </a:cubicBezTo>
                <a:cubicBezTo>
                  <a:pt x="34313" y="2688"/>
                  <a:pt x="34156" y="2844"/>
                  <a:pt x="33969" y="2907"/>
                </a:cubicBezTo>
                <a:cubicBezTo>
                  <a:pt x="33688" y="3000"/>
                  <a:pt x="33438" y="3188"/>
                  <a:pt x="33156" y="3313"/>
                </a:cubicBezTo>
                <a:cubicBezTo>
                  <a:pt x="33094" y="3344"/>
                  <a:pt x="33031" y="3344"/>
                  <a:pt x="32969" y="3344"/>
                </a:cubicBezTo>
                <a:cubicBezTo>
                  <a:pt x="33094" y="3188"/>
                  <a:pt x="33063" y="3188"/>
                  <a:pt x="33313" y="3063"/>
                </a:cubicBezTo>
                <a:cubicBezTo>
                  <a:pt x="33531" y="2969"/>
                  <a:pt x="33719" y="2813"/>
                  <a:pt x="33938" y="2688"/>
                </a:cubicBezTo>
                <a:cubicBezTo>
                  <a:pt x="33938" y="2688"/>
                  <a:pt x="33938" y="2688"/>
                  <a:pt x="33938" y="2688"/>
                </a:cubicBezTo>
                <a:cubicBezTo>
                  <a:pt x="34031" y="2657"/>
                  <a:pt x="34125" y="2625"/>
                  <a:pt x="34156" y="2500"/>
                </a:cubicBezTo>
                <a:close/>
                <a:moveTo>
                  <a:pt x="7813" y="2625"/>
                </a:moveTo>
                <a:cubicBezTo>
                  <a:pt x="7813" y="2625"/>
                  <a:pt x="7844" y="2625"/>
                  <a:pt x="7844" y="2625"/>
                </a:cubicBezTo>
                <a:cubicBezTo>
                  <a:pt x="7844" y="2657"/>
                  <a:pt x="7844" y="2688"/>
                  <a:pt x="7844" y="2719"/>
                </a:cubicBezTo>
                <a:cubicBezTo>
                  <a:pt x="8000" y="2782"/>
                  <a:pt x="8156" y="2844"/>
                  <a:pt x="8344" y="2813"/>
                </a:cubicBezTo>
                <a:cubicBezTo>
                  <a:pt x="8375" y="2813"/>
                  <a:pt x="8406" y="2844"/>
                  <a:pt x="8406" y="2875"/>
                </a:cubicBezTo>
                <a:cubicBezTo>
                  <a:pt x="8406" y="2938"/>
                  <a:pt x="8375" y="2907"/>
                  <a:pt x="8344" y="2907"/>
                </a:cubicBezTo>
                <a:cubicBezTo>
                  <a:pt x="8313" y="2907"/>
                  <a:pt x="8281" y="2907"/>
                  <a:pt x="8281" y="2938"/>
                </a:cubicBezTo>
                <a:cubicBezTo>
                  <a:pt x="8375" y="2969"/>
                  <a:pt x="8438" y="3125"/>
                  <a:pt x="8594" y="3063"/>
                </a:cubicBezTo>
                <a:cubicBezTo>
                  <a:pt x="8563" y="3000"/>
                  <a:pt x="8406" y="3032"/>
                  <a:pt x="8438" y="2969"/>
                </a:cubicBezTo>
                <a:cubicBezTo>
                  <a:pt x="8469" y="2875"/>
                  <a:pt x="8594" y="2938"/>
                  <a:pt x="8656" y="2969"/>
                </a:cubicBezTo>
                <a:cubicBezTo>
                  <a:pt x="8688" y="3032"/>
                  <a:pt x="8719" y="3094"/>
                  <a:pt x="8750" y="3188"/>
                </a:cubicBezTo>
                <a:cubicBezTo>
                  <a:pt x="8750" y="3219"/>
                  <a:pt x="8719" y="3250"/>
                  <a:pt x="8781" y="3250"/>
                </a:cubicBezTo>
                <a:lnTo>
                  <a:pt x="8781" y="3250"/>
                </a:lnTo>
                <a:cubicBezTo>
                  <a:pt x="8813" y="3250"/>
                  <a:pt x="8844" y="3219"/>
                  <a:pt x="8813" y="3188"/>
                </a:cubicBezTo>
                <a:cubicBezTo>
                  <a:pt x="8813" y="3063"/>
                  <a:pt x="8906" y="3094"/>
                  <a:pt x="8969" y="3094"/>
                </a:cubicBezTo>
                <a:cubicBezTo>
                  <a:pt x="9031" y="3094"/>
                  <a:pt x="9063" y="3157"/>
                  <a:pt x="9125" y="3188"/>
                </a:cubicBezTo>
                <a:cubicBezTo>
                  <a:pt x="9219" y="3250"/>
                  <a:pt x="9313" y="3375"/>
                  <a:pt x="9438" y="3344"/>
                </a:cubicBezTo>
                <a:cubicBezTo>
                  <a:pt x="9469" y="3344"/>
                  <a:pt x="9500" y="3375"/>
                  <a:pt x="9500" y="3375"/>
                </a:cubicBezTo>
                <a:cubicBezTo>
                  <a:pt x="9500" y="3469"/>
                  <a:pt x="9563" y="3469"/>
                  <a:pt x="9625" y="3500"/>
                </a:cubicBezTo>
                <a:cubicBezTo>
                  <a:pt x="9719" y="3500"/>
                  <a:pt x="9781" y="3532"/>
                  <a:pt x="9813" y="3625"/>
                </a:cubicBezTo>
                <a:cubicBezTo>
                  <a:pt x="9844" y="3657"/>
                  <a:pt x="9875" y="3657"/>
                  <a:pt x="9906" y="3625"/>
                </a:cubicBezTo>
                <a:cubicBezTo>
                  <a:pt x="9938" y="3625"/>
                  <a:pt x="9969" y="3625"/>
                  <a:pt x="10031" y="3625"/>
                </a:cubicBezTo>
                <a:cubicBezTo>
                  <a:pt x="10250" y="3750"/>
                  <a:pt x="10469" y="3813"/>
                  <a:pt x="10656" y="4063"/>
                </a:cubicBezTo>
                <a:cubicBezTo>
                  <a:pt x="10625" y="3938"/>
                  <a:pt x="10656" y="3907"/>
                  <a:pt x="10750" y="3907"/>
                </a:cubicBezTo>
                <a:cubicBezTo>
                  <a:pt x="10813" y="3907"/>
                  <a:pt x="10875" y="3938"/>
                  <a:pt x="10844" y="4063"/>
                </a:cubicBezTo>
                <a:cubicBezTo>
                  <a:pt x="10969" y="3907"/>
                  <a:pt x="11125" y="4063"/>
                  <a:pt x="11250" y="4032"/>
                </a:cubicBezTo>
                <a:cubicBezTo>
                  <a:pt x="11250" y="3907"/>
                  <a:pt x="11156" y="3969"/>
                  <a:pt x="11125" y="3907"/>
                </a:cubicBezTo>
                <a:cubicBezTo>
                  <a:pt x="11063" y="3844"/>
                  <a:pt x="11000" y="3844"/>
                  <a:pt x="10969" y="3907"/>
                </a:cubicBezTo>
                <a:cubicBezTo>
                  <a:pt x="10969" y="3938"/>
                  <a:pt x="10938" y="3938"/>
                  <a:pt x="10906" y="3938"/>
                </a:cubicBezTo>
                <a:cubicBezTo>
                  <a:pt x="10906" y="3907"/>
                  <a:pt x="10875" y="3875"/>
                  <a:pt x="10906" y="3875"/>
                </a:cubicBezTo>
                <a:cubicBezTo>
                  <a:pt x="10969" y="3782"/>
                  <a:pt x="10875" y="3750"/>
                  <a:pt x="10844" y="3719"/>
                </a:cubicBezTo>
                <a:cubicBezTo>
                  <a:pt x="10813" y="3625"/>
                  <a:pt x="10719" y="3782"/>
                  <a:pt x="10688" y="3688"/>
                </a:cubicBezTo>
                <a:cubicBezTo>
                  <a:pt x="10656" y="3719"/>
                  <a:pt x="10656" y="3719"/>
                  <a:pt x="10656" y="3719"/>
                </a:cubicBezTo>
                <a:cubicBezTo>
                  <a:pt x="10719" y="3844"/>
                  <a:pt x="10625" y="3813"/>
                  <a:pt x="10594" y="3813"/>
                </a:cubicBezTo>
                <a:cubicBezTo>
                  <a:pt x="10531" y="3782"/>
                  <a:pt x="10406" y="3844"/>
                  <a:pt x="10438" y="3719"/>
                </a:cubicBezTo>
                <a:cubicBezTo>
                  <a:pt x="10438" y="3688"/>
                  <a:pt x="10406" y="3688"/>
                  <a:pt x="10375" y="3688"/>
                </a:cubicBezTo>
                <a:cubicBezTo>
                  <a:pt x="10313" y="3688"/>
                  <a:pt x="10313" y="3657"/>
                  <a:pt x="10344" y="3594"/>
                </a:cubicBezTo>
                <a:cubicBezTo>
                  <a:pt x="10375" y="3532"/>
                  <a:pt x="10219" y="3344"/>
                  <a:pt x="10156" y="3344"/>
                </a:cubicBezTo>
                <a:cubicBezTo>
                  <a:pt x="10125" y="3375"/>
                  <a:pt x="10125" y="3407"/>
                  <a:pt x="10125" y="3407"/>
                </a:cubicBezTo>
                <a:cubicBezTo>
                  <a:pt x="10188" y="3438"/>
                  <a:pt x="10219" y="3469"/>
                  <a:pt x="10281" y="3500"/>
                </a:cubicBezTo>
                <a:cubicBezTo>
                  <a:pt x="10156" y="3563"/>
                  <a:pt x="10063" y="3594"/>
                  <a:pt x="9906" y="3563"/>
                </a:cubicBezTo>
                <a:cubicBezTo>
                  <a:pt x="9969" y="3500"/>
                  <a:pt x="10000" y="3532"/>
                  <a:pt x="10063" y="3532"/>
                </a:cubicBezTo>
                <a:cubicBezTo>
                  <a:pt x="10125" y="3532"/>
                  <a:pt x="10094" y="3469"/>
                  <a:pt x="10094" y="3438"/>
                </a:cubicBezTo>
                <a:cubicBezTo>
                  <a:pt x="10031" y="3438"/>
                  <a:pt x="10000" y="3407"/>
                  <a:pt x="9938" y="3438"/>
                </a:cubicBezTo>
                <a:cubicBezTo>
                  <a:pt x="9844" y="3532"/>
                  <a:pt x="9781" y="3438"/>
                  <a:pt x="9719" y="3375"/>
                </a:cubicBezTo>
                <a:cubicBezTo>
                  <a:pt x="9719" y="3344"/>
                  <a:pt x="9719" y="3313"/>
                  <a:pt x="9688" y="3282"/>
                </a:cubicBezTo>
                <a:cubicBezTo>
                  <a:pt x="9594" y="3250"/>
                  <a:pt x="9438" y="3282"/>
                  <a:pt x="9406" y="3125"/>
                </a:cubicBezTo>
                <a:cubicBezTo>
                  <a:pt x="9406" y="3125"/>
                  <a:pt x="9375" y="3125"/>
                  <a:pt x="9375" y="3125"/>
                </a:cubicBezTo>
                <a:cubicBezTo>
                  <a:pt x="9188" y="3188"/>
                  <a:pt x="9094" y="3063"/>
                  <a:pt x="8938" y="3000"/>
                </a:cubicBezTo>
                <a:cubicBezTo>
                  <a:pt x="8906" y="2969"/>
                  <a:pt x="8875" y="2938"/>
                  <a:pt x="8875" y="2907"/>
                </a:cubicBezTo>
                <a:cubicBezTo>
                  <a:pt x="8844" y="2938"/>
                  <a:pt x="8750" y="2907"/>
                  <a:pt x="8656" y="2969"/>
                </a:cubicBezTo>
                <a:cubicBezTo>
                  <a:pt x="8656" y="2907"/>
                  <a:pt x="8625" y="2875"/>
                  <a:pt x="8594" y="2844"/>
                </a:cubicBezTo>
                <a:cubicBezTo>
                  <a:pt x="8469" y="2750"/>
                  <a:pt x="8313" y="2782"/>
                  <a:pt x="8188" y="2688"/>
                </a:cubicBezTo>
                <a:cubicBezTo>
                  <a:pt x="8188" y="2657"/>
                  <a:pt x="8156" y="2657"/>
                  <a:pt x="8156" y="2688"/>
                </a:cubicBezTo>
                <a:cubicBezTo>
                  <a:pt x="8094" y="2750"/>
                  <a:pt x="8094" y="2719"/>
                  <a:pt x="8063" y="2657"/>
                </a:cubicBezTo>
                <a:cubicBezTo>
                  <a:pt x="8031" y="2625"/>
                  <a:pt x="7969" y="2657"/>
                  <a:pt x="7969" y="2625"/>
                </a:cubicBezTo>
                <a:cubicBezTo>
                  <a:pt x="7938" y="2594"/>
                  <a:pt x="7875" y="2657"/>
                  <a:pt x="7875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44" y="2594"/>
                  <a:pt x="7844" y="2594"/>
                </a:cubicBezTo>
                <a:cubicBezTo>
                  <a:pt x="7844" y="2594"/>
                  <a:pt x="7813" y="2563"/>
                  <a:pt x="7813" y="2563"/>
                </a:cubicBezTo>
                <a:cubicBezTo>
                  <a:pt x="7781" y="2594"/>
                  <a:pt x="7781" y="2625"/>
                  <a:pt x="7813" y="2625"/>
                </a:cubicBezTo>
                <a:close/>
                <a:moveTo>
                  <a:pt x="4156" y="8969"/>
                </a:moveTo>
                <a:cubicBezTo>
                  <a:pt x="4156" y="8969"/>
                  <a:pt x="4156" y="8969"/>
                  <a:pt x="4156" y="8969"/>
                </a:cubicBezTo>
                <a:cubicBezTo>
                  <a:pt x="4156" y="8969"/>
                  <a:pt x="4156" y="8969"/>
                  <a:pt x="4125" y="8969"/>
                </a:cubicBezTo>
                <a:cubicBezTo>
                  <a:pt x="4125" y="8969"/>
                  <a:pt x="4125" y="8969"/>
                  <a:pt x="4125" y="8969"/>
                </a:cubicBezTo>
                <a:cubicBezTo>
                  <a:pt x="4125" y="8969"/>
                  <a:pt x="4156" y="8969"/>
                  <a:pt x="4156" y="8969"/>
                </a:cubicBezTo>
                <a:close/>
                <a:moveTo>
                  <a:pt x="6594" y="5594"/>
                </a:moveTo>
                <a:cubicBezTo>
                  <a:pt x="6625" y="5594"/>
                  <a:pt x="6625" y="5594"/>
                  <a:pt x="6656" y="5563"/>
                </a:cubicBezTo>
                <a:cubicBezTo>
                  <a:pt x="6625" y="5563"/>
                  <a:pt x="6625" y="5563"/>
                  <a:pt x="6625" y="5563"/>
                </a:cubicBezTo>
                <a:cubicBezTo>
                  <a:pt x="6625" y="5563"/>
                  <a:pt x="6594" y="5563"/>
                  <a:pt x="6594" y="5563"/>
                </a:cubicBezTo>
                <a:cubicBezTo>
                  <a:pt x="6594" y="5563"/>
                  <a:pt x="6594" y="5594"/>
                  <a:pt x="6594" y="5594"/>
                </a:cubicBezTo>
                <a:close/>
                <a:moveTo>
                  <a:pt x="3719" y="5157"/>
                </a:moveTo>
                <a:cubicBezTo>
                  <a:pt x="3688" y="5157"/>
                  <a:pt x="3656" y="5157"/>
                  <a:pt x="3656" y="5157"/>
                </a:cubicBezTo>
                <a:cubicBezTo>
                  <a:pt x="3656" y="5157"/>
                  <a:pt x="3688" y="5157"/>
                  <a:pt x="3688" y="5157"/>
                </a:cubicBezTo>
                <a:cubicBezTo>
                  <a:pt x="3688" y="5157"/>
                  <a:pt x="3688" y="5157"/>
                  <a:pt x="3719" y="5157"/>
                </a:cubicBezTo>
                <a:close/>
                <a:moveTo>
                  <a:pt x="8125" y="5813"/>
                </a:moveTo>
                <a:cubicBezTo>
                  <a:pt x="8156" y="5844"/>
                  <a:pt x="8188" y="5875"/>
                  <a:pt x="8250" y="5813"/>
                </a:cubicBezTo>
                <a:cubicBezTo>
                  <a:pt x="8219" y="5813"/>
                  <a:pt x="8188" y="5782"/>
                  <a:pt x="8156" y="5782"/>
                </a:cubicBezTo>
                <a:cubicBezTo>
                  <a:pt x="8094" y="5750"/>
                  <a:pt x="8094" y="5813"/>
                  <a:pt x="8125" y="5813"/>
                </a:cubicBezTo>
                <a:close/>
                <a:moveTo>
                  <a:pt x="1657" y="5813"/>
                </a:moveTo>
                <a:cubicBezTo>
                  <a:pt x="1625" y="5813"/>
                  <a:pt x="1625" y="5813"/>
                  <a:pt x="1625" y="5844"/>
                </a:cubicBezTo>
                <a:cubicBezTo>
                  <a:pt x="1688" y="5844"/>
                  <a:pt x="1750" y="5844"/>
                  <a:pt x="1813" y="5844"/>
                </a:cubicBezTo>
                <a:cubicBezTo>
                  <a:pt x="1750" y="5813"/>
                  <a:pt x="1688" y="5813"/>
                  <a:pt x="1657" y="5813"/>
                </a:cubicBezTo>
                <a:close/>
                <a:moveTo>
                  <a:pt x="1813" y="5844"/>
                </a:moveTo>
                <a:cubicBezTo>
                  <a:pt x="1938" y="5844"/>
                  <a:pt x="2063" y="5875"/>
                  <a:pt x="2188" y="5907"/>
                </a:cubicBezTo>
                <a:cubicBezTo>
                  <a:pt x="2282" y="5938"/>
                  <a:pt x="2438" y="5907"/>
                  <a:pt x="2532" y="6032"/>
                </a:cubicBezTo>
                <a:cubicBezTo>
                  <a:pt x="2563" y="6063"/>
                  <a:pt x="2563" y="6032"/>
                  <a:pt x="2594" y="6032"/>
                </a:cubicBezTo>
                <a:cubicBezTo>
                  <a:pt x="2688" y="6000"/>
                  <a:pt x="2688" y="6000"/>
                  <a:pt x="2782" y="6094"/>
                </a:cubicBezTo>
                <a:cubicBezTo>
                  <a:pt x="2719" y="6157"/>
                  <a:pt x="2657" y="6094"/>
                  <a:pt x="2594" y="6094"/>
                </a:cubicBezTo>
                <a:cubicBezTo>
                  <a:pt x="2375" y="6000"/>
                  <a:pt x="2125" y="5969"/>
                  <a:pt x="1875" y="5907"/>
                </a:cubicBezTo>
                <a:lnTo>
                  <a:pt x="1875" y="5907"/>
                </a:lnTo>
                <a:cubicBezTo>
                  <a:pt x="1844" y="5907"/>
                  <a:pt x="1813" y="5875"/>
                  <a:pt x="1813" y="5844"/>
                </a:cubicBezTo>
                <a:close/>
                <a:moveTo>
                  <a:pt x="4500" y="3594"/>
                </a:moveTo>
                <a:cubicBezTo>
                  <a:pt x="4500" y="3563"/>
                  <a:pt x="4500" y="3563"/>
                  <a:pt x="4500" y="3563"/>
                </a:cubicBezTo>
                <a:cubicBezTo>
                  <a:pt x="4469" y="3563"/>
                  <a:pt x="4469" y="3563"/>
                  <a:pt x="4469" y="3563"/>
                </a:cubicBezTo>
                <a:lnTo>
                  <a:pt x="4500" y="3563"/>
                </a:lnTo>
                <a:cubicBezTo>
                  <a:pt x="4500" y="3594"/>
                  <a:pt x="4531" y="3594"/>
                  <a:pt x="4563" y="3594"/>
                </a:cubicBezTo>
                <a:cubicBezTo>
                  <a:pt x="4563" y="3594"/>
                  <a:pt x="4563" y="3594"/>
                  <a:pt x="4594" y="3563"/>
                </a:cubicBezTo>
                <a:cubicBezTo>
                  <a:pt x="4594" y="3563"/>
                  <a:pt x="4594" y="3563"/>
                  <a:pt x="4594" y="3563"/>
                </a:cubicBezTo>
                <a:cubicBezTo>
                  <a:pt x="4594" y="3563"/>
                  <a:pt x="4594" y="3563"/>
                  <a:pt x="4625" y="3563"/>
                </a:cubicBezTo>
                <a:cubicBezTo>
                  <a:pt x="4625" y="3563"/>
                  <a:pt x="4625" y="3563"/>
                  <a:pt x="4656" y="3563"/>
                </a:cubicBezTo>
                <a:cubicBezTo>
                  <a:pt x="4656" y="3563"/>
                  <a:pt x="4688" y="3594"/>
                  <a:pt x="4656" y="3594"/>
                </a:cubicBezTo>
                <a:cubicBezTo>
                  <a:pt x="4656" y="3625"/>
                  <a:pt x="4625" y="3625"/>
                  <a:pt x="4594" y="3625"/>
                </a:cubicBezTo>
                <a:cubicBezTo>
                  <a:pt x="4594" y="3594"/>
                  <a:pt x="4594" y="3594"/>
                  <a:pt x="4594" y="3594"/>
                </a:cubicBezTo>
                <a:cubicBezTo>
                  <a:pt x="4594" y="3594"/>
                  <a:pt x="4563" y="3594"/>
                  <a:pt x="4563" y="3594"/>
                </a:cubicBezTo>
                <a:cubicBezTo>
                  <a:pt x="4531" y="3594"/>
                  <a:pt x="4531" y="3594"/>
                  <a:pt x="4500" y="3594"/>
                </a:cubicBezTo>
                <a:close/>
                <a:moveTo>
                  <a:pt x="4469" y="3563"/>
                </a:moveTo>
                <a:cubicBezTo>
                  <a:pt x="4469" y="3563"/>
                  <a:pt x="4438" y="3563"/>
                  <a:pt x="4438" y="3563"/>
                </a:cubicBezTo>
                <a:lnTo>
                  <a:pt x="4469" y="3563"/>
                </a:lnTo>
                <a:cubicBezTo>
                  <a:pt x="4469" y="3532"/>
                  <a:pt x="4500" y="3532"/>
                  <a:pt x="4500" y="3532"/>
                </a:cubicBezTo>
                <a:cubicBezTo>
                  <a:pt x="4531" y="3532"/>
                  <a:pt x="4563" y="3469"/>
                  <a:pt x="4594" y="3500"/>
                </a:cubicBezTo>
                <a:cubicBezTo>
                  <a:pt x="4594" y="3532"/>
                  <a:pt x="4625" y="3532"/>
                  <a:pt x="4625" y="3563"/>
                </a:cubicBezTo>
                <a:cubicBezTo>
                  <a:pt x="4594" y="3532"/>
                  <a:pt x="4594" y="3563"/>
                  <a:pt x="4594" y="3563"/>
                </a:cubicBezTo>
                <a:cubicBezTo>
                  <a:pt x="4563" y="3594"/>
                  <a:pt x="4563" y="3594"/>
                  <a:pt x="4563" y="3594"/>
                </a:cubicBezTo>
                <a:cubicBezTo>
                  <a:pt x="4594" y="3594"/>
                  <a:pt x="4594" y="3594"/>
                  <a:pt x="4594" y="3625"/>
                </a:cubicBezTo>
                <a:cubicBezTo>
                  <a:pt x="4688" y="3625"/>
                  <a:pt x="4750" y="3657"/>
                  <a:pt x="4844" y="3688"/>
                </a:cubicBezTo>
                <a:cubicBezTo>
                  <a:pt x="4844" y="3688"/>
                  <a:pt x="4906" y="3719"/>
                  <a:pt x="4906" y="3657"/>
                </a:cubicBezTo>
                <a:cubicBezTo>
                  <a:pt x="4844" y="3500"/>
                  <a:pt x="4969" y="3594"/>
                  <a:pt x="4969" y="3594"/>
                </a:cubicBezTo>
                <a:cubicBezTo>
                  <a:pt x="5063" y="3719"/>
                  <a:pt x="5219" y="3688"/>
                  <a:pt x="5344" y="3688"/>
                </a:cubicBezTo>
                <a:cubicBezTo>
                  <a:pt x="5344" y="3750"/>
                  <a:pt x="5469" y="3719"/>
                  <a:pt x="5438" y="3813"/>
                </a:cubicBezTo>
                <a:cubicBezTo>
                  <a:pt x="5344" y="3813"/>
                  <a:pt x="5219" y="3750"/>
                  <a:pt x="5063" y="3782"/>
                </a:cubicBezTo>
                <a:cubicBezTo>
                  <a:pt x="5156" y="3813"/>
                  <a:pt x="5219" y="3844"/>
                  <a:pt x="5281" y="3875"/>
                </a:cubicBezTo>
                <a:cubicBezTo>
                  <a:pt x="5625" y="3938"/>
                  <a:pt x="5656" y="3969"/>
                  <a:pt x="5813" y="4094"/>
                </a:cubicBezTo>
                <a:cubicBezTo>
                  <a:pt x="5844" y="4157"/>
                  <a:pt x="5938" y="4188"/>
                  <a:pt x="6000" y="4125"/>
                </a:cubicBezTo>
                <a:cubicBezTo>
                  <a:pt x="6063" y="4063"/>
                  <a:pt x="5938" y="4094"/>
                  <a:pt x="5938" y="4032"/>
                </a:cubicBezTo>
                <a:cubicBezTo>
                  <a:pt x="5906" y="3938"/>
                  <a:pt x="5906" y="3844"/>
                  <a:pt x="5969" y="3750"/>
                </a:cubicBezTo>
                <a:cubicBezTo>
                  <a:pt x="6000" y="3719"/>
                  <a:pt x="5969" y="3688"/>
                  <a:pt x="5938" y="3657"/>
                </a:cubicBezTo>
                <a:cubicBezTo>
                  <a:pt x="5781" y="3500"/>
                  <a:pt x="5625" y="3500"/>
                  <a:pt x="5438" y="3563"/>
                </a:cubicBezTo>
                <a:cubicBezTo>
                  <a:pt x="5406" y="3500"/>
                  <a:pt x="5469" y="3469"/>
                  <a:pt x="5469" y="3469"/>
                </a:cubicBezTo>
                <a:cubicBezTo>
                  <a:pt x="5063" y="3344"/>
                  <a:pt x="4688" y="3282"/>
                  <a:pt x="4344" y="3157"/>
                </a:cubicBezTo>
                <a:cubicBezTo>
                  <a:pt x="4250" y="3125"/>
                  <a:pt x="4219" y="3188"/>
                  <a:pt x="4156" y="3188"/>
                </a:cubicBezTo>
                <a:cubicBezTo>
                  <a:pt x="4156" y="3157"/>
                  <a:pt x="4188" y="3094"/>
                  <a:pt x="4094" y="3094"/>
                </a:cubicBezTo>
                <a:cubicBezTo>
                  <a:pt x="4031" y="3094"/>
                  <a:pt x="3969" y="3094"/>
                  <a:pt x="3875" y="3094"/>
                </a:cubicBezTo>
                <a:cubicBezTo>
                  <a:pt x="3969" y="3219"/>
                  <a:pt x="4063" y="3157"/>
                  <a:pt x="4156" y="3188"/>
                </a:cubicBezTo>
                <a:cubicBezTo>
                  <a:pt x="4156" y="3250"/>
                  <a:pt x="4219" y="3250"/>
                  <a:pt x="4250" y="3250"/>
                </a:cubicBezTo>
                <a:lnTo>
                  <a:pt x="4250" y="3250"/>
                </a:lnTo>
                <a:cubicBezTo>
                  <a:pt x="4375" y="3250"/>
                  <a:pt x="4500" y="3282"/>
                  <a:pt x="4594" y="3375"/>
                </a:cubicBezTo>
                <a:cubicBezTo>
                  <a:pt x="4625" y="3407"/>
                  <a:pt x="4688" y="3375"/>
                  <a:pt x="4688" y="3375"/>
                </a:cubicBezTo>
                <a:cubicBezTo>
                  <a:pt x="4813" y="3438"/>
                  <a:pt x="4938" y="3407"/>
                  <a:pt x="5031" y="3500"/>
                </a:cubicBezTo>
                <a:cubicBezTo>
                  <a:pt x="5094" y="3532"/>
                  <a:pt x="5188" y="3532"/>
                  <a:pt x="5281" y="3532"/>
                </a:cubicBezTo>
                <a:cubicBezTo>
                  <a:pt x="5281" y="3625"/>
                  <a:pt x="5219" y="3594"/>
                  <a:pt x="5156" y="3594"/>
                </a:cubicBezTo>
                <a:cubicBezTo>
                  <a:pt x="5094" y="3625"/>
                  <a:pt x="5031" y="3594"/>
                  <a:pt x="5031" y="3532"/>
                </a:cubicBezTo>
                <a:cubicBezTo>
                  <a:pt x="4719" y="3500"/>
                  <a:pt x="4438" y="3407"/>
                  <a:pt x="4156" y="3313"/>
                </a:cubicBezTo>
                <a:cubicBezTo>
                  <a:pt x="4219" y="3375"/>
                  <a:pt x="4250" y="3438"/>
                  <a:pt x="4344" y="3438"/>
                </a:cubicBezTo>
                <a:cubicBezTo>
                  <a:pt x="4406" y="3438"/>
                  <a:pt x="4469" y="3469"/>
                  <a:pt x="4500" y="3532"/>
                </a:cubicBezTo>
                <a:cubicBezTo>
                  <a:pt x="4469" y="3532"/>
                  <a:pt x="4469" y="3532"/>
                  <a:pt x="4469" y="3563"/>
                </a:cubicBezTo>
                <a:close/>
                <a:moveTo>
                  <a:pt x="21063" y="5407"/>
                </a:moveTo>
                <a:cubicBezTo>
                  <a:pt x="21063" y="5375"/>
                  <a:pt x="21000" y="5375"/>
                  <a:pt x="21000" y="5375"/>
                </a:cubicBezTo>
                <a:cubicBezTo>
                  <a:pt x="20969" y="5438"/>
                  <a:pt x="21000" y="5469"/>
                  <a:pt x="21000" y="5532"/>
                </a:cubicBezTo>
                <a:cubicBezTo>
                  <a:pt x="21094" y="5532"/>
                  <a:pt x="21063" y="5469"/>
                  <a:pt x="21063" y="5407"/>
                </a:cubicBezTo>
                <a:close/>
                <a:moveTo>
                  <a:pt x="5219" y="2157"/>
                </a:moveTo>
                <a:cubicBezTo>
                  <a:pt x="5156" y="2063"/>
                  <a:pt x="5156" y="2063"/>
                  <a:pt x="5031" y="2094"/>
                </a:cubicBezTo>
                <a:cubicBezTo>
                  <a:pt x="5094" y="2125"/>
                  <a:pt x="5156" y="2188"/>
                  <a:pt x="5219" y="2157"/>
                </a:cubicBezTo>
                <a:close/>
                <a:moveTo>
                  <a:pt x="5938" y="9969"/>
                </a:moveTo>
                <a:cubicBezTo>
                  <a:pt x="5875" y="9969"/>
                  <a:pt x="5813" y="10000"/>
                  <a:pt x="5781" y="10063"/>
                </a:cubicBezTo>
                <a:cubicBezTo>
                  <a:pt x="5938" y="10063"/>
                  <a:pt x="5938" y="10063"/>
                  <a:pt x="5938" y="10032"/>
                </a:cubicBezTo>
                <a:cubicBezTo>
                  <a:pt x="5969" y="10000"/>
                  <a:pt x="5969" y="10000"/>
                  <a:pt x="5938" y="9969"/>
                </a:cubicBezTo>
                <a:close/>
                <a:moveTo>
                  <a:pt x="8250" y="4094"/>
                </a:moveTo>
                <a:cubicBezTo>
                  <a:pt x="8281" y="4125"/>
                  <a:pt x="8313" y="4125"/>
                  <a:pt x="8313" y="4032"/>
                </a:cubicBezTo>
                <a:cubicBezTo>
                  <a:pt x="8313" y="4000"/>
                  <a:pt x="8250" y="4032"/>
                  <a:pt x="8219" y="4000"/>
                </a:cubicBezTo>
                <a:cubicBezTo>
                  <a:pt x="8188" y="4000"/>
                  <a:pt x="8156" y="4000"/>
                  <a:pt x="8156" y="4032"/>
                </a:cubicBezTo>
                <a:cubicBezTo>
                  <a:pt x="8156" y="4094"/>
                  <a:pt x="8219" y="4094"/>
                  <a:pt x="8250" y="4094"/>
                </a:cubicBezTo>
                <a:close/>
                <a:moveTo>
                  <a:pt x="8406" y="5750"/>
                </a:moveTo>
                <a:cubicBezTo>
                  <a:pt x="8406" y="5750"/>
                  <a:pt x="8406" y="5813"/>
                  <a:pt x="8406" y="5813"/>
                </a:cubicBezTo>
                <a:cubicBezTo>
                  <a:pt x="8469" y="5813"/>
                  <a:pt x="8531" y="5907"/>
                  <a:pt x="8594" y="5813"/>
                </a:cubicBezTo>
                <a:cubicBezTo>
                  <a:pt x="8531" y="5782"/>
                  <a:pt x="8500" y="5782"/>
                  <a:pt x="8469" y="5750"/>
                </a:cubicBezTo>
                <a:cubicBezTo>
                  <a:pt x="8438" y="5750"/>
                  <a:pt x="8406" y="5719"/>
                  <a:pt x="8406" y="5750"/>
                </a:cubicBezTo>
                <a:close/>
                <a:moveTo>
                  <a:pt x="13719" y="4375"/>
                </a:moveTo>
                <a:cubicBezTo>
                  <a:pt x="13688" y="4407"/>
                  <a:pt x="13656" y="4344"/>
                  <a:pt x="13625" y="4407"/>
                </a:cubicBezTo>
                <a:cubicBezTo>
                  <a:pt x="13656" y="4438"/>
                  <a:pt x="13719" y="4500"/>
                  <a:pt x="13750" y="4532"/>
                </a:cubicBezTo>
                <a:cubicBezTo>
                  <a:pt x="13813" y="4469"/>
                  <a:pt x="13719" y="4438"/>
                  <a:pt x="13719" y="4375"/>
                </a:cubicBezTo>
                <a:cubicBezTo>
                  <a:pt x="13750" y="4313"/>
                  <a:pt x="13750" y="4250"/>
                  <a:pt x="13844" y="4313"/>
                </a:cubicBezTo>
                <a:cubicBezTo>
                  <a:pt x="13906" y="4375"/>
                  <a:pt x="13938" y="4407"/>
                  <a:pt x="13969" y="4500"/>
                </a:cubicBezTo>
                <a:lnTo>
                  <a:pt x="13969" y="4500"/>
                </a:lnTo>
                <a:cubicBezTo>
                  <a:pt x="13844" y="4500"/>
                  <a:pt x="13844" y="4344"/>
                  <a:pt x="13719" y="4375"/>
                </a:cubicBezTo>
                <a:close/>
                <a:moveTo>
                  <a:pt x="14781" y="3938"/>
                </a:moveTo>
                <a:cubicBezTo>
                  <a:pt x="14844" y="3938"/>
                  <a:pt x="14844" y="3907"/>
                  <a:pt x="14844" y="3875"/>
                </a:cubicBezTo>
                <a:cubicBezTo>
                  <a:pt x="14844" y="3844"/>
                  <a:pt x="14813" y="3813"/>
                  <a:pt x="14781" y="3844"/>
                </a:cubicBezTo>
                <a:cubicBezTo>
                  <a:pt x="14781" y="3875"/>
                  <a:pt x="14719" y="3844"/>
                  <a:pt x="14719" y="3875"/>
                </a:cubicBezTo>
                <a:cubicBezTo>
                  <a:pt x="14719" y="3907"/>
                  <a:pt x="14750" y="3938"/>
                  <a:pt x="14781" y="3938"/>
                </a:cubicBezTo>
                <a:close/>
                <a:moveTo>
                  <a:pt x="9656" y="11063"/>
                </a:moveTo>
                <a:cubicBezTo>
                  <a:pt x="9594" y="11000"/>
                  <a:pt x="9500" y="11000"/>
                  <a:pt x="9438" y="11000"/>
                </a:cubicBezTo>
                <a:cubicBezTo>
                  <a:pt x="9438" y="11000"/>
                  <a:pt x="9438" y="11000"/>
                  <a:pt x="9406" y="11000"/>
                </a:cubicBezTo>
                <a:cubicBezTo>
                  <a:pt x="9375" y="11000"/>
                  <a:pt x="9344" y="11000"/>
                  <a:pt x="9313" y="11000"/>
                </a:cubicBezTo>
                <a:cubicBezTo>
                  <a:pt x="9438" y="11157"/>
                  <a:pt x="9688" y="11157"/>
                  <a:pt x="9813" y="11282"/>
                </a:cubicBezTo>
                <a:cubicBezTo>
                  <a:pt x="9781" y="11282"/>
                  <a:pt x="9781" y="11313"/>
                  <a:pt x="9750" y="11313"/>
                </a:cubicBezTo>
                <a:cubicBezTo>
                  <a:pt x="9656" y="11282"/>
                  <a:pt x="9563" y="11250"/>
                  <a:pt x="9469" y="11250"/>
                </a:cubicBezTo>
                <a:cubicBezTo>
                  <a:pt x="9469" y="11250"/>
                  <a:pt x="9438" y="11250"/>
                  <a:pt x="9438" y="11219"/>
                </a:cubicBezTo>
                <a:cubicBezTo>
                  <a:pt x="9438" y="11094"/>
                  <a:pt x="9344" y="11094"/>
                  <a:pt x="9250" y="11094"/>
                </a:cubicBezTo>
                <a:cubicBezTo>
                  <a:pt x="9156" y="11063"/>
                  <a:pt x="9063" y="11032"/>
                  <a:pt x="9000" y="10938"/>
                </a:cubicBezTo>
                <a:cubicBezTo>
                  <a:pt x="9125" y="10969"/>
                  <a:pt x="9313" y="10844"/>
                  <a:pt x="9406" y="11000"/>
                </a:cubicBezTo>
                <a:cubicBezTo>
                  <a:pt x="9406" y="11000"/>
                  <a:pt x="9438" y="11000"/>
                  <a:pt x="9438" y="11000"/>
                </a:cubicBezTo>
                <a:cubicBezTo>
                  <a:pt x="9500" y="11063"/>
                  <a:pt x="9563" y="11094"/>
                  <a:pt x="9656" y="11063"/>
                </a:cubicBezTo>
                <a:close/>
                <a:moveTo>
                  <a:pt x="13750" y="3938"/>
                </a:moveTo>
                <a:cubicBezTo>
                  <a:pt x="13781" y="3938"/>
                  <a:pt x="13781" y="3907"/>
                  <a:pt x="13781" y="3875"/>
                </a:cubicBezTo>
                <a:cubicBezTo>
                  <a:pt x="13781" y="3844"/>
                  <a:pt x="13781" y="3813"/>
                  <a:pt x="13719" y="3813"/>
                </a:cubicBezTo>
                <a:cubicBezTo>
                  <a:pt x="13688" y="3782"/>
                  <a:pt x="13688" y="3813"/>
                  <a:pt x="13688" y="3844"/>
                </a:cubicBezTo>
                <a:cubicBezTo>
                  <a:pt x="13656" y="3875"/>
                  <a:pt x="13719" y="3907"/>
                  <a:pt x="13750" y="3938"/>
                </a:cubicBezTo>
                <a:close/>
                <a:moveTo>
                  <a:pt x="22438" y="14407"/>
                </a:moveTo>
                <a:cubicBezTo>
                  <a:pt x="22500" y="14344"/>
                  <a:pt x="22563" y="14438"/>
                  <a:pt x="22594" y="14375"/>
                </a:cubicBezTo>
                <a:cubicBezTo>
                  <a:pt x="22625" y="14313"/>
                  <a:pt x="22531" y="14313"/>
                  <a:pt x="22531" y="14313"/>
                </a:cubicBezTo>
                <a:cubicBezTo>
                  <a:pt x="22469" y="14313"/>
                  <a:pt x="22406" y="14313"/>
                  <a:pt x="22406" y="14375"/>
                </a:cubicBezTo>
                <a:cubicBezTo>
                  <a:pt x="22406" y="14407"/>
                  <a:pt x="22438" y="14407"/>
                  <a:pt x="22438" y="14407"/>
                </a:cubicBezTo>
                <a:close/>
                <a:moveTo>
                  <a:pt x="2094" y="5438"/>
                </a:moveTo>
                <a:cubicBezTo>
                  <a:pt x="2094" y="5469"/>
                  <a:pt x="2157" y="5438"/>
                  <a:pt x="2188" y="5469"/>
                </a:cubicBezTo>
                <a:cubicBezTo>
                  <a:pt x="2219" y="5438"/>
                  <a:pt x="2282" y="5469"/>
                  <a:pt x="2282" y="5407"/>
                </a:cubicBezTo>
                <a:cubicBezTo>
                  <a:pt x="2282" y="5375"/>
                  <a:pt x="2219" y="5375"/>
                  <a:pt x="2188" y="5375"/>
                </a:cubicBezTo>
                <a:cubicBezTo>
                  <a:pt x="2157" y="5375"/>
                  <a:pt x="2094" y="5344"/>
                  <a:pt x="2094" y="5438"/>
                </a:cubicBezTo>
                <a:close/>
                <a:moveTo>
                  <a:pt x="10844" y="3188"/>
                </a:moveTo>
                <a:cubicBezTo>
                  <a:pt x="10875" y="3188"/>
                  <a:pt x="10875" y="3157"/>
                  <a:pt x="10875" y="3125"/>
                </a:cubicBezTo>
                <a:cubicBezTo>
                  <a:pt x="10813" y="3063"/>
                  <a:pt x="10750" y="3094"/>
                  <a:pt x="10688" y="3094"/>
                </a:cubicBezTo>
                <a:cubicBezTo>
                  <a:pt x="10688" y="3094"/>
                  <a:pt x="10688" y="3094"/>
                  <a:pt x="10656" y="3094"/>
                </a:cubicBezTo>
                <a:cubicBezTo>
                  <a:pt x="10719" y="3157"/>
                  <a:pt x="10781" y="3188"/>
                  <a:pt x="10844" y="3188"/>
                </a:cubicBezTo>
                <a:close/>
                <a:moveTo>
                  <a:pt x="11531" y="12563"/>
                </a:moveTo>
                <a:cubicBezTo>
                  <a:pt x="11531" y="12657"/>
                  <a:pt x="11563" y="12719"/>
                  <a:pt x="11625" y="12750"/>
                </a:cubicBezTo>
                <a:cubicBezTo>
                  <a:pt x="11625" y="12750"/>
                  <a:pt x="11656" y="12719"/>
                  <a:pt x="11656" y="12719"/>
                </a:cubicBezTo>
                <a:cubicBezTo>
                  <a:pt x="11625" y="12657"/>
                  <a:pt x="11625" y="12594"/>
                  <a:pt x="11531" y="12563"/>
                </a:cubicBezTo>
                <a:close/>
                <a:moveTo>
                  <a:pt x="10250" y="2250"/>
                </a:moveTo>
                <a:cubicBezTo>
                  <a:pt x="10188" y="2282"/>
                  <a:pt x="10219" y="2157"/>
                  <a:pt x="10156" y="2188"/>
                </a:cubicBezTo>
                <a:cubicBezTo>
                  <a:pt x="10125" y="2188"/>
                  <a:pt x="10094" y="2219"/>
                  <a:pt x="10125" y="2250"/>
                </a:cubicBezTo>
                <a:cubicBezTo>
                  <a:pt x="10156" y="2282"/>
                  <a:pt x="10188" y="2282"/>
                  <a:pt x="10250" y="2250"/>
                </a:cubicBezTo>
                <a:close/>
                <a:moveTo>
                  <a:pt x="2938" y="5688"/>
                </a:moveTo>
                <a:cubicBezTo>
                  <a:pt x="2969" y="5657"/>
                  <a:pt x="2969" y="5594"/>
                  <a:pt x="2969" y="5594"/>
                </a:cubicBezTo>
                <a:cubicBezTo>
                  <a:pt x="2875" y="5500"/>
                  <a:pt x="2875" y="5625"/>
                  <a:pt x="2813" y="5625"/>
                </a:cubicBezTo>
                <a:cubicBezTo>
                  <a:pt x="2875" y="5625"/>
                  <a:pt x="2844" y="5750"/>
                  <a:pt x="2938" y="5688"/>
                </a:cubicBezTo>
                <a:close/>
                <a:moveTo>
                  <a:pt x="9625" y="4157"/>
                </a:moveTo>
                <a:cubicBezTo>
                  <a:pt x="9688" y="4219"/>
                  <a:pt x="9688" y="4313"/>
                  <a:pt x="9813" y="4282"/>
                </a:cubicBezTo>
                <a:cubicBezTo>
                  <a:pt x="9750" y="4219"/>
                  <a:pt x="9719" y="4188"/>
                  <a:pt x="9656" y="4125"/>
                </a:cubicBezTo>
                <a:cubicBezTo>
                  <a:pt x="9656" y="4125"/>
                  <a:pt x="9656" y="4157"/>
                  <a:pt x="9625" y="4157"/>
                </a:cubicBezTo>
                <a:close/>
                <a:moveTo>
                  <a:pt x="0" y="5500"/>
                </a:moveTo>
                <a:cubicBezTo>
                  <a:pt x="94" y="5594"/>
                  <a:pt x="157" y="5563"/>
                  <a:pt x="250" y="5563"/>
                </a:cubicBezTo>
                <a:cubicBezTo>
                  <a:pt x="157" y="5469"/>
                  <a:pt x="94" y="5469"/>
                  <a:pt x="0" y="5500"/>
                </a:cubicBezTo>
                <a:close/>
                <a:moveTo>
                  <a:pt x="12906" y="4688"/>
                </a:moveTo>
                <a:cubicBezTo>
                  <a:pt x="12906" y="4688"/>
                  <a:pt x="12906" y="4657"/>
                  <a:pt x="12906" y="4657"/>
                </a:cubicBezTo>
                <a:cubicBezTo>
                  <a:pt x="12906" y="4625"/>
                  <a:pt x="12938" y="4594"/>
                  <a:pt x="12938" y="4594"/>
                </a:cubicBezTo>
                <a:cubicBezTo>
                  <a:pt x="12938" y="4532"/>
                  <a:pt x="12875" y="4532"/>
                  <a:pt x="12844" y="4563"/>
                </a:cubicBezTo>
                <a:cubicBezTo>
                  <a:pt x="12781" y="4625"/>
                  <a:pt x="12875" y="4657"/>
                  <a:pt x="12906" y="4688"/>
                </a:cubicBezTo>
                <a:close/>
                <a:moveTo>
                  <a:pt x="13688" y="6907"/>
                </a:moveTo>
                <a:cubicBezTo>
                  <a:pt x="13688" y="6813"/>
                  <a:pt x="13594" y="6813"/>
                  <a:pt x="13563" y="6719"/>
                </a:cubicBezTo>
                <a:cubicBezTo>
                  <a:pt x="13531" y="6844"/>
                  <a:pt x="13594" y="6875"/>
                  <a:pt x="13656" y="6907"/>
                </a:cubicBezTo>
                <a:cubicBezTo>
                  <a:pt x="13656" y="6907"/>
                  <a:pt x="13688" y="6907"/>
                  <a:pt x="13688" y="6907"/>
                </a:cubicBezTo>
                <a:close/>
                <a:moveTo>
                  <a:pt x="6594" y="2938"/>
                </a:moveTo>
                <a:cubicBezTo>
                  <a:pt x="6594" y="3032"/>
                  <a:pt x="6656" y="3063"/>
                  <a:pt x="6750" y="3032"/>
                </a:cubicBezTo>
                <a:cubicBezTo>
                  <a:pt x="6719" y="2969"/>
                  <a:pt x="6656" y="2938"/>
                  <a:pt x="6594" y="2938"/>
                </a:cubicBezTo>
                <a:close/>
                <a:moveTo>
                  <a:pt x="11188" y="12500"/>
                </a:moveTo>
                <a:cubicBezTo>
                  <a:pt x="11250" y="12469"/>
                  <a:pt x="11313" y="12438"/>
                  <a:pt x="11375" y="12375"/>
                </a:cubicBezTo>
                <a:cubicBezTo>
                  <a:pt x="11250" y="12344"/>
                  <a:pt x="11219" y="12375"/>
                  <a:pt x="11188" y="12500"/>
                </a:cubicBezTo>
                <a:close/>
                <a:moveTo>
                  <a:pt x="15219" y="4532"/>
                </a:moveTo>
                <a:cubicBezTo>
                  <a:pt x="15250" y="4532"/>
                  <a:pt x="15281" y="4563"/>
                  <a:pt x="15281" y="4500"/>
                </a:cubicBezTo>
                <a:cubicBezTo>
                  <a:pt x="15250" y="4469"/>
                  <a:pt x="15250" y="4438"/>
                  <a:pt x="15219" y="4438"/>
                </a:cubicBezTo>
                <a:cubicBezTo>
                  <a:pt x="15188" y="4438"/>
                  <a:pt x="15156" y="4438"/>
                  <a:pt x="15156" y="4469"/>
                </a:cubicBezTo>
                <a:cubicBezTo>
                  <a:pt x="15156" y="4532"/>
                  <a:pt x="15188" y="4532"/>
                  <a:pt x="15219" y="453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19"/>
                </a:cubicBezTo>
                <a:cubicBezTo>
                  <a:pt x="23250" y="14688"/>
                  <a:pt x="23344" y="14688"/>
                  <a:pt x="23344" y="14625"/>
                </a:cubicBezTo>
                <a:lnTo>
                  <a:pt x="23344" y="14625"/>
                </a:lnTo>
                <a:cubicBezTo>
                  <a:pt x="23281" y="14594"/>
                  <a:pt x="23250" y="14594"/>
                  <a:pt x="23219" y="14657"/>
                </a:cubicBezTo>
                <a:cubicBezTo>
                  <a:pt x="23156" y="14750"/>
                  <a:pt x="23250" y="14719"/>
                  <a:pt x="23281" y="14719"/>
                </a:cubicBezTo>
                <a:cubicBezTo>
                  <a:pt x="23281" y="14750"/>
                  <a:pt x="23281" y="14750"/>
                  <a:pt x="23281" y="14750"/>
                </a:cubicBezTo>
                <a:cubicBezTo>
                  <a:pt x="23250" y="14813"/>
                  <a:pt x="23156" y="14782"/>
                  <a:pt x="23125" y="14844"/>
                </a:cubicBezTo>
                <a:cubicBezTo>
                  <a:pt x="23406" y="14875"/>
                  <a:pt x="23563" y="14844"/>
                  <a:pt x="23625" y="14750"/>
                </a:cubicBezTo>
                <a:cubicBezTo>
                  <a:pt x="23500" y="14719"/>
                  <a:pt x="23375" y="14782"/>
                  <a:pt x="23281" y="14750"/>
                </a:cubicBez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12156" y="4813"/>
                </a:moveTo>
                <a:cubicBezTo>
                  <a:pt x="12313" y="4813"/>
                  <a:pt x="12313" y="4813"/>
                  <a:pt x="12313" y="4719"/>
                </a:cubicBezTo>
                <a:cubicBezTo>
                  <a:pt x="12313" y="4719"/>
                  <a:pt x="12313" y="4719"/>
                  <a:pt x="12313" y="4688"/>
                </a:cubicBezTo>
                <a:cubicBezTo>
                  <a:pt x="12375" y="4657"/>
                  <a:pt x="12469" y="4625"/>
                  <a:pt x="12531" y="4750"/>
                </a:cubicBezTo>
                <a:cubicBezTo>
                  <a:pt x="12531" y="4782"/>
                  <a:pt x="12563" y="4813"/>
                  <a:pt x="12594" y="4782"/>
                </a:cubicBezTo>
                <a:cubicBezTo>
                  <a:pt x="12625" y="4782"/>
                  <a:pt x="12625" y="4719"/>
                  <a:pt x="12656" y="4719"/>
                </a:cubicBezTo>
                <a:cubicBezTo>
                  <a:pt x="12656" y="4688"/>
                  <a:pt x="12656" y="4657"/>
                  <a:pt x="12625" y="4625"/>
                </a:cubicBezTo>
                <a:cubicBezTo>
                  <a:pt x="12563" y="4594"/>
                  <a:pt x="12531" y="4594"/>
                  <a:pt x="12469" y="4563"/>
                </a:cubicBezTo>
                <a:cubicBezTo>
                  <a:pt x="12438" y="4563"/>
                  <a:pt x="12406" y="4563"/>
                  <a:pt x="12375" y="4500"/>
                </a:cubicBezTo>
                <a:cubicBezTo>
                  <a:pt x="12375" y="4500"/>
                  <a:pt x="12406" y="4469"/>
                  <a:pt x="12406" y="4469"/>
                </a:cubicBezTo>
                <a:cubicBezTo>
                  <a:pt x="12469" y="4469"/>
                  <a:pt x="12500" y="4469"/>
                  <a:pt x="12500" y="4532"/>
                </a:cubicBezTo>
                <a:cubicBezTo>
                  <a:pt x="12531" y="4532"/>
                  <a:pt x="12563" y="4532"/>
                  <a:pt x="12563" y="4532"/>
                </a:cubicBezTo>
                <a:cubicBezTo>
                  <a:pt x="12563" y="4469"/>
                  <a:pt x="12500" y="4469"/>
                  <a:pt x="12469" y="4438"/>
                </a:cubicBezTo>
                <a:cubicBezTo>
                  <a:pt x="12469" y="4344"/>
                  <a:pt x="12406" y="4282"/>
                  <a:pt x="12313" y="4282"/>
                </a:cubicBezTo>
                <a:cubicBezTo>
                  <a:pt x="12250" y="4282"/>
                  <a:pt x="12156" y="4282"/>
                  <a:pt x="12094" y="4282"/>
                </a:cubicBezTo>
                <a:cubicBezTo>
                  <a:pt x="12063" y="4282"/>
                  <a:pt x="12063" y="4313"/>
                  <a:pt x="12063" y="4313"/>
                </a:cubicBezTo>
                <a:cubicBezTo>
                  <a:pt x="12125" y="4407"/>
                  <a:pt x="12031" y="4375"/>
                  <a:pt x="12031" y="4375"/>
                </a:cubicBezTo>
                <a:cubicBezTo>
                  <a:pt x="11969" y="4344"/>
                  <a:pt x="11906" y="4313"/>
                  <a:pt x="11844" y="4282"/>
                </a:cubicBezTo>
                <a:cubicBezTo>
                  <a:pt x="11813" y="4250"/>
                  <a:pt x="11813" y="4219"/>
                  <a:pt x="11813" y="4188"/>
                </a:cubicBezTo>
                <a:cubicBezTo>
                  <a:pt x="11875" y="4094"/>
                  <a:pt x="11906" y="4063"/>
                  <a:pt x="11969" y="4157"/>
                </a:cubicBezTo>
                <a:cubicBezTo>
                  <a:pt x="12031" y="4219"/>
                  <a:pt x="12094" y="4188"/>
                  <a:pt x="12125" y="4219"/>
                </a:cubicBezTo>
                <a:cubicBezTo>
                  <a:pt x="12125" y="4219"/>
                  <a:pt x="12156" y="4188"/>
                  <a:pt x="12156" y="4157"/>
                </a:cubicBezTo>
                <a:cubicBezTo>
                  <a:pt x="12125" y="4094"/>
                  <a:pt x="12063" y="4125"/>
                  <a:pt x="12031" y="4125"/>
                </a:cubicBezTo>
                <a:cubicBezTo>
                  <a:pt x="12031" y="4094"/>
                  <a:pt x="12000" y="4094"/>
                  <a:pt x="12000" y="4094"/>
                </a:cubicBezTo>
                <a:cubicBezTo>
                  <a:pt x="11813" y="3844"/>
                  <a:pt x="11531" y="3844"/>
                  <a:pt x="11313" y="3688"/>
                </a:cubicBezTo>
                <a:cubicBezTo>
                  <a:pt x="11281" y="3688"/>
                  <a:pt x="11250" y="3657"/>
                  <a:pt x="11188" y="3719"/>
                </a:cubicBezTo>
                <a:lnTo>
                  <a:pt x="11188" y="3719"/>
                </a:lnTo>
                <a:cubicBezTo>
                  <a:pt x="11250" y="3719"/>
                  <a:pt x="11344" y="3750"/>
                  <a:pt x="11250" y="3813"/>
                </a:cubicBezTo>
                <a:cubicBezTo>
                  <a:pt x="11219" y="3875"/>
                  <a:pt x="11281" y="3875"/>
                  <a:pt x="11281" y="3907"/>
                </a:cubicBezTo>
                <a:cubicBezTo>
                  <a:pt x="11313" y="3938"/>
                  <a:pt x="11344" y="3969"/>
                  <a:pt x="11375" y="3938"/>
                </a:cubicBezTo>
                <a:cubicBezTo>
                  <a:pt x="11406" y="3875"/>
                  <a:pt x="11469" y="3907"/>
                  <a:pt x="11500" y="3907"/>
                </a:cubicBezTo>
                <a:cubicBezTo>
                  <a:pt x="11625" y="3969"/>
                  <a:pt x="11625" y="4125"/>
                  <a:pt x="11781" y="4188"/>
                </a:cubicBezTo>
                <a:cubicBezTo>
                  <a:pt x="11688" y="4219"/>
                  <a:pt x="11656" y="4188"/>
                  <a:pt x="11594" y="4157"/>
                </a:cubicBezTo>
                <a:cubicBezTo>
                  <a:pt x="11531" y="4125"/>
                  <a:pt x="11469" y="4094"/>
                  <a:pt x="11406" y="4063"/>
                </a:cubicBezTo>
                <a:cubicBezTo>
                  <a:pt x="11344" y="4063"/>
                  <a:pt x="11313" y="4063"/>
                  <a:pt x="11281" y="4125"/>
                </a:cubicBezTo>
                <a:cubicBezTo>
                  <a:pt x="11250" y="4188"/>
                  <a:pt x="11313" y="4250"/>
                  <a:pt x="11344" y="4282"/>
                </a:cubicBezTo>
                <a:cubicBezTo>
                  <a:pt x="11375" y="4313"/>
                  <a:pt x="11406" y="4375"/>
                  <a:pt x="11438" y="4344"/>
                </a:cubicBezTo>
                <a:cubicBezTo>
                  <a:pt x="11531" y="4250"/>
                  <a:pt x="11531" y="4282"/>
                  <a:pt x="11563" y="4375"/>
                </a:cubicBezTo>
                <a:cubicBezTo>
                  <a:pt x="11563" y="4407"/>
                  <a:pt x="11594" y="4469"/>
                  <a:pt x="11656" y="4407"/>
                </a:cubicBezTo>
                <a:cubicBezTo>
                  <a:pt x="11719" y="4375"/>
                  <a:pt x="11750" y="4407"/>
                  <a:pt x="11750" y="4469"/>
                </a:cubicBezTo>
                <a:cubicBezTo>
                  <a:pt x="11781" y="4500"/>
                  <a:pt x="11781" y="4532"/>
                  <a:pt x="11844" y="4532"/>
                </a:cubicBezTo>
                <a:cubicBezTo>
                  <a:pt x="11938" y="4594"/>
                  <a:pt x="12031" y="4657"/>
                  <a:pt x="12094" y="4750"/>
                </a:cubicBezTo>
                <a:cubicBezTo>
                  <a:pt x="12125" y="4719"/>
                  <a:pt x="12094" y="4594"/>
                  <a:pt x="12188" y="4625"/>
                </a:cubicBezTo>
                <a:cubicBezTo>
                  <a:pt x="12219" y="4657"/>
                  <a:pt x="12313" y="4594"/>
                  <a:pt x="12313" y="4688"/>
                </a:cubicBezTo>
                <a:cubicBezTo>
                  <a:pt x="12313" y="4688"/>
                  <a:pt x="12313" y="4719"/>
                  <a:pt x="12313" y="4719"/>
                </a:cubicBezTo>
                <a:cubicBezTo>
                  <a:pt x="12250" y="4750"/>
                  <a:pt x="12156" y="4750"/>
                  <a:pt x="12156" y="4813"/>
                </a:cubicBezTo>
                <a:close/>
                <a:moveTo>
                  <a:pt x="7594" y="10625"/>
                </a:moveTo>
                <a:cubicBezTo>
                  <a:pt x="7563" y="10625"/>
                  <a:pt x="7500" y="10625"/>
                  <a:pt x="7531" y="10688"/>
                </a:cubicBezTo>
                <a:cubicBezTo>
                  <a:pt x="7531" y="10719"/>
                  <a:pt x="7531" y="10750"/>
                  <a:pt x="7563" y="10719"/>
                </a:cubicBezTo>
                <a:cubicBezTo>
                  <a:pt x="7594" y="10719"/>
                  <a:pt x="7656" y="10719"/>
                  <a:pt x="7656" y="10657"/>
                </a:cubicBezTo>
                <a:cubicBezTo>
                  <a:pt x="7656" y="10625"/>
                  <a:pt x="7625" y="10625"/>
                  <a:pt x="7594" y="10625"/>
                </a:cubicBezTo>
                <a:close/>
                <a:moveTo>
                  <a:pt x="13000" y="4125"/>
                </a:moveTo>
                <a:cubicBezTo>
                  <a:pt x="13063" y="4125"/>
                  <a:pt x="13063" y="4094"/>
                  <a:pt x="13094" y="4063"/>
                </a:cubicBezTo>
                <a:cubicBezTo>
                  <a:pt x="13094" y="4032"/>
                  <a:pt x="13094" y="4000"/>
                  <a:pt x="13031" y="4000"/>
                </a:cubicBezTo>
                <a:cubicBezTo>
                  <a:pt x="13000" y="4000"/>
                  <a:pt x="12969" y="4032"/>
                  <a:pt x="12938" y="4094"/>
                </a:cubicBezTo>
                <a:cubicBezTo>
                  <a:pt x="12938" y="4125"/>
                  <a:pt x="13000" y="4125"/>
                  <a:pt x="13000" y="4125"/>
                </a:cubicBezTo>
                <a:close/>
                <a:moveTo>
                  <a:pt x="4031" y="9157"/>
                </a:moveTo>
                <a:cubicBezTo>
                  <a:pt x="4094" y="9219"/>
                  <a:pt x="4156" y="9250"/>
                  <a:pt x="4219" y="9125"/>
                </a:cubicBezTo>
                <a:cubicBezTo>
                  <a:pt x="4156" y="9125"/>
                  <a:pt x="4094" y="9094"/>
                  <a:pt x="4031" y="9157"/>
                </a:cubicBezTo>
                <a:close/>
                <a:moveTo>
                  <a:pt x="2219" y="4157"/>
                </a:moveTo>
                <a:cubicBezTo>
                  <a:pt x="2157" y="4094"/>
                  <a:pt x="2063" y="4094"/>
                  <a:pt x="1969" y="4125"/>
                </a:cubicBezTo>
                <a:cubicBezTo>
                  <a:pt x="2032" y="4157"/>
                  <a:pt x="2125" y="4157"/>
                  <a:pt x="2219" y="4188"/>
                </a:cubicBezTo>
                <a:cubicBezTo>
                  <a:pt x="2219" y="4188"/>
                  <a:pt x="2219" y="4157"/>
                  <a:pt x="2219" y="4157"/>
                </a:cubicBezTo>
                <a:close/>
                <a:moveTo>
                  <a:pt x="5531" y="2219"/>
                </a:moveTo>
                <a:cubicBezTo>
                  <a:pt x="5469" y="2125"/>
                  <a:pt x="5375" y="2157"/>
                  <a:pt x="5281" y="2157"/>
                </a:cubicBezTo>
                <a:cubicBezTo>
                  <a:pt x="5375" y="2219"/>
                  <a:pt x="5438" y="2250"/>
                  <a:pt x="5531" y="2219"/>
                </a:cubicBezTo>
                <a:close/>
                <a:moveTo>
                  <a:pt x="9594" y="6657"/>
                </a:moveTo>
                <a:cubicBezTo>
                  <a:pt x="9531" y="6594"/>
                  <a:pt x="9469" y="6563"/>
                  <a:pt x="9375" y="6594"/>
                </a:cubicBezTo>
                <a:cubicBezTo>
                  <a:pt x="9438" y="6688"/>
                  <a:pt x="9531" y="6657"/>
                  <a:pt x="9594" y="6657"/>
                </a:cubicBezTo>
                <a:close/>
                <a:moveTo>
                  <a:pt x="19469" y="14782"/>
                </a:moveTo>
                <a:cubicBezTo>
                  <a:pt x="19563" y="14719"/>
                  <a:pt x="19656" y="14875"/>
                  <a:pt x="19719" y="14750"/>
                </a:cubicBezTo>
                <a:cubicBezTo>
                  <a:pt x="19656" y="14719"/>
                  <a:pt x="19594" y="14719"/>
                  <a:pt x="19500" y="14719"/>
                </a:cubicBezTo>
                <a:cubicBezTo>
                  <a:pt x="19438" y="14719"/>
                  <a:pt x="19438" y="14750"/>
                  <a:pt x="19469" y="14782"/>
                </a:cubicBezTo>
                <a:close/>
                <a:moveTo>
                  <a:pt x="14500" y="4782"/>
                </a:moveTo>
                <a:cubicBezTo>
                  <a:pt x="14531" y="4782"/>
                  <a:pt x="14594" y="4813"/>
                  <a:pt x="14594" y="4750"/>
                </a:cubicBezTo>
                <a:cubicBezTo>
                  <a:pt x="14594" y="4688"/>
                  <a:pt x="14531" y="4719"/>
                  <a:pt x="14500" y="4688"/>
                </a:cubicBezTo>
                <a:cubicBezTo>
                  <a:pt x="14469" y="4719"/>
                  <a:pt x="14406" y="4688"/>
                  <a:pt x="14406" y="4750"/>
                </a:cubicBezTo>
                <a:cubicBezTo>
                  <a:pt x="14406" y="4813"/>
                  <a:pt x="14469" y="4782"/>
                  <a:pt x="14500" y="4782"/>
                </a:cubicBezTo>
                <a:close/>
                <a:moveTo>
                  <a:pt x="15938" y="14532"/>
                </a:moveTo>
                <a:cubicBezTo>
                  <a:pt x="16000" y="14625"/>
                  <a:pt x="16094" y="14657"/>
                  <a:pt x="16156" y="14594"/>
                </a:cubicBezTo>
                <a:cubicBezTo>
                  <a:pt x="16094" y="14594"/>
                  <a:pt x="16031" y="14532"/>
                  <a:pt x="15938" y="14532"/>
                </a:cubicBezTo>
                <a:close/>
                <a:moveTo>
                  <a:pt x="25906" y="14157"/>
                </a:moveTo>
                <a:cubicBezTo>
                  <a:pt x="25875" y="14157"/>
                  <a:pt x="25844" y="14157"/>
                  <a:pt x="25844" y="14188"/>
                </a:cubicBezTo>
                <a:cubicBezTo>
                  <a:pt x="25813" y="14250"/>
                  <a:pt x="25906" y="14219"/>
                  <a:pt x="25938" y="14250"/>
                </a:cubicBezTo>
                <a:cubicBezTo>
                  <a:pt x="25938" y="14282"/>
                  <a:pt x="26000" y="14250"/>
                  <a:pt x="26000" y="14219"/>
                </a:cubicBezTo>
                <a:cubicBezTo>
                  <a:pt x="26000" y="14157"/>
                  <a:pt x="25938" y="14188"/>
                  <a:pt x="25906" y="14157"/>
                </a:cubicBezTo>
                <a:close/>
                <a:moveTo>
                  <a:pt x="6875" y="3125"/>
                </a:moveTo>
                <a:cubicBezTo>
                  <a:pt x="6875" y="3125"/>
                  <a:pt x="6906" y="3094"/>
                  <a:pt x="6875" y="3063"/>
                </a:cubicBezTo>
                <a:cubicBezTo>
                  <a:pt x="6750" y="3000"/>
                  <a:pt x="6813" y="3188"/>
                  <a:pt x="6719" y="3157"/>
                </a:cubicBezTo>
                <a:cubicBezTo>
                  <a:pt x="6781" y="3188"/>
                  <a:pt x="6844" y="3219"/>
                  <a:pt x="6875" y="3125"/>
                </a:cubicBezTo>
                <a:close/>
                <a:moveTo>
                  <a:pt x="15281" y="13969"/>
                </a:moveTo>
                <a:cubicBezTo>
                  <a:pt x="15250" y="13969"/>
                  <a:pt x="15219" y="13938"/>
                  <a:pt x="15188" y="13969"/>
                </a:cubicBezTo>
                <a:cubicBezTo>
                  <a:pt x="15188" y="14000"/>
                  <a:pt x="15219" y="14032"/>
                  <a:pt x="15250" y="14032"/>
                </a:cubicBezTo>
                <a:cubicBezTo>
                  <a:pt x="15281" y="14032"/>
                  <a:pt x="15313" y="14063"/>
                  <a:pt x="15344" y="14032"/>
                </a:cubicBezTo>
                <a:cubicBezTo>
                  <a:pt x="15375" y="14032"/>
                  <a:pt x="15375" y="14000"/>
                  <a:pt x="15375" y="14000"/>
                </a:cubicBezTo>
                <a:cubicBezTo>
                  <a:pt x="15344" y="13938"/>
                  <a:pt x="15313" y="13969"/>
                  <a:pt x="15281" y="13969"/>
                </a:cubicBezTo>
                <a:close/>
                <a:moveTo>
                  <a:pt x="17219" y="13938"/>
                </a:moveTo>
                <a:cubicBezTo>
                  <a:pt x="17125" y="13907"/>
                  <a:pt x="17063" y="13907"/>
                  <a:pt x="17000" y="13969"/>
                </a:cubicBezTo>
                <a:cubicBezTo>
                  <a:pt x="17063" y="14000"/>
                  <a:pt x="17156" y="14032"/>
                  <a:pt x="17219" y="13938"/>
                </a:cubicBezTo>
                <a:close/>
                <a:moveTo>
                  <a:pt x="14469" y="13719"/>
                </a:moveTo>
                <a:cubicBezTo>
                  <a:pt x="14500" y="13719"/>
                  <a:pt x="14563" y="13750"/>
                  <a:pt x="14563" y="13688"/>
                </a:cubicBezTo>
                <a:cubicBezTo>
                  <a:pt x="14531" y="13625"/>
                  <a:pt x="14500" y="13625"/>
                  <a:pt x="14469" y="13625"/>
                </a:cubicBezTo>
                <a:cubicBezTo>
                  <a:pt x="14438" y="13625"/>
                  <a:pt x="14375" y="13625"/>
                  <a:pt x="14375" y="13657"/>
                </a:cubicBezTo>
                <a:cubicBezTo>
                  <a:pt x="14375" y="13719"/>
                  <a:pt x="14438" y="13719"/>
                  <a:pt x="14469" y="13719"/>
                </a:cubicBezTo>
                <a:close/>
                <a:moveTo>
                  <a:pt x="13125" y="13469"/>
                </a:moveTo>
                <a:cubicBezTo>
                  <a:pt x="13094" y="13438"/>
                  <a:pt x="13063" y="13469"/>
                  <a:pt x="13031" y="13407"/>
                </a:cubicBezTo>
                <a:cubicBezTo>
                  <a:pt x="13063" y="13469"/>
                  <a:pt x="13063" y="13500"/>
                  <a:pt x="13063" y="13500"/>
                </a:cubicBezTo>
                <a:cubicBezTo>
                  <a:pt x="13094" y="13563"/>
                  <a:pt x="13156" y="13532"/>
                  <a:pt x="13188" y="13532"/>
                </a:cubicBezTo>
                <a:cubicBezTo>
                  <a:pt x="13219" y="13532"/>
                  <a:pt x="13219" y="13532"/>
                  <a:pt x="13219" y="13500"/>
                </a:cubicBezTo>
                <a:cubicBezTo>
                  <a:pt x="13188" y="13469"/>
                  <a:pt x="13156" y="13469"/>
                  <a:pt x="13125" y="13469"/>
                </a:cubicBezTo>
                <a:close/>
                <a:moveTo>
                  <a:pt x="4906" y="9844"/>
                </a:moveTo>
                <a:cubicBezTo>
                  <a:pt x="4969" y="9844"/>
                  <a:pt x="5031" y="9907"/>
                  <a:pt x="5094" y="9813"/>
                </a:cubicBezTo>
                <a:cubicBezTo>
                  <a:pt x="5094" y="9813"/>
                  <a:pt x="5094" y="9782"/>
                  <a:pt x="5094" y="9782"/>
                </a:cubicBezTo>
                <a:cubicBezTo>
                  <a:pt x="5031" y="9750"/>
                  <a:pt x="4969" y="9782"/>
                  <a:pt x="4906" y="9844"/>
                </a:cubicBezTo>
                <a:close/>
                <a:moveTo>
                  <a:pt x="15031" y="4313"/>
                </a:moveTo>
                <a:cubicBezTo>
                  <a:pt x="15000" y="4250"/>
                  <a:pt x="15000" y="4157"/>
                  <a:pt x="14938" y="4125"/>
                </a:cubicBezTo>
                <a:cubicBezTo>
                  <a:pt x="14938" y="4094"/>
                  <a:pt x="14906" y="4125"/>
                  <a:pt x="14906" y="4157"/>
                </a:cubicBezTo>
                <a:cubicBezTo>
                  <a:pt x="14906" y="4219"/>
                  <a:pt x="14938" y="4282"/>
                  <a:pt x="15031" y="4313"/>
                </a:cubicBezTo>
                <a:close/>
                <a:moveTo>
                  <a:pt x="23750" y="14594"/>
                </a:moveTo>
                <a:cubicBezTo>
                  <a:pt x="23906" y="14594"/>
                  <a:pt x="23906" y="14594"/>
                  <a:pt x="23938" y="14532"/>
                </a:cubicBezTo>
                <a:cubicBezTo>
                  <a:pt x="23875" y="14532"/>
                  <a:pt x="23813" y="14532"/>
                  <a:pt x="23750" y="14594"/>
                </a:cubicBezTo>
                <a:close/>
                <a:moveTo>
                  <a:pt x="17594" y="14719"/>
                </a:moveTo>
                <a:cubicBezTo>
                  <a:pt x="17594" y="14719"/>
                  <a:pt x="17625" y="14782"/>
                  <a:pt x="17656" y="14782"/>
                </a:cubicBezTo>
                <a:cubicBezTo>
                  <a:pt x="17719" y="14782"/>
                  <a:pt x="17719" y="14719"/>
                  <a:pt x="17750" y="14657"/>
                </a:cubicBezTo>
                <a:cubicBezTo>
                  <a:pt x="17688" y="14657"/>
                  <a:pt x="17594" y="14625"/>
                  <a:pt x="17594" y="14719"/>
                </a:cubicBezTo>
                <a:close/>
                <a:moveTo>
                  <a:pt x="10563" y="4313"/>
                </a:moveTo>
                <a:cubicBezTo>
                  <a:pt x="10594" y="4344"/>
                  <a:pt x="10656" y="4407"/>
                  <a:pt x="10750" y="4344"/>
                </a:cubicBezTo>
                <a:cubicBezTo>
                  <a:pt x="10625" y="4282"/>
                  <a:pt x="10531" y="4219"/>
                  <a:pt x="10406" y="4250"/>
                </a:cubicBezTo>
                <a:cubicBezTo>
                  <a:pt x="10406" y="4250"/>
                  <a:pt x="10406" y="4282"/>
                  <a:pt x="10406" y="4282"/>
                </a:cubicBezTo>
                <a:cubicBezTo>
                  <a:pt x="10438" y="4282"/>
                  <a:pt x="10469" y="4282"/>
                  <a:pt x="10438" y="4313"/>
                </a:cubicBezTo>
                <a:cubicBezTo>
                  <a:pt x="10500" y="4250"/>
                  <a:pt x="10500" y="4313"/>
                  <a:pt x="10563" y="4313"/>
                </a:cubicBezTo>
                <a:close/>
                <a:moveTo>
                  <a:pt x="10438" y="4313"/>
                </a:moveTo>
                <a:cubicBezTo>
                  <a:pt x="10438" y="4313"/>
                  <a:pt x="10438" y="4313"/>
                  <a:pt x="10406" y="4313"/>
                </a:cubicBezTo>
                <a:cubicBezTo>
                  <a:pt x="10375" y="4282"/>
                  <a:pt x="10344" y="4282"/>
                  <a:pt x="10313" y="4250"/>
                </a:cubicBezTo>
                <a:cubicBezTo>
                  <a:pt x="10281" y="4250"/>
                  <a:pt x="10250" y="4250"/>
                  <a:pt x="10250" y="4250"/>
                </a:cubicBezTo>
                <a:cubicBezTo>
                  <a:pt x="10219" y="4282"/>
                  <a:pt x="10156" y="4188"/>
                  <a:pt x="10125" y="4250"/>
                </a:cubicBezTo>
                <a:lnTo>
                  <a:pt x="10125" y="4250"/>
                </a:lnTo>
                <a:cubicBezTo>
                  <a:pt x="10125" y="4282"/>
                  <a:pt x="10188" y="4313"/>
                  <a:pt x="10219" y="4344"/>
                </a:cubicBezTo>
                <a:cubicBezTo>
                  <a:pt x="10250" y="4438"/>
                  <a:pt x="10375" y="4407"/>
                  <a:pt x="10438" y="4313"/>
                </a:cubicBezTo>
                <a:close/>
                <a:moveTo>
                  <a:pt x="14156" y="13282"/>
                </a:moveTo>
                <a:cubicBezTo>
                  <a:pt x="14156" y="13282"/>
                  <a:pt x="14156" y="13282"/>
                  <a:pt x="14188" y="13282"/>
                </a:cubicBezTo>
                <a:cubicBezTo>
                  <a:pt x="14125" y="13188"/>
                  <a:pt x="14063" y="13188"/>
                  <a:pt x="14000" y="13188"/>
                </a:cubicBezTo>
                <a:cubicBezTo>
                  <a:pt x="14000" y="13188"/>
                  <a:pt x="13969" y="13219"/>
                  <a:pt x="13969" y="13219"/>
                </a:cubicBezTo>
                <a:cubicBezTo>
                  <a:pt x="14031" y="13282"/>
                  <a:pt x="14094" y="13313"/>
                  <a:pt x="14156" y="13282"/>
                </a:cubicBezTo>
                <a:close/>
                <a:moveTo>
                  <a:pt x="15000" y="14282"/>
                </a:moveTo>
                <a:cubicBezTo>
                  <a:pt x="15000" y="14282"/>
                  <a:pt x="15000" y="14313"/>
                  <a:pt x="15031" y="14313"/>
                </a:cubicBezTo>
                <a:cubicBezTo>
                  <a:pt x="15094" y="14344"/>
                  <a:pt x="15156" y="14313"/>
                  <a:pt x="15188" y="14250"/>
                </a:cubicBezTo>
                <a:cubicBezTo>
                  <a:pt x="15188" y="14250"/>
                  <a:pt x="15188" y="14250"/>
                  <a:pt x="15188" y="14219"/>
                </a:cubicBezTo>
                <a:cubicBezTo>
                  <a:pt x="15125" y="14188"/>
                  <a:pt x="15063" y="14250"/>
                  <a:pt x="15000" y="14282"/>
                </a:cubicBezTo>
                <a:close/>
                <a:moveTo>
                  <a:pt x="3313" y="9032"/>
                </a:moveTo>
                <a:cubicBezTo>
                  <a:pt x="3407" y="9125"/>
                  <a:pt x="3469" y="9032"/>
                  <a:pt x="3563" y="9032"/>
                </a:cubicBezTo>
                <a:cubicBezTo>
                  <a:pt x="3469" y="9000"/>
                  <a:pt x="3407" y="8969"/>
                  <a:pt x="3313" y="9032"/>
                </a:cubicBezTo>
                <a:close/>
                <a:moveTo>
                  <a:pt x="13625" y="12969"/>
                </a:moveTo>
                <a:cubicBezTo>
                  <a:pt x="13688" y="12969"/>
                  <a:pt x="13719" y="13032"/>
                  <a:pt x="13781" y="13000"/>
                </a:cubicBezTo>
                <a:cubicBezTo>
                  <a:pt x="13813" y="13000"/>
                  <a:pt x="13781" y="12969"/>
                  <a:pt x="13750" y="12938"/>
                </a:cubicBezTo>
                <a:cubicBezTo>
                  <a:pt x="13719" y="12907"/>
                  <a:pt x="13656" y="12875"/>
                  <a:pt x="13625" y="12969"/>
                </a:cubicBezTo>
                <a:close/>
                <a:moveTo>
                  <a:pt x="13813" y="4563"/>
                </a:moveTo>
                <a:cubicBezTo>
                  <a:pt x="13813" y="4657"/>
                  <a:pt x="13906" y="4625"/>
                  <a:pt x="13969" y="4657"/>
                </a:cubicBezTo>
                <a:cubicBezTo>
                  <a:pt x="14000" y="4657"/>
                  <a:pt x="14000" y="4625"/>
                  <a:pt x="14031" y="4594"/>
                </a:cubicBezTo>
                <a:cubicBezTo>
                  <a:pt x="14031" y="4594"/>
                  <a:pt x="14000" y="4532"/>
                  <a:pt x="14000" y="4563"/>
                </a:cubicBezTo>
                <a:cubicBezTo>
                  <a:pt x="13938" y="4594"/>
                  <a:pt x="13875" y="4500"/>
                  <a:pt x="13813" y="4563"/>
                </a:cubicBezTo>
                <a:close/>
                <a:moveTo>
                  <a:pt x="13063" y="3532"/>
                </a:moveTo>
                <a:cubicBezTo>
                  <a:pt x="13156" y="3657"/>
                  <a:pt x="13188" y="3469"/>
                  <a:pt x="13250" y="3500"/>
                </a:cubicBezTo>
                <a:cubicBezTo>
                  <a:pt x="13188" y="3469"/>
                  <a:pt x="13125" y="3438"/>
                  <a:pt x="13063" y="3469"/>
                </a:cubicBezTo>
                <a:cubicBezTo>
                  <a:pt x="13031" y="3500"/>
                  <a:pt x="13063" y="3532"/>
                  <a:pt x="13063" y="3532"/>
                </a:cubicBezTo>
                <a:close/>
                <a:moveTo>
                  <a:pt x="7969" y="10844"/>
                </a:moveTo>
                <a:cubicBezTo>
                  <a:pt x="7875" y="10844"/>
                  <a:pt x="7813" y="10844"/>
                  <a:pt x="7719" y="10844"/>
                </a:cubicBezTo>
                <a:cubicBezTo>
                  <a:pt x="7906" y="10938"/>
                  <a:pt x="7906" y="10938"/>
                  <a:pt x="7969" y="10844"/>
                </a:cubicBezTo>
                <a:close/>
                <a:moveTo>
                  <a:pt x="7281" y="10438"/>
                </a:moveTo>
                <a:cubicBezTo>
                  <a:pt x="7250" y="10469"/>
                  <a:pt x="7250" y="10469"/>
                  <a:pt x="7281" y="10469"/>
                </a:cubicBezTo>
                <a:cubicBezTo>
                  <a:pt x="7313" y="10532"/>
                  <a:pt x="7375" y="10532"/>
                  <a:pt x="7469" y="10469"/>
                </a:cubicBezTo>
                <a:cubicBezTo>
                  <a:pt x="7375" y="10469"/>
                  <a:pt x="7344" y="10407"/>
                  <a:pt x="7281" y="10438"/>
                </a:cubicBezTo>
                <a:close/>
                <a:moveTo>
                  <a:pt x="7094" y="2500"/>
                </a:moveTo>
                <a:cubicBezTo>
                  <a:pt x="7125" y="2500"/>
                  <a:pt x="7125" y="2407"/>
                  <a:pt x="7125" y="2375"/>
                </a:cubicBezTo>
                <a:cubicBezTo>
                  <a:pt x="7094" y="2313"/>
                  <a:pt x="7031" y="2344"/>
                  <a:pt x="6969" y="2344"/>
                </a:cubicBezTo>
                <a:cubicBezTo>
                  <a:pt x="7031" y="2375"/>
                  <a:pt x="7000" y="2500"/>
                  <a:pt x="7094" y="2500"/>
                </a:cubicBezTo>
                <a:close/>
                <a:moveTo>
                  <a:pt x="7500" y="3375"/>
                </a:moveTo>
                <a:cubicBezTo>
                  <a:pt x="7500" y="3313"/>
                  <a:pt x="7469" y="3282"/>
                  <a:pt x="7438" y="3250"/>
                </a:cubicBezTo>
                <a:cubicBezTo>
                  <a:pt x="7406" y="3250"/>
                  <a:pt x="7375" y="3250"/>
                  <a:pt x="7344" y="3219"/>
                </a:cubicBezTo>
                <a:cubicBezTo>
                  <a:pt x="7313" y="3219"/>
                  <a:pt x="7313" y="3219"/>
                  <a:pt x="7281" y="3219"/>
                </a:cubicBezTo>
                <a:cubicBezTo>
                  <a:pt x="7281" y="3375"/>
                  <a:pt x="7344" y="3407"/>
                  <a:pt x="7500" y="3375"/>
                </a:cubicBezTo>
                <a:close/>
                <a:moveTo>
                  <a:pt x="6438" y="2657"/>
                </a:moveTo>
                <a:cubicBezTo>
                  <a:pt x="6500" y="2657"/>
                  <a:pt x="6531" y="2688"/>
                  <a:pt x="6594" y="2657"/>
                </a:cubicBezTo>
                <a:cubicBezTo>
                  <a:pt x="6594" y="2594"/>
                  <a:pt x="6531" y="2594"/>
                  <a:pt x="6469" y="2563"/>
                </a:cubicBezTo>
                <a:cubicBezTo>
                  <a:pt x="6438" y="2532"/>
                  <a:pt x="6375" y="2532"/>
                  <a:pt x="6375" y="2594"/>
                </a:cubicBezTo>
                <a:cubicBezTo>
                  <a:pt x="6344" y="2657"/>
                  <a:pt x="6406" y="2625"/>
                  <a:pt x="6438" y="2657"/>
                </a:cubicBezTo>
                <a:close/>
                <a:moveTo>
                  <a:pt x="11000" y="12344"/>
                </a:moveTo>
                <a:cubicBezTo>
                  <a:pt x="11031" y="12344"/>
                  <a:pt x="11063" y="12438"/>
                  <a:pt x="11156" y="12375"/>
                </a:cubicBezTo>
                <a:cubicBezTo>
                  <a:pt x="11188" y="12375"/>
                  <a:pt x="11156" y="12344"/>
                  <a:pt x="11125" y="12313"/>
                </a:cubicBezTo>
                <a:cubicBezTo>
                  <a:pt x="11063" y="12250"/>
                  <a:pt x="11031" y="12344"/>
                  <a:pt x="11000" y="12344"/>
                </a:cubicBezTo>
                <a:close/>
                <a:moveTo>
                  <a:pt x="33719" y="2188"/>
                </a:moveTo>
                <a:cubicBezTo>
                  <a:pt x="33781" y="2219"/>
                  <a:pt x="33844" y="2250"/>
                  <a:pt x="33906" y="2157"/>
                </a:cubicBezTo>
                <a:cubicBezTo>
                  <a:pt x="33844" y="2125"/>
                  <a:pt x="33781" y="2094"/>
                  <a:pt x="33719" y="2125"/>
                </a:cubicBezTo>
                <a:cubicBezTo>
                  <a:pt x="33688" y="2157"/>
                  <a:pt x="33688" y="2188"/>
                  <a:pt x="33719" y="2188"/>
                </a:cubicBezTo>
                <a:close/>
                <a:moveTo>
                  <a:pt x="13438" y="4125"/>
                </a:moveTo>
                <a:cubicBezTo>
                  <a:pt x="13406" y="4125"/>
                  <a:pt x="13469" y="4157"/>
                  <a:pt x="13469" y="4157"/>
                </a:cubicBezTo>
                <a:cubicBezTo>
                  <a:pt x="13500" y="4157"/>
                  <a:pt x="13563" y="4125"/>
                  <a:pt x="13531" y="4125"/>
                </a:cubicBezTo>
                <a:cubicBezTo>
                  <a:pt x="13500" y="4063"/>
                  <a:pt x="13531" y="4000"/>
                  <a:pt x="13469" y="3969"/>
                </a:cubicBezTo>
                <a:cubicBezTo>
                  <a:pt x="13375" y="4000"/>
                  <a:pt x="13531" y="4094"/>
                  <a:pt x="13438" y="4125"/>
                </a:cubicBezTo>
                <a:close/>
                <a:moveTo>
                  <a:pt x="27688" y="13625"/>
                </a:moveTo>
                <a:cubicBezTo>
                  <a:pt x="27781" y="13594"/>
                  <a:pt x="27844" y="13563"/>
                  <a:pt x="27875" y="13438"/>
                </a:cubicBezTo>
                <a:cubicBezTo>
                  <a:pt x="27781" y="13469"/>
                  <a:pt x="27656" y="13438"/>
                  <a:pt x="27688" y="13625"/>
                </a:cubicBezTo>
                <a:close/>
                <a:moveTo>
                  <a:pt x="7813" y="2313"/>
                </a:moveTo>
                <a:cubicBezTo>
                  <a:pt x="7750" y="2219"/>
                  <a:pt x="7625" y="2250"/>
                  <a:pt x="7563" y="2219"/>
                </a:cubicBezTo>
                <a:cubicBezTo>
                  <a:pt x="7563" y="2250"/>
                  <a:pt x="7563" y="2313"/>
                  <a:pt x="7563" y="2344"/>
                </a:cubicBezTo>
                <a:cubicBezTo>
                  <a:pt x="7625" y="2250"/>
                  <a:pt x="7719" y="2282"/>
                  <a:pt x="7813" y="2313"/>
                </a:cubicBezTo>
                <a:close/>
                <a:moveTo>
                  <a:pt x="19844" y="5282"/>
                </a:moveTo>
                <a:cubicBezTo>
                  <a:pt x="19875" y="5282"/>
                  <a:pt x="19875" y="5250"/>
                  <a:pt x="19875" y="5219"/>
                </a:cubicBezTo>
                <a:cubicBezTo>
                  <a:pt x="19844" y="5125"/>
                  <a:pt x="19781" y="5157"/>
                  <a:pt x="19688" y="5125"/>
                </a:cubicBezTo>
                <a:cubicBezTo>
                  <a:pt x="19750" y="5219"/>
                  <a:pt x="19781" y="5250"/>
                  <a:pt x="19844" y="5282"/>
                </a:cubicBezTo>
                <a:close/>
                <a:moveTo>
                  <a:pt x="8688" y="10375"/>
                </a:moveTo>
                <a:cubicBezTo>
                  <a:pt x="8656" y="10375"/>
                  <a:pt x="8625" y="10344"/>
                  <a:pt x="8594" y="10375"/>
                </a:cubicBezTo>
                <a:cubicBezTo>
                  <a:pt x="8594" y="10407"/>
                  <a:pt x="8625" y="10438"/>
                  <a:pt x="8656" y="10438"/>
                </a:cubicBezTo>
                <a:cubicBezTo>
                  <a:pt x="8750" y="10438"/>
                  <a:pt x="8813" y="10532"/>
                  <a:pt x="8906" y="10407"/>
                </a:cubicBezTo>
                <a:cubicBezTo>
                  <a:pt x="8813" y="10375"/>
                  <a:pt x="8750" y="10438"/>
                  <a:pt x="8688" y="10375"/>
                </a:cubicBezTo>
                <a:close/>
                <a:moveTo>
                  <a:pt x="3219" y="4594"/>
                </a:moveTo>
                <a:cubicBezTo>
                  <a:pt x="3125" y="4532"/>
                  <a:pt x="3063" y="4657"/>
                  <a:pt x="2938" y="4625"/>
                </a:cubicBezTo>
                <a:cubicBezTo>
                  <a:pt x="3063" y="4688"/>
                  <a:pt x="3063" y="4688"/>
                  <a:pt x="3219" y="4594"/>
                </a:cubicBezTo>
                <a:close/>
                <a:moveTo>
                  <a:pt x="6438" y="10157"/>
                </a:moveTo>
                <a:cubicBezTo>
                  <a:pt x="6469" y="10125"/>
                  <a:pt x="6469" y="10125"/>
                  <a:pt x="6469" y="10125"/>
                </a:cubicBezTo>
                <a:cubicBezTo>
                  <a:pt x="6500" y="10094"/>
                  <a:pt x="6563" y="10125"/>
                  <a:pt x="6594" y="10125"/>
                </a:cubicBezTo>
                <a:cubicBezTo>
                  <a:pt x="6656" y="10125"/>
                  <a:pt x="6719" y="10157"/>
                  <a:pt x="6750" y="10063"/>
                </a:cubicBezTo>
                <a:cubicBezTo>
                  <a:pt x="6656" y="10063"/>
                  <a:pt x="6531" y="10032"/>
                  <a:pt x="6469" y="10125"/>
                </a:cubicBezTo>
                <a:cubicBezTo>
                  <a:pt x="6469" y="10125"/>
                  <a:pt x="6469" y="10125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ubicBezTo>
                  <a:pt x="6344" y="10094"/>
                  <a:pt x="6219" y="10125"/>
                  <a:pt x="6125" y="10094"/>
                </a:cubicBezTo>
                <a:cubicBezTo>
                  <a:pt x="6156" y="10125"/>
                  <a:pt x="6188" y="10125"/>
                  <a:pt x="6188" y="10188"/>
                </a:cubicBezTo>
                <a:lnTo>
                  <a:pt x="6188" y="10188"/>
                </a:lnTo>
                <a:cubicBezTo>
                  <a:pt x="6219" y="10250"/>
                  <a:pt x="6281" y="10188"/>
                  <a:pt x="6313" y="10188"/>
                </a:cubicBezTo>
                <a:cubicBezTo>
                  <a:pt x="6375" y="10188"/>
                  <a:pt x="6438" y="10219"/>
                  <a:pt x="6438" y="10157"/>
                </a:cubicBezTo>
                <a:close/>
                <a:moveTo>
                  <a:pt x="1750" y="5157"/>
                </a:moveTo>
                <a:cubicBezTo>
                  <a:pt x="1844" y="5219"/>
                  <a:pt x="1875" y="5219"/>
                  <a:pt x="2032" y="5188"/>
                </a:cubicBezTo>
                <a:cubicBezTo>
                  <a:pt x="1938" y="5157"/>
                  <a:pt x="1844" y="5125"/>
                  <a:pt x="1750" y="5157"/>
                </a:cubicBezTo>
                <a:close/>
                <a:moveTo>
                  <a:pt x="7844" y="3344"/>
                </a:moveTo>
                <a:cubicBezTo>
                  <a:pt x="7906" y="3313"/>
                  <a:pt x="7969" y="3313"/>
                  <a:pt x="7969" y="3250"/>
                </a:cubicBezTo>
                <a:cubicBezTo>
                  <a:pt x="7969" y="3219"/>
                  <a:pt x="7906" y="3219"/>
                  <a:pt x="7875" y="3188"/>
                </a:cubicBezTo>
                <a:cubicBezTo>
                  <a:pt x="7844" y="3188"/>
                  <a:pt x="7813" y="3188"/>
                  <a:pt x="7813" y="3188"/>
                </a:cubicBezTo>
                <a:cubicBezTo>
                  <a:pt x="7781" y="3188"/>
                  <a:pt x="7781" y="3219"/>
                  <a:pt x="7750" y="3250"/>
                </a:cubicBezTo>
                <a:cubicBezTo>
                  <a:pt x="7781" y="3313"/>
                  <a:pt x="7813" y="3375"/>
                  <a:pt x="7844" y="3344"/>
                </a:cubicBezTo>
                <a:close/>
                <a:moveTo>
                  <a:pt x="9156" y="2625"/>
                </a:moveTo>
                <a:cubicBezTo>
                  <a:pt x="9219" y="2625"/>
                  <a:pt x="9250" y="2625"/>
                  <a:pt x="9250" y="2563"/>
                </a:cubicBezTo>
                <a:cubicBezTo>
                  <a:pt x="9250" y="2500"/>
                  <a:pt x="9219" y="2500"/>
                  <a:pt x="9156" y="2500"/>
                </a:cubicBezTo>
                <a:cubicBezTo>
                  <a:pt x="9125" y="2500"/>
                  <a:pt x="9125" y="2500"/>
                  <a:pt x="9094" y="2500"/>
                </a:cubicBezTo>
                <a:cubicBezTo>
                  <a:pt x="9094" y="2407"/>
                  <a:pt x="9031" y="2375"/>
                  <a:pt x="8969" y="2438"/>
                </a:cubicBezTo>
                <a:cubicBezTo>
                  <a:pt x="8906" y="2469"/>
                  <a:pt x="8875" y="2438"/>
                  <a:pt x="8844" y="2407"/>
                </a:cubicBezTo>
                <a:cubicBezTo>
                  <a:pt x="8750" y="2344"/>
                  <a:pt x="8656" y="2344"/>
                  <a:pt x="8594" y="2282"/>
                </a:cubicBezTo>
                <a:cubicBezTo>
                  <a:pt x="8531" y="2282"/>
                  <a:pt x="8500" y="2219"/>
                  <a:pt x="8469" y="2250"/>
                </a:cubicBezTo>
                <a:cubicBezTo>
                  <a:pt x="8406" y="2313"/>
                  <a:pt x="8438" y="2375"/>
                  <a:pt x="8469" y="2407"/>
                </a:cubicBezTo>
                <a:cubicBezTo>
                  <a:pt x="8531" y="2407"/>
                  <a:pt x="8500" y="2313"/>
                  <a:pt x="8563" y="2313"/>
                </a:cubicBezTo>
                <a:lnTo>
                  <a:pt x="8563" y="2313"/>
                </a:lnTo>
                <a:cubicBezTo>
                  <a:pt x="8625" y="2344"/>
                  <a:pt x="8625" y="2375"/>
                  <a:pt x="8656" y="2438"/>
                </a:cubicBezTo>
                <a:cubicBezTo>
                  <a:pt x="8656" y="2469"/>
                  <a:pt x="8688" y="2500"/>
                  <a:pt x="8719" y="2500"/>
                </a:cubicBezTo>
                <a:cubicBezTo>
                  <a:pt x="8688" y="2375"/>
                  <a:pt x="8750" y="2407"/>
                  <a:pt x="8813" y="2438"/>
                </a:cubicBezTo>
                <a:cubicBezTo>
                  <a:pt x="8813" y="2469"/>
                  <a:pt x="8844" y="2469"/>
                  <a:pt x="8875" y="2500"/>
                </a:cubicBezTo>
                <a:cubicBezTo>
                  <a:pt x="8938" y="2532"/>
                  <a:pt x="9000" y="2469"/>
                  <a:pt x="9094" y="2500"/>
                </a:cubicBezTo>
                <a:cubicBezTo>
                  <a:pt x="9094" y="2532"/>
                  <a:pt x="9094" y="2594"/>
                  <a:pt x="9125" y="2594"/>
                </a:cubicBezTo>
                <a:cubicBezTo>
                  <a:pt x="9156" y="2625"/>
                  <a:pt x="9156" y="2625"/>
                  <a:pt x="9156" y="2625"/>
                </a:cubicBezTo>
                <a:close/>
                <a:moveTo>
                  <a:pt x="13719" y="4375"/>
                </a:moveTo>
                <a:cubicBezTo>
                  <a:pt x="13719" y="4375"/>
                  <a:pt x="13719" y="4375"/>
                  <a:pt x="13719" y="4375"/>
                </a:cubicBezTo>
                <a:cubicBezTo>
                  <a:pt x="13719" y="4375"/>
                  <a:pt x="13719" y="4375"/>
                  <a:pt x="13719" y="4375"/>
                </a:cubicBezTo>
                <a:close/>
                <a:moveTo>
                  <a:pt x="18375" y="15032"/>
                </a:moveTo>
                <a:cubicBezTo>
                  <a:pt x="18500" y="15032"/>
                  <a:pt x="18594" y="15063"/>
                  <a:pt x="18688" y="15000"/>
                </a:cubicBezTo>
                <a:cubicBezTo>
                  <a:pt x="18594" y="15000"/>
                  <a:pt x="18500" y="14969"/>
                  <a:pt x="18375" y="15032"/>
                </a:cubicBezTo>
                <a:close/>
                <a:moveTo>
                  <a:pt x="6406" y="9250"/>
                </a:moveTo>
                <a:cubicBezTo>
                  <a:pt x="6375" y="9188"/>
                  <a:pt x="6313" y="9157"/>
                  <a:pt x="6250" y="9157"/>
                </a:cubicBezTo>
                <a:cubicBezTo>
                  <a:pt x="6219" y="9125"/>
                  <a:pt x="6188" y="9188"/>
                  <a:pt x="6188" y="9188"/>
                </a:cubicBezTo>
                <a:cubicBezTo>
                  <a:pt x="6250" y="9219"/>
                  <a:pt x="6281" y="9282"/>
                  <a:pt x="6344" y="9313"/>
                </a:cubicBezTo>
                <a:cubicBezTo>
                  <a:pt x="6375" y="9313"/>
                  <a:pt x="6406" y="9250"/>
                  <a:pt x="6406" y="9250"/>
                </a:cubicBezTo>
                <a:close/>
                <a:moveTo>
                  <a:pt x="16000" y="14063"/>
                </a:moveTo>
                <a:cubicBezTo>
                  <a:pt x="16000" y="14063"/>
                  <a:pt x="15969" y="14063"/>
                  <a:pt x="15938" y="14063"/>
                </a:cubicBezTo>
                <a:cubicBezTo>
                  <a:pt x="15969" y="14094"/>
                  <a:pt x="15969" y="14094"/>
                  <a:pt x="16000" y="14094"/>
                </a:cubicBezTo>
                <a:cubicBezTo>
                  <a:pt x="16031" y="14157"/>
                  <a:pt x="16094" y="14157"/>
                  <a:pt x="16188" y="14125"/>
                </a:cubicBezTo>
                <a:cubicBezTo>
                  <a:pt x="16188" y="14125"/>
                  <a:pt x="16188" y="14094"/>
                  <a:pt x="16188" y="14094"/>
                </a:cubicBezTo>
                <a:cubicBezTo>
                  <a:pt x="16125" y="14032"/>
                  <a:pt x="16063" y="14063"/>
                  <a:pt x="16000" y="14063"/>
                </a:cubicBezTo>
                <a:close/>
                <a:moveTo>
                  <a:pt x="12094" y="5125"/>
                </a:moveTo>
                <a:cubicBezTo>
                  <a:pt x="12094" y="5094"/>
                  <a:pt x="12063" y="5094"/>
                  <a:pt x="12031" y="5094"/>
                </a:cubicBezTo>
                <a:cubicBezTo>
                  <a:pt x="11969" y="5125"/>
                  <a:pt x="11906" y="5063"/>
                  <a:pt x="11844" y="5125"/>
                </a:cubicBezTo>
                <a:cubicBezTo>
                  <a:pt x="11906" y="5125"/>
                  <a:pt x="11969" y="5188"/>
                  <a:pt x="12031" y="5188"/>
                </a:cubicBezTo>
                <a:cubicBezTo>
                  <a:pt x="12063" y="5188"/>
                  <a:pt x="12094" y="5157"/>
                  <a:pt x="12094" y="5125"/>
                </a:cubicBezTo>
                <a:close/>
                <a:moveTo>
                  <a:pt x="34438" y="4469"/>
                </a:moveTo>
                <a:cubicBezTo>
                  <a:pt x="34469" y="4500"/>
                  <a:pt x="34500" y="4500"/>
                  <a:pt x="34531" y="4469"/>
                </a:cubicBezTo>
                <a:cubicBezTo>
                  <a:pt x="34563" y="4469"/>
                  <a:pt x="34594" y="4469"/>
                  <a:pt x="34625" y="4469"/>
                </a:cubicBezTo>
                <a:cubicBezTo>
                  <a:pt x="34656" y="4438"/>
                  <a:pt x="34688" y="4438"/>
                  <a:pt x="34688" y="4407"/>
                </a:cubicBezTo>
                <a:cubicBezTo>
                  <a:pt x="34688" y="4375"/>
                  <a:pt x="34656" y="4375"/>
                  <a:pt x="34656" y="4407"/>
                </a:cubicBezTo>
                <a:cubicBezTo>
                  <a:pt x="34594" y="4407"/>
                  <a:pt x="34531" y="4407"/>
                  <a:pt x="34500" y="4407"/>
                </a:cubicBezTo>
                <a:cubicBezTo>
                  <a:pt x="34469" y="4407"/>
                  <a:pt x="34438" y="4438"/>
                  <a:pt x="34438" y="4469"/>
                </a:cubicBezTo>
                <a:close/>
                <a:moveTo>
                  <a:pt x="2657" y="5438"/>
                </a:moveTo>
                <a:cubicBezTo>
                  <a:pt x="2563" y="5438"/>
                  <a:pt x="2469" y="5438"/>
                  <a:pt x="2344" y="5438"/>
                </a:cubicBezTo>
                <a:cubicBezTo>
                  <a:pt x="2407" y="5532"/>
                  <a:pt x="2500" y="5532"/>
                  <a:pt x="2563" y="5532"/>
                </a:cubicBezTo>
                <a:cubicBezTo>
                  <a:pt x="2563" y="5532"/>
                  <a:pt x="2594" y="5532"/>
                  <a:pt x="2594" y="5532"/>
                </a:cubicBezTo>
                <a:cubicBezTo>
                  <a:pt x="2625" y="5532"/>
                  <a:pt x="2657" y="5500"/>
                  <a:pt x="2688" y="5500"/>
                </a:cubicBezTo>
                <a:cubicBezTo>
                  <a:pt x="2688" y="5469"/>
                  <a:pt x="2719" y="5438"/>
                  <a:pt x="2657" y="5438"/>
                </a:cubicBezTo>
                <a:close/>
                <a:moveTo>
                  <a:pt x="15125" y="13375"/>
                </a:moveTo>
                <a:cubicBezTo>
                  <a:pt x="15125" y="13313"/>
                  <a:pt x="15156" y="13344"/>
                  <a:pt x="15188" y="13344"/>
                </a:cubicBezTo>
                <a:cubicBezTo>
                  <a:pt x="15188" y="13407"/>
                  <a:pt x="15156" y="13375"/>
                  <a:pt x="15125" y="13375"/>
                </a:cubicBezTo>
                <a:close/>
                <a:moveTo>
                  <a:pt x="15188" y="13344"/>
                </a:moveTo>
                <a:cubicBezTo>
                  <a:pt x="15156" y="13250"/>
                  <a:pt x="15063" y="13313"/>
                  <a:pt x="15031" y="13282"/>
                </a:cubicBezTo>
                <a:cubicBezTo>
                  <a:pt x="15000" y="13282"/>
                  <a:pt x="14938" y="13219"/>
                  <a:pt x="14906" y="13282"/>
                </a:cubicBezTo>
                <a:cubicBezTo>
                  <a:pt x="14875" y="13313"/>
                  <a:pt x="14969" y="13313"/>
                  <a:pt x="15000" y="13344"/>
                </a:cubicBezTo>
                <a:cubicBezTo>
                  <a:pt x="15031" y="13344"/>
                  <a:pt x="15000" y="13375"/>
                  <a:pt x="15000" y="13375"/>
                </a:cubicBezTo>
                <a:cubicBezTo>
                  <a:pt x="15031" y="13344"/>
                  <a:pt x="15094" y="13344"/>
                  <a:pt x="15125" y="13375"/>
                </a:cubicBezTo>
                <a:cubicBezTo>
                  <a:pt x="15281" y="13438"/>
                  <a:pt x="15438" y="13500"/>
                  <a:pt x="15625" y="13469"/>
                </a:cubicBezTo>
                <a:cubicBezTo>
                  <a:pt x="15469" y="13344"/>
                  <a:pt x="15313" y="13407"/>
                  <a:pt x="15188" y="13344"/>
                </a:cubicBezTo>
                <a:close/>
                <a:moveTo>
                  <a:pt x="15000" y="13375"/>
                </a:moveTo>
                <a:cubicBezTo>
                  <a:pt x="14906" y="13469"/>
                  <a:pt x="14750" y="13313"/>
                  <a:pt x="14719" y="13500"/>
                </a:cubicBezTo>
                <a:cubicBezTo>
                  <a:pt x="14719" y="13500"/>
                  <a:pt x="14688" y="13500"/>
                  <a:pt x="14688" y="13469"/>
                </a:cubicBezTo>
                <a:cubicBezTo>
                  <a:pt x="14656" y="13375"/>
                  <a:pt x="14594" y="13438"/>
                  <a:pt x="14563" y="13469"/>
                </a:cubicBezTo>
                <a:cubicBezTo>
                  <a:pt x="14531" y="13500"/>
                  <a:pt x="14594" y="13532"/>
                  <a:pt x="14594" y="13563"/>
                </a:cubicBezTo>
                <a:cubicBezTo>
                  <a:pt x="14594" y="13719"/>
                  <a:pt x="14781" y="13657"/>
                  <a:pt x="14813" y="13750"/>
                </a:cubicBezTo>
                <a:cubicBezTo>
                  <a:pt x="14688" y="13782"/>
                  <a:pt x="14531" y="13782"/>
                  <a:pt x="14406" y="13750"/>
                </a:cubicBezTo>
                <a:cubicBezTo>
                  <a:pt x="14375" y="13750"/>
                  <a:pt x="14344" y="13782"/>
                  <a:pt x="14344" y="13813"/>
                </a:cubicBezTo>
                <a:cubicBezTo>
                  <a:pt x="14344" y="13844"/>
                  <a:pt x="14375" y="13844"/>
                  <a:pt x="14375" y="13844"/>
                </a:cubicBezTo>
                <a:cubicBezTo>
                  <a:pt x="14531" y="13844"/>
                  <a:pt x="14719" y="13875"/>
                  <a:pt x="14844" y="13813"/>
                </a:cubicBezTo>
                <a:cubicBezTo>
                  <a:pt x="14906" y="13782"/>
                  <a:pt x="15000" y="13782"/>
                  <a:pt x="14938" y="13688"/>
                </a:cubicBezTo>
                <a:cubicBezTo>
                  <a:pt x="14938" y="13625"/>
                  <a:pt x="14969" y="13625"/>
                  <a:pt x="15000" y="13625"/>
                </a:cubicBezTo>
                <a:lnTo>
                  <a:pt x="15000" y="13625"/>
                </a:lnTo>
                <a:cubicBezTo>
                  <a:pt x="15094" y="13625"/>
                  <a:pt x="15188" y="13625"/>
                  <a:pt x="15313" y="13625"/>
                </a:cubicBezTo>
                <a:cubicBezTo>
                  <a:pt x="15375" y="13625"/>
                  <a:pt x="15438" y="13625"/>
                  <a:pt x="15500" y="13594"/>
                </a:cubicBezTo>
                <a:cubicBezTo>
                  <a:pt x="15500" y="13563"/>
                  <a:pt x="15531" y="13563"/>
                  <a:pt x="15531" y="13532"/>
                </a:cubicBezTo>
                <a:cubicBezTo>
                  <a:pt x="15500" y="13500"/>
                  <a:pt x="15500" y="13500"/>
                  <a:pt x="15469" y="13532"/>
                </a:cubicBezTo>
                <a:cubicBezTo>
                  <a:pt x="15313" y="13563"/>
                  <a:pt x="15156" y="13532"/>
                  <a:pt x="15031" y="13500"/>
                </a:cubicBezTo>
                <a:cubicBezTo>
                  <a:pt x="14969" y="13469"/>
                  <a:pt x="14969" y="13438"/>
                  <a:pt x="15000" y="13375"/>
                </a:cubicBezTo>
                <a:close/>
                <a:moveTo>
                  <a:pt x="6125" y="2063"/>
                </a:moveTo>
                <a:cubicBezTo>
                  <a:pt x="6156" y="2063"/>
                  <a:pt x="6188" y="2094"/>
                  <a:pt x="6188" y="2032"/>
                </a:cubicBezTo>
                <a:cubicBezTo>
                  <a:pt x="6188" y="2000"/>
                  <a:pt x="6188" y="2000"/>
                  <a:pt x="6156" y="1969"/>
                </a:cubicBezTo>
                <a:cubicBezTo>
                  <a:pt x="6094" y="1969"/>
                  <a:pt x="6031" y="1938"/>
                  <a:pt x="5938" y="1907"/>
                </a:cubicBezTo>
                <a:cubicBezTo>
                  <a:pt x="5969" y="2032"/>
                  <a:pt x="6063" y="2000"/>
                  <a:pt x="6125" y="2063"/>
                </a:cubicBezTo>
                <a:close/>
                <a:moveTo>
                  <a:pt x="13938" y="12750"/>
                </a:moveTo>
                <a:cubicBezTo>
                  <a:pt x="13938" y="12688"/>
                  <a:pt x="13875" y="12688"/>
                  <a:pt x="13875" y="12688"/>
                </a:cubicBezTo>
                <a:cubicBezTo>
                  <a:pt x="13813" y="12719"/>
                  <a:pt x="13750" y="12719"/>
                  <a:pt x="13719" y="12782"/>
                </a:cubicBezTo>
                <a:cubicBezTo>
                  <a:pt x="13719" y="12813"/>
                  <a:pt x="13750" y="12844"/>
                  <a:pt x="13813" y="12844"/>
                </a:cubicBezTo>
                <a:cubicBezTo>
                  <a:pt x="13813" y="12782"/>
                  <a:pt x="13906" y="12813"/>
                  <a:pt x="13938" y="12750"/>
                </a:cubicBezTo>
                <a:close/>
                <a:moveTo>
                  <a:pt x="14750" y="4875"/>
                </a:moveTo>
                <a:cubicBezTo>
                  <a:pt x="14781" y="4875"/>
                  <a:pt x="14813" y="4844"/>
                  <a:pt x="14813" y="4813"/>
                </a:cubicBezTo>
                <a:cubicBezTo>
                  <a:pt x="14844" y="4750"/>
                  <a:pt x="14781" y="4719"/>
                  <a:pt x="14750" y="4719"/>
                </a:cubicBezTo>
                <a:cubicBezTo>
                  <a:pt x="14688" y="4719"/>
                  <a:pt x="14656" y="4750"/>
                  <a:pt x="14656" y="4782"/>
                </a:cubicBezTo>
                <a:cubicBezTo>
                  <a:pt x="14656" y="4813"/>
                  <a:pt x="14656" y="4875"/>
                  <a:pt x="14750" y="4875"/>
                </a:cubicBezTo>
                <a:close/>
                <a:moveTo>
                  <a:pt x="2282" y="4625"/>
                </a:moveTo>
                <a:cubicBezTo>
                  <a:pt x="2375" y="4657"/>
                  <a:pt x="2469" y="4688"/>
                  <a:pt x="2594" y="4688"/>
                </a:cubicBezTo>
                <a:cubicBezTo>
                  <a:pt x="2532" y="4625"/>
                  <a:pt x="2375" y="4563"/>
                  <a:pt x="2282" y="4625"/>
                </a:cubicBezTo>
                <a:close/>
                <a:moveTo>
                  <a:pt x="8125" y="2438"/>
                </a:moveTo>
                <a:cubicBezTo>
                  <a:pt x="8063" y="2438"/>
                  <a:pt x="8000" y="2313"/>
                  <a:pt x="7875" y="2344"/>
                </a:cubicBezTo>
                <a:cubicBezTo>
                  <a:pt x="7969" y="2438"/>
                  <a:pt x="8063" y="2438"/>
                  <a:pt x="8125" y="2438"/>
                </a:cubicBezTo>
                <a:close/>
                <a:moveTo>
                  <a:pt x="6469" y="9282"/>
                </a:moveTo>
                <a:cubicBezTo>
                  <a:pt x="6594" y="9344"/>
                  <a:pt x="6656" y="9375"/>
                  <a:pt x="6750" y="9313"/>
                </a:cubicBezTo>
                <a:cubicBezTo>
                  <a:pt x="6656" y="9313"/>
                  <a:pt x="6594" y="9219"/>
                  <a:pt x="6469" y="9282"/>
                </a:cubicBezTo>
                <a:close/>
                <a:moveTo>
                  <a:pt x="34906" y="7969"/>
                </a:moveTo>
                <a:cubicBezTo>
                  <a:pt x="34813" y="7969"/>
                  <a:pt x="34750" y="8032"/>
                  <a:pt x="34688" y="8125"/>
                </a:cubicBezTo>
                <a:cubicBezTo>
                  <a:pt x="34813" y="8094"/>
                  <a:pt x="34875" y="8063"/>
                  <a:pt x="34938" y="8000"/>
                </a:cubicBezTo>
                <a:cubicBezTo>
                  <a:pt x="34938" y="8000"/>
                  <a:pt x="34938" y="7969"/>
                  <a:pt x="34938" y="7969"/>
                </a:cubicBezTo>
                <a:cubicBezTo>
                  <a:pt x="34938" y="7938"/>
                  <a:pt x="34906" y="7969"/>
                  <a:pt x="34906" y="7969"/>
                </a:cubicBezTo>
                <a:close/>
                <a:moveTo>
                  <a:pt x="17938" y="14907"/>
                </a:moveTo>
                <a:cubicBezTo>
                  <a:pt x="18063" y="14907"/>
                  <a:pt x="18156" y="14875"/>
                  <a:pt x="18250" y="14782"/>
                </a:cubicBezTo>
                <a:cubicBezTo>
                  <a:pt x="18125" y="14782"/>
                  <a:pt x="18031" y="14813"/>
                  <a:pt x="17938" y="14907"/>
                </a:cubicBezTo>
                <a:close/>
                <a:moveTo>
                  <a:pt x="10438" y="4094"/>
                </a:moveTo>
                <a:cubicBezTo>
                  <a:pt x="10313" y="4000"/>
                  <a:pt x="10313" y="4000"/>
                  <a:pt x="10250" y="4063"/>
                </a:cubicBezTo>
                <a:cubicBezTo>
                  <a:pt x="10188" y="4157"/>
                  <a:pt x="10313" y="4157"/>
                  <a:pt x="10313" y="4188"/>
                </a:cubicBezTo>
                <a:cubicBezTo>
                  <a:pt x="10313" y="4188"/>
                  <a:pt x="10344" y="4188"/>
                  <a:pt x="10344" y="4188"/>
                </a:cubicBezTo>
                <a:cubicBezTo>
                  <a:pt x="10281" y="4063"/>
                  <a:pt x="10438" y="4125"/>
                  <a:pt x="10438" y="4094"/>
                </a:cubicBezTo>
                <a:close/>
                <a:moveTo>
                  <a:pt x="21844" y="14875"/>
                </a:moveTo>
                <a:cubicBezTo>
                  <a:pt x="21688" y="14875"/>
                  <a:pt x="21594" y="14875"/>
                  <a:pt x="21500" y="14969"/>
                </a:cubicBezTo>
                <a:cubicBezTo>
                  <a:pt x="21594" y="14938"/>
                  <a:pt x="21719" y="14969"/>
                  <a:pt x="21844" y="14875"/>
                </a:cubicBezTo>
                <a:close/>
                <a:moveTo>
                  <a:pt x="24594" y="14125"/>
                </a:moveTo>
                <a:cubicBezTo>
                  <a:pt x="24625" y="14125"/>
                  <a:pt x="24688" y="14094"/>
                  <a:pt x="24688" y="14032"/>
                </a:cubicBezTo>
                <a:cubicBezTo>
                  <a:pt x="24688" y="14032"/>
                  <a:pt x="24656" y="14000"/>
                  <a:pt x="24656" y="14000"/>
                </a:cubicBezTo>
                <a:cubicBezTo>
                  <a:pt x="24625" y="14094"/>
                  <a:pt x="24563" y="14032"/>
                  <a:pt x="24531" y="14032"/>
                </a:cubicBezTo>
                <a:cubicBezTo>
                  <a:pt x="24500" y="14032"/>
                  <a:pt x="24469" y="14063"/>
                  <a:pt x="24469" y="14094"/>
                </a:cubicBezTo>
                <a:cubicBezTo>
                  <a:pt x="24469" y="14094"/>
                  <a:pt x="24438" y="14125"/>
                  <a:pt x="24469" y="14157"/>
                </a:cubicBezTo>
                <a:cubicBezTo>
                  <a:pt x="24531" y="14188"/>
                  <a:pt x="24563" y="14157"/>
                  <a:pt x="24594" y="14125"/>
                </a:cubicBezTo>
                <a:close/>
                <a:moveTo>
                  <a:pt x="1938" y="4875"/>
                </a:moveTo>
                <a:cubicBezTo>
                  <a:pt x="1813" y="4813"/>
                  <a:pt x="1719" y="4782"/>
                  <a:pt x="1563" y="4813"/>
                </a:cubicBezTo>
                <a:cubicBezTo>
                  <a:pt x="1688" y="4907"/>
                  <a:pt x="1813" y="4875"/>
                  <a:pt x="1938" y="4875"/>
                </a:cubicBezTo>
                <a:close/>
                <a:moveTo>
                  <a:pt x="19438" y="14344"/>
                </a:moveTo>
                <a:cubicBezTo>
                  <a:pt x="19438" y="14344"/>
                  <a:pt x="19406" y="14344"/>
                  <a:pt x="19406" y="14344"/>
                </a:cubicBezTo>
                <a:cubicBezTo>
                  <a:pt x="19344" y="14375"/>
                  <a:pt x="19281" y="14469"/>
                  <a:pt x="19188" y="14407"/>
                </a:cubicBezTo>
                <a:cubicBezTo>
                  <a:pt x="19188" y="14407"/>
                  <a:pt x="19188" y="14438"/>
                  <a:pt x="19188" y="14438"/>
                </a:cubicBezTo>
                <a:cubicBezTo>
                  <a:pt x="19188" y="14438"/>
                  <a:pt x="19188" y="14469"/>
                  <a:pt x="19188" y="14469"/>
                </a:cubicBezTo>
                <a:cubicBezTo>
                  <a:pt x="19219" y="14500"/>
                  <a:pt x="19250" y="14469"/>
                  <a:pt x="19281" y="14469"/>
                </a:cubicBezTo>
                <a:cubicBezTo>
                  <a:pt x="19344" y="14500"/>
                  <a:pt x="19375" y="14469"/>
                  <a:pt x="19438" y="14438"/>
                </a:cubicBezTo>
                <a:cubicBezTo>
                  <a:pt x="19469" y="14407"/>
                  <a:pt x="19469" y="14375"/>
                  <a:pt x="19438" y="14344"/>
                </a:cubicBezTo>
                <a:close/>
                <a:moveTo>
                  <a:pt x="16125" y="13500"/>
                </a:moveTo>
                <a:cubicBezTo>
                  <a:pt x="15969" y="13469"/>
                  <a:pt x="15875" y="13438"/>
                  <a:pt x="15750" y="13500"/>
                </a:cubicBezTo>
                <a:cubicBezTo>
                  <a:pt x="15875" y="13469"/>
                  <a:pt x="15969" y="13594"/>
                  <a:pt x="16125" y="13500"/>
                </a:cubicBezTo>
                <a:close/>
                <a:moveTo>
                  <a:pt x="10781" y="4313"/>
                </a:moveTo>
                <a:cubicBezTo>
                  <a:pt x="10844" y="4407"/>
                  <a:pt x="10938" y="4344"/>
                  <a:pt x="11031" y="4375"/>
                </a:cubicBezTo>
                <a:cubicBezTo>
                  <a:pt x="10969" y="4313"/>
                  <a:pt x="10906" y="4313"/>
                  <a:pt x="10875" y="4219"/>
                </a:cubicBezTo>
                <a:cubicBezTo>
                  <a:pt x="10844" y="4188"/>
                  <a:pt x="10813" y="4219"/>
                  <a:pt x="10781" y="4250"/>
                </a:cubicBezTo>
                <a:cubicBezTo>
                  <a:pt x="10719" y="4282"/>
                  <a:pt x="10781" y="4282"/>
                  <a:pt x="10781" y="4313"/>
                </a:cubicBezTo>
                <a:close/>
                <a:moveTo>
                  <a:pt x="17031" y="14813"/>
                </a:moveTo>
                <a:cubicBezTo>
                  <a:pt x="17156" y="14813"/>
                  <a:pt x="17250" y="14938"/>
                  <a:pt x="17406" y="14844"/>
                </a:cubicBezTo>
                <a:cubicBezTo>
                  <a:pt x="17250" y="14813"/>
                  <a:pt x="17156" y="14750"/>
                  <a:pt x="17031" y="14813"/>
                </a:cubicBezTo>
                <a:close/>
                <a:moveTo>
                  <a:pt x="10469" y="3094"/>
                </a:moveTo>
                <a:cubicBezTo>
                  <a:pt x="10500" y="3094"/>
                  <a:pt x="10531" y="3125"/>
                  <a:pt x="10563" y="3094"/>
                </a:cubicBezTo>
                <a:cubicBezTo>
                  <a:pt x="10594" y="3063"/>
                  <a:pt x="10563" y="3032"/>
                  <a:pt x="10531" y="3000"/>
                </a:cubicBezTo>
                <a:cubicBezTo>
                  <a:pt x="10469" y="2938"/>
                  <a:pt x="10375" y="2907"/>
                  <a:pt x="10281" y="2938"/>
                </a:cubicBezTo>
                <a:cubicBezTo>
                  <a:pt x="10313" y="3000"/>
                  <a:pt x="10469" y="2969"/>
                  <a:pt x="10438" y="3094"/>
                </a:cubicBezTo>
                <a:cubicBezTo>
                  <a:pt x="10500" y="3188"/>
                  <a:pt x="10563" y="3219"/>
                  <a:pt x="10625" y="3250"/>
                </a:cubicBezTo>
                <a:cubicBezTo>
                  <a:pt x="10656" y="3282"/>
                  <a:pt x="10688" y="3250"/>
                  <a:pt x="10688" y="3313"/>
                </a:cubicBezTo>
                <a:cubicBezTo>
                  <a:pt x="10688" y="3313"/>
                  <a:pt x="10656" y="3344"/>
                  <a:pt x="10656" y="3344"/>
                </a:cubicBezTo>
                <a:cubicBezTo>
                  <a:pt x="10625" y="3282"/>
                  <a:pt x="10500" y="3438"/>
                  <a:pt x="10531" y="3282"/>
                </a:cubicBezTo>
                <a:cubicBezTo>
                  <a:pt x="10531" y="3250"/>
                  <a:pt x="10500" y="3250"/>
                  <a:pt x="10469" y="3250"/>
                </a:cubicBezTo>
                <a:cubicBezTo>
                  <a:pt x="10406" y="3250"/>
                  <a:pt x="10375" y="3250"/>
                  <a:pt x="10281" y="3250"/>
                </a:cubicBezTo>
                <a:lnTo>
                  <a:pt x="10281" y="3250"/>
                </a:lnTo>
                <a:cubicBezTo>
                  <a:pt x="10375" y="3219"/>
                  <a:pt x="10281" y="3032"/>
                  <a:pt x="10438" y="3094"/>
                </a:cubicBezTo>
                <a:cubicBezTo>
                  <a:pt x="10438" y="3063"/>
                  <a:pt x="10469" y="3063"/>
                  <a:pt x="10469" y="3094"/>
                </a:cubicBezTo>
                <a:close/>
                <a:moveTo>
                  <a:pt x="9250" y="4032"/>
                </a:moveTo>
                <a:cubicBezTo>
                  <a:pt x="9156" y="3938"/>
                  <a:pt x="9094" y="3844"/>
                  <a:pt x="8938" y="3813"/>
                </a:cubicBezTo>
                <a:cubicBezTo>
                  <a:pt x="9031" y="3907"/>
                  <a:pt x="9063" y="4063"/>
                  <a:pt x="9250" y="4032"/>
                </a:cubicBezTo>
                <a:close/>
                <a:moveTo>
                  <a:pt x="16250" y="14375"/>
                </a:moveTo>
                <a:cubicBezTo>
                  <a:pt x="16219" y="14375"/>
                  <a:pt x="16219" y="14375"/>
                  <a:pt x="16219" y="14407"/>
                </a:cubicBezTo>
                <a:cubicBezTo>
                  <a:pt x="16219" y="14438"/>
                  <a:pt x="16250" y="14438"/>
                  <a:pt x="16250" y="14438"/>
                </a:cubicBezTo>
                <a:cubicBezTo>
                  <a:pt x="16344" y="14375"/>
                  <a:pt x="16469" y="14438"/>
                  <a:pt x="16563" y="14313"/>
                </a:cubicBezTo>
                <a:cubicBezTo>
                  <a:pt x="16438" y="14282"/>
                  <a:pt x="16344" y="14344"/>
                  <a:pt x="16250" y="14375"/>
                </a:cubicBezTo>
                <a:close/>
                <a:moveTo>
                  <a:pt x="9469" y="4188"/>
                </a:moveTo>
                <a:cubicBezTo>
                  <a:pt x="9406" y="4125"/>
                  <a:pt x="9313" y="4125"/>
                  <a:pt x="9250" y="4188"/>
                </a:cubicBezTo>
                <a:cubicBezTo>
                  <a:pt x="9313" y="4125"/>
                  <a:pt x="9375" y="4438"/>
                  <a:pt x="9469" y="4188"/>
                </a:cubicBezTo>
                <a:close/>
                <a:moveTo>
                  <a:pt x="17781" y="13969"/>
                </a:moveTo>
                <a:cubicBezTo>
                  <a:pt x="17656" y="14000"/>
                  <a:pt x="17500" y="13907"/>
                  <a:pt x="17375" y="14063"/>
                </a:cubicBezTo>
                <a:cubicBezTo>
                  <a:pt x="17531" y="14063"/>
                  <a:pt x="17656" y="14063"/>
                  <a:pt x="17781" y="13969"/>
                </a:cubicBezTo>
                <a:close/>
                <a:moveTo>
                  <a:pt x="1063" y="6375"/>
                </a:moveTo>
                <a:cubicBezTo>
                  <a:pt x="1094" y="6344"/>
                  <a:pt x="1063" y="6282"/>
                  <a:pt x="1063" y="6219"/>
                </a:cubicBezTo>
                <a:cubicBezTo>
                  <a:pt x="1000" y="6282"/>
                  <a:pt x="907" y="6282"/>
                  <a:pt x="844" y="6313"/>
                </a:cubicBezTo>
                <a:cubicBezTo>
                  <a:pt x="938" y="6375"/>
                  <a:pt x="1032" y="6407"/>
                  <a:pt x="1063" y="6375"/>
                </a:cubicBezTo>
                <a:close/>
                <a:moveTo>
                  <a:pt x="6500" y="9375"/>
                </a:moveTo>
                <a:cubicBezTo>
                  <a:pt x="6375" y="9407"/>
                  <a:pt x="6281" y="9313"/>
                  <a:pt x="6188" y="9407"/>
                </a:cubicBezTo>
                <a:cubicBezTo>
                  <a:pt x="6281" y="9438"/>
                  <a:pt x="6375" y="9469"/>
                  <a:pt x="6500" y="9375"/>
                </a:cubicBezTo>
                <a:close/>
                <a:moveTo>
                  <a:pt x="6906" y="10500"/>
                </a:moveTo>
                <a:cubicBezTo>
                  <a:pt x="7000" y="10500"/>
                  <a:pt x="7094" y="10500"/>
                  <a:pt x="7219" y="10469"/>
                </a:cubicBezTo>
                <a:cubicBezTo>
                  <a:pt x="7063" y="10375"/>
                  <a:pt x="7000" y="10344"/>
                  <a:pt x="6906" y="10500"/>
                </a:cubicBezTo>
                <a:close/>
                <a:moveTo>
                  <a:pt x="3219" y="8719"/>
                </a:moveTo>
                <a:cubicBezTo>
                  <a:pt x="3094" y="8688"/>
                  <a:pt x="2969" y="8719"/>
                  <a:pt x="2844" y="8719"/>
                </a:cubicBezTo>
                <a:cubicBezTo>
                  <a:pt x="2844" y="8719"/>
                  <a:pt x="2844" y="8719"/>
                  <a:pt x="2844" y="8719"/>
                </a:cubicBezTo>
                <a:cubicBezTo>
                  <a:pt x="2907" y="8719"/>
                  <a:pt x="2969" y="8750"/>
                  <a:pt x="3063" y="8750"/>
                </a:cubicBezTo>
                <a:cubicBezTo>
                  <a:pt x="3094" y="8750"/>
                  <a:pt x="3157" y="8782"/>
                  <a:pt x="3188" y="8782"/>
                </a:cubicBezTo>
                <a:cubicBezTo>
                  <a:pt x="3219" y="8782"/>
                  <a:pt x="3282" y="8813"/>
                  <a:pt x="3282" y="8750"/>
                </a:cubicBezTo>
                <a:cubicBezTo>
                  <a:pt x="3282" y="8688"/>
                  <a:pt x="3250" y="8719"/>
                  <a:pt x="3219" y="8719"/>
                </a:cubicBezTo>
                <a:close/>
                <a:moveTo>
                  <a:pt x="32719" y="1532"/>
                </a:moveTo>
                <a:cubicBezTo>
                  <a:pt x="32813" y="1532"/>
                  <a:pt x="32906" y="1469"/>
                  <a:pt x="32906" y="1313"/>
                </a:cubicBezTo>
                <a:cubicBezTo>
                  <a:pt x="32813" y="1375"/>
                  <a:pt x="32781" y="1469"/>
                  <a:pt x="32688" y="1469"/>
                </a:cubicBezTo>
                <a:cubicBezTo>
                  <a:pt x="32656" y="1438"/>
                  <a:pt x="32625" y="1438"/>
                  <a:pt x="32625" y="1500"/>
                </a:cubicBezTo>
                <a:cubicBezTo>
                  <a:pt x="32625" y="1532"/>
                  <a:pt x="32688" y="1532"/>
                  <a:pt x="32719" y="1532"/>
                </a:cubicBezTo>
                <a:close/>
                <a:moveTo>
                  <a:pt x="9438" y="3000"/>
                </a:moveTo>
                <a:cubicBezTo>
                  <a:pt x="9469" y="3000"/>
                  <a:pt x="9500" y="2969"/>
                  <a:pt x="9500" y="2969"/>
                </a:cubicBezTo>
                <a:cubicBezTo>
                  <a:pt x="9531" y="2938"/>
                  <a:pt x="9531" y="2907"/>
                  <a:pt x="9563" y="2907"/>
                </a:cubicBezTo>
                <a:cubicBezTo>
                  <a:pt x="9469" y="2907"/>
                  <a:pt x="9313" y="2750"/>
                  <a:pt x="9281" y="2969"/>
                </a:cubicBezTo>
                <a:cubicBezTo>
                  <a:pt x="9313" y="3063"/>
                  <a:pt x="9375" y="3000"/>
                  <a:pt x="9438" y="3000"/>
                </a:cubicBezTo>
                <a:close/>
                <a:moveTo>
                  <a:pt x="2000" y="6407"/>
                </a:moveTo>
                <a:cubicBezTo>
                  <a:pt x="2000" y="6407"/>
                  <a:pt x="2032" y="6375"/>
                  <a:pt x="2032" y="6375"/>
                </a:cubicBezTo>
                <a:cubicBezTo>
                  <a:pt x="2032" y="6344"/>
                  <a:pt x="2000" y="6344"/>
                  <a:pt x="2000" y="6313"/>
                </a:cubicBezTo>
                <a:cubicBezTo>
                  <a:pt x="1938" y="6313"/>
                  <a:pt x="1875" y="6313"/>
                  <a:pt x="1813" y="6313"/>
                </a:cubicBezTo>
                <a:cubicBezTo>
                  <a:pt x="1750" y="6344"/>
                  <a:pt x="1782" y="6407"/>
                  <a:pt x="1782" y="6438"/>
                </a:cubicBezTo>
                <a:cubicBezTo>
                  <a:pt x="1750" y="6469"/>
                  <a:pt x="1750" y="6469"/>
                  <a:pt x="1750" y="6500"/>
                </a:cubicBezTo>
                <a:cubicBezTo>
                  <a:pt x="1782" y="6500"/>
                  <a:pt x="1813" y="6500"/>
                  <a:pt x="1813" y="6500"/>
                </a:cubicBezTo>
                <a:cubicBezTo>
                  <a:pt x="1875" y="6438"/>
                  <a:pt x="1907" y="6375"/>
                  <a:pt x="2000" y="6407"/>
                </a:cubicBezTo>
                <a:close/>
                <a:moveTo>
                  <a:pt x="5313" y="2532"/>
                </a:moveTo>
                <a:cubicBezTo>
                  <a:pt x="5281" y="2563"/>
                  <a:pt x="5344" y="2594"/>
                  <a:pt x="5375" y="2625"/>
                </a:cubicBezTo>
                <a:cubicBezTo>
                  <a:pt x="5406" y="2625"/>
                  <a:pt x="5469" y="2688"/>
                  <a:pt x="5531" y="2657"/>
                </a:cubicBezTo>
                <a:cubicBezTo>
                  <a:pt x="5531" y="2657"/>
                  <a:pt x="5594" y="2688"/>
                  <a:pt x="5594" y="2657"/>
                </a:cubicBezTo>
                <a:cubicBezTo>
                  <a:pt x="5594" y="2594"/>
                  <a:pt x="5563" y="2594"/>
                  <a:pt x="5531" y="2594"/>
                </a:cubicBezTo>
                <a:cubicBezTo>
                  <a:pt x="5500" y="2563"/>
                  <a:pt x="5469" y="2532"/>
                  <a:pt x="5438" y="2532"/>
                </a:cubicBezTo>
                <a:cubicBezTo>
                  <a:pt x="5406" y="2500"/>
                  <a:pt x="5344" y="2500"/>
                  <a:pt x="5313" y="2532"/>
                </a:cubicBezTo>
                <a:close/>
                <a:moveTo>
                  <a:pt x="8969" y="11282"/>
                </a:moveTo>
                <a:cubicBezTo>
                  <a:pt x="9094" y="11282"/>
                  <a:pt x="9219" y="11313"/>
                  <a:pt x="9313" y="11219"/>
                </a:cubicBezTo>
                <a:cubicBezTo>
                  <a:pt x="9188" y="11250"/>
                  <a:pt x="9063" y="11125"/>
                  <a:pt x="8969" y="11282"/>
                </a:cubicBezTo>
                <a:close/>
                <a:moveTo>
                  <a:pt x="34063" y="4344"/>
                </a:moveTo>
                <a:cubicBezTo>
                  <a:pt x="34219" y="4407"/>
                  <a:pt x="34344" y="4313"/>
                  <a:pt x="34469" y="4219"/>
                </a:cubicBezTo>
                <a:cubicBezTo>
                  <a:pt x="34313" y="4188"/>
                  <a:pt x="34188" y="4313"/>
                  <a:pt x="34063" y="4344"/>
                </a:cubicBezTo>
                <a:close/>
                <a:moveTo>
                  <a:pt x="6281" y="4125"/>
                </a:moveTo>
                <a:cubicBezTo>
                  <a:pt x="6281" y="4125"/>
                  <a:pt x="6250" y="4125"/>
                  <a:pt x="6250" y="4157"/>
                </a:cubicBezTo>
                <a:cubicBezTo>
                  <a:pt x="6250" y="4125"/>
                  <a:pt x="6250" y="4125"/>
                  <a:pt x="6250" y="4125"/>
                </a:cubicBezTo>
                <a:cubicBezTo>
                  <a:pt x="6250" y="4125"/>
                  <a:pt x="6219" y="4125"/>
                  <a:pt x="6219" y="4125"/>
                </a:cubicBezTo>
                <a:cubicBezTo>
                  <a:pt x="6188" y="4157"/>
                  <a:pt x="6125" y="4094"/>
                  <a:pt x="6125" y="4157"/>
                </a:cubicBezTo>
                <a:cubicBezTo>
                  <a:pt x="6094" y="4219"/>
                  <a:pt x="6188" y="4219"/>
                  <a:pt x="6219" y="4250"/>
                </a:cubicBezTo>
                <a:cubicBezTo>
                  <a:pt x="6313" y="4282"/>
                  <a:pt x="6375" y="4219"/>
                  <a:pt x="6406" y="4157"/>
                </a:cubicBezTo>
                <a:cubicBezTo>
                  <a:pt x="6375" y="4032"/>
                  <a:pt x="6344" y="4063"/>
                  <a:pt x="6281" y="4125"/>
                </a:cubicBezTo>
                <a:close/>
                <a:moveTo>
                  <a:pt x="4094" y="8875"/>
                </a:moveTo>
                <a:cubicBezTo>
                  <a:pt x="4250" y="9000"/>
                  <a:pt x="4375" y="9000"/>
                  <a:pt x="4500" y="8875"/>
                </a:cubicBezTo>
                <a:cubicBezTo>
                  <a:pt x="4375" y="8875"/>
                  <a:pt x="4219" y="8844"/>
                  <a:pt x="4094" y="8875"/>
                </a:cubicBezTo>
                <a:close/>
                <a:moveTo>
                  <a:pt x="6438" y="10157"/>
                </a:moveTo>
                <a:cubicBezTo>
                  <a:pt x="6438" y="10157"/>
                  <a:pt x="6438" y="10157"/>
                  <a:pt x="6438" y="10157"/>
                </a:cubicBezTo>
                <a:cubicBezTo>
                  <a:pt x="6438" y="10157"/>
                  <a:pt x="6438" y="10157"/>
                  <a:pt x="6438" y="10157"/>
                </a:cubicBezTo>
                <a:close/>
                <a:moveTo>
                  <a:pt x="9563" y="3657"/>
                </a:moveTo>
                <a:cubicBezTo>
                  <a:pt x="9594" y="3563"/>
                  <a:pt x="9563" y="3594"/>
                  <a:pt x="9500" y="3563"/>
                </a:cubicBezTo>
                <a:cubicBezTo>
                  <a:pt x="9406" y="3532"/>
                  <a:pt x="9438" y="3657"/>
                  <a:pt x="9375" y="3657"/>
                </a:cubicBezTo>
                <a:cubicBezTo>
                  <a:pt x="9375" y="3688"/>
                  <a:pt x="9375" y="3688"/>
                  <a:pt x="9406" y="3719"/>
                </a:cubicBezTo>
                <a:cubicBezTo>
                  <a:pt x="9469" y="3688"/>
                  <a:pt x="9531" y="3782"/>
                  <a:pt x="9594" y="3782"/>
                </a:cubicBezTo>
                <a:cubicBezTo>
                  <a:pt x="9656" y="3688"/>
                  <a:pt x="9531" y="3688"/>
                  <a:pt x="9563" y="3657"/>
                </a:cubicBezTo>
                <a:close/>
                <a:moveTo>
                  <a:pt x="3063" y="4938"/>
                </a:moveTo>
                <a:cubicBezTo>
                  <a:pt x="3219" y="5000"/>
                  <a:pt x="3407" y="5063"/>
                  <a:pt x="3563" y="5125"/>
                </a:cubicBezTo>
                <a:cubicBezTo>
                  <a:pt x="3438" y="4969"/>
                  <a:pt x="3250" y="4969"/>
                  <a:pt x="3063" y="4938"/>
                </a:cubicBezTo>
                <a:close/>
                <a:moveTo>
                  <a:pt x="12719" y="12969"/>
                </a:moveTo>
                <a:cubicBezTo>
                  <a:pt x="12594" y="12969"/>
                  <a:pt x="12500" y="12969"/>
                  <a:pt x="12375" y="13032"/>
                </a:cubicBezTo>
                <a:cubicBezTo>
                  <a:pt x="12531" y="13063"/>
                  <a:pt x="12656" y="13000"/>
                  <a:pt x="12750" y="13125"/>
                </a:cubicBezTo>
                <a:cubicBezTo>
                  <a:pt x="12719" y="13063"/>
                  <a:pt x="12781" y="12969"/>
                  <a:pt x="12719" y="12969"/>
                </a:cubicBezTo>
                <a:close/>
                <a:moveTo>
                  <a:pt x="34531" y="7938"/>
                </a:moveTo>
                <a:cubicBezTo>
                  <a:pt x="34531" y="7938"/>
                  <a:pt x="34500" y="7938"/>
                  <a:pt x="34500" y="7938"/>
                </a:cubicBezTo>
                <a:cubicBezTo>
                  <a:pt x="34438" y="7969"/>
                  <a:pt x="34406" y="8000"/>
                  <a:pt x="34375" y="8032"/>
                </a:cubicBezTo>
                <a:cubicBezTo>
                  <a:pt x="34375" y="8032"/>
                  <a:pt x="34375" y="8063"/>
                  <a:pt x="34406" y="8063"/>
                </a:cubicBezTo>
                <a:cubicBezTo>
                  <a:pt x="34438" y="8094"/>
                  <a:pt x="34500" y="8125"/>
                  <a:pt x="34531" y="8032"/>
                </a:cubicBezTo>
                <a:cubicBezTo>
                  <a:pt x="34531" y="8032"/>
                  <a:pt x="34563" y="8032"/>
                  <a:pt x="34563" y="8032"/>
                </a:cubicBezTo>
                <a:cubicBezTo>
                  <a:pt x="34594" y="8032"/>
                  <a:pt x="34625" y="8000"/>
                  <a:pt x="34625" y="7969"/>
                </a:cubicBezTo>
                <a:cubicBezTo>
                  <a:pt x="34625" y="7907"/>
                  <a:pt x="34563" y="7938"/>
                  <a:pt x="34531" y="7938"/>
                </a:cubicBezTo>
                <a:close/>
                <a:moveTo>
                  <a:pt x="18625" y="14469"/>
                </a:moveTo>
                <a:cubicBezTo>
                  <a:pt x="18750" y="14500"/>
                  <a:pt x="18875" y="14532"/>
                  <a:pt x="19000" y="14469"/>
                </a:cubicBezTo>
                <a:cubicBezTo>
                  <a:pt x="18875" y="14469"/>
                  <a:pt x="18750" y="14407"/>
                  <a:pt x="18625" y="14469"/>
                </a:cubicBezTo>
                <a:close/>
                <a:moveTo>
                  <a:pt x="1282" y="6407"/>
                </a:moveTo>
                <a:cubicBezTo>
                  <a:pt x="1407" y="6438"/>
                  <a:pt x="1500" y="6500"/>
                  <a:pt x="1625" y="6438"/>
                </a:cubicBezTo>
                <a:cubicBezTo>
                  <a:pt x="1500" y="6407"/>
                  <a:pt x="1407" y="6344"/>
                  <a:pt x="1282" y="6407"/>
                </a:cubicBezTo>
                <a:close/>
                <a:moveTo>
                  <a:pt x="15188" y="13344"/>
                </a:moveTo>
                <a:cubicBezTo>
                  <a:pt x="15188" y="13344"/>
                  <a:pt x="15188" y="13344"/>
                  <a:pt x="15188" y="13344"/>
                </a:cubicBezTo>
                <a:cubicBezTo>
                  <a:pt x="15188" y="13344"/>
                  <a:pt x="15188" y="13344"/>
                  <a:pt x="15188" y="13344"/>
                </a:cubicBezTo>
                <a:close/>
                <a:moveTo>
                  <a:pt x="18594" y="14157"/>
                </a:moveTo>
                <a:cubicBezTo>
                  <a:pt x="18594" y="14125"/>
                  <a:pt x="18563" y="14063"/>
                  <a:pt x="18531" y="14094"/>
                </a:cubicBezTo>
                <a:cubicBezTo>
                  <a:pt x="18469" y="14157"/>
                  <a:pt x="18344" y="14125"/>
                  <a:pt x="18250" y="14219"/>
                </a:cubicBezTo>
                <a:cubicBezTo>
                  <a:pt x="18375" y="14219"/>
                  <a:pt x="18469" y="14219"/>
                  <a:pt x="18563" y="14219"/>
                </a:cubicBezTo>
                <a:cubicBezTo>
                  <a:pt x="18594" y="14219"/>
                  <a:pt x="18625" y="14188"/>
                  <a:pt x="18594" y="14157"/>
                </a:cubicBezTo>
                <a:close/>
                <a:moveTo>
                  <a:pt x="19938" y="4688"/>
                </a:moveTo>
                <a:cubicBezTo>
                  <a:pt x="20031" y="4719"/>
                  <a:pt x="20125" y="4750"/>
                  <a:pt x="20156" y="4625"/>
                </a:cubicBezTo>
                <a:cubicBezTo>
                  <a:pt x="20125" y="4625"/>
                  <a:pt x="20063" y="4657"/>
                  <a:pt x="20031" y="4563"/>
                </a:cubicBezTo>
                <a:cubicBezTo>
                  <a:pt x="20031" y="4500"/>
                  <a:pt x="19969" y="4532"/>
                  <a:pt x="19906" y="4532"/>
                </a:cubicBezTo>
                <a:cubicBezTo>
                  <a:pt x="19844" y="4532"/>
                  <a:pt x="19938" y="4594"/>
                  <a:pt x="19875" y="4625"/>
                </a:cubicBezTo>
                <a:cubicBezTo>
                  <a:pt x="19844" y="4657"/>
                  <a:pt x="19938" y="4688"/>
                  <a:pt x="19938" y="4688"/>
                </a:cubicBezTo>
                <a:close/>
                <a:moveTo>
                  <a:pt x="33406" y="4532"/>
                </a:moveTo>
                <a:cubicBezTo>
                  <a:pt x="33563" y="4563"/>
                  <a:pt x="33719" y="4563"/>
                  <a:pt x="33844" y="4407"/>
                </a:cubicBezTo>
                <a:cubicBezTo>
                  <a:pt x="33656" y="4375"/>
                  <a:pt x="33531" y="4438"/>
                  <a:pt x="33406" y="4532"/>
                </a:cubicBezTo>
                <a:close/>
                <a:moveTo>
                  <a:pt x="2188" y="9157"/>
                </a:moveTo>
                <a:cubicBezTo>
                  <a:pt x="2344" y="9250"/>
                  <a:pt x="2532" y="9219"/>
                  <a:pt x="2719" y="9219"/>
                </a:cubicBezTo>
                <a:cubicBezTo>
                  <a:pt x="2532" y="9157"/>
                  <a:pt x="2375" y="9094"/>
                  <a:pt x="2188" y="9157"/>
                </a:cubicBezTo>
                <a:close/>
                <a:moveTo>
                  <a:pt x="719" y="8688"/>
                </a:moveTo>
                <a:cubicBezTo>
                  <a:pt x="563" y="8688"/>
                  <a:pt x="469" y="8657"/>
                  <a:pt x="344" y="8719"/>
                </a:cubicBezTo>
                <a:cubicBezTo>
                  <a:pt x="594" y="8813"/>
                  <a:pt x="594" y="8813"/>
                  <a:pt x="719" y="8688"/>
                </a:cubicBezTo>
                <a:close/>
                <a:moveTo>
                  <a:pt x="20531" y="5250"/>
                </a:moveTo>
                <a:cubicBezTo>
                  <a:pt x="20719" y="5313"/>
                  <a:pt x="20719" y="5313"/>
                  <a:pt x="20750" y="5219"/>
                </a:cubicBezTo>
                <a:cubicBezTo>
                  <a:pt x="20594" y="5219"/>
                  <a:pt x="20438" y="5125"/>
                  <a:pt x="20250" y="5250"/>
                </a:cubicBezTo>
                <a:cubicBezTo>
                  <a:pt x="20375" y="5282"/>
                  <a:pt x="20438" y="5219"/>
                  <a:pt x="20531" y="5250"/>
                </a:cubicBezTo>
                <a:close/>
                <a:moveTo>
                  <a:pt x="1125" y="8875"/>
                </a:moveTo>
                <a:cubicBezTo>
                  <a:pt x="1063" y="8844"/>
                  <a:pt x="1032" y="8875"/>
                  <a:pt x="1000" y="8907"/>
                </a:cubicBezTo>
                <a:cubicBezTo>
                  <a:pt x="1000" y="8938"/>
                  <a:pt x="969" y="8938"/>
                  <a:pt x="969" y="8907"/>
                </a:cubicBezTo>
                <a:cubicBezTo>
                  <a:pt x="969" y="8907"/>
                  <a:pt x="938" y="8907"/>
                  <a:pt x="938" y="8907"/>
                </a:cubicBezTo>
                <a:cubicBezTo>
                  <a:pt x="875" y="8844"/>
                  <a:pt x="813" y="8875"/>
                  <a:pt x="719" y="8875"/>
                </a:cubicBezTo>
                <a:cubicBezTo>
                  <a:pt x="688" y="8875"/>
                  <a:pt x="657" y="8875"/>
                  <a:pt x="594" y="8875"/>
                </a:cubicBezTo>
                <a:cubicBezTo>
                  <a:pt x="657" y="8907"/>
                  <a:pt x="657" y="9000"/>
                  <a:pt x="719" y="8969"/>
                </a:cubicBezTo>
                <a:cubicBezTo>
                  <a:pt x="844" y="8938"/>
                  <a:pt x="969" y="8969"/>
                  <a:pt x="1094" y="8969"/>
                </a:cubicBezTo>
                <a:cubicBezTo>
                  <a:pt x="1125" y="8969"/>
                  <a:pt x="1188" y="8969"/>
                  <a:pt x="1188" y="8907"/>
                </a:cubicBezTo>
                <a:cubicBezTo>
                  <a:pt x="1188" y="8875"/>
                  <a:pt x="1157" y="8875"/>
                  <a:pt x="1125" y="8875"/>
                </a:cubicBezTo>
                <a:close/>
                <a:moveTo>
                  <a:pt x="14031" y="3500"/>
                </a:moveTo>
                <a:cubicBezTo>
                  <a:pt x="14031" y="3500"/>
                  <a:pt x="14063" y="3500"/>
                  <a:pt x="14094" y="3469"/>
                </a:cubicBezTo>
                <a:cubicBezTo>
                  <a:pt x="14094" y="3469"/>
                  <a:pt x="14094" y="3438"/>
                  <a:pt x="14094" y="3438"/>
                </a:cubicBezTo>
                <a:cubicBezTo>
                  <a:pt x="13969" y="3407"/>
                  <a:pt x="13875" y="3219"/>
                  <a:pt x="13719" y="3282"/>
                </a:cubicBezTo>
                <a:cubicBezTo>
                  <a:pt x="13781" y="3407"/>
                  <a:pt x="13938" y="3438"/>
                  <a:pt x="14031" y="3500"/>
                </a:cubicBezTo>
                <a:close/>
                <a:moveTo>
                  <a:pt x="10094" y="3188"/>
                </a:moveTo>
                <a:cubicBezTo>
                  <a:pt x="10156" y="3188"/>
                  <a:pt x="10188" y="3157"/>
                  <a:pt x="10188" y="3094"/>
                </a:cubicBezTo>
                <a:cubicBezTo>
                  <a:pt x="10188" y="3032"/>
                  <a:pt x="10031" y="2938"/>
                  <a:pt x="9938" y="2969"/>
                </a:cubicBezTo>
                <a:cubicBezTo>
                  <a:pt x="9938" y="3032"/>
                  <a:pt x="9906" y="3094"/>
                  <a:pt x="9938" y="3125"/>
                </a:cubicBezTo>
                <a:cubicBezTo>
                  <a:pt x="10000" y="3125"/>
                  <a:pt x="10031" y="3188"/>
                  <a:pt x="10094" y="3188"/>
                </a:cubicBezTo>
                <a:close/>
                <a:moveTo>
                  <a:pt x="8625" y="10688"/>
                </a:moveTo>
                <a:cubicBezTo>
                  <a:pt x="8625" y="10688"/>
                  <a:pt x="8625" y="10688"/>
                  <a:pt x="8625" y="10688"/>
                </a:cubicBezTo>
                <a:cubicBezTo>
                  <a:pt x="8531" y="10688"/>
                  <a:pt x="8469" y="10657"/>
                  <a:pt x="8406" y="10625"/>
                </a:cubicBezTo>
                <a:cubicBezTo>
                  <a:pt x="8719" y="10875"/>
                  <a:pt x="8719" y="10875"/>
                  <a:pt x="8813" y="10813"/>
                </a:cubicBezTo>
                <a:cubicBezTo>
                  <a:pt x="8750" y="10750"/>
                  <a:pt x="8656" y="10750"/>
                  <a:pt x="8625" y="10688"/>
                </a:cubicBezTo>
                <a:close/>
                <a:moveTo>
                  <a:pt x="12031" y="3438"/>
                </a:moveTo>
                <a:cubicBezTo>
                  <a:pt x="11906" y="3344"/>
                  <a:pt x="11719" y="3313"/>
                  <a:pt x="11594" y="3188"/>
                </a:cubicBezTo>
                <a:cubicBezTo>
                  <a:pt x="11625" y="3313"/>
                  <a:pt x="11844" y="3438"/>
                  <a:pt x="12031" y="3438"/>
                </a:cubicBezTo>
                <a:close/>
                <a:moveTo>
                  <a:pt x="3719" y="9313"/>
                </a:moveTo>
                <a:cubicBezTo>
                  <a:pt x="3938" y="9469"/>
                  <a:pt x="3938" y="9469"/>
                  <a:pt x="4156" y="9407"/>
                </a:cubicBezTo>
                <a:cubicBezTo>
                  <a:pt x="4063" y="9344"/>
                  <a:pt x="3750" y="9313"/>
                  <a:pt x="3719" y="9313"/>
                </a:cubicBezTo>
                <a:close/>
                <a:moveTo>
                  <a:pt x="4406" y="7563"/>
                </a:moveTo>
                <a:cubicBezTo>
                  <a:pt x="4313" y="7532"/>
                  <a:pt x="4250" y="7469"/>
                  <a:pt x="4125" y="7594"/>
                </a:cubicBezTo>
                <a:cubicBezTo>
                  <a:pt x="4250" y="7594"/>
                  <a:pt x="4344" y="7657"/>
                  <a:pt x="4438" y="7688"/>
                </a:cubicBezTo>
                <a:cubicBezTo>
                  <a:pt x="4531" y="7719"/>
                  <a:pt x="4594" y="7719"/>
                  <a:pt x="4688" y="7657"/>
                </a:cubicBezTo>
                <a:cubicBezTo>
                  <a:pt x="4594" y="7657"/>
                  <a:pt x="4500" y="7625"/>
                  <a:pt x="4406" y="7563"/>
                </a:cubicBezTo>
                <a:close/>
                <a:moveTo>
                  <a:pt x="4813" y="8938"/>
                </a:moveTo>
                <a:cubicBezTo>
                  <a:pt x="4750" y="8938"/>
                  <a:pt x="4688" y="8938"/>
                  <a:pt x="4656" y="8969"/>
                </a:cubicBezTo>
                <a:cubicBezTo>
                  <a:pt x="4719" y="9032"/>
                  <a:pt x="4781" y="9125"/>
                  <a:pt x="4875" y="9094"/>
                </a:cubicBezTo>
                <a:cubicBezTo>
                  <a:pt x="4906" y="9094"/>
                  <a:pt x="4938" y="9000"/>
                  <a:pt x="5000" y="8938"/>
                </a:cubicBezTo>
                <a:cubicBezTo>
                  <a:pt x="4938" y="8938"/>
                  <a:pt x="4875" y="8938"/>
                  <a:pt x="4813" y="8938"/>
                </a:cubicBezTo>
                <a:close/>
                <a:moveTo>
                  <a:pt x="2844" y="3594"/>
                </a:moveTo>
                <a:cubicBezTo>
                  <a:pt x="3000" y="3594"/>
                  <a:pt x="3157" y="3688"/>
                  <a:pt x="3344" y="3688"/>
                </a:cubicBezTo>
                <a:cubicBezTo>
                  <a:pt x="3250" y="3625"/>
                  <a:pt x="3250" y="3500"/>
                  <a:pt x="3125" y="3532"/>
                </a:cubicBezTo>
                <a:cubicBezTo>
                  <a:pt x="3032" y="3563"/>
                  <a:pt x="2938" y="3563"/>
                  <a:pt x="2844" y="3532"/>
                </a:cubicBezTo>
                <a:cubicBezTo>
                  <a:pt x="2844" y="3500"/>
                  <a:pt x="2813" y="3532"/>
                  <a:pt x="2813" y="3563"/>
                </a:cubicBezTo>
                <a:cubicBezTo>
                  <a:pt x="2813" y="3594"/>
                  <a:pt x="2813" y="3594"/>
                  <a:pt x="2844" y="3594"/>
                </a:cubicBezTo>
                <a:close/>
                <a:moveTo>
                  <a:pt x="22719" y="14782"/>
                </a:moveTo>
                <a:cubicBezTo>
                  <a:pt x="22688" y="14782"/>
                  <a:pt x="22656" y="14813"/>
                  <a:pt x="22594" y="14813"/>
                </a:cubicBezTo>
                <a:cubicBezTo>
                  <a:pt x="22563" y="14813"/>
                  <a:pt x="22531" y="14844"/>
                  <a:pt x="22531" y="14875"/>
                </a:cubicBezTo>
                <a:cubicBezTo>
                  <a:pt x="22500" y="14907"/>
                  <a:pt x="22500" y="14938"/>
                  <a:pt x="22531" y="14969"/>
                </a:cubicBezTo>
                <a:cubicBezTo>
                  <a:pt x="22563" y="14969"/>
                  <a:pt x="22594" y="15000"/>
                  <a:pt x="22625" y="15000"/>
                </a:cubicBezTo>
                <a:cubicBezTo>
                  <a:pt x="22656" y="14969"/>
                  <a:pt x="22594" y="14969"/>
                  <a:pt x="22594" y="14938"/>
                </a:cubicBezTo>
                <a:cubicBezTo>
                  <a:pt x="22625" y="14907"/>
                  <a:pt x="22656" y="14875"/>
                  <a:pt x="22688" y="14875"/>
                </a:cubicBezTo>
                <a:cubicBezTo>
                  <a:pt x="22750" y="14844"/>
                  <a:pt x="22719" y="14907"/>
                  <a:pt x="22719" y="14938"/>
                </a:cubicBezTo>
                <a:cubicBezTo>
                  <a:pt x="22719" y="15000"/>
                  <a:pt x="22750" y="15000"/>
                  <a:pt x="22813" y="14969"/>
                </a:cubicBezTo>
                <a:cubicBezTo>
                  <a:pt x="22781" y="14907"/>
                  <a:pt x="22781" y="14907"/>
                  <a:pt x="22844" y="14750"/>
                </a:cubicBezTo>
                <a:cubicBezTo>
                  <a:pt x="22781" y="14719"/>
                  <a:pt x="22781" y="14782"/>
                  <a:pt x="22719" y="14782"/>
                </a:cubicBezTo>
                <a:close/>
                <a:moveTo>
                  <a:pt x="23281" y="14750"/>
                </a:moveTo>
                <a:cubicBezTo>
                  <a:pt x="23281" y="14750"/>
                  <a:pt x="23281" y="14750"/>
                  <a:pt x="23281" y="14750"/>
                </a:cubicBezTo>
                <a:close/>
                <a:moveTo>
                  <a:pt x="9594" y="10813"/>
                </a:moveTo>
                <a:cubicBezTo>
                  <a:pt x="9563" y="10813"/>
                  <a:pt x="9563" y="10844"/>
                  <a:pt x="9531" y="10813"/>
                </a:cubicBezTo>
                <a:cubicBezTo>
                  <a:pt x="9500" y="10782"/>
                  <a:pt x="9438" y="10782"/>
                  <a:pt x="9406" y="10813"/>
                </a:cubicBezTo>
                <a:cubicBezTo>
                  <a:pt x="9375" y="10813"/>
                  <a:pt x="9375" y="10813"/>
                  <a:pt x="9375" y="10844"/>
                </a:cubicBezTo>
                <a:cubicBezTo>
                  <a:pt x="9375" y="10875"/>
                  <a:pt x="9438" y="10875"/>
                  <a:pt x="9438" y="10875"/>
                </a:cubicBezTo>
                <a:cubicBezTo>
                  <a:pt x="9469" y="10875"/>
                  <a:pt x="9500" y="10844"/>
                  <a:pt x="9500" y="10875"/>
                </a:cubicBezTo>
                <a:cubicBezTo>
                  <a:pt x="9563" y="10938"/>
                  <a:pt x="9719" y="10938"/>
                  <a:pt x="9719" y="10907"/>
                </a:cubicBezTo>
                <a:cubicBezTo>
                  <a:pt x="9719" y="10813"/>
                  <a:pt x="9813" y="10844"/>
                  <a:pt x="9844" y="10813"/>
                </a:cubicBezTo>
                <a:cubicBezTo>
                  <a:pt x="9781" y="10719"/>
                  <a:pt x="9625" y="10657"/>
                  <a:pt x="9500" y="10719"/>
                </a:cubicBezTo>
                <a:cubicBezTo>
                  <a:pt x="9594" y="10750"/>
                  <a:pt x="9656" y="10782"/>
                  <a:pt x="9719" y="10813"/>
                </a:cubicBezTo>
                <a:cubicBezTo>
                  <a:pt x="9656" y="10844"/>
                  <a:pt x="9625" y="10813"/>
                  <a:pt x="9594" y="10813"/>
                </a:cubicBezTo>
                <a:close/>
                <a:moveTo>
                  <a:pt x="3125" y="6969"/>
                </a:moveTo>
                <a:cubicBezTo>
                  <a:pt x="3125" y="6907"/>
                  <a:pt x="3063" y="6907"/>
                  <a:pt x="3032" y="6907"/>
                </a:cubicBezTo>
                <a:cubicBezTo>
                  <a:pt x="2938" y="6938"/>
                  <a:pt x="2907" y="6907"/>
                  <a:pt x="2844" y="6844"/>
                </a:cubicBezTo>
                <a:cubicBezTo>
                  <a:pt x="2813" y="6844"/>
                  <a:pt x="2782" y="6813"/>
                  <a:pt x="2782" y="6782"/>
                </a:cubicBezTo>
                <a:cubicBezTo>
                  <a:pt x="2688" y="6813"/>
                  <a:pt x="2594" y="6750"/>
                  <a:pt x="2469" y="6813"/>
                </a:cubicBezTo>
                <a:cubicBezTo>
                  <a:pt x="2563" y="6844"/>
                  <a:pt x="2625" y="6875"/>
                  <a:pt x="2688" y="6875"/>
                </a:cubicBezTo>
                <a:cubicBezTo>
                  <a:pt x="2782" y="6938"/>
                  <a:pt x="2907" y="6969"/>
                  <a:pt x="3000" y="7000"/>
                </a:cubicBezTo>
                <a:cubicBezTo>
                  <a:pt x="3063" y="7000"/>
                  <a:pt x="3094" y="7032"/>
                  <a:pt x="3125" y="6969"/>
                </a:cubicBezTo>
                <a:close/>
                <a:moveTo>
                  <a:pt x="12531" y="12344"/>
                </a:moveTo>
                <a:cubicBezTo>
                  <a:pt x="12563" y="12344"/>
                  <a:pt x="12594" y="12344"/>
                  <a:pt x="12625" y="12344"/>
                </a:cubicBezTo>
                <a:cubicBezTo>
                  <a:pt x="12688" y="12344"/>
                  <a:pt x="12781" y="12375"/>
                  <a:pt x="12813" y="12438"/>
                </a:cubicBezTo>
                <a:cubicBezTo>
                  <a:pt x="12875" y="12500"/>
                  <a:pt x="12938" y="12469"/>
                  <a:pt x="12969" y="12469"/>
                </a:cubicBezTo>
                <a:cubicBezTo>
                  <a:pt x="13000" y="12469"/>
                  <a:pt x="13031" y="12469"/>
                  <a:pt x="13031" y="12438"/>
                </a:cubicBezTo>
                <a:cubicBezTo>
                  <a:pt x="13031" y="12407"/>
                  <a:pt x="13000" y="12407"/>
                  <a:pt x="12969" y="12407"/>
                </a:cubicBezTo>
                <a:cubicBezTo>
                  <a:pt x="12906" y="12407"/>
                  <a:pt x="12844" y="12407"/>
                  <a:pt x="12813" y="12344"/>
                </a:cubicBezTo>
                <a:cubicBezTo>
                  <a:pt x="12719" y="12219"/>
                  <a:pt x="12625" y="12282"/>
                  <a:pt x="12500" y="12313"/>
                </a:cubicBezTo>
                <a:cubicBezTo>
                  <a:pt x="12469" y="12313"/>
                  <a:pt x="12406" y="12282"/>
                  <a:pt x="12406" y="12344"/>
                </a:cubicBezTo>
                <a:cubicBezTo>
                  <a:pt x="12438" y="12438"/>
                  <a:pt x="12500" y="12375"/>
                  <a:pt x="12531" y="12344"/>
                </a:cubicBezTo>
                <a:close/>
                <a:moveTo>
                  <a:pt x="9969" y="6157"/>
                </a:moveTo>
                <a:cubicBezTo>
                  <a:pt x="9906" y="6344"/>
                  <a:pt x="9781" y="6094"/>
                  <a:pt x="9719" y="6188"/>
                </a:cubicBezTo>
                <a:cubicBezTo>
                  <a:pt x="9719" y="6219"/>
                  <a:pt x="9688" y="6219"/>
                  <a:pt x="9688" y="6219"/>
                </a:cubicBezTo>
                <a:cubicBezTo>
                  <a:pt x="9750" y="6250"/>
                  <a:pt x="9813" y="6219"/>
                  <a:pt x="9844" y="6282"/>
                </a:cubicBezTo>
                <a:cubicBezTo>
                  <a:pt x="9875" y="6438"/>
                  <a:pt x="9969" y="6344"/>
                  <a:pt x="10000" y="6282"/>
                </a:cubicBezTo>
                <a:cubicBezTo>
                  <a:pt x="10031" y="6282"/>
                  <a:pt x="10063" y="6250"/>
                  <a:pt x="10094" y="6250"/>
                </a:cubicBezTo>
                <a:cubicBezTo>
                  <a:pt x="10188" y="6313"/>
                  <a:pt x="10250" y="6313"/>
                  <a:pt x="10344" y="6313"/>
                </a:cubicBezTo>
                <a:cubicBezTo>
                  <a:pt x="10344" y="6313"/>
                  <a:pt x="10344" y="6313"/>
                  <a:pt x="10375" y="6313"/>
                </a:cubicBezTo>
                <a:cubicBezTo>
                  <a:pt x="10344" y="6375"/>
                  <a:pt x="10313" y="6407"/>
                  <a:pt x="10250" y="6375"/>
                </a:cubicBezTo>
                <a:cubicBezTo>
                  <a:pt x="10219" y="6375"/>
                  <a:pt x="10188" y="6344"/>
                  <a:pt x="10156" y="6344"/>
                </a:cubicBezTo>
                <a:cubicBezTo>
                  <a:pt x="10125" y="6313"/>
                  <a:pt x="10094" y="6313"/>
                  <a:pt x="10063" y="6344"/>
                </a:cubicBezTo>
                <a:cubicBezTo>
                  <a:pt x="10031" y="6375"/>
                  <a:pt x="10094" y="6407"/>
                  <a:pt x="10125" y="6438"/>
                </a:cubicBezTo>
                <a:cubicBezTo>
                  <a:pt x="10219" y="6500"/>
                  <a:pt x="10375" y="6532"/>
                  <a:pt x="10500" y="6532"/>
                </a:cubicBezTo>
                <a:cubicBezTo>
                  <a:pt x="10594" y="6532"/>
                  <a:pt x="10594" y="6469"/>
                  <a:pt x="10625" y="6407"/>
                </a:cubicBezTo>
                <a:lnTo>
                  <a:pt x="10625" y="6407"/>
                </a:lnTo>
                <a:cubicBezTo>
                  <a:pt x="10625" y="6313"/>
                  <a:pt x="10563" y="6313"/>
                  <a:pt x="10500" y="6313"/>
                </a:cubicBezTo>
                <a:cubicBezTo>
                  <a:pt x="10469" y="6313"/>
                  <a:pt x="10406" y="6313"/>
                  <a:pt x="10375" y="6313"/>
                </a:cubicBezTo>
                <a:cubicBezTo>
                  <a:pt x="10375" y="6313"/>
                  <a:pt x="10344" y="6313"/>
                  <a:pt x="10344" y="6313"/>
                </a:cubicBezTo>
                <a:cubicBezTo>
                  <a:pt x="10313" y="6313"/>
                  <a:pt x="10313" y="6282"/>
                  <a:pt x="10281" y="6282"/>
                </a:cubicBezTo>
                <a:cubicBezTo>
                  <a:pt x="10188" y="6219"/>
                  <a:pt x="10094" y="6157"/>
                  <a:pt x="9969" y="6157"/>
                </a:cubicBezTo>
                <a:close/>
                <a:moveTo>
                  <a:pt x="11344" y="4938"/>
                </a:moveTo>
                <a:cubicBezTo>
                  <a:pt x="11313" y="4875"/>
                  <a:pt x="11313" y="4813"/>
                  <a:pt x="11344" y="4750"/>
                </a:cubicBezTo>
                <a:cubicBezTo>
                  <a:pt x="11094" y="4813"/>
                  <a:pt x="10969" y="4532"/>
                  <a:pt x="10750" y="4563"/>
                </a:cubicBezTo>
                <a:cubicBezTo>
                  <a:pt x="10938" y="4657"/>
                  <a:pt x="11094" y="4844"/>
                  <a:pt x="11344" y="4938"/>
                </a:cubicBezTo>
                <a:close/>
                <a:moveTo>
                  <a:pt x="8375" y="10094"/>
                </a:moveTo>
                <a:cubicBezTo>
                  <a:pt x="8125" y="10063"/>
                  <a:pt x="7906" y="10063"/>
                  <a:pt x="7656" y="10000"/>
                </a:cubicBezTo>
                <a:cubicBezTo>
                  <a:pt x="7875" y="10188"/>
                  <a:pt x="8125" y="10125"/>
                  <a:pt x="8375" y="10094"/>
                </a:cubicBezTo>
                <a:close/>
                <a:moveTo>
                  <a:pt x="7594" y="10188"/>
                </a:moveTo>
                <a:cubicBezTo>
                  <a:pt x="7406" y="10250"/>
                  <a:pt x="7219" y="10125"/>
                  <a:pt x="7031" y="10157"/>
                </a:cubicBezTo>
                <a:cubicBezTo>
                  <a:pt x="7250" y="10188"/>
                  <a:pt x="7406" y="10407"/>
                  <a:pt x="7625" y="10344"/>
                </a:cubicBezTo>
                <a:cubicBezTo>
                  <a:pt x="7656" y="10282"/>
                  <a:pt x="7469" y="10313"/>
                  <a:pt x="7594" y="10188"/>
                </a:cubicBezTo>
                <a:close/>
                <a:moveTo>
                  <a:pt x="32688" y="2344"/>
                </a:moveTo>
                <a:cubicBezTo>
                  <a:pt x="32688" y="2375"/>
                  <a:pt x="32750" y="2375"/>
                  <a:pt x="32781" y="2375"/>
                </a:cubicBezTo>
                <a:cubicBezTo>
                  <a:pt x="32844" y="2344"/>
                  <a:pt x="32750" y="2313"/>
                  <a:pt x="32781" y="2282"/>
                </a:cubicBezTo>
                <a:cubicBezTo>
                  <a:pt x="32781" y="2250"/>
                  <a:pt x="32813" y="2157"/>
                  <a:pt x="32844" y="2188"/>
                </a:cubicBezTo>
                <a:cubicBezTo>
                  <a:pt x="32938" y="2219"/>
                  <a:pt x="33000" y="2282"/>
                  <a:pt x="33063" y="2157"/>
                </a:cubicBezTo>
                <a:cubicBezTo>
                  <a:pt x="33063" y="2157"/>
                  <a:pt x="33125" y="2188"/>
                  <a:pt x="33125" y="2125"/>
                </a:cubicBezTo>
                <a:cubicBezTo>
                  <a:pt x="33125" y="2063"/>
                  <a:pt x="33063" y="2063"/>
                  <a:pt x="33031" y="2063"/>
                </a:cubicBezTo>
                <a:cubicBezTo>
                  <a:pt x="32844" y="2063"/>
                  <a:pt x="32688" y="2157"/>
                  <a:pt x="32500" y="2282"/>
                </a:cubicBezTo>
                <a:cubicBezTo>
                  <a:pt x="32594" y="2313"/>
                  <a:pt x="32656" y="2250"/>
                  <a:pt x="32688" y="2344"/>
                </a:cubicBezTo>
                <a:close/>
                <a:moveTo>
                  <a:pt x="6281" y="2844"/>
                </a:moveTo>
                <a:cubicBezTo>
                  <a:pt x="6188" y="2875"/>
                  <a:pt x="6156" y="2875"/>
                  <a:pt x="6125" y="2813"/>
                </a:cubicBezTo>
                <a:cubicBezTo>
                  <a:pt x="6125" y="2782"/>
                  <a:pt x="6094" y="2750"/>
                  <a:pt x="6063" y="2750"/>
                </a:cubicBezTo>
                <a:cubicBezTo>
                  <a:pt x="5969" y="2750"/>
                  <a:pt x="5906" y="2750"/>
                  <a:pt x="5813" y="2688"/>
                </a:cubicBezTo>
                <a:cubicBezTo>
                  <a:pt x="5781" y="2657"/>
                  <a:pt x="5750" y="2625"/>
                  <a:pt x="5656" y="2688"/>
                </a:cubicBezTo>
                <a:cubicBezTo>
                  <a:pt x="5938" y="2813"/>
                  <a:pt x="6188" y="2907"/>
                  <a:pt x="6438" y="3032"/>
                </a:cubicBezTo>
                <a:cubicBezTo>
                  <a:pt x="6406" y="2938"/>
                  <a:pt x="6375" y="2782"/>
                  <a:pt x="6281" y="2844"/>
                </a:cubicBezTo>
                <a:close/>
                <a:moveTo>
                  <a:pt x="10781" y="3407"/>
                </a:moveTo>
                <a:cubicBezTo>
                  <a:pt x="10750" y="3344"/>
                  <a:pt x="10719" y="3407"/>
                  <a:pt x="10719" y="3407"/>
                </a:cubicBezTo>
                <a:cubicBezTo>
                  <a:pt x="10719" y="3469"/>
                  <a:pt x="10625" y="3469"/>
                  <a:pt x="10688" y="3532"/>
                </a:cubicBezTo>
                <a:cubicBezTo>
                  <a:pt x="10719" y="3563"/>
                  <a:pt x="10719" y="3594"/>
                  <a:pt x="10781" y="3532"/>
                </a:cubicBezTo>
                <a:cubicBezTo>
                  <a:pt x="10875" y="3469"/>
                  <a:pt x="10938" y="3532"/>
                  <a:pt x="10938" y="3625"/>
                </a:cubicBezTo>
                <a:cubicBezTo>
                  <a:pt x="10938" y="3719"/>
                  <a:pt x="11031" y="3688"/>
                  <a:pt x="11063" y="3719"/>
                </a:cubicBezTo>
                <a:cubicBezTo>
                  <a:pt x="11094" y="3750"/>
                  <a:pt x="11125" y="3719"/>
                  <a:pt x="11156" y="3688"/>
                </a:cubicBezTo>
                <a:cubicBezTo>
                  <a:pt x="11188" y="3625"/>
                  <a:pt x="11219" y="3563"/>
                  <a:pt x="11250" y="3532"/>
                </a:cubicBezTo>
                <a:cubicBezTo>
                  <a:pt x="11156" y="3500"/>
                  <a:pt x="11031" y="3625"/>
                  <a:pt x="10969" y="3438"/>
                </a:cubicBezTo>
                <a:cubicBezTo>
                  <a:pt x="10969" y="3438"/>
                  <a:pt x="10906" y="3438"/>
                  <a:pt x="10906" y="3438"/>
                </a:cubicBezTo>
                <a:cubicBezTo>
                  <a:pt x="10844" y="3438"/>
                  <a:pt x="10813" y="3469"/>
                  <a:pt x="10781" y="3407"/>
                </a:cubicBezTo>
                <a:close/>
                <a:moveTo>
                  <a:pt x="12156" y="3594"/>
                </a:moveTo>
                <a:cubicBezTo>
                  <a:pt x="12250" y="3625"/>
                  <a:pt x="12344" y="3657"/>
                  <a:pt x="12406" y="3719"/>
                </a:cubicBezTo>
                <a:cubicBezTo>
                  <a:pt x="12500" y="3844"/>
                  <a:pt x="12594" y="3875"/>
                  <a:pt x="12719" y="3844"/>
                </a:cubicBezTo>
                <a:cubicBezTo>
                  <a:pt x="12750" y="3813"/>
                  <a:pt x="12688" y="3750"/>
                  <a:pt x="12781" y="3750"/>
                </a:cubicBezTo>
                <a:cubicBezTo>
                  <a:pt x="12750" y="3750"/>
                  <a:pt x="12813" y="3688"/>
                  <a:pt x="12750" y="3688"/>
                </a:cubicBezTo>
                <a:cubicBezTo>
                  <a:pt x="12625" y="3719"/>
                  <a:pt x="12563" y="3594"/>
                  <a:pt x="12438" y="3657"/>
                </a:cubicBezTo>
                <a:cubicBezTo>
                  <a:pt x="12344" y="3688"/>
                  <a:pt x="12281" y="3563"/>
                  <a:pt x="12188" y="3532"/>
                </a:cubicBezTo>
                <a:cubicBezTo>
                  <a:pt x="12156" y="3532"/>
                  <a:pt x="12125" y="3500"/>
                  <a:pt x="12094" y="3532"/>
                </a:cubicBezTo>
                <a:cubicBezTo>
                  <a:pt x="12094" y="3563"/>
                  <a:pt x="12125" y="3594"/>
                  <a:pt x="12156" y="3594"/>
                </a:cubicBezTo>
                <a:close/>
                <a:moveTo>
                  <a:pt x="9656" y="3875"/>
                </a:moveTo>
                <a:cubicBezTo>
                  <a:pt x="9594" y="3844"/>
                  <a:pt x="9531" y="3875"/>
                  <a:pt x="9531" y="3907"/>
                </a:cubicBezTo>
                <a:cubicBezTo>
                  <a:pt x="9531" y="3969"/>
                  <a:pt x="9625" y="4032"/>
                  <a:pt x="9688" y="4063"/>
                </a:cubicBezTo>
                <a:cubicBezTo>
                  <a:pt x="9781" y="4094"/>
                  <a:pt x="9750" y="4000"/>
                  <a:pt x="9781" y="3969"/>
                </a:cubicBezTo>
                <a:cubicBezTo>
                  <a:pt x="9813" y="4000"/>
                  <a:pt x="9813" y="4094"/>
                  <a:pt x="9906" y="4063"/>
                </a:cubicBezTo>
                <a:cubicBezTo>
                  <a:pt x="9969" y="4032"/>
                  <a:pt x="10031" y="4000"/>
                  <a:pt x="10094" y="3969"/>
                </a:cubicBezTo>
                <a:cubicBezTo>
                  <a:pt x="10094" y="3969"/>
                  <a:pt x="10094" y="3938"/>
                  <a:pt x="10094" y="3938"/>
                </a:cubicBezTo>
                <a:cubicBezTo>
                  <a:pt x="10000" y="3907"/>
                  <a:pt x="9938" y="3813"/>
                  <a:pt x="9813" y="3813"/>
                </a:cubicBezTo>
                <a:cubicBezTo>
                  <a:pt x="9875" y="3875"/>
                  <a:pt x="9969" y="3875"/>
                  <a:pt x="9906" y="4000"/>
                </a:cubicBezTo>
                <a:cubicBezTo>
                  <a:pt x="9844" y="3938"/>
                  <a:pt x="9750" y="3907"/>
                  <a:pt x="9656" y="3875"/>
                </a:cubicBezTo>
                <a:close/>
                <a:moveTo>
                  <a:pt x="22750" y="14438"/>
                </a:moveTo>
                <a:cubicBezTo>
                  <a:pt x="22688" y="14469"/>
                  <a:pt x="22625" y="14469"/>
                  <a:pt x="22563" y="14469"/>
                </a:cubicBezTo>
                <a:cubicBezTo>
                  <a:pt x="22344" y="14500"/>
                  <a:pt x="22344" y="14500"/>
                  <a:pt x="22344" y="14719"/>
                </a:cubicBezTo>
                <a:cubicBezTo>
                  <a:pt x="22500" y="14688"/>
                  <a:pt x="22656" y="14719"/>
                  <a:pt x="22719" y="14563"/>
                </a:cubicBezTo>
                <a:cubicBezTo>
                  <a:pt x="22750" y="14532"/>
                  <a:pt x="22813" y="14532"/>
                  <a:pt x="22844" y="14532"/>
                </a:cubicBezTo>
                <a:cubicBezTo>
                  <a:pt x="22875" y="14532"/>
                  <a:pt x="22938" y="14563"/>
                  <a:pt x="23000" y="14500"/>
                </a:cubicBezTo>
                <a:cubicBezTo>
                  <a:pt x="22906" y="14469"/>
                  <a:pt x="22813" y="14407"/>
                  <a:pt x="22750" y="14438"/>
                </a:cubicBezTo>
                <a:close/>
                <a:moveTo>
                  <a:pt x="22406" y="14657"/>
                </a:moveTo>
                <a:cubicBezTo>
                  <a:pt x="22438" y="14532"/>
                  <a:pt x="22531" y="14594"/>
                  <a:pt x="22594" y="14563"/>
                </a:cubicBezTo>
                <a:cubicBezTo>
                  <a:pt x="22563" y="14657"/>
                  <a:pt x="22500" y="14657"/>
                  <a:pt x="22406" y="14657"/>
                </a:cubicBezTo>
                <a:close/>
                <a:moveTo>
                  <a:pt x="11531" y="4719"/>
                </a:moveTo>
                <a:cubicBezTo>
                  <a:pt x="11563" y="4719"/>
                  <a:pt x="11563" y="4750"/>
                  <a:pt x="11594" y="4750"/>
                </a:cubicBezTo>
                <a:cubicBezTo>
                  <a:pt x="11750" y="4719"/>
                  <a:pt x="11781" y="4938"/>
                  <a:pt x="11906" y="4969"/>
                </a:cubicBezTo>
                <a:cubicBezTo>
                  <a:pt x="11938" y="4875"/>
                  <a:pt x="11844" y="4875"/>
                  <a:pt x="11813" y="4813"/>
                </a:cubicBezTo>
                <a:cubicBezTo>
                  <a:pt x="11844" y="4782"/>
                  <a:pt x="11875" y="4782"/>
                  <a:pt x="11906" y="4750"/>
                </a:cubicBezTo>
                <a:cubicBezTo>
                  <a:pt x="11813" y="4750"/>
                  <a:pt x="11813" y="4657"/>
                  <a:pt x="11750" y="4625"/>
                </a:cubicBezTo>
                <a:cubicBezTo>
                  <a:pt x="11688" y="4625"/>
                  <a:pt x="11625" y="4625"/>
                  <a:pt x="11594" y="4563"/>
                </a:cubicBezTo>
                <a:cubicBezTo>
                  <a:pt x="11500" y="4594"/>
                  <a:pt x="11469" y="4500"/>
                  <a:pt x="11375" y="4438"/>
                </a:cubicBezTo>
                <a:cubicBezTo>
                  <a:pt x="11375" y="4500"/>
                  <a:pt x="11375" y="4563"/>
                  <a:pt x="11344" y="4625"/>
                </a:cubicBezTo>
                <a:cubicBezTo>
                  <a:pt x="11313" y="4625"/>
                  <a:pt x="11250" y="4594"/>
                  <a:pt x="11281" y="4657"/>
                </a:cubicBezTo>
                <a:cubicBezTo>
                  <a:pt x="11281" y="4719"/>
                  <a:pt x="11344" y="4688"/>
                  <a:pt x="11375" y="4688"/>
                </a:cubicBezTo>
                <a:cubicBezTo>
                  <a:pt x="11438" y="4625"/>
                  <a:pt x="11500" y="4625"/>
                  <a:pt x="11531" y="4719"/>
                </a:cubicBezTo>
                <a:close/>
                <a:moveTo>
                  <a:pt x="15844" y="13844"/>
                </a:moveTo>
                <a:cubicBezTo>
                  <a:pt x="15688" y="13844"/>
                  <a:pt x="15625" y="13875"/>
                  <a:pt x="15625" y="14000"/>
                </a:cubicBezTo>
                <a:cubicBezTo>
                  <a:pt x="15625" y="14032"/>
                  <a:pt x="15625" y="14063"/>
                  <a:pt x="15594" y="14063"/>
                </a:cubicBezTo>
                <a:cubicBezTo>
                  <a:pt x="15531" y="14063"/>
                  <a:pt x="15500" y="14094"/>
                  <a:pt x="15469" y="14125"/>
                </a:cubicBezTo>
                <a:cubicBezTo>
                  <a:pt x="15438" y="14125"/>
                  <a:pt x="15406" y="14157"/>
                  <a:pt x="15438" y="14188"/>
                </a:cubicBezTo>
                <a:cubicBezTo>
                  <a:pt x="15438" y="14188"/>
                  <a:pt x="15469" y="14219"/>
                  <a:pt x="15500" y="14188"/>
                </a:cubicBezTo>
                <a:cubicBezTo>
                  <a:pt x="15594" y="14094"/>
                  <a:pt x="15750" y="14125"/>
                  <a:pt x="15844" y="14063"/>
                </a:cubicBezTo>
                <a:cubicBezTo>
                  <a:pt x="15906" y="14032"/>
                  <a:pt x="15969" y="13938"/>
                  <a:pt x="15969" y="13875"/>
                </a:cubicBezTo>
                <a:cubicBezTo>
                  <a:pt x="15969" y="13782"/>
                  <a:pt x="15875" y="13875"/>
                  <a:pt x="15844" y="13844"/>
                </a:cubicBezTo>
                <a:close/>
                <a:moveTo>
                  <a:pt x="6719" y="3657"/>
                </a:moveTo>
                <a:cubicBezTo>
                  <a:pt x="6875" y="3688"/>
                  <a:pt x="7000" y="3750"/>
                  <a:pt x="7125" y="3782"/>
                </a:cubicBezTo>
                <a:cubicBezTo>
                  <a:pt x="7156" y="3657"/>
                  <a:pt x="7000" y="3532"/>
                  <a:pt x="6875" y="3563"/>
                </a:cubicBezTo>
                <a:cubicBezTo>
                  <a:pt x="6844" y="3594"/>
                  <a:pt x="6813" y="3625"/>
                  <a:pt x="6781" y="3563"/>
                </a:cubicBezTo>
                <a:cubicBezTo>
                  <a:pt x="6781" y="3532"/>
                  <a:pt x="6813" y="3532"/>
                  <a:pt x="6844" y="3532"/>
                </a:cubicBezTo>
                <a:cubicBezTo>
                  <a:pt x="6938" y="3532"/>
                  <a:pt x="6906" y="3469"/>
                  <a:pt x="6875" y="3438"/>
                </a:cubicBezTo>
                <a:cubicBezTo>
                  <a:pt x="6875" y="3407"/>
                  <a:pt x="6844" y="3375"/>
                  <a:pt x="6813" y="3344"/>
                </a:cubicBezTo>
                <a:cubicBezTo>
                  <a:pt x="6781" y="3344"/>
                  <a:pt x="6750" y="3313"/>
                  <a:pt x="6719" y="3313"/>
                </a:cubicBezTo>
                <a:cubicBezTo>
                  <a:pt x="6531" y="3344"/>
                  <a:pt x="6500" y="3375"/>
                  <a:pt x="6563" y="3500"/>
                </a:cubicBezTo>
                <a:cubicBezTo>
                  <a:pt x="6594" y="3500"/>
                  <a:pt x="6656" y="3532"/>
                  <a:pt x="6625" y="3532"/>
                </a:cubicBezTo>
                <a:cubicBezTo>
                  <a:pt x="6594" y="3657"/>
                  <a:pt x="6688" y="3625"/>
                  <a:pt x="6719" y="3657"/>
                </a:cubicBezTo>
                <a:close/>
                <a:moveTo>
                  <a:pt x="10219" y="6969"/>
                </a:moveTo>
                <a:cubicBezTo>
                  <a:pt x="10188" y="7000"/>
                  <a:pt x="10156" y="6969"/>
                  <a:pt x="10156" y="6938"/>
                </a:cubicBezTo>
                <a:cubicBezTo>
                  <a:pt x="10125" y="6782"/>
                  <a:pt x="10000" y="6875"/>
                  <a:pt x="9938" y="6875"/>
                </a:cubicBezTo>
                <a:cubicBezTo>
                  <a:pt x="9938" y="6875"/>
                  <a:pt x="9906" y="6907"/>
                  <a:pt x="9938" y="6907"/>
                </a:cubicBezTo>
                <a:cubicBezTo>
                  <a:pt x="10125" y="6969"/>
                  <a:pt x="10281" y="7188"/>
                  <a:pt x="10500" y="7125"/>
                </a:cubicBezTo>
                <a:cubicBezTo>
                  <a:pt x="10531" y="7125"/>
                  <a:pt x="10531" y="7157"/>
                  <a:pt x="10531" y="7157"/>
                </a:cubicBezTo>
                <a:cubicBezTo>
                  <a:pt x="10625" y="7313"/>
                  <a:pt x="10750" y="7282"/>
                  <a:pt x="10906" y="7282"/>
                </a:cubicBezTo>
                <a:cubicBezTo>
                  <a:pt x="10750" y="7188"/>
                  <a:pt x="10625" y="7063"/>
                  <a:pt x="10438" y="7094"/>
                </a:cubicBezTo>
                <a:cubicBezTo>
                  <a:pt x="10406" y="7094"/>
                  <a:pt x="10344" y="7063"/>
                  <a:pt x="10313" y="7000"/>
                </a:cubicBezTo>
                <a:cubicBezTo>
                  <a:pt x="10281" y="6969"/>
                  <a:pt x="10281" y="6938"/>
                  <a:pt x="10219" y="6969"/>
                </a:cubicBezTo>
                <a:close/>
                <a:moveTo>
                  <a:pt x="22563" y="5094"/>
                </a:moveTo>
                <a:cubicBezTo>
                  <a:pt x="22469" y="5125"/>
                  <a:pt x="22375" y="5125"/>
                  <a:pt x="22313" y="5063"/>
                </a:cubicBezTo>
                <a:cubicBezTo>
                  <a:pt x="22219" y="5000"/>
                  <a:pt x="22094" y="4969"/>
                  <a:pt x="22000" y="4938"/>
                </a:cubicBezTo>
                <a:cubicBezTo>
                  <a:pt x="21844" y="4907"/>
                  <a:pt x="21656" y="4938"/>
                  <a:pt x="21500" y="4875"/>
                </a:cubicBezTo>
                <a:cubicBezTo>
                  <a:pt x="21469" y="4875"/>
                  <a:pt x="21469" y="4875"/>
                  <a:pt x="21406" y="4907"/>
                </a:cubicBezTo>
                <a:cubicBezTo>
                  <a:pt x="21625" y="5000"/>
                  <a:pt x="21844" y="5000"/>
                  <a:pt x="22000" y="5063"/>
                </a:cubicBezTo>
                <a:cubicBezTo>
                  <a:pt x="22188" y="5157"/>
                  <a:pt x="22375" y="5125"/>
                  <a:pt x="22563" y="5094"/>
                </a:cubicBezTo>
                <a:close/>
                <a:moveTo>
                  <a:pt x="7375" y="5875"/>
                </a:moveTo>
                <a:cubicBezTo>
                  <a:pt x="7250" y="5750"/>
                  <a:pt x="7125" y="5688"/>
                  <a:pt x="6938" y="5657"/>
                </a:cubicBezTo>
                <a:cubicBezTo>
                  <a:pt x="6938" y="5657"/>
                  <a:pt x="6906" y="5657"/>
                  <a:pt x="6875" y="5688"/>
                </a:cubicBezTo>
                <a:cubicBezTo>
                  <a:pt x="6875" y="5719"/>
                  <a:pt x="6906" y="5719"/>
                  <a:pt x="6938" y="5719"/>
                </a:cubicBezTo>
                <a:cubicBezTo>
                  <a:pt x="7188" y="5844"/>
                  <a:pt x="7438" y="5969"/>
                  <a:pt x="7688" y="6063"/>
                </a:cubicBezTo>
                <a:cubicBezTo>
                  <a:pt x="7781" y="6125"/>
                  <a:pt x="7844" y="6250"/>
                  <a:pt x="8000" y="6250"/>
                </a:cubicBezTo>
                <a:cubicBezTo>
                  <a:pt x="8031" y="6250"/>
                  <a:pt x="8063" y="6282"/>
                  <a:pt x="8063" y="6250"/>
                </a:cubicBezTo>
                <a:cubicBezTo>
                  <a:pt x="8094" y="6219"/>
                  <a:pt x="8063" y="6188"/>
                  <a:pt x="8031" y="6157"/>
                </a:cubicBezTo>
                <a:cubicBezTo>
                  <a:pt x="7938" y="6063"/>
                  <a:pt x="7813" y="6000"/>
                  <a:pt x="7656" y="6000"/>
                </a:cubicBezTo>
                <a:cubicBezTo>
                  <a:pt x="7563" y="5969"/>
                  <a:pt x="7469" y="5938"/>
                  <a:pt x="7375" y="5875"/>
                </a:cubicBezTo>
                <a:close/>
                <a:moveTo>
                  <a:pt x="7906" y="4063"/>
                </a:moveTo>
                <a:cubicBezTo>
                  <a:pt x="7875" y="4032"/>
                  <a:pt x="7844" y="4032"/>
                  <a:pt x="7844" y="4094"/>
                </a:cubicBezTo>
                <a:cubicBezTo>
                  <a:pt x="7844" y="4157"/>
                  <a:pt x="7875" y="4157"/>
                  <a:pt x="7906" y="4157"/>
                </a:cubicBezTo>
                <a:cubicBezTo>
                  <a:pt x="7969" y="4157"/>
                  <a:pt x="8031" y="4125"/>
                  <a:pt x="8031" y="4157"/>
                </a:cubicBezTo>
                <a:cubicBezTo>
                  <a:pt x="8063" y="4282"/>
                  <a:pt x="8156" y="4250"/>
                  <a:pt x="8219" y="4282"/>
                </a:cubicBezTo>
                <a:cubicBezTo>
                  <a:pt x="8313" y="4313"/>
                  <a:pt x="8469" y="4344"/>
                  <a:pt x="8500" y="4407"/>
                </a:cubicBezTo>
                <a:cubicBezTo>
                  <a:pt x="8594" y="4563"/>
                  <a:pt x="8688" y="4469"/>
                  <a:pt x="8813" y="4500"/>
                </a:cubicBezTo>
                <a:cubicBezTo>
                  <a:pt x="8719" y="4344"/>
                  <a:pt x="8563" y="4313"/>
                  <a:pt x="8438" y="4282"/>
                </a:cubicBezTo>
                <a:cubicBezTo>
                  <a:pt x="8281" y="4219"/>
                  <a:pt x="8094" y="4188"/>
                  <a:pt x="8094" y="3969"/>
                </a:cubicBezTo>
                <a:cubicBezTo>
                  <a:pt x="8000" y="4000"/>
                  <a:pt x="8000" y="4094"/>
                  <a:pt x="7906" y="4063"/>
                </a:cubicBezTo>
                <a:close/>
                <a:moveTo>
                  <a:pt x="14188" y="13719"/>
                </a:moveTo>
                <a:cubicBezTo>
                  <a:pt x="14094" y="13657"/>
                  <a:pt x="14000" y="13625"/>
                  <a:pt x="13875" y="13625"/>
                </a:cubicBezTo>
                <a:cubicBezTo>
                  <a:pt x="13844" y="13657"/>
                  <a:pt x="13813" y="13625"/>
                  <a:pt x="13781" y="13625"/>
                </a:cubicBezTo>
                <a:cubicBezTo>
                  <a:pt x="13656" y="13563"/>
                  <a:pt x="13563" y="13469"/>
                  <a:pt x="13406" y="13563"/>
                </a:cubicBezTo>
                <a:cubicBezTo>
                  <a:pt x="13500" y="13594"/>
                  <a:pt x="13563" y="13625"/>
                  <a:pt x="13656" y="13625"/>
                </a:cubicBezTo>
                <a:cubicBezTo>
                  <a:pt x="13750" y="13657"/>
                  <a:pt x="13781" y="13688"/>
                  <a:pt x="13688" y="13813"/>
                </a:cubicBezTo>
                <a:cubicBezTo>
                  <a:pt x="13813" y="13719"/>
                  <a:pt x="13969" y="14000"/>
                  <a:pt x="14063" y="13719"/>
                </a:cubicBezTo>
                <a:cubicBezTo>
                  <a:pt x="14094" y="13750"/>
                  <a:pt x="14094" y="13782"/>
                  <a:pt x="14094" y="13782"/>
                </a:cubicBezTo>
                <a:cubicBezTo>
                  <a:pt x="14094" y="13813"/>
                  <a:pt x="14094" y="13875"/>
                  <a:pt x="14156" y="13875"/>
                </a:cubicBezTo>
                <a:cubicBezTo>
                  <a:pt x="14188" y="13875"/>
                  <a:pt x="14250" y="13844"/>
                  <a:pt x="14250" y="13813"/>
                </a:cubicBezTo>
                <a:cubicBezTo>
                  <a:pt x="14281" y="13750"/>
                  <a:pt x="14219" y="13750"/>
                  <a:pt x="14188" y="13719"/>
                </a:cubicBezTo>
                <a:close/>
                <a:moveTo>
                  <a:pt x="34750" y="7250"/>
                </a:moveTo>
                <a:cubicBezTo>
                  <a:pt x="34688" y="7250"/>
                  <a:pt x="34656" y="7282"/>
                  <a:pt x="34656" y="7344"/>
                </a:cubicBezTo>
                <a:cubicBezTo>
                  <a:pt x="34688" y="7407"/>
                  <a:pt x="34750" y="7500"/>
                  <a:pt x="34688" y="7563"/>
                </a:cubicBezTo>
                <a:cubicBezTo>
                  <a:pt x="34688" y="7594"/>
                  <a:pt x="34719" y="7657"/>
                  <a:pt x="34625" y="7657"/>
                </a:cubicBezTo>
                <a:cubicBezTo>
                  <a:pt x="34531" y="7657"/>
                  <a:pt x="34469" y="7719"/>
                  <a:pt x="34406" y="7782"/>
                </a:cubicBezTo>
                <a:cubicBezTo>
                  <a:pt x="34563" y="7782"/>
                  <a:pt x="34656" y="7657"/>
                  <a:pt x="34781" y="7625"/>
                </a:cubicBezTo>
                <a:cubicBezTo>
                  <a:pt x="34875" y="7625"/>
                  <a:pt x="34969" y="7563"/>
                  <a:pt x="34969" y="7438"/>
                </a:cubicBezTo>
                <a:cubicBezTo>
                  <a:pt x="35000" y="7344"/>
                  <a:pt x="35031" y="7344"/>
                  <a:pt x="35000" y="7313"/>
                </a:cubicBezTo>
                <a:cubicBezTo>
                  <a:pt x="34906" y="7282"/>
                  <a:pt x="34844" y="7282"/>
                  <a:pt x="34750" y="7250"/>
                </a:cubicBezTo>
                <a:close/>
                <a:moveTo>
                  <a:pt x="2594" y="4969"/>
                </a:moveTo>
                <a:cubicBezTo>
                  <a:pt x="2500" y="4938"/>
                  <a:pt x="2375" y="4907"/>
                  <a:pt x="2282" y="4969"/>
                </a:cubicBezTo>
                <a:cubicBezTo>
                  <a:pt x="2407" y="5063"/>
                  <a:pt x="2532" y="5063"/>
                  <a:pt x="2657" y="5094"/>
                </a:cubicBezTo>
                <a:cubicBezTo>
                  <a:pt x="3094" y="5219"/>
                  <a:pt x="3563" y="5282"/>
                  <a:pt x="4000" y="5469"/>
                </a:cubicBezTo>
                <a:cubicBezTo>
                  <a:pt x="4031" y="5469"/>
                  <a:pt x="4063" y="5500"/>
                  <a:pt x="4063" y="5469"/>
                </a:cubicBezTo>
                <a:cubicBezTo>
                  <a:pt x="4094" y="5438"/>
                  <a:pt x="4063" y="5407"/>
                  <a:pt x="4063" y="5375"/>
                </a:cubicBezTo>
                <a:cubicBezTo>
                  <a:pt x="4063" y="5313"/>
                  <a:pt x="4031" y="5344"/>
                  <a:pt x="4000" y="5344"/>
                </a:cubicBezTo>
                <a:cubicBezTo>
                  <a:pt x="3875" y="5375"/>
                  <a:pt x="3750" y="5344"/>
                  <a:pt x="3688" y="5282"/>
                </a:cubicBezTo>
                <a:cubicBezTo>
                  <a:pt x="3625" y="5250"/>
                  <a:pt x="3563" y="5219"/>
                  <a:pt x="3500" y="5219"/>
                </a:cubicBezTo>
                <a:cubicBezTo>
                  <a:pt x="3407" y="5219"/>
                  <a:pt x="3313" y="5219"/>
                  <a:pt x="3250" y="5157"/>
                </a:cubicBezTo>
                <a:cubicBezTo>
                  <a:pt x="3125" y="5094"/>
                  <a:pt x="2969" y="5157"/>
                  <a:pt x="2844" y="5063"/>
                </a:cubicBezTo>
                <a:cubicBezTo>
                  <a:pt x="2813" y="5000"/>
                  <a:pt x="2688" y="5000"/>
                  <a:pt x="2594" y="4969"/>
                </a:cubicBezTo>
                <a:close/>
                <a:moveTo>
                  <a:pt x="18188" y="14375"/>
                </a:moveTo>
                <a:cubicBezTo>
                  <a:pt x="18000" y="14438"/>
                  <a:pt x="17781" y="14375"/>
                  <a:pt x="17563" y="14344"/>
                </a:cubicBezTo>
                <a:cubicBezTo>
                  <a:pt x="17531" y="14344"/>
                  <a:pt x="17469" y="14375"/>
                  <a:pt x="17469" y="14313"/>
                </a:cubicBezTo>
                <a:cubicBezTo>
                  <a:pt x="17469" y="14282"/>
                  <a:pt x="17531" y="14282"/>
                  <a:pt x="17531" y="14250"/>
                </a:cubicBezTo>
                <a:cubicBezTo>
                  <a:pt x="17594" y="14219"/>
                  <a:pt x="17688" y="14250"/>
                  <a:pt x="17688" y="14125"/>
                </a:cubicBezTo>
                <a:cubicBezTo>
                  <a:pt x="17594" y="14188"/>
                  <a:pt x="17469" y="14188"/>
                  <a:pt x="17469" y="14250"/>
                </a:cubicBezTo>
                <a:cubicBezTo>
                  <a:pt x="17406" y="14375"/>
                  <a:pt x="17281" y="14344"/>
                  <a:pt x="17219" y="14344"/>
                </a:cubicBezTo>
                <a:cubicBezTo>
                  <a:pt x="17063" y="14313"/>
                  <a:pt x="17125" y="14375"/>
                  <a:pt x="17125" y="14469"/>
                </a:cubicBezTo>
                <a:cubicBezTo>
                  <a:pt x="17156" y="14375"/>
                  <a:pt x="17156" y="14344"/>
                  <a:pt x="17250" y="14375"/>
                </a:cubicBezTo>
                <a:cubicBezTo>
                  <a:pt x="17313" y="14375"/>
                  <a:pt x="17375" y="14407"/>
                  <a:pt x="17313" y="14500"/>
                </a:cubicBezTo>
                <a:cubicBezTo>
                  <a:pt x="17406" y="14407"/>
                  <a:pt x="17531" y="14438"/>
                  <a:pt x="17625" y="14438"/>
                </a:cubicBezTo>
                <a:cubicBezTo>
                  <a:pt x="17844" y="14469"/>
                  <a:pt x="18094" y="14563"/>
                  <a:pt x="18313" y="14375"/>
                </a:cubicBezTo>
                <a:cubicBezTo>
                  <a:pt x="18313" y="14375"/>
                  <a:pt x="18281" y="14375"/>
                  <a:pt x="18281" y="14375"/>
                </a:cubicBezTo>
                <a:cubicBezTo>
                  <a:pt x="18250" y="14344"/>
                  <a:pt x="18219" y="14344"/>
                  <a:pt x="18188" y="14375"/>
                </a:cubicBezTo>
                <a:close/>
                <a:moveTo>
                  <a:pt x="6625" y="2813"/>
                </a:moveTo>
                <a:cubicBezTo>
                  <a:pt x="6844" y="2844"/>
                  <a:pt x="7031" y="3032"/>
                  <a:pt x="7281" y="3032"/>
                </a:cubicBezTo>
                <a:cubicBezTo>
                  <a:pt x="7281" y="3032"/>
                  <a:pt x="7281" y="3063"/>
                  <a:pt x="7281" y="3063"/>
                </a:cubicBezTo>
                <a:cubicBezTo>
                  <a:pt x="7344" y="3188"/>
                  <a:pt x="7469" y="3188"/>
                  <a:pt x="7563" y="3219"/>
                </a:cubicBezTo>
                <a:cubicBezTo>
                  <a:pt x="7594" y="3157"/>
                  <a:pt x="7563" y="3125"/>
                  <a:pt x="7531" y="3094"/>
                </a:cubicBezTo>
                <a:cubicBezTo>
                  <a:pt x="7500" y="3032"/>
                  <a:pt x="7469" y="3000"/>
                  <a:pt x="7438" y="2969"/>
                </a:cubicBezTo>
                <a:cubicBezTo>
                  <a:pt x="7438" y="2969"/>
                  <a:pt x="7438" y="2938"/>
                  <a:pt x="7438" y="2938"/>
                </a:cubicBezTo>
                <a:lnTo>
                  <a:pt x="7438" y="2969"/>
                </a:lnTo>
                <a:cubicBezTo>
                  <a:pt x="7406" y="2938"/>
                  <a:pt x="7375" y="2938"/>
                  <a:pt x="7375" y="2907"/>
                </a:cubicBezTo>
                <a:cubicBezTo>
                  <a:pt x="7281" y="2813"/>
                  <a:pt x="7125" y="2844"/>
                  <a:pt x="7000" y="2750"/>
                </a:cubicBezTo>
                <a:cubicBezTo>
                  <a:pt x="6938" y="2688"/>
                  <a:pt x="6844" y="2688"/>
                  <a:pt x="6750" y="2657"/>
                </a:cubicBezTo>
                <a:cubicBezTo>
                  <a:pt x="6719" y="2657"/>
                  <a:pt x="6688" y="2625"/>
                  <a:pt x="6656" y="2688"/>
                </a:cubicBezTo>
                <a:cubicBezTo>
                  <a:pt x="6625" y="2813"/>
                  <a:pt x="6563" y="2750"/>
                  <a:pt x="6531" y="2719"/>
                </a:cubicBezTo>
                <a:cubicBezTo>
                  <a:pt x="6438" y="2719"/>
                  <a:pt x="6375" y="2625"/>
                  <a:pt x="6281" y="2688"/>
                </a:cubicBezTo>
                <a:cubicBezTo>
                  <a:pt x="6375" y="2782"/>
                  <a:pt x="6500" y="2782"/>
                  <a:pt x="6625" y="2813"/>
                </a:cubicBezTo>
                <a:close/>
                <a:moveTo>
                  <a:pt x="6969" y="2813"/>
                </a:moveTo>
                <a:cubicBezTo>
                  <a:pt x="6875" y="2875"/>
                  <a:pt x="6844" y="2813"/>
                  <a:pt x="6781" y="2782"/>
                </a:cubicBezTo>
                <a:cubicBezTo>
                  <a:pt x="6875" y="2750"/>
                  <a:pt x="6875" y="2750"/>
                  <a:pt x="6969" y="2813"/>
                </a:cubicBezTo>
                <a:close/>
                <a:moveTo>
                  <a:pt x="14594" y="13563"/>
                </a:moveTo>
                <a:cubicBezTo>
                  <a:pt x="14625" y="13532"/>
                  <a:pt x="14656" y="13563"/>
                  <a:pt x="14688" y="13563"/>
                </a:cubicBezTo>
                <a:cubicBezTo>
                  <a:pt x="14656" y="13594"/>
                  <a:pt x="14625" y="13594"/>
                  <a:pt x="14594" y="13563"/>
                </a:cubicBezTo>
                <a:close/>
                <a:moveTo>
                  <a:pt x="14844" y="13594"/>
                </a:moveTo>
                <a:cubicBezTo>
                  <a:pt x="14781" y="13594"/>
                  <a:pt x="14750" y="13563"/>
                  <a:pt x="14781" y="13500"/>
                </a:cubicBezTo>
                <a:cubicBezTo>
                  <a:pt x="14813" y="13438"/>
                  <a:pt x="14875" y="13469"/>
                  <a:pt x="14938" y="13469"/>
                </a:cubicBezTo>
                <a:cubicBezTo>
                  <a:pt x="14906" y="13532"/>
                  <a:pt x="14906" y="13625"/>
                  <a:pt x="14844" y="13594"/>
                </a:cubicBezTo>
                <a:close/>
                <a:moveTo>
                  <a:pt x="22031" y="4750"/>
                </a:moveTo>
                <a:cubicBezTo>
                  <a:pt x="22031" y="4782"/>
                  <a:pt x="22094" y="4782"/>
                  <a:pt x="22094" y="4750"/>
                </a:cubicBezTo>
                <a:cubicBezTo>
                  <a:pt x="22063" y="4594"/>
                  <a:pt x="22156" y="4688"/>
                  <a:pt x="22219" y="4688"/>
                </a:cubicBezTo>
                <a:cubicBezTo>
                  <a:pt x="22281" y="4688"/>
                  <a:pt x="22344" y="4750"/>
                  <a:pt x="22375" y="4688"/>
                </a:cubicBezTo>
                <a:cubicBezTo>
                  <a:pt x="22438" y="4594"/>
                  <a:pt x="22531" y="4625"/>
                  <a:pt x="22594" y="4625"/>
                </a:cubicBezTo>
                <a:cubicBezTo>
                  <a:pt x="22906" y="4688"/>
                  <a:pt x="23219" y="4719"/>
                  <a:pt x="23531" y="4719"/>
                </a:cubicBezTo>
                <a:cubicBezTo>
                  <a:pt x="23688" y="4719"/>
                  <a:pt x="23875" y="4688"/>
                  <a:pt x="24031" y="4750"/>
                </a:cubicBezTo>
                <a:cubicBezTo>
                  <a:pt x="24063" y="4657"/>
                  <a:pt x="24000" y="4657"/>
                  <a:pt x="23938" y="4625"/>
                </a:cubicBezTo>
                <a:cubicBezTo>
                  <a:pt x="23906" y="4625"/>
                  <a:pt x="23844" y="4625"/>
                  <a:pt x="23813" y="4625"/>
                </a:cubicBezTo>
                <a:cubicBezTo>
                  <a:pt x="23844" y="4563"/>
                  <a:pt x="23938" y="4594"/>
                  <a:pt x="24000" y="4500"/>
                </a:cubicBezTo>
                <a:cubicBezTo>
                  <a:pt x="23781" y="4532"/>
                  <a:pt x="23594" y="4532"/>
                  <a:pt x="23406" y="4563"/>
                </a:cubicBezTo>
                <a:cubicBezTo>
                  <a:pt x="23219" y="4594"/>
                  <a:pt x="23000" y="4594"/>
                  <a:pt x="22781" y="4594"/>
                </a:cubicBezTo>
                <a:cubicBezTo>
                  <a:pt x="22438" y="4563"/>
                  <a:pt x="22125" y="4563"/>
                  <a:pt x="21781" y="4625"/>
                </a:cubicBezTo>
                <a:cubicBezTo>
                  <a:pt x="21781" y="4657"/>
                  <a:pt x="21813" y="4657"/>
                  <a:pt x="21813" y="4688"/>
                </a:cubicBezTo>
                <a:cubicBezTo>
                  <a:pt x="21875" y="4719"/>
                  <a:pt x="21969" y="4719"/>
                  <a:pt x="22031" y="4750"/>
                </a:cubicBezTo>
                <a:close/>
                <a:moveTo>
                  <a:pt x="7625" y="3563"/>
                </a:moveTo>
                <a:cubicBezTo>
                  <a:pt x="7625" y="3563"/>
                  <a:pt x="7625" y="3563"/>
                  <a:pt x="7625" y="3563"/>
                </a:cubicBezTo>
                <a:cubicBezTo>
                  <a:pt x="7625" y="3563"/>
                  <a:pt x="7625" y="3563"/>
                  <a:pt x="7625" y="3563"/>
                </a:cubicBezTo>
                <a:close/>
                <a:moveTo>
                  <a:pt x="6000" y="3344"/>
                </a:moveTo>
                <a:cubicBezTo>
                  <a:pt x="6000" y="3344"/>
                  <a:pt x="6031" y="3313"/>
                  <a:pt x="6031" y="3313"/>
                </a:cubicBezTo>
                <a:cubicBezTo>
                  <a:pt x="6031" y="3282"/>
                  <a:pt x="6063" y="3282"/>
                  <a:pt x="6063" y="3313"/>
                </a:cubicBezTo>
                <a:cubicBezTo>
                  <a:pt x="6094" y="3313"/>
                  <a:pt x="6125" y="3313"/>
                  <a:pt x="6125" y="3313"/>
                </a:cubicBezTo>
                <a:cubicBezTo>
                  <a:pt x="6156" y="3250"/>
                  <a:pt x="6094" y="3250"/>
                  <a:pt x="6063" y="3188"/>
                </a:cubicBezTo>
                <a:cubicBezTo>
                  <a:pt x="6156" y="3094"/>
                  <a:pt x="6281" y="3157"/>
                  <a:pt x="6313" y="3250"/>
                </a:cubicBezTo>
                <a:cubicBezTo>
                  <a:pt x="6406" y="3438"/>
                  <a:pt x="6469" y="3313"/>
                  <a:pt x="6531" y="3219"/>
                </a:cubicBezTo>
                <a:cubicBezTo>
                  <a:pt x="6281" y="3094"/>
                  <a:pt x="6000" y="3032"/>
                  <a:pt x="5656" y="2969"/>
                </a:cubicBezTo>
                <a:cubicBezTo>
                  <a:pt x="5719" y="3000"/>
                  <a:pt x="5719" y="3032"/>
                  <a:pt x="5750" y="3032"/>
                </a:cubicBezTo>
                <a:cubicBezTo>
                  <a:pt x="5750" y="3063"/>
                  <a:pt x="5781" y="3094"/>
                  <a:pt x="5750" y="3094"/>
                </a:cubicBezTo>
                <a:cubicBezTo>
                  <a:pt x="5719" y="3125"/>
                  <a:pt x="5688" y="3125"/>
                  <a:pt x="5688" y="3094"/>
                </a:cubicBezTo>
                <a:cubicBezTo>
                  <a:pt x="5625" y="2969"/>
                  <a:pt x="5531" y="2938"/>
                  <a:pt x="5438" y="2875"/>
                </a:cubicBezTo>
                <a:cubicBezTo>
                  <a:pt x="5375" y="2813"/>
                  <a:pt x="5125" y="2719"/>
                  <a:pt x="5094" y="2782"/>
                </a:cubicBezTo>
                <a:cubicBezTo>
                  <a:pt x="5031" y="2907"/>
                  <a:pt x="4938" y="2844"/>
                  <a:pt x="4875" y="2813"/>
                </a:cubicBezTo>
                <a:cubicBezTo>
                  <a:pt x="4719" y="2782"/>
                  <a:pt x="4594" y="2688"/>
                  <a:pt x="4375" y="2750"/>
                </a:cubicBezTo>
                <a:cubicBezTo>
                  <a:pt x="4594" y="2813"/>
                  <a:pt x="4781" y="2844"/>
                  <a:pt x="4969" y="2907"/>
                </a:cubicBezTo>
                <a:cubicBezTo>
                  <a:pt x="5313" y="3063"/>
                  <a:pt x="5688" y="3125"/>
                  <a:pt x="6000" y="3344"/>
                </a:cubicBezTo>
                <a:close/>
                <a:moveTo>
                  <a:pt x="20688" y="14594"/>
                </a:moveTo>
                <a:cubicBezTo>
                  <a:pt x="20594" y="14594"/>
                  <a:pt x="20438" y="14688"/>
                  <a:pt x="20406" y="14469"/>
                </a:cubicBezTo>
                <a:cubicBezTo>
                  <a:pt x="20406" y="14469"/>
                  <a:pt x="20406" y="14469"/>
                  <a:pt x="20406" y="14469"/>
                </a:cubicBezTo>
                <a:cubicBezTo>
                  <a:pt x="20375" y="14625"/>
                  <a:pt x="20281" y="14594"/>
                  <a:pt x="20188" y="14594"/>
                </a:cubicBezTo>
                <a:cubicBezTo>
                  <a:pt x="19938" y="14625"/>
                  <a:pt x="19719" y="14563"/>
                  <a:pt x="19469" y="14563"/>
                </a:cubicBezTo>
                <a:cubicBezTo>
                  <a:pt x="19438" y="14625"/>
                  <a:pt x="19438" y="14657"/>
                  <a:pt x="19500" y="14657"/>
                </a:cubicBezTo>
                <a:cubicBezTo>
                  <a:pt x="19594" y="14657"/>
                  <a:pt x="19688" y="14657"/>
                  <a:pt x="19781" y="14657"/>
                </a:cubicBezTo>
                <a:cubicBezTo>
                  <a:pt x="19906" y="14657"/>
                  <a:pt x="20031" y="14657"/>
                  <a:pt x="20156" y="14657"/>
                </a:cubicBezTo>
                <a:cubicBezTo>
                  <a:pt x="20281" y="14657"/>
                  <a:pt x="20344" y="14657"/>
                  <a:pt x="20313" y="14813"/>
                </a:cubicBezTo>
                <a:cubicBezTo>
                  <a:pt x="20156" y="14844"/>
                  <a:pt x="20000" y="14782"/>
                  <a:pt x="19844" y="14907"/>
                </a:cubicBezTo>
                <a:cubicBezTo>
                  <a:pt x="20094" y="14907"/>
                  <a:pt x="20313" y="14969"/>
                  <a:pt x="20406" y="14719"/>
                </a:cubicBezTo>
                <a:cubicBezTo>
                  <a:pt x="20438" y="14688"/>
                  <a:pt x="20469" y="14657"/>
                  <a:pt x="20500" y="14657"/>
                </a:cubicBezTo>
                <a:cubicBezTo>
                  <a:pt x="21063" y="14750"/>
                  <a:pt x="21594" y="14594"/>
                  <a:pt x="22125" y="14563"/>
                </a:cubicBezTo>
                <a:cubicBezTo>
                  <a:pt x="22125" y="14563"/>
                  <a:pt x="22156" y="14563"/>
                  <a:pt x="22156" y="14532"/>
                </a:cubicBezTo>
                <a:cubicBezTo>
                  <a:pt x="22063" y="14500"/>
                  <a:pt x="22063" y="14500"/>
                  <a:pt x="21969" y="14500"/>
                </a:cubicBezTo>
                <a:cubicBezTo>
                  <a:pt x="21531" y="14438"/>
                  <a:pt x="21125" y="14563"/>
                  <a:pt x="20688" y="14594"/>
                </a:cubicBezTo>
                <a:close/>
                <a:moveTo>
                  <a:pt x="13500" y="13125"/>
                </a:moveTo>
                <a:cubicBezTo>
                  <a:pt x="13500" y="13063"/>
                  <a:pt x="13500" y="13000"/>
                  <a:pt x="13406" y="12969"/>
                </a:cubicBezTo>
                <a:cubicBezTo>
                  <a:pt x="13375" y="12969"/>
                  <a:pt x="13344" y="12938"/>
                  <a:pt x="13406" y="12875"/>
                </a:cubicBezTo>
                <a:cubicBezTo>
                  <a:pt x="13438" y="12875"/>
                  <a:pt x="13438" y="12813"/>
                  <a:pt x="13438" y="12782"/>
                </a:cubicBezTo>
                <a:cubicBezTo>
                  <a:pt x="13500" y="12813"/>
                  <a:pt x="13594" y="12813"/>
                  <a:pt x="13656" y="12782"/>
                </a:cubicBezTo>
                <a:cubicBezTo>
                  <a:pt x="13625" y="12688"/>
                  <a:pt x="13594" y="12657"/>
                  <a:pt x="13500" y="12688"/>
                </a:cubicBezTo>
                <a:cubicBezTo>
                  <a:pt x="13375" y="12719"/>
                  <a:pt x="13219" y="12719"/>
                  <a:pt x="13156" y="12688"/>
                </a:cubicBezTo>
                <a:cubicBezTo>
                  <a:pt x="12938" y="12594"/>
                  <a:pt x="12750" y="12594"/>
                  <a:pt x="12531" y="12532"/>
                </a:cubicBezTo>
                <a:cubicBezTo>
                  <a:pt x="12469" y="12500"/>
                  <a:pt x="12375" y="12625"/>
                  <a:pt x="12281" y="12500"/>
                </a:cubicBezTo>
                <a:cubicBezTo>
                  <a:pt x="12313" y="12625"/>
                  <a:pt x="12438" y="12594"/>
                  <a:pt x="12469" y="12657"/>
                </a:cubicBezTo>
                <a:cubicBezTo>
                  <a:pt x="12500" y="12750"/>
                  <a:pt x="12375" y="12782"/>
                  <a:pt x="12406" y="12875"/>
                </a:cubicBezTo>
                <a:cubicBezTo>
                  <a:pt x="12594" y="12907"/>
                  <a:pt x="12813" y="12750"/>
                  <a:pt x="13000" y="12938"/>
                </a:cubicBezTo>
                <a:cubicBezTo>
                  <a:pt x="12938" y="12969"/>
                  <a:pt x="12906" y="12969"/>
                  <a:pt x="12906" y="13032"/>
                </a:cubicBezTo>
                <a:cubicBezTo>
                  <a:pt x="12906" y="13032"/>
                  <a:pt x="12938" y="13063"/>
                  <a:pt x="12938" y="13063"/>
                </a:cubicBezTo>
                <a:cubicBezTo>
                  <a:pt x="13000" y="13094"/>
                  <a:pt x="13000" y="13032"/>
                  <a:pt x="13000" y="13000"/>
                </a:cubicBezTo>
                <a:cubicBezTo>
                  <a:pt x="13031" y="12969"/>
                  <a:pt x="13063" y="12938"/>
                  <a:pt x="13125" y="12969"/>
                </a:cubicBezTo>
                <a:cubicBezTo>
                  <a:pt x="13125" y="13000"/>
                  <a:pt x="13156" y="13000"/>
                  <a:pt x="13156" y="13032"/>
                </a:cubicBezTo>
                <a:cubicBezTo>
                  <a:pt x="13156" y="13094"/>
                  <a:pt x="13125" y="13063"/>
                  <a:pt x="13094" y="13063"/>
                </a:cubicBezTo>
                <a:cubicBezTo>
                  <a:pt x="13063" y="13094"/>
                  <a:pt x="13063" y="13094"/>
                  <a:pt x="13000" y="13125"/>
                </a:cubicBezTo>
                <a:cubicBezTo>
                  <a:pt x="13156" y="13094"/>
                  <a:pt x="13188" y="13157"/>
                  <a:pt x="13219" y="13250"/>
                </a:cubicBezTo>
                <a:cubicBezTo>
                  <a:pt x="13219" y="13125"/>
                  <a:pt x="13281" y="13188"/>
                  <a:pt x="13344" y="13188"/>
                </a:cubicBezTo>
                <a:cubicBezTo>
                  <a:pt x="13406" y="13188"/>
                  <a:pt x="13469" y="13219"/>
                  <a:pt x="13500" y="13125"/>
                </a:cubicBezTo>
                <a:close/>
                <a:moveTo>
                  <a:pt x="12531" y="12657"/>
                </a:moveTo>
                <a:cubicBezTo>
                  <a:pt x="12531" y="12657"/>
                  <a:pt x="12500" y="12625"/>
                  <a:pt x="12500" y="12625"/>
                </a:cubicBezTo>
                <a:cubicBezTo>
                  <a:pt x="12500" y="12594"/>
                  <a:pt x="12500" y="12594"/>
                  <a:pt x="12531" y="12594"/>
                </a:cubicBezTo>
                <a:cubicBezTo>
                  <a:pt x="12531" y="12625"/>
                  <a:pt x="12563" y="12625"/>
                  <a:pt x="12594" y="12625"/>
                </a:cubicBezTo>
                <a:cubicBezTo>
                  <a:pt x="12563" y="12625"/>
                  <a:pt x="12531" y="12657"/>
                  <a:pt x="12531" y="12657"/>
                </a:cubicBezTo>
                <a:close/>
                <a:moveTo>
                  <a:pt x="8906" y="9813"/>
                </a:moveTo>
                <a:cubicBezTo>
                  <a:pt x="8813" y="9813"/>
                  <a:pt x="8719" y="9782"/>
                  <a:pt x="8719" y="9719"/>
                </a:cubicBezTo>
                <a:cubicBezTo>
                  <a:pt x="8719" y="9594"/>
                  <a:pt x="8656" y="9625"/>
                  <a:pt x="8594" y="9625"/>
                </a:cubicBezTo>
                <a:cubicBezTo>
                  <a:pt x="8531" y="9625"/>
                  <a:pt x="8469" y="9625"/>
                  <a:pt x="8438" y="9625"/>
                </a:cubicBezTo>
                <a:cubicBezTo>
                  <a:pt x="8344" y="9657"/>
                  <a:pt x="8375" y="9594"/>
                  <a:pt x="8375" y="9563"/>
                </a:cubicBezTo>
                <a:cubicBezTo>
                  <a:pt x="8250" y="9532"/>
                  <a:pt x="8125" y="9594"/>
                  <a:pt x="8000" y="9500"/>
                </a:cubicBezTo>
                <a:cubicBezTo>
                  <a:pt x="7906" y="9407"/>
                  <a:pt x="7719" y="9594"/>
                  <a:pt x="7625" y="9469"/>
                </a:cubicBezTo>
                <a:cubicBezTo>
                  <a:pt x="7563" y="9313"/>
                  <a:pt x="7375" y="9469"/>
                  <a:pt x="7313" y="9313"/>
                </a:cubicBezTo>
                <a:cubicBezTo>
                  <a:pt x="7344" y="9282"/>
                  <a:pt x="7406" y="9313"/>
                  <a:pt x="7406" y="9250"/>
                </a:cubicBezTo>
                <a:cubicBezTo>
                  <a:pt x="7313" y="9282"/>
                  <a:pt x="7250" y="9250"/>
                  <a:pt x="7188" y="9219"/>
                </a:cubicBezTo>
                <a:cubicBezTo>
                  <a:pt x="7125" y="9219"/>
                  <a:pt x="7094" y="9219"/>
                  <a:pt x="7125" y="9282"/>
                </a:cubicBezTo>
                <a:cubicBezTo>
                  <a:pt x="7125" y="9313"/>
                  <a:pt x="7156" y="9313"/>
                  <a:pt x="7125" y="9344"/>
                </a:cubicBezTo>
                <a:cubicBezTo>
                  <a:pt x="7125" y="9344"/>
                  <a:pt x="7094" y="9344"/>
                  <a:pt x="7094" y="9313"/>
                </a:cubicBezTo>
                <a:cubicBezTo>
                  <a:pt x="7000" y="9282"/>
                  <a:pt x="6938" y="9313"/>
                  <a:pt x="6844" y="9313"/>
                </a:cubicBezTo>
                <a:cubicBezTo>
                  <a:pt x="7063" y="9407"/>
                  <a:pt x="7313" y="9407"/>
                  <a:pt x="7500" y="9532"/>
                </a:cubicBezTo>
                <a:cubicBezTo>
                  <a:pt x="7438" y="9594"/>
                  <a:pt x="7375" y="9469"/>
                  <a:pt x="7313" y="9532"/>
                </a:cubicBezTo>
                <a:cubicBezTo>
                  <a:pt x="7375" y="9594"/>
                  <a:pt x="7469" y="9625"/>
                  <a:pt x="7563" y="9625"/>
                </a:cubicBezTo>
                <a:cubicBezTo>
                  <a:pt x="7625" y="9657"/>
                  <a:pt x="7719" y="9782"/>
                  <a:pt x="7750" y="9594"/>
                </a:cubicBezTo>
                <a:cubicBezTo>
                  <a:pt x="7750" y="9594"/>
                  <a:pt x="7781" y="9594"/>
                  <a:pt x="7813" y="9594"/>
                </a:cubicBezTo>
                <a:cubicBezTo>
                  <a:pt x="7875" y="9594"/>
                  <a:pt x="7938" y="9625"/>
                  <a:pt x="7969" y="9657"/>
                </a:cubicBezTo>
                <a:cubicBezTo>
                  <a:pt x="8000" y="9719"/>
                  <a:pt x="8031" y="9688"/>
                  <a:pt x="8063" y="9719"/>
                </a:cubicBezTo>
                <a:cubicBezTo>
                  <a:pt x="8094" y="9719"/>
                  <a:pt x="8094" y="9719"/>
                  <a:pt x="8125" y="9719"/>
                </a:cubicBezTo>
                <a:cubicBezTo>
                  <a:pt x="8125" y="9688"/>
                  <a:pt x="8156" y="9719"/>
                  <a:pt x="8156" y="9719"/>
                </a:cubicBezTo>
                <a:cubicBezTo>
                  <a:pt x="8188" y="9719"/>
                  <a:pt x="8219" y="9750"/>
                  <a:pt x="8250" y="9750"/>
                </a:cubicBezTo>
                <a:cubicBezTo>
                  <a:pt x="8469" y="9657"/>
                  <a:pt x="8563" y="9719"/>
                  <a:pt x="8688" y="9938"/>
                </a:cubicBezTo>
                <a:cubicBezTo>
                  <a:pt x="8563" y="9875"/>
                  <a:pt x="8438" y="9875"/>
                  <a:pt x="8313" y="9907"/>
                </a:cubicBezTo>
                <a:cubicBezTo>
                  <a:pt x="8281" y="9907"/>
                  <a:pt x="8250" y="9907"/>
                  <a:pt x="8250" y="9938"/>
                </a:cubicBezTo>
                <a:cubicBezTo>
                  <a:pt x="8219" y="9969"/>
                  <a:pt x="8250" y="9969"/>
                  <a:pt x="8281" y="9969"/>
                </a:cubicBezTo>
                <a:cubicBezTo>
                  <a:pt x="8406" y="9969"/>
                  <a:pt x="8531" y="10063"/>
                  <a:pt x="8688" y="10063"/>
                </a:cubicBezTo>
                <a:cubicBezTo>
                  <a:pt x="8750" y="10063"/>
                  <a:pt x="8813" y="10094"/>
                  <a:pt x="8875" y="10063"/>
                </a:cubicBezTo>
                <a:cubicBezTo>
                  <a:pt x="8969" y="10063"/>
                  <a:pt x="9031" y="9969"/>
                  <a:pt x="9031" y="9875"/>
                </a:cubicBezTo>
                <a:cubicBezTo>
                  <a:pt x="9031" y="9813"/>
                  <a:pt x="8938" y="9813"/>
                  <a:pt x="8906" y="9813"/>
                </a:cubicBezTo>
                <a:close/>
                <a:moveTo>
                  <a:pt x="7656" y="9594"/>
                </a:moveTo>
                <a:cubicBezTo>
                  <a:pt x="7625" y="9594"/>
                  <a:pt x="7625" y="9594"/>
                  <a:pt x="7625" y="9563"/>
                </a:cubicBezTo>
                <a:cubicBezTo>
                  <a:pt x="7625" y="9563"/>
                  <a:pt x="7656" y="9563"/>
                  <a:pt x="7656" y="9563"/>
                </a:cubicBezTo>
                <a:cubicBezTo>
                  <a:pt x="7656" y="9563"/>
                  <a:pt x="7688" y="9563"/>
                  <a:pt x="7688" y="9563"/>
                </a:cubicBezTo>
                <a:cubicBezTo>
                  <a:pt x="7656" y="9594"/>
                  <a:pt x="7656" y="9594"/>
                  <a:pt x="7656" y="9594"/>
                </a:cubicBezTo>
                <a:close/>
                <a:moveTo>
                  <a:pt x="11250" y="6219"/>
                </a:moveTo>
                <a:cubicBezTo>
                  <a:pt x="11313" y="6219"/>
                  <a:pt x="11313" y="6157"/>
                  <a:pt x="11344" y="6094"/>
                </a:cubicBezTo>
                <a:cubicBezTo>
                  <a:pt x="11375" y="6063"/>
                  <a:pt x="11344" y="6063"/>
                  <a:pt x="11313" y="6032"/>
                </a:cubicBezTo>
                <a:cubicBezTo>
                  <a:pt x="11250" y="6000"/>
                  <a:pt x="11188" y="5969"/>
                  <a:pt x="11125" y="5907"/>
                </a:cubicBezTo>
                <a:cubicBezTo>
                  <a:pt x="11063" y="5875"/>
                  <a:pt x="11000" y="5844"/>
                  <a:pt x="10938" y="5813"/>
                </a:cubicBezTo>
                <a:cubicBezTo>
                  <a:pt x="10781" y="5750"/>
                  <a:pt x="10625" y="5750"/>
                  <a:pt x="10531" y="5594"/>
                </a:cubicBezTo>
                <a:cubicBezTo>
                  <a:pt x="10500" y="5594"/>
                  <a:pt x="10500" y="5563"/>
                  <a:pt x="10469" y="5563"/>
                </a:cubicBezTo>
                <a:cubicBezTo>
                  <a:pt x="10219" y="5469"/>
                  <a:pt x="9969" y="5407"/>
                  <a:pt x="9719" y="5313"/>
                </a:cubicBezTo>
                <a:cubicBezTo>
                  <a:pt x="9656" y="5313"/>
                  <a:pt x="9625" y="5344"/>
                  <a:pt x="9594" y="5375"/>
                </a:cubicBezTo>
                <a:cubicBezTo>
                  <a:pt x="9563" y="5407"/>
                  <a:pt x="9531" y="5438"/>
                  <a:pt x="9500" y="5469"/>
                </a:cubicBezTo>
                <a:cubicBezTo>
                  <a:pt x="9500" y="5500"/>
                  <a:pt x="9406" y="5438"/>
                  <a:pt x="9438" y="5532"/>
                </a:cubicBezTo>
                <a:cubicBezTo>
                  <a:pt x="9469" y="5594"/>
                  <a:pt x="9531" y="5563"/>
                  <a:pt x="9563" y="5563"/>
                </a:cubicBezTo>
                <a:cubicBezTo>
                  <a:pt x="9656" y="5532"/>
                  <a:pt x="9719" y="5500"/>
                  <a:pt x="9781" y="5532"/>
                </a:cubicBezTo>
                <a:cubicBezTo>
                  <a:pt x="9750" y="5594"/>
                  <a:pt x="9625" y="5563"/>
                  <a:pt x="9688" y="5625"/>
                </a:cubicBezTo>
                <a:cubicBezTo>
                  <a:pt x="9750" y="5688"/>
                  <a:pt x="9813" y="5782"/>
                  <a:pt x="9906" y="5719"/>
                </a:cubicBezTo>
                <a:cubicBezTo>
                  <a:pt x="9969" y="5688"/>
                  <a:pt x="10031" y="5719"/>
                  <a:pt x="10063" y="5782"/>
                </a:cubicBezTo>
                <a:cubicBezTo>
                  <a:pt x="10188" y="5907"/>
                  <a:pt x="10375" y="5938"/>
                  <a:pt x="10531" y="6000"/>
                </a:cubicBezTo>
                <a:cubicBezTo>
                  <a:pt x="10563" y="6032"/>
                  <a:pt x="10625" y="6032"/>
                  <a:pt x="10656" y="6000"/>
                </a:cubicBezTo>
                <a:cubicBezTo>
                  <a:pt x="10781" y="5969"/>
                  <a:pt x="10906" y="6000"/>
                  <a:pt x="11031" y="6000"/>
                </a:cubicBezTo>
                <a:cubicBezTo>
                  <a:pt x="11156" y="6000"/>
                  <a:pt x="11219" y="6063"/>
                  <a:pt x="11219" y="6188"/>
                </a:cubicBezTo>
                <a:cubicBezTo>
                  <a:pt x="11219" y="6188"/>
                  <a:pt x="11219" y="6219"/>
                  <a:pt x="11250" y="6219"/>
                </a:cubicBezTo>
                <a:close/>
                <a:moveTo>
                  <a:pt x="10656" y="5969"/>
                </a:moveTo>
                <a:cubicBezTo>
                  <a:pt x="10625" y="6000"/>
                  <a:pt x="10594" y="6000"/>
                  <a:pt x="10563" y="5938"/>
                </a:cubicBezTo>
                <a:cubicBezTo>
                  <a:pt x="10563" y="5907"/>
                  <a:pt x="10563" y="5907"/>
                  <a:pt x="10531" y="5907"/>
                </a:cubicBezTo>
                <a:cubicBezTo>
                  <a:pt x="10500" y="5844"/>
                  <a:pt x="10438" y="5969"/>
                  <a:pt x="10469" y="5875"/>
                </a:cubicBezTo>
                <a:cubicBezTo>
                  <a:pt x="10469" y="5813"/>
                  <a:pt x="10563" y="5750"/>
                  <a:pt x="10625" y="5782"/>
                </a:cubicBezTo>
                <a:cubicBezTo>
                  <a:pt x="10688" y="5782"/>
                  <a:pt x="10750" y="5813"/>
                  <a:pt x="10781" y="5875"/>
                </a:cubicBezTo>
                <a:cubicBezTo>
                  <a:pt x="10750" y="5907"/>
                  <a:pt x="10688" y="5938"/>
                  <a:pt x="10656" y="5969"/>
                </a:cubicBezTo>
                <a:close/>
                <a:moveTo>
                  <a:pt x="12406" y="4375"/>
                </a:moveTo>
                <a:cubicBezTo>
                  <a:pt x="12406" y="4407"/>
                  <a:pt x="12406" y="4469"/>
                  <a:pt x="12375" y="4500"/>
                </a:cubicBezTo>
                <a:cubicBezTo>
                  <a:pt x="12313" y="4563"/>
                  <a:pt x="12281" y="4469"/>
                  <a:pt x="12219" y="4469"/>
                </a:cubicBezTo>
                <a:cubicBezTo>
                  <a:pt x="12250" y="4438"/>
                  <a:pt x="12188" y="4407"/>
                  <a:pt x="12188" y="4375"/>
                </a:cubicBezTo>
                <a:cubicBezTo>
                  <a:pt x="12250" y="4375"/>
                  <a:pt x="12344" y="4344"/>
                  <a:pt x="12406" y="4375"/>
                </a:cubicBezTo>
                <a:close/>
                <a:moveTo>
                  <a:pt x="11969" y="4438"/>
                </a:moveTo>
                <a:cubicBezTo>
                  <a:pt x="12000" y="4375"/>
                  <a:pt x="12000" y="4438"/>
                  <a:pt x="12031" y="4438"/>
                </a:cubicBezTo>
                <a:cubicBezTo>
                  <a:pt x="12094" y="4469"/>
                  <a:pt x="12156" y="4500"/>
                  <a:pt x="12219" y="4469"/>
                </a:cubicBezTo>
                <a:cubicBezTo>
                  <a:pt x="12219" y="4500"/>
                  <a:pt x="12281" y="4594"/>
                  <a:pt x="12156" y="4563"/>
                </a:cubicBezTo>
                <a:cubicBezTo>
                  <a:pt x="12125" y="4532"/>
                  <a:pt x="12094" y="4532"/>
                  <a:pt x="12063" y="4563"/>
                </a:cubicBezTo>
                <a:cubicBezTo>
                  <a:pt x="12000" y="4594"/>
                  <a:pt x="11969" y="4563"/>
                  <a:pt x="11969" y="4532"/>
                </a:cubicBezTo>
                <a:cubicBezTo>
                  <a:pt x="11938" y="4500"/>
                  <a:pt x="11938" y="4469"/>
                  <a:pt x="11969" y="4438"/>
                </a:cubicBezTo>
                <a:close/>
                <a:moveTo>
                  <a:pt x="4594" y="3563"/>
                </a:moveTo>
                <a:cubicBezTo>
                  <a:pt x="4594" y="3563"/>
                  <a:pt x="4594" y="3563"/>
                  <a:pt x="4594" y="3563"/>
                </a:cubicBezTo>
                <a:close/>
                <a:moveTo>
                  <a:pt x="5500" y="3594"/>
                </a:moveTo>
                <a:cubicBezTo>
                  <a:pt x="5500" y="3594"/>
                  <a:pt x="5500" y="3625"/>
                  <a:pt x="5500" y="3625"/>
                </a:cubicBezTo>
                <a:cubicBezTo>
                  <a:pt x="5500" y="3657"/>
                  <a:pt x="5500" y="3688"/>
                  <a:pt x="5469" y="3688"/>
                </a:cubicBezTo>
                <a:cubicBezTo>
                  <a:pt x="5438" y="3657"/>
                  <a:pt x="5406" y="3688"/>
                  <a:pt x="5344" y="3688"/>
                </a:cubicBezTo>
                <a:cubicBezTo>
                  <a:pt x="5344" y="3532"/>
                  <a:pt x="5438" y="3625"/>
                  <a:pt x="5500" y="3594"/>
                </a:cubicBezTo>
                <a:close/>
                <a:moveTo>
                  <a:pt x="8063" y="4688"/>
                </a:moveTo>
                <a:cubicBezTo>
                  <a:pt x="8094" y="4657"/>
                  <a:pt x="8125" y="4688"/>
                  <a:pt x="8156" y="4688"/>
                </a:cubicBezTo>
                <a:cubicBezTo>
                  <a:pt x="8188" y="4719"/>
                  <a:pt x="8250" y="4719"/>
                  <a:pt x="8281" y="4719"/>
                </a:cubicBezTo>
                <a:cubicBezTo>
                  <a:pt x="8250" y="4813"/>
                  <a:pt x="8188" y="4813"/>
                  <a:pt x="8125" y="4782"/>
                </a:cubicBezTo>
                <a:cubicBezTo>
                  <a:pt x="8094" y="4750"/>
                  <a:pt x="8031" y="4750"/>
                  <a:pt x="8063" y="4688"/>
                </a:cubicBezTo>
                <a:close/>
                <a:moveTo>
                  <a:pt x="6969" y="4250"/>
                </a:moveTo>
                <a:cubicBezTo>
                  <a:pt x="6938" y="4250"/>
                  <a:pt x="6875" y="4219"/>
                  <a:pt x="6875" y="4188"/>
                </a:cubicBezTo>
                <a:cubicBezTo>
                  <a:pt x="6875" y="4157"/>
                  <a:pt x="6875" y="4125"/>
                  <a:pt x="6906" y="4125"/>
                </a:cubicBezTo>
                <a:cubicBezTo>
                  <a:pt x="6969" y="4157"/>
                  <a:pt x="7000" y="4157"/>
                  <a:pt x="7031" y="4188"/>
                </a:cubicBezTo>
                <a:cubicBezTo>
                  <a:pt x="7031" y="4250"/>
                  <a:pt x="7000" y="4250"/>
                  <a:pt x="6969" y="4250"/>
                </a:cubicBezTo>
                <a:close/>
                <a:moveTo>
                  <a:pt x="7156" y="4344"/>
                </a:moveTo>
                <a:cubicBezTo>
                  <a:pt x="7156" y="4313"/>
                  <a:pt x="7031" y="4250"/>
                  <a:pt x="7156" y="4219"/>
                </a:cubicBezTo>
                <a:cubicBezTo>
                  <a:pt x="7219" y="4188"/>
                  <a:pt x="7250" y="4188"/>
                  <a:pt x="7250" y="4250"/>
                </a:cubicBezTo>
                <a:cubicBezTo>
                  <a:pt x="7281" y="4375"/>
                  <a:pt x="7188" y="4313"/>
                  <a:pt x="7156" y="4344"/>
                </a:cubicBezTo>
                <a:close/>
                <a:moveTo>
                  <a:pt x="31938" y="2032"/>
                </a:moveTo>
                <a:cubicBezTo>
                  <a:pt x="31938" y="2063"/>
                  <a:pt x="31969" y="2063"/>
                  <a:pt x="31969" y="2063"/>
                </a:cubicBezTo>
                <a:cubicBezTo>
                  <a:pt x="31938" y="2063"/>
                  <a:pt x="31938" y="2094"/>
                  <a:pt x="31938" y="2094"/>
                </a:cubicBezTo>
                <a:cubicBezTo>
                  <a:pt x="31906" y="2094"/>
                  <a:pt x="31906" y="2094"/>
                  <a:pt x="31906" y="2094"/>
                </a:cubicBezTo>
                <a:cubicBezTo>
                  <a:pt x="31906" y="2063"/>
                  <a:pt x="31906" y="2063"/>
                  <a:pt x="31938" y="2032"/>
                </a:cubicBezTo>
                <a:close/>
                <a:moveTo>
                  <a:pt x="15625" y="5500"/>
                </a:moveTo>
                <a:cubicBezTo>
                  <a:pt x="15563" y="5532"/>
                  <a:pt x="15500" y="5532"/>
                  <a:pt x="15469" y="5500"/>
                </a:cubicBezTo>
                <a:cubicBezTo>
                  <a:pt x="15438" y="5469"/>
                  <a:pt x="15344" y="5500"/>
                  <a:pt x="15313" y="5407"/>
                </a:cubicBezTo>
                <a:cubicBezTo>
                  <a:pt x="15344" y="5375"/>
                  <a:pt x="15344" y="5375"/>
                  <a:pt x="15344" y="5344"/>
                </a:cubicBezTo>
                <a:cubicBezTo>
                  <a:pt x="15406" y="5282"/>
                  <a:pt x="15469" y="5375"/>
                  <a:pt x="15563" y="5375"/>
                </a:cubicBezTo>
                <a:cubicBezTo>
                  <a:pt x="15594" y="5375"/>
                  <a:pt x="15625" y="5407"/>
                  <a:pt x="15625" y="5469"/>
                </a:cubicBezTo>
                <a:cubicBezTo>
                  <a:pt x="15625" y="5500"/>
                  <a:pt x="15625" y="5500"/>
                  <a:pt x="15625" y="5500"/>
                </a:cubicBezTo>
                <a:close/>
                <a:moveTo>
                  <a:pt x="12844" y="4969"/>
                </a:moveTo>
                <a:cubicBezTo>
                  <a:pt x="12938" y="4938"/>
                  <a:pt x="13000" y="4969"/>
                  <a:pt x="13031" y="5063"/>
                </a:cubicBezTo>
                <a:cubicBezTo>
                  <a:pt x="12906" y="5125"/>
                  <a:pt x="12875" y="5032"/>
                  <a:pt x="12844" y="4969"/>
                </a:cubicBezTo>
                <a:close/>
                <a:moveTo>
                  <a:pt x="13188" y="5188"/>
                </a:moveTo>
                <a:cubicBezTo>
                  <a:pt x="13094" y="5188"/>
                  <a:pt x="13063" y="5157"/>
                  <a:pt x="13031" y="5094"/>
                </a:cubicBezTo>
                <a:cubicBezTo>
                  <a:pt x="13031" y="5094"/>
                  <a:pt x="13031" y="5094"/>
                  <a:pt x="13031" y="5094"/>
                </a:cubicBezTo>
                <a:cubicBezTo>
                  <a:pt x="13094" y="5094"/>
                  <a:pt x="13156" y="5094"/>
                  <a:pt x="13188" y="5157"/>
                </a:cubicBezTo>
                <a:cubicBezTo>
                  <a:pt x="13219" y="5157"/>
                  <a:pt x="13188" y="5188"/>
                  <a:pt x="13188" y="5188"/>
                </a:cubicBezTo>
                <a:close/>
                <a:moveTo>
                  <a:pt x="14625" y="5750"/>
                </a:move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ubicBezTo>
                  <a:pt x="14625" y="5750"/>
                  <a:pt x="14625" y="5750"/>
                  <a:pt x="14625" y="5750"/>
                </a:cubicBezTo>
                <a:close/>
                <a:moveTo>
                  <a:pt x="14781" y="5625"/>
                </a:moveTo>
                <a:cubicBezTo>
                  <a:pt x="14750" y="5657"/>
                  <a:pt x="14719" y="5688"/>
                  <a:pt x="14656" y="5688"/>
                </a:cubicBezTo>
                <a:cubicBezTo>
                  <a:pt x="14656" y="5688"/>
                  <a:pt x="14625" y="5688"/>
                  <a:pt x="14625" y="5688"/>
                </a:cubicBezTo>
                <a:cubicBezTo>
                  <a:pt x="14594" y="5625"/>
                  <a:pt x="14563" y="5657"/>
                  <a:pt x="14500" y="5657"/>
                </a:cubicBezTo>
                <a:cubicBezTo>
                  <a:pt x="14500" y="5657"/>
                  <a:pt x="14500" y="5688"/>
                  <a:pt x="14500" y="5688"/>
                </a:cubicBezTo>
                <a:cubicBezTo>
                  <a:pt x="14500" y="5750"/>
                  <a:pt x="14563" y="5750"/>
                  <a:pt x="14594" y="5750"/>
                </a:cubicBezTo>
                <a:cubicBezTo>
                  <a:pt x="14594" y="5813"/>
                  <a:pt x="14563" y="5813"/>
                  <a:pt x="14500" y="5813"/>
                </a:cubicBezTo>
                <a:cubicBezTo>
                  <a:pt x="14469" y="5782"/>
                  <a:pt x="14438" y="5750"/>
                  <a:pt x="14438" y="5719"/>
                </a:cubicBezTo>
                <a:cubicBezTo>
                  <a:pt x="14438" y="5625"/>
                  <a:pt x="14469" y="5563"/>
                  <a:pt x="14344" y="5563"/>
                </a:cubicBezTo>
                <a:cubicBezTo>
                  <a:pt x="14281" y="5563"/>
                  <a:pt x="14344" y="5438"/>
                  <a:pt x="14281" y="5407"/>
                </a:cubicBezTo>
                <a:cubicBezTo>
                  <a:pt x="14125" y="5500"/>
                  <a:pt x="14000" y="5407"/>
                  <a:pt x="13875" y="5313"/>
                </a:cubicBezTo>
                <a:cubicBezTo>
                  <a:pt x="13750" y="5250"/>
                  <a:pt x="13625" y="5188"/>
                  <a:pt x="13500" y="5125"/>
                </a:cubicBezTo>
                <a:cubicBezTo>
                  <a:pt x="13656" y="5063"/>
                  <a:pt x="13781" y="5125"/>
                  <a:pt x="13906" y="5313"/>
                </a:cubicBezTo>
                <a:cubicBezTo>
                  <a:pt x="14000" y="5282"/>
                  <a:pt x="14094" y="5375"/>
                  <a:pt x="14188" y="5282"/>
                </a:cubicBezTo>
                <a:cubicBezTo>
                  <a:pt x="14188" y="5282"/>
                  <a:pt x="14281" y="5282"/>
                  <a:pt x="14250" y="5344"/>
                </a:cubicBezTo>
                <a:cubicBezTo>
                  <a:pt x="14250" y="5375"/>
                  <a:pt x="14250" y="5375"/>
                  <a:pt x="14250" y="5375"/>
                </a:cubicBezTo>
                <a:cubicBezTo>
                  <a:pt x="14250" y="5407"/>
                  <a:pt x="14250" y="5407"/>
                  <a:pt x="14281" y="5375"/>
                </a:cubicBezTo>
                <a:cubicBezTo>
                  <a:pt x="14313" y="5375"/>
                  <a:pt x="14344" y="5344"/>
                  <a:pt x="14375" y="5375"/>
                </a:cubicBezTo>
                <a:cubicBezTo>
                  <a:pt x="14438" y="5438"/>
                  <a:pt x="14500" y="5407"/>
                  <a:pt x="14563" y="5375"/>
                </a:cubicBezTo>
                <a:cubicBezTo>
                  <a:pt x="14594" y="5438"/>
                  <a:pt x="14625" y="5532"/>
                  <a:pt x="14719" y="5563"/>
                </a:cubicBezTo>
                <a:cubicBezTo>
                  <a:pt x="14750" y="5563"/>
                  <a:pt x="14781" y="5563"/>
                  <a:pt x="14781" y="5625"/>
                </a:cubicBezTo>
                <a:close/>
                <a:moveTo>
                  <a:pt x="15438" y="7094"/>
                </a:moveTo>
                <a:cubicBezTo>
                  <a:pt x="15406" y="7094"/>
                  <a:pt x="15313" y="7125"/>
                  <a:pt x="15344" y="7032"/>
                </a:cubicBezTo>
                <a:cubicBezTo>
                  <a:pt x="15344" y="7000"/>
                  <a:pt x="15375" y="6969"/>
                  <a:pt x="15406" y="6969"/>
                </a:cubicBezTo>
                <a:cubicBezTo>
                  <a:pt x="15469" y="7000"/>
                  <a:pt x="15531" y="7000"/>
                  <a:pt x="15531" y="7063"/>
                </a:cubicBezTo>
                <a:cubicBezTo>
                  <a:pt x="15531" y="7125"/>
                  <a:pt x="15469" y="7063"/>
                  <a:pt x="15438" y="7094"/>
                </a:cubicBezTo>
                <a:close/>
                <a:moveTo>
                  <a:pt x="16250" y="6907"/>
                </a:moveTo>
                <a:cubicBezTo>
                  <a:pt x="16219" y="6907"/>
                  <a:pt x="16219" y="6844"/>
                  <a:pt x="16219" y="6844"/>
                </a:cubicBezTo>
                <a:cubicBezTo>
                  <a:pt x="16250" y="6782"/>
                  <a:pt x="16250" y="6813"/>
                  <a:pt x="16281" y="6844"/>
                </a:cubicBezTo>
                <a:cubicBezTo>
                  <a:pt x="16375" y="6844"/>
                  <a:pt x="16438" y="6938"/>
                  <a:pt x="16563" y="7000"/>
                </a:cubicBezTo>
                <a:cubicBezTo>
                  <a:pt x="16406" y="7032"/>
                  <a:pt x="16344" y="6907"/>
                  <a:pt x="16250" y="6907"/>
                </a:cubicBezTo>
                <a:close/>
                <a:moveTo>
                  <a:pt x="11813" y="7250"/>
                </a:moveTo>
                <a:cubicBezTo>
                  <a:pt x="11813" y="7219"/>
                  <a:pt x="11781" y="7188"/>
                  <a:pt x="11750" y="7188"/>
                </a:cubicBezTo>
                <a:cubicBezTo>
                  <a:pt x="11719" y="7157"/>
                  <a:pt x="11688" y="7157"/>
                  <a:pt x="11656" y="7188"/>
                </a:cubicBezTo>
                <a:cubicBezTo>
                  <a:pt x="11656" y="7250"/>
                  <a:pt x="11688" y="7282"/>
                  <a:pt x="11719" y="7282"/>
                </a:cubicBezTo>
                <a:cubicBezTo>
                  <a:pt x="11750" y="7282"/>
                  <a:pt x="11781" y="7282"/>
                  <a:pt x="11781" y="7282"/>
                </a:cubicBezTo>
                <a:cubicBezTo>
                  <a:pt x="11813" y="7344"/>
                  <a:pt x="11813" y="7407"/>
                  <a:pt x="11844" y="7469"/>
                </a:cubicBezTo>
                <a:cubicBezTo>
                  <a:pt x="11781" y="7407"/>
                  <a:pt x="11656" y="7375"/>
                  <a:pt x="11656" y="7282"/>
                </a:cubicBezTo>
                <a:cubicBezTo>
                  <a:pt x="11625" y="7219"/>
                  <a:pt x="11594" y="7250"/>
                  <a:pt x="11563" y="7250"/>
                </a:cubicBezTo>
                <a:cubicBezTo>
                  <a:pt x="11563" y="7250"/>
                  <a:pt x="11531" y="7250"/>
                  <a:pt x="11500" y="7219"/>
                </a:cubicBezTo>
                <a:cubicBezTo>
                  <a:pt x="11500" y="7157"/>
                  <a:pt x="11531" y="7188"/>
                  <a:pt x="11563" y="7188"/>
                </a:cubicBezTo>
                <a:cubicBezTo>
                  <a:pt x="11625" y="7157"/>
                  <a:pt x="11656" y="7188"/>
                  <a:pt x="11688" y="7125"/>
                </a:cubicBezTo>
                <a:cubicBezTo>
                  <a:pt x="11688" y="7063"/>
                  <a:pt x="11906" y="7125"/>
                  <a:pt x="11938" y="7188"/>
                </a:cubicBezTo>
                <a:cubicBezTo>
                  <a:pt x="11938" y="7313"/>
                  <a:pt x="11875" y="7250"/>
                  <a:pt x="11813" y="7250"/>
                </a:cubicBezTo>
                <a:close/>
                <a:moveTo>
                  <a:pt x="12063" y="7594"/>
                </a:moveTo>
                <a:cubicBezTo>
                  <a:pt x="12156" y="7469"/>
                  <a:pt x="12219" y="7563"/>
                  <a:pt x="12281" y="7594"/>
                </a:cubicBezTo>
                <a:cubicBezTo>
                  <a:pt x="12219" y="7594"/>
                  <a:pt x="12156" y="7594"/>
                  <a:pt x="12063" y="7594"/>
                </a:cubicBezTo>
                <a:close/>
                <a:moveTo>
                  <a:pt x="12406" y="7500"/>
                </a:moveTo>
                <a:cubicBezTo>
                  <a:pt x="12344" y="7500"/>
                  <a:pt x="12313" y="7469"/>
                  <a:pt x="12313" y="7407"/>
                </a:cubicBezTo>
                <a:cubicBezTo>
                  <a:pt x="12281" y="7407"/>
                  <a:pt x="12313" y="7375"/>
                  <a:pt x="12344" y="7375"/>
                </a:cubicBezTo>
                <a:cubicBezTo>
                  <a:pt x="12406" y="7375"/>
                  <a:pt x="12406" y="7407"/>
                  <a:pt x="12438" y="7438"/>
                </a:cubicBezTo>
                <a:cubicBezTo>
                  <a:pt x="12438" y="7469"/>
                  <a:pt x="12438" y="7500"/>
                  <a:pt x="12406" y="7500"/>
                </a:cubicBezTo>
                <a:close/>
                <a:moveTo>
                  <a:pt x="12500" y="7782"/>
                </a:moveTo>
                <a:cubicBezTo>
                  <a:pt x="12500" y="7782"/>
                  <a:pt x="12500" y="7750"/>
                  <a:pt x="12500" y="7750"/>
                </a:cubicBezTo>
                <a:cubicBezTo>
                  <a:pt x="12500" y="7750"/>
                  <a:pt x="12500" y="7750"/>
                  <a:pt x="12500" y="7719"/>
                </a:cubicBezTo>
                <a:cubicBezTo>
                  <a:pt x="12500" y="7719"/>
                  <a:pt x="12531" y="7750"/>
                  <a:pt x="12531" y="7750"/>
                </a:cubicBezTo>
                <a:cubicBezTo>
                  <a:pt x="12531" y="7750"/>
                  <a:pt x="12500" y="7782"/>
                  <a:pt x="12500" y="7782"/>
                </a:cubicBezTo>
                <a:close/>
                <a:moveTo>
                  <a:pt x="14125" y="8469"/>
                </a:moveTo>
                <a:cubicBezTo>
                  <a:pt x="14094" y="8532"/>
                  <a:pt x="14031" y="8563"/>
                  <a:pt x="13969" y="8532"/>
                </a:cubicBezTo>
                <a:cubicBezTo>
                  <a:pt x="13969" y="8469"/>
                  <a:pt x="14094" y="8500"/>
                  <a:pt x="14031" y="8407"/>
                </a:cubicBezTo>
                <a:cubicBezTo>
                  <a:pt x="14000" y="8407"/>
                  <a:pt x="14031" y="8375"/>
                  <a:pt x="14063" y="8375"/>
                </a:cubicBezTo>
                <a:cubicBezTo>
                  <a:pt x="14094" y="8407"/>
                  <a:pt x="14156" y="8375"/>
                  <a:pt x="14188" y="8438"/>
                </a:cubicBezTo>
                <a:cubicBezTo>
                  <a:pt x="14188" y="8469"/>
                  <a:pt x="14156" y="8469"/>
                  <a:pt x="14125" y="8469"/>
                </a:cubicBezTo>
                <a:close/>
                <a:moveTo>
                  <a:pt x="3781" y="3782"/>
                </a:moveTo>
                <a:cubicBezTo>
                  <a:pt x="3781" y="3782"/>
                  <a:pt x="3781" y="3782"/>
                  <a:pt x="3781" y="3782"/>
                </a:cubicBezTo>
                <a:cubicBezTo>
                  <a:pt x="3750" y="3782"/>
                  <a:pt x="3750" y="3750"/>
                  <a:pt x="3781" y="3719"/>
                </a:cubicBezTo>
                <a:cubicBezTo>
                  <a:pt x="3781" y="3719"/>
                  <a:pt x="3813" y="3719"/>
                  <a:pt x="3813" y="3719"/>
                </a:cubicBezTo>
                <a:cubicBezTo>
                  <a:pt x="3813" y="3750"/>
                  <a:pt x="3813" y="3782"/>
                  <a:pt x="3781" y="3782"/>
                </a:cubicBezTo>
                <a:close/>
                <a:moveTo>
                  <a:pt x="3563" y="4532"/>
                </a:moveTo>
                <a:cubicBezTo>
                  <a:pt x="3500" y="4500"/>
                  <a:pt x="3438" y="4500"/>
                  <a:pt x="3375" y="4469"/>
                </a:cubicBezTo>
                <a:cubicBezTo>
                  <a:pt x="3469" y="4407"/>
                  <a:pt x="3531" y="4469"/>
                  <a:pt x="3594" y="4469"/>
                </a:cubicBezTo>
                <a:cubicBezTo>
                  <a:pt x="3594" y="4469"/>
                  <a:pt x="3594" y="4469"/>
                  <a:pt x="3594" y="4500"/>
                </a:cubicBezTo>
                <a:cubicBezTo>
                  <a:pt x="3594" y="4500"/>
                  <a:pt x="3594" y="4532"/>
                  <a:pt x="3563" y="4532"/>
                </a:cubicBezTo>
                <a:close/>
                <a:moveTo>
                  <a:pt x="2719" y="6625"/>
                </a:moveTo>
                <a:cubicBezTo>
                  <a:pt x="2688" y="6657"/>
                  <a:pt x="2657" y="6625"/>
                  <a:pt x="2657" y="6625"/>
                </a:cubicBezTo>
                <a:cubicBezTo>
                  <a:pt x="2563" y="6594"/>
                  <a:pt x="2500" y="6563"/>
                  <a:pt x="2407" y="6563"/>
                </a:cubicBezTo>
                <a:cubicBezTo>
                  <a:pt x="2469" y="6469"/>
                  <a:pt x="2688" y="6500"/>
                  <a:pt x="2719" y="6594"/>
                </a:cubicBezTo>
                <a:cubicBezTo>
                  <a:pt x="2719" y="6594"/>
                  <a:pt x="2719" y="6625"/>
                  <a:pt x="2719" y="6625"/>
                </a:cubicBezTo>
                <a:close/>
                <a:moveTo>
                  <a:pt x="4219" y="7094"/>
                </a:moveTo>
                <a:cubicBezTo>
                  <a:pt x="4156" y="7094"/>
                  <a:pt x="4094" y="7063"/>
                  <a:pt x="4031" y="7000"/>
                </a:cubicBezTo>
                <a:cubicBezTo>
                  <a:pt x="4063" y="6969"/>
                  <a:pt x="4063" y="6969"/>
                  <a:pt x="4094" y="6969"/>
                </a:cubicBezTo>
                <a:cubicBezTo>
                  <a:pt x="4125" y="7000"/>
                  <a:pt x="4219" y="6969"/>
                  <a:pt x="4250" y="7032"/>
                </a:cubicBezTo>
                <a:cubicBezTo>
                  <a:pt x="4250" y="7063"/>
                  <a:pt x="4250" y="7094"/>
                  <a:pt x="4219" y="7094"/>
                </a:cubicBezTo>
                <a:close/>
                <a:moveTo>
                  <a:pt x="17969" y="13969"/>
                </a:moveTo>
                <a:cubicBezTo>
                  <a:pt x="18000" y="13969"/>
                  <a:pt x="18000" y="14000"/>
                  <a:pt x="18000" y="14000"/>
                </a:cubicBezTo>
                <a:cubicBezTo>
                  <a:pt x="18000" y="14000"/>
                  <a:pt x="18000" y="14000"/>
                  <a:pt x="17969" y="14032"/>
                </a:cubicBezTo>
                <a:cubicBezTo>
                  <a:pt x="17969" y="14000"/>
                  <a:pt x="17969" y="14000"/>
                  <a:pt x="17938" y="14000"/>
                </a:cubicBezTo>
                <a:cubicBezTo>
                  <a:pt x="17969" y="14000"/>
                  <a:pt x="17969" y="13969"/>
                  <a:pt x="17969" y="13969"/>
                </a:cubicBezTo>
                <a:close/>
                <a:moveTo>
                  <a:pt x="20969" y="13969"/>
                </a:moveTo>
                <a:cubicBezTo>
                  <a:pt x="20938" y="14032"/>
                  <a:pt x="20906" y="14094"/>
                  <a:pt x="20875" y="14157"/>
                </a:cubicBezTo>
                <a:cubicBezTo>
                  <a:pt x="20813" y="14063"/>
                  <a:pt x="20813" y="13969"/>
                  <a:pt x="20875" y="13875"/>
                </a:cubicBezTo>
                <a:cubicBezTo>
                  <a:pt x="20875" y="13907"/>
                  <a:pt x="20906" y="13907"/>
                  <a:pt x="20906" y="13907"/>
                </a:cubicBezTo>
                <a:cubicBezTo>
                  <a:pt x="21000" y="13875"/>
                  <a:pt x="21000" y="13938"/>
                  <a:pt x="20969" y="13969"/>
                </a:cubicBezTo>
                <a:close/>
                <a:moveTo>
                  <a:pt x="26344" y="13813"/>
                </a:moveTo>
                <a:cubicBezTo>
                  <a:pt x="26375" y="13750"/>
                  <a:pt x="26406" y="13719"/>
                  <a:pt x="26469" y="13719"/>
                </a:cubicBezTo>
                <a:cubicBezTo>
                  <a:pt x="26469" y="13719"/>
                  <a:pt x="26500" y="13719"/>
                  <a:pt x="26500" y="13750"/>
                </a:cubicBezTo>
                <a:cubicBezTo>
                  <a:pt x="26500" y="13813"/>
                  <a:pt x="26438" y="13813"/>
                  <a:pt x="26406" y="13844"/>
                </a:cubicBezTo>
                <a:cubicBezTo>
                  <a:pt x="26406" y="13844"/>
                  <a:pt x="26344" y="13844"/>
                  <a:pt x="26344" y="13813"/>
                </a:cubicBezTo>
                <a:close/>
                <a:moveTo>
                  <a:pt x="26500" y="14063"/>
                </a:moveTo>
                <a:cubicBezTo>
                  <a:pt x="26469" y="14032"/>
                  <a:pt x="26438" y="14094"/>
                  <a:pt x="26406" y="14032"/>
                </a:cubicBezTo>
                <a:cubicBezTo>
                  <a:pt x="26438" y="13875"/>
                  <a:pt x="26469" y="13844"/>
                  <a:pt x="26625" y="13907"/>
                </a:cubicBezTo>
                <a:cubicBezTo>
                  <a:pt x="26625" y="13969"/>
                  <a:pt x="26500" y="13969"/>
                  <a:pt x="26500" y="14063"/>
                </a:cubicBezTo>
                <a:close/>
                <a:moveTo>
                  <a:pt x="28344" y="3782"/>
                </a:moveTo>
                <a:cubicBezTo>
                  <a:pt x="28406" y="3719"/>
                  <a:pt x="28531" y="3719"/>
                  <a:pt x="28625" y="3719"/>
                </a:cubicBezTo>
                <a:cubicBezTo>
                  <a:pt x="28656" y="3719"/>
                  <a:pt x="28719" y="3719"/>
                  <a:pt x="28781" y="3719"/>
                </a:cubicBezTo>
                <a:cubicBezTo>
                  <a:pt x="28781" y="3688"/>
                  <a:pt x="28844" y="3657"/>
                  <a:pt x="28781" y="3657"/>
                </a:cubicBezTo>
                <a:cubicBezTo>
                  <a:pt x="28719" y="3657"/>
                  <a:pt x="28688" y="3657"/>
                  <a:pt x="28656" y="3688"/>
                </a:cubicBezTo>
                <a:cubicBezTo>
                  <a:pt x="28625" y="3688"/>
                  <a:pt x="28594" y="3688"/>
                  <a:pt x="28563" y="3688"/>
                </a:cubicBezTo>
                <a:cubicBezTo>
                  <a:pt x="28563" y="3688"/>
                  <a:pt x="28563" y="3657"/>
                  <a:pt x="28563" y="3657"/>
                </a:cubicBezTo>
                <a:cubicBezTo>
                  <a:pt x="28563" y="3594"/>
                  <a:pt x="28625" y="3594"/>
                  <a:pt x="28656" y="3594"/>
                </a:cubicBezTo>
                <a:cubicBezTo>
                  <a:pt x="28688" y="3594"/>
                  <a:pt x="28750" y="3594"/>
                  <a:pt x="28813" y="3594"/>
                </a:cubicBezTo>
                <a:cubicBezTo>
                  <a:pt x="28813" y="3532"/>
                  <a:pt x="28750" y="3532"/>
                  <a:pt x="28750" y="3500"/>
                </a:cubicBezTo>
                <a:cubicBezTo>
                  <a:pt x="28813" y="3500"/>
                  <a:pt x="28875" y="3500"/>
                  <a:pt x="28906" y="3532"/>
                </a:cubicBezTo>
                <a:cubicBezTo>
                  <a:pt x="28938" y="3532"/>
                  <a:pt x="29000" y="3563"/>
                  <a:pt x="29000" y="3532"/>
                </a:cubicBezTo>
                <a:cubicBezTo>
                  <a:pt x="29063" y="3407"/>
                  <a:pt x="29188" y="3500"/>
                  <a:pt x="29219" y="3438"/>
                </a:cubicBezTo>
                <a:cubicBezTo>
                  <a:pt x="29281" y="3375"/>
                  <a:pt x="29375" y="3344"/>
                  <a:pt x="29438" y="3313"/>
                </a:cubicBezTo>
                <a:cubicBezTo>
                  <a:pt x="29469" y="3313"/>
                  <a:pt x="29469" y="3313"/>
                  <a:pt x="29469" y="3313"/>
                </a:cubicBezTo>
                <a:cubicBezTo>
                  <a:pt x="29438" y="3125"/>
                  <a:pt x="29594" y="3157"/>
                  <a:pt x="29688" y="3125"/>
                </a:cubicBezTo>
                <a:cubicBezTo>
                  <a:pt x="29938" y="3032"/>
                  <a:pt x="30094" y="2875"/>
                  <a:pt x="30313" y="2813"/>
                </a:cubicBezTo>
                <a:cubicBezTo>
                  <a:pt x="30406" y="2782"/>
                  <a:pt x="30500" y="2750"/>
                  <a:pt x="30594" y="2750"/>
                </a:cubicBezTo>
                <a:cubicBezTo>
                  <a:pt x="30250" y="2969"/>
                  <a:pt x="29938" y="3157"/>
                  <a:pt x="29625" y="3344"/>
                </a:cubicBezTo>
                <a:cubicBezTo>
                  <a:pt x="29375" y="3500"/>
                  <a:pt x="29125" y="3657"/>
                  <a:pt x="28813" y="3719"/>
                </a:cubicBezTo>
                <a:cubicBezTo>
                  <a:pt x="28656" y="3813"/>
                  <a:pt x="28500" y="3813"/>
                  <a:pt x="28344" y="3844"/>
                </a:cubicBezTo>
                <a:cubicBezTo>
                  <a:pt x="28313" y="3844"/>
                  <a:pt x="28313" y="3844"/>
                  <a:pt x="28313" y="3813"/>
                </a:cubicBezTo>
                <a:cubicBezTo>
                  <a:pt x="28281" y="3782"/>
                  <a:pt x="28313" y="3782"/>
                  <a:pt x="28344" y="3782"/>
                </a:cubicBezTo>
                <a:close/>
                <a:moveTo>
                  <a:pt x="26969" y="4344"/>
                </a:moveTo>
                <a:cubicBezTo>
                  <a:pt x="26750" y="4407"/>
                  <a:pt x="26531" y="4469"/>
                  <a:pt x="26281" y="4500"/>
                </a:cubicBezTo>
                <a:cubicBezTo>
                  <a:pt x="26500" y="4344"/>
                  <a:pt x="26719" y="4313"/>
                  <a:pt x="26969" y="4344"/>
                </a:cubicBezTo>
                <a:close/>
                <a:moveTo>
                  <a:pt x="26156" y="4125"/>
                </a:moveTo>
                <a:cubicBezTo>
                  <a:pt x="26188" y="4094"/>
                  <a:pt x="26250" y="4094"/>
                  <a:pt x="26281" y="4125"/>
                </a:cubicBezTo>
                <a:cubicBezTo>
                  <a:pt x="26281" y="4125"/>
                  <a:pt x="26281" y="4157"/>
                  <a:pt x="26313" y="4157"/>
                </a:cubicBezTo>
                <a:cubicBezTo>
                  <a:pt x="26281" y="4188"/>
                  <a:pt x="26063" y="4282"/>
                  <a:pt x="26031" y="4282"/>
                </a:cubicBezTo>
                <a:cubicBezTo>
                  <a:pt x="26031" y="4282"/>
                  <a:pt x="26031" y="4250"/>
                  <a:pt x="26031" y="4250"/>
                </a:cubicBezTo>
                <a:cubicBezTo>
                  <a:pt x="26031" y="4157"/>
                  <a:pt x="26125" y="4188"/>
                  <a:pt x="26156" y="4125"/>
                </a:cubicBezTo>
                <a:close/>
                <a:moveTo>
                  <a:pt x="25625" y="4282"/>
                </a:moveTo>
                <a:cubicBezTo>
                  <a:pt x="25688" y="4250"/>
                  <a:pt x="25750" y="4219"/>
                  <a:pt x="25813" y="4219"/>
                </a:cubicBezTo>
                <a:cubicBezTo>
                  <a:pt x="25813" y="4219"/>
                  <a:pt x="25813" y="4250"/>
                  <a:pt x="25813" y="4250"/>
                </a:cubicBezTo>
                <a:cubicBezTo>
                  <a:pt x="25750" y="4282"/>
                  <a:pt x="25688" y="4344"/>
                  <a:pt x="25594" y="4313"/>
                </a:cubicBezTo>
                <a:cubicBezTo>
                  <a:pt x="25625" y="4282"/>
                  <a:pt x="25625" y="4282"/>
                  <a:pt x="25625" y="4282"/>
                </a:cubicBezTo>
                <a:close/>
                <a:moveTo>
                  <a:pt x="25156" y="4469"/>
                </a:moveTo>
                <a:cubicBezTo>
                  <a:pt x="25188" y="4469"/>
                  <a:pt x="25188" y="4500"/>
                  <a:pt x="25188" y="4532"/>
                </a:cubicBezTo>
                <a:cubicBezTo>
                  <a:pt x="25188" y="4563"/>
                  <a:pt x="25156" y="4594"/>
                  <a:pt x="25094" y="4594"/>
                </a:cubicBezTo>
                <a:cubicBezTo>
                  <a:pt x="25063" y="4594"/>
                  <a:pt x="25063" y="4563"/>
                  <a:pt x="25063" y="4532"/>
                </a:cubicBezTo>
                <a:cubicBezTo>
                  <a:pt x="25063" y="4469"/>
                  <a:pt x="25125" y="4469"/>
                  <a:pt x="25156" y="4469"/>
                </a:cubicBezTo>
                <a:close/>
                <a:moveTo>
                  <a:pt x="23219" y="5094"/>
                </a:moveTo>
                <a:cubicBezTo>
                  <a:pt x="23156" y="5157"/>
                  <a:pt x="23094" y="5157"/>
                  <a:pt x="23063" y="5125"/>
                </a:cubicBezTo>
                <a:cubicBezTo>
                  <a:pt x="23094" y="5094"/>
                  <a:pt x="23125" y="5063"/>
                  <a:pt x="23219" y="5094"/>
                </a:cubicBezTo>
                <a:close/>
                <a:moveTo>
                  <a:pt x="23094" y="5219"/>
                </a:moveTo>
                <a:cubicBezTo>
                  <a:pt x="23344" y="5188"/>
                  <a:pt x="23594" y="5250"/>
                  <a:pt x="23813" y="5219"/>
                </a:cubicBezTo>
                <a:cubicBezTo>
                  <a:pt x="23594" y="5344"/>
                  <a:pt x="23344" y="5313"/>
                  <a:pt x="23094" y="5219"/>
                </a:cubicBezTo>
                <a:close/>
                <a:moveTo>
                  <a:pt x="19250" y="5719"/>
                </a:moveTo>
                <a:cubicBezTo>
                  <a:pt x="19313" y="5719"/>
                  <a:pt x="19375" y="5719"/>
                  <a:pt x="19438" y="5750"/>
                </a:cubicBezTo>
                <a:cubicBezTo>
                  <a:pt x="19469" y="5750"/>
                  <a:pt x="19438" y="5813"/>
                  <a:pt x="19438" y="5813"/>
                </a:cubicBezTo>
                <a:cubicBezTo>
                  <a:pt x="19375" y="5813"/>
                  <a:pt x="19313" y="5782"/>
                  <a:pt x="19250" y="5750"/>
                </a:cubicBezTo>
                <a:cubicBezTo>
                  <a:pt x="19250" y="5750"/>
                  <a:pt x="19250" y="5719"/>
                  <a:pt x="19250" y="5719"/>
                </a:cubicBezTo>
                <a:close/>
                <a:moveTo>
                  <a:pt x="19063" y="5750"/>
                </a:moveTo>
                <a:cubicBezTo>
                  <a:pt x="18906" y="5813"/>
                  <a:pt x="18781" y="5719"/>
                  <a:pt x="18656" y="5719"/>
                </a:cubicBezTo>
                <a:cubicBezTo>
                  <a:pt x="18750" y="5625"/>
                  <a:pt x="18938" y="5625"/>
                  <a:pt x="19063" y="5750"/>
                </a:cubicBezTo>
                <a:close/>
                <a:moveTo>
                  <a:pt x="17750" y="5469"/>
                </a:moveTo>
                <a:cubicBezTo>
                  <a:pt x="17844" y="5469"/>
                  <a:pt x="17938" y="5469"/>
                  <a:pt x="18031" y="5563"/>
                </a:cubicBezTo>
                <a:cubicBezTo>
                  <a:pt x="17906" y="5563"/>
                  <a:pt x="17844" y="5563"/>
                  <a:pt x="17750" y="5563"/>
                </a:cubicBezTo>
                <a:cubicBezTo>
                  <a:pt x="17719" y="5563"/>
                  <a:pt x="17719" y="5563"/>
                  <a:pt x="17719" y="5532"/>
                </a:cubicBezTo>
                <a:cubicBezTo>
                  <a:pt x="17719" y="5500"/>
                  <a:pt x="17719" y="5469"/>
                  <a:pt x="17750" y="5469"/>
                </a:cubicBezTo>
                <a:close/>
                <a:moveTo>
                  <a:pt x="17250" y="5719"/>
                </a:moveTo>
                <a:cubicBezTo>
                  <a:pt x="17281" y="5750"/>
                  <a:pt x="17344" y="5719"/>
                  <a:pt x="17375" y="5750"/>
                </a:cubicBezTo>
                <a:cubicBezTo>
                  <a:pt x="17375" y="5750"/>
                  <a:pt x="17344" y="5782"/>
                  <a:pt x="17344" y="5782"/>
                </a:cubicBezTo>
                <a:cubicBezTo>
                  <a:pt x="17281" y="5813"/>
                  <a:pt x="17219" y="5782"/>
                  <a:pt x="17188" y="5719"/>
                </a:cubicBezTo>
                <a:cubicBezTo>
                  <a:pt x="17219" y="5719"/>
                  <a:pt x="17219" y="5719"/>
                  <a:pt x="17250" y="5719"/>
                </a:cubicBezTo>
                <a:close/>
                <a:moveTo>
                  <a:pt x="16844" y="5532"/>
                </a:moveTo>
                <a:cubicBezTo>
                  <a:pt x="16875" y="5563"/>
                  <a:pt x="16938" y="5563"/>
                  <a:pt x="16938" y="5625"/>
                </a:cubicBezTo>
                <a:cubicBezTo>
                  <a:pt x="16906" y="5625"/>
                  <a:pt x="16844" y="5688"/>
                  <a:pt x="16813" y="5594"/>
                </a:cubicBezTo>
                <a:cubicBezTo>
                  <a:pt x="16781" y="5563"/>
                  <a:pt x="16813" y="5532"/>
                  <a:pt x="16844" y="5532"/>
                </a:cubicBezTo>
                <a:close/>
                <a:moveTo>
                  <a:pt x="16563" y="5313"/>
                </a:moveTo>
                <a:cubicBezTo>
                  <a:pt x="16563" y="5313"/>
                  <a:pt x="16563" y="5313"/>
                  <a:pt x="16563" y="5282"/>
                </a:cubicBezTo>
                <a:cubicBezTo>
                  <a:pt x="16625" y="5282"/>
                  <a:pt x="16656" y="5313"/>
                  <a:pt x="16719" y="5282"/>
                </a:cubicBezTo>
                <a:cubicBezTo>
                  <a:pt x="16750" y="5250"/>
                  <a:pt x="16781" y="5313"/>
                  <a:pt x="16781" y="5344"/>
                </a:cubicBezTo>
                <a:cubicBezTo>
                  <a:pt x="16781" y="5375"/>
                  <a:pt x="16750" y="5375"/>
                  <a:pt x="16719" y="5375"/>
                </a:cubicBezTo>
                <a:cubicBezTo>
                  <a:pt x="16656" y="5375"/>
                  <a:pt x="16625" y="5344"/>
                  <a:pt x="16563" y="5313"/>
                </a:cubicBezTo>
                <a:close/>
                <a:moveTo>
                  <a:pt x="16750" y="7063"/>
                </a:moveTo>
                <a:cubicBezTo>
                  <a:pt x="16656" y="7094"/>
                  <a:pt x="16625" y="7063"/>
                  <a:pt x="16594" y="6969"/>
                </a:cubicBezTo>
                <a:cubicBezTo>
                  <a:pt x="16656" y="7000"/>
                  <a:pt x="16719" y="7032"/>
                  <a:pt x="16750" y="7063"/>
                </a:cubicBezTo>
                <a:close/>
                <a:moveTo>
                  <a:pt x="15750" y="7688"/>
                </a:moveTo>
                <a:cubicBezTo>
                  <a:pt x="15656" y="7750"/>
                  <a:pt x="15594" y="7750"/>
                  <a:pt x="15563" y="7844"/>
                </a:cubicBezTo>
                <a:cubicBezTo>
                  <a:pt x="15531" y="7907"/>
                  <a:pt x="15500" y="7907"/>
                  <a:pt x="15469" y="7907"/>
                </a:cubicBezTo>
                <a:cubicBezTo>
                  <a:pt x="15438" y="7875"/>
                  <a:pt x="15438" y="7875"/>
                  <a:pt x="15438" y="7875"/>
                </a:cubicBezTo>
                <a:cubicBezTo>
                  <a:pt x="15531" y="7688"/>
                  <a:pt x="15281" y="7813"/>
                  <a:pt x="15313" y="7688"/>
                </a:cubicBezTo>
                <a:cubicBezTo>
                  <a:pt x="15438" y="7719"/>
                  <a:pt x="15563" y="7657"/>
                  <a:pt x="15750" y="7688"/>
                </a:cubicBezTo>
                <a:close/>
                <a:moveTo>
                  <a:pt x="15156" y="7375"/>
                </a:moveTo>
                <a:cubicBezTo>
                  <a:pt x="15188" y="7469"/>
                  <a:pt x="15313" y="7469"/>
                  <a:pt x="15375" y="7500"/>
                </a:cubicBezTo>
                <a:cubicBezTo>
                  <a:pt x="15375" y="7532"/>
                  <a:pt x="15375" y="7563"/>
                  <a:pt x="15375" y="7594"/>
                </a:cubicBezTo>
                <a:cubicBezTo>
                  <a:pt x="15344" y="7625"/>
                  <a:pt x="15281" y="7594"/>
                  <a:pt x="15250" y="7594"/>
                </a:cubicBezTo>
                <a:cubicBezTo>
                  <a:pt x="15188" y="7469"/>
                  <a:pt x="15063" y="7469"/>
                  <a:pt x="14938" y="7407"/>
                </a:cubicBezTo>
                <a:cubicBezTo>
                  <a:pt x="14938" y="7407"/>
                  <a:pt x="14938" y="7375"/>
                  <a:pt x="14906" y="7344"/>
                </a:cubicBezTo>
                <a:cubicBezTo>
                  <a:pt x="15000" y="7344"/>
                  <a:pt x="15094" y="7407"/>
                  <a:pt x="15156" y="7375"/>
                </a:cubicBezTo>
                <a:close/>
                <a:moveTo>
                  <a:pt x="14063" y="9125"/>
                </a:moveTo>
                <a:cubicBezTo>
                  <a:pt x="14094" y="9125"/>
                  <a:pt x="14125" y="9188"/>
                  <a:pt x="14156" y="9188"/>
                </a:cubicBezTo>
                <a:cubicBezTo>
                  <a:pt x="14188" y="9188"/>
                  <a:pt x="14250" y="9188"/>
                  <a:pt x="14219" y="9219"/>
                </a:cubicBezTo>
                <a:cubicBezTo>
                  <a:pt x="14219" y="9250"/>
                  <a:pt x="14188" y="9250"/>
                  <a:pt x="14156" y="9250"/>
                </a:cubicBezTo>
                <a:cubicBezTo>
                  <a:pt x="14094" y="9219"/>
                  <a:pt x="14031" y="9219"/>
                  <a:pt x="14063" y="9125"/>
                </a:cubicBezTo>
                <a:close/>
                <a:moveTo>
                  <a:pt x="12594" y="8375"/>
                </a:moveTo>
                <a:cubicBezTo>
                  <a:pt x="12625" y="8407"/>
                  <a:pt x="12531" y="8407"/>
                  <a:pt x="12563" y="8469"/>
                </a:cubicBezTo>
                <a:cubicBezTo>
                  <a:pt x="12594" y="8532"/>
                  <a:pt x="12625" y="8438"/>
                  <a:pt x="12656" y="8469"/>
                </a:cubicBezTo>
                <a:cubicBezTo>
                  <a:pt x="12719" y="8500"/>
                  <a:pt x="12844" y="8532"/>
                  <a:pt x="12875" y="8594"/>
                </a:cubicBezTo>
                <a:cubicBezTo>
                  <a:pt x="12938" y="8657"/>
                  <a:pt x="12969" y="8657"/>
                  <a:pt x="13031" y="8657"/>
                </a:cubicBezTo>
                <a:cubicBezTo>
                  <a:pt x="13094" y="8657"/>
                  <a:pt x="13125" y="8657"/>
                  <a:pt x="13188" y="8719"/>
                </a:cubicBezTo>
                <a:cubicBezTo>
                  <a:pt x="13219" y="8750"/>
                  <a:pt x="13313" y="8813"/>
                  <a:pt x="13406" y="8750"/>
                </a:cubicBezTo>
                <a:cubicBezTo>
                  <a:pt x="13406" y="8719"/>
                  <a:pt x="13469" y="8719"/>
                  <a:pt x="13469" y="8750"/>
                </a:cubicBezTo>
                <a:cubicBezTo>
                  <a:pt x="13469" y="8907"/>
                  <a:pt x="13625" y="8875"/>
                  <a:pt x="13719" y="8938"/>
                </a:cubicBezTo>
                <a:cubicBezTo>
                  <a:pt x="13563" y="9000"/>
                  <a:pt x="13438" y="8938"/>
                  <a:pt x="13344" y="8844"/>
                </a:cubicBezTo>
                <a:cubicBezTo>
                  <a:pt x="13219" y="8782"/>
                  <a:pt x="13063" y="8719"/>
                  <a:pt x="12938" y="8625"/>
                </a:cubicBezTo>
                <a:cubicBezTo>
                  <a:pt x="12906" y="8625"/>
                  <a:pt x="12813" y="8563"/>
                  <a:pt x="12813" y="8688"/>
                </a:cubicBezTo>
                <a:cubicBezTo>
                  <a:pt x="12844" y="8719"/>
                  <a:pt x="12813" y="8688"/>
                  <a:pt x="12781" y="8688"/>
                </a:cubicBezTo>
                <a:cubicBezTo>
                  <a:pt x="12719" y="8719"/>
                  <a:pt x="12469" y="8532"/>
                  <a:pt x="12438" y="8469"/>
                </a:cubicBezTo>
                <a:cubicBezTo>
                  <a:pt x="12406" y="8344"/>
                  <a:pt x="12406" y="8344"/>
                  <a:pt x="12594" y="8375"/>
                </a:cubicBezTo>
                <a:close/>
                <a:moveTo>
                  <a:pt x="12719" y="9188"/>
                </a:moveTo>
                <a:cubicBezTo>
                  <a:pt x="12625" y="9219"/>
                  <a:pt x="12563" y="9188"/>
                  <a:pt x="12531" y="9157"/>
                </a:cubicBezTo>
                <a:cubicBezTo>
                  <a:pt x="12594" y="9125"/>
                  <a:pt x="12656" y="9125"/>
                  <a:pt x="12719" y="9188"/>
                </a:cubicBezTo>
                <a:close/>
                <a:moveTo>
                  <a:pt x="11781" y="8032"/>
                </a:moveTo>
                <a:cubicBezTo>
                  <a:pt x="11781" y="8032"/>
                  <a:pt x="11781" y="8032"/>
                  <a:pt x="11781" y="8032"/>
                </a:cubicBezTo>
                <a:cubicBezTo>
                  <a:pt x="11813" y="8063"/>
                  <a:pt x="11875" y="8094"/>
                  <a:pt x="11906" y="8063"/>
                </a:cubicBezTo>
                <a:cubicBezTo>
                  <a:pt x="11906" y="8032"/>
                  <a:pt x="11875" y="8032"/>
                  <a:pt x="11844" y="8000"/>
                </a:cubicBezTo>
                <a:cubicBezTo>
                  <a:pt x="11844" y="8000"/>
                  <a:pt x="11813" y="7969"/>
                  <a:pt x="11813" y="7969"/>
                </a:cubicBezTo>
                <a:cubicBezTo>
                  <a:pt x="11844" y="7938"/>
                  <a:pt x="11875" y="7938"/>
                  <a:pt x="11875" y="7938"/>
                </a:cubicBezTo>
                <a:cubicBezTo>
                  <a:pt x="11938" y="8000"/>
                  <a:pt x="12031" y="8032"/>
                  <a:pt x="12125" y="8032"/>
                </a:cubicBezTo>
                <a:cubicBezTo>
                  <a:pt x="12031" y="8125"/>
                  <a:pt x="11969" y="8032"/>
                  <a:pt x="11875" y="8063"/>
                </a:cubicBezTo>
                <a:cubicBezTo>
                  <a:pt x="12000" y="8125"/>
                  <a:pt x="12094" y="8250"/>
                  <a:pt x="12250" y="8282"/>
                </a:cubicBezTo>
                <a:cubicBezTo>
                  <a:pt x="12281" y="8282"/>
                  <a:pt x="12313" y="8282"/>
                  <a:pt x="12313" y="8344"/>
                </a:cubicBezTo>
                <a:cubicBezTo>
                  <a:pt x="12313" y="8375"/>
                  <a:pt x="12250" y="8375"/>
                  <a:pt x="12250" y="8375"/>
                </a:cubicBezTo>
                <a:cubicBezTo>
                  <a:pt x="12063" y="8344"/>
                  <a:pt x="11875" y="8250"/>
                  <a:pt x="11719" y="8157"/>
                </a:cubicBezTo>
                <a:cubicBezTo>
                  <a:pt x="11688" y="8125"/>
                  <a:pt x="11688" y="8094"/>
                  <a:pt x="11625" y="8094"/>
                </a:cubicBezTo>
                <a:cubicBezTo>
                  <a:pt x="11625" y="8063"/>
                  <a:pt x="11594" y="8032"/>
                  <a:pt x="11563" y="8032"/>
                </a:cubicBezTo>
                <a:cubicBezTo>
                  <a:pt x="11563" y="7969"/>
                  <a:pt x="11594" y="7969"/>
                  <a:pt x="11625" y="8000"/>
                </a:cubicBezTo>
                <a:cubicBezTo>
                  <a:pt x="11688" y="8032"/>
                  <a:pt x="11719" y="8032"/>
                  <a:pt x="11781" y="8032"/>
                </a:cubicBezTo>
                <a:close/>
                <a:moveTo>
                  <a:pt x="11969" y="8657"/>
                </a:moveTo>
                <a:cubicBezTo>
                  <a:pt x="11938" y="8688"/>
                  <a:pt x="11906" y="8688"/>
                  <a:pt x="11906" y="8657"/>
                </a:cubicBezTo>
                <a:cubicBezTo>
                  <a:pt x="11875" y="8625"/>
                  <a:pt x="11844" y="8625"/>
                  <a:pt x="11781" y="8594"/>
                </a:cubicBezTo>
                <a:cubicBezTo>
                  <a:pt x="11875" y="8563"/>
                  <a:pt x="11938" y="8563"/>
                  <a:pt x="11969" y="8625"/>
                </a:cubicBezTo>
                <a:cubicBezTo>
                  <a:pt x="12000" y="8625"/>
                  <a:pt x="12000" y="8657"/>
                  <a:pt x="11969" y="8657"/>
                </a:cubicBezTo>
                <a:close/>
                <a:moveTo>
                  <a:pt x="11563" y="8875"/>
                </a:moveTo>
                <a:cubicBezTo>
                  <a:pt x="11625" y="8875"/>
                  <a:pt x="11688" y="8875"/>
                  <a:pt x="11719" y="8938"/>
                </a:cubicBezTo>
                <a:cubicBezTo>
                  <a:pt x="11656" y="8938"/>
                  <a:pt x="11594" y="9032"/>
                  <a:pt x="11563" y="8938"/>
                </a:cubicBezTo>
                <a:cubicBezTo>
                  <a:pt x="11531" y="8938"/>
                  <a:pt x="11531" y="8875"/>
                  <a:pt x="11563" y="8875"/>
                </a:cubicBezTo>
                <a:close/>
                <a:moveTo>
                  <a:pt x="11406" y="8032"/>
                </a:moveTo>
                <a:cubicBezTo>
                  <a:pt x="11406" y="8000"/>
                  <a:pt x="11438" y="7969"/>
                  <a:pt x="11469" y="8000"/>
                </a:cubicBezTo>
                <a:cubicBezTo>
                  <a:pt x="11469" y="8032"/>
                  <a:pt x="11500" y="8063"/>
                  <a:pt x="11531" y="8063"/>
                </a:cubicBezTo>
                <a:cubicBezTo>
                  <a:pt x="11500" y="8063"/>
                  <a:pt x="11531" y="8094"/>
                  <a:pt x="11563" y="8094"/>
                </a:cubicBezTo>
                <a:cubicBezTo>
                  <a:pt x="11563" y="8125"/>
                  <a:pt x="11594" y="8157"/>
                  <a:pt x="11625" y="8125"/>
                </a:cubicBezTo>
                <a:cubicBezTo>
                  <a:pt x="11625" y="8157"/>
                  <a:pt x="11656" y="8219"/>
                  <a:pt x="11594" y="8188"/>
                </a:cubicBezTo>
                <a:cubicBezTo>
                  <a:pt x="11500" y="8157"/>
                  <a:pt x="11438" y="8094"/>
                  <a:pt x="11406" y="8032"/>
                </a:cubicBezTo>
                <a:close/>
                <a:moveTo>
                  <a:pt x="11344" y="7688"/>
                </a:moveTo>
                <a:cubicBezTo>
                  <a:pt x="11344" y="7688"/>
                  <a:pt x="11406" y="7657"/>
                  <a:pt x="11406" y="7657"/>
                </a:cubicBezTo>
                <a:cubicBezTo>
                  <a:pt x="11438" y="7657"/>
                  <a:pt x="11531" y="7688"/>
                  <a:pt x="11531" y="7719"/>
                </a:cubicBezTo>
                <a:cubicBezTo>
                  <a:pt x="11500" y="7875"/>
                  <a:pt x="11625" y="7782"/>
                  <a:pt x="11688" y="7813"/>
                </a:cubicBezTo>
                <a:cubicBezTo>
                  <a:pt x="11719" y="7813"/>
                  <a:pt x="11750" y="7844"/>
                  <a:pt x="11781" y="7813"/>
                </a:cubicBezTo>
                <a:cubicBezTo>
                  <a:pt x="11719" y="7969"/>
                  <a:pt x="11688" y="7969"/>
                  <a:pt x="11563" y="7844"/>
                </a:cubicBezTo>
                <a:cubicBezTo>
                  <a:pt x="11500" y="7782"/>
                  <a:pt x="11469" y="7813"/>
                  <a:pt x="11438" y="7782"/>
                </a:cubicBezTo>
                <a:cubicBezTo>
                  <a:pt x="11406" y="7750"/>
                  <a:pt x="11344" y="7750"/>
                  <a:pt x="11344" y="7688"/>
                </a:cubicBezTo>
                <a:close/>
                <a:moveTo>
                  <a:pt x="11375" y="7844"/>
                </a:moveTo>
                <a:cubicBezTo>
                  <a:pt x="11406" y="7844"/>
                  <a:pt x="11406" y="7875"/>
                  <a:pt x="11406" y="7875"/>
                </a:cubicBezTo>
                <a:cubicBezTo>
                  <a:pt x="11406" y="7875"/>
                  <a:pt x="11375" y="7875"/>
                  <a:pt x="11375" y="7875"/>
                </a:cubicBezTo>
                <a:cubicBezTo>
                  <a:pt x="11375" y="7875"/>
                  <a:pt x="11375" y="7844"/>
                  <a:pt x="11375" y="7844"/>
                </a:cubicBezTo>
                <a:close/>
                <a:moveTo>
                  <a:pt x="11375" y="8032"/>
                </a:moveTo>
                <a:cubicBezTo>
                  <a:pt x="11281" y="8063"/>
                  <a:pt x="11188" y="8063"/>
                  <a:pt x="11156" y="7938"/>
                </a:cubicBezTo>
                <a:cubicBezTo>
                  <a:pt x="11250" y="7907"/>
                  <a:pt x="11313" y="7969"/>
                  <a:pt x="11375" y="8032"/>
                </a:cubicBezTo>
                <a:close/>
                <a:moveTo>
                  <a:pt x="11188" y="9219"/>
                </a:moveTo>
                <a:cubicBezTo>
                  <a:pt x="11219" y="9219"/>
                  <a:pt x="11281" y="9188"/>
                  <a:pt x="11313" y="9250"/>
                </a:cubicBezTo>
                <a:cubicBezTo>
                  <a:pt x="11406" y="9375"/>
                  <a:pt x="11406" y="9407"/>
                  <a:pt x="11219" y="9438"/>
                </a:cubicBezTo>
                <a:cubicBezTo>
                  <a:pt x="11219" y="9375"/>
                  <a:pt x="11250" y="9344"/>
                  <a:pt x="11156" y="9344"/>
                </a:cubicBezTo>
                <a:cubicBezTo>
                  <a:pt x="11094" y="9344"/>
                  <a:pt x="11063" y="9282"/>
                  <a:pt x="11094" y="9250"/>
                </a:cubicBezTo>
                <a:cubicBezTo>
                  <a:pt x="11094" y="9188"/>
                  <a:pt x="11156" y="9219"/>
                  <a:pt x="11188" y="9219"/>
                </a:cubicBezTo>
                <a:close/>
                <a:moveTo>
                  <a:pt x="11125" y="9407"/>
                </a:moveTo>
                <a:cubicBezTo>
                  <a:pt x="11156" y="9438"/>
                  <a:pt x="11188" y="9469"/>
                  <a:pt x="11219" y="9438"/>
                </a:cubicBezTo>
                <a:cubicBezTo>
                  <a:pt x="11188" y="9500"/>
                  <a:pt x="11156" y="9500"/>
                  <a:pt x="11125" y="9532"/>
                </a:cubicBezTo>
                <a:cubicBezTo>
                  <a:pt x="11094" y="9532"/>
                  <a:pt x="11063" y="9563"/>
                  <a:pt x="11000" y="9532"/>
                </a:cubicBezTo>
                <a:cubicBezTo>
                  <a:pt x="10969" y="9500"/>
                  <a:pt x="11031" y="9469"/>
                  <a:pt x="11031" y="9438"/>
                </a:cubicBezTo>
                <a:cubicBezTo>
                  <a:pt x="11063" y="9375"/>
                  <a:pt x="11094" y="9407"/>
                  <a:pt x="11125" y="9407"/>
                </a:cubicBezTo>
                <a:close/>
                <a:moveTo>
                  <a:pt x="10281" y="7782"/>
                </a:moveTo>
                <a:cubicBezTo>
                  <a:pt x="10313" y="7875"/>
                  <a:pt x="10375" y="7907"/>
                  <a:pt x="10438" y="7907"/>
                </a:cubicBezTo>
                <a:cubicBezTo>
                  <a:pt x="10656" y="7907"/>
                  <a:pt x="10813" y="8032"/>
                  <a:pt x="10969" y="8125"/>
                </a:cubicBezTo>
                <a:cubicBezTo>
                  <a:pt x="11031" y="8125"/>
                  <a:pt x="11031" y="8188"/>
                  <a:pt x="11063" y="8250"/>
                </a:cubicBezTo>
                <a:cubicBezTo>
                  <a:pt x="10938" y="8188"/>
                  <a:pt x="10813" y="8125"/>
                  <a:pt x="10688" y="8063"/>
                </a:cubicBezTo>
                <a:cubicBezTo>
                  <a:pt x="10563" y="8000"/>
                  <a:pt x="10469" y="7938"/>
                  <a:pt x="10344" y="7938"/>
                </a:cubicBezTo>
                <a:cubicBezTo>
                  <a:pt x="10219" y="7938"/>
                  <a:pt x="10250" y="7813"/>
                  <a:pt x="10125" y="7782"/>
                </a:cubicBezTo>
                <a:cubicBezTo>
                  <a:pt x="10219" y="7750"/>
                  <a:pt x="10250" y="7750"/>
                  <a:pt x="10281" y="7782"/>
                </a:cubicBezTo>
                <a:close/>
                <a:moveTo>
                  <a:pt x="9969" y="7438"/>
                </a:moveTo>
                <a:cubicBezTo>
                  <a:pt x="9969" y="7563"/>
                  <a:pt x="9875" y="7500"/>
                  <a:pt x="9813" y="7500"/>
                </a:cubicBezTo>
                <a:cubicBezTo>
                  <a:pt x="9813" y="7375"/>
                  <a:pt x="9906" y="7438"/>
                  <a:pt x="9969" y="7438"/>
                </a:cubicBezTo>
                <a:close/>
                <a:moveTo>
                  <a:pt x="7594" y="6500"/>
                </a:moveTo>
                <a:cubicBezTo>
                  <a:pt x="7625" y="6500"/>
                  <a:pt x="7656" y="6500"/>
                  <a:pt x="7688" y="6500"/>
                </a:cubicBezTo>
                <a:cubicBezTo>
                  <a:pt x="7688" y="6500"/>
                  <a:pt x="7688" y="6500"/>
                  <a:pt x="7688" y="6500"/>
                </a:cubicBezTo>
                <a:cubicBezTo>
                  <a:pt x="7750" y="6500"/>
                  <a:pt x="7813" y="6500"/>
                  <a:pt x="7875" y="6500"/>
                </a:cubicBezTo>
                <a:cubicBezTo>
                  <a:pt x="7938" y="6500"/>
                  <a:pt x="7969" y="6563"/>
                  <a:pt x="7969" y="6594"/>
                </a:cubicBezTo>
                <a:cubicBezTo>
                  <a:pt x="7938" y="6625"/>
                  <a:pt x="7938" y="6750"/>
                  <a:pt x="7813" y="6688"/>
                </a:cubicBezTo>
                <a:cubicBezTo>
                  <a:pt x="7750" y="6657"/>
                  <a:pt x="7656" y="6688"/>
                  <a:pt x="7594" y="6657"/>
                </a:cubicBezTo>
                <a:cubicBezTo>
                  <a:pt x="7500" y="6657"/>
                  <a:pt x="7438" y="6625"/>
                  <a:pt x="7438" y="6563"/>
                </a:cubicBezTo>
                <a:cubicBezTo>
                  <a:pt x="7438" y="6469"/>
                  <a:pt x="7531" y="6500"/>
                  <a:pt x="7594" y="6500"/>
                </a:cubicBezTo>
                <a:close/>
                <a:moveTo>
                  <a:pt x="7500" y="6375"/>
                </a:moveTo>
                <a:cubicBezTo>
                  <a:pt x="7375" y="6532"/>
                  <a:pt x="7219" y="6500"/>
                  <a:pt x="7063" y="6469"/>
                </a:cubicBezTo>
                <a:cubicBezTo>
                  <a:pt x="7031" y="6438"/>
                  <a:pt x="7000" y="6438"/>
                  <a:pt x="6969" y="6469"/>
                </a:cubicBezTo>
                <a:cubicBezTo>
                  <a:pt x="6875" y="6500"/>
                  <a:pt x="6781" y="6532"/>
                  <a:pt x="6688" y="6438"/>
                </a:cubicBezTo>
                <a:cubicBezTo>
                  <a:pt x="6688" y="6407"/>
                  <a:pt x="6656" y="6438"/>
                  <a:pt x="6656" y="6438"/>
                </a:cubicBezTo>
                <a:cubicBezTo>
                  <a:pt x="6563" y="6438"/>
                  <a:pt x="6563" y="6375"/>
                  <a:pt x="6594" y="6344"/>
                </a:cubicBezTo>
                <a:cubicBezTo>
                  <a:pt x="6594" y="6282"/>
                  <a:pt x="6594" y="6250"/>
                  <a:pt x="6656" y="6282"/>
                </a:cubicBezTo>
                <a:cubicBezTo>
                  <a:pt x="6938" y="6375"/>
                  <a:pt x="7219" y="6344"/>
                  <a:pt x="7500" y="6375"/>
                </a:cubicBezTo>
                <a:close/>
                <a:moveTo>
                  <a:pt x="7281" y="6594"/>
                </a:moveTo>
                <a:cubicBezTo>
                  <a:pt x="7188" y="6719"/>
                  <a:pt x="7094" y="6625"/>
                  <a:pt x="7000" y="6563"/>
                </a:cubicBezTo>
                <a:cubicBezTo>
                  <a:pt x="7094" y="6563"/>
                  <a:pt x="7188" y="6594"/>
                  <a:pt x="7281" y="6594"/>
                </a:cubicBezTo>
                <a:close/>
                <a:moveTo>
                  <a:pt x="6344" y="6000"/>
                </a:moveTo>
                <a:cubicBezTo>
                  <a:pt x="6344" y="6000"/>
                  <a:pt x="6313" y="5969"/>
                  <a:pt x="6344" y="5938"/>
                </a:cubicBezTo>
                <a:cubicBezTo>
                  <a:pt x="6375" y="5907"/>
                  <a:pt x="6375" y="5969"/>
                  <a:pt x="6375" y="5969"/>
                </a:cubicBezTo>
                <a:cubicBezTo>
                  <a:pt x="6438" y="6000"/>
                  <a:pt x="6469" y="6000"/>
                  <a:pt x="6531" y="6000"/>
                </a:cubicBezTo>
                <a:cubicBezTo>
                  <a:pt x="6563" y="5969"/>
                  <a:pt x="6625" y="5938"/>
                  <a:pt x="6594" y="6032"/>
                </a:cubicBezTo>
                <a:cubicBezTo>
                  <a:pt x="6563" y="6094"/>
                  <a:pt x="6625" y="6063"/>
                  <a:pt x="6656" y="6094"/>
                </a:cubicBezTo>
                <a:cubicBezTo>
                  <a:pt x="6719" y="6094"/>
                  <a:pt x="6813" y="6094"/>
                  <a:pt x="6875" y="6157"/>
                </a:cubicBezTo>
                <a:cubicBezTo>
                  <a:pt x="6719" y="6250"/>
                  <a:pt x="6594" y="6157"/>
                  <a:pt x="6469" y="6157"/>
                </a:cubicBezTo>
                <a:cubicBezTo>
                  <a:pt x="6438" y="6094"/>
                  <a:pt x="6406" y="6094"/>
                  <a:pt x="6375" y="6094"/>
                </a:cubicBezTo>
                <a:cubicBezTo>
                  <a:pt x="6375" y="6125"/>
                  <a:pt x="6375" y="6125"/>
                  <a:pt x="6375" y="6125"/>
                </a:cubicBezTo>
                <a:cubicBezTo>
                  <a:pt x="6406" y="6157"/>
                  <a:pt x="6406" y="6157"/>
                  <a:pt x="6438" y="6157"/>
                </a:cubicBezTo>
                <a:cubicBezTo>
                  <a:pt x="6438" y="6188"/>
                  <a:pt x="6469" y="6250"/>
                  <a:pt x="6375" y="6250"/>
                </a:cubicBezTo>
                <a:cubicBezTo>
                  <a:pt x="6313" y="6219"/>
                  <a:pt x="6250" y="6250"/>
                  <a:pt x="6156" y="6250"/>
                </a:cubicBezTo>
                <a:cubicBezTo>
                  <a:pt x="6188" y="6188"/>
                  <a:pt x="6188" y="6125"/>
                  <a:pt x="6250" y="6063"/>
                </a:cubicBezTo>
                <a:cubicBezTo>
                  <a:pt x="6031" y="6094"/>
                  <a:pt x="6094" y="5969"/>
                  <a:pt x="6063" y="5875"/>
                </a:cubicBezTo>
                <a:cubicBezTo>
                  <a:pt x="6156" y="5875"/>
                  <a:pt x="6156" y="5938"/>
                  <a:pt x="6219" y="6000"/>
                </a:cubicBezTo>
                <a:cubicBezTo>
                  <a:pt x="6250" y="6032"/>
                  <a:pt x="6313" y="6063"/>
                  <a:pt x="6344" y="6000"/>
                </a:cubicBezTo>
                <a:close/>
                <a:moveTo>
                  <a:pt x="6031" y="6594"/>
                </a:moveTo>
                <a:cubicBezTo>
                  <a:pt x="5969" y="6594"/>
                  <a:pt x="5906" y="6594"/>
                  <a:pt x="5844" y="6563"/>
                </a:cubicBezTo>
                <a:cubicBezTo>
                  <a:pt x="5813" y="6563"/>
                  <a:pt x="5719" y="6625"/>
                  <a:pt x="5719" y="6500"/>
                </a:cubicBezTo>
                <a:cubicBezTo>
                  <a:pt x="5719" y="6500"/>
                  <a:pt x="5625" y="6500"/>
                  <a:pt x="5594" y="6500"/>
                </a:cubicBezTo>
                <a:cubicBezTo>
                  <a:pt x="5531" y="6500"/>
                  <a:pt x="5500" y="6500"/>
                  <a:pt x="5438" y="6500"/>
                </a:cubicBezTo>
                <a:cubicBezTo>
                  <a:pt x="5406" y="6407"/>
                  <a:pt x="5563" y="6438"/>
                  <a:pt x="5531" y="6313"/>
                </a:cubicBezTo>
                <a:cubicBezTo>
                  <a:pt x="5719" y="6375"/>
                  <a:pt x="5906" y="6407"/>
                  <a:pt x="6031" y="6563"/>
                </a:cubicBezTo>
                <a:cubicBezTo>
                  <a:pt x="6188" y="6563"/>
                  <a:pt x="6281" y="6625"/>
                  <a:pt x="6375" y="6719"/>
                </a:cubicBezTo>
                <a:cubicBezTo>
                  <a:pt x="6438" y="6750"/>
                  <a:pt x="6469" y="6750"/>
                  <a:pt x="6531" y="6750"/>
                </a:cubicBezTo>
                <a:cubicBezTo>
                  <a:pt x="6625" y="6750"/>
                  <a:pt x="6688" y="6782"/>
                  <a:pt x="6719" y="6844"/>
                </a:cubicBezTo>
                <a:cubicBezTo>
                  <a:pt x="6656" y="6938"/>
                  <a:pt x="6563" y="6938"/>
                  <a:pt x="6438" y="6907"/>
                </a:cubicBezTo>
                <a:cubicBezTo>
                  <a:pt x="6375" y="6875"/>
                  <a:pt x="6313" y="6813"/>
                  <a:pt x="6281" y="6813"/>
                </a:cubicBezTo>
                <a:cubicBezTo>
                  <a:pt x="6188" y="6782"/>
                  <a:pt x="6188" y="6719"/>
                  <a:pt x="6250" y="6688"/>
                </a:cubicBezTo>
                <a:cubicBezTo>
                  <a:pt x="6156" y="6657"/>
                  <a:pt x="6063" y="6657"/>
                  <a:pt x="6031" y="6594"/>
                </a:cubicBezTo>
                <a:close/>
                <a:moveTo>
                  <a:pt x="5313" y="6282"/>
                </a:moveTo>
                <a:cubicBezTo>
                  <a:pt x="5406" y="6250"/>
                  <a:pt x="5469" y="6250"/>
                  <a:pt x="5531" y="6313"/>
                </a:cubicBezTo>
                <a:cubicBezTo>
                  <a:pt x="5469" y="6344"/>
                  <a:pt x="5406" y="6375"/>
                  <a:pt x="5344" y="6375"/>
                </a:cubicBezTo>
                <a:cubicBezTo>
                  <a:pt x="5313" y="6375"/>
                  <a:pt x="5250" y="6407"/>
                  <a:pt x="5250" y="6344"/>
                </a:cubicBezTo>
                <a:cubicBezTo>
                  <a:pt x="5250" y="6313"/>
                  <a:pt x="5281" y="6313"/>
                  <a:pt x="5313" y="6282"/>
                </a:cubicBezTo>
                <a:close/>
                <a:moveTo>
                  <a:pt x="5313" y="6125"/>
                </a:moveTo>
                <a:cubicBezTo>
                  <a:pt x="5313" y="6094"/>
                  <a:pt x="5313" y="6063"/>
                  <a:pt x="5344" y="6063"/>
                </a:cubicBezTo>
                <a:cubicBezTo>
                  <a:pt x="5406" y="6063"/>
                  <a:pt x="5469" y="6063"/>
                  <a:pt x="5531" y="6063"/>
                </a:cubicBezTo>
                <a:cubicBezTo>
                  <a:pt x="5500" y="6188"/>
                  <a:pt x="5406" y="6157"/>
                  <a:pt x="5313" y="6157"/>
                </a:cubicBezTo>
                <a:cubicBezTo>
                  <a:pt x="5313" y="6157"/>
                  <a:pt x="5313" y="6125"/>
                  <a:pt x="5313" y="6125"/>
                </a:cubicBezTo>
                <a:close/>
                <a:moveTo>
                  <a:pt x="5688" y="6157"/>
                </a:moveTo>
                <a:cubicBezTo>
                  <a:pt x="5719" y="6157"/>
                  <a:pt x="5750" y="6125"/>
                  <a:pt x="5781" y="6157"/>
                </a:cubicBezTo>
                <a:cubicBezTo>
                  <a:pt x="5906" y="6219"/>
                  <a:pt x="6031" y="6282"/>
                  <a:pt x="6156" y="6250"/>
                </a:cubicBezTo>
                <a:cubicBezTo>
                  <a:pt x="6156" y="6282"/>
                  <a:pt x="6125" y="6375"/>
                  <a:pt x="6031" y="6313"/>
                </a:cubicBezTo>
                <a:cubicBezTo>
                  <a:pt x="5938" y="6250"/>
                  <a:pt x="5844" y="6282"/>
                  <a:pt x="5750" y="6250"/>
                </a:cubicBezTo>
                <a:cubicBezTo>
                  <a:pt x="5719" y="6250"/>
                  <a:pt x="5688" y="6219"/>
                  <a:pt x="5656" y="6188"/>
                </a:cubicBezTo>
                <a:cubicBezTo>
                  <a:pt x="5656" y="6157"/>
                  <a:pt x="5688" y="6157"/>
                  <a:pt x="5688" y="6157"/>
                </a:cubicBezTo>
                <a:close/>
                <a:moveTo>
                  <a:pt x="6188" y="5500"/>
                </a:moveTo>
                <a:cubicBezTo>
                  <a:pt x="6094" y="5438"/>
                  <a:pt x="6000" y="5407"/>
                  <a:pt x="5906" y="5375"/>
                </a:cubicBezTo>
                <a:cubicBezTo>
                  <a:pt x="6000" y="5313"/>
                  <a:pt x="6156" y="5344"/>
                  <a:pt x="6188" y="5500"/>
                </a:cubicBezTo>
                <a:close/>
                <a:moveTo>
                  <a:pt x="5906" y="5813"/>
                </a:moveTo>
                <a:cubicBezTo>
                  <a:pt x="5906" y="5844"/>
                  <a:pt x="5875" y="5875"/>
                  <a:pt x="5844" y="5875"/>
                </a:cubicBezTo>
                <a:cubicBezTo>
                  <a:pt x="5844" y="5907"/>
                  <a:pt x="5813" y="5907"/>
                  <a:pt x="5813" y="5875"/>
                </a:cubicBezTo>
                <a:cubicBezTo>
                  <a:pt x="5719" y="5782"/>
                  <a:pt x="5719" y="5782"/>
                  <a:pt x="5594" y="5782"/>
                </a:cubicBezTo>
                <a:cubicBezTo>
                  <a:pt x="5625" y="5844"/>
                  <a:pt x="5688" y="5844"/>
                  <a:pt x="5688" y="5907"/>
                </a:cubicBezTo>
                <a:cubicBezTo>
                  <a:pt x="5594" y="5875"/>
                  <a:pt x="5469" y="5938"/>
                  <a:pt x="5438" y="5782"/>
                </a:cubicBezTo>
                <a:cubicBezTo>
                  <a:pt x="5469" y="5750"/>
                  <a:pt x="5594" y="5813"/>
                  <a:pt x="5594" y="5688"/>
                </a:cubicBezTo>
                <a:cubicBezTo>
                  <a:pt x="5594" y="5657"/>
                  <a:pt x="5875" y="5750"/>
                  <a:pt x="5906" y="5813"/>
                </a:cubicBezTo>
                <a:close/>
                <a:moveTo>
                  <a:pt x="6250" y="4532"/>
                </a:moveTo>
                <a:cubicBezTo>
                  <a:pt x="6344" y="4532"/>
                  <a:pt x="6406" y="4532"/>
                  <a:pt x="6469" y="4625"/>
                </a:cubicBezTo>
                <a:cubicBezTo>
                  <a:pt x="6375" y="4657"/>
                  <a:pt x="6313" y="4657"/>
                  <a:pt x="6250" y="4625"/>
                </a:cubicBezTo>
                <a:cubicBezTo>
                  <a:pt x="6219" y="4625"/>
                  <a:pt x="6188" y="4594"/>
                  <a:pt x="6188" y="4563"/>
                </a:cubicBezTo>
                <a:cubicBezTo>
                  <a:pt x="6188" y="4532"/>
                  <a:pt x="6219" y="4532"/>
                  <a:pt x="6250" y="4532"/>
                </a:cubicBezTo>
                <a:close/>
                <a:moveTo>
                  <a:pt x="6531" y="4875"/>
                </a:moveTo>
                <a:cubicBezTo>
                  <a:pt x="6719" y="4938"/>
                  <a:pt x="6938" y="5032"/>
                  <a:pt x="7156" y="5000"/>
                </a:cubicBezTo>
                <a:cubicBezTo>
                  <a:pt x="7188" y="5000"/>
                  <a:pt x="7219" y="5000"/>
                  <a:pt x="7219" y="5063"/>
                </a:cubicBezTo>
                <a:cubicBezTo>
                  <a:pt x="7219" y="5094"/>
                  <a:pt x="7219" y="5125"/>
                  <a:pt x="7156" y="5094"/>
                </a:cubicBezTo>
                <a:cubicBezTo>
                  <a:pt x="7094" y="5094"/>
                  <a:pt x="7125" y="5125"/>
                  <a:pt x="7125" y="5157"/>
                </a:cubicBezTo>
                <a:cubicBezTo>
                  <a:pt x="7250" y="5157"/>
                  <a:pt x="7344" y="5219"/>
                  <a:pt x="7469" y="5250"/>
                </a:cubicBezTo>
                <a:cubicBezTo>
                  <a:pt x="7563" y="5282"/>
                  <a:pt x="7625" y="5313"/>
                  <a:pt x="7750" y="5313"/>
                </a:cubicBezTo>
                <a:cubicBezTo>
                  <a:pt x="7813" y="5313"/>
                  <a:pt x="7844" y="5407"/>
                  <a:pt x="7906" y="5438"/>
                </a:cubicBezTo>
                <a:cubicBezTo>
                  <a:pt x="7938" y="5438"/>
                  <a:pt x="7938" y="5469"/>
                  <a:pt x="7906" y="5469"/>
                </a:cubicBezTo>
                <a:cubicBezTo>
                  <a:pt x="7906" y="5500"/>
                  <a:pt x="7875" y="5500"/>
                  <a:pt x="7844" y="5500"/>
                </a:cubicBezTo>
                <a:cubicBezTo>
                  <a:pt x="7563" y="5469"/>
                  <a:pt x="7344" y="5344"/>
                  <a:pt x="7125" y="5219"/>
                </a:cubicBezTo>
                <a:cubicBezTo>
                  <a:pt x="6969" y="5157"/>
                  <a:pt x="6781" y="5125"/>
                  <a:pt x="6656" y="5032"/>
                </a:cubicBezTo>
                <a:cubicBezTo>
                  <a:pt x="6469" y="4938"/>
                  <a:pt x="6313" y="4875"/>
                  <a:pt x="6125" y="4844"/>
                </a:cubicBezTo>
                <a:cubicBezTo>
                  <a:pt x="6031" y="4844"/>
                  <a:pt x="5875" y="4813"/>
                  <a:pt x="5875" y="4657"/>
                </a:cubicBezTo>
                <a:cubicBezTo>
                  <a:pt x="6094" y="4719"/>
                  <a:pt x="6313" y="4782"/>
                  <a:pt x="6531" y="4875"/>
                </a:cubicBezTo>
                <a:close/>
                <a:moveTo>
                  <a:pt x="5656" y="4563"/>
                </a:moveTo>
                <a:cubicBezTo>
                  <a:pt x="5688" y="4594"/>
                  <a:pt x="5750" y="4563"/>
                  <a:pt x="5781" y="4594"/>
                </a:cubicBezTo>
                <a:cubicBezTo>
                  <a:pt x="5656" y="4657"/>
                  <a:pt x="5625" y="4657"/>
                  <a:pt x="5531" y="4532"/>
                </a:cubicBezTo>
                <a:cubicBezTo>
                  <a:pt x="5563" y="4532"/>
                  <a:pt x="5625" y="4532"/>
                  <a:pt x="5656" y="4563"/>
                </a:cubicBezTo>
                <a:close/>
                <a:moveTo>
                  <a:pt x="5250" y="4188"/>
                </a:moveTo>
                <a:cubicBezTo>
                  <a:pt x="5250" y="4250"/>
                  <a:pt x="5313" y="4250"/>
                  <a:pt x="5344" y="4250"/>
                </a:cubicBezTo>
                <a:cubicBezTo>
                  <a:pt x="5406" y="4250"/>
                  <a:pt x="5469" y="4219"/>
                  <a:pt x="5531" y="4313"/>
                </a:cubicBezTo>
                <a:cubicBezTo>
                  <a:pt x="5344" y="4313"/>
                  <a:pt x="5219" y="4313"/>
                  <a:pt x="5094" y="4188"/>
                </a:cubicBezTo>
                <a:cubicBezTo>
                  <a:pt x="5156" y="4125"/>
                  <a:pt x="5219" y="4094"/>
                  <a:pt x="5250" y="4188"/>
                </a:cubicBezTo>
                <a:close/>
                <a:moveTo>
                  <a:pt x="5438" y="4500"/>
                </a:moveTo>
                <a:cubicBezTo>
                  <a:pt x="5281" y="4500"/>
                  <a:pt x="5188" y="4438"/>
                  <a:pt x="5063" y="4407"/>
                </a:cubicBezTo>
                <a:cubicBezTo>
                  <a:pt x="5250" y="4344"/>
                  <a:pt x="5313" y="4375"/>
                  <a:pt x="5438" y="4500"/>
                </a:cubicBezTo>
                <a:close/>
                <a:moveTo>
                  <a:pt x="4594" y="5469"/>
                </a:moveTo>
                <a:cubicBezTo>
                  <a:pt x="4469" y="5563"/>
                  <a:pt x="4406" y="5438"/>
                  <a:pt x="4313" y="5469"/>
                </a:cubicBezTo>
                <a:cubicBezTo>
                  <a:pt x="4406" y="5407"/>
                  <a:pt x="4500" y="5469"/>
                  <a:pt x="4594" y="5469"/>
                </a:cubicBezTo>
                <a:close/>
                <a:moveTo>
                  <a:pt x="4406" y="5282"/>
                </a:moveTo>
                <a:cubicBezTo>
                  <a:pt x="4375" y="5313"/>
                  <a:pt x="4344" y="5313"/>
                  <a:pt x="4313" y="5282"/>
                </a:cubicBezTo>
                <a:cubicBezTo>
                  <a:pt x="4344" y="5282"/>
                  <a:pt x="4375" y="5282"/>
                  <a:pt x="4406" y="5282"/>
                </a:cubicBezTo>
                <a:close/>
                <a:moveTo>
                  <a:pt x="4250" y="5719"/>
                </a:moveTo>
                <a:cubicBezTo>
                  <a:pt x="4250" y="5719"/>
                  <a:pt x="4250" y="5657"/>
                  <a:pt x="4219" y="5625"/>
                </a:cubicBezTo>
                <a:cubicBezTo>
                  <a:pt x="4219" y="5594"/>
                  <a:pt x="4250" y="5594"/>
                  <a:pt x="4281" y="5594"/>
                </a:cubicBezTo>
                <a:cubicBezTo>
                  <a:pt x="4375" y="5625"/>
                  <a:pt x="4500" y="5657"/>
                  <a:pt x="4594" y="5750"/>
                </a:cubicBezTo>
                <a:cubicBezTo>
                  <a:pt x="4469" y="5813"/>
                  <a:pt x="4375" y="5657"/>
                  <a:pt x="4250" y="5719"/>
                </a:cubicBezTo>
                <a:close/>
                <a:moveTo>
                  <a:pt x="4281" y="6000"/>
                </a:moveTo>
                <a:cubicBezTo>
                  <a:pt x="4281" y="5969"/>
                  <a:pt x="4281" y="5969"/>
                  <a:pt x="4281" y="5938"/>
                </a:cubicBezTo>
                <a:cubicBezTo>
                  <a:pt x="4313" y="5907"/>
                  <a:pt x="4344" y="5907"/>
                  <a:pt x="4406" y="5938"/>
                </a:cubicBezTo>
                <a:cubicBezTo>
                  <a:pt x="4438" y="5938"/>
                  <a:pt x="4469" y="5969"/>
                  <a:pt x="4531" y="5969"/>
                </a:cubicBezTo>
                <a:cubicBezTo>
                  <a:pt x="4563" y="5969"/>
                  <a:pt x="4625" y="5969"/>
                  <a:pt x="4656" y="6000"/>
                </a:cubicBezTo>
                <a:cubicBezTo>
                  <a:pt x="4594" y="6063"/>
                  <a:pt x="4313" y="6063"/>
                  <a:pt x="4281" y="6000"/>
                </a:cubicBezTo>
                <a:close/>
                <a:moveTo>
                  <a:pt x="4688" y="5063"/>
                </a:moveTo>
                <a:cubicBezTo>
                  <a:pt x="4656" y="4907"/>
                  <a:pt x="4688" y="4875"/>
                  <a:pt x="4844" y="4907"/>
                </a:cubicBezTo>
                <a:cubicBezTo>
                  <a:pt x="5063" y="4969"/>
                  <a:pt x="5281" y="5063"/>
                  <a:pt x="5531" y="5157"/>
                </a:cubicBezTo>
                <a:cubicBezTo>
                  <a:pt x="5625" y="5188"/>
                  <a:pt x="5719" y="5250"/>
                  <a:pt x="5813" y="5282"/>
                </a:cubicBezTo>
                <a:cubicBezTo>
                  <a:pt x="5656" y="5313"/>
                  <a:pt x="5469" y="5282"/>
                  <a:pt x="5344" y="5188"/>
                </a:cubicBezTo>
                <a:cubicBezTo>
                  <a:pt x="5281" y="5157"/>
                  <a:pt x="5250" y="5125"/>
                  <a:pt x="5188" y="5157"/>
                </a:cubicBezTo>
                <a:cubicBezTo>
                  <a:pt x="5156" y="5188"/>
                  <a:pt x="5125" y="5219"/>
                  <a:pt x="5094" y="5188"/>
                </a:cubicBezTo>
                <a:cubicBezTo>
                  <a:pt x="5031" y="5125"/>
                  <a:pt x="5125" y="5125"/>
                  <a:pt x="5125" y="5094"/>
                </a:cubicBezTo>
                <a:cubicBezTo>
                  <a:pt x="5125" y="5094"/>
                  <a:pt x="5125" y="5063"/>
                  <a:pt x="5094" y="5063"/>
                </a:cubicBezTo>
                <a:cubicBezTo>
                  <a:pt x="5031" y="5000"/>
                  <a:pt x="4844" y="5000"/>
                  <a:pt x="4750" y="5094"/>
                </a:cubicBezTo>
                <a:cubicBezTo>
                  <a:pt x="4750" y="5094"/>
                  <a:pt x="4719" y="5157"/>
                  <a:pt x="4688" y="5125"/>
                </a:cubicBezTo>
                <a:cubicBezTo>
                  <a:pt x="4656" y="5125"/>
                  <a:pt x="4688" y="5094"/>
                  <a:pt x="4688" y="5063"/>
                </a:cubicBezTo>
                <a:close/>
                <a:moveTo>
                  <a:pt x="4688" y="5407"/>
                </a:moveTo>
                <a:cubicBezTo>
                  <a:pt x="4906" y="5438"/>
                  <a:pt x="5094" y="5500"/>
                  <a:pt x="5313" y="5532"/>
                </a:cubicBezTo>
                <a:cubicBezTo>
                  <a:pt x="5344" y="5532"/>
                  <a:pt x="5406" y="5594"/>
                  <a:pt x="5406" y="5625"/>
                </a:cubicBezTo>
                <a:cubicBezTo>
                  <a:pt x="5438" y="5688"/>
                  <a:pt x="5375" y="5688"/>
                  <a:pt x="5344" y="5657"/>
                </a:cubicBezTo>
                <a:cubicBezTo>
                  <a:pt x="5219" y="5563"/>
                  <a:pt x="5063" y="5563"/>
                  <a:pt x="4906" y="5563"/>
                </a:cubicBezTo>
                <a:cubicBezTo>
                  <a:pt x="4813" y="5563"/>
                  <a:pt x="4781" y="5438"/>
                  <a:pt x="4688" y="5407"/>
                </a:cubicBezTo>
                <a:close/>
                <a:moveTo>
                  <a:pt x="4938" y="6375"/>
                </a:moveTo>
                <a:cubicBezTo>
                  <a:pt x="4938" y="6313"/>
                  <a:pt x="4906" y="6282"/>
                  <a:pt x="4969" y="6250"/>
                </a:cubicBezTo>
                <a:cubicBezTo>
                  <a:pt x="5000" y="6219"/>
                  <a:pt x="5063" y="6188"/>
                  <a:pt x="5094" y="6157"/>
                </a:cubicBezTo>
                <a:cubicBezTo>
                  <a:pt x="5125" y="6094"/>
                  <a:pt x="5156" y="6157"/>
                  <a:pt x="5156" y="6157"/>
                </a:cubicBezTo>
                <a:cubicBezTo>
                  <a:pt x="5188" y="6188"/>
                  <a:pt x="5188" y="6219"/>
                  <a:pt x="5156" y="6219"/>
                </a:cubicBezTo>
                <a:cubicBezTo>
                  <a:pt x="5031" y="6250"/>
                  <a:pt x="5000" y="6282"/>
                  <a:pt x="5000" y="6375"/>
                </a:cubicBezTo>
                <a:cubicBezTo>
                  <a:pt x="5000" y="6375"/>
                  <a:pt x="4969" y="6407"/>
                  <a:pt x="4969" y="6407"/>
                </a:cubicBezTo>
                <a:cubicBezTo>
                  <a:pt x="4938" y="6407"/>
                  <a:pt x="4938" y="6407"/>
                  <a:pt x="4938" y="6375"/>
                </a:cubicBezTo>
                <a:close/>
                <a:moveTo>
                  <a:pt x="5281" y="6844"/>
                </a:moveTo>
                <a:cubicBezTo>
                  <a:pt x="5250" y="6875"/>
                  <a:pt x="5219" y="6844"/>
                  <a:pt x="5188" y="6844"/>
                </a:cubicBezTo>
                <a:cubicBezTo>
                  <a:pt x="5094" y="6875"/>
                  <a:pt x="5031" y="6813"/>
                  <a:pt x="4938" y="6750"/>
                </a:cubicBezTo>
                <a:cubicBezTo>
                  <a:pt x="5063" y="6719"/>
                  <a:pt x="5125" y="6750"/>
                  <a:pt x="5219" y="6750"/>
                </a:cubicBezTo>
                <a:cubicBezTo>
                  <a:pt x="5281" y="6750"/>
                  <a:pt x="5281" y="6813"/>
                  <a:pt x="5281" y="6844"/>
                </a:cubicBezTo>
                <a:close/>
                <a:moveTo>
                  <a:pt x="5438" y="6688"/>
                </a:moveTo>
                <a:cubicBezTo>
                  <a:pt x="5344" y="6625"/>
                  <a:pt x="5250" y="6688"/>
                  <a:pt x="5156" y="6657"/>
                </a:cubicBezTo>
                <a:cubicBezTo>
                  <a:pt x="5094" y="6657"/>
                  <a:pt x="5031" y="6688"/>
                  <a:pt x="5000" y="6625"/>
                </a:cubicBezTo>
                <a:cubicBezTo>
                  <a:pt x="4969" y="6594"/>
                  <a:pt x="5000" y="6594"/>
                  <a:pt x="5000" y="6563"/>
                </a:cubicBezTo>
                <a:cubicBezTo>
                  <a:pt x="5063" y="6563"/>
                  <a:pt x="5125" y="6500"/>
                  <a:pt x="5219" y="6532"/>
                </a:cubicBezTo>
                <a:cubicBezTo>
                  <a:pt x="5281" y="6594"/>
                  <a:pt x="5344" y="6594"/>
                  <a:pt x="5438" y="6657"/>
                </a:cubicBezTo>
                <a:cubicBezTo>
                  <a:pt x="5656" y="6657"/>
                  <a:pt x="5844" y="6875"/>
                  <a:pt x="6094" y="6875"/>
                </a:cubicBezTo>
                <a:cubicBezTo>
                  <a:pt x="6094" y="6875"/>
                  <a:pt x="6156" y="6907"/>
                  <a:pt x="6219" y="6938"/>
                </a:cubicBezTo>
                <a:cubicBezTo>
                  <a:pt x="6250" y="6938"/>
                  <a:pt x="6250" y="7000"/>
                  <a:pt x="6250" y="7032"/>
                </a:cubicBezTo>
                <a:cubicBezTo>
                  <a:pt x="6219" y="7094"/>
                  <a:pt x="6156" y="7094"/>
                  <a:pt x="6125" y="7094"/>
                </a:cubicBezTo>
                <a:cubicBezTo>
                  <a:pt x="6063" y="7157"/>
                  <a:pt x="6000" y="7125"/>
                  <a:pt x="5969" y="7094"/>
                </a:cubicBezTo>
                <a:cubicBezTo>
                  <a:pt x="5938" y="7032"/>
                  <a:pt x="6031" y="7063"/>
                  <a:pt x="6031" y="7000"/>
                </a:cubicBezTo>
                <a:cubicBezTo>
                  <a:pt x="5906" y="7000"/>
                  <a:pt x="5750" y="7032"/>
                  <a:pt x="5719" y="6844"/>
                </a:cubicBezTo>
                <a:cubicBezTo>
                  <a:pt x="5719" y="6813"/>
                  <a:pt x="5656" y="6844"/>
                  <a:pt x="5625" y="6844"/>
                </a:cubicBezTo>
                <a:cubicBezTo>
                  <a:pt x="5531" y="6813"/>
                  <a:pt x="5438" y="6813"/>
                  <a:pt x="5438" y="6688"/>
                </a:cubicBezTo>
                <a:close/>
                <a:moveTo>
                  <a:pt x="6094" y="7250"/>
                </a:moveTo>
                <a:cubicBezTo>
                  <a:pt x="6063" y="7250"/>
                  <a:pt x="6031" y="7282"/>
                  <a:pt x="6000" y="7282"/>
                </a:cubicBezTo>
                <a:cubicBezTo>
                  <a:pt x="5938" y="7282"/>
                  <a:pt x="5906" y="7313"/>
                  <a:pt x="5875" y="7219"/>
                </a:cubicBezTo>
                <a:cubicBezTo>
                  <a:pt x="5844" y="7219"/>
                  <a:pt x="5844" y="7188"/>
                  <a:pt x="5875" y="7188"/>
                </a:cubicBezTo>
                <a:cubicBezTo>
                  <a:pt x="5906" y="7157"/>
                  <a:pt x="5969" y="7157"/>
                  <a:pt x="6000" y="7188"/>
                </a:cubicBezTo>
                <a:cubicBezTo>
                  <a:pt x="6031" y="7219"/>
                  <a:pt x="6063" y="7219"/>
                  <a:pt x="6094" y="7250"/>
                </a:cubicBezTo>
                <a:close/>
                <a:moveTo>
                  <a:pt x="5844" y="7063"/>
                </a:moveTo>
                <a:cubicBezTo>
                  <a:pt x="5813" y="7094"/>
                  <a:pt x="5750" y="7094"/>
                  <a:pt x="5719" y="7094"/>
                </a:cubicBezTo>
                <a:cubicBezTo>
                  <a:pt x="5688" y="7094"/>
                  <a:pt x="5656" y="7094"/>
                  <a:pt x="5594" y="7063"/>
                </a:cubicBezTo>
                <a:cubicBezTo>
                  <a:pt x="5594" y="7063"/>
                  <a:pt x="5594" y="7032"/>
                  <a:pt x="5625" y="7032"/>
                </a:cubicBezTo>
                <a:cubicBezTo>
                  <a:pt x="5656" y="7000"/>
                  <a:pt x="5688" y="7000"/>
                  <a:pt x="5750" y="7032"/>
                </a:cubicBezTo>
                <a:cubicBezTo>
                  <a:pt x="5781" y="7032"/>
                  <a:pt x="5813" y="7063"/>
                  <a:pt x="5844" y="7063"/>
                </a:cubicBezTo>
                <a:close/>
                <a:moveTo>
                  <a:pt x="6750" y="7875"/>
                </a:moveTo>
                <a:cubicBezTo>
                  <a:pt x="6688" y="7750"/>
                  <a:pt x="6563" y="7782"/>
                  <a:pt x="6469" y="7750"/>
                </a:cubicBezTo>
                <a:cubicBezTo>
                  <a:pt x="6375" y="7719"/>
                  <a:pt x="6281" y="7782"/>
                  <a:pt x="6219" y="7719"/>
                </a:cubicBezTo>
                <a:cubicBezTo>
                  <a:pt x="6250" y="7719"/>
                  <a:pt x="6313" y="7688"/>
                  <a:pt x="6375" y="7688"/>
                </a:cubicBezTo>
                <a:cubicBezTo>
                  <a:pt x="6375" y="7594"/>
                  <a:pt x="6281" y="7625"/>
                  <a:pt x="6219" y="7625"/>
                </a:cubicBezTo>
                <a:cubicBezTo>
                  <a:pt x="5969" y="7563"/>
                  <a:pt x="5719" y="7500"/>
                  <a:pt x="5438" y="7407"/>
                </a:cubicBezTo>
                <a:cubicBezTo>
                  <a:pt x="5688" y="7344"/>
                  <a:pt x="5875" y="7313"/>
                  <a:pt x="6094" y="7500"/>
                </a:cubicBezTo>
                <a:cubicBezTo>
                  <a:pt x="6156" y="7532"/>
                  <a:pt x="6281" y="7563"/>
                  <a:pt x="6375" y="7563"/>
                </a:cubicBezTo>
                <a:cubicBezTo>
                  <a:pt x="6469" y="7563"/>
                  <a:pt x="6531" y="7563"/>
                  <a:pt x="6563" y="7625"/>
                </a:cubicBezTo>
                <a:cubicBezTo>
                  <a:pt x="6563" y="7625"/>
                  <a:pt x="6563" y="7625"/>
                  <a:pt x="6563" y="7625"/>
                </a:cubicBezTo>
                <a:cubicBezTo>
                  <a:pt x="6531" y="7657"/>
                  <a:pt x="6438" y="7594"/>
                  <a:pt x="6438" y="7688"/>
                </a:cubicBezTo>
                <a:cubicBezTo>
                  <a:pt x="6500" y="7688"/>
                  <a:pt x="6531" y="7688"/>
                  <a:pt x="6563" y="7688"/>
                </a:cubicBezTo>
                <a:cubicBezTo>
                  <a:pt x="6563" y="7688"/>
                  <a:pt x="6563" y="7657"/>
                  <a:pt x="6563" y="7657"/>
                </a:cubicBezTo>
                <a:cubicBezTo>
                  <a:pt x="6563" y="7657"/>
                  <a:pt x="6594" y="7657"/>
                  <a:pt x="6594" y="7688"/>
                </a:cubicBezTo>
                <a:cubicBezTo>
                  <a:pt x="6688" y="7594"/>
                  <a:pt x="6750" y="7688"/>
                  <a:pt x="6813" y="7719"/>
                </a:cubicBezTo>
                <a:cubicBezTo>
                  <a:pt x="6906" y="7750"/>
                  <a:pt x="6781" y="7813"/>
                  <a:pt x="6813" y="7875"/>
                </a:cubicBezTo>
                <a:cubicBezTo>
                  <a:pt x="6781" y="7875"/>
                  <a:pt x="6750" y="7875"/>
                  <a:pt x="6750" y="7875"/>
                </a:cubicBezTo>
                <a:close/>
                <a:moveTo>
                  <a:pt x="7063" y="8625"/>
                </a:moveTo>
                <a:cubicBezTo>
                  <a:pt x="7031" y="8625"/>
                  <a:pt x="7031" y="8594"/>
                  <a:pt x="7063" y="8563"/>
                </a:cubicBezTo>
                <a:cubicBezTo>
                  <a:pt x="7063" y="8563"/>
                  <a:pt x="7094" y="8532"/>
                  <a:pt x="7094" y="8532"/>
                </a:cubicBezTo>
                <a:cubicBezTo>
                  <a:pt x="7188" y="8625"/>
                  <a:pt x="7313" y="8594"/>
                  <a:pt x="7375" y="8688"/>
                </a:cubicBezTo>
                <a:cubicBezTo>
                  <a:pt x="7250" y="8750"/>
                  <a:pt x="7156" y="8688"/>
                  <a:pt x="7063" y="8625"/>
                </a:cubicBezTo>
                <a:close/>
                <a:moveTo>
                  <a:pt x="7656" y="8157"/>
                </a:moveTo>
                <a:cubicBezTo>
                  <a:pt x="7625" y="8188"/>
                  <a:pt x="7625" y="8219"/>
                  <a:pt x="7594" y="8188"/>
                </a:cubicBezTo>
                <a:cubicBezTo>
                  <a:pt x="7469" y="8188"/>
                  <a:pt x="7375" y="8063"/>
                  <a:pt x="7250" y="8094"/>
                </a:cubicBezTo>
                <a:cubicBezTo>
                  <a:pt x="7188" y="7844"/>
                  <a:pt x="7000" y="8000"/>
                  <a:pt x="6906" y="8000"/>
                </a:cubicBezTo>
                <a:cubicBezTo>
                  <a:pt x="6813" y="7969"/>
                  <a:pt x="6781" y="7969"/>
                  <a:pt x="6813" y="7875"/>
                </a:cubicBezTo>
                <a:cubicBezTo>
                  <a:pt x="7125" y="7813"/>
                  <a:pt x="7375" y="8032"/>
                  <a:pt x="7625" y="8125"/>
                </a:cubicBezTo>
                <a:cubicBezTo>
                  <a:pt x="7656" y="8125"/>
                  <a:pt x="7688" y="8125"/>
                  <a:pt x="7656" y="8157"/>
                </a:cubicBezTo>
                <a:close/>
                <a:moveTo>
                  <a:pt x="8313" y="8500"/>
                </a:moveTo>
                <a:cubicBezTo>
                  <a:pt x="8313" y="8500"/>
                  <a:pt x="8344" y="8438"/>
                  <a:pt x="8344" y="8438"/>
                </a:cubicBezTo>
                <a:cubicBezTo>
                  <a:pt x="8406" y="8438"/>
                  <a:pt x="8469" y="8469"/>
                  <a:pt x="8531" y="8532"/>
                </a:cubicBezTo>
                <a:cubicBezTo>
                  <a:pt x="8438" y="8532"/>
                  <a:pt x="8375" y="8532"/>
                  <a:pt x="8313" y="8500"/>
                </a:cubicBezTo>
                <a:close/>
                <a:moveTo>
                  <a:pt x="8688" y="8188"/>
                </a:moveTo>
                <a:cubicBezTo>
                  <a:pt x="8594" y="8157"/>
                  <a:pt x="8500" y="8157"/>
                  <a:pt x="8406" y="8125"/>
                </a:cubicBezTo>
                <a:cubicBezTo>
                  <a:pt x="8500" y="8063"/>
                  <a:pt x="8688" y="8063"/>
                  <a:pt x="8719" y="8125"/>
                </a:cubicBezTo>
                <a:cubicBezTo>
                  <a:pt x="8750" y="8125"/>
                  <a:pt x="8750" y="8157"/>
                  <a:pt x="8750" y="8157"/>
                </a:cubicBezTo>
                <a:cubicBezTo>
                  <a:pt x="8719" y="8188"/>
                  <a:pt x="8719" y="8188"/>
                  <a:pt x="8688" y="8188"/>
                </a:cubicBezTo>
                <a:close/>
                <a:moveTo>
                  <a:pt x="8969" y="8344"/>
                </a:moveTo>
                <a:cubicBezTo>
                  <a:pt x="8969" y="8282"/>
                  <a:pt x="8969" y="8188"/>
                  <a:pt x="9000" y="8125"/>
                </a:cubicBezTo>
                <a:cubicBezTo>
                  <a:pt x="9063" y="8094"/>
                  <a:pt x="9125" y="8188"/>
                  <a:pt x="9156" y="8219"/>
                </a:cubicBezTo>
                <a:cubicBezTo>
                  <a:pt x="9000" y="8344"/>
                  <a:pt x="8969" y="8344"/>
                  <a:pt x="8969" y="8344"/>
                </a:cubicBezTo>
                <a:close/>
                <a:moveTo>
                  <a:pt x="9313" y="8125"/>
                </a:moveTo>
                <a:cubicBezTo>
                  <a:pt x="9219" y="8000"/>
                  <a:pt x="9094" y="8000"/>
                  <a:pt x="8969" y="8063"/>
                </a:cubicBezTo>
                <a:cubicBezTo>
                  <a:pt x="9000" y="7969"/>
                  <a:pt x="8969" y="7938"/>
                  <a:pt x="8906" y="7938"/>
                </a:cubicBezTo>
                <a:cubicBezTo>
                  <a:pt x="8813" y="7938"/>
                  <a:pt x="8750" y="7907"/>
                  <a:pt x="8656" y="7907"/>
                </a:cubicBezTo>
                <a:cubicBezTo>
                  <a:pt x="8531" y="7875"/>
                  <a:pt x="8438" y="7750"/>
                  <a:pt x="8281" y="7750"/>
                </a:cubicBezTo>
                <a:cubicBezTo>
                  <a:pt x="8250" y="7750"/>
                  <a:pt x="8219" y="7657"/>
                  <a:pt x="8125" y="7657"/>
                </a:cubicBezTo>
                <a:cubicBezTo>
                  <a:pt x="8063" y="7657"/>
                  <a:pt x="8031" y="7625"/>
                  <a:pt x="7969" y="7657"/>
                </a:cubicBezTo>
                <a:cubicBezTo>
                  <a:pt x="7969" y="7688"/>
                  <a:pt x="8000" y="7688"/>
                  <a:pt x="8031" y="7688"/>
                </a:cubicBezTo>
                <a:cubicBezTo>
                  <a:pt x="8156" y="7719"/>
                  <a:pt x="8094" y="7907"/>
                  <a:pt x="8219" y="7938"/>
                </a:cubicBezTo>
                <a:cubicBezTo>
                  <a:pt x="8094" y="7907"/>
                  <a:pt x="7969" y="8000"/>
                  <a:pt x="7844" y="7875"/>
                </a:cubicBezTo>
                <a:cubicBezTo>
                  <a:pt x="7938" y="7875"/>
                  <a:pt x="8031" y="7938"/>
                  <a:pt x="8063" y="7844"/>
                </a:cubicBezTo>
                <a:cubicBezTo>
                  <a:pt x="8094" y="7719"/>
                  <a:pt x="8000" y="7750"/>
                  <a:pt x="7938" y="7719"/>
                </a:cubicBezTo>
                <a:cubicBezTo>
                  <a:pt x="7875" y="7719"/>
                  <a:pt x="7813" y="7719"/>
                  <a:pt x="7750" y="7719"/>
                </a:cubicBezTo>
                <a:cubicBezTo>
                  <a:pt x="7719" y="7719"/>
                  <a:pt x="7719" y="7750"/>
                  <a:pt x="7719" y="7782"/>
                </a:cubicBezTo>
                <a:cubicBezTo>
                  <a:pt x="7625" y="7813"/>
                  <a:pt x="7656" y="7844"/>
                  <a:pt x="7656" y="7907"/>
                </a:cubicBezTo>
                <a:cubicBezTo>
                  <a:pt x="7656" y="7938"/>
                  <a:pt x="7656" y="7938"/>
                  <a:pt x="7625" y="7907"/>
                </a:cubicBezTo>
                <a:cubicBezTo>
                  <a:pt x="7563" y="7875"/>
                  <a:pt x="7469" y="7907"/>
                  <a:pt x="7375" y="7844"/>
                </a:cubicBezTo>
                <a:cubicBezTo>
                  <a:pt x="7406" y="7813"/>
                  <a:pt x="7469" y="7813"/>
                  <a:pt x="7500" y="7813"/>
                </a:cubicBezTo>
                <a:cubicBezTo>
                  <a:pt x="7563" y="7782"/>
                  <a:pt x="7625" y="7750"/>
                  <a:pt x="7563" y="7688"/>
                </a:cubicBezTo>
                <a:cubicBezTo>
                  <a:pt x="7406" y="7688"/>
                  <a:pt x="7250" y="7688"/>
                  <a:pt x="7063" y="7688"/>
                </a:cubicBezTo>
                <a:cubicBezTo>
                  <a:pt x="7031" y="7688"/>
                  <a:pt x="6969" y="7657"/>
                  <a:pt x="7031" y="7625"/>
                </a:cubicBezTo>
                <a:cubicBezTo>
                  <a:pt x="7125" y="7532"/>
                  <a:pt x="7000" y="7532"/>
                  <a:pt x="6969" y="7532"/>
                </a:cubicBezTo>
                <a:cubicBezTo>
                  <a:pt x="6906" y="7500"/>
                  <a:pt x="6844" y="7500"/>
                  <a:pt x="6781" y="7500"/>
                </a:cubicBezTo>
                <a:cubicBezTo>
                  <a:pt x="6688" y="7532"/>
                  <a:pt x="6688" y="7469"/>
                  <a:pt x="6688" y="7438"/>
                </a:cubicBezTo>
                <a:cubicBezTo>
                  <a:pt x="6656" y="7438"/>
                  <a:pt x="6563" y="7375"/>
                  <a:pt x="6563" y="7500"/>
                </a:cubicBezTo>
                <a:cubicBezTo>
                  <a:pt x="6500" y="7469"/>
                  <a:pt x="6406" y="7469"/>
                  <a:pt x="6375" y="7438"/>
                </a:cubicBezTo>
                <a:cubicBezTo>
                  <a:pt x="6344" y="7375"/>
                  <a:pt x="6469" y="7407"/>
                  <a:pt x="6500" y="7375"/>
                </a:cubicBezTo>
                <a:cubicBezTo>
                  <a:pt x="6438" y="7344"/>
                  <a:pt x="6438" y="7282"/>
                  <a:pt x="6438" y="7219"/>
                </a:cubicBezTo>
                <a:cubicBezTo>
                  <a:pt x="6438" y="7219"/>
                  <a:pt x="6438" y="7188"/>
                  <a:pt x="6406" y="7188"/>
                </a:cubicBezTo>
                <a:cubicBezTo>
                  <a:pt x="6344" y="7125"/>
                  <a:pt x="6344" y="7125"/>
                  <a:pt x="6375" y="7063"/>
                </a:cubicBezTo>
                <a:cubicBezTo>
                  <a:pt x="6375" y="7063"/>
                  <a:pt x="6375" y="7063"/>
                  <a:pt x="6375" y="7032"/>
                </a:cubicBezTo>
                <a:cubicBezTo>
                  <a:pt x="6344" y="7032"/>
                  <a:pt x="6344" y="7032"/>
                  <a:pt x="6313" y="7000"/>
                </a:cubicBezTo>
                <a:cubicBezTo>
                  <a:pt x="6438" y="7000"/>
                  <a:pt x="6563" y="7032"/>
                  <a:pt x="6656" y="7063"/>
                </a:cubicBezTo>
                <a:cubicBezTo>
                  <a:pt x="6719" y="7063"/>
                  <a:pt x="6750" y="7094"/>
                  <a:pt x="6750" y="7157"/>
                </a:cubicBezTo>
                <a:cubicBezTo>
                  <a:pt x="6781" y="7188"/>
                  <a:pt x="6750" y="7219"/>
                  <a:pt x="6719" y="7188"/>
                </a:cubicBezTo>
                <a:cubicBezTo>
                  <a:pt x="6625" y="7157"/>
                  <a:pt x="6531" y="7188"/>
                  <a:pt x="6438" y="7188"/>
                </a:cubicBezTo>
                <a:cubicBezTo>
                  <a:pt x="6531" y="7250"/>
                  <a:pt x="6656" y="7219"/>
                  <a:pt x="6750" y="7282"/>
                </a:cubicBezTo>
                <a:cubicBezTo>
                  <a:pt x="6719" y="7344"/>
                  <a:pt x="6625" y="7282"/>
                  <a:pt x="6563" y="7344"/>
                </a:cubicBezTo>
                <a:cubicBezTo>
                  <a:pt x="6594" y="7375"/>
                  <a:pt x="6656" y="7375"/>
                  <a:pt x="6719" y="7407"/>
                </a:cubicBezTo>
                <a:cubicBezTo>
                  <a:pt x="6781" y="7375"/>
                  <a:pt x="6844" y="7407"/>
                  <a:pt x="6938" y="7375"/>
                </a:cubicBezTo>
                <a:cubicBezTo>
                  <a:pt x="6875" y="7313"/>
                  <a:pt x="6781" y="7313"/>
                  <a:pt x="6813" y="7219"/>
                </a:cubicBezTo>
                <a:cubicBezTo>
                  <a:pt x="6844" y="7125"/>
                  <a:pt x="6906" y="7188"/>
                  <a:pt x="6938" y="7188"/>
                </a:cubicBezTo>
                <a:cubicBezTo>
                  <a:pt x="6938" y="7188"/>
                  <a:pt x="6938" y="7188"/>
                  <a:pt x="6938" y="7188"/>
                </a:cubicBezTo>
                <a:cubicBezTo>
                  <a:pt x="7000" y="7250"/>
                  <a:pt x="7094" y="7282"/>
                  <a:pt x="7188" y="7282"/>
                </a:cubicBezTo>
                <a:cubicBezTo>
                  <a:pt x="7188" y="7282"/>
                  <a:pt x="7219" y="7250"/>
                  <a:pt x="7219" y="7250"/>
                </a:cubicBezTo>
                <a:cubicBezTo>
                  <a:pt x="7125" y="7188"/>
                  <a:pt x="7063" y="7157"/>
                  <a:pt x="6969" y="7157"/>
                </a:cubicBezTo>
                <a:cubicBezTo>
                  <a:pt x="6938" y="7157"/>
                  <a:pt x="6938" y="7125"/>
                  <a:pt x="6875" y="7063"/>
                </a:cubicBezTo>
                <a:cubicBezTo>
                  <a:pt x="7344" y="7063"/>
                  <a:pt x="7719" y="7282"/>
                  <a:pt x="8063" y="7500"/>
                </a:cubicBezTo>
                <a:cubicBezTo>
                  <a:pt x="8063" y="7563"/>
                  <a:pt x="8094" y="7625"/>
                  <a:pt x="8156" y="7594"/>
                </a:cubicBezTo>
                <a:cubicBezTo>
                  <a:pt x="8188" y="7594"/>
                  <a:pt x="8250" y="7532"/>
                  <a:pt x="8281" y="7563"/>
                </a:cubicBezTo>
                <a:cubicBezTo>
                  <a:pt x="8406" y="7719"/>
                  <a:pt x="8625" y="7688"/>
                  <a:pt x="8781" y="7782"/>
                </a:cubicBezTo>
                <a:cubicBezTo>
                  <a:pt x="8906" y="7844"/>
                  <a:pt x="9063" y="7875"/>
                  <a:pt x="9156" y="7938"/>
                </a:cubicBezTo>
                <a:cubicBezTo>
                  <a:pt x="9313" y="8063"/>
                  <a:pt x="9531" y="8032"/>
                  <a:pt x="9656" y="8219"/>
                </a:cubicBezTo>
                <a:cubicBezTo>
                  <a:pt x="9531" y="8250"/>
                  <a:pt x="9406" y="8219"/>
                  <a:pt x="9313" y="8125"/>
                </a:cubicBezTo>
                <a:close/>
                <a:moveTo>
                  <a:pt x="9688" y="8000"/>
                </a:moveTo>
                <a:cubicBezTo>
                  <a:pt x="9625" y="7969"/>
                  <a:pt x="9594" y="7938"/>
                  <a:pt x="9531" y="7938"/>
                </a:cubicBezTo>
                <a:cubicBezTo>
                  <a:pt x="9500" y="7907"/>
                  <a:pt x="9406" y="7969"/>
                  <a:pt x="9406" y="7844"/>
                </a:cubicBezTo>
                <a:cubicBezTo>
                  <a:pt x="9406" y="7844"/>
                  <a:pt x="9375" y="7844"/>
                  <a:pt x="9375" y="7813"/>
                </a:cubicBezTo>
                <a:cubicBezTo>
                  <a:pt x="9344" y="7782"/>
                  <a:pt x="9188" y="7875"/>
                  <a:pt x="9250" y="7750"/>
                </a:cubicBezTo>
                <a:cubicBezTo>
                  <a:pt x="9250" y="7750"/>
                  <a:pt x="9250" y="7719"/>
                  <a:pt x="9219" y="7719"/>
                </a:cubicBezTo>
                <a:cubicBezTo>
                  <a:pt x="9063" y="7750"/>
                  <a:pt x="8938" y="7625"/>
                  <a:pt x="8781" y="7625"/>
                </a:cubicBezTo>
                <a:cubicBezTo>
                  <a:pt x="8688" y="7594"/>
                  <a:pt x="8563" y="7625"/>
                  <a:pt x="8469" y="7532"/>
                </a:cubicBezTo>
                <a:cubicBezTo>
                  <a:pt x="8344" y="7344"/>
                  <a:pt x="8156" y="7375"/>
                  <a:pt x="8000" y="7313"/>
                </a:cubicBezTo>
                <a:cubicBezTo>
                  <a:pt x="7875" y="7282"/>
                  <a:pt x="7750" y="7219"/>
                  <a:pt x="7594" y="7188"/>
                </a:cubicBezTo>
                <a:cubicBezTo>
                  <a:pt x="7563" y="7188"/>
                  <a:pt x="7469" y="7125"/>
                  <a:pt x="7469" y="7032"/>
                </a:cubicBezTo>
                <a:cubicBezTo>
                  <a:pt x="7469" y="6969"/>
                  <a:pt x="7406" y="7000"/>
                  <a:pt x="7375" y="7000"/>
                </a:cubicBezTo>
                <a:cubicBezTo>
                  <a:pt x="7313" y="7000"/>
                  <a:pt x="7250" y="7000"/>
                  <a:pt x="7188" y="6938"/>
                </a:cubicBezTo>
                <a:cubicBezTo>
                  <a:pt x="7219" y="6907"/>
                  <a:pt x="7281" y="6938"/>
                  <a:pt x="7313" y="6907"/>
                </a:cubicBezTo>
                <a:cubicBezTo>
                  <a:pt x="7281" y="6907"/>
                  <a:pt x="7281" y="6875"/>
                  <a:pt x="7281" y="6875"/>
                </a:cubicBezTo>
                <a:cubicBezTo>
                  <a:pt x="7219" y="6875"/>
                  <a:pt x="7125" y="6813"/>
                  <a:pt x="7063" y="6844"/>
                </a:cubicBezTo>
                <a:cubicBezTo>
                  <a:pt x="7000" y="6875"/>
                  <a:pt x="7031" y="6813"/>
                  <a:pt x="7000" y="6782"/>
                </a:cubicBezTo>
                <a:cubicBezTo>
                  <a:pt x="6906" y="6750"/>
                  <a:pt x="6813" y="6844"/>
                  <a:pt x="6719" y="6844"/>
                </a:cubicBezTo>
                <a:cubicBezTo>
                  <a:pt x="6750" y="6719"/>
                  <a:pt x="6719" y="6657"/>
                  <a:pt x="6594" y="6657"/>
                </a:cubicBezTo>
                <a:cubicBezTo>
                  <a:pt x="6531" y="6657"/>
                  <a:pt x="6500" y="6657"/>
                  <a:pt x="6500" y="6594"/>
                </a:cubicBezTo>
                <a:cubicBezTo>
                  <a:pt x="6563" y="6594"/>
                  <a:pt x="6625" y="6594"/>
                  <a:pt x="6719" y="6594"/>
                </a:cubicBezTo>
                <a:cubicBezTo>
                  <a:pt x="6781" y="6563"/>
                  <a:pt x="6875" y="6532"/>
                  <a:pt x="6875" y="6657"/>
                </a:cubicBezTo>
                <a:cubicBezTo>
                  <a:pt x="6875" y="6719"/>
                  <a:pt x="6969" y="6688"/>
                  <a:pt x="7000" y="6750"/>
                </a:cubicBezTo>
                <a:cubicBezTo>
                  <a:pt x="7094" y="6750"/>
                  <a:pt x="7125" y="6782"/>
                  <a:pt x="7188" y="6813"/>
                </a:cubicBezTo>
                <a:cubicBezTo>
                  <a:pt x="7219" y="6813"/>
                  <a:pt x="7250" y="6844"/>
                  <a:pt x="7250" y="6844"/>
                </a:cubicBezTo>
                <a:cubicBezTo>
                  <a:pt x="7500" y="6719"/>
                  <a:pt x="7625" y="6907"/>
                  <a:pt x="7813" y="6938"/>
                </a:cubicBezTo>
                <a:cubicBezTo>
                  <a:pt x="7844" y="6969"/>
                  <a:pt x="7906" y="7000"/>
                  <a:pt x="7938" y="7000"/>
                </a:cubicBezTo>
                <a:cubicBezTo>
                  <a:pt x="7938" y="7000"/>
                  <a:pt x="7969" y="7000"/>
                  <a:pt x="7969" y="6969"/>
                </a:cubicBezTo>
                <a:cubicBezTo>
                  <a:pt x="7969" y="6969"/>
                  <a:pt x="7938" y="6938"/>
                  <a:pt x="7938" y="6938"/>
                </a:cubicBezTo>
                <a:cubicBezTo>
                  <a:pt x="7906" y="6938"/>
                  <a:pt x="7875" y="6938"/>
                  <a:pt x="7906" y="6907"/>
                </a:cubicBezTo>
                <a:cubicBezTo>
                  <a:pt x="7906" y="6875"/>
                  <a:pt x="7938" y="6875"/>
                  <a:pt x="7938" y="6907"/>
                </a:cubicBezTo>
                <a:cubicBezTo>
                  <a:pt x="7969" y="6907"/>
                  <a:pt x="7969" y="6907"/>
                  <a:pt x="7969" y="6907"/>
                </a:cubicBezTo>
                <a:cubicBezTo>
                  <a:pt x="8000" y="6844"/>
                  <a:pt x="7938" y="6782"/>
                  <a:pt x="8031" y="6750"/>
                </a:cubicBezTo>
                <a:cubicBezTo>
                  <a:pt x="8094" y="6750"/>
                  <a:pt x="8156" y="6782"/>
                  <a:pt x="8219" y="6813"/>
                </a:cubicBezTo>
                <a:cubicBezTo>
                  <a:pt x="8281" y="6907"/>
                  <a:pt x="8469" y="6969"/>
                  <a:pt x="8563" y="6907"/>
                </a:cubicBezTo>
                <a:cubicBezTo>
                  <a:pt x="8594" y="6844"/>
                  <a:pt x="8625" y="6844"/>
                  <a:pt x="8656" y="6875"/>
                </a:cubicBezTo>
                <a:cubicBezTo>
                  <a:pt x="8688" y="6907"/>
                  <a:pt x="8781" y="6875"/>
                  <a:pt x="8781" y="6938"/>
                </a:cubicBezTo>
                <a:cubicBezTo>
                  <a:pt x="8781" y="7032"/>
                  <a:pt x="8688" y="6938"/>
                  <a:pt x="8625" y="7000"/>
                </a:cubicBezTo>
                <a:cubicBezTo>
                  <a:pt x="8750" y="7094"/>
                  <a:pt x="8906" y="7125"/>
                  <a:pt x="9063" y="7219"/>
                </a:cubicBezTo>
                <a:cubicBezTo>
                  <a:pt x="9250" y="7313"/>
                  <a:pt x="9469" y="7407"/>
                  <a:pt x="9688" y="7500"/>
                </a:cubicBezTo>
                <a:cubicBezTo>
                  <a:pt x="9719" y="7532"/>
                  <a:pt x="9781" y="7500"/>
                  <a:pt x="9813" y="7500"/>
                </a:cubicBezTo>
                <a:cubicBezTo>
                  <a:pt x="9813" y="7500"/>
                  <a:pt x="9813" y="7500"/>
                  <a:pt x="9813" y="7500"/>
                </a:cubicBezTo>
                <a:cubicBezTo>
                  <a:pt x="9938" y="7563"/>
                  <a:pt x="9969" y="7657"/>
                  <a:pt x="10063" y="7719"/>
                </a:cubicBezTo>
                <a:cubicBezTo>
                  <a:pt x="10094" y="7750"/>
                  <a:pt x="10125" y="7782"/>
                  <a:pt x="10094" y="7782"/>
                </a:cubicBezTo>
                <a:cubicBezTo>
                  <a:pt x="10063" y="7813"/>
                  <a:pt x="10063" y="7782"/>
                  <a:pt x="10031" y="7782"/>
                </a:cubicBezTo>
                <a:cubicBezTo>
                  <a:pt x="9969" y="7688"/>
                  <a:pt x="9875" y="7657"/>
                  <a:pt x="9781" y="7625"/>
                </a:cubicBezTo>
                <a:cubicBezTo>
                  <a:pt x="9625" y="7594"/>
                  <a:pt x="9500" y="7532"/>
                  <a:pt x="9344" y="7500"/>
                </a:cubicBezTo>
                <a:cubicBezTo>
                  <a:pt x="9250" y="7500"/>
                  <a:pt x="9094" y="7438"/>
                  <a:pt x="9031" y="7282"/>
                </a:cubicBezTo>
                <a:cubicBezTo>
                  <a:pt x="9000" y="7282"/>
                  <a:pt x="8969" y="7282"/>
                  <a:pt x="8969" y="7250"/>
                </a:cubicBezTo>
                <a:cubicBezTo>
                  <a:pt x="8844" y="7157"/>
                  <a:pt x="8656" y="7157"/>
                  <a:pt x="8531" y="7063"/>
                </a:cubicBezTo>
                <a:cubicBezTo>
                  <a:pt x="8500" y="7032"/>
                  <a:pt x="8438" y="7000"/>
                  <a:pt x="8406" y="7063"/>
                </a:cubicBezTo>
                <a:cubicBezTo>
                  <a:pt x="8375" y="7094"/>
                  <a:pt x="8438" y="7125"/>
                  <a:pt x="8469" y="7157"/>
                </a:cubicBezTo>
                <a:cubicBezTo>
                  <a:pt x="8375" y="7188"/>
                  <a:pt x="8313" y="7125"/>
                  <a:pt x="8313" y="7094"/>
                </a:cubicBezTo>
                <a:cubicBezTo>
                  <a:pt x="8344" y="6938"/>
                  <a:pt x="8219" y="6938"/>
                  <a:pt x="8156" y="6907"/>
                </a:cubicBezTo>
                <a:cubicBezTo>
                  <a:pt x="8094" y="6938"/>
                  <a:pt x="8125" y="7000"/>
                  <a:pt x="8063" y="7032"/>
                </a:cubicBezTo>
                <a:cubicBezTo>
                  <a:pt x="8063" y="7032"/>
                  <a:pt x="8031" y="7063"/>
                  <a:pt x="8094" y="7094"/>
                </a:cubicBezTo>
                <a:cubicBezTo>
                  <a:pt x="8250" y="7125"/>
                  <a:pt x="8375" y="7282"/>
                  <a:pt x="8563" y="7250"/>
                </a:cubicBezTo>
                <a:cubicBezTo>
                  <a:pt x="8625" y="7250"/>
                  <a:pt x="8594" y="7344"/>
                  <a:pt x="8656" y="7344"/>
                </a:cubicBezTo>
                <a:cubicBezTo>
                  <a:pt x="9000" y="7500"/>
                  <a:pt x="9344" y="7657"/>
                  <a:pt x="9688" y="7844"/>
                </a:cubicBezTo>
                <a:cubicBezTo>
                  <a:pt x="10094" y="8063"/>
                  <a:pt x="10500" y="8282"/>
                  <a:pt x="10906" y="8469"/>
                </a:cubicBezTo>
                <a:cubicBezTo>
                  <a:pt x="10969" y="8469"/>
                  <a:pt x="11031" y="8532"/>
                  <a:pt x="11031" y="8594"/>
                </a:cubicBezTo>
                <a:cubicBezTo>
                  <a:pt x="10719" y="8532"/>
                  <a:pt x="10500" y="8344"/>
                  <a:pt x="10188" y="8282"/>
                </a:cubicBezTo>
                <a:cubicBezTo>
                  <a:pt x="10000" y="8219"/>
                  <a:pt x="9844" y="8063"/>
                  <a:pt x="9688" y="8000"/>
                </a:cubicBezTo>
                <a:close/>
                <a:moveTo>
                  <a:pt x="8531" y="7188"/>
                </a:moveTo>
                <a:cubicBezTo>
                  <a:pt x="8500" y="7188"/>
                  <a:pt x="8500" y="7219"/>
                  <a:pt x="8500" y="7219"/>
                </a:cubicBezTo>
                <a:cubicBezTo>
                  <a:pt x="8500" y="7219"/>
                  <a:pt x="8500" y="7188"/>
                  <a:pt x="8469" y="7188"/>
                </a:cubicBezTo>
                <a:cubicBezTo>
                  <a:pt x="8500" y="7188"/>
                  <a:pt x="8500" y="7188"/>
                  <a:pt x="8500" y="7188"/>
                </a:cubicBezTo>
                <a:cubicBezTo>
                  <a:pt x="8500" y="7188"/>
                  <a:pt x="8500" y="7188"/>
                  <a:pt x="8531" y="7188"/>
                </a:cubicBezTo>
                <a:close/>
                <a:moveTo>
                  <a:pt x="9906" y="8688"/>
                </a:moveTo>
                <a:cubicBezTo>
                  <a:pt x="9875" y="8688"/>
                  <a:pt x="9844" y="8657"/>
                  <a:pt x="9781" y="8657"/>
                </a:cubicBezTo>
                <a:cubicBezTo>
                  <a:pt x="9844" y="8625"/>
                  <a:pt x="9875" y="8594"/>
                  <a:pt x="9938" y="8625"/>
                </a:cubicBezTo>
                <a:cubicBezTo>
                  <a:pt x="10000" y="8625"/>
                  <a:pt x="10094" y="8594"/>
                  <a:pt x="10094" y="8688"/>
                </a:cubicBezTo>
                <a:cubicBezTo>
                  <a:pt x="10094" y="8719"/>
                  <a:pt x="9969" y="8688"/>
                  <a:pt x="9906" y="8688"/>
                </a:cubicBezTo>
                <a:close/>
                <a:moveTo>
                  <a:pt x="10375" y="9219"/>
                </a:moveTo>
                <a:cubicBezTo>
                  <a:pt x="10313" y="9219"/>
                  <a:pt x="10281" y="9250"/>
                  <a:pt x="10250" y="9250"/>
                </a:cubicBezTo>
                <a:cubicBezTo>
                  <a:pt x="10188" y="9250"/>
                  <a:pt x="10156" y="9250"/>
                  <a:pt x="10156" y="9219"/>
                </a:cubicBezTo>
                <a:cubicBezTo>
                  <a:pt x="10156" y="9188"/>
                  <a:pt x="10188" y="9157"/>
                  <a:pt x="10219" y="9157"/>
                </a:cubicBezTo>
                <a:cubicBezTo>
                  <a:pt x="10281" y="9188"/>
                  <a:pt x="10313" y="9125"/>
                  <a:pt x="10375" y="9125"/>
                </a:cubicBezTo>
                <a:cubicBezTo>
                  <a:pt x="10406" y="9125"/>
                  <a:pt x="10438" y="9125"/>
                  <a:pt x="10438" y="9157"/>
                </a:cubicBezTo>
                <a:cubicBezTo>
                  <a:pt x="10469" y="9219"/>
                  <a:pt x="10406" y="9219"/>
                  <a:pt x="10375" y="9219"/>
                </a:cubicBezTo>
                <a:close/>
                <a:moveTo>
                  <a:pt x="10188" y="8907"/>
                </a:moveTo>
                <a:cubicBezTo>
                  <a:pt x="10281" y="8813"/>
                  <a:pt x="10375" y="8844"/>
                  <a:pt x="10469" y="8875"/>
                </a:cubicBezTo>
                <a:cubicBezTo>
                  <a:pt x="10406" y="9000"/>
                  <a:pt x="10281" y="9000"/>
                  <a:pt x="10188" y="8907"/>
                </a:cubicBezTo>
                <a:close/>
                <a:moveTo>
                  <a:pt x="10406" y="8813"/>
                </a:moveTo>
                <a:cubicBezTo>
                  <a:pt x="10531" y="8657"/>
                  <a:pt x="10469" y="8625"/>
                  <a:pt x="10375" y="8625"/>
                </a:cubicBezTo>
                <a:cubicBezTo>
                  <a:pt x="10313" y="8625"/>
                  <a:pt x="10250" y="8625"/>
                  <a:pt x="10250" y="8532"/>
                </a:cubicBezTo>
                <a:cubicBezTo>
                  <a:pt x="10438" y="8469"/>
                  <a:pt x="10563" y="8657"/>
                  <a:pt x="10688" y="8750"/>
                </a:cubicBezTo>
                <a:cubicBezTo>
                  <a:pt x="10594" y="8719"/>
                  <a:pt x="10531" y="8750"/>
                  <a:pt x="10406" y="8813"/>
                </a:cubicBezTo>
                <a:close/>
                <a:moveTo>
                  <a:pt x="10469" y="10844"/>
                </a:moveTo>
                <a:cubicBezTo>
                  <a:pt x="10594" y="10844"/>
                  <a:pt x="10656" y="10907"/>
                  <a:pt x="10750" y="10969"/>
                </a:cubicBezTo>
                <a:cubicBezTo>
                  <a:pt x="10594" y="11032"/>
                  <a:pt x="10563" y="10907"/>
                  <a:pt x="10469" y="10844"/>
                </a:cubicBezTo>
                <a:close/>
                <a:moveTo>
                  <a:pt x="11500" y="11188"/>
                </a:moveTo>
                <a:cubicBezTo>
                  <a:pt x="11531" y="11157"/>
                  <a:pt x="11594" y="11188"/>
                  <a:pt x="11625" y="11157"/>
                </a:cubicBezTo>
                <a:cubicBezTo>
                  <a:pt x="11625" y="11094"/>
                  <a:pt x="11563" y="11094"/>
                  <a:pt x="11531" y="11094"/>
                </a:cubicBezTo>
                <a:cubicBezTo>
                  <a:pt x="11438" y="11094"/>
                  <a:pt x="11375" y="11063"/>
                  <a:pt x="11313" y="11094"/>
                </a:cubicBezTo>
                <a:cubicBezTo>
                  <a:pt x="11219" y="11125"/>
                  <a:pt x="11250" y="11000"/>
                  <a:pt x="11156" y="11000"/>
                </a:cubicBezTo>
                <a:cubicBezTo>
                  <a:pt x="11063" y="10969"/>
                  <a:pt x="10969" y="10938"/>
                  <a:pt x="10906" y="10875"/>
                </a:cubicBezTo>
                <a:cubicBezTo>
                  <a:pt x="10875" y="10844"/>
                  <a:pt x="10844" y="10813"/>
                  <a:pt x="10781" y="10813"/>
                </a:cubicBezTo>
                <a:cubicBezTo>
                  <a:pt x="10688" y="10844"/>
                  <a:pt x="10625" y="10813"/>
                  <a:pt x="10563" y="10750"/>
                </a:cubicBezTo>
                <a:cubicBezTo>
                  <a:pt x="10625" y="10750"/>
                  <a:pt x="10625" y="10688"/>
                  <a:pt x="10656" y="10625"/>
                </a:cubicBezTo>
                <a:cubicBezTo>
                  <a:pt x="10594" y="10594"/>
                  <a:pt x="10531" y="10657"/>
                  <a:pt x="10500" y="10594"/>
                </a:cubicBezTo>
                <a:cubicBezTo>
                  <a:pt x="10531" y="10532"/>
                  <a:pt x="10563" y="10500"/>
                  <a:pt x="10656" y="10563"/>
                </a:cubicBezTo>
                <a:cubicBezTo>
                  <a:pt x="10656" y="10563"/>
                  <a:pt x="10688" y="10594"/>
                  <a:pt x="10719" y="10594"/>
                </a:cubicBezTo>
                <a:cubicBezTo>
                  <a:pt x="10750" y="10563"/>
                  <a:pt x="10750" y="10500"/>
                  <a:pt x="10813" y="10563"/>
                </a:cubicBezTo>
                <a:cubicBezTo>
                  <a:pt x="10844" y="10625"/>
                  <a:pt x="10813" y="10625"/>
                  <a:pt x="10781" y="10657"/>
                </a:cubicBezTo>
                <a:cubicBezTo>
                  <a:pt x="10750" y="10719"/>
                  <a:pt x="10750" y="10750"/>
                  <a:pt x="10813" y="10750"/>
                </a:cubicBezTo>
                <a:cubicBezTo>
                  <a:pt x="10875" y="10750"/>
                  <a:pt x="10906" y="10782"/>
                  <a:pt x="10938" y="10782"/>
                </a:cubicBezTo>
                <a:cubicBezTo>
                  <a:pt x="11156" y="10688"/>
                  <a:pt x="11344" y="10782"/>
                  <a:pt x="11531" y="10907"/>
                </a:cubicBezTo>
                <a:cubicBezTo>
                  <a:pt x="11625" y="10969"/>
                  <a:pt x="11688" y="11032"/>
                  <a:pt x="11813" y="11032"/>
                </a:cubicBezTo>
                <a:cubicBezTo>
                  <a:pt x="11906" y="11063"/>
                  <a:pt x="11906" y="11188"/>
                  <a:pt x="12000" y="11188"/>
                </a:cubicBezTo>
                <a:cubicBezTo>
                  <a:pt x="12031" y="11188"/>
                  <a:pt x="12000" y="11250"/>
                  <a:pt x="11969" y="11250"/>
                </a:cubicBezTo>
                <a:cubicBezTo>
                  <a:pt x="11813" y="11250"/>
                  <a:pt x="11656" y="11313"/>
                  <a:pt x="11500" y="11188"/>
                </a:cubicBezTo>
                <a:close/>
                <a:moveTo>
                  <a:pt x="13500" y="12063"/>
                </a:moveTo>
                <a:cubicBezTo>
                  <a:pt x="13375" y="12000"/>
                  <a:pt x="13281" y="11938"/>
                  <a:pt x="13156" y="11844"/>
                </a:cubicBezTo>
                <a:cubicBezTo>
                  <a:pt x="13063" y="11813"/>
                  <a:pt x="13031" y="11907"/>
                  <a:pt x="12969" y="11969"/>
                </a:cubicBezTo>
                <a:cubicBezTo>
                  <a:pt x="12969" y="11813"/>
                  <a:pt x="12844" y="11782"/>
                  <a:pt x="12781" y="11688"/>
                </a:cubicBezTo>
                <a:cubicBezTo>
                  <a:pt x="12781" y="11657"/>
                  <a:pt x="12781" y="11625"/>
                  <a:pt x="12750" y="11657"/>
                </a:cubicBezTo>
                <a:cubicBezTo>
                  <a:pt x="12563" y="11813"/>
                  <a:pt x="12438" y="11625"/>
                  <a:pt x="12313" y="11563"/>
                </a:cubicBezTo>
                <a:cubicBezTo>
                  <a:pt x="12188" y="11500"/>
                  <a:pt x="12094" y="11438"/>
                  <a:pt x="11969" y="11407"/>
                </a:cubicBezTo>
                <a:cubicBezTo>
                  <a:pt x="12250" y="11438"/>
                  <a:pt x="12531" y="11407"/>
                  <a:pt x="12813" y="11532"/>
                </a:cubicBezTo>
                <a:cubicBezTo>
                  <a:pt x="12875" y="11563"/>
                  <a:pt x="12906" y="11625"/>
                  <a:pt x="12938" y="11688"/>
                </a:cubicBezTo>
                <a:cubicBezTo>
                  <a:pt x="13031" y="11782"/>
                  <a:pt x="13125" y="11688"/>
                  <a:pt x="13188" y="11750"/>
                </a:cubicBezTo>
                <a:cubicBezTo>
                  <a:pt x="13344" y="11844"/>
                  <a:pt x="13500" y="11969"/>
                  <a:pt x="13688" y="12000"/>
                </a:cubicBezTo>
                <a:cubicBezTo>
                  <a:pt x="13781" y="12000"/>
                  <a:pt x="13781" y="12125"/>
                  <a:pt x="13844" y="12188"/>
                </a:cubicBezTo>
                <a:cubicBezTo>
                  <a:pt x="13719" y="12125"/>
                  <a:pt x="13625" y="12094"/>
                  <a:pt x="13500" y="12063"/>
                </a:cubicBezTo>
                <a:close/>
                <a:moveTo>
                  <a:pt x="14063" y="12188"/>
                </a:moveTo>
                <a:cubicBezTo>
                  <a:pt x="14031" y="12188"/>
                  <a:pt x="14031" y="12219"/>
                  <a:pt x="14031" y="12219"/>
                </a:cubicBezTo>
                <a:cubicBezTo>
                  <a:pt x="13969" y="12219"/>
                  <a:pt x="13938" y="12188"/>
                  <a:pt x="13938" y="12157"/>
                </a:cubicBezTo>
                <a:cubicBezTo>
                  <a:pt x="13938" y="12094"/>
                  <a:pt x="13969" y="12094"/>
                  <a:pt x="14000" y="12094"/>
                </a:cubicBezTo>
                <a:cubicBezTo>
                  <a:pt x="14094" y="12094"/>
                  <a:pt x="14188" y="12188"/>
                  <a:pt x="14281" y="12219"/>
                </a:cubicBezTo>
                <a:cubicBezTo>
                  <a:pt x="14281" y="12219"/>
                  <a:pt x="14281" y="12282"/>
                  <a:pt x="14250" y="12282"/>
                </a:cubicBezTo>
                <a:cubicBezTo>
                  <a:pt x="14250" y="12313"/>
                  <a:pt x="14219" y="12282"/>
                  <a:pt x="14188" y="12282"/>
                </a:cubicBezTo>
                <a:cubicBezTo>
                  <a:pt x="14125" y="12282"/>
                  <a:pt x="14125" y="12219"/>
                  <a:pt x="14063" y="12188"/>
                </a:cubicBezTo>
                <a:close/>
                <a:moveTo>
                  <a:pt x="15406" y="12719"/>
                </a:moveTo>
                <a:cubicBezTo>
                  <a:pt x="15344" y="12657"/>
                  <a:pt x="15281" y="12688"/>
                  <a:pt x="15219" y="12688"/>
                </a:cubicBezTo>
                <a:cubicBezTo>
                  <a:pt x="15250" y="12750"/>
                  <a:pt x="15281" y="12782"/>
                  <a:pt x="15344" y="12782"/>
                </a:cubicBezTo>
                <a:cubicBezTo>
                  <a:pt x="15375" y="12782"/>
                  <a:pt x="15406" y="12782"/>
                  <a:pt x="15406" y="12813"/>
                </a:cubicBezTo>
                <a:cubicBezTo>
                  <a:pt x="15406" y="12875"/>
                  <a:pt x="15375" y="12875"/>
                  <a:pt x="15344" y="12875"/>
                </a:cubicBezTo>
                <a:cubicBezTo>
                  <a:pt x="15281" y="12844"/>
                  <a:pt x="15188" y="12844"/>
                  <a:pt x="15156" y="12813"/>
                </a:cubicBezTo>
                <a:cubicBezTo>
                  <a:pt x="15031" y="12750"/>
                  <a:pt x="14906" y="12844"/>
                  <a:pt x="14844" y="12719"/>
                </a:cubicBezTo>
                <a:cubicBezTo>
                  <a:pt x="14750" y="12625"/>
                  <a:pt x="14625" y="12688"/>
                  <a:pt x="14500" y="12657"/>
                </a:cubicBezTo>
                <a:cubicBezTo>
                  <a:pt x="14500" y="12625"/>
                  <a:pt x="14469" y="12657"/>
                  <a:pt x="14438" y="12657"/>
                </a:cubicBezTo>
                <a:cubicBezTo>
                  <a:pt x="14438" y="12563"/>
                  <a:pt x="14438" y="12469"/>
                  <a:pt x="14313" y="12532"/>
                </a:cubicBezTo>
                <a:cubicBezTo>
                  <a:pt x="14281" y="12532"/>
                  <a:pt x="14250" y="12500"/>
                  <a:pt x="14219" y="12469"/>
                </a:cubicBezTo>
                <a:cubicBezTo>
                  <a:pt x="14313" y="12438"/>
                  <a:pt x="14375" y="12344"/>
                  <a:pt x="14469" y="12469"/>
                </a:cubicBezTo>
                <a:cubicBezTo>
                  <a:pt x="14500" y="12532"/>
                  <a:pt x="14531" y="12469"/>
                  <a:pt x="14563" y="12407"/>
                </a:cubicBezTo>
                <a:cubicBezTo>
                  <a:pt x="14563" y="12375"/>
                  <a:pt x="14563" y="12344"/>
                  <a:pt x="14531" y="12344"/>
                </a:cubicBezTo>
                <a:cubicBezTo>
                  <a:pt x="14469" y="12344"/>
                  <a:pt x="14438" y="12313"/>
                  <a:pt x="14344" y="12282"/>
                </a:cubicBezTo>
                <a:cubicBezTo>
                  <a:pt x="14500" y="12250"/>
                  <a:pt x="14594" y="12313"/>
                  <a:pt x="14625" y="12438"/>
                </a:cubicBezTo>
                <a:cubicBezTo>
                  <a:pt x="14625" y="12500"/>
                  <a:pt x="14688" y="12500"/>
                  <a:pt x="14719" y="12469"/>
                </a:cubicBezTo>
                <a:cubicBezTo>
                  <a:pt x="14875" y="12407"/>
                  <a:pt x="14875" y="12407"/>
                  <a:pt x="15000" y="12563"/>
                </a:cubicBezTo>
                <a:cubicBezTo>
                  <a:pt x="15031" y="12563"/>
                  <a:pt x="15031" y="12563"/>
                  <a:pt x="15031" y="12563"/>
                </a:cubicBezTo>
                <a:cubicBezTo>
                  <a:pt x="15313" y="12469"/>
                  <a:pt x="15531" y="12657"/>
                  <a:pt x="15813" y="12782"/>
                </a:cubicBezTo>
                <a:cubicBezTo>
                  <a:pt x="15656" y="12782"/>
                  <a:pt x="15500" y="12844"/>
                  <a:pt x="15406" y="12719"/>
                </a:cubicBezTo>
                <a:close/>
                <a:moveTo>
                  <a:pt x="16000" y="12969"/>
                </a:moveTo>
                <a:cubicBezTo>
                  <a:pt x="15938" y="12969"/>
                  <a:pt x="15938" y="12875"/>
                  <a:pt x="15938" y="12844"/>
                </a:cubicBezTo>
                <a:cubicBezTo>
                  <a:pt x="15906" y="12813"/>
                  <a:pt x="15938" y="12813"/>
                  <a:pt x="15969" y="12813"/>
                </a:cubicBezTo>
                <a:cubicBezTo>
                  <a:pt x="16031" y="12813"/>
                  <a:pt x="16094" y="12844"/>
                  <a:pt x="16094" y="12907"/>
                </a:cubicBezTo>
                <a:cubicBezTo>
                  <a:pt x="16094" y="12938"/>
                  <a:pt x="16031" y="12938"/>
                  <a:pt x="16000" y="12969"/>
                </a:cubicBezTo>
                <a:close/>
                <a:moveTo>
                  <a:pt x="18875" y="13532"/>
                </a:moveTo>
                <a:cubicBezTo>
                  <a:pt x="19000" y="13469"/>
                  <a:pt x="19125" y="13500"/>
                  <a:pt x="19250" y="13532"/>
                </a:cubicBezTo>
                <a:cubicBezTo>
                  <a:pt x="19125" y="13594"/>
                  <a:pt x="19000" y="13563"/>
                  <a:pt x="18875" y="13532"/>
                </a:cubicBezTo>
                <a:close/>
                <a:moveTo>
                  <a:pt x="22281" y="14125"/>
                </a:moveTo>
                <a:cubicBezTo>
                  <a:pt x="22219" y="14188"/>
                  <a:pt x="22156" y="14125"/>
                  <a:pt x="22094" y="14157"/>
                </a:cubicBezTo>
                <a:cubicBezTo>
                  <a:pt x="22125" y="14032"/>
                  <a:pt x="22188" y="14063"/>
                  <a:pt x="22250" y="14063"/>
                </a:cubicBezTo>
                <a:cubicBezTo>
                  <a:pt x="22281" y="14063"/>
                  <a:pt x="22281" y="14094"/>
                  <a:pt x="22281" y="14125"/>
                </a:cubicBezTo>
                <a:close/>
                <a:moveTo>
                  <a:pt x="22688" y="13813"/>
                </a:moveTo>
                <a:cubicBezTo>
                  <a:pt x="22688" y="13844"/>
                  <a:pt x="22656" y="13844"/>
                  <a:pt x="22625" y="13844"/>
                </a:cubicBezTo>
                <a:cubicBezTo>
                  <a:pt x="22563" y="13782"/>
                  <a:pt x="22500" y="13813"/>
                  <a:pt x="22438" y="13782"/>
                </a:cubicBezTo>
                <a:cubicBezTo>
                  <a:pt x="22469" y="13719"/>
                  <a:pt x="22625" y="13688"/>
                  <a:pt x="22656" y="13750"/>
                </a:cubicBezTo>
                <a:cubicBezTo>
                  <a:pt x="22688" y="13750"/>
                  <a:pt x="22688" y="13782"/>
                  <a:pt x="22688" y="13813"/>
                </a:cubicBezTo>
                <a:close/>
                <a:moveTo>
                  <a:pt x="30375" y="12500"/>
                </a:moveTo>
                <a:cubicBezTo>
                  <a:pt x="30375" y="12500"/>
                  <a:pt x="30375" y="12563"/>
                  <a:pt x="30344" y="12532"/>
                </a:cubicBezTo>
                <a:cubicBezTo>
                  <a:pt x="30313" y="12532"/>
                  <a:pt x="30313" y="12532"/>
                  <a:pt x="30281" y="12500"/>
                </a:cubicBezTo>
                <a:cubicBezTo>
                  <a:pt x="30281" y="12469"/>
                  <a:pt x="30281" y="12438"/>
                  <a:pt x="30313" y="12407"/>
                </a:cubicBezTo>
                <a:cubicBezTo>
                  <a:pt x="30375" y="12375"/>
                  <a:pt x="30438" y="12375"/>
                  <a:pt x="30469" y="12438"/>
                </a:cubicBezTo>
                <a:cubicBezTo>
                  <a:pt x="30438" y="12438"/>
                  <a:pt x="30406" y="12469"/>
                  <a:pt x="30375" y="12500"/>
                </a:cubicBezTo>
                <a:close/>
                <a:moveTo>
                  <a:pt x="30656" y="12407"/>
                </a:moveTo>
                <a:cubicBezTo>
                  <a:pt x="30594" y="12407"/>
                  <a:pt x="30563" y="12532"/>
                  <a:pt x="30469" y="12438"/>
                </a:cubicBezTo>
                <a:cubicBezTo>
                  <a:pt x="30500" y="12438"/>
                  <a:pt x="30500" y="12438"/>
                  <a:pt x="30500" y="12407"/>
                </a:cubicBezTo>
                <a:cubicBezTo>
                  <a:pt x="30531" y="12344"/>
                  <a:pt x="30594" y="12344"/>
                  <a:pt x="30656" y="12344"/>
                </a:cubicBezTo>
                <a:cubicBezTo>
                  <a:pt x="30688" y="12375"/>
                  <a:pt x="30656" y="12407"/>
                  <a:pt x="30656" y="12407"/>
                </a:cubicBezTo>
                <a:close/>
                <a:moveTo>
                  <a:pt x="34844" y="6407"/>
                </a:moveTo>
                <a:cubicBezTo>
                  <a:pt x="34875" y="6407"/>
                  <a:pt x="34875" y="6438"/>
                  <a:pt x="34875" y="6469"/>
                </a:cubicBezTo>
                <a:cubicBezTo>
                  <a:pt x="34875" y="6469"/>
                  <a:pt x="34844" y="6500"/>
                  <a:pt x="34844" y="6500"/>
                </a:cubicBezTo>
                <a:cubicBezTo>
                  <a:pt x="34750" y="6407"/>
                  <a:pt x="34656" y="6532"/>
                  <a:pt x="34563" y="6500"/>
                </a:cubicBezTo>
                <a:cubicBezTo>
                  <a:pt x="34656" y="6375"/>
                  <a:pt x="34750" y="6407"/>
                  <a:pt x="34844" y="6407"/>
                </a:cubicBezTo>
                <a:close/>
                <a:moveTo>
                  <a:pt x="28875" y="17219"/>
                </a:moveTo>
                <a:lnTo>
                  <a:pt x="28844" y="17188"/>
                </a:lnTo>
                <a:moveTo>
                  <a:pt x="28875" y="17188"/>
                </a:moveTo>
                <a:cubicBezTo>
                  <a:pt x="28875" y="17188"/>
                  <a:pt x="28875" y="17188"/>
                  <a:pt x="28875" y="17188"/>
                </a:cubicBezTo>
                <a:lnTo>
                  <a:pt x="28875" y="17188"/>
                </a:lnTo>
                <a:cubicBezTo>
                  <a:pt x="28875" y="17188"/>
                  <a:pt x="28875" y="17188"/>
                  <a:pt x="28875" y="17188"/>
                </a:cubicBezTo>
                <a:close/>
                <a:moveTo>
                  <a:pt x="8688" y="18469"/>
                </a:moveTo>
                <a:cubicBezTo>
                  <a:pt x="8719" y="18469"/>
                  <a:pt x="8719" y="18438"/>
                  <a:pt x="8750" y="18407"/>
                </a:cubicBezTo>
                <a:cubicBezTo>
                  <a:pt x="8750" y="18407"/>
                  <a:pt x="8719" y="18407"/>
                  <a:pt x="8719" y="18407"/>
                </a:cubicBezTo>
                <a:cubicBezTo>
                  <a:pt x="8625" y="18407"/>
                  <a:pt x="8531" y="18375"/>
                  <a:pt x="8469" y="18469"/>
                </a:cubicBezTo>
                <a:cubicBezTo>
                  <a:pt x="8563" y="18469"/>
                  <a:pt x="8625" y="18469"/>
                  <a:pt x="8688" y="18469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ED1AD61-E1D6-A744-9D3D-DDC38DEAB7E1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2CF2DB9-AC92-BF4E-8376-4FBDF42963C3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49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7" name="Freeform 90">
            <a:extLst>
              <a:ext uri="{FF2B5EF4-FFF2-40B4-BE49-F238E27FC236}">
                <a16:creationId xmlns:a16="http://schemas.microsoft.com/office/drawing/2014/main" id="{47C6D2FC-7AB7-F94D-9912-FE402D56178A}"/>
              </a:ext>
            </a:extLst>
          </p:cNvPr>
          <p:cNvSpPr>
            <a:spLocks noGrp="1" noEditPoints="1"/>
          </p:cNvSpPr>
          <p:nvPr>
            <p:ph type="pic" sz="quarter" idx="27"/>
          </p:nvPr>
        </p:nvSpPr>
        <p:spPr bwMode="auto">
          <a:xfrm>
            <a:off x="528291" y="4770562"/>
            <a:ext cx="22178464" cy="8191685"/>
          </a:xfrm>
          <a:custGeom>
            <a:avLst/>
            <a:gdLst>
              <a:gd name="T0" fmla="*/ 156 w 21344"/>
              <a:gd name="T1" fmla="*/ 5813 h 13875"/>
              <a:gd name="T2" fmla="*/ 1469 w 21344"/>
              <a:gd name="T3" fmla="*/ 6500 h 13875"/>
              <a:gd name="T4" fmla="*/ 812 w 21344"/>
              <a:gd name="T5" fmla="*/ 5844 h 13875"/>
              <a:gd name="T6" fmla="*/ 1219 w 21344"/>
              <a:gd name="T7" fmla="*/ 4688 h 13875"/>
              <a:gd name="T8" fmla="*/ 2125 w 21344"/>
              <a:gd name="T9" fmla="*/ 3938 h 13875"/>
              <a:gd name="T10" fmla="*/ 3187 w 21344"/>
              <a:gd name="T11" fmla="*/ 4250 h 13875"/>
              <a:gd name="T12" fmla="*/ 3656 w 21344"/>
              <a:gd name="T13" fmla="*/ 4719 h 13875"/>
              <a:gd name="T14" fmla="*/ 3219 w 21344"/>
              <a:gd name="T15" fmla="*/ 4125 h 13875"/>
              <a:gd name="T16" fmla="*/ 4375 w 21344"/>
              <a:gd name="T17" fmla="*/ 2657 h 13875"/>
              <a:gd name="T18" fmla="*/ 5250 w 21344"/>
              <a:gd name="T19" fmla="*/ 2094 h 13875"/>
              <a:gd name="T20" fmla="*/ 7250 w 21344"/>
              <a:gd name="T21" fmla="*/ 1719 h 13875"/>
              <a:gd name="T22" fmla="*/ 8375 w 21344"/>
              <a:gd name="T23" fmla="*/ 2813 h 13875"/>
              <a:gd name="T24" fmla="*/ 9094 w 21344"/>
              <a:gd name="T25" fmla="*/ 2313 h 13875"/>
              <a:gd name="T26" fmla="*/ 9344 w 21344"/>
              <a:gd name="T27" fmla="*/ 1469 h 13875"/>
              <a:gd name="T28" fmla="*/ 10156 w 21344"/>
              <a:gd name="T29" fmla="*/ 1032 h 13875"/>
              <a:gd name="T30" fmla="*/ 11719 w 21344"/>
              <a:gd name="T31" fmla="*/ 875 h 13875"/>
              <a:gd name="T32" fmla="*/ 11031 w 21344"/>
              <a:gd name="T33" fmla="*/ 282 h 13875"/>
              <a:gd name="T34" fmla="*/ 13031 w 21344"/>
              <a:gd name="T35" fmla="*/ 813 h 13875"/>
              <a:gd name="T36" fmla="*/ 15375 w 21344"/>
              <a:gd name="T37" fmla="*/ 500 h 13875"/>
              <a:gd name="T38" fmla="*/ 17281 w 21344"/>
              <a:gd name="T39" fmla="*/ 750 h 13875"/>
              <a:gd name="T40" fmla="*/ 18875 w 21344"/>
              <a:gd name="T41" fmla="*/ 94 h 13875"/>
              <a:gd name="T42" fmla="*/ 18625 w 21344"/>
              <a:gd name="T43" fmla="*/ 813 h 13875"/>
              <a:gd name="T44" fmla="*/ 19344 w 21344"/>
              <a:gd name="T45" fmla="*/ 813 h 13875"/>
              <a:gd name="T46" fmla="*/ 19781 w 21344"/>
              <a:gd name="T47" fmla="*/ 938 h 13875"/>
              <a:gd name="T48" fmla="*/ 20312 w 21344"/>
              <a:gd name="T49" fmla="*/ 1157 h 13875"/>
              <a:gd name="T50" fmla="*/ 19937 w 21344"/>
              <a:gd name="T51" fmla="*/ 2094 h 13875"/>
              <a:gd name="T52" fmla="*/ 19219 w 21344"/>
              <a:gd name="T53" fmla="*/ 3094 h 13875"/>
              <a:gd name="T54" fmla="*/ 19875 w 21344"/>
              <a:gd name="T55" fmla="*/ 3094 h 13875"/>
              <a:gd name="T56" fmla="*/ 20094 w 21344"/>
              <a:gd name="T57" fmla="*/ 3344 h 13875"/>
              <a:gd name="T58" fmla="*/ 20437 w 21344"/>
              <a:gd name="T59" fmla="*/ 3750 h 13875"/>
              <a:gd name="T60" fmla="*/ 21000 w 21344"/>
              <a:gd name="T61" fmla="*/ 4188 h 13875"/>
              <a:gd name="T62" fmla="*/ 20031 w 21344"/>
              <a:gd name="T63" fmla="*/ 4875 h 13875"/>
              <a:gd name="T64" fmla="*/ 17844 w 21344"/>
              <a:gd name="T65" fmla="*/ 6688 h 13875"/>
              <a:gd name="T66" fmla="*/ 18562 w 21344"/>
              <a:gd name="T67" fmla="*/ 6844 h 13875"/>
              <a:gd name="T68" fmla="*/ 16594 w 21344"/>
              <a:gd name="T69" fmla="*/ 8282 h 13875"/>
              <a:gd name="T70" fmla="*/ 17687 w 21344"/>
              <a:gd name="T71" fmla="*/ 8125 h 13875"/>
              <a:gd name="T72" fmla="*/ 16500 w 21344"/>
              <a:gd name="T73" fmla="*/ 8969 h 13875"/>
              <a:gd name="T74" fmla="*/ 18250 w 21344"/>
              <a:gd name="T75" fmla="*/ 8750 h 13875"/>
              <a:gd name="T76" fmla="*/ 19875 w 21344"/>
              <a:gd name="T77" fmla="*/ 8032 h 13875"/>
              <a:gd name="T78" fmla="*/ 19250 w 21344"/>
              <a:gd name="T79" fmla="*/ 8500 h 13875"/>
              <a:gd name="T80" fmla="*/ 20312 w 21344"/>
              <a:gd name="T81" fmla="*/ 8438 h 13875"/>
              <a:gd name="T82" fmla="*/ 21031 w 21344"/>
              <a:gd name="T83" fmla="*/ 8532 h 13875"/>
              <a:gd name="T84" fmla="*/ 20875 w 21344"/>
              <a:gd name="T85" fmla="*/ 9500 h 13875"/>
              <a:gd name="T86" fmla="*/ 20469 w 21344"/>
              <a:gd name="T87" fmla="*/ 10625 h 13875"/>
              <a:gd name="T88" fmla="*/ 16031 w 21344"/>
              <a:gd name="T89" fmla="*/ 12594 h 13875"/>
              <a:gd name="T90" fmla="*/ 14562 w 21344"/>
              <a:gd name="T91" fmla="*/ 13063 h 13875"/>
              <a:gd name="T92" fmla="*/ 11531 w 21344"/>
              <a:gd name="T93" fmla="*/ 13063 h 13875"/>
              <a:gd name="T94" fmla="*/ 8281 w 21344"/>
              <a:gd name="T95" fmla="*/ 12438 h 13875"/>
              <a:gd name="T96" fmla="*/ 11094 w 21344"/>
              <a:gd name="T97" fmla="*/ 13500 h 13875"/>
              <a:gd name="T98" fmla="*/ 12094 w 21344"/>
              <a:gd name="T99" fmla="*/ 13688 h 13875"/>
              <a:gd name="T100" fmla="*/ 6437 w 21344"/>
              <a:gd name="T101" fmla="*/ 12188 h 13875"/>
              <a:gd name="T102" fmla="*/ 3344 w 21344"/>
              <a:gd name="T103" fmla="*/ 9625 h 13875"/>
              <a:gd name="T104" fmla="*/ 1719 w 21344"/>
              <a:gd name="T105" fmla="*/ 7813 h 13875"/>
              <a:gd name="T106" fmla="*/ 8312 w 21344"/>
              <a:gd name="T107" fmla="*/ 1907 h 13875"/>
              <a:gd name="T108" fmla="*/ 17656 w 21344"/>
              <a:gd name="T109" fmla="*/ 13219 h 13875"/>
              <a:gd name="T110" fmla="*/ 18562 w 21344"/>
              <a:gd name="T111" fmla="*/ 12938 h 13875"/>
              <a:gd name="T112" fmla="*/ 15156 w 21344"/>
              <a:gd name="T113" fmla="*/ 13094 h 13875"/>
              <a:gd name="T114" fmla="*/ 10219 w 21344"/>
              <a:gd name="T115" fmla="*/ 532 h 13875"/>
              <a:gd name="T116" fmla="*/ 7937 w 21344"/>
              <a:gd name="T117" fmla="*/ 2125 h 1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344" h="13875">
                <a:moveTo>
                  <a:pt x="1281" y="6563"/>
                </a:moveTo>
                <a:cubicBezTo>
                  <a:pt x="1219" y="6657"/>
                  <a:pt x="1312" y="6688"/>
                  <a:pt x="1312" y="6782"/>
                </a:cubicBezTo>
                <a:cubicBezTo>
                  <a:pt x="1344" y="6688"/>
                  <a:pt x="1375" y="6625"/>
                  <a:pt x="1312" y="6532"/>
                </a:cubicBezTo>
                <a:cubicBezTo>
                  <a:pt x="1312" y="6532"/>
                  <a:pt x="1281" y="6563"/>
                  <a:pt x="1281" y="6563"/>
                </a:cubicBezTo>
                <a:close/>
                <a:moveTo>
                  <a:pt x="62" y="5594"/>
                </a:moveTo>
                <a:cubicBezTo>
                  <a:pt x="31" y="5594"/>
                  <a:pt x="0" y="5688"/>
                  <a:pt x="0" y="5750"/>
                </a:cubicBezTo>
                <a:cubicBezTo>
                  <a:pt x="31" y="5813"/>
                  <a:pt x="0" y="5907"/>
                  <a:pt x="94" y="5907"/>
                </a:cubicBezTo>
                <a:cubicBezTo>
                  <a:pt x="187" y="5938"/>
                  <a:pt x="125" y="5875"/>
                  <a:pt x="156" y="5813"/>
                </a:cubicBezTo>
                <a:cubicBezTo>
                  <a:pt x="94" y="5750"/>
                  <a:pt x="187" y="5625"/>
                  <a:pt x="62" y="5594"/>
                </a:cubicBezTo>
                <a:close/>
                <a:moveTo>
                  <a:pt x="1719" y="7813"/>
                </a:moveTo>
                <a:cubicBezTo>
                  <a:pt x="1719" y="7813"/>
                  <a:pt x="1719" y="7813"/>
                  <a:pt x="1750" y="7813"/>
                </a:cubicBezTo>
                <a:cubicBezTo>
                  <a:pt x="1844" y="7875"/>
                  <a:pt x="1875" y="7813"/>
                  <a:pt x="1844" y="7719"/>
                </a:cubicBezTo>
                <a:cubicBezTo>
                  <a:pt x="1812" y="7657"/>
                  <a:pt x="1781" y="7594"/>
                  <a:pt x="1781" y="7532"/>
                </a:cubicBezTo>
                <a:cubicBezTo>
                  <a:pt x="1844" y="7532"/>
                  <a:pt x="1812" y="7625"/>
                  <a:pt x="1875" y="7594"/>
                </a:cubicBezTo>
                <a:cubicBezTo>
                  <a:pt x="1937" y="7563"/>
                  <a:pt x="1875" y="7500"/>
                  <a:pt x="1906" y="7469"/>
                </a:cubicBezTo>
                <a:cubicBezTo>
                  <a:pt x="1812" y="7125"/>
                  <a:pt x="1594" y="6844"/>
                  <a:pt x="1469" y="6500"/>
                </a:cubicBezTo>
                <a:cubicBezTo>
                  <a:pt x="1437" y="6344"/>
                  <a:pt x="1469" y="6188"/>
                  <a:pt x="1437" y="6032"/>
                </a:cubicBezTo>
                <a:cubicBezTo>
                  <a:pt x="1406" y="6000"/>
                  <a:pt x="1437" y="5969"/>
                  <a:pt x="1500" y="6000"/>
                </a:cubicBezTo>
                <a:cubicBezTo>
                  <a:pt x="1531" y="6032"/>
                  <a:pt x="1562" y="6032"/>
                  <a:pt x="1625" y="6000"/>
                </a:cubicBezTo>
                <a:cubicBezTo>
                  <a:pt x="1594" y="5907"/>
                  <a:pt x="1500" y="5813"/>
                  <a:pt x="1469" y="5719"/>
                </a:cubicBezTo>
                <a:cubicBezTo>
                  <a:pt x="1469" y="5657"/>
                  <a:pt x="1344" y="5594"/>
                  <a:pt x="1281" y="5657"/>
                </a:cubicBezTo>
                <a:cubicBezTo>
                  <a:pt x="1125" y="5750"/>
                  <a:pt x="1062" y="5688"/>
                  <a:pt x="1000" y="5563"/>
                </a:cubicBezTo>
                <a:cubicBezTo>
                  <a:pt x="937" y="5532"/>
                  <a:pt x="1031" y="5375"/>
                  <a:pt x="906" y="5375"/>
                </a:cubicBezTo>
                <a:cubicBezTo>
                  <a:pt x="812" y="5532"/>
                  <a:pt x="781" y="5688"/>
                  <a:pt x="812" y="5844"/>
                </a:cubicBezTo>
                <a:cubicBezTo>
                  <a:pt x="812" y="5969"/>
                  <a:pt x="781" y="6000"/>
                  <a:pt x="656" y="5969"/>
                </a:cubicBezTo>
                <a:cubicBezTo>
                  <a:pt x="594" y="5938"/>
                  <a:pt x="469" y="5938"/>
                  <a:pt x="406" y="5969"/>
                </a:cubicBezTo>
                <a:cubicBezTo>
                  <a:pt x="281" y="6063"/>
                  <a:pt x="250" y="6000"/>
                  <a:pt x="219" y="5907"/>
                </a:cubicBezTo>
                <a:cubicBezTo>
                  <a:pt x="187" y="5657"/>
                  <a:pt x="219" y="5469"/>
                  <a:pt x="281" y="5250"/>
                </a:cubicBezTo>
                <a:cubicBezTo>
                  <a:pt x="344" y="5125"/>
                  <a:pt x="469" y="5125"/>
                  <a:pt x="562" y="5032"/>
                </a:cubicBezTo>
                <a:cubicBezTo>
                  <a:pt x="625" y="4969"/>
                  <a:pt x="750" y="4938"/>
                  <a:pt x="812" y="4844"/>
                </a:cubicBezTo>
                <a:cubicBezTo>
                  <a:pt x="844" y="4813"/>
                  <a:pt x="875" y="4782"/>
                  <a:pt x="906" y="4813"/>
                </a:cubicBezTo>
                <a:cubicBezTo>
                  <a:pt x="1094" y="4969"/>
                  <a:pt x="1156" y="4813"/>
                  <a:pt x="1219" y="4688"/>
                </a:cubicBezTo>
                <a:cubicBezTo>
                  <a:pt x="1281" y="4719"/>
                  <a:pt x="1344" y="4875"/>
                  <a:pt x="1469" y="4719"/>
                </a:cubicBezTo>
                <a:cubicBezTo>
                  <a:pt x="1500" y="4657"/>
                  <a:pt x="1531" y="4750"/>
                  <a:pt x="1562" y="4813"/>
                </a:cubicBezTo>
                <a:cubicBezTo>
                  <a:pt x="1562" y="4844"/>
                  <a:pt x="1531" y="4907"/>
                  <a:pt x="1531" y="4938"/>
                </a:cubicBezTo>
                <a:cubicBezTo>
                  <a:pt x="1531" y="5000"/>
                  <a:pt x="1531" y="5032"/>
                  <a:pt x="1625" y="5032"/>
                </a:cubicBezTo>
                <a:cubicBezTo>
                  <a:pt x="1687" y="5032"/>
                  <a:pt x="1687" y="5000"/>
                  <a:pt x="1687" y="4969"/>
                </a:cubicBezTo>
                <a:cubicBezTo>
                  <a:pt x="1656" y="4782"/>
                  <a:pt x="1750" y="4594"/>
                  <a:pt x="1719" y="4438"/>
                </a:cubicBezTo>
                <a:cubicBezTo>
                  <a:pt x="1719" y="4344"/>
                  <a:pt x="1781" y="4313"/>
                  <a:pt x="1812" y="4250"/>
                </a:cubicBezTo>
                <a:cubicBezTo>
                  <a:pt x="1875" y="4125"/>
                  <a:pt x="2031" y="4063"/>
                  <a:pt x="2125" y="3938"/>
                </a:cubicBezTo>
                <a:cubicBezTo>
                  <a:pt x="2156" y="3907"/>
                  <a:pt x="2219" y="3907"/>
                  <a:pt x="2281" y="3938"/>
                </a:cubicBezTo>
                <a:cubicBezTo>
                  <a:pt x="2406" y="4000"/>
                  <a:pt x="2531" y="4000"/>
                  <a:pt x="2531" y="3813"/>
                </a:cubicBezTo>
                <a:cubicBezTo>
                  <a:pt x="2562" y="3719"/>
                  <a:pt x="2625" y="3688"/>
                  <a:pt x="2687" y="3657"/>
                </a:cubicBezTo>
                <a:cubicBezTo>
                  <a:pt x="2719" y="3782"/>
                  <a:pt x="2969" y="3688"/>
                  <a:pt x="2875" y="3875"/>
                </a:cubicBezTo>
                <a:cubicBezTo>
                  <a:pt x="2844" y="3938"/>
                  <a:pt x="2812" y="4094"/>
                  <a:pt x="3000" y="4094"/>
                </a:cubicBezTo>
                <a:cubicBezTo>
                  <a:pt x="3062" y="4094"/>
                  <a:pt x="2969" y="4219"/>
                  <a:pt x="3062" y="4250"/>
                </a:cubicBezTo>
                <a:cubicBezTo>
                  <a:pt x="3094" y="4282"/>
                  <a:pt x="3062" y="4344"/>
                  <a:pt x="3125" y="4344"/>
                </a:cubicBezTo>
                <a:cubicBezTo>
                  <a:pt x="3219" y="4344"/>
                  <a:pt x="3187" y="4282"/>
                  <a:pt x="3187" y="4250"/>
                </a:cubicBezTo>
                <a:cubicBezTo>
                  <a:pt x="3187" y="4125"/>
                  <a:pt x="3250" y="4157"/>
                  <a:pt x="3312" y="4188"/>
                </a:cubicBezTo>
                <a:cubicBezTo>
                  <a:pt x="3344" y="4250"/>
                  <a:pt x="3406" y="4313"/>
                  <a:pt x="3406" y="4375"/>
                </a:cubicBezTo>
                <a:cubicBezTo>
                  <a:pt x="3437" y="4594"/>
                  <a:pt x="3500" y="4813"/>
                  <a:pt x="3594" y="5000"/>
                </a:cubicBezTo>
                <a:cubicBezTo>
                  <a:pt x="3656" y="5094"/>
                  <a:pt x="3750" y="4969"/>
                  <a:pt x="3812" y="4938"/>
                </a:cubicBezTo>
                <a:cubicBezTo>
                  <a:pt x="3812" y="4782"/>
                  <a:pt x="3812" y="4657"/>
                  <a:pt x="3781" y="4500"/>
                </a:cubicBezTo>
                <a:cubicBezTo>
                  <a:pt x="3687" y="4375"/>
                  <a:pt x="3750" y="4219"/>
                  <a:pt x="3687" y="4063"/>
                </a:cubicBezTo>
                <a:cubicBezTo>
                  <a:pt x="3656" y="4000"/>
                  <a:pt x="3687" y="3938"/>
                  <a:pt x="3594" y="3907"/>
                </a:cubicBezTo>
                <a:cubicBezTo>
                  <a:pt x="3594" y="4188"/>
                  <a:pt x="3625" y="4438"/>
                  <a:pt x="3656" y="4719"/>
                </a:cubicBezTo>
                <a:cubicBezTo>
                  <a:pt x="3562" y="4532"/>
                  <a:pt x="3406" y="4344"/>
                  <a:pt x="3469" y="4125"/>
                </a:cubicBezTo>
                <a:cubicBezTo>
                  <a:pt x="3469" y="4094"/>
                  <a:pt x="3469" y="4094"/>
                  <a:pt x="3469" y="4094"/>
                </a:cubicBezTo>
                <a:cubicBezTo>
                  <a:pt x="3250" y="4032"/>
                  <a:pt x="3250" y="4032"/>
                  <a:pt x="3375" y="3844"/>
                </a:cubicBezTo>
                <a:cubicBezTo>
                  <a:pt x="3375" y="3813"/>
                  <a:pt x="3375" y="3750"/>
                  <a:pt x="3437" y="3782"/>
                </a:cubicBezTo>
                <a:cubicBezTo>
                  <a:pt x="3469" y="3782"/>
                  <a:pt x="3437" y="3844"/>
                  <a:pt x="3406" y="3875"/>
                </a:cubicBezTo>
                <a:cubicBezTo>
                  <a:pt x="3406" y="3938"/>
                  <a:pt x="3406" y="4000"/>
                  <a:pt x="3500" y="4032"/>
                </a:cubicBezTo>
                <a:cubicBezTo>
                  <a:pt x="3469" y="3907"/>
                  <a:pt x="3625" y="3782"/>
                  <a:pt x="3500" y="3657"/>
                </a:cubicBezTo>
                <a:cubicBezTo>
                  <a:pt x="3219" y="3719"/>
                  <a:pt x="3281" y="3938"/>
                  <a:pt x="3219" y="4125"/>
                </a:cubicBezTo>
                <a:cubicBezTo>
                  <a:pt x="3156" y="4094"/>
                  <a:pt x="3187" y="4063"/>
                  <a:pt x="3187" y="4000"/>
                </a:cubicBezTo>
                <a:cubicBezTo>
                  <a:pt x="3187" y="3969"/>
                  <a:pt x="3187" y="3907"/>
                  <a:pt x="3187" y="3875"/>
                </a:cubicBezTo>
                <a:cubicBezTo>
                  <a:pt x="3156" y="3813"/>
                  <a:pt x="3187" y="3657"/>
                  <a:pt x="3000" y="3719"/>
                </a:cubicBezTo>
                <a:cubicBezTo>
                  <a:pt x="2969" y="3719"/>
                  <a:pt x="2937" y="3563"/>
                  <a:pt x="2969" y="3500"/>
                </a:cubicBezTo>
                <a:cubicBezTo>
                  <a:pt x="3000" y="3407"/>
                  <a:pt x="3094" y="3344"/>
                  <a:pt x="3187" y="3282"/>
                </a:cubicBezTo>
                <a:cubicBezTo>
                  <a:pt x="3406" y="3063"/>
                  <a:pt x="3625" y="2813"/>
                  <a:pt x="4000" y="2782"/>
                </a:cubicBezTo>
                <a:cubicBezTo>
                  <a:pt x="4094" y="2750"/>
                  <a:pt x="4187" y="2719"/>
                  <a:pt x="4312" y="2750"/>
                </a:cubicBezTo>
                <a:cubicBezTo>
                  <a:pt x="4344" y="2750"/>
                  <a:pt x="4437" y="2750"/>
                  <a:pt x="4375" y="2657"/>
                </a:cubicBezTo>
                <a:cubicBezTo>
                  <a:pt x="4375" y="2625"/>
                  <a:pt x="4375" y="2625"/>
                  <a:pt x="4375" y="2625"/>
                </a:cubicBezTo>
                <a:cubicBezTo>
                  <a:pt x="4531" y="2625"/>
                  <a:pt x="4594" y="2500"/>
                  <a:pt x="4719" y="2469"/>
                </a:cubicBezTo>
                <a:cubicBezTo>
                  <a:pt x="4750" y="2438"/>
                  <a:pt x="4781" y="2407"/>
                  <a:pt x="4781" y="2375"/>
                </a:cubicBezTo>
                <a:cubicBezTo>
                  <a:pt x="4812" y="2313"/>
                  <a:pt x="4844" y="2250"/>
                  <a:pt x="4906" y="2219"/>
                </a:cubicBezTo>
                <a:cubicBezTo>
                  <a:pt x="4937" y="2188"/>
                  <a:pt x="5000" y="2000"/>
                  <a:pt x="5031" y="2219"/>
                </a:cubicBezTo>
                <a:cubicBezTo>
                  <a:pt x="5031" y="2219"/>
                  <a:pt x="5062" y="2250"/>
                  <a:pt x="5094" y="2250"/>
                </a:cubicBezTo>
                <a:cubicBezTo>
                  <a:pt x="5125" y="2250"/>
                  <a:pt x="5156" y="2219"/>
                  <a:pt x="5125" y="2188"/>
                </a:cubicBezTo>
                <a:cubicBezTo>
                  <a:pt x="5125" y="2063"/>
                  <a:pt x="5156" y="2063"/>
                  <a:pt x="5250" y="2094"/>
                </a:cubicBezTo>
                <a:cubicBezTo>
                  <a:pt x="5344" y="2125"/>
                  <a:pt x="5437" y="2094"/>
                  <a:pt x="5469" y="2000"/>
                </a:cubicBezTo>
                <a:cubicBezTo>
                  <a:pt x="5500" y="1844"/>
                  <a:pt x="5687" y="1688"/>
                  <a:pt x="5844" y="1688"/>
                </a:cubicBezTo>
                <a:cubicBezTo>
                  <a:pt x="5875" y="1688"/>
                  <a:pt x="5906" y="1719"/>
                  <a:pt x="5906" y="1719"/>
                </a:cubicBezTo>
                <a:cubicBezTo>
                  <a:pt x="6000" y="1469"/>
                  <a:pt x="6281" y="1625"/>
                  <a:pt x="6406" y="1500"/>
                </a:cubicBezTo>
                <a:cubicBezTo>
                  <a:pt x="6406" y="1500"/>
                  <a:pt x="6437" y="1532"/>
                  <a:pt x="6437" y="1532"/>
                </a:cubicBezTo>
                <a:cubicBezTo>
                  <a:pt x="6500" y="1563"/>
                  <a:pt x="6562" y="1563"/>
                  <a:pt x="6625" y="1563"/>
                </a:cubicBezTo>
                <a:cubicBezTo>
                  <a:pt x="6812" y="1594"/>
                  <a:pt x="7031" y="1594"/>
                  <a:pt x="7219" y="1625"/>
                </a:cubicBezTo>
                <a:cubicBezTo>
                  <a:pt x="7281" y="1625"/>
                  <a:pt x="7250" y="1657"/>
                  <a:pt x="7250" y="1719"/>
                </a:cubicBezTo>
                <a:cubicBezTo>
                  <a:pt x="7250" y="1813"/>
                  <a:pt x="7250" y="1938"/>
                  <a:pt x="7281" y="2032"/>
                </a:cubicBezTo>
                <a:cubicBezTo>
                  <a:pt x="7312" y="2125"/>
                  <a:pt x="7437" y="2094"/>
                  <a:pt x="7500" y="2063"/>
                </a:cubicBezTo>
                <a:cubicBezTo>
                  <a:pt x="7594" y="2000"/>
                  <a:pt x="7625" y="2032"/>
                  <a:pt x="7687" y="2094"/>
                </a:cubicBezTo>
                <a:cubicBezTo>
                  <a:pt x="7781" y="2188"/>
                  <a:pt x="7906" y="2188"/>
                  <a:pt x="8000" y="2282"/>
                </a:cubicBezTo>
                <a:cubicBezTo>
                  <a:pt x="8250" y="2438"/>
                  <a:pt x="8281" y="2500"/>
                  <a:pt x="8219" y="2750"/>
                </a:cubicBezTo>
                <a:cubicBezTo>
                  <a:pt x="8187" y="2782"/>
                  <a:pt x="8219" y="2813"/>
                  <a:pt x="8219" y="2844"/>
                </a:cubicBezTo>
                <a:cubicBezTo>
                  <a:pt x="8250" y="2875"/>
                  <a:pt x="8312" y="2875"/>
                  <a:pt x="8344" y="2875"/>
                </a:cubicBezTo>
                <a:cubicBezTo>
                  <a:pt x="8375" y="2844"/>
                  <a:pt x="8406" y="2844"/>
                  <a:pt x="8375" y="2813"/>
                </a:cubicBezTo>
                <a:cubicBezTo>
                  <a:pt x="8344" y="2719"/>
                  <a:pt x="8375" y="2594"/>
                  <a:pt x="8312" y="2500"/>
                </a:cubicBezTo>
                <a:cubicBezTo>
                  <a:pt x="8250" y="2375"/>
                  <a:pt x="8281" y="2094"/>
                  <a:pt x="8375" y="2000"/>
                </a:cubicBezTo>
                <a:cubicBezTo>
                  <a:pt x="8406" y="2032"/>
                  <a:pt x="8344" y="2157"/>
                  <a:pt x="8469" y="2188"/>
                </a:cubicBezTo>
                <a:cubicBezTo>
                  <a:pt x="8531" y="2063"/>
                  <a:pt x="8344" y="2000"/>
                  <a:pt x="8437" y="1907"/>
                </a:cubicBezTo>
                <a:cubicBezTo>
                  <a:pt x="8500" y="1844"/>
                  <a:pt x="8625" y="1813"/>
                  <a:pt x="8687" y="1750"/>
                </a:cubicBezTo>
                <a:cubicBezTo>
                  <a:pt x="8687" y="1782"/>
                  <a:pt x="8719" y="1844"/>
                  <a:pt x="8719" y="1907"/>
                </a:cubicBezTo>
                <a:cubicBezTo>
                  <a:pt x="8812" y="1750"/>
                  <a:pt x="8906" y="1782"/>
                  <a:pt x="8937" y="1907"/>
                </a:cubicBezTo>
                <a:cubicBezTo>
                  <a:pt x="8969" y="2063"/>
                  <a:pt x="9094" y="2157"/>
                  <a:pt x="9094" y="2313"/>
                </a:cubicBezTo>
                <a:cubicBezTo>
                  <a:pt x="9094" y="2344"/>
                  <a:pt x="9125" y="2375"/>
                  <a:pt x="9156" y="2344"/>
                </a:cubicBezTo>
                <a:cubicBezTo>
                  <a:pt x="9187" y="2344"/>
                  <a:pt x="9219" y="2313"/>
                  <a:pt x="9156" y="2282"/>
                </a:cubicBezTo>
                <a:cubicBezTo>
                  <a:pt x="9125" y="2219"/>
                  <a:pt x="9094" y="2157"/>
                  <a:pt x="9219" y="2125"/>
                </a:cubicBezTo>
                <a:cubicBezTo>
                  <a:pt x="9250" y="2125"/>
                  <a:pt x="9250" y="2094"/>
                  <a:pt x="9250" y="2094"/>
                </a:cubicBezTo>
                <a:cubicBezTo>
                  <a:pt x="9156" y="2000"/>
                  <a:pt x="9250" y="1875"/>
                  <a:pt x="9125" y="1782"/>
                </a:cubicBezTo>
                <a:cubicBezTo>
                  <a:pt x="9062" y="1750"/>
                  <a:pt x="9062" y="1657"/>
                  <a:pt x="9094" y="1563"/>
                </a:cubicBezTo>
                <a:cubicBezTo>
                  <a:pt x="9125" y="1500"/>
                  <a:pt x="9187" y="1563"/>
                  <a:pt x="9219" y="1563"/>
                </a:cubicBezTo>
                <a:cubicBezTo>
                  <a:pt x="9312" y="1594"/>
                  <a:pt x="9219" y="1438"/>
                  <a:pt x="9344" y="1469"/>
                </a:cubicBezTo>
                <a:cubicBezTo>
                  <a:pt x="9375" y="1469"/>
                  <a:pt x="9531" y="1469"/>
                  <a:pt x="9375" y="1344"/>
                </a:cubicBezTo>
                <a:cubicBezTo>
                  <a:pt x="9344" y="1313"/>
                  <a:pt x="9406" y="1282"/>
                  <a:pt x="9437" y="1282"/>
                </a:cubicBezTo>
                <a:cubicBezTo>
                  <a:pt x="9500" y="1250"/>
                  <a:pt x="9594" y="1282"/>
                  <a:pt x="9594" y="1344"/>
                </a:cubicBezTo>
                <a:cubicBezTo>
                  <a:pt x="9656" y="1532"/>
                  <a:pt x="9750" y="1438"/>
                  <a:pt x="9844" y="1375"/>
                </a:cubicBezTo>
                <a:cubicBezTo>
                  <a:pt x="9906" y="1313"/>
                  <a:pt x="9937" y="1282"/>
                  <a:pt x="9875" y="1188"/>
                </a:cubicBezTo>
                <a:cubicBezTo>
                  <a:pt x="9844" y="1188"/>
                  <a:pt x="9844" y="1157"/>
                  <a:pt x="9875" y="1094"/>
                </a:cubicBezTo>
                <a:cubicBezTo>
                  <a:pt x="9875" y="1063"/>
                  <a:pt x="9937" y="1063"/>
                  <a:pt x="9969" y="1094"/>
                </a:cubicBezTo>
                <a:cubicBezTo>
                  <a:pt x="10062" y="1188"/>
                  <a:pt x="10125" y="1125"/>
                  <a:pt x="10156" y="1032"/>
                </a:cubicBezTo>
                <a:cubicBezTo>
                  <a:pt x="10187" y="1000"/>
                  <a:pt x="10219" y="907"/>
                  <a:pt x="10312" y="1000"/>
                </a:cubicBezTo>
                <a:cubicBezTo>
                  <a:pt x="10312" y="1032"/>
                  <a:pt x="10344" y="1032"/>
                  <a:pt x="10375" y="1032"/>
                </a:cubicBezTo>
                <a:cubicBezTo>
                  <a:pt x="10406" y="1000"/>
                  <a:pt x="10406" y="969"/>
                  <a:pt x="10375" y="938"/>
                </a:cubicBezTo>
                <a:cubicBezTo>
                  <a:pt x="10281" y="844"/>
                  <a:pt x="10375" y="875"/>
                  <a:pt x="10437" y="844"/>
                </a:cubicBezTo>
                <a:cubicBezTo>
                  <a:pt x="10562" y="844"/>
                  <a:pt x="10687" y="750"/>
                  <a:pt x="10812" y="875"/>
                </a:cubicBezTo>
                <a:cubicBezTo>
                  <a:pt x="10812" y="907"/>
                  <a:pt x="10844" y="907"/>
                  <a:pt x="10844" y="907"/>
                </a:cubicBezTo>
                <a:cubicBezTo>
                  <a:pt x="11125" y="750"/>
                  <a:pt x="11406" y="1000"/>
                  <a:pt x="11687" y="907"/>
                </a:cubicBezTo>
                <a:cubicBezTo>
                  <a:pt x="11719" y="907"/>
                  <a:pt x="11719" y="907"/>
                  <a:pt x="11719" y="875"/>
                </a:cubicBezTo>
                <a:cubicBezTo>
                  <a:pt x="11687" y="844"/>
                  <a:pt x="11719" y="844"/>
                  <a:pt x="11750" y="813"/>
                </a:cubicBezTo>
                <a:cubicBezTo>
                  <a:pt x="11687" y="750"/>
                  <a:pt x="11625" y="750"/>
                  <a:pt x="11531" y="719"/>
                </a:cubicBezTo>
                <a:cubicBezTo>
                  <a:pt x="11344" y="719"/>
                  <a:pt x="11156" y="782"/>
                  <a:pt x="10969" y="688"/>
                </a:cubicBezTo>
                <a:cubicBezTo>
                  <a:pt x="10906" y="657"/>
                  <a:pt x="10844" y="750"/>
                  <a:pt x="10781" y="688"/>
                </a:cubicBezTo>
                <a:cubicBezTo>
                  <a:pt x="10937" y="532"/>
                  <a:pt x="10719" y="563"/>
                  <a:pt x="10656" y="469"/>
                </a:cubicBezTo>
                <a:cubicBezTo>
                  <a:pt x="10812" y="469"/>
                  <a:pt x="10937" y="438"/>
                  <a:pt x="10906" y="250"/>
                </a:cubicBezTo>
                <a:cubicBezTo>
                  <a:pt x="10906" y="250"/>
                  <a:pt x="10937" y="219"/>
                  <a:pt x="10969" y="219"/>
                </a:cubicBezTo>
                <a:cubicBezTo>
                  <a:pt x="11000" y="219"/>
                  <a:pt x="11000" y="250"/>
                  <a:pt x="11031" y="282"/>
                </a:cubicBezTo>
                <a:cubicBezTo>
                  <a:pt x="11031" y="344"/>
                  <a:pt x="10969" y="438"/>
                  <a:pt x="11062" y="469"/>
                </a:cubicBezTo>
                <a:cubicBezTo>
                  <a:pt x="11187" y="500"/>
                  <a:pt x="11312" y="532"/>
                  <a:pt x="11406" y="469"/>
                </a:cubicBezTo>
                <a:cubicBezTo>
                  <a:pt x="11531" y="375"/>
                  <a:pt x="11687" y="313"/>
                  <a:pt x="11875" y="407"/>
                </a:cubicBezTo>
                <a:cubicBezTo>
                  <a:pt x="12000" y="469"/>
                  <a:pt x="12187" y="500"/>
                  <a:pt x="12344" y="500"/>
                </a:cubicBezTo>
                <a:cubicBezTo>
                  <a:pt x="12406" y="469"/>
                  <a:pt x="12500" y="500"/>
                  <a:pt x="12531" y="563"/>
                </a:cubicBezTo>
                <a:cubicBezTo>
                  <a:pt x="12594" y="594"/>
                  <a:pt x="12625" y="594"/>
                  <a:pt x="12656" y="625"/>
                </a:cubicBezTo>
                <a:cubicBezTo>
                  <a:pt x="12844" y="625"/>
                  <a:pt x="12937" y="688"/>
                  <a:pt x="13031" y="813"/>
                </a:cubicBezTo>
                <a:cubicBezTo>
                  <a:pt x="13031" y="813"/>
                  <a:pt x="13031" y="813"/>
                  <a:pt x="13031" y="813"/>
                </a:cubicBezTo>
                <a:cubicBezTo>
                  <a:pt x="13156" y="813"/>
                  <a:pt x="13219" y="907"/>
                  <a:pt x="13312" y="938"/>
                </a:cubicBezTo>
                <a:cubicBezTo>
                  <a:pt x="13500" y="1032"/>
                  <a:pt x="13656" y="969"/>
                  <a:pt x="13844" y="907"/>
                </a:cubicBezTo>
                <a:cubicBezTo>
                  <a:pt x="13969" y="875"/>
                  <a:pt x="13969" y="938"/>
                  <a:pt x="13969" y="1032"/>
                </a:cubicBezTo>
                <a:cubicBezTo>
                  <a:pt x="14031" y="1032"/>
                  <a:pt x="14094" y="1032"/>
                  <a:pt x="14156" y="1032"/>
                </a:cubicBezTo>
                <a:cubicBezTo>
                  <a:pt x="14281" y="813"/>
                  <a:pt x="14469" y="875"/>
                  <a:pt x="14656" y="938"/>
                </a:cubicBezTo>
                <a:cubicBezTo>
                  <a:pt x="14719" y="938"/>
                  <a:pt x="14750" y="907"/>
                  <a:pt x="14781" y="907"/>
                </a:cubicBezTo>
                <a:cubicBezTo>
                  <a:pt x="14937" y="719"/>
                  <a:pt x="15156" y="657"/>
                  <a:pt x="15312" y="500"/>
                </a:cubicBezTo>
                <a:cubicBezTo>
                  <a:pt x="15344" y="500"/>
                  <a:pt x="15375" y="500"/>
                  <a:pt x="15375" y="500"/>
                </a:cubicBezTo>
                <a:cubicBezTo>
                  <a:pt x="15594" y="625"/>
                  <a:pt x="15750" y="438"/>
                  <a:pt x="15906" y="344"/>
                </a:cubicBezTo>
                <a:cubicBezTo>
                  <a:pt x="16000" y="313"/>
                  <a:pt x="16062" y="282"/>
                  <a:pt x="16125" y="344"/>
                </a:cubicBezTo>
                <a:cubicBezTo>
                  <a:pt x="16187" y="407"/>
                  <a:pt x="16250" y="407"/>
                  <a:pt x="16312" y="375"/>
                </a:cubicBezTo>
                <a:cubicBezTo>
                  <a:pt x="16437" y="344"/>
                  <a:pt x="16562" y="375"/>
                  <a:pt x="16719" y="219"/>
                </a:cubicBezTo>
                <a:cubicBezTo>
                  <a:pt x="16656" y="438"/>
                  <a:pt x="16500" y="594"/>
                  <a:pt x="16687" y="750"/>
                </a:cubicBezTo>
                <a:cubicBezTo>
                  <a:pt x="16750" y="719"/>
                  <a:pt x="16812" y="688"/>
                  <a:pt x="16875" y="657"/>
                </a:cubicBezTo>
                <a:cubicBezTo>
                  <a:pt x="17125" y="469"/>
                  <a:pt x="17344" y="250"/>
                  <a:pt x="17687" y="407"/>
                </a:cubicBezTo>
                <a:cubicBezTo>
                  <a:pt x="17562" y="563"/>
                  <a:pt x="17375" y="594"/>
                  <a:pt x="17281" y="750"/>
                </a:cubicBezTo>
                <a:cubicBezTo>
                  <a:pt x="17375" y="782"/>
                  <a:pt x="17469" y="813"/>
                  <a:pt x="17500" y="750"/>
                </a:cubicBezTo>
                <a:cubicBezTo>
                  <a:pt x="17594" y="594"/>
                  <a:pt x="17781" y="532"/>
                  <a:pt x="17875" y="407"/>
                </a:cubicBezTo>
                <a:cubicBezTo>
                  <a:pt x="17937" y="313"/>
                  <a:pt x="18062" y="407"/>
                  <a:pt x="18156" y="344"/>
                </a:cubicBezTo>
                <a:cubicBezTo>
                  <a:pt x="18187" y="282"/>
                  <a:pt x="18281" y="282"/>
                  <a:pt x="18312" y="250"/>
                </a:cubicBezTo>
                <a:cubicBezTo>
                  <a:pt x="18437" y="157"/>
                  <a:pt x="18500" y="0"/>
                  <a:pt x="18687" y="125"/>
                </a:cubicBezTo>
                <a:cubicBezTo>
                  <a:pt x="18719" y="125"/>
                  <a:pt x="18781" y="94"/>
                  <a:pt x="18844" y="63"/>
                </a:cubicBezTo>
                <a:cubicBezTo>
                  <a:pt x="18844" y="63"/>
                  <a:pt x="18844" y="63"/>
                  <a:pt x="18875" y="32"/>
                </a:cubicBezTo>
                <a:cubicBezTo>
                  <a:pt x="18875" y="63"/>
                  <a:pt x="18875" y="63"/>
                  <a:pt x="18875" y="94"/>
                </a:cubicBezTo>
                <a:cubicBezTo>
                  <a:pt x="18687" y="188"/>
                  <a:pt x="18531" y="313"/>
                  <a:pt x="18375" y="438"/>
                </a:cubicBezTo>
                <a:cubicBezTo>
                  <a:pt x="18344" y="469"/>
                  <a:pt x="18281" y="469"/>
                  <a:pt x="18281" y="532"/>
                </a:cubicBezTo>
                <a:cubicBezTo>
                  <a:pt x="18312" y="563"/>
                  <a:pt x="18375" y="563"/>
                  <a:pt x="18406" y="563"/>
                </a:cubicBezTo>
                <a:cubicBezTo>
                  <a:pt x="18531" y="469"/>
                  <a:pt x="18625" y="375"/>
                  <a:pt x="18781" y="375"/>
                </a:cubicBezTo>
                <a:cubicBezTo>
                  <a:pt x="18781" y="469"/>
                  <a:pt x="18656" y="469"/>
                  <a:pt x="18625" y="532"/>
                </a:cubicBezTo>
                <a:cubicBezTo>
                  <a:pt x="18594" y="688"/>
                  <a:pt x="18687" y="625"/>
                  <a:pt x="18750" y="594"/>
                </a:cubicBezTo>
                <a:cubicBezTo>
                  <a:pt x="18875" y="594"/>
                  <a:pt x="18937" y="438"/>
                  <a:pt x="19125" y="469"/>
                </a:cubicBezTo>
                <a:cubicBezTo>
                  <a:pt x="18969" y="625"/>
                  <a:pt x="18781" y="719"/>
                  <a:pt x="18625" y="813"/>
                </a:cubicBezTo>
                <a:cubicBezTo>
                  <a:pt x="18406" y="938"/>
                  <a:pt x="18187" y="1063"/>
                  <a:pt x="18000" y="1219"/>
                </a:cubicBezTo>
                <a:cubicBezTo>
                  <a:pt x="18000" y="1313"/>
                  <a:pt x="18000" y="1375"/>
                  <a:pt x="18000" y="1469"/>
                </a:cubicBezTo>
                <a:cubicBezTo>
                  <a:pt x="18031" y="1438"/>
                  <a:pt x="18094" y="1438"/>
                  <a:pt x="18125" y="1469"/>
                </a:cubicBezTo>
                <a:cubicBezTo>
                  <a:pt x="18219" y="1188"/>
                  <a:pt x="18219" y="1188"/>
                  <a:pt x="18562" y="1063"/>
                </a:cubicBezTo>
                <a:cubicBezTo>
                  <a:pt x="18750" y="1000"/>
                  <a:pt x="18937" y="907"/>
                  <a:pt x="19125" y="782"/>
                </a:cubicBezTo>
                <a:cubicBezTo>
                  <a:pt x="19375" y="594"/>
                  <a:pt x="19656" y="438"/>
                  <a:pt x="19937" y="282"/>
                </a:cubicBezTo>
                <a:cubicBezTo>
                  <a:pt x="19969" y="344"/>
                  <a:pt x="19969" y="375"/>
                  <a:pt x="19906" y="407"/>
                </a:cubicBezTo>
                <a:cubicBezTo>
                  <a:pt x="19719" y="500"/>
                  <a:pt x="19562" y="688"/>
                  <a:pt x="19344" y="813"/>
                </a:cubicBezTo>
                <a:cubicBezTo>
                  <a:pt x="19250" y="844"/>
                  <a:pt x="19156" y="907"/>
                  <a:pt x="19312" y="1000"/>
                </a:cubicBezTo>
                <a:cubicBezTo>
                  <a:pt x="19344" y="1000"/>
                  <a:pt x="19375" y="1000"/>
                  <a:pt x="19375" y="1000"/>
                </a:cubicBezTo>
                <a:cubicBezTo>
                  <a:pt x="19406" y="938"/>
                  <a:pt x="19437" y="938"/>
                  <a:pt x="19500" y="938"/>
                </a:cubicBezTo>
                <a:cubicBezTo>
                  <a:pt x="19500" y="938"/>
                  <a:pt x="19531" y="938"/>
                  <a:pt x="19531" y="938"/>
                </a:cubicBezTo>
                <a:cubicBezTo>
                  <a:pt x="19562" y="875"/>
                  <a:pt x="19625" y="844"/>
                  <a:pt x="19687" y="844"/>
                </a:cubicBezTo>
                <a:cubicBezTo>
                  <a:pt x="19781" y="750"/>
                  <a:pt x="19844" y="688"/>
                  <a:pt x="19969" y="657"/>
                </a:cubicBezTo>
                <a:cubicBezTo>
                  <a:pt x="20000" y="782"/>
                  <a:pt x="19906" y="813"/>
                  <a:pt x="19844" y="875"/>
                </a:cubicBezTo>
                <a:cubicBezTo>
                  <a:pt x="19844" y="907"/>
                  <a:pt x="19812" y="907"/>
                  <a:pt x="19781" y="938"/>
                </a:cubicBezTo>
                <a:cubicBezTo>
                  <a:pt x="19719" y="969"/>
                  <a:pt x="19625" y="1032"/>
                  <a:pt x="19656" y="1125"/>
                </a:cubicBezTo>
                <a:cubicBezTo>
                  <a:pt x="19719" y="1219"/>
                  <a:pt x="19781" y="1125"/>
                  <a:pt x="19875" y="1125"/>
                </a:cubicBezTo>
                <a:cubicBezTo>
                  <a:pt x="20031" y="1032"/>
                  <a:pt x="20187" y="969"/>
                  <a:pt x="20344" y="875"/>
                </a:cubicBezTo>
                <a:cubicBezTo>
                  <a:pt x="20281" y="938"/>
                  <a:pt x="20219" y="1000"/>
                  <a:pt x="20156" y="1032"/>
                </a:cubicBezTo>
                <a:cubicBezTo>
                  <a:pt x="20094" y="1063"/>
                  <a:pt x="20062" y="1094"/>
                  <a:pt x="20094" y="1125"/>
                </a:cubicBezTo>
                <a:cubicBezTo>
                  <a:pt x="20094" y="1157"/>
                  <a:pt x="20156" y="1157"/>
                  <a:pt x="20187" y="1157"/>
                </a:cubicBezTo>
                <a:cubicBezTo>
                  <a:pt x="20187" y="1157"/>
                  <a:pt x="20219" y="1125"/>
                  <a:pt x="20219" y="1125"/>
                </a:cubicBezTo>
                <a:cubicBezTo>
                  <a:pt x="20281" y="1125"/>
                  <a:pt x="20281" y="1157"/>
                  <a:pt x="20312" y="1157"/>
                </a:cubicBezTo>
                <a:cubicBezTo>
                  <a:pt x="20312" y="1188"/>
                  <a:pt x="20281" y="1219"/>
                  <a:pt x="20250" y="1219"/>
                </a:cubicBezTo>
                <a:cubicBezTo>
                  <a:pt x="20187" y="1250"/>
                  <a:pt x="20062" y="1219"/>
                  <a:pt x="20156" y="1375"/>
                </a:cubicBezTo>
                <a:cubicBezTo>
                  <a:pt x="20187" y="1375"/>
                  <a:pt x="20250" y="1375"/>
                  <a:pt x="20312" y="1375"/>
                </a:cubicBezTo>
                <a:cubicBezTo>
                  <a:pt x="20187" y="1532"/>
                  <a:pt x="20000" y="1563"/>
                  <a:pt x="19875" y="1688"/>
                </a:cubicBezTo>
                <a:cubicBezTo>
                  <a:pt x="19562" y="1875"/>
                  <a:pt x="19312" y="2188"/>
                  <a:pt x="18969" y="2375"/>
                </a:cubicBezTo>
                <a:cubicBezTo>
                  <a:pt x="18906" y="2407"/>
                  <a:pt x="18844" y="2438"/>
                  <a:pt x="18906" y="2532"/>
                </a:cubicBezTo>
                <a:cubicBezTo>
                  <a:pt x="19187" y="2500"/>
                  <a:pt x="19375" y="2313"/>
                  <a:pt x="19625" y="2188"/>
                </a:cubicBezTo>
                <a:cubicBezTo>
                  <a:pt x="19719" y="2125"/>
                  <a:pt x="19844" y="2157"/>
                  <a:pt x="19937" y="2094"/>
                </a:cubicBezTo>
                <a:cubicBezTo>
                  <a:pt x="19969" y="2094"/>
                  <a:pt x="20000" y="2094"/>
                  <a:pt x="20000" y="2125"/>
                </a:cubicBezTo>
                <a:cubicBezTo>
                  <a:pt x="20000" y="2157"/>
                  <a:pt x="19969" y="2188"/>
                  <a:pt x="19969" y="2188"/>
                </a:cubicBezTo>
                <a:cubicBezTo>
                  <a:pt x="19875" y="2250"/>
                  <a:pt x="19844" y="2375"/>
                  <a:pt x="19687" y="2407"/>
                </a:cubicBezTo>
                <a:cubicBezTo>
                  <a:pt x="19687" y="2407"/>
                  <a:pt x="19687" y="2407"/>
                  <a:pt x="19687" y="2407"/>
                </a:cubicBezTo>
                <a:cubicBezTo>
                  <a:pt x="19625" y="2469"/>
                  <a:pt x="19500" y="2500"/>
                  <a:pt x="19531" y="2594"/>
                </a:cubicBezTo>
                <a:cubicBezTo>
                  <a:pt x="19594" y="2688"/>
                  <a:pt x="19656" y="2563"/>
                  <a:pt x="19750" y="2563"/>
                </a:cubicBezTo>
                <a:cubicBezTo>
                  <a:pt x="19625" y="2688"/>
                  <a:pt x="19500" y="2782"/>
                  <a:pt x="19375" y="2875"/>
                </a:cubicBezTo>
                <a:cubicBezTo>
                  <a:pt x="19281" y="2907"/>
                  <a:pt x="19187" y="2969"/>
                  <a:pt x="19219" y="3094"/>
                </a:cubicBezTo>
                <a:cubicBezTo>
                  <a:pt x="19219" y="3125"/>
                  <a:pt x="19187" y="3188"/>
                  <a:pt x="19219" y="3188"/>
                </a:cubicBezTo>
                <a:cubicBezTo>
                  <a:pt x="19281" y="3188"/>
                  <a:pt x="19344" y="3188"/>
                  <a:pt x="19375" y="3157"/>
                </a:cubicBezTo>
                <a:cubicBezTo>
                  <a:pt x="19562" y="3000"/>
                  <a:pt x="19719" y="2844"/>
                  <a:pt x="19969" y="2844"/>
                </a:cubicBezTo>
                <a:cubicBezTo>
                  <a:pt x="19969" y="2813"/>
                  <a:pt x="19969" y="2813"/>
                  <a:pt x="19969" y="2813"/>
                </a:cubicBezTo>
                <a:cubicBezTo>
                  <a:pt x="20062" y="2813"/>
                  <a:pt x="20062" y="2625"/>
                  <a:pt x="20156" y="2719"/>
                </a:cubicBezTo>
                <a:cubicBezTo>
                  <a:pt x="20187" y="2750"/>
                  <a:pt x="20062" y="2844"/>
                  <a:pt x="20000" y="2875"/>
                </a:cubicBezTo>
                <a:cubicBezTo>
                  <a:pt x="20000" y="2907"/>
                  <a:pt x="19969" y="2907"/>
                  <a:pt x="19969" y="2907"/>
                </a:cubicBezTo>
                <a:cubicBezTo>
                  <a:pt x="19937" y="2969"/>
                  <a:pt x="19812" y="3000"/>
                  <a:pt x="19875" y="3094"/>
                </a:cubicBezTo>
                <a:cubicBezTo>
                  <a:pt x="19906" y="3125"/>
                  <a:pt x="19969" y="3094"/>
                  <a:pt x="20031" y="3094"/>
                </a:cubicBezTo>
                <a:cubicBezTo>
                  <a:pt x="20094" y="3094"/>
                  <a:pt x="20125" y="3094"/>
                  <a:pt x="20187" y="3125"/>
                </a:cubicBezTo>
                <a:cubicBezTo>
                  <a:pt x="20250" y="3125"/>
                  <a:pt x="20219" y="3032"/>
                  <a:pt x="20281" y="3063"/>
                </a:cubicBezTo>
                <a:lnTo>
                  <a:pt x="20281" y="3063"/>
                </a:lnTo>
                <a:cubicBezTo>
                  <a:pt x="20219" y="3032"/>
                  <a:pt x="20219" y="3063"/>
                  <a:pt x="20187" y="3125"/>
                </a:cubicBezTo>
                <a:cubicBezTo>
                  <a:pt x="20187" y="3157"/>
                  <a:pt x="20187" y="3157"/>
                  <a:pt x="20187" y="3157"/>
                </a:cubicBezTo>
                <a:cubicBezTo>
                  <a:pt x="20125" y="3219"/>
                  <a:pt x="20094" y="3282"/>
                  <a:pt x="20062" y="3313"/>
                </a:cubicBezTo>
                <a:cubicBezTo>
                  <a:pt x="20062" y="3313"/>
                  <a:pt x="20094" y="3344"/>
                  <a:pt x="20094" y="3344"/>
                </a:cubicBezTo>
                <a:cubicBezTo>
                  <a:pt x="20156" y="3407"/>
                  <a:pt x="20219" y="3407"/>
                  <a:pt x="20281" y="3344"/>
                </a:cubicBezTo>
                <a:cubicBezTo>
                  <a:pt x="20500" y="3313"/>
                  <a:pt x="20594" y="3125"/>
                  <a:pt x="20781" y="3032"/>
                </a:cubicBezTo>
                <a:cubicBezTo>
                  <a:pt x="20844" y="3000"/>
                  <a:pt x="20875" y="2938"/>
                  <a:pt x="20969" y="2969"/>
                </a:cubicBezTo>
                <a:cubicBezTo>
                  <a:pt x="20875" y="3094"/>
                  <a:pt x="20750" y="3157"/>
                  <a:pt x="20656" y="3219"/>
                </a:cubicBezTo>
                <a:cubicBezTo>
                  <a:pt x="20594" y="3250"/>
                  <a:pt x="20500" y="3313"/>
                  <a:pt x="20562" y="3375"/>
                </a:cubicBezTo>
                <a:cubicBezTo>
                  <a:pt x="20594" y="3469"/>
                  <a:pt x="20687" y="3438"/>
                  <a:pt x="20750" y="3407"/>
                </a:cubicBezTo>
                <a:cubicBezTo>
                  <a:pt x="20781" y="3375"/>
                  <a:pt x="20844" y="3375"/>
                  <a:pt x="20875" y="3375"/>
                </a:cubicBezTo>
                <a:cubicBezTo>
                  <a:pt x="20750" y="3500"/>
                  <a:pt x="20531" y="3532"/>
                  <a:pt x="20437" y="3750"/>
                </a:cubicBezTo>
                <a:cubicBezTo>
                  <a:pt x="20625" y="3688"/>
                  <a:pt x="20781" y="3563"/>
                  <a:pt x="21031" y="3594"/>
                </a:cubicBezTo>
                <a:cubicBezTo>
                  <a:pt x="20844" y="3782"/>
                  <a:pt x="20625" y="3875"/>
                  <a:pt x="20437" y="4063"/>
                </a:cubicBezTo>
                <a:cubicBezTo>
                  <a:pt x="20625" y="4063"/>
                  <a:pt x="20719" y="3907"/>
                  <a:pt x="20844" y="3844"/>
                </a:cubicBezTo>
                <a:cubicBezTo>
                  <a:pt x="20844" y="3844"/>
                  <a:pt x="20875" y="3813"/>
                  <a:pt x="20875" y="3844"/>
                </a:cubicBezTo>
                <a:cubicBezTo>
                  <a:pt x="20906" y="3844"/>
                  <a:pt x="20875" y="3875"/>
                  <a:pt x="20875" y="3875"/>
                </a:cubicBezTo>
                <a:cubicBezTo>
                  <a:pt x="20875" y="4000"/>
                  <a:pt x="20812" y="4063"/>
                  <a:pt x="20719" y="4125"/>
                </a:cubicBezTo>
                <a:cubicBezTo>
                  <a:pt x="20656" y="4157"/>
                  <a:pt x="20562" y="4188"/>
                  <a:pt x="20531" y="4282"/>
                </a:cubicBezTo>
                <a:cubicBezTo>
                  <a:pt x="20719" y="4313"/>
                  <a:pt x="20844" y="4157"/>
                  <a:pt x="21000" y="4188"/>
                </a:cubicBezTo>
                <a:cubicBezTo>
                  <a:pt x="21000" y="4188"/>
                  <a:pt x="21031" y="4188"/>
                  <a:pt x="21031" y="4188"/>
                </a:cubicBezTo>
                <a:cubicBezTo>
                  <a:pt x="21031" y="4157"/>
                  <a:pt x="21031" y="4157"/>
                  <a:pt x="21031" y="4157"/>
                </a:cubicBezTo>
                <a:lnTo>
                  <a:pt x="21031" y="4157"/>
                </a:lnTo>
                <a:cubicBezTo>
                  <a:pt x="21031" y="4157"/>
                  <a:pt x="21031" y="4157"/>
                  <a:pt x="21031" y="4157"/>
                </a:cubicBezTo>
                <a:cubicBezTo>
                  <a:pt x="21031" y="4157"/>
                  <a:pt x="21031" y="4188"/>
                  <a:pt x="21031" y="4188"/>
                </a:cubicBezTo>
                <a:cubicBezTo>
                  <a:pt x="21000" y="4188"/>
                  <a:pt x="21000" y="4188"/>
                  <a:pt x="21000" y="4188"/>
                </a:cubicBezTo>
                <a:cubicBezTo>
                  <a:pt x="20875" y="4407"/>
                  <a:pt x="20656" y="4500"/>
                  <a:pt x="20437" y="4625"/>
                </a:cubicBezTo>
                <a:cubicBezTo>
                  <a:pt x="20312" y="4688"/>
                  <a:pt x="20156" y="4782"/>
                  <a:pt x="20031" y="4875"/>
                </a:cubicBezTo>
                <a:cubicBezTo>
                  <a:pt x="19969" y="4907"/>
                  <a:pt x="19937" y="4938"/>
                  <a:pt x="20000" y="5000"/>
                </a:cubicBezTo>
                <a:cubicBezTo>
                  <a:pt x="20281" y="4938"/>
                  <a:pt x="20469" y="4750"/>
                  <a:pt x="20719" y="4657"/>
                </a:cubicBezTo>
                <a:cubicBezTo>
                  <a:pt x="20562" y="4813"/>
                  <a:pt x="20344" y="4938"/>
                  <a:pt x="20156" y="5032"/>
                </a:cubicBezTo>
                <a:cubicBezTo>
                  <a:pt x="20000" y="5125"/>
                  <a:pt x="19875" y="5219"/>
                  <a:pt x="19750" y="5282"/>
                </a:cubicBezTo>
                <a:cubicBezTo>
                  <a:pt x="19625" y="5344"/>
                  <a:pt x="19656" y="5438"/>
                  <a:pt x="19562" y="5500"/>
                </a:cubicBezTo>
                <a:cubicBezTo>
                  <a:pt x="19125" y="5844"/>
                  <a:pt x="18656" y="6063"/>
                  <a:pt x="18187" y="6344"/>
                </a:cubicBezTo>
                <a:cubicBezTo>
                  <a:pt x="18125" y="6407"/>
                  <a:pt x="17969" y="6375"/>
                  <a:pt x="18031" y="6563"/>
                </a:cubicBezTo>
                <a:cubicBezTo>
                  <a:pt x="18031" y="6563"/>
                  <a:pt x="17937" y="6657"/>
                  <a:pt x="17844" y="6688"/>
                </a:cubicBezTo>
                <a:cubicBezTo>
                  <a:pt x="17937" y="6782"/>
                  <a:pt x="18031" y="6688"/>
                  <a:pt x="18094" y="6657"/>
                </a:cubicBezTo>
                <a:cubicBezTo>
                  <a:pt x="18375" y="6563"/>
                  <a:pt x="18656" y="6469"/>
                  <a:pt x="18875" y="6282"/>
                </a:cubicBezTo>
                <a:cubicBezTo>
                  <a:pt x="18875" y="6282"/>
                  <a:pt x="18906" y="6250"/>
                  <a:pt x="18937" y="6282"/>
                </a:cubicBezTo>
                <a:cubicBezTo>
                  <a:pt x="18969" y="6313"/>
                  <a:pt x="18937" y="6375"/>
                  <a:pt x="18906" y="6375"/>
                </a:cubicBezTo>
                <a:cubicBezTo>
                  <a:pt x="18656" y="6407"/>
                  <a:pt x="18625" y="6750"/>
                  <a:pt x="18375" y="6813"/>
                </a:cubicBezTo>
                <a:cubicBezTo>
                  <a:pt x="18375" y="6813"/>
                  <a:pt x="18375" y="6844"/>
                  <a:pt x="18344" y="6875"/>
                </a:cubicBezTo>
                <a:cubicBezTo>
                  <a:pt x="18375" y="6875"/>
                  <a:pt x="18406" y="6907"/>
                  <a:pt x="18437" y="6875"/>
                </a:cubicBezTo>
                <a:cubicBezTo>
                  <a:pt x="18469" y="6875"/>
                  <a:pt x="18500" y="6875"/>
                  <a:pt x="18562" y="6844"/>
                </a:cubicBezTo>
                <a:cubicBezTo>
                  <a:pt x="18719" y="6782"/>
                  <a:pt x="18844" y="6657"/>
                  <a:pt x="19031" y="6657"/>
                </a:cubicBezTo>
                <a:cubicBezTo>
                  <a:pt x="18906" y="6719"/>
                  <a:pt x="18781" y="6813"/>
                  <a:pt x="18656" y="6875"/>
                </a:cubicBezTo>
                <a:cubicBezTo>
                  <a:pt x="18500" y="7157"/>
                  <a:pt x="18187" y="7219"/>
                  <a:pt x="18000" y="7438"/>
                </a:cubicBezTo>
                <a:cubicBezTo>
                  <a:pt x="18094" y="7407"/>
                  <a:pt x="18219" y="7407"/>
                  <a:pt x="18312" y="7344"/>
                </a:cubicBezTo>
                <a:cubicBezTo>
                  <a:pt x="18344" y="7313"/>
                  <a:pt x="18406" y="7282"/>
                  <a:pt x="18437" y="7344"/>
                </a:cubicBezTo>
                <a:cubicBezTo>
                  <a:pt x="18469" y="7375"/>
                  <a:pt x="18406" y="7407"/>
                  <a:pt x="18375" y="7438"/>
                </a:cubicBezTo>
                <a:cubicBezTo>
                  <a:pt x="18156" y="7532"/>
                  <a:pt x="17969" y="7657"/>
                  <a:pt x="17750" y="7750"/>
                </a:cubicBezTo>
                <a:cubicBezTo>
                  <a:pt x="17375" y="7938"/>
                  <a:pt x="17000" y="8125"/>
                  <a:pt x="16594" y="8282"/>
                </a:cubicBezTo>
                <a:cubicBezTo>
                  <a:pt x="16812" y="8313"/>
                  <a:pt x="17000" y="8125"/>
                  <a:pt x="17219" y="8188"/>
                </a:cubicBezTo>
                <a:cubicBezTo>
                  <a:pt x="17250" y="8157"/>
                  <a:pt x="17281" y="8125"/>
                  <a:pt x="17344" y="8125"/>
                </a:cubicBezTo>
                <a:cubicBezTo>
                  <a:pt x="17375" y="8125"/>
                  <a:pt x="17437" y="8125"/>
                  <a:pt x="17469" y="8125"/>
                </a:cubicBezTo>
                <a:cubicBezTo>
                  <a:pt x="17531" y="8125"/>
                  <a:pt x="17562" y="8094"/>
                  <a:pt x="17625" y="8094"/>
                </a:cubicBezTo>
                <a:cubicBezTo>
                  <a:pt x="17656" y="8094"/>
                  <a:pt x="17656" y="8094"/>
                  <a:pt x="17687" y="8063"/>
                </a:cubicBezTo>
                <a:cubicBezTo>
                  <a:pt x="17812" y="8000"/>
                  <a:pt x="17937" y="7938"/>
                  <a:pt x="18031" y="7875"/>
                </a:cubicBezTo>
                <a:cubicBezTo>
                  <a:pt x="18000" y="8000"/>
                  <a:pt x="17875" y="8063"/>
                  <a:pt x="17750" y="8094"/>
                </a:cubicBezTo>
                <a:cubicBezTo>
                  <a:pt x="17750" y="8094"/>
                  <a:pt x="17719" y="8125"/>
                  <a:pt x="17687" y="8125"/>
                </a:cubicBezTo>
                <a:cubicBezTo>
                  <a:pt x="17656" y="8157"/>
                  <a:pt x="17625" y="8188"/>
                  <a:pt x="17594" y="8188"/>
                </a:cubicBezTo>
                <a:cubicBezTo>
                  <a:pt x="17312" y="8375"/>
                  <a:pt x="17000" y="8469"/>
                  <a:pt x="16719" y="8625"/>
                </a:cubicBezTo>
                <a:cubicBezTo>
                  <a:pt x="16687" y="8625"/>
                  <a:pt x="16687" y="8625"/>
                  <a:pt x="16656" y="8625"/>
                </a:cubicBezTo>
                <a:cubicBezTo>
                  <a:pt x="16344" y="8969"/>
                  <a:pt x="15875" y="8844"/>
                  <a:pt x="15469" y="9000"/>
                </a:cubicBezTo>
                <a:cubicBezTo>
                  <a:pt x="15437" y="9000"/>
                  <a:pt x="15437" y="9000"/>
                  <a:pt x="15437" y="9032"/>
                </a:cubicBezTo>
                <a:cubicBezTo>
                  <a:pt x="15594" y="9094"/>
                  <a:pt x="15781" y="9000"/>
                  <a:pt x="15937" y="9000"/>
                </a:cubicBezTo>
                <a:cubicBezTo>
                  <a:pt x="16062" y="8969"/>
                  <a:pt x="16187" y="8875"/>
                  <a:pt x="16344" y="9000"/>
                </a:cubicBezTo>
                <a:cubicBezTo>
                  <a:pt x="16375" y="9032"/>
                  <a:pt x="16437" y="9000"/>
                  <a:pt x="16500" y="8969"/>
                </a:cubicBezTo>
                <a:cubicBezTo>
                  <a:pt x="16656" y="8907"/>
                  <a:pt x="16844" y="8844"/>
                  <a:pt x="17000" y="8844"/>
                </a:cubicBezTo>
                <a:cubicBezTo>
                  <a:pt x="17125" y="8719"/>
                  <a:pt x="17156" y="8875"/>
                  <a:pt x="17219" y="8907"/>
                </a:cubicBezTo>
                <a:cubicBezTo>
                  <a:pt x="17250" y="8907"/>
                  <a:pt x="17281" y="8907"/>
                  <a:pt x="17312" y="8875"/>
                </a:cubicBezTo>
                <a:cubicBezTo>
                  <a:pt x="17344" y="8875"/>
                  <a:pt x="17375" y="8844"/>
                  <a:pt x="17437" y="8844"/>
                </a:cubicBezTo>
                <a:cubicBezTo>
                  <a:pt x="17531" y="8907"/>
                  <a:pt x="17625" y="8750"/>
                  <a:pt x="17719" y="8844"/>
                </a:cubicBezTo>
                <a:cubicBezTo>
                  <a:pt x="17875" y="8938"/>
                  <a:pt x="18000" y="8782"/>
                  <a:pt x="18125" y="8875"/>
                </a:cubicBezTo>
                <a:cubicBezTo>
                  <a:pt x="18156" y="8844"/>
                  <a:pt x="18187" y="8844"/>
                  <a:pt x="18187" y="8844"/>
                </a:cubicBezTo>
                <a:cubicBezTo>
                  <a:pt x="18219" y="8813"/>
                  <a:pt x="18250" y="8782"/>
                  <a:pt x="18250" y="8750"/>
                </a:cubicBezTo>
                <a:cubicBezTo>
                  <a:pt x="18281" y="8657"/>
                  <a:pt x="18375" y="8657"/>
                  <a:pt x="18437" y="8657"/>
                </a:cubicBezTo>
                <a:cubicBezTo>
                  <a:pt x="18500" y="8657"/>
                  <a:pt x="18594" y="8657"/>
                  <a:pt x="18656" y="8625"/>
                </a:cubicBezTo>
                <a:cubicBezTo>
                  <a:pt x="18656" y="8563"/>
                  <a:pt x="18687" y="8563"/>
                  <a:pt x="18750" y="8563"/>
                </a:cubicBezTo>
                <a:cubicBezTo>
                  <a:pt x="18750" y="8563"/>
                  <a:pt x="18750" y="8563"/>
                  <a:pt x="18781" y="8563"/>
                </a:cubicBezTo>
                <a:cubicBezTo>
                  <a:pt x="18781" y="8532"/>
                  <a:pt x="18812" y="8532"/>
                  <a:pt x="18812" y="8500"/>
                </a:cubicBezTo>
                <a:cubicBezTo>
                  <a:pt x="18969" y="8375"/>
                  <a:pt x="19156" y="8407"/>
                  <a:pt x="19344" y="8313"/>
                </a:cubicBezTo>
                <a:cubicBezTo>
                  <a:pt x="19375" y="8282"/>
                  <a:pt x="19469" y="8219"/>
                  <a:pt x="19531" y="8188"/>
                </a:cubicBezTo>
                <a:cubicBezTo>
                  <a:pt x="19625" y="8125"/>
                  <a:pt x="19719" y="8032"/>
                  <a:pt x="19875" y="8032"/>
                </a:cubicBezTo>
                <a:cubicBezTo>
                  <a:pt x="20000" y="7938"/>
                  <a:pt x="20094" y="7813"/>
                  <a:pt x="20281" y="7782"/>
                </a:cubicBezTo>
                <a:cubicBezTo>
                  <a:pt x="20344" y="7782"/>
                  <a:pt x="20437" y="7688"/>
                  <a:pt x="20500" y="7625"/>
                </a:cubicBezTo>
                <a:cubicBezTo>
                  <a:pt x="20562" y="7563"/>
                  <a:pt x="20625" y="7532"/>
                  <a:pt x="20750" y="7500"/>
                </a:cubicBezTo>
                <a:cubicBezTo>
                  <a:pt x="20469" y="7750"/>
                  <a:pt x="20187" y="7938"/>
                  <a:pt x="19875" y="8094"/>
                </a:cubicBezTo>
                <a:cubicBezTo>
                  <a:pt x="19812" y="8125"/>
                  <a:pt x="19781" y="8157"/>
                  <a:pt x="19719" y="8188"/>
                </a:cubicBezTo>
                <a:cubicBezTo>
                  <a:pt x="19687" y="8188"/>
                  <a:pt x="19687" y="8219"/>
                  <a:pt x="19687" y="8219"/>
                </a:cubicBezTo>
                <a:cubicBezTo>
                  <a:pt x="19625" y="8250"/>
                  <a:pt x="19594" y="8313"/>
                  <a:pt x="19531" y="8282"/>
                </a:cubicBezTo>
                <a:cubicBezTo>
                  <a:pt x="19437" y="8344"/>
                  <a:pt x="19344" y="8438"/>
                  <a:pt x="19250" y="8500"/>
                </a:cubicBezTo>
                <a:cubicBezTo>
                  <a:pt x="19156" y="8532"/>
                  <a:pt x="19125" y="8594"/>
                  <a:pt x="19156" y="8688"/>
                </a:cubicBezTo>
                <a:cubicBezTo>
                  <a:pt x="19187" y="8719"/>
                  <a:pt x="19187" y="8719"/>
                  <a:pt x="19187" y="8719"/>
                </a:cubicBezTo>
                <a:cubicBezTo>
                  <a:pt x="19250" y="8688"/>
                  <a:pt x="19312" y="8657"/>
                  <a:pt x="19375" y="8625"/>
                </a:cubicBezTo>
                <a:cubicBezTo>
                  <a:pt x="19406" y="8563"/>
                  <a:pt x="19469" y="8594"/>
                  <a:pt x="19500" y="8594"/>
                </a:cubicBezTo>
                <a:cubicBezTo>
                  <a:pt x="19594" y="8563"/>
                  <a:pt x="19687" y="8532"/>
                  <a:pt x="19781" y="8500"/>
                </a:cubicBezTo>
                <a:cubicBezTo>
                  <a:pt x="19781" y="8375"/>
                  <a:pt x="19937" y="8375"/>
                  <a:pt x="20031" y="8313"/>
                </a:cubicBezTo>
                <a:cubicBezTo>
                  <a:pt x="20125" y="8313"/>
                  <a:pt x="20219" y="8313"/>
                  <a:pt x="20312" y="8344"/>
                </a:cubicBezTo>
                <a:cubicBezTo>
                  <a:pt x="20344" y="8375"/>
                  <a:pt x="20344" y="8407"/>
                  <a:pt x="20312" y="8438"/>
                </a:cubicBezTo>
                <a:cubicBezTo>
                  <a:pt x="20312" y="8438"/>
                  <a:pt x="20312" y="8469"/>
                  <a:pt x="20281" y="8469"/>
                </a:cubicBezTo>
                <a:cubicBezTo>
                  <a:pt x="20375" y="8688"/>
                  <a:pt x="20219" y="8750"/>
                  <a:pt x="20094" y="8782"/>
                </a:cubicBezTo>
                <a:cubicBezTo>
                  <a:pt x="19937" y="8813"/>
                  <a:pt x="19969" y="8969"/>
                  <a:pt x="19812" y="8969"/>
                </a:cubicBezTo>
                <a:cubicBezTo>
                  <a:pt x="19812" y="9000"/>
                  <a:pt x="19812" y="9000"/>
                  <a:pt x="19844" y="9032"/>
                </a:cubicBezTo>
                <a:cubicBezTo>
                  <a:pt x="19844" y="9063"/>
                  <a:pt x="19906" y="9063"/>
                  <a:pt x="19937" y="9063"/>
                </a:cubicBezTo>
                <a:cubicBezTo>
                  <a:pt x="20000" y="9000"/>
                  <a:pt x="20094" y="8938"/>
                  <a:pt x="20187" y="8907"/>
                </a:cubicBezTo>
                <a:cubicBezTo>
                  <a:pt x="20469" y="8844"/>
                  <a:pt x="20750" y="8719"/>
                  <a:pt x="21000" y="8563"/>
                </a:cubicBezTo>
                <a:cubicBezTo>
                  <a:pt x="21000" y="8563"/>
                  <a:pt x="21000" y="8563"/>
                  <a:pt x="21031" y="8532"/>
                </a:cubicBezTo>
                <a:cubicBezTo>
                  <a:pt x="21031" y="8532"/>
                  <a:pt x="21031" y="8532"/>
                  <a:pt x="21031" y="8563"/>
                </a:cubicBezTo>
                <a:cubicBezTo>
                  <a:pt x="20812" y="8750"/>
                  <a:pt x="20656" y="8969"/>
                  <a:pt x="20437" y="9157"/>
                </a:cubicBezTo>
                <a:cubicBezTo>
                  <a:pt x="20750" y="9282"/>
                  <a:pt x="20875" y="8875"/>
                  <a:pt x="21156" y="8969"/>
                </a:cubicBezTo>
                <a:cubicBezTo>
                  <a:pt x="21000" y="9063"/>
                  <a:pt x="20875" y="9188"/>
                  <a:pt x="20719" y="9282"/>
                </a:cubicBezTo>
                <a:cubicBezTo>
                  <a:pt x="20656" y="9313"/>
                  <a:pt x="20562" y="9344"/>
                  <a:pt x="20625" y="9407"/>
                </a:cubicBezTo>
                <a:cubicBezTo>
                  <a:pt x="20656" y="9469"/>
                  <a:pt x="20719" y="9375"/>
                  <a:pt x="20750" y="9375"/>
                </a:cubicBezTo>
                <a:cubicBezTo>
                  <a:pt x="20812" y="9344"/>
                  <a:pt x="20875" y="9250"/>
                  <a:pt x="20937" y="9344"/>
                </a:cubicBezTo>
                <a:cubicBezTo>
                  <a:pt x="21000" y="9407"/>
                  <a:pt x="20937" y="9469"/>
                  <a:pt x="20875" y="9500"/>
                </a:cubicBezTo>
                <a:cubicBezTo>
                  <a:pt x="20781" y="9594"/>
                  <a:pt x="20687" y="9719"/>
                  <a:pt x="20594" y="9844"/>
                </a:cubicBezTo>
                <a:lnTo>
                  <a:pt x="20594" y="9844"/>
                </a:lnTo>
                <a:cubicBezTo>
                  <a:pt x="20906" y="9938"/>
                  <a:pt x="21062" y="9625"/>
                  <a:pt x="21344" y="9594"/>
                </a:cubicBezTo>
                <a:cubicBezTo>
                  <a:pt x="21312" y="9657"/>
                  <a:pt x="21250" y="9688"/>
                  <a:pt x="21219" y="9719"/>
                </a:cubicBezTo>
                <a:cubicBezTo>
                  <a:pt x="20812" y="9969"/>
                  <a:pt x="20469" y="10282"/>
                  <a:pt x="20094" y="10594"/>
                </a:cubicBezTo>
                <a:cubicBezTo>
                  <a:pt x="20031" y="10625"/>
                  <a:pt x="19937" y="10657"/>
                  <a:pt x="19969" y="10719"/>
                </a:cubicBezTo>
                <a:cubicBezTo>
                  <a:pt x="20031" y="10782"/>
                  <a:pt x="20125" y="10782"/>
                  <a:pt x="20187" y="10719"/>
                </a:cubicBezTo>
                <a:cubicBezTo>
                  <a:pt x="20281" y="10657"/>
                  <a:pt x="20344" y="10594"/>
                  <a:pt x="20469" y="10625"/>
                </a:cubicBezTo>
                <a:cubicBezTo>
                  <a:pt x="20531" y="10438"/>
                  <a:pt x="20750" y="10438"/>
                  <a:pt x="20906" y="10313"/>
                </a:cubicBezTo>
                <a:cubicBezTo>
                  <a:pt x="20781" y="10469"/>
                  <a:pt x="20656" y="10625"/>
                  <a:pt x="20469" y="10688"/>
                </a:cubicBezTo>
                <a:cubicBezTo>
                  <a:pt x="20250" y="10813"/>
                  <a:pt x="20031" y="10907"/>
                  <a:pt x="19812" y="11063"/>
                </a:cubicBezTo>
                <a:cubicBezTo>
                  <a:pt x="19469" y="11344"/>
                  <a:pt x="19031" y="11500"/>
                  <a:pt x="18687" y="11782"/>
                </a:cubicBezTo>
                <a:cubicBezTo>
                  <a:pt x="18344" y="12094"/>
                  <a:pt x="17906" y="12094"/>
                  <a:pt x="17531" y="12188"/>
                </a:cubicBezTo>
                <a:cubicBezTo>
                  <a:pt x="17344" y="12250"/>
                  <a:pt x="17156" y="12250"/>
                  <a:pt x="17031" y="12375"/>
                </a:cubicBezTo>
                <a:cubicBezTo>
                  <a:pt x="16969" y="12407"/>
                  <a:pt x="16906" y="12407"/>
                  <a:pt x="16875" y="12407"/>
                </a:cubicBezTo>
                <a:cubicBezTo>
                  <a:pt x="16562" y="12407"/>
                  <a:pt x="16312" y="12563"/>
                  <a:pt x="16031" y="12594"/>
                </a:cubicBezTo>
                <a:cubicBezTo>
                  <a:pt x="16000" y="12594"/>
                  <a:pt x="15969" y="12625"/>
                  <a:pt x="15937" y="12657"/>
                </a:cubicBezTo>
                <a:cubicBezTo>
                  <a:pt x="16156" y="12750"/>
                  <a:pt x="16344" y="12594"/>
                  <a:pt x="16562" y="12657"/>
                </a:cubicBezTo>
                <a:cubicBezTo>
                  <a:pt x="16469" y="12688"/>
                  <a:pt x="16406" y="12719"/>
                  <a:pt x="16312" y="12750"/>
                </a:cubicBezTo>
                <a:cubicBezTo>
                  <a:pt x="16219" y="12750"/>
                  <a:pt x="16094" y="12719"/>
                  <a:pt x="16031" y="12875"/>
                </a:cubicBezTo>
                <a:cubicBezTo>
                  <a:pt x="16000" y="12938"/>
                  <a:pt x="15781" y="12938"/>
                  <a:pt x="15656" y="12938"/>
                </a:cubicBezTo>
                <a:cubicBezTo>
                  <a:pt x="15219" y="12938"/>
                  <a:pt x="14812" y="12938"/>
                  <a:pt x="14375" y="12938"/>
                </a:cubicBezTo>
                <a:cubicBezTo>
                  <a:pt x="14312" y="12938"/>
                  <a:pt x="14281" y="12969"/>
                  <a:pt x="14219" y="12969"/>
                </a:cubicBezTo>
                <a:cubicBezTo>
                  <a:pt x="14312" y="13063"/>
                  <a:pt x="14469" y="12969"/>
                  <a:pt x="14562" y="13063"/>
                </a:cubicBezTo>
                <a:cubicBezTo>
                  <a:pt x="14469" y="13125"/>
                  <a:pt x="14375" y="13125"/>
                  <a:pt x="14281" y="13094"/>
                </a:cubicBezTo>
                <a:cubicBezTo>
                  <a:pt x="13906" y="13063"/>
                  <a:pt x="13531" y="13125"/>
                  <a:pt x="13156" y="13063"/>
                </a:cubicBezTo>
                <a:cubicBezTo>
                  <a:pt x="13125" y="13063"/>
                  <a:pt x="13062" y="13063"/>
                  <a:pt x="13062" y="13094"/>
                </a:cubicBezTo>
                <a:cubicBezTo>
                  <a:pt x="12937" y="13250"/>
                  <a:pt x="12812" y="13157"/>
                  <a:pt x="12687" y="13157"/>
                </a:cubicBezTo>
                <a:cubicBezTo>
                  <a:pt x="12500" y="13125"/>
                  <a:pt x="12312" y="13094"/>
                  <a:pt x="12125" y="13125"/>
                </a:cubicBezTo>
                <a:cubicBezTo>
                  <a:pt x="11906" y="13125"/>
                  <a:pt x="11687" y="13032"/>
                  <a:pt x="11469" y="12969"/>
                </a:cubicBezTo>
                <a:cubicBezTo>
                  <a:pt x="11406" y="12969"/>
                  <a:pt x="11344" y="12938"/>
                  <a:pt x="11250" y="12969"/>
                </a:cubicBezTo>
                <a:cubicBezTo>
                  <a:pt x="11344" y="13063"/>
                  <a:pt x="11437" y="13063"/>
                  <a:pt x="11531" y="13063"/>
                </a:cubicBezTo>
                <a:cubicBezTo>
                  <a:pt x="11594" y="13063"/>
                  <a:pt x="11687" y="13032"/>
                  <a:pt x="11719" y="13094"/>
                </a:cubicBezTo>
                <a:cubicBezTo>
                  <a:pt x="11719" y="13188"/>
                  <a:pt x="11625" y="13157"/>
                  <a:pt x="11562" y="13219"/>
                </a:cubicBezTo>
                <a:cubicBezTo>
                  <a:pt x="11656" y="13250"/>
                  <a:pt x="11781" y="13282"/>
                  <a:pt x="11875" y="13282"/>
                </a:cubicBezTo>
                <a:cubicBezTo>
                  <a:pt x="11687" y="13407"/>
                  <a:pt x="11500" y="13282"/>
                  <a:pt x="11312" y="13250"/>
                </a:cubicBezTo>
                <a:cubicBezTo>
                  <a:pt x="10625" y="13125"/>
                  <a:pt x="9969" y="12844"/>
                  <a:pt x="9250" y="12657"/>
                </a:cubicBezTo>
                <a:cubicBezTo>
                  <a:pt x="8875" y="12563"/>
                  <a:pt x="8500" y="12407"/>
                  <a:pt x="8094" y="12282"/>
                </a:cubicBezTo>
                <a:cubicBezTo>
                  <a:pt x="8062" y="12250"/>
                  <a:pt x="8000" y="12250"/>
                  <a:pt x="7937" y="12282"/>
                </a:cubicBezTo>
                <a:cubicBezTo>
                  <a:pt x="8062" y="12375"/>
                  <a:pt x="8156" y="12407"/>
                  <a:pt x="8281" y="12438"/>
                </a:cubicBezTo>
                <a:cubicBezTo>
                  <a:pt x="8531" y="12532"/>
                  <a:pt x="8719" y="12688"/>
                  <a:pt x="8969" y="12782"/>
                </a:cubicBezTo>
                <a:cubicBezTo>
                  <a:pt x="9062" y="12844"/>
                  <a:pt x="9156" y="12875"/>
                  <a:pt x="9281" y="12875"/>
                </a:cubicBezTo>
                <a:cubicBezTo>
                  <a:pt x="9375" y="12907"/>
                  <a:pt x="9469" y="12938"/>
                  <a:pt x="9469" y="13063"/>
                </a:cubicBezTo>
                <a:cubicBezTo>
                  <a:pt x="9437" y="13125"/>
                  <a:pt x="9500" y="13157"/>
                  <a:pt x="9531" y="13157"/>
                </a:cubicBezTo>
                <a:cubicBezTo>
                  <a:pt x="9906" y="13219"/>
                  <a:pt x="10281" y="13375"/>
                  <a:pt x="10656" y="13407"/>
                </a:cubicBezTo>
                <a:cubicBezTo>
                  <a:pt x="10687" y="13375"/>
                  <a:pt x="10750" y="13375"/>
                  <a:pt x="10750" y="13438"/>
                </a:cubicBezTo>
                <a:cubicBezTo>
                  <a:pt x="10844" y="13438"/>
                  <a:pt x="10906" y="13438"/>
                  <a:pt x="10969" y="13438"/>
                </a:cubicBezTo>
                <a:cubicBezTo>
                  <a:pt x="11031" y="13438"/>
                  <a:pt x="11062" y="13438"/>
                  <a:pt x="11094" y="13500"/>
                </a:cubicBezTo>
                <a:cubicBezTo>
                  <a:pt x="11156" y="13500"/>
                  <a:pt x="11250" y="13500"/>
                  <a:pt x="11312" y="13500"/>
                </a:cubicBezTo>
                <a:cubicBezTo>
                  <a:pt x="11750" y="13500"/>
                  <a:pt x="12187" y="13500"/>
                  <a:pt x="12656" y="13500"/>
                </a:cubicBezTo>
                <a:cubicBezTo>
                  <a:pt x="12812" y="13500"/>
                  <a:pt x="12969" y="13500"/>
                  <a:pt x="13156" y="13500"/>
                </a:cubicBezTo>
                <a:cubicBezTo>
                  <a:pt x="13687" y="13407"/>
                  <a:pt x="14250" y="13375"/>
                  <a:pt x="14812" y="13407"/>
                </a:cubicBezTo>
                <a:cubicBezTo>
                  <a:pt x="14500" y="13407"/>
                  <a:pt x="14187" y="13469"/>
                  <a:pt x="13875" y="13500"/>
                </a:cubicBezTo>
                <a:cubicBezTo>
                  <a:pt x="13625" y="13500"/>
                  <a:pt x="13375" y="13532"/>
                  <a:pt x="13156" y="13532"/>
                </a:cubicBezTo>
                <a:cubicBezTo>
                  <a:pt x="13094" y="13532"/>
                  <a:pt x="13000" y="13532"/>
                  <a:pt x="12937" y="13563"/>
                </a:cubicBezTo>
                <a:cubicBezTo>
                  <a:pt x="12656" y="13594"/>
                  <a:pt x="12375" y="13625"/>
                  <a:pt x="12094" y="13688"/>
                </a:cubicBezTo>
                <a:cubicBezTo>
                  <a:pt x="11875" y="13750"/>
                  <a:pt x="11625" y="13782"/>
                  <a:pt x="11406" y="13844"/>
                </a:cubicBezTo>
                <a:cubicBezTo>
                  <a:pt x="11187" y="13875"/>
                  <a:pt x="10969" y="13844"/>
                  <a:pt x="10750" y="13719"/>
                </a:cubicBezTo>
                <a:cubicBezTo>
                  <a:pt x="10406" y="13688"/>
                  <a:pt x="10094" y="13594"/>
                  <a:pt x="9750" y="13500"/>
                </a:cubicBezTo>
                <a:cubicBezTo>
                  <a:pt x="9531" y="13438"/>
                  <a:pt x="9312" y="13407"/>
                  <a:pt x="9094" y="13282"/>
                </a:cubicBezTo>
                <a:cubicBezTo>
                  <a:pt x="8812" y="13125"/>
                  <a:pt x="8500" y="13094"/>
                  <a:pt x="8219" y="12969"/>
                </a:cubicBezTo>
                <a:cubicBezTo>
                  <a:pt x="7969" y="12813"/>
                  <a:pt x="7656" y="12875"/>
                  <a:pt x="7437" y="12719"/>
                </a:cubicBezTo>
                <a:cubicBezTo>
                  <a:pt x="7219" y="12563"/>
                  <a:pt x="6937" y="12500"/>
                  <a:pt x="6687" y="12344"/>
                </a:cubicBezTo>
                <a:cubicBezTo>
                  <a:pt x="6594" y="12313"/>
                  <a:pt x="6531" y="12250"/>
                  <a:pt x="6437" y="12188"/>
                </a:cubicBezTo>
                <a:cubicBezTo>
                  <a:pt x="6125" y="12125"/>
                  <a:pt x="5875" y="11907"/>
                  <a:pt x="5594" y="11719"/>
                </a:cubicBezTo>
                <a:cubicBezTo>
                  <a:pt x="5406" y="11563"/>
                  <a:pt x="5219" y="11375"/>
                  <a:pt x="5031" y="11250"/>
                </a:cubicBezTo>
                <a:cubicBezTo>
                  <a:pt x="4812" y="11094"/>
                  <a:pt x="4656" y="10907"/>
                  <a:pt x="4469" y="10750"/>
                </a:cubicBezTo>
                <a:cubicBezTo>
                  <a:pt x="4344" y="10657"/>
                  <a:pt x="4281" y="10469"/>
                  <a:pt x="4094" y="10469"/>
                </a:cubicBezTo>
                <a:cubicBezTo>
                  <a:pt x="4062" y="10282"/>
                  <a:pt x="3844" y="10219"/>
                  <a:pt x="3812" y="10032"/>
                </a:cubicBezTo>
                <a:cubicBezTo>
                  <a:pt x="3750" y="10032"/>
                  <a:pt x="3781" y="9907"/>
                  <a:pt x="3687" y="9907"/>
                </a:cubicBezTo>
                <a:cubicBezTo>
                  <a:pt x="3594" y="9938"/>
                  <a:pt x="3500" y="9938"/>
                  <a:pt x="3500" y="9782"/>
                </a:cubicBezTo>
                <a:cubicBezTo>
                  <a:pt x="3500" y="9719"/>
                  <a:pt x="3406" y="9688"/>
                  <a:pt x="3344" y="9625"/>
                </a:cubicBezTo>
                <a:cubicBezTo>
                  <a:pt x="3125" y="9344"/>
                  <a:pt x="2844" y="9094"/>
                  <a:pt x="2562" y="8844"/>
                </a:cubicBezTo>
                <a:cubicBezTo>
                  <a:pt x="2500" y="8813"/>
                  <a:pt x="2469" y="8750"/>
                  <a:pt x="2437" y="8688"/>
                </a:cubicBezTo>
                <a:cubicBezTo>
                  <a:pt x="2406" y="8563"/>
                  <a:pt x="2281" y="8469"/>
                  <a:pt x="2156" y="8407"/>
                </a:cubicBezTo>
                <a:cubicBezTo>
                  <a:pt x="2094" y="8375"/>
                  <a:pt x="2062" y="8375"/>
                  <a:pt x="2094" y="8313"/>
                </a:cubicBezTo>
                <a:cubicBezTo>
                  <a:pt x="2125" y="8219"/>
                  <a:pt x="2094" y="8188"/>
                  <a:pt x="2000" y="8157"/>
                </a:cubicBezTo>
                <a:cubicBezTo>
                  <a:pt x="1906" y="8094"/>
                  <a:pt x="1875" y="8000"/>
                  <a:pt x="1812" y="7938"/>
                </a:cubicBezTo>
                <a:cubicBezTo>
                  <a:pt x="1812" y="7875"/>
                  <a:pt x="1781" y="7844"/>
                  <a:pt x="1750" y="7813"/>
                </a:cubicBezTo>
                <a:cubicBezTo>
                  <a:pt x="1719" y="7813"/>
                  <a:pt x="1719" y="7813"/>
                  <a:pt x="1719" y="7813"/>
                </a:cubicBezTo>
                <a:cubicBezTo>
                  <a:pt x="1719" y="7813"/>
                  <a:pt x="1687" y="7813"/>
                  <a:pt x="1687" y="7813"/>
                </a:cubicBezTo>
                <a:lnTo>
                  <a:pt x="1687" y="7813"/>
                </a:lnTo>
                <a:cubicBezTo>
                  <a:pt x="1719" y="7813"/>
                  <a:pt x="1719" y="7813"/>
                  <a:pt x="1719" y="7813"/>
                </a:cubicBezTo>
                <a:close/>
                <a:moveTo>
                  <a:pt x="8219" y="2188"/>
                </a:moveTo>
                <a:cubicBezTo>
                  <a:pt x="8219" y="2125"/>
                  <a:pt x="8125" y="2094"/>
                  <a:pt x="8094" y="2063"/>
                </a:cubicBezTo>
                <a:cubicBezTo>
                  <a:pt x="8031" y="2125"/>
                  <a:pt x="8031" y="2157"/>
                  <a:pt x="8031" y="2219"/>
                </a:cubicBezTo>
                <a:cubicBezTo>
                  <a:pt x="8094" y="2219"/>
                  <a:pt x="8187" y="2282"/>
                  <a:pt x="8219" y="2188"/>
                </a:cubicBezTo>
                <a:close/>
                <a:moveTo>
                  <a:pt x="8312" y="1907"/>
                </a:moveTo>
                <a:cubicBezTo>
                  <a:pt x="8375" y="1907"/>
                  <a:pt x="8312" y="1813"/>
                  <a:pt x="8344" y="1782"/>
                </a:cubicBezTo>
                <a:cubicBezTo>
                  <a:pt x="8312" y="1719"/>
                  <a:pt x="8375" y="1594"/>
                  <a:pt x="8281" y="1594"/>
                </a:cubicBezTo>
                <a:cubicBezTo>
                  <a:pt x="8187" y="1563"/>
                  <a:pt x="8219" y="1657"/>
                  <a:pt x="8219" y="1688"/>
                </a:cubicBezTo>
                <a:cubicBezTo>
                  <a:pt x="8219" y="1782"/>
                  <a:pt x="8187" y="1875"/>
                  <a:pt x="8312" y="1907"/>
                </a:cubicBezTo>
                <a:close/>
                <a:moveTo>
                  <a:pt x="19000" y="12625"/>
                </a:moveTo>
                <a:cubicBezTo>
                  <a:pt x="18875" y="12688"/>
                  <a:pt x="18719" y="12782"/>
                  <a:pt x="18594" y="12844"/>
                </a:cubicBezTo>
                <a:cubicBezTo>
                  <a:pt x="18469" y="12844"/>
                  <a:pt x="18437" y="12969"/>
                  <a:pt x="18312" y="12969"/>
                </a:cubicBezTo>
                <a:cubicBezTo>
                  <a:pt x="18094" y="13063"/>
                  <a:pt x="17844" y="13063"/>
                  <a:pt x="17656" y="13219"/>
                </a:cubicBezTo>
                <a:cubicBezTo>
                  <a:pt x="17625" y="13219"/>
                  <a:pt x="17562" y="13250"/>
                  <a:pt x="17531" y="13250"/>
                </a:cubicBezTo>
                <a:cubicBezTo>
                  <a:pt x="17500" y="13219"/>
                  <a:pt x="17469" y="13250"/>
                  <a:pt x="17437" y="13282"/>
                </a:cubicBezTo>
                <a:cubicBezTo>
                  <a:pt x="17406" y="13282"/>
                  <a:pt x="17375" y="13250"/>
                  <a:pt x="17375" y="13313"/>
                </a:cubicBezTo>
                <a:cubicBezTo>
                  <a:pt x="17375" y="13344"/>
                  <a:pt x="17406" y="13344"/>
                  <a:pt x="17437" y="13344"/>
                </a:cubicBezTo>
                <a:cubicBezTo>
                  <a:pt x="17531" y="13313"/>
                  <a:pt x="17594" y="13282"/>
                  <a:pt x="17687" y="13282"/>
                </a:cubicBezTo>
                <a:cubicBezTo>
                  <a:pt x="17906" y="13188"/>
                  <a:pt x="18156" y="13125"/>
                  <a:pt x="18375" y="13000"/>
                </a:cubicBezTo>
                <a:cubicBezTo>
                  <a:pt x="18437" y="13000"/>
                  <a:pt x="18469" y="12969"/>
                  <a:pt x="18531" y="12969"/>
                </a:cubicBezTo>
                <a:cubicBezTo>
                  <a:pt x="18531" y="12969"/>
                  <a:pt x="18531" y="12969"/>
                  <a:pt x="18562" y="12938"/>
                </a:cubicBezTo>
                <a:cubicBezTo>
                  <a:pt x="18562" y="12938"/>
                  <a:pt x="18594" y="12938"/>
                  <a:pt x="18594" y="12938"/>
                </a:cubicBezTo>
                <a:cubicBezTo>
                  <a:pt x="18750" y="12875"/>
                  <a:pt x="18875" y="12813"/>
                  <a:pt x="19031" y="12750"/>
                </a:cubicBezTo>
                <a:cubicBezTo>
                  <a:pt x="19094" y="12719"/>
                  <a:pt x="19125" y="12719"/>
                  <a:pt x="19125" y="12657"/>
                </a:cubicBezTo>
                <a:cubicBezTo>
                  <a:pt x="19094" y="12594"/>
                  <a:pt x="19031" y="12625"/>
                  <a:pt x="19000" y="12625"/>
                </a:cubicBezTo>
                <a:close/>
                <a:moveTo>
                  <a:pt x="15156" y="13750"/>
                </a:moveTo>
                <a:cubicBezTo>
                  <a:pt x="15406" y="13782"/>
                  <a:pt x="15594" y="13688"/>
                  <a:pt x="15781" y="13688"/>
                </a:cubicBezTo>
                <a:cubicBezTo>
                  <a:pt x="15594" y="13688"/>
                  <a:pt x="15375" y="13657"/>
                  <a:pt x="15156" y="13750"/>
                </a:cubicBezTo>
                <a:close/>
                <a:moveTo>
                  <a:pt x="15156" y="13094"/>
                </a:moveTo>
                <a:cubicBezTo>
                  <a:pt x="15437" y="13125"/>
                  <a:pt x="15750" y="13094"/>
                  <a:pt x="16031" y="13032"/>
                </a:cubicBezTo>
                <a:cubicBezTo>
                  <a:pt x="15750" y="13000"/>
                  <a:pt x="15437" y="13094"/>
                  <a:pt x="15156" y="13094"/>
                </a:cubicBezTo>
                <a:close/>
                <a:moveTo>
                  <a:pt x="8844" y="1625"/>
                </a:moveTo>
                <a:cubicBezTo>
                  <a:pt x="8875" y="1625"/>
                  <a:pt x="8906" y="1625"/>
                  <a:pt x="8906" y="1594"/>
                </a:cubicBezTo>
                <a:cubicBezTo>
                  <a:pt x="8906" y="1532"/>
                  <a:pt x="8875" y="1500"/>
                  <a:pt x="8812" y="1469"/>
                </a:cubicBezTo>
                <a:cubicBezTo>
                  <a:pt x="8781" y="1469"/>
                  <a:pt x="8750" y="1500"/>
                  <a:pt x="8750" y="1532"/>
                </a:cubicBezTo>
                <a:cubicBezTo>
                  <a:pt x="8750" y="1594"/>
                  <a:pt x="8781" y="1625"/>
                  <a:pt x="8844" y="1625"/>
                </a:cubicBezTo>
                <a:close/>
                <a:moveTo>
                  <a:pt x="10219" y="532"/>
                </a:moveTo>
                <a:cubicBezTo>
                  <a:pt x="10281" y="500"/>
                  <a:pt x="10344" y="532"/>
                  <a:pt x="10375" y="438"/>
                </a:cubicBezTo>
                <a:cubicBezTo>
                  <a:pt x="10344" y="407"/>
                  <a:pt x="10312" y="407"/>
                  <a:pt x="10281" y="407"/>
                </a:cubicBezTo>
                <a:cubicBezTo>
                  <a:pt x="10219" y="407"/>
                  <a:pt x="10156" y="438"/>
                  <a:pt x="10156" y="500"/>
                </a:cubicBezTo>
                <a:cubicBezTo>
                  <a:pt x="10156" y="532"/>
                  <a:pt x="10187" y="532"/>
                  <a:pt x="10219" y="532"/>
                </a:cubicBezTo>
                <a:close/>
                <a:moveTo>
                  <a:pt x="7937" y="2125"/>
                </a:moveTo>
                <a:cubicBezTo>
                  <a:pt x="7969" y="2063"/>
                  <a:pt x="7937" y="2000"/>
                  <a:pt x="7875" y="1969"/>
                </a:cubicBezTo>
                <a:cubicBezTo>
                  <a:pt x="7875" y="1969"/>
                  <a:pt x="7844" y="1969"/>
                  <a:pt x="7844" y="1969"/>
                </a:cubicBezTo>
                <a:cubicBezTo>
                  <a:pt x="7844" y="2063"/>
                  <a:pt x="7875" y="2094"/>
                  <a:pt x="7937" y="2125"/>
                </a:cubicBezTo>
                <a:close/>
                <a:moveTo>
                  <a:pt x="11344" y="407"/>
                </a:moveTo>
                <a:cubicBezTo>
                  <a:pt x="11344" y="407"/>
                  <a:pt x="11344" y="407"/>
                  <a:pt x="11312" y="407"/>
                </a:cubicBezTo>
                <a:cubicBezTo>
                  <a:pt x="11312" y="407"/>
                  <a:pt x="11312" y="407"/>
                  <a:pt x="11312" y="407"/>
                </a:cubicBezTo>
                <a:cubicBezTo>
                  <a:pt x="11312" y="407"/>
                  <a:pt x="11312" y="438"/>
                  <a:pt x="11344" y="438"/>
                </a:cubicBezTo>
                <a:cubicBezTo>
                  <a:pt x="11344" y="438"/>
                  <a:pt x="11344" y="438"/>
                  <a:pt x="11344" y="407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95AA9BC-5E4C-F040-8D82-7A6F58D256E7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28F856CA-C752-F441-B399-80A36472C410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897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8411" y="4194498"/>
            <a:ext cx="8712968" cy="2304256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5" name="Freeform 95">
            <a:extLst>
              <a:ext uri="{FF2B5EF4-FFF2-40B4-BE49-F238E27FC236}">
                <a16:creationId xmlns:a16="http://schemas.microsoft.com/office/drawing/2014/main" id="{CDD59C5E-DA7F-414D-8B06-59662FD2C5BA}"/>
              </a:ext>
            </a:extLst>
          </p:cNvPr>
          <p:cNvSpPr>
            <a:spLocks noGrp="1" noEditPoints="1"/>
          </p:cNvSpPr>
          <p:nvPr>
            <p:ph type="pic" sz="quarter" idx="35"/>
          </p:nvPr>
        </p:nvSpPr>
        <p:spPr bwMode="auto">
          <a:xfrm>
            <a:off x="0" y="954138"/>
            <a:ext cx="24387175" cy="12763450"/>
          </a:xfrm>
          <a:custGeom>
            <a:avLst/>
            <a:gdLst>
              <a:gd name="T0" fmla="*/ 2531 w 27093"/>
              <a:gd name="T1" fmla="*/ 17437 h 18531"/>
              <a:gd name="T2" fmla="*/ 3312 w 27093"/>
              <a:gd name="T3" fmla="*/ 15844 h 18531"/>
              <a:gd name="T4" fmla="*/ 4218 w 27093"/>
              <a:gd name="T5" fmla="*/ 15438 h 18531"/>
              <a:gd name="T6" fmla="*/ 4812 w 27093"/>
              <a:gd name="T7" fmla="*/ 15500 h 18531"/>
              <a:gd name="T8" fmla="*/ 4625 w 27093"/>
              <a:gd name="T9" fmla="*/ 16875 h 18531"/>
              <a:gd name="T10" fmla="*/ 7156 w 27093"/>
              <a:gd name="T11" fmla="*/ 14156 h 18531"/>
              <a:gd name="T12" fmla="*/ 7312 w 27093"/>
              <a:gd name="T13" fmla="*/ 12938 h 18531"/>
              <a:gd name="T14" fmla="*/ 9656 w 27093"/>
              <a:gd name="T15" fmla="*/ 11344 h 18531"/>
              <a:gd name="T16" fmla="*/ 15718 w 27093"/>
              <a:gd name="T17" fmla="*/ 14750 h 18531"/>
              <a:gd name="T18" fmla="*/ 14437 w 27093"/>
              <a:gd name="T19" fmla="*/ 14563 h 18531"/>
              <a:gd name="T20" fmla="*/ 9187 w 27093"/>
              <a:gd name="T21" fmla="*/ 14344 h 18531"/>
              <a:gd name="T22" fmla="*/ 24843 w 27093"/>
              <a:gd name="T23" fmla="*/ 10375 h 18531"/>
              <a:gd name="T24" fmla="*/ 21781 w 27093"/>
              <a:gd name="T25" fmla="*/ 2563 h 18531"/>
              <a:gd name="T26" fmla="*/ 27093 w 27093"/>
              <a:gd name="T27" fmla="*/ 6938 h 18531"/>
              <a:gd name="T28" fmla="*/ 20750 w 27093"/>
              <a:gd name="T29" fmla="*/ 3500 h 18531"/>
              <a:gd name="T30" fmla="*/ 16625 w 27093"/>
              <a:gd name="T31" fmla="*/ 10063 h 18531"/>
              <a:gd name="T32" fmla="*/ 0 w 27093"/>
              <a:gd name="T33" fmla="*/ 16906 h 18531"/>
              <a:gd name="T34" fmla="*/ 5968 w 27093"/>
              <a:gd name="T35" fmla="*/ 12219 h 18531"/>
              <a:gd name="T36" fmla="*/ 3750 w 27093"/>
              <a:gd name="T37" fmla="*/ 15906 h 18531"/>
              <a:gd name="T38" fmla="*/ 2750 w 27093"/>
              <a:gd name="T39" fmla="*/ 17000 h 18531"/>
              <a:gd name="T40" fmla="*/ 3062 w 27093"/>
              <a:gd name="T41" fmla="*/ 16219 h 18531"/>
              <a:gd name="T42" fmla="*/ 2437 w 27093"/>
              <a:gd name="T43" fmla="*/ 16906 h 18531"/>
              <a:gd name="T44" fmla="*/ 4562 w 27093"/>
              <a:gd name="T45" fmla="*/ 13750 h 18531"/>
              <a:gd name="T46" fmla="*/ 15968 w 27093"/>
              <a:gd name="T47" fmla="*/ 16000 h 18531"/>
              <a:gd name="T48" fmla="*/ 22000 w 27093"/>
              <a:gd name="T49" fmla="*/ 2344 h 18531"/>
              <a:gd name="T50" fmla="*/ 21906 w 27093"/>
              <a:gd name="T51" fmla="*/ 5844 h 18531"/>
              <a:gd name="T52" fmla="*/ 23062 w 27093"/>
              <a:gd name="T53" fmla="*/ 7625 h 18531"/>
              <a:gd name="T54" fmla="*/ 12593 w 27093"/>
              <a:gd name="T55" fmla="*/ 13469 h 18531"/>
              <a:gd name="T56" fmla="*/ 1375 w 27093"/>
              <a:gd name="T57" fmla="*/ 14344 h 18531"/>
              <a:gd name="T58" fmla="*/ 2000 w 27093"/>
              <a:gd name="T59" fmla="*/ 14719 h 18531"/>
              <a:gd name="T60" fmla="*/ 2468 w 27093"/>
              <a:gd name="T61" fmla="*/ 12250 h 18531"/>
              <a:gd name="T62" fmla="*/ 4718 w 27093"/>
              <a:gd name="T63" fmla="*/ 9938 h 18531"/>
              <a:gd name="T64" fmla="*/ 3343 w 27093"/>
              <a:gd name="T65" fmla="*/ 12938 h 18531"/>
              <a:gd name="T66" fmla="*/ 3968 w 27093"/>
              <a:gd name="T67" fmla="*/ 11031 h 18531"/>
              <a:gd name="T68" fmla="*/ 4875 w 27093"/>
              <a:gd name="T69" fmla="*/ 12750 h 18531"/>
              <a:gd name="T70" fmla="*/ 5906 w 27093"/>
              <a:gd name="T71" fmla="*/ 11938 h 18531"/>
              <a:gd name="T72" fmla="*/ 5250 w 27093"/>
              <a:gd name="T73" fmla="*/ 15875 h 18531"/>
              <a:gd name="T74" fmla="*/ 6562 w 27093"/>
              <a:gd name="T75" fmla="*/ 13750 h 18531"/>
              <a:gd name="T76" fmla="*/ 6187 w 27093"/>
              <a:gd name="T77" fmla="*/ 13969 h 18531"/>
              <a:gd name="T78" fmla="*/ 7687 w 27093"/>
              <a:gd name="T79" fmla="*/ 10344 h 18531"/>
              <a:gd name="T80" fmla="*/ 7187 w 27093"/>
              <a:gd name="T81" fmla="*/ 11313 h 18531"/>
              <a:gd name="T82" fmla="*/ 9468 w 27093"/>
              <a:gd name="T83" fmla="*/ 10563 h 18531"/>
              <a:gd name="T84" fmla="*/ 10906 w 27093"/>
              <a:gd name="T85" fmla="*/ 10469 h 18531"/>
              <a:gd name="T86" fmla="*/ 11187 w 27093"/>
              <a:gd name="T87" fmla="*/ 10563 h 18531"/>
              <a:gd name="T88" fmla="*/ 11906 w 27093"/>
              <a:gd name="T89" fmla="*/ 11750 h 18531"/>
              <a:gd name="T90" fmla="*/ 14500 w 27093"/>
              <a:gd name="T91" fmla="*/ 11125 h 18531"/>
              <a:gd name="T92" fmla="*/ 15593 w 27093"/>
              <a:gd name="T93" fmla="*/ 12719 h 18531"/>
              <a:gd name="T94" fmla="*/ 15187 w 27093"/>
              <a:gd name="T95" fmla="*/ 12781 h 18531"/>
              <a:gd name="T96" fmla="*/ 16437 w 27093"/>
              <a:gd name="T97" fmla="*/ 13406 h 18531"/>
              <a:gd name="T98" fmla="*/ 18468 w 27093"/>
              <a:gd name="T99" fmla="*/ 15125 h 18531"/>
              <a:gd name="T100" fmla="*/ 17125 w 27093"/>
              <a:gd name="T101" fmla="*/ 13750 h 18531"/>
              <a:gd name="T102" fmla="*/ 17125 w 27093"/>
              <a:gd name="T103" fmla="*/ 10938 h 18531"/>
              <a:gd name="T104" fmla="*/ 19000 w 27093"/>
              <a:gd name="T105" fmla="*/ 15938 h 18531"/>
              <a:gd name="T106" fmla="*/ 20156 w 27093"/>
              <a:gd name="T107" fmla="*/ 13281 h 18531"/>
              <a:gd name="T108" fmla="*/ 21500 w 27093"/>
              <a:gd name="T109" fmla="*/ 1719 h 18531"/>
              <a:gd name="T110" fmla="*/ 21031 w 27093"/>
              <a:gd name="T111" fmla="*/ 5156 h 18531"/>
              <a:gd name="T112" fmla="*/ 20843 w 27093"/>
              <a:gd name="T113" fmla="*/ 12719 h 18531"/>
              <a:gd name="T114" fmla="*/ 21406 w 27093"/>
              <a:gd name="T115" fmla="*/ 14594 h 18531"/>
              <a:gd name="T116" fmla="*/ 21343 w 27093"/>
              <a:gd name="T117" fmla="*/ 7406 h 18531"/>
              <a:gd name="T118" fmla="*/ 21906 w 27093"/>
              <a:gd name="T119" fmla="*/ 7531 h 18531"/>
              <a:gd name="T120" fmla="*/ 21656 w 27093"/>
              <a:gd name="T121" fmla="*/ 1656 h 18531"/>
              <a:gd name="T122" fmla="*/ 24625 w 27093"/>
              <a:gd name="T123" fmla="*/ 2125 h 18531"/>
              <a:gd name="T124" fmla="*/ 3843 w 27093"/>
              <a:gd name="T125" fmla="*/ 15781 h 18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93" h="18531">
                <a:moveTo>
                  <a:pt x="7593" y="12406"/>
                </a:moveTo>
                <a:cubicBezTo>
                  <a:pt x="7593" y="12406"/>
                  <a:pt x="7593" y="12438"/>
                  <a:pt x="7562" y="12438"/>
                </a:cubicBezTo>
                <a:cubicBezTo>
                  <a:pt x="7593" y="12438"/>
                  <a:pt x="7625" y="12438"/>
                  <a:pt x="7625" y="12406"/>
                </a:cubicBezTo>
                <a:cubicBezTo>
                  <a:pt x="7656" y="12406"/>
                  <a:pt x="7687" y="12406"/>
                  <a:pt x="7718" y="12406"/>
                </a:cubicBezTo>
                <a:cubicBezTo>
                  <a:pt x="7687" y="12406"/>
                  <a:pt x="7687" y="12406"/>
                  <a:pt x="7687" y="12375"/>
                </a:cubicBezTo>
                <a:cubicBezTo>
                  <a:pt x="7656" y="12375"/>
                  <a:pt x="7625" y="12375"/>
                  <a:pt x="7625" y="12406"/>
                </a:cubicBezTo>
                <a:cubicBezTo>
                  <a:pt x="7625" y="12406"/>
                  <a:pt x="7625" y="12406"/>
                  <a:pt x="7625" y="12406"/>
                </a:cubicBezTo>
                <a:cubicBezTo>
                  <a:pt x="7625" y="12406"/>
                  <a:pt x="7593" y="12406"/>
                  <a:pt x="7593" y="12406"/>
                </a:cubicBezTo>
                <a:close/>
                <a:moveTo>
                  <a:pt x="5250" y="13313"/>
                </a:moveTo>
                <a:lnTo>
                  <a:pt x="5250" y="13313"/>
                </a:lnTo>
                <a:lnTo>
                  <a:pt x="5250" y="13313"/>
                </a:lnTo>
                <a:close/>
                <a:moveTo>
                  <a:pt x="4375" y="14219"/>
                </a:moveTo>
                <a:cubicBezTo>
                  <a:pt x="4375" y="14219"/>
                  <a:pt x="4375" y="14219"/>
                  <a:pt x="4343" y="14219"/>
                </a:cubicBezTo>
                <a:cubicBezTo>
                  <a:pt x="4312" y="14250"/>
                  <a:pt x="4281" y="14281"/>
                  <a:pt x="4250" y="14313"/>
                </a:cubicBezTo>
                <a:cubicBezTo>
                  <a:pt x="4187" y="14375"/>
                  <a:pt x="4156" y="14438"/>
                  <a:pt x="4093" y="14500"/>
                </a:cubicBezTo>
                <a:cubicBezTo>
                  <a:pt x="4093" y="14500"/>
                  <a:pt x="4093" y="14500"/>
                  <a:pt x="4093" y="14500"/>
                </a:cubicBezTo>
                <a:cubicBezTo>
                  <a:pt x="4062" y="14531"/>
                  <a:pt x="4031" y="14563"/>
                  <a:pt x="4000" y="14625"/>
                </a:cubicBezTo>
                <a:cubicBezTo>
                  <a:pt x="4000" y="14625"/>
                  <a:pt x="4000" y="14625"/>
                  <a:pt x="4000" y="14625"/>
                </a:cubicBezTo>
                <a:cubicBezTo>
                  <a:pt x="3968" y="14656"/>
                  <a:pt x="3937" y="14656"/>
                  <a:pt x="3937" y="14688"/>
                </a:cubicBezTo>
                <a:cubicBezTo>
                  <a:pt x="3875" y="14750"/>
                  <a:pt x="3843" y="14813"/>
                  <a:pt x="3781" y="14875"/>
                </a:cubicBezTo>
                <a:cubicBezTo>
                  <a:pt x="3812" y="14875"/>
                  <a:pt x="3812" y="14875"/>
                  <a:pt x="3843" y="14844"/>
                </a:cubicBezTo>
                <a:cubicBezTo>
                  <a:pt x="3875" y="14813"/>
                  <a:pt x="3937" y="14750"/>
                  <a:pt x="3968" y="14688"/>
                </a:cubicBezTo>
                <a:cubicBezTo>
                  <a:pt x="3937" y="14688"/>
                  <a:pt x="3937" y="14688"/>
                  <a:pt x="3937" y="14688"/>
                </a:cubicBezTo>
                <a:cubicBezTo>
                  <a:pt x="3968" y="14688"/>
                  <a:pt x="3968" y="14688"/>
                  <a:pt x="4000" y="14688"/>
                </a:cubicBezTo>
                <a:cubicBezTo>
                  <a:pt x="4000" y="14656"/>
                  <a:pt x="4000" y="14656"/>
                  <a:pt x="4000" y="14656"/>
                </a:cubicBezTo>
                <a:cubicBezTo>
                  <a:pt x="4062" y="14594"/>
                  <a:pt x="4093" y="14563"/>
                  <a:pt x="4125" y="14500"/>
                </a:cubicBezTo>
                <a:cubicBezTo>
                  <a:pt x="4156" y="14469"/>
                  <a:pt x="4218" y="14406"/>
                  <a:pt x="4250" y="14375"/>
                </a:cubicBezTo>
                <a:cubicBezTo>
                  <a:pt x="4281" y="14313"/>
                  <a:pt x="4343" y="14281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ubicBezTo>
                  <a:pt x="4375" y="14219"/>
                  <a:pt x="4375" y="14219"/>
                  <a:pt x="4375" y="14219"/>
                </a:cubicBezTo>
                <a:close/>
                <a:moveTo>
                  <a:pt x="4250" y="15250"/>
                </a:moveTo>
                <a:cubicBezTo>
                  <a:pt x="4218" y="15250"/>
                  <a:pt x="4218" y="15250"/>
                  <a:pt x="4218" y="15281"/>
                </a:cubicBezTo>
                <a:cubicBezTo>
                  <a:pt x="4218" y="15281"/>
                  <a:pt x="4218" y="15281"/>
                  <a:pt x="4218" y="15313"/>
                </a:cubicBezTo>
                <a:cubicBezTo>
                  <a:pt x="4218" y="15313"/>
                  <a:pt x="4218" y="15313"/>
                  <a:pt x="4187" y="15313"/>
                </a:cubicBezTo>
                <a:cubicBezTo>
                  <a:pt x="4187" y="15313"/>
                  <a:pt x="4156" y="15344"/>
                  <a:pt x="4156" y="15344"/>
                </a:cubicBezTo>
                <a:lnTo>
                  <a:pt x="4156" y="15344"/>
                </a:lnTo>
                <a:cubicBezTo>
                  <a:pt x="4156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44"/>
                </a:cubicBezTo>
                <a:cubicBezTo>
                  <a:pt x="4187" y="15344"/>
                  <a:pt x="4187" y="15344"/>
                  <a:pt x="4187" y="15313"/>
                </a:cubicBezTo>
                <a:cubicBezTo>
                  <a:pt x="4187" y="15313"/>
                  <a:pt x="4187" y="15313"/>
                  <a:pt x="4187" y="15313"/>
                </a:cubicBezTo>
                <a:cubicBezTo>
                  <a:pt x="4218" y="15313"/>
                  <a:pt x="4218" y="15313"/>
                  <a:pt x="4218" y="15313"/>
                </a:cubicBezTo>
                <a:cubicBezTo>
                  <a:pt x="4250" y="15313"/>
                  <a:pt x="4250" y="15281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ubicBezTo>
                  <a:pt x="4250" y="15250"/>
                  <a:pt x="4250" y="15250"/>
                  <a:pt x="4250" y="15250"/>
                </a:cubicBezTo>
                <a:close/>
                <a:moveTo>
                  <a:pt x="3718" y="16000"/>
                </a:moveTo>
                <a:lnTo>
                  <a:pt x="3718" y="16000"/>
                </a:lnTo>
                <a:lnTo>
                  <a:pt x="3718" y="16000"/>
                </a:lnTo>
                <a:close/>
                <a:moveTo>
                  <a:pt x="2531" y="17437"/>
                </a:moveTo>
                <a:cubicBezTo>
                  <a:pt x="2531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62" y="17437"/>
                </a:cubicBezTo>
                <a:cubicBezTo>
                  <a:pt x="2562" y="17437"/>
                  <a:pt x="2562" y="17437"/>
                  <a:pt x="2531" y="17437"/>
                </a:cubicBezTo>
                <a:cubicBezTo>
                  <a:pt x="2531" y="17437"/>
                  <a:pt x="2531" y="17437"/>
                  <a:pt x="2531" y="17437"/>
                </a:cubicBezTo>
                <a:close/>
                <a:moveTo>
                  <a:pt x="5750" y="12594"/>
                </a:moveTo>
                <a:cubicBezTo>
                  <a:pt x="5750" y="12594"/>
                  <a:pt x="5750" y="12594"/>
                  <a:pt x="5750" y="12594"/>
                </a:cubicBezTo>
                <a:cubicBezTo>
                  <a:pt x="5781" y="12594"/>
                  <a:pt x="5781" y="12594"/>
                  <a:pt x="5781" y="12594"/>
                </a:cubicBezTo>
                <a:cubicBezTo>
                  <a:pt x="5843" y="12531"/>
                  <a:pt x="5906" y="12531"/>
                  <a:pt x="5968" y="12500"/>
                </a:cubicBezTo>
                <a:cubicBezTo>
                  <a:pt x="6062" y="12469"/>
                  <a:pt x="6156" y="12406"/>
                  <a:pt x="6281" y="12344"/>
                </a:cubicBezTo>
                <a:cubicBezTo>
                  <a:pt x="6343" y="12313"/>
                  <a:pt x="6406" y="12313"/>
                  <a:pt x="6437" y="12250"/>
                </a:cubicBezTo>
                <a:cubicBezTo>
                  <a:pt x="6437" y="12219"/>
                  <a:pt x="6468" y="12219"/>
                  <a:pt x="6500" y="12219"/>
                </a:cubicBezTo>
                <a:cubicBezTo>
                  <a:pt x="6531" y="12219"/>
                  <a:pt x="6531" y="12219"/>
                  <a:pt x="6562" y="12219"/>
                </a:cubicBezTo>
                <a:cubicBezTo>
                  <a:pt x="6562" y="12219"/>
                  <a:pt x="6562" y="12219"/>
                  <a:pt x="6562" y="12219"/>
                </a:cubicBezTo>
                <a:cubicBezTo>
                  <a:pt x="6562" y="12281"/>
                  <a:pt x="6500" y="12250"/>
                  <a:pt x="6500" y="12313"/>
                </a:cubicBezTo>
                <a:cubicBezTo>
                  <a:pt x="6468" y="12344"/>
                  <a:pt x="6437" y="12375"/>
                  <a:pt x="6406" y="12375"/>
                </a:cubicBezTo>
                <a:cubicBezTo>
                  <a:pt x="6406" y="12375"/>
                  <a:pt x="6406" y="12375"/>
                  <a:pt x="6406" y="12375"/>
                </a:cubicBezTo>
                <a:cubicBezTo>
                  <a:pt x="6250" y="12438"/>
                  <a:pt x="6093" y="12531"/>
                  <a:pt x="5968" y="12625"/>
                </a:cubicBezTo>
                <a:cubicBezTo>
                  <a:pt x="5843" y="12719"/>
                  <a:pt x="5750" y="12781"/>
                  <a:pt x="5593" y="12875"/>
                </a:cubicBezTo>
                <a:cubicBezTo>
                  <a:pt x="5687" y="12875"/>
                  <a:pt x="5718" y="12813"/>
                  <a:pt x="5781" y="12813"/>
                </a:cubicBezTo>
                <a:cubicBezTo>
                  <a:pt x="5781" y="12813"/>
                  <a:pt x="5781" y="12813"/>
                  <a:pt x="5781" y="12813"/>
                </a:cubicBezTo>
                <a:cubicBezTo>
                  <a:pt x="5718" y="12906"/>
                  <a:pt x="5593" y="12969"/>
                  <a:pt x="5531" y="13063"/>
                </a:cubicBezTo>
                <a:cubicBezTo>
                  <a:pt x="5531" y="13031"/>
                  <a:pt x="5531" y="13031"/>
                  <a:pt x="5531" y="13031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531" y="13063"/>
                  <a:pt x="5531" y="13063"/>
                  <a:pt x="5531" y="13063"/>
                </a:cubicBezTo>
                <a:cubicBezTo>
                  <a:pt x="5468" y="13156"/>
                  <a:pt x="5343" y="13188"/>
                  <a:pt x="5281" y="13281"/>
                </a:cubicBezTo>
                <a:cubicBezTo>
                  <a:pt x="5468" y="13156"/>
                  <a:pt x="5656" y="13031"/>
                  <a:pt x="5843" y="12906"/>
                </a:cubicBezTo>
                <a:cubicBezTo>
                  <a:pt x="5937" y="12844"/>
                  <a:pt x="6031" y="12813"/>
                  <a:pt x="6125" y="12719"/>
                </a:cubicBezTo>
                <a:cubicBezTo>
                  <a:pt x="6125" y="12719"/>
                  <a:pt x="6156" y="12719"/>
                  <a:pt x="6187" y="12688"/>
                </a:cubicBezTo>
                <a:cubicBezTo>
                  <a:pt x="6187" y="12688"/>
                  <a:pt x="6187" y="12688"/>
                  <a:pt x="6187" y="12688"/>
                </a:cubicBezTo>
                <a:cubicBezTo>
                  <a:pt x="6218" y="12688"/>
                  <a:pt x="6218" y="12656"/>
                  <a:pt x="6218" y="12656"/>
                </a:cubicBezTo>
                <a:cubicBezTo>
                  <a:pt x="6218" y="12656"/>
                  <a:pt x="6218" y="12656"/>
                  <a:pt x="6218" y="12656"/>
                </a:cubicBezTo>
                <a:cubicBezTo>
                  <a:pt x="6281" y="12656"/>
                  <a:pt x="6312" y="12594"/>
                  <a:pt x="6375" y="12594"/>
                </a:cubicBezTo>
                <a:cubicBezTo>
                  <a:pt x="6406" y="12594"/>
                  <a:pt x="6406" y="12594"/>
                  <a:pt x="6406" y="12594"/>
                </a:cubicBezTo>
                <a:cubicBezTo>
                  <a:pt x="6156" y="12750"/>
                  <a:pt x="5937" y="12906"/>
                  <a:pt x="5718" y="13094"/>
                </a:cubicBezTo>
                <a:cubicBezTo>
                  <a:pt x="5718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094"/>
                </a:cubicBezTo>
                <a:cubicBezTo>
                  <a:pt x="5687" y="13094"/>
                  <a:pt x="5687" y="13094"/>
                  <a:pt x="5687" y="13125"/>
                </a:cubicBezTo>
                <a:cubicBezTo>
                  <a:pt x="5656" y="13125"/>
                  <a:pt x="5656" y="13125"/>
                  <a:pt x="5656" y="13125"/>
                </a:cubicBezTo>
                <a:cubicBezTo>
                  <a:pt x="5593" y="13156"/>
                  <a:pt x="5531" y="13219"/>
                  <a:pt x="5500" y="13250"/>
                </a:cubicBezTo>
                <a:cubicBezTo>
                  <a:pt x="5218" y="13469"/>
                  <a:pt x="4968" y="13688"/>
                  <a:pt x="4718" y="13938"/>
                </a:cubicBezTo>
                <a:cubicBezTo>
                  <a:pt x="4656" y="14000"/>
                  <a:pt x="4656" y="14094"/>
                  <a:pt x="4593" y="14156"/>
                </a:cubicBezTo>
                <a:cubicBezTo>
                  <a:pt x="4468" y="14250"/>
                  <a:pt x="4375" y="14375"/>
                  <a:pt x="4281" y="14469"/>
                </a:cubicBezTo>
                <a:cubicBezTo>
                  <a:pt x="4250" y="14531"/>
                  <a:pt x="4218" y="14531"/>
                  <a:pt x="4218" y="14594"/>
                </a:cubicBezTo>
                <a:cubicBezTo>
                  <a:pt x="4187" y="14594"/>
                  <a:pt x="4187" y="14594"/>
                  <a:pt x="4187" y="14625"/>
                </a:cubicBezTo>
                <a:lnTo>
                  <a:pt x="4187" y="14625"/>
                </a:lnTo>
                <a:cubicBezTo>
                  <a:pt x="3875" y="15000"/>
                  <a:pt x="3593" y="15375"/>
                  <a:pt x="3312" y="15781"/>
                </a:cubicBezTo>
                <a:cubicBezTo>
                  <a:pt x="3312" y="15813"/>
                  <a:pt x="3281" y="15813"/>
                  <a:pt x="3312" y="15844"/>
                </a:cubicBezTo>
                <a:cubicBezTo>
                  <a:pt x="3281" y="15844"/>
                  <a:pt x="3281" y="15844"/>
                  <a:pt x="3281" y="15844"/>
                </a:cubicBezTo>
                <a:cubicBezTo>
                  <a:pt x="3281" y="15844"/>
                  <a:pt x="3312" y="15844"/>
                  <a:pt x="3312" y="15844"/>
                </a:cubicBezTo>
                <a:cubicBezTo>
                  <a:pt x="3312" y="15844"/>
                  <a:pt x="3343" y="15813"/>
                  <a:pt x="3343" y="15813"/>
                </a:cubicBezTo>
                <a:cubicBezTo>
                  <a:pt x="3562" y="15469"/>
                  <a:pt x="3812" y="15156"/>
                  <a:pt x="4062" y="14844"/>
                </a:cubicBezTo>
                <a:cubicBezTo>
                  <a:pt x="4125" y="14750"/>
                  <a:pt x="4187" y="14688"/>
                  <a:pt x="4218" y="14625"/>
                </a:cubicBezTo>
                <a:cubicBezTo>
                  <a:pt x="4250" y="14594"/>
                  <a:pt x="4250" y="14594"/>
                  <a:pt x="4250" y="14594"/>
                </a:cubicBezTo>
                <a:cubicBezTo>
                  <a:pt x="4406" y="14438"/>
                  <a:pt x="4531" y="14313"/>
                  <a:pt x="4656" y="14188"/>
                </a:cubicBezTo>
                <a:cubicBezTo>
                  <a:pt x="4687" y="14125"/>
                  <a:pt x="4718" y="14094"/>
                  <a:pt x="4781" y="14125"/>
                </a:cubicBezTo>
                <a:cubicBezTo>
                  <a:pt x="4750" y="14188"/>
                  <a:pt x="4625" y="14219"/>
                  <a:pt x="4593" y="14344"/>
                </a:cubicBezTo>
                <a:cubicBezTo>
                  <a:pt x="4750" y="14188"/>
                  <a:pt x="4906" y="14031"/>
                  <a:pt x="5031" y="13906"/>
                </a:cubicBezTo>
                <a:cubicBezTo>
                  <a:pt x="5062" y="13875"/>
                  <a:pt x="5031" y="13875"/>
                  <a:pt x="5031" y="13875"/>
                </a:cubicBezTo>
                <a:cubicBezTo>
                  <a:pt x="5031" y="13875"/>
                  <a:pt x="5031" y="13875"/>
                  <a:pt x="5031" y="13875"/>
                </a:cubicBezTo>
                <a:cubicBezTo>
                  <a:pt x="5187" y="13719"/>
                  <a:pt x="5343" y="13594"/>
                  <a:pt x="5500" y="13469"/>
                </a:cubicBezTo>
                <a:cubicBezTo>
                  <a:pt x="5625" y="13375"/>
                  <a:pt x="5750" y="13313"/>
                  <a:pt x="5843" y="13188"/>
                </a:cubicBezTo>
                <a:cubicBezTo>
                  <a:pt x="6062" y="13063"/>
                  <a:pt x="6250" y="12938"/>
                  <a:pt x="6468" y="12813"/>
                </a:cubicBezTo>
                <a:cubicBezTo>
                  <a:pt x="6468" y="12813"/>
                  <a:pt x="6500" y="12813"/>
                  <a:pt x="6500" y="12844"/>
                </a:cubicBezTo>
                <a:cubicBezTo>
                  <a:pt x="6406" y="12875"/>
                  <a:pt x="6312" y="12938"/>
                  <a:pt x="6250" y="12969"/>
                </a:cubicBezTo>
                <a:cubicBezTo>
                  <a:pt x="6218" y="13031"/>
                  <a:pt x="6125" y="13031"/>
                  <a:pt x="6125" y="13094"/>
                </a:cubicBezTo>
                <a:cubicBezTo>
                  <a:pt x="6093" y="13094"/>
                  <a:pt x="6062" y="13094"/>
                  <a:pt x="6062" y="13125"/>
                </a:cubicBezTo>
                <a:cubicBezTo>
                  <a:pt x="5750" y="13313"/>
                  <a:pt x="5500" y="13531"/>
                  <a:pt x="5250" y="13781"/>
                </a:cubicBezTo>
                <a:cubicBezTo>
                  <a:pt x="5312" y="13750"/>
                  <a:pt x="5343" y="13688"/>
                  <a:pt x="5406" y="13656"/>
                </a:cubicBezTo>
                <a:cubicBezTo>
                  <a:pt x="5437" y="13656"/>
                  <a:pt x="5437" y="13656"/>
                  <a:pt x="5437" y="13656"/>
                </a:cubicBezTo>
                <a:cubicBezTo>
                  <a:pt x="5406" y="13719"/>
                  <a:pt x="5375" y="13781"/>
                  <a:pt x="5312" y="13813"/>
                </a:cubicBezTo>
                <a:cubicBezTo>
                  <a:pt x="5312" y="13844"/>
                  <a:pt x="5281" y="13844"/>
                  <a:pt x="5281" y="13875"/>
                </a:cubicBezTo>
                <a:cubicBezTo>
                  <a:pt x="5312" y="13938"/>
                  <a:pt x="5281" y="14000"/>
                  <a:pt x="5218" y="14063"/>
                </a:cubicBezTo>
                <a:cubicBezTo>
                  <a:pt x="4968" y="14281"/>
                  <a:pt x="4718" y="14531"/>
                  <a:pt x="4531" y="14813"/>
                </a:cubicBezTo>
                <a:cubicBezTo>
                  <a:pt x="4500" y="14875"/>
                  <a:pt x="4437" y="14969"/>
                  <a:pt x="4375" y="15063"/>
                </a:cubicBezTo>
                <a:cubicBezTo>
                  <a:pt x="4375" y="15094"/>
                  <a:pt x="4375" y="15094"/>
                  <a:pt x="4375" y="15094"/>
                </a:cubicBezTo>
                <a:cubicBezTo>
                  <a:pt x="4375" y="15125"/>
                  <a:pt x="4375" y="15156"/>
                  <a:pt x="4343" y="15156"/>
                </a:cubicBezTo>
                <a:cubicBezTo>
                  <a:pt x="4343" y="15156"/>
                  <a:pt x="4343" y="15156"/>
                  <a:pt x="4312" y="15156"/>
                </a:cubicBezTo>
                <a:cubicBezTo>
                  <a:pt x="4343" y="15156"/>
                  <a:pt x="4343" y="15156"/>
                  <a:pt x="4343" y="15156"/>
                </a:cubicBezTo>
                <a:cubicBezTo>
                  <a:pt x="4343" y="15188"/>
                  <a:pt x="4312" y="15219"/>
                  <a:pt x="4281" y="15219"/>
                </a:cubicBezTo>
                <a:cubicBezTo>
                  <a:pt x="4281" y="15188"/>
                  <a:pt x="4281" y="15156"/>
                  <a:pt x="4312" y="15156"/>
                </a:cubicBezTo>
                <a:lnTo>
                  <a:pt x="4312" y="15156"/>
                </a:lnTo>
                <a:cubicBezTo>
                  <a:pt x="4312" y="15125"/>
                  <a:pt x="4343" y="15094"/>
                  <a:pt x="4375" y="15094"/>
                </a:cubicBezTo>
                <a:cubicBezTo>
                  <a:pt x="4406" y="15094"/>
                  <a:pt x="4406" y="15094"/>
                  <a:pt x="4437" y="15063"/>
                </a:cubicBezTo>
                <a:cubicBezTo>
                  <a:pt x="4437" y="15156"/>
                  <a:pt x="4375" y="15188"/>
                  <a:pt x="4343" y="15250"/>
                </a:cubicBezTo>
                <a:cubicBezTo>
                  <a:pt x="4312" y="15281"/>
                  <a:pt x="4281" y="15313"/>
                  <a:pt x="4281" y="15344"/>
                </a:cubicBezTo>
                <a:cubicBezTo>
                  <a:pt x="4218" y="15375"/>
                  <a:pt x="4218" y="15406"/>
                  <a:pt x="4218" y="15438"/>
                </a:cubicBezTo>
                <a:lnTo>
                  <a:pt x="4218" y="15438"/>
                </a:lnTo>
                <a:cubicBezTo>
                  <a:pt x="4125" y="15531"/>
                  <a:pt x="4031" y="15656"/>
                  <a:pt x="3968" y="15750"/>
                </a:cubicBezTo>
                <a:cubicBezTo>
                  <a:pt x="3906" y="15813"/>
                  <a:pt x="3843" y="15875"/>
                  <a:pt x="3843" y="15969"/>
                </a:cubicBezTo>
                <a:cubicBezTo>
                  <a:pt x="3750" y="16063"/>
                  <a:pt x="3687" y="16156"/>
                  <a:pt x="3625" y="16281"/>
                </a:cubicBezTo>
                <a:cubicBezTo>
                  <a:pt x="3562" y="16313"/>
                  <a:pt x="3562" y="16406"/>
                  <a:pt x="3531" y="16438"/>
                </a:cubicBezTo>
                <a:lnTo>
                  <a:pt x="3531" y="16438"/>
                </a:lnTo>
                <a:cubicBezTo>
                  <a:pt x="3593" y="16406"/>
                  <a:pt x="3593" y="16344"/>
                  <a:pt x="3625" y="16281"/>
                </a:cubicBezTo>
                <a:cubicBezTo>
                  <a:pt x="3750" y="16188"/>
                  <a:pt x="3781" y="16094"/>
                  <a:pt x="3843" y="15969"/>
                </a:cubicBezTo>
                <a:cubicBezTo>
                  <a:pt x="3843" y="15969"/>
                  <a:pt x="3875" y="15969"/>
                  <a:pt x="3875" y="15938"/>
                </a:cubicBezTo>
                <a:cubicBezTo>
                  <a:pt x="3937" y="15844"/>
                  <a:pt x="4031" y="15750"/>
                  <a:pt x="4125" y="15625"/>
                </a:cubicBezTo>
                <a:cubicBezTo>
                  <a:pt x="4156" y="15594"/>
                  <a:pt x="4218" y="15531"/>
                  <a:pt x="4218" y="15438"/>
                </a:cubicBezTo>
                <a:cubicBezTo>
                  <a:pt x="4218" y="15438"/>
                  <a:pt x="4218" y="15438"/>
                  <a:pt x="4218" y="15438"/>
                </a:cubicBezTo>
                <a:cubicBezTo>
                  <a:pt x="4250" y="15438"/>
                  <a:pt x="4281" y="15406"/>
                  <a:pt x="4281" y="15375"/>
                </a:cubicBezTo>
                <a:cubicBezTo>
                  <a:pt x="4312" y="15375"/>
                  <a:pt x="4312" y="15344"/>
                  <a:pt x="4343" y="15313"/>
                </a:cubicBezTo>
                <a:cubicBezTo>
                  <a:pt x="4468" y="15156"/>
                  <a:pt x="4625" y="15000"/>
                  <a:pt x="4750" y="14844"/>
                </a:cubicBezTo>
                <a:cubicBezTo>
                  <a:pt x="4781" y="14844"/>
                  <a:pt x="4781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813"/>
                  <a:pt x="4812" y="14813"/>
                  <a:pt x="4812" y="14813"/>
                </a:cubicBezTo>
                <a:cubicBezTo>
                  <a:pt x="4812" y="14906"/>
                  <a:pt x="4750" y="14906"/>
                  <a:pt x="4718" y="14969"/>
                </a:cubicBezTo>
                <a:cubicBezTo>
                  <a:pt x="4687" y="15031"/>
                  <a:pt x="4625" y="15063"/>
                  <a:pt x="4625" y="15125"/>
                </a:cubicBezTo>
                <a:cubicBezTo>
                  <a:pt x="4593" y="15188"/>
                  <a:pt x="4593" y="15219"/>
                  <a:pt x="4562" y="15250"/>
                </a:cubicBezTo>
                <a:cubicBezTo>
                  <a:pt x="4156" y="15781"/>
                  <a:pt x="3781" y="16313"/>
                  <a:pt x="3437" y="16875"/>
                </a:cubicBezTo>
                <a:cubicBezTo>
                  <a:pt x="3156" y="17375"/>
                  <a:pt x="2875" y="17906"/>
                  <a:pt x="2625" y="18437"/>
                </a:cubicBezTo>
                <a:cubicBezTo>
                  <a:pt x="2593" y="18437"/>
                  <a:pt x="2562" y="18469"/>
                  <a:pt x="2625" y="18500"/>
                </a:cubicBezTo>
                <a:cubicBezTo>
                  <a:pt x="2656" y="18500"/>
                  <a:pt x="2656" y="18469"/>
                  <a:pt x="2656" y="18469"/>
                </a:cubicBezTo>
                <a:cubicBezTo>
                  <a:pt x="2750" y="18250"/>
                  <a:pt x="2875" y="18031"/>
                  <a:pt x="2968" y="17844"/>
                </a:cubicBezTo>
                <a:cubicBezTo>
                  <a:pt x="3031" y="17719"/>
                  <a:pt x="3093" y="17594"/>
                  <a:pt x="3187" y="17469"/>
                </a:cubicBezTo>
                <a:cubicBezTo>
                  <a:pt x="3187" y="17469"/>
                  <a:pt x="3187" y="17469"/>
                  <a:pt x="3187" y="17469"/>
                </a:cubicBezTo>
                <a:cubicBezTo>
                  <a:pt x="3187" y="17500"/>
                  <a:pt x="3187" y="17531"/>
                  <a:pt x="3156" y="17531"/>
                </a:cubicBezTo>
                <a:cubicBezTo>
                  <a:pt x="3062" y="17750"/>
                  <a:pt x="2937" y="17969"/>
                  <a:pt x="2843" y="18156"/>
                </a:cubicBezTo>
                <a:cubicBezTo>
                  <a:pt x="2781" y="18281"/>
                  <a:pt x="2718" y="18375"/>
                  <a:pt x="2687" y="18500"/>
                </a:cubicBezTo>
                <a:cubicBezTo>
                  <a:pt x="2750" y="18500"/>
                  <a:pt x="2781" y="18500"/>
                  <a:pt x="2781" y="18469"/>
                </a:cubicBezTo>
                <a:cubicBezTo>
                  <a:pt x="2875" y="18312"/>
                  <a:pt x="2937" y="18156"/>
                  <a:pt x="3031" y="18000"/>
                </a:cubicBezTo>
                <a:cubicBezTo>
                  <a:pt x="3062" y="17937"/>
                  <a:pt x="3062" y="17875"/>
                  <a:pt x="3125" y="17844"/>
                </a:cubicBezTo>
                <a:cubicBezTo>
                  <a:pt x="3125" y="17969"/>
                  <a:pt x="3031" y="18062"/>
                  <a:pt x="3000" y="18156"/>
                </a:cubicBezTo>
                <a:cubicBezTo>
                  <a:pt x="2937" y="18281"/>
                  <a:pt x="2875" y="18375"/>
                  <a:pt x="2843" y="18500"/>
                </a:cubicBezTo>
                <a:cubicBezTo>
                  <a:pt x="2906" y="18500"/>
                  <a:pt x="2906" y="18469"/>
                  <a:pt x="2906" y="18437"/>
                </a:cubicBezTo>
                <a:cubicBezTo>
                  <a:pt x="3000" y="18250"/>
                  <a:pt x="3093" y="18031"/>
                  <a:pt x="3187" y="17844"/>
                </a:cubicBezTo>
                <a:cubicBezTo>
                  <a:pt x="3500" y="17312"/>
                  <a:pt x="3812" y="16750"/>
                  <a:pt x="4156" y="16219"/>
                </a:cubicBezTo>
                <a:cubicBezTo>
                  <a:pt x="4406" y="15875"/>
                  <a:pt x="4656" y="15531"/>
                  <a:pt x="4968" y="15188"/>
                </a:cubicBezTo>
                <a:cubicBezTo>
                  <a:pt x="4968" y="15156"/>
                  <a:pt x="5000" y="15125"/>
                  <a:pt x="4968" y="15094"/>
                </a:cubicBezTo>
                <a:cubicBezTo>
                  <a:pt x="5125" y="14906"/>
                  <a:pt x="5312" y="14719"/>
                  <a:pt x="5500" y="14563"/>
                </a:cubicBezTo>
                <a:cubicBezTo>
                  <a:pt x="5531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63"/>
                  <a:pt x="5562" y="14563"/>
                </a:cubicBezTo>
                <a:cubicBezTo>
                  <a:pt x="5562" y="14563"/>
                  <a:pt x="5562" y="14594"/>
                  <a:pt x="5531" y="14594"/>
                </a:cubicBezTo>
                <a:cubicBezTo>
                  <a:pt x="5468" y="14688"/>
                  <a:pt x="5375" y="14750"/>
                  <a:pt x="5312" y="14844"/>
                </a:cubicBezTo>
                <a:cubicBezTo>
                  <a:pt x="5250" y="14875"/>
                  <a:pt x="5218" y="14938"/>
                  <a:pt x="5187" y="14969"/>
                </a:cubicBezTo>
                <a:lnTo>
                  <a:pt x="5187" y="14969"/>
                </a:lnTo>
                <a:cubicBezTo>
                  <a:pt x="5187" y="14969"/>
                  <a:pt x="5187" y="15000"/>
                  <a:pt x="5187" y="15000"/>
                </a:cubicBezTo>
                <a:cubicBezTo>
                  <a:pt x="5187" y="15000"/>
                  <a:pt x="5156" y="15000"/>
                  <a:pt x="5156" y="15031"/>
                </a:cubicBezTo>
                <a:lnTo>
                  <a:pt x="5156" y="15031"/>
                </a:lnTo>
                <a:cubicBezTo>
                  <a:pt x="5125" y="15000"/>
                  <a:pt x="5156" y="15000"/>
                  <a:pt x="5187" y="15000"/>
                </a:cubicBezTo>
                <a:cubicBezTo>
                  <a:pt x="5187" y="14969"/>
                  <a:pt x="5187" y="14969"/>
                  <a:pt x="5187" y="14969"/>
                </a:cubicBezTo>
                <a:cubicBezTo>
                  <a:pt x="5218" y="14938"/>
                  <a:pt x="5281" y="14906"/>
                  <a:pt x="5312" y="14844"/>
                </a:cubicBezTo>
                <a:cubicBezTo>
                  <a:pt x="5312" y="14844"/>
                  <a:pt x="5343" y="14844"/>
                  <a:pt x="5343" y="14875"/>
                </a:cubicBezTo>
                <a:cubicBezTo>
                  <a:pt x="5375" y="14875"/>
                  <a:pt x="5343" y="14906"/>
                  <a:pt x="5312" y="14906"/>
                </a:cubicBezTo>
                <a:cubicBezTo>
                  <a:pt x="5156" y="15094"/>
                  <a:pt x="5000" y="15250"/>
                  <a:pt x="4875" y="15438"/>
                </a:cubicBezTo>
                <a:cubicBezTo>
                  <a:pt x="4875" y="15469"/>
                  <a:pt x="4906" y="15469"/>
                  <a:pt x="4906" y="15438"/>
                </a:cubicBezTo>
                <a:cubicBezTo>
                  <a:pt x="4906" y="15469"/>
                  <a:pt x="4875" y="15469"/>
                  <a:pt x="4875" y="15438"/>
                </a:cubicBezTo>
                <a:cubicBezTo>
                  <a:pt x="4843" y="15469"/>
                  <a:pt x="4812" y="15469"/>
                  <a:pt x="4812" y="15500"/>
                </a:cubicBezTo>
                <a:cubicBezTo>
                  <a:pt x="4812" y="15500"/>
                  <a:pt x="4812" y="15531"/>
                  <a:pt x="4812" y="15531"/>
                </a:cubicBezTo>
                <a:cubicBezTo>
                  <a:pt x="4781" y="15531"/>
                  <a:pt x="4781" y="15563"/>
                  <a:pt x="4750" y="15563"/>
                </a:cubicBezTo>
                <a:cubicBezTo>
                  <a:pt x="4750" y="15594"/>
                  <a:pt x="4718" y="15594"/>
                  <a:pt x="4718" y="15625"/>
                </a:cubicBezTo>
                <a:cubicBezTo>
                  <a:pt x="4718" y="15625"/>
                  <a:pt x="4718" y="15625"/>
                  <a:pt x="4718" y="15625"/>
                </a:cubicBezTo>
                <a:cubicBezTo>
                  <a:pt x="4625" y="15719"/>
                  <a:pt x="4531" y="15813"/>
                  <a:pt x="4468" y="15938"/>
                </a:cubicBezTo>
                <a:cubicBezTo>
                  <a:pt x="4468" y="15938"/>
                  <a:pt x="4468" y="15938"/>
                  <a:pt x="4468" y="15938"/>
                </a:cubicBezTo>
                <a:cubicBezTo>
                  <a:pt x="4468" y="15969"/>
                  <a:pt x="4437" y="15969"/>
                  <a:pt x="4437" y="16000"/>
                </a:cubicBezTo>
                <a:cubicBezTo>
                  <a:pt x="4343" y="16125"/>
                  <a:pt x="4250" y="16250"/>
                  <a:pt x="4156" y="16375"/>
                </a:cubicBezTo>
                <a:cubicBezTo>
                  <a:pt x="3718" y="17031"/>
                  <a:pt x="3343" y="17719"/>
                  <a:pt x="3000" y="18437"/>
                </a:cubicBezTo>
                <a:cubicBezTo>
                  <a:pt x="2968" y="18469"/>
                  <a:pt x="2968" y="18500"/>
                  <a:pt x="2968" y="18500"/>
                </a:cubicBezTo>
                <a:cubicBezTo>
                  <a:pt x="3000" y="18500"/>
                  <a:pt x="3031" y="18469"/>
                  <a:pt x="3031" y="18469"/>
                </a:cubicBezTo>
                <a:cubicBezTo>
                  <a:pt x="3187" y="18156"/>
                  <a:pt x="3343" y="17844"/>
                  <a:pt x="3500" y="17531"/>
                </a:cubicBezTo>
                <a:cubicBezTo>
                  <a:pt x="3750" y="17094"/>
                  <a:pt x="4031" y="16625"/>
                  <a:pt x="4343" y="16188"/>
                </a:cubicBezTo>
                <a:cubicBezTo>
                  <a:pt x="4375" y="16156"/>
                  <a:pt x="4406" y="16063"/>
                  <a:pt x="4500" y="16031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31"/>
                  <a:pt x="4500" y="16031"/>
                  <a:pt x="4500" y="16063"/>
                </a:cubicBezTo>
                <a:cubicBezTo>
                  <a:pt x="4500" y="16031"/>
                  <a:pt x="4500" y="16031"/>
                  <a:pt x="4500" y="16031"/>
                </a:cubicBezTo>
                <a:cubicBezTo>
                  <a:pt x="4500" y="16000"/>
                  <a:pt x="4500" y="16000"/>
                  <a:pt x="4500" y="15969"/>
                </a:cubicBezTo>
                <a:cubicBezTo>
                  <a:pt x="4593" y="15969"/>
                  <a:pt x="4593" y="15969"/>
                  <a:pt x="4593" y="15906"/>
                </a:cubicBezTo>
                <a:cubicBezTo>
                  <a:pt x="4593" y="15906"/>
                  <a:pt x="4593" y="15906"/>
                  <a:pt x="4593" y="15906"/>
                </a:cubicBezTo>
                <a:cubicBezTo>
                  <a:pt x="4593" y="15875"/>
                  <a:pt x="4593" y="15844"/>
                  <a:pt x="4625" y="15844"/>
                </a:cubicBezTo>
                <a:cubicBezTo>
                  <a:pt x="4625" y="15844"/>
                  <a:pt x="4625" y="15844"/>
                  <a:pt x="4625" y="15844"/>
                </a:cubicBezTo>
                <a:cubicBezTo>
                  <a:pt x="4656" y="15875"/>
                  <a:pt x="4687" y="15844"/>
                  <a:pt x="4656" y="15813"/>
                </a:cubicBezTo>
                <a:cubicBezTo>
                  <a:pt x="4656" y="15781"/>
                  <a:pt x="4656" y="15750"/>
                  <a:pt x="4687" y="15750"/>
                </a:cubicBezTo>
                <a:cubicBezTo>
                  <a:pt x="4687" y="15750"/>
                  <a:pt x="4687" y="15750"/>
                  <a:pt x="4687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50"/>
                  <a:pt x="4718" y="15750"/>
                  <a:pt x="4718" y="15750"/>
                </a:cubicBezTo>
                <a:cubicBezTo>
                  <a:pt x="4718" y="15719"/>
                  <a:pt x="4718" y="15719"/>
                  <a:pt x="4718" y="15688"/>
                </a:cubicBezTo>
                <a:cubicBezTo>
                  <a:pt x="4750" y="15750"/>
                  <a:pt x="4781" y="15719"/>
                  <a:pt x="4781" y="15688"/>
                </a:cubicBezTo>
                <a:cubicBezTo>
                  <a:pt x="4843" y="15594"/>
                  <a:pt x="4906" y="15531"/>
                  <a:pt x="4968" y="15469"/>
                </a:cubicBezTo>
                <a:cubicBezTo>
                  <a:pt x="5000" y="15438"/>
                  <a:pt x="5031" y="15375"/>
                  <a:pt x="5093" y="15375"/>
                </a:cubicBezTo>
                <a:cubicBezTo>
                  <a:pt x="5031" y="15469"/>
                  <a:pt x="4968" y="15531"/>
                  <a:pt x="4906" y="15594"/>
                </a:cubicBezTo>
                <a:cubicBezTo>
                  <a:pt x="4843" y="15656"/>
                  <a:pt x="4843" y="15781"/>
                  <a:pt x="4750" y="15813"/>
                </a:cubicBezTo>
                <a:cubicBezTo>
                  <a:pt x="4781" y="15844"/>
                  <a:pt x="4687" y="15844"/>
                  <a:pt x="4718" y="15875"/>
                </a:cubicBezTo>
                <a:cubicBezTo>
                  <a:pt x="4781" y="15938"/>
                  <a:pt x="4718" y="15969"/>
                  <a:pt x="4718" y="16000"/>
                </a:cubicBezTo>
                <a:cubicBezTo>
                  <a:pt x="4562" y="16219"/>
                  <a:pt x="4406" y="16438"/>
                  <a:pt x="4281" y="16687"/>
                </a:cubicBezTo>
                <a:cubicBezTo>
                  <a:pt x="4250" y="16750"/>
                  <a:pt x="4187" y="16781"/>
                  <a:pt x="4218" y="16812"/>
                </a:cubicBezTo>
                <a:cubicBezTo>
                  <a:pt x="4218" y="16906"/>
                  <a:pt x="4156" y="16969"/>
                  <a:pt x="4125" y="17031"/>
                </a:cubicBezTo>
                <a:cubicBezTo>
                  <a:pt x="4031" y="17125"/>
                  <a:pt x="3968" y="17281"/>
                  <a:pt x="3906" y="17406"/>
                </a:cubicBezTo>
                <a:cubicBezTo>
                  <a:pt x="3812" y="17562"/>
                  <a:pt x="3718" y="17719"/>
                  <a:pt x="3656" y="17844"/>
                </a:cubicBezTo>
                <a:cubicBezTo>
                  <a:pt x="3531" y="18062"/>
                  <a:pt x="3437" y="18250"/>
                  <a:pt x="3343" y="18437"/>
                </a:cubicBezTo>
                <a:cubicBezTo>
                  <a:pt x="3312" y="18500"/>
                  <a:pt x="3343" y="18500"/>
                  <a:pt x="3375" y="18500"/>
                </a:cubicBezTo>
                <a:cubicBezTo>
                  <a:pt x="3437" y="18500"/>
                  <a:pt x="3531" y="18500"/>
                  <a:pt x="3593" y="18500"/>
                </a:cubicBezTo>
                <a:cubicBezTo>
                  <a:pt x="3656" y="18500"/>
                  <a:pt x="3687" y="18469"/>
                  <a:pt x="3718" y="18406"/>
                </a:cubicBezTo>
                <a:cubicBezTo>
                  <a:pt x="3875" y="18125"/>
                  <a:pt x="4031" y="17812"/>
                  <a:pt x="4218" y="17531"/>
                </a:cubicBezTo>
                <a:cubicBezTo>
                  <a:pt x="4250" y="17437"/>
                  <a:pt x="4343" y="17344"/>
                  <a:pt x="4375" y="17219"/>
                </a:cubicBezTo>
                <a:cubicBezTo>
                  <a:pt x="4375" y="17156"/>
                  <a:pt x="4375" y="17094"/>
                  <a:pt x="4468" y="17094"/>
                </a:cubicBezTo>
                <a:cubicBezTo>
                  <a:pt x="4500" y="17094"/>
                  <a:pt x="4500" y="17062"/>
                  <a:pt x="4500" y="17031"/>
                </a:cubicBezTo>
                <a:cubicBezTo>
                  <a:pt x="4531" y="17000"/>
                  <a:pt x="4593" y="16937"/>
                  <a:pt x="4625" y="16875"/>
                </a:cubicBezTo>
                <a:cubicBezTo>
                  <a:pt x="4656" y="16844"/>
                  <a:pt x="4687" y="16812"/>
                  <a:pt x="4718" y="16875"/>
                </a:cubicBezTo>
                <a:cubicBezTo>
                  <a:pt x="4718" y="16875"/>
                  <a:pt x="4718" y="16875"/>
                  <a:pt x="4718" y="16875"/>
                </a:cubicBezTo>
                <a:cubicBezTo>
                  <a:pt x="4687" y="16937"/>
                  <a:pt x="4656" y="16969"/>
                  <a:pt x="4625" y="17031"/>
                </a:cubicBezTo>
                <a:cubicBezTo>
                  <a:pt x="4562" y="17125"/>
                  <a:pt x="4468" y="17219"/>
                  <a:pt x="4437" y="17344"/>
                </a:cubicBezTo>
                <a:cubicBezTo>
                  <a:pt x="4437" y="17375"/>
                  <a:pt x="4437" y="17375"/>
                  <a:pt x="4406" y="17375"/>
                </a:cubicBezTo>
                <a:cubicBezTo>
                  <a:pt x="4375" y="17437"/>
                  <a:pt x="4312" y="17531"/>
                  <a:pt x="4281" y="17594"/>
                </a:cubicBezTo>
                <a:cubicBezTo>
                  <a:pt x="4125" y="17875"/>
                  <a:pt x="3968" y="18156"/>
                  <a:pt x="3812" y="18437"/>
                </a:cubicBezTo>
                <a:cubicBezTo>
                  <a:pt x="3812" y="18500"/>
                  <a:pt x="3812" y="18500"/>
                  <a:pt x="3843" y="18500"/>
                </a:cubicBezTo>
                <a:cubicBezTo>
                  <a:pt x="3937" y="18500"/>
                  <a:pt x="4031" y="18500"/>
                  <a:pt x="4125" y="18500"/>
                </a:cubicBezTo>
                <a:cubicBezTo>
                  <a:pt x="4187" y="18500"/>
                  <a:pt x="4250" y="18500"/>
                  <a:pt x="4312" y="18500"/>
                </a:cubicBezTo>
                <a:cubicBezTo>
                  <a:pt x="4437" y="18312"/>
                  <a:pt x="4531" y="18094"/>
                  <a:pt x="4656" y="17906"/>
                </a:cubicBezTo>
                <a:cubicBezTo>
                  <a:pt x="4531" y="18094"/>
                  <a:pt x="4437" y="18312"/>
                  <a:pt x="4312" y="18500"/>
                </a:cubicBezTo>
                <a:cubicBezTo>
                  <a:pt x="4343" y="18500"/>
                  <a:pt x="4375" y="18500"/>
                  <a:pt x="4406" y="18500"/>
                </a:cubicBezTo>
                <a:cubicBezTo>
                  <a:pt x="4406" y="18469"/>
                  <a:pt x="4406" y="18469"/>
                  <a:pt x="4406" y="18469"/>
                </a:cubicBezTo>
                <a:cubicBezTo>
                  <a:pt x="4406" y="18469"/>
                  <a:pt x="4406" y="18469"/>
                  <a:pt x="4406" y="18500"/>
                </a:cubicBezTo>
                <a:cubicBezTo>
                  <a:pt x="4406" y="18500"/>
                  <a:pt x="4406" y="18500"/>
                  <a:pt x="4437" y="18500"/>
                </a:cubicBezTo>
                <a:cubicBezTo>
                  <a:pt x="4468" y="18406"/>
                  <a:pt x="4531" y="18312"/>
                  <a:pt x="4593" y="18219"/>
                </a:cubicBezTo>
                <a:cubicBezTo>
                  <a:pt x="4531" y="18312"/>
                  <a:pt x="4468" y="18406"/>
                  <a:pt x="4437" y="18500"/>
                </a:cubicBezTo>
                <a:cubicBezTo>
                  <a:pt x="4437" y="18500"/>
                  <a:pt x="4468" y="18500"/>
                  <a:pt x="4500" y="18500"/>
                </a:cubicBezTo>
                <a:cubicBezTo>
                  <a:pt x="4562" y="18500"/>
                  <a:pt x="4625" y="18500"/>
                  <a:pt x="4687" y="18500"/>
                </a:cubicBezTo>
                <a:cubicBezTo>
                  <a:pt x="4718" y="18469"/>
                  <a:pt x="4718" y="18469"/>
                  <a:pt x="4718" y="18469"/>
                </a:cubicBezTo>
                <a:cubicBezTo>
                  <a:pt x="4875" y="18187"/>
                  <a:pt x="5031" y="17875"/>
                  <a:pt x="5218" y="17625"/>
                </a:cubicBezTo>
                <a:cubicBezTo>
                  <a:pt x="5437" y="17250"/>
                  <a:pt x="5687" y="16906"/>
                  <a:pt x="5937" y="16594"/>
                </a:cubicBezTo>
                <a:cubicBezTo>
                  <a:pt x="6187" y="16250"/>
                  <a:pt x="6468" y="15969"/>
                  <a:pt x="6750" y="15656"/>
                </a:cubicBezTo>
                <a:cubicBezTo>
                  <a:pt x="6812" y="15594"/>
                  <a:pt x="6812" y="15531"/>
                  <a:pt x="6812" y="15438"/>
                </a:cubicBezTo>
                <a:cubicBezTo>
                  <a:pt x="6812" y="15406"/>
                  <a:pt x="6812" y="15406"/>
                  <a:pt x="6812" y="15406"/>
                </a:cubicBezTo>
                <a:cubicBezTo>
                  <a:pt x="6687" y="15406"/>
                  <a:pt x="6625" y="15281"/>
                  <a:pt x="6562" y="15219"/>
                </a:cubicBezTo>
                <a:cubicBezTo>
                  <a:pt x="6531" y="15188"/>
                  <a:pt x="6531" y="15125"/>
                  <a:pt x="6468" y="15156"/>
                </a:cubicBezTo>
                <a:cubicBezTo>
                  <a:pt x="6437" y="15156"/>
                  <a:pt x="6406" y="15094"/>
                  <a:pt x="6406" y="15094"/>
                </a:cubicBezTo>
                <a:cubicBezTo>
                  <a:pt x="6437" y="15031"/>
                  <a:pt x="6437" y="15000"/>
                  <a:pt x="6406" y="14969"/>
                </a:cubicBezTo>
                <a:cubicBezTo>
                  <a:pt x="6375" y="14938"/>
                  <a:pt x="6375" y="14875"/>
                  <a:pt x="6406" y="14875"/>
                </a:cubicBezTo>
                <a:cubicBezTo>
                  <a:pt x="6437" y="14844"/>
                  <a:pt x="6468" y="14875"/>
                  <a:pt x="6468" y="14906"/>
                </a:cubicBezTo>
                <a:cubicBezTo>
                  <a:pt x="6500" y="14938"/>
                  <a:pt x="6531" y="15000"/>
                  <a:pt x="6593" y="14938"/>
                </a:cubicBezTo>
                <a:cubicBezTo>
                  <a:pt x="6625" y="14906"/>
                  <a:pt x="6718" y="14875"/>
                  <a:pt x="6625" y="14781"/>
                </a:cubicBezTo>
                <a:cubicBezTo>
                  <a:pt x="6593" y="14750"/>
                  <a:pt x="6625" y="14719"/>
                  <a:pt x="6656" y="14688"/>
                </a:cubicBezTo>
                <a:cubicBezTo>
                  <a:pt x="6687" y="14656"/>
                  <a:pt x="6718" y="14688"/>
                  <a:pt x="6718" y="14719"/>
                </a:cubicBezTo>
                <a:cubicBezTo>
                  <a:pt x="6750" y="14781"/>
                  <a:pt x="6781" y="14813"/>
                  <a:pt x="6843" y="14750"/>
                </a:cubicBezTo>
                <a:cubicBezTo>
                  <a:pt x="6875" y="14719"/>
                  <a:pt x="6906" y="14719"/>
                  <a:pt x="6906" y="14781"/>
                </a:cubicBezTo>
                <a:cubicBezTo>
                  <a:pt x="6937" y="14781"/>
                  <a:pt x="6937" y="14813"/>
                  <a:pt x="6968" y="14813"/>
                </a:cubicBezTo>
                <a:cubicBezTo>
                  <a:pt x="7000" y="14813"/>
                  <a:pt x="7000" y="14750"/>
                  <a:pt x="7000" y="14750"/>
                </a:cubicBezTo>
                <a:cubicBezTo>
                  <a:pt x="6968" y="14656"/>
                  <a:pt x="7000" y="14594"/>
                  <a:pt x="7062" y="14563"/>
                </a:cubicBezTo>
                <a:cubicBezTo>
                  <a:pt x="7156" y="14469"/>
                  <a:pt x="7250" y="14438"/>
                  <a:pt x="7312" y="14344"/>
                </a:cubicBezTo>
                <a:cubicBezTo>
                  <a:pt x="7343" y="14344"/>
                  <a:pt x="7343" y="14344"/>
                  <a:pt x="7343" y="14344"/>
                </a:cubicBezTo>
                <a:lnTo>
                  <a:pt x="7343" y="14344"/>
                </a:lnTo>
                <a:cubicBezTo>
                  <a:pt x="7343" y="14344"/>
                  <a:pt x="7343" y="14344"/>
                  <a:pt x="7312" y="14344"/>
                </a:cubicBezTo>
                <a:cubicBezTo>
                  <a:pt x="7250" y="14344"/>
                  <a:pt x="7187" y="14438"/>
                  <a:pt x="7093" y="14438"/>
                </a:cubicBezTo>
                <a:cubicBezTo>
                  <a:pt x="7218" y="14313"/>
                  <a:pt x="7343" y="14281"/>
                  <a:pt x="7437" y="14188"/>
                </a:cubicBezTo>
                <a:cubicBezTo>
                  <a:pt x="7500" y="14156"/>
                  <a:pt x="7500" y="14125"/>
                  <a:pt x="7500" y="14063"/>
                </a:cubicBezTo>
                <a:cubicBezTo>
                  <a:pt x="7375" y="14125"/>
                  <a:pt x="7281" y="14188"/>
                  <a:pt x="7156" y="14156"/>
                </a:cubicBezTo>
                <a:cubicBezTo>
                  <a:pt x="7125" y="14156"/>
                  <a:pt x="7187" y="14125"/>
                  <a:pt x="7156" y="14094"/>
                </a:cubicBezTo>
                <a:cubicBezTo>
                  <a:pt x="7125" y="14094"/>
                  <a:pt x="7125" y="14125"/>
                  <a:pt x="7093" y="14125"/>
                </a:cubicBezTo>
                <a:cubicBezTo>
                  <a:pt x="7062" y="14156"/>
                  <a:pt x="7031" y="14188"/>
                  <a:pt x="6968" y="14188"/>
                </a:cubicBezTo>
                <a:cubicBezTo>
                  <a:pt x="6875" y="14250"/>
                  <a:pt x="6812" y="14313"/>
                  <a:pt x="6718" y="14344"/>
                </a:cubicBezTo>
                <a:cubicBezTo>
                  <a:pt x="6718" y="14313"/>
                  <a:pt x="6750" y="14313"/>
                  <a:pt x="6750" y="14313"/>
                </a:cubicBezTo>
                <a:cubicBezTo>
                  <a:pt x="6656" y="14219"/>
                  <a:pt x="6750" y="14188"/>
                  <a:pt x="6781" y="14156"/>
                </a:cubicBezTo>
                <a:cubicBezTo>
                  <a:pt x="6875" y="14125"/>
                  <a:pt x="6937" y="14063"/>
                  <a:pt x="7000" y="14000"/>
                </a:cubicBezTo>
                <a:cubicBezTo>
                  <a:pt x="7031" y="13938"/>
                  <a:pt x="7093" y="13875"/>
                  <a:pt x="7156" y="13813"/>
                </a:cubicBezTo>
                <a:cubicBezTo>
                  <a:pt x="7218" y="13750"/>
                  <a:pt x="7312" y="13688"/>
                  <a:pt x="7343" y="13594"/>
                </a:cubicBezTo>
                <a:cubicBezTo>
                  <a:pt x="7343" y="13563"/>
                  <a:pt x="7375" y="13563"/>
                  <a:pt x="7406" y="13563"/>
                </a:cubicBezTo>
                <a:cubicBezTo>
                  <a:pt x="7468" y="13500"/>
                  <a:pt x="7562" y="13469"/>
                  <a:pt x="7625" y="13406"/>
                </a:cubicBezTo>
                <a:cubicBezTo>
                  <a:pt x="7531" y="13469"/>
                  <a:pt x="7406" y="13438"/>
                  <a:pt x="7312" y="13531"/>
                </a:cubicBezTo>
                <a:cubicBezTo>
                  <a:pt x="7312" y="13563"/>
                  <a:pt x="7281" y="13563"/>
                  <a:pt x="7250" y="13563"/>
                </a:cubicBezTo>
                <a:cubicBezTo>
                  <a:pt x="7187" y="13594"/>
                  <a:pt x="7125" y="13656"/>
                  <a:pt x="7000" y="13656"/>
                </a:cubicBezTo>
                <a:cubicBezTo>
                  <a:pt x="6937" y="13625"/>
                  <a:pt x="6875" y="13719"/>
                  <a:pt x="6812" y="13750"/>
                </a:cubicBezTo>
                <a:cubicBezTo>
                  <a:pt x="6781" y="13781"/>
                  <a:pt x="6750" y="13813"/>
                  <a:pt x="6718" y="13781"/>
                </a:cubicBezTo>
                <a:cubicBezTo>
                  <a:pt x="6843" y="13656"/>
                  <a:pt x="7000" y="13594"/>
                  <a:pt x="7156" y="13500"/>
                </a:cubicBezTo>
                <a:cubicBezTo>
                  <a:pt x="7093" y="13469"/>
                  <a:pt x="7062" y="13563"/>
                  <a:pt x="7000" y="13531"/>
                </a:cubicBezTo>
                <a:cubicBezTo>
                  <a:pt x="7000" y="13531"/>
                  <a:pt x="7000" y="13531"/>
                  <a:pt x="7000" y="13531"/>
                </a:cubicBezTo>
                <a:cubicBezTo>
                  <a:pt x="7031" y="13500"/>
                  <a:pt x="7062" y="13469"/>
                  <a:pt x="7093" y="13469"/>
                </a:cubicBezTo>
                <a:cubicBezTo>
                  <a:pt x="7125" y="13469"/>
                  <a:pt x="7125" y="13469"/>
                  <a:pt x="7156" y="13406"/>
                </a:cubicBezTo>
                <a:cubicBezTo>
                  <a:pt x="7156" y="13406"/>
                  <a:pt x="7156" y="13406"/>
                  <a:pt x="7156" y="13406"/>
                </a:cubicBezTo>
                <a:cubicBezTo>
                  <a:pt x="7187" y="13406"/>
                  <a:pt x="7250" y="13406"/>
                  <a:pt x="7250" y="13344"/>
                </a:cubicBezTo>
                <a:cubicBezTo>
                  <a:pt x="7250" y="13344"/>
                  <a:pt x="7250" y="13344"/>
                  <a:pt x="7250" y="13344"/>
                </a:cubicBezTo>
                <a:cubicBezTo>
                  <a:pt x="7375" y="13344"/>
                  <a:pt x="7468" y="13281"/>
                  <a:pt x="7562" y="13219"/>
                </a:cubicBezTo>
                <a:cubicBezTo>
                  <a:pt x="7562" y="13219"/>
                  <a:pt x="7562" y="13219"/>
                  <a:pt x="7562" y="13219"/>
                </a:cubicBezTo>
                <a:cubicBezTo>
                  <a:pt x="7593" y="13219"/>
                  <a:pt x="7625" y="13219"/>
                  <a:pt x="7625" y="13188"/>
                </a:cubicBezTo>
                <a:cubicBezTo>
                  <a:pt x="7718" y="13188"/>
                  <a:pt x="7812" y="13125"/>
                  <a:pt x="7906" y="13094"/>
                </a:cubicBezTo>
                <a:cubicBezTo>
                  <a:pt x="7812" y="13125"/>
                  <a:pt x="7718" y="13125"/>
                  <a:pt x="7625" y="13188"/>
                </a:cubicBezTo>
                <a:cubicBezTo>
                  <a:pt x="7625" y="13188"/>
                  <a:pt x="7625" y="13188"/>
                  <a:pt x="7625" y="13188"/>
                </a:cubicBezTo>
                <a:cubicBezTo>
                  <a:pt x="7593" y="13188"/>
                  <a:pt x="7562" y="13188"/>
                  <a:pt x="7562" y="13219"/>
                </a:cubicBezTo>
                <a:cubicBezTo>
                  <a:pt x="7468" y="13219"/>
                  <a:pt x="7406" y="13281"/>
                  <a:pt x="7343" y="13281"/>
                </a:cubicBezTo>
                <a:cubicBezTo>
                  <a:pt x="7343" y="13281"/>
                  <a:pt x="7343" y="13281"/>
                  <a:pt x="7343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281"/>
                </a:cubicBezTo>
                <a:cubicBezTo>
                  <a:pt x="7312" y="13281"/>
                  <a:pt x="7312" y="13281"/>
                  <a:pt x="7312" y="13313"/>
                </a:cubicBezTo>
                <a:cubicBezTo>
                  <a:pt x="7250" y="13313"/>
                  <a:pt x="7218" y="13375"/>
                  <a:pt x="7156" y="13344"/>
                </a:cubicBezTo>
                <a:cubicBezTo>
                  <a:pt x="7031" y="13375"/>
                  <a:pt x="6906" y="13438"/>
                  <a:pt x="6812" y="13500"/>
                </a:cubicBezTo>
                <a:cubicBezTo>
                  <a:pt x="6781" y="13500"/>
                  <a:pt x="6750" y="13531"/>
                  <a:pt x="6750" y="13531"/>
                </a:cubicBezTo>
                <a:cubicBezTo>
                  <a:pt x="6593" y="13594"/>
                  <a:pt x="6500" y="13750"/>
                  <a:pt x="6343" y="13750"/>
                </a:cubicBezTo>
                <a:cubicBezTo>
                  <a:pt x="6343" y="13688"/>
                  <a:pt x="6406" y="13688"/>
                  <a:pt x="6406" y="13625"/>
                </a:cubicBezTo>
                <a:cubicBezTo>
                  <a:pt x="6343" y="13656"/>
                  <a:pt x="6281" y="13719"/>
                  <a:pt x="6187" y="13750"/>
                </a:cubicBezTo>
                <a:cubicBezTo>
                  <a:pt x="6187" y="13719"/>
                  <a:pt x="6218" y="13719"/>
                  <a:pt x="6250" y="13688"/>
                </a:cubicBezTo>
                <a:cubicBezTo>
                  <a:pt x="6406" y="13563"/>
                  <a:pt x="6593" y="13469"/>
                  <a:pt x="6750" y="13344"/>
                </a:cubicBezTo>
                <a:cubicBezTo>
                  <a:pt x="6843" y="13313"/>
                  <a:pt x="6906" y="13250"/>
                  <a:pt x="6968" y="13188"/>
                </a:cubicBezTo>
                <a:cubicBezTo>
                  <a:pt x="7031" y="13094"/>
                  <a:pt x="7125" y="13063"/>
                  <a:pt x="7218" y="13031"/>
                </a:cubicBezTo>
                <a:cubicBezTo>
                  <a:pt x="7281" y="13000"/>
                  <a:pt x="7343" y="13000"/>
                  <a:pt x="7375" y="12938"/>
                </a:cubicBezTo>
                <a:cubicBezTo>
                  <a:pt x="7343" y="12906"/>
                  <a:pt x="7343" y="12938"/>
                  <a:pt x="7312" y="12938"/>
                </a:cubicBezTo>
                <a:cubicBezTo>
                  <a:pt x="7125" y="13000"/>
                  <a:pt x="6906" y="13125"/>
                  <a:pt x="6718" y="13219"/>
                </a:cubicBezTo>
                <a:cubicBezTo>
                  <a:pt x="6687" y="13250"/>
                  <a:pt x="6656" y="13250"/>
                  <a:pt x="6593" y="13219"/>
                </a:cubicBezTo>
                <a:cubicBezTo>
                  <a:pt x="6656" y="13188"/>
                  <a:pt x="6687" y="13156"/>
                  <a:pt x="6718" y="13125"/>
                </a:cubicBezTo>
                <a:cubicBezTo>
                  <a:pt x="6718" y="13125"/>
                  <a:pt x="6718" y="13125"/>
                  <a:pt x="6718" y="13125"/>
                </a:cubicBezTo>
                <a:cubicBezTo>
                  <a:pt x="6718" y="13125"/>
                  <a:pt x="6750" y="13125"/>
                  <a:pt x="6750" y="13094"/>
                </a:cubicBezTo>
                <a:cubicBezTo>
                  <a:pt x="6750" y="13094"/>
                  <a:pt x="6750" y="13094"/>
                  <a:pt x="6750" y="13094"/>
                </a:cubicBezTo>
                <a:cubicBezTo>
                  <a:pt x="6718" y="13094"/>
                  <a:pt x="6718" y="13094"/>
                  <a:pt x="6718" y="13125"/>
                </a:cubicBezTo>
                <a:cubicBezTo>
                  <a:pt x="6687" y="13094"/>
                  <a:pt x="6656" y="13156"/>
                  <a:pt x="6593" y="13125"/>
                </a:cubicBezTo>
                <a:cubicBezTo>
                  <a:pt x="6750" y="13063"/>
                  <a:pt x="6812" y="12906"/>
                  <a:pt x="6968" y="12844"/>
                </a:cubicBezTo>
                <a:cubicBezTo>
                  <a:pt x="7000" y="12844"/>
                  <a:pt x="7031" y="12813"/>
                  <a:pt x="7031" y="12750"/>
                </a:cubicBezTo>
                <a:cubicBezTo>
                  <a:pt x="7062" y="12719"/>
                  <a:pt x="7093" y="12688"/>
                  <a:pt x="7125" y="12656"/>
                </a:cubicBezTo>
                <a:cubicBezTo>
                  <a:pt x="7218" y="12594"/>
                  <a:pt x="7343" y="12563"/>
                  <a:pt x="7437" y="12500"/>
                </a:cubicBezTo>
                <a:cubicBezTo>
                  <a:pt x="7468" y="12500"/>
                  <a:pt x="7531" y="12500"/>
                  <a:pt x="7531" y="12438"/>
                </a:cubicBezTo>
                <a:cubicBezTo>
                  <a:pt x="7500" y="12406"/>
                  <a:pt x="7468" y="12469"/>
                  <a:pt x="7406" y="12438"/>
                </a:cubicBezTo>
                <a:cubicBezTo>
                  <a:pt x="7593" y="12375"/>
                  <a:pt x="7781" y="12313"/>
                  <a:pt x="7937" y="12281"/>
                </a:cubicBezTo>
                <a:cubicBezTo>
                  <a:pt x="8125" y="12219"/>
                  <a:pt x="8312" y="12188"/>
                  <a:pt x="8500" y="12156"/>
                </a:cubicBezTo>
                <a:cubicBezTo>
                  <a:pt x="8687" y="12125"/>
                  <a:pt x="8875" y="12094"/>
                  <a:pt x="9062" y="12094"/>
                </a:cubicBezTo>
                <a:cubicBezTo>
                  <a:pt x="8687" y="12094"/>
                  <a:pt x="8343" y="12125"/>
                  <a:pt x="8000" y="12219"/>
                </a:cubicBezTo>
                <a:cubicBezTo>
                  <a:pt x="7687" y="12281"/>
                  <a:pt x="7375" y="12375"/>
                  <a:pt x="7062" y="12500"/>
                </a:cubicBezTo>
                <a:cubicBezTo>
                  <a:pt x="7000" y="12531"/>
                  <a:pt x="6937" y="12531"/>
                  <a:pt x="6906" y="12594"/>
                </a:cubicBezTo>
                <a:cubicBezTo>
                  <a:pt x="6875" y="12594"/>
                  <a:pt x="6843" y="12594"/>
                  <a:pt x="6843" y="12625"/>
                </a:cubicBezTo>
                <a:cubicBezTo>
                  <a:pt x="6781" y="12594"/>
                  <a:pt x="6750" y="12594"/>
                  <a:pt x="6687" y="12625"/>
                </a:cubicBezTo>
                <a:cubicBezTo>
                  <a:pt x="6625" y="12656"/>
                  <a:pt x="6562" y="12719"/>
                  <a:pt x="6500" y="12719"/>
                </a:cubicBezTo>
                <a:cubicBezTo>
                  <a:pt x="6500" y="12719"/>
                  <a:pt x="6500" y="12719"/>
                  <a:pt x="6500" y="12719"/>
                </a:cubicBezTo>
                <a:cubicBezTo>
                  <a:pt x="6500" y="12688"/>
                  <a:pt x="6500" y="12656"/>
                  <a:pt x="6531" y="12656"/>
                </a:cubicBezTo>
                <a:cubicBezTo>
                  <a:pt x="6656" y="12594"/>
                  <a:pt x="6781" y="12531"/>
                  <a:pt x="6906" y="12438"/>
                </a:cubicBezTo>
                <a:cubicBezTo>
                  <a:pt x="7000" y="12344"/>
                  <a:pt x="7125" y="12313"/>
                  <a:pt x="7250" y="12250"/>
                </a:cubicBezTo>
                <a:cubicBezTo>
                  <a:pt x="7500" y="12156"/>
                  <a:pt x="7781" y="12063"/>
                  <a:pt x="8031" y="12000"/>
                </a:cubicBezTo>
                <a:cubicBezTo>
                  <a:pt x="8187" y="11969"/>
                  <a:pt x="8343" y="11938"/>
                  <a:pt x="8500" y="11906"/>
                </a:cubicBezTo>
                <a:cubicBezTo>
                  <a:pt x="8156" y="11906"/>
                  <a:pt x="7781" y="12000"/>
                  <a:pt x="7437" y="12094"/>
                </a:cubicBezTo>
                <a:cubicBezTo>
                  <a:pt x="7687" y="11938"/>
                  <a:pt x="7968" y="11906"/>
                  <a:pt x="8250" y="11813"/>
                </a:cubicBezTo>
                <a:cubicBezTo>
                  <a:pt x="8062" y="11813"/>
                  <a:pt x="7906" y="11844"/>
                  <a:pt x="7781" y="11875"/>
                </a:cubicBezTo>
                <a:cubicBezTo>
                  <a:pt x="7781" y="11875"/>
                  <a:pt x="7812" y="11844"/>
                  <a:pt x="7843" y="11844"/>
                </a:cubicBezTo>
                <a:cubicBezTo>
                  <a:pt x="8062" y="11813"/>
                  <a:pt x="8312" y="11750"/>
                  <a:pt x="8531" y="11719"/>
                </a:cubicBezTo>
                <a:cubicBezTo>
                  <a:pt x="9093" y="11656"/>
                  <a:pt x="9656" y="11688"/>
                  <a:pt x="10187" y="11781"/>
                </a:cubicBezTo>
                <a:cubicBezTo>
                  <a:pt x="10250" y="11781"/>
                  <a:pt x="10312" y="11813"/>
                  <a:pt x="10375" y="11813"/>
                </a:cubicBezTo>
                <a:cubicBezTo>
                  <a:pt x="10406" y="11813"/>
                  <a:pt x="10437" y="11781"/>
                  <a:pt x="10468" y="11750"/>
                </a:cubicBezTo>
                <a:cubicBezTo>
                  <a:pt x="10468" y="11719"/>
                  <a:pt x="10406" y="11719"/>
                  <a:pt x="10406" y="11719"/>
                </a:cubicBezTo>
                <a:cubicBezTo>
                  <a:pt x="10281" y="11688"/>
                  <a:pt x="10156" y="11688"/>
                  <a:pt x="10031" y="11656"/>
                </a:cubicBezTo>
                <a:cubicBezTo>
                  <a:pt x="9812" y="11594"/>
                  <a:pt x="9562" y="11625"/>
                  <a:pt x="9343" y="11594"/>
                </a:cubicBezTo>
                <a:cubicBezTo>
                  <a:pt x="9125" y="11531"/>
                  <a:pt x="8906" y="11563"/>
                  <a:pt x="8718" y="11563"/>
                </a:cubicBezTo>
                <a:cubicBezTo>
                  <a:pt x="8593" y="11594"/>
                  <a:pt x="8500" y="11594"/>
                  <a:pt x="8406" y="11594"/>
                </a:cubicBezTo>
                <a:cubicBezTo>
                  <a:pt x="8593" y="11563"/>
                  <a:pt x="8781" y="11500"/>
                  <a:pt x="8968" y="11531"/>
                </a:cubicBezTo>
                <a:cubicBezTo>
                  <a:pt x="8656" y="11500"/>
                  <a:pt x="8375" y="11531"/>
                  <a:pt x="8062" y="11594"/>
                </a:cubicBezTo>
                <a:cubicBezTo>
                  <a:pt x="7906" y="11625"/>
                  <a:pt x="7718" y="11625"/>
                  <a:pt x="7531" y="11625"/>
                </a:cubicBezTo>
                <a:cubicBezTo>
                  <a:pt x="7562" y="11594"/>
                  <a:pt x="7593" y="11563"/>
                  <a:pt x="7625" y="11563"/>
                </a:cubicBezTo>
                <a:cubicBezTo>
                  <a:pt x="7812" y="11531"/>
                  <a:pt x="7968" y="11469"/>
                  <a:pt x="8156" y="11438"/>
                </a:cubicBezTo>
                <a:cubicBezTo>
                  <a:pt x="8343" y="11406"/>
                  <a:pt x="8562" y="11375"/>
                  <a:pt x="8750" y="11344"/>
                </a:cubicBezTo>
                <a:cubicBezTo>
                  <a:pt x="9062" y="11344"/>
                  <a:pt x="9343" y="11344"/>
                  <a:pt x="9656" y="11344"/>
                </a:cubicBezTo>
                <a:cubicBezTo>
                  <a:pt x="9718" y="11375"/>
                  <a:pt x="9781" y="11375"/>
                  <a:pt x="9812" y="11375"/>
                </a:cubicBezTo>
                <a:cubicBezTo>
                  <a:pt x="10000" y="11438"/>
                  <a:pt x="10156" y="11406"/>
                  <a:pt x="10312" y="11469"/>
                </a:cubicBezTo>
                <a:cubicBezTo>
                  <a:pt x="10500" y="11500"/>
                  <a:pt x="10656" y="11531"/>
                  <a:pt x="10843" y="11594"/>
                </a:cubicBezTo>
                <a:cubicBezTo>
                  <a:pt x="11031" y="11656"/>
                  <a:pt x="11218" y="11719"/>
                  <a:pt x="11437" y="11813"/>
                </a:cubicBezTo>
                <a:cubicBezTo>
                  <a:pt x="11500" y="11813"/>
                  <a:pt x="11562" y="11844"/>
                  <a:pt x="11593" y="11875"/>
                </a:cubicBezTo>
                <a:cubicBezTo>
                  <a:pt x="11625" y="11875"/>
                  <a:pt x="11656" y="11906"/>
                  <a:pt x="11656" y="11938"/>
                </a:cubicBezTo>
                <a:cubicBezTo>
                  <a:pt x="11625" y="11969"/>
                  <a:pt x="11593" y="11938"/>
                  <a:pt x="11593" y="11938"/>
                </a:cubicBezTo>
                <a:cubicBezTo>
                  <a:pt x="11406" y="11875"/>
                  <a:pt x="11218" y="11844"/>
                  <a:pt x="11062" y="11781"/>
                </a:cubicBezTo>
                <a:cubicBezTo>
                  <a:pt x="11031" y="11781"/>
                  <a:pt x="11031" y="11781"/>
                  <a:pt x="11000" y="11813"/>
                </a:cubicBezTo>
                <a:cubicBezTo>
                  <a:pt x="10968" y="11844"/>
                  <a:pt x="10968" y="11844"/>
                  <a:pt x="10937" y="11844"/>
                </a:cubicBezTo>
                <a:cubicBezTo>
                  <a:pt x="10812" y="11781"/>
                  <a:pt x="10687" y="11750"/>
                  <a:pt x="10562" y="11781"/>
                </a:cubicBezTo>
                <a:cubicBezTo>
                  <a:pt x="10531" y="11781"/>
                  <a:pt x="10500" y="11781"/>
                  <a:pt x="10500" y="11813"/>
                </a:cubicBezTo>
                <a:cubicBezTo>
                  <a:pt x="10500" y="11844"/>
                  <a:pt x="10531" y="11844"/>
                  <a:pt x="10562" y="11844"/>
                </a:cubicBezTo>
                <a:cubicBezTo>
                  <a:pt x="10625" y="11875"/>
                  <a:pt x="10750" y="11844"/>
                  <a:pt x="10781" y="11969"/>
                </a:cubicBezTo>
                <a:cubicBezTo>
                  <a:pt x="10781" y="11969"/>
                  <a:pt x="10812" y="11969"/>
                  <a:pt x="10812" y="11969"/>
                </a:cubicBezTo>
                <a:cubicBezTo>
                  <a:pt x="10968" y="12000"/>
                  <a:pt x="11156" y="12063"/>
                  <a:pt x="11312" y="12125"/>
                </a:cubicBezTo>
                <a:cubicBezTo>
                  <a:pt x="11437" y="12156"/>
                  <a:pt x="11531" y="12219"/>
                  <a:pt x="11656" y="12250"/>
                </a:cubicBezTo>
                <a:cubicBezTo>
                  <a:pt x="11406" y="12219"/>
                  <a:pt x="11156" y="12125"/>
                  <a:pt x="10906" y="12094"/>
                </a:cubicBezTo>
                <a:cubicBezTo>
                  <a:pt x="11968" y="12375"/>
                  <a:pt x="12968" y="12844"/>
                  <a:pt x="13968" y="13344"/>
                </a:cubicBezTo>
                <a:cubicBezTo>
                  <a:pt x="13937" y="13375"/>
                  <a:pt x="13906" y="13344"/>
                  <a:pt x="13875" y="13344"/>
                </a:cubicBezTo>
                <a:cubicBezTo>
                  <a:pt x="13875" y="13344"/>
                  <a:pt x="13875" y="13344"/>
                  <a:pt x="13875" y="13344"/>
                </a:cubicBezTo>
                <a:cubicBezTo>
                  <a:pt x="13843" y="13281"/>
                  <a:pt x="13781" y="13281"/>
                  <a:pt x="13718" y="13281"/>
                </a:cubicBezTo>
                <a:cubicBezTo>
                  <a:pt x="13593" y="13219"/>
                  <a:pt x="13468" y="13125"/>
                  <a:pt x="13343" y="13125"/>
                </a:cubicBezTo>
                <a:cubicBezTo>
                  <a:pt x="13343" y="13125"/>
                  <a:pt x="13343" y="13125"/>
                  <a:pt x="13343" y="13125"/>
                </a:cubicBezTo>
                <a:cubicBezTo>
                  <a:pt x="13312" y="13063"/>
                  <a:pt x="13281" y="13094"/>
                  <a:pt x="13250" y="13063"/>
                </a:cubicBezTo>
                <a:cubicBezTo>
                  <a:pt x="13187" y="13031"/>
                  <a:pt x="13093" y="13031"/>
                  <a:pt x="13031" y="13000"/>
                </a:cubicBezTo>
                <a:cubicBezTo>
                  <a:pt x="12687" y="12844"/>
                  <a:pt x="12312" y="12719"/>
                  <a:pt x="11937" y="12594"/>
                </a:cubicBezTo>
                <a:cubicBezTo>
                  <a:pt x="11593" y="12469"/>
                  <a:pt x="11281" y="12375"/>
                  <a:pt x="10937" y="12281"/>
                </a:cubicBezTo>
                <a:cubicBezTo>
                  <a:pt x="10843" y="12281"/>
                  <a:pt x="10781" y="12250"/>
                  <a:pt x="10687" y="12250"/>
                </a:cubicBezTo>
                <a:cubicBezTo>
                  <a:pt x="10937" y="12344"/>
                  <a:pt x="11187" y="12375"/>
                  <a:pt x="11437" y="12469"/>
                </a:cubicBezTo>
                <a:cubicBezTo>
                  <a:pt x="11406" y="12500"/>
                  <a:pt x="11375" y="12469"/>
                  <a:pt x="11375" y="12500"/>
                </a:cubicBezTo>
                <a:cubicBezTo>
                  <a:pt x="11468" y="12531"/>
                  <a:pt x="11531" y="12563"/>
                  <a:pt x="11625" y="12594"/>
                </a:cubicBezTo>
                <a:cubicBezTo>
                  <a:pt x="11687" y="12625"/>
                  <a:pt x="11750" y="12656"/>
                  <a:pt x="11812" y="12656"/>
                </a:cubicBezTo>
                <a:cubicBezTo>
                  <a:pt x="11843" y="12688"/>
                  <a:pt x="11843" y="12750"/>
                  <a:pt x="11875" y="12750"/>
                </a:cubicBezTo>
                <a:cubicBezTo>
                  <a:pt x="11937" y="12781"/>
                  <a:pt x="12031" y="12844"/>
                  <a:pt x="12093" y="12875"/>
                </a:cubicBezTo>
                <a:cubicBezTo>
                  <a:pt x="12343" y="12938"/>
                  <a:pt x="12562" y="13031"/>
                  <a:pt x="12812" y="13125"/>
                </a:cubicBezTo>
                <a:cubicBezTo>
                  <a:pt x="13031" y="13219"/>
                  <a:pt x="13250" y="13375"/>
                  <a:pt x="13500" y="13469"/>
                </a:cubicBezTo>
                <a:cubicBezTo>
                  <a:pt x="13500" y="13469"/>
                  <a:pt x="13531" y="13500"/>
                  <a:pt x="13531" y="13500"/>
                </a:cubicBezTo>
                <a:cubicBezTo>
                  <a:pt x="13468" y="13563"/>
                  <a:pt x="13531" y="13563"/>
                  <a:pt x="13562" y="13563"/>
                </a:cubicBezTo>
                <a:cubicBezTo>
                  <a:pt x="13625" y="13625"/>
                  <a:pt x="13718" y="13656"/>
                  <a:pt x="13781" y="13688"/>
                </a:cubicBezTo>
                <a:cubicBezTo>
                  <a:pt x="13781" y="13688"/>
                  <a:pt x="13781" y="13688"/>
                  <a:pt x="13781" y="13719"/>
                </a:cubicBezTo>
                <a:cubicBezTo>
                  <a:pt x="13531" y="13625"/>
                  <a:pt x="13281" y="13469"/>
                  <a:pt x="13000" y="13406"/>
                </a:cubicBezTo>
                <a:cubicBezTo>
                  <a:pt x="13031" y="13438"/>
                  <a:pt x="13031" y="13438"/>
                  <a:pt x="13062" y="13469"/>
                </a:cubicBezTo>
                <a:cubicBezTo>
                  <a:pt x="13281" y="13563"/>
                  <a:pt x="13531" y="13688"/>
                  <a:pt x="13750" y="13813"/>
                </a:cubicBezTo>
                <a:cubicBezTo>
                  <a:pt x="14000" y="13938"/>
                  <a:pt x="14250" y="14031"/>
                  <a:pt x="14500" y="14156"/>
                </a:cubicBezTo>
                <a:cubicBezTo>
                  <a:pt x="14750" y="14281"/>
                  <a:pt x="15000" y="14375"/>
                  <a:pt x="15250" y="14500"/>
                </a:cubicBezTo>
                <a:cubicBezTo>
                  <a:pt x="15406" y="14594"/>
                  <a:pt x="15562" y="14656"/>
                  <a:pt x="15687" y="14750"/>
                </a:cubicBezTo>
                <a:cubicBezTo>
                  <a:pt x="15687" y="14750"/>
                  <a:pt x="15718" y="14750"/>
                  <a:pt x="15718" y="14750"/>
                </a:cubicBezTo>
                <a:cubicBezTo>
                  <a:pt x="15718" y="14750"/>
                  <a:pt x="15718" y="14750"/>
                  <a:pt x="15718" y="14750"/>
                </a:cubicBezTo>
                <a:cubicBezTo>
                  <a:pt x="15718" y="14750"/>
                  <a:pt x="15687" y="14750"/>
                  <a:pt x="15687" y="14750"/>
                </a:cubicBezTo>
                <a:cubicBezTo>
                  <a:pt x="15687" y="14750"/>
                  <a:pt x="15656" y="14719"/>
                  <a:pt x="15625" y="14719"/>
                </a:cubicBezTo>
                <a:cubicBezTo>
                  <a:pt x="15625" y="14719"/>
                  <a:pt x="15625" y="14719"/>
                  <a:pt x="15625" y="14719"/>
                </a:cubicBezTo>
                <a:cubicBezTo>
                  <a:pt x="15625" y="14719"/>
                  <a:pt x="15593" y="14688"/>
                  <a:pt x="15593" y="14719"/>
                </a:cubicBezTo>
                <a:cubicBezTo>
                  <a:pt x="15593" y="14750"/>
                  <a:pt x="15625" y="14719"/>
                  <a:pt x="15625" y="14750"/>
                </a:cubicBezTo>
                <a:cubicBezTo>
                  <a:pt x="15625" y="14781"/>
                  <a:pt x="15656" y="14781"/>
                  <a:pt x="15687" y="14781"/>
                </a:cubicBezTo>
                <a:cubicBezTo>
                  <a:pt x="15718" y="14781"/>
                  <a:pt x="15718" y="14813"/>
                  <a:pt x="15750" y="14813"/>
                </a:cubicBezTo>
                <a:cubicBezTo>
                  <a:pt x="16000" y="14938"/>
                  <a:pt x="16250" y="15031"/>
                  <a:pt x="16500" y="15156"/>
                </a:cubicBezTo>
                <a:cubicBezTo>
                  <a:pt x="16281" y="15094"/>
                  <a:pt x="16093" y="15000"/>
                  <a:pt x="15875" y="14906"/>
                </a:cubicBezTo>
                <a:cubicBezTo>
                  <a:pt x="15750" y="14844"/>
                  <a:pt x="15625" y="14781"/>
                  <a:pt x="15500" y="14750"/>
                </a:cubicBezTo>
                <a:cubicBezTo>
                  <a:pt x="15500" y="14750"/>
                  <a:pt x="15500" y="14781"/>
                  <a:pt x="15468" y="14781"/>
                </a:cubicBezTo>
                <a:cubicBezTo>
                  <a:pt x="15500" y="14781"/>
                  <a:pt x="15500" y="14750"/>
                  <a:pt x="15500" y="14750"/>
                </a:cubicBezTo>
                <a:cubicBezTo>
                  <a:pt x="15468" y="14719"/>
                  <a:pt x="15437" y="14719"/>
                  <a:pt x="15375" y="14719"/>
                </a:cubicBezTo>
                <a:cubicBezTo>
                  <a:pt x="15375" y="14719"/>
                  <a:pt x="15375" y="14719"/>
                  <a:pt x="15375" y="14719"/>
                </a:cubicBezTo>
                <a:cubicBezTo>
                  <a:pt x="15375" y="14688"/>
                  <a:pt x="15343" y="14688"/>
                  <a:pt x="15343" y="14688"/>
                </a:cubicBezTo>
                <a:cubicBezTo>
                  <a:pt x="15312" y="14688"/>
                  <a:pt x="15312" y="14688"/>
                  <a:pt x="15312" y="14719"/>
                </a:cubicBezTo>
                <a:cubicBezTo>
                  <a:pt x="15312" y="14719"/>
                  <a:pt x="15312" y="14719"/>
                  <a:pt x="15312" y="14719"/>
                </a:cubicBezTo>
                <a:cubicBezTo>
                  <a:pt x="15312" y="14688"/>
                  <a:pt x="15312" y="14688"/>
                  <a:pt x="15343" y="14688"/>
                </a:cubicBezTo>
                <a:cubicBezTo>
                  <a:pt x="15312" y="14656"/>
                  <a:pt x="15312" y="14656"/>
                  <a:pt x="15281" y="14656"/>
                </a:cubicBezTo>
                <a:cubicBezTo>
                  <a:pt x="15281" y="14656"/>
                  <a:pt x="15250" y="14656"/>
                  <a:pt x="15250" y="14688"/>
                </a:cubicBezTo>
                <a:cubicBezTo>
                  <a:pt x="15250" y="14688"/>
                  <a:pt x="15250" y="14688"/>
                  <a:pt x="15250" y="14688"/>
                </a:cubicBezTo>
                <a:cubicBezTo>
                  <a:pt x="15250" y="14656"/>
                  <a:pt x="15281" y="14656"/>
                  <a:pt x="15281" y="14656"/>
                </a:cubicBezTo>
                <a:cubicBezTo>
                  <a:pt x="15250" y="14625"/>
                  <a:pt x="15187" y="14594"/>
                  <a:pt x="15156" y="14594"/>
                </a:cubicBezTo>
                <a:cubicBezTo>
                  <a:pt x="15156" y="14594"/>
                  <a:pt x="15156" y="14594"/>
                  <a:pt x="15125" y="14625"/>
                </a:cubicBezTo>
                <a:cubicBezTo>
                  <a:pt x="15156" y="14594"/>
                  <a:pt x="15156" y="14594"/>
                  <a:pt x="15156" y="14594"/>
                </a:cubicBezTo>
                <a:cubicBezTo>
                  <a:pt x="15125" y="14563"/>
                  <a:pt x="15062" y="14531"/>
                  <a:pt x="15031" y="14531"/>
                </a:cubicBezTo>
                <a:cubicBezTo>
                  <a:pt x="15031" y="14531"/>
                  <a:pt x="15031" y="14531"/>
                  <a:pt x="15031" y="14531"/>
                </a:cubicBezTo>
                <a:cubicBezTo>
                  <a:pt x="15000" y="14500"/>
                  <a:pt x="14968" y="14469"/>
                  <a:pt x="14906" y="14500"/>
                </a:cubicBezTo>
                <a:cubicBezTo>
                  <a:pt x="14906" y="14500"/>
                  <a:pt x="14906" y="14500"/>
                  <a:pt x="14906" y="14500"/>
                </a:cubicBezTo>
                <a:cubicBezTo>
                  <a:pt x="14906" y="14469"/>
                  <a:pt x="14875" y="14469"/>
                  <a:pt x="14843" y="14500"/>
                </a:cubicBezTo>
                <a:cubicBezTo>
                  <a:pt x="14843" y="14469"/>
                  <a:pt x="14843" y="14469"/>
                  <a:pt x="14843" y="14469"/>
                </a:cubicBezTo>
                <a:cubicBezTo>
                  <a:pt x="14812" y="14406"/>
                  <a:pt x="14750" y="14375"/>
                  <a:pt x="14687" y="14406"/>
                </a:cubicBezTo>
                <a:cubicBezTo>
                  <a:pt x="14375" y="14281"/>
                  <a:pt x="14093" y="14125"/>
                  <a:pt x="13781" y="14000"/>
                </a:cubicBezTo>
                <a:cubicBezTo>
                  <a:pt x="13750" y="14000"/>
                  <a:pt x="13750" y="14000"/>
                  <a:pt x="13750" y="14031"/>
                </a:cubicBezTo>
                <a:cubicBezTo>
                  <a:pt x="13937" y="14094"/>
                  <a:pt x="14093" y="14188"/>
                  <a:pt x="14281" y="14250"/>
                </a:cubicBezTo>
                <a:cubicBezTo>
                  <a:pt x="14250" y="14313"/>
                  <a:pt x="14312" y="14313"/>
                  <a:pt x="14343" y="14344"/>
                </a:cubicBezTo>
                <a:cubicBezTo>
                  <a:pt x="14500" y="14438"/>
                  <a:pt x="14687" y="14500"/>
                  <a:pt x="14843" y="14594"/>
                </a:cubicBezTo>
                <a:cubicBezTo>
                  <a:pt x="14968" y="14656"/>
                  <a:pt x="15062" y="14719"/>
                  <a:pt x="15218" y="14750"/>
                </a:cubicBezTo>
                <a:cubicBezTo>
                  <a:pt x="15218" y="14750"/>
                  <a:pt x="15218" y="14750"/>
                  <a:pt x="15218" y="14750"/>
                </a:cubicBezTo>
                <a:cubicBezTo>
                  <a:pt x="15250" y="14813"/>
                  <a:pt x="15343" y="14781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375" y="14844"/>
                  <a:pt x="15375" y="14844"/>
                  <a:pt x="15375" y="14844"/>
                </a:cubicBezTo>
                <a:cubicBezTo>
                  <a:pt x="15218" y="14781"/>
                  <a:pt x="15062" y="14719"/>
                  <a:pt x="14937" y="14656"/>
                </a:cubicBezTo>
                <a:cubicBezTo>
                  <a:pt x="14718" y="14594"/>
                  <a:pt x="14531" y="14500"/>
                  <a:pt x="14343" y="14406"/>
                </a:cubicBezTo>
                <a:cubicBezTo>
                  <a:pt x="14250" y="14375"/>
                  <a:pt x="14156" y="14313"/>
                  <a:pt x="14062" y="14281"/>
                </a:cubicBezTo>
                <a:cubicBezTo>
                  <a:pt x="14031" y="14281"/>
                  <a:pt x="14000" y="14281"/>
                  <a:pt x="14000" y="14281"/>
                </a:cubicBezTo>
                <a:cubicBezTo>
                  <a:pt x="14000" y="14313"/>
                  <a:pt x="14000" y="14313"/>
                  <a:pt x="14031" y="14313"/>
                </a:cubicBezTo>
                <a:cubicBezTo>
                  <a:pt x="14187" y="14375"/>
                  <a:pt x="14281" y="14500"/>
                  <a:pt x="14437" y="14563"/>
                </a:cubicBezTo>
                <a:cubicBezTo>
                  <a:pt x="14531" y="14625"/>
                  <a:pt x="14656" y="14656"/>
                  <a:pt x="14750" y="14750"/>
                </a:cubicBezTo>
                <a:cubicBezTo>
                  <a:pt x="14875" y="14844"/>
                  <a:pt x="15000" y="14906"/>
                  <a:pt x="15093" y="14969"/>
                </a:cubicBezTo>
                <a:cubicBezTo>
                  <a:pt x="15375" y="15125"/>
                  <a:pt x="15625" y="15250"/>
                  <a:pt x="15906" y="15375"/>
                </a:cubicBezTo>
                <a:cubicBezTo>
                  <a:pt x="15937" y="15375"/>
                  <a:pt x="16031" y="15406"/>
                  <a:pt x="16000" y="15469"/>
                </a:cubicBezTo>
                <a:cubicBezTo>
                  <a:pt x="15968" y="15500"/>
                  <a:pt x="15906" y="15438"/>
                  <a:pt x="15875" y="15438"/>
                </a:cubicBezTo>
                <a:cubicBezTo>
                  <a:pt x="15781" y="15438"/>
                  <a:pt x="15718" y="15281"/>
                  <a:pt x="15625" y="15406"/>
                </a:cubicBezTo>
                <a:cubicBezTo>
                  <a:pt x="15625" y="15406"/>
                  <a:pt x="15625" y="15406"/>
                  <a:pt x="15625" y="15406"/>
                </a:cubicBezTo>
                <a:cubicBezTo>
                  <a:pt x="15468" y="15313"/>
                  <a:pt x="15312" y="15281"/>
                  <a:pt x="15156" y="15219"/>
                </a:cubicBezTo>
                <a:cubicBezTo>
                  <a:pt x="15093" y="15188"/>
                  <a:pt x="15031" y="15125"/>
                  <a:pt x="14906" y="15156"/>
                </a:cubicBezTo>
                <a:cubicBezTo>
                  <a:pt x="15093" y="15250"/>
                  <a:pt x="15281" y="15344"/>
                  <a:pt x="15468" y="15438"/>
                </a:cubicBezTo>
                <a:cubicBezTo>
                  <a:pt x="15437" y="15469"/>
                  <a:pt x="15406" y="15438"/>
                  <a:pt x="15375" y="15469"/>
                </a:cubicBezTo>
                <a:cubicBezTo>
                  <a:pt x="15593" y="15531"/>
                  <a:pt x="15750" y="15656"/>
                  <a:pt x="15937" y="15750"/>
                </a:cubicBezTo>
                <a:cubicBezTo>
                  <a:pt x="15968" y="15750"/>
                  <a:pt x="16000" y="15750"/>
                  <a:pt x="15968" y="15781"/>
                </a:cubicBezTo>
                <a:cubicBezTo>
                  <a:pt x="15968" y="15813"/>
                  <a:pt x="15937" y="15781"/>
                  <a:pt x="15937" y="15781"/>
                </a:cubicBezTo>
                <a:cubicBezTo>
                  <a:pt x="15906" y="15781"/>
                  <a:pt x="15906" y="15750"/>
                  <a:pt x="15875" y="15750"/>
                </a:cubicBezTo>
                <a:cubicBezTo>
                  <a:pt x="15812" y="15750"/>
                  <a:pt x="15781" y="15688"/>
                  <a:pt x="15687" y="15688"/>
                </a:cubicBezTo>
                <a:cubicBezTo>
                  <a:pt x="16062" y="15938"/>
                  <a:pt x="16500" y="16031"/>
                  <a:pt x="16843" y="16313"/>
                </a:cubicBezTo>
                <a:cubicBezTo>
                  <a:pt x="16562" y="16313"/>
                  <a:pt x="16343" y="16156"/>
                  <a:pt x="16093" y="16063"/>
                </a:cubicBezTo>
                <a:cubicBezTo>
                  <a:pt x="16093" y="16125"/>
                  <a:pt x="16125" y="16125"/>
                  <a:pt x="16156" y="16125"/>
                </a:cubicBezTo>
                <a:cubicBezTo>
                  <a:pt x="16218" y="16156"/>
                  <a:pt x="16281" y="16188"/>
                  <a:pt x="16312" y="16219"/>
                </a:cubicBezTo>
                <a:cubicBezTo>
                  <a:pt x="16343" y="16313"/>
                  <a:pt x="16406" y="16313"/>
                  <a:pt x="16468" y="16344"/>
                </a:cubicBezTo>
                <a:cubicBezTo>
                  <a:pt x="16531" y="16406"/>
                  <a:pt x="16625" y="16469"/>
                  <a:pt x="16656" y="16562"/>
                </a:cubicBezTo>
                <a:cubicBezTo>
                  <a:pt x="16625" y="16562"/>
                  <a:pt x="16625" y="16562"/>
                  <a:pt x="16625" y="16562"/>
                </a:cubicBezTo>
                <a:cubicBezTo>
                  <a:pt x="16593" y="16531"/>
                  <a:pt x="16593" y="16531"/>
                  <a:pt x="16562" y="16531"/>
                </a:cubicBezTo>
                <a:cubicBezTo>
                  <a:pt x="16562" y="16531"/>
                  <a:pt x="16562" y="16531"/>
                  <a:pt x="16562" y="16531"/>
                </a:cubicBezTo>
                <a:cubicBezTo>
                  <a:pt x="16500" y="16500"/>
                  <a:pt x="16437" y="16469"/>
                  <a:pt x="16406" y="16469"/>
                </a:cubicBezTo>
                <a:cubicBezTo>
                  <a:pt x="16156" y="16344"/>
                  <a:pt x="15937" y="16250"/>
                  <a:pt x="15718" y="16125"/>
                </a:cubicBezTo>
                <a:cubicBezTo>
                  <a:pt x="15687" y="16125"/>
                  <a:pt x="15625" y="16125"/>
                  <a:pt x="15593" y="16094"/>
                </a:cubicBezTo>
                <a:cubicBezTo>
                  <a:pt x="15593" y="16094"/>
                  <a:pt x="15593" y="16094"/>
                  <a:pt x="15593" y="16063"/>
                </a:cubicBezTo>
                <a:cubicBezTo>
                  <a:pt x="15593" y="16063"/>
                  <a:pt x="15562" y="16063"/>
                  <a:pt x="15531" y="16063"/>
                </a:cubicBezTo>
                <a:cubicBezTo>
                  <a:pt x="15531" y="16063"/>
                  <a:pt x="15531" y="16063"/>
                  <a:pt x="15531" y="16063"/>
                </a:cubicBezTo>
                <a:cubicBezTo>
                  <a:pt x="15531" y="16031"/>
                  <a:pt x="15468" y="16000"/>
                  <a:pt x="15437" y="16000"/>
                </a:cubicBezTo>
                <a:cubicBezTo>
                  <a:pt x="15437" y="16000"/>
                  <a:pt x="15437" y="16000"/>
                  <a:pt x="15437" y="16000"/>
                </a:cubicBezTo>
                <a:cubicBezTo>
                  <a:pt x="15375" y="15969"/>
                  <a:pt x="15312" y="15938"/>
                  <a:pt x="15218" y="15906"/>
                </a:cubicBezTo>
                <a:cubicBezTo>
                  <a:pt x="15218" y="15906"/>
                  <a:pt x="15218" y="15906"/>
                  <a:pt x="15218" y="15906"/>
                </a:cubicBezTo>
                <a:cubicBezTo>
                  <a:pt x="15187" y="15875"/>
                  <a:pt x="15156" y="15844"/>
                  <a:pt x="15125" y="15844"/>
                </a:cubicBezTo>
                <a:cubicBezTo>
                  <a:pt x="15125" y="15844"/>
                  <a:pt x="15125" y="15844"/>
                  <a:pt x="15125" y="15844"/>
                </a:cubicBezTo>
                <a:cubicBezTo>
                  <a:pt x="15093" y="15813"/>
                  <a:pt x="15031" y="15781"/>
                  <a:pt x="15000" y="15781"/>
                </a:cubicBezTo>
                <a:cubicBezTo>
                  <a:pt x="15000" y="15781"/>
                  <a:pt x="15000" y="15781"/>
                  <a:pt x="15000" y="15781"/>
                </a:cubicBezTo>
                <a:cubicBezTo>
                  <a:pt x="14937" y="15750"/>
                  <a:pt x="14875" y="15719"/>
                  <a:pt x="14781" y="15688"/>
                </a:cubicBezTo>
                <a:cubicBezTo>
                  <a:pt x="14781" y="15688"/>
                  <a:pt x="14781" y="15688"/>
                  <a:pt x="14781" y="15688"/>
                </a:cubicBezTo>
                <a:cubicBezTo>
                  <a:pt x="14625" y="15563"/>
                  <a:pt x="14468" y="15500"/>
                  <a:pt x="14312" y="15438"/>
                </a:cubicBezTo>
                <a:cubicBezTo>
                  <a:pt x="14218" y="15375"/>
                  <a:pt x="14125" y="15344"/>
                  <a:pt x="14031" y="15281"/>
                </a:cubicBezTo>
                <a:cubicBezTo>
                  <a:pt x="13468" y="15031"/>
                  <a:pt x="12875" y="14781"/>
                  <a:pt x="12281" y="14594"/>
                </a:cubicBezTo>
                <a:cubicBezTo>
                  <a:pt x="11812" y="14438"/>
                  <a:pt x="11343" y="14313"/>
                  <a:pt x="10843" y="14281"/>
                </a:cubicBezTo>
                <a:cubicBezTo>
                  <a:pt x="10812" y="14250"/>
                  <a:pt x="10812" y="14250"/>
                  <a:pt x="10781" y="14250"/>
                </a:cubicBezTo>
                <a:cubicBezTo>
                  <a:pt x="10656" y="14250"/>
                  <a:pt x="10531" y="14219"/>
                  <a:pt x="10406" y="14219"/>
                </a:cubicBezTo>
                <a:cubicBezTo>
                  <a:pt x="10125" y="14219"/>
                  <a:pt x="9843" y="14250"/>
                  <a:pt x="9593" y="14281"/>
                </a:cubicBezTo>
                <a:cubicBezTo>
                  <a:pt x="9468" y="14281"/>
                  <a:pt x="9312" y="14313"/>
                  <a:pt x="9187" y="14344"/>
                </a:cubicBezTo>
                <a:cubicBezTo>
                  <a:pt x="9031" y="14406"/>
                  <a:pt x="8843" y="14438"/>
                  <a:pt x="8687" y="14500"/>
                </a:cubicBezTo>
                <a:cubicBezTo>
                  <a:pt x="8312" y="14656"/>
                  <a:pt x="7968" y="14844"/>
                  <a:pt x="7625" y="15063"/>
                </a:cubicBezTo>
                <a:cubicBezTo>
                  <a:pt x="7562" y="15094"/>
                  <a:pt x="7500" y="15156"/>
                  <a:pt x="7437" y="15188"/>
                </a:cubicBezTo>
                <a:cubicBezTo>
                  <a:pt x="7468" y="15188"/>
                  <a:pt x="7500" y="15188"/>
                  <a:pt x="7531" y="15156"/>
                </a:cubicBezTo>
                <a:cubicBezTo>
                  <a:pt x="7812" y="14969"/>
                  <a:pt x="8125" y="14813"/>
                  <a:pt x="8437" y="14656"/>
                </a:cubicBezTo>
                <a:cubicBezTo>
                  <a:pt x="8625" y="14594"/>
                  <a:pt x="8843" y="14500"/>
                  <a:pt x="9062" y="14500"/>
                </a:cubicBezTo>
                <a:cubicBezTo>
                  <a:pt x="9125" y="14500"/>
                  <a:pt x="9187" y="14469"/>
                  <a:pt x="9250" y="14469"/>
                </a:cubicBezTo>
                <a:cubicBezTo>
                  <a:pt x="9250" y="14500"/>
                  <a:pt x="9218" y="14500"/>
                  <a:pt x="9218" y="14531"/>
                </a:cubicBezTo>
                <a:cubicBezTo>
                  <a:pt x="9500" y="14469"/>
                  <a:pt x="9781" y="14406"/>
                  <a:pt x="10062" y="14375"/>
                </a:cubicBezTo>
                <a:cubicBezTo>
                  <a:pt x="10437" y="14375"/>
                  <a:pt x="10812" y="14375"/>
                  <a:pt x="11187" y="14438"/>
                </a:cubicBezTo>
                <a:cubicBezTo>
                  <a:pt x="11531" y="14500"/>
                  <a:pt x="11843" y="14563"/>
                  <a:pt x="12156" y="14656"/>
                </a:cubicBezTo>
                <a:cubicBezTo>
                  <a:pt x="12625" y="14813"/>
                  <a:pt x="13062" y="14969"/>
                  <a:pt x="13468" y="15156"/>
                </a:cubicBezTo>
                <a:cubicBezTo>
                  <a:pt x="13906" y="15344"/>
                  <a:pt x="14343" y="15531"/>
                  <a:pt x="14750" y="15750"/>
                </a:cubicBezTo>
                <a:cubicBezTo>
                  <a:pt x="15312" y="16031"/>
                  <a:pt x="15843" y="16313"/>
                  <a:pt x="16406" y="16562"/>
                </a:cubicBezTo>
                <a:cubicBezTo>
                  <a:pt x="16750" y="16719"/>
                  <a:pt x="17093" y="16875"/>
                  <a:pt x="17437" y="17000"/>
                </a:cubicBezTo>
                <a:cubicBezTo>
                  <a:pt x="17875" y="17156"/>
                  <a:pt x="18312" y="17281"/>
                  <a:pt x="18781" y="17375"/>
                </a:cubicBezTo>
                <a:cubicBezTo>
                  <a:pt x="19312" y="17469"/>
                  <a:pt x="19812" y="17437"/>
                  <a:pt x="20343" y="17281"/>
                </a:cubicBezTo>
                <a:cubicBezTo>
                  <a:pt x="20843" y="17125"/>
                  <a:pt x="21281" y="16844"/>
                  <a:pt x="21625" y="16438"/>
                </a:cubicBezTo>
                <a:cubicBezTo>
                  <a:pt x="21750" y="16313"/>
                  <a:pt x="21843" y="16156"/>
                  <a:pt x="21906" y="15969"/>
                </a:cubicBezTo>
                <a:cubicBezTo>
                  <a:pt x="21843" y="16063"/>
                  <a:pt x="21812" y="16156"/>
                  <a:pt x="21750" y="16188"/>
                </a:cubicBezTo>
                <a:cubicBezTo>
                  <a:pt x="21687" y="16250"/>
                  <a:pt x="21656" y="16313"/>
                  <a:pt x="21593" y="16344"/>
                </a:cubicBezTo>
                <a:cubicBezTo>
                  <a:pt x="21562" y="16344"/>
                  <a:pt x="21562" y="16344"/>
                  <a:pt x="21562" y="16344"/>
                </a:cubicBezTo>
                <a:cubicBezTo>
                  <a:pt x="21562" y="16344"/>
                  <a:pt x="21562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593" y="16344"/>
                  <a:pt x="21593" y="16344"/>
                  <a:pt x="21593" y="16344"/>
                </a:cubicBezTo>
                <a:cubicBezTo>
                  <a:pt x="21656" y="16219"/>
                  <a:pt x="21750" y="16063"/>
                  <a:pt x="21812" y="15938"/>
                </a:cubicBezTo>
                <a:cubicBezTo>
                  <a:pt x="21937" y="15719"/>
                  <a:pt x="22000" y="15500"/>
                  <a:pt x="22031" y="15281"/>
                </a:cubicBezTo>
                <a:cubicBezTo>
                  <a:pt x="22031" y="15281"/>
                  <a:pt x="22031" y="15281"/>
                  <a:pt x="22031" y="15281"/>
                </a:cubicBezTo>
                <a:cubicBezTo>
                  <a:pt x="22093" y="15156"/>
                  <a:pt x="22093" y="15031"/>
                  <a:pt x="22093" y="14938"/>
                </a:cubicBezTo>
                <a:cubicBezTo>
                  <a:pt x="22156" y="14719"/>
                  <a:pt x="22125" y="14531"/>
                  <a:pt x="22125" y="14344"/>
                </a:cubicBezTo>
                <a:cubicBezTo>
                  <a:pt x="22125" y="14250"/>
                  <a:pt x="22125" y="14125"/>
                  <a:pt x="22093" y="14031"/>
                </a:cubicBezTo>
                <a:cubicBezTo>
                  <a:pt x="22093" y="14000"/>
                  <a:pt x="22093" y="14000"/>
                  <a:pt x="22093" y="13969"/>
                </a:cubicBezTo>
                <a:cubicBezTo>
                  <a:pt x="22093" y="13813"/>
                  <a:pt x="22093" y="13625"/>
                  <a:pt x="22031" y="13469"/>
                </a:cubicBezTo>
                <a:cubicBezTo>
                  <a:pt x="22031" y="13344"/>
                  <a:pt x="22093" y="13281"/>
                  <a:pt x="22187" y="13219"/>
                </a:cubicBezTo>
                <a:cubicBezTo>
                  <a:pt x="22281" y="13125"/>
                  <a:pt x="22375" y="13031"/>
                  <a:pt x="22531" y="13000"/>
                </a:cubicBezTo>
                <a:cubicBezTo>
                  <a:pt x="22687" y="12969"/>
                  <a:pt x="22812" y="12844"/>
                  <a:pt x="22968" y="12813"/>
                </a:cubicBezTo>
                <a:cubicBezTo>
                  <a:pt x="23312" y="12688"/>
                  <a:pt x="23656" y="12563"/>
                  <a:pt x="23968" y="12375"/>
                </a:cubicBezTo>
                <a:cubicBezTo>
                  <a:pt x="24156" y="12281"/>
                  <a:pt x="24312" y="12156"/>
                  <a:pt x="24437" y="12000"/>
                </a:cubicBezTo>
                <a:cubicBezTo>
                  <a:pt x="24437" y="12000"/>
                  <a:pt x="24437" y="12000"/>
                  <a:pt x="24437" y="12000"/>
                </a:cubicBezTo>
                <a:cubicBezTo>
                  <a:pt x="24468" y="12000"/>
                  <a:pt x="24468" y="12000"/>
                  <a:pt x="24468" y="11969"/>
                </a:cubicBezTo>
                <a:cubicBezTo>
                  <a:pt x="24531" y="11938"/>
                  <a:pt x="24562" y="11875"/>
                  <a:pt x="24593" y="11844"/>
                </a:cubicBezTo>
                <a:cubicBezTo>
                  <a:pt x="24656" y="11750"/>
                  <a:pt x="24718" y="11656"/>
                  <a:pt x="24750" y="11563"/>
                </a:cubicBezTo>
                <a:cubicBezTo>
                  <a:pt x="24781" y="11500"/>
                  <a:pt x="24812" y="11469"/>
                  <a:pt x="24812" y="11406"/>
                </a:cubicBezTo>
                <a:cubicBezTo>
                  <a:pt x="24843" y="11344"/>
                  <a:pt x="24843" y="11281"/>
                  <a:pt x="24875" y="11188"/>
                </a:cubicBezTo>
                <a:cubicBezTo>
                  <a:pt x="24906" y="11094"/>
                  <a:pt x="24937" y="10969"/>
                  <a:pt x="24906" y="10781"/>
                </a:cubicBezTo>
                <a:cubicBezTo>
                  <a:pt x="24906" y="10656"/>
                  <a:pt x="24906" y="10500"/>
                  <a:pt x="24843" y="10375"/>
                </a:cubicBezTo>
                <a:cubicBezTo>
                  <a:pt x="24843" y="10375"/>
                  <a:pt x="24843" y="10375"/>
                  <a:pt x="24843" y="10375"/>
                </a:cubicBezTo>
                <a:cubicBezTo>
                  <a:pt x="24843" y="10406"/>
                  <a:pt x="24843" y="10406"/>
                  <a:pt x="24843" y="10438"/>
                </a:cubicBezTo>
                <a:cubicBezTo>
                  <a:pt x="24593" y="9563"/>
                  <a:pt x="24531" y="9469"/>
                  <a:pt x="24531" y="9469"/>
                </a:cubicBezTo>
                <a:cubicBezTo>
                  <a:pt x="24531" y="9469"/>
                  <a:pt x="24562" y="9563"/>
                  <a:pt x="24562" y="9656"/>
                </a:cubicBezTo>
                <a:cubicBezTo>
                  <a:pt x="24437" y="9281"/>
                  <a:pt x="24375" y="8875"/>
                  <a:pt x="24187" y="8469"/>
                </a:cubicBezTo>
                <a:cubicBezTo>
                  <a:pt x="24187" y="8594"/>
                  <a:pt x="24218" y="8656"/>
                  <a:pt x="24250" y="8750"/>
                </a:cubicBezTo>
                <a:cubicBezTo>
                  <a:pt x="24343" y="9031"/>
                  <a:pt x="24437" y="9344"/>
                  <a:pt x="24468" y="9656"/>
                </a:cubicBezTo>
                <a:cubicBezTo>
                  <a:pt x="24500" y="9719"/>
                  <a:pt x="24531" y="9781"/>
                  <a:pt x="24562" y="9813"/>
                </a:cubicBezTo>
                <a:cubicBezTo>
                  <a:pt x="24562" y="9938"/>
                  <a:pt x="24531" y="10031"/>
                  <a:pt x="24437" y="10000"/>
                </a:cubicBezTo>
                <a:cubicBezTo>
                  <a:pt x="24343" y="9969"/>
                  <a:pt x="24250" y="9938"/>
                  <a:pt x="24187" y="9906"/>
                </a:cubicBezTo>
                <a:cubicBezTo>
                  <a:pt x="24156" y="9813"/>
                  <a:pt x="24093" y="9719"/>
                  <a:pt x="24062" y="9594"/>
                </a:cubicBezTo>
                <a:cubicBezTo>
                  <a:pt x="24062" y="9531"/>
                  <a:pt x="24062" y="9469"/>
                  <a:pt x="24000" y="9406"/>
                </a:cubicBezTo>
                <a:cubicBezTo>
                  <a:pt x="23968" y="9531"/>
                  <a:pt x="24062" y="9625"/>
                  <a:pt x="24031" y="9750"/>
                </a:cubicBezTo>
                <a:cubicBezTo>
                  <a:pt x="23968" y="9531"/>
                  <a:pt x="23937" y="9344"/>
                  <a:pt x="23843" y="9156"/>
                </a:cubicBezTo>
                <a:cubicBezTo>
                  <a:pt x="23843" y="9188"/>
                  <a:pt x="23843" y="9250"/>
                  <a:pt x="23843" y="9313"/>
                </a:cubicBezTo>
                <a:cubicBezTo>
                  <a:pt x="23906" y="9438"/>
                  <a:pt x="23906" y="9563"/>
                  <a:pt x="23937" y="9719"/>
                </a:cubicBezTo>
                <a:cubicBezTo>
                  <a:pt x="23968" y="9781"/>
                  <a:pt x="23968" y="9844"/>
                  <a:pt x="23968" y="9906"/>
                </a:cubicBezTo>
                <a:cubicBezTo>
                  <a:pt x="23968" y="9938"/>
                  <a:pt x="23968" y="9938"/>
                  <a:pt x="23937" y="10000"/>
                </a:cubicBezTo>
                <a:cubicBezTo>
                  <a:pt x="23937" y="9938"/>
                  <a:pt x="23906" y="9875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813"/>
                  <a:pt x="23875" y="9813"/>
                  <a:pt x="23875" y="9813"/>
                </a:cubicBezTo>
                <a:cubicBezTo>
                  <a:pt x="23875" y="9750"/>
                  <a:pt x="23875" y="9719"/>
                  <a:pt x="23875" y="9688"/>
                </a:cubicBezTo>
                <a:cubicBezTo>
                  <a:pt x="23843" y="9719"/>
                  <a:pt x="23875" y="9750"/>
                  <a:pt x="23843" y="9750"/>
                </a:cubicBezTo>
                <a:cubicBezTo>
                  <a:pt x="23843" y="9750"/>
                  <a:pt x="23843" y="9750"/>
                  <a:pt x="23843" y="9750"/>
                </a:cubicBezTo>
                <a:cubicBezTo>
                  <a:pt x="23843" y="9719"/>
                  <a:pt x="23843" y="9688"/>
                  <a:pt x="23812" y="9688"/>
                </a:cubicBezTo>
                <a:cubicBezTo>
                  <a:pt x="23812" y="9625"/>
                  <a:pt x="23781" y="9594"/>
                  <a:pt x="23781" y="9531"/>
                </a:cubicBezTo>
                <a:cubicBezTo>
                  <a:pt x="23718" y="9188"/>
                  <a:pt x="23593" y="8844"/>
                  <a:pt x="23468" y="8500"/>
                </a:cubicBezTo>
                <a:cubicBezTo>
                  <a:pt x="23375" y="8188"/>
                  <a:pt x="23281" y="7875"/>
                  <a:pt x="23156" y="7563"/>
                </a:cubicBezTo>
                <a:cubicBezTo>
                  <a:pt x="23093" y="7375"/>
                  <a:pt x="23000" y="7156"/>
                  <a:pt x="22906" y="6938"/>
                </a:cubicBezTo>
                <a:cubicBezTo>
                  <a:pt x="22906" y="6938"/>
                  <a:pt x="22906" y="6906"/>
                  <a:pt x="22906" y="6906"/>
                </a:cubicBezTo>
                <a:cubicBezTo>
                  <a:pt x="22843" y="6719"/>
                  <a:pt x="22781" y="6563"/>
                  <a:pt x="22718" y="6375"/>
                </a:cubicBezTo>
                <a:cubicBezTo>
                  <a:pt x="22593" y="6094"/>
                  <a:pt x="22468" y="5813"/>
                  <a:pt x="22375" y="5531"/>
                </a:cubicBezTo>
                <a:cubicBezTo>
                  <a:pt x="22250" y="5250"/>
                  <a:pt x="22156" y="4969"/>
                  <a:pt x="22062" y="4656"/>
                </a:cubicBezTo>
                <a:cubicBezTo>
                  <a:pt x="21968" y="4438"/>
                  <a:pt x="21906" y="4188"/>
                  <a:pt x="21812" y="3969"/>
                </a:cubicBezTo>
                <a:cubicBezTo>
                  <a:pt x="21781" y="3875"/>
                  <a:pt x="21781" y="3750"/>
                  <a:pt x="21718" y="3688"/>
                </a:cubicBezTo>
                <a:cubicBezTo>
                  <a:pt x="21687" y="3594"/>
                  <a:pt x="21687" y="3531"/>
                  <a:pt x="21656" y="3438"/>
                </a:cubicBezTo>
                <a:cubicBezTo>
                  <a:pt x="21687" y="3375"/>
                  <a:pt x="21656" y="3344"/>
                  <a:pt x="21656" y="3281"/>
                </a:cubicBezTo>
                <a:cubicBezTo>
                  <a:pt x="21625" y="3188"/>
                  <a:pt x="21593" y="3063"/>
                  <a:pt x="21593" y="2969"/>
                </a:cubicBezTo>
                <a:cubicBezTo>
                  <a:pt x="21718" y="3313"/>
                  <a:pt x="21812" y="3656"/>
                  <a:pt x="21937" y="4000"/>
                </a:cubicBezTo>
                <a:cubicBezTo>
                  <a:pt x="21968" y="3969"/>
                  <a:pt x="21968" y="3938"/>
                  <a:pt x="21937" y="3938"/>
                </a:cubicBezTo>
                <a:cubicBezTo>
                  <a:pt x="21937" y="3875"/>
                  <a:pt x="21906" y="3813"/>
                  <a:pt x="21875" y="3750"/>
                </a:cubicBezTo>
                <a:cubicBezTo>
                  <a:pt x="21875" y="3719"/>
                  <a:pt x="21875" y="3688"/>
                  <a:pt x="21906" y="3688"/>
                </a:cubicBezTo>
                <a:cubicBezTo>
                  <a:pt x="21937" y="3656"/>
                  <a:pt x="21937" y="3656"/>
                  <a:pt x="21937" y="3625"/>
                </a:cubicBezTo>
                <a:cubicBezTo>
                  <a:pt x="21875" y="3375"/>
                  <a:pt x="21812" y="3125"/>
                  <a:pt x="21750" y="2906"/>
                </a:cubicBezTo>
                <a:cubicBezTo>
                  <a:pt x="21750" y="2875"/>
                  <a:pt x="21656" y="2781"/>
                  <a:pt x="21781" y="2813"/>
                </a:cubicBezTo>
                <a:cubicBezTo>
                  <a:pt x="21781" y="2813"/>
                  <a:pt x="21781" y="2781"/>
                  <a:pt x="21781" y="2750"/>
                </a:cubicBezTo>
                <a:cubicBezTo>
                  <a:pt x="21781" y="2688"/>
                  <a:pt x="21750" y="2594"/>
                  <a:pt x="21750" y="2531"/>
                </a:cubicBezTo>
                <a:cubicBezTo>
                  <a:pt x="21781" y="2531"/>
                  <a:pt x="21750" y="2563"/>
                  <a:pt x="21781" y="2563"/>
                </a:cubicBezTo>
                <a:cubicBezTo>
                  <a:pt x="21812" y="2531"/>
                  <a:pt x="21781" y="2500"/>
                  <a:pt x="21781" y="2469"/>
                </a:cubicBezTo>
                <a:cubicBezTo>
                  <a:pt x="21781" y="2375"/>
                  <a:pt x="21718" y="2313"/>
                  <a:pt x="21781" y="2250"/>
                </a:cubicBezTo>
                <a:cubicBezTo>
                  <a:pt x="21781" y="2250"/>
                  <a:pt x="21781" y="2250"/>
                  <a:pt x="21781" y="2250"/>
                </a:cubicBezTo>
                <a:cubicBezTo>
                  <a:pt x="21781" y="2313"/>
                  <a:pt x="21812" y="2344"/>
                  <a:pt x="21812" y="2406"/>
                </a:cubicBezTo>
                <a:cubicBezTo>
                  <a:pt x="21843" y="2469"/>
                  <a:pt x="21812" y="2531"/>
                  <a:pt x="21875" y="2594"/>
                </a:cubicBezTo>
                <a:cubicBezTo>
                  <a:pt x="21875" y="2594"/>
                  <a:pt x="21875" y="2594"/>
                  <a:pt x="21875" y="2594"/>
                </a:cubicBezTo>
                <a:cubicBezTo>
                  <a:pt x="21875" y="2625"/>
                  <a:pt x="21875" y="2688"/>
                  <a:pt x="21906" y="2719"/>
                </a:cubicBezTo>
                <a:cubicBezTo>
                  <a:pt x="21968" y="2906"/>
                  <a:pt x="22031" y="3063"/>
                  <a:pt x="22093" y="3250"/>
                </a:cubicBezTo>
                <a:cubicBezTo>
                  <a:pt x="22187" y="3438"/>
                  <a:pt x="22250" y="3656"/>
                  <a:pt x="22343" y="3875"/>
                </a:cubicBezTo>
                <a:cubicBezTo>
                  <a:pt x="22375" y="3969"/>
                  <a:pt x="22437" y="4094"/>
                  <a:pt x="22468" y="4188"/>
                </a:cubicBezTo>
                <a:cubicBezTo>
                  <a:pt x="22468" y="4188"/>
                  <a:pt x="22500" y="4188"/>
                  <a:pt x="22500" y="4188"/>
                </a:cubicBezTo>
                <a:cubicBezTo>
                  <a:pt x="22281" y="3594"/>
                  <a:pt x="22125" y="2969"/>
                  <a:pt x="21937" y="2375"/>
                </a:cubicBezTo>
                <a:cubicBezTo>
                  <a:pt x="21937" y="2344"/>
                  <a:pt x="21937" y="2344"/>
                  <a:pt x="21937" y="2344"/>
                </a:cubicBezTo>
                <a:cubicBezTo>
                  <a:pt x="21937" y="2313"/>
                  <a:pt x="21937" y="2281"/>
                  <a:pt x="21906" y="2281"/>
                </a:cubicBezTo>
                <a:cubicBezTo>
                  <a:pt x="21906" y="2281"/>
                  <a:pt x="21906" y="2250"/>
                  <a:pt x="21906" y="2250"/>
                </a:cubicBezTo>
                <a:cubicBezTo>
                  <a:pt x="21906" y="2219"/>
                  <a:pt x="21906" y="2188"/>
                  <a:pt x="21875" y="2156"/>
                </a:cubicBezTo>
                <a:cubicBezTo>
                  <a:pt x="21875" y="2094"/>
                  <a:pt x="21843" y="2031"/>
                  <a:pt x="21875" y="1969"/>
                </a:cubicBezTo>
                <a:cubicBezTo>
                  <a:pt x="21906" y="2125"/>
                  <a:pt x="21968" y="2250"/>
                  <a:pt x="22031" y="2344"/>
                </a:cubicBezTo>
                <a:cubicBezTo>
                  <a:pt x="22062" y="2406"/>
                  <a:pt x="22093" y="2500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25" y="2594"/>
                  <a:pt x="22125" y="2594"/>
                  <a:pt x="22125" y="2594"/>
                </a:cubicBezTo>
                <a:cubicBezTo>
                  <a:pt x="22156" y="2719"/>
                  <a:pt x="22187" y="2844"/>
                  <a:pt x="22250" y="2938"/>
                </a:cubicBezTo>
                <a:cubicBezTo>
                  <a:pt x="22312" y="2906"/>
                  <a:pt x="22343" y="2906"/>
                  <a:pt x="22406" y="2906"/>
                </a:cubicBezTo>
                <a:cubicBezTo>
                  <a:pt x="22343" y="2906"/>
                  <a:pt x="22312" y="2906"/>
                  <a:pt x="22250" y="2938"/>
                </a:cubicBezTo>
                <a:cubicBezTo>
                  <a:pt x="22250" y="3031"/>
                  <a:pt x="22312" y="3094"/>
                  <a:pt x="22343" y="3188"/>
                </a:cubicBezTo>
                <a:cubicBezTo>
                  <a:pt x="22468" y="3531"/>
                  <a:pt x="22593" y="3875"/>
                  <a:pt x="22750" y="4219"/>
                </a:cubicBezTo>
                <a:cubicBezTo>
                  <a:pt x="22875" y="4531"/>
                  <a:pt x="23000" y="4844"/>
                  <a:pt x="23156" y="5188"/>
                </a:cubicBezTo>
                <a:cubicBezTo>
                  <a:pt x="23156" y="5188"/>
                  <a:pt x="23156" y="5188"/>
                  <a:pt x="23156" y="5219"/>
                </a:cubicBezTo>
                <a:cubicBezTo>
                  <a:pt x="23156" y="5250"/>
                  <a:pt x="23187" y="5250"/>
                  <a:pt x="23187" y="5281"/>
                </a:cubicBezTo>
                <a:cubicBezTo>
                  <a:pt x="23218" y="5344"/>
                  <a:pt x="23218" y="5406"/>
                  <a:pt x="23281" y="5469"/>
                </a:cubicBezTo>
                <a:cubicBezTo>
                  <a:pt x="23250" y="5500"/>
                  <a:pt x="23281" y="5500"/>
                  <a:pt x="23281" y="5531"/>
                </a:cubicBezTo>
                <a:cubicBezTo>
                  <a:pt x="23312" y="5594"/>
                  <a:pt x="23343" y="5688"/>
                  <a:pt x="23406" y="5750"/>
                </a:cubicBezTo>
                <a:cubicBezTo>
                  <a:pt x="23406" y="5719"/>
                  <a:pt x="23468" y="5719"/>
                  <a:pt x="23468" y="5719"/>
                </a:cubicBezTo>
                <a:cubicBezTo>
                  <a:pt x="23468" y="5719"/>
                  <a:pt x="23406" y="5719"/>
                  <a:pt x="23406" y="5750"/>
                </a:cubicBezTo>
                <a:cubicBezTo>
                  <a:pt x="23406" y="5844"/>
                  <a:pt x="23437" y="5906"/>
                  <a:pt x="23500" y="5969"/>
                </a:cubicBezTo>
                <a:cubicBezTo>
                  <a:pt x="23500" y="5969"/>
                  <a:pt x="23500" y="5969"/>
                  <a:pt x="23500" y="5969"/>
                </a:cubicBezTo>
                <a:cubicBezTo>
                  <a:pt x="23500" y="6000"/>
                  <a:pt x="23531" y="6031"/>
                  <a:pt x="23531" y="6063"/>
                </a:cubicBezTo>
                <a:cubicBezTo>
                  <a:pt x="23562" y="6188"/>
                  <a:pt x="23625" y="6281"/>
                  <a:pt x="23656" y="6375"/>
                </a:cubicBezTo>
                <a:cubicBezTo>
                  <a:pt x="23687" y="6438"/>
                  <a:pt x="23718" y="6469"/>
                  <a:pt x="23750" y="6469"/>
                </a:cubicBezTo>
                <a:cubicBezTo>
                  <a:pt x="24062" y="6625"/>
                  <a:pt x="24343" y="6813"/>
                  <a:pt x="24625" y="6969"/>
                </a:cubicBezTo>
                <a:cubicBezTo>
                  <a:pt x="25125" y="7281"/>
                  <a:pt x="25625" y="7594"/>
                  <a:pt x="26125" y="7906"/>
                </a:cubicBezTo>
                <a:cubicBezTo>
                  <a:pt x="26343" y="8063"/>
                  <a:pt x="26593" y="8188"/>
                  <a:pt x="26812" y="8313"/>
                </a:cubicBezTo>
                <a:cubicBezTo>
                  <a:pt x="26906" y="8375"/>
                  <a:pt x="27000" y="8438"/>
                  <a:pt x="27093" y="8469"/>
                </a:cubicBezTo>
                <a:cubicBezTo>
                  <a:pt x="27093" y="8375"/>
                  <a:pt x="27093" y="8250"/>
                  <a:pt x="27093" y="8156"/>
                </a:cubicBezTo>
                <a:cubicBezTo>
                  <a:pt x="27093" y="8125"/>
                  <a:pt x="27093" y="8094"/>
                  <a:pt x="27093" y="8094"/>
                </a:cubicBezTo>
                <a:cubicBezTo>
                  <a:pt x="27093" y="7969"/>
                  <a:pt x="27093" y="7844"/>
                  <a:pt x="27093" y="7719"/>
                </a:cubicBezTo>
                <a:cubicBezTo>
                  <a:pt x="27093" y="7688"/>
                  <a:pt x="27093" y="7656"/>
                  <a:pt x="27093" y="7625"/>
                </a:cubicBezTo>
                <a:cubicBezTo>
                  <a:pt x="27093" y="7406"/>
                  <a:pt x="27093" y="7219"/>
                  <a:pt x="27093" y="7000"/>
                </a:cubicBezTo>
                <a:cubicBezTo>
                  <a:pt x="27093" y="6969"/>
                  <a:pt x="27093" y="6938"/>
                  <a:pt x="27093" y="6938"/>
                </a:cubicBezTo>
                <a:cubicBezTo>
                  <a:pt x="27093" y="6688"/>
                  <a:pt x="27093" y="6438"/>
                  <a:pt x="27093" y="6188"/>
                </a:cubicBezTo>
                <a:cubicBezTo>
                  <a:pt x="27093" y="6125"/>
                  <a:pt x="27093" y="6094"/>
                  <a:pt x="27093" y="6031"/>
                </a:cubicBezTo>
                <a:cubicBezTo>
                  <a:pt x="27093" y="6031"/>
                  <a:pt x="27093" y="6000"/>
                  <a:pt x="27093" y="6000"/>
                </a:cubicBezTo>
                <a:cubicBezTo>
                  <a:pt x="27093" y="5938"/>
                  <a:pt x="27093" y="5906"/>
                  <a:pt x="27093" y="5875"/>
                </a:cubicBezTo>
                <a:cubicBezTo>
                  <a:pt x="27093" y="5813"/>
                  <a:pt x="27093" y="5750"/>
                  <a:pt x="27093" y="5688"/>
                </a:cubicBezTo>
                <a:cubicBezTo>
                  <a:pt x="27093" y="5656"/>
                  <a:pt x="27093" y="5625"/>
                  <a:pt x="27093" y="5594"/>
                </a:cubicBezTo>
                <a:cubicBezTo>
                  <a:pt x="27093" y="5531"/>
                  <a:pt x="27093" y="5469"/>
                  <a:pt x="27093" y="5406"/>
                </a:cubicBezTo>
                <a:cubicBezTo>
                  <a:pt x="27093" y="5344"/>
                  <a:pt x="27093" y="5313"/>
                  <a:pt x="27093" y="5281"/>
                </a:cubicBezTo>
                <a:cubicBezTo>
                  <a:pt x="27093" y="5219"/>
                  <a:pt x="27093" y="5188"/>
                  <a:pt x="27093" y="5125"/>
                </a:cubicBezTo>
                <a:cubicBezTo>
                  <a:pt x="27093" y="5094"/>
                  <a:pt x="27093" y="5094"/>
                  <a:pt x="27093" y="5063"/>
                </a:cubicBezTo>
                <a:cubicBezTo>
                  <a:pt x="27093" y="5031"/>
                  <a:pt x="27093" y="5000"/>
                  <a:pt x="27093" y="4969"/>
                </a:cubicBezTo>
                <a:cubicBezTo>
                  <a:pt x="27093" y="4938"/>
                  <a:pt x="27093" y="4938"/>
                  <a:pt x="27093" y="4938"/>
                </a:cubicBezTo>
                <a:cubicBezTo>
                  <a:pt x="27093" y="4906"/>
                  <a:pt x="27093" y="4844"/>
                  <a:pt x="27093" y="4813"/>
                </a:cubicBezTo>
                <a:cubicBezTo>
                  <a:pt x="27093" y="4750"/>
                  <a:pt x="27093" y="4688"/>
                  <a:pt x="27093" y="4625"/>
                </a:cubicBezTo>
                <a:cubicBezTo>
                  <a:pt x="27093" y="4625"/>
                  <a:pt x="27093" y="4594"/>
                  <a:pt x="27093" y="4594"/>
                </a:cubicBezTo>
                <a:cubicBezTo>
                  <a:pt x="27093" y="4281"/>
                  <a:pt x="27093" y="4000"/>
                  <a:pt x="27093" y="3719"/>
                </a:cubicBezTo>
                <a:cubicBezTo>
                  <a:pt x="27093" y="3219"/>
                  <a:pt x="27093" y="2750"/>
                  <a:pt x="27093" y="2281"/>
                </a:cubicBezTo>
                <a:cubicBezTo>
                  <a:pt x="27093" y="2250"/>
                  <a:pt x="27093" y="2219"/>
                  <a:pt x="27093" y="2219"/>
                </a:cubicBezTo>
                <a:cubicBezTo>
                  <a:pt x="27093" y="1875"/>
                  <a:pt x="27093" y="1563"/>
                  <a:pt x="27093" y="1250"/>
                </a:cubicBezTo>
                <a:cubicBezTo>
                  <a:pt x="27031" y="1250"/>
                  <a:pt x="27000" y="1219"/>
                  <a:pt x="26968" y="1188"/>
                </a:cubicBezTo>
                <a:lnTo>
                  <a:pt x="26968" y="1188"/>
                </a:lnTo>
                <a:cubicBezTo>
                  <a:pt x="26812" y="1094"/>
                  <a:pt x="26687" y="1000"/>
                  <a:pt x="26500" y="938"/>
                </a:cubicBezTo>
                <a:cubicBezTo>
                  <a:pt x="26468" y="938"/>
                  <a:pt x="26468" y="906"/>
                  <a:pt x="26437" y="906"/>
                </a:cubicBezTo>
                <a:cubicBezTo>
                  <a:pt x="25906" y="656"/>
                  <a:pt x="25375" y="406"/>
                  <a:pt x="24781" y="250"/>
                </a:cubicBezTo>
                <a:cubicBezTo>
                  <a:pt x="24687" y="219"/>
                  <a:pt x="24593" y="188"/>
                  <a:pt x="24500" y="188"/>
                </a:cubicBezTo>
                <a:cubicBezTo>
                  <a:pt x="24468" y="188"/>
                  <a:pt x="24437" y="188"/>
                  <a:pt x="24437" y="188"/>
                </a:cubicBezTo>
                <a:cubicBezTo>
                  <a:pt x="24437" y="188"/>
                  <a:pt x="24468" y="188"/>
                  <a:pt x="24500" y="188"/>
                </a:cubicBezTo>
                <a:cubicBezTo>
                  <a:pt x="24343" y="125"/>
                  <a:pt x="24187" y="125"/>
                  <a:pt x="24062" y="125"/>
                </a:cubicBezTo>
                <a:cubicBezTo>
                  <a:pt x="24062" y="125"/>
                  <a:pt x="24062" y="125"/>
                  <a:pt x="24062" y="125"/>
                </a:cubicBezTo>
                <a:cubicBezTo>
                  <a:pt x="24031" y="125"/>
                  <a:pt x="24031" y="94"/>
                  <a:pt x="24031" y="94"/>
                </a:cubicBezTo>
                <a:cubicBezTo>
                  <a:pt x="24000" y="94"/>
                  <a:pt x="23937" y="94"/>
                  <a:pt x="23906" y="94"/>
                </a:cubicBezTo>
                <a:cubicBezTo>
                  <a:pt x="23875" y="94"/>
                  <a:pt x="23843" y="94"/>
                  <a:pt x="23812" y="94"/>
                </a:cubicBezTo>
                <a:cubicBezTo>
                  <a:pt x="23750" y="63"/>
                  <a:pt x="23656" y="63"/>
                  <a:pt x="23562" y="63"/>
                </a:cubicBezTo>
                <a:cubicBezTo>
                  <a:pt x="23531" y="31"/>
                  <a:pt x="23500" y="31"/>
                  <a:pt x="23468" y="31"/>
                </a:cubicBezTo>
                <a:cubicBezTo>
                  <a:pt x="23156" y="0"/>
                  <a:pt x="22875" y="63"/>
                  <a:pt x="22593" y="94"/>
                </a:cubicBezTo>
                <a:cubicBezTo>
                  <a:pt x="22406" y="125"/>
                  <a:pt x="22250" y="156"/>
                  <a:pt x="22125" y="250"/>
                </a:cubicBezTo>
                <a:cubicBezTo>
                  <a:pt x="22125" y="250"/>
                  <a:pt x="22125" y="250"/>
                  <a:pt x="22125" y="250"/>
                </a:cubicBezTo>
                <a:cubicBezTo>
                  <a:pt x="22031" y="313"/>
                  <a:pt x="21937" y="375"/>
                  <a:pt x="21875" y="469"/>
                </a:cubicBezTo>
                <a:cubicBezTo>
                  <a:pt x="21718" y="781"/>
                  <a:pt x="21531" y="1125"/>
                  <a:pt x="21406" y="1438"/>
                </a:cubicBezTo>
                <a:cubicBezTo>
                  <a:pt x="21250" y="1719"/>
                  <a:pt x="21156" y="2031"/>
                  <a:pt x="21031" y="2344"/>
                </a:cubicBezTo>
                <a:cubicBezTo>
                  <a:pt x="21000" y="2375"/>
                  <a:pt x="21000" y="2438"/>
                  <a:pt x="21062" y="2469"/>
                </a:cubicBezTo>
                <a:cubicBezTo>
                  <a:pt x="21062" y="2531"/>
                  <a:pt x="21031" y="2531"/>
                  <a:pt x="21000" y="2531"/>
                </a:cubicBezTo>
                <a:cubicBezTo>
                  <a:pt x="20968" y="2531"/>
                  <a:pt x="20968" y="2500"/>
                  <a:pt x="20968" y="2531"/>
                </a:cubicBezTo>
                <a:cubicBezTo>
                  <a:pt x="20968" y="2594"/>
                  <a:pt x="20906" y="2656"/>
                  <a:pt x="20906" y="2719"/>
                </a:cubicBezTo>
                <a:cubicBezTo>
                  <a:pt x="20906" y="2813"/>
                  <a:pt x="20843" y="2875"/>
                  <a:pt x="20875" y="2938"/>
                </a:cubicBezTo>
                <a:cubicBezTo>
                  <a:pt x="20875" y="3000"/>
                  <a:pt x="20843" y="3031"/>
                  <a:pt x="20843" y="3063"/>
                </a:cubicBezTo>
                <a:cubicBezTo>
                  <a:pt x="20843" y="3031"/>
                  <a:pt x="20843" y="3063"/>
                  <a:pt x="20875" y="3063"/>
                </a:cubicBezTo>
                <a:cubicBezTo>
                  <a:pt x="20843" y="3063"/>
                  <a:pt x="20843" y="3031"/>
                  <a:pt x="20843" y="3063"/>
                </a:cubicBezTo>
                <a:cubicBezTo>
                  <a:pt x="20812" y="3219"/>
                  <a:pt x="20750" y="3375"/>
                  <a:pt x="20750" y="3500"/>
                </a:cubicBezTo>
                <a:cubicBezTo>
                  <a:pt x="20718" y="3781"/>
                  <a:pt x="20656" y="4063"/>
                  <a:pt x="20656" y="4313"/>
                </a:cubicBezTo>
                <a:cubicBezTo>
                  <a:pt x="20656" y="4344"/>
                  <a:pt x="20625" y="4375"/>
                  <a:pt x="20593" y="4375"/>
                </a:cubicBezTo>
                <a:cubicBezTo>
                  <a:pt x="20437" y="4375"/>
                  <a:pt x="20312" y="4406"/>
                  <a:pt x="20156" y="4406"/>
                </a:cubicBezTo>
                <a:cubicBezTo>
                  <a:pt x="19875" y="4406"/>
                  <a:pt x="19625" y="4469"/>
                  <a:pt x="19343" y="4500"/>
                </a:cubicBezTo>
                <a:cubicBezTo>
                  <a:pt x="19250" y="4500"/>
                  <a:pt x="19156" y="4563"/>
                  <a:pt x="19062" y="4531"/>
                </a:cubicBezTo>
                <a:cubicBezTo>
                  <a:pt x="19000" y="4531"/>
                  <a:pt x="18937" y="4531"/>
                  <a:pt x="18875" y="4563"/>
                </a:cubicBezTo>
                <a:cubicBezTo>
                  <a:pt x="18875" y="4563"/>
                  <a:pt x="18875" y="4563"/>
                  <a:pt x="18875" y="4563"/>
                </a:cubicBezTo>
                <a:cubicBezTo>
                  <a:pt x="18843" y="4563"/>
                  <a:pt x="18843" y="4563"/>
                  <a:pt x="18812" y="4563"/>
                </a:cubicBezTo>
                <a:cubicBezTo>
                  <a:pt x="18812" y="4563"/>
                  <a:pt x="18781" y="4594"/>
                  <a:pt x="18781" y="4594"/>
                </a:cubicBezTo>
                <a:cubicBezTo>
                  <a:pt x="18750" y="4594"/>
                  <a:pt x="18718" y="4594"/>
                  <a:pt x="18718" y="4594"/>
                </a:cubicBezTo>
                <a:cubicBezTo>
                  <a:pt x="18687" y="4594"/>
                  <a:pt x="18656" y="4594"/>
                  <a:pt x="18625" y="4594"/>
                </a:cubicBezTo>
                <a:cubicBezTo>
                  <a:pt x="18343" y="4625"/>
                  <a:pt x="18062" y="4688"/>
                  <a:pt x="17812" y="4781"/>
                </a:cubicBezTo>
                <a:cubicBezTo>
                  <a:pt x="17812" y="4813"/>
                  <a:pt x="17812" y="4813"/>
                  <a:pt x="17812" y="4813"/>
                </a:cubicBezTo>
                <a:cubicBezTo>
                  <a:pt x="17781" y="4813"/>
                  <a:pt x="17781" y="4813"/>
                  <a:pt x="17781" y="4813"/>
                </a:cubicBezTo>
                <a:cubicBezTo>
                  <a:pt x="17750" y="4844"/>
                  <a:pt x="17687" y="4844"/>
                  <a:pt x="17656" y="4875"/>
                </a:cubicBezTo>
                <a:cubicBezTo>
                  <a:pt x="17656" y="4875"/>
                  <a:pt x="17656" y="4875"/>
                  <a:pt x="17656" y="4875"/>
                </a:cubicBezTo>
                <a:cubicBezTo>
                  <a:pt x="17656" y="4875"/>
                  <a:pt x="17656" y="4875"/>
                  <a:pt x="17656" y="4844"/>
                </a:cubicBezTo>
                <a:cubicBezTo>
                  <a:pt x="17656" y="4844"/>
                  <a:pt x="17656" y="4844"/>
                  <a:pt x="17656" y="4844"/>
                </a:cubicBezTo>
                <a:cubicBezTo>
                  <a:pt x="17531" y="4906"/>
                  <a:pt x="17406" y="4938"/>
                  <a:pt x="17281" y="5000"/>
                </a:cubicBezTo>
                <a:cubicBezTo>
                  <a:pt x="17281" y="5000"/>
                  <a:pt x="17281" y="5000"/>
                  <a:pt x="17281" y="5000"/>
                </a:cubicBezTo>
                <a:cubicBezTo>
                  <a:pt x="17218" y="5000"/>
                  <a:pt x="17156" y="5031"/>
                  <a:pt x="17125" y="5063"/>
                </a:cubicBezTo>
                <a:cubicBezTo>
                  <a:pt x="17093" y="5063"/>
                  <a:pt x="17062" y="5094"/>
                  <a:pt x="17062" y="5094"/>
                </a:cubicBezTo>
                <a:cubicBezTo>
                  <a:pt x="17000" y="5125"/>
                  <a:pt x="16968" y="5156"/>
                  <a:pt x="16906" y="5188"/>
                </a:cubicBezTo>
                <a:cubicBezTo>
                  <a:pt x="16781" y="5219"/>
                  <a:pt x="16718" y="5313"/>
                  <a:pt x="16656" y="5406"/>
                </a:cubicBezTo>
                <a:cubicBezTo>
                  <a:pt x="16625" y="5406"/>
                  <a:pt x="16625" y="5438"/>
                  <a:pt x="16625" y="5469"/>
                </a:cubicBezTo>
                <a:cubicBezTo>
                  <a:pt x="16562" y="5531"/>
                  <a:pt x="16500" y="5656"/>
                  <a:pt x="16500" y="5750"/>
                </a:cubicBezTo>
                <a:cubicBezTo>
                  <a:pt x="16562" y="5656"/>
                  <a:pt x="16625" y="5563"/>
                  <a:pt x="16687" y="5531"/>
                </a:cubicBezTo>
                <a:cubicBezTo>
                  <a:pt x="16718" y="5563"/>
                  <a:pt x="16656" y="5594"/>
                  <a:pt x="16687" y="5656"/>
                </a:cubicBezTo>
                <a:cubicBezTo>
                  <a:pt x="16718" y="5625"/>
                  <a:pt x="16750" y="5594"/>
                  <a:pt x="16781" y="5563"/>
                </a:cubicBezTo>
                <a:cubicBezTo>
                  <a:pt x="16812" y="5594"/>
                  <a:pt x="16781" y="5625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81" y="5656"/>
                  <a:pt x="16781" y="5656"/>
                  <a:pt x="16781" y="5656"/>
                </a:cubicBezTo>
                <a:cubicBezTo>
                  <a:pt x="16750" y="5750"/>
                  <a:pt x="16750" y="5750"/>
                  <a:pt x="16781" y="5781"/>
                </a:cubicBezTo>
                <a:cubicBezTo>
                  <a:pt x="16781" y="5813"/>
                  <a:pt x="16781" y="5844"/>
                  <a:pt x="16781" y="5906"/>
                </a:cubicBezTo>
                <a:cubicBezTo>
                  <a:pt x="16718" y="6125"/>
                  <a:pt x="16718" y="6344"/>
                  <a:pt x="16687" y="6594"/>
                </a:cubicBezTo>
                <a:cubicBezTo>
                  <a:pt x="16687" y="6688"/>
                  <a:pt x="16687" y="6750"/>
                  <a:pt x="16687" y="6844"/>
                </a:cubicBezTo>
                <a:cubicBezTo>
                  <a:pt x="16687" y="6938"/>
                  <a:pt x="16687" y="7000"/>
                  <a:pt x="16687" y="7094"/>
                </a:cubicBezTo>
                <a:cubicBezTo>
                  <a:pt x="16687" y="7000"/>
                  <a:pt x="16687" y="6938"/>
                  <a:pt x="16687" y="6844"/>
                </a:cubicBezTo>
                <a:cubicBezTo>
                  <a:pt x="16656" y="6844"/>
                  <a:pt x="16656" y="6875"/>
                  <a:pt x="16656" y="6875"/>
                </a:cubicBezTo>
                <a:cubicBezTo>
                  <a:pt x="16656" y="7250"/>
                  <a:pt x="16656" y="7625"/>
                  <a:pt x="16687" y="7969"/>
                </a:cubicBezTo>
                <a:cubicBezTo>
                  <a:pt x="16656" y="8000"/>
                  <a:pt x="16687" y="8063"/>
                  <a:pt x="16687" y="8094"/>
                </a:cubicBezTo>
                <a:cubicBezTo>
                  <a:pt x="16687" y="8375"/>
                  <a:pt x="16718" y="8656"/>
                  <a:pt x="16750" y="8938"/>
                </a:cubicBezTo>
                <a:cubicBezTo>
                  <a:pt x="16781" y="9531"/>
                  <a:pt x="16812" y="10125"/>
                  <a:pt x="16781" y="10719"/>
                </a:cubicBezTo>
                <a:cubicBezTo>
                  <a:pt x="16750" y="10844"/>
                  <a:pt x="16750" y="10969"/>
                  <a:pt x="16718" y="11063"/>
                </a:cubicBezTo>
                <a:cubicBezTo>
                  <a:pt x="16593" y="11031"/>
                  <a:pt x="16500" y="11000"/>
                  <a:pt x="16406" y="10938"/>
                </a:cubicBezTo>
                <a:cubicBezTo>
                  <a:pt x="16406" y="10938"/>
                  <a:pt x="16437" y="10938"/>
                  <a:pt x="16437" y="10906"/>
                </a:cubicBezTo>
                <a:cubicBezTo>
                  <a:pt x="16468" y="10813"/>
                  <a:pt x="16468" y="10688"/>
                  <a:pt x="16562" y="10594"/>
                </a:cubicBezTo>
                <a:cubicBezTo>
                  <a:pt x="16562" y="10594"/>
                  <a:pt x="16562" y="10563"/>
                  <a:pt x="16562" y="10563"/>
                </a:cubicBezTo>
                <a:cubicBezTo>
                  <a:pt x="16562" y="10375"/>
                  <a:pt x="16593" y="10219"/>
                  <a:pt x="16625" y="10063"/>
                </a:cubicBezTo>
                <a:cubicBezTo>
                  <a:pt x="16656" y="10344"/>
                  <a:pt x="16562" y="10625"/>
                  <a:pt x="16656" y="10906"/>
                </a:cubicBezTo>
                <a:cubicBezTo>
                  <a:pt x="16687" y="10625"/>
                  <a:pt x="16750" y="10344"/>
                  <a:pt x="16718" y="10063"/>
                </a:cubicBezTo>
                <a:cubicBezTo>
                  <a:pt x="16750" y="10156"/>
                  <a:pt x="16718" y="10219"/>
                  <a:pt x="16750" y="10281"/>
                </a:cubicBezTo>
                <a:cubicBezTo>
                  <a:pt x="16750" y="10250"/>
                  <a:pt x="16750" y="10219"/>
                  <a:pt x="16750" y="10188"/>
                </a:cubicBezTo>
                <a:cubicBezTo>
                  <a:pt x="16750" y="9781"/>
                  <a:pt x="16750" y="9406"/>
                  <a:pt x="16687" y="9031"/>
                </a:cubicBezTo>
                <a:cubicBezTo>
                  <a:pt x="16687" y="8938"/>
                  <a:pt x="16687" y="8844"/>
                  <a:pt x="16687" y="8750"/>
                </a:cubicBezTo>
                <a:cubicBezTo>
                  <a:pt x="16687" y="8688"/>
                  <a:pt x="16656" y="8719"/>
                  <a:pt x="16625" y="8750"/>
                </a:cubicBezTo>
                <a:cubicBezTo>
                  <a:pt x="16625" y="8750"/>
                  <a:pt x="16625" y="8750"/>
                  <a:pt x="16625" y="8750"/>
                </a:cubicBezTo>
                <a:cubicBezTo>
                  <a:pt x="16625" y="8688"/>
                  <a:pt x="16656" y="8625"/>
                  <a:pt x="16656" y="8563"/>
                </a:cubicBezTo>
                <a:cubicBezTo>
                  <a:pt x="16656" y="8531"/>
                  <a:pt x="16625" y="8469"/>
                  <a:pt x="16625" y="8438"/>
                </a:cubicBezTo>
                <a:cubicBezTo>
                  <a:pt x="16593" y="8156"/>
                  <a:pt x="16562" y="7844"/>
                  <a:pt x="16562" y="7563"/>
                </a:cubicBezTo>
                <a:cubicBezTo>
                  <a:pt x="16531" y="7344"/>
                  <a:pt x="16500" y="7094"/>
                  <a:pt x="16500" y="6875"/>
                </a:cubicBezTo>
                <a:cubicBezTo>
                  <a:pt x="16500" y="7406"/>
                  <a:pt x="16500" y="7906"/>
                  <a:pt x="16500" y="8438"/>
                </a:cubicBezTo>
                <a:cubicBezTo>
                  <a:pt x="16500" y="8375"/>
                  <a:pt x="16500" y="8344"/>
                  <a:pt x="16500" y="8281"/>
                </a:cubicBezTo>
                <a:cubicBezTo>
                  <a:pt x="16468" y="8156"/>
                  <a:pt x="16437" y="8031"/>
                  <a:pt x="16406" y="7906"/>
                </a:cubicBezTo>
                <a:cubicBezTo>
                  <a:pt x="16343" y="7594"/>
                  <a:pt x="16312" y="7281"/>
                  <a:pt x="16312" y="7000"/>
                </a:cubicBezTo>
                <a:cubicBezTo>
                  <a:pt x="16312" y="7031"/>
                  <a:pt x="16312" y="7063"/>
                  <a:pt x="16312" y="7094"/>
                </a:cubicBezTo>
                <a:cubicBezTo>
                  <a:pt x="16281" y="7813"/>
                  <a:pt x="16375" y="8531"/>
                  <a:pt x="16406" y="9281"/>
                </a:cubicBezTo>
                <a:cubicBezTo>
                  <a:pt x="16437" y="9813"/>
                  <a:pt x="16437" y="10375"/>
                  <a:pt x="16375" y="10906"/>
                </a:cubicBezTo>
                <a:cubicBezTo>
                  <a:pt x="16343" y="10906"/>
                  <a:pt x="16312" y="10906"/>
                  <a:pt x="16312" y="10906"/>
                </a:cubicBezTo>
                <a:cubicBezTo>
                  <a:pt x="16156" y="10844"/>
                  <a:pt x="16031" y="10781"/>
                  <a:pt x="15906" y="10719"/>
                </a:cubicBezTo>
                <a:cubicBezTo>
                  <a:pt x="15500" y="10531"/>
                  <a:pt x="15125" y="10375"/>
                  <a:pt x="14750" y="10188"/>
                </a:cubicBezTo>
                <a:cubicBezTo>
                  <a:pt x="14437" y="10063"/>
                  <a:pt x="14093" y="9938"/>
                  <a:pt x="13781" y="9781"/>
                </a:cubicBezTo>
                <a:cubicBezTo>
                  <a:pt x="13531" y="9656"/>
                  <a:pt x="13250" y="9594"/>
                  <a:pt x="13000" y="9469"/>
                </a:cubicBezTo>
                <a:cubicBezTo>
                  <a:pt x="12781" y="9375"/>
                  <a:pt x="12562" y="9313"/>
                  <a:pt x="12343" y="9250"/>
                </a:cubicBezTo>
                <a:cubicBezTo>
                  <a:pt x="11875" y="9094"/>
                  <a:pt x="11437" y="8969"/>
                  <a:pt x="10937" y="8844"/>
                </a:cubicBezTo>
                <a:cubicBezTo>
                  <a:pt x="10625" y="8781"/>
                  <a:pt x="10312" y="8719"/>
                  <a:pt x="9968" y="8688"/>
                </a:cubicBezTo>
                <a:cubicBezTo>
                  <a:pt x="9562" y="8625"/>
                  <a:pt x="9156" y="8594"/>
                  <a:pt x="8750" y="8625"/>
                </a:cubicBezTo>
                <a:cubicBezTo>
                  <a:pt x="8000" y="8594"/>
                  <a:pt x="7593" y="8719"/>
                  <a:pt x="7406" y="8781"/>
                </a:cubicBezTo>
                <a:cubicBezTo>
                  <a:pt x="7218" y="8813"/>
                  <a:pt x="7031" y="8844"/>
                  <a:pt x="6843" y="8906"/>
                </a:cubicBezTo>
                <a:cubicBezTo>
                  <a:pt x="6343" y="9063"/>
                  <a:pt x="5843" y="9250"/>
                  <a:pt x="5375" y="9469"/>
                </a:cubicBezTo>
                <a:cubicBezTo>
                  <a:pt x="5000" y="9688"/>
                  <a:pt x="4625" y="9906"/>
                  <a:pt x="4281" y="10156"/>
                </a:cubicBezTo>
                <a:cubicBezTo>
                  <a:pt x="4062" y="10313"/>
                  <a:pt x="3843" y="10469"/>
                  <a:pt x="3656" y="10656"/>
                </a:cubicBezTo>
                <a:cubicBezTo>
                  <a:pt x="3656" y="10656"/>
                  <a:pt x="3656" y="10656"/>
                  <a:pt x="3656" y="10656"/>
                </a:cubicBezTo>
                <a:cubicBezTo>
                  <a:pt x="3343" y="10906"/>
                  <a:pt x="3031" y="11188"/>
                  <a:pt x="2750" y="11469"/>
                </a:cubicBezTo>
                <a:cubicBezTo>
                  <a:pt x="2593" y="11656"/>
                  <a:pt x="2437" y="11813"/>
                  <a:pt x="2281" y="12000"/>
                </a:cubicBezTo>
                <a:cubicBezTo>
                  <a:pt x="2250" y="12031"/>
                  <a:pt x="2187" y="12094"/>
                  <a:pt x="2156" y="12156"/>
                </a:cubicBezTo>
                <a:cubicBezTo>
                  <a:pt x="1812" y="12563"/>
                  <a:pt x="1468" y="12969"/>
                  <a:pt x="1156" y="13406"/>
                </a:cubicBezTo>
                <a:cubicBezTo>
                  <a:pt x="937" y="13750"/>
                  <a:pt x="687" y="14094"/>
                  <a:pt x="468" y="14438"/>
                </a:cubicBezTo>
                <a:cubicBezTo>
                  <a:pt x="312" y="14688"/>
                  <a:pt x="156" y="14906"/>
                  <a:pt x="31" y="15125"/>
                </a:cubicBezTo>
                <a:cubicBezTo>
                  <a:pt x="31" y="15156"/>
                  <a:pt x="31" y="15188"/>
                  <a:pt x="0" y="15156"/>
                </a:cubicBezTo>
                <a:cubicBezTo>
                  <a:pt x="0" y="15250"/>
                  <a:pt x="0" y="15313"/>
                  <a:pt x="0" y="15375"/>
                </a:cubicBezTo>
                <a:cubicBezTo>
                  <a:pt x="0" y="15438"/>
                  <a:pt x="0" y="15469"/>
                  <a:pt x="0" y="15500"/>
                </a:cubicBezTo>
                <a:cubicBezTo>
                  <a:pt x="0" y="15531"/>
                  <a:pt x="0" y="15563"/>
                  <a:pt x="0" y="15594"/>
                </a:cubicBezTo>
                <a:cubicBezTo>
                  <a:pt x="0" y="15750"/>
                  <a:pt x="0" y="15938"/>
                  <a:pt x="0" y="16125"/>
                </a:cubicBezTo>
                <a:cubicBezTo>
                  <a:pt x="0" y="16219"/>
                  <a:pt x="0" y="16313"/>
                  <a:pt x="0" y="16406"/>
                </a:cubicBezTo>
                <a:cubicBezTo>
                  <a:pt x="0" y="16469"/>
                  <a:pt x="0" y="16531"/>
                  <a:pt x="0" y="16594"/>
                </a:cubicBezTo>
                <a:cubicBezTo>
                  <a:pt x="0" y="16625"/>
                  <a:pt x="0" y="16687"/>
                  <a:pt x="0" y="16719"/>
                </a:cubicBezTo>
                <a:cubicBezTo>
                  <a:pt x="0" y="16781"/>
                  <a:pt x="0" y="16844"/>
                  <a:pt x="0" y="16906"/>
                </a:cubicBezTo>
                <a:cubicBezTo>
                  <a:pt x="0" y="17062"/>
                  <a:pt x="0" y="17250"/>
                  <a:pt x="0" y="17406"/>
                </a:cubicBezTo>
                <a:cubicBezTo>
                  <a:pt x="0" y="17469"/>
                  <a:pt x="0" y="17500"/>
                  <a:pt x="0" y="17562"/>
                </a:cubicBezTo>
                <a:cubicBezTo>
                  <a:pt x="0" y="17875"/>
                  <a:pt x="0" y="18187"/>
                  <a:pt x="0" y="18500"/>
                </a:cubicBezTo>
                <a:cubicBezTo>
                  <a:pt x="93" y="18500"/>
                  <a:pt x="218" y="18500"/>
                  <a:pt x="343" y="18500"/>
                </a:cubicBezTo>
                <a:cubicBezTo>
                  <a:pt x="406" y="18500"/>
                  <a:pt x="437" y="18500"/>
                  <a:pt x="468" y="18437"/>
                </a:cubicBezTo>
                <a:cubicBezTo>
                  <a:pt x="468" y="18437"/>
                  <a:pt x="468" y="18437"/>
                  <a:pt x="468" y="18437"/>
                </a:cubicBezTo>
                <a:cubicBezTo>
                  <a:pt x="468" y="18469"/>
                  <a:pt x="468" y="18500"/>
                  <a:pt x="500" y="18500"/>
                </a:cubicBezTo>
                <a:cubicBezTo>
                  <a:pt x="500" y="18500"/>
                  <a:pt x="531" y="18500"/>
                  <a:pt x="531" y="18469"/>
                </a:cubicBezTo>
                <a:cubicBezTo>
                  <a:pt x="625" y="18250"/>
                  <a:pt x="750" y="18031"/>
                  <a:pt x="843" y="17812"/>
                </a:cubicBezTo>
                <a:cubicBezTo>
                  <a:pt x="1093" y="17344"/>
                  <a:pt x="1343" y="16875"/>
                  <a:pt x="1625" y="16406"/>
                </a:cubicBezTo>
                <a:cubicBezTo>
                  <a:pt x="1656" y="16344"/>
                  <a:pt x="1687" y="16250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19"/>
                  <a:pt x="1750" y="16219"/>
                </a:cubicBezTo>
                <a:cubicBezTo>
                  <a:pt x="1750" y="16219"/>
                  <a:pt x="1750" y="16250"/>
                  <a:pt x="1750" y="16250"/>
                </a:cubicBezTo>
                <a:cubicBezTo>
                  <a:pt x="1656" y="16438"/>
                  <a:pt x="1562" y="16594"/>
                  <a:pt x="1468" y="16781"/>
                </a:cubicBezTo>
                <a:cubicBezTo>
                  <a:pt x="1312" y="17062"/>
                  <a:pt x="1125" y="17375"/>
                  <a:pt x="968" y="17656"/>
                </a:cubicBezTo>
                <a:cubicBezTo>
                  <a:pt x="843" y="17906"/>
                  <a:pt x="718" y="18187"/>
                  <a:pt x="593" y="18437"/>
                </a:cubicBezTo>
                <a:cubicBezTo>
                  <a:pt x="562" y="18469"/>
                  <a:pt x="562" y="18500"/>
                  <a:pt x="656" y="18500"/>
                </a:cubicBezTo>
                <a:cubicBezTo>
                  <a:pt x="750" y="18500"/>
                  <a:pt x="875" y="18500"/>
                  <a:pt x="1000" y="18500"/>
                </a:cubicBezTo>
                <a:cubicBezTo>
                  <a:pt x="1062" y="18500"/>
                  <a:pt x="1093" y="18469"/>
                  <a:pt x="1125" y="18437"/>
                </a:cubicBezTo>
                <a:cubicBezTo>
                  <a:pt x="1218" y="18219"/>
                  <a:pt x="1312" y="18031"/>
                  <a:pt x="1406" y="17812"/>
                </a:cubicBezTo>
                <a:cubicBezTo>
                  <a:pt x="1531" y="17594"/>
                  <a:pt x="1656" y="17375"/>
                  <a:pt x="1781" y="17125"/>
                </a:cubicBezTo>
                <a:cubicBezTo>
                  <a:pt x="1937" y="16844"/>
                  <a:pt x="2125" y="16531"/>
                  <a:pt x="2281" y="16250"/>
                </a:cubicBezTo>
                <a:cubicBezTo>
                  <a:pt x="2375" y="16063"/>
                  <a:pt x="2531" y="15875"/>
                  <a:pt x="2625" y="15688"/>
                </a:cubicBezTo>
                <a:cubicBezTo>
                  <a:pt x="2906" y="15281"/>
                  <a:pt x="3187" y="14844"/>
                  <a:pt x="3500" y="14438"/>
                </a:cubicBezTo>
                <a:cubicBezTo>
                  <a:pt x="3718" y="14188"/>
                  <a:pt x="3937" y="13906"/>
                  <a:pt x="4187" y="13656"/>
                </a:cubicBezTo>
                <a:cubicBezTo>
                  <a:pt x="4437" y="13406"/>
                  <a:pt x="4656" y="13156"/>
                  <a:pt x="4906" y="12938"/>
                </a:cubicBezTo>
                <a:cubicBezTo>
                  <a:pt x="4968" y="12906"/>
                  <a:pt x="5000" y="12875"/>
                  <a:pt x="5031" y="12813"/>
                </a:cubicBezTo>
                <a:cubicBezTo>
                  <a:pt x="5062" y="12719"/>
                  <a:pt x="5125" y="12688"/>
                  <a:pt x="5187" y="12625"/>
                </a:cubicBezTo>
                <a:cubicBezTo>
                  <a:pt x="5468" y="12406"/>
                  <a:pt x="5781" y="12188"/>
                  <a:pt x="6093" y="12031"/>
                </a:cubicBezTo>
                <a:cubicBezTo>
                  <a:pt x="6187" y="11969"/>
                  <a:pt x="6250" y="11875"/>
                  <a:pt x="6343" y="11844"/>
                </a:cubicBezTo>
                <a:cubicBezTo>
                  <a:pt x="6468" y="11781"/>
                  <a:pt x="6562" y="11719"/>
                  <a:pt x="6687" y="11656"/>
                </a:cubicBezTo>
                <a:cubicBezTo>
                  <a:pt x="6718" y="11656"/>
                  <a:pt x="6750" y="11656"/>
                  <a:pt x="6718" y="11625"/>
                </a:cubicBezTo>
                <a:cubicBezTo>
                  <a:pt x="6718" y="11594"/>
                  <a:pt x="6750" y="11594"/>
                  <a:pt x="6750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81" y="11594"/>
                  <a:pt x="6781" y="11594"/>
                </a:cubicBezTo>
                <a:cubicBezTo>
                  <a:pt x="6781" y="11594"/>
                  <a:pt x="6750" y="11594"/>
                  <a:pt x="6750" y="11594"/>
                </a:cubicBezTo>
                <a:cubicBezTo>
                  <a:pt x="6812" y="11656"/>
                  <a:pt x="6812" y="11625"/>
                  <a:pt x="6843" y="11594"/>
                </a:cubicBezTo>
                <a:cubicBezTo>
                  <a:pt x="6875" y="11531"/>
                  <a:pt x="6906" y="11531"/>
                  <a:pt x="6937" y="11500"/>
                </a:cubicBezTo>
                <a:cubicBezTo>
                  <a:pt x="7218" y="11438"/>
                  <a:pt x="7468" y="11375"/>
                  <a:pt x="7718" y="11313"/>
                </a:cubicBezTo>
                <a:cubicBezTo>
                  <a:pt x="7812" y="11281"/>
                  <a:pt x="7937" y="11250"/>
                  <a:pt x="8031" y="11281"/>
                </a:cubicBezTo>
                <a:cubicBezTo>
                  <a:pt x="8031" y="11313"/>
                  <a:pt x="8000" y="11313"/>
                  <a:pt x="8000" y="11313"/>
                </a:cubicBezTo>
                <a:cubicBezTo>
                  <a:pt x="7812" y="11313"/>
                  <a:pt x="7625" y="11375"/>
                  <a:pt x="7437" y="11438"/>
                </a:cubicBezTo>
                <a:cubicBezTo>
                  <a:pt x="7312" y="11469"/>
                  <a:pt x="7218" y="11531"/>
                  <a:pt x="7093" y="11594"/>
                </a:cubicBezTo>
                <a:cubicBezTo>
                  <a:pt x="6875" y="11656"/>
                  <a:pt x="6687" y="11750"/>
                  <a:pt x="6500" y="11875"/>
                </a:cubicBezTo>
                <a:cubicBezTo>
                  <a:pt x="6375" y="11969"/>
                  <a:pt x="6250" y="12031"/>
                  <a:pt x="6125" y="12125"/>
                </a:cubicBezTo>
                <a:cubicBezTo>
                  <a:pt x="6093" y="12156"/>
                  <a:pt x="6031" y="12156"/>
                  <a:pt x="6031" y="12219"/>
                </a:cubicBezTo>
                <a:cubicBezTo>
                  <a:pt x="6031" y="12219"/>
                  <a:pt x="6000" y="12219"/>
                  <a:pt x="6000" y="12219"/>
                </a:cubicBezTo>
                <a:cubicBezTo>
                  <a:pt x="6000" y="12219"/>
                  <a:pt x="5968" y="12219"/>
                  <a:pt x="5968" y="12219"/>
                </a:cubicBezTo>
                <a:cubicBezTo>
                  <a:pt x="5781" y="12344"/>
                  <a:pt x="5625" y="12469"/>
                  <a:pt x="5437" y="12594"/>
                </a:cubicBezTo>
                <a:cubicBezTo>
                  <a:pt x="5375" y="12625"/>
                  <a:pt x="5406" y="12656"/>
                  <a:pt x="5468" y="12688"/>
                </a:cubicBezTo>
                <a:cubicBezTo>
                  <a:pt x="5500" y="12719"/>
                  <a:pt x="5500" y="12688"/>
                  <a:pt x="5531" y="12656"/>
                </a:cubicBezTo>
                <a:cubicBezTo>
                  <a:pt x="5531" y="12656"/>
                  <a:pt x="5531" y="12656"/>
                  <a:pt x="5531" y="12656"/>
                </a:cubicBezTo>
                <a:cubicBezTo>
                  <a:pt x="5562" y="12656"/>
                  <a:pt x="5593" y="12625"/>
                  <a:pt x="5656" y="12594"/>
                </a:cubicBezTo>
                <a:cubicBezTo>
                  <a:pt x="5781" y="12500"/>
                  <a:pt x="5906" y="12406"/>
                  <a:pt x="6062" y="12344"/>
                </a:cubicBezTo>
                <a:cubicBezTo>
                  <a:pt x="6031" y="12406"/>
                  <a:pt x="6000" y="12406"/>
                  <a:pt x="5968" y="12438"/>
                </a:cubicBezTo>
                <a:cubicBezTo>
                  <a:pt x="5906" y="12500"/>
                  <a:pt x="5812" y="12500"/>
                  <a:pt x="5781" y="12594"/>
                </a:cubicBezTo>
                <a:cubicBezTo>
                  <a:pt x="5781" y="12594"/>
                  <a:pt x="5750" y="12594"/>
                  <a:pt x="5750" y="12594"/>
                </a:cubicBezTo>
                <a:close/>
                <a:moveTo>
                  <a:pt x="5187" y="13813"/>
                </a:moveTo>
                <a:cubicBezTo>
                  <a:pt x="5156" y="13813"/>
                  <a:pt x="5156" y="13844"/>
                  <a:pt x="5156" y="13844"/>
                </a:cubicBezTo>
                <a:cubicBezTo>
                  <a:pt x="5187" y="13844"/>
                  <a:pt x="5187" y="13844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5187" y="13813"/>
                </a:moveTo>
                <a:cubicBezTo>
                  <a:pt x="5187" y="13813"/>
                  <a:pt x="5187" y="13813"/>
                  <a:pt x="5187" y="13813"/>
                </a:cubicBezTo>
                <a:lnTo>
                  <a:pt x="5187" y="13813"/>
                </a:lnTo>
                <a:cubicBezTo>
                  <a:pt x="5187" y="13813"/>
                  <a:pt x="5187" y="13813"/>
                  <a:pt x="5187" y="13813"/>
                </a:cubicBezTo>
                <a:cubicBezTo>
                  <a:pt x="5187" y="13813"/>
                  <a:pt x="5187" y="13813"/>
                  <a:pt x="5187" y="13813"/>
                </a:cubicBezTo>
                <a:close/>
                <a:moveTo>
                  <a:pt x="4406" y="14188"/>
                </a:moveTo>
                <a:cubicBezTo>
                  <a:pt x="4406" y="14188"/>
                  <a:pt x="4406" y="14188"/>
                  <a:pt x="4406" y="14156"/>
                </a:cubicBezTo>
                <a:cubicBezTo>
                  <a:pt x="4406" y="14156"/>
                  <a:pt x="4406" y="14156"/>
                  <a:pt x="4437" y="14156"/>
                </a:cubicBezTo>
                <a:cubicBezTo>
                  <a:pt x="4437" y="14156"/>
                  <a:pt x="4437" y="14156"/>
                  <a:pt x="4437" y="14125"/>
                </a:cubicBezTo>
                <a:cubicBezTo>
                  <a:pt x="4500" y="14094"/>
                  <a:pt x="4562" y="14031"/>
                  <a:pt x="4593" y="13969"/>
                </a:cubicBezTo>
                <a:cubicBezTo>
                  <a:pt x="4593" y="13938"/>
                  <a:pt x="4593" y="13938"/>
                  <a:pt x="4593" y="13938"/>
                </a:cubicBezTo>
                <a:cubicBezTo>
                  <a:pt x="4625" y="13969"/>
                  <a:pt x="4625" y="13938"/>
                  <a:pt x="4625" y="13938"/>
                </a:cubicBezTo>
                <a:lnTo>
                  <a:pt x="4625" y="13938"/>
                </a:lnTo>
                <a:cubicBezTo>
                  <a:pt x="4625" y="13938"/>
                  <a:pt x="4656" y="13938"/>
                  <a:pt x="4656" y="13938"/>
                </a:cubicBezTo>
                <a:cubicBezTo>
                  <a:pt x="4656" y="13938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87" y="13875"/>
                  <a:pt x="4750" y="13844"/>
                  <a:pt x="4781" y="13813"/>
                </a:cubicBezTo>
                <a:cubicBezTo>
                  <a:pt x="4781" y="13781"/>
                  <a:pt x="4812" y="13750"/>
                  <a:pt x="4875" y="13719"/>
                </a:cubicBezTo>
                <a:cubicBezTo>
                  <a:pt x="4843" y="13719"/>
                  <a:pt x="4843" y="13719"/>
                  <a:pt x="4843" y="13688"/>
                </a:cubicBezTo>
                <a:cubicBezTo>
                  <a:pt x="4781" y="13750"/>
                  <a:pt x="4718" y="13844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56" y="13906"/>
                  <a:pt x="4656" y="13906"/>
                  <a:pt x="4656" y="13906"/>
                </a:cubicBezTo>
                <a:cubicBezTo>
                  <a:pt x="4625" y="13906"/>
                  <a:pt x="4625" y="13938"/>
                  <a:pt x="4593" y="13938"/>
                </a:cubicBezTo>
                <a:cubicBezTo>
                  <a:pt x="4593" y="13969"/>
                  <a:pt x="4593" y="13969"/>
                  <a:pt x="4593" y="13969"/>
                </a:cubicBezTo>
                <a:cubicBezTo>
                  <a:pt x="4562" y="13969"/>
                  <a:pt x="4531" y="14000"/>
                  <a:pt x="4500" y="14031"/>
                </a:cubicBezTo>
                <a:cubicBezTo>
                  <a:pt x="4468" y="14063"/>
                  <a:pt x="4437" y="14094"/>
                  <a:pt x="4437" y="14125"/>
                </a:cubicBezTo>
                <a:cubicBezTo>
                  <a:pt x="4437" y="14125"/>
                  <a:pt x="4437" y="14125"/>
                  <a:pt x="4437" y="14125"/>
                </a:cubicBezTo>
                <a:cubicBezTo>
                  <a:pt x="4406" y="14125"/>
                  <a:pt x="4406" y="14156"/>
                  <a:pt x="4406" y="14156"/>
                </a:cubicBezTo>
                <a:cubicBezTo>
                  <a:pt x="4406" y="14156"/>
                  <a:pt x="4406" y="14156"/>
                  <a:pt x="4406" y="14156"/>
                </a:cubicBezTo>
                <a:cubicBezTo>
                  <a:pt x="4406" y="14156"/>
                  <a:pt x="4375" y="14188"/>
                  <a:pt x="4375" y="14188"/>
                </a:cubicBezTo>
                <a:cubicBezTo>
                  <a:pt x="4375" y="14188"/>
                  <a:pt x="4375" y="14188"/>
                  <a:pt x="4406" y="14188"/>
                </a:cubicBezTo>
                <a:close/>
                <a:moveTo>
                  <a:pt x="3750" y="15938"/>
                </a:moveTo>
                <a:cubicBezTo>
                  <a:pt x="3750" y="15938"/>
                  <a:pt x="3750" y="15938"/>
                  <a:pt x="3750" y="15938"/>
                </a:cubicBezTo>
                <a:cubicBezTo>
                  <a:pt x="3750" y="15938"/>
                  <a:pt x="3781" y="15938"/>
                  <a:pt x="3781" y="15938"/>
                </a:cubicBezTo>
                <a:cubicBezTo>
                  <a:pt x="3781" y="15906"/>
                  <a:pt x="3781" y="15906"/>
                  <a:pt x="3750" y="15906"/>
                </a:cubicBezTo>
                <a:cubicBezTo>
                  <a:pt x="3750" y="15906"/>
                  <a:pt x="3750" y="15938"/>
                  <a:pt x="3750" y="15938"/>
                </a:cubicBezTo>
                <a:close/>
                <a:moveTo>
                  <a:pt x="2968" y="16656"/>
                </a:moveTo>
                <a:cubicBezTo>
                  <a:pt x="3000" y="16656"/>
                  <a:pt x="3031" y="16656"/>
                  <a:pt x="3031" y="16625"/>
                </a:cubicBezTo>
                <a:cubicBezTo>
                  <a:pt x="3000" y="16625"/>
                  <a:pt x="2968" y="16656"/>
                  <a:pt x="2968" y="16656"/>
                </a:cubicBezTo>
                <a:close/>
                <a:moveTo>
                  <a:pt x="3968" y="15594"/>
                </a:moveTo>
                <a:cubicBezTo>
                  <a:pt x="3968" y="15594"/>
                  <a:pt x="3937" y="15625"/>
                  <a:pt x="3968" y="15656"/>
                </a:cubicBezTo>
                <a:cubicBezTo>
                  <a:pt x="3968" y="15625"/>
                  <a:pt x="4000" y="15625"/>
                  <a:pt x="4000" y="15594"/>
                </a:cubicBezTo>
                <a:cubicBezTo>
                  <a:pt x="4000" y="15594"/>
                  <a:pt x="4000" y="15594"/>
                  <a:pt x="3968" y="15594"/>
                </a:cubicBezTo>
                <a:close/>
                <a:moveTo>
                  <a:pt x="2875" y="16875"/>
                </a:moveTo>
                <a:cubicBezTo>
                  <a:pt x="2937" y="16844"/>
                  <a:pt x="2937" y="16781"/>
                  <a:pt x="2968" y="16719"/>
                </a:cubicBezTo>
                <a:cubicBezTo>
                  <a:pt x="2906" y="16750"/>
                  <a:pt x="2875" y="16812"/>
                  <a:pt x="2875" y="16844"/>
                </a:cubicBezTo>
                <a:cubicBezTo>
                  <a:pt x="2875" y="16875"/>
                  <a:pt x="2875" y="16875"/>
                  <a:pt x="2875" y="16875"/>
                </a:cubicBezTo>
                <a:cubicBezTo>
                  <a:pt x="2843" y="16875"/>
                  <a:pt x="2843" y="16875"/>
                  <a:pt x="2843" y="16906"/>
                </a:cubicBezTo>
                <a:cubicBezTo>
                  <a:pt x="2843" y="16906"/>
                  <a:pt x="2812" y="16906"/>
                  <a:pt x="2812" y="16906"/>
                </a:cubicBezTo>
                <a:cubicBezTo>
                  <a:pt x="2812" y="16937"/>
                  <a:pt x="2812" y="16937"/>
                  <a:pt x="2812" y="16937"/>
                </a:cubicBezTo>
                <a:cubicBezTo>
                  <a:pt x="2812" y="16937"/>
                  <a:pt x="2812" y="16937"/>
                  <a:pt x="2812" y="16969"/>
                </a:cubicBezTo>
                <a:cubicBezTo>
                  <a:pt x="2843" y="16969"/>
                  <a:pt x="2843" y="16937"/>
                  <a:pt x="2843" y="16906"/>
                </a:cubicBezTo>
                <a:cubicBezTo>
                  <a:pt x="2875" y="16906"/>
                  <a:pt x="2875" y="16906"/>
                  <a:pt x="2875" y="16875"/>
                </a:cubicBezTo>
                <a:close/>
                <a:moveTo>
                  <a:pt x="2375" y="17781"/>
                </a:moveTo>
                <a:cubicBezTo>
                  <a:pt x="2312" y="17812"/>
                  <a:pt x="2312" y="17844"/>
                  <a:pt x="2312" y="17875"/>
                </a:cubicBezTo>
                <a:cubicBezTo>
                  <a:pt x="2375" y="17875"/>
                  <a:pt x="2375" y="17844"/>
                  <a:pt x="2375" y="17781"/>
                </a:cubicBezTo>
                <a:close/>
                <a:moveTo>
                  <a:pt x="2312" y="17875"/>
                </a:moveTo>
                <a:cubicBezTo>
                  <a:pt x="2312" y="17875"/>
                  <a:pt x="2312" y="17875"/>
                  <a:pt x="2312" y="17906"/>
                </a:cubicBezTo>
                <a:cubicBezTo>
                  <a:pt x="2312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81" y="17906"/>
                  <a:pt x="2281" y="17906"/>
                  <a:pt x="2281" y="17906"/>
                </a:cubicBezTo>
                <a:cubicBezTo>
                  <a:pt x="2250" y="17906"/>
                  <a:pt x="2250" y="17906"/>
                  <a:pt x="2250" y="17906"/>
                </a:cubicBezTo>
                <a:cubicBezTo>
                  <a:pt x="2281" y="17844"/>
                  <a:pt x="2281" y="17781"/>
                  <a:pt x="2343" y="17750"/>
                </a:cubicBezTo>
                <a:cubicBezTo>
                  <a:pt x="2343" y="17719"/>
                  <a:pt x="2343" y="17719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687"/>
                  <a:pt x="2375" y="17687"/>
                  <a:pt x="2375" y="17687"/>
                </a:cubicBezTo>
                <a:cubicBezTo>
                  <a:pt x="2375" y="17750"/>
                  <a:pt x="2406" y="17781"/>
                  <a:pt x="2406" y="17750"/>
                </a:cubicBezTo>
                <a:cubicBezTo>
                  <a:pt x="2468" y="17656"/>
                  <a:pt x="2500" y="17594"/>
                  <a:pt x="2531" y="17500"/>
                </a:cubicBezTo>
                <a:cubicBezTo>
                  <a:pt x="2468" y="17531"/>
                  <a:pt x="2468" y="17562"/>
                  <a:pt x="2437" y="17594"/>
                </a:cubicBezTo>
                <a:cubicBezTo>
                  <a:pt x="2468" y="17469"/>
                  <a:pt x="2531" y="17375"/>
                  <a:pt x="2625" y="17250"/>
                </a:cubicBezTo>
                <a:cubicBezTo>
                  <a:pt x="2625" y="17281"/>
                  <a:pt x="2625" y="17281"/>
                  <a:pt x="2593" y="17312"/>
                </a:cubicBezTo>
                <a:cubicBezTo>
                  <a:pt x="2593" y="17344"/>
                  <a:pt x="2593" y="17344"/>
                  <a:pt x="2593" y="17375"/>
                </a:cubicBezTo>
                <a:cubicBezTo>
                  <a:pt x="2593" y="17375"/>
                  <a:pt x="2593" y="17375"/>
                  <a:pt x="2562" y="17406"/>
                </a:cubicBezTo>
                <a:cubicBezTo>
                  <a:pt x="2593" y="17406"/>
                  <a:pt x="2593" y="17406"/>
                  <a:pt x="2593" y="17406"/>
                </a:cubicBezTo>
                <a:cubicBezTo>
                  <a:pt x="2593" y="17375"/>
                  <a:pt x="2593" y="17375"/>
                  <a:pt x="2593" y="17375"/>
                </a:cubicBezTo>
                <a:cubicBezTo>
                  <a:pt x="2656" y="17344"/>
                  <a:pt x="2656" y="17312"/>
                  <a:pt x="2656" y="17250"/>
                </a:cubicBezTo>
                <a:cubicBezTo>
                  <a:pt x="2718" y="17219"/>
                  <a:pt x="2718" y="17156"/>
                  <a:pt x="2750" y="17094"/>
                </a:cubicBezTo>
                <a:lnTo>
                  <a:pt x="2750" y="17094"/>
                </a:lnTo>
                <a:cubicBezTo>
                  <a:pt x="2718" y="17125"/>
                  <a:pt x="2687" y="17156"/>
                  <a:pt x="2656" y="17219"/>
                </a:cubicBezTo>
                <a:cubicBezTo>
                  <a:pt x="2656" y="17219"/>
                  <a:pt x="2656" y="17250"/>
                  <a:pt x="2656" y="17250"/>
                </a:cubicBezTo>
                <a:cubicBezTo>
                  <a:pt x="2625" y="17250"/>
                  <a:pt x="2625" y="17250"/>
                  <a:pt x="2625" y="17250"/>
                </a:cubicBezTo>
                <a:cubicBezTo>
                  <a:pt x="2625" y="17156"/>
                  <a:pt x="2687" y="17094"/>
                  <a:pt x="2718" y="17031"/>
                </a:cubicBezTo>
                <a:cubicBezTo>
                  <a:pt x="2750" y="17031"/>
                  <a:pt x="2750" y="17000"/>
                  <a:pt x="2750" y="17000"/>
                </a:cubicBezTo>
                <a:cubicBezTo>
                  <a:pt x="2750" y="17000"/>
                  <a:pt x="2750" y="17000"/>
                  <a:pt x="2750" y="17000"/>
                </a:cubicBezTo>
                <a:cubicBezTo>
                  <a:pt x="2750" y="17031"/>
                  <a:pt x="2750" y="17031"/>
                  <a:pt x="2781" y="17062"/>
                </a:cubicBezTo>
                <a:cubicBezTo>
                  <a:pt x="2781" y="17062"/>
                  <a:pt x="2812" y="17031"/>
                  <a:pt x="2812" y="17031"/>
                </a:cubicBezTo>
                <a:cubicBezTo>
                  <a:pt x="2812" y="17000"/>
                  <a:pt x="2812" y="17000"/>
                  <a:pt x="2812" y="17000"/>
                </a:cubicBezTo>
                <a:cubicBezTo>
                  <a:pt x="2812" y="17000"/>
                  <a:pt x="2812" y="16969"/>
                  <a:pt x="2812" y="16969"/>
                </a:cubicBezTo>
                <a:cubicBezTo>
                  <a:pt x="2781" y="16969"/>
                  <a:pt x="2781" y="17000"/>
                  <a:pt x="2750" y="17000"/>
                </a:cubicBezTo>
                <a:cubicBezTo>
                  <a:pt x="2750" y="16969"/>
                  <a:pt x="2750" y="16937"/>
                  <a:pt x="2781" y="16906"/>
                </a:cubicBezTo>
                <a:cubicBezTo>
                  <a:pt x="2906" y="16687"/>
                  <a:pt x="3062" y="16469"/>
                  <a:pt x="3187" y="16219"/>
                </a:cubicBezTo>
                <a:cubicBezTo>
                  <a:pt x="3343" y="15969"/>
                  <a:pt x="3531" y="15719"/>
                  <a:pt x="3718" y="15469"/>
                </a:cubicBezTo>
                <a:cubicBezTo>
                  <a:pt x="3718" y="15438"/>
                  <a:pt x="3718" y="15438"/>
                  <a:pt x="3750" y="15406"/>
                </a:cubicBezTo>
                <a:cubicBezTo>
                  <a:pt x="3812" y="15313"/>
                  <a:pt x="3906" y="15219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37" y="15094"/>
                  <a:pt x="3937" y="15094"/>
                  <a:pt x="3937" y="15094"/>
                </a:cubicBezTo>
                <a:cubicBezTo>
                  <a:pt x="3968" y="15094"/>
                  <a:pt x="3968" y="15094"/>
                  <a:pt x="4000" y="15063"/>
                </a:cubicBezTo>
                <a:cubicBezTo>
                  <a:pt x="4000" y="15063"/>
                  <a:pt x="4000" y="15063"/>
                  <a:pt x="4000" y="15031"/>
                </a:cubicBezTo>
                <a:cubicBezTo>
                  <a:pt x="4000" y="15031"/>
                  <a:pt x="4031" y="15031"/>
                  <a:pt x="4031" y="15031"/>
                </a:cubicBezTo>
                <a:cubicBezTo>
                  <a:pt x="4031" y="15031"/>
                  <a:pt x="4031" y="15000"/>
                  <a:pt x="4031" y="15000"/>
                </a:cubicBezTo>
                <a:cubicBezTo>
                  <a:pt x="4187" y="14844"/>
                  <a:pt x="4312" y="14688"/>
                  <a:pt x="4437" y="14531"/>
                </a:cubicBezTo>
                <a:cubicBezTo>
                  <a:pt x="4468" y="14500"/>
                  <a:pt x="4531" y="14469"/>
                  <a:pt x="4531" y="14406"/>
                </a:cubicBezTo>
                <a:cubicBezTo>
                  <a:pt x="4500" y="14375"/>
                  <a:pt x="4500" y="14406"/>
                  <a:pt x="4500" y="14406"/>
                </a:cubicBezTo>
                <a:cubicBezTo>
                  <a:pt x="4375" y="14563"/>
                  <a:pt x="4218" y="14719"/>
                  <a:pt x="4125" y="14844"/>
                </a:cubicBezTo>
                <a:cubicBezTo>
                  <a:pt x="4125" y="14875"/>
                  <a:pt x="4093" y="14875"/>
                  <a:pt x="4093" y="14875"/>
                </a:cubicBezTo>
                <a:cubicBezTo>
                  <a:pt x="4062" y="14938"/>
                  <a:pt x="4000" y="14969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4000" y="15031"/>
                  <a:pt x="4000" y="15031"/>
                  <a:pt x="4000" y="15031"/>
                </a:cubicBezTo>
                <a:cubicBezTo>
                  <a:pt x="3968" y="15031"/>
                  <a:pt x="3968" y="15063"/>
                  <a:pt x="3937" y="15063"/>
                </a:cubicBezTo>
                <a:cubicBezTo>
                  <a:pt x="3937" y="15063"/>
                  <a:pt x="3937" y="15094"/>
                  <a:pt x="3937" y="15094"/>
                </a:cubicBezTo>
                <a:cubicBezTo>
                  <a:pt x="3906" y="15094"/>
                  <a:pt x="3906" y="15125"/>
                  <a:pt x="3906" y="15125"/>
                </a:cubicBezTo>
                <a:cubicBezTo>
                  <a:pt x="3406" y="15781"/>
                  <a:pt x="3000" y="16438"/>
                  <a:pt x="2593" y="17156"/>
                </a:cubicBezTo>
                <a:cubicBezTo>
                  <a:pt x="2406" y="17500"/>
                  <a:pt x="2218" y="17875"/>
                  <a:pt x="2031" y="18219"/>
                </a:cubicBezTo>
                <a:cubicBezTo>
                  <a:pt x="2000" y="18312"/>
                  <a:pt x="1937" y="18406"/>
                  <a:pt x="1906" y="18531"/>
                </a:cubicBezTo>
                <a:cubicBezTo>
                  <a:pt x="1937" y="18500"/>
                  <a:pt x="1968" y="18469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37"/>
                  <a:pt x="2000" y="18437"/>
                  <a:pt x="2000" y="18437"/>
                </a:cubicBezTo>
                <a:cubicBezTo>
                  <a:pt x="2000" y="18469"/>
                  <a:pt x="2000" y="18469"/>
                  <a:pt x="2000" y="18500"/>
                </a:cubicBezTo>
                <a:cubicBezTo>
                  <a:pt x="2000" y="18500"/>
                  <a:pt x="2000" y="18500"/>
                  <a:pt x="2000" y="18500"/>
                </a:cubicBezTo>
                <a:cubicBezTo>
                  <a:pt x="2031" y="18500"/>
                  <a:pt x="2031" y="18500"/>
                  <a:pt x="2031" y="18469"/>
                </a:cubicBezTo>
                <a:cubicBezTo>
                  <a:pt x="2093" y="18375"/>
                  <a:pt x="2156" y="18312"/>
                  <a:pt x="2187" y="18219"/>
                </a:cubicBezTo>
                <a:cubicBezTo>
                  <a:pt x="2218" y="18094"/>
                  <a:pt x="2312" y="18000"/>
                  <a:pt x="2312" y="17906"/>
                </a:cubicBezTo>
                <a:cubicBezTo>
                  <a:pt x="2312" y="17906"/>
                  <a:pt x="2312" y="17906"/>
                  <a:pt x="2312" y="17875"/>
                </a:cubicBezTo>
                <a:close/>
                <a:moveTo>
                  <a:pt x="3187" y="16000"/>
                </a:moveTo>
                <a:cubicBezTo>
                  <a:pt x="3250" y="15969"/>
                  <a:pt x="3281" y="15906"/>
                  <a:pt x="3281" y="15844"/>
                </a:cubicBezTo>
                <a:cubicBezTo>
                  <a:pt x="3218" y="15875"/>
                  <a:pt x="3218" y="15938"/>
                  <a:pt x="3187" y="16000"/>
                </a:cubicBezTo>
                <a:cubicBezTo>
                  <a:pt x="3156" y="16031"/>
                  <a:pt x="3156" y="16031"/>
                  <a:pt x="3125" y="16063"/>
                </a:cubicBezTo>
                <a:lnTo>
                  <a:pt x="3125" y="16063"/>
                </a:lnTo>
                <a:cubicBezTo>
                  <a:pt x="3062" y="16156"/>
                  <a:pt x="3000" y="16281"/>
                  <a:pt x="2937" y="16375"/>
                </a:cubicBezTo>
                <a:cubicBezTo>
                  <a:pt x="2937" y="16375"/>
                  <a:pt x="2906" y="16406"/>
                  <a:pt x="2937" y="16438"/>
                </a:cubicBezTo>
                <a:cubicBezTo>
                  <a:pt x="2968" y="16375"/>
                  <a:pt x="3031" y="16281"/>
                  <a:pt x="3062" y="16219"/>
                </a:cubicBezTo>
                <a:cubicBezTo>
                  <a:pt x="3125" y="16156"/>
                  <a:pt x="3156" y="16094"/>
                  <a:pt x="3187" y="16000"/>
                </a:cubicBezTo>
                <a:close/>
                <a:moveTo>
                  <a:pt x="2250" y="17344"/>
                </a:moveTo>
                <a:cubicBezTo>
                  <a:pt x="2281" y="17312"/>
                  <a:pt x="2281" y="17281"/>
                  <a:pt x="2312" y="17250"/>
                </a:cubicBezTo>
                <a:cubicBezTo>
                  <a:pt x="2343" y="17187"/>
                  <a:pt x="2406" y="17094"/>
                  <a:pt x="2437" y="17000"/>
                </a:cubicBezTo>
                <a:cubicBezTo>
                  <a:pt x="2437" y="17000"/>
                  <a:pt x="2437" y="17000"/>
                  <a:pt x="2437" y="17000"/>
                </a:cubicBezTo>
                <a:cubicBezTo>
                  <a:pt x="2468" y="16969"/>
                  <a:pt x="2468" y="16969"/>
                  <a:pt x="2468" y="16937"/>
                </a:cubicBezTo>
                <a:cubicBezTo>
                  <a:pt x="2500" y="16906"/>
                  <a:pt x="2500" y="16906"/>
                  <a:pt x="2500" y="16875"/>
                </a:cubicBezTo>
                <a:cubicBezTo>
                  <a:pt x="2500" y="16875"/>
                  <a:pt x="2500" y="16875"/>
                  <a:pt x="2531" y="16844"/>
                </a:cubicBezTo>
                <a:cubicBezTo>
                  <a:pt x="2562" y="16781"/>
                  <a:pt x="2625" y="16719"/>
                  <a:pt x="2656" y="16625"/>
                </a:cubicBezTo>
                <a:cubicBezTo>
                  <a:pt x="2656" y="16625"/>
                  <a:pt x="2656" y="16625"/>
                  <a:pt x="2656" y="16625"/>
                </a:cubicBezTo>
                <a:cubicBezTo>
                  <a:pt x="2687" y="16594"/>
                  <a:pt x="2687" y="16562"/>
                  <a:pt x="2718" y="16531"/>
                </a:cubicBezTo>
                <a:cubicBezTo>
                  <a:pt x="2750" y="16500"/>
                  <a:pt x="2750" y="16469"/>
                  <a:pt x="2750" y="16438"/>
                </a:cubicBezTo>
                <a:cubicBezTo>
                  <a:pt x="2781" y="16438"/>
                  <a:pt x="2781" y="16406"/>
                  <a:pt x="2781" y="16406"/>
                </a:cubicBezTo>
                <a:cubicBezTo>
                  <a:pt x="2875" y="16281"/>
                  <a:pt x="2937" y="16156"/>
                  <a:pt x="3031" y="16031"/>
                </a:cubicBezTo>
                <a:cubicBezTo>
                  <a:pt x="3031" y="16031"/>
                  <a:pt x="3031" y="16000"/>
                  <a:pt x="3031" y="16000"/>
                </a:cubicBezTo>
                <a:cubicBezTo>
                  <a:pt x="3093" y="15906"/>
                  <a:pt x="3156" y="15844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187" y="15750"/>
                  <a:pt x="3187" y="15750"/>
                  <a:pt x="3187" y="15750"/>
                </a:cubicBezTo>
                <a:cubicBezTo>
                  <a:pt x="3250" y="15719"/>
                  <a:pt x="3281" y="15688"/>
                  <a:pt x="3281" y="15625"/>
                </a:cubicBezTo>
                <a:cubicBezTo>
                  <a:pt x="3281" y="15625"/>
                  <a:pt x="3312" y="15594"/>
                  <a:pt x="3312" y="15594"/>
                </a:cubicBezTo>
                <a:cubicBezTo>
                  <a:pt x="3375" y="15531"/>
                  <a:pt x="3437" y="15406"/>
                  <a:pt x="3500" y="15344"/>
                </a:cubicBezTo>
                <a:cubicBezTo>
                  <a:pt x="3500" y="15313"/>
                  <a:pt x="3500" y="15313"/>
                  <a:pt x="3531" y="15281"/>
                </a:cubicBezTo>
                <a:cubicBezTo>
                  <a:pt x="3562" y="15250"/>
                  <a:pt x="3593" y="15188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25" y="15125"/>
                  <a:pt x="3625" y="15125"/>
                  <a:pt x="3625" y="15125"/>
                </a:cubicBezTo>
                <a:cubicBezTo>
                  <a:pt x="3687" y="15094"/>
                  <a:pt x="3718" y="15063"/>
                  <a:pt x="3718" y="15000"/>
                </a:cubicBezTo>
                <a:cubicBezTo>
                  <a:pt x="3718" y="15000"/>
                  <a:pt x="3718" y="15000"/>
                  <a:pt x="3718" y="15000"/>
                </a:cubicBezTo>
                <a:cubicBezTo>
                  <a:pt x="3750" y="14969"/>
                  <a:pt x="3781" y="14969"/>
                  <a:pt x="3781" y="14938"/>
                </a:cubicBezTo>
                <a:cubicBezTo>
                  <a:pt x="3781" y="14938"/>
                  <a:pt x="3781" y="14938"/>
                  <a:pt x="3781" y="14906"/>
                </a:cubicBezTo>
                <a:cubicBezTo>
                  <a:pt x="3750" y="14906"/>
                  <a:pt x="3718" y="14938"/>
                  <a:pt x="3718" y="14969"/>
                </a:cubicBezTo>
                <a:cubicBezTo>
                  <a:pt x="3656" y="15000"/>
                  <a:pt x="3625" y="15063"/>
                  <a:pt x="3625" y="15125"/>
                </a:cubicBezTo>
                <a:cubicBezTo>
                  <a:pt x="3593" y="15125"/>
                  <a:pt x="3593" y="15156"/>
                  <a:pt x="3562" y="15156"/>
                </a:cubicBezTo>
                <a:cubicBezTo>
                  <a:pt x="3468" y="15281"/>
                  <a:pt x="3375" y="15438"/>
                  <a:pt x="3281" y="15563"/>
                </a:cubicBezTo>
                <a:cubicBezTo>
                  <a:pt x="3281" y="15563"/>
                  <a:pt x="3281" y="15563"/>
                  <a:pt x="3281" y="15563"/>
                </a:cubicBezTo>
                <a:cubicBezTo>
                  <a:pt x="3250" y="15594"/>
                  <a:pt x="3250" y="15625"/>
                  <a:pt x="3218" y="15625"/>
                </a:cubicBezTo>
                <a:cubicBezTo>
                  <a:pt x="3218" y="15656"/>
                  <a:pt x="3187" y="15688"/>
                  <a:pt x="3187" y="15719"/>
                </a:cubicBezTo>
                <a:cubicBezTo>
                  <a:pt x="3062" y="15844"/>
                  <a:pt x="3000" y="15969"/>
                  <a:pt x="2937" y="16094"/>
                </a:cubicBezTo>
                <a:cubicBezTo>
                  <a:pt x="2906" y="16125"/>
                  <a:pt x="2906" y="16125"/>
                  <a:pt x="2906" y="16156"/>
                </a:cubicBezTo>
                <a:cubicBezTo>
                  <a:pt x="2843" y="16219"/>
                  <a:pt x="2781" y="16313"/>
                  <a:pt x="2750" y="16406"/>
                </a:cubicBezTo>
                <a:cubicBezTo>
                  <a:pt x="2750" y="16406"/>
                  <a:pt x="2750" y="16406"/>
                  <a:pt x="2750" y="16406"/>
                </a:cubicBezTo>
                <a:cubicBezTo>
                  <a:pt x="2687" y="16469"/>
                  <a:pt x="2656" y="16531"/>
                  <a:pt x="2656" y="16562"/>
                </a:cubicBezTo>
                <a:cubicBezTo>
                  <a:pt x="2656" y="16594"/>
                  <a:pt x="2625" y="16594"/>
                  <a:pt x="2625" y="16594"/>
                </a:cubicBezTo>
                <a:cubicBezTo>
                  <a:pt x="2625" y="16625"/>
                  <a:pt x="2593" y="16656"/>
                  <a:pt x="2593" y="16656"/>
                </a:cubicBezTo>
                <a:cubicBezTo>
                  <a:pt x="2531" y="16719"/>
                  <a:pt x="2500" y="16812"/>
                  <a:pt x="2468" y="16875"/>
                </a:cubicBezTo>
                <a:cubicBezTo>
                  <a:pt x="2468" y="16875"/>
                  <a:pt x="2468" y="16875"/>
                  <a:pt x="2468" y="16875"/>
                </a:cubicBezTo>
                <a:cubicBezTo>
                  <a:pt x="2468" y="16875"/>
                  <a:pt x="2437" y="16906"/>
                  <a:pt x="2437" y="16906"/>
                </a:cubicBezTo>
                <a:cubicBezTo>
                  <a:pt x="2437" y="16937"/>
                  <a:pt x="2437" y="16969"/>
                  <a:pt x="2406" y="16969"/>
                </a:cubicBezTo>
                <a:cubicBezTo>
                  <a:pt x="2375" y="17031"/>
                  <a:pt x="2343" y="17094"/>
                  <a:pt x="2312" y="17125"/>
                </a:cubicBezTo>
                <a:cubicBezTo>
                  <a:pt x="2312" y="17156"/>
                  <a:pt x="2281" y="17156"/>
                  <a:pt x="2281" y="17187"/>
                </a:cubicBezTo>
                <a:cubicBezTo>
                  <a:pt x="2062" y="17594"/>
                  <a:pt x="1843" y="18000"/>
                  <a:pt x="1656" y="18437"/>
                </a:cubicBezTo>
                <a:cubicBezTo>
                  <a:pt x="1625" y="18437"/>
                  <a:pt x="1593" y="18469"/>
                  <a:pt x="1625" y="18500"/>
                </a:cubicBezTo>
                <a:cubicBezTo>
                  <a:pt x="1687" y="18531"/>
                  <a:pt x="1687" y="18469"/>
                  <a:pt x="1687" y="18437"/>
                </a:cubicBezTo>
                <a:cubicBezTo>
                  <a:pt x="1781" y="18281"/>
                  <a:pt x="1843" y="18125"/>
                  <a:pt x="1937" y="17969"/>
                </a:cubicBezTo>
                <a:cubicBezTo>
                  <a:pt x="2031" y="17750"/>
                  <a:pt x="2156" y="17562"/>
                  <a:pt x="2250" y="17344"/>
                </a:cubicBezTo>
                <a:close/>
                <a:moveTo>
                  <a:pt x="4312" y="13719"/>
                </a:move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43" y="13719"/>
                </a:cubicBezTo>
                <a:cubicBezTo>
                  <a:pt x="4343" y="13719"/>
                  <a:pt x="4343" y="13719"/>
                  <a:pt x="4312" y="13719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50"/>
                </a:cubicBezTo>
                <a:cubicBezTo>
                  <a:pt x="4281" y="13750"/>
                  <a:pt x="4250" y="13781"/>
                  <a:pt x="4218" y="13813"/>
                </a:cubicBezTo>
                <a:cubicBezTo>
                  <a:pt x="4218" y="13813"/>
                  <a:pt x="4218" y="13844"/>
                  <a:pt x="4218" y="13844"/>
                </a:cubicBezTo>
                <a:cubicBezTo>
                  <a:pt x="4218" y="13844"/>
                  <a:pt x="4187" y="13844"/>
                  <a:pt x="4187" y="13844"/>
                </a:cubicBezTo>
                <a:cubicBezTo>
                  <a:pt x="4156" y="13875"/>
                  <a:pt x="4156" y="13875"/>
                  <a:pt x="4156" y="13906"/>
                </a:cubicBezTo>
                <a:cubicBezTo>
                  <a:pt x="4156" y="13906"/>
                  <a:pt x="4125" y="13906"/>
                  <a:pt x="4125" y="13938"/>
                </a:cubicBezTo>
                <a:cubicBezTo>
                  <a:pt x="4031" y="14000"/>
                  <a:pt x="3937" y="14094"/>
                  <a:pt x="3875" y="14188"/>
                </a:cubicBezTo>
                <a:cubicBezTo>
                  <a:pt x="3875" y="14219"/>
                  <a:pt x="3781" y="14250"/>
                  <a:pt x="3875" y="14281"/>
                </a:cubicBezTo>
                <a:cubicBezTo>
                  <a:pt x="3906" y="14281"/>
                  <a:pt x="3875" y="14281"/>
                  <a:pt x="3875" y="14313"/>
                </a:cubicBezTo>
                <a:cubicBezTo>
                  <a:pt x="3875" y="14313"/>
                  <a:pt x="3843" y="14313"/>
                  <a:pt x="3843" y="14313"/>
                </a:cubicBezTo>
                <a:cubicBezTo>
                  <a:pt x="3781" y="14250"/>
                  <a:pt x="3781" y="14313"/>
                  <a:pt x="3750" y="14344"/>
                </a:cubicBezTo>
                <a:cubicBezTo>
                  <a:pt x="3312" y="14875"/>
                  <a:pt x="2875" y="15469"/>
                  <a:pt x="2531" y="16063"/>
                </a:cubicBezTo>
                <a:cubicBezTo>
                  <a:pt x="2312" y="16406"/>
                  <a:pt x="2125" y="16719"/>
                  <a:pt x="1937" y="17062"/>
                </a:cubicBezTo>
                <a:cubicBezTo>
                  <a:pt x="1750" y="17406"/>
                  <a:pt x="1593" y="17750"/>
                  <a:pt x="1406" y="18094"/>
                </a:cubicBezTo>
                <a:cubicBezTo>
                  <a:pt x="1343" y="18187"/>
                  <a:pt x="1312" y="18312"/>
                  <a:pt x="1250" y="18437"/>
                </a:cubicBezTo>
                <a:cubicBezTo>
                  <a:pt x="1250" y="18437"/>
                  <a:pt x="1187" y="18500"/>
                  <a:pt x="1250" y="18500"/>
                </a:cubicBezTo>
                <a:cubicBezTo>
                  <a:pt x="1343" y="18500"/>
                  <a:pt x="1437" y="18500"/>
                  <a:pt x="1531" y="18500"/>
                </a:cubicBezTo>
                <a:cubicBezTo>
                  <a:pt x="1531" y="18500"/>
                  <a:pt x="1531" y="18469"/>
                  <a:pt x="1562" y="18469"/>
                </a:cubicBezTo>
                <a:cubicBezTo>
                  <a:pt x="1750" y="18031"/>
                  <a:pt x="1968" y="17625"/>
                  <a:pt x="2187" y="17219"/>
                </a:cubicBezTo>
                <a:cubicBezTo>
                  <a:pt x="2437" y="16781"/>
                  <a:pt x="2656" y="16375"/>
                  <a:pt x="2906" y="15969"/>
                </a:cubicBezTo>
                <a:lnTo>
                  <a:pt x="2906" y="15969"/>
                </a:lnTo>
                <a:cubicBezTo>
                  <a:pt x="3125" y="15656"/>
                  <a:pt x="3312" y="15344"/>
                  <a:pt x="3531" y="15063"/>
                </a:cubicBezTo>
                <a:cubicBezTo>
                  <a:pt x="3781" y="14719"/>
                  <a:pt x="4062" y="14406"/>
                  <a:pt x="4343" y="14094"/>
                </a:cubicBezTo>
                <a:cubicBezTo>
                  <a:pt x="4343" y="14063"/>
                  <a:pt x="4375" y="14063"/>
                  <a:pt x="4375" y="14031"/>
                </a:cubicBezTo>
                <a:cubicBezTo>
                  <a:pt x="4375" y="14031"/>
                  <a:pt x="4375" y="14031"/>
                  <a:pt x="4375" y="14031"/>
                </a:cubicBezTo>
                <a:cubicBezTo>
                  <a:pt x="4375" y="14031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375" y="14000"/>
                  <a:pt x="4375" y="14000"/>
                  <a:pt x="4375" y="14000"/>
                </a:cubicBezTo>
                <a:cubicBezTo>
                  <a:pt x="4406" y="14000"/>
                  <a:pt x="4437" y="14000"/>
                  <a:pt x="4437" y="13969"/>
                </a:cubicBezTo>
                <a:cubicBezTo>
                  <a:pt x="4437" y="13969"/>
                  <a:pt x="4437" y="13969"/>
                  <a:pt x="4437" y="13969"/>
                </a:cubicBezTo>
                <a:cubicBezTo>
                  <a:pt x="4437" y="13938"/>
                  <a:pt x="4437" y="13938"/>
                  <a:pt x="4437" y="13938"/>
                </a:cubicBezTo>
                <a:cubicBezTo>
                  <a:pt x="4500" y="13938"/>
                  <a:pt x="4531" y="13875"/>
                  <a:pt x="4593" y="13813"/>
                </a:cubicBezTo>
                <a:cubicBezTo>
                  <a:pt x="4625" y="13781"/>
                  <a:pt x="4562" y="13813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31" y="13781"/>
                  <a:pt x="4531" y="13781"/>
                </a:cubicBezTo>
                <a:cubicBezTo>
                  <a:pt x="4531" y="13781"/>
                  <a:pt x="4562" y="13750"/>
                  <a:pt x="4562" y="13750"/>
                </a:cubicBezTo>
                <a:cubicBezTo>
                  <a:pt x="4750" y="13563"/>
                  <a:pt x="4937" y="13406"/>
                  <a:pt x="5093" y="13219"/>
                </a:cubicBezTo>
                <a:cubicBezTo>
                  <a:pt x="5093" y="13188"/>
                  <a:pt x="5125" y="13188"/>
                  <a:pt x="5125" y="13156"/>
                </a:cubicBezTo>
                <a:cubicBezTo>
                  <a:pt x="5125" y="13156"/>
                  <a:pt x="5093" y="13156"/>
                  <a:pt x="5093" y="13156"/>
                </a:cubicBezTo>
                <a:cubicBezTo>
                  <a:pt x="4968" y="13250"/>
                  <a:pt x="4843" y="13375"/>
                  <a:pt x="4718" y="13500"/>
                </a:cubicBezTo>
                <a:cubicBezTo>
                  <a:pt x="4625" y="13563"/>
                  <a:pt x="4531" y="13656"/>
                  <a:pt x="4437" y="13750"/>
                </a:cubicBezTo>
                <a:cubicBezTo>
                  <a:pt x="4375" y="13813"/>
                  <a:pt x="4312" y="13875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906"/>
                  <a:pt x="4218" y="13906"/>
                  <a:pt x="4218" y="13906"/>
                </a:cubicBezTo>
                <a:cubicBezTo>
                  <a:pt x="4218" y="13875"/>
                  <a:pt x="4218" y="13875"/>
                  <a:pt x="4218" y="13844"/>
                </a:cubicBezTo>
                <a:cubicBezTo>
                  <a:pt x="4250" y="13844"/>
                  <a:pt x="4281" y="13813"/>
                  <a:pt x="4281" y="13813"/>
                </a:cubicBezTo>
                <a:cubicBezTo>
                  <a:pt x="4312" y="13781"/>
                  <a:pt x="4312" y="13750"/>
                  <a:pt x="4312" y="13750"/>
                </a:cubicBezTo>
                <a:lnTo>
                  <a:pt x="4312" y="13750"/>
                </a:lnTo>
                <a:cubicBezTo>
                  <a:pt x="4312" y="13750"/>
                  <a:pt x="4312" y="13750"/>
                  <a:pt x="4312" y="13750"/>
                </a:cubicBezTo>
                <a:cubicBezTo>
                  <a:pt x="4312" y="13750"/>
                  <a:pt x="4312" y="13750"/>
                  <a:pt x="4312" y="13719"/>
                </a:cubicBezTo>
                <a:close/>
                <a:moveTo>
                  <a:pt x="6531" y="13563"/>
                </a:moveTo>
                <a:lnTo>
                  <a:pt x="6531" y="13563"/>
                </a:lnTo>
                <a:lnTo>
                  <a:pt x="6531" y="13563"/>
                </a:lnTo>
                <a:close/>
                <a:moveTo>
                  <a:pt x="15875" y="15969"/>
                </a:move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ubicBezTo>
                  <a:pt x="15875" y="15969"/>
                  <a:pt x="15875" y="15969"/>
                  <a:pt x="15875" y="15969"/>
                </a:cubicBezTo>
                <a:close/>
                <a:moveTo>
                  <a:pt x="6875" y="14875"/>
                </a:moveTo>
                <a:cubicBezTo>
                  <a:pt x="6875" y="14875"/>
                  <a:pt x="6875" y="14875"/>
                  <a:pt x="6875" y="14875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906"/>
                  <a:pt x="6875" y="14906"/>
                </a:cubicBezTo>
                <a:cubicBezTo>
                  <a:pt x="6875" y="14906"/>
                  <a:pt x="6875" y="14875"/>
                  <a:pt x="6875" y="14875"/>
                </a:cubicBezTo>
                <a:close/>
                <a:moveTo>
                  <a:pt x="11281" y="12469"/>
                </a:move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469"/>
                  <a:pt x="11281" y="12469"/>
                </a:cubicBezTo>
                <a:cubicBezTo>
                  <a:pt x="11281" y="12469"/>
                  <a:pt x="11281" y="12500"/>
                  <a:pt x="11281" y="12500"/>
                </a:cubicBezTo>
                <a:cubicBezTo>
                  <a:pt x="11312" y="12469"/>
                  <a:pt x="11312" y="12469"/>
                  <a:pt x="11281" y="12469"/>
                </a:cubicBezTo>
                <a:close/>
                <a:moveTo>
                  <a:pt x="13781" y="14188"/>
                </a:move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781" y="14188"/>
                </a:cubicBezTo>
                <a:cubicBezTo>
                  <a:pt x="13781" y="14188"/>
                  <a:pt x="13781" y="14188"/>
                  <a:pt x="13812" y="14188"/>
                </a:cubicBezTo>
                <a:cubicBezTo>
                  <a:pt x="13781" y="14188"/>
                  <a:pt x="13781" y="14156"/>
                  <a:pt x="13781" y="14188"/>
                </a:cubicBezTo>
                <a:close/>
                <a:moveTo>
                  <a:pt x="13968" y="14281"/>
                </a:moveTo>
                <a:cubicBezTo>
                  <a:pt x="13968" y="14250"/>
                  <a:pt x="13968" y="14250"/>
                  <a:pt x="13968" y="14250"/>
                </a:cubicBezTo>
                <a:cubicBezTo>
                  <a:pt x="13937" y="14219"/>
                  <a:pt x="13906" y="14219"/>
                  <a:pt x="13875" y="14219"/>
                </a:cubicBezTo>
                <a:cubicBezTo>
                  <a:pt x="13875" y="14219"/>
                  <a:pt x="13875" y="14219"/>
                  <a:pt x="13875" y="14219"/>
                </a:cubicBezTo>
                <a:cubicBezTo>
                  <a:pt x="13843" y="14219"/>
                  <a:pt x="13843" y="14188"/>
                  <a:pt x="13843" y="14219"/>
                </a:cubicBezTo>
                <a:cubicBezTo>
                  <a:pt x="13812" y="14219"/>
                  <a:pt x="13812" y="14219"/>
                  <a:pt x="13812" y="14219"/>
                </a:cubicBezTo>
                <a:cubicBezTo>
                  <a:pt x="13843" y="14219"/>
                  <a:pt x="13843" y="14219"/>
                  <a:pt x="13875" y="14219"/>
                </a:cubicBezTo>
                <a:cubicBezTo>
                  <a:pt x="13875" y="14281"/>
                  <a:pt x="13906" y="14281"/>
                  <a:pt x="13968" y="14281"/>
                </a:cubicBezTo>
                <a:close/>
                <a:moveTo>
                  <a:pt x="15906" y="16000"/>
                </a:moveTo>
                <a:cubicBezTo>
                  <a:pt x="15906" y="16000"/>
                  <a:pt x="15906" y="16000"/>
                  <a:pt x="15906" y="16031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06" y="16000"/>
                  <a:pt x="15906" y="16000"/>
                  <a:pt x="15906" y="16000"/>
                </a:cubicBezTo>
                <a:cubicBezTo>
                  <a:pt x="15937" y="16000"/>
                  <a:pt x="15937" y="16000"/>
                  <a:pt x="15968" y="16000"/>
                </a:cubicBezTo>
                <a:cubicBezTo>
                  <a:pt x="15968" y="16063"/>
                  <a:pt x="15968" y="16063"/>
                  <a:pt x="16000" y="16063"/>
                </a:cubicBezTo>
                <a:cubicBezTo>
                  <a:pt x="16031" y="16063"/>
                  <a:pt x="16031" y="16063"/>
                  <a:pt x="16062" y="16063"/>
                </a:cubicBezTo>
                <a:cubicBezTo>
                  <a:pt x="16062" y="16063"/>
                  <a:pt x="16062" y="16063"/>
                  <a:pt x="16062" y="16063"/>
                </a:cubicBezTo>
                <a:cubicBezTo>
                  <a:pt x="16031" y="16031"/>
                  <a:pt x="16031" y="16031"/>
                  <a:pt x="16031" y="16031"/>
                </a:cubicBezTo>
                <a:cubicBezTo>
                  <a:pt x="16031" y="16031"/>
                  <a:pt x="16000" y="16031"/>
                  <a:pt x="16000" y="16000"/>
                </a:cubicBezTo>
                <a:cubicBezTo>
                  <a:pt x="16000" y="16000"/>
                  <a:pt x="15968" y="16000"/>
                  <a:pt x="15968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37" y="16000"/>
                  <a:pt x="15937" y="16000"/>
                  <a:pt x="15937" y="16000"/>
                </a:cubicBezTo>
                <a:cubicBezTo>
                  <a:pt x="15906" y="16000"/>
                  <a:pt x="15906" y="16000"/>
                  <a:pt x="15906" y="16000"/>
                </a:cubicBezTo>
                <a:close/>
                <a:moveTo>
                  <a:pt x="6562" y="13531"/>
                </a:moveTo>
                <a:cubicBezTo>
                  <a:pt x="6562" y="13531"/>
                  <a:pt x="6562" y="13531"/>
                  <a:pt x="6593" y="13531"/>
                </a:cubicBezTo>
                <a:cubicBezTo>
                  <a:pt x="6593" y="13531"/>
                  <a:pt x="6593" y="13531"/>
                  <a:pt x="6593" y="13531"/>
                </a:cubicBezTo>
                <a:cubicBezTo>
                  <a:pt x="6593" y="13531"/>
                  <a:pt x="6562" y="13531"/>
                  <a:pt x="6562" y="13531"/>
                </a:cubicBezTo>
                <a:cubicBezTo>
                  <a:pt x="6562" y="13531"/>
                  <a:pt x="6562" y="13531"/>
                  <a:pt x="6562" y="13531"/>
                </a:cubicBezTo>
                <a:close/>
                <a:moveTo>
                  <a:pt x="23812" y="9094"/>
                </a:moveTo>
                <a:cubicBezTo>
                  <a:pt x="23812" y="9063"/>
                  <a:pt x="23843" y="9063"/>
                  <a:pt x="23843" y="9063"/>
                </a:cubicBezTo>
                <a:cubicBezTo>
                  <a:pt x="23843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63"/>
                </a:cubicBezTo>
                <a:cubicBezTo>
                  <a:pt x="23812" y="9063"/>
                  <a:pt x="23812" y="9063"/>
                  <a:pt x="23812" y="9094"/>
                </a:cubicBezTo>
                <a:close/>
                <a:moveTo>
                  <a:pt x="7437" y="12906"/>
                </a:moveTo>
                <a:cubicBezTo>
                  <a:pt x="7437" y="12906"/>
                  <a:pt x="7437" y="12938"/>
                  <a:pt x="7437" y="12906"/>
                </a:cubicBezTo>
                <a:cubicBezTo>
                  <a:pt x="7437" y="12906"/>
                  <a:pt x="7437" y="12906"/>
                  <a:pt x="7468" y="12906"/>
                </a:cubicBezTo>
                <a:cubicBezTo>
                  <a:pt x="7437" y="12906"/>
                  <a:pt x="7437" y="12906"/>
                  <a:pt x="7437" y="12906"/>
                </a:cubicBezTo>
                <a:cubicBezTo>
                  <a:pt x="7437" y="12906"/>
                  <a:pt x="7437" y="12906"/>
                  <a:pt x="7437" y="12906"/>
                </a:cubicBezTo>
                <a:close/>
                <a:moveTo>
                  <a:pt x="6906" y="14844"/>
                </a:moveTo>
                <a:cubicBezTo>
                  <a:pt x="6906" y="14844"/>
                  <a:pt x="6906" y="14875"/>
                  <a:pt x="6906" y="14875"/>
                </a:cubicBezTo>
                <a:cubicBezTo>
                  <a:pt x="6906" y="14875"/>
                  <a:pt x="6906" y="14875"/>
                  <a:pt x="6906" y="14875"/>
                </a:cubicBezTo>
                <a:cubicBezTo>
                  <a:pt x="6906" y="14844"/>
                  <a:pt x="6906" y="14844"/>
                  <a:pt x="6906" y="14844"/>
                </a:cubicBezTo>
                <a:cubicBezTo>
                  <a:pt x="6906" y="14844"/>
                  <a:pt x="6906" y="14844"/>
                  <a:pt x="6906" y="14844"/>
                </a:cubicBezTo>
                <a:close/>
                <a:moveTo>
                  <a:pt x="15781" y="15938"/>
                </a:move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812" y="15938"/>
                  <a:pt x="15812" y="15969"/>
                </a:cubicBezTo>
                <a:cubicBezTo>
                  <a:pt x="15812" y="15938"/>
                  <a:pt x="15812" y="15938"/>
                  <a:pt x="15812" y="15938"/>
                </a:cubicBezTo>
                <a:cubicBezTo>
                  <a:pt x="15812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ubicBezTo>
                  <a:pt x="15781" y="15938"/>
                  <a:pt x="15781" y="15906"/>
                  <a:pt x="15750" y="15906"/>
                </a:cubicBezTo>
                <a:cubicBezTo>
                  <a:pt x="15750" y="15906"/>
                  <a:pt x="15750" y="15906"/>
                  <a:pt x="15750" y="15906"/>
                </a:cubicBezTo>
                <a:cubicBezTo>
                  <a:pt x="15750" y="15938"/>
                  <a:pt x="15750" y="15938"/>
                  <a:pt x="15750" y="15938"/>
                </a:cubicBezTo>
                <a:cubicBezTo>
                  <a:pt x="15750" y="15938"/>
                  <a:pt x="15781" y="15938"/>
                  <a:pt x="15781" y="15938"/>
                </a:cubicBezTo>
                <a:cubicBezTo>
                  <a:pt x="15781" y="15938"/>
                  <a:pt x="15781" y="15938"/>
                  <a:pt x="15781" y="15938"/>
                </a:cubicBezTo>
                <a:close/>
                <a:moveTo>
                  <a:pt x="24156" y="8469"/>
                </a:moveTo>
                <a:cubicBezTo>
                  <a:pt x="24156" y="8469"/>
                  <a:pt x="24187" y="8438"/>
                  <a:pt x="24187" y="8438"/>
                </a:cubicBezTo>
                <a:cubicBezTo>
                  <a:pt x="24187" y="8438"/>
                  <a:pt x="24187" y="8438"/>
                  <a:pt x="24156" y="8438"/>
                </a:cubicBezTo>
                <a:cubicBezTo>
                  <a:pt x="24156" y="8438"/>
                  <a:pt x="24156" y="8438"/>
                  <a:pt x="24156" y="8438"/>
                </a:cubicBezTo>
                <a:cubicBezTo>
                  <a:pt x="24156" y="8438"/>
                  <a:pt x="24156" y="8469"/>
                  <a:pt x="24156" y="8469"/>
                </a:cubicBezTo>
                <a:close/>
                <a:moveTo>
                  <a:pt x="22000" y="2375"/>
                </a:move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44"/>
                </a:cubicBezTo>
                <a:cubicBezTo>
                  <a:pt x="22000" y="2375"/>
                  <a:pt x="22000" y="2375"/>
                  <a:pt x="22000" y="2375"/>
                </a:cubicBezTo>
                <a:cubicBezTo>
                  <a:pt x="22000" y="2375"/>
                  <a:pt x="22000" y="2375"/>
                  <a:pt x="22000" y="2375"/>
                </a:cubicBezTo>
                <a:close/>
                <a:moveTo>
                  <a:pt x="10781" y="12063"/>
                </a:moveTo>
                <a:cubicBezTo>
                  <a:pt x="10812" y="12094"/>
                  <a:pt x="10812" y="12094"/>
                  <a:pt x="10843" y="12063"/>
                </a:cubicBezTo>
                <a:cubicBezTo>
                  <a:pt x="10843" y="12063"/>
                  <a:pt x="10812" y="12063"/>
                  <a:pt x="10781" y="12063"/>
                </a:cubicBezTo>
                <a:close/>
                <a:moveTo>
                  <a:pt x="6437" y="13594"/>
                </a:moveTo>
                <a:cubicBezTo>
                  <a:pt x="6437" y="13625"/>
                  <a:pt x="6437" y="13625"/>
                  <a:pt x="6468" y="13625"/>
                </a:cubicBezTo>
                <a:cubicBezTo>
                  <a:pt x="6468" y="13625"/>
                  <a:pt x="6500" y="13625"/>
                  <a:pt x="6500" y="13594"/>
                </a:cubicBezTo>
                <a:cubicBezTo>
                  <a:pt x="6500" y="13594"/>
                  <a:pt x="6468" y="13563"/>
                  <a:pt x="6468" y="13594"/>
                </a:cubicBezTo>
                <a:cubicBezTo>
                  <a:pt x="6468" y="13594"/>
                  <a:pt x="6437" y="13594"/>
                  <a:pt x="6437" y="13594"/>
                </a:cubicBezTo>
                <a:close/>
                <a:moveTo>
                  <a:pt x="22406" y="6406"/>
                </a:moveTo>
                <a:cubicBezTo>
                  <a:pt x="22406" y="6375"/>
                  <a:pt x="22406" y="6344"/>
                  <a:pt x="22375" y="6344"/>
                </a:cubicBezTo>
                <a:cubicBezTo>
                  <a:pt x="22375" y="6375"/>
                  <a:pt x="22375" y="6406"/>
                  <a:pt x="22406" y="6406"/>
                </a:cubicBezTo>
                <a:close/>
                <a:moveTo>
                  <a:pt x="21593" y="4156"/>
                </a:moveTo>
                <a:cubicBezTo>
                  <a:pt x="21625" y="4063"/>
                  <a:pt x="21593" y="4031"/>
                  <a:pt x="21562" y="3969"/>
                </a:cubicBezTo>
                <a:cubicBezTo>
                  <a:pt x="21562" y="4063"/>
                  <a:pt x="21593" y="4094"/>
                  <a:pt x="21593" y="4156"/>
                </a:cubicBezTo>
                <a:close/>
                <a:moveTo>
                  <a:pt x="15656" y="15688"/>
                </a:moveTo>
                <a:cubicBezTo>
                  <a:pt x="15625" y="15625"/>
                  <a:pt x="15593" y="15625"/>
                  <a:pt x="15531" y="15625"/>
                </a:cubicBezTo>
                <a:cubicBezTo>
                  <a:pt x="15562" y="15656"/>
                  <a:pt x="15593" y="15688"/>
                  <a:pt x="15656" y="15688"/>
                </a:cubicBezTo>
                <a:close/>
                <a:moveTo>
                  <a:pt x="6781" y="15219"/>
                </a:moveTo>
                <a:cubicBezTo>
                  <a:pt x="6781" y="15219"/>
                  <a:pt x="6781" y="15250"/>
                  <a:pt x="6750" y="15281"/>
                </a:cubicBezTo>
                <a:cubicBezTo>
                  <a:pt x="6781" y="15281"/>
                  <a:pt x="6812" y="15281"/>
                  <a:pt x="6812" y="15281"/>
                </a:cubicBezTo>
                <a:cubicBezTo>
                  <a:pt x="6843" y="15250"/>
                  <a:pt x="6875" y="15219"/>
                  <a:pt x="6906" y="15188"/>
                </a:cubicBezTo>
                <a:cubicBezTo>
                  <a:pt x="6906" y="15188"/>
                  <a:pt x="6906" y="15156"/>
                  <a:pt x="6906" y="15156"/>
                </a:cubicBezTo>
                <a:cubicBezTo>
                  <a:pt x="6843" y="15156"/>
                  <a:pt x="6812" y="15188"/>
                  <a:pt x="6781" y="15219"/>
                </a:cubicBezTo>
                <a:close/>
                <a:moveTo>
                  <a:pt x="22468" y="6563"/>
                </a:moveTo>
                <a:cubicBezTo>
                  <a:pt x="22468" y="6656"/>
                  <a:pt x="22468" y="6688"/>
                  <a:pt x="22531" y="6781"/>
                </a:cubicBezTo>
                <a:cubicBezTo>
                  <a:pt x="22531" y="6875"/>
                  <a:pt x="22562" y="6906"/>
                  <a:pt x="22593" y="6938"/>
                </a:cubicBezTo>
                <a:cubicBezTo>
                  <a:pt x="22656" y="7094"/>
                  <a:pt x="22687" y="7250"/>
                  <a:pt x="22750" y="7406"/>
                </a:cubicBezTo>
                <a:lnTo>
                  <a:pt x="22750" y="7406"/>
                </a:lnTo>
                <a:cubicBezTo>
                  <a:pt x="22781" y="7500"/>
                  <a:pt x="22812" y="7594"/>
                  <a:pt x="22843" y="7656"/>
                </a:cubicBezTo>
                <a:cubicBezTo>
                  <a:pt x="22843" y="7688"/>
                  <a:pt x="22843" y="7719"/>
                  <a:pt x="22875" y="7719"/>
                </a:cubicBezTo>
                <a:cubicBezTo>
                  <a:pt x="23000" y="8125"/>
                  <a:pt x="23125" y="8500"/>
                  <a:pt x="23250" y="8906"/>
                </a:cubicBezTo>
                <a:cubicBezTo>
                  <a:pt x="23281" y="9031"/>
                  <a:pt x="23343" y="9188"/>
                  <a:pt x="23375" y="9344"/>
                </a:cubicBezTo>
                <a:cubicBezTo>
                  <a:pt x="23406" y="9531"/>
                  <a:pt x="23500" y="9750"/>
                  <a:pt x="23468" y="9969"/>
                </a:cubicBezTo>
                <a:cubicBezTo>
                  <a:pt x="23468" y="9969"/>
                  <a:pt x="23468" y="10000"/>
                  <a:pt x="23500" y="10031"/>
                </a:cubicBezTo>
                <a:cubicBezTo>
                  <a:pt x="23500" y="10063"/>
                  <a:pt x="23500" y="10125"/>
                  <a:pt x="23531" y="10188"/>
                </a:cubicBezTo>
                <a:cubicBezTo>
                  <a:pt x="23531" y="10219"/>
                  <a:pt x="23531" y="10250"/>
                  <a:pt x="23531" y="10250"/>
                </a:cubicBezTo>
                <a:cubicBezTo>
                  <a:pt x="23531" y="10281"/>
                  <a:pt x="23500" y="10281"/>
                  <a:pt x="23500" y="10281"/>
                </a:cubicBezTo>
                <a:cubicBezTo>
                  <a:pt x="23468" y="10188"/>
                  <a:pt x="23468" y="10094"/>
                  <a:pt x="23437" y="10031"/>
                </a:cubicBezTo>
                <a:cubicBezTo>
                  <a:pt x="23437" y="10000"/>
                  <a:pt x="23437" y="9938"/>
                  <a:pt x="23406" y="9938"/>
                </a:cubicBezTo>
                <a:cubicBezTo>
                  <a:pt x="23312" y="9906"/>
                  <a:pt x="23312" y="9813"/>
                  <a:pt x="23281" y="9719"/>
                </a:cubicBezTo>
                <a:cubicBezTo>
                  <a:pt x="23250" y="9625"/>
                  <a:pt x="23250" y="9500"/>
                  <a:pt x="23187" y="9406"/>
                </a:cubicBezTo>
                <a:cubicBezTo>
                  <a:pt x="23156" y="9344"/>
                  <a:pt x="23125" y="9313"/>
                  <a:pt x="23125" y="9250"/>
                </a:cubicBezTo>
                <a:cubicBezTo>
                  <a:pt x="23093" y="9188"/>
                  <a:pt x="23062" y="9094"/>
                  <a:pt x="23031" y="9031"/>
                </a:cubicBezTo>
                <a:cubicBezTo>
                  <a:pt x="22937" y="8750"/>
                  <a:pt x="22843" y="8469"/>
                  <a:pt x="22750" y="8188"/>
                </a:cubicBezTo>
                <a:cubicBezTo>
                  <a:pt x="22656" y="7906"/>
                  <a:pt x="22562" y="7625"/>
                  <a:pt x="22437" y="7344"/>
                </a:cubicBezTo>
                <a:cubicBezTo>
                  <a:pt x="22343" y="7094"/>
                  <a:pt x="22281" y="6813"/>
                  <a:pt x="22156" y="6531"/>
                </a:cubicBezTo>
                <a:cubicBezTo>
                  <a:pt x="22062" y="6313"/>
                  <a:pt x="22000" y="6063"/>
                  <a:pt x="21906" y="5844"/>
                </a:cubicBezTo>
                <a:cubicBezTo>
                  <a:pt x="21750" y="5313"/>
                  <a:pt x="21562" y="4813"/>
                  <a:pt x="21437" y="4281"/>
                </a:cubicBezTo>
                <a:cubicBezTo>
                  <a:pt x="21343" y="3906"/>
                  <a:pt x="21312" y="3563"/>
                  <a:pt x="21281" y="3188"/>
                </a:cubicBezTo>
                <a:cubicBezTo>
                  <a:pt x="21312" y="3219"/>
                  <a:pt x="21281" y="3281"/>
                  <a:pt x="21343" y="3281"/>
                </a:cubicBezTo>
                <a:cubicBezTo>
                  <a:pt x="21343" y="3188"/>
                  <a:pt x="21312" y="3125"/>
                  <a:pt x="21281" y="3031"/>
                </a:cubicBezTo>
                <a:cubicBezTo>
                  <a:pt x="21312" y="3125"/>
                  <a:pt x="21343" y="3188"/>
                  <a:pt x="21343" y="3281"/>
                </a:cubicBezTo>
                <a:cubicBezTo>
                  <a:pt x="21343" y="3281"/>
                  <a:pt x="21343" y="3313"/>
                  <a:pt x="21343" y="3313"/>
                </a:cubicBezTo>
                <a:cubicBezTo>
                  <a:pt x="21343" y="3344"/>
                  <a:pt x="21343" y="3375"/>
                  <a:pt x="21343" y="3375"/>
                </a:cubicBezTo>
                <a:cubicBezTo>
                  <a:pt x="21375" y="3531"/>
                  <a:pt x="21437" y="3656"/>
                  <a:pt x="21500" y="3781"/>
                </a:cubicBezTo>
                <a:cubicBezTo>
                  <a:pt x="21500" y="3844"/>
                  <a:pt x="21500" y="3906"/>
                  <a:pt x="21531" y="3969"/>
                </a:cubicBezTo>
                <a:cubicBezTo>
                  <a:pt x="21562" y="3938"/>
                  <a:pt x="21562" y="3906"/>
                  <a:pt x="21562" y="3875"/>
                </a:cubicBezTo>
                <a:cubicBezTo>
                  <a:pt x="21500" y="3719"/>
                  <a:pt x="21437" y="3531"/>
                  <a:pt x="21437" y="3344"/>
                </a:cubicBezTo>
                <a:cubicBezTo>
                  <a:pt x="21437" y="3313"/>
                  <a:pt x="21406" y="3344"/>
                  <a:pt x="21406" y="3313"/>
                </a:cubicBezTo>
                <a:cubicBezTo>
                  <a:pt x="21406" y="3156"/>
                  <a:pt x="21375" y="3000"/>
                  <a:pt x="21343" y="2844"/>
                </a:cubicBezTo>
                <a:cubicBezTo>
                  <a:pt x="21281" y="2875"/>
                  <a:pt x="21250" y="2813"/>
                  <a:pt x="21187" y="2813"/>
                </a:cubicBezTo>
                <a:cubicBezTo>
                  <a:pt x="21187" y="2781"/>
                  <a:pt x="21187" y="2750"/>
                  <a:pt x="21156" y="2719"/>
                </a:cubicBezTo>
                <a:cubicBezTo>
                  <a:pt x="21156" y="2656"/>
                  <a:pt x="21156" y="2563"/>
                  <a:pt x="21187" y="2469"/>
                </a:cubicBezTo>
                <a:cubicBezTo>
                  <a:pt x="21187" y="2531"/>
                  <a:pt x="21218" y="2594"/>
                  <a:pt x="21250" y="2625"/>
                </a:cubicBezTo>
                <a:cubicBezTo>
                  <a:pt x="21250" y="2688"/>
                  <a:pt x="21250" y="2719"/>
                  <a:pt x="21312" y="2750"/>
                </a:cubicBezTo>
                <a:cubicBezTo>
                  <a:pt x="21312" y="2688"/>
                  <a:pt x="21343" y="2656"/>
                  <a:pt x="21250" y="2625"/>
                </a:cubicBezTo>
                <a:cubicBezTo>
                  <a:pt x="21250" y="2594"/>
                  <a:pt x="21250" y="2563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281" y="2531"/>
                  <a:pt x="21281" y="2531"/>
                  <a:pt x="21281" y="2531"/>
                </a:cubicBezTo>
                <a:cubicBezTo>
                  <a:pt x="21312" y="2531"/>
                  <a:pt x="21312" y="2531"/>
                  <a:pt x="21343" y="2531"/>
                </a:cubicBezTo>
                <a:cubicBezTo>
                  <a:pt x="21343" y="2531"/>
                  <a:pt x="21343" y="2563"/>
                  <a:pt x="21375" y="2563"/>
                </a:cubicBezTo>
                <a:cubicBezTo>
                  <a:pt x="21375" y="2563"/>
                  <a:pt x="21406" y="2563"/>
                  <a:pt x="21437" y="2563"/>
                </a:cubicBezTo>
                <a:cubicBezTo>
                  <a:pt x="21437" y="2563"/>
                  <a:pt x="21468" y="2594"/>
                  <a:pt x="21500" y="2594"/>
                </a:cubicBezTo>
                <a:cubicBezTo>
                  <a:pt x="21562" y="2594"/>
                  <a:pt x="21562" y="2625"/>
                  <a:pt x="21531" y="2688"/>
                </a:cubicBezTo>
                <a:cubicBezTo>
                  <a:pt x="21500" y="2688"/>
                  <a:pt x="21500" y="2688"/>
                  <a:pt x="21468" y="2688"/>
                </a:cubicBezTo>
                <a:cubicBezTo>
                  <a:pt x="21468" y="2688"/>
                  <a:pt x="21468" y="2688"/>
                  <a:pt x="21468" y="2688"/>
                </a:cubicBezTo>
                <a:cubicBezTo>
                  <a:pt x="21468" y="2688"/>
                  <a:pt x="21468" y="2688"/>
                  <a:pt x="21437" y="2688"/>
                </a:cubicBezTo>
                <a:cubicBezTo>
                  <a:pt x="21437" y="2656"/>
                  <a:pt x="21406" y="2656"/>
                  <a:pt x="21375" y="2656"/>
                </a:cubicBezTo>
                <a:cubicBezTo>
                  <a:pt x="21312" y="2656"/>
                  <a:pt x="21343" y="2688"/>
                  <a:pt x="21343" y="2688"/>
                </a:cubicBezTo>
                <a:cubicBezTo>
                  <a:pt x="21343" y="2750"/>
                  <a:pt x="21375" y="2844"/>
                  <a:pt x="21406" y="2906"/>
                </a:cubicBezTo>
                <a:cubicBezTo>
                  <a:pt x="21406" y="2906"/>
                  <a:pt x="21375" y="2938"/>
                  <a:pt x="21406" y="2938"/>
                </a:cubicBezTo>
                <a:cubicBezTo>
                  <a:pt x="21437" y="3094"/>
                  <a:pt x="21468" y="3281"/>
                  <a:pt x="21531" y="3438"/>
                </a:cubicBezTo>
                <a:cubicBezTo>
                  <a:pt x="21531" y="3438"/>
                  <a:pt x="21531" y="3500"/>
                  <a:pt x="21562" y="3500"/>
                </a:cubicBezTo>
                <a:cubicBezTo>
                  <a:pt x="21593" y="3594"/>
                  <a:pt x="21625" y="3688"/>
                  <a:pt x="21656" y="3781"/>
                </a:cubicBezTo>
                <a:lnTo>
                  <a:pt x="21656" y="3781"/>
                </a:lnTo>
                <a:cubicBezTo>
                  <a:pt x="21781" y="4188"/>
                  <a:pt x="21937" y="4563"/>
                  <a:pt x="22062" y="4969"/>
                </a:cubicBezTo>
                <a:cubicBezTo>
                  <a:pt x="22187" y="5281"/>
                  <a:pt x="22312" y="5594"/>
                  <a:pt x="22437" y="5938"/>
                </a:cubicBezTo>
                <a:cubicBezTo>
                  <a:pt x="22468" y="6031"/>
                  <a:pt x="22500" y="6094"/>
                  <a:pt x="22531" y="6188"/>
                </a:cubicBezTo>
                <a:cubicBezTo>
                  <a:pt x="22562" y="6313"/>
                  <a:pt x="22625" y="6438"/>
                  <a:pt x="22656" y="6531"/>
                </a:cubicBezTo>
                <a:cubicBezTo>
                  <a:pt x="22656" y="6563"/>
                  <a:pt x="22687" y="6563"/>
                  <a:pt x="22687" y="6563"/>
                </a:cubicBezTo>
                <a:cubicBezTo>
                  <a:pt x="22718" y="6563"/>
                  <a:pt x="22750" y="6594"/>
                  <a:pt x="22750" y="6625"/>
                </a:cubicBezTo>
                <a:cubicBezTo>
                  <a:pt x="22750" y="6656"/>
                  <a:pt x="22718" y="6688"/>
                  <a:pt x="22750" y="6719"/>
                </a:cubicBezTo>
                <a:cubicBezTo>
                  <a:pt x="22781" y="6750"/>
                  <a:pt x="22781" y="6781"/>
                  <a:pt x="22812" y="6813"/>
                </a:cubicBezTo>
                <a:cubicBezTo>
                  <a:pt x="22781" y="6781"/>
                  <a:pt x="22781" y="6750"/>
                  <a:pt x="22750" y="6719"/>
                </a:cubicBezTo>
                <a:cubicBezTo>
                  <a:pt x="22718" y="6750"/>
                  <a:pt x="22750" y="6813"/>
                  <a:pt x="22750" y="6844"/>
                </a:cubicBezTo>
                <a:cubicBezTo>
                  <a:pt x="22875" y="7094"/>
                  <a:pt x="22968" y="7375"/>
                  <a:pt x="23062" y="7625"/>
                </a:cubicBezTo>
                <a:cubicBezTo>
                  <a:pt x="23218" y="8125"/>
                  <a:pt x="23406" y="8594"/>
                  <a:pt x="23531" y="9094"/>
                </a:cubicBezTo>
                <a:cubicBezTo>
                  <a:pt x="23500" y="9063"/>
                  <a:pt x="23468" y="9063"/>
                  <a:pt x="23437" y="9031"/>
                </a:cubicBezTo>
                <a:cubicBezTo>
                  <a:pt x="23468" y="9156"/>
                  <a:pt x="23531" y="9281"/>
                  <a:pt x="23562" y="9375"/>
                </a:cubicBezTo>
                <a:cubicBezTo>
                  <a:pt x="23593" y="9625"/>
                  <a:pt x="23656" y="9844"/>
                  <a:pt x="23718" y="10063"/>
                </a:cubicBezTo>
                <a:cubicBezTo>
                  <a:pt x="23687" y="10063"/>
                  <a:pt x="23687" y="10031"/>
                  <a:pt x="23656" y="10063"/>
                </a:cubicBezTo>
                <a:cubicBezTo>
                  <a:pt x="23625" y="10031"/>
                  <a:pt x="23625" y="10000"/>
                  <a:pt x="23625" y="9969"/>
                </a:cubicBezTo>
                <a:cubicBezTo>
                  <a:pt x="23625" y="10031"/>
                  <a:pt x="23625" y="10094"/>
                  <a:pt x="23625" y="10125"/>
                </a:cubicBezTo>
                <a:cubicBezTo>
                  <a:pt x="23593" y="10000"/>
                  <a:pt x="23531" y="9844"/>
                  <a:pt x="23500" y="9719"/>
                </a:cubicBezTo>
                <a:cubicBezTo>
                  <a:pt x="23437" y="9406"/>
                  <a:pt x="23343" y="9094"/>
                  <a:pt x="23250" y="8781"/>
                </a:cubicBezTo>
                <a:cubicBezTo>
                  <a:pt x="23187" y="8563"/>
                  <a:pt x="23093" y="8313"/>
                  <a:pt x="23031" y="8063"/>
                </a:cubicBezTo>
                <a:cubicBezTo>
                  <a:pt x="23000" y="8031"/>
                  <a:pt x="22968" y="7969"/>
                  <a:pt x="22968" y="7906"/>
                </a:cubicBezTo>
                <a:cubicBezTo>
                  <a:pt x="22937" y="7844"/>
                  <a:pt x="22906" y="7750"/>
                  <a:pt x="22843" y="7656"/>
                </a:cubicBezTo>
                <a:cubicBezTo>
                  <a:pt x="22843" y="7656"/>
                  <a:pt x="22843" y="7625"/>
                  <a:pt x="22843" y="7594"/>
                </a:cubicBezTo>
                <a:cubicBezTo>
                  <a:pt x="22843" y="7594"/>
                  <a:pt x="22843" y="7563"/>
                  <a:pt x="22843" y="7531"/>
                </a:cubicBezTo>
                <a:cubicBezTo>
                  <a:pt x="22750" y="7344"/>
                  <a:pt x="22718" y="7188"/>
                  <a:pt x="22625" y="7000"/>
                </a:cubicBezTo>
                <a:cubicBezTo>
                  <a:pt x="22593" y="6938"/>
                  <a:pt x="22593" y="6844"/>
                  <a:pt x="22531" y="6781"/>
                </a:cubicBezTo>
                <a:cubicBezTo>
                  <a:pt x="22531" y="6688"/>
                  <a:pt x="22500" y="6625"/>
                  <a:pt x="22468" y="6563"/>
                </a:cubicBezTo>
                <a:close/>
                <a:moveTo>
                  <a:pt x="7125" y="15000"/>
                </a:moveTo>
                <a:cubicBezTo>
                  <a:pt x="7062" y="15000"/>
                  <a:pt x="7031" y="15031"/>
                  <a:pt x="7000" y="15063"/>
                </a:cubicBezTo>
                <a:cubicBezTo>
                  <a:pt x="6968" y="15094"/>
                  <a:pt x="7000" y="15094"/>
                  <a:pt x="7031" y="15094"/>
                </a:cubicBezTo>
                <a:cubicBezTo>
                  <a:pt x="7093" y="15094"/>
                  <a:pt x="7125" y="15063"/>
                  <a:pt x="7125" y="15000"/>
                </a:cubicBezTo>
                <a:cubicBezTo>
                  <a:pt x="7156" y="15000"/>
                  <a:pt x="7125" y="14969"/>
                  <a:pt x="7125" y="15000"/>
                </a:cubicBezTo>
                <a:close/>
                <a:moveTo>
                  <a:pt x="22375" y="6281"/>
                </a:moveTo>
                <a:cubicBezTo>
                  <a:pt x="22312" y="6156"/>
                  <a:pt x="22281" y="6031"/>
                  <a:pt x="22218" y="5906"/>
                </a:cubicBezTo>
                <a:cubicBezTo>
                  <a:pt x="22250" y="6031"/>
                  <a:pt x="22281" y="6188"/>
                  <a:pt x="22343" y="6313"/>
                </a:cubicBezTo>
                <a:cubicBezTo>
                  <a:pt x="22343" y="6313"/>
                  <a:pt x="22375" y="6313"/>
                  <a:pt x="22375" y="6281"/>
                </a:cubicBezTo>
                <a:close/>
                <a:moveTo>
                  <a:pt x="7531" y="14719"/>
                </a:moveTo>
                <a:cubicBezTo>
                  <a:pt x="7531" y="14719"/>
                  <a:pt x="7500" y="14719"/>
                  <a:pt x="7468" y="14719"/>
                </a:cubicBezTo>
                <a:cubicBezTo>
                  <a:pt x="7406" y="14781"/>
                  <a:pt x="7343" y="14813"/>
                  <a:pt x="7250" y="14875"/>
                </a:cubicBezTo>
                <a:cubicBezTo>
                  <a:pt x="7250" y="14875"/>
                  <a:pt x="7218" y="14906"/>
                  <a:pt x="7218" y="14906"/>
                </a:cubicBezTo>
                <a:cubicBezTo>
                  <a:pt x="7250" y="14938"/>
                  <a:pt x="7250" y="14938"/>
                  <a:pt x="7281" y="14938"/>
                </a:cubicBezTo>
                <a:cubicBezTo>
                  <a:pt x="7312" y="14938"/>
                  <a:pt x="7343" y="14938"/>
                  <a:pt x="7343" y="14906"/>
                </a:cubicBezTo>
                <a:cubicBezTo>
                  <a:pt x="7375" y="14844"/>
                  <a:pt x="7437" y="14813"/>
                  <a:pt x="7500" y="14781"/>
                </a:cubicBezTo>
                <a:cubicBezTo>
                  <a:pt x="7531" y="14750"/>
                  <a:pt x="7531" y="14750"/>
                  <a:pt x="7531" y="14719"/>
                </a:cubicBezTo>
                <a:close/>
                <a:moveTo>
                  <a:pt x="13375" y="13844"/>
                </a:moveTo>
                <a:cubicBezTo>
                  <a:pt x="13375" y="13875"/>
                  <a:pt x="13406" y="13875"/>
                  <a:pt x="13437" y="13844"/>
                </a:cubicBezTo>
                <a:cubicBezTo>
                  <a:pt x="13437" y="13813"/>
                  <a:pt x="13406" y="13813"/>
                  <a:pt x="13375" y="13813"/>
                </a:cubicBezTo>
                <a:cubicBezTo>
                  <a:pt x="13218" y="13750"/>
                  <a:pt x="13062" y="13656"/>
                  <a:pt x="12875" y="13594"/>
                </a:cubicBezTo>
                <a:cubicBezTo>
                  <a:pt x="12875" y="13625"/>
                  <a:pt x="12906" y="13656"/>
                  <a:pt x="12937" y="13656"/>
                </a:cubicBezTo>
                <a:cubicBezTo>
                  <a:pt x="13062" y="13719"/>
                  <a:pt x="13218" y="13781"/>
                  <a:pt x="13375" y="13844"/>
                </a:cubicBezTo>
                <a:close/>
                <a:moveTo>
                  <a:pt x="8718" y="12875"/>
                </a:moveTo>
                <a:cubicBezTo>
                  <a:pt x="8468" y="12938"/>
                  <a:pt x="8187" y="12938"/>
                  <a:pt x="7968" y="13063"/>
                </a:cubicBezTo>
                <a:cubicBezTo>
                  <a:pt x="7968" y="13063"/>
                  <a:pt x="7968" y="13063"/>
                  <a:pt x="7968" y="13094"/>
                </a:cubicBezTo>
                <a:cubicBezTo>
                  <a:pt x="8218" y="13031"/>
                  <a:pt x="8468" y="12969"/>
                  <a:pt x="8718" y="12906"/>
                </a:cubicBezTo>
                <a:cubicBezTo>
                  <a:pt x="8718" y="12875"/>
                  <a:pt x="8718" y="12875"/>
                  <a:pt x="8718" y="12875"/>
                </a:cubicBezTo>
                <a:close/>
                <a:moveTo>
                  <a:pt x="12031" y="13313"/>
                </a:moveTo>
                <a:cubicBezTo>
                  <a:pt x="12125" y="13344"/>
                  <a:pt x="12250" y="13406"/>
                  <a:pt x="12343" y="13406"/>
                </a:cubicBezTo>
                <a:cubicBezTo>
                  <a:pt x="12468" y="13438"/>
                  <a:pt x="12562" y="13500"/>
                  <a:pt x="12656" y="13531"/>
                </a:cubicBezTo>
                <a:cubicBezTo>
                  <a:pt x="12625" y="13500"/>
                  <a:pt x="12593" y="13500"/>
                  <a:pt x="12593" y="13469"/>
                </a:cubicBezTo>
                <a:cubicBezTo>
                  <a:pt x="12500" y="13438"/>
                  <a:pt x="12406" y="13406"/>
                  <a:pt x="12312" y="13375"/>
                </a:cubicBezTo>
                <a:cubicBezTo>
                  <a:pt x="12062" y="13281"/>
                  <a:pt x="11781" y="13188"/>
                  <a:pt x="11500" y="13125"/>
                </a:cubicBezTo>
                <a:cubicBezTo>
                  <a:pt x="11437" y="13125"/>
                  <a:pt x="11406" y="13094"/>
                  <a:pt x="11375" y="13094"/>
                </a:cubicBezTo>
                <a:cubicBezTo>
                  <a:pt x="11468" y="13125"/>
                  <a:pt x="11531" y="13156"/>
                  <a:pt x="11625" y="13188"/>
                </a:cubicBezTo>
                <a:cubicBezTo>
                  <a:pt x="11625" y="13188"/>
                  <a:pt x="11656" y="13188"/>
                  <a:pt x="11656" y="13188"/>
                </a:cubicBezTo>
                <a:cubicBezTo>
                  <a:pt x="11750" y="13219"/>
                  <a:pt x="11843" y="13250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37" y="13313"/>
                  <a:pt x="11937" y="13313"/>
                  <a:pt x="11937" y="13313"/>
                </a:cubicBezTo>
                <a:cubicBezTo>
                  <a:pt x="11968" y="13281"/>
                  <a:pt x="12000" y="13313"/>
                  <a:pt x="12031" y="13313"/>
                </a:cubicBezTo>
                <a:close/>
                <a:moveTo>
                  <a:pt x="17468" y="8375"/>
                </a:moveTo>
                <a:cubicBezTo>
                  <a:pt x="17468" y="8313"/>
                  <a:pt x="17468" y="8281"/>
                  <a:pt x="17468" y="8219"/>
                </a:cubicBezTo>
                <a:cubicBezTo>
                  <a:pt x="17437" y="8281"/>
                  <a:pt x="17437" y="8313"/>
                  <a:pt x="17468" y="8375"/>
                </a:cubicBezTo>
                <a:close/>
                <a:moveTo>
                  <a:pt x="17656" y="9406"/>
                </a:moveTo>
                <a:cubicBezTo>
                  <a:pt x="17593" y="9094"/>
                  <a:pt x="17531" y="8781"/>
                  <a:pt x="17500" y="8438"/>
                </a:cubicBezTo>
                <a:cubicBezTo>
                  <a:pt x="17468" y="8438"/>
                  <a:pt x="17468" y="8438"/>
                  <a:pt x="17468" y="8438"/>
                </a:cubicBezTo>
                <a:cubicBezTo>
                  <a:pt x="17531" y="9188"/>
                  <a:pt x="17625" y="9969"/>
                  <a:pt x="17656" y="10719"/>
                </a:cubicBezTo>
                <a:cubicBezTo>
                  <a:pt x="17718" y="10500"/>
                  <a:pt x="17687" y="10250"/>
                  <a:pt x="17718" y="10031"/>
                </a:cubicBezTo>
                <a:cubicBezTo>
                  <a:pt x="17718" y="10125"/>
                  <a:pt x="17750" y="10188"/>
                  <a:pt x="17750" y="10281"/>
                </a:cubicBezTo>
                <a:cubicBezTo>
                  <a:pt x="17781" y="9875"/>
                  <a:pt x="17718" y="9469"/>
                  <a:pt x="17656" y="9063"/>
                </a:cubicBezTo>
                <a:cubicBezTo>
                  <a:pt x="17625" y="9188"/>
                  <a:pt x="17687" y="9313"/>
                  <a:pt x="17656" y="9406"/>
                </a:cubicBezTo>
                <a:close/>
                <a:moveTo>
                  <a:pt x="62" y="16063"/>
                </a:moveTo>
                <a:cubicBezTo>
                  <a:pt x="62" y="16063"/>
                  <a:pt x="62" y="16063"/>
                  <a:pt x="62" y="16063"/>
                </a:cubicBezTo>
                <a:cubicBezTo>
                  <a:pt x="93" y="16063"/>
                  <a:pt x="93" y="16094"/>
                  <a:pt x="93" y="16094"/>
                </a:cubicBezTo>
                <a:cubicBezTo>
                  <a:pt x="93" y="16094"/>
                  <a:pt x="93" y="16063"/>
                  <a:pt x="62" y="16063"/>
                </a:cubicBezTo>
                <a:close/>
                <a:moveTo>
                  <a:pt x="93" y="15500"/>
                </a:moveTo>
                <a:cubicBezTo>
                  <a:pt x="93" y="15531"/>
                  <a:pt x="125" y="15563"/>
                  <a:pt x="156" y="15563"/>
                </a:cubicBezTo>
                <a:cubicBezTo>
                  <a:pt x="156" y="15563"/>
                  <a:pt x="125" y="15594"/>
                  <a:pt x="125" y="15594"/>
                </a:cubicBezTo>
                <a:cubicBezTo>
                  <a:pt x="125" y="15594"/>
                  <a:pt x="156" y="15563"/>
                  <a:pt x="156" y="15563"/>
                </a:cubicBezTo>
                <a:cubicBezTo>
                  <a:pt x="125" y="15563"/>
                  <a:pt x="93" y="15531"/>
                  <a:pt x="93" y="15500"/>
                </a:cubicBezTo>
                <a:close/>
                <a:moveTo>
                  <a:pt x="156" y="16156"/>
                </a:moveTo>
                <a:cubicBezTo>
                  <a:pt x="156" y="16156"/>
                  <a:pt x="125" y="16125"/>
                  <a:pt x="125" y="16125"/>
                </a:cubicBezTo>
                <a:cubicBezTo>
                  <a:pt x="125" y="16125"/>
                  <a:pt x="156" y="16156"/>
                  <a:pt x="156" y="16156"/>
                </a:cubicBezTo>
                <a:cubicBezTo>
                  <a:pt x="156" y="16156"/>
                  <a:pt x="156" y="16156"/>
                  <a:pt x="156" y="16156"/>
                </a:cubicBezTo>
                <a:close/>
                <a:moveTo>
                  <a:pt x="156" y="15875"/>
                </a:moveTo>
                <a:cubicBezTo>
                  <a:pt x="156" y="15875"/>
                  <a:pt x="156" y="15875"/>
                  <a:pt x="156" y="15875"/>
                </a:cubicBezTo>
                <a:cubicBezTo>
                  <a:pt x="187" y="15906"/>
                  <a:pt x="218" y="15906"/>
                  <a:pt x="218" y="15938"/>
                </a:cubicBezTo>
                <a:cubicBezTo>
                  <a:pt x="218" y="15906"/>
                  <a:pt x="187" y="15906"/>
                  <a:pt x="156" y="15875"/>
                </a:cubicBezTo>
                <a:close/>
                <a:moveTo>
                  <a:pt x="1343" y="14469"/>
                </a:moveTo>
                <a:cubicBezTo>
                  <a:pt x="1343" y="14438"/>
                  <a:pt x="1343" y="14438"/>
                  <a:pt x="1343" y="14438"/>
                </a:cubicBezTo>
                <a:cubicBezTo>
                  <a:pt x="1343" y="14438"/>
                  <a:pt x="1343" y="14438"/>
                  <a:pt x="1343" y="14469"/>
                </a:cubicBezTo>
                <a:close/>
                <a:moveTo>
                  <a:pt x="1375" y="14438"/>
                </a:moveTo>
                <a:cubicBezTo>
                  <a:pt x="1375" y="14438"/>
                  <a:pt x="1375" y="14438"/>
                  <a:pt x="1375" y="14438"/>
                </a:cubicBezTo>
                <a:cubicBezTo>
                  <a:pt x="1375" y="14438"/>
                  <a:pt x="1375" y="14406"/>
                  <a:pt x="1375" y="14406"/>
                </a:cubicBezTo>
                <a:cubicBezTo>
                  <a:pt x="1375" y="14406"/>
                  <a:pt x="1375" y="14438"/>
                  <a:pt x="1375" y="14438"/>
                </a:cubicBezTo>
                <a:close/>
                <a:moveTo>
                  <a:pt x="1375" y="14344"/>
                </a:moveTo>
                <a:cubicBezTo>
                  <a:pt x="1375" y="14344"/>
                  <a:pt x="1375" y="14344"/>
                  <a:pt x="1375" y="14344"/>
                </a:cubicBezTo>
                <a:cubicBezTo>
                  <a:pt x="1437" y="14219"/>
                  <a:pt x="1500" y="14125"/>
                  <a:pt x="1593" y="14031"/>
                </a:cubicBezTo>
                <a:cubicBezTo>
                  <a:pt x="1500" y="14125"/>
                  <a:pt x="1437" y="14219"/>
                  <a:pt x="1375" y="14344"/>
                </a:cubicBezTo>
                <a:close/>
                <a:moveTo>
                  <a:pt x="1687" y="14938"/>
                </a:moveTo>
                <a:cubicBezTo>
                  <a:pt x="1656" y="14938"/>
                  <a:pt x="1656" y="14938"/>
                  <a:pt x="1656" y="14938"/>
                </a:cubicBezTo>
                <a:cubicBezTo>
                  <a:pt x="1656" y="14938"/>
                  <a:pt x="1656" y="14938"/>
                  <a:pt x="1687" y="14938"/>
                </a:cubicBezTo>
                <a:cubicBezTo>
                  <a:pt x="1687" y="14938"/>
                  <a:pt x="1687" y="14938"/>
                  <a:pt x="1687" y="14938"/>
                </a:cubicBezTo>
                <a:close/>
                <a:moveTo>
                  <a:pt x="1781" y="15031"/>
                </a:move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ubicBezTo>
                  <a:pt x="1781" y="15031"/>
                  <a:pt x="1781" y="15031"/>
                  <a:pt x="1781" y="15031"/>
                </a:cubicBezTo>
                <a:close/>
                <a:moveTo>
                  <a:pt x="1781" y="14781"/>
                </a:moveTo>
                <a:cubicBezTo>
                  <a:pt x="1781" y="14781"/>
                  <a:pt x="1781" y="14813"/>
                  <a:pt x="1750" y="14844"/>
                </a:cubicBezTo>
                <a:cubicBezTo>
                  <a:pt x="1781" y="14813"/>
                  <a:pt x="1781" y="14781"/>
                  <a:pt x="1781" y="14781"/>
                </a:cubicBezTo>
                <a:cubicBezTo>
                  <a:pt x="1781" y="14781"/>
                  <a:pt x="1781" y="14750"/>
                  <a:pt x="1781" y="14750"/>
                </a:cubicBezTo>
                <a:cubicBezTo>
                  <a:pt x="1781" y="14750"/>
                  <a:pt x="1781" y="14750"/>
                  <a:pt x="1781" y="14750"/>
                </a:cubicBezTo>
                <a:cubicBezTo>
                  <a:pt x="1781" y="14750"/>
                  <a:pt x="1781" y="14781"/>
                  <a:pt x="1781" y="14781"/>
                </a:cubicBezTo>
                <a:cubicBezTo>
                  <a:pt x="1781" y="14750"/>
                  <a:pt x="1812" y="14750"/>
                  <a:pt x="1812" y="14750"/>
                </a:cubicBezTo>
                <a:cubicBezTo>
                  <a:pt x="1812" y="14750"/>
                  <a:pt x="1781" y="14750"/>
                  <a:pt x="1781" y="14781"/>
                </a:cubicBezTo>
                <a:close/>
                <a:moveTo>
                  <a:pt x="1843" y="14938"/>
                </a:move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ubicBezTo>
                  <a:pt x="1843" y="14938"/>
                  <a:pt x="1843" y="14938"/>
                  <a:pt x="1843" y="14938"/>
                </a:cubicBezTo>
                <a:close/>
                <a:moveTo>
                  <a:pt x="1843" y="12656"/>
                </a:moveTo>
                <a:cubicBezTo>
                  <a:pt x="1843" y="12656"/>
                  <a:pt x="1843" y="12656"/>
                  <a:pt x="1843" y="12656"/>
                </a:cubicBezTo>
                <a:cubicBezTo>
                  <a:pt x="1843" y="12656"/>
                  <a:pt x="1843" y="12656"/>
                  <a:pt x="1843" y="12656"/>
                </a:cubicBezTo>
                <a:cubicBezTo>
                  <a:pt x="1843" y="12625"/>
                  <a:pt x="1843" y="12625"/>
                  <a:pt x="1875" y="12594"/>
                </a:cubicBezTo>
                <a:cubicBezTo>
                  <a:pt x="1843" y="12625"/>
                  <a:pt x="1843" y="12625"/>
                  <a:pt x="1843" y="12656"/>
                </a:cubicBezTo>
                <a:close/>
                <a:moveTo>
                  <a:pt x="1937" y="13844"/>
                </a:moveTo>
                <a:cubicBezTo>
                  <a:pt x="1937" y="13813"/>
                  <a:pt x="1937" y="13813"/>
                  <a:pt x="1937" y="13781"/>
                </a:cubicBezTo>
                <a:cubicBezTo>
                  <a:pt x="1937" y="13781"/>
                  <a:pt x="1937" y="13781"/>
                  <a:pt x="1937" y="13781"/>
                </a:cubicBezTo>
                <a:cubicBezTo>
                  <a:pt x="1937" y="13813"/>
                  <a:pt x="1937" y="13813"/>
                  <a:pt x="1937" y="13844"/>
                </a:cubicBezTo>
                <a:close/>
                <a:moveTo>
                  <a:pt x="1968" y="14781"/>
                </a:moveTo>
                <a:cubicBezTo>
                  <a:pt x="1968" y="14781"/>
                  <a:pt x="1968" y="14750"/>
                  <a:pt x="1937" y="14750"/>
                </a:cubicBezTo>
                <a:cubicBezTo>
                  <a:pt x="1968" y="14750"/>
                  <a:pt x="1968" y="14781"/>
                  <a:pt x="1968" y="14781"/>
                </a:cubicBezTo>
                <a:cubicBezTo>
                  <a:pt x="1968" y="14781"/>
                  <a:pt x="1968" y="14781"/>
                  <a:pt x="1968" y="14781"/>
                </a:cubicBezTo>
                <a:close/>
                <a:moveTo>
                  <a:pt x="2000" y="12469"/>
                </a:moveTo>
                <a:cubicBezTo>
                  <a:pt x="2000" y="12469"/>
                  <a:pt x="2000" y="12469"/>
                  <a:pt x="2000" y="12438"/>
                </a:cubicBezTo>
                <a:cubicBezTo>
                  <a:pt x="2000" y="12469"/>
                  <a:pt x="2000" y="12469"/>
                  <a:pt x="2000" y="12469"/>
                </a:cubicBezTo>
                <a:cubicBezTo>
                  <a:pt x="2000" y="12469"/>
                  <a:pt x="2000" y="12500"/>
                  <a:pt x="1968" y="12500"/>
                </a:cubicBezTo>
                <a:cubicBezTo>
                  <a:pt x="2000" y="12500"/>
                  <a:pt x="2000" y="12469"/>
                  <a:pt x="2000" y="12469"/>
                </a:cubicBezTo>
                <a:close/>
                <a:moveTo>
                  <a:pt x="2031" y="15344"/>
                </a:moveTo>
                <a:cubicBezTo>
                  <a:pt x="2031" y="15344"/>
                  <a:pt x="2031" y="15313"/>
                  <a:pt x="2062" y="15313"/>
                </a:cubicBezTo>
                <a:cubicBezTo>
                  <a:pt x="2062" y="15313"/>
                  <a:pt x="2031" y="15313"/>
                  <a:pt x="2031" y="15313"/>
                </a:cubicBezTo>
                <a:cubicBezTo>
                  <a:pt x="2031" y="15313"/>
                  <a:pt x="2062" y="15313"/>
                  <a:pt x="2062" y="15313"/>
                </a:cubicBezTo>
                <a:cubicBezTo>
                  <a:pt x="2031" y="15313"/>
                  <a:pt x="2031" y="15344"/>
                  <a:pt x="2031" y="15344"/>
                </a:cubicBezTo>
                <a:close/>
                <a:moveTo>
                  <a:pt x="2000" y="14719"/>
                </a:moveTo>
                <a:cubicBezTo>
                  <a:pt x="2000" y="14719"/>
                  <a:pt x="2000" y="14750"/>
                  <a:pt x="2000" y="14750"/>
                </a:cubicBezTo>
                <a:cubicBezTo>
                  <a:pt x="2000" y="14750"/>
                  <a:pt x="2000" y="14719"/>
                  <a:pt x="2000" y="14719"/>
                </a:cubicBezTo>
                <a:cubicBezTo>
                  <a:pt x="2062" y="14688"/>
                  <a:pt x="2093" y="14625"/>
                  <a:pt x="2125" y="14594"/>
                </a:cubicBezTo>
                <a:cubicBezTo>
                  <a:pt x="2093" y="14625"/>
                  <a:pt x="2062" y="14688"/>
                  <a:pt x="2000" y="14719"/>
                </a:cubicBezTo>
                <a:close/>
                <a:moveTo>
                  <a:pt x="2093" y="13531"/>
                </a:moveTo>
                <a:cubicBezTo>
                  <a:pt x="2093" y="13531"/>
                  <a:pt x="2093" y="13563"/>
                  <a:pt x="2093" y="13563"/>
                </a:cubicBezTo>
                <a:cubicBezTo>
                  <a:pt x="2093" y="13563"/>
                  <a:pt x="2093" y="13531"/>
                  <a:pt x="2093" y="13531"/>
                </a:cubicBezTo>
                <a:cubicBezTo>
                  <a:pt x="2093" y="13531"/>
                  <a:pt x="2093" y="13531"/>
                  <a:pt x="2125" y="13531"/>
                </a:cubicBezTo>
                <a:cubicBezTo>
                  <a:pt x="2093" y="13531"/>
                  <a:pt x="2093" y="13531"/>
                  <a:pt x="2093" y="13531"/>
                </a:cubicBezTo>
                <a:close/>
                <a:moveTo>
                  <a:pt x="2875" y="11844"/>
                </a:moveTo>
                <a:cubicBezTo>
                  <a:pt x="2875" y="11844"/>
                  <a:pt x="2875" y="11813"/>
                  <a:pt x="2875" y="11813"/>
                </a:cubicBezTo>
                <a:cubicBezTo>
                  <a:pt x="2875" y="11813"/>
                  <a:pt x="2875" y="11844"/>
                  <a:pt x="2875" y="11844"/>
                </a:cubicBezTo>
                <a:cubicBezTo>
                  <a:pt x="2812" y="11906"/>
                  <a:pt x="2750" y="11969"/>
                  <a:pt x="2687" y="12031"/>
                </a:cubicBezTo>
                <a:cubicBezTo>
                  <a:pt x="2750" y="11969"/>
                  <a:pt x="2812" y="11906"/>
                  <a:pt x="2875" y="11844"/>
                </a:cubicBezTo>
                <a:close/>
                <a:moveTo>
                  <a:pt x="2718" y="11625"/>
                </a:moveTo>
                <a:cubicBezTo>
                  <a:pt x="2718" y="11625"/>
                  <a:pt x="2718" y="11625"/>
                  <a:pt x="2718" y="11625"/>
                </a:cubicBezTo>
                <a:cubicBezTo>
                  <a:pt x="2656" y="11625"/>
                  <a:pt x="2625" y="11656"/>
                  <a:pt x="2593" y="11688"/>
                </a:cubicBezTo>
                <a:cubicBezTo>
                  <a:pt x="2625" y="11656"/>
                  <a:pt x="2656" y="11625"/>
                  <a:pt x="2718" y="11625"/>
                </a:cubicBezTo>
                <a:close/>
                <a:moveTo>
                  <a:pt x="2562" y="12281"/>
                </a:moveTo>
                <a:cubicBezTo>
                  <a:pt x="2562" y="12281"/>
                  <a:pt x="2562" y="12313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13"/>
                  <a:pt x="2562" y="12281"/>
                  <a:pt x="2562" y="12281"/>
                </a:cubicBezTo>
                <a:cubicBezTo>
                  <a:pt x="2562" y="12281"/>
                  <a:pt x="2562" y="12281"/>
                  <a:pt x="2562" y="12281"/>
                </a:cubicBezTo>
                <a:close/>
                <a:moveTo>
                  <a:pt x="2562" y="12313"/>
                </a:moveTo>
                <a:cubicBezTo>
                  <a:pt x="2562" y="12313"/>
                  <a:pt x="2562" y="12313"/>
                  <a:pt x="2562" y="12313"/>
                </a:cubicBezTo>
                <a:cubicBezTo>
                  <a:pt x="2562" y="12344"/>
                  <a:pt x="2562" y="12344"/>
                  <a:pt x="2562" y="12344"/>
                </a:cubicBezTo>
                <a:cubicBezTo>
                  <a:pt x="2562" y="12344"/>
                  <a:pt x="2562" y="12344"/>
                  <a:pt x="2562" y="12313"/>
                </a:cubicBezTo>
                <a:close/>
                <a:moveTo>
                  <a:pt x="2218" y="12188"/>
                </a:moveTo>
                <a:cubicBezTo>
                  <a:pt x="2218" y="12188"/>
                  <a:pt x="2250" y="12156"/>
                  <a:pt x="2250" y="12156"/>
                </a:cubicBezTo>
                <a:cubicBezTo>
                  <a:pt x="2250" y="12156"/>
                  <a:pt x="2218" y="12188"/>
                  <a:pt x="2218" y="12188"/>
                </a:cubicBezTo>
                <a:cubicBezTo>
                  <a:pt x="2218" y="12188"/>
                  <a:pt x="2218" y="12188"/>
                  <a:pt x="2187" y="12219"/>
                </a:cubicBezTo>
                <a:cubicBezTo>
                  <a:pt x="2218" y="12188"/>
                  <a:pt x="2218" y="12188"/>
                  <a:pt x="2218" y="12188"/>
                </a:cubicBezTo>
                <a:close/>
                <a:moveTo>
                  <a:pt x="2281" y="13313"/>
                </a:moveTo>
                <a:cubicBezTo>
                  <a:pt x="2281" y="13313"/>
                  <a:pt x="2281" y="13313"/>
                  <a:pt x="2281" y="13313"/>
                </a:cubicBezTo>
                <a:cubicBezTo>
                  <a:pt x="2281" y="13313"/>
                  <a:pt x="2281" y="13313"/>
                  <a:pt x="2281" y="13313"/>
                </a:cubicBezTo>
                <a:cubicBezTo>
                  <a:pt x="2250" y="13375"/>
                  <a:pt x="2218" y="13406"/>
                  <a:pt x="2187" y="13469"/>
                </a:cubicBezTo>
                <a:cubicBezTo>
                  <a:pt x="2218" y="13406"/>
                  <a:pt x="2250" y="13375"/>
                  <a:pt x="2281" y="13313"/>
                </a:cubicBezTo>
                <a:close/>
                <a:moveTo>
                  <a:pt x="2281" y="14344"/>
                </a:moveTo>
                <a:cubicBezTo>
                  <a:pt x="2281" y="14344"/>
                  <a:pt x="2281" y="14375"/>
                  <a:pt x="2250" y="14375"/>
                </a:cubicBezTo>
                <a:cubicBezTo>
                  <a:pt x="2281" y="14375"/>
                  <a:pt x="2281" y="14344"/>
                  <a:pt x="2281" y="14344"/>
                </a:cubicBezTo>
                <a:cubicBezTo>
                  <a:pt x="2281" y="14344"/>
                  <a:pt x="2281" y="14313"/>
                  <a:pt x="2312" y="14313"/>
                </a:cubicBezTo>
                <a:cubicBezTo>
                  <a:pt x="2281" y="14313"/>
                  <a:pt x="2281" y="14344"/>
                  <a:pt x="2281" y="14344"/>
                </a:cubicBezTo>
                <a:close/>
                <a:moveTo>
                  <a:pt x="2500" y="13031"/>
                </a:moveTo>
                <a:cubicBezTo>
                  <a:pt x="2468" y="13094"/>
                  <a:pt x="2437" y="13125"/>
                  <a:pt x="2406" y="13188"/>
                </a:cubicBezTo>
                <a:cubicBezTo>
                  <a:pt x="2437" y="13125"/>
                  <a:pt x="2468" y="13094"/>
                  <a:pt x="2500" y="13031"/>
                </a:cubicBezTo>
                <a:cubicBezTo>
                  <a:pt x="2500" y="13031"/>
                  <a:pt x="2500" y="13031"/>
                  <a:pt x="2500" y="13031"/>
                </a:cubicBezTo>
                <a:close/>
                <a:moveTo>
                  <a:pt x="2468" y="12250"/>
                </a:moveTo>
                <a:cubicBezTo>
                  <a:pt x="2406" y="12313"/>
                  <a:pt x="2375" y="12375"/>
                  <a:pt x="2343" y="12406"/>
                </a:cubicBezTo>
                <a:cubicBezTo>
                  <a:pt x="2375" y="12375"/>
                  <a:pt x="2406" y="12313"/>
                  <a:pt x="2468" y="12250"/>
                </a:cubicBezTo>
                <a:cubicBezTo>
                  <a:pt x="2468" y="12250"/>
                  <a:pt x="2500" y="12219"/>
                  <a:pt x="2500" y="12219"/>
                </a:cubicBezTo>
                <a:cubicBezTo>
                  <a:pt x="2500" y="12219"/>
                  <a:pt x="2468" y="12250"/>
                  <a:pt x="2468" y="12250"/>
                </a:cubicBezTo>
                <a:close/>
                <a:moveTo>
                  <a:pt x="2531" y="12969"/>
                </a:moveTo>
                <a:cubicBezTo>
                  <a:pt x="2531" y="13000"/>
                  <a:pt x="2531" y="13031"/>
                  <a:pt x="2500" y="13031"/>
                </a:cubicBezTo>
                <a:cubicBezTo>
                  <a:pt x="2531" y="13031"/>
                  <a:pt x="2531" y="13000"/>
                  <a:pt x="2531" y="12969"/>
                </a:cubicBezTo>
                <a:cubicBezTo>
                  <a:pt x="2531" y="12969"/>
                  <a:pt x="2531" y="12969"/>
                  <a:pt x="2531" y="12969"/>
                </a:cubicBezTo>
                <a:cubicBezTo>
                  <a:pt x="2593" y="12938"/>
                  <a:pt x="2593" y="12938"/>
                  <a:pt x="2625" y="12906"/>
                </a:cubicBezTo>
                <a:cubicBezTo>
                  <a:pt x="2593" y="12938"/>
                  <a:pt x="2593" y="12938"/>
                  <a:pt x="2531" y="12969"/>
                </a:cubicBezTo>
                <a:close/>
                <a:moveTo>
                  <a:pt x="2593" y="14688"/>
                </a:moveTo>
                <a:cubicBezTo>
                  <a:pt x="2593" y="14719"/>
                  <a:pt x="2593" y="14719"/>
                  <a:pt x="2593" y="14719"/>
                </a:cubicBezTo>
                <a:cubicBezTo>
                  <a:pt x="2593" y="14719"/>
                  <a:pt x="2593" y="14719"/>
                  <a:pt x="2593" y="14688"/>
                </a:cubicBezTo>
                <a:cubicBezTo>
                  <a:pt x="2625" y="14656"/>
                  <a:pt x="2625" y="14656"/>
                  <a:pt x="2656" y="14625"/>
                </a:cubicBezTo>
                <a:cubicBezTo>
                  <a:pt x="2625" y="14656"/>
                  <a:pt x="2625" y="14656"/>
                  <a:pt x="2593" y="14688"/>
                </a:cubicBezTo>
                <a:close/>
                <a:moveTo>
                  <a:pt x="2687" y="14594"/>
                </a:moveTo>
                <a:cubicBezTo>
                  <a:pt x="2687" y="14594"/>
                  <a:pt x="2687" y="14594"/>
                  <a:pt x="2687" y="14594"/>
                </a:cubicBezTo>
                <a:cubicBezTo>
                  <a:pt x="2687" y="14594"/>
                  <a:pt x="2687" y="14594"/>
                  <a:pt x="2687" y="14594"/>
                </a:cubicBezTo>
                <a:cubicBezTo>
                  <a:pt x="2687" y="14563"/>
                  <a:pt x="2687" y="14563"/>
                  <a:pt x="2718" y="14563"/>
                </a:cubicBezTo>
                <a:cubicBezTo>
                  <a:pt x="2687" y="14563"/>
                  <a:pt x="2687" y="14563"/>
                  <a:pt x="2687" y="14594"/>
                </a:cubicBezTo>
                <a:close/>
                <a:moveTo>
                  <a:pt x="2781" y="14469"/>
                </a:moveTo>
                <a:cubicBezTo>
                  <a:pt x="2750" y="14469"/>
                  <a:pt x="2750" y="14500"/>
                  <a:pt x="2750" y="14500"/>
                </a:cubicBezTo>
                <a:cubicBezTo>
                  <a:pt x="2750" y="14500"/>
                  <a:pt x="2750" y="14469"/>
                  <a:pt x="2781" y="14469"/>
                </a:cubicBezTo>
                <a:cubicBezTo>
                  <a:pt x="2781" y="14469"/>
                  <a:pt x="2781" y="14438"/>
                  <a:pt x="2781" y="14438"/>
                </a:cubicBezTo>
                <a:cubicBezTo>
                  <a:pt x="2781" y="14438"/>
                  <a:pt x="2781" y="14469"/>
                  <a:pt x="2781" y="14469"/>
                </a:cubicBezTo>
                <a:close/>
                <a:moveTo>
                  <a:pt x="2843" y="12063"/>
                </a:moveTo>
                <a:cubicBezTo>
                  <a:pt x="2812" y="12063"/>
                  <a:pt x="2781" y="12094"/>
                  <a:pt x="2781" y="12125"/>
                </a:cubicBezTo>
                <a:cubicBezTo>
                  <a:pt x="2781" y="12094"/>
                  <a:pt x="2812" y="12063"/>
                  <a:pt x="2843" y="12063"/>
                </a:cubicBezTo>
                <a:cubicBezTo>
                  <a:pt x="2843" y="12031"/>
                  <a:pt x="2875" y="12000"/>
                  <a:pt x="2906" y="12000"/>
                </a:cubicBezTo>
                <a:cubicBezTo>
                  <a:pt x="2875" y="12000"/>
                  <a:pt x="2843" y="12031"/>
                  <a:pt x="2843" y="12063"/>
                </a:cubicBezTo>
                <a:close/>
                <a:moveTo>
                  <a:pt x="5312" y="11313"/>
                </a:moveTo>
                <a:cubicBezTo>
                  <a:pt x="5375" y="11281"/>
                  <a:pt x="5437" y="11250"/>
                  <a:pt x="5500" y="11219"/>
                </a:cubicBezTo>
                <a:cubicBezTo>
                  <a:pt x="5437" y="11250"/>
                  <a:pt x="5375" y="11281"/>
                  <a:pt x="5312" y="11313"/>
                </a:cubicBezTo>
                <a:cubicBezTo>
                  <a:pt x="5218" y="11375"/>
                  <a:pt x="5125" y="11438"/>
                  <a:pt x="5031" y="11500"/>
                </a:cubicBezTo>
                <a:cubicBezTo>
                  <a:pt x="5125" y="11438"/>
                  <a:pt x="5218" y="11375"/>
                  <a:pt x="5312" y="11313"/>
                </a:cubicBezTo>
                <a:close/>
                <a:moveTo>
                  <a:pt x="4906" y="12500"/>
                </a:moveTo>
                <a:cubicBezTo>
                  <a:pt x="4906" y="12500"/>
                  <a:pt x="4906" y="12500"/>
                  <a:pt x="4906" y="12500"/>
                </a:cubicBezTo>
                <a:cubicBezTo>
                  <a:pt x="4906" y="12500"/>
                  <a:pt x="4906" y="12500"/>
                  <a:pt x="4875" y="12500"/>
                </a:cubicBezTo>
                <a:cubicBezTo>
                  <a:pt x="4906" y="12500"/>
                  <a:pt x="4906" y="12500"/>
                  <a:pt x="4906" y="12500"/>
                </a:cubicBezTo>
                <a:close/>
                <a:moveTo>
                  <a:pt x="4968" y="12563"/>
                </a:moveTo>
                <a:cubicBezTo>
                  <a:pt x="4937" y="12594"/>
                  <a:pt x="4906" y="12625"/>
                  <a:pt x="4875" y="12656"/>
                </a:cubicBezTo>
                <a:cubicBezTo>
                  <a:pt x="4875" y="12656"/>
                  <a:pt x="4875" y="12656"/>
                  <a:pt x="4875" y="12656"/>
                </a:cubicBezTo>
                <a:cubicBezTo>
                  <a:pt x="4906" y="12625"/>
                  <a:pt x="4937" y="12594"/>
                  <a:pt x="4968" y="12563"/>
                </a:cubicBezTo>
                <a:close/>
                <a:moveTo>
                  <a:pt x="4781" y="9875"/>
                </a:moveTo>
                <a:cubicBezTo>
                  <a:pt x="4812" y="9875"/>
                  <a:pt x="4812" y="9875"/>
                  <a:pt x="4812" y="9875"/>
                </a:cubicBezTo>
                <a:cubicBezTo>
                  <a:pt x="4812" y="9875"/>
                  <a:pt x="4812" y="9875"/>
                  <a:pt x="4781" y="9875"/>
                </a:cubicBezTo>
                <a:cubicBezTo>
                  <a:pt x="4781" y="9875"/>
                  <a:pt x="4781" y="9906"/>
                  <a:pt x="4750" y="9906"/>
                </a:cubicBezTo>
                <a:cubicBezTo>
                  <a:pt x="4781" y="9906"/>
                  <a:pt x="4781" y="9875"/>
                  <a:pt x="4781" y="9875"/>
                </a:cubicBezTo>
                <a:close/>
                <a:moveTo>
                  <a:pt x="4718" y="9938"/>
                </a:move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ubicBezTo>
                  <a:pt x="4718" y="9938"/>
                  <a:pt x="4718" y="9938"/>
                  <a:pt x="4718" y="9938"/>
                </a:cubicBezTo>
                <a:close/>
                <a:moveTo>
                  <a:pt x="4312" y="10750"/>
                </a:moveTo>
                <a:cubicBezTo>
                  <a:pt x="4343" y="10750"/>
                  <a:pt x="4343" y="10750"/>
                  <a:pt x="4343" y="10750"/>
                </a:cubicBezTo>
                <a:cubicBezTo>
                  <a:pt x="4343" y="10750"/>
                  <a:pt x="4343" y="10750"/>
                  <a:pt x="4312" y="10750"/>
                </a:cubicBezTo>
                <a:cubicBezTo>
                  <a:pt x="4312" y="10750"/>
                  <a:pt x="4312" y="10781"/>
                  <a:pt x="4312" y="10781"/>
                </a:cubicBezTo>
                <a:cubicBezTo>
                  <a:pt x="4312" y="10781"/>
                  <a:pt x="4312" y="10750"/>
                  <a:pt x="4312" y="10750"/>
                </a:cubicBezTo>
                <a:close/>
                <a:moveTo>
                  <a:pt x="3937" y="10500"/>
                </a:moveTo>
                <a:cubicBezTo>
                  <a:pt x="3937" y="10469"/>
                  <a:pt x="3937" y="10469"/>
                  <a:pt x="3937" y="10469"/>
                </a:cubicBezTo>
                <a:cubicBezTo>
                  <a:pt x="3937" y="10469"/>
                  <a:pt x="3937" y="10500"/>
                  <a:pt x="3937" y="10500"/>
                </a:cubicBezTo>
                <a:close/>
                <a:moveTo>
                  <a:pt x="3687" y="10688"/>
                </a:move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ubicBezTo>
                  <a:pt x="3687" y="10688"/>
                  <a:pt x="3687" y="10688"/>
                  <a:pt x="3687" y="10688"/>
                </a:cubicBezTo>
                <a:close/>
                <a:moveTo>
                  <a:pt x="3656" y="10750"/>
                </a:moveTo>
                <a:cubicBezTo>
                  <a:pt x="3656" y="10750"/>
                  <a:pt x="3625" y="10750"/>
                  <a:pt x="3625" y="10750"/>
                </a:cubicBezTo>
                <a:cubicBezTo>
                  <a:pt x="3625" y="10750"/>
                  <a:pt x="3625" y="10750"/>
                  <a:pt x="3625" y="10750"/>
                </a:cubicBezTo>
                <a:cubicBezTo>
                  <a:pt x="3625" y="10750"/>
                  <a:pt x="3656" y="10750"/>
                  <a:pt x="3656" y="10750"/>
                </a:cubicBezTo>
                <a:close/>
                <a:moveTo>
                  <a:pt x="3406" y="11125"/>
                </a:moveTo>
                <a:cubicBezTo>
                  <a:pt x="3593" y="10906"/>
                  <a:pt x="3812" y="10750"/>
                  <a:pt x="4031" y="10594"/>
                </a:cubicBezTo>
                <a:cubicBezTo>
                  <a:pt x="3812" y="10750"/>
                  <a:pt x="3593" y="10906"/>
                  <a:pt x="3406" y="11125"/>
                </a:cubicBezTo>
                <a:cubicBezTo>
                  <a:pt x="3281" y="11219"/>
                  <a:pt x="3156" y="11313"/>
                  <a:pt x="3062" y="11438"/>
                </a:cubicBezTo>
                <a:cubicBezTo>
                  <a:pt x="3156" y="11313"/>
                  <a:pt x="3281" y="11219"/>
                  <a:pt x="3406" y="11125"/>
                </a:cubicBezTo>
                <a:close/>
                <a:moveTo>
                  <a:pt x="3500" y="11688"/>
                </a:moveTo>
                <a:cubicBezTo>
                  <a:pt x="3500" y="11688"/>
                  <a:pt x="3468" y="11688"/>
                  <a:pt x="3468" y="11688"/>
                </a:cubicBezTo>
                <a:cubicBezTo>
                  <a:pt x="3468" y="11688"/>
                  <a:pt x="3468" y="11688"/>
                  <a:pt x="3468" y="11688"/>
                </a:cubicBezTo>
                <a:cubicBezTo>
                  <a:pt x="3468" y="11688"/>
                  <a:pt x="3500" y="11688"/>
                  <a:pt x="3500" y="11688"/>
                </a:cubicBezTo>
                <a:close/>
                <a:moveTo>
                  <a:pt x="3062" y="12219"/>
                </a:moveTo>
                <a:cubicBezTo>
                  <a:pt x="3062" y="12219"/>
                  <a:pt x="3062" y="12219"/>
                  <a:pt x="3062" y="12219"/>
                </a:cubicBezTo>
                <a:cubicBezTo>
                  <a:pt x="3062" y="12219"/>
                  <a:pt x="3093" y="12219"/>
                  <a:pt x="3093" y="12219"/>
                </a:cubicBezTo>
                <a:cubicBezTo>
                  <a:pt x="3093" y="12219"/>
                  <a:pt x="3062" y="12219"/>
                  <a:pt x="3062" y="12219"/>
                </a:cubicBezTo>
                <a:close/>
                <a:moveTo>
                  <a:pt x="3125" y="12156"/>
                </a:move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ubicBezTo>
                  <a:pt x="3125" y="12156"/>
                  <a:pt x="3125" y="12156"/>
                  <a:pt x="3125" y="12156"/>
                </a:cubicBezTo>
                <a:close/>
                <a:moveTo>
                  <a:pt x="3250" y="12031"/>
                </a:moveTo>
                <a:cubicBezTo>
                  <a:pt x="3250" y="12063"/>
                  <a:pt x="3250" y="12063"/>
                  <a:pt x="3218" y="12063"/>
                </a:cubicBezTo>
                <a:cubicBezTo>
                  <a:pt x="3250" y="12063"/>
                  <a:pt x="3250" y="12063"/>
                  <a:pt x="3250" y="12031"/>
                </a:cubicBezTo>
                <a:cubicBezTo>
                  <a:pt x="3281" y="12031"/>
                  <a:pt x="3281" y="12031"/>
                  <a:pt x="3312" y="12000"/>
                </a:cubicBezTo>
                <a:cubicBezTo>
                  <a:pt x="3375" y="11969"/>
                  <a:pt x="3437" y="11906"/>
                  <a:pt x="3468" y="11875"/>
                </a:cubicBezTo>
                <a:cubicBezTo>
                  <a:pt x="3437" y="11906"/>
                  <a:pt x="3375" y="11969"/>
                  <a:pt x="3312" y="12000"/>
                </a:cubicBezTo>
                <a:cubicBezTo>
                  <a:pt x="3281" y="12031"/>
                  <a:pt x="3281" y="12031"/>
                  <a:pt x="3250" y="12031"/>
                </a:cubicBezTo>
                <a:close/>
                <a:moveTo>
                  <a:pt x="3468" y="12813"/>
                </a:move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ubicBezTo>
                  <a:pt x="3468" y="12813"/>
                  <a:pt x="3468" y="12813"/>
                  <a:pt x="3468" y="12813"/>
                </a:cubicBezTo>
                <a:close/>
                <a:moveTo>
                  <a:pt x="3343" y="12938"/>
                </a:move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ubicBezTo>
                  <a:pt x="3343" y="12938"/>
                  <a:pt x="3343" y="12938"/>
                  <a:pt x="3343" y="12938"/>
                </a:cubicBezTo>
                <a:close/>
                <a:moveTo>
                  <a:pt x="3343" y="14156"/>
                </a:moveTo>
                <a:cubicBezTo>
                  <a:pt x="3343" y="14156"/>
                  <a:pt x="3343" y="14156"/>
                  <a:pt x="3343" y="14156"/>
                </a:cubicBezTo>
                <a:cubicBezTo>
                  <a:pt x="3343" y="14125"/>
                  <a:pt x="3343" y="14125"/>
                  <a:pt x="3343" y="14125"/>
                </a:cubicBezTo>
                <a:cubicBezTo>
                  <a:pt x="3343" y="14125"/>
                  <a:pt x="3343" y="14125"/>
                  <a:pt x="3343" y="14156"/>
                </a:cubicBezTo>
                <a:close/>
                <a:moveTo>
                  <a:pt x="3406" y="12875"/>
                </a:moveTo>
                <a:cubicBezTo>
                  <a:pt x="3437" y="12875"/>
                  <a:pt x="3437" y="12875"/>
                  <a:pt x="3437" y="12844"/>
                </a:cubicBezTo>
                <a:cubicBezTo>
                  <a:pt x="3437" y="12875"/>
                  <a:pt x="3437" y="12875"/>
                  <a:pt x="3406" y="12875"/>
                </a:cubicBezTo>
                <a:cubicBezTo>
                  <a:pt x="3406" y="12906"/>
                  <a:pt x="3406" y="12906"/>
                  <a:pt x="3375" y="12938"/>
                </a:cubicBezTo>
                <a:cubicBezTo>
                  <a:pt x="3406" y="12906"/>
                  <a:pt x="3406" y="12906"/>
                  <a:pt x="3406" y="12875"/>
                </a:cubicBezTo>
                <a:close/>
                <a:moveTo>
                  <a:pt x="3406" y="13781"/>
                </a:moveTo>
                <a:cubicBezTo>
                  <a:pt x="3406" y="13781"/>
                  <a:pt x="3406" y="13781"/>
                  <a:pt x="3406" y="13813"/>
                </a:cubicBezTo>
                <a:cubicBezTo>
                  <a:pt x="3406" y="13781"/>
                  <a:pt x="3406" y="13781"/>
                  <a:pt x="3406" y="13781"/>
                </a:cubicBezTo>
                <a:cubicBezTo>
                  <a:pt x="3437" y="13750"/>
                  <a:pt x="3468" y="13719"/>
                  <a:pt x="3500" y="13688"/>
                </a:cubicBezTo>
                <a:cubicBezTo>
                  <a:pt x="3468" y="13719"/>
                  <a:pt x="3437" y="13750"/>
                  <a:pt x="3406" y="13781"/>
                </a:cubicBezTo>
                <a:close/>
                <a:moveTo>
                  <a:pt x="3500" y="11688"/>
                </a:moveTo>
                <a:cubicBezTo>
                  <a:pt x="3500" y="11688"/>
                  <a:pt x="3500" y="11688"/>
                  <a:pt x="3500" y="11688"/>
                </a:cubicBezTo>
                <a:cubicBezTo>
                  <a:pt x="3500" y="11656"/>
                  <a:pt x="3500" y="11656"/>
                  <a:pt x="3500" y="11656"/>
                </a:cubicBezTo>
                <a:cubicBezTo>
                  <a:pt x="3500" y="11656"/>
                  <a:pt x="3500" y="11656"/>
                  <a:pt x="3500" y="11688"/>
                </a:cubicBezTo>
                <a:close/>
                <a:moveTo>
                  <a:pt x="3500" y="11656"/>
                </a:moveTo>
                <a:cubicBezTo>
                  <a:pt x="3500" y="11656"/>
                  <a:pt x="3500" y="11656"/>
                  <a:pt x="3500" y="11656"/>
                </a:cubicBezTo>
                <a:cubicBezTo>
                  <a:pt x="3531" y="11656"/>
                  <a:pt x="3531" y="11656"/>
                  <a:pt x="3531" y="11625"/>
                </a:cubicBezTo>
                <a:cubicBezTo>
                  <a:pt x="3531" y="11656"/>
                  <a:pt x="3531" y="11656"/>
                  <a:pt x="3500" y="11656"/>
                </a:cubicBezTo>
                <a:close/>
                <a:moveTo>
                  <a:pt x="3843" y="11125"/>
                </a:moveTo>
                <a:cubicBezTo>
                  <a:pt x="3843" y="11125"/>
                  <a:pt x="3843" y="11094"/>
                  <a:pt x="3875" y="11094"/>
                </a:cubicBezTo>
                <a:cubicBezTo>
                  <a:pt x="3843" y="11094"/>
                  <a:pt x="3843" y="11125"/>
                  <a:pt x="3843" y="11125"/>
                </a:cubicBezTo>
                <a:cubicBezTo>
                  <a:pt x="3781" y="11156"/>
                  <a:pt x="3718" y="11188"/>
                  <a:pt x="3687" y="11250"/>
                </a:cubicBezTo>
                <a:cubicBezTo>
                  <a:pt x="3718" y="11188"/>
                  <a:pt x="3781" y="11156"/>
                  <a:pt x="3843" y="11125"/>
                </a:cubicBezTo>
                <a:close/>
                <a:moveTo>
                  <a:pt x="3843" y="12438"/>
                </a:moveTo>
                <a:cubicBezTo>
                  <a:pt x="3843" y="12438"/>
                  <a:pt x="3843" y="12438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ubicBezTo>
                  <a:pt x="3812" y="12438"/>
                  <a:pt x="3812" y="12438"/>
                  <a:pt x="3812" y="12438"/>
                </a:cubicBezTo>
                <a:cubicBezTo>
                  <a:pt x="3812" y="12438"/>
                  <a:pt x="3812" y="12438"/>
                  <a:pt x="3843" y="12438"/>
                </a:cubicBezTo>
                <a:cubicBezTo>
                  <a:pt x="3843" y="12406"/>
                  <a:pt x="3843" y="12406"/>
                  <a:pt x="3843" y="12406"/>
                </a:cubicBezTo>
                <a:cubicBezTo>
                  <a:pt x="3843" y="12406"/>
                  <a:pt x="3843" y="12406"/>
                  <a:pt x="3843" y="12438"/>
                </a:cubicBezTo>
                <a:cubicBezTo>
                  <a:pt x="3843" y="12438"/>
                  <a:pt x="3843" y="12438"/>
                  <a:pt x="3843" y="12438"/>
                </a:cubicBezTo>
                <a:close/>
                <a:moveTo>
                  <a:pt x="3812" y="13344"/>
                </a:moveTo>
                <a:cubicBezTo>
                  <a:pt x="3843" y="13313"/>
                  <a:pt x="3875" y="13281"/>
                  <a:pt x="3875" y="13250"/>
                </a:cubicBezTo>
                <a:cubicBezTo>
                  <a:pt x="3906" y="13250"/>
                  <a:pt x="3937" y="13219"/>
                  <a:pt x="3968" y="13188"/>
                </a:cubicBezTo>
                <a:cubicBezTo>
                  <a:pt x="3937" y="13219"/>
                  <a:pt x="3906" y="13250"/>
                  <a:pt x="3875" y="13250"/>
                </a:cubicBezTo>
                <a:cubicBezTo>
                  <a:pt x="3875" y="13281"/>
                  <a:pt x="3843" y="13313"/>
                  <a:pt x="3812" y="13344"/>
                </a:cubicBezTo>
                <a:close/>
                <a:moveTo>
                  <a:pt x="3937" y="13625"/>
                </a:moveTo>
                <a:cubicBezTo>
                  <a:pt x="3937" y="13625"/>
                  <a:pt x="3937" y="13625"/>
                  <a:pt x="3937" y="13625"/>
                </a:cubicBezTo>
                <a:cubicBezTo>
                  <a:pt x="3937" y="13625"/>
                  <a:pt x="3937" y="13625"/>
                  <a:pt x="3937" y="13625"/>
                </a:cubicBezTo>
                <a:close/>
                <a:moveTo>
                  <a:pt x="4000" y="13469"/>
                </a:moveTo>
                <a:cubicBezTo>
                  <a:pt x="3968" y="13469"/>
                  <a:pt x="3968" y="13500"/>
                  <a:pt x="3937" y="13500"/>
                </a:cubicBezTo>
                <a:cubicBezTo>
                  <a:pt x="3968" y="13500"/>
                  <a:pt x="3968" y="13469"/>
                  <a:pt x="4000" y="13469"/>
                </a:cubicBezTo>
                <a:cubicBezTo>
                  <a:pt x="4000" y="13469"/>
                  <a:pt x="4000" y="13469"/>
                  <a:pt x="4000" y="13469"/>
                </a:cubicBezTo>
                <a:close/>
                <a:moveTo>
                  <a:pt x="4000" y="11000"/>
                </a:moveTo>
                <a:cubicBezTo>
                  <a:pt x="4000" y="11031"/>
                  <a:pt x="4000" y="11031"/>
                  <a:pt x="3968" y="11031"/>
                </a:cubicBezTo>
                <a:cubicBezTo>
                  <a:pt x="4000" y="11031"/>
                  <a:pt x="4000" y="11031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00" y="11000"/>
                  <a:pt x="4000" y="11000"/>
                  <a:pt x="4000" y="11000"/>
                </a:cubicBezTo>
                <a:cubicBezTo>
                  <a:pt x="4031" y="11000"/>
                  <a:pt x="4031" y="11000"/>
                  <a:pt x="4062" y="10969"/>
                </a:cubicBezTo>
                <a:cubicBezTo>
                  <a:pt x="4031" y="11000"/>
                  <a:pt x="4031" y="11000"/>
                  <a:pt x="4000" y="11000"/>
                </a:cubicBezTo>
                <a:close/>
                <a:moveTo>
                  <a:pt x="4125" y="10906"/>
                </a:moveTo>
                <a:cubicBezTo>
                  <a:pt x="4093" y="10906"/>
                  <a:pt x="4093" y="10906"/>
                  <a:pt x="4093" y="10906"/>
                </a:cubicBezTo>
                <a:cubicBezTo>
                  <a:pt x="4125" y="10906"/>
                  <a:pt x="4125" y="10906"/>
                  <a:pt x="4125" y="10906"/>
                </a:cubicBezTo>
                <a:close/>
                <a:moveTo>
                  <a:pt x="4125" y="13031"/>
                </a:moveTo>
                <a:cubicBezTo>
                  <a:pt x="4125" y="13000"/>
                  <a:pt x="4156" y="13000"/>
                  <a:pt x="4187" y="12969"/>
                </a:cubicBezTo>
                <a:cubicBezTo>
                  <a:pt x="4187" y="12969"/>
                  <a:pt x="4187" y="12969"/>
                  <a:pt x="4187" y="12938"/>
                </a:cubicBezTo>
                <a:cubicBezTo>
                  <a:pt x="4187" y="12969"/>
                  <a:pt x="4187" y="12969"/>
                  <a:pt x="4187" y="12969"/>
                </a:cubicBezTo>
                <a:cubicBezTo>
                  <a:pt x="4156" y="13000"/>
                  <a:pt x="4125" y="13000"/>
                  <a:pt x="4125" y="13031"/>
                </a:cubicBezTo>
                <a:close/>
                <a:moveTo>
                  <a:pt x="4281" y="13313"/>
                </a:move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81" y="13313"/>
                  <a:pt x="4281" y="13313"/>
                  <a:pt x="4281" y="13313"/>
                </a:cubicBezTo>
                <a:cubicBezTo>
                  <a:pt x="4218" y="13313"/>
                  <a:pt x="4187" y="13344"/>
                  <a:pt x="4187" y="13375"/>
                </a:cubicBezTo>
                <a:cubicBezTo>
                  <a:pt x="4187" y="13344"/>
                  <a:pt x="4218" y="13313"/>
                  <a:pt x="4281" y="13313"/>
                </a:cubicBezTo>
                <a:cubicBezTo>
                  <a:pt x="4281" y="13250"/>
                  <a:pt x="4312" y="13219"/>
                  <a:pt x="4343" y="13219"/>
                </a:cubicBezTo>
                <a:cubicBezTo>
                  <a:pt x="4312" y="13219"/>
                  <a:pt x="4281" y="13250"/>
                  <a:pt x="4281" y="13313"/>
                </a:cubicBezTo>
                <a:close/>
                <a:moveTo>
                  <a:pt x="4375" y="13188"/>
                </a:moveTo>
                <a:cubicBezTo>
                  <a:pt x="4375" y="13188"/>
                  <a:pt x="4375" y="13188"/>
                  <a:pt x="4375" y="13188"/>
                </a:cubicBezTo>
                <a:cubicBezTo>
                  <a:pt x="4375" y="13188"/>
                  <a:pt x="4375" y="13188"/>
                  <a:pt x="4375" y="13188"/>
                </a:cubicBezTo>
                <a:close/>
                <a:moveTo>
                  <a:pt x="4406" y="10906"/>
                </a:moveTo>
                <a:cubicBezTo>
                  <a:pt x="4406" y="10906"/>
                  <a:pt x="4406" y="10906"/>
                  <a:pt x="4406" y="10906"/>
                </a:cubicBezTo>
                <a:cubicBezTo>
                  <a:pt x="4406" y="10906"/>
                  <a:pt x="4406" y="10906"/>
                  <a:pt x="4406" y="10906"/>
                </a:cubicBezTo>
                <a:cubicBezTo>
                  <a:pt x="4437" y="10906"/>
                  <a:pt x="4437" y="10906"/>
                  <a:pt x="4437" y="10906"/>
                </a:cubicBezTo>
                <a:cubicBezTo>
                  <a:pt x="4437" y="10906"/>
                  <a:pt x="4437" y="10906"/>
                  <a:pt x="4406" y="10906"/>
                </a:cubicBezTo>
                <a:close/>
                <a:moveTo>
                  <a:pt x="4437" y="13156"/>
                </a:moveTo>
                <a:cubicBezTo>
                  <a:pt x="4437" y="13156"/>
                  <a:pt x="4437" y="13156"/>
                  <a:pt x="4437" y="13156"/>
                </a:cubicBezTo>
                <a:cubicBezTo>
                  <a:pt x="4437" y="13156"/>
                  <a:pt x="4437" y="13156"/>
                  <a:pt x="4437" y="13156"/>
                </a:cubicBezTo>
                <a:cubicBezTo>
                  <a:pt x="4468" y="13156"/>
                  <a:pt x="4468" y="13125"/>
                  <a:pt x="4500" y="13125"/>
                </a:cubicBezTo>
                <a:cubicBezTo>
                  <a:pt x="4468" y="13125"/>
                  <a:pt x="4468" y="13156"/>
                  <a:pt x="4437" y="13156"/>
                </a:cubicBezTo>
                <a:close/>
                <a:moveTo>
                  <a:pt x="4750" y="10094"/>
                </a:moveTo>
                <a:cubicBezTo>
                  <a:pt x="4750" y="10094"/>
                  <a:pt x="4781" y="10094"/>
                  <a:pt x="4781" y="10063"/>
                </a:cubicBezTo>
                <a:cubicBezTo>
                  <a:pt x="4781" y="10094"/>
                  <a:pt x="4750" y="10094"/>
                  <a:pt x="4750" y="10094"/>
                </a:cubicBezTo>
                <a:cubicBezTo>
                  <a:pt x="4687" y="10156"/>
                  <a:pt x="4593" y="10188"/>
                  <a:pt x="4531" y="10250"/>
                </a:cubicBezTo>
                <a:cubicBezTo>
                  <a:pt x="4593" y="10188"/>
                  <a:pt x="4687" y="10156"/>
                  <a:pt x="4750" y="10094"/>
                </a:cubicBezTo>
                <a:close/>
                <a:moveTo>
                  <a:pt x="4687" y="12813"/>
                </a:moveTo>
                <a:cubicBezTo>
                  <a:pt x="4687" y="12813"/>
                  <a:pt x="4687" y="12813"/>
                  <a:pt x="4687" y="12813"/>
                </a:cubicBezTo>
                <a:cubicBezTo>
                  <a:pt x="4718" y="12781"/>
                  <a:pt x="4718" y="12750"/>
                  <a:pt x="4750" y="12719"/>
                </a:cubicBezTo>
                <a:cubicBezTo>
                  <a:pt x="4718" y="12750"/>
                  <a:pt x="4718" y="12781"/>
                  <a:pt x="4687" y="12813"/>
                </a:cubicBezTo>
                <a:close/>
                <a:moveTo>
                  <a:pt x="4875" y="12656"/>
                </a:moveTo>
                <a:cubicBezTo>
                  <a:pt x="4875" y="12656"/>
                  <a:pt x="4875" y="12656"/>
                  <a:pt x="4875" y="12656"/>
                </a:cubicBezTo>
                <a:cubicBezTo>
                  <a:pt x="4843" y="12656"/>
                  <a:pt x="4812" y="12688"/>
                  <a:pt x="4781" y="12719"/>
                </a:cubicBezTo>
                <a:cubicBezTo>
                  <a:pt x="4812" y="12688"/>
                  <a:pt x="4843" y="12656"/>
                  <a:pt x="4875" y="12656"/>
                </a:cubicBezTo>
                <a:close/>
                <a:moveTo>
                  <a:pt x="4875" y="12750"/>
                </a:moveTo>
                <a:cubicBezTo>
                  <a:pt x="4875" y="12781"/>
                  <a:pt x="4843" y="12813"/>
                  <a:pt x="4843" y="12813"/>
                </a:cubicBezTo>
                <a:cubicBezTo>
                  <a:pt x="4843" y="12813"/>
                  <a:pt x="4875" y="12781"/>
                  <a:pt x="4875" y="12750"/>
                </a:cubicBezTo>
                <a:cubicBezTo>
                  <a:pt x="4906" y="12750"/>
                  <a:pt x="4968" y="12719"/>
                  <a:pt x="5000" y="12688"/>
                </a:cubicBezTo>
                <a:cubicBezTo>
                  <a:pt x="4968" y="12719"/>
                  <a:pt x="4906" y="12750"/>
                  <a:pt x="4875" y="12750"/>
                </a:cubicBezTo>
                <a:close/>
                <a:moveTo>
                  <a:pt x="5093" y="12594"/>
                </a:moveTo>
                <a:cubicBezTo>
                  <a:pt x="5031" y="12625"/>
                  <a:pt x="4968" y="12656"/>
                  <a:pt x="4937" y="12688"/>
                </a:cubicBezTo>
                <a:cubicBezTo>
                  <a:pt x="4968" y="12656"/>
                  <a:pt x="5031" y="12625"/>
                  <a:pt x="5093" y="12594"/>
                </a:cubicBezTo>
                <a:cubicBezTo>
                  <a:pt x="5093" y="12563"/>
                  <a:pt x="5093" y="12563"/>
                  <a:pt x="5125" y="12531"/>
                </a:cubicBezTo>
                <a:cubicBezTo>
                  <a:pt x="5093" y="12563"/>
                  <a:pt x="5093" y="12563"/>
                  <a:pt x="5093" y="12594"/>
                </a:cubicBezTo>
                <a:close/>
                <a:moveTo>
                  <a:pt x="5093" y="12375"/>
                </a:move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ubicBezTo>
                  <a:pt x="5093" y="12375"/>
                  <a:pt x="5093" y="12375"/>
                  <a:pt x="5093" y="12375"/>
                </a:cubicBezTo>
                <a:close/>
                <a:moveTo>
                  <a:pt x="5312" y="12438"/>
                </a:move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312" y="12438"/>
                  <a:pt x="5312" y="12438"/>
                  <a:pt x="5312" y="12438"/>
                </a:cubicBezTo>
                <a:cubicBezTo>
                  <a:pt x="5250" y="12438"/>
                  <a:pt x="5218" y="12469"/>
                  <a:pt x="5187" y="12500"/>
                </a:cubicBezTo>
                <a:cubicBezTo>
                  <a:pt x="5218" y="12469"/>
                  <a:pt x="5250" y="12438"/>
                  <a:pt x="5312" y="12438"/>
                </a:cubicBezTo>
                <a:cubicBezTo>
                  <a:pt x="5312" y="12406"/>
                  <a:pt x="5343" y="12375"/>
                  <a:pt x="5406" y="12344"/>
                </a:cubicBezTo>
                <a:cubicBezTo>
                  <a:pt x="5343" y="12375"/>
                  <a:pt x="5312" y="12406"/>
                  <a:pt x="5312" y="12438"/>
                </a:cubicBezTo>
                <a:close/>
                <a:moveTo>
                  <a:pt x="5468" y="12125"/>
                </a:move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125"/>
                  <a:pt x="5468" y="12125"/>
                </a:cubicBezTo>
                <a:cubicBezTo>
                  <a:pt x="5468" y="12125"/>
                  <a:pt x="5468" y="12094"/>
                  <a:pt x="5468" y="12094"/>
                </a:cubicBezTo>
                <a:cubicBezTo>
                  <a:pt x="5468" y="12094"/>
                  <a:pt x="5468" y="12094"/>
                  <a:pt x="5468" y="12094"/>
                </a:cubicBezTo>
                <a:cubicBezTo>
                  <a:pt x="5468" y="12094"/>
                  <a:pt x="5468" y="12125"/>
                  <a:pt x="5468" y="12125"/>
                </a:cubicBezTo>
                <a:cubicBezTo>
                  <a:pt x="5468" y="12094"/>
                  <a:pt x="5500" y="12094"/>
                  <a:pt x="5500" y="12094"/>
                </a:cubicBezTo>
                <a:cubicBezTo>
                  <a:pt x="5500" y="12094"/>
                  <a:pt x="5468" y="12094"/>
                  <a:pt x="5468" y="12125"/>
                </a:cubicBezTo>
                <a:close/>
                <a:moveTo>
                  <a:pt x="5562" y="11938"/>
                </a:moveTo>
                <a:cubicBezTo>
                  <a:pt x="5562" y="11938"/>
                  <a:pt x="5562" y="11938"/>
                  <a:pt x="5562" y="11969"/>
                </a:cubicBezTo>
                <a:cubicBezTo>
                  <a:pt x="5562" y="11938"/>
                  <a:pt x="5562" y="11938"/>
                  <a:pt x="5562" y="11938"/>
                </a:cubicBezTo>
                <a:cubicBezTo>
                  <a:pt x="5562" y="11938"/>
                  <a:pt x="5562" y="11938"/>
                  <a:pt x="5562" y="11938"/>
                </a:cubicBezTo>
                <a:close/>
                <a:moveTo>
                  <a:pt x="5625" y="12219"/>
                </a:move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ubicBezTo>
                  <a:pt x="5625" y="12219"/>
                  <a:pt x="5625" y="12219"/>
                  <a:pt x="5625" y="12219"/>
                </a:cubicBezTo>
                <a:close/>
                <a:moveTo>
                  <a:pt x="5468" y="11844"/>
                </a:moveTo>
                <a:cubicBezTo>
                  <a:pt x="5312" y="11938"/>
                  <a:pt x="5125" y="12063"/>
                  <a:pt x="4968" y="12188"/>
                </a:cubicBezTo>
                <a:cubicBezTo>
                  <a:pt x="5125" y="12063"/>
                  <a:pt x="5312" y="11938"/>
                  <a:pt x="5468" y="11844"/>
                </a:cubicBezTo>
                <a:cubicBezTo>
                  <a:pt x="5562" y="11813"/>
                  <a:pt x="5625" y="11750"/>
                  <a:pt x="5687" y="11719"/>
                </a:cubicBezTo>
                <a:cubicBezTo>
                  <a:pt x="5625" y="11750"/>
                  <a:pt x="5562" y="11813"/>
                  <a:pt x="5468" y="11844"/>
                </a:cubicBezTo>
                <a:close/>
                <a:moveTo>
                  <a:pt x="5781" y="11906"/>
                </a:moveTo>
                <a:cubicBezTo>
                  <a:pt x="5781" y="11906"/>
                  <a:pt x="5781" y="11906"/>
                  <a:pt x="5781" y="11906"/>
                </a:cubicBezTo>
                <a:cubicBezTo>
                  <a:pt x="5781" y="11906"/>
                  <a:pt x="5812" y="11906"/>
                  <a:pt x="5812" y="11906"/>
                </a:cubicBezTo>
                <a:cubicBezTo>
                  <a:pt x="5812" y="11906"/>
                  <a:pt x="5781" y="11906"/>
                  <a:pt x="5781" y="11906"/>
                </a:cubicBezTo>
                <a:close/>
                <a:moveTo>
                  <a:pt x="5906" y="11938"/>
                </a:move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ubicBezTo>
                  <a:pt x="5906" y="11938"/>
                  <a:pt x="5906" y="11938"/>
                  <a:pt x="5906" y="11938"/>
                </a:cubicBezTo>
                <a:close/>
                <a:moveTo>
                  <a:pt x="5718" y="11563"/>
                </a:moveTo>
                <a:cubicBezTo>
                  <a:pt x="5593" y="11656"/>
                  <a:pt x="5468" y="11719"/>
                  <a:pt x="5343" y="11813"/>
                </a:cubicBezTo>
                <a:cubicBezTo>
                  <a:pt x="5468" y="11719"/>
                  <a:pt x="5593" y="11656"/>
                  <a:pt x="5718" y="11563"/>
                </a:cubicBezTo>
                <a:cubicBezTo>
                  <a:pt x="5875" y="11500"/>
                  <a:pt x="6031" y="11406"/>
                  <a:pt x="6187" y="11344"/>
                </a:cubicBezTo>
                <a:cubicBezTo>
                  <a:pt x="6031" y="11406"/>
                  <a:pt x="5875" y="11500"/>
                  <a:pt x="5718" y="11563"/>
                </a:cubicBezTo>
                <a:close/>
                <a:moveTo>
                  <a:pt x="6125" y="11813"/>
                </a:moveTo>
                <a:cubicBezTo>
                  <a:pt x="6156" y="11781"/>
                  <a:pt x="6218" y="11750"/>
                  <a:pt x="6281" y="11719"/>
                </a:cubicBezTo>
                <a:cubicBezTo>
                  <a:pt x="6281" y="11719"/>
                  <a:pt x="6281" y="11719"/>
                  <a:pt x="6281" y="11719"/>
                </a:cubicBezTo>
                <a:cubicBezTo>
                  <a:pt x="6218" y="11750"/>
                  <a:pt x="6156" y="11781"/>
                  <a:pt x="6125" y="11813"/>
                </a:cubicBezTo>
                <a:close/>
                <a:moveTo>
                  <a:pt x="6500" y="12125"/>
                </a:move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ubicBezTo>
                  <a:pt x="6500" y="12125"/>
                  <a:pt x="6500" y="12125"/>
                  <a:pt x="6500" y="12125"/>
                </a:cubicBezTo>
                <a:close/>
                <a:moveTo>
                  <a:pt x="3562" y="17094"/>
                </a:moveTo>
                <a:cubicBezTo>
                  <a:pt x="3562" y="17062"/>
                  <a:pt x="3562" y="17062"/>
                  <a:pt x="3562" y="17062"/>
                </a:cubicBezTo>
                <a:cubicBezTo>
                  <a:pt x="3562" y="17062"/>
                  <a:pt x="3562" y="17062"/>
                  <a:pt x="3562" y="17094"/>
                </a:cubicBezTo>
                <a:cubicBezTo>
                  <a:pt x="3562" y="17094"/>
                  <a:pt x="3562" y="17094"/>
                  <a:pt x="3562" y="17094"/>
                </a:cubicBezTo>
                <a:close/>
                <a:moveTo>
                  <a:pt x="3656" y="16906"/>
                </a:moveTo>
                <a:cubicBezTo>
                  <a:pt x="3656" y="16906"/>
                  <a:pt x="3656" y="16906"/>
                  <a:pt x="3656" y="16906"/>
                </a:cubicBezTo>
                <a:cubicBezTo>
                  <a:pt x="3656" y="16906"/>
                  <a:pt x="3656" y="16906"/>
                  <a:pt x="3656" y="16906"/>
                </a:cubicBezTo>
                <a:close/>
                <a:moveTo>
                  <a:pt x="3781" y="16687"/>
                </a:moveTo>
                <a:cubicBezTo>
                  <a:pt x="3781" y="16687"/>
                  <a:pt x="3781" y="16719"/>
                  <a:pt x="3781" y="16719"/>
                </a:cubicBezTo>
                <a:cubicBezTo>
                  <a:pt x="3781" y="16719"/>
                  <a:pt x="3781" y="16719"/>
                  <a:pt x="3781" y="16719"/>
                </a:cubicBezTo>
                <a:cubicBezTo>
                  <a:pt x="3781" y="16719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56"/>
                </a:cubicBezTo>
                <a:cubicBezTo>
                  <a:pt x="3781" y="16687"/>
                  <a:pt x="3781" y="16687"/>
                  <a:pt x="3781" y="16687"/>
                </a:cubicBezTo>
                <a:cubicBezTo>
                  <a:pt x="3781" y="16687"/>
                  <a:pt x="3781" y="16687"/>
                  <a:pt x="3781" y="16687"/>
                </a:cubicBezTo>
                <a:close/>
                <a:moveTo>
                  <a:pt x="4062" y="16063"/>
                </a:moveTo>
                <a:cubicBezTo>
                  <a:pt x="4093" y="16000"/>
                  <a:pt x="4125" y="15969"/>
                  <a:pt x="4156" y="15938"/>
                </a:cubicBezTo>
                <a:cubicBezTo>
                  <a:pt x="4125" y="15969"/>
                  <a:pt x="4093" y="16000"/>
                  <a:pt x="4062" y="16063"/>
                </a:cubicBezTo>
                <a:close/>
                <a:moveTo>
                  <a:pt x="4750" y="17937"/>
                </a:moveTo>
                <a:cubicBezTo>
                  <a:pt x="4750" y="17969"/>
                  <a:pt x="4750" y="18000"/>
                  <a:pt x="4750" y="18031"/>
                </a:cubicBezTo>
                <a:cubicBezTo>
                  <a:pt x="4750" y="18000"/>
                  <a:pt x="4750" y="17969"/>
                  <a:pt x="4750" y="17937"/>
                </a:cubicBezTo>
                <a:close/>
                <a:moveTo>
                  <a:pt x="4812" y="17844"/>
                </a:moveTo>
                <a:cubicBezTo>
                  <a:pt x="4812" y="17875"/>
                  <a:pt x="4812" y="17875"/>
                  <a:pt x="4812" y="17875"/>
                </a:cubicBezTo>
                <a:cubicBezTo>
                  <a:pt x="4812" y="17875"/>
                  <a:pt x="4812" y="17875"/>
                  <a:pt x="4812" y="17844"/>
                </a:cubicBezTo>
                <a:close/>
                <a:moveTo>
                  <a:pt x="4812" y="17844"/>
                </a:moveTo>
                <a:cubicBezTo>
                  <a:pt x="4812" y="17844"/>
                  <a:pt x="4781" y="17875"/>
                  <a:pt x="4781" y="17875"/>
                </a:cubicBezTo>
                <a:cubicBezTo>
                  <a:pt x="4781" y="17875"/>
                  <a:pt x="4812" y="17844"/>
                  <a:pt x="4812" y="17844"/>
                </a:cubicBezTo>
                <a:cubicBezTo>
                  <a:pt x="4812" y="17844"/>
                  <a:pt x="4812" y="17844"/>
                  <a:pt x="4812" y="17812"/>
                </a:cubicBezTo>
                <a:cubicBezTo>
                  <a:pt x="4812" y="17844"/>
                  <a:pt x="4812" y="17844"/>
                  <a:pt x="4812" y="17844"/>
                </a:cubicBezTo>
                <a:close/>
                <a:moveTo>
                  <a:pt x="5375" y="15969"/>
                </a:move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ubicBezTo>
                  <a:pt x="5375" y="15969"/>
                  <a:pt x="5375" y="15969"/>
                  <a:pt x="5375" y="15969"/>
                </a:cubicBezTo>
                <a:close/>
                <a:moveTo>
                  <a:pt x="5250" y="15875"/>
                </a:moveTo>
                <a:cubicBezTo>
                  <a:pt x="5250" y="15875"/>
                  <a:pt x="5250" y="15875"/>
                  <a:pt x="5250" y="15875"/>
                </a:cubicBezTo>
                <a:close/>
                <a:moveTo>
                  <a:pt x="5375" y="16000"/>
                </a:moveTo>
                <a:cubicBezTo>
                  <a:pt x="5375" y="16000"/>
                  <a:pt x="5375" y="16000"/>
                  <a:pt x="5375" y="16000"/>
                </a:cubicBezTo>
                <a:cubicBezTo>
                  <a:pt x="5375" y="16000"/>
                  <a:pt x="5375" y="16000"/>
                  <a:pt x="5375" y="16000"/>
                </a:cubicBezTo>
                <a:cubicBezTo>
                  <a:pt x="5312" y="16094"/>
                  <a:pt x="5218" y="16188"/>
                  <a:pt x="5156" y="16281"/>
                </a:cubicBezTo>
                <a:cubicBezTo>
                  <a:pt x="5218" y="16188"/>
                  <a:pt x="5312" y="16094"/>
                  <a:pt x="5375" y="16000"/>
                </a:cubicBezTo>
                <a:close/>
                <a:moveTo>
                  <a:pt x="5187" y="16344"/>
                </a:moveTo>
                <a:cubicBezTo>
                  <a:pt x="5187" y="16281"/>
                  <a:pt x="5218" y="16250"/>
                  <a:pt x="5250" y="16219"/>
                </a:cubicBezTo>
                <a:cubicBezTo>
                  <a:pt x="5218" y="16250"/>
                  <a:pt x="5187" y="16281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87" y="16344"/>
                  <a:pt x="5187" y="16344"/>
                </a:cubicBezTo>
                <a:cubicBezTo>
                  <a:pt x="5187" y="16344"/>
                  <a:pt x="5156" y="16344"/>
                  <a:pt x="5125" y="16344"/>
                </a:cubicBezTo>
                <a:cubicBezTo>
                  <a:pt x="5156" y="16344"/>
                  <a:pt x="5187" y="16344"/>
                  <a:pt x="5187" y="16344"/>
                </a:cubicBezTo>
                <a:close/>
                <a:moveTo>
                  <a:pt x="4937" y="16719"/>
                </a:moveTo>
                <a:cubicBezTo>
                  <a:pt x="4937" y="16719"/>
                  <a:pt x="4906" y="16719"/>
                  <a:pt x="4906" y="16719"/>
                </a:cubicBezTo>
                <a:cubicBezTo>
                  <a:pt x="4906" y="16719"/>
                  <a:pt x="4906" y="16719"/>
                  <a:pt x="4906" y="16719"/>
                </a:cubicBezTo>
                <a:cubicBezTo>
                  <a:pt x="4906" y="16719"/>
                  <a:pt x="4937" y="16719"/>
                  <a:pt x="4937" y="16719"/>
                </a:cubicBezTo>
                <a:cubicBezTo>
                  <a:pt x="4937" y="16719"/>
                  <a:pt x="4937" y="16719"/>
                  <a:pt x="4937" y="16719"/>
                </a:cubicBezTo>
                <a:close/>
                <a:moveTo>
                  <a:pt x="5125" y="17156"/>
                </a:moveTo>
                <a:cubicBezTo>
                  <a:pt x="5125" y="17156"/>
                  <a:pt x="5093" y="17187"/>
                  <a:pt x="5062" y="17219"/>
                </a:cubicBezTo>
                <a:cubicBezTo>
                  <a:pt x="5093" y="17187"/>
                  <a:pt x="5125" y="17156"/>
                  <a:pt x="5125" y="17156"/>
                </a:cubicBezTo>
                <a:cubicBezTo>
                  <a:pt x="5156" y="17125"/>
                  <a:pt x="5156" y="17094"/>
                  <a:pt x="5156" y="17094"/>
                </a:cubicBezTo>
                <a:cubicBezTo>
                  <a:pt x="5156" y="17094"/>
                  <a:pt x="5156" y="17125"/>
                  <a:pt x="5125" y="17156"/>
                </a:cubicBezTo>
                <a:close/>
                <a:moveTo>
                  <a:pt x="5312" y="16906"/>
                </a:moveTo>
                <a:cubicBezTo>
                  <a:pt x="5281" y="16937"/>
                  <a:pt x="5250" y="16969"/>
                  <a:pt x="5218" y="17000"/>
                </a:cubicBezTo>
                <a:cubicBezTo>
                  <a:pt x="5250" y="16969"/>
                  <a:pt x="5281" y="16937"/>
                  <a:pt x="5312" y="16906"/>
                </a:cubicBezTo>
                <a:cubicBezTo>
                  <a:pt x="5312" y="16906"/>
                  <a:pt x="5312" y="16875"/>
                  <a:pt x="5312" y="16875"/>
                </a:cubicBezTo>
                <a:cubicBezTo>
                  <a:pt x="5312" y="16875"/>
                  <a:pt x="5312" y="16906"/>
                  <a:pt x="5312" y="16906"/>
                </a:cubicBezTo>
                <a:close/>
                <a:moveTo>
                  <a:pt x="5406" y="16281"/>
                </a:moveTo>
                <a:cubicBezTo>
                  <a:pt x="5312" y="16344"/>
                  <a:pt x="5250" y="16438"/>
                  <a:pt x="5187" y="16562"/>
                </a:cubicBezTo>
                <a:cubicBezTo>
                  <a:pt x="5187" y="16562"/>
                  <a:pt x="5156" y="16562"/>
                  <a:pt x="5156" y="16562"/>
                </a:cubicBezTo>
                <a:cubicBezTo>
                  <a:pt x="5156" y="16562"/>
                  <a:pt x="5187" y="16562"/>
                  <a:pt x="5187" y="16562"/>
                </a:cubicBezTo>
                <a:cubicBezTo>
                  <a:pt x="5250" y="16438"/>
                  <a:pt x="5312" y="16344"/>
                  <a:pt x="5406" y="16281"/>
                </a:cubicBezTo>
                <a:cubicBezTo>
                  <a:pt x="5406" y="16250"/>
                  <a:pt x="5406" y="16250"/>
                  <a:pt x="5406" y="16250"/>
                </a:cubicBezTo>
                <a:cubicBezTo>
                  <a:pt x="5406" y="16250"/>
                  <a:pt x="5406" y="16250"/>
                  <a:pt x="5406" y="16281"/>
                </a:cubicBezTo>
                <a:close/>
                <a:moveTo>
                  <a:pt x="7031" y="14219"/>
                </a:moveTo>
                <a:cubicBezTo>
                  <a:pt x="7031" y="14219"/>
                  <a:pt x="7031" y="14219"/>
                  <a:pt x="7031" y="14219"/>
                </a:cubicBezTo>
                <a:cubicBezTo>
                  <a:pt x="7031" y="14219"/>
                  <a:pt x="7031" y="14219"/>
                  <a:pt x="7031" y="14219"/>
                </a:cubicBezTo>
                <a:cubicBezTo>
                  <a:pt x="7000" y="14219"/>
                  <a:pt x="7000" y="14250"/>
                  <a:pt x="7000" y="14250"/>
                </a:cubicBezTo>
                <a:cubicBezTo>
                  <a:pt x="7000" y="14250"/>
                  <a:pt x="7000" y="14219"/>
                  <a:pt x="7031" y="14219"/>
                </a:cubicBezTo>
                <a:close/>
                <a:moveTo>
                  <a:pt x="7000" y="13469"/>
                </a:moveTo>
                <a:cubicBezTo>
                  <a:pt x="7000" y="13469"/>
                  <a:pt x="7000" y="13469"/>
                  <a:pt x="7031" y="13438"/>
                </a:cubicBezTo>
                <a:cubicBezTo>
                  <a:pt x="7000" y="13469"/>
                  <a:pt x="7000" y="13469"/>
                  <a:pt x="7000" y="13469"/>
                </a:cubicBezTo>
                <a:cubicBezTo>
                  <a:pt x="6968" y="13469"/>
                  <a:pt x="6968" y="13469"/>
                  <a:pt x="6968" y="13469"/>
                </a:cubicBezTo>
                <a:cubicBezTo>
                  <a:pt x="6968" y="13469"/>
                  <a:pt x="6968" y="13469"/>
                  <a:pt x="7000" y="13469"/>
                </a:cubicBezTo>
                <a:close/>
                <a:moveTo>
                  <a:pt x="6562" y="13750"/>
                </a:move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ubicBezTo>
                  <a:pt x="6562" y="13750"/>
                  <a:pt x="6562" y="13750"/>
                  <a:pt x="6562" y="13750"/>
                </a:cubicBezTo>
                <a:close/>
                <a:moveTo>
                  <a:pt x="6656" y="13688"/>
                </a:moveTo>
                <a:cubicBezTo>
                  <a:pt x="6656" y="13688"/>
                  <a:pt x="6656" y="13688"/>
                  <a:pt x="6656" y="13688"/>
                </a:cubicBezTo>
                <a:cubicBezTo>
                  <a:pt x="6656" y="13688"/>
                  <a:pt x="6656" y="13688"/>
                  <a:pt x="6656" y="13688"/>
                </a:cubicBezTo>
                <a:close/>
                <a:moveTo>
                  <a:pt x="6687" y="13656"/>
                </a:moveTo>
                <a:cubicBezTo>
                  <a:pt x="6687" y="13656"/>
                  <a:pt x="6687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718" y="13625"/>
                  <a:pt x="6718" y="13625"/>
                  <a:pt x="6718" y="13625"/>
                </a:cubicBezTo>
                <a:cubicBezTo>
                  <a:pt x="6687" y="13625"/>
                  <a:pt x="6687" y="13656"/>
                  <a:pt x="6687" y="13656"/>
                </a:cubicBezTo>
                <a:cubicBezTo>
                  <a:pt x="6625" y="13656"/>
                  <a:pt x="6562" y="13688"/>
                  <a:pt x="6500" y="13750"/>
                </a:cubicBezTo>
                <a:cubicBezTo>
                  <a:pt x="6562" y="13688"/>
                  <a:pt x="6625" y="13656"/>
                  <a:pt x="6687" y="13656"/>
                </a:cubicBezTo>
                <a:close/>
                <a:moveTo>
                  <a:pt x="6406" y="13844"/>
                </a:moveTo>
                <a:cubicBezTo>
                  <a:pt x="6406" y="13844"/>
                  <a:pt x="6406" y="13844"/>
                  <a:pt x="6406" y="13844"/>
                </a:cubicBezTo>
                <a:cubicBezTo>
                  <a:pt x="6406" y="13844"/>
                  <a:pt x="6406" y="13875"/>
                  <a:pt x="6406" y="13875"/>
                </a:cubicBezTo>
                <a:cubicBezTo>
                  <a:pt x="6406" y="13875"/>
                  <a:pt x="6406" y="13844"/>
                  <a:pt x="6406" y="13844"/>
                </a:cubicBezTo>
                <a:close/>
                <a:moveTo>
                  <a:pt x="5593" y="16500"/>
                </a:move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ubicBezTo>
                  <a:pt x="5593" y="16500"/>
                  <a:pt x="5593" y="16500"/>
                  <a:pt x="5593" y="16500"/>
                </a:cubicBezTo>
                <a:close/>
                <a:moveTo>
                  <a:pt x="5718" y="14031"/>
                </a:moveTo>
                <a:cubicBezTo>
                  <a:pt x="5718" y="14031"/>
                  <a:pt x="5718" y="14000"/>
                  <a:pt x="5718" y="14000"/>
                </a:cubicBezTo>
                <a:cubicBezTo>
                  <a:pt x="5718" y="14000"/>
                  <a:pt x="5718" y="14000"/>
                  <a:pt x="5718" y="14000"/>
                </a:cubicBezTo>
                <a:cubicBezTo>
                  <a:pt x="5718" y="14000"/>
                  <a:pt x="5718" y="14031"/>
                  <a:pt x="5718" y="14031"/>
                </a:cubicBezTo>
                <a:close/>
                <a:moveTo>
                  <a:pt x="5843" y="13844"/>
                </a:move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ubicBezTo>
                  <a:pt x="5843" y="13844"/>
                  <a:pt x="5843" y="13844"/>
                  <a:pt x="5843" y="13844"/>
                </a:cubicBezTo>
                <a:close/>
                <a:moveTo>
                  <a:pt x="5937" y="13781"/>
                </a:moveTo>
                <a:cubicBezTo>
                  <a:pt x="5937" y="13813"/>
                  <a:pt x="5906" y="13813"/>
                  <a:pt x="5906" y="13813"/>
                </a:cubicBezTo>
                <a:cubicBezTo>
                  <a:pt x="5906" y="13813"/>
                  <a:pt x="5937" y="13813"/>
                  <a:pt x="5937" y="13781"/>
                </a:cubicBezTo>
                <a:cubicBezTo>
                  <a:pt x="5937" y="13781"/>
                  <a:pt x="5968" y="13781"/>
                  <a:pt x="6000" y="13750"/>
                </a:cubicBezTo>
                <a:cubicBezTo>
                  <a:pt x="5968" y="13781"/>
                  <a:pt x="5937" y="13781"/>
                  <a:pt x="5937" y="13781"/>
                </a:cubicBezTo>
                <a:close/>
                <a:moveTo>
                  <a:pt x="6062" y="14406"/>
                </a:moveTo>
                <a:cubicBezTo>
                  <a:pt x="6062" y="14406"/>
                  <a:pt x="6062" y="14438"/>
                  <a:pt x="6031" y="14438"/>
                </a:cubicBezTo>
                <a:cubicBezTo>
                  <a:pt x="6062" y="14438"/>
                  <a:pt x="6062" y="14406"/>
                  <a:pt x="6062" y="14406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375"/>
                </a:cubicBezTo>
                <a:cubicBezTo>
                  <a:pt x="6062" y="14375"/>
                  <a:pt x="6062" y="14375"/>
                  <a:pt x="6062" y="14406"/>
                </a:cubicBezTo>
                <a:cubicBezTo>
                  <a:pt x="6093" y="14375"/>
                  <a:pt x="6125" y="14375"/>
                  <a:pt x="6125" y="14375"/>
                </a:cubicBezTo>
                <a:cubicBezTo>
                  <a:pt x="6125" y="14375"/>
                  <a:pt x="6093" y="14375"/>
                  <a:pt x="6062" y="14406"/>
                </a:cubicBezTo>
                <a:close/>
                <a:moveTo>
                  <a:pt x="6250" y="14250"/>
                </a:moveTo>
                <a:cubicBezTo>
                  <a:pt x="6250" y="14250"/>
                  <a:pt x="6250" y="14250"/>
                  <a:pt x="6250" y="14250"/>
                </a:cubicBezTo>
                <a:cubicBezTo>
                  <a:pt x="6250" y="14250"/>
                  <a:pt x="6250" y="14250"/>
                  <a:pt x="6281" y="14219"/>
                </a:cubicBezTo>
                <a:cubicBezTo>
                  <a:pt x="6250" y="14250"/>
                  <a:pt x="6250" y="14250"/>
                  <a:pt x="6250" y="14250"/>
                </a:cubicBezTo>
                <a:close/>
                <a:moveTo>
                  <a:pt x="6187" y="13969"/>
                </a:moveTo>
                <a:cubicBezTo>
                  <a:pt x="6218" y="13969"/>
                  <a:pt x="6250" y="13938"/>
                  <a:pt x="6250" y="13938"/>
                </a:cubicBezTo>
                <a:cubicBezTo>
                  <a:pt x="6250" y="13938"/>
                  <a:pt x="6218" y="13969"/>
                  <a:pt x="6187" y="13969"/>
                </a:cubicBezTo>
                <a:cubicBezTo>
                  <a:pt x="6093" y="14031"/>
                  <a:pt x="6031" y="14094"/>
                  <a:pt x="5937" y="14156"/>
                </a:cubicBezTo>
                <a:cubicBezTo>
                  <a:pt x="6031" y="14094"/>
                  <a:pt x="6093" y="14031"/>
                  <a:pt x="6187" y="13969"/>
                </a:cubicBezTo>
                <a:close/>
                <a:moveTo>
                  <a:pt x="6218" y="13094"/>
                </a:move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ubicBezTo>
                  <a:pt x="6218" y="13094"/>
                  <a:pt x="6218" y="13094"/>
                  <a:pt x="6218" y="13094"/>
                </a:cubicBezTo>
                <a:close/>
                <a:moveTo>
                  <a:pt x="10218" y="9406"/>
                </a:moveTo>
                <a:cubicBezTo>
                  <a:pt x="10218" y="9406"/>
                  <a:pt x="10218" y="9406"/>
                  <a:pt x="10218" y="9406"/>
                </a:cubicBezTo>
                <a:cubicBezTo>
                  <a:pt x="10218" y="9375"/>
                  <a:pt x="10187" y="9375"/>
                  <a:pt x="10187" y="9375"/>
                </a:cubicBezTo>
                <a:cubicBezTo>
                  <a:pt x="10187" y="9375"/>
                  <a:pt x="10218" y="9375"/>
                  <a:pt x="10218" y="9406"/>
                </a:cubicBezTo>
                <a:close/>
                <a:moveTo>
                  <a:pt x="9250" y="9281"/>
                </a:moveTo>
                <a:cubicBezTo>
                  <a:pt x="9281" y="9281"/>
                  <a:pt x="9281" y="9281"/>
                  <a:pt x="9312" y="9281"/>
                </a:cubicBezTo>
                <a:cubicBezTo>
                  <a:pt x="9281" y="9281"/>
                  <a:pt x="9281" y="9281"/>
                  <a:pt x="9250" y="9281"/>
                </a:cubicBezTo>
                <a:cubicBezTo>
                  <a:pt x="9156" y="9281"/>
                  <a:pt x="9093" y="9281"/>
                  <a:pt x="9000" y="9281"/>
                </a:cubicBezTo>
                <a:cubicBezTo>
                  <a:pt x="9000" y="9281"/>
                  <a:pt x="9000" y="9281"/>
                  <a:pt x="9000" y="9281"/>
                </a:cubicBezTo>
                <a:cubicBezTo>
                  <a:pt x="9093" y="9281"/>
                  <a:pt x="9156" y="9281"/>
                  <a:pt x="9250" y="9281"/>
                </a:cubicBezTo>
                <a:close/>
                <a:moveTo>
                  <a:pt x="9312" y="9750"/>
                </a:moveTo>
                <a:cubicBezTo>
                  <a:pt x="9312" y="9750"/>
                  <a:pt x="9312" y="9750"/>
                  <a:pt x="9312" y="9750"/>
                </a:cubicBezTo>
                <a:cubicBezTo>
                  <a:pt x="9281" y="9750"/>
                  <a:pt x="9250" y="9750"/>
                  <a:pt x="9250" y="9750"/>
                </a:cubicBezTo>
                <a:cubicBezTo>
                  <a:pt x="9250" y="9750"/>
                  <a:pt x="9281" y="9750"/>
                  <a:pt x="9312" y="9750"/>
                </a:cubicBezTo>
                <a:close/>
                <a:moveTo>
                  <a:pt x="8843" y="9344"/>
                </a:moveTo>
                <a:cubicBezTo>
                  <a:pt x="8937" y="9344"/>
                  <a:pt x="9031" y="9344"/>
                  <a:pt x="9156" y="9344"/>
                </a:cubicBezTo>
                <a:cubicBezTo>
                  <a:pt x="9156" y="9344"/>
                  <a:pt x="9156" y="9344"/>
                  <a:pt x="9156" y="9344"/>
                </a:cubicBezTo>
                <a:cubicBezTo>
                  <a:pt x="9031" y="9344"/>
                  <a:pt x="8937" y="9344"/>
                  <a:pt x="8843" y="9344"/>
                </a:cubicBezTo>
                <a:close/>
                <a:moveTo>
                  <a:pt x="8968" y="9844"/>
                </a:moveTo>
                <a:cubicBezTo>
                  <a:pt x="8937" y="9844"/>
                  <a:pt x="8937" y="9844"/>
                  <a:pt x="8937" y="9844"/>
                </a:cubicBezTo>
                <a:cubicBezTo>
                  <a:pt x="8937" y="9844"/>
                  <a:pt x="8937" y="9844"/>
                  <a:pt x="8968" y="9844"/>
                </a:cubicBezTo>
                <a:cubicBezTo>
                  <a:pt x="8968" y="9844"/>
                  <a:pt x="8968" y="9844"/>
                  <a:pt x="8968" y="9844"/>
                </a:cubicBezTo>
                <a:close/>
                <a:moveTo>
                  <a:pt x="7093" y="10969"/>
                </a:moveTo>
                <a:cubicBezTo>
                  <a:pt x="7093" y="10969"/>
                  <a:pt x="7093" y="10969"/>
                  <a:pt x="7093" y="10969"/>
                </a:cubicBezTo>
                <a:cubicBezTo>
                  <a:pt x="7062" y="10969"/>
                  <a:pt x="7062" y="10969"/>
                  <a:pt x="7031" y="10969"/>
                </a:cubicBezTo>
                <a:cubicBezTo>
                  <a:pt x="7062" y="10969"/>
                  <a:pt x="7062" y="10969"/>
                  <a:pt x="7093" y="10969"/>
                </a:cubicBezTo>
                <a:close/>
                <a:moveTo>
                  <a:pt x="6843" y="9656"/>
                </a:moveTo>
                <a:cubicBezTo>
                  <a:pt x="6843" y="9656"/>
                  <a:pt x="6875" y="9656"/>
                  <a:pt x="6875" y="9656"/>
                </a:cubicBezTo>
                <a:cubicBezTo>
                  <a:pt x="6875" y="9656"/>
                  <a:pt x="6875" y="9656"/>
                  <a:pt x="6875" y="9656"/>
                </a:cubicBezTo>
                <a:cubicBezTo>
                  <a:pt x="6875" y="9656"/>
                  <a:pt x="6843" y="9656"/>
                  <a:pt x="6843" y="9656"/>
                </a:cubicBezTo>
                <a:cubicBezTo>
                  <a:pt x="6843" y="9656"/>
                  <a:pt x="6812" y="9656"/>
                  <a:pt x="6812" y="9656"/>
                </a:cubicBezTo>
                <a:cubicBezTo>
                  <a:pt x="6812" y="9656"/>
                  <a:pt x="6843" y="9656"/>
                  <a:pt x="6843" y="9656"/>
                </a:cubicBezTo>
                <a:close/>
                <a:moveTo>
                  <a:pt x="7187" y="10625"/>
                </a:moveTo>
                <a:cubicBezTo>
                  <a:pt x="7187" y="10625"/>
                  <a:pt x="7156" y="10625"/>
                  <a:pt x="7125" y="10656"/>
                </a:cubicBezTo>
                <a:cubicBezTo>
                  <a:pt x="7156" y="10625"/>
                  <a:pt x="7187" y="10625"/>
                  <a:pt x="7187" y="10625"/>
                </a:cubicBezTo>
                <a:close/>
                <a:moveTo>
                  <a:pt x="7843" y="10906"/>
                </a:moveTo>
                <a:cubicBezTo>
                  <a:pt x="7843" y="10906"/>
                  <a:pt x="7843" y="10906"/>
                  <a:pt x="7843" y="10906"/>
                </a:cubicBezTo>
                <a:cubicBezTo>
                  <a:pt x="7593" y="10938"/>
                  <a:pt x="7375" y="11000"/>
                  <a:pt x="7125" y="11094"/>
                </a:cubicBezTo>
                <a:cubicBezTo>
                  <a:pt x="7375" y="11000"/>
                  <a:pt x="7593" y="10938"/>
                  <a:pt x="7843" y="10906"/>
                </a:cubicBezTo>
                <a:close/>
                <a:moveTo>
                  <a:pt x="7687" y="10375"/>
                </a:moveTo>
                <a:cubicBezTo>
                  <a:pt x="7593" y="10438"/>
                  <a:pt x="7468" y="10438"/>
                  <a:pt x="7375" y="10469"/>
                </a:cubicBezTo>
                <a:cubicBezTo>
                  <a:pt x="7468" y="10438"/>
                  <a:pt x="7593" y="10438"/>
                  <a:pt x="7687" y="10375"/>
                </a:cubicBezTo>
                <a:cubicBezTo>
                  <a:pt x="7781" y="10375"/>
                  <a:pt x="7906" y="10344"/>
                  <a:pt x="8000" y="10344"/>
                </a:cubicBezTo>
                <a:cubicBezTo>
                  <a:pt x="7906" y="10344"/>
                  <a:pt x="7781" y="10375"/>
                  <a:pt x="7687" y="10375"/>
                </a:cubicBezTo>
                <a:close/>
                <a:moveTo>
                  <a:pt x="7687" y="10344"/>
                </a:moveTo>
                <a:cubicBezTo>
                  <a:pt x="7718" y="10344"/>
                  <a:pt x="7718" y="10344"/>
                  <a:pt x="7750" y="10344"/>
                </a:cubicBezTo>
                <a:cubicBezTo>
                  <a:pt x="7750" y="10344"/>
                  <a:pt x="7750" y="10344"/>
                  <a:pt x="7750" y="10344"/>
                </a:cubicBezTo>
                <a:cubicBezTo>
                  <a:pt x="7718" y="10344"/>
                  <a:pt x="7718" y="10344"/>
                  <a:pt x="7687" y="10344"/>
                </a:cubicBezTo>
                <a:close/>
                <a:moveTo>
                  <a:pt x="8125" y="10844"/>
                </a:moveTo>
                <a:cubicBezTo>
                  <a:pt x="8125" y="10844"/>
                  <a:pt x="8125" y="10844"/>
                  <a:pt x="8125" y="10844"/>
                </a:cubicBezTo>
                <a:cubicBezTo>
                  <a:pt x="8031" y="10875"/>
                  <a:pt x="7968" y="10875"/>
                  <a:pt x="7875" y="10906"/>
                </a:cubicBezTo>
                <a:cubicBezTo>
                  <a:pt x="7968" y="10875"/>
                  <a:pt x="8031" y="10875"/>
                  <a:pt x="8125" y="10844"/>
                </a:cubicBezTo>
                <a:close/>
                <a:moveTo>
                  <a:pt x="7968" y="10781"/>
                </a:moveTo>
                <a:cubicBezTo>
                  <a:pt x="7968" y="10781"/>
                  <a:pt x="7968" y="10781"/>
                  <a:pt x="7968" y="10781"/>
                </a:cubicBezTo>
                <a:cubicBezTo>
                  <a:pt x="8000" y="10781"/>
                  <a:pt x="8031" y="10781"/>
                  <a:pt x="8093" y="10750"/>
                </a:cubicBezTo>
                <a:cubicBezTo>
                  <a:pt x="8031" y="10781"/>
                  <a:pt x="8000" y="10781"/>
                  <a:pt x="7968" y="10781"/>
                </a:cubicBezTo>
                <a:close/>
                <a:moveTo>
                  <a:pt x="7937" y="10438"/>
                </a:moveTo>
                <a:cubicBezTo>
                  <a:pt x="7906" y="10438"/>
                  <a:pt x="7906" y="10438"/>
                  <a:pt x="7875" y="10438"/>
                </a:cubicBezTo>
                <a:cubicBezTo>
                  <a:pt x="7906" y="10438"/>
                  <a:pt x="7906" y="10438"/>
                  <a:pt x="7937" y="10438"/>
                </a:cubicBezTo>
                <a:cubicBezTo>
                  <a:pt x="8000" y="10438"/>
                  <a:pt x="8062" y="10438"/>
                  <a:pt x="8125" y="10438"/>
                </a:cubicBezTo>
                <a:cubicBezTo>
                  <a:pt x="8062" y="10438"/>
                  <a:pt x="8000" y="10438"/>
                  <a:pt x="7937" y="10438"/>
                </a:cubicBezTo>
                <a:close/>
                <a:moveTo>
                  <a:pt x="6656" y="11625"/>
                </a:moveTo>
                <a:cubicBezTo>
                  <a:pt x="6656" y="11625"/>
                  <a:pt x="6656" y="11625"/>
                  <a:pt x="6687" y="11625"/>
                </a:cubicBezTo>
                <a:cubicBezTo>
                  <a:pt x="6687" y="11625"/>
                  <a:pt x="6687" y="11625"/>
                  <a:pt x="6687" y="11625"/>
                </a:cubicBezTo>
                <a:cubicBezTo>
                  <a:pt x="6656" y="11625"/>
                  <a:pt x="6656" y="11625"/>
                  <a:pt x="6656" y="11625"/>
                </a:cubicBezTo>
                <a:close/>
                <a:moveTo>
                  <a:pt x="6656" y="11250"/>
                </a:moveTo>
                <a:cubicBezTo>
                  <a:pt x="6656" y="11250"/>
                  <a:pt x="6625" y="11250"/>
                  <a:pt x="6625" y="11250"/>
                </a:cubicBezTo>
                <a:cubicBezTo>
                  <a:pt x="6625" y="11250"/>
                  <a:pt x="6625" y="11250"/>
                  <a:pt x="6625" y="11281"/>
                </a:cubicBezTo>
                <a:cubicBezTo>
                  <a:pt x="6625" y="11281"/>
                  <a:pt x="6625" y="11281"/>
                  <a:pt x="6656" y="11281"/>
                </a:cubicBezTo>
                <a:cubicBezTo>
                  <a:pt x="6625" y="11281"/>
                  <a:pt x="6625" y="11281"/>
                  <a:pt x="6625" y="11281"/>
                </a:cubicBezTo>
                <a:cubicBezTo>
                  <a:pt x="6625" y="11250"/>
                  <a:pt x="6625" y="11250"/>
                  <a:pt x="6625" y="11250"/>
                </a:cubicBezTo>
                <a:cubicBezTo>
                  <a:pt x="6625" y="11250"/>
                  <a:pt x="6656" y="11250"/>
                  <a:pt x="6656" y="11250"/>
                </a:cubicBezTo>
                <a:cubicBezTo>
                  <a:pt x="6750" y="11219"/>
                  <a:pt x="6843" y="11188"/>
                  <a:pt x="6937" y="11156"/>
                </a:cubicBezTo>
                <a:cubicBezTo>
                  <a:pt x="6843" y="11188"/>
                  <a:pt x="6750" y="11219"/>
                  <a:pt x="6656" y="11250"/>
                </a:cubicBezTo>
                <a:close/>
                <a:moveTo>
                  <a:pt x="7250" y="11125"/>
                </a:moveTo>
                <a:cubicBezTo>
                  <a:pt x="7218" y="11125"/>
                  <a:pt x="7218" y="11125"/>
                  <a:pt x="7187" y="11125"/>
                </a:cubicBezTo>
                <a:cubicBezTo>
                  <a:pt x="7218" y="11125"/>
                  <a:pt x="7218" y="11125"/>
                  <a:pt x="7250" y="11125"/>
                </a:cubicBezTo>
                <a:cubicBezTo>
                  <a:pt x="7250" y="11125"/>
                  <a:pt x="7281" y="11125"/>
                  <a:pt x="7281" y="11125"/>
                </a:cubicBezTo>
                <a:cubicBezTo>
                  <a:pt x="7281" y="11125"/>
                  <a:pt x="7250" y="11125"/>
                  <a:pt x="7250" y="11125"/>
                </a:cubicBezTo>
                <a:cubicBezTo>
                  <a:pt x="7156" y="11156"/>
                  <a:pt x="7062" y="11188"/>
                  <a:pt x="7000" y="11219"/>
                </a:cubicBezTo>
                <a:cubicBezTo>
                  <a:pt x="7062" y="11188"/>
                  <a:pt x="7156" y="11156"/>
                  <a:pt x="7250" y="11125"/>
                </a:cubicBezTo>
                <a:close/>
                <a:moveTo>
                  <a:pt x="7000" y="11438"/>
                </a:moveTo>
                <a:cubicBezTo>
                  <a:pt x="7000" y="11438"/>
                  <a:pt x="7000" y="11406"/>
                  <a:pt x="7000" y="11406"/>
                </a:cubicBezTo>
                <a:cubicBezTo>
                  <a:pt x="7000" y="11406"/>
                  <a:pt x="7000" y="11438"/>
                  <a:pt x="7000" y="11438"/>
                </a:cubicBezTo>
                <a:cubicBezTo>
                  <a:pt x="7000" y="11438"/>
                  <a:pt x="7000" y="11438"/>
                  <a:pt x="7031" y="11438"/>
                </a:cubicBezTo>
                <a:cubicBezTo>
                  <a:pt x="7000" y="11438"/>
                  <a:pt x="7000" y="11438"/>
                  <a:pt x="7000" y="11438"/>
                </a:cubicBezTo>
                <a:close/>
                <a:moveTo>
                  <a:pt x="7187" y="11344"/>
                </a:moveTo>
                <a:cubicBezTo>
                  <a:pt x="7218" y="11344"/>
                  <a:pt x="7218" y="11344"/>
                  <a:pt x="7250" y="11344"/>
                </a:cubicBezTo>
                <a:cubicBezTo>
                  <a:pt x="7250" y="11344"/>
                  <a:pt x="7250" y="11344"/>
                  <a:pt x="7250" y="11344"/>
                </a:cubicBezTo>
                <a:cubicBezTo>
                  <a:pt x="7218" y="11344"/>
                  <a:pt x="7218" y="11344"/>
                  <a:pt x="7187" y="11344"/>
                </a:cubicBezTo>
                <a:close/>
                <a:moveTo>
                  <a:pt x="7187" y="11313"/>
                </a:moveTo>
                <a:cubicBezTo>
                  <a:pt x="7187" y="11313"/>
                  <a:pt x="7218" y="11313"/>
                  <a:pt x="7218" y="11313"/>
                </a:cubicBezTo>
                <a:cubicBezTo>
                  <a:pt x="7218" y="11313"/>
                  <a:pt x="7218" y="11313"/>
                  <a:pt x="7218" y="11313"/>
                </a:cubicBezTo>
                <a:cubicBezTo>
                  <a:pt x="7218" y="11313"/>
                  <a:pt x="7187" y="11313"/>
                  <a:pt x="7187" y="11313"/>
                </a:cubicBezTo>
                <a:close/>
                <a:moveTo>
                  <a:pt x="7093" y="11250"/>
                </a:moveTo>
                <a:cubicBezTo>
                  <a:pt x="7093" y="11250"/>
                  <a:pt x="7093" y="11250"/>
                  <a:pt x="7093" y="11250"/>
                </a:cubicBezTo>
                <a:cubicBezTo>
                  <a:pt x="7187" y="11219"/>
                  <a:pt x="7250" y="11188"/>
                  <a:pt x="7343" y="11156"/>
                </a:cubicBezTo>
                <a:cubicBezTo>
                  <a:pt x="7250" y="11188"/>
                  <a:pt x="7187" y="11219"/>
                  <a:pt x="7093" y="11250"/>
                </a:cubicBezTo>
                <a:close/>
                <a:moveTo>
                  <a:pt x="7343" y="11094"/>
                </a:moveTo>
                <a:cubicBezTo>
                  <a:pt x="7343" y="11094"/>
                  <a:pt x="7343" y="11094"/>
                  <a:pt x="7343" y="11094"/>
                </a:cubicBezTo>
                <a:cubicBezTo>
                  <a:pt x="7343" y="11094"/>
                  <a:pt x="7343" y="11094"/>
                  <a:pt x="7343" y="11094"/>
                </a:cubicBezTo>
                <a:cubicBezTo>
                  <a:pt x="7406" y="11094"/>
                  <a:pt x="7500" y="11063"/>
                  <a:pt x="7562" y="11063"/>
                </a:cubicBezTo>
                <a:cubicBezTo>
                  <a:pt x="7500" y="11063"/>
                  <a:pt x="7406" y="11094"/>
                  <a:pt x="7343" y="11094"/>
                </a:cubicBezTo>
                <a:close/>
                <a:moveTo>
                  <a:pt x="7687" y="11125"/>
                </a:moveTo>
                <a:cubicBezTo>
                  <a:pt x="7687" y="11125"/>
                  <a:pt x="7687" y="11125"/>
                  <a:pt x="7687" y="11125"/>
                </a:cubicBezTo>
                <a:cubicBezTo>
                  <a:pt x="7843" y="11094"/>
                  <a:pt x="8000" y="11063"/>
                  <a:pt x="8187" y="11031"/>
                </a:cubicBezTo>
                <a:cubicBezTo>
                  <a:pt x="8000" y="11063"/>
                  <a:pt x="7843" y="11094"/>
                  <a:pt x="7687" y="11125"/>
                </a:cubicBezTo>
                <a:close/>
                <a:moveTo>
                  <a:pt x="8187" y="10750"/>
                </a:moveTo>
                <a:cubicBezTo>
                  <a:pt x="8156" y="10750"/>
                  <a:pt x="8156" y="10750"/>
                  <a:pt x="8125" y="10750"/>
                </a:cubicBezTo>
                <a:cubicBezTo>
                  <a:pt x="8156" y="10750"/>
                  <a:pt x="8156" y="10750"/>
                  <a:pt x="8187" y="10750"/>
                </a:cubicBezTo>
                <a:cubicBezTo>
                  <a:pt x="8187" y="10750"/>
                  <a:pt x="8187" y="10750"/>
                  <a:pt x="8187" y="10750"/>
                </a:cubicBezTo>
                <a:close/>
                <a:moveTo>
                  <a:pt x="8218" y="10219"/>
                </a:moveTo>
                <a:cubicBezTo>
                  <a:pt x="8218" y="10219"/>
                  <a:pt x="8187" y="10219"/>
                  <a:pt x="8187" y="10219"/>
                </a:cubicBezTo>
                <a:cubicBezTo>
                  <a:pt x="8187" y="10219"/>
                  <a:pt x="8218" y="10219"/>
                  <a:pt x="8218" y="10219"/>
                </a:cubicBezTo>
                <a:cubicBezTo>
                  <a:pt x="8218" y="10219"/>
                  <a:pt x="8218" y="10219"/>
                  <a:pt x="8218" y="10219"/>
                </a:cubicBezTo>
                <a:close/>
                <a:moveTo>
                  <a:pt x="8437" y="9750"/>
                </a:moveTo>
                <a:cubicBezTo>
                  <a:pt x="8468" y="9750"/>
                  <a:pt x="8468" y="9750"/>
                  <a:pt x="8500" y="9750"/>
                </a:cubicBezTo>
                <a:cubicBezTo>
                  <a:pt x="8468" y="9750"/>
                  <a:pt x="8468" y="9750"/>
                  <a:pt x="8437" y="9750"/>
                </a:cubicBezTo>
                <a:cubicBezTo>
                  <a:pt x="8375" y="9750"/>
                  <a:pt x="8312" y="9750"/>
                  <a:pt x="8250" y="9750"/>
                </a:cubicBezTo>
                <a:cubicBezTo>
                  <a:pt x="8312" y="9750"/>
                  <a:pt x="8375" y="9750"/>
                  <a:pt x="8437" y="9750"/>
                </a:cubicBezTo>
                <a:close/>
                <a:moveTo>
                  <a:pt x="8312" y="11063"/>
                </a:moveTo>
                <a:cubicBezTo>
                  <a:pt x="8312" y="11094"/>
                  <a:pt x="8281" y="11094"/>
                  <a:pt x="8281" y="11094"/>
                </a:cubicBezTo>
                <a:cubicBezTo>
                  <a:pt x="8281" y="11094"/>
                  <a:pt x="8312" y="11094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ubicBezTo>
                  <a:pt x="8312" y="11063"/>
                  <a:pt x="8312" y="11063"/>
                  <a:pt x="8312" y="11063"/>
                </a:cubicBezTo>
                <a:close/>
                <a:moveTo>
                  <a:pt x="8375" y="10813"/>
                </a:moveTo>
                <a:cubicBezTo>
                  <a:pt x="8343" y="10813"/>
                  <a:pt x="8312" y="10813"/>
                  <a:pt x="8281" y="10813"/>
                </a:cubicBezTo>
                <a:cubicBezTo>
                  <a:pt x="8312" y="10813"/>
                  <a:pt x="8343" y="10813"/>
                  <a:pt x="8375" y="10813"/>
                </a:cubicBezTo>
                <a:cubicBezTo>
                  <a:pt x="8375" y="10813"/>
                  <a:pt x="8375" y="10813"/>
                  <a:pt x="8375" y="10813"/>
                </a:cubicBezTo>
                <a:close/>
                <a:moveTo>
                  <a:pt x="8406" y="10781"/>
                </a:moveTo>
                <a:cubicBezTo>
                  <a:pt x="8406" y="10781"/>
                  <a:pt x="8437" y="10781"/>
                  <a:pt x="8468" y="10781"/>
                </a:cubicBezTo>
                <a:cubicBezTo>
                  <a:pt x="8437" y="10781"/>
                  <a:pt x="8406" y="10781"/>
                  <a:pt x="8406" y="10781"/>
                </a:cubicBezTo>
                <a:close/>
                <a:moveTo>
                  <a:pt x="8468" y="10125"/>
                </a:moveTo>
                <a:cubicBezTo>
                  <a:pt x="8468" y="10125"/>
                  <a:pt x="8468" y="10125"/>
                  <a:pt x="8468" y="10125"/>
                </a:cubicBezTo>
                <a:cubicBezTo>
                  <a:pt x="8781" y="10125"/>
                  <a:pt x="9093" y="10125"/>
                  <a:pt x="9406" y="10156"/>
                </a:cubicBezTo>
                <a:cubicBezTo>
                  <a:pt x="9093" y="10125"/>
                  <a:pt x="8781" y="10125"/>
                  <a:pt x="8468" y="10125"/>
                </a:cubicBezTo>
                <a:close/>
                <a:moveTo>
                  <a:pt x="9156" y="10531"/>
                </a:moveTo>
                <a:cubicBezTo>
                  <a:pt x="9187" y="10531"/>
                  <a:pt x="9250" y="10531"/>
                  <a:pt x="9281" y="10563"/>
                </a:cubicBezTo>
                <a:cubicBezTo>
                  <a:pt x="9250" y="10531"/>
                  <a:pt x="9187" y="10531"/>
                  <a:pt x="9156" y="10531"/>
                </a:cubicBezTo>
                <a:close/>
                <a:moveTo>
                  <a:pt x="9468" y="10563"/>
                </a:moveTo>
                <a:cubicBezTo>
                  <a:pt x="9406" y="10563"/>
                  <a:pt x="9375" y="10563"/>
                  <a:pt x="9343" y="10563"/>
                </a:cubicBezTo>
                <a:cubicBezTo>
                  <a:pt x="9375" y="10563"/>
                  <a:pt x="9406" y="10563"/>
                  <a:pt x="9468" y="10563"/>
                </a:cubicBezTo>
                <a:cubicBezTo>
                  <a:pt x="9468" y="10563"/>
                  <a:pt x="9468" y="10563"/>
                  <a:pt x="9468" y="10563"/>
                </a:cubicBezTo>
                <a:close/>
                <a:moveTo>
                  <a:pt x="9468" y="10406"/>
                </a:moveTo>
                <a:cubicBezTo>
                  <a:pt x="9437" y="10406"/>
                  <a:pt x="9406" y="10406"/>
                  <a:pt x="9375" y="10375"/>
                </a:cubicBezTo>
                <a:cubicBezTo>
                  <a:pt x="9406" y="10406"/>
                  <a:pt x="9437" y="10406"/>
                  <a:pt x="9468" y="10406"/>
                </a:cubicBezTo>
                <a:cubicBezTo>
                  <a:pt x="9468" y="10406"/>
                  <a:pt x="9468" y="10406"/>
                  <a:pt x="9468" y="10406"/>
                </a:cubicBezTo>
                <a:close/>
                <a:moveTo>
                  <a:pt x="9718" y="10219"/>
                </a:moveTo>
                <a:cubicBezTo>
                  <a:pt x="9687" y="10219"/>
                  <a:pt x="9656" y="10219"/>
                  <a:pt x="9625" y="10219"/>
                </a:cubicBezTo>
                <a:cubicBezTo>
                  <a:pt x="9656" y="10219"/>
                  <a:pt x="9687" y="10219"/>
                  <a:pt x="9718" y="10219"/>
                </a:cubicBezTo>
                <a:cubicBezTo>
                  <a:pt x="9718" y="10219"/>
                  <a:pt x="9718" y="10219"/>
                  <a:pt x="9718" y="10219"/>
                </a:cubicBezTo>
                <a:close/>
                <a:moveTo>
                  <a:pt x="9812" y="10250"/>
                </a:moveTo>
                <a:cubicBezTo>
                  <a:pt x="9781" y="10250"/>
                  <a:pt x="9781" y="10250"/>
                  <a:pt x="9781" y="10281"/>
                </a:cubicBezTo>
                <a:cubicBezTo>
                  <a:pt x="9781" y="10281"/>
                  <a:pt x="9781" y="10281"/>
                  <a:pt x="9781" y="10281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781" y="10250"/>
                  <a:pt x="9781" y="10250"/>
                  <a:pt x="9750" y="10250"/>
                </a:cubicBezTo>
                <a:cubicBezTo>
                  <a:pt x="9781" y="10250"/>
                  <a:pt x="9781" y="10250"/>
                  <a:pt x="9812" y="10250"/>
                </a:cubicBezTo>
                <a:cubicBezTo>
                  <a:pt x="9812" y="10250"/>
                  <a:pt x="9843" y="10250"/>
                  <a:pt x="9875" y="10250"/>
                </a:cubicBezTo>
                <a:cubicBezTo>
                  <a:pt x="9843" y="10250"/>
                  <a:pt x="9812" y="10250"/>
                  <a:pt x="9812" y="10250"/>
                </a:cubicBezTo>
                <a:close/>
                <a:moveTo>
                  <a:pt x="10062" y="10281"/>
                </a:moveTo>
                <a:cubicBezTo>
                  <a:pt x="10062" y="10281"/>
                  <a:pt x="10062" y="10281"/>
                  <a:pt x="10031" y="10281"/>
                </a:cubicBezTo>
                <a:cubicBezTo>
                  <a:pt x="10062" y="10281"/>
                  <a:pt x="10062" y="10281"/>
                  <a:pt x="10062" y="10281"/>
                </a:cubicBezTo>
                <a:cubicBezTo>
                  <a:pt x="10093" y="10281"/>
                  <a:pt x="10093" y="10281"/>
                  <a:pt x="10093" y="10281"/>
                </a:cubicBezTo>
                <a:cubicBezTo>
                  <a:pt x="10093" y="10281"/>
                  <a:pt x="10093" y="10281"/>
                  <a:pt x="10062" y="10281"/>
                </a:cubicBezTo>
                <a:close/>
                <a:moveTo>
                  <a:pt x="10156" y="10313"/>
                </a:moveTo>
                <a:cubicBezTo>
                  <a:pt x="10156" y="10313"/>
                  <a:pt x="10156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ubicBezTo>
                  <a:pt x="10125" y="10313"/>
                  <a:pt x="10125" y="10313"/>
                  <a:pt x="10093" y="10281"/>
                </a:cubicBezTo>
                <a:cubicBezTo>
                  <a:pt x="10125" y="10313"/>
                  <a:pt x="10125" y="10313"/>
                  <a:pt x="10156" y="10313"/>
                </a:cubicBezTo>
                <a:cubicBezTo>
                  <a:pt x="10187" y="10313"/>
                  <a:pt x="10187" y="10281"/>
                  <a:pt x="10218" y="10313"/>
                </a:cubicBezTo>
                <a:cubicBezTo>
                  <a:pt x="10187" y="10281"/>
                  <a:pt x="10187" y="10313"/>
                  <a:pt x="10156" y="10313"/>
                </a:cubicBezTo>
                <a:cubicBezTo>
                  <a:pt x="10156" y="10313"/>
                  <a:pt x="10156" y="10313"/>
                  <a:pt x="10156" y="10313"/>
                </a:cubicBezTo>
                <a:close/>
                <a:moveTo>
                  <a:pt x="10187" y="11125"/>
                </a:moveTo>
                <a:cubicBezTo>
                  <a:pt x="10187" y="11125"/>
                  <a:pt x="10187" y="11125"/>
                  <a:pt x="10187" y="11125"/>
                </a:cubicBezTo>
                <a:cubicBezTo>
                  <a:pt x="10187" y="11125"/>
                  <a:pt x="10218" y="11125"/>
                  <a:pt x="10218" y="11125"/>
                </a:cubicBezTo>
                <a:cubicBezTo>
                  <a:pt x="10218" y="11125"/>
                  <a:pt x="10187" y="11125"/>
                  <a:pt x="10187" y="11125"/>
                </a:cubicBezTo>
                <a:close/>
                <a:moveTo>
                  <a:pt x="10312" y="10313"/>
                </a:moveTo>
                <a:cubicBezTo>
                  <a:pt x="10281" y="10313"/>
                  <a:pt x="10250" y="10313"/>
                  <a:pt x="10218" y="10313"/>
                </a:cubicBezTo>
                <a:cubicBezTo>
                  <a:pt x="10250" y="10313"/>
                  <a:pt x="10281" y="10313"/>
                  <a:pt x="10312" y="10313"/>
                </a:cubicBezTo>
                <a:cubicBezTo>
                  <a:pt x="10312" y="10313"/>
                  <a:pt x="10312" y="10344"/>
                  <a:pt x="10312" y="10344"/>
                </a:cubicBezTo>
                <a:cubicBezTo>
                  <a:pt x="10312" y="10344"/>
                  <a:pt x="10312" y="10313"/>
                  <a:pt x="10312" y="10313"/>
                </a:cubicBezTo>
                <a:close/>
                <a:moveTo>
                  <a:pt x="11062" y="9625"/>
                </a:moveTo>
                <a:cubicBezTo>
                  <a:pt x="11093" y="9625"/>
                  <a:pt x="11125" y="9625"/>
                  <a:pt x="11187" y="9625"/>
                </a:cubicBezTo>
                <a:cubicBezTo>
                  <a:pt x="11125" y="9625"/>
                  <a:pt x="11093" y="9625"/>
                  <a:pt x="11062" y="9625"/>
                </a:cubicBezTo>
                <a:cubicBezTo>
                  <a:pt x="10937" y="9563"/>
                  <a:pt x="10843" y="9531"/>
                  <a:pt x="10750" y="9531"/>
                </a:cubicBezTo>
                <a:cubicBezTo>
                  <a:pt x="10843" y="9531"/>
                  <a:pt x="10937" y="9563"/>
                  <a:pt x="11062" y="9625"/>
                </a:cubicBezTo>
                <a:close/>
                <a:moveTo>
                  <a:pt x="10937" y="10469"/>
                </a:moveTo>
                <a:cubicBezTo>
                  <a:pt x="10968" y="10469"/>
                  <a:pt x="10968" y="10469"/>
                  <a:pt x="10968" y="10469"/>
                </a:cubicBezTo>
                <a:cubicBezTo>
                  <a:pt x="10968" y="10500"/>
                  <a:pt x="10968" y="10500"/>
                  <a:pt x="11000" y="10500"/>
                </a:cubicBezTo>
                <a:cubicBezTo>
                  <a:pt x="11000" y="10500"/>
                  <a:pt x="11000" y="10500"/>
                  <a:pt x="11000" y="10500"/>
                </a:cubicBezTo>
                <a:cubicBezTo>
                  <a:pt x="10968" y="10500"/>
                  <a:pt x="10968" y="10500"/>
                  <a:pt x="10968" y="10469"/>
                </a:cubicBezTo>
                <a:cubicBezTo>
                  <a:pt x="10937" y="10500"/>
                  <a:pt x="10937" y="10469"/>
                  <a:pt x="10906" y="10469"/>
                </a:cubicBezTo>
                <a:cubicBezTo>
                  <a:pt x="10937" y="10469"/>
                  <a:pt x="10937" y="10500"/>
                  <a:pt x="10968" y="10469"/>
                </a:cubicBezTo>
                <a:cubicBezTo>
                  <a:pt x="10968" y="10469"/>
                  <a:pt x="10968" y="10469"/>
                  <a:pt x="10937" y="10469"/>
                </a:cubicBezTo>
                <a:close/>
                <a:moveTo>
                  <a:pt x="10968" y="10438"/>
                </a:moveTo>
                <a:cubicBezTo>
                  <a:pt x="11000" y="10438"/>
                  <a:pt x="11000" y="10438"/>
                  <a:pt x="11031" y="10469"/>
                </a:cubicBezTo>
                <a:cubicBezTo>
                  <a:pt x="11031" y="10469"/>
                  <a:pt x="11031" y="10469"/>
                  <a:pt x="11031" y="10469"/>
                </a:cubicBezTo>
                <a:cubicBezTo>
                  <a:pt x="11000" y="10438"/>
                  <a:pt x="11000" y="10438"/>
                  <a:pt x="10968" y="10438"/>
                </a:cubicBezTo>
                <a:close/>
                <a:moveTo>
                  <a:pt x="11031" y="9656"/>
                </a:moveTo>
                <a:cubicBezTo>
                  <a:pt x="11031" y="9656"/>
                  <a:pt x="11062" y="9688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93" y="9656"/>
                  <a:pt x="11093" y="9656"/>
                  <a:pt x="11093" y="9656"/>
                </a:cubicBezTo>
                <a:cubicBezTo>
                  <a:pt x="11062" y="9688"/>
                  <a:pt x="11031" y="9656"/>
                  <a:pt x="11031" y="9656"/>
                </a:cubicBezTo>
                <a:close/>
                <a:moveTo>
                  <a:pt x="11000" y="9625"/>
                </a:moveTo>
                <a:cubicBezTo>
                  <a:pt x="11000" y="9625"/>
                  <a:pt x="11031" y="9625"/>
                  <a:pt x="11031" y="9625"/>
                </a:cubicBezTo>
                <a:cubicBezTo>
                  <a:pt x="11031" y="9625"/>
                  <a:pt x="11000" y="9625"/>
                  <a:pt x="11000" y="9625"/>
                </a:cubicBezTo>
                <a:cubicBezTo>
                  <a:pt x="10875" y="9594"/>
                  <a:pt x="10750" y="9563"/>
                  <a:pt x="10625" y="9531"/>
                </a:cubicBezTo>
                <a:cubicBezTo>
                  <a:pt x="10750" y="9563"/>
                  <a:pt x="10875" y="9594"/>
                  <a:pt x="11000" y="9625"/>
                </a:cubicBezTo>
                <a:close/>
                <a:moveTo>
                  <a:pt x="10875" y="10438"/>
                </a:moveTo>
                <a:cubicBezTo>
                  <a:pt x="10875" y="10438"/>
                  <a:pt x="10875" y="10438"/>
                  <a:pt x="10875" y="10438"/>
                </a:cubicBezTo>
                <a:cubicBezTo>
                  <a:pt x="10875" y="10438"/>
                  <a:pt x="10875" y="10438"/>
                  <a:pt x="10875" y="10438"/>
                </a:cubicBezTo>
                <a:close/>
                <a:moveTo>
                  <a:pt x="10781" y="10438"/>
                </a:moveTo>
                <a:cubicBezTo>
                  <a:pt x="10781" y="10438"/>
                  <a:pt x="10781" y="10438"/>
                  <a:pt x="10781" y="10438"/>
                </a:cubicBezTo>
                <a:cubicBezTo>
                  <a:pt x="10781" y="10438"/>
                  <a:pt x="10750" y="10438"/>
                  <a:pt x="10750" y="10438"/>
                </a:cubicBezTo>
                <a:cubicBezTo>
                  <a:pt x="10750" y="10438"/>
                  <a:pt x="10781" y="10438"/>
                  <a:pt x="10781" y="10438"/>
                </a:cubicBezTo>
                <a:close/>
                <a:moveTo>
                  <a:pt x="10625" y="10406"/>
                </a:moveTo>
                <a:cubicBezTo>
                  <a:pt x="10625" y="10406"/>
                  <a:pt x="10625" y="10406"/>
                  <a:pt x="10625" y="10406"/>
                </a:cubicBezTo>
                <a:cubicBezTo>
                  <a:pt x="10625" y="10406"/>
                  <a:pt x="10593" y="10375"/>
                  <a:pt x="10593" y="10375"/>
                </a:cubicBezTo>
                <a:cubicBezTo>
                  <a:pt x="10593" y="10375"/>
                  <a:pt x="10625" y="10406"/>
                  <a:pt x="10625" y="10406"/>
                </a:cubicBezTo>
                <a:close/>
                <a:moveTo>
                  <a:pt x="10437" y="10344"/>
                </a:move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ubicBezTo>
                  <a:pt x="10437" y="10344"/>
                  <a:pt x="10437" y="10344"/>
                  <a:pt x="10437" y="10344"/>
                </a:cubicBezTo>
                <a:close/>
                <a:moveTo>
                  <a:pt x="10500" y="11219"/>
                </a:moveTo>
                <a:cubicBezTo>
                  <a:pt x="10468" y="11188"/>
                  <a:pt x="10406" y="11188"/>
                  <a:pt x="10343" y="11188"/>
                </a:cubicBezTo>
                <a:cubicBezTo>
                  <a:pt x="10406" y="11188"/>
                  <a:pt x="10468" y="11188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ubicBezTo>
                  <a:pt x="10500" y="11219"/>
                  <a:pt x="10500" y="11219"/>
                  <a:pt x="10500" y="11219"/>
                </a:cubicBezTo>
                <a:close/>
                <a:moveTo>
                  <a:pt x="11093" y="10563"/>
                </a:moveTo>
                <a:cubicBezTo>
                  <a:pt x="10906" y="10531"/>
                  <a:pt x="10687" y="10469"/>
                  <a:pt x="10500" y="10406"/>
                </a:cubicBezTo>
                <a:cubicBezTo>
                  <a:pt x="10687" y="10469"/>
                  <a:pt x="10906" y="10531"/>
                  <a:pt x="11093" y="10563"/>
                </a:cubicBezTo>
                <a:cubicBezTo>
                  <a:pt x="11093" y="10563"/>
                  <a:pt x="11093" y="10563"/>
                  <a:pt x="11093" y="10563"/>
                </a:cubicBezTo>
                <a:close/>
                <a:moveTo>
                  <a:pt x="11187" y="10563"/>
                </a:moveTo>
                <a:cubicBezTo>
                  <a:pt x="11156" y="10594"/>
                  <a:pt x="11156" y="10594"/>
                  <a:pt x="11125" y="10594"/>
                </a:cubicBezTo>
                <a:cubicBezTo>
                  <a:pt x="11156" y="10594"/>
                  <a:pt x="11156" y="10594"/>
                  <a:pt x="11187" y="10563"/>
                </a:cubicBezTo>
                <a:cubicBezTo>
                  <a:pt x="11187" y="10563"/>
                  <a:pt x="11187" y="10563"/>
                  <a:pt x="11187" y="10563"/>
                </a:cubicBezTo>
                <a:close/>
                <a:moveTo>
                  <a:pt x="11187" y="10563"/>
                </a:moveTo>
                <a:cubicBezTo>
                  <a:pt x="11187" y="10563"/>
                  <a:pt x="11187" y="10563"/>
                  <a:pt x="11187" y="10563"/>
                </a:cubicBezTo>
                <a:cubicBezTo>
                  <a:pt x="11187" y="10594"/>
                  <a:pt x="11218" y="10594"/>
                  <a:pt x="11218" y="10594"/>
                </a:cubicBezTo>
                <a:cubicBezTo>
                  <a:pt x="11218" y="10594"/>
                  <a:pt x="11187" y="10594"/>
                  <a:pt x="11187" y="10563"/>
                </a:cubicBezTo>
                <a:close/>
                <a:moveTo>
                  <a:pt x="13312" y="13125"/>
                </a:move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ubicBezTo>
                  <a:pt x="13312" y="13125"/>
                  <a:pt x="13312" y="13125"/>
                  <a:pt x="13312" y="13125"/>
                </a:cubicBezTo>
                <a:close/>
                <a:moveTo>
                  <a:pt x="13531" y="13250"/>
                </a:move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ubicBezTo>
                  <a:pt x="13531" y="13250"/>
                  <a:pt x="13531" y="13250"/>
                  <a:pt x="13531" y="13250"/>
                </a:cubicBezTo>
                <a:close/>
                <a:moveTo>
                  <a:pt x="11875" y="9813"/>
                </a:moveTo>
                <a:cubicBezTo>
                  <a:pt x="11906" y="9813"/>
                  <a:pt x="11937" y="9813"/>
                  <a:pt x="11968" y="9813"/>
                </a:cubicBezTo>
                <a:cubicBezTo>
                  <a:pt x="11937" y="9813"/>
                  <a:pt x="11906" y="9813"/>
                  <a:pt x="11875" y="9813"/>
                </a:cubicBezTo>
                <a:cubicBezTo>
                  <a:pt x="11875" y="9844"/>
                  <a:pt x="11843" y="9844"/>
                  <a:pt x="11812" y="9844"/>
                </a:cubicBezTo>
                <a:cubicBezTo>
                  <a:pt x="11843" y="9844"/>
                  <a:pt x="11875" y="9844"/>
                  <a:pt x="11875" y="9813"/>
                </a:cubicBezTo>
                <a:close/>
                <a:moveTo>
                  <a:pt x="12156" y="9969"/>
                </a:moveTo>
                <a:cubicBezTo>
                  <a:pt x="12312" y="10031"/>
                  <a:pt x="12468" y="10063"/>
                  <a:pt x="12625" y="10125"/>
                </a:cubicBezTo>
                <a:cubicBezTo>
                  <a:pt x="12468" y="10063"/>
                  <a:pt x="12312" y="10031"/>
                  <a:pt x="12156" y="9969"/>
                </a:cubicBezTo>
                <a:cubicBezTo>
                  <a:pt x="11937" y="9906"/>
                  <a:pt x="11750" y="9844"/>
                  <a:pt x="11531" y="9781"/>
                </a:cubicBezTo>
                <a:cubicBezTo>
                  <a:pt x="11750" y="9844"/>
                  <a:pt x="11937" y="9906"/>
                  <a:pt x="12156" y="9969"/>
                </a:cubicBezTo>
                <a:close/>
                <a:moveTo>
                  <a:pt x="11468" y="10750"/>
                </a:moveTo>
                <a:cubicBezTo>
                  <a:pt x="11468" y="10750"/>
                  <a:pt x="11468" y="10750"/>
                  <a:pt x="11437" y="10750"/>
                </a:cubicBezTo>
                <a:cubicBezTo>
                  <a:pt x="11468" y="10750"/>
                  <a:pt x="11468" y="10750"/>
                  <a:pt x="11468" y="10750"/>
                </a:cubicBezTo>
                <a:cubicBezTo>
                  <a:pt x="11500" y="10750"/>
                  <a:pt x="11531" y="10750"/>
                  <a:pt x="11562" y="10750"/>
                </a:cubicBezTo>
                <a:cubicBezTo>
                  <a:pt x="11531" y="10750"/>
                  <a:pt x="11500" y="10750"/>
                  <a:pt x="11468" y="10750"/>
                </a:cubicBezTo>
                <a:close/>
                <a:moveTo>
                  <a:pt x="11625" y="10813"/>
                </a:moveTo>
                <a:cubicBezTo>
                  <a:pt x="11625" y="10813"/>
                  <a:pt x="11625" y="10813"/>
                  <a:pt x="11625" y="10813"/>
                </a:cubicBezTo>
                <a:cubicBezTo>
                  <a:pt x="11593" y="10813"/>
                  <a:pt x="11593" y="10813"/>
                  <a:pt x="11562" y="10813"/>
                </a:cubicBezTo>
                <a:cubicBezTo>
                  <a:pt x="11593" y="10813"/>
                  <a:pt x="11593" y="10813"/>
                  <a:pt x="11625" y="10813"/>
                </a:cubicBezTo>
                <a:close/>
                <a:moveTo>
                  <a:pt x="11593" y="11406"/>
                </a:moveTo>
                <a:cubicBezTo>
                  <a:pt x="11625" y="11438"/>
                  <a:pt x="11656" y="11438"/>
                  <a:pt x="11656" y="11469"/>
                </a:cubicBezTo>
                <a:cubicBezTo>
                  <a:pt x="11781" y="11469"/>
                  <a:pt x="11875" y="11500"/>
                  <a:pt x="11968" y="11531"/>
                </a:cubicBezTo>
                <a:cubicBezTo>
                  <a:pt x="11875" y="11500"/>
                  <a:pt x="11781" y="11469"/>
                  <a:pt x="11656" y="11469"/>
                </a:cubicBezTo>
                <a:cubicBezTo>
                  <a:pt x="11656" y="11438"/>
                  <a:pt x="11625" y="11438"/>
                  <a:pt x="11593" y="11406"/>
                </a:cubicBezTo>
                <a:close/>
                <a:moveTo>
                  <a:pt x="11625" y="11563"/>
                </a:moveTo>
                <a:cubicBezTo>
                  <a:pt x="11875" y="11656"/>
                  <a:pt x="12125" y="11750"/>
                  <a:pt x="12375" y="11844"/>
                </a:cubicBezTo>
                <a:cubicBezTo>
                  <a:pt x="12375" y="11844"/>
                  <a:pt x="12406" y="11844"/>
                  <a:pt x="12437" y="11875"/>
                </a:cubicBezTo>
                <a:cubicBezTo>
                  <a:pt x="12406" y="11844"/>
                  <a:pt x="12375" y="11844"/>
                  <a:pt x="12375" y="11844"/>
                </a:cubicBezTo>
                <a:cubicBezTo>
                  <a:pt x="12125" y="11750"/>
                  <a:pt x="11875" y="11656"/>
                  <a:pt x="11625" y="11563"/>
                </a:cubicBezTo>
                <a:close/>
                <a:moveTo>
                  <a:pt x="11843" y="11719"/>
                </a:moveTo>
                <a:cubicBezTo>
                  <a:pt x="11843" y="11688"/>
                  <a:pt x="11843" y="11688"/>
                  <a:pt x="11812" y="11688"/>
                </a:cubicBezTo>
                <a:cubicBezTo>
                  <a:pt x="11781" y="11688"/>
                  <a:pt x="11781" y="11688"/>
                  <a:pt x="11781" y="11719"/>
                </a:cubicBezTo>
                <a:cubicBezTo>
                  <a:pt x="11781" y="11688"/>
                  <a:pt x="11781" y="11688"/>
                  <a:pt x="11812" y="11688"/>
                </a:cubicBezTo>
                <a:cubicBezTo>
                  <a:pt x="11843" y="11688"/>
                  <a:pt x="11843" y="11688"/>
                  <a:pt x="11843" y="11719"/>
                </a:cubicBezTo>
                <a:close/>
                <a:moveTo>
                  <a:pt x="11812" y="11750"/>
                </a:moveTo>
                <a:cubicBezTo>
                  <a:pt x="11781" y="11750"/>
                  <a:pt x="11781" y="11750"/>
                  <a:pt x="11750" y="11750"/>
                </a:cubicBezTo>
                <a:cubicBezTo>
                  <a:pt x="11781" y="11750"/>
                  <a:pt x="11781" y="11750"/>
                  <a:pt x="11812" y="11750"/>
                </a:cubicBezTo>
                <a:cubicBezTo>
                  <a:pt x="11906" y="11781"/>
                  <a:pt x="12000" y="11844"/>
                  <a:pt x="12093" y="11906"/>
                </a:cubicBezTo>
                <a:cubicBezTo>
                  <a:pt x="12000" y="11844"/>
                  <a:pt x="11906" y="11781"/>
                  <a:pt x="11812" y="11750"/>
                </a:cubicBezTo>
                <a:close/>
                <a:moveTo>
                  <a:pt x="12562" y="11938"/>
                </a:moveTo>
                <a:cubicBezTo>
                  <a:pt x="12343" y="11875"/>
                  <a:pt x="12125" y="11813"/>
                  <a:pt x="11906" y="11750"/>
                </a:cubicBezTo>
                <a:cubicBezTo>
                  <a:pt x="12125" y="11813"/>
                  <a:pt x="12343" y="11875"/>
                  <a:pt x="12562" y="11938"/>
                </a:cubicBezTo>
                <a:cubicBezTo>
                  <a:pt x="12562" y="11938"/>
                  <a:pt x="12562" y="11938"/>
                  <a:pt x="12562" y="11938"/>
                </a:cubicBezTo>
                <a:close/>
                <a:moveTo>
                  <a:pt x="13031" y="12656"/>
                </a:moveTo>
                <a:cubicBezTo>
                  <a:pt x="13000" y="12656"/>
                  <a:pt x="12937" y="12625"/>
                  <a:pt x="12906" y="12594"/>
                </a:cubicBezTo>
                <a:cubicBezTo>
                  <a:pt x="12937" y="12625"/>
                  <a:pt x="13000" y="12656"/>
                  <a:pt x="13031" y="12656"/>
                </a:cubicBezTo>
                <a:cubicBezTo>
                  <a:pt x="13031" y="12656"/>
                  <a:pt x="13031" y="12656"/>
                  <a:pt x="13062" y="12656"/>
                </a:cubicBezTo>
                <a:lnTo>
                  <a:pt x="13031" y="12656"/>
                </a:lnTo>
                <a:close/>
                <a:moveTo>
                  <a:pt x="13093" y="12688"/>
                </a:moveTo>
                <a:cubicBezTo>
                  <a:pt x="13093" y="12688"/>
                  <a:pt x="13062" y="12688"/>
                  <a:pt x="13062" y="12656"/>
                </a:cubicBezTo>
                <a:cubicBezTo>
                  <a:pt x="13062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ubicBezTo>
                  <a:pt x="13093" y="12688"/>
                  <a:pt x="13093" y="12688"/>
                  <a:pt x="13093" y="12688"/>
                </a:cubicBezTo>
                <a:close/>
                <a:moveTo>
                  <a:pt x="13187" y="12031"/>
                </a:moveTo>
                <a:cubicBezTo>
                  <a:pt x="12968" y="11938"/>
                  <a:pt x="12750" y="11844"/>
                  <a:pt x="12562" y="11750"/>
                </a:cubicBezTo>
                <a:cubicBezTo>
                  <a:pt x="12750" y="11844"/>
                  <a:pt x="12968" y="11938"/>
                  <a:pt x="13187" y="12031"/>
                </a:cubicBezTo>
                <a:cubicBezTo>
                  <a:pt x="13187" y="12031"/>
                  <a:pt x="13187" y="12031"/>
                  <a:pt x="13187" y="12031"/>
                </a:cubicBezTo>
                <a:close/>
                <a:moveTo>
                  <a:pt x="13187" y="12000"/>
                </a:move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ubicBezTo>
                  <a:pt x="13187" y="12000"/>
                  <a:pt x="13187" y="12000"/>
                  <a:pt x="13187" y="12000"/>
                </a:cubicBezTo>
                <a:close/>
                <a:moveTo>
                  <a:pt x="13218" y="12000"/>
                </a:moveTo>
                <a:cubicBezTo>
                  <a:pt x="13218" y="12000"/>
                  <a:pt x="13218" y="12000"/>
                  <a:pt x="13218" y="12000"/>
                </a:cubicBezTo>
                <a:cubicBezTo>
                  <a:pt x="13218" y="12000"/>
                  <a:pt x="13218" y="12000"/>
                  <a:pt x="13218" y="12000"/>
                </a:cubicBezTo>
                <a:close/>
                <a:moveTo>
                  <a:pt x="13937" y="11563"/>
                </a:moveTo>
                <a:cubicBezTo>
                  <a:pt x="13906" y="11563"/>
                  <a:pt x="13906" y="11563"/>
                  <a:pt x="13875" y="11563"/>
                </a:cubicBezTo>
                <a:cubicBezTo>
                  <a:pt x="13906" y="11563"/>
                  <a:pt x="13906" y="11563"/>
                  <a:pt x="13937" y="11563"/>
                </a:cubicBezTo>
                <a:cubicBezTo>
                  <a:pt x="13937" y="11563"/>
                  <a:pt x="13968" y="11563"/>
                  <a:pt x="14000" y="11563"/>
                </a:cubicBezTo>
                <a:cubicBezTo>
                  <a:pt x="13968" y="11563"/>
                  <a:pt x="13937" y="11563"/>
                  <a:pt x="13937" y="11563"/>
                </a:cubicBezTo>
                <a:close/>
                <a:moveTo>
                  <a:pt x="14000" y="11500"/>
                </a:moveTo>
                <a:cubicBezTo>
                  <a:pt x="13906" y="11469"/>
                  <a:pt x="13812" y="11406"/>
                  <a:pt x="13687" y="11375"/>
                </a:cubicBezTo>
                <a:cubicBezTo>
                  <a:pt x="13812" y="11406"/>
                  <a:pt x="13906" y="11469"/>
                  <a:pt x="14000" y="11500"/>
                </a:cubicBezTo>
                <a:cubicBezTo>
                  <a:pt x="14062" y="11500"/>
                  <a:pt x="14093" y="11531"/>
                  <a:pt x="14156" y="11563"/>
                </a:cubicBezTo>
                <a:cubicBezTo>
                  <a:pt x="14093" y="11531"/>
                  <a:pt x="14062" y="11500"/>
                  <a:pt x="14000" y="11500"/>
                </a:cubicBezTo>
                <a:close/>
                <a:moveTo>
                  <a:pt x="14406" y="10875"/>
                </a:moveTo>
                <a:cubicBezTo>
                  <a:pt x="14406" y="10875"/>
                  <a:pt x="14406" y="10875"/>
                  <a:pt x="14437" y="10875"/>
                </a:cubicBezTo>
                <a:cubicBezTo>
                  <a:pt x="14437" y="10875"/>
                  <a:pt x="14437" y="10875"/>
                  <a:pt x="14437" y="10906"/>
                </a:cubicBezTo>
                <a:cubicBezTo>
                  <a:pt x="14437" y="10906"/>
                  <a:pt x="14437" y="10906"/>
                  <a:pt x="14437" y="10906"/>
                </a:cubicBezTo>
                <a:cubicBezTo>
                  <a:pt x="14437" y="10875"/>
                  <a:pt x="14437" y="10875"/>
                  <a:pt x="14437" y="10875"/>
                </a:cubicBezTo>
                <a:cubicBezTo>
                  <a:pt x="14406" y="10875"/>
                  <a:pt x="14406" y="10875"/>
                  <a:pt x="14406" y="10875"/>
                </a:cubicBezTo>
                <a:cubicBezTo>
                  <a:pt x="14343" y="10844"/>
                  <a:pt x="14250" y="10813"/>
                  <a:pt x="14187" y="10781"/>
                </a:cubicBezTo>
                <a:cubicBezTo>
                  <a:pt x="14250" y="10813"/>
                  <a:pt x="14343" y="10844"/>
                  <a:pt x="14406" y="10875"/>
                </a:cubicBezTo>
                <a:close/>
                <a:moveTo>
                  <a:pt x="14187" y="13375"/>
                </a:moveTo>
                <a:cubicBezTo>
                  <a:pt x="14250" y="13406"/>
                  <a:pt x="14312" y="13438"/>
                  <a:pt x="14375" y="13438"/>
                </a:cubicBezTo>
                <a:cubicBezTo>
                  <a:pt x="14375" y="13438"/>
                  <a:pt x="14375" y="13438"/>
                  <a:pt x="14375" y="13438"/>
                </a:cubicBezTo>
                <a:cubicBezTo>
                  <a:pt x="14312" y="13438"/>
                  <a:pt x="14250" y="13406"/>
                  <a:pt x="14187" y="13375"/>
                </a:cubicBezTo>
                <a:close/>
                <a:moveTo>
                  <a:pt x="14375" y="11063"/>
                </a:moveTo>
                <a:cubicBezTo>
                  <a:pt x="14406" y="11094"/>
                  <a:pt x="14437" y="11125"/>
                  <a:pt x="14468" y="11125"/>
                </a:cubicBezTo>
                <a:cubicBezTo>
                  <a:pt x="14437" y="11125"/>
                  <a:pt x="14406" y="11094"/>
                  <a:pt x="14375" y="11063"/>
                </a:cubicBezTo>
                <a:close/>
                <a:moveTo>
                  <a:pt x="14500" y="11125"/>
                </a:moveTo>
                <a:cubicBezTo>
                  <a:pt x="14531" y="11125"/>
                  <a:pt x="14531" y="11125"/>
                  <a:pt x="14562" y="11125"/>
                </a:cubicBezTo>
                <a:cubicBezTo>
                  <a:pt x="14562" y="11125"/>
                  <a:pt x="14562" y="11125"/>
                  <a:pt x="14562" y="11125"/>
                </a:cubicBezTo>
                <a:cubicBezTo>
                  <a:pt x="14531" y="11125"/>
                  <a:pt x="14531" y="11125"/>
                  <a:pt x="14500" y="11125"/>
                </a:cubicBezTo>
                <a:close/>
                <a:moveTo>
                  <a:pt x="14562" y="12719"/>
                </a:moveTo>
                <a:cubicBezTo>
                  <a:pt x="14562" y="12719"/>
                  <a:pt x="14562" y="12719"/>
                  <a:pt x="14531" y="12719"/>
                </a:cubicBezTo>
                <a:cubicBezTo>
                  <a:pt x="14562" y="12719"/>
                  <a:pt x="14562" y="12719"/>
                  <a:pt x="14562" y="12719"/>
                </a:cubicBezTo>
                <a:cubicBezTo>
                  <a:pt x="14562" y="12719"/>
                  <a:pt x="14562" y="12719"/>
                  <a:pt x="14562" y="12719"/>
                </a:cubicBezTo>
                <a:close/>
                <a:moveTo>
                  <a:pt x="14562" y="11781"/>
                </a:move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ubicBezTo>
                  <a:pt x="14562" y="11781"/>
                  <a:pt x="14562" y="11781"/>
                  <a:pt x="14562" y="11781"/>
                </a:cubicBezTo>
                <a:close/>
                <a:moveTo>
                  <a:pt x="14562" y="11125"/>
                </a:moveTo>
                <a:cubicBezTo>
                  <a:pt x="14562" y="11125"/>
                  <a:pt x="14562" y="11125"/>
                  <a:pt x="14562" y="11125"/>
                </a:cubicBezTo>
                <a:cubicBezTo>
                  <a:pt x="14593" y="11156"/>
                  <a:pt x="14593" y="11156"/>
                  <a:pt x="14625" y="11188"/>
                </a:cubicBezTo>
                <a:cubicBezTo>
                  <a:pt x="14593" y="11156"/>
                  <a:pt x="14593" y="11156"/>
                  <a:pt x="14562" y="11125"/>
                </a:cubicBezTo>
                <a:close/>
                <a:moveTo>
                  <a:pt x="14937" y="14563"/>
                </a:moveTo>
                <a:cubicBezTo>
                  <a:pt x="14937" y="14563"/>
                  <a:pt x="14906" y="14563"/>
                  <a:pt x="14875" y="14531"/>
                </a:cubicBezTo>
                <a:cubicBezTo>
                  <a:pt x="14906" y="14563"/>
                  <a:pt x="14937" y="14563"/>
                  <a:pt x="14937" y="14563"/>
                </a:cubicBezTo>
                <a:cubicBezTo>
                  <a:pt x="14937" y="14563"/>
                  <a:pt x="14968" y="14563"/>
                  <a:pt x="14968" y="14531"/>
                </a:cubicBezTo>
                <a:cubicBezTo>
                  <a:pt x="14968" y="14563"/>
                  <a:pt x="14937" y="14563"/>
                  <a:pt x="14937" y="14563"/>
                </a:cubicBezTo>
                <a:close/>
                <a:moveTo>
                  <a:pt x="16562" y="11875"/>
                </a:moveTo>
                <a:cubicBezTo>
                  <a:pt x="16562" y="11875"/>
                  <a:pt x="16562" y="11875"/>
                  <a:pt x="16562" y="11875"/>
                </a:cubicBezTo>
                <a:cubicBezTo>
                  <a:pt x="16562" y="11875"/>
                  <a:pt x="16562" y="11844"/>
                  <a:pt x="16531" y="11844"/>
                </a:cubicBezTo>
                <a:cubicBezTo>
                  <a:pt x="16562" y="11844"/>
                  <a:pt x="16562" y="11875"/>
                  <a:pt x="16562" y="11875"/>
                </a:cubicBezTo>
                <a:close/>
                <a:moveTo>
                  <a:pt x="16468" y="11844"/>
                </a:moveTo>
                <a:cubicBezTo>
                  <a:pt x="16468" y="11844"/>
                  <a:pt x="16468" y="11844"/>
                  <a:pt x="16468" y="11844"/>
                </a:cubicBezTo>
                <a:cubicBezTo>
                  <a:pt x="16468" y="11844"/>
                  <a:pt x="16437" y="11844"/>
                  <a:pt x="16406" y="11813"/>
                </a:cubicBezTo>
                <a:cubicBezTo>
                  <a:pt x="16437" y="11844"/>
                  <a:pt x="16468" y="11844"/>
                  <a:pt x="16468" y="11844"/>
                </a:cubicBezTo>
                <a:close/>
                <a:moveTo>
                  <a:pt x="15718" y="12375"/>
                </a:moveTo>
                <a:cubicBezTo>
                  <a:pt x="15781" y="12500"/>
                  <a:pt x="15812" y="12531"/>
                  <a:pt x="15843" y="12531"/>
                </a:cubicBezTo>
                <a:cubicBezTo>
                  <a:pt x="15812" y="12531"/>
                  <a:pt x="15781" y="12500"/>
                  <a:pt x="15718" y="12375"/>
                </a:cubicBezTo>
                <a:cubicBezTo>
                  <a:pt x="15656" y="12375"/>
                  <a:pt x="15593" y="12344"/>
                  <a:pt x="15531" y="12313"/>
                </a:cubicBezTo>
                <a:cubicBezTo>
                  <a:pt x="15593" y="12344"/>
                  <a:pt x="15656" y="12375"/>
                  <a:pt x="15718" y="12375"/>
                </a:cubicBezTo>
                <a:close/>
                <a:moveTo>
                  <a:pt x="15718" y="12531"/>
                </a:moveTo>
                <a:cubicBezTo>
                  <a:pt x="15718" y="12531"/>
                  <a:pt x="15687" y="12500"/>
                  <a:pt x="15687" y="12500"/>
                </a:cubicBezTo>
                <a:cubicBezTo>
                  <a:pt x="15687" y="12500"/>
                  <a:pt x="15687" y="12500"/>
                  <a:pt x="15687" y="12469"/>
                </a:cubicBezTo>
                <a:cubicBezTo>
                  <a:pt x="15687" y="12500"/>
                  <a:pt x="15687" y="12500"/>
                  <a:pt x="15687" y="12500"/>
                </a:cubicBezTo>
                <a:cubicBezTo>
                  <a:pt x="15687" y="12500"/>
                  <a:pt x="15718" y="12531"/>
                  <a:pt x="15718" y="12531"/>
                </a:cubicBezTo>
                <a:close/>
                <a:moveTo>
                  <a:pt x="15593" y="12438"/>
                </a:moveTo>
                <a:cubicBezTo>
                  <a:pt x="15593" y="12438"/>
                  <a:pt x="15593" y="12438"/>
                  <a:pt x="15625" y="12406"/>
                </a:cubicBezTo>
                <a:cubicBezTo>
                  <a:pt x="15593" y="12438"/>
                  <a:pt x="15593" y="12438"/>
                  <a:pt x="15593" y="12438"/>
                </a:cubicBezTo>
                <a:cubicBezTo>
                  <a:pt x="15562" y="12469"/>
                  <a:pt x="15562" y="12469"/>
                  <a:pt x="15531" y="12500"/>
                </a:cubicBezTo>
                <a:cubicBezTo>
                  <a:pt x="15562" y="12469"/>
                  <a:pt x="15562" y="12469"/>
                  <a:pt x="15593" y="12438"/>
                </a:cubicBezTo>
                <a:close/>
                <a:moveTo>
                  <a:pt x="15593" y="12719"/>
                </a:moveTo>
                <a:cubicBezTo>
                  <a:pt x="15593" y="12719"/>
                  <a:pt x="15593" y="12719"/>
                  <a:pt x="15593" y="12719"/>
                </a:cubicBezTo>
                <a:cubicBezTo>
                  <a:pt x="15593" y="12719"/>
                  <a:pt x="15562" y="12719"/>
                  <a:pt x="15562" y="12688"/>
                </a:cubicBezTo>
                <a:cubicBezTo>
                  <a:pt x="15562" y="12719"/>
                  <a:pt x="15531" y="12719"/>
                  <a:pt x="15531" y="12719"/>
                </a:cubicBezTo>
                <a:cubicBezTo>
                  <a:pt x="15531" y="12719"/>
                  <a:pt x="15562" y="12719"/>
                  <a:pt x="15562" y="12688"/>
                </a:cubicBezTo>
                <a:cubicBezTo>
                  <a:pt x="15562" y="12719"/>
                  <a:pt x="15593" y="12719"/>
                  <a:pt x="15593" y="12719"/>
                </a:cubicBezTo>
                <a:close/>
                <a:moveTo>
                  <a:pt x="15468" y="12563"/>
                </a:move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ubicBezTo>
                  <a:pt x="15468" y="12563"/>
                  <a:pt x="15468" y="12563"/>
                  <a:pt x="15468" y="12563"/>
                </a:cubicBezTo>
                <a:close/>
                <a:moveTo>
                  <a:pt x="15281" y="12656"/>
                </a:moveTo>
                <a:cubicBezTo>
                  <a:pt x="15312" y="12656"/>
                  <a:pt x="15343" y="12656"/>
                  <a:pt x="15343" y="12656"/>
                </a:cubicBezTo>
                <a:cubicBezTo>
                  <a:pt x="15343" y="12656"/>
                  <a:pt x="15343" y="12656"/>
                  <a:pt x="15343" y="12656"/>
                </a:cubicBezTo>
                <a:cubicBezTo>
                  <a:pt x="15343" y="12656"/>
                  <a:pt x="15312" y="12656"/>
                  <a:pt x="15281" y="12656"/>
                </a:cubicBezTo>
                <a:cubicBezTo>
                  <a:pt x="15281" y="12656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88"/>
                  <a:pt x="15281" y="12688"/>
                </a:cubicBezTo>
                <a:cubicBezTo>
                  <a:pt x="15281" y="12688"/>
                  <a:pt x="15281" y="12656"/>
                  <a:pt x="15281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37" y="12656"/>
                </a:cubicBezTo>
                <a:cubicBezTo>
                  <a:pt x="14906" y="12656"/>
                  <a:pt x="14906" y="12656"/>
                  <a:pt x="14906" y="12656"/>
                </a:cubicBezTo>
                <a:cubicBezTo>
                  <a:pt x="14906" y="12656"/>
                  <a:pt x="14906" y="12656"/>
                  <a:pt x="14906" y="12656"/>
                </a:cubicBezTo>
                <a:close/>
                <a:moveTo>
                  <a:pt x="14906" y="12656"/>
                </a:moveTo>
                <a:cubicBezTo>
                  <a:pt x="14906" y="12656"/>
                  <a:pt x="14906" y="12656"/>
                  <a:pt x="14906" y="12656"/>
                </a:cubicBezTo>
                <a:cubicBezTo>
                  <a:pt x="14906" y="12625"/>
                  <a:pt x="14875" y="12625"/>
                  <a:pt x="14875" y="12594"/>
                </a:cubicBezTo>
                <a:cubicBezTo>
                  <a:pt x="14875" y="12625"/>
                  <a:pt x="14906" y="12625"/>
                  <a:pt x="14906" y="12656"/>
                </a:cubicBezTo>
                <a:close/>
                <a:moveTo>
                  <a:pt x="14875" y="12969"/>
                </a:moveTo>
                <a:cubicBezTo>
                  <a:pt x="14843" y="12969"/>
                  <a:pt x="14843" y="12969"/>
                  <a:pt x="14843" y="12969"/>
                </a:cubicBezTo>
                <a:cubicBezTo>
                  <a:pt x="14843" y="12969"/>
                  <a:pt x="14843" y="12969"/>
                  <a:pt x="14875" y="12969"/>
                </a:cubicBezTo>
                <a:cubicBezTo>
                  <a:pt x="14875" y="13031"/>
                  <a:pt x="14937" y="13063"/>
                  <a:pt x="14968" y="13094"/>
                </a:cubicBezTo>
                <a:cubicBezTo>
                  <a:pt x="14937" y="13063"/>
                  <a:pt x="14875" y="13031"/>
                  <a:pt x="14875" y="12969"/>
                </a:cubicBezTo>
                <a:close/>
                <a:moveTo>
                  <a:pt x="14968" y="12688"/>
                </a:moveTo>
                <a:cubicBezTo>
                  <a:pt x="14968" y="12688"/>
                  <a:pt x="14968" y="12688"/>
                  <a:pt x="14968" y="12688"/>
                </a:cubicBezTo>
                <a:cubicBezTo>
                  <a:pt x="14968" y="12656"/>
                  <a:pt x="14968" y="12656"/>
                  <a:pt x="14968" y="12656"/>
                </a:cubicBezTo>
                <a:cubicBezTo>
                  <a:pt x="14968" y="12656"/>
                  <a:pt x="14968" y="12656"/>
                  <a:pt x="14968" y="12688"/>
                </a:cubicBezTo>
                <a:close/>
                <a:moveTo>
                  <a:pt x="15062" y="12719"/>
                </a:moveTo>
                <a:cubicBezTo>
                  <a:pt x="15062" y="12719"/>
                  <a:pt x="15093" y="12719"/>
                  <a:pt x="15125" y="12750"/>
                </a:cubicBezTo>
                <a:cubicBezTo>
                  <a:pt x="15093" y="12719"/>
                  <a:pt x="15062" y="12719"/>
                  <a:pt x="15062" y="12719"/>
                </a:cubicBezTo>
                <a:cubicBezTo>
                  <a:pt x="15031" y="12719"/>
                  <a:pt x="15031" y="12719"/>
                  <a:pt x="15000" y="12719"/>
                </a:cubicBezTo>
                <a:cubicBezTo>
                  <a:pt x="15031" y="12719"/>
                  <a:pt x="15031" y="12719"/>
                  <a:pt x="15062" y="12719"/>
                </a:cubicBezTo>
                <a:close/>
                <a:moveTo>
                  <a:pt x="15031" y="13188"/>
                </a:moveTo>
                <a:cubicBezTo>
                  <a:pt x="15031" y="13188"/>
                  <a:pt x="15031" y="13219"/>
                  <a:pt x="15000" y="13250"/>
                </a:cubicBezTo>
                <a:cubicBezTo>
                  <a:pt x="15031" y="13219"/>
                  <a:pt x="15031" y="13188"/>
                  <a:pt x="15031" y="13188"/>
                </a:cubicBezTo>
                <a:cubicBezTo>
                  <a:pt x="15062" y="13156"/>
                  <a:pt x="15062" y="13156"/>
                  <a:pt x="15093" y="13188"/>
                </a:cubicBezTo>
                <a:cubicBezTo>
                  <a:pt x="15062" y="13156"/>
                  <a:pt x="15062" y="13156"/>
                  <a:pt x="15031" y="13188"/>
                </a:cubicBezTo>
                <a:close/>
                <a:moveTo>
                  <a:pt x="15062" y="12844"/>
                </a:moveTo>
                <a:cubicBezTo>
                  <a:pt x="15062" y="12844"/>
                  <a:pt x="15062" y="12844"/>
                  <a:pt x="15062" y="12844"/>
                </a:cubicBezTo>
                <a:cubicBezTo>
                  <a:pt x="15093" y="12844"/>
                  <a:pt x="15093" y="12844"/>
                  <a:pt x="15125" y="12844"/>
                </a:cubicBezTo>
                <a:cubicBezTo>
                  <a:pt x="15093" y="12844"/>
                  <a:pt x="15093" y="12844"/>
                  <a:pt x="15062" y="12844"/>
                </a:cubicBezTo>
                <a:close/>
                <a:moveTo>
                  <a:pt x="15125" y="12844"/>
                </a:moveTo>
                <a:cubicBezTo>
                  <a:pt x="15125" y="12844"/>
                  <a:pt x="15125" y="12844"/>
                  <a:pt x="15125" y="12844"/>
                </a:cubicBezTo>
                <a:cubicBezTo>
                  <a:pt x="15156" y="12844"/>
                  <a:pt x="15156" y="12875"/>
                  <a:pt x="15187" y="12875"/>
                </a:cubicBezTo>
                <a:cubicBezTo>
                  <a:pt x="15156" y="12875"/>
                  <a:pt x="15156" y="12844"/>
                  <a:pt x="15125" y="12844"/>
                </a:cubicBezTo>
                <a:close/>
                <a:moveTo>
                  <a:pt x="15156" y="12781"/>
                </a:moveTo>
                <a:cubicBezTo>
                  <a:pt x="15187" y="12781"/>
                  <a:pt x="15187" y="12781"/>
                  <a:pt x="15187" y="12781"/>
                </a:cubicBezTo>
                <a:cubicBezTo>
                  <a:pt x="15187" y="12781"/>
                  <a:pt x="15187" y="12781"/>
                  <a:pt x="15156" y="12781"/>
                </a:cubicBezTo>
                <a:cubicBezTo>
                  <a:pt x="15187" y="12813"/>
                  <a:pt x="15187" y="12813"/>
                  <a:pt x="15187" y="12813"/>
                </a:cubicBezTo>
                <a:cubicBezTo>
                  <a:pt x="15187" y="12813"/>
                  <a:pt x="15187" y="12813"/>
                  <a:pt x="15156" y="12781"/>
                </a:cubicBezTo>
                <a:close/>
                <a:moveTo>
                  <a:pt x="15281" y="12719"/>
                </a:moveTo>
                <a:cubicBezTo>
                  <a:pt x="15281" y="12719"/>
                  <a:pt x="15281" y="12688"/>
                  <a:pt x="15281" y="12688"/>
                </a:cubicBezTo>
                <a:cubicBezTo>
                  <a:pt x="15281" y="12688"/>
                  <a:pt x="15281" y="12719"/>
                  <a:pt x="15281" y="12719"/>
                </a:cubicBezTo>
                <a:cubicBezTo>
                  <a:pt x="15250" y="12719"/>
                  <a:pt x="15218" y="12688"/>
                  <a:pt x="15187" y="12688"/>
                </a:cubicBezTo>
                <a:cubicBezTo>
                  <a:pt x="15218" y="12688"/>
                  <a:pt x="15250" y="12719"/>
                  <a:pt x="15281" y="12719"/>
                </a:cubicBezTo>
                <a:close/>
                <a:moveTo>
                  <a:pt x="15250" y="13000"/>
                </a:moveTo>
                <a:cubicBezTo>
                  <a:pt x="15218" y="12969"/>
                  <a:pt x="15218" y="12969"/>
                  <a:pt x="15187" y="13000"/>
                </a:cubicBezTo>
                <a:cubicBezTo>
                  <a:pt x="15218" y="12969"/>
                  <a:pt x="15218" y="12969"/>
                  <a:pt x="15250" y="13000"/>
                </a:cubicBezTo>
                <a:cubicBezTo>
                  <a:pt x="15281" y="13031"/>
                  <a:pt x="15343" y="13031"/>
                  <a:pt x="15375" y="13063"/>
                </a:cubicBezTo>
                <a:cubicBezTo>
                  <a:pt x="15343" y="13031"/>
                  <a:pt x="15281" y="13031"/>
                  <a:pt x="15250" y="13000"/>
                </a:cubicBezTo>
                <a:close/>
                <a:moveTo>
                  <a:pt x="15531" y="12813"/>
                </a:moveTo>
                <a:cubicBezTo>
                  <a:pt x="15531" y="12813"/>
                  <a:pt x="15531" y="12813"/>
                  <a:pt x="15531" y="12813"/>
                </a:cubicBezTo>
                <a:cubicBezTo>
                  <a:pt x="15500" y="12844"/>
                  <a:pt x="15468" y="12844"/>
                  <a:pt x="15437" y="12844"/>
                </a:cubicBezTo>
                <a:cubicBezTo>
                  <a:pt x="15468" y="12844"/>
                  <a:pt x="15500" y="12844"/>
                  <a:pt x="15531" y="12813"/>
                </a:cubicBezTo>
                <a:close/>
                <a:moveTo>
                  <a:pt x="16000" y="14750"/>
                </a:moveTo>
                <a:cubicBezTo>
                  <a:pt x="15968" y="14750"/>
                  <a:pt x="15968" y="14781"/>
                  <a:pt x="15968" y="14781"/>
                </a:cubicBezTo>
                <a:cubicBezTo>
                  <a:pt x="15968" y="14781"/>
                  <a:pt x="15968" y="14781"/>
                  <a:pt x="15968" y="14781"/>
                </a:cubicBezTo>
                <a:cubicBezTo>
                  <a:pt x="15968" y="14781"/>
                  <a:pt x="15968" y="14750"/>
                  <a:pt x="16000" y="14750"/>
                </a:cubicBezTo>
                <a:cubicBezTo>
                  <a:pt x="15812" y="14656"/>
                  <a:pt x="15656" y="14594"/>
                  <a:pt x="15468" y="14531"/>
                </a:cubicBezTo>
                <a:cubicBezTo>
                  <a:pt x="15656" y="14594"/>
                  <a:pt x="15812" y="14656"/>
                  <a:pt x="16000" y="14750"/>
                </a:cubicBezTo>
                <a:cubicBezTo>
                  <a:pt x="16062" y="14781"/>
                  <a:pt x="16156" y="14813"/>
                  <a:pt x="16218" y="14844"/>
                </a:cubicBezTo>
                <a:cubicBezTo>
                  <a:pt x="16156" y="14813"/>
                  <a:pt x="16062" y="14781"/>
                  <a:pt x="16000" y="14750"/>
                </a:cubicBezTo>
                <a:close/>
                <a:moveTo>
                  <a:pt x="15687" y="13938"/>
                </a:moveTo>
                <a:cubicBezTo>
                  <a:pt x="15718" y="13969"/>
                  <a:pt x="15718" y="13969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50" y="14000"/>
                  <a:pt x="15750" y="14000"/>
                  <a:pt x="15750" y="14000"/>
                </a:cubicBezTo>
                <a:cubicBezTo>
                  <a:pt x="15718" y="13969"/>
                  <a:pt x="15718" y="13969"/>
                  <a:pt x="15687" y="13938"/>
                </a:cubicBezTo>
                <a:close/>
                <a:moveTo>
                  <a:pt x="15781" y="12875"/>
                </a:moveTo>
                <a:cubicBezTo>
                  <a:pt x="15781" y="12875"/>
                  <a:pt x="15781" y="12875"/>
                  <a:pt x="15781" y="12875"/>
                </a:cubicBezTo>
                <a:cubicBezTo>
                  <a:pt x="15781" y="12875"/>
                  <a:pt x="15781" y="12875"/>
                  <a:pt x="15781" y="12875"/>
                </a:cubicBezTo>
                <a:close/>
                <a:moveTo>
                  <a:pt x="16218" y="13594"/>
                </a:moveTo>
                <a:cubicBezTo>
                  <a:pt x="16281" y="13625"/>
                  <a:pt x="16312" y="13625"/>
                  <a:pt x="16343" y="13625"/>
                </a:cubicBezTo>
                <a:cubicBezTo>
                  <a:pt x="16343" y="13625"/>
                  <a:pt x="16343" y="13625"/>
                  <a:pt x="16343" y="13625"/>
                </a:cubicBezTo>
                <a:cubicBezTo>
                  <a:pt x="16312" y="13625"/>
                  <a:pt x="16281" y="13625"/>
                  <a:pt x="16218" y="13594"/>
                </a:cubicBezTo>
                <a:close/>
                <a:moveTo>
                  <a:pt x="16312" y="14938"/>
                </a:moveTo>
                <a:cubicBezTo>
                  <a:pt x="16312" y="14938"/>
                  <a:pt x="16312" y="14938"/>
                  <a:pt x="16312" y="14938"/>
                </a:cubicBezTo>
                <a:cubicBezTo>
                  <a:pt x="16312" y="14969"/>
                  <a:pt x="16312" y="14969"/>
                  <a:pt x="16343" y="15000"/>
                </a:cubicBezTo>
                <a:cubicBezTo>
                  <a:pt x="16312" y="14969"/>
                  <a:pt x="16312" y="14969"/>
                  <a:pt x="16312" y="14938"/>
                </a:cubicBezTo>
                <a:close/>
                <a:moveTo>
                  <a:pt x="16187" y="13469"/>
                </a:moveTo>
                <a:cubicBezTo>
                  <a:pt x="16187" y="13469"/>
                  <a:pt x="16187" y="13469"/>
                  <a:pt x="16187" y="13469"/>
                </a:cubicBezTo>
                <a:cubicBezTo>
                  <a:pt x="16187" y="13469"/>
                  <a:pt x="16187" y="13469"/>
                  <a:pt x="16187" y="13469"/>
                </a:cubicBezTo>
                <a:cubicBezTo>
                  <a:pt x="16281" y="13531"/>
                  <a:pt x="16375" y="13563"/>
                  <a:pt x="16500" y="13625"/>
                </a:cubicBezTo>
                <a:cubicBezTo>
                  <a:pt x="16375" y="13563"/>
                  <a:pt x="16281" y="13531"/>
                  <a:pt x="16187" y="13469"/>
                </a:cubicBezTo>
                <a:close/>
                <a:moveTo>
                  <a:pt x="16437" y="13406"/>
                </a:move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ubicBezTo>
                  <a:pt x="16437" y="13406"/>
                  <a:pt x="16437" y="13406"/>
                  <a:pt x="16437" y="13406"/>
                </a:cubicBezTo>
                <a:close/>
                <a:moveTo>
                  <a:pt x="15656" y="12719"/>
                </a:moveTo>
                <a:cubicBezTo>
                  <a:pt x="15656" y="12719"/>
                  <a:pt x="15656" y="12719"/>
                  <a:pt x="15625" y="12719"/>
                </a:cubicBezTo>
                <a:cubicBezTo>
                  <a:pt x="15656" y="12719"/>
                  <a:pt x="15656" y="12719"/>
                  <a:pt x="15656" y="12719"/>
                </a:cubicBezTo>
                <a:cubicBezTo>
                  <a:pt x="15968" y="12844"/>
                  <a:pt x="16281" y="12969"/>
                  <a:pt x="16562" y="13125"/>
                </a:cubicBezTo>
                <a:cubicBezTo>
                  <a:pt x="16281" y="12969"/>
                  <a:pt x="15968" y="12844"/>
                  <a:pt x="15656" y="12719"/>
                </a:cubicBezTo>
                <a:close/>
                <a:moveTo>
                  <a:pt x="16718" y="15375"/>
                </a:moveTo>
                <a:cubicBezTo>
                  <a:pt x="16531" y="15281"/>
                  <a:pt x="16343" y="15188"/>
                  <a:pt x="16156" y="15125"/>
                </a:cubicBezTo>
                <a:cubicBezTo>
                  <a:pt x="16031" y="15063"/>
                  <a:pt x="15906" y="15000"/>
                  <a:pt x="15781" y="14969"/>
                </a:cubicBezTo>
                <a:cubicBezTo>
                  <a:pt x="15906" y="15000"/>
                  <a:pt x="16031" y="15063"/>
                  <a:pt x="16156" y="15125"/>
                </a:cubicBezTo>
                <a:cubicBezTo>
                  <a:pt x="16343" y="15188"/>
                  <a:pt x="16531" y="15281"/>
                  <a:pt x="16718" y="15375"/>
                </a:cubicBezTo>
                <a:cubicBezTo>
                  <a:pt x="16718" y="15375"/>
                  <a:pt x="16718" y="15406"/>
                  <a:pt x="16750" y="15406"/>
                </a:cubicBezTo>
                <a:cubicBezTo>
                  <a:pt x="16718" y="15406"/>
                  <a:pt x="16718" y="15375"/>
                  <a:pt x="16718" y="15375"/>
                </a:cubicBezTo>
                <a:close/>
                <a:moveTo>
                  <a:pt x="10406" y="14281"/>
                </a:moveTo>
                <a:cubicBezTo>
                  <a:pt x="10406" y="14281"/>
                  <a:pt x="10375" y="14281"/>
                  <a:pt x="10375" y="14281"/>
                </a:cubicBezTo>
                <a:cubicBezTo>
                  <a:pt x="10375" y="14281"/>
                  <a:pt x="10406" y="14281"/>
                  <a:pt x="10406" y="14281"/>
                </a:cubicBezTo>
                <a:cubicBezTo>
                  <a:pt x="10406" y="14281"/>
                  <a:pt x="10406" y="14281"/>
                  <a:pt x="10406" y="14281"/>
                </a:cubicBezTo>
                <a:close/>
                <a:moveTo>
                  <a:pt x="10468" y="14281"/>
                </a:moveTo>
                <a:cubicBezTo>
                  <a:pt x="10437" y="14281"/>
                  <a:pt x="10437" y="14281"/>
                  <a:pt x="10406" y="14281"/>
                </a:cubicBezTo>
                <a:cubicBezTo>
                  <a:pt x="10437" y="14281"/>
                  <a:pt x="10437" y="14281"/>
                  <a:pt x="10468" y="14281"/>
                </a:cubicBezTo>
                <a:cubicBezTo>
                  <a:pt x="10500" y="14281"/>
                  <a:pt x="10531" y="14281"/>
                  <a:pt x="10562" y="14281"/>
                </a:cubicBezTo>
                <a:cubicBezTo>
                  <a:pt x="10531" y="14281"/>
                  <a:pt x="10500" y="14281"/>
                  <a:pt x="10468" y="14281"/>
                </a:cubicBezTo>
                <a:close/>
                <a:moveTo>
                  <a:pt x="10812" y="14313"/>
                </a:move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ubicBezTo>
                  <a:pt x="10812" y="14313"/>
                  <a:pt x="10812" y="14313"/>
                  <a:pt x="10812" y="14313"/>
                </a:cubicBezTo>
                <a:close/>
                <a:moveTo>
                  <a:pt x="10906" y="14313"/>
                </a:moveTo>
                <a:cubicBezTo>
                  <a:pt x="10906" y="14313"/>
                  <a:pt x="10906" y="14313"/>
                  <a:pt x="10906" y="14313"/>
                </a:cubicBezTo>
                <a:cubicBezTo>
                  <a:pt x="10937" y="14344"/>
                  <a:pt x="10968" y="14344"/>
                  <a:pt x="11000" y="14375"/>
                </a:cubicBezTo>
                <a:cubicBezTo>
                  <a:pt x="10968" y="14344"/>
                  <a:pt x="10937" y="14344"/>
                  <a:pt x="10906" y="14313"/>
                </a:cubicBezTo>
                <a:close/>
                <a:moveTo>
                  <a:pt x="18562" y="11281"/>
                </a:moveTo>
                <a:cubicBezTo>
                  <a:pt x="18562" y="11250"/>
                  <a:pt x="18562" y="11219"/>
                  <a:pt x="18593" y="11188"/>
                </a:cubicBezTo>
                <a:cubicBezTo>
                  <a:pt x="18593" y="11313"/>
                  <a:pt x="18593" y="11438"/>
                  <a:pt x="18562" y="11594"/>
                </a:cubicBezTo>
                <a:cubicBezTo>
                  <a:pt x="18562" y="11594"/>
                  <a:pt x="18562" y="11594"/>
                  <a:pt x="18562" y="11594"/>
                </a:cubicBezTo>
                <a:cubicBezTo>
                  <a:pt x="18562" y="11469"/>
                  <a:pt x="18562" y="11375"/>
                  <a:pt x="18562" y="11281"/>
                </a:cubicBezTo>
                <a:close/>
                <a:moveTo>
                  <a:pt x="18531" y="15125"/>
                </a:moveTo>
                <a:cubicBezTo>
                  <a:pt x="18562" y="15125"/>
                  <a:pt x="18593" y="15125"/>
                  <a:pt x="18625" y="15156"/>
                </a:cubicBezTo>
                <a:cubicBezTo>
                  <a:pt x="18593" y="15125"/>
                  <a:pt x="18562" y="15125"/>
                  <a:pt x="18531" y="15125"/>
                </a:cubicBezTo>
                <a:cubicBezTo>
                  <a:pt x="18531" y="15094"/>
                  <a:pt x="18500" y="15094"/>
                  <a:pt x="18500" y="15063"/>
                </a:cubicBezTo>
                <a:cubicBezTo>
                  <a:pt x="18500" y="15094"/>
                  <a:pt x="18531" y="15094"/>
                  <a:pt x="18531" y="15125"/>
                </a:cubicBezTo>
                <a:close/>
                <a:moveTo>
                  <a:pt x="18593" y="15656"/>
                </a:moveTo>
                <a:cubicBezTo>
                  <a:pt x="18593" y="15656"/>
                  <a:pt x="18562" y="15656"/>
                  <a:pt x="18562" y="15656"/>
                </a:cubicBezTo>
                <a:cubicBezTo>
                  <a:pt x="18562" y="15688"/>
                  <a:pt x="18562" y="15688"/>
                  <a:pt x="18531" y="15688"/>
                </a:cubicBezTo>
                <a:cubicBezTo>
                  <a:pt x="18562" y="15688"/>
                  <a:pt x="18562" y="15688"/>
                  <a:pt x="18562" y="15656"/>
                </a:cubicBezTo>
                <a:cubicBezTo>
                  <a:pt x="18562" y="15656"/>
                  <a:pt x="18593" y="15656"/>
                  <a:pt x="18593" y="15656"/>
                </a:cubicBezTo>
                <a:close/>
                <a:moveTo>
                  <a:pt x="18531" y="15125"/>
                </a:moveTo>
                <a:cubicBezTo>
                  <a:pt x="18500" y="15125"/>
                  <a:pt x="18500" y="15125"/>
                  <a:pt x="18468" y="15125"/>
                </a:cubicBezTo>
                <a:cubicBezTo>
                  <a:pt x="18500" y="15188"/>
                  <a:pt x="18531" y="15219"/>
                  <a:pt x="18562" y="15250"/>
                </a:cubicBezTo>
                <a:cubicBezTo>
                  <a:pt x="18531" y="15219"/>
                  <a:pt x="18500" y="15188"/>
                  <a:pt x="18468" y="15125"/>
                </a:cubicBezTo>
                <a:cubicBezTo>
                  <a:pt x="18500" y="15125"/>
                  <a:pt x="18500" y="15125"/>
                  <a:pt x="18531" y="15125"/>
                </a:cubicBezTo>
                <a:close/>
                <a:moveTo>
                  <a:pt x="18468" y="11438"/>
                </a:moveTo>
                <a:cubicBezTo>
                  <a:pt x="18468" y="11500"/>
                  <a:pt x="18468" y="11594"/>
                  <a:pt x="18468" y="11656"/>
                </a:cubicBezTo>
                <a:cubicBezTo>
                  <a:pt x="18437" y="11625"/>
                  <a:pt x="18468" y="11594"/>
                  <a:pt x="18437" y="11563"/>
                </a:cubicBezTo>
                <a:cubicBezTo>
                  <a:pt x="18406" y="11656"/>
                  <a:pt x="18406" y="11719"/>
                  <a:pt x="18375" y="11813"/>
                </a:cubicBezTo>
                <a:cubicBezTo>
                  <a:pt x="18375" y="11813"/>
                  <a:pt x="18343" y="11781"/>
                  <a:pt x="18343" y="11781"/>
                </a:cubicBezTo>
                <a:cubicBezTo>
                  <a:pt x="18375" y="11719"/>
                  <a:pt x="18375" y="11656"/>
                  <a:pt x="18343" y="11625"/>
                </a:cubicBezTo>
                <a:cubicBezTo>
                  <a:pt x="18343" y="11625"/>
                  <a:pt x="18343" y="11625"/>
                  <a:pt x="18343" y="11594"/>
                </a:cubicBezTo>
                <a:cubicBezTo>
                  <a:pt x="18375" y="11625"/>
                  <a:pt x="18437" y="11531"/>
                  <a:pt x="18468" y="11438"/>
                </a:cubicBezTo>
                <a:close/>
                <a:moveTo>
                  <a:pt x="17000" y="5344"/>
                </a:moveTo>
                <a:cubicBezTo>
                  <a:pt x="17031" y="5281"/>
                  <a:pt x="17062" y="5250"/>
                  <a:pt x="17125" y="5219"/>
                </a:cubicBezTo>
                <a:cubicBezTo>
                  <a:pt x="17062" y="5250"/>
                  <a:pt x="17031" y="5281"/>
                  <a:pt x="17000" y="5344"/>
                </a:cubicBezTo>
                <a:cubicBezTo>
                  <a:pt x="17000" y="5344"/>
                  <a:pt x="17000" y="5375"/>
                  <a:pt x="17000" y="5375"/>
                </a:cubicBezTo>
                <a:cubicBezTo>
                  <a:pt x="17000" y="5375"/>
                  <a:pt x="17000" y="5344"/>
                  <a:pt x="17000" y="5344"/>
                </a:cubicBezTo>
                <a:close/>
                <a:moveTo>
                  <a:pt x="17062" y="5344"/>
                </a:moveTo>
                <a:cubicBezTo>
                  <a:pt x="17062" y="5344"/>
                  <a:pt x="17062" y="5344"/>
                  <a:pt x="17062" y="5344"/>
                </a:cubicBezTo>
                <a:cubicBezTo>
                  <a:pt x="17062" y="5375"/>
                  <a:pt x="17062" y="5375"/>
                  <a:pt x="17062" y="5375"/>
                </a:cubicBezTo>
                <a:cubicBezTo>
                  <a:pt x="17062" y="5375"/>
                  <a:pt x="17062" y="5375"/>
                  <a:pt x="17062" y="5344"/>
                </a:cubicBezTo>
                <a:close/>
                <a:moveTo>
                  <a:pt x="16875" y="5500"/>
                </a:moveTo>
                <a:cubicBezTo>
                  <a:pt x="16875" y="5500"/>
                  <a:pt x="16875" y="5500"/>
                  <a:pt x="16875" y="5500"/>
                </a:cubicBezTo>
                <a:cubicBezTo>
                  <a:pt x="16875" y="5500"/>
                  <a:pt x="16875" y="5531"/>
                  <a:pt x="16875" y="5563"/>
                </a:cubicBezTo>
                <a:cubicBezTo>
                  <a:pt x="16875" y="5531"/>
                  <a:pt x="16875" y="5500"/>
                  <a:pt x="16875" y="5500"/>
                </a:cubicBezTo>
                <a:close/>
                <a:moveTo>
                  <a:pt x="16843" y="5719"/>
                </a:move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ubicBezTo>
                  <a:pt x="16843" y="5719"/>
                  <a:pt x="16843" y="5719"/>
                  <a:pt x="16843" y="5719"/>
                </a:cubicBezTo>
                <a:close/>
                <a:moveTo>
                  <a:pt x="16750" y="7313"/>
                </a:moveTo>
                <a:cubicBezTo>
                  <a:pt x="16718" y="7063"/>
                  <a:pt x="16718" y="6844"/>
                  <a:pt x="16750" y="6625"/>
                </a:cubicBezTo>
                <a:cubicBezTo>
                  <a:pt x="16750" y="6438"/>
                  <a:pt x="16750" y="6281"/>
                  <a:pt x="16781" y="6125"/>
                </a:cubicBezTo>
                <a:cubicBezTo>
                  <a:pt x="16781" y="6000"/>
                  <a:pt x="16843" y="5875"/>
                  <a:pt x="16843" y="5719"/>
                </a:cubicBezTo>
                <a:cubicBezTo>
                  <a:pt x="16875" y="5688"/>
                  <a:pt x="16875" y="5656"/>
                  <a:pt x="16906" y="5594"/>
                </a:cubicBezTo>
                <a:cubicBezTo>
                  <a:pt x="16906" y="5594"/>
                  <a:pt x="16906" y="5563"/>
                  <a:pt x="16906" y="5563"/>
                </a:cubicBezTo>
                <a:cubicBezTo>
                  <a:pt x="16937" y="5531"/>
                  <a:pt x="16937" y="5500"/>
                  <a:pt x="16968" y="5469"/>
                </a:cubicBezTo>
                <a:cubicBezTo>
                  <a:pt x="16968" y="5438"/>
                  <a:pt x="17000" y="5438"/>
                  <a:pt x="17031" y="5406"/>
                </a:cubicBezTo>
                <a:cubicBezTo>
                  <a:pt x="17031" y="5406"/>
                  <a:pt x="17031" y="5406"/>
                  <a:pt x="17031" y="5406"/>
                </a:cubicBezTo>
                <a:cubicBezTo>
                  <a:pt x="16875" y="5688"/>
                  <a:pt x="16718" y="6219"/>
                  <a:pt x="16750" y="7313"/>
                </a:cubicBezTo>
                <a:close/>
                <a:moveTo>
                  <a:pt x="16843" y="9750"/>
                </a:moveTo>
                <a:cubicBezTo>
                  <a:pt x="16843" y="9750"/>
                  <a:pt x="16843" y="9750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19"/>
                  <a:pt x="16843" y="9719"/>
                  <a:pt x="16843" y="9719"/>
                </a:cubicBezTo>
                <a:cubicBezTo>
                  <a:pt x="16843" y="9750"/>
                  <a:pt x="16843" y="9750"/>
                  <a:pt x="16843" y="9750"/>
                </a:cubicBezTo>
                <a:close/>
                <a:moveTo>
                  <a:pt x="17250" y="15344"/>
                </a:moveTo>
                <a:cubicBezTo>
                  <a:pt x="17093" y="15281"/>
                  <a:pt x="16937" y="15219"/>
                  <a:pt x="16781" y="15156"/>
                </a:cubicBezTo>
                <a:cubicBezTo>
                  <a:pt x="16937" y="15219"/>
                  <a:pt x="17093" y="15281"/>
                  <a:pt x="17250" y="15344"/>
                </a:cubicBezTo>
                <a:cubicBezTo>
                  <a:pt x="17250" y="15344"/>
                  <a:pt x="17250" y="15344"/>
                  <a:pt x="17281" y="15344"/>
                </a:cubicBezTo>
                <a:cubicBezTo>
                  <a:pt x="17250" y="15344"/>
                  <a:pt x="17250" y="15344"/>
                  <a:pt x="17250" y="15344"/>
                </a:cubicBezTo>
                <a:close/>
                <a:moveTo>
                  <a:pt x="17000" y="13750"/>
                </a:moveTo>
                <a:cubicBezTo>
                  <a:pt x="17031" y="13750"/>
                  <a:pt x="17062" y="13750"/>
                  <a:pt x="17125" y="13750"/>
                </a:cubicBezTo>
                <a:cubicBezTo>
                  <a:pt x="17125" y="13750"/>
                  <a:pt x="17125" y="13750"/>
                  <a:pt x="17125" y="13750"/>
                </a:cubicBezTo>
                <a:cubicBezTo>
                  <a:pt x="17062" y="13750"/>
                  <a:pt x="17031" y="13750"/>
                  <a:pt x="17000" y="13750"/>
                </a:cubicBezTo>
                <a:close/>
                <a:moveTo>
                  <a:pt x="17125" y="13719"/>
                </a:moveTo>
                <a:cubicBezTo>
                  <a:pt x="17125" y="13719"/>
                  <a:pt x="17156" y="13719"/>
                  <a:pt x="17156" y="13719"/>
                </a:cubicBezTo>
                <a:cubicBezTo>
                  <a:pt x="17156" y="13719"/>
                  <a:pt x="17125" y="13719"/>
                  <a:pt x="17125" y="13719"/>
                </a:cubicBezTo>
                <a:cubicBezTo>
                  <a:pt x="17125" y="13719"/>
                  <a:pt x="17125" y="13719"/>
                  <a:pt x="17125" y="13719"/>
                </a:cubicBezTo>
                <a:close/>
                <a:moveTo>
                  <a:pt x="17218" y="13719"/>
                </a:moveTo>
                <a:cubicBezTo>
                  <a:pt x="17250" y="13750"/>
                  <a:pt x="17250" y="13750"/>
                  <a:pt x="17281" y="13750"/>
                </a:cubicBezTo>
                <a:cubicBezTo>
                  <a:pt x="17281" y="13750"/>
                  <a:pt x="17281" y="13750"/>
                  <a:pt x="17281" y="13750"/>
                </a:cubicBezTo>
                <a:cubicBezTo>
                  <a:pt x="17250" y="13750"/>
                  <a:pt x="17250" y="13750"/>
                  <a:pt x="17218" y="13719"/>
                </a:cubicBezTo>
                <a:close/>
                <a:moveTo>
                  <a:pt x="17437" y="15625"/>
                </a:moveTo>
                <a:cubicBezTo>
                  <a:pt x="17531" y="15656"/>
                  <a:pt x="17625" y="15688"/>
                  <a:pt x="17750" y="15688"/>
                </a:cubicBezTo>
                <a:cubicBezTo>
                  <a:pt x="17625" y="15688"/>
                  <a:pt x="17531" y="15656"/>
                  <a:pt x="17437" y="15625"/>
                </a:cubicBezTo>
                <a:close/>
                <a:moveTo>
                  <a:pt x="17781" y="15969"/>
                </a:moveTo>
                <a:cubicBezTo>
                  <a:pt x="17781" y="15969"/>
                  <a:pt x="17781" y="15969"/>
                  <a:pt x="17781" y="15969"/>
                </a:cubicBezTo>
                <a:cubicBezTo>
                  <a:pt x="17812" y="15938"/>
                  <a:pt x="17875" y="15969"/>
                  <a:pt x="17906" y="15969"/>
                </a:cubicBezTo>
                <a:cubicBezTo>
                  <a:pt x="17875" y="15969"/>
                  <a:pt x="17812" y="15938"/>
                  <a:pt x="17781" y="15969"/>
                </a:cubicBezTo>
                <a:close/>
                <a:moveTo>
                  <a:pt x="17781" y="15531"/>
                </a:moveTo>
                <a:cubicBezTo>
                  <a:pt x="17812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43" y="15531"/>
                  <a:pt x="17843" y="15531"/>
                </a:cubicBezTo>
                <a:cubicBezTo>
                  <a:pt x="17843" y="15531"/>
                  <a:pt x="17812" y="15531"/>
                  <a:pt x="17781" y="15531"/>
                </a:cubicBezTo>
                <a:close/>
                <a:moveTo>
                  <a:pt x="17843" y="15750"/>
                </a:moveTo>
                <a:cubicBezTo>
                  <a:pt x="17875" y="15719"/>
                  <a:pt x="17906" y="15750"/>
                  <a:pt x="17937" y="15750"/>
                </a:cubicBezTo>
                <a:cubicBezTo>
                  <a:pt x="17937" y="15750"/>
                  <a:pt x="17937" y="15750"/>
                  <a:pt x="17937" y="15750"/>
                </a:cubicBezTo>
                <a:cubicBezTo>
                  <a:pt x="17906" y="15750"/>
                  <a:pt x="17875" y="15719"/>
                  <a:pt x="17843" y="15750"/>
                </a:cubicBezTo>
                <a:close/>
                <a:moveTo>
                  <a:pt x="17968" y="16125"/>
                </a:moveTo>
                <a:cubicBezTo>
                  <a:pt x="17968" y="16125"/>
                  <a:pt x="17968" y="16094"/>
                  <a:pt x="17968" y="16063"/>
                </a:cubicBezTo>
                <a:cubicBezTo>
                  <a:pt x="17968" y="16063"/>
                  <a:pt x="17968" y="16063"/>
                  <a:pt x="17968" y="16063"/>
                </a:cubicBezTo>
                <a:cubicBezTo>
                  <a:pt x="17968" y="16094"/>
                  <a:pt x="17968" y="16125"/>
                  <a:pt x="17968" y="16125"/>
                </a:cubicBezTo>
                <a:cubicBezTo>
                  <a:pt x="18031" y="16125"/>
                  <a:pt x="18062" y="16156"/>
                  <a:pt x="18093" y="16156"/>
                </a:cubicBezTo>
                <a:cubicBezTo>
                  <a:pt x="18062" y="16156"/>
                  <a:pt x="18031" y="16125"/>
                  <a:pt x="17968" y="16125"/>
                </a:cubicBezTo>
                <a:close/>
                <a:moveTo>
                  <a:pt x="18125" y="11688"/>
                </a:moveTo>
                <a:cubicBezTo>
                  <a:pt x="18093" y="11688"/>
                  <a:pt x="18062" y="11656"/>
                  <a:pt x="18031" y="11656"/>
                </a:cubicBezTo>
                <a:cubicBezTo>
                  <a:pt x="17843" y="11563"/>
                  <a:pt x="17656" y="11500"/>
                  <a:pt x="17468" y="11438"/>
                </a:cubicBezTo>
                <a:cubicBezTo>
                  <a:pt x="17437" y="11406"/>
                  <a:pt x="17312" y="11344"/>
                  <a:pt x="17187" y="11313"/>
                </a:cubicBezTo>
                <a:cubicBezTo>
                  <a:pt x="17187" y="11281"/>
                  <a:pt x="17187" y="11281"/>
                  <a:pt x="17187" y="11281"/>
                </a:cubicBezTo>
                <a:cubicBezTo>
                  <a:pt x="17187" y="11281"/>
                  <a:pt x="17187" y="11281"/>
                  <a:pt x="17156" y="11281"/>
                </a:cubicBezTo>
                <a:cubicBezTo>
                  <a:pt x="17125" y="11250"/>
                  <a:pt x="17062" y="11250"/>
                  <a:pt x="17062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31" y="11219"/>
                  <a:pt x="17031" y="11219"/>
                  <a:pt x="17031" y="11219"/>
                </a:cubicBezTo>
                <a:cubicBezTo>
                  <a:pt x="17000" y="11219"/>
                  <a:pt x="17000" y="11219"/>
                  <a:pt x="16968" y="11188"/>
                </a:cubicBezTo>
                <a:cubicBezTo>
                  <a:pt x="16937" y="11188"/>
                  <a:pt x="16906" y="11188"/>
                  <a:pt x="16906" y="11156"/>
                </a:cubicBezTo>
                <a:cubicBezTo>
                  <a:pt x="16906" y="11094"/>
                  <a:pt x="16906" y="11031"/>
                  <a:pt x="16906" y="10969"/>
                </a:cubicBezTo>
                <a:cubicBezTo>
                  <a:pt x="16937" y="10750"/>
                  <a:pt x="17000" y="10531"/>
                  <a:pt x="17000" y="10313"/>
                </a:cubicBezTo>
                <a:cubicBezTo>
                  <a:pt x="17000" y="10156"/>
                  <a:pt x="17000" y="9969"/>
                  <a:pt x="17000" y="9813"/>
                </a:cubicBezTo>
                <a:cubicBezTo>
                  <a:pt x="17031" y="10188"/>
                  <a:pt x="17062" y="10563"/>
                  <a:pt x="17031" y="10969"/>
                </a:cubicBezTo>
                <a:cubicBezTo>
                  <a:pt x="17093" y="10906"/>
                  <a:pt x="17093" y="10813"/>
                  <a:pt x="17125" y="10750"/>
                </a:cubicBezTo>
                <a:cubicBezTo>
                  <a:pt x="17125" y="10813"/>
                  <a:pt x="17125" y="10875"/>
                  <a:pt x="17125" y="10938"/>
                </a:cubicBezTo>
                <a:cubicBezTo>
                  <a:pt x="17187" y="10781"/>
                  <a:pt x="17218" y="10625"/>
                  <a:pt x="17218" y="10469"/>
                </a:cubicBezTo>
                <a:cubicBezTo>
                  <a:pt x="17218" y="10438"/>
                  <a:pt x="17218" y="10375"/>
                  <a:pt x="17250" y="10375"/>
                </a:cubicBezTo>
                <a:cubicBezTo>
                  <a:pt x="17343" y="10375"/>
                  <a:pt x="17343" y="10313"/>
                  <a:pt x="17343" y="10250"/>
                </a:cubicBezTo>
                <a:cubicBezTo>
                  <a:pt x="17343" y="10219"/>
                  <a:pt x="17343" y="10156"/>
                  <a:pt x="17343" y="10125"/>
                </a:cubicBezTo>
                <a:cubicBezTo>
                  <a:pt x="17343" y="10188"/>
                  <a:pt x="17343" y="10250"/>
                  <a:pt x="17375" y="10375"/>
                </a:cubicBezTo>
                <a:cubicBezTo>
                  <a:pt x="17375" y="10313"/>
                  <a:pt x="17375" y="10281"/>
                  <a:pt x="17375" y="10250"/>
                </a:cubicBezTo>
                <a:cubicBezTo>
                  <a:pt x="17375" y="9969"/>
                  <a:pt x="17375" y="9719"/>
                  <a:pt x="17343" y="9438"/>
                </a:cubicBezTo>
                <a:cubicBezTo>
                  <a:pt x="17375" y="9438"/>
                  <a:pt x="17375" y="9438"/>
                  <a:pt x="17375" y="9469"/>
                </a:cubicBezTo>
                <a:cubicBezTo>
                  <a:pt x="17375" y="9594"/>
                  <a:pt x="17406" y="9688"/>
                  <a:pt x="17406" y="9781"/>
                </a:cubicBezTo>
                <a:cubicBezTo>
                  <a:pt x="17406" y="10125"/>
                  <a:pt x="17500" y="10469"/>
                  <a:pt x="17500" y="10813"/>
                </a:cubicBezTo>
                <a:cubicBezTo>
                  <a:pt x="17500" y="10844"/>
                  <a:pt x="17468" y="10875"/>
                  <a:pt x="17531" y="10875"/>
                </a:cubicBezTo>
                <a:cubicBezTo>
                  <a:pt x="17531" y="10875"/>
                  <a:pt x="17562" y="10875"/>
                  <a:pt x="17562" y="10813"/>
                </a:cubicBezTo>
                <a:cubicBezTo>
                  <a:pt x="17625" y="10406"/>
                  <a:pt x="17562" y="10000"/>
                  <a:pt x="17531" y="9594"/>
                </a:cubicBezTo>
                <a:cubicBezTo>
                  <a:pt x="17500" y="9344"/>
                  <a:pt x="17468" y="9094"/>
                  <a:pt x="17437" y="8844"/>
                </a:cubicBezTo>
                <a:cubicBezTo>
                  <a:pt x="17406" y="8625"/>
                  <a:pt x="17375" y="8438"/>
                  <a:pt x="17375" y="8250"/>
                </a:cubicBezTo>
                <a:cubicBezTo>
                  <a:pt x="17531" y="7938"/>
                  <a:pt x="17718" y="7781"/>
                  <a:pt x="17750" y="8656"/>
                </a:cubicBezTo>
                <a:cubicBezTo>
                  <a:pt x="17718" y="8594"/>
                  <a:pt x="17750" y="8531"/>
                  <a:pt x="17718" y="8500"/>
                </a:cubicBezTo>
                <a:cubicBezTo>
                  <a:pt x="17718" y="8813"/>
                  <a:pt x="17750" y="9125"/>
                  <a:pt x="17781" y="9406"/>
                </a:cubicBezTo>
                <a:cubicBezTo>
                  <a:pt x="17812" y="9625"/>
                  <a:pt x="17812" y="9813"/>
                  <a:pt x="17843" y="10000"/>
                </a:cubicBezTo>
                <a:cubicBezTo>
                  <a:pt x="17906" y="10156"/>
                  <a:pt x="17843" y="10313"/>
                  <a:pt x="18000" y="10406"/>
                </a:cubicBezTo>
                <a:cubicBezTo>
                  <a:pt x="18031" y="10438"/>
                  <a:pt x="18031" y="10469"/>
                  <a:pt x="18062" y="10438"/>
                </a:cubicBezTo>
                <a:cubicBezTo>
                  <a:pt x="18093" y="10438"/>
                  <a:pt x="18062" y="10406"/>
                  <a:pt x="18062" y="10375"/>
                </a:cubicBezTo>
                <a:cubicBezTo>
                  <a:pt x="18093" y="10219"/>
                  <a:pt x="18031" y="10063"/>
                  <a:pt x="18031" y="9906"/>
                </a:cubicBezTo>
                <a:cubicBezTo>
                  <a:pt x="18031" y="9875"/>
                  <a:pt x="18031" y="9844"/>
                  <a:pt x="18031" y="9844"/>
                </a:cubicBezTo>
                <a:cubicBezTo>
                  <a:pt x="18250" y="10188"/>
                  <a:pt x="18500" y="10188"/>
                  <a:pt x="18218" y="11406"/>
                </a:cubicBezTo>
                <a:cubicBezTo>
                  <a:pt x="18218" y="11438"/>
                  <a:pt x="18250" y="11500"/>
                  <a:pt x="18250" y="11500"/>
                </a:cubicBezTo>
                <a:cubicBezTo>
                  <a:pt x="18218" y="11563"/>
                  <a:pt x="18156" y="11625"/>
                  <a:pt x="18125" y="11688"/>
                </a:cubicBezTo>
                <a:close/>
                <a:moveTo>
                  <a:pt x="17343" y="9438"/>
                </a:moveTo>
                <a:cubicBezTo>
                  <a:pt x="17312" y="9406"/>
                  <a:pt x="17343" y="9375"/>
                  <a:pt x="17343" y="9375"/>
                </a:cubicBezTo>
                <a:cubicBezTo>
                  <a:pt x="17343" y="9250"/>
                  <a:pt x="17312" y="9125"/>
                  <a:pt x="17281" y="9031"/>
                </a:cubicBezTo>
                <a:cubicBezTo>
                  <a:pt x="17281" y="8969"/>
                  <a:pt x="17281" y="8875"/>
                  <a:pt x="17281" y="8813"/>
                </a:cubicBezTo>
                <a:cubicBezTo>
                  <a:pt x="17250" y="8906"/>
                  <a:pt x="17281" y="8969"/>
                  <a:pt x="17250" y="9031"/>
                </a:cubicBezTo>
                <a:cubicBezTo>
                  <a:pt x="17250" y="8875"/>
                  <a:pt x="17187" y="8719"/>
                  <a:pt x="17156" y="8563"/>
                </a:cubicBezTo>
                <a:cubicBezTo>
                  <a:pt x="17218" y="8531"/>
                  <a:pt x="17250" y="8469"/>
                  <a:pt x="17281" y="8406"/>
                </a:cubicBezTo>
                <a:cubicBezTo>
                  <a:pt x="17281" y="8500"/>
                  <a:pt x="17281" y="8594"/>
                  <a:pt x="17312" y="8688"/>
                </a:cubicBezTo>
                <a:cubicBezTo>
                  <a:pt x="17312" y="8938"/>
                  <a:pt x="17375" y="9188"/>
                  <a:pt x="17343" y="9438"/>
                </a:cubicBezTo>
                <a:close/>
                <a:moveTo>
                  <a:pt x="18312" y="15844"/>
                </a:moveTo>
                <a:cubicBezTo>
                  <a:pt x="18312" y="15844"/>
                  <a:pt x="18312" y="15844"/>
                  <a:pt x="18343" y="15844"/>
                </a:cubicBezTo>
                <a:cubicBezTo>
                  <a:pt x="18500" y="15875"/>
                  <a:pt x="18687" y="15906"/>
                  <a:pt x="18843" y="15938"/>
                </a:cubicBezTo>
                <a:cubicBezTo>
                  <a:pt x="18687" y="15906"/>
                  <a:pt x="18500" y="15875"/>
                  <a:pt x="18343" y="15844"/>
                </a:cubicBezTo>
                <a:cubicBezTo>
                  <a:pt x="18312" y="15844"/>
                  <a:pt x="18312" y="15844"/>
                  <a:pt x="18312" y="15844"/>
                </a:cubicBezTo>
                <a:close/>
                <a:moveTo>
                  <a:pt x="18781" y="16781"/>
                </a:moveTo>
                <a:cubicBezTo>
                  <a:pt x="18781" y="16781"/>
                  <a:pt x="18781" y="16781"/>
                  <a:pt x="18781" y="16781"/>
                </a:cubicBezTo>
                <a:cubicBezTo>
                  <a:pt x="18812" y="16781"/>
                  <a:pt x="18843" y="16781"/>
                  <a:pt x="18875" y="16781"/>
                </a:cubicBezTo>
                <a:cubicBezTo>
                  <a:pt x="18843" y="16781"/>
                  <a:pt x="18812" y="16781"/>
                  <a:pt x="18781" y="16781"/>
                </a:cubicBezTo>
                <a:close/>
                <a:moveTo>
                  <a:pt x="18968" y="15938"/>
                </a:moveTo>
                <a:cubicBezTo>
                  <a:pt x="18968" y="15938"/>
                  <a:pt x="18968" y="15938"/>
                  <a:pt x="18937" y="15938"/>
                </a:cubicBezTo>
                <a:cubicBezTo>
                  <a:pt x="18968" y="15938"/>
                  <a:pt x="18968" y="15938"/>
                  <a:pt x="18968" y="15938"/>
                </a:cubicBezTo>
                <a:cubicBezTo>
                  <a:pt x="19000" y="15938"/>
                  <a:pt x="19000" y="15938"/>
                  <a:pt x="19000" y="15938"/>
                </a:cubicBezTo>
                <a:cubicBezTo>
                  <a:pt x="19000" y="15938"/>
                  <a:pt x="19000" y="15938"/>
                  <a:pt x="18968" y="15938"/>
                </a:cubicBezTo>
                <a:close/>
                <a:moveTo>
                  <a:pt x="19000" y="11625"/>
                </a:moveTo>
                <a:cubicBezTo>
                  <a:pt x="19000" y="11688"/>
                  <a:pt x="18968" y="11719"/>
                  <a:pt x="18906" y="11688"/>
                </a:cubicBezTo>
                <a:cubicBezTo>
                  <a:pt x="18906" y="11688"/>
                  <a:pt x="18906" y="11688"/>
                  <a:pt x="18906" y="11688"/>
                </a:cubicBezTo>
                <a:cubicBezTo>
                  <a:pt x="18812" y="11750"/>
                  <a:pt x="18843" y="11688"/>
                  <a:pt x="18812" y="11656"/>
                </a:cubicBezTo>
                <a:cubicBezTo>
                  <a:pt x="18812" y="11563"/>
                  <a:pt x="18843" y="11438"/>
                  <a:pt x="18812" y="11313"/>
                </a:cubicBezTo>
                <a:cubicBezTo>
                  <a:pt x="18750" y="11531"/>
                  <a:pt x="18656" y="11688"/>
                  <a:pt x="18687" y="11875"/>
                </a:cubicBezTo>
                <a:cubicBezTo>
                  <a:pt x="18656" y="11750"/>
                  <a:pt x="18625" y="11625"/>
                  <a:pt x="18625" y="11500"/>
                </a:cubicBezTo>
                <a:cubicBezTo>
                  <a:pt x="18625" y="11344"/>
                  <a:pt x="18625" y="11188"/>
                  <a:pt x="18625" y="11063"/>
                </a:cubicBezTo>
                <a:cubicBezTo>
                  <a:pt x="18656" y="11031"/>
                  <a:pt x="18656" y="11000"/>
                  <a:pt x="18656" y="10969"/>
                </a:cubicBezTo>
                <a:cubicBezTo>
                  <a:pt x="18687" y="10969"/>
                  <a:pt x="18687" y="11000"/>
                  <a:pt x="18687" y="11000"/>
                </a:cubicBezTo>
                <a:cubicBezTo>
                  <a:pt x="18687" y="10969"/>
                  <a:pt x="18687" y="10938"/>
                  <a:pt x="18687" y="10938"/>
                </a:cubicBezTo>
                <a:cubicBezTo>
                  <a:pt x="18843" y="10500"/>
                  <a:pt x="19000" y="10250"/>
                  <a:pt x="19031" y="11563"/>
                </a:cubicBezTo>
                <a:cubicBezTo>
                  <a:pt x="19031" y="11563"/>
                  <a:pt x="19031" y="11594"/>
                  <a:pt x="19000" y="11625"/>
                </a:cubicBezTo>
                <a:close/>
                <a:moveTo>
                  <a:pt x="20625" y="4500"/>
                </a:moveTo>
                <a:cubicBezTo>
                  <a:pt x="20625" y="4500"/>
                  <a:pt x="20593" y="4531"/>
                  <a:pt x="20562" y="4531"/>
                </a:cubicBezTo>
                <a:cubicBezTo>
                  <a:pt x="20562" y="4531"/>
                  <a:pt x="20562" y="4531"/>
                  <a:pt x="20562" y="4531"/>
                </a:cubicBezTo>
                <a:cubicBezTo>
                  <a:pt x="20593" y="4531"/>
                  <a:pt x="20625" y="4500"/>
                  <a:pt x="20625" y="4500"/>
                </a:cubicBezTo>
                <a:close/>
                <a:moveTo>
                  <a:pt x="20437" y="4688"/>
                </a:moveTo>
                <a:cubicBezTo>
                  <a:pt x="20468" y="4656"/>
                  <a:pt x="20500" y="4656"/>
                  <a:pt x="20531" y="4656"/>
                </a:cubicBezTo>
                <a:cubicBezTo>
                  <a:pt x="20500" y="4656"/>
                  <a:pt x="20468" y="4656"/>
                  <a:pt x="20437" y="4688"/>
                </a:cubicBezTo>
                <a:cubicBezTo>
                  <a:pt x="20406" y="4688"/>
                  <a:pt x="20343" y="4719"/>
                  <a:pt x="20281" y="4719"/>
                </a:cubicBezTo>
                <a:cubicBezTo>
                  <a:pt x="20343" y="4719"/>
                  <a:pt x="20406" y="4688"/>
                  <a:pt x="20437" y="4688"/>
                </a:cubicBezTo>
                <a:close/>
                <a:moveTo>
                  <a:pt x="20562" y="13063"/>
                </a:moveTo>
                <a:cubicBezTo>
                  <a:pt x="20531" y="13063"/>
                  <a:pt x="20500" y="13063"/>
                  <a:pt x="20500" y="13094"/>
                </a:cubicBezTo>
                <a:cubicBezTo>
                  <a:pt x="20468" y="13094"/>
                  <a:pt x="20468" y="13094"/>
                  <a:pt x="20437" y="13094"/>
                </a:cubicBezTo>
                <a:cubicBezTo>
                  <a:pt x="20468" y="13094"/>
                  <a:pt x="20468" y="13094"/>
                  <a:pt x="20500" y="13094"/>
                </a:cubicBezTo>
                <a:cubicBezTo>
                  <a:pt x="20500" y="13063"/>
                  <a:pt x="20531" y="13063"/>
                  <a:pt x="20562" y="13063"/>
                </a:cubicBezTo>
                <a:close/>
                <a:moveTo>
                  <a:pt x="20468" y="4719"/>
                </a:moveTo>
                <a:cubicBezTo>
                  <a:pt x="20468" y="4719"/>
                  <a:pt x="20500" y="4719"/>
                  <a:pt x="20500" y="4719"/>
                </a:cubicBezTo>
                <a:cubicBezTo>
                  <a:pt x="20500" y="4719"/>
                  <a:pt x="20468" y="4719"/>
                  <a:pt x="20468" y="4719"/>
                </a:cubicBezTo>
                <a:cubicBezTo>
                  <a:pt x="20375" y="4750"/>
                  <a:pt x="20312" y="4750"/>
                  <a:pt x="20250" y="4781"/>
                </a:cubicBezTo>
                <a:cubicBezTo>
                  <a:pt x="20312" y="4750"/>
                  <a:pt x="20375" y="4750"/>
                  <a:pt x="20468" y="4719"/>
                </a:cubicBezTo>
                <a:close/>
                <a:moveTo>
                  <a:pt x="19500" y="11625"/>
                </a:moveTo>
                <a:cubicBezTo>
                  <a:pt x="19500" y="11531"/>
                  <a:pt x="19468" y="11438"/>
                  <a:pt x="19468" y="11344"/>
                </a:cubicBezTo>
                <a:cubicBezTo>
                  <a:pt x="19468" y="11594"/>
                  <a:pt x="19406" y="11844"/>
                  <a:pt x="19312" y="12063"/>
                </a:cubicBezTo>
                <a:cubicBezTo>
                  <a:pt x="19312" y="11969"/>
                  <a:pt x="19312" y="11844"/>
                  <a:pt x="19281" y="11750"/>
                </a:cubicBezTo>
                <a:cubicBezTo>
                  <a:pt x="19406" y="10969"/>
                  <a:pt x="19531" y="9844"/>
                  <a:pt x="19500" y="11625"/>
                </a:cubicBezTo>
                <a:close/>
                <a:moveTo>
                  <a:pt x="19625" y="16906"/>
                </a:moveTo>
                <a:cubicBezTo>
                  <a:pt x="19625" y="16906"/>
                  <a:pt x="19625" y="16906"/>
                  <a:pt x="19656" y="16906"/>
                </a:cubicBezTo>
                <a:cubicBezTo>
                  <a:pt x="19656" y="16906"/>
                  <a:pt x="19656" y="16906"/>
                  <a:pt x="19656" y="16906"/>
                </a:cubicBezTo>
                <a:cubicBezTo>
                  <a:pt x="19625" y="16906"/>
                  <a:pt x="19625" y="16906"/>
                  <a:pt x="19625" y="16906"/>
                </a:cubicBezTo>
                <a:close/>
                <a:moveTo>
                  <a:pt x="19656" y="16906"/>
                </a:moveTo>
                <a:cubicBezTo>
                  <a:pt x="19656" y="16906"/>
                  <a:pt x="19656" y="16937"/>
                  <a:pt x="19687" y="16937"/>
                </a:cubicBezTo>
                <a:cubicBezTo>
                  <a:pt x="19656" y="16937"/>
                  <a:pt x="19656" y="16906"/>
                  <a:pt x="19656" y="16906"/>
                </a:cubicBezTo>
                <a:close/>
                <a:moveTo>
                  <a:pt x="20156" y="13281"/>
                </a:moveTo>
                <a:cubicBezTo>
                  <a:pt x="20156" y="13281"/>
                  <a:pt x="20156" y="13281"/>
                  <a:pt x="20156" y="13281"/>
                </a:cubicBezTo>
                <a:cubicBezTo>
                  <a:pt x="20156" y="13281"/>
                  <a:pt x="20187" y="13281"/>
                  <a:pt x="20187" y="13281"/>
                </a:cubicBezTo>
                <a:cubicBezTo>
                  <a:pt x="20187" y="13281"/>
                  <a:pt x="20156" y="13281"/>
                  <a:pt x="20156" y="13281"/>
                </a:cubicBezTo>
                <a:close/>
                <a:moveTo>
                  <a:pt x="20281" y="16438"/>
                </a:move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ubicBezTo>
                  <a:pt x="20281" y="16438"/>
                  <a:pt x="20281" y="16438"/>
                  <a:pt x="20281" y="16438"/>
                </a:cubicBezTo>
                <a:close/>
                <a:moveTo>
                  <a:pt x="20281" y="14313"/>
                </a:moveTo>
                <a:cubicBezTo>
                  <a:pt x="20250" y="14313"/>
                  <a:pt x="20250" y="14313"/>
                  <a:pt x="20218" y="14313"/>
                </a:cubicBezTo>
                <a:cubicBezTo>
                  <a:pt x="20250" y="14313"/>
                  <a:pt x="20250" y="14313"/>
                  <a:pt x="20281" y="14313"/>
                </a:cubicBezTo>
                <a:close/>
                <a:moveTo>
                  <a:pt x="20375" y="14313"/>
                </a:moveTo>
                <a:cubicBezTo>
                  <a:pt x="20343" y="14313"/>
                  <a:pt x="20312" y="14313"/>
                  <a:pt x="20281" y="14313"/>
                </a:cubicBezTo>
                <a:cubicBezTo>
                  <a:pt x="20312" y="14313"/>
                  <a:pt x="20343" y="14313"/>
                  <a:pt x="20375" y="14313"/>
                </a:cubicBezTo>
                <a:cubicBezTo>
                  <a:pt x="20375" y="14281"/>
                  <a:pt x="20375" y="14281"/>
                  <a:pt x="20375" y="14281"/>
                </a:cubicBezTo>
                <a:cubicBezTo>
                  <a:pt x="20375" y="14281"/>
                  <a:pt x="20375" y="14281"/>
                  <a:pt x="20375" y="14313"/>
                </a:cubicBezTo>
                <a:close/>
                <a:moveTo>
                  <a:pt x="20593" y="13688"/>
                </a:moveTo>
                <a:cubicBezTo>
                  <a:pt x="20593" y="13688"/>
                  <a:pt x="20593" y="13688"/>
                  <a:pt x="20593" y="13719"/>
                </a:cubicBezTo>
                <a:cubicBezTo>
                  <a:pt x="20593" y="13719"/>
                  <a:pt x="20593" y="13719"/>
                  <a:pt x="20593" y="13750"/>
                </a:cubicBezTo>
                <a:cubicBezTo>
                  <a:pt x="20593" y="13719"/>
                  <a:pt x="20593" y="13719"/>
                  <a:pt x="20593" y="13719"/>
                </a:cubicBezTo>
                <a:cubicBezTo>
                  <a:pt x="20562" y="13688"/>
                  <a:pt x="20500" y="13719"/>
                  <a:pt x="20468" y="13719"/>
                </a:cubicBezTo>
                <a:cubicBezTo>
                  <a:pt x="20500" y="13719"/>
                  <a:pt x="20562" y="13688"/>
                  <a:pt x="20593" y="13719"/>
                </a:cubicBezTo>
                <a:cubicBezTo>
                  <a:pt x="20593" y="13688"/>
                  <a:pt x="20593" y="13688"/>
                  <a:pt x="20593" y="13688"/>
                </a:cubicBezTo>
                <a:cubicBezTo>
                  <a:pt x="20625" y="13688"/>
                  <a:pt x="20625" y="13688"/>
                  <a:pt x="20625" y="13688"/>
                </a:cubicBezTo>
                <a:cubicBezTo>
                  <a:pt x="20625" y="13688"/>
                  <a:pt x="20625" y="13688"/>
                  <a:pt x="20593" y="13688"/>
                </a:cubicBezTo>
                <a:close/>
                <a:moveTo>
                  <a:pt x="20625" y="13500"/>
                </a:moveTo>
                <a:cubicBezTo>
                  <a:pt x="20625" y="13500"/>
                  <a:pt x="20625" y="13531"/>
                  <a:pt x="20625" y="13531"/>
                </a:cubicBezTo>
                <a:cubicBezTo>
                  <a:pt x="20625" y="13531"/>
                  <a:pt x="20625" y="13531"/>
                  <a:pt x="20625" y="13531"/>
                </a:cubicBezTo>
                <a:cubicBezTo>
                  <a:pt x="20625" y="13531"/>
                  <a:pt x="20625" y="13500"/>
                  <a:pt x="20625" y="13500"/>
                </a:cubicBezTo>
                <a:close/>
                <a:moveTo>
                  <a:pt x="20593" y="13438"/>
                </a:moveTo>
                <a:cubicBezTo>
                  <a:pt x="20468" y="13438"/>
                  <a:pt x="20375" y="13406"/>
                  <a:pt x="20281" y="13375"/>
                </a:cubicBezTo>
                <a:cubicBezTo>
                  <a:pt x="20375" y="13406"/>
                  <a:pt x="20468" y="13438"/>
                  <a:pt x="20593" y="13438"/>
                </a:cubicBezTo>
                <a:cubicBezTo>
                  <a:pt x="20593" y="13406"/>
                  <a:pt x="20625" y="13375"/>
                  <a:pt x="20625" y="13313"/>
                </a:cubicBezTo>
                <a:cubicBezTo>
                  <a:pt x="20625" y="13375"/>
                  <a:pt x="20593" y="13406"/>
                  <a:pt x="20593" y="13438"/>
                </a:cubicBezTo>
                <a:close/>
                <a:moveTo>
                  <a:pt x="20625" y="13063"/>
                </a:moveTo>
                <a:cubicBezTo>
                  <a:pt x="20593" y="13063"/>
                  <a:pt x="20562" y="13063"/>
                  <a:pt x="20562" y="13063"/>
                </a:cubicBezTo>
                <a:cubicBezTo>
                  <a:pt x="20562" y="13063"/>
                  <a:pt x="20593" y="13063"/>
                  <a:pt x="20625" y="13063"/>
                </a:cubicBezTo>
                <a:cubicBezTo>
                  <a:pt x="20625" y="13063"/>
                  <a:pt x="20625" y="13031"/>
                  <a:pt x="20625" y="13031"/>
                </a:cubicBezTo>
                <a:cubicBezTo>
                  <a:pt x="20625" y="13031"/>
                  <a:pt x="20625" y="13063"/>
                  <a:pt x="20625" y="13063"/>
                </a:cubicBezTo>
                <a:close/>
                <a:moveTo>
                  <a:pt x="20625" y="4563"/>
                </a:moveTo>
                <a:cubicBezTo>
                  <a:pt x="20625" y="4563"/>
                  <a:pt x="20625" y="4563"/>
                  <a:pt x="20625" y="4531"/>
                </a:cubicBezTo>
                <a:cubicBezTo>
                  <a:pt x="20625" y="4563"/>
                  <a:pt x="20625" y="4563"/>
                  <a:pt x="20625" y="4563"/>
                </a:cubicBezTo>
                <a:cubicBezTo>
                  <a:pt x="20625" y="4563"/>
                  <a:pt x="20625" y="4563"/>
                  <a:pt x="20625" y="4563"/>
                </a:cubicBezTo>
                <a:close/>
                <a:moveTo>
                  <a:pt x="23875" y="9875"/>
                </a:moveTo>
                <a:cubicBezTo>
                  <a:pt x="23875" y="9906"/>
                  <a:pt x="23875" y="9938"/>
                  <a:pt x="23875" y="9969"/>
                </a:cubicBezTo>
                <a:cubicBezTo>
                  <a:pt x="23875" y="9938"/>
                  <a:pt x="23875" y="9906"/>
                  <a:pt x="23875" y="9875"/>
                </a:cubicBezTo>
                <a:cubicBezTo>
                  <a:pt x="23875" y="9875"/>
                  <a:pt x="23875" y="9844"/>
                  <a:pt x="23875" y="9844"/>
                </a:cubicBezTo>
                <a:cubicBezTo>
                  <a:pt x="23875" y="9844"/>
                  <a:pt x="23875" y="9875"/>
                  <a:pt x="23875" y="9875"/>
                </a:cubicBezTo>
                <a:close/>
                <a:moveTo>
                  <a:pt x="21562" y="1563"/>
                </a:moveTo>
                <a:cubicBezTo>
                  <a:pt x="21562" y="1563"/>
                  <a:pt x="21562" y="1563"/>
                  <a:pt x="21562" y="1563"/>
                </a:cubicBezTo>
                <a:cubicBezTo>
                  <a:pt x="21562" y="1563"/>
                  <a:pt x="21562" y="1531"/>
                  <a:pt x="21562" y="1531"/>
                </a:cubicBezTo>
                <a:cubicBezTo>
                  <a:pt x="21562" y="1531"/>
                  <a:pt x="21562" y="1563"/>
                  <a:pt x="21562" y="1563"/>
                </a:cubicBezTo>
                <a:close/>
                <a:moveTo>
                  <a:pt x="21500" y="1719"/>
                </a:moveTo>
                <a:cubicBezTo>
                  <a:pt x="21500" y="1719"/>
                  <a:pt x="21500" y="1719"/>
                  <a:pt x="21500" y="1719"/>
                </a:cubicBezTo>
                <a:cubicBezTo>
                  <a:pt x="21500" y="1688"/>
                  <a:pt x="21500" y="1688"/>
                  <a:pt x="21500" y="1656"/>
                </a:cubicBezTo>
                <a:cubicBezTo>
                  <a:pt x="21500" y="1688"/>
                  <a:pt x="21500" y="1688"/>
                  <a:pt x="21500" y="1719"/>
                </a:cubicBezTo>
                <a:close/>
                <a:moveTo>
                  <a:pt x="21468" y="1875"/>
                </a:moveTo>
                <a:cubicBezTo>
                  <a:pt x="21437" y="1906"/>
                  <a:pt x="21437" y="1938"/>
                  <a:pt x="21437" y="1969"/>
                </a:cubicBezTo>
                <a:cubicBezTo>
                  <a:pt x="21437" y="1938"/>
                  <a:pt x="21437" y="1906"/>
                  <a:pt x="21468" y="1875"/>
                </a:cubicBezTo>
                <a:close/>
                <a:moveTo>
                  <a:pt x="21437" y="2563"/>
                </a:moveTo>
                <a:cubicBezTo>
                  <a:pt x="21437" y="2563"/>
                  <a:pt x="21437" y="2563"/>
                  <a:pt x="21437" y="2563"/>
                </a:cubicBezTo>
                <a:cubicBezTo>
                  <a:pt x="21406" y="2500"/>
                  <a:pt x="21406" y="2406"/>
                  <a:pt x="21406" y="2344"/>
                </a:cubicBezTo>
                <a:cubicBezTo>
                  <a:pt x="21406" y="2406"/>
                  <a:pt x="21406" y="2500"/>
                  <a:pt x="21437" y="2563"/>
                </a:cubicBezTo>
                <a:close/>
                <a:moveTo>
                  <a:pt x="21375" y="1719"/>
                </a:moveTo>
                <a:cubicBezTo>
                  <a:pt x="21375" y="1719"/>
                  <a:pt x="21375" y="1750"/>
                  <a:pt x="21375" y="1750"/>
                </a:cubicBezTo>
                <a:cubicBezTo>
                  <a:pt x="21375" y="1750"/>
                  <a:pt x="21375" y="1719"/>
                  <a:pt x="21375" y="1719"/>
                </a:cubicBezTo>
                <a:cubicBezTo>
                  <a:pt x="21375" y="1719"/>
                  <a:pt x="21375" y="1719"/>
                  <a:pt x="21375" y="1719"/>
                </a:cubicBezTo>
                <a:close/>
                <a:moveTo>
                  <a:pt x="21343" y="1813"/>
                </a:moveTo>
                <a:cubicBezTo>
                  <a:pt x="21343" y="1813"/>
                  <a:pt x="21343" y="1844"/>
                  <a:pt x="21343" y="1844"/>
                </a:cubicBezTo>
                <a:cubicBezTo>
                  <a:pt x="21343" y="1844"/>
                  <a:pt x="21343" y="1813"/>
                  <a:pt x="21343" y="1813"/>
                </a:cubicBezTo>
                <a:close/>
                <a:moveTo>
                  <a:pt x="21250" y="2500"/>
                </a:moveTo>
                <a:cubicBezTo>
                  <a:pt x="21250" y="2500"/>
                  <a:pt x="21250" y="2500"/>
                  <a:pt x="21250" y="2500"/>
                </a:cubicBezTo>
                <a:cubicBezTo>
                  <a:pt x="21218" y="2500"/>
                  <a:pt x="21218" y="2469"/>
                  <a:pt x="21218" y="2438"/>
                </a:cubicBezTo>
                <a:cubicBezTo>
                  <a:pt x="21218" y="2469"/>
                  <a:pt x="21218" y="2500"/>
                  <a:pt x="21250" y="2500"/>
                </a:cubicBezTo>
                <a:close/>
                <a:moveTo>
                  <a:pt x="21156" y="2938"/>
                </a:moveTo>
                <a:cubicBezTo>
                  <a:pt x="21125" y="2969"/>
                  <a:pt x="21125" y="3000"/>
                  <a:pt x="21125" y="3000"/>
                </a:cubicBezTo>
                <a:cubicBezTo>
                  <a:pt x="21125" y="3000"/>
                  <a:pt x="21125" y="3000"/>
                  <a:pt x="21125" y="3000"/>
                </a:cubicBezTo>
                <a:cubicBezTo>
                  <a:pt x="21125" y="3000"/>
                  <a:pt x="21125" y="2969"/>
                  <a:pt x="21156" y="2938"/>
                </a:cubicBezTo>
                <a:close/>
                <a:moveTo>
                  <a:pt x="21125" y="4531"/>
                </a:moveTo>
                <a:cubicBezTo>
                  <a:pt x="21125" y="4563"/>
                  <a:pt x="21125" y="4563"/>
                  <a:pt x="21125" y="4563"/>
                </a:cubicBezTo>
                <a:cubicBezTo>
                  <a:pt x="21125" y="4594"/>
                  <a:pt x="21125" y="4594"/>
                  <a:pt x="21125" y="4594"/>
                </a:cubicBezTo>
                <a:cubicBezTo>
                  <a:pt x="21125" y="4594"/>
                  <a:pt x="21125" y="4563"/>
                  <a:pt x="21125" y="4563"/>
                </a:cubicBezTo>
                <a:cubicBezTo>
                  <a:pt x="21125" y="4563"/>
                  <a:pt x="21125" y="4563"/>
                  <a:pt x="21125" y="4531"/>
                </a:cubicBezTo>
                <a:close/>
                <a:moveTo>
                  <a:pt x="21125" y="4844"/>
                </a:move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ubicBezTo>
                  <a:pt x="21125" y="4844"/>
                  <a:pt x="21093" y="4844"/>
                  <a:pt x="21093" y="4844"/>
                </a:cubicBezTo>
                <a:cubicBezTo>
                  <a:pt x="21093" y="4844"/>
                  <a:pt x="21093" y="4844"/>
                  <a:pt x="21093" y="4844"/>
                </a:cubicBezTo>
                <a:cubicBezTo>
                  <a:pt x="21093" y="4844"/>
                  <a:pt x="21125" y="4844"/>
                  <a:pt x="21125" y="4844"/>
                </a:cubicBezTo>
                <a:cubicBezTo>
                  <a:pt x="21125" y="4844"/>
                  <a:pt x="21125" y="4844"/>
                  <a:pt x="21125" y="4844"/>
                </a:cubicBezTo>
                <a:close/>
                <a:moveTo>
                  <a:pt x="21093" y="6156"/>
                </a:moveTo>
                <a:cubicBezTo>
                  <a:pt x="21093" y="6156"/>
                  <a:pt x="21062" y="6156"/>
                  <a:pt x="21062" y="6156"/>
                </a:cubicBezTo>
                <a:cubicBezTo>
                  <a:pt x="21062" y="6156"/>
                  <a:pt x="21062" y="6156"/>
                  <a:pt x="21062" y="6156"/>
                </a:cubicBezTo>
                <a:cubicBezTo>
                  <a:pt x="21062" y="6156"/>
                  <a:pt x="21093" y="6156"/>
                  <a:pt x="21093" y="6156"/>
                </a:cubicBezTo>
                <a:close/>
                <a:moveTo>
                  <a:pt x="21062" y="3406"/>
                </a:moveTo>
                <a:cubicBezTo>
                  <a:pt x="21062" y="3438"/>
                  <a:pt x="21062" y="3469"/>
                  <a:pt x="21062" y="3500"/>
                </a:cubicBezTo>
                <a:cubicBezTo>
                  <a:pt x="21062" y="3469"/>
                  <a:pt x="21062" y="3438"/>
                  <a:pt x="21062" y="3406"/>
                </a:cubicBezTo>
                <a:cubicBezTo>
                  <a:pt x="21062" y="3438"/>
                  <a:pt x="21093" y="3438"/>
                  <a:pt x="21093" y="3469"/>
                </a:cubicBezTo>
                <a:cubicBezTo>
                  <a:pt x="21093" y="3438"/>
                  <a:pt x="21062" y="3438"/>
                  <a:pt x="21062" y="3406"/>
                </a:cubicBezTo>
                <a:close/>
                <a:moveTo>
                  <a:pt x="21031" y="5156"/>
                </a:moveTo>
                <a:cubicBezTo>
                  <a:pt x="21031" y="5188"/>
                  <a:pt x="21031" y="5219"/>
                  <a:pt x="21062" y="5250"/>
                </a:cubicBezTo>
                <a:cubicBezTo>
                  <a:pt x="21031" y="5219"/>
                  <a:pt x="21031" y="5188"/>
                  <a:pt x="21031" y="5156"/>
                </a:cubicBezTo>
                <a:cubicBezTo>
                  <a:pt x="21031" y="5125"/>
                  <a:pt x="21031" y="5125"/>
                  <a:pt x="21031" y="5125"/>
                </a:cubicBezTo>
                <a:cubicBezTo>
                  <a:pt x="21031" y="5125"/>
                  <a:pt x="21031" y="5125"/>
                  <a:pt x="21031" y="5156"/>
                </a:cubicBezTo>
                <a:close/>
                <a:moveTo>
                  <a:pt x="21000" y="4063"/>
                </a:moveTo>
                <a:cubicBezTo>
                  <a:pt x="21000" y="4063"/>
                  <a:pt x="21000" y="4063"/>
                  <a:pt x="21000" y="4063"/>
                </a:cubicBezTo>
                <a:cubicBezTo>
                  <a:pt x="21000" y="4031"/>
                  <a:pt x="21031" y="4031"/>
                  <a:pt x="21031" y="4031"/>
                </a:cubicBezTo>
                <a:cubicBezTo>
                  <a:pt x="21031" y="4031"/>
                  <a:pt x="21000" y="4031"/>
                  <a:pt x="21000" y="4063"/>
                </a:cubicBezTo>
                <a:close/>
                <a:moveTo>
                  <a:pt x="21031" y="4250"/>
                </a:moveTo>
                <a:cubicBezTo>
                  <a:pt x="21031" y="4250"/>
                  <a:pt x="21031" y="4250"/>
                  <a:pt x="21031" y="4219"/>
                </a:cubicBezTo>
                <a:cubicBezTo>
                  <a:pt x="21031" y="4250"/>
                  <a:pt x="21031" y="4250"/>
                  <a:pt x="21031" y="4250"/>
                </a:cubicBezTo>
                <a:cubicBezTo>
                  <a:pt x="21031" y="4250"/>
                  <a:pt x="21062" y="4250"/>
                  <a:pt x="21062" y="4281"/>
                </a:cubicBezTo>
                <a:cubicBezTo>
                  <a:pt x="21062" y="4250"/>
                  <a:pt x="21031" y="4250"/>
                  <a:pt x="21031" y="4250"/>
                </a:cubicBezTo>
                <a:close/>
                <a:moveTo>
                  <a:pt x="21000" y="3281"/>
                </a:moveTo>
                <a:cubicBezTo>
                  <a:pt x="21031" y="3281"/>
                  <a:pt x="21062" y="3281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313"/>
                  <a:pt x="21062" y="3313"/>
                  <a:pt x="21062" y="3313"/>
                </a:cubicBezTo>
                <a:cubicBezTo>
                  <a:pt x="21062" y="3281"/>
                  <a:pt x="21031" y="3281"/>
                  <a:pt x="21000" y="3281"/>
                </a:cubicBezTo>
                <a:cubicBezTo>
                  <a:pt x="21000" y="3281"/>
                  <a:pt x="21000" y="3281"/>
                  <a:pt x="21000" y="3281"/>
                </a:cubicBezTo>
                <a:cubicBezTo>
                  <a:pt x="21000" y="3219"/>
                  <a:pt x="21000" y="3188"/>
                  <a:pt x="21000" y="3156"/>
                </a:cubicBezTo>
                <a:cubicBezTo>
                  <a:pt x="21000" y="3188"/>
                  <a:pt x="21000" y="3219"/>
                  <a:pt x="21000" y="3281"/>
                </a:cubicBezTo>
                <a:close/>
                <a:moveTo>
                  <a:pt x="20968" y="4094"/>
                </a:moveTo>
                <a:cubicBezTo>
                  <a:pt x="20968" y="4125"/>
                  <a:pt x="20968" y="4125"/>
                  <a:pt x="20968" y="4125"/>
                </a:cubicBezTo>
                <a:cubicBezTo>
                  <a:pt x="20968" y="4156"/>
                  <a:pt x="20968" y="4156"/>
                  <a:pt x="20968" y="4156"/>
                </a:cubicBezTo>
                <a:cubicBezTo>
                  <a:pt x="20968" y="4156"/>
                  <a:pt x="20968" y="4156"/>
                  <a:pt x="20968" y="4125"/>
                </a:cubicBezTo>
                <a:cubicBezTo>
                  <a:pt x="20968" y="4125"/>
                  <a:pt x="20968" y="4125"/>
                  <a:pt x="20968" y="4094"/>
                </a:cubicBezTo>
                <a:close/>
                <a:moveTo>
                  <a:pt x="20968" y="3750"/>
                </a:moveTo>
                <a:cubicBezTo>
                  <a:pt x="20968" y="3750"/>
                  <a:pt x="20968" y="3750"/>
                  <a:pt x="20968" y="3750"/>
                </a:cubicBezTo>
                <a:cubicBezTo>
                  <a:pt x="20937" y="3750"/>
                  <a:pt x="20937" y="3719"/>
                  <a:pt x="20937" y="3719"/>
                </a:cubicBezTo>
                <a:cubicBezTo>
                  <a:pt x="20937" y="3719"/>
                  <a:pt x="20937" y="3750"/>
                  <a:pt x="20968" y="3750"/>
                </a:cubicBezTo>
                <a:close/>
                <a:moveTo>
                  <a:pt x="20937" y="4000"/>
                </a:moveTo>
                <a:cubicBezTo>
                  <a:pt x="20968" y="3969"/>
                  <a:pt x="20968" y="3938"/>
                  <a:pt x="20968" y="3938"/>
                </a:cubicBezTo>
                <a:cubicBezTo>
                  <a:pt x="20968" y="3938"/>
                  <a:pt x="20968" y="3969"/>
                  <a:pt x="20937" y="4000"/>
                </a:cubicBezTo>
                <a:cubicBezTo>
                  <a:pt x="20937" y="4000"/>
                  <a:pt x="20937" y="4000"/>
                  <a:pt x="20937" y="4000"/>
                </a:cubicBezTo>
                <a:close/>
                <a:moveTo>
                  <a:pt x="20937" y="5406"/>
                </a:moveTo>
                <a:cubicBezTo>
                  <a:pt x="20968" y="5438"/>
                  <a:pt x="20968" y="5500"/>
                  <a:pt x="20968" y="5531"/>
                </a:cubicBezTo>
                <a:cubicBezTo>
                  <a:pt x="20968" y="5500"/>
                  <a:pt x="20968" y="5438"/>
                  <a:pt x="20937" y="5406"/>
                </a:cubicBezTo>
                <a:cubicBezTo>
                  <a:pt x="20906" y="5281"/>
                  <a:pt x="20906" y="5125"/>
                  <a:pt x="20875" y="5000"/>
                </a:cubicBezTo>
                <a:cubicBezTo>
                  <a:pt x="20906" y="5125"/>
                  <a:pt x="20906" y="5281"/>
                  <a:pt x="20937" y="5406"/>
                </a:cubicBezTo>
                <a:close/>
                <a:moveTo>
                  <a:pt x="20781" y="12938"/>
                </a:move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ubicBezTo>
                  <a:pt x="20781" y="12938"/>
                  <a:pt x="20781" y="12938"/>
                  <a:pt x="20781" y="12938"/>
                </a:cubicBezTo>
                <a:close/>
                <a:moveTo>
                  <a:pt x="20843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906" y="12688"/>
                  <a:pt x="20906" y="12688"/>
                  <a:pt x="20906" y="12688"/>
                </a:cubicBezTo>
                <a:cubicBezTo>
                  <a:pt x="20906" y="12688"/>
                  <a:pt x="20906" y="12688"/>
                  <a:pt x="20875" y="12719"/>
                </a:cubicBezTo>
                <a:cubicBezTo>
                  <a:pt x="20875" y="12719"/>
                  <a:pt x="20875" y="12719"/>
                  <a:pt x="20843" y="12719"/>
                </a:cubicBezTo>
                <a:close/>
                <a:moveTo>
                  <a:pt x="20875" y="12719"/>
                </a:moveTo>
                <a:cubicBezTo>
                  <a:pt x="20875" y="12719"/>
                  <a:pt x="20875" y="12719"/>
                  <a:pt x="20875" y="12719"/>
                </a:cubicBezTo>
                <a:cubicBezTo>
                  <a:pt x="20843" y="12719"/>
                  <a:pt x="20843" y="12719"/>
                  <a:pt x="20843" y="12719"/>
                </a:cubicBezTo>
                <a:cubicBezTo>
                  <a:pt x="20843" y="12719"/>
                  <a:pt x="20843" y="12719"/>
                  <a:pt x="20875" y="12719"/>
                </a:cubicBezTo>
                <a:close/>
                <a:moveTo>
                  <a:pt x="20687" y="16375"/>
                </a:moveTo>
                <a:cubicBezTo>
                  <a:pt x="20687" y="16375"/>
                  <a:pt x="20687" y="16375"/>
                  <a:pt x="20687" y="16344"/>
                </a:cubicBezTo>
                <a:cubicBezTo>
                  <a:pt x="20687" y="16344"/>
                  <a:pt x="20687" y="16344"/>
                  <a:pt x="20687" y="16344"/>
                </a:cubicBezTo>
                <a:cubicBezTo>
                  <a:pt x="20687" y="16375"/>
                  <a:pt x="20687" y="16375"/>
                  <a:pt x="20687" y="16375"/>
                </a:cubicBezTo>
                <a:close/>
                <a:moveTo>
                  <a:pt x="20750" y="13750"/>
                </a:moveTo>
                <a:cubicBezTo>
                  <a:pt x="20750" y="13750"/>
                  <a:pt x="20718" y="13750"/>
                  <a:pt x="20718" y="13750"/>
                </a:cubicBezTo>
                <a:cubicBezTo>
                  <a:pt x="20718" y="13750"/>
                  <a:pt x="20750" y="13750"/>
                  <a:pt x="20750" y="13750"/>
                </a:cubicBezTo>
                <a:cubicBezTo>
                  <a:pt x="20750" y="13750"/>
                  <a:pt x="20750" y="13750"/>
                  <a:pt x="20750" y="13750"/>
                </a:cubicBezTo>
                <a:close/>
                <a:moveTo>
                  <a:pt x="20687" y="13219"/>
                </a:moveTo>
                <a:cubicBezTo>
                  <a:pt x="20718" y="13219"/>
                  <a:pt x="20718" y="13219"/>
                  <a:pt x="20750" y="13250"/>
                </a:cubicBezTo>
                <a:cubicBezTo>
                  <a:pt x="20781" y="13250"/>
                  <a:pt x="20843" y="13250"/>
                  <a:pt x="20875" y="13250"/>
                </a:cubicBezTo>
                <a:cubicBezTo>
                  <a:pt x="20843" y="13250"/>
                  <a:pt x="20781" y="13250"/>
                  <a:pt x="20750" y="13250"/>
                </a:cubicBezTo>
                <a:cubicBezTo>
                  <a:pt x="20718" y="13219"/>
                  <a:pt x="20718" y="13219"/>
                  <a:pt x="20687" y="13219"/>
                </a:cubicBezTo>
                <a:close/>
                <a:moveTo>
                  <a:pt x="20781" y="13781"/>
                </a:moveTo>
                <a:cubicBezTo>
                  <a:pt x="20781" y="13781"/>
                  <a:pt x="20750" y="13781"/>
                  <a:pt x="20750" y="13781"/>
                </a:cubicBezTo>
                <a:cubicBezTo>
                  <a:pt x="20750" y="13781"/>
                  <a:pt x="20781" y="13781"/>
                  <a:pt x="20781" y="13781"/>
                </a:cubicBezTo>
                <a:cubicBezTo>
                  <a:pt x="20781" y="13813"/>
                  <a:pt x="20781" y="13844"/>
                  <a:pt x="20781" y="13844"/>
                </a:cubicBezTo>
                <a:cubicBezTo>
                  <a:pt x="20781" y="13844"/>
                  <a:pt x="20781" y="13813"/>
                  <a:pt x="20781" y="13781"/>
                </a:cubicBezTo>
                <a:close/>
                <a:moveTo>
                  <a:pt x="20875" y="13781"/>
                </a:moveTo>
                <a:cubicBezTo>
                  <a:pt x="20968" y="13750"/>
                  <a:pt x="21031" y="13719"/>
                  <a:pt x="21062" y="13688"/>
                </a:cubicBezTo>
                <a:cubicBezTo>
                  <a:pt x="21031" y="13719"/>
                  <a:pt x="20968" y="13750"/>
                  <a:pt x="20875" y="13781"/>
                </a:cubicBezTo>
                <a:cubicBezTo>
                  <a:pt x="20875" y="13781"/>
                  <a:pt x="20843" y="13781"/>
                  <a:pt x="20812" y="13781"/>
                </a:cubicBezTo>
                <a:cubicBezTo>
                  <a:pt x="20843" y="13781"/>
                  <a:pt x="20875" y="13781"/>
                  <a:pt x="20875" y="13781"/>
                </a:cubicBezTo>
                <a:close/>
                <a:moveTo>
                  <a:pt x="20843" y="14656"/>
                </a:move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ubicBezTo>
                  <a:pt x="20843" y="14656"/>
                  <a:pt x="20843" y="14656"/>
                  <a:pt x="20843" y="14656"/>
                </a:cubicBezTo>
                <a:close/>
                <a:moveTo>
                  <a:pt x="21125" y="14688"/>
                </a:moveTo>
                <a:cubicBezTo>
                  <a:pt x="21125" y="14656"/>
                  <a:pt x="21156" y="14656"/>
                  <a:pt x="21156" y="14656"/>
                </a:cubicBezTo>
                <a:cubicBezTo>
                  <a:pt x="21156" y="14656"/>
                  <a:pt x="21125" y="14656"/>
                  <a:pt x="21125" y="14688"/>
                </a:cubicBezTo>
                <a:cubicBezTo>
                  <a:pt x="21031" y="14719"/>
                  <a:pt x="20937" y="14781"/>
                  <a:pt x="20843" y="14844"/>
                </a:cubicBezTo>
                <a:cubicBezTo>
                  <a:pt x="20937" y="14781"/>
                  <a:pt x="21031" y="14719"/>
                  <a:pt x="21125" y="14688"/>
                </a:cubicBezTo>
                <a:close/>
                <a:moveTo>
                  <a:pt x="20875" y="15406"/>
                </a:moveTo>
                <a:cubicBezTo>
                  <a:pt x="20875" y="15406"/>
                  <a:pt x="20875" y="15406"/>
                  <a:pt x="20875" y="15406"/>
                </a:cubicBezTo>
                <a:cubicBezTo>
                  <a:pt x="20875" y="15406"/>
                  <a:pt x="20875" y="15406"/>
                  <a:pt x="20875" y="15406"/>
                </a:cubicBezTo>
                <a:close/>
                <a:moveTo>
                  <a:pt x="20875" y="16906"/>
                </a:move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906" y="16875"/>
                </a:cubicBezTo>
                <a:cubicBezTo>
                  <a:pt x="20906" y="16875"/>
                  <a:pt x="20906" y="16875"/>
                  <a:pt x="20875" y="16906"/>
                </a:cubicBezTo>
                <a:close/>
                <a:moveTo>
                  <a:pt x="21125" y="16156"/>
                </a:moveTo>
                <a:cubicBezTo>
                  <a:pt x="21125" y="16156"/>
                  <a:pt x="21125" y="16188"/>
                  <a:pt x="21093" y="16188"/>
                </a:cubicBezTo>
                <a:cubicBezTo>
                  <a:pt x="21125" y="16188"/>
                  <a:pt x="21125" y="16156"/>
                  <a:pt x="21125" y="16156"/>
                </a:cubicBezTo>
                <a:cubicBezTo>
                  <a:pt x="21125" y="16125"/>
                  <a:pt x="21156" y="16125"/>
                  <a:pt x="21187" y="16094"/>
                </a:cubicBezTo>
                <a:cubicBezTo>
                  <a:pt x="21156" y="16125"/>
                  <a:pt x="21125" y="16125"/>
                  <a:pt x="21125" y="16156"/>
                </a:cubicBezTo>
                <a:close/>
                <a:moveTo>
                  <a:pt x="21406" y="14594"/>
                </a:move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ubicBezTo>
                  <a:pt x="21406" y="14594"/>
                  <a:pt x="21406" y="14594"/>
                  <a:pt x="21406" y="14594"/>
                </a:cubicBezTo>
                <a:close/>
                <a:moveTo>
                  <a:pt x="20968" y="12750"/>
                </a:moveTo>
                <a:cubicBezTo>
                  <a:pt x="20968" y="12750"/>
                  <a:pt x="20968" y="12750"/>
                  <a:pt x="20968" y="12750"/>
                </a:cubicBezTo>
                <a:cubicBezTo>
                  <a:pt x="21125" y="12813"/>
                  <a:pt x="21281" y="12844"/>
                  <a:pt x="21437" y="12875"/>
                </a:cubicBezTo>
                <a:cubicBezTo>
                  <a:pt x="21281" y="12844"/>
                  <a:pt x="21125" y="12813"/>
                  <a:pt x="20968" y="12750"/>
                </a:cubicBezTo>
                <a:close/>
                <a:moveTo>
                  <a:pt x="21156" y="6563"/>
                </a:moveTo>
                <a:cubicBezTo>
                  <a:pt x="21156" y="6563"/>
                  <a:pt x="21156" y="6563"/>
                  <a:pt x="21187" y="6563"/>
                </a:cubicBezTo>
                <a:cubicBezTo>
                  <a:pt x="21187" y="6563"/>
                  <a:pt x="21187" y="6563"/>
                  <a:pt x="21187" y="6563"/>
                </a:cubicBezTo>
                <a:cubicBezTo>
                  <a:pt x="21156" y="6563"/>
                  <a:pt x="21156" y="6563"/>
                  <a:pt x="21156" y="6563"/>
                </a:cubicBezTo>
                <a:close/>
                <a:moveTo>
                  <a:pt x="21218" y="6469"/>
                </a:moveTo>
                <a:cubicBezTo>
                  <a:pt x="21218" y="6531"/>
                  <a:pt x="21250" y="6563"/>
                  <a:pt x="21250" y="6594"/>
                </a:cubicBezTo>
                <a:cubicBezTo>
                  <a:pt x="21250" y="6594"/>
                  <a:pt x="21250" y="6594"/>
                  <a:pt x="21250" y="6594"/>
                </a:cubicBezTo>
                <a:cubicBezTo>
                  <a:pt x="21250" y="6563"/>
                  <a:pt x="21218" y="6531"/>
                  <a:pt x="21218" y="6469"/>
                </a:cubicBezTo>
                <a:close/>
                <a:moveTo>
                  <a:pt x="21250" y="6781"/>
                </a:moveTo>
                <a:cubicBezTo>
                  <a:pt x="21250" y="6781"/>
                  <a:pt x="21250" y="6750"/>
                  <a:pt x="21218" y="6750"/>
                </a:cubicBezTo>
                <a:cubicBezTo>
                  <a:pt x="21218" y="6750"/>
                  <a:pt x="21218" y="6750"/>
                  <a:pt x="21218" y="6750"/>
                </a:cubicBezTo>
                <a:cubicBezTo>
                  <a:pt x="21250" y="6750"/>
                  <a:pt x="21250" y="6781"/>
                  <a:pt x="21250" y="6781"/>
                </a:cubicBezTo>
                <a:close/>
                <a:moveTo>
                  <a:pt x="21218" y="3375"/>
                </a:moveTo>
                <a:cubicBezTo>
                  <a:pt x="21218" y="3375"/>
                  <a:pt x="21218" y="3375"/>
                  <a:pt x="21218" y="3375"/>
                </a:cubicBezTo>
                <a:cubicBezTo>
                  <a:pt x="21218" y="3375"/>
                  <a:pt x="21218" y="3406"/>
                  <a:pt x="21218" y="3438"/>
                </a:cubicBezTo>
                <a:cubicBezTo>
                  <a:pt x="21218" y="3406"/>
                  <a:pt x="21218" y="3375"/>
                  <a:pt x="21218" y="3375"/>
                </a:cubicBezTo>
                <a:close/>
                <a:moveTo>
                  <a:pt x="21218" y="6750"/>
                </a:moveTo>
                <a:cubicBezTo>
                  <a:pt x="21218" y="6750"/>
                  <a:pt x="21218" y="6750"/>
                  <a:pt x="21218" y="6750"/>
                </a:cubicBezTo>
                <a:cubicBezTo>
                  <a:pt x="21218" y="6750"/>
                  <a:pt x="21187" y="6719"/>
                  <a:pt x="21187" y="6688"/>
                </a:cubicBezTo>
                <a:cubicBezTo>
                  <a:pt x="21187" y="6719"/>
                  <a:pt x="21218" y="6750"/>
                  <a:pt x="21218" y="6750"/>
                </a:cubicBezTo>
                <a:close/>
                <a:moveTo>
                  <a:pt x="21312" y="7063"/>
                </a:moveTo>
                <a:cubicBezTo>
                  <a:pt x="21343" y="7156"/>
                  <a:pt x="21375" y="7250"/>
                  <a:pt x="21406" y="7375"/>
                </a:cubicBezTo>
                <a:cubicBezTo>
                  <a:pt x="21375" y="7250"/>
                  <a:pt x="21343" y="7156"/>
                  <a:pt x="21312" y="7063"/>
                </a:cubicBezTo>
                <a:cubicBezTo>
                  <a:pt x="21281" y="7000"/>
                  <a:pt x="21250" y="6969"/>
                  <a:pt x="21250" y="6906"/>
                </a:cubicBezTo>
                <a:cubicBezTo>
                  <a:pt x="21250" y="6969"/>
                  <a:pt x="21281" y="7000"/>
                  <a:pt x="21312" y="7063"/>
                </a:cubicBezTo>
                <a:close/>
                <a:moveTo>
                  <a:pt x="21281" y="5156"/>
                </a:moveTo>
                <a:cubicBezTo>
                  <a:pt x="21281" y="5156"/>
                  <a:pt x="21281" y="5156"/>
                  <a:pt x="21281" y="5188"/>
                </a:cubicBezTo>
                <a:cubicBezTo>
                  <a:pt x="21312" y="5219"/>
                  <a:pt x="21312" y="5250"/>
                  <a:pt x="21312" y="5281"/>
                </a:cubicBezTo>
                <a:cubicBezTo>
                  <a:pt x="21312" y="5250"/>
                  <a:pt x="21312" y="5219"/>
                  <a:pt x="21281" y="5188"/>
                </a:cubicBezTo>
                <a:cubicBezTo>
                  <a:pt x="21281" y="5156"/>
                  <a:pt x="21281" y="5156"/>
                  <a:pt x="21281" y="5156"/>
                </a:cubicBezTo>
                <a:close/>
                <a:moveTo>
                  <a:pt x="21343" y="5719"/>
                </a:moveTo>
                <a:cubicBezTo>
                  <a:pt x="21343" y="5719"/>
                  <a:pt x="21375" y="5719"/>
                  <a:pt x="21375" y="5719"/>
                </a:cubicBezTo>
                <a:cubicBezTo>
                  <a:pt x="21375" y="5719"/>
                  <a:pt x="21375" y="5719"/>
                  <a:pt x="21375" y="5719"/>
                </a:cubicBezTo>
                <a:cubicBezTo>
                  <a:pt x="21375" y="5719"/>
                  <a:pt x="21343" y="5719"/>
                  <a:pt x="21343" y="5719"/>
                </a:cubicBezTo>
                <a:close/>
                <a:moveTo>
                  <a:pt x="21375" y="5813"/>
                </a:moveTo>
                <a:cubicBezTo>
                  <a:pt x="21375" y="5813"/>
                  <a:pt x="21375" y="5813"/>
                  <a:pt x="21406" y="5813"/>
                </a:cubicBezTo>
                <a:cubicBezTo>
                  <a:pt x="21406" y="5813"/>
                  <a:pt x="21406" y="5813"/>
                  <a:pt x="21406" y="5813"/>
                </a:cubicBezTo>
                <a:cubicBezTo>
                  <a:pt x="21375" y="5813"/>
                  <a:pt x="21375" y="5813"/>
                  <a:pt x="21375" y="5813"/>
                </a:cubicBezTo>
                <a:close/>
                <a:moveTo>
                  <a:pt x="21375" y="12750"/>
                </a:moveTo>
                <a:cubicBezTo>
                  <a:pt x="21375" y="12750"/>
                  <a:pt x="21375" y="12750"/>
                  <a:pt x="21375" y="12750"/>
                </a:cubicBezTo>
                <a:cubicBezTo>
                  <a:pt x="21343" y="12750"/>
                  <a:pt x="21312" y="12750"/>
                  <a:pt x="21312" y="12750"/>
                </a:cubicBezTo>
                <a:cubicBezTo>
                  <a:pt x="21312" y="12750"/>
                  <a:pt x="21343" y="12750"/>
                  <a:pt x="21375" y="12750"/>
                </a:cubicBezTo>
                <a:close/>
                <a:moveTo>
                  <a:pt x="21312" y="7344"/>
                </a:moveTo>
                <a:cubicBezTo>
                  <a:pt x="21312" y="7344"/>
                  <a:pt x="21312" y="7375"/>
                  <a:pt x="21343" y="7375"/>
                </a:cubicBezTo>
                <a:cubicBezTo>
                  <a:pt x="21343" y="7375"/>
                  <a:pt x="21343" y="7375"/>
                  <a:pt x="21343" y="7406"/>
                </a:cubicBezTo>
                <a:cubicBezTo>
                  <a:pt x="21343" y="7375"/>
                  <a:pt x="21343" y="7375"/>
                  <a:pt x="21343" y="7375"/>
                </a:cubicBezTo>
                <a:cubicBezTo>
                  <a:pt x="21312" y="7375"/>
                  <a:pt x="21312" y="7344"/>
                  <a:pt x="21312" y="7344"/>
                </a:cubicBezTo>
                <a:close/>
                <a:moveTo>
                  <a:pt x="21343" y="7438"/>
                </a:moveTo>
                <a:cubicBezTo>
                  <a:pt x="21343" y="7500"/>
                  <a:pt x="21375" y="7531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406" y="7594"/>
                  <a:pt x="21406" y="7594"/>
                  <a:pt x="21406" y="7594"/>
                </a:cubicBezTo>
                <a:cubicBezTo>
                  <a:pt x="21375" y="7531"/>
                  <a:pt x="21343" y="7500"/>
                  <a:pt x="21343" y="7438"/>
                </a:cubicBezTo>
                <a:close/>
                <a:moveTo>
                  <a:pt x="21312" y="7281"/>
                </a:moveTo>
                <a:cubicBezTo>
                  <a:pt x="21312" y="7281"/>
                  <a:pt x="21312" y="7281"/>
                  <a:pt x="21312" y="7281"/>
                </a:cubicBezTo>
                <a:cubicBezTo>
                  <a:pt x="21281" y="7281"/>
                  <a:pt x="21281" y="7281"/>
                  <a:pt x="21281" y="7281"/>
                </a:cubicBezTo>
                <a:cubicBezTo>
                  <a:pt x="21281" y="7281"/>
                  <a:pt x="21281" y="7281"/>
                  <a:pt x="21312" y="7281"/>
                </a:cubicBezTo>
                <a:close/>
                <a:moveTo>
                  <a:pt x="21406" y="7406"/>
                </a:moveTo>
                <a:cubicBezTo>
                  <a:pt x="21406" y="7406"/>
                  <a:pt x="21406" y="7406"/>
                  <a:pt x="21406" y="7406"/>
                </a:cubicBezTo>
                <a:cubicBezTo>
                  <a:pt x="21437" y="7438"/>
                  <a:pt x="21437" y="7500"/>
                  <a:pt x="21437" y="7563"/>
                </a:cubicBezTo>
                <a:cubicBezTo>
                  <a:pt x="21437" y="7500"/>
                  <a:pt x="21437" y="7438"/>
                  <a:pt x="21406" y="7406"/>
                </a:cubicBezTo>
                <a:close/>
                <a:moveTo>
                  <a:pt x="21437" y="5969"/>
                </a:moveTo>
                <a:cubicBezTo>
                  <a:pt x="21437" y="5969"/>
                  <a:pt x="21437" y="5969"/>
                  <a:pt x="21437" y="6000"/>
                </a:cubicBezTo>
                <a:cubicBezTo>
                  <a:pt x="21437" y="6000"/>
                  <a:pt x="21437" y="6000"/>
                  <a:pt x="21437" y="6000"/>
                </a:cubicBezTo>
                <a:cubicBezTo>
                  <a:pt x="21437" y="5969"/>
                  <a:pt x="21437" y="5969"/>
                  <a:pt x="21437" y="5969"/>
                </a:cubicBezTo>
                <a:close/>
                <a:moveTo>
                  <a:pt x="21500" y="14688"/>
                </a:moveTo>
                <a:cubicBezTo>
                  <a:pt x="21500" y="14688"/>
                  <a:pt x="21468" y="14719"/>
                  <a:pt x="21468" y="14719"/>
                </a:cubicBezTo>
                <a:cubicBezTo>
                  <a:pt x="21468" y="14719"/>
                  <a:pt x="21500" y="14688"/>
                  <a:pt x="21500" y="14688"/>
                </a:cubicBezTo>
                <a:cubicBezTo>
                  <a:pt x="21500" y="14688"/>
                  <a:pt x="21500" y="14688"/>
                  <a:pt x="21500" y="14688"/>
                </a:cubicBezTo>
                <a:cubicBezTo>
                  <a:pt x="21531" y="14656"/>
                  <a:pt x="21531" y="14625"/>
                  <a:pt x="21562" y="14594"/>
                </a:cubicBezTo>
                <a:cubicBezTo>
                  <a:pt x="21531" y="14625"/>
                  <a:pt x="21531" y="14656"/>
                  <a:pt x="21500" y="14688"/>
                </a:cubicBezTo>
                <a:close/>
                <a:moveTo>
                  <a:pt x="21562" y="6219"/>
                </a:moveTo>
                <a:cubicBezTo>
                  <a:pt x="21562" y="6156"/>
                  <a:pt x="21531" y="6125"/>
                  <a:pt x="21500" y="6094"/>
                </a:cubicBezTo>
                <a:cubicBezTo>
                  <a:pt x="21500" y="6031"/>
                  <a:pt x="21500" y="6000"/>
                  <a:pt x="21468" y="5969"/>
                </a:cubicBezTo>
                <a:cubicBezTo>
                  <a:pt x="21500" y="6000"/>
                  <a:pt x="21500" y="6031"/>
                  <a:pt x="21500" y="6094"/>
                </a:cubicBezTo>
                <a:cubicBezTo>
                  <a:pt x="21531" y="6125"/>
                  <a:pt x="21562" y="6156"/>
                  <a:pt x="21562" y="6219"/>
                </a:cubicBezTo>
                <a:close/>
                <a:moveTo>
                  <a:pt x="21781" y="8563"/>
                </a:moveTo>
                <a:cubicBezTo>
                  <a:pt x="21750" y="8531"/>
                  <a:pt x="21750" y="8500"/>
                  <a:pt x="21718" y="8469"/>
                </a:cubicBezTo>
                <a:cubicBezTo>
                  <a:pt x="21750" y="8500"/>
                  <a:pt x="21750" y="8531"/>
                  <a:pt x="21781" y="8563"/>
                </a:cubicBezTo>
                <a:cubicBezTo>
                  <a:pt x="21781" y="8656"/>
                  <a:pt x="21812" y="8719"/>
                  <a:pt x="21843" y="8813"/>
                </a:cubicBezTo>
                <a:cubicBezTo>
                  <a:pt x="21812" y="8719"/>
                  <a:pt x="21781" y="8656"/>
                  <a:pt x="21781" y="8563"/>
                </a:cubicBezTo>
                <a:close/>
                <a:moveTo>
                  <a:pt x="21781" y="8531"/>
                </a:moveTo>
                <a:cubicBezTo>
                  <a:pt x="21781" y="8500"/>
                  <a:pt x="21781" y="8500"/>
                  <a:pt x="21812" y="8500"/>
                </a:cubicBezTo>
                <a:cubicBezTo>
                  <a:pt x="21812" y="8500"/>
                  <a:pt x="21812" y="8500"/>
                  <a:pt x="21812" y="8500"/>
                </a:cubicBezTo>
                <a:cubicBezTo>
                  <a:pt x="21781" y="8500"/>
                  <a:pt x="21781" y="8500"/>
                  <a:pt x="21781" y="8531"/>
                </a:cubicBezTo>
                <a:close/>
                <a:moveTo>
                  <a:pt x="22000" y="7906"/>
                </a:moveTo>
                <a:cubicBezTo>
                  <a:pt x="22000" y="7875"/>
                  <a:pt x="21968" y="7844"/>
                  <a:pt x="21968" y="7844"/>
                </a:cubicBezTo>
                <a:cubicBezTo>
                  <a:pt x="21968" y="7844"/>
                  <a:pt x="21968" y="7844"/>
                  <a:pt x="21968" y="7844"/>
                </a:cubicBezTo>
                <a:cubicBezTo>
                  <a:pt x="21968" y="7844"/>
                  <a:pt x="22000" y="7875"/>
                  <a:pt x="22000" y="7906"/>
                </a:cubicBezTo>
                <a:close/>
                <a:moveTo>
                  <a:pt x="21968" y="7625"/>
                </a:move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2000" y="7625"/>
                </a:cubicBezTo>
                <a:cubicBezTo>
                  <a:pt x="21968" y="7625"/>
                  <a:pt x="21968" y="7625"/>
                  <a:pt x="21968" y="7625"/>
                </a:cubicBezTo>
                <a:cubicBezTo>
                  <a:pt x="21968" y="7625"/>
                  <a:pt x="21968" y="7625"/>
                  <a:pt x="21968" y="7625"/>
                </a:cubicBezTo>
                <a:close/>
                <a:moveTo>
                  <a:pt x="21906" y="7531"/>
                </a:moveTo>
                <a:cubicBezTo>
                  <a:pt x="21906" y="7531"/>
                  <a:pt x="21906" y="7531"/>
                  <a:pt x="21906" y="7531"/>
                </a:cubicBezTo>
                <a:cubicBezTo>
                  <a:pt x="21937" y="7531"/>
                  <a:pt x="21968" y="7563"/>
                  <a:pt x="21968" y="7563"/>
                </a:cubicBezTo>
                <a:cubicBezTo>
                  <a:pt x="21968" y="7563"/>
                  <a:pt x="21937" y="7531"/>
                  <a:pt x="21906" y="7531"/>
                </a:cubicBezTo>
                <a:close/>
                <a:moveTo>
                  <a:pt x="21968" y="13781"/>
                </a:moveTo>
                <a:cubicBezTo>
                  <a:pt x="21968" y="13750"/>
                  <a:pt x="21968" y="13750"/>
                  <a:pt x="21968" y="13719"/>
                </a:cubicBezTo>
                <a:cubicBezTo>
                  <a:pt x="21968" y="13750"/>
                  <a:pt x="21968" y="13750"/>
                  <a:pt x="21968" y="13781"/>
                </a:cubicBezTo>
                <a:cubicBezTo>
                  <a:pt x="21968" y="13813"/>
                  <a:pt x="21968" y="13844"/>
                  <a:pt x="21968" y="13906"/>
                </a:cubicBezTo>
                <a:cubicBezTo>
                  <a:pt x="21968" y="13844"/>
                  <a:pt x="21968" y="13813"/>
                  <a:pt x="21968" y="13781"/>
                </a:cubicBezTo>
                <a:close/>
                <a:moveTo>
                  <a:pt x="21937" y="8844"/>
                </a:moveTo>
                <a:cubicBezTo>
                  <a:pt x="22000" y="9125"/>
                  <a:pt x="22062" y="9375"/>
                  <a:pt x="22156" y="9625"/>
                </a:cubicBezTo>
                <a:cubicBezTo>
                  <a:pt x="22156" y="9625"/>
                  <a:pt x="22156" y="9656"/>
                  <a:pt x="22156" y="9656"/>
                </a:cubicBezTo>
                <a:cubicBezTo>
                  <a:pt x="22156" y="9656"/>
                  <a:pt x="22156" y="9625"/>
                  <a:pt x="22156" y="9625"/>
                </a:cubicBezTo>
                <a:cubicBezTo>
                  <a:pt x="22062" y="9375"/>
                  <a:pt x="22000" y="9125"/>
                  <a:pt x="21937" y="8844"/>
                </a:cubicBezTo>
                <a:close/>
                <a:moveTo>
                  <a:pt x="22375" y="9063"/>
                </a:moveTo>
                <a:cubicBezTo>
                  <a:pt x="22375" y="9031"/>
                  <a:pt x="22343" y="9031"/>
                  <a:pt x="22343" y="9031"/>
                </a:cubicBezTo>
                <a:cubicBezTo>
                  <a:pt x="22343" y="9031"/>
                  <a:pt x="22375" y="9031"/>
                  <a:pt x="22375" y="9063"/>
                </a:cubicBezTo>
                <a:close/>
                <a:moveTo>
                  <a:pt x="22312" y="8750"/>
                </a:moveTo>
                <a:cubicBezTo>
                  <a:pt x="22312" y="8750"/>
                  <a:pt x="22312" y="8750"/>
                  <a:pt x="22312" y="8750"/>
                </a:cubicBezTo>
                <a:cubicBezTo>
                  <a:pt x="22343" y="8781"/>
                  <a:pt x="22343" y="8813"/>
                  <a:pt x="22343" y="8844"/>
                </a:cubicBezTo>
                <a:cubicBezTo>
                  <a:pt x="22343" y="8813"/>
                  <a:pt x="22343" y="8781"/>
                  <a:pt x="22312" y="8750"/>
                </a:cubicBezTo>
                <a:close/>
                <a:moveTo>
                  <a:pt x="22375" y="8938"/>
                </a:moveTo>
                <a:cubicBezTo>
                  <a:pt x="22375" y="8938"/>
                  <a:pt x="22375" y="8938"/>
                  <a:pt x="22375" y="8938"/>
                </a:cubicBezTo>
                <a:cubicBezTo>
                  <a:pt x="22375" y="8938"/>
                  <a:pt x="22375" y="8938"/>
                  <a:pt x="22375" y="8938"/>
                </a:cubicBezTo>
                <a:cubicBezTo>
                  <a:pt x="22406" y="8969"/>
                  <a:pt x="22406" y="9031"/>
                  <a:pt x="22437" y="9094"/>
                </a:cubicBezTo>
                <a:cubicBezTo>
                  <a:pt x="22406" y="9031"/>
                  <a:pt x="22406" y="8969"/>
                  <a:pt x="22375" y="8938"/>
                </a:cubicBezTo>
                <a:close/>
                <a:moveTo>
                  <a:pt x="22437" y="8250"/>
                </a:moveTo>
                <a:cubicBezTo>
                  <a:pt x="22437" y="8250"/>
                  <a:pt x="22437" y="8250"/>
                  <a:pt x="22437" y="8250"/>
                </a:cubicBezTo>
                <a:cubicBezTo>
                  <a:pt x="22468" y="8281"/>
                  <a:pt x="22468" y="8281"/>
                  <a:pt x="22468" y="8281"/>
                </a:cubicBezTo>
                <a:cubicBezTo>
                  <a:pt x="22468" y="8281"/>
                  <a:pt x="22468" y="8281"/>
                  <a:pt x="22437" y="8250"/>
                </a:cubicBezTo>
                <a:close/>
                <a:moveTo>
                  <a:pt x="23187" y="10031"/>
                </a:move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ubicBezTo>
                  <a:pt x="23187" y="10031"/>
                  <a:pt x="23187" y="10031"/>
                  <a:pt x="23187" y="10031"/>
                </a:cubicBezTo>
                <a:close/>
                <a:moveTo>
                  <a:pt x="23250" y="10656"/>
                </a:moveTo>
                <a:cubicBezTo>
                  <a:pt x="23250" y="10688"/>
                  <a:pt x="23250" y="10719"/>
                  <a:pt x="23250" y="10719"/>
                </a:cubicBezTo>
                <a:cubicBezTo>
                  <a:pt x="23250" y="10719"/>
                  <a:pt x="23250" y="10688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ubicBezTo>
                  <a:pt x="23250" y="10656"/>
                  <a:pt x="23250" y="10656"/>
                  <a:pt x="23250" y="10656"/>
                </a:cubicBezTo>
                <a:close/>
                <a:moveTo>
                  <a:pt x="21437" y="2969"/>
                </a:moveTo>
                <a:cubicBezTo>
                  <a:pt x="21437" y="2938"/>
                  <a:pt x="21437" y="2938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06"/>
                  <a:pt x="21437" y="2906"/>
                  <a:pt x="21437" y="2906"/>
                </a:cubicBezTo>
                <a:cubicBezTo>
                  <a:pt x="21437" y="2938"/>
                  <a:pt x="21437" y="2938"/>
                  <a:pt x="21437" y="2969"/>
                </a:cubicBezTo>
                <a:close/>
                <a:moveTo>
                  <a:pt x="21687" y="1875"/>
                </a:moveTo>
                <a:cubicBezTo>
                  <a:pt x="21687" y="1875"/>
                  <a:pt x="21687" y="1906"/>
                  <a:pt x="21718" y="1906"/>
                </a:cubicBezTo>
                <a:cubicBezTo>
                  <a:pt x="21687" y="1906"/>
                  <a:pt x="21687" y="1875"/>
                  <a:pt x="21687" y="1875"/>
                </a:cubicBezTo>
                <a:close/>
                <a:moveTo>
                  <a:pt x="21656" y="1656"/>
                </a:moveTo>
                <a:cubicBezTo>
                  <a:pt x="21656" y="1656"/>
                  <a:pt x="21656" y="1688"/>
                  <a:pt x="21656" y="1688"/>
                </a:cubicBezTo>
                <a:cubicBezTo>
                  <a:pt x="21656" y="1688"/>
                  <a:pt x="21656" y="1656"/>
                  <a:pt x="21656" y="1656"/>
                </a:cubicBezTo>
                <a:close/>
                <a:moveTo>
                  <a:pt x="21656" y="1563"/>
                </a:moveTo>
                <a:cubicBezTo>
                  <a:pt x="21656" y="1563"/>
                  <a:pt x="21656" y="1563"/>
                  <a:pt x="21656" y="1563"/>
                </a:cubicBezTo>
                <a:cubicBezTo>
                  <a:pt x="21687" y="1531"/>
                  <a:pt x="21687" y="1500"/>
                  <a:pt x="21687" y="1500"/>
                </a:cubicBezTo>
                <a:cubicBezTo>
                  <a:pt x="21687" y="1500"/>
                  <a:pt x="21687" y="1531"/>
                  <a:pt x="21656" y="1563"/>
                </a:cubicBezTo>
                <a:close/>
                <a:moveTo>
                  <a:pt x="21687" y="1969"/>
                </a:moveTo>
                <a:cubicBezTo>
                  <a:pt x="21687" y="1969"/>
                  <a:pt x="21718" y="1969"/>
                  <a:pt x="21718" y="1969"/>
                </a:cubicBezTo>
                <a:cubicBezTo>
                  <a:pt x="21718" y="1969"/>
                  <a:pt x="21718" y="1969"/>
                  <a:pt x="21718" y="1969"/>
                </a:cubicBezTo>
                <a:cubicBezTo>
                  <a:pt x="21718" y="1969"/>
                  <a:pt x="21687" y="1969"/>
                  <a:pt x="21687" y="1969"/>
                </a:cubicBezTo>
                <a:close/>
                <a:moveTo>
                  <a:pt x="21718" y="2031"/>
                </a:moveTo>
                <a:cubicBezTo>
                  <a:pt x="21718" y="2031"/>
                  <a:pt x="21718" y="2000"/>
                  <a:pt x="21718" y="2000"/>
                </a:cubicBezTo>
                <a:cubicBezTo>
                  <a:pt x="21718" y="2000"/>
                  <a:pt x="21718" y="2000"/>
                  <a:pt x="21718" y="2000"/>
                </a:cubicBezTo>
                <a:cubicBezTo>
                  <a:pt x="21718" y="2000"/>
                  <a:pt x="21718" y="2031"/>
                  <a:pt x="21718" y="2031"/>
                </a:cubicBezTo>
                <a:close/>
                <a:moveTo>
                  <a:pt x="21781" y="1281"/>
                </a:moveTo>
                <a:cubicBezTo>
                  <a:pt x="21781" y="1281"/>
                  <a:pt x="21781" y="1281"/>
                  <a:pt x="21781" y="1281"/>
                </a:cubicBezTo>
                <a:cubicBezTo>
                  <a:pt x="21781" y="1281"/>
                  <a:pt x="21781" y="1281"/>
                  <a:pt x="21781" y="1281"/>
                </a:cubicBezTo>
                <a:cubicBezTo>
                  <a:pt x="21812" y="1313"/>
                  <a:pt x="21812" y="1344"/>
                  <a:pt x="21812" y="1344"/>
                </a:cubicBezTo>
                <a:cubicBezTo>
                  <a:pt x="21812" y="1344"/>
                  <a:pt x="21812" y="1313"/>
                  <a:pt x="21781" y="1281"/>
                </a:cubicBezTo>
                <a:close/>
                <a:moveTo>
                  <a:pt x="21843" y="1594"/>
                </a:moveTo>
                <a:cubicBezTo>
                  <a:pt x="21843" y="1594"/>
                  <a:pt x="21843" y="1594"/>
                  <a:pt x="21812" y="1625"/>
                </a:cubicBezTo>
                <a:cubicBezTo>
                  <a:pt x="21843" y="1594"/>
                  <a:pt x="21843" y="1594"/>
                  <a:pt x="21843" y="1594"/>
                </a:cubicBezTo>
                <a:cubicBezTo>
                  <a:pt x="21875" y="1656"/>
                  <a:pt x="21875" y="1750"/>
                  <a:pt x="21906" y="1844"/>
                </a:cubicBezTo>
                <a:cubicBezTo>
                  <a:pt x="21875" y="1750"/>
                  <a:pt x="21875" y="1656"/>
                  <a:pt x="21843" y="1594"/>
                </a:cubicBezTo>
                <a:close/>
                <a:moveTo>
                  <a:pt x="22031" y="500"/>
                </a:moveTo>
                <a:cubicBezTo>
                  <a:pt x="22031" y="500"/>
                  <a:pt x="22031" y="500"/>
                  <a:pt x="22031" y="469"/>
                </a:cubicBezTo>
                <a:cubicBezTo>
                  <a:pt x="22031" y="469"/>
                  <a:pt x="22031" y="469"/>
                  <a:pt x="22031" y="469"/>
                </a:cubicBezTo>
                <a:cubicBezTo>
                  <a:pt x="22031" y="500"/>
                  <a:pt x="22031" y="500"/>
                  <a:pt x="22031" y="500"/>
                </a:cubicBezTo>
                <a:close/>
                <a:moveTo>
                  <a:pt x="22781" y="1313"/>
                </a:moveTo>
                <a:cubicBezTo>
                  <a:pt x="22781" y="1375"/>
                  <a:pt x="22718" y="1406"/>
                  <a:pt x="22656" y="1406"/>
                </a:cubicBezTo>
                <a:cubicBezTo>
                  <a:pt x="22718" y="1406"/>
                  <a:pt x="22781" y="1375"/>
                  <a:pt x="22781" y="1313"/>
                </a:cubicBezTo>
                <a:cubicBezTo>
                  <a:pt x="22812" y="1281"/>
                  <a:pt x="22812" y="1281"/>
                  <a:pt x="22843" y="1281"/>
                </a:cubicBezTo>
                <a:cubicBezTo>
                  <a:pt x="22812" y="1281"/>
                  <a:pt x="22812" y="1281"/>
                  <a:pt x="22781" y="1313"/>
                </a:cubicBezTo>
                <a:close/>
                <a:moveTo>
                  <a:pt x="23875" y="5656"/>
                </a:moveTo>
                <a:cubicBezTo>
                  <a:pt x="23875" y="5656"/>
                  <a:pt x="23875" y="5656"/>
                  <a:pt x="23843" y="5625"/>
                </a:cubicBezTo>
                <a:cubicBezTo>
                  <a:pt x="23875" y="5656"/>
                  <a:pt x="23875" y="5656"/>
                  <a:pt x="23875" y="5656"/>
                </a:cubicBezTo>
                <a:close/>
                <a:moveTo>
                  <a:pt x="23750" y="5188"/>
                </a:moveTo>
                <a:cubicBezTo>
                  <a:pt x="23718" y="5188"/>
                  <a:pt x="23718" y="5188"/>
                  <a:pt x="23718" y="5188"/>
                </a:cubicBezTo>
                <a:cubicBezTo>
                  <a:pt x="23718" y="5188"/>
                  <a:pt x="23718" y="5188"/>
                  <a:pt x="23750" y="5188"/>
                </a:cubicBezTo>
                <a:cubicBezTo>
                  <a:pt x="23812" y="5219"/>
                  <a:pt x="23906" y="5250"/>
                  <a:pt x="23968" y="5250"/>
                </a:cubicBezTo>
                <a:cubicBezTo>
                  <a:pt x="23906" y="5250"/>
                  <a:pt x="23812" y="5219"/>
                  <a:pt x="23750" y="5188"/>
                </a:cubicBezTo>
                <a:close/>
                <a:moveTo>
                  <a:pt x="24031" y="5781"/>
                </a:moveTo>
                <a:cubicBezTo>
                  <a:pt x="24031" y="5781"/>
                  <a:pt x="24031" y="5781"/>
                  <a:pt x="24031" y="5781"/>
                </a:cubicBezTo>
                <a:cubicBezTo>
                  <a:pt x="24062" y="5781"/>
                  <a:pt x="24062" y="5781"/>
                  <a:pt x="24062" y="5781"/>
                </a:cubicBezTo>
                <a:cubicBezTo>
                  <a:pt x="24062" y="5781"/>
                  <a:pt x="24062" y="5781"/>
                  <a:pt x="24031" y="5781"/>
                </a:cubicBezTo>
                <a:close/>
                <a:moveTo>
                  <a:pt x="24531" y="2531"/>
                </a:move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ubicBezTo>
                  <a:pt x="24531" y="2531"/>
                  <a:pt x="24531" y="2531"/>
                  <a:pt x="24531" y="2531"/>
                </a:cubicBezTo>
                <a:close/>
                <a:moveTo>
                  <a:pt x="24625" y="2156"/>
                </a:moveTo>
                <a:cubicBezTo>
                  <a:pt x="24625" y="2156"/>
                  <a:pt x="24625" y="2125"/>
                  <a:pt x="24625" y="2125"/>
                </a:cubicBezTo>
                <a:cubicBezTo>
                  <a:pt x="24625" y="2125"/>
                  <a:pt x="24625" y="2156"/>
                  <a:pt x="24625" y="2156"/>
                </a:cubicBezTo>
                <a:cubicBezTo>
                  <a:pt x="24625" y="2156"/>
                  <a:pt x="24625" y="2156"/>
                  <a:pt x="24625" y="2156"/>
                </a:cubicBezTo>
                <a:close/>
                <a:moveTo>
                  <a:pt x="24750" y="5625"/>
                </a:move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ubicBezTo>
                  <a:pt x="24750" y="5625"/>
                  <a:pt x="24750" y="5625"/>
                  <a:pt x="24750" y="5625"/>
                </a:cubicBezTo>
                <a:close/>
                <a:moveTo>
                  <a:pt x="24750" y="5656"/>
                </a:moveTo>
                <a:cubicBezTo>
                  <a:pt x="24781" y="5656"/>
                  <a:pt x="24812" y="5656"/>
                  <a:pt x="24843" y="5656"/>
                </a:cubicBezTo>
                <a:cubicBezTo>
                  <a:pt x="24812" y="5656"/>
                  <a:pt x="24781" y="5656"/>
                  <a:pt x="24750" y="5656"/>
                </a:cubicBezTo>
                <a:close/>
                <a:moveTo>
                  <a:pt x="25281" y="5906"/>
                </a:moveTo>
                <a:cubicBezTo>
                  <a:pt x="25281" y="5906"/>
                  <a:pt x="25281" y="5906"/>
                  <a:pt x="25281" y="5906"/>
                </a:cubicBezTo>
                <a:cubicBezTo>
                  <a:pt x="25343" y="5938"/>
                  <a:pt x="25406" y="5969"/>
                  <a:pt x="25468" y="6031"/>
                </a:cubicBezTo>
                <a:cubicBezTo>
                  <a:pt x="25406" y="5969"/>
                  <a:pt x="25343" y="5938"/>
                  <a:pt x="25281" y="5906"/>
                </a:cubicBezTo>
                <a:close/>
                <a:moveTo>
                  <a:pt x="25906" y="1844"/>
                </a:moveTo>
                <a:cubicBezTo>
                  <a:pt x="25906" y="1844"/>
                  <a:pt x="25906" y="1844"/>
                  <a:pt x="25906" y="1813"/>
                </a:cubicBezTo>
                <a:cubicBezTo>
                  <a:pt x="25906" y="1813"/>
                  <a:pt x="25906" y="1813"/>
                  <a:pt x="25906" y="1813"/>
                </a:cubicBezTo>
                <a:cubicBezTo>
                  <a:pt x="25906" y="1844"/>
                  <a:pt x="25906" y="1844"/>
                  <a:pt x="25906" y="1844"/>
                </a:cubicBezTo>
                <a:close/>
                <a:moveTo>
                  <a:pt x="25906" y="1625"/>
                </a:move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594"/>
                </a:cubicBezTo>
                <a:cubicBezTo>
                  <a:pt x="25906" y="1594"/>
                  <a:pt x="25906" y="1594"/>
                  <a:pt x="25906" y="1625"/>
                </a:cubicBezTo>
                <a:close/>
                <a:moveTo>
                  <a:pt x="26593" y="5344"/>
                </a:moveTo>
                <a:cubicBezTo>
                  <a:pt x="26593" y="5344"/>
                  <a:pt x="26593" y="5344"/>
                  <a:pt x="26593" y="5344"/>
                </a:cubicBezTo>
                <a:cubicBezTo>
                  <a:pt x="26593" y="5344"/>
                  <a:pt x="26593" y="5344"/>
                  <a:pt x="26593" y="5344"/>
                </a:cubicBezTo>
                <a:close/>
                <a:moveTo>
                  <a:pt x="26687" y="6781"/>
                </a:moveTo>
                <a:cubicBezTo>
                  <a:pt x="26687" y="6781"/>
                  <a:pt x="26687" y="6781"/>
                  <a:pt x="26687" y="6781"/>
                </a:cubicBezTo>
                <a:cubicBezTo>
                  <a:pt x="26750" y="6781"/>
                  <a:pt x="26781" y="6813"/>
                  <a:pt x="26843" y="6875"/>
                </a:cubicBezTo>
                <a:cubicBezTo>
                  <a:pt x="26781" y="6813"/>
                  <a:pt x="26750" y="6781"/>
                  <a:pt x="26687" y="6781"/>
                </a:cubicBezTo>
                <a:close/>
                <a:moveTo>
                  <a:pt x="5593" y="12906"/>
                </a:move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ubicBezTo>
                  <a:pt x="5593" y="12906"/>
                  <a:pt x="5593" y="12906"/>
                  <a:pt x="5593" y="12906"/>
                </a:cubicBezTo>
                <a:close/>
                <a:moveTo>
                  <a:pt x="5125" y="13906"/>
                </a:move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125" y="13906"/>
                </a:cubicBezTo>
                <a:cubicBezTo>
                  <a:pt x="5125" y="13906"/>
                  <a:pt x="5125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093" y="13906"/>
                  <a:pt x="5093" y="13906"/>
                  <a:pt x="5093" y="13906"/>
                </a:cubicBezTo>
                <a:cubicBezTo>
                  <a:pt x="5125" y="13906"/>
                  <a:pt x="5125" y="13906"/>
                  <a:pt x="5125" y="13906"/>
                </a:cubicBezTo>
                <a:close/>
                <a:moveTo>
                  <a:pt x="3906" y="15719"/>
                </a:moveTo>
                <a:cubicBezTo>
                  <a:pt x="3906" y="15719"/>
                  <a:pt x="3906" y="15719"/>
                  <a:pt x="3906" y="15750"/>
                </a:cubicBezTo>
                <a:cubicBezTo>
                  <a:pt x="3875" y="15750"/>
                  <a:pt x="3875" y="15750"/>
                  <a:pt x="3875" y="15750"/>
                </a:cubicBezTo>
                <a:cubicBezTo>
                  <a:pt x="3843" y="15750"/>
                  <a:pt x="3843" y="15781"/>
                  <a:pt x="3843" y="15813"/>
                </a:cubicBezTo>
                <a:lnTo>
                  <a:pt x="3843" y="15813"/>
                </a:lnTo>
                <a:cubicBezTo>
                  <a:pt x="3843" y="15813"/>
                  <a:pt x="3843" y="15813"/>
                  <a:pt x="3843" y="15781"/>
                </a:cubicBezTo>
                <a:cubicBezTo>
                  <a:pt x="3875" y="15781"/>
                  <a:pt x="3875" y="15750"/>
                  <a:pt x="3906" y="15750"/>
                </a:cubicBezTo>
                <a:cubicBezTo>
                  <a:pt x="3906" y="15750"/>
                  <a:pt x="3906" y="15750"/>
                  <a:pt x="3906" y="15719"/>
                </a:cubicBezTo>
                <a:cubicBezTo>
                  <a:pt x="3906" y="15719"/>
                  <a:pt x="3906" y="15719"/>
                  <a:pt x="3906" y="15719"/>
                </a:cubicBezTo>
                <a:cubicBezTo>
                  <a:pt x="3937" y="15719"/>
                  <a:pt x="3937" y="15688"/>
                  <a:pt x="3937" y="15688"/>
                </a:cubicBezTo>
                <a:cubicBezTo>
                  <a:pt x="3906" y="15688"/>
                  <a:pt x="3906" y="15719"/>
                  <a:pt x="3906" y="15719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close/>
                <a:moveTo>
                  <a:pt x="3937" y="15688"/>
                </a:moveTo>
                <a:cubicBezTo>
                  <a:pt x="3937" y="15688"/>
                  <a:pt x="3937" y="15688"/>
                  <a:pt x="3937" y="15688"/>
                </a:cubicBezTo>
                <a:lnTo>
                  <a:pt x="3937" y="15688"/>
                </a:lnTo>
                <a:cubicBezTo>
                  <a:pt x="3937" y="15688"/>
                  <a:pt x="3937" y="15688"/>
                  <a:pt x="3937" y="15688"/>
                </a:cubicBezTo>
                <a:cubicBezTo>
                  <a:pt x="3937" y="15688"/>
                  <a:pt x="3937" y="15688"/>
                  <a:pt x="3937" y="15688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534F655-26BB-1940-98D6-2B6CC196FF6D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1FF74A44-DCBD-924E-AAAB-FE38875CFC5A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50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9791D303-F8E1-B147-9902-03CF888DF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1386186"/>
            <a:ext cx="8719338" cy="230425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34C514C0-6664-B944-B668-00C85059EC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1386186"/>
            <a:ext cx="11017224" cy="3456384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9D42FD6-3041-4D40-876A-4EB7F807221B}"/>
              </a:ext>
            </a:extLst>
          </p:cNvPr>
          <p:cNvSpPr/>
          <p:nvPr userDrawn="1"/>
        </p:nvSpPr>
        <p:spPr>
          <a:xfrm>
            <a:off x="1608410" y="1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Freeform 45">
            <a:extLst>
              <a:ext uri="{FF2B5EF4-FFF2-40B4-BE49-F238E27FC236}">
                <a16:creationId xmlns:a16="http://schemas.microsoft.com/office/drawing/2014/main" id="{635191F1-70E2-C54E-8B66-7D4B3BEF0757}"/>
              </a:ext>
            </a:extLst>
          </p:cNvPr>
          <p:cNvSpPr>
            <a:spLocks noGrp="1" noEditPoints="1"/>
          </p:cNvSpPr>
          <p:nvPr>
            <p:ph type="pic" sz="quarter" idx="39"/>
          </p:nvPr>
        </p:nvSpPr>
        <p:spPr bwMode="auto">
          <a:xfrm>
            <a:off x="0" y="3978474"/>
            <a:ext cx="24387175" cy="12763450"/>
          </a:xfrm>
          <a:custGeom>
            <a:avLst/>
            <a:gdLst>
              <a:gd name="T0" fmla="*/ 25812 w 37844"/>
              <a:gd name="T1" fmla="*/ 18906 h 19094"/>
              <a:gd name="T2" fmla="*/ 16750 w 37844"/>
              <a:gd name="T3" fmla="*/ 4156 h 19094"/>
              <a:gd name="T4" fmla="*/ 17562 w 37844"/>
              <a:gd name="T5" fmla="*/ 4812 h 19094"/>
              <a:gd name="T6" fmla="*/ 17094 w 37844"/>
              <a:gd name="T7" fmla="*/ 4562 h 19094"/>
              <a:gd name="T8" fmla="*/ 35719 w 37844"/>
              <a:gd name="T9" fmla="*/ 7281 h 19094"/>
              <a:gd name="T10" fmla="*/ 36531 w 37844"/>
              <a:gd name="T11" fmla="*/ 7375 h 19094"/>
              <a:gd name="T12" fmla="*/ 16656 w 37844"/>
              <a:gd name="T13" fmla="*/ 1312 h 19094"/>
              <a:gd name="T14" fmla="*/ 7969 w 37844"/>
              <a:gd name="T15" fmla="*/ 94 h 19094"/>
              <a:gd name="T16" fmla="*/ 125 w 37844"/>
              <a:gd name="T17" fmla="*/ 1000 h 19094"/>
              <a:gd name="T18" fmla="*/ 4062 w 37844"/>
              <a:gd name="T19" fmla="*/ 750 h 19094"/>
              <a:gd name="T20" fmla="*/ 13250 w 37844"/>
              <a:gd name="T21" fmla="*/ 656 h 19094"/>
              <a:gd name="T22" fmla="*/ 9937 w 37844"/>
              <a:gd name="T23" fmla="*/ 1406 h 19094"/>
              <a:gd name="T24" fmla="*/ 1312 w 37844"/>
              <a:gd name="T25" fmla="*/ 2406 h 19094"/>
              <a:gd name="T26" fmla="*/ 12906 w 37844"/>
              <a:gd name="T27" fmla="*/ 2062 h 19094"/>
              <a:gd name="T28" fmla="*/ 10687 w 37844"/>
              <a:gd name="T29" fmla="*/ 2531 h 19094"/>
              <a:gd name="T30" fmla="*/ 13312 w 37844"/>
              <a:gd name="T31" fmla="*/ 3312 h 19094"/>
              <a:gd name="T32" fmla="*/ 125 w 37844"/>
              <a:gd name="T33" fmla="*/ 4906 h 19094"/>
              <a:gd name="T34" fmla="*/ 10750 w 37844"/>
              <a:gd name="T35" fmla="*/ 3469 h 19094"/>
              <a:gd name="T36" fmla="*/ 6969 w 37844"/>
              <a:gd name="T37" fmla="*/ 4312 h 19094"/>
              <a:gd name="T38" fmla="*/ 125 w 37844"/>
              <a:gd name="T39" fmla="*/ 9000 h 19094"/>
              <a:gd name="T40" fmla="*/ 2187 w 37844"/>
              <a:gd name="T41" fmla="*/ 8406 h 19094"/>
              <a:gd name="T42" fmla="*/ 14156 w 37844"/>
              <a:gd name="T43" fmla="*/ 5500 h 19094"/>
              <a:gd name="T44" fmla="*/ 10781 w 37844"/>
              <a:gd name="T45" fmla="*/ 6219 h 19094"/>
              <a:gd name="T46" fmla="*/ 2187 w 37844"/>
              <a:gd name="T47" fmla="*/ 8562 h 19094"/>
              <a:gd name="T48" fmla="*/ 7219 w 37844"/>
              <a:gd name="T49" fmla="*/ 8281 h 19094"/>
              <a:gd name="T50" fmla="*/ 18969 w 37844"/>
              <a:gd name="T51" fmla="*/ 6687 h 19094"/>
              <a:gd name="T52" fmla="*/ 19281 w 37844"/>
              <a:gd name="T53" fmla="*/ 15594 h 19094"/>
              <a:gd name="T54" fmla="*/ 19312 w 37844"/>
              <a:gd name="T55" fmla="*/ 15000 h 19094"/>
              <a:gd name="T56" fmla="*/ 20531 w 37844"/>
              <a:gd name="T57" fmla="*/ 15812 h 19094"/>
              <a:gd name="T58" fmla="*/ 24156 w 37844"/>
              <a:gd name="T59" fmla="*/ 15594 h 19094"/>
              <a:gd name="T60" fmla="*/ 37031 w 37844"/>
              <a:gd name="T61" fmla="*/ 11250 h 19094"/>
              <a:gd name="T62" fmla="*/ 36656 w 37844"/>
              <a:gd name="T63" fmla="*/ 8719 h 19094"/>
              <a:gd name="T64" fmla="*/ 36031 w 37844"/>
              <a:gd name="T65" fmla="*/ 8531 h 19094"/>
              <a:gd name="T66" fmla="*/ 35344 w 37844"/>
              <a:gd name="T67" fmla="*/ 7437 h 19094"/>
              <a:gd name="T68" fmla="*/ 34375 w 37844"/>
              <a:gd name="T69" fmla="*/ 7094 h 19094"/>
              <a:gd name="T70" fmla="*/ 34469 w 37844"/>
              <a:gd name="T71" fmla="*/ 5687 h 19094"/>
              <a:gd name="T72" fmla="*/ 34969 w 37844"/>
              <a:gd name="T73" fmla="*/ 4719 h 19094"/>
              <a:gd name="T74" fmla="*/ 33719 w 37844"/>
              <a:gd name="T75" fmla="*/ 4781 h 19094"/>
              <a:gd name="T76" fmla="*/ 33312 w 37844"/>
              <a:gd name="T77" fmla="*/ 3969 h 19094"/>
              <a:gd name="T78" fmla="*/ 35031 w 37844"/>
              <a:gd name="T79" fmla="*/ 2750 h 19094"/>
              <a:gd name="T80" fmla="*/ 31656 w 37844"/>
              <a:gd name="T81" fmla="*/ 3844 h 19094"/>
              <a:gd name="T82" fmla="*/ 20781 w 37844"/>
              <a:gd name="T83" fmla="*/ 8562 h 19094"/>
              <a:gd name="T84" fmla="*/ 17625 w 37844"/>
              <a:gd name="T85" fmla="*/ 2781 h 19094"/>
              <a:gd name="T86" fmla="*/ 16562 w 37844"/>
              <a:gd name="T87" fmla="*/ 1281 h 19094"/>
              <a:gd name="T88" fmla="*/ 1469 w 37844"/>
              <a:gd name="T89" fmla="*/ 281 h 19094"/>
              <a:gd name="T90" fmla="*/ 19187 w 37844"/>
              <a:gd name="T91" fmla="*/ 10656 h 19094"/>
              <a:gd name="T92" fmla="*/ 18156 w 37844"/>
              <a:gd name="T93" fmla="*/ 8969 h 19094"/>
              <a:gd name="T94" fmla="*/ 18937 w 37844"/>
              <a:gd name="T95" fmla="*/ 10969 h 19094"/>
              <a:gd name="T96" fmla="*/ 19906 w 37844"/>
              <a:gd name="T97" fmla="*/ 9344 h 19094"/>
              <a:gd name="T98" fmla="*/ 19375 w 37844"/>
              <a:gd name="T99" fmla="*/ 12250 h 19094"/>
              <a:gd name="T100" fmla="*/ 19062 w 37844"/>
              <a:gd name="T101" fmla="*/ 12406 h 19094"/>
              <a:gd name="T102" fmla="*/ 37844 w 37844"/>
              <a:gd name="T103" fmla="*/ 7250 h 19094"/>
              <a:gd name="T104" fmla="*/ 250 w 37844"/>
              <a:gd name="T105" fmla="*/ 3594 h 19094"/>
              <a:gd name="T106" fmla="*/ 125 w 37844"/>
              <a:gd name="T107" fmla="*/ 3375 h 19094"/>
              <a:gd name="T108" fmla="*/ 36500 w 37844"/>
              <a:gd name="T109" fmla="*/ 1875 h 19094"/>
              <a:gd name="T110" fmla="*/ 3281 w 37844"/>
              <a:gd name="T111" fmla="*/ 344 h 19094"/>
              <a:gd name="T112" fmla="*/ 4500 w 37844"/>
              <a:gd name="T113" fmla="*/ 250 h 19094"/>
              <a:gd name="T114" fmla="*/ 10562 w 37844"/>
              <a:gd name="T115" fmla="*/ 6375 h 19094"/>
              <a:gd name="T116" fmla="*/ 9187 w 37844"/>
              <a:gd name="T117" fmla="*/ 6687 h 19094"/>
              <a:gd name="T118" fmla="*/ 15812 w 37844"/>
              <a:gd name="T119" fmla="*/ 3750 h 19094"/>
              <a:gd name="T120" fmla="*/ 18969 w 37844"/>
              <a:gd name="T121" fmla="*/ 14062 h 19094"/>
              <a:gd name="T122" fmla="*/ 20406 w 37844"/>
              <a:gd name="T123" fmla="*/ 6781 h 19094"/>
              <a:gd name="T124" fmla="*/ 30562 w 37844"/>
              <a:gd name="T125" fmla="*/ 13562 h 19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844" h="19094">
                <a:moveTo>
                  <a:pt x="22594" y="469"/>
                </a:moveTo>
                <a:cubicBezTo>
                  <a:pt x="22594" y="469"/>
                  <a:pt x="22594" y="469"/>
                  <a:pt x="22594" y="469"/>
                </a:cubicBezTo>
                <a:cubicBezTo>
                  <a:pt x="22594" y="469"/>
                  <a:pt x="22594" y="469"/>
                  <a:pt x="22594" y="437"/>
                </a:cubicBezTo>
                <a:cubicBezTo>
                  <a:pt x="22594" y="437"/>
                  <a:pt x="22594" y="469"/>
                  <a:pt x="22594" y="469"/>
                </a:cubicBezTo>
                <a:close/>
                <a:moveTo>
                  <a:pt x="17812" y="19094"/>
                </a:moveTo>
                <a:lnTo>
                  <a:pt x="17812" y="19094"/>
                </a:lnTo>
                <a:lnTo>
                  <a:pt x="17812" y="19094"/>
                </a:lnTo>
                <a:close/>
                <a:moveTo>
                  <a:pt x="25125" y="18844"/>
                </a:moveTo>
                <a:cubicBezTo>
                  <a:pt x="25125" y="18844"/>
                  <a:pt x="25125" y="18812"/>
                  <a:pt x="25125" y="18812"/>
                </a:cubicBezTo>
                <a:cubicBezTo>
                  <a:pt x="25094" y="18812"/>
                  <a:pt x="25062" y="18812"/>
                  <a:pt x="25062" y="18844"/>
                </a:cubicBezTo>
                <a:cubicBezTo>
                  <a:pt x="25094" y="18844"/>
                  <a:pt x="25125" y="18875"/>
                  <a:pt x="25125" y="18844"/>
                </a:cubicBezTo>
                <a:close/>
                <a:moveTo>
                  <a:pt x="25219" y="18812"/>
                </a:moveTo>
                <a:cubicBezTo>
                  <a:pt x="25406" y="18937"/>
                  <a:pt x="25594" y="18937"/>
                  <a:pt x="25812" y="18906"/>
                </a:cubicBezTo>
                <a:cubicBezTo>
                  <a:pt x="25812" y="18937"/>
                  <a:pt x="25812" y="18937"/>
                  <a:pt x="25844" y="18937"/>
                </a:cubicBezTo>
                <a:cubicBezTo>
                  <a:pt x="25844" y="18937"/>
                  <a:pt x="25844" y="18937"/>
                  <a:pt x="25844" y="18937"/>
                </a:cubicBezTo>
                <a:cubicBezTo>
                  <a:pt x="25844" y="18906"/>
                  <a:pt x="25812" y="18906"/>
                  <a:pt x="25812" y="18906"/>
                </a:cubicBezTo>
                <a:cubicBezTo>
                  <a:pt x="25812" y="18812"/>
                  <a:pt x="25719" y="18844"/>
                  <a:pt x="25656" y="18844"/>
                </a:cubicBezTo>
                <a:cubicBezTo>
                  <a:pt x="25531" y="18781"/>
                  <a:pt x="25437" y="18719"/>
                  <a:pt x="25312" y="18687"/>
                </a:cubicBezTo>
                <a:cubicBezTo>
                  <a:pt x="25250" y="18687"/>
                  <a:pt x="25219" y="18719"/>
                  <a:pt x="25187" y="18750"/>
                </a:cubicBezTo>
                <a:cubicBezTo>
                  <a:pt x="25187" y="18781"/>
                  <a:pt x="25187" y="18812"/>
                  <a:pt x="25219" y="18812"/>
                </a:cubicBezTo>
                <a:close/>
                <a:moveTo>
                  <a:pt x="17187" y="4719"/>
                </a:moveTo>
                <a:cubicBezTo>
                  <a:pt x="17219" y="4719"/>
                  <a:pt x="17219" y="4687"/>
                  <a:pt x="17219" y="4687"/>
                </a:cubicBezTo>
                <a:cubicBezTo>
                  <a:pt x="17219" y="4656"/>
                  <a:pt x="17187" y="4656"/>
                  <a:pt x="17187" y="4656"/>
                </a:cubicBezTo>
                <a:cubicBezTo>
                  <a:pt x="17156" y="4562"/>
                  <a:pt x="17187" y="4437"/>
                  <a:pt x="17031" y="4375"/>
                </a:cubicBezTo>
                <a:cubicBezTo>
                  <a:pt x="17031" y="4312"/>
                  <a:pt x="16969" y="4312"/>
                  <a:pt x="16906" y="4281"/>
                </a:cubicBezTo>
                <a:cubicBezTo>
                  <a:pt x="16844" y="4250"/>
                  <a:pt x="16781" y="4219"/>
                  <a:pt x="16750" y="4156"/>
                </a:cubicBezTo>
                <a:cubicBezTo>
                  <a:pt x="16781" y="4219"/>
                  <a:pt x="16844" y="4250"/>
                  <a:pt x="16906" y="4281"/>
                </a:cubicBezTo>
                <a:cubicBezTo>
                  <a:pt x="16937" y="4250"/>
                  <a:pt x="16937" y="4219"/>
                  <a:pt x="16937" y="4219"/>
                </a:cubicBezTo>
                <a:cubicBezTo>
                  <a:pt x="16812" y="4125"/>
                  <a:pt x="16719" y="3937"/>
                  <a:pt x="16562" y="3844"/>
                </a:cubicBezTo>
                <a:cubicBezTo>
                  <a:pt x="16719" y="3937"/>
                  <a:pt x="16812" y="4125"/>
                  <a:pt x="16937" y="4219"/>
                </a:cubicBezTo>
                <a:cubicBezTo>
                  <a:pt x="17000" y="4250"/>
                  <a:pt x="17031" y="4312"/>
                  <a:pt x="17062" y="4312"/>
                </a:cubicBezTo>
                <a:cubicBezTo>
                  <a:pt x="17187" y="4406"/>
                  <a:pt x="17281" y="4500"/>
                  <a:pt x="17406" y="4594"/>
                </a:cubicBezTo>
                <a:cubicBezTo>
                  <a:pt x="17469" y="4594"/>
                  <a:pt x="17469" y="4656"/>
                  <a:pt x="17500" y="4687"/>
                </a:cubicBezTo>
                <a:lnTo>
                  <a:pt x="17500" y="4687"/>
                </a:lnTo>
                <a:cubicBezTo>
                  <a:pt x="17406" y="4687"/>
                  <a:pt x="17406" y="4656"/>
                  <a:pt x="17406" y="4594"/>
                </a:cubicBezTo>
                <a:cubicBezTo>
                  <a:pt x="17406" y="4531"/>
                  <a:pt x="17375" y="4469"/>
                  <a:pt x="17344" y="4437"/>
                </a:cubicBezTo>
                <a:cubicBezTo>
                  <a:pt x="17312" y="4406"/>
                  <a:pt x="17312" y="4406"/>
                  <a:pt x="17344" y="4375"/>
                </a:cubicBezTo>
                <a:cubicBezTo>
                  <a:pt x="17344" y="4375"/>
                  <a:pt x="17375" y="4375"/>
                  <a:pt x="17375" y="4406"/>
                </a:cubicBezTo>
                <a:cubicBezTo>
                  <a:pt x="17437" y="4531"/>
                  <a:pt x="17562" y="4656"/>
                  <a:pt x="17562" y="4812"/>
                </a:cubicBezTo>
                <a:cubicBezTo>
                  <a:pt x="17562" y="4875"/>
                  <a:pt x="17562" y="4906"/>
                  <a:pt x="17500" y="4906"/>
                </a:cubicBezTo>
                <a:lnTo>
                  <a:pt x="17500" y="4906"/>
                </a:lnTo>
                <a:cubicBezTo>
                  <a:pt x="17312" y="4875"/>
                  <a:pt x="17156" y="4844"/>
                  <a:pt x="16969" y="4844"/>
                </a:cubicBezTo>
                <a:cubicBezTo>
                  <a:pt x="16937" y="4875"/>
                  <a:pt x="16906" y="4875"/>
                  <a:pt x="16844" y="4875"/>
                </a:cubicBezTo>
                <a:cubicBezTo>
                  <a:pt x="16906" y="4875"/>
                  <a:pt x="16937" y="4875"/>
                  <a:pt x="16969" y="4844"/>
                </a:cubicBezTo>
                <a:cubicBezTo>
                  <a:pt x="16969" y="4844"/>
                  <a:pt x="16969" y="4844"/>
                  <a:pt x="16969" y="4844"/>
                </a:cubicBezTo>
                <a:cubicBezTo>
                  <a:pt x="16937" y="4781"/>
                  <a:pt x="17062" y="4719"/>
                  <a:pt x="16969" y="4656"/>
                </a:cubicBezTo>
                <a:cubicBezTo>
                  <a:pt x="16906" y="4625"/>
                  <a:pt x="16844" y="4594"/>
                  <a:pt x="16812" y="4531"/>
                </a:cubicBezTo>
                <a:cubicBezTo>
                  <a:pt x="16812" y="4531"/>
                  <a:pt x="16781" y="4500"/>
                  <a:pt x="16781" y="4500"/>
                </a:cubicBezTo>
                <a:cubicBezTo>
                  <a:pt x="16781" y="4500"/>
                  <a:pt x="16781" y="4500"/>
                  <a:pt x="16781" y="4500"/>
                </a:cubicBezTo>
                <a:cubicBezTo>
                  <a:pt x="16781" y="4500"/>
                  <a:pt x="16812" y="4500"/>
                  <a:pt x="16812" y="4531"/>
                </a:cubicBezTo>
                <a:cubicBezTo>
                  <a:pt x="16937" y="4531"/>
                  <a:pt x="17000" y="4594"/>
                  <a:pt x="17094" y="4656"/>
                </a:cubicBezTo>
                <a:cubicBezTo>
                  <a:pt x="17125" y="4625"/>
                  <a:pt x="17125" y="4594"/>
                  <a:pt x="17094" y="4562"/>
                </a:cubicBezTo>
                <a:cubicBezTo>
                  <a:pt x="17125" y="4594"/>
                  <a:pt x="17125" y="4625"/>
                  <a:pt x="17094" y="4656"/>
                </a:cubicBezTo>
                <a:cubicBezTo>
                  <a:pt x="17125" y="4656"/>
                  <a:pt x="17125" y="4687"/>
                  <a:pt x="17156" y="4656"/>
                </a:cubicBezTo>
                <a:cubicBezTo>
                  <a:pt x="17187" y="4687"/>
                  <a:pt x="17187" y="4687"/>
                  <a:pt x="17187" y="4719"/>
                </a:cubicBezTo>
                <a:close/>
                <a:moveTo>
                  <a:pt x="35719" y="7281"/>
                </a:moveTo>
                <a:cubicBezTo>
                  <a:pt x="35750" y="7281"/>
                  <a:pt x="35781" y="7281"/>
                  <a:pt x="35781" y="7250"/>
                </a:cubicBezTo>
                <a:cubicBezTo>
                  <a:pt x="35781" y="7250"/>
                  <a:pt x="35781" y="7250"/>
                  <a:pt x="35781" y="7250"/>
                </a:cubicBezTo>
                <a:cubicBezTo>
                  <a:pt x="35750" y="7250"/>
                  <a:pt x="35750" y="7250"/>
                  <a:pt x="35719" y="7281"/>
                </a:cubicBezTo>
                <a:cubicBezTo>
                  <a:pt x="35656" y="7312"/>
                  <a:pt x="35625" y="7375"/>
                  <a:pt x="35531" y="7344"/>
                </a:cubicBezTo>
                <a:lnTo>
                  <a:pt x="35531" y="7344"/>
                </a:lnTo>
                <a:cubicBezTo>
                  <a:pt x="35594" y="7281"/>
                  <a:pt x="35656" y="7281"/>
                  <a:pt x="35719" y="7281"/>
                </a:cubicBezTo>
                <a:close/>
                <a:moveTo>
                  <a:pt x="35719" y="7281"/>
                </a:moveTo>
                <a:cubicBezTo>
                  <a:pt x="35719" y="7281"/>
                  <a:pt x="35719" y="7281"/>
                  <a:pt x="35719" y="7281"/>
                </a:cubicBezTo>
                <a:cubicBezTo>
                  <a:pt x="35719" y="7281"/>
                  <a:pt x="35719" y="7281"/>
                  <a:pt x="35719" y="7281"/>
                </a:cubicBezTo>
                <a:lnTo>
                  <a:pt x="35719" y="7281"/>
                </a:lnTo>
                <a:cubicBezTo>
                  <a:pt x="35719" y="7281"/>
                  <a:pt x="35719" y="7281"/>
                  <a:pt x="35719" y="7281"/>
                </a:cubicBezTo>
                <a:close/>
                <a:moveTo>
                  <a:pt x="37750" y="6875"/>
                </a:moveTo>
                <a:cubicBezTo>
                  <a:pt x="37750" y="6844"/>
                  <a:pt x="37719" y="6844"/>
                  <a:pt x="37687" y="6844"/>
                </a:cubicBezTo>
                <a:cubicBezTo>
                  <a:pt x="37625" y="6875"/>
                  <a:pt x="37562" y="6906"/>
                  <a:pt x="37469" y="6969"/>
                </a:cubicBezTo>
                <a:cubicBezTo>
                  <a:pt x="37594" y="7000"/>
                  <a:pt x="37656" y="6937"/>
                  <a:pt x="37719" y="6906"/>
                </a:cubicBezTo>
                <a:cubicBezTo>
                  <a:pt x="37750" y="6906"/>
                  <a:pt x="37781" y="6906"/>
                  <a:pt x="37750" y="6875"/>
                </a:cubicBezTo>
                <a:close/>
                <a:moveTo>
                  <a:pt x="37281" y="6875"/>
                </a:moveTo>
                <a:cubicBezTo>
                  <a:pt x="37281" y="6844"/>
                  <a:pt x="37281" y="6812"/>
                  <a:pt x="37250" y="6844"/>
                </a:cubicBezTo>
                <a:cubicBezTo>
                  <a:pt x="37094" y="6906"/>
                  <a:pt x="36937" y="6937"/>
                  <a:pt x="36844" y="7062"/>
                </a:cubicBezTo>
                <a:cubicBezTo>
                  <a:pt x="37000" y="7031"/>
                  <a:pt x="37125" y="6969"/>
                  <a:pt x="37250" y="6906"/>
                </a:cubicBezTo>
                <a:cubicBezTo>
                  <a:pt x="37281" y="6906"/>
                  <a:pt x="37312" y="6906"/>
                  <a:pt x="37281" y="6875"/>
                </a:cubicBezTo>
                <a:close/>
                <a:moveTo>
                  <a:pt x="36531" y="7375"/>
                </a:moveTo>
                <a:cubicBezTo>
                  <a:pt x="36625" y="7437"/>
                  <a:pt x="36687" y="7344"/>
                  <a:pt x="36781" y="7344"/>
                </a:cubicBezTo>
                <a:cubicBezTo>
                  <a:pt x="36781" y="7344"/>
                  <a:pt x="36781" y="7281"/>
                  <a:pt x="36781" y="7281"/>
                </a:cubicBezTo>
                <a:cubicBezTo>
                  <a:pt x="36719" y="7219"/>
                  <a:pt x="36687" y="7187"/>
                  <a:pt x="36656" y="7094"/>
                </a:cubicBezTo>
                <a:cubicBezTo>
                  <a:pt x="36656" y="7094"/>
                  <a:pt x="36656" y="7062"/>
                  <a:pt x="36594" y="7062"/>
                </a:cubicBezTo>
                <a:cubicBezTo>
                  <a:pt x="36562" y="7125"/>
                  <a:pt x="36594" y="7250"/>
                  <a:pt x="36500" y="7281"/>
                </a:cubicBezTo>
                <a:cubicBezTo>
                  <a:pt x="36469" y="7281"/>
                  <a:pt x="36500" y="7344"/>
                  <a:pt x="36500" y="7375"/>
                </a:cubicBezTo>
                <a:cubicBezTo>
                  <a:pt x="36500" y="7375"/>
                  <a:pt x="36500" y="7375"/>
                  <a:pt x="36531" y="7375"/>
                </a:cubicBezTo>
                <a:close/>
                <a:moveTo>
                  <a:pt x="16719" y="1375"/>
                </a:moveTo>
                <a:lnTo>
                  <a:pt x="16719" y="1375"/>
                </a:lnTo>
                <a:lnTo>
                  <a:pt x="16719" y="1375"/>
                </a:lnTo>
                <a:close/>
                <a:moveTo>
                  <a:pt x="16656" y="1344"/>
                </a:moveTo>
                <a:cubicBezTo>
                  <a:pt x="16656" y="1344"/>
                  <a:pt x="16656" y="1344"/>
                  <a:pt x="16687" y="1344"/>
                </a:cubicBezTo>
                <a:cubicBezTo>
                  <a:pt x="16656" y="1344"/>
                  <a:pt x="16656" y="1312"/>
                  <a:pt x="16656" y="1312"/>
                </a:cubicBezTo>
                <a:cubicBezTo>
                  <a:pt x="16625" y="1281"/>
                  <a:pt x="16594" y="1281"/>
                  <a:pt x="16562" y="1281"/>
                </a:cubicBezTo>
                <a:cubicBezTo>
                  <a:pt x="16469" y="1187"/>
                  <a:pt x="16375" y="1156"/>
                  <a:pt x="16281" y="1125"/>
                </a:cubicBezTo>
                <a:cubicBezTo>
                  <a:pt x="16000" y="1000"/>
                  <a:pt x="15719" y="906"/>
                  <a:pt x="15437" y="812"/>
                </a:cubicBezTo>
                <a:cubicBezTo>
                  <a:pt x="15187" y="719"/>
                  <a:pt x="14906" y="625"/>
                  <a:pt x="14625" y="562"/>
                </a:cubicBezTo>
                <a:cubicBezTo>
                  <a:pt x="14625" y="562"/>
                  <a:pt x="14625" y="562"/>
                  <a:pt x="14625" y="562"/>
                </a:cubicBezTo>
                <a:cubicBezTo>
                  <a:pt x="14594" y="562"/>
                  <a:pt x="14531" y="531"/>
                  <a:pt x="14469" y="531"/>
                </a:cubicBezTo>
                <a:cubicBezTo>
                  <a:pt x="14156" y="469"/>
                  <a:pt x="13875" y="406"/>
                  <a:pt x="13562" y="344"/>
                </a:cubicBezTo>
                <a:cubicBezTo>
                  <a:pt x="13219" y="281"/>
                  <a:pt x="12875" y="219"/>
                  <a:pt x="12500" y="219"/>
                </a:cubicBezTo>
                <a:cubicBezTo>
                  <a:pt x="12375" y="187"/>
                  <a:pt x="12219" y="187"/>
                  <a:pt x="12094" y="156"/>
                </a:cubicBezTo>
                <a:cubicBezTo>
                  <a:pt x="11656" y="125"/>
                  <a:pt x="11219" y="94"/>
                  <a:pt x="10812" y="94"/>
                </a:cubicBezTo>
                <a:cubicBezTo>
                  <a:pt x="10812" y="94"/>
                  <a:pt x="10812" y="94"/>
                  <a:pt x="10812" y="94"/>
                </a:cubicBezTo>
                <a:cubicBezTo>
                  <a:pt x="10687" y="62"/>
                  <a:pt x="10562" y="62"/>
                  <a:pt x="10406" y="62"/>
                </a:cubicBezTo>
                <a:cubicBezTo>
                  <a:pt x="9594" y="62"/>
                  <a:pt x="8781" y="31"/>
                  <a:pt x="7969" y="94"/>
                </a:cubicBezTo>
                <a:cubicBezTo>
                  <a:pt x="7344" y="125"/>
                  <a:pt x="6750" y="156"/>
                  <a:pt x="6125" y="125"/>
                </a:cubicBezTo>
                <a:cubicBezTo>
                  <a:pt x="5656" y="94"/>
                  <a:pt x="5156" y="156"/>
                  <a:pt x="4687" y="187"/>
                </a:cubicBezTo>
                <a:cubicBezTo>
                  <a:pt x="4187" y="219"/>
                  <a:pt x="3656" y="250"/>
                  <a:pt x="3156" y="281"/>
                </a:cubicBezTo>
                <a:cubicBezTo>
                  <a:pt x="3000" y="281"/>
                  <a:pt x="2844" y="281"/>
                  <a:pt x="2656" y="312"/>
                </a:cubicBezTo>
                <a:cubicBezTo>
                  <a:pt x="2625" y="312"/>
                  <a:pt x="2594" y="281"/>
                  <a:pt x="2562" y="312"/>
                </a:cubicBezTo>
                <a:cubicBezTo>
                  <a:pt x="2281" y="344"/>
                  <a:pt x="1969" y="344"/>
                  <a:pt x="1656" y="375"/>
                </a:cubicBezTo>
                <a:cubicBezTo>
                  <a:pt x="1625" y="375"/>
                  <a:pt x="1562" y="375"/>
                  <a:pt x="1531" y="375"/>
                </a:cubicBezTo>
                <a:cubicBezTo>
                  <a:pt x="1156" y="437"/>
                  <a:pt x="812" y="437"/>
                  <a:pt x="437" y="437"/>
                </a:cubicBezTo>
                <a:cubicBezTo>
                  <a:pt x="344" y="437"/>
                  <a:pt x="219" y="469"/>
                  <a:pt x="125" y="500"/>
                </a:cubicBezTo>
                <a:cubicBezTo>
                  <a:pt x="125" y="500"/>
                  <a:pt x="125" y="500"/>
                  <a:pt x="125" y="531"/>
                </a:cubicBezTo>
                <a:cubicBezTo>
                  <a:pt x="125" y="562"/>
                  <a:pt x="125" y="594"/>
                  <a:pt x="125" y="656"/>
                </a:cubicBezTo>
                <a:cubicBezTo>
                  <a:pt x="125" y="656"/>
                  <a:pt x="125" y="656"/>
                  <a:pt x="125" y="656"/>
                </a:cubicBezTo>
                <a:cubicBezTo>
                  <a:pt x="125" y="781"/>
                  <a:pt x="125" y="875"/>
                  <a:pt x="125" y="1000"/>
                </a:cubicBezTo>
                <a:cubicBezTo>
                  <a:pt x="406" y="969"/>
                  <a:pt x="687" y="969"/>
                  <a:pt x="1000" y="937"/>
                </a:cubicBezTo>
                <a:cubicBezTo>
                  <a:pt x="1125" y="937"/>
                  <a:pt x="1281" y="906"/>
                  <a:pt x="1437" y="906"/>
                </a:cubicBezTo>
                <a:cubicBezTo>
                  <a:pt x="1437" y="906"/>
                  <a:pt x="1437" y="906"/>
                  <a:pt x="1437" y="906"/>
                </a:cubicBezTo>
                <a:cubicBezTo>
                  <a:pt x="1000" y="937"/>
                  <a:pt x="562" y="969"/>
                  <a:pt x="125" y="1000"/>
                </a:cubicBezTo>
                <a:cubicBezTo>
                  <a:pt x="125" y="1000"/>
                  <a:pt x="125" y="1031"/>
                  <a:pt x="125" y="1062"/>
                </a:cubicBezTo>
                <a:cubicBezTo>
                  <a:pt x="219" y="1062"/>
                  <a:pt x="344" y="1062"/>
                  <a:pt x="437" y="1031"/>
                </a:cubicBezTo>
                <a:cubicBezTo>
                  <a:pt x="844" y="1031"/>
                  <a:pt x="1219" y="969"/>
                  <a:pt x="1625" y="937"/>
                </a:cubicBezTo>
                <a:cubicBezTo>
                  <a:pt x="1844" y="937"/>
                  <a:pt x="2062" y="937"/>
                  <a:pt x="2281" y="875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06" y="844"/>
                  <a:pt x="2406" y="844"/>
                  <a:pt x="2406" y="844"/>
                </a:cubicBezTo>
                <a:cubicBezTo>
                  <a:pt x="2469" y="937"/>
                  <a:pt x="2562" y="906"/>
                  <a:pt x="2625" y="875"/>
                </a:cubicBezTo>
                <a:cubicBezTo>
                  <a:pt x="2937" y="844"/>
                  <a:pt x="3219" y="812"/>
                  <a:pt x="3500" y="781"/>
                </a:cubicBezTo>
                <a:cubicBezTo>
                  <a:pt x="3687" y="781"/>
                  <a:pt x="3875" y="781"/>
                  <a:pt x="4062" y="750"/>
                </a:cubicBezTo>
                <a:cubicBezTo>
                  <a:pt x="4594" y="687"/>
                  <a:pt x="5156" y="687"/>
                  <a:pt x="5687" y="625"/>
                </a:cubicBezTo>
                <a:cubicBezTo>
                  <a:pt x="5812" y="625"/>
                  <a:pt x="5969" y="625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094" y="562"/>
                  <a:pt x="6094" y="562"/>
                  <a:pt x="6094" y="562"/>
                </a:cubicBezTo>
                <a:cubicBezTo>
                  <a:pt x="6187" y="594"/>
                  <a:pt x="6281" y="594"/>
                  <a:pt x="6375" y="594"/>
                </a:cubicBezTo>
                <a:cubicBezTo>
                  <a:pt x="6906" y="562"/>
                  <a:pt x="7469" y="500"/>
                  <a:pt x="8000" y="469"/>
                </a:cubicBezTo>
                <a:cubicBezTo>
                  <a:pt x="8656" y="437"/>
                  <a:pt x="9312" y="437"/>
                  <a:pt x="10000" y="437"/>
                </a:cubicBezTo>
                <a:cubicBezTo>
                  <a:pt x="10469" y="437"/>
                  <a:pt x="10969" y="469"/>
                  <a:pt x="11469" y="500"/>
                </a:cubicBezTo>
                <a:cubicBezTo>
                  <a:pt x="11625" y="500"/>
                  <a:pt x="11812" y="531"/>
                  <a:pt x="11969" y="500"/>
                </a:cubicBezTo>
                <a:cubicBezTo>
                  <a:pt x="11969" y="500"/>
                  <a:pt x="11969" y="500"/>
                  <a:pt x="11969" y="500"/>
                </a:cubicBezTo>
                <a:cubicBezTo>
                  <a:pt x="12031" y="500"/>
                  <a:pt x="12062" y="500"/>
                  <a:pt x="12094" y="500"/>
                </a:cubicBezTo>
                <a:cubicBezTo>
                  <a:pt x="12312" y="531"/>
                  <a:pt x="12500" y="562"/>
                  <a:pt x="12719" y="594"/>
                </a:cubicBezTo>
                <a:cubicBezTo>
                  <a:pt x="12906" y="594"/>
                  <a:pt x="13062" y="594"/>
                  <a:pt x="13250" y="656"/>
                </a:cubicBezTo>
                <a:cubicBezTo>
                  <a:pt x="12844" y="719"/>
                  <a:pt x="12469" y="625"/>
                  <a:pt x="12062" y="656"/>
                </a:cubicBezTo>
                <a:cubicBezTo>
                  <a:pt x="12219" y="812"/>
                  <a:pt x="12406" y="875"/>
                  <a:pt x="12594" y="906"/>
                </a:cubicBezTo>
                <a:cubicBezTo>
                  <a:pt x="12844" y="906"/>
                  <a:pt x="13062" y="969"/>
                  <a:pt x="13281" y="1031"/>
                </a:cubicBezTo>
                <a:cubicBezTo>
                  <a:pt x="13375" y="1062"/>
                  <a:pt x="13344" y="1156"/>
                  <a:pt x="13375" y="1250"/>
                </a:cubicBezTo>
                <a:cubicBezTo>
                  <a:pt x="13406" y="1281"/>
                  <a:pt x="13344" y="1281"/>
                  <a:pt x="13312" y="1281"/>
                </a:cubicBezTo>
                <a:cubicBezTo>
                  <a:pt x="13031" y="1250"/>
                  <a:pt x="12719" y="1250"/>
                  <a:pt x="12406" y="1219"/>
                </a:cubicBezTo>
                <a:cubicBezTo>
                  <a:pt x="12281" y="1219"/>
                  <a:pt x="12156" y="1187"/>
                  <a:pt x="12031" y="1187"/>
                </a:cubicBezTo>
                <a:cubicBezTo>
                  <a:pt x="11219" y="1187"/>
                  <a:pt x="10406" y="1187"/>
                  <a:pt x="9594" y="1219"/>
                </a:cubicBezTo>
                <a:cubicBezTo>
                  <a:pt x="9187" y="1219"/>
                  <a:pt x="8781" y="1281"/>
                  <a:pt x="8312" y="1281"/>
                </a:cubicBezTo>
                <a:cubicBezTo>
                  <a:pt x="8406" y="1344"/>
                  <a:pt x="8437" y="1312"/>
                  <a:pt x="8500" y="1312"/>
                </a:cubicBezTo>
                <a:cubicBezTo>
                  <a:pt x="8969" y="1344"/>
                  <a:pt x="9437" y="1250"/>
                  <a:pt x="9937" y="1281"/>
                </a:cubicBezTo>
                <a:cubicBezTo>
                  <a:pt x="10000" y="1281"/>
                  <a:pt x="10125" y="1250"/>
                  <a:pt x="10125" y="1344"/>
                </a:cubicBezTo>
                <a:cubicBezTo>
                  <a:pt x="10125" y="1406"/>
                  <a:pt x="10000" y="1375"/>
                  <a:pt x="9937" y="1406"/>
                </a:cubicBezTo>
                <a:cubicBezTo>
                  <a:pt x="9469" y="1406"/>
                  <a:pt x="9000" y="1375"/>
                  <a:pt x="8531" y="1437"/>
                </a:cubicBezTo>
                <a:cubicBezTo>
                  <a:pt x="8000" y="1469"/>
                  <a:pt x="7437" y="1469"/>
                  <a:pt x="6906" y="1531"/>
                </a:cubicBezTo>
                <a:cubicBezTo>
                  <a:pt x="6750" y="1562"/>
                  <a:pt x="6594" y="1562"/>
                  <a:pt x="6469" y="1562"/>
                </a:cubicBezTo>
                <a:cubicBezTo>
                  <a:pt x="6031" y="1562"/>
                  <a:pt x="5625" y="1625"/>
                  <a:pt x="5219" y="1656"/>
                </a:cubicBezTo>
                <a:cubicBezTo>
                  <a:pt x="4781" y="1687"/>
                  <a:pt x="4312" y="1687"/>
                  <a:pt x="3875" y="1781"/>
                </a:cubicBezTo>
                <a:cubicBezTo>
                  <a:pt x="3875" y="1781"/>
                  <a:pt x="3875" y="1781"/>
                  <a:pt x="3875" y="1781"/>
                </a:cubicBezTo>
                <a:cubicBezTo>
                  <a:pt x="3469" y="1750"/>
                  <a:pt x="3062" y="1844"/>
                  <a:pt x="2656" y="1875"/>
                </a:cubicBezTo>
                <a:cubicBezTo>
                  <a:pt x="2312" y="1906"/>
                  <a:pt x="1969" y="1937"/>
                  <a:pt x="1625" y="1969"/>
                </a:cubicBezTo>
                <a:cubicBezTo>
                  <a:pt x="1312" y="2000"/>
                  <a:pt x="1000" y="2000"/>
                  <a:pt x="687" y="2031"/>
                </a:cubicBezTo>
                <a:cubicBezTo>
                  <a:pt x="500" y="2031"/>
                  <a:pt x="312" y="2094"/>
                  <a:pt x="125" y="2094"/>
                </a:cubicBezTo>
                <a:cubicBezTo>
                  <a:pt x="125" y="2219"/>
                  <a:pt x="125" y="2375"/>
                  <a:pt x="125" y="2500"/>
                </a:cubicBezTo>
                <a:cubicBezTo>
                  <a:pt x="375" y="2500"/>
                  <a:pt x="625" y="2469"/>
                  <a:pt x="875" y="2437"/>
                </a:cubicBezTo>
                <a:cubicBezTo>
                  <a:pt x="1031" y="2437"/>
                  <a:pt x="1187" y="2406"/>
                  <a:pt x="1312" y="2406"/>
                </a:cubicBezTo>
                <a:cubicBezTo>
                  <a:pt x="1625" y="2375"/>
                  <a:pt x="1906" y="2344"/>
                  <a:pt x="2187" y="2312"/>
                </a:cubicBezTo>
                <a:cubicBezTo>
                  <a:pt x="2656" y="2250"/>
                  <a:pt x="3094" y="2219"/>
                  <a:pt x="3562" y="2156"/>
                </a:cubicBezTo>
                <a:cubicBezTo>
                  <a:pt x="3844" y="2125"/>
                  <a:pt x="4156" y="2125"/>
                  <a:pt x="4437" y="2062"/>
                </a:cubicBezTo>
                <a:cubicBezTo>
                  <a:pt x="4781" y="2031"/>
                  <a:pt x="5094" y="2031"/>
                  <a:pt x="5406" y="1969"/>
                </a:cubicBezTo>
                <a:cubicBezTo>
                  <a:pt x="5500" y="1937"/>
                  <a:pt x="5625" y="1969"/>
                  <a:pt x="5719" y="1937"/>
                </a:cubicBezTo>
                <a:cubicBezTo>
                  <a:pt x="6469" y="1875"/>
                  <a:pt x="7250" y="1812"/>
                  <a:pt x="8000" y="1781"/>
                </a:cubicBezTo>
                <a:cubicBezTo>
                  <a:pt x="9031" y="1687"/>
                  <a:pt x="10094" y="1656"/>
                  <a:pt x="11125" y="1656"/>
                </a:cubicBezTo>
                <a:cubicBezTo>
                  <a:pt x="11437" y="1656"/>
                  <a:pt x="11750" y="1687"/>
                  <a:pt x="12062" y="1719"/>
                </a:cubicBezTo>
                <a:cubicBezTo>
                  <a:pt x="11812" y="1719"/>
                  <a:pt x="11562" y="1719"/>
                  <a:pt x="11344" y="1719"/>
                </a:cubicBezTo>
                <a:cubicBezTo>
                  <a:pt x="11344" y="1719"/>
                  <a:pt x="11344" y="1750"/>
                  <a:pt x="11344" y="1750"/>
                </a:cubicBezTo>
                <a:cubicBezTo>
                  <a:pt x="11594" y="1781"/>
                  <a:pt x="11875" y="1812"/>
                  <a:pt x="12125" y="1812"/>
                </a:cubicBezTo>
                <a:cubicBezTo>
                  <a:pt x="12344" y="1812"/>
                  <a:pt x="12531" y="1875"/>
                  <a:pt x="12750" y="1875"/>
                </a:cubicBezTo>
                <a:cubicBezTo>
                  <a:pt x="12812" y="1906"/>
                  <a:pt x="12844" y="2000"/>
                  <a:pt x="12906" y="2062"/>
                </a:cubicBezTo>
                <a:cubicBezTo>
                  <a:pt x="12906" y="2094"/>
                  <a:pt x="12906" y="2094"/>
                  <a:pt x="12875" y="2094"/>
                </a:cubicBezTo>
                <a:cubicBezTo>
                  <a:pt x="12844" y="2094"/>
                  <a:pt x="12812" y="2094"/>
                  <a:pt x="12781" y="2094"/>
                </a:cubicBezTo>
                <a:cubicBezTo>
                  <a:pt x="12750" y="2094"/>
                  <a:pt x="12719" y="2094"/>
                  <a:pt x="12719" y="2156"/>
                </a:cubicBezTo>
                <a:cubicBezTo>
                  <a:pt x="12719" y="2187"/>
                  <a:pt x="12750" y="2187"/>
                  <a:pt x="12781" y="2187"/>
                </a:cubicBezTo>
                <a:cubicBezTo>
                  <a:pt x="12812" y="2187"/>
                  <a:pt x="12812" y="2187"/>
                  <a:pt x="12844" y="2187"/>
                </a:cubicBezTo>
                <a:cubicBezTo>
                  <a:pt x="12906" y="2187"/>
                  <a:pt x="12969" y="2219"/>
                  <a:pt x="12969" y="2281"/>
                </a:cubicBezTo>
                <a:cubicBezTo>
                  <a:pt x="12969" y="2344"/>
                  <a:pt x="12906" y="2375"/>
                  <a:pt x="12844" y="2375"/>
                </a:cubicBezTo>
                <a:cubicBezTo>
                  <a:pt x="12625" y="2375"/>
                  <a:pt x="12406" y="2406"/>
                  <a:pt x="12156" y="2406"/>
                </a:cubicBezTo>
                <a:cubicBezTo>
                  <a:pt x="11656" y="2406"/>
                  <a:pt x="11156" y="2406"/>
                  <a:pt x="10656" y="2406"/>
                </a:cubicBezTo>
                <a:cubicBezTo>
                  <a:pt x="10594" y="2406"/>
                  <a:pt x="10562" y="2406"/>
                  <a:pt x="10531" y="2406"/>
                </a:cubicBezTo>
                <a:cubicBezTo>
                  <a:pt x="11187" y="2437"/>
                  <a:pt x="11875" y="2437"/>
                  <a:pt x="12531" y="2500"/>
                </a:cubicBezTo>
                <a:cubicBezTo>
                  <a:pt x="11875" y="2500"/>
                  <a:pt x="11219" y="2500"/>
                  <a:pt x="10562" y="2500"/>
                </a:cubicBezTo>
                <a:cubicBezTo>
                  <a:pt x="10594" y="2531"/>
                  <a:pt x="10625" y="2531"/>
                  <a:pt x="10687" y="2531"/>
                </a:cubicBezTo>
                <a:cubicBezTo>
                  <a:pt x="11094" y="2531"/>
                  <a:pt x="11500" y="2531"/>
                  <a:pt x="11906" y="2531"/>
                </a:cubicBezTo>
                <a:cubicBezTo>
                  <a:pt x="12094" y="2531"/>
                  <a:pt x="12281" y="2531"/>
                  <a:pt x="12469" y="2625"/>
                </a:cubicBezTo>
                <a:cubicBezTo>
                  <a:pt x="12406" y="2719"/>
                  <a:pt x="12281" y="2656"/>
                  <a:pt x="12187" y="2719"/>
                </a:cubicBezTo>
                <a:cubicBezTo>
                  <a:pt x="12562" y="2812"/>
                  <a:pt x="12969" y="2750"/>
                  <a:pt x="13312" y="2844"/>
                </a:cubicBezTo>
                <a:cubicBezTo>
                  <a:pt x="12906" y="2844"/>
                  <a:pt x="12500" y="2844"/>
                  <a:pt x="12094" y="2844"/>
                </a:cubicBezTo>
                <a:cubicBezTo>
                  <a:pt x="12469" y="2906"/>
                  <a:pt x="12844" y="2906"/>
                  <a:pt x="13219" y="3000"/>
                </a:cubicBezTo>
                <a:cubicBezTo>
                  <a:pt x="13125" y="3000"/>
                  <a:pt x="13031" y="3000"/>
                  <a:pt x="12906" y="3000"/>
                </a:cubicBezTo>
                <a:cubicBezTo>
                  <a:pt x="12875" y="3000"/>
                  <a:pt x="12844" y="3000"/>
                  <a:pt x="12812" y="3031"/>
                </a:cubicBezTo>
                <a:cubicBezTo>
                  <a:pt x="12812" y="3062"/>
                  <a:pt x="12750" y="3062"/>
                  <a:pt x="12750" y="3094"/>
                </a:cubicBezTo>
                <a:cubicBezTo>
                  <a:pt x="12750" y="3125"/>
                  <a:pt x="12812" y="3125"/>
                  <a:pt x="12844" y="3125"/>
                </a:cubicBezTo>
                <a:cubicBezTo>
                  <a:pt x="12969" y="3187"/>
                  <a:pt x="13156" y="3125"/>
                  <a:pt x="13281" y="3219"/>
                </a:cubicBezTo>
                <a:cubicBezTo>
                  <a:pt x="13219" y="3250"/>
                  <a:pt x="13125" y="3219"/>
                  <a:pt x="13031" y="3250"/>
                </a:cubicBezTo>
                <a:cubicBezTo>
                  <a:pt x="13156" y="3312"/>
                  <a:pt x="13219" y="3281"/>
                  <a:pt x="13312" y="3312"/>
                </a:cubicBezTo>
                <a:cubicBezTo>
                  <a:pt x="12969" y="3312"/>
                  <a:pt x="12625" y="3312"/>
                  <a:pt x="12312" y="3312"/>
                </a:cubicBezTo>
                <a:cubicBezTo>
                  <a:pt x="11500" y="3281"/>
                  <a:pt x="10719" y="3344"/>
                  <a:pt x="9937" y="3406"/>
                </a:cubicBezTo>
                <a:cubicBezTo>
                  <a:pt x="9437" y="3437"/>
                  <a:pt x="8906" y="3500"/>
                  <a:pt x="8406" y="3562"/>
                </a:cubicBezTo>
                <a:cubicBezTo>
                  <a:pt x="8000" y="3594"/>
                  <a:pt x="7594" y="3656"/>
                  <a:pt x="7187" y="3687"/>
                </a:cubicBezTo>
                <a:cubicBezTo>
                  <a:pt x="6812" y="3750"/>
                  <a:pt x="6437" y="3812"/>
                  <a:pt x="6031" y="3844"/>
                </a:cubicBezTo>
                <a:cubicBezTo>
                  <a:pt x="5687" y="3906"/>
                  <a:pt x="5344" y="3969"/>
                  <a:pt x="4969" y="4000"/>
                </a:cubicBezTo>
                <a:cubicBezTo>
                  <a:pt x="4656" y="4062"/>
                  <a:pt x="4312" y="4094"/>
                  <a:pt x="4000" y="4156"/>
                </a:cubicBezTo>
                <a:cubicBezTo>
                  <a:pt x="3750" y="4187"/>
                  <a:pt x="3500" y="4187"/>
                  <a:pt x="3281" y="4250"/>
                </a:cubicBezTo>
                <a:cubicBezTo>
                  <a:pt x="2906" y="4344"/>
                  <a:pt x="2531" y="4375"/>
                  <a:pt x="2187" y="4437"/>
                </a:cubicBezTo>
                <a:cubicBezTo>
                  <a:pt x="1781" y="4500"/>
                  <a:pt x="1344" y="4531"/>
                  <a:pt x="937" y="4594"/>
                </a:cubicBezTo>
                <a:cubicBezTo>
                  <a:pt x="719" y="4656"/>
                  <a:pt x="500" y="4656"/>
                  <a:pt x="281" y="4719"/>
                </a:cubicBezTo>
                <a:cubicBezTo>
                  <a:pt x="219" y="4719"/>
                  <a:pt x="156" y="4719"/>
                  <a:pt x="125" y="4719"/>
                </a:cubicBezTo>
                <a:cubicBezTo>
                  <a:pt x="125" y="4781"/>
                  <a:pt x="125" y="4844"/>
                  <a:pt x="125" y="4906"/>
                </a:cubicBezTo>
                <a:cubicBezTo>
                  <a:pt x="187" y="4875"/>
                  <a:pt x="312" y="4906"/>
                  <a:pt x="375" y="4875"/>
                </a:cubicBezTo>
                <a:cubicBezTo>
                  <a:pt x="625" y="4844"/>
                  <a:pt x="844" y="4812"/>
                  <a:pt x="1062" y="4781"/>
                </a:cubicBezTo>
                <a:cubicBezTo>
                  <a:pt x="1281" y="4750"/>
                  <a:pt x="1469" y="4719"/>
                  <a:pt x="1656" y="4687"/>
                </a:cubicBezTo>
                <a:cubicBezTo>
                  <a:pt x="1937" y="4625"/>
                  <a:pt x="2187" y="4594"/>
                  <a:pt x="2437" y="4562"/>
                </a:cubicBezTo>
                <a:cubicBezTo>
                  <a:pt x="2656" y="4531"/>
                  <a:pt x="2875" y="4500"/>
                  <a:pt x="3094" y="4469"/>
                </a:cubicBezTo>
                <a:cubicBezTo>
                  <a:pt x="3312" y="4406"/>
                  <a:pt x="3531" y="4375"/>
                  <a:pt x="3750" y="4344"/>
                </a:cubicBezTo>
                <a:cubicBezTo>
                  <a:pt x="4094" y="4250"/>
                  <a:pt x="4469" y="4250"/>
                  <a:pt x="4781" y="4156"/>
                </a:cubicBezTo>
                <a:cubicBezTo>
                  <a:pt x="4875" y="4125"/>
                  <a:pt x="4969" y="4125"/>
                  <a:pt x="5031" y="4125"/>
                </a:cubicBezTo>
                <a:cubicBezTo>
                  <a:pt x="5406" y="4062"/>
                  <a:pt x="5781" y="4000"/>
                  <a:pt x="6125" y="3937"/>
                </a:cubicBezTo>
                <a:cubicBezTo>
                  <a:pt x="6500" y="3906"/>
                  <a:pt x="6844" y="3844"/>
                  <a:pt x="7187" y="3812"/>
                </a:cubicBezTo>
                <a:cubicBezTo>
                  <a:pt x="7531" y="3750"/>
                  <a:pt x="7875" y="3719"/>
                  <a:pt x="8219" y="3687"/>
                </a:cubicBezTo>
                <a:cubicBezTo>
                  <a:pt x="8531" y="3625"/>
                  <a:pt x="8844" y="3625"/>
                  <a:pt x="9156" y="3562"/>
                </a:cubicBezTo>
                <a:cubicBezTo>
                  <a:pt x="9687" y="3500"/>
                  <a:pt x="10219" y="3500"/>
                  <a:pt x="10750" y="3469"/>
                </a:cubicBezTo>
                <a:cubicBezTo>
                  <a:pt x="11281" y="3437"/>
                  <a:pt x="11812" y="3437"/>
                  <a:pt x="12344" y="3469"/>
                </a:cubicBezTo>
                <a:cubicBezTo>
                  <a:pt x="12344" y="3469"/>
                  <a:pt x="12375" y="3469"/>
                  <a:pt x="12375" y="3469"/>
                </a:cubicBezTo>
                <a:cubicBezTo>
                  <a:pt x="12375" y="3531"/>
                  <a:pt x="12344" y="3500"/>
                  <a:pt x="12312" y="3500"/>
                </a:cubicBezTo>
                <a:cubicBezTo>
                  <a:pt x="12281" y="3531"/>
                  <a:pt x="12219" y="3500"/>
                  <a:pt x="12219" y="3562"/>
                </a:cubicBezTo>
                <a:cubicBezTo>
                  <a:pt x="12219" y="3594"/>
                  <a:pt x="12281" y="3594"/>
                  <a:pt x="12312" y="3594"/>
                </a:cubicBezTo>
                <a:cubicBezTo>
                  <a:pt x="12437" y="3562"/>
                  <a:pt x="12562" y="3687"/>
                  <a:pt x="12687" y="3656"/>
                </a:cubicBezTo>
                <a:cubicBezTo>
                  <a:pt x="12719" y="3656"/>
                  <a:pt x="12750" y="3687"/>
                  <a:pt x="12719" y="3719"/>
                </a:cubicBezTo>
                <a:cubicBezTo>
                  <a:pt x="12719" y="3750"/>
                  <a:pt x="12687" y="3750"/>
                  <a:pt x="12687" y="3750"/>
                </a:cubicBezTo>
                <a:cubicBezTo>
                  <a:pt x="12531" y="3750"/>
                  <a:pt x="12375" y="3750"/>
                  <a:pt x="12219" y="3750"/>
                </a:cubicBezTo>
                <a:cubicBezTo>
                  <a:pt x="11719" y="3750"/>
                  <a:pt x="11250" y="3812"/>
                  <a:pt x="10750" y="3844"/>
                </a:cubicBezTo>
                <a:cubicBezTo>
                  <a:pt x="10250" y="3906"/>
                  <a:pt x="9719" y="3937"/>
                  <a:pt x="9219" y="4000"/>
                </a:cubicBezTo>
                <a:cubicBezTo>
                  <a:pt x="8781" y="4062"/>
                  <a:pt x="8312" y="4125"/>
                  <a:pt x="7875" y="4187"/>
                </a:cubicBezTo>
                <a:cubicBezTo>
                  <a:pt x="7562" y="4219"/>
                  <a:pt x="7281" y="4250"/>
                  <a:pt x="6969" y="4312"/>
                </a:cubicBezTo>
                <a:cubicBezTo>
                  <a:pt x="6687" y="4281"/>
                  <a:pt x="5750" y="4469"/>
                  <a:pt x="5625" y="4469"/>
                </a:cubicBezTo>
                <a:cubicBezTo>
                  <a:pt x="5625" y="4469"/>
                  <a:pt x="5594" y="4500"/>
                  <a:pt x="5531" y="4531"/>
                </a:cubicBezTo>
                <a:cubicBezTo>
                  <a:pt x="5344" y="4562"/>
                  <a:pt x="5156" y="4562"/>
                  <a:pt x="5000" y="4594"/>
                </a:cubicBezTo>
                <a:cubicBezTo>
                  <a:pt x="4656" y="4656"/>
                  <a:pt x="4344" y="4687"/>
                  <a:pt x="4000" y="4750"/>
                </a:cubicBezTo>
                <a:cubicBezTo>
                  <a:pt x="3844" y="4781"/>
                  <a:pt x="3656" y="4781"/>
                  <a:pt x="3500" y="4875"/>
                </a:cubicBezTo>
                <a:cubicBezTo>
                  <a:pt x="3437" y="4906"/>
                  <a:pt x="3312" y="4906"/>
                  <a:pt x="3250" y="4906"/>
                </a:cubicBezTo>
                <a:cubicBezTo>
                  <a:pt x="3031" y="4906"/>
                  <a:pt x="2844" y="4969"/>
                  <a:pt x="2625" y="5000"/>
                </a:cubicBezTo>
                <a:cubicBezTo>
                  <a:pt x="2375" y="5031"/>
                  <a:pt x="2125" y="5062"/>
                  <a:pt x="1875" y="5094"/>
                </a:cubicBezTo>
                <a:cubicBezTo>
                  <a:pt x="1469" y="5156"/>
                  <a:pt x="1094" y="5219"/>
                  <a:pt x="719" y="5281"/>
                </a:cubicBezTo>
                <a:cubicBezTo>
                  <a:pt x="500" y="5312"/>
                  <a:pt x="312" y="5344"/>
                  <a:pt x="125" y="5375"/>
                </a:cubicBezTo>
                <a:cubicBezTo>
                  <a:pt x="125" y="6281"/>
                  <a:pt x="125" y="7187"/>
                  <a:pt x="125" y="8094"/>
                </a:cubicBezTo>
                <a:cubicBezTo>
                  <a:pt x="125" y="8094"/>
                  <a:pt x="125" y="8125"/>
                  <a:pt x="125" y="8125"/>
                </a:cubicBezTo>
                <a:cubicBezTo>
                  <a:pt x="125" y="8437"/>
                  <a:pt x="125" y="8719"/>
                  <a:pt x="125" y="9000"/>
                </a:cubicBezTo>
                <a:cubicBezTo>
                  <a:pt x="281" y="8937"/>
                  <a:pt x="281" y="8937"/>
                  <a:pt x="281" y="8937"/>
                </a:cubicBezTo>
                <a:cubicBezTo>
                  <a:pt x="344" y="8937"/>
                  <a:pt x="406" y="8937"/>
                  <a:pt x="469" y="8906"/>
                </a:cubicBezTo>
                <a:cubicBezTo>
                  <a:pt x="500" y="8906"/>
                  <a:pt x="531" y="8875"/>
                  <a:pt x="562" y="8875"/>
                </a:cubicBezTo>
                <a:cubicBezTo>
                  <a:pt x="781" y="8812"/>
                  <a:pt x="781" y="8812"/>
                  <a:pt x="781" y="8812"/>
                </a:cubicBezTo>
                <a:cubicBezTo>
                  <a:pt x="844" y="8812"/>
                  <a:pt x="875" y="8812"/>
                  <a:pt x="937" y="8781"/>
                </a:cubicBezTo>
                <a:cubicBezTo>
                  <a:pt x="937" y="8781"/>
                  <a:pt x="969" y="8781"/>
                  <a:pt x="969" y="8750"/>
                </a:cubicBezTo>
                <a:cubicBezTo>
                  <a:pt x="1312" y="8656"/>
                  <a:pt x="1312" y="8656"/>
                  <a:pt x="1312" y="8656"/>
                </a:cubicBezTo>
                <a:cubicBezTo>
                  <a:pt x="1312" y="8656"/>
                  <a:pt x="1312" y="8656"/>
                  <a:pt x="1344" y="8656"/>
                </a:cubicBezTo>
                <a:cubicBezTo>
                  <a:pt x="1375" y="8656"/>
                  <a:pt x="1437" y="8656"/>
                  <a:pt x="1469" y="8625"/>
                </a:cubicBezTo>
                <a:cubicBezTo>
                  <a:pt x="1469" y="8625"/>
                  <a:pt x="1469" y="8625"/>
                  <a:pt x="1469" y="8625"/>
                </a:cubicBezTo>
                <a:cubicBezTo>
                  <a:pt x="1875" y="8500"/>
                  <a:pt x="1875" y="8500"/>
                  <a:pt x="1875" y="8500"/>
                </a:cubicBezTo>
                <a:cubicBezTo>
                  <a:pt x="1969" y="8531"/>
                  <a:pt x="2062" y="8469"/>
                  <a:pt x="2156" y="8469"/>
                </a:cubicBezTo>
                <a:cubicBezTo>
                  <a:pt x="2187" y="8437"/>
                  <a:pt x="2187" y="8437"/>
                  <a:pt x="2187" y="8406"/>
                </a:cubicBezTo>
                <a:cubicBezTo>
                  <a:pt x="2375" y="8375"/>
                  <a:pt x="2375" y="8375"/>
                  <a:pt x="2375" y="8375"/>
                </a:cubicBezTo>
                <a:cubicBezTo>
                  <a:pt x="2437" y="8375"/>
                  <a:pt x="2500" y="8375"/>
                  <a:pt x="2594" y="8344"/>
                </a:cubicBezTo>
                <a:cubicBezTo>
                  <a:pt x="2687" y="8281"/>
                  <a:pt x="2812" y="8250"/>
                  <a:pt x="2937" y="8219"/>
                </a:cubicBezTo>
                <a:cubicBezTo>
                  <a:pt x="3531" y="8062"/>
                  <a:pt x="4094" y="7906"/>
                  <a:pt x="4687" y="7750"/>
                </a:cubicBezTo>
                <a:cubicBezTo>
                  <a:pt x="5125" y="7625"/>
                  <a:pt x="5562" y="7500"/>
                  <a:pt x="6000" y="7375"/>
                </a:cubicBezTo>
                <a:cubicBezTo>
                  <a:pt x="6500" y="7219"/>
                  <a:pt x="7000" y="7062"/>
                  <a:pt x="7469" y="6937"/>
                </a:cubicBezTo>
                <a:cubicBezTo>
                  <a:pt x="7812" y="6844"/>
                  <a:pt x="8156" y="6781"/>
                  <a:pt x="8500" y="6687"/>
                </a:cubicBezTo>
                <a:cubicBezTo>
                  <a:pt x="8937" y="6562"/>
                  <a:pt x="9375" y="6437"/>
                  <a:pt x="9812" y="6344"/>
                </a:cubicBezTo>
                <a:cubicBezTo>
                  <a:pt x="10187" y="6250"/>
                  <a:pt x="10562" y="6156"/>
                  <a:pt x="10937" y="6094"/>
                </a:cubicBezTo>
                <a:cubicBezTo>
                  <a:pt x="11500" y="5969"/>
                  <a:pt x="12031" y="5844"/>
                  <a:pt x="12594" y="5750"/>
                </a:cubicBezTo>
                <a:cubicBezTo>
                  <a:pt x="12812" y="5687"/>
                  <a:pt x="13062" y="5687"/>
                  <a:pt x="13281" y="5625"/>
                </a:cubicBezTo>
                <a:cubicBezTo>
                  <a:pt x="13562" y="5562"/>
                  <a:pt x="13844" y="5594"/>
                  <a:pt x="14125" y="5500"/>
                </a:cubicBezTo>
                <a:cubicBezTo>
                  <a:pt x="14125" y="5500"/>
                  <a:pt x="14156" y="5500"/>
                  <a:pt x="14156" y="5500"/>
                </a:cubicBezTo>
                <a:cubicBezTo>
                  <a:pt x="14219" y="5531"/>
                  <a:pt x="14281" y="5469"/>
                  <a:pt x="14281" y="5531"/>
                </a:cubicBezTo>
                <a:cubicBezTo>
                  <a:pt x="14281" y="5594"/>
                  <a:pt x="14219" y="5562"/>
                  <a:pt x="14187" y="5562"/>
                </a:cubicBezTo>
                <a:cubicBezTo>
                  <a:pt x="14125" y="5562"/>
                  <a:pt x="14094" y="5594"/>
                  <a:pt x="14062" y="5625"/>
                </a:cubicBezTo>
                <a:cubicBezTo>
                  <a:pt x="14031" y="5625"/>
                  <a:pt x="14000" y="5625"/>
                  <a:pt x="13969" y="5656"/>
                </a:cubicBezTo>
                <a:cubicBezTo>
                  <a:pt x="13906" y="5625"/>
                  <a:pt x="13875" y="5625"/>
                  <a:pt x="13844" y="5625"/>
                </a:cubicBezTo>
                <a:cubicBezTo>
                  <a:pt x="13687" y="5656"/>
                  <a:pt x="13500" y="5656"/>
                  <a:pt x="13312" y="5719"/>
                </a:cubicBezTo>
                <a:cubicBezTo>
                  <a:pt x="13281" y="5719"/>
                  <a:pt x="13187" y="5687"/>
                  <a:pt x="13156" y="5750"/>
                </a:cubicBezTo>
                <a:cubicBezTo>
                  <a:pt x="13125" y="5750"/>
                  <a:pt x="13125" y="5781"/>
                  <a:pt x="13125" y="5781"/>
                </a:cubicBezTo>
                <a:cubicBezTo>
                  <a:pt x="13031" y="5781"/>
                  <a:pt x="12906" y="5750"/>
                  <a:pt x="12844" y="5812"/>
                </a:cubicBezTo>
                <a:cubicBezTo>
                  <a:pt x="12781" y="5844"/>
                  <a:pt x="12750" y="5812"/>
                  <a:pt x="12719" y="5844"/>
                </a:cubicBezTo>
                <a:cubicBezTo>
                  <a:pt x="12531" y="5844"/>
                  <a:pt x="12406" y="5875"/>
                  <a:pt x="12250" y="5906"/>
                </a:cubicBezTo>
                <a:cubicBezTo>
                  <a:pt x="12031" y="5969"/>
                  <a:pt x="11812" y="5969"/>
                  <a:pt x="11594" y="6031"/>
                </a:cubicBezTo>
                <a:cubicBezTo>
                  <a:pt x="11344" y="6094"/>
                  <a:pt x="11062" y="6156"/>
                  <a:pt x="10781" y="6219"/>
                </a:cubicBezTo>
                <a:cubicBezTo>
                  <a:pt x="10594" y="6250"/>
                  <a:pt x="10437" y="6312"/>
                  <a:pt x="10250" y="6344"/>
                </a:cubicBezTo>
                <a:cubicBezTo>
                  <a:pt x="10031" y="6375"/>
                  <a:pt x="9812" y="6437"/>
                  <a:pt x="9594" y="6500"/>
                </a:cubicBezTo>
                <a:cubicBezTo>
                  <a:pt x="9406" y="6562"/>
                  <a:pt x="9250" y="6594"/>
                  <a:pt x="9062" y="6625"/>
                </a:cubicBezTo>
                <a:cubicBezTo>
                  <a:pt x="8875" y="6687"/>
                  <a:pt x="8656" y="6750"/>
                  <a:pt x="8469" y="6812"/>
                </a:cubicBezTo>
                <a:cubicBezTo>
                  <a:pt x="8250" y="6844"/>
                  <a:pt x="8062" y="6906"/>
                  <a:pt x="7875" y="6937"/>
                </a:cubicBezTo>
                <a:cubicBezTo>
                  <a:pt x="7656" y="6969"/>
                  <a:pt x="7437" y="7062"/>
                  <a:pt x="7219" y="7125"/>
                </a:cubicBezTo>
                <a:cubicBezTo>
                  <a:pt x="6906" y="7219"/>
                  <a:pt x="6625" y="7281"/>
                  <a:pt x="6344" y="7375"/>
                </a:cubicBezTo>
                <a:cubicBezTo>
                  <a:pt x="6000" y="7469"/>
                  <a:pt x="5656" y="7594"/>
                  <a:pt x="5312" y="7656"/>
                </a:cubicBezTo>
                <a:cubicBezTo>
                  <a:pt x="5094" y="7719"/>
                  <a:pt x="4875" y="7781"/>
                  <a:pt x="4656" y="7844"/>
                </a:cubicBezTo>
                <a:cubicBezTo>
                  <a:pt x="4437" y="7906"/>
                  <a:pt x="4219" y="7937"/>
                  <a:pt x="4000" y="8062"/>
                </a:cubicBezTo>
                <a:cubicBezTo>
                  <a:pt x="3906" y="8094"/>
                  <a:pt x="3812" y="8094"/>
                  <a:pt x="3719" y="8125"/>
                </a:cubicBezTo>
                <a:cubicBezTo>
                  <a:pt x="3531" y="8187"/>
                  <a:pt x="3375" y="8219"/>
                  <a:pt x="3187" y="8281"/>
                </a:cubicBezTo>
                <a:cubicBezTo>
                  <a:pt x="2875" y="8375"/>
                  <a:pt x="2531" y="8469"/>
                  <a:pt x="2187" y="8562"/>
                </a:cubicBezTo>
                <a:cubicBezTo>
                  <a:pt x="1594" y="8719"/>
                  <a:pt x="1594" y="8719"/>
                  <a:pt x="1594" y="8719"/>
                </a:cubicBezTo>
                <a:cubicBezTo>
                  <a:pt x="1531" y="8687"/>
                  <a:pt x="1469" y="8750"/>
                  <a:pt x="1406" y="8781"/>
                </a:cubicBezTo>
                <a:cubicBezTo>
                  <a:pt x="1375" y="8781"/>
                  <a:pt x="1375" y="8781"/>
                  <a:pt x="1344" y="8781"/>
                </a:cubicBezTo>
                <a:cubicBezTo>
                  <a:pt x="125" y="9125"/>
                  <a:pt x="125" y="9125"/>
                  <a:pt x="125" y="9125"/>
                </a:cubicBezTo>
                <a:cubicBezTo>
                  <a:pt x="125" y="9125"/>
                  <a:pt x="0" y="10469"/>
                  <a:pt x="125" y="10469"/>
                </a:cubicBezTo>
                <a:cubicBezTo>
                  <a:pt x="156" y="10469"/>
                  <a:pt x="187" y="10469"/>
                  <a:pt x="250" y="10437"/>
                </a:cubicBezTo>
                <a:cubicBezTo>
                  <a:pt x="531" y="10344"/>
                  <a:pt x="844" y="10250"/>
                  <a:pt x="1156" y="10156"/>
                </a:cubicBezTo>
                <a:cubicBezTo>
                  <a:pt x="1437" y="10094"/>
                  <a:pt x="1719" y="10000"/>
                  <a:pt x="2000" y="9906"/>
                </a:cubicBezTo>
                <a:cubicBezTo>
                  <a:pt x="2375" y="9812"/>
                  <a:pt x="2750" y="9687"/>
                  <a:pt x="3125" y="9562"/>
                </a:cubicBezTo>
                <a:cubicBezTo>
                  <a:pt x="3406" y="9500"/>
                  <a:pt x="3687" y="9406"/>
                  <a:pt x="3969" y="9312"/>
                </a:cubicBezTo>
                <a:cubicBezTo>
                  <a:pt x="4312" y="9187"/>
                  <a:pt x="4687" y="9094"/>
                  <a:pt x="5062" y="8969"/>
                </a:cubicBezTo>
                <a:cubicBezTo>
                  <a:pt x="5344" y="8875"/>
                  <a:pt x="5625" y="8812"/>
                  <a:pt x="5906" y="8719"/>
                </a:cubicBezTo>
                <a:cubicBezTo>
                  <a:pt x="6344" y="8562"/>
                  <a:pt x="6781" y="8437"/>
                  <a:pt x="7219" y="8281"/>
                </a:cubicBezTo>
                <a:cubicBezTo>
                  <a:pt x="7500" y="8219"/>
                  <a:pt x="7781" y="8125"/>
                  <a:pt x="8094" y="8031"/>
                </a:cubicBezTo>
                <a:cubicBezTo>
                  <a:pt x="8500" y="7906"/>
                  <a:pt x="8906" y="7781"/>
                  <a:pt x="9312" y="7687"/>
                </a:cubicBezTo>
                <a:cubicBezTo>
                  <a:pt x="9781" y="7531"/>
                  <a:pt x="10250" y="7406"/>
                  <a:pt x="10719" y="7281"/>
                </a:cubicBezTo>
                <a:cubicBezTo>
                  <a:pt x="11125" y="7187"/>
                  <a:pt x="11500" y="7094"/>
                  <a:pt x="11906" y="7000"/>
                </a:cubicBezTo>
                <a:cubicBezTo>
                  <a:pt x="11906" y="7000"/>
                  <a:pt x="12031" y="6969"/>
                  <a:pt x="12187" y="6937"/>
                </a:cubicBezTo>
                <a:cubicBezTo>
                  <a:pt x="12219" y="6937"/>
                  <a:pt x="12219" y="6937"/>
                  <a:pt x="12250" y="6937"/>
                </a:cubicBezTo>
                <a:cubicBezTo>
                  <a:pt x="12437" y="6875"/>
                  <a:pt x="12687" y="6844"/>
                  <a:pt x="12906" y="6781"/>
                </a:cubicBezTo>
                <a:cubicBezTo>
                  <a:pt x="12937" y="6781"/>
                  <a:pt x="12969" y="6781"/>
                  <a:pt x="13000" y="6781"/>
                </a:cubicBezTo>
                <a:cubicBezTo>
                  <a:pt x="13344" y="6687"/>
                  <a:pt x="13719" y="6625"/>
                  <a:pt x="14062" y="6562"/>
                </a:cubicBezTo>
                <a:cubicBezTo>
                  <a:pt x="14437" y="6500"/>
                  <a:pt x="14812" y="6469"/>
                  <a:pt x="15187" y="6406"/>
                </a:cubicBezTo>
                <a:cubicBezTo>
                  <a:pt x="15562" y="6375"/>
                  <a:pt x="15937" y="6375"/>
                  <a:pt x="16312" y="6344"/>
                </a:cubicBezTo>
                <a:cubicBezTo>
                  <a:pt x="16875" y="6312"/>
                  <a:pt x="17437" y="6375"/>
                  <a:pt x="18000" y="6437"/>
                </a:cubicBezTo>
                <a:cubicBezTo>
                  <a:pt x="18312" y="6500"/>
                  <a:pt x="18656" y="6562"/>
                  <a:pt x="18969" y="6687"/>
                </a:cubicBezTo>
                <a:cubicBezTo>
                  <a:pt x="19344" y="6844"/>
                  <a:pt x="19719" y="7062"/>
                  <a:pt x="20000" y="7406"/>
                </a:cubicBezTo>
                <a:cubicBezTo>
                  <a:pt x="20187" y="7625"/>
                  <a:pt x="20312" y="7875"/>
                  <a:pt x="20375" y="8156"/>
                </a:cubicBezTo>
                <a:cubicBezTo>
                  <a:pt x="20500" y="8719"/>
                  <a:pt x="20437" y="9281"/>
                  <a:pt x="20312" y="9812"/>
                </a:cubicBezTo>
                <a:cubicBezTo>
                  <a:pt x="20219" y="10219"/>
                  <a:pt x="20062" y="10625"/>
                  <a:pt x="19937" y="11031"/>
                </a:cubicBezTo>
                <a:cubicBezTo>
                  <a:pt x="19687" y="11719"/>
                  <a:pt x="19344" y="12375"/>
                  <a:pt x="19125" y="13094"/>
                </a:cubicBezTo>
                <a:cubicBezTo>
                  <a:pt x="18937" y="13531"/>
                  <a:pt x="18781" y="14000"/>
                  <a:pt x="18750" y="14469"/>
                </a:cubicBezTo>
                <a:cubicBezTo>
                  <a:pt x="18719" y="14719"/>
                  <a:pt x="18719" y="14969"/>
                  <a:pt x="18812" y="15219"/>
                </a:cubicBezTo>
                <a:cubicBezTo>
                  <a:pt x="18812" y="15219"/>
                  <a:pt x="18812" y="15219"/>
                  <a:pt x="18812" y="15219"/>
                </a:cubicBezTo>
                <a:cubicBezTo>
                  <a:pt x="18844" y="15219"/>
                  <a:pt x="18844" y="15250"/>
                  <a:pt x="18844" y="15281"/>
                </a:cubicBezTo>
                <a:cubicBezTo>
                  <a:pt x="18844" y="15250"/>
                  <a:pt x="18875" y="15250"/>
                  <a:pt x="18875" y="15250"/>
                </a:cubicBezTo>
                <a:cubicBezTo>
                  <a:pt x="18875" y="15219"/>
                  <a:pt x="18844" y="15219"/>
                  <a:pt x="18844" y="15219"/>
                </a:cubicBezTo>
                <a:cubicBezTo>
                  <a:pt x="18844" y="15156"/>
                  <a:pt x="18844" y="15125"/>
                  <a:pt x="18844" y="15062"/>
                </a:cubicBezTo>
                <a:cubicBezTo>
                  <a:pt x="18937" y="15281"/>
                  <a:pt x="19062" y="15500"/>
                  <a:pt x="19281" y="15594"/>
                </a:cubicBezTo>
                <a:cubicBezTo>
                  <a:pt x="19094" y="15437"/>
                  <a:pt x="18937" y="15219"/>
                  <a:pt x="18906" y="14969"/>
                </a:cubicBezTo>
                <a:cubicBezTo>
                  <a:pt x="18875" y="14594"/>
                  <a:pt x="18875" y="14375"/>
                  <a:pt x="18937" y="14250"/>
                </a:cubicBezTo>
                <a:cubicBezTo>
                  <a:pt x="18969" y="14281"/>
                  <a:pt x="18969" y="14312"/>
                  <a:pt x="18937" y="14375"/>
                </a:cubicBezTo>
                <a:cubicBezTo>
                  <a:pt x="18906" y="14594"/>
                  <a:pt x="18969" y="14812"/>
                  <a:pt x="19031" y="15031"/>
                </a:cubicBezTo>
                <a:cubicBezTo>
                  <a:pt x="19062" y="15094"/>
                  <a:pt x="19094" y="15125"/>
                  <a:pt x="19125" y="15156"/>
                </a:cubicBezTo>
                <a:cubicBezTo>
                  <a:pt x="19187" y="15156"/>
                  <a:pt x="19187" y="15156"/>
                  <a:pt x="19219" y="15187"/>
                </a:cubicBezTo>
                <a:cubicBezTo>
                  <a:pt x="19344" y="15406"/>
                  <a:pt x="19562" y="15531"/>
                  <a:pt x="19812" y="15594"/>
                </a:cubicBezTo>
                <a:cubicBezTo>
                  <a:pt x="19812" y="15594"/>
                  <a:pt x="19812" y="15562"/>
                  <a:pt x="19812" y="15562"/>
                </a:cubicBezTo>
                <a:cubicBezTo>
                  <a:pt x="19687" y="15469"/>
                  <a:pt x="19531" y="15375"/>
                  <a:pt x="19406" y="15250"/>
                </a:cubicBezTo>
                <a:cubicBezTo>
                  <a:pt x="19375" y="15219"/>
                  <a:pt x="19344" y="15187"/>
                  <a:pt x="19344" y="15125"/>
                </a:cubicBezTo>
                <a:cubicBezTo>
                  <a:pt x="19219" y="15000"/>
                  <a:pt x="19187" y="14844"/>
                  <a:pt x="19187" y="14656"/>
                </a:cubicBezTo>
                <a:cubicBezTo>
                  <a:pt x="19219" y="14781"/>
                  <a:pt x="19250" y="14875"/>
                  <a:pt x="19312" y="15000"/>
                </a:cubicBezTo>
                <a:cubicBezTo>
                  <a:pt x="19312" y="15000"/>
                  <a:pt x="19312" y="15000"/>
                  <a:pt x="19312" y="15000"/>
                </a:cubicBezTo>
                <a:cubicBezTo>
                  <a:pt x="19312" y="15000"/>
                  <a:pt x="19312" y="15062"/>
                  <a:pt x="19344" y="15062"/>
                </a:cubicBezTo>
                <a:cubicBezTo>
                  <a:pt x="19344" y="15094"/>
                  <a:pt x="19344" y="15094"/>
                  <a:pt x="19375" y="15125"/>
                </a:cubicBezTo>
                <a:cubicBezTo>
                  <a:pt x="19437" y="15187"/>
                  <a:pt x="19469" y="15312"/>
                  <a:pt x="19594" y="15312"/>
                </a:cubicBezTo>
                <a:cubicBezTo>
                  <a:pt x="19594" y="15375"/>
                  <a:pt x="19656" y="15406"/>
                  <a:pt x="19719" y="15437"/>
                </a:cubicBezTo>
                <a:cubicBezTo>
                  <a:pt x="19937" y="15562"/>
                  <a:pt x="20187" y="15656"/>
                  <a:pt x="20437" y="15687"/>
                </a:cubicBezTo>
                <a:cubicBezTo>
                  <a:pt x="20469" y="15687"/>
                  <a:pt x="20469" y="15719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500" y="15750"/>
                  <a:pt x="20500" y="15750"/>
                  <a:pt x="20500" y="15750"/>
                </a:cubicBezTo>
                <a:cubicBezTo>
                  <a:pt x="20406" y="15719"/>
                  <a:pt x="20344" y="15719"/>
                  <a:pt x="20281" y="15719"/>
                </a:cubicBezTo>
                <a:cubicBezTo>
                  <a:pt x="20125" y="15656"/>
                  <a:pt x="19969" y="15625"/>
                  <a:pt x="19812" y="15562"/>
                </a:cubicBezTo>
                <a:cubicBezTo>
                  <a:pt x="19812" y="15562"/>
                  <a:pt x="19812" y="15594"/>
                  <a:pt x="19812" y="15594"/>
                </a:cubicBezTo>
                <a:cubicBezTo>
                  <a:pt x="19937" y="15687"/>
                  <a:pt x="20094" y="15719"/>
                  <a:pt x="20250" y="15750"/>
                </a:cubicBezTo>
                <a:cubicBezTo>
                  <a:pt x="20344" y="15812"/>
                  <a:pt x="20437" y="15812"/>
                  <a:pt x="20531" y="15812"/>
                </a:cubicBezTo>
                <a:cubicBezTo>
                  <a:pt x="20656" y="15844"/>
                  <a:pt x="20812" y="15781"/>
                  <a:pt x="20937" y="15812"/>
                </a:cubicBezTo>
                <a:cubicBezTo>
                  <a:pt x="21062" y="15875"/>
                  <a:pt x="21219" y="15875"/>
                  <a:pt x="21344" y="15875"/>
                </a:cubicBezTo>
                <a:cubicBezTo>
                  <a:pt x="21906" y="15906"/>
                  <a:pt x="22469" y="15844"/>
                  <a:pt x="23062" y="15812"/>
                </a:cubicBezTo>
                <a:cubicBezTo>
                  <a:pt x="23094" y="15812"/>
                  <a:pt x="23125" y="15812"/>
                  <a:pt x="23125" y="15781"/>
                </a:cubicBezTo>
                <a:cubicBezTo>
                  <a:pt x="23094" y="15750"/>
                  <a:pt x="23094" y="15750"/>
                  <a:pt x="23062" y="15750"/>
                </a:cubicBezTo>
                <a:cubicBezTo>
                  <a:pt x="23094" y="15750"/>
                  <a:pt x="23094" y="15750"/>
                  <a:pt x="23125" y="15750"/>
                </a:cubicBezTo>
                <a:cubicBezTo>
                  <a:pt x="23219" y="15750"/>
                  <a:pt x="23312" y="15781"/>
                  <a:pt x="23406" y="15750"/>
                </a:cubicBezTo>
                <a:cubicBezTo>
                  <a:pt x="23375" y="15719"/>
                  <a:pt x="23344" y="15719"/>
                  <a:pt x="23312" y="15719"/>
                </a:cubicBezTo>
                <a:cubicBezTo>
                  <a:pt x="23531" y="15750"/>
                  <a:pt x="23750" y="15719"/>
                  <a:pt x="23969" y="15656"/>
                </a:cubicBezTo>
                <a:cubicBezTo>
                  <a:pt x="23937" y="15656"/>
                  <a:pt x="23937" y="15656"/>
                  <a:pt x="23906" y="15656"/>
                </a:cubicBezTo>
                <a:cubicBezTo>
                  <a:pt x="23937" y="15625"/>
                  <a:pt x="23937" y="15656"/>
                  <a:pt x="23969" y="15656"/>
                </a:cubicBezTo>
                <a:cubicBezTo>
                  <a:pt x="24031" y="15625"/>
                  <a:pt x="24125" y="15719"/>
                  <a:pt x="24187" y="15625"/>
                </a:cubicBezTo>
                <a:cubicBezTo>
                  <a:pt x="24156" y="15625"/>
                  <a:pt x="24156" y="15594"/>
                  <a:pt x="24156" y="15594"/>
                </a:cubicBezTo>
                <a:cubicBezTo>
                  <a:pt x="24156" y="15594"/>
                  <a:pt x="24187" y="15594"/>
                  <a:pt x="24187" y="15625"/>
                </a:cubicBezTo>
                <a:cubicBezTo>
                  <a:pt x="24469" y="15625"/>
                  <a:pt x="24750" y="15531"/>
                  <a:pt x="25000" y="15469"/>
                </a:cubicBezTo>
                <a:cubicBezTo>
                  <a:pt x="25281" y="15406"/>
                  <a:pt x="25594" y="15375"/>
                  <a:pt x="25875" y="15281"/>
                </a:cubicBezTo>
                <a:cubicBezTo>
                  <a:pt x="26125" y="15219"/>
                  <a:pt x="26375" y="15156"/>
                  <a:pt x="26625" y="15094"/>
                </a:cubicBezTo>
                <a:cubicBezTo>
                  <a:pt x="26937" y="15000"/>
                  <a:pt x="27219" y="14906"/>
                  <a:pt x="27531" y="14812"/>
                </a:cubicBezTo>
                <a:cubicBezTo>
                  <a:pt x="28594" y="14562"/>
                  <a:pt x="30406" y="13844"/>
                  <a:pt x="30406" y="13844"/>
                </a:cubicBezTo>
                <a:cubicBezTo>
                  <a:pt x="30719" y="13719"/>
                  <a:pt x="31031" y="13625"/>
                  <a:pt x="31344" y="13500"/>
                </a:cubicBezTo>
                <a:cubicBezTo>
                  <a:pt x="31625" y="13375"/>
                  <a:pt x="31906" y="13281"/>
                  <a:pt x="32187" y="13187"/>
                </a:cubicBezTo>
                <a:cubicBezTo>
                  <a:pt x="32562" y="13031"/>
                  <a:pt x="32969" y="12875"/>
                  <a:pt x="33344" y="12719"/>
                </a:cubicBezTo>
                <a:cubicBezTo>
                  <a:pt x="33687" y="12594"/>
                  <a:pt x="34062" y="12469"/>
                  <a:pt x="34406" y="12312"/>
                </a:cubicBezTo>
                <a:cubicBezTo>
                  <a:pt x="34625" y="12219"/>
                  <a:pt x="34844" y="12156"/>
                  <a:pt x="35062" y="12062"/>
                </a:cubicBezTo>
                <a:cubicBezTo>
                  <a:pt x="35406" y="11906"/>
                  <a:pt x="35750" y="11781"/>
                  <a:pt x="36094" y="11625"/>
                </a:cubicBezTo>
                <a:cubicBezTo>
                  <a:pt x="36406" y="11500"/>
                  <a:pt x="36719" y="11375"/>
                  <a:pt x="37031" y="11250"/>
                </a:cubicBezTo>
                <a:cubicBezTo>
                  <a:pt x="37312" y="11156"/>
                  <a:pt x="37562" y="11031"/>
                  <a:pt x="37844" y="10969"/>
                </a:cubicBezTo>
                <a:cubicBezTo>
                  <a:pt x="37844" y="10906"/>
                  <a:pt x="37844" y="10875"/>
                  <a:pt x="37844" y="10844"/>
                </a:cubicBezTo>
                <a:cubicBezTo>
                  <a:pt x="37844" y="10750"/>
                  <a:pt x="37844" y="10687"/>
                  <a:pt x="37844" y="10594"/>
                </a:cubicBezTo>
                <a:cubicBezTo>
                  <a:pt x="37844" y="10531"/>
                  <a:pt x="37844" y="10500"/>
                  <a:pt x="37844" y="10437"/>
                </a:cubicBezTo>
                <a:cubicBezTo>
                  <a:pt x="37844" y="10375"/>
                  <a:pt x="37844" y="10344"/>
                  <a:pt x="37844" y="10312"/>
                </a:cubicBezTo>
                <a:cubicBezTo>
                  <a:pt x="37844" y="10125"/>
                  <a:pt x="37844" y="9937"/>
                  <a:pt x="37844" y="9781"/>
                </a:cubicBezTo>
                <a:cubicBezTo>
                  <a:pt x="37844" y="9750"/>
                  <a:pt x="37844" y="9750"/>
                  <a:pt x="37844" y="9719"/>
                </a:cubicBezTo>
                <a:cubicBezTo>
                  <a:pt x="37844" y="9656"/>
                  <a:pt x="37844" y="9562"/>
                  <a:pt x="37844" y="9500"/>
                </a:cubicBezTo>
                <a:cubicBezTo>
                  <a:pt x="37844" y="9469"/>
                  <a:pt x="37844" y="9437"/>
                  <a:pt x="37844" y="9437"/>
                </a:cubicBezTo>
                <a:cubicBezTo>
                  <a:pt x="37844" y="9031"/>
                  <a:pt x="37844" y="8656"/>
                  <a:pt x="37844" y="8281"/>
                </a:cubicBezTo>
                <a:cubicBezTo>
                  <a:pt x="37781" y="8281"/>
                  <a:pt x="37750" y="8312"/>
                  <a:pt x="37687" y="8344"/>
                </a:cubicBezTo>
                <a:cubicBezTo>
                  <a:pt x="37469" y="8406"/>
                  <a:pt x="37250" y="8500"/>
                  <a:pt x="37031" y="8594"/>
                </a:cubicBezTo>
                <a:cubicBezTo>
                  <a:pt x="36906" y="8625"/>
                  <a:pt x="36781" y="8656"/>
                  <a:pt x="36656" y="8719"/>
                </a:cubicBezTo>
                <a:cubicBezTo>
                  <a:pt x="36594" y="8750"/>
                  <a:pt x="36562" y="8687"/>
                  <a:pt x="36500" y="8719"/>
                </a:cubicBezTo>
                <a:cubicBezTo>
                  <a:pt x="36344" y="8719"/>
                  <a:pt x="36219" y="8781"/>
                  <a:pt x="36094" y="8844"/>
                </a:cubicBezTo>
                <a:cubicBezTo>
                  <a:pt x="36000" y="8875"/>
                  <a:pt x="35875" y="8937"/>
                  <a:pt x="35750" y="8937"/>
                </a:cubicBezTo>
                <a:cubicBezTo>
                  <a:pt x="35812" y="8875"/>
                  <a:pt x="35906" y="8844"/>
                  <a:pt x="35969" y="8812"/>
                </a:cubicBezTo>
                <a:cubicBezTo>
                  <a:pt x="36312" y="8656"/>
                  <a:pt x="36625" y="8531"/>
                  <a:pt x="36969" y="8406"/>
                </a:cubicBezTo>
                <a:cubicBezTo>
                  <a:pt x="37219" y="8281"/>
                  <a:pt x="37500" y="8187"/>
                  <a:pt x="37750" y="8062"/>
                </a:cubicBezTo>
                <a:cubicBezTo>
                  <a:pt x="37781" y="8062"/>
                  <a:pt x="37812" y="8062"/>
                  <a:pt x="37844" y="8062"/>
                </a:cubicBezTo>
                <a:cubicBezTo>
                  <a:pt x="37844" y="8031"/>
                  <a:pt x="37844" y="8000"/>
                  <a:pt x="37844" y="8000"/>
                </a:cubicBezTo>
                <a:cubicBezTo>
                  <a:pt x="37594" y="8094"/>
                  <a:pt x="37375" y="8156"/>
                  <a:pt x="37125" y="8250"/>
                </a:cubicBezTo>
                <a:cubicBezTo>
                  <a:pt x="37031" y="8312"/>
                  <a:pt x="36906" y="8312"/>
                  <a:pt x="36812" y="8344"/>
                </a:cubicBezTo>
                <a:cubicBezTo>
                  <a:pt x="36625" y="8406"/>
                  <a:pt x="36437" y="8469"/>
                  <a:pt x="36250" y="8531"/>
                </a:cubicBezTo>
                <a:cubicBezTo>
                  <a:pt x="36156" y="8594"/>
                  <a:pt x="36031" y="8594"/>
                  <a:pt x="35937" y="8656"/>
                </a:cubicBezTo>
                <a:cubicBezTo>
                  <a:pt x="35875" y="8687"/>
                  <a:pt x="35937" y="8594"/>
                  <a:pt x="36031" y="8531"/>
                </a:cubicBezTo>
                <a:cubicBezTo>
                  <a:pt x="36156" y="8437"/>
                  <a:pt x="36281" y="8312"/>
                  <a:pt x="36437" y="8250"/>
                </a:cubicBezTo>
                <a:cubicBezTo>
                  <a:pt x="36500" y="8219"/>
                  <a:pt x="36531" y="8156"/>
                  <a:pt x="36531" y="8062"/>
                </a:cubicBezTo>
                <a:cubicBezTo>
                  <a:pt x="36562" y="8000"/>
                  <a:pt x="36562" y="7969"/>
                  <a:pt x="36562" y="7906"/>
                </a:cubicBezTo>
                <a:cubicBezTo>
                  <a:pt x="36594" y="7750"/>
                  <a:pt x="36156" y="8000"/>
                  <a:pt x="36406" y="7687"/>
                </a:cubicBezTo>
                <a:cubicBezTo>
                  <a:pt x="36625" y="7375"/>
                  <a:pt x="36062" y="7594"/>
                  <a:pt x="36281" y="7406"/>
                </a:cubicBezTo>
                <a:cubicBezTo>
                  <a:pt x="36469" y="7250"/>
                  <a:pt x="36812" y="7062"/>
                  <a:pt x="36219" y="7250"/>
                </a:cubicBezTo>
                <a:cubicBezTo>
                  <a:pt x="36219" y="7250"/>
                  <a:pt x="36219" y="7250"/>
                  <a:pt x="36219" y="7250"/>
                </a:cubicBezTo>
                <a:cubicBezTo>
                  <a:pt x="36187" y="7250"/>
                  <a:pt x="36156" y="7281"/>
                  <a:pt x="36094" y="7281"/>
                </a:cubicBezTo>
                <a:cubicBezTo>
                  <a:pt x="36000" y="7312"/>
                  <a:pt x="35875" y="7375"/>
                  <a:pt x="35750" y="7406"/>
                </a:cubicBezTo>
                <a:cubicBezTo>
                  <a:pt x="35531" y="7500"/>
                  <a:pt x="35312" y="7562"/>
                  <a:pt x="35156" y="7625"/>
                </a:cubicBezTo>
                <a:cubicBezTo>
                  <a:pt x="35125" y="7625"/>
                  <a:pt x="35125" y="7625"/>
                  <a:pt x="35125" y="7594"/>
                </a:cubicBezTo>
                <a:cubicBezTo>
                  <a:pt x="35094" y="7562"/>
                  <a:pt x="35125" y="7531"/>
                  <a:pt x="35156" y="7531"/>
                </a:cubicBezTo>
                <a:cubicBezTo>
                  <a:pt x="35219" y="7531"/>
                  <a:pt x="35281" y="7469"/>
                  <a:pt x="35344" y="7437"/>
                </a:cubicBezTo>
                <a:cubicBezTo>
                  <a:pt x="35406" y="7437"/>
                  <a:pt x="35469" y="7375"/>
                  <a:pt x="35500" y="7312"/>
                </a:cubicBezTo>
                <a:cubicBezTo>
                  <a:pt x="35531" y="7250"/>
                  <a:pt x="35656" y="7219"/>
                  <a:pt x="35750" y="7156"/>
                </a:cubicBezTo>
                <a:cubicBezTo>
                  <a:pt x="36125" y="7000"/>
                  <a:pt x="36469" y="6844"/>
                  <a:pt x="36844" y="6719"/>
                </a:cubicBezTo>
                <a:cubicBezTo>
                  <a:pt x="37125" y="6625"/>
                  <a:pt x="37375" y="6469"/>
                  <a:pt x="37656" y="6406"/>
                </a:cubicBezTo>
                <a:cubicBezTo>
                  <a:pt x="37687" y="6406"/>
                  <a:pt x="37750" y="6406"/>
                  <a:pt x="37719" y="6344"/>
                </a:cubicBezTo>
                <a:cubicBezTo>
                  <a:pt x="37687" y="6281"/>
                  <a:pt x="37656" y="6312"/>
                  <a:pt x="37625" y="6312"/>
                </a:cubicBezTo>
                <a:cubicBezTo>
                  <a:pt x="37406" y="6406"/>
                  <a:pt x="37187" y="6469"/>
                  <a:pt x="36969" y="6562"/>
                </a:cubicBezTo>
                <a:cubicBezTo>
                  <a:pt x="36687" y="6687"/>
                  <a:pt x="36406" y="6781"/>
                  <a:pt x="36125" y="6906"/>
                </a:cubicBezTo>
                <a:cubicBezTo>
                  <a:pt x="35719" y="7094"/>
                  <a:pt x="35281" y="7250"/>
                  <a:pt x="34844" y="7437"/>
                </a:cubicBezTo>
                <a:cubicBezTo>
                  <a:pt x="34687" y="7500"/>
                  <a:pt x="34531" y="7531"/>
                  <a:pt x="34375" y="7594"/>
                </a:cubicBezTo>
                <a:cubicBezTo>
                  <a:pt x="34437" y="7531"/>
                  <a:pt x="34500" y="7469"/>
                  <a:pt x="34562" y="7437"/>
                </a:cubicBezTo>
                <a:cubicBezTo>
                  <a:pt x="34656" y="7406"/>
                  <a:pt x="34656" y="7344"/>
                  <a:pt x="34594" y="7281"/>
                </a:cubicBezTo>
                <a:cubicBezTo>
                  <a:pt x="34531" y="7219"/>
                  <a:pt x="34469" y="7156"/>
                  <a:pt x="34375" y="7094"/>
                </a:cubicBezTo>
                <a:cubicBezTo>
                  <a:pt x="34250" y="7031"/>
                  <a:pt x="34219" y="6906"/>
                  <a:pt x="34344" y="6781"/>
                </a:cubicBezTo>
                <a:cubicBezTo>
                  <a:pt x="34375" y="6750"/>
                  <a:pt x="34344" y="6719"/>
                  <a:pt x="34344" y="6687"/>
                </a:cubicBezTo>
                <a:cubicBezTo>
                  <a:pt x="34312" y="6562"/>
                  <a:pt x="34219" y="6562"/>
                  <a:pt x="34125" y="6562"/>
                </a:cubicBezTo>
                <a:cubicBezTo>
                  <a:pt x="34062" y="6594"/>
                  <a:pt x="34031" y="6531"/>
                  <a:pt x="34000" y="6469"/>
                </a:cubicBezTo>
                <a:cubicBezTo>
                  <a:pt x="33969" y="6437"/>
                  <a:pt x="34031" y="6406"/>
                  <a:pt x="34062" y="6375"/>
                </a:cubicBezTo>
                <a:cubicBezTo>
                  <a:pt x="34219" y="6094"/>
                  <a:pt x="34531" y="6094"/>
                  <a:pt x="34781" y="5937"/>
                </a:cubicBezTo>
                <a:cubicBezTo>
                  <a:pt x="34844" y="5937"/>
                  <a:pt x="34875" y="5906"/>
                  <a:pt x="34906" y="5906"/>
                </a:cubicBezTo>
                <a:cubicBezTo>
                  <a:pt x="34937" y="5906"/>
                  <a:pt x="34937" y="5875"/>
                  <a:pt x="34937" y="5875"/>
                </a:cubicBezTo>
                <a:cubicBezTo>
                  <a:pt x="34875" y="5844"/>
                  <a:pt x="34812" y="5875"/>
                  <a:pt x="34750" y="5906"/>
                </a:cubicBezTo>
                <a:cubicBezTo>
                  <a:pt x="34594" y="5969"/>
                  <a:pt x="34437" y="6062"/>
                  <a:pt x="34250" y="6000"/>
                </a:cubicBezTo>
                <a:cubicBezTo>
                  <a:pt x="34187" y="6000"/>
                  <a:pt x="34156" y="6000"/>
                  <a:pt x="34156" y="5937"/>
                </a:cubicBezTo>
                <a:cubicBezTo>
                  <a:pt x="34156" y="5875"/>
                  <a:pt x="34187" y="5875"/>
                  <a:pt x="34219" y="5875"/>
                </a:cubicBezTo>
                <a:cubicBezTo>
                  <a:pt x="34312" y="5812"/>
                  <a:pt x="34406" y="5781"/>
                  <a:pt x="34469" y="5687"/>
                </a:cubicBezTo>
                <a:cubicBezTo>
                  <a:pt x="34437" y="5656"/>
                  <a:pt x="34406" y="5687"/>
                  <a:pt x="34375" y="5656"/>
                </a:cubicBezTo>
                <a:cubicBezTo>
                  <a:pt x="34344" y="5625"/>
                  <a:pt x="34281" y="5656"/>
                  <a:pt x="34250" y="5594"/>
                </a:cubicBezTo>
                <a:cubicBezTo>
                  <a:pt x="34250" y="5562"/>
                  <a:pt x="34312" y="5531"/>
                  <a:pt x="34344" y="5500"/>
                </a:cubicBezTo>
                <a:cubicBezTo>
                  <a:pt x="34500" y="5406"/>
                  <a:pt x="34687" y="5344"/>
                  <a:pt x="34844" y="5250"/>
                </a:cubicBezTo>
                <a:cubicBezTo>
                  <a:pt x="35031" y="5125"/>
                  <a:pt x="35281" y="5094"/>
                  <a:pt x="35469" y="4937"/>
                </a:cubicBezTo>
                <a:cubicBezTo>
                  <a:pt x="35469" y="4937"/>
                  <a:pt x="35500" y="4937"/>
                  <a:pt x="35500" y="4906"/>
                </a:cubicBezTo>
                <a:cubicBezTo>
                  <a:pt x="35469" y="4844"/>
                  <a:pt x="35437" y="4875"/>
                  <a:pt x="35406" y="4875"/>
                </a:cubicBezTo>
                <a:cubicBezTo>
                  <a:pt x="35219" y="4969"/>
                  <a:pt x="35000" y="5062"/>
                  <a:pt x="34781" y="5156"/>
                </a:cubicBezTo>
                <a:cubicBezTo>
                  <a:pt x="34625" y="5219"/>
                  <a:pt x="34469" y="5281"/>
                  <a:pt x="34312" y="5344"/>
                </a:cubicBezTo>
                <a:cubicBezTo>
                  <a:pt x="34250" y="5344"/>
                  <a:pt x="34219" y="5375"/>
                  <a:pt x="34187" y="5312"/>
                </a:cubicBezTo>
                <a:cubicBezTo>
                  <a:pt x="34156" y="5281"/>
                  <a:pt x="34219" y="5219"/>
                  <a:pt x="34250" y="5187"/>
                </a:cubicBezTo>
                <a:cubicBezTo>
                  <a:pt x="34344" y="5125"/>
                  <a:pt x="34437" y="5031"/>
                  <a:pt x="34562" y="5000"/>
                </a:cubicBezTo>
                <a:cubicBezTo>
                  <a:pt x="34687" y="4906"/>
                  <a:pt x="34812" y="4812"/>
                  <a:pt x="34969" y="4719"/>
                </a:cubicBezTo>
                <a:cubicBezTo>
                  <a:pt x="35187" y="4562"/>
                  <a:pt x="35469" y="4500"/>
                  <a:pt x="35719" y="4375"/>
                </a:cubicBezTo>
                <a:cubicBezTo>
                  <a:pt x="35906" y="4250"/>
                  <a:pt x="36125" y="4156"/>
                  <a:pt x="36312" y="4031"/>
                </a:cubicBezTo>
                <a:cubicBezTo>
                  <a:pt x="36469" y="3969"/>
                  <a:pt x="36656" y="3906"/>
                  <a:pt x="36812" y="3844"/>
                </a:cubicBezTo>
                <a:cubicBezTo>
                  <a:pt x="37094" y="3719"/>
                  <a:pt x="37406" y="3594"/>
                  <a:pt x="37687" y="3469"/>
                </a:cubicBezTo>
                <a:cubicBezTo>
                  <a:pt x="37750" y="3469"/>
                  <a:pt x="37781" y="3437"/>
                  <a:pt x="37844" y="3437"/>
                </a:cubicBezTo>
                <a:cubicBezTo>
                  <a:pt x="37844" y="3344"/>
                  <a:pt x="37844" y="3250"/>
                  <a:pt x="37844" y="3156"/>
                </a:cubicBezTo>
                <a:cubicBezTo>
                  <a:pt x="37656" y="3250"/>
                  <a:pt x="37437" y="3312"/>
                  <a:pt x="37250" y="3406"/>
                </a:cubicBezTo>
                <a:cubicBezTo>
                  <a:pt x="36969" y="3562"/>
                  <a:pt x="36656" y="3687"/>
                  <a:pt x="36344" y="3844"/>
                </a:cubicBezTo>
                <a:cubicBezTo>
                  <a:pt x="35969" y="4000"/>
                  <a:pt x="35594" y="4156"/>
                  <a:pt x="35250" y="4344"/>
                </a:cubicBezTo>
                <a:cubicBezTo>
                  <a:pt x="34969" y="4469"/>
                  <a:pt x="34656" y="4594"/>
                  <a:pt x="34375" y="4719"/>
                </a:cubicBezTo>
                <a:cubicBezTo>
                  <a:pt x="34187" y="4812"/>
                  <a:pt x="34031" y="4875"/>
                  <a:pt x="33844" y="4969"/>
                </a:cubicBezTo>
                <a:cubicBezTo>
                  <a:pt x="33812" y="4969"/>
                  <a:pt x="33750" y="5031"/>
                  <a:pt x="33719" y="4969"/>
                </a:cubicBezTo>
                <a:cubicBezTo>
                  <a:pt x="33719" y="4906"/>
                  <a:pt x="33687" y="4844"/>
                  <a:pt x="33719" y="4781"/>
                </a:cubicBezTo>
                <a:cubicBezTo>
                  <a:pt x="33750" y="4750"/>
                  <a:pt x="33750" y="4750"/>
                  <a:pt x="33781" y="4719"/>
                </a:cubicBezTo>
                <a:cubicBezTo>
                  <a:pt x="33844" y="4656"/>
                  <a:pt x="33875" y="4594"/>
                  <a:pt x="33750" y="4562"/>
                </a:cubicBezTo>
                <a:cubicBezTo>
                  <a:pt x="33656" y="4531"/>
                  <a:pt x="33687" y="4500"/>
                  <a:pt x="33750" y="4437"/>
                </a:cubicBezTo>
                <a:cubicBezTo>
                  <a:pt x="33875" y="4344"/>
                  <a:pt x="34000" y="4281"/>
                  <a:pt x="34156" y="4187"/>
                </a:cubicBezTo>
                <a:cubicBezTo>
                  <a:pt x="34156" y="4187"/>
                  <a:pt x="34187" y="4187"/>
                  <a:pt x="34219" y="4187"/>
                </a:cubicBezTo>
                <a:cubicBezTo>
                  <a:pt x="34156" y="4094"/>
                  <a:pt x="34125" y="4187"/>
                  <a:pt x="34062" y="4156"/>
                </a:cubicBezTo>
                <a:cubicBezTo>
                  <a:pt x="34469" y="3906"/>
                  <a:pt x="34937" y="3750"/>
                  <a:pt x="35375" y="3500"/>
                </a:cubicBezTo>
                <a:cubicBezTo>
                  <a:pt x="35250" y="3469"/>
                  <a:pt x="35156" y="3500"/>
                  <a:pt x="35094" y="3531"/>
                </a:cubicBezTo>
                <a:cubicBezTo>
                  <a:pt x="34906" y="3656"/>
                  <a:pt x="34687" y="3719"/>
                  <a:pt x="34469" y="3812"/>
                </a:cubicBezTo>
                <a:cubicBezTo>
                  <a:pt x="34406" y="3844"/>
                  <a:pt x="34281" y="3875"/>
                  <a:pt x="34187" y="3844"/>
                </a:cubicBezTo>
                <a:cubicBezTo>
                  <a:pt x="34094" y="3812"/>
                  <a:pt x="34000" y="3812"/>
                  <a:pt x="33906" y="3844"/>
                </a:cubicBezTo>
                <a:cubicBezTo>
                  <a:pt x="33750" y="3906"/>
                  <a:pt x="33562" y="3937"/>
                  <a:pt x="33406" y="4031"/>
                </a:cubicBezTo>
                <a:cubicBezTo>
                  <a:pt x="33344" y="4062"/>
                  <a:pt x="33312" y="4031"/>
                  <a:pt x="33312" y="3969"/>
                </a:cubicBezTo>
                <a:cubicBezTo>
                  <a:pt x="33312" y="3969"/>
                  <a:pt x="33312" y="3969"/>
                  <a:pt x="33312" y="3969"/>
                </a:cubicBezTo>
                <a:cubicBezTo>
                  <a:pt x="33344" y="3969"/>
                  <a:pt x="33375" y="3969"/>
                  <a:pt x="33375" y="3906"/>
                </a:cubicBezTo>
                <a:cubicBezTo>
                  <a:pt x="33656" y="3781"/>
                  <a:pt x="33937" y="3656"/>
                  <a:pt x="34219" y="3531"/>
                </a:cubicBezTo>
                <a:cubicBezTo>
                  <a:pt x="34375" y="3500"/>
                  <a:pt x="34500" y="3406"/>
                  <a:pt x="34625" y="3344"/>
                </a:cubicBezTo>
                <a:cubicBezTo>
                  <a:pt x="35312" y="3000"/>
                  <a:pt x="35969" y="2687"/>
                  <a:pt x="36656" y="2375"/>
                </a:cubicBezTo>
                <a:cubicBezTo>
                  <a:pt x="37000" y="2219"/>
                  <a:pt x="37375" y="2062"/>
                  <a:pt x="37719" y="1875"/>
                </a:cubicBezTo>
                <a:cubicBezTo>
                  <a:pt x="37750" y="1875"/>
                  <a:pt x="37812" y="1875"/>
                  <a:pt x="37844" y="1844"/>
                </a:cubicBezTo>
                <a:cubicBezTo>
                  <a:pt x="37844" y="1750"/>
                  <a:pt x="37844" y="1656"/>
                  <a:pt x="37844" y="1562"/>
                </a:cubicBezTo>
                <a:cubicBezTo>
                  <a:pt x="37656" y="1562"/>
                  <a:pt x="37500" y="1687"/>
                  <a:pt x="37344" y="1750"/>
                </a:cubicBezTo>
                <a:cubicBezTo>
                  <a:pt x="37062" y="1844"/>
                  <a:pt x="36812" y="2000"/>
                  <a:pt x="36531" y="2125"/>
                </a:cubicBezTo>
                <a:cubicBezTo>
                  <a:pt x="36406" y="2156"/>
                  <a:pt x="36281" y="2250"/>
                  <a:pt x="36156" y="2281"/>
                </a:cubicBezTo>
                <a:cubicBezTo>
                  <a:pt x="36031" y="2344"/>
                  <a:pt x="35875" y="2406"/>
                  <a:pt x="35750" y="2437"/>
                </a:cubicBezTo>
                <a:cubicBezTo>
                  <a:pt x="35500" y="2531"/>
                  <a:pt x="35281" y="2656"/>
                  <a:pt x="35031" y="2750"/>
                </a:cubicBezTo>
                <a:cubicBezTo>
                  <a:pt x="35000" y="2750"/>
                  <a:pt x="34969" y="2781"/>
                  <a:pt x="34906" y="2781"/>
                </a:cubicBezTo>
                <a:cubicBezTo>
                  <a:pt x="34937" y="2687"/>
                  <a:pt x="35031" y="2656"/>
                  <a:pt x="35125" y="2625"/>
                </a:cubicBezTo>
                <a:lnTo>
                  <a:pt x="35125" y="2625"/>
                </a:lnTo>
                <a:cubicBezTo>
                  <a:pt x="35500" y="2437"/>
                  <a:pt x="35906" y="2281"/>
                  <a:pt x="36312" y="2062"/>
                </a:cubicBezTo>
                <a:cubicBezTo>
                  <a:pt x="36625" y="1906"/>
                  <a:pt x="36969" y="1812"/>
                  <a:pt x="37250" y="1625"/>
                </a:cubicBezTo>
                <a:cubicBezTo>
                  <a:pt x="37437" y="1531"/>
                  <a:pt x="37656" y="1469"/>
                  <a:pt x="37844" y="1344"/>
                </a:cubicBezTo>
                <a:cubicBezTo>
                  <a:pt x="37844" y="1250"/>
                  <a:pt x="37844" y="1156"/>
                  <a:pt x="37844" y="1062"/>
                </a:cubicBezTo>
                <a:cubicBezTo>
                  <a:pt x="37781" y="1094"/>
                  <a:pt x="37719" y="1094"/>
                  <a:pt x="37625" y="1125"/>
                </a:cubicBezTo>
                <a:cubicBezTo>
                  <a:pt x="37156" y="1344"/>
                  <a:pt x="36656" y="1594"/>
                  <a:pt x="36187" y="1812"/>
                </a:cubicBezTo>
                <a:cubicBezTo>
                  <a:pt x="35812" y="1969"/>
                  <a:pt x="35469" y="2125"/>
                  <a:pt x="35125" y="2281"/>
                </a:cubicBezTo>
                <a:cubicBezTo>
                  <a:pt x="34750" y="2437"/>
                  <a:pt x="34375" y="2625"/>
                  <a:pt x="34031" y="2781"/>
                </a:cubicBezTo>
                <a:cubicBezTo>
                  <a:pt x="33625" y="2969"/>
                  <a:pt x="33219" y="3156"/>
                  <a:pt x="32812" y="3344"/>
                </a:cubicBezTo>
                <a:cubicBezTo>
                  <a:pt x="32437" y="3500"/>
                  <a:pt x="32031" y="3687"/>
                  <a:pt x="31656" y="3844"/>
                </a:cubicBezTo>
                <a:cubicBezTo>
                  <a:pt x="31625" y="3875"/>
                  <a:pt x="31594" y="3875"/>
                  <a:pt x="31562" y="3906"/>
                </a:cubicBezTo>
                <a:cubicBezTo>
                  <a:pt x="31156" y="4094"/>
                  <a:pt x="30719" y="4281"/>
                  <a:pt x="30312" y="4469"/>
                </a:cubicBezTo>
                <a:cubicBezTo>
                  <a:pt x="29937" y="4625"/>
                  <a:pt x="29594" y="4812"/>
                  <a:pt x="29219" y="4969"/>
                </a:cubicBezTo>
                <a:cubicBezTo>
                  <a:pt x="28844" y="5125"/>
                  <a:pt x="28500" y="5281"/>
                  <a:pt x="28156" y="5437"/>
                </a:cubicBezTo>
                <a:cubicBezTo>
                  <a:pt x="27781" y="5625"/>
                  <a:pt x="27406" y="5781"/>
                  <a:pt x="27031" y="5937"/>
                </a:cubicBezTo>
                <a:cubicBezTo>
                  <a:pt x="26656" y="6094"/>
                  <a:pt x="26250" y="6250"/>
                  <a:pt x="25875" y="6437"/>
                </a:cubicBezTo>
                <a:cubicBezTo>
                  <a:pt x="25500" y="6594"/>
                  <a:pt x="25094" y="6750"/>
                  <a:pt x="24687" y="6906"/>
                </a:cubicBezTo>
                <a:cubicBezTo>
                  <a:pt x="24344" y="7062"/>
                  <a:pt x="23969" y="7187"/>
                  <a:pt x="23625" y="7312"/>
                </a:cubicBezTo>
                <a:cubicBezTo>
                  <a:pt x="23156" y="7500"/>
                  <a:pt x="22687" y="7656"/>
                  <a:pt x="22187" y="7812"/>
                </a:cubicBezTo>
                <a:cubicBezTo>
                  <a:pt x="21781" y="7969"/>
                  <a:pt x="21344" y="8094"/>
                  <a:pt x="20906" y="8187"/>
                </a:cubicBezTo>
                <a:cubicBezTo>
                  <a:pt x="20844" y="8219"/>
                  <a:pt x="20812" y="8281"/>
                  <a:pt x="20812" y="8344"/>
                </a:cubicBezTo>
                <a:cubicBezTo>
                  <a:pt x="20750" y="8406"/>
                  <a:pt x="20781" y="8437"/>
                  <a:pt x="20781" y="8500"/>
                </a:cubicBezTo>
                <a:cubicBezTo>
                  <a:pt x="20781" y="8531"/>
                  <a:pt x="20781" y="8531"/>
                  <a:pt x="20781" y="8562"/>
                </a:cubicBezTo>
                <a:cubicBezTo>
                  <a:pt x="20781" y="8594"/>
                  <a:pt x="20781" y="8625"/>
                  <a:pt x="20781" y="8656"/>
                </a:cubicBezTo>
                <a:cubicBezTo>
                  <a:pt x="20750" y="8562"/>
                  <a:pt x="20750" y="8500"/>
                  <a:pt x="20750" y="8406"/>
                </a:cubicBezTo>
                <a:cubicBezTo>
                  <a:pt x="20750" y="8156"/>
                  <a:pt x="20750" y="7906"/>
                  <a:pt x="20719" y="7656"/>
                </a:cubicBezTo>
                <a:cubicBezTo>
                  <a:pt x="20687" y="7437"/>
                  <a:pt x="20719" y="7219"/>
                  <a:pt x="20719" y="7000"/>
                </a:cubicBezTo>
                <a:cubicBezTo>
                  <a:pt x="20750" y="7000"/>
                  <a:pt x="20719" y="7062"/>
                  <a:pt x="20781" y="7062"/>
                </a:cubicBezTo>
                <a:cubicBezTo>
                  <a:pt x="20687" y="6625"/>
                  <a:pt x="20500" y="6250"/>
                  <a:pt x="20156" y="5937"/>
                </a:cubicBezTo>
                <a:cubicBezTo>
                  <a:pt x="20031" y="5781"/>
                  <a:pt x="19875" y="5656"/>
                  <a:pt x="19687" y="5594"/>
                </a:cubicBezTo>
                <a:cubicBezTo>
                  <a:pt x="19687" y="5594"/>
                  <a:pt x="19687" y="5594"/>
                  <a:pt x="19687" y="5594"/>
                </a:cubicBezTo>
                <a:cubicBezTo>
                  <a:pt x="19656" y="5562"/>
                  <a:pt x="19625" y="5531"/>
                  <a:pt x="19562" y="5500"/>
                </a:cubicBezTo>
                <a:cubicBezTo>
                  <a:pt x="19156" y="5281"/>
                  <a:pt x="18750" y="5125"/>
                  <a:pt x="18281" y="5031"/>
                </a:cubicBezTo>
                <a:cubicBezTo>
                  <a:pt x="18187" y="5031"/>
                  <a:pt x="18156" y="5000"/>
                  <a:pt x="18187" y="4906"/>
                </a:cubicBezTo>
                <a:cubicBezTo>
                  <a:pt x="18250" y="4625"/>
                  <a:pt x="18219" y="4344"/>
                  <a:pt x="18187" y="4062"/>
                </a:cubicBezTo>
                <a:cubicBezTo>
                  <a:pt x="18125" y="3562"/>
                  <a:pt x="17937" y="3156"/>
                  <a:pt x="17625" y="2781"/>
                </a:cubicBezTo>
                <a:cubicBezTo>
                  <a:pt x="17656" y="2687"/>
                  <a:pt x="17625" y="2594"/>
                  <a:pt x="17562" y="2500"/>
                </a:cubicBezTo>
                <a:cubicBezTo>
                  <a:pt x="17531" y="2469"/>
                  <a:pt x="17437" y="2406"/>
                  <a:pt x="17500" y="2312"/>
                </a:cubicBezTo>
                <a:cubicBezTo>
                  <a:pt x="17562" y="2250"/>
                  <a:pt x="17594" y="2375"/>
                  <a:pt x="17656" y="2375"/>
                </a:cubicBezTo>
                <a:cubicBezTo>
                  <a:pt x="17656" y="2375"/>
                  <a:pt x="17656" y="2375"/>
                  <a:pt x="17656" y="2375"/>
                </a:cubicBezTo>
                <a:cubicBezTo>
                  <a:pt x="17656" y="2406"/>
                  <a:pt x="17687" y="2406"/>
                  <a:pt x="17687" y="2406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87" y="2375"/>
                  <a:pt x="17656" y="2375"/>
                  <a:pt x="17656" y="2375"/>
                </a:cubicBezTo>
                <a:cubicBezTo>
                  <a:pt x="17687" y="2375"/>
                  <a:pt x="17687" y="2375"/>
                  <a:pt x="17687" y="2375"/>
                </a:cubicBezTo>
                <a:cubicBezTo>
                  <a:pt x="17656" y="2250"/>
                  <a:pt x="17562" y="2219"/>
                  <a:pt x="17469" y="2125"/>
                </a:cubicBezTo>
                <a:cubicBezTo>
                  <a:pt x="17219" y="1875"/>
                  <a:pt x="16937" y="1656"/>
                  <a:pt x="16625" y="1469"/>
                </a:cubicBezTo>
                <a:cubicBezTo>
                  <a:pt x="16469" y="1375"/>
                  <a:pt x="16312" y="1281"/>
                  <a:pt x="16156" y="1187"/>
                </a:cubicBezTo>
                <a:cubicBezTo>
                  <a:pt x="16219" y="1156"/>
                  <a:pt x="16281" y="1187"/>
                  <a:pt x="16312" y="1219"/>
                </a:cubicBezTo>
                <a:cubicBezTo>
                  <a:pt x="16406" y="1250"/>
                  <a:pt x="16469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281"/>
                  <a:pt x="16562" y="1281"/>
                  <a:pt x="16562" y="1281"/>
                </a:cubicBezTo>
                <a:cubicBezTo>
                  <a:pt x="16562" y="1344"/>
                  <a:pt x="16594" y="1312"/>
                  <a:pt x="16625" y="1312"/>
                </a:cubicBezTo>
                <a:cubicBezTo>
                  <a:pt x="16656" y="1344"/>
                  <a:pt x="16656" y="1344"/>
                  <a:pt x="16656" y="1344"/>
                </a:cubicBezTo>
                <a:close/>
                <a:moveTo>
                  <a:pt x="750" y="375"/>
                </a:moveTo>
                <a:cubicBezTo>
                  <a:pt x="750" y="375"/>
                  <a:pt x="750" y="344"/>
                  <a:pt x="750" y="344"/>
                </a:cubicBezTo>
                <a:cubicBezTo>
                  <a:pt x="625" y="344"/>
                  <a:pt x="469" y="344"/>
                  <a:pt x="312" y="344"/>
                </a:cubicBezTo>
                <a:cubicBezTo>
                  <a:pt x="312" y="344"/>
                  <a:pt x="312" y="375"/>
                  <a:pt x="312" y="375"/>
                </a:cubicBezTo>
                <a:cubicBezTo>
                  <a:pt x="469" y="375"/>
                  <a:pt x="625" y="375"/>
                  <a:pt x="750" y="375"/>
                </a:cubicBezTo>
                <a:close/>
                <a:moveTo>
                  <a:pt x="1969" y="281"/>
                </a:moveTo>
                <a:cubicBezTo>
                  <a:pt x="1969" y="281"/>
                  <a:pt x="1969" y="281"/>
                  <a:pt x="1969" y="281"/>
                </a:cubicBezTo>
                <a:cubicBezTo>
                  <a:pt x="1812" y="281"/>
                  <a:pt x="1625" y="281"/>
                  <a:pt x="1469" y="281"/>
                </a:cubicBezTo>
                <a:cubicBezTo>
                  <a:pt x="1469" y="281"/>
                  <a:pt x="1469" y="281"/>
                  <a:pt x="1469" y="281"/>
                </a:cubicBezTo>
                <a:cubicBezTo>
                  <a:pt x="1625" y="281"/>
                  <a:pt x="1812" y="281"/>
                  <a:pt x="1969" y="281"/>
                </a:cubicBezTo>
                <a:close/>
                <a:moveTo>
                  <a:pt x="1375" y="312"/>
                </a:moveTo>
                <a:cubicBezTo>
                  <a:pt x="1187" y="312"/>
                  <a:pt x="1031" y="312"/>
                  <a:pt x="844" y="312"/>
                </a:cubicBezTo>
                <a:cubicBezTo>
                  <a:pt x="969" y="375"/>
                  <a:pt x="1281" y="344"/>
                  <a:pt x="1375" y="312"/>
                </a:cubicBezTo>
                <a:close/>
                <a:moveTo>
                  <a:pt x="2344" y="250"/>
                </a:moveTo>
                <a:cubicBezTo>
                  <a:pt x="2656" y="219"/>
                  <a:pt x="3000" y="219"/>
                  <a:pt x="3312" y="187"/>
                </a:cubicBezTo>
                <a:cubicBezTo>
                  <a:pt x="3625" y="156"/>
                  <a:pt x="3937" y="125"/>
                  <a:pt x="4219" y="125"/>
                </a:cubicBezTo>
                <a:cubicBezTo>
                  <a:pt x="4250" y="125"/>
                  <a:pt x="4281" y="125"/>
                  <a:pt x="4281" y="125"/>
                </a:cubicBezTo>
                <a:cubicBezTo>
                  <a:pt x="4531" y="94"/>
                  <a:pt x="4750" y="62"/>
                  <a:pt x="4969" y="62"/>
                </a:cubicBezTo>
                <a:cubicBezTo>
                  <a:pt x="5312" y="62"/>
                  <a:pt x="5656" y="31"/>
                  <a:pt x="5969" y="0"/>
                </a:cubicBezTo>
                <a:cubicBezTo>
                  <a:pt x="4687" y="62"/>
                  <a:pt x="3406" y="156"/>
                  <a:pt x="2094" y="219"/>
                </a:cubicBezTo>
                <a:cubicBezTo>
                  <a:pt x="2187" y="250"/>
                  <a:pt x="2250" y="281"/>
                  <a:pt x="2344" y="250"/>
                </a:cubicBezTo>
                <a:close/>
                <a:moveTo>
                  <a:pt x="19187" y="10656"/>
                </a:moveTo>
                <a:cubicBezTo>
                  <a:pt x="19156" y="10687"/>
                  <a:pt x="19125" y="10750"/>
                  <a:pt x="19125" y="10812"/>
                </a:cubicBezTo>
                <a:cubicBezTo>
                  <a:pt x="19031" y="10937"/>
                  <a:pt x="19000" y="11094"/>
                  <a:pt x="18937" y="11250"/>
                </a:cubicBezTo>
                <a:cubicBezTo>
                  <a:pt x="18781" y="11562"/>
                  <a:pt x="18625" y="11906"/>
                  <a:pt x="18469" y="12250"/>
                </a:cubicBezTo>
                <a:cubicBezTo>
                  <a:pt x="18437" y="12344"/>
                  <a:pt x="18344" y="12437"/>
                  <a:pt x="18375" y="12562"/>
                </a:cubicBezTo>
                <a:cubicBezTo>
                  <a:pt x="18437" y="12437"/>
                  <a:pt x="18531" y="12312"/>
                  <a:pt x="18594" y="12156"/>
                </a:cubicBezTo>
                <a:cubicBezTo>
                  <a:pt x="18750" y="11781"/>
                  <a:pt x="18906" y="11437"/>
                  <a:pt x="19094" y="11062"/>
                </a:cubicBezTo>
                <a:cubicBezTo>
                  <a:pt x="19125" y="11000"/>
                  <a:pt x="19156" y="10906"/>
                  <a:pt x="19125" y="10844"/>
                </a:cubicBezTo>
                <a:cubicBezTo>
                  <a:pt x="19125" y="10844"/>
                  <a:pt x="19125" y="10844"/>
                  <a:pt x="19125" y="10844"/>
                </a:cubicBezTo>
                <a:cubicBezTo>
                  <a:pt x="19187" y="10781"/>
                  <a:pt x="19219" y="10719"/>
                  <a:pt x="19187" y="10656"/>
                </a:cubicBezTo>
                <a:close/>
                <a:moveTo>
                  <a:pt x="18156" y="8969"/>
                </a:moveTo>
                <a:cubicBezTo>
                  <a:pt x="18156" y="8969"/>
                  <a:pt x="18156" y="8969"/>
                  <a:pt x="18156" y="8969"/>
                </a:cubicBezTo>
                <a:cubicBezTo>
                  <a:pt x="18187" y="8906"/>
                  <a:pt x="18219" y="8844"/>
                  <a:pt x="18219" y="8750"/>
                </a:cubicBezTo>
                <a:cubicBezTo>
                  <a:pt x="18156" y="8812"/>
                  <a:pt x="18156" y="8906"/>
                  <a:pt x="18156" y="8969"/>
                </a:cubicBezTo>
                <a:cubicBezTo>
                  <a:pt x="18125" y="8969"/>
                  <a:pt x="18094" y="9031"/>
                  <a:pt x="18094" y="9031"/>
                </a:cubicBezTo>
                <a:cubicBezTo>
                  <a:pt x="17875" y="9531"/>
                  <a:pt x="17656" y="10000"/>
                  <a:pt x="17437" y="10437"/>
                </a:cubicBezTo>
                <a:cubicBezTo>
                  <a:pt x="17312" y="10687"/>
                  <a:pt x="17187" y="10906"/>
                  <a:pt x="17094" y="11156"/>
                </a:cubicBezTo>
                <a:cubicBezTo>
                  <a:pt x="17000" y="11281"/>
                  <a:pt x="16937" y="11406"/>
                  <a:pt x="16937" y="11531"/>
                </a:cubicBezTo>
                <a:cubicBezTo>
                  <a:pt x="16937" y="11531"/>
                  <a:pt x="16937" y="11531"/>
                  <a:pt x="16937" y="11531"/>
                </a:cubicBezTo>
                <a:cubicBezTo>
                  <a:pt x="16844" y="11656"/>
                  <a:pt x="16812" y="11781"/>
                  <a:pt x="16812" y="11937"/>
                </a:cubicBezTo>
                <a:cubicBezTo>
                  <a:pt x="16812" y="11844"/>
                  <a:pt x="16875" y="11812"/>
                  <a:pt x="16875" y="11750"/>
                </a:cubicBezTo>
                <a:cubicBezTo>
                  <a:pt x="16906" y="11656"/>
                  <a:pt x="16937" y="11625"/>
                  <a:pt x="16937" y="11531"/>
                </a:cubicBezTo>
                <a:cubicBezTo>
                  <a:pt x="17031" y="11437"/>
                  <a:pt x="17062" y="11312"/>
                  <a:pt x="17125" y="11187"/>
                </a:cubicBezTo>
                <a:cubicBezTo>
                  <a:pt x="17125" y="11156"/>
                  <a:pt x="17156" y="11125"/>
                  <a:pt x="17156" y="11125"/>
                </a:cubicBezTo>
                <a:cubicBezTo>
                  <a:pt x="17437" y="10562"/>
                  <a:pt x="17719" y="10000"/>
                  <a:pt x="17969" y="9437"/>
                </a:cubicBezTo>
                <a:cubicBezTo>
                  <a:pt x="18031" y="9281"/>
                  <a:pt x="18125" y="9125"/>
                  <a:pt x="18156" y="8969"/>
                </a:cubicBezTo>
                <a:close/>
                <a:moveTo>
                  <a:pt x="18937" y="10969"/>
                </a:moveTo>
                <a:cubicBezTo>
                  <a:pt x="19031" y="10750"/>
                  <a:pt x="19125" y="10500"/>
                  <a:pt x="19187" y="10250"/>
                </a:cubicBezTo>
                <a:cubicBezTo>
                  <a:pt x="19219" y="10219"/>
                  <a:pt x="19219" y="10187"/>
                  <a:pt x="19187" y="10187"/>
                </a:cubicBezTo>
                <a:cubicBezTo>
                  <a:pt x="19094" y="10344"/>
                  <a:pt x="19062" y="10500"/>
                  <a:pt x="19000" y="10656"/>
                </a:cubicBezTo>
                <a:cubicBezTo>
                  <a:pt x="18750" y="11250"/>
                  <a:pt x="18469" y="11812"/>
                  <a:pt x="18187" y="12437"/>
                </a:cubicBezTo>
                <a:cubicBezTo>
                  <a:pt x="18125" y="12594"/>
                  <a:pt x="18031" y="12750"/>
                  <a:pt x="18000" y="12937"/>
                </a:cubicBezTo>
                <a:cubicBezTo>
                  <a:pt x="18000" y="12937"/>
                  <a:pt x="18000" y="12937"/>
                  <a:pt x="18000" y="12937"/>
                </a:cubicBezTo>
                <a:cubicBezTo>
                  <a:pt x="17937" y="13000"/>
                  <a:pt x="17906" y="13062"/>
                  <a:pt x="17937" y="13156"/>
                </a:cubicBezTo>
                <a:cubicBezTo>
                  <a:pt x="17969" y="13062"/>
                  <a:pt x="18000" y="13000"/>
                  <a:pt x="18000" y="12937"/>
                </a:cubicBezTo>
                <a:cubicBezTo>
                  <a:pt x="18156" y="12656"/>
                  <a:pt x="18312" y="12375"/>
                  <a:pt x="18437" y="12062"/>
                </a:cubicBezTo>
                <a:cubicBezTo>
                  <a:pt x="18625" y="11719"/>
                  <a:pt x="18781" y="11344"/>
                  <a:pt x="18937" y="10969"/>
                </a:cubicBezTo>
                <a:close/>
                <a:moveTo>
                  <a:pt x="19969" y="9531"/>
                </a:moveTo>
                <a:cubicBezTo>
                  <a:pt x="20031" y="9156"/>
                  <a:pt x="20062" y="8812"/>
                  <a:pt x="19969" y="8500"/>
                </a:cubicBezTo>
                <a:cubicBezTo>
                  <a:pt x="19906" y="8750"/>
                  <a:pt x="19937" y="9031"/>
                  <a:pt x="19906" y="9344"/>
                </a:cubicBezTo>
                <a:cubicBezTo>
                  <a:pt x="19844" y="9687"/>
                  <a:pt x="19719" y="10031"/>
                  <a:pt x="19625" y="10406"/>
                </a:cubicBezTo>
                <a:cubicBezTo>
                  <a:pt x="19562" y="10687"/>
                  <a:pt x="19406" y="11000"/>
                  <a:pt x="19281" y="11312"/>
                </a:cubicBezTo>
                <a:cubicBezTo>
                  <a:pt x="19031" y="11937"/>
                  <a:pt x="18719" y="12531"/>
                  <a:pt x="18500" y="13187"/>
                </a:cubicBezTo>
                <a:cubicBezTo>
                  <a:pt x="18437" y="13375"/>
                  <a:pt x="18281" y="13562"/>
                  <a:pt x="18406" y="13781"/>
                </a:cubicBezTo>
                <a:cubicBezTo>
                  <a:pt x="18469" y="13562"/>
                  <a:pt x="18562" y="13375"/>
                  <a:pt x="18625" y="13156"/>
                </a:cubicBezTo>
                <a:cubicBezTo>
                  <a:pt x="18906" y="12500"/>
                  <a:pt x="19187" y="11875"/>
                  <a:pt x="19437" y="11250"/>
                </a:cubicBezTo>
                <a:cubicBezTo>
                  <a:pt x="19687" y="10687"/>
                  <a:pt x="19875" y="10125"/>
                  <a:pt x="19969" y="9531"/>
                </a:cubicBezTo>
                <a:close/>
                <a:moveTo>
                  <a:pt x="18844" y="13344"/>
                </a:moveTo>
                <a:cubicBezTo>
                  <a:pt x="18812" y="13406"/>
                  <a:pt x="18812" y="13531"/>
                  <a:pt x="18750" y="13594"/>
                </a:cubicBezTo>
                <a:cubicBezTo>
                  <a:pt x="18750" y="13625"/>
                  <a:pt x="18750" y="13656"/>
                  <a:pt x="18781" y="13687"/>
                </a:cubicBezTo>
                <a:cubicBezTo>
                  <a:pt x="18844" y="13687"/>
                  <a:pt x="18812" y="13656"/>
                  <a:pt x="18812" y="13625"/>
                </a:cubicBezTo>
                <a:cubicBezTo>
                  <a:pt x="18906" y="13437"/>
                  <a:pt x="18969" y="13281"/>
                  <a:pt x="19031" y="13094"/>
                </a:cubicBezTo>
                <a:cubicBezTo>
                  <a:pt x="19125" y="12812"/>
                  <a:pt x="19250" y="12531"/>
                  <a:pt x="19375" y="12250"/>
                </a:cubicBezTo>
                <a:cubicBezTo>
                  <a:pt x="19437" y="12094"/>
                  <a:pt x="19500" y="11937"/>
                  <a:pt x="19562" y="11750"/>
                </a:cubicBezTo>
                <a:cubicBezTo>
                  <a:pt x="19656" y="11531"/>
                  <a:pt x="19719" y="11312"/>
                  <a:pt x="19812" y="11125"/>
                </a:cubicBezTo>
                <a:cubicBezTo>
                  <a:pt x="19906" y="10875"/>
                  <a:pt x="19969" y="10625"/>
                  <a:pt x="20062" y="10406"/>
                </a:cubicBezTo>
                <a:cubicBezTo>
                  <a:pt x="20187" y="10062"/>
                  <a:pt x="20281" y="9687"/>
                  <a:pt x="20344" y="9312"/>
                </a:cubicBezTo>
                <a:cubicBezTo>
                  <a:pt x="20375" y="8969"/>
                  <a:pt x="20375" y="8594"/>
                  <a:pt x="20312" y="8219"/>
                </a:cubicBezTo>
                <a:cubicBezTo>
                  <a:pt x="20156" y="7625"/>
                  <a:pt x="19781" y="7219"/>
                  <a:pt x="19219" y="6937"/>
                </a:cubicBezTo>
                <a:cubicBezTo>
                  <a:pt x="19250" y="7000"/>
                  <a:pt x="19250" y="7062"/>
                  <a:pt x="19312" y="7062"/>
                </a:cubicBezTo>
                <a:cubicBezTo>
                  <a:pt x="19562" y="7219"/>
                  <a:pt x="19781" y="7437"/>
                  <a:pt x="19937" y="7656"/>
                </a:cubicBezTo>
                <a:cubicBezTo>
                  <a:pt x="20187" y="8031"/>
                  <a:pt x="20281" y="8437"/>
                  <a:pt x="20250" y="8875"/>
                </a:cubicBezTo>
                <a:cubicBezTo>
                  <a:pt x="20219" y="9031"/>
                  <a:pt x="20156" y="9187"/>
                  <a:pt x="20094" y="9344"/>
                </a:cubicBezTo>
                <a:cubicBezTo>
                  <a:pt x="20031" y="9656"/>
                  <a:pt x="19969" y="9937"/>
                  <a:pt x="19906" y="10219"/>
                </a:cubicBezTo>
                <a:cubicBezTo>
                  <a:pt x="19750" y="10750"/>
                  <a:pt x="19531" y="11250"/>
                  <a:pt x="19312" y="11781"/>
                </a:cubicBezTo>
                <a:cubicBezTo>
                  <a:pt x="19219" y="12000"/>
                  <a:pt x="19125" y="12187"/>
                  <a:pt x="19062" y="12406"/>
                </a:cubicBezTo>
                <a:cubicBezTo>
                  <a:pt x="19031" y="12437"/>
                  <a:pt x="19000" y="12500"/>
                  <a:pt x="19062" y="12500"/>
                </a:cubicBezTo>
                <a:cubicBezTo>
                  <a:pt x="19187" y="12500"/>
                  <a:pt x="19125" y="12594"/>
                  <a:pt x="19125" y="12625"/>
                </a:cubicBezTo>
                <a:cubicBezTo>
                  <a:pt x="19031" y="12875"/>
                  <a:pt x="18937" y="13094"/>
                  <a:pt x="18844" y="13344"/>
                </a:cubicBezTo>
                <a:close/>
                <a:moveTo>
                  <a:pt x="37437" y="6812"/>
                </a:moveTo>
                <a:cubicBezTo>
                  <a:pt x="37469" y="6844"/>
                  <a:pt x="37500" y="6844"/>
                  <a:pt x="37531" y="6812"/>
                </a:cubicBezTo>
                <a:cubicBezTo>
                  <a:pt x="37625" y="6781"/>
                  <a:pt x="37750" y="6719"/>
                  <a:pt x="37844" y="6687"/>
                </a:cubicBezTo>
                <a:cubicBezTo>
                  <a:pt x="37844" y="6656"/>
                  <a:pt x="37844" y="6625"/>
                  <a:pt x="37844" y="6594"/>
                </a:cubicBezTo>
                <a:cubicBezTo>
                  <a:pt x="37719" y="6625"/>
                  <a:pt x="37594" y="6687"/>
                  <a:pt x="37500" y="6750"/>
                </a:cubicBezTo>
                <a:cubicBezTo>
                  <a:pt x="37469" y="6750"/>
                  <a:pt x="37406" y="6750"/>
                  <a:pt x="37437" y="6812"/>
                </a:cubicBezTo>
                <a:close/>
                <a:moveTo>
                  <a:pt x="37000" y="7687"/>
                </a:moveTo>
                <a:cubicBezTo>
                  <a:pt x="37125" y="7562"/>
                  <a:pt x="37312" y="7531"/>
                  <a:pt x="37469" y="7469"/>
                </a:cubicBezTo>
                <a:cubicBezTo>
                  <a:pt x="37594" y="7406"/>
                  <a:pt x="37719" y="7344"/>
                  <a:pt x="37844" y="7312"/>
                </a:cubicBezTo>
                <a:cubicBezTo>
                  <a:pt x="37844" y="7281"/>
                  <a:pt x="37844" y="7250"/>
                  <a:pt x="37844" y="7250"/>
                </a:cubicBezTo>
                <a:cubicBezTo>
                  <a:pt x="37531" y="7344"/>
                  <a:pt x="37219" y="7500"/>
                  <a:pt x="36875" y="7625"/>
                </a:cubicBezTo>
                <a:cubicBezTo>
                  <a:pt x="36937" y="7625"/>
                  <a:pt x="36937" y="7719"/>
                  <a:pt x="37000" y="7687"/>
                </a:cubicBezTo>
                <a:close/>
                <a:moveTo>
                  <a:pt x="844" y="3531"/>
                </a:moveTo>
                <a:cubicBezTo>
                  <a:pt x="1125" y="3531"/>
                  <a:pt x="1406" y="3437"/>
                  <a:pt x="1719" y="3469"/>
                </a:cubicBezTo>
                <a:cubicBezTo>
                  <a:pt x="1750" y="3469"/>
                  <a:pt x="1781" y="3469"/>
                  <a:pt x="1781" y="3437"/>
                </a:cubicBezTo>
                <a:cubicBezTo>
                  <a:pt x="1906" y="3375"/>
                  <a:pt x="2062" y="3375"/>
                  <a:pt x="2187" y="3375"/>
                </a:cubicBezTo>
                <a:cubicBezTo>
                  <a:pt x="2281" y="3375"/>
                  <a:pt x="2344" y="3375"/>
                  <a:pt x="2437" y="3312"/>
                </a:cubicBezTo>
                <a:cubicBezTo>
                  <a:pt x="2281" y="3281"/>
                  <a:pt x="2187" y="3344"/>
                  <a:pt x="2062" y="3375"/>
                </a:cubicBezTo>
                <a:cubicBezTo>
                  <a:pt x="1781" y="3375"/>
                  <a:pt x="1531" y="3437"/>
                  <a:pt x="1250" y="3469"/>
                </a:cubicBezTo>
                <a:cubicBezTo>
                  <a:pt x="1125" y="3469"/>
                  <a:pt x="1031" y="3437"/>
                  <a:pt x="937" y="3469"/>
                </a:cubicBezTo>
                <a:cubicBezTo>
                  <a:pt x="656" y="3562"/>
                  <a:pt x="375" y="3531"/>
                  <a:pt x="125" y="3594"/>
                </a:cubicBezTo>
                <a:cubicBezTo>
                  <a:pt x="125" y="3625"/>
                  <a:pt x="125" y="3625"/>
                  <a:pt x="125" y="3656"/>
                </a:cubicBezTo>
                <a:cubicBezTo>
                  <a:pt x="156" y="3625"/>
                  <a:pt x="187" y="3625"/>
                  <a:pt x="250" y="3594"/>
                </a:cubicBezTo>
                <a:cubicBezTo>
                  <a:pt x="437" y="3594"/>
                  <a:pt x="656" y="3562"/>
                  <a:pt x="844" y="3531"/>
                </a:cubicBezTo>
                <a:close/>
                <a:moveTo>
                  <a:pt x="1656" y="3344"/>
                </a:moveTo>
                <a:cubicBezTo>
                  <a:pt x="1937" y="3281"/>
                  <a:pt x="2250" y="3281"/>
                  <a:pt x="2531" y="3250"/>
                </a:cubicBezTo>
                <a:cubicBezTo>
                  <a:pt x="2844" y="3187"/>
                  <a:pt x="3156" y="3156"/>
                  <a:pt x="3437" y="3125"/>
                </a:cubicBezTo>
                <a:cubicBezTo>
                  <a:pt x="3719" y="3094"/>
                  <a:pt x="3969" y="3031"/>
                  <a:pt x="4250" y="3000"/>
                </a:cubicBezTo>
                <a:cubicBezTo>
                  <a:pt x="4500" y="3000"/>
                  <a:pt x="4719" y="2937"/>
                  <a:pt x="4969" y="2906"/>
                </a:cubicBezTo>
                <a:cubicBezTo>
                  <a:pt x="4937" y="2906"/>
                  <a:pt x="4875" y="2906"/>
                  <a:pt x="4812" y="2906"/>
                </a:cubicBezTo>
                <a:cubicBezTo>
                  <a:pt x="4344" y="2937"/>
                  <a:pt x="3844" y="3000"/>
                  <a:pt x="3344" y="3062"/>
                </a:cubicBezTo>
                <a:cubicBezTo>
                  <a:pt x="3250" y="3094"/>
                  <a:pt x="3156" y="3062"/>
                  <a:pt x="3062" y="3094"/>
                </a:cubicBezTo>
                <a:cubicBezTo>
                  <a:pt x="2750" y="3156"/>
                  <a:pt x="2469" y="3125"/>
                  <a:pt x="2187" y="3187"/>
                </a:cubicBezTo>
                <a:cubicBezTo>
                  <a:pt x="1969" y="3250"/>
                  <a:pt x="1719" y="3219"/>
                  <a:pt x="1500" y="3281"/>
                </a:cubicBezTo>
                <a:cubicBezTo>
                  <a:pt x="1250" y="3312"/>
                  <a:pt x="969" y="3312"/>
                  <a:pt x="719" y="3344"/>
                </a:cubicBezTo>
                <a:cubicBezTo>
                  <a:pt x="500" y="3375"/>
                  <a:pt x="312" y="3375"/>
                  <a:pt x="125" y="3375"/>
                </a:cubicBezTo>
                <a:cubicBezTo>
                  <a:pt x="125" y="3437"/>
                  <a:pt x="125" y="3500"/>
                  <a:pt x="125" y="3531"/>
                </a:cubicBezTo>
                <a:cubicBezTo>
                  <a:pt x="500" y="3500"/>
                  <a:pt x="906" y="3437"/>
                  <a:pt x="1281" y="3375"/>
                </a:cubicBezTo>
                <a:cubicBezTo>
                  <a:pt x="1406" y="3375"/>
                  <a:pt x="1562" y="3375"/>
                  <a:pt x="1656" y="3344"/>
                </a:cubicBezTo>
                <a:close/>
                <a:moveTo>
                  <a:pt x="37531" y="1312"/>
                </a:moveTo>
                <a:cubicBezTo>
                  <a:pt x="37562" y="1312"/>
                  <a:pt x="37594" y="1344"/>
                  <a:pt x="37625" y="1344"/>
                </a:cubicBezTo>
                <a:cubicBezTo>
                  <a:pt x="37625" y="1406"/>
                  <a:pt x="37594" y="1406"/>
                  <a:pt x="37531" y="1406"/>
                </a:cubicBezTo>
                <a:cubicBezTo>
                  <a:pt x="37500" y="1406"/>
                  <a:pt x="37562" y="1344"/>
                  <a:pt x="37531" y="1312"/>
                </a:cubicBezTo>
                <a:close/>
                <a:moveTo>
                  <a:pt x="37437" y="1437"/>
                </a:moveTo>
                <a:cubicBezTo>
                  <a:pt x="37437" y="1437"/>
                  <a:pt x="37437" y="1437"/>
                  <a:pt x="37469" y="1437"/>
                </a:cubicBezTo>
                <a:cubicBezTo>
                  <a:pt x="37437" y="1437"/>
                  <a:pt x="37437" y="1469"/>
                  <a:pt x="37437" y="1469"/>
                </a:cubicBezTo>
                <a:cubicBezTo>
                  <a:pt x="37406" y="1469"/>
                  <a:pt x="37406" y="1469"/>
                  <a:pt x="37406" y="1437"/>
                </a:cubicBezTo>
                <a:cubicBezTo>
                  <a:pt x="37406" y="1437"/>
                  <a:pt x="37406" y="1437"/>
                  <a:pt x="37437" y="1437"/>
                </a:cubicBezTo>
                <a:close/>
                <a:moveTo>
                  <a:pt x="36500" y="1875"/>
                </a:move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ubicBezTo>
                  <a:pt x="36500" y="1875"/>
                  <a:pt x="36500" y="1875"/>
                  <a:pt x="36500" y="1875"/>
                </a:cubicBezTo>
                <a:close/>
                <a:moveTo>
                  <a:pt x="36437" y="1906"/>
                </a:moveTo>
                <a:cubicBezTo>
                  <a:pt x="36437" y="1875"/>
                  <a:pt x="36469" y="1875"/>
                  <a:pt x="36500" y="1875"/>
                </a:cubicBezTo>
                <a:cubicBezTo>
                  <a:pt x="36500" y="1906"/>
                  <a:pt x="36469" y="1906"/>
                  <a:pt x="36437" y="1906"/>
                </a:cubicBezTo>
                <a:cubicBezTo>
                  <a:pt x="36437" y="1906"/>
                  <a:pt x="36406" y="1906"/>
                  <a:pt x="36437" y="1906"/>
                </a:cubicBezTo>
                <a:close/>
                <a:moveTo>
                  <a:pt x="35250" y="2469"/>
                </a:moveTo>
                <a:cubicBezTo>
                  <a:pt x="35250" y="2469"/>
                  <a:pt x="35250" y="2469"/>
                  <a:pt x="35281" y="2469"/>
                </a:cubicBezTo>
                <a:cubicBezTo>
                  <a:pt x="35281" y="2469"/>
                  <a:pt x="35281" y="2500"/>
                  <a:pt x="35250" y="2500"/>
                </a:cubicBezTo>
                <a:cubicBezTo>
                  <a:pt x="35250" y="2469"/>
                  <a:pt x="35219" y="2469"/>
                  <a:pt x="35219" y="2469"/>
                </a:cubicBezTo>
                <a:cubicBezTo>
                  <a:pt x="35219" y="2469"/>
                  <a:pt x="35219" y="2469"/>
                  <a:pt x="35250" y="2469"/>
                </a:cubicBezTo>
                <a:close/>
                <a:moveTo>
                  <a:pt x="3281" y="344"/>
                </a:moveTo>
                <a:cubicBezTo>
                  <a:pt x="3156" y="344"/>
                  <a:pt x="3031" y="344"/>
                  <a:pt x="2875" y="344"/>
                </a:cubicBezTo>
                <a:cubicBezTo>
                  <a:pt x="3000" y="344"/>
                  <a:pt x="3156" y="344"/>
                  <a:pt x="3281" y="344"/>
                </a:cubicBezTo>
                <a:close/>
                <a:moveTo>
                  <a:pt x="3406" y="312"/>
                </a:moveTo>
                <a:cubicBezTo>
                  <a:pt x="3531" y="312"/>
                  <a:pt x="3656" y="312"/>
                  <a:pt x="3781" y="312"/>
                </a:cubicBezTo>
                <a:cubicBezTo>
                  <a:pt x="3656" y="344"/>
                  <a:pt x="3531" y="344"/>
                  <a:pt x="3406" y="312"/>
                </a:cubicBezTo>
                <a:close/>
                <a:moveTo>
                  <a:pt x="4281" y="281"/>
                </a:moveTo>
                <a:cubicBezTo>
                  <a:pt x="4156" y="281"/>
                  <a:pt x="4062" y="281"/>
                  <a:pt x="3969" y="281"/>
                </a:cubicBezTo>
                <a:cubicBezTo>
                  <a:pt x="4094" y="281"/>
                  <a:pt x="4219" y="281"/>
                  <a:pt x="4344" y="281"/>
                </a:cubicBezTo>
                <a:cubicBezTo>
                  <a:pt x="4344" y="281"/>
                  <a:pt x="4344" y="281"/>
                  <a:pt x="4344" y="281"/>
                </a:cubicBezTo>
                <a:cubicBezTo>
                  <a:pt x="4312" y="281"/>
                  <a:pt x="4281" y="281"/>
                  <a:pt x="4281" y="281"/>
                </a:cubicBezTo>
                <a:close/>
                <a:moveTo>
                  <a:pt x="4500" y="250"/>
                </a:moveTo>
                <a:cubicBezTo>
                  <a:pt x="4656" y="219"/>
                  <a:pt x="4781" y="219"/>
                  <a:pt x="4906" y="219"/>
                </a:cubicBezTo>
                <a:cubicBezTo>
                  <a:pt x="4781" y="281"/>
                  <a:pt x="4656" y="250"/>
                  <a:pt x="4500" y="250"/>
                </a:cubicBezTo>
                <a:close/>
                <a:moveTo>
                  <a:pt x="5094" y="219"/>
                </a:moveTo>
                <a:cubicBezTo>
                  <a:pt x="5062" y="187"/>
                  <a:pt x="5062" y="187"/>
                  <a:pt x="5062" y="187"/>
                </a:cubicBezTo>
                <a:cubicBezTo>
                  <a:pt x="5219" y="187"/>
                  <a:pt x="5375" y="187"/>
                  <a:pt x="5531" y="187"/>
                </a:cubicBezTo>
                <a:cubicBezTo>
                  <a:pt x="5531" y="187"/>
                  <a:pt x="5531" y="187"/>
                  <a:pt x="5531" y="219"/>
                </a:cubicBezTo>
                <a:cubicBezTo>
                  <a:pt x="5375" y="219"/>
                  <a:pt x="5219" y="219"/>
                  <a:pt x="5094" y="219"/>
                </a:cubicBezTo>
                <a:close/>
                <a:moveTo>
                  <a:pt x="5687" y="156"/>
                </a:moveTo>
                <a:cubicBezTo>
                  <a:pt x="5844" y="156"/>
                  <a:pt x="6000" y="156"/>
                  <a:pt x="6156" y="156"/>
                </a:cubicBezTo>
                <a:cubicBezTo>
                  <a:pt x="6031" y="187"/>
                  <a:pt x="5812" y="187"/>
                  <a:pt x="5687" y="156"/>
                </a:cubicBezTo>
                <a:close/>
                <a:moveTo>
                  <a:pt x="10625" y="6312"/>
                </a:moveTo>
                <a:cubicBezTo>
                  <a:pt x="10594" y="6312"/>
                  <a:pt x="10562" y="6344"/>
                  <a:pt x="10562" y="6375"/>
                </a:cubicBezTo>
                <a:cubicBezTo>
                  <a:pt x="10562" y="6375"/>
                  <a:pt x="10562" y="6375"/>
                  <a:pt x="10562" y="6375"/>
                </a:cubicBezTo>
                <a:cubicBezTo>
                  <a:pt x="10562" y="6344"/>
                  <a:pt x="10594" y="6312"/>
                  <a:pt x="10625" y="6312"/>
                </a:cubicBezTo>
                <a:close/>
                <a:moveTo>
                  <a:pt x="10562" y="6375"/>
                </a:moveTo>
                <a:cubicBezTo>
                  <a:pt x="10562" y="6375"/>
                  <a:pt x="10562" y="6375"/>
                  <a:pt x="10562" y="6375"/>
                </a:cubicBezTo>
                <a:cubicBezTo>
                  <a:pt x="10531" y="6375"/>
                  <a:pt x="10531" y="6375"/>
                  <a:pt x="10531" y="6375"/>
                </a:cubicBezTo>
                <a:cubicBezTo>
                  <a:pt x="10531" y="6375"/>
                  <a:pt x="10531" y="6375"/>
                  <a:pt x="10562" y="6375"/>
                </a:cubicBezTo>
                <a:close/>
                <a:moveTo>
                  <a:pt x="10375" y="6406"/>
                </a:move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06"/>
                  <a:pt x="10375" y="6406"/>
                </a:cubicBezTo>
                <a:cubicBezTo>
                  <a:pt x="10375" y="6406"/>
                  <a:pt x="10375" y="6437"/>
                  <a:pt x="10344" y="6437"/>
                </a:cubicBezTo>
                <a:cubicBezTo>
                  <a:pt x="10375" y="6437"/>
                  <a:pt x="10375" y="6406"/>
                  <a:pt x="10375" y="6406"/>
                </a:cubicBezTo>
                <a:close/>
                <a:moveTo>
                  <a:pt x="9187" y="6687"/>
                </a:moveTo>
                <a:cubicBezTo>
                  <a:pt x="9187" y="6687"/>
                  <a:pt x="9187" y="6687"/>
                  <a:pt x="9187" y="6687"/>
                </a:cubicBezTo>
                <a:cubicBezTo>
                  <a:pt x="9187" y="6687"/>
                  <a:pt x="9187" y="6687"/>
                  <a:pt x="9156" y="6719"/>
                </a:cubicBezTo>
                <a:cubicBezTo>
                  <a:pt x="9187" y="6687"/>
                  <a:pt x="9187" y="6687"/>
                  <a:pt x="9187" y="6687"/>
                </a:cubicBezTo>
                <a:close/>
                <a:moveTo>
                  <a:pt x="8187" y="6969"/>
                </a:moveTo>
                <a:cubicBezTo>
                  <a:pt x="8187" y="6969"/>
                  <a:pt x="8187" y="6969"/>
                  <a:pt x="8187" y="6969"/>
                </a:cubicBezTo>
                <a:cubicBezTo>
                  <a:pt x="8187" y="6969"/>
                  <a:pt x="8187" y="6969"/>
                  <a:pt x="8187" y="6969"/>
                </a:cubicBezTo>
                <a:close/>
                <a:moveTo>
                  <a:pt x="7500" y="7156"/>
                </a:move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ubicBezTo>
                  <a:pt x="7500" y="7156"/>
                  <a:pt x="7500" y="7156"/>
                  <a:pt x="7500" y="7156"/>
                </a:cubicBezTo>
                <a:close/>
                <a:moveTo>
                  <a:pt x="14375" y="5531"/>
                </a:moveTo>
                <a:cubicBezTo>
                  <a:pt x="14375" y="5500"/>
                  <a:pt x="14375" y="5500"/>
                  <a:pt x="14375" y="5500"/>
                </a:cubicBezTo>
                <a:cubicBezTo>
                  <a:pt x="14469" y="5500"/>
                  <a:pt x="14594" y="5500"/>
                  <a:pt x="14656" y="5500"/>
                </a:cubicBezTo>
                <a:cubicBezTo>
                  <a:pt x="14594" y="5500"/>
                  <a:pt x="14469" y="5500"/>
                  <a:pt x="14375" y="5531"/>
                </a:cubicBezTo>
                <a:close/>
                <a:moveTo>
                  <a:pt x="15812" y="3750"/>
                </a:moveTo>
                <a:cubicBezTo>
                  <a:pt x="15812" y="3750"/>
                  <a:pt x="15812" y="3750"/>
                  <a:pt x="15812" y="3750"/>
                </a:cubicBezTo>
                <a:cubicBezTo>
                  <a:pt x="15875" y="3750"/>
                  <a:pt x="15906" y="3750"/>
                  <a:pt x="15969" y="3750"/>
                </a:cubicBezTo>
                <a:cubicBezTo>
                  <a:pt x="15906" y="3750"/>
                  <a:pt x="15875" y="3750"/>
                  <a:pt x="15812" y="3750"/>
                </a:cubicBezTo>
                <a:close/>
                <a:moveTo>
                  <a:pt x="16406" y="3531"/>
                </a:moveTo>
                <a:cubicBezTo>
                  <a:pt x="16469" y="3594"/>
                  <a:pt x="16562" y="3562"/>
                  <a:pt x="16625" y="3594"/>
                </a:cubicBezTo>
                <a:cubicBezTo>
                  <a:pt x="16562" y="3562"/>
                  <a:pt x="16469" y="3594"/>
                  <a:pt x="16406" y="3531"/>
                </a:cubicBezTo>
                <a:close/>
                <a:moveTo>
                  <a:pt x="18000" y="5625"/>
                </a:moveTo>
                <a:cubicBezTo>
                  <a:pt x="18000" y="5625"/>
                  <a:pt x="18000" y="5625"/>
                  <a:pt x="18000" y="5625"/>
                </a:cubicBezTo>
                <a:cubicBezTo>
                  <a:pt x="18031" y="5625"/>
                  <a:pt x="18062" y="5625"/>
                  <a:pt x="18094" y="5625"/>
                </a:cubicBezTo>
                <a:cubicBezTo>
                  <a:pt x="18062" y="5625"/>
                  <a:pt x="18031" y="5625"/>
                  <a:pt x="18000" y="5625"/>
                </a:cubicBezTo>
                <a:close/>
                <a:moveTo>
                  <a:pt x="18969" y="14094"/>
                </a:move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31"/>
                  <a:pt x="18969" y="14031"/>
                </a:cubicBezTo>
                <a:cubicBezTo>
                  <a:pt x="18969" y="14062"/>
                  <a:pt x="18969" y="14062"/>
                  <a:pt x="18969" y="14062"/>
                </a:cubicBezTo>
                <a:cubicBezTo>
                  <a:pt x="18969" y="14062"/>
                  <a:pt x="18969" y="14094"/>
                  <a:pt x="18969" y="14094"/>
                </a:cubicBezTo>
                <a:close/>
                <a:moveTo>
                  <a:pt x="19156" y="14562"/>
                </a:moveTo>
                <a:cubicBezTo>
                  <a:pt x="19156" y="14562"/>
                  <a:pt x="19156" y="14562"/>
                  <a:pt x="19156" y="14562"/>
                </a:cubicBezTo>
                <a:cubicBezTo>
                  <a:pt x="19156" y="14437"/>
                  <a:pt x="19156" y="14312"/>
                  <a:pt x="19156" y="14187"/>
                </a:cubicBezTo>
                <a:cubicBezTo>
                  <a:pt x="19156" y="14187"/>
                  <a:pt x="19156" y="14187"/>
                  <a:pt x="19156" y="14187"/>
                </a:cubicBezTo>
                <a:cubicBezTo>
                  <a:pt x="19156" y="14312"/>
                  <a:pt x="19156" y="14437"/>
                  <a:pt x="19156" y="14562"/>
                </a:cubicBezTo>
                <a:close/>
                <a:moveTo>
                  <a:pt x="31594" y="12906"/>
                </a:move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ubicBezTo>
                  <a:pt x="31594" y="12906"/>
                  <a:pt x="31594" y="12906"/>
                  <a:pt x="31594" y="12906"/>
                </a:cubicBezTo>
                <a:close/>
                <a:moveTo>
                  <a:pt x="20406" y="6781"/>
                </a:moveTo>
                <a:cubicBezTo>
                  <a:pt x="20469" y="6844"/>
                  <a:pt x="20500" y="6906"/>
                  <a:pt x="20500" y="6969"/>
                </a:cubicBezTo>
                <a:cubicBezTo>
                  <a:pt x="20469" y="6906"/>
                  <a:pt x="20406" y="6875"/>
                  <a:pt x="20406" y="6781"/>
                </a:cubicBezTo>
                <a:close/>
                <a:moveTo>
                  <a:pt x="21344" y="15844"/>
                </a:moveTo>
                <a:cubicBezTo>
                  <a:pt x="21344" y="15844"/>
                  <a:pt x="21344" y="15812"/>
                  <a:pt x="21344" y="15812"/>
                </a:cubicBezTo>
                <a:cubicBezTo>
                  <a:pt x="21594" y="15812"/>
                  <a:pt x="21812" y="15812"/>
                  <a:pt x="22062" y="15812"/>
                </a:cubicBezTo>
                <a:cubicBezTo>
                  <a:pt x="22062" y="15812"/>
                  <a:pt x="22062" y="15844"/>
                  <a:pt x="22062" y="15844"/>
                </a:cubicBezTo>
                <a:cubicBezTo>
                  <a:pt x="21812" y="15844"/>
                  <a:pt x="21594" y="15844"/>
                  <a:pt x="21344" y="15844"/>
                </a:cubicBezTo>
                <a:close/>
                <a:moveTo>
                  <a:pt x="23687" y="15687"/>
                </a:moveTo>
                <a:cubicBezTo>
                  <a:pt x="23656" y="15687"/>
                  <a:pt x="23625" y="15687"/>
                  <a:pt x="23625" y="15687"/>
                </a:cubicBezTo>
                <a:cubicBezTo>
                  <a:pt x="23625" y="15687"/>
                  <a:pt x="23625" y="15687"/>
                  <a:pt x="23625" y="15687"/>
                </a:cubicBezTo>
                <a:cubicBezTo>
                  <a:pt x="23625" y="15687"/>
                  <a:pt x="23656" y="15687"/>
                  <a:pt x="23687" y="15687"/>
                </a:cubicBezTo>
                <a:cubicBezTo>
                  <a:pt x="23687" y="15687"/>
                  <a:pt x="23687" y="15687"/>
                  <a:pt x="23687" y="15687"/>
                </a:cubicBezTo>
                <a:close/>
                <a:moveTo>
                  <a:pt x="30375" y="13594"/>
                </a:moveTo>
                <a:cubicBezTo>
                  <a:pt x="30375" y="13594"/>
                  <a:pt x="30375" y="13594"/>
                  <a:pt x="30375" y="13594"/>
                </a:cubicBezTo>
                <a:cubicBezTo>
                  <a:pt x="30437" y="13594"/>
                  <a:pt x="30500" y="13562"/>
                  <a:pt x="30562" y="13562"/>
                </a:cubicBezTo>
                <a:cubicBezTo>
                  <a:pt x="30500" y="13562"/>
                  <a:pt x="30437" y="13594"/>
                  <a:pt x="30375" y="13594"/>
                </a:cubicBezTo>
                <a:close/>
                <a:moveTo>
                  <a:pt x="32562" y="12812"/>
                </a:moveTo>
                <a:cubicBezTo>
                  <a:pt x="32562" y="12812"/>
                  <a:pt x="32562" y="12812"/>
                  <a:pt x="32562" y="12812"/>
                </a:cubicBezTo>
                <a:close/>
                <a:moveTo>
                  <a:pt x="34750" y="2875"/>
                </a:moveTo>
                <a:cubicBezTo>
                  <a:pt x="34625" y="2937"/>
                  <a:pt x="34500" y="3000"/>
                  <a:pt x="34375" y="3031"/>
                </a:cubicBezTo>
                <a:cubicBezTo>
                  <a:pt x="34531" y="2906"/>
                  <a:pt x="34687" y="2844"/>
                  <a:pt x="34906" y="2781"/>
                </a:cubicBezTo>
                <a:cubicBezTo>
                  <a:pt x="34875" y="2875"/>
                  <a:pt x="34812" y="2844"/>
                  <a:pt x="34750" y="2875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668964AD-DBAA-6141-941B-B78AEA4E93EF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837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Mask_5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6">
            <a:extLst>
              <a:ext uri="{FF2B5EF4-FFF2-40B4-BE49-F238E27FC236}">
                <a16:creationId xmlns:a16="http://schemas.microsoft.com/office/drawing/2014/main" id="{64D26A49-2AD0-B542-BC98-D15AA17F91C6}"/>
              </a:ext>
            </a:extLst>
          </p:cNvPr>
          <p:cNvSpPr>
            <a:spLocks noGrp="1" noEditPoints="1"/>
          </p:cNvSpPr>
          <p:nvPr>
            <p:ph type="pic" sz="quarter" idx="38"/>
          </p:nvPr>
        </p:nvSpPr>
        <p:spPr bwMode="auto">
          <a:xfrm>
            <a:off x="1176363" y="954138"/>
            <a:ext cx="21962440" cy="7560840"/>
          </a:xfrm>
          <a:custGeom>
            <a:avLst/>
            <a:gdLst>
              <a:gd name="T0" fmla="*/ 32250 w 33250"/>
              <a:gd name="T1" fmla="*/ 4688 h 15969"/>
              <a:gd name="T2" fmla="*/ 28063 w 33250"/>
              <a:gd name="T3" fmla="*/ 4813 h 15969"/>
              <a:gd name="T4" fmla="*/ 26531 w 33250"/>
              <a:gd name="T5" fmla="*/ 1750 h 15969"/>
              <a:gd name="T6" fmla="*/ 19781 w 33250"/>
              <a:gd name="T7" fmla="*/ 2782 h 15969"/>
              <a:gd name="T8" fmla="*/ 12750 w 33250"/>
              <a:gd name="T9" fmla="*/ 1125 h 15969"/>
              <a:gd name="T10" fmla="*/ 8031 w 33250"/>
              <a:gd name="T11" fmla="*/ 1563 h 15969"/>
              <a:gd name="T12" fmla="*/ 6313 w 33250"/>
              <a:gd name="T13" fmla="*/ 2250 h 15969"/>
              <a:gd name="T14" fmla="*/ 2031 w 33250"/>
              <a:gd name="T15" fmla="*/ 5375 h 15969"/>
              <a:gd name="T16" fmla="*/ 1375 w 33250"/>
              <a:gd name="T17" fmla="*/ 9250 h 15969"/>
              <a:gd name="T18" fmla="*/ 1156 w 33250"/>
              <a:gd name="T19" fmla="*/ 12938 h 15969"/>
              <a:gd name="T20" fmla="*/ 10563 w 33250"/>
              <a:gd name="T21" fmla="*/ 9813 h 15969"/>
              <a:gd name="T22" fmla="*/ 11188 w 33250"/>
              <a:gd name="T23" fmla="*/ 11156 h 15969"/>
              <a:gd name="T24" fmla="*/ 19469 w 33250"/>
              <a:gd name="T25" fmla="*/ 14188 h 15969"/>
              <a:gd name="T26" fmla="*/ 23469 w 33250"/>
              <a:gd name="T27" fmla="*/ 15156 h 15969"/>
              <a:gd name="T28" fmla="*/ 28531 w 33250"/>
              <a:gd name="T29" fmla="*/ 15500 h 15969"/>
              <a:gd name="T30" fmla="*/ 25531 w 33250"/>
              <a:gd name="T31" fmla="*/ 15406 h 15969"/>
              <a:gd name="T32" fmla="*/ 31750 w 33250"/>
              <a:gd name="T33" fmla="*/ 13813 h 15969"/>
              <a:gd name="T34" fmla="*/ 8063 w 33250"/>
              <a:gd name="T35" fmla="*/ 2125 h 15969"/>
              <a:gd name="T36" fmla="*/ 14469 w 33250"/>
              <a:gd name="T37" fmla="*/ 7969 h 15969"/>
              <a:gd name="T38" fmla="*/ 5781 w 33250"/>
              <a:gd name="T39" fmla="*/ 10656 h 15969"/>
              <a:gd name="T40" fmla="*/ 5875 w 33250"/>
              <a:gd name="T41" fmla="*/ 11877 h 15969"/>
              <a:gd name="T42" fmla="*/ 5875 w 33250"/>
              <a:gd name="T43" fmla="*/ 11889 h 15969"/>
              <a:gd name="T44" fmla="*/ 5875 w 33250"/>
              <a:gd name="T45" fmla="*/ 11906 h 15969"/>
              <a:gd name="T46" fmla="*/ 18375 w 33250"/>
              <a:gd name="T47" fmla="*/ 2188 h 15969"/>
              <a:gd name="T48" fmla="*/ 12219 w 33250"/>
              <a:gd name="T49" fmla="*/ 11594 h 15969"/>
              <a:gd name="T50" fmla="*/ 7906 w 33250"/>
              <a:gd name="T51" fmla="*/ 10563 h 15969"/>
              <a:gd name="T52" fmla="*/ 8750 w 33250"/>
              <a:gd name="T53" fmla="*/ 10875 h 15969"/>
              <a:gd name="T54" fmla="*/ 6969 w 33250"/>
              <a:gd name="T55" fmla="*/ 1625 h 15969"/>
              <a:gd name="T56" fmla="*/ 2531 w 33250"/>
              <a:gd name="T57" fmla="*/ 12219 h 15969"/>
              <a:gd name="T58" fmla="*/ 3156 w 33250"/>
              <a:gd name="T59" fmla="*/ 12250 h 15969"/>
              <a:gd name="T60" fmla="*/ 750 w 33250"/>
              <a:gd name="T61" fmla="*/ 14969 h 15969"/>
              <a:gd name="T62" fmla="*/ 20500 w 33250"/>
              <a:gd name="T63" fmla="*/ 14375 h 15969"/>
              <a:gd name="T64" fmla="*/ 9188 w 33250"/>
              <a:gd name="T65" fmla="*/ 10656 h 15969"/>
              <a:gd name="T66" fmla="*/ 7125 w 33250"/>
              <a:gd name="T67" fmla="*/ 10563 h 15969"/>
              <a:gd name="T68" fmla="*/ 5688 w 33250"/>
              <a:gd name="T69" fmla="*/ 2125 h 15969"/>
              <a:gd name="T70" fmla="*/ 1375 w 33250"/>
              <a:gd name="T71" fmla="*/ 13094 h 15969"/>
              <a:gd name="T72" fmla="*/ 1656 w 33250"/>
              <a:gd name="T73" fmla="*/ 6625 h 15969"/>
              <a:gd name="T74" fmla="*/ 29531 w 33250"/>
              <a:gd name="T75" fmla="*/ 15781 h 15969"/>
              <a:gd name="T76" fmla="*/ 26063 w 33250"/>
              <a:gd name="T77" fmla="*/ 14125 h 15969"/>
              <a:gd name="T78" fmla="*/ 15375 w 33250"/>
              <a:gd name="T79" fmla="*/ 7250 h 15969"/>
              <a:gd name="T80" fmla="*/ 13844 w 33250"/>
              <a:gd name="T81" fmla="*/ 6813 h 15969"/>
              <a:gd name="T82" fmla="*/ 10750 w 33250"/>
              <a:gd name="T83" fmla="*/ 5688 h 15969"/>
              <a:gd name="T84" fmla="*/ 8969 w 33250"/>
              <a:gd name="T85" fmla="*/ 6219 h 15969"/>
              <a:gd name="T86" fmla="*/ 9875 w 33250"/>
              <a:gd name="T87" fmla="*/ 6031 h 15969"/>
              <a:gd name="T88" fmla="*/ 10781 w 33250"/>
              <a:gd name="T89" fmla="*/ 6656 h 15969"/>
              <a:gd name="T90" fmla="*/ 13188 w 33250"/>
              <a:gd name="T91" fmla="*/ 2375 h 15969"/>
              <a:gd name="T92" fmla="*/ 12969 w 33250"/>
              <a:gd name="T93" fmla="*/ 2313 h 15969"/>
              <a:gd name="T94" fmla="*/ 6906 w 33250"/>
              <a:gd name="T95" fmla="*/ 6406 h 15969"/>
              <a:gd name="T96" fmla="*/ 5813 w 33250"/>
              <a:gd name="T97" fmla="*/ 4781 h 15969"/>
              <a:gd name="T98" fmla="*/ 3969 w 33250"/>
              <a:gd name="T99" fmla="*/ 3844 h 15969"/>
              <a:gd name="T100" fmla="*/ 3094 w 33250"/>
              <a:gd name="T101" fmla="*/ 5656 h 15969"/>
              <a:gd name="T102" fmla="*/ 4750 w 33250"/>
              <a:gd name="T103" fmla="*/ 3500 h 15969"/>
              <a:gd name="T104" fmla="*/ 6469 w 33250"/>
              <a:gd name="T105" fmla="*/ 7625 h 15969"/>
              <a:gd name="T106" fmla="*/ 11563 w 33250"/>
              <a:gd name="T107" fmla="*/ 9188 h 15969"/>
              <a:gd name="T108" fmla="*/ 8500 w 33250"/>
              <a:gd name="T109" fmla="*/ 7719 h 15969"/>
              <a:gd name="T110" fmla="*/ 7719 w 33250"/>
              <a:gd name="T111" fmla="*/ 6469 h 15969"/>
              <a:gd name="T112" fmla="*/ 14281 w 33250"/>
              <a:gd name="T113" fmla="*/ 7781 h 15969"/>
              <a:gd name="T114" fmla="*/ 15250 w 33250"/>
              <a:gd name="T115" fmla="*/ 9063 h 15969"/>
              <a:gd name="T116" fmla="*/ 16688 w 33250"/>
              <a:gd name="T117" fmla="*/ 9250 h 15969"/>
              <a:gd name="T118" fmla="*/ 18781 w 33250"/>
              <a:gd name="T119" fmla="*/ 12375 h 15969"/>
              <a:gd name="T120" fmla="*/ 20219 w 33250"/>
              <a:gd name="T121" fmla="*/ 12938 h 15969"/>
              <a:gd name="T122" fmla="*/ 23125 w 33250"/>
              <a:gd name="T123" fmla="*/ 14125 h 15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250" h="15969">
                <a:moveTo>
                  <a:pt x="33125" y="10781"/>
                </a:moveTo>
                <a:cubicBezTo>
                  <a:pt x="33031" y="10750"/>
                  <a:pt x="32969" y="10719"/>
                  <a:pt x="32906" y="10656"/>
                </a:cubicBezTo>
                <a:cubicBezTo>
                  <a:pt x="33063" y="10531"/>
                  <a:pt x="33063" y="10344"/>
                  <a:pt x="32906" y="10219"/>
                </a:cubicBezTo>
                <a:cubicBezTo>
                  <a:pt x="32844" y="10188"/>
                  <a:pt x="32813" y="10156"/>
                  <a:pt x="32750" y="10125"/>
                </a:cubicBezTo>
                <a:cubicBezTo>
                  <a:pt x="32688" y="10094"/>
                  <a:pt x="32656" y="10031"/>
                  <a:pt x="32719" y="9969"/>
                </a:cubicBezTo>
                <a:cubicBezTo>
                  <a:pt x="32813" y="9844"/>
                  <a:pt x="32875" y="9719"/>
                  <a:pt x="33000" y="9625"/>
                </a:cubicBezTo>
                <a:cubicBezTo>
                  <a:pt x="33125" y="9563"/>
                  <a:pt x="33156" y="9500"/>
                  <a:pt x="33156" y="9375"/>
                </a:cubicBezTo>
                <a:cubicBezTo>
                  <a:pt x="33156" y="9281"/>
                  <a:pt x="33156" y="9219"/>
                  <a:pt x="33063" y="9250"/>
                </a:cubicBezTo>
                <a:cubicBezTo>
                  <a:pt x="32969" y="9250"/>
                  <a:pt x="32906" y="9219"/>
                  <a:pt x="32875" y="9188"/>
                </a:cubicBezTo>
                <a:cubicBezTo>
                  <a:pt x="32938" y="9094"/>
                  <a:pt x="32969" y="9000"/>
                  <a:pt x="32875" y="8906"/>
                </a:cubicBezTo>
                <a:cubicBezTo>
                  <a:pt x="32844" y="8844"/>
                  <a:pt x="32906" y="8813"/>
                  <a:pt x="32938" y="8781"/>
                </a:cubicBezTo>
                <a:cubicBezTo>
                  <a:pt x="33063" y="8656"/>
                  <a:pt x="33125" y="8500"/>
                  <a:pt x="33250" y="8406"/>
                </a:cubicBezTo>
                <a:cubicBezTo>
                  <a:pt x="33219" y="8406"/>
                  <a:pt x="33156" y="8375"/>
                  <a:pt x="33125" y="8406"/>
                </a:cubicBezTo>
                <a:cubicBezTo>
                  <a:pt x="33000" y="8438"/>
                  <a:pt x="32938" y="8344"/>
                  <a:pt x="32875" y="8250"/>
                </a:cubicBezTo>
                <a:cubicBezTo>
                  <a:pt x="32844" y="8250"/>
                  <a:pt x="32813" y="8188"/>
                  <a:pt x="32875" y="8188"/>
                </a:cubicBezTo>
                <a:cubicBezTo>
                  <a:pt x="33000" y="8156"/>
                  <a:pt x="33063" y="8031"/>
                  <a:pt x="33094" y="7938"/>
                </a:cubicBezTo>
                <a:cubicBezTo>
                  <a:pt x="33125" y="7938"/>
                  <a:pt x="33156" y="7906"/>
                  <a:pt x="33156" y="7875"/>
                </a:cubicBezTo>
                <a:cubicBezTo>
                  <a:pt x="33156" y="7875"/>
                  <a:pt x="33156" y="7875"/>
                  <a:pt x="33156" y="7875"/>
                </a:cubicBezTo>
                <a:cubicBezTo>
                  <a:pt x="33125" y="7875"/>
                  <a:pt x="33094" y="7875"/>
                  <a:pt x="33094" y="7906"/>
                </a:cubicBezTo>
                <a:cubicBezTo>
                  <a:pt x="33063" y="7906"/>
                  <a:pt x="33031" y="7938"/>
                  <a:pt x="33031" y="7906"/>
                </a:cubicBezTo>
                <a:cubicBezTo>
                  <a:pt x="32969" y="7813"/>
                  <a:pt x="32938" y="7688"/>
                  <a:pt x="32813" y="7813"/>
                </a:cubicBezTo>
                <a:cubicBezTo>
                  <a:pt x="32813" y="7813"/>
                  <a:pt x="32781" y="7813"/>
                  <a:pt x="32781" y="7781"/>
                </a:cubicBezTo>
                <a:cubicBezTo>
                  <a:pt x="32688" y="7688"/>
                  <a:pt x="32563" y="7688"/>
                  <a:pt x="32438" y="7656"/>
                </a:cubicBezTo>
                <a:cubicBezTo>
                  <a:pt x="32344" y="7656"/>
                  <a:pt x="32313" y="7625"/>
                  <a:pt x="32375" y="7500"/>
                </a:cubicBezTo>
                <a:cubicBezTo>
                  <a:pt x="32500" y="7281"/>
                  <a:pt x="32656" y="7125"/>
                  <a:pt x="32781" y="6906"/>
                </a:cubicBezTo>
                <a:cubicBezTo>
                  <a:pt x="32844" y="6781"/>
                  <a:pt x="32844" y="6656"/>
                  <a:pt x="32719" y="6594"/>
                </a:cubicBezTo>
                <a:cubicBezTo>
                  <a:pt x="32688" y="6594"/>
                  <a:pt x="32656" y="6563"/>
                  <a:pt x="32656" y="6531"/>
                </a:cubicBezTo>
                <a:cubicBezTo>
                  <a:pt x="32656" y="6438"/>
                  <a:pt x="32594" y="6406"/>
                  <a:pt x="32563" y="6375"/>
                </a:cubicBezTo>
                <a:cubicBezTo>
                  <a:pt x="32563" y="6313"/>
                  <a:pt x="32625" y="6344"/>
                  <a:pt x="32656" y="6281"/>
                </a:cubicBezTo>
                <a:cubicBezTo>
                  <a:pt x="32500" y="6250"/>
                  <a:pt x="32344" y="6250"/>
                  <a:pt x="32188" y="6250"/>
                </a:cubicBezTo>
                <a:cubicBezTo>
                  <a:pt x="32094" y="6250"/>
                  <a:pt x="32000" y="6250"/>
                  <a:pt x="31969" y="6375"/>
                </a:cubicBezTo>
                <a:cubicBezTo>
                  <a:pt x="31938" y="6500"/>
                  <a:pt x="32094" y="6438"/>
                  <a:pt x="32125" y="6500"/>
                </a:cubicBezTo>
                <a:cubicBezTo>
                  <a:pt x="31875" y="6438"/>
                  <a:pt x="31906" y="6781"/>
                  <a:pt x="31719" y="6781"/>
                </a:cubicBezTo>
                <a:cubicBezTo>
                  <a:pt x="31719" y="6781"/>
                  <a:pt x="31719" y="6750"/>
                  <a:pt x="31719" y="6750"/>
                </a:cubicBezTo>
                <a:cubicBezTo>
                  <a:pt x="31906" y="6344"/>
                  <a:pt x="32094" y="6000"/>
                  <a:pt x="32313" y="5625"/>
                </a:cubicBezTo>
                <a:cubicBezTo>
                  <a:pt x="32344" y="5594"/>
                  <a:pt x="32406" y="5563"/>
                  <a:pt x="32375" y="5500"/>
                </a:cubicBezTo>
                <a:cubicBezTo>
                  <a:pt x="32344" y="5438"/>
                  <a:pt x="32281" y="5500"/>
                  <a:pt x="32250" y="5500"/>
                </a:cubicBezTo>
                <a:cubicBezTo>
                  <a:pt x="32219" y="5500"/>
                  <a:pt x="32219" y="5469"/>
                  <a:pt x="32188" y="5469"/>
                </a:cubicBezTo>
                <a:cubicBezTo>
                  <a:pt x="32281" y="5469"/>
                  <a:pt x="32344" y="5438"/>
                  <a:pt x="32344" y="5375"/>
                </a:cubicBezTo>
                <a:cubicBezTo>
                  <a:pt x="32313" y="5313"/>
                  <a:pt x="32250" y="5375"/>
                  <a:pt x="32188" y="5375"/>
                </a:cubicBezTo>
                <a:cubicBezTo>
                  <a:pt x="32094" y="5375"/>
                  <a:pt x="31969" y="5438"/>
                  <a:pt x="31844" y="5406"/>
                </a:cubicBezTo>
                <a:cubicBezTo>
                  <a:pt x="31969" y="5313"/>
                  <a:pt x="32063" y="5219"/>
                  <a:pt x="32094" y="5094"/>
                </a:cubicBezTo>
                <a:cubicBezTo>
                  <a:pt x="32125" y="4969"/>
                  <a:pt x="32250" y="4938"/>
                  <a:pt x="32219" y="4813"/>
                </a:cubicBezTo>
                <a:cubicBezTo>
                  <a:pt x="32219" y="4781"/>
                  <a:pt x="32313" y="4719"/>
                  <a:pt x="32250" y="4688"/>
                </a:cubicBezTo>
                <a:cubicBezTo>
                  <a:pt x="32188" y="4688"/>
                  <a:pt x="32156" y="4719"/>
                  <a:pt x="32156" y="4781"/>
                </a:cubicBezTo>
                <a:cubicBezTo>
                  <a:pt x="32125" y="4875"/>
                  <a:pt x="32063" y="4875"/>
                  <a:pt x="32000" y="4875"/>
                </a:cubicBezTo>
                <a:cubicBezTo>
                  <a:pt x="31969" y="4844"/>
                  <a:pt x="31938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44" y="4781"/>
                  <a:pt x="31969" y="4750"/>
                  <a:pt x="32000" y="4656"/>
                </a:cubicBezTo>
                <a:cubicBezTo>
                  <a:pt x="32000" y="4656"/>
                  <a:pt x="32031" y="4625"/>
                  <a:pt x="32000" y="4594"/>
                </a:cubicBezTo>
                <a:cubicBezTo>
                  <a:pt x="32000" y="4563"/>
                  <a:pt x="31969" y="4563"/>
                  <a:pt x="31938" y="4563"/>
                </a:cubicBezTo>
                <a:cubicBezTo>
                  <a:pt x="31844" y="4594"/>
                  <a:pt x="31781" y="4625"/>
                  <a:pt x="31688" y="4656"/>
                </a:cubicBezTo>
                <a:cubicBezTo>
                  <a:pt x="31563" y="4719"/>
                  <a:pt x="31469" y="4844"/>
                  <a:pt x="31313" y="4906"/>
                </a:cubicBezTo>
                <a:cubicBezTo>
                  <a:pt x="31375" y="4719"/>
                  <a:pt x="31469" y="4594"/>
                  <a:pt x="31500" y="4438"/>
                </a:cubicBezTo>
                <a:cubicBezTo>
                  <a:pt x="31563" y="4313"/>
                  <a:pt x="31625" y="4188"/>
                  <a:pt x="31625" y="4031"/>
                </a:cubicBezTo>
                <a:cubicBezTo>
                  <a:pt x="31656" y="3938"/>
                  <a:pt x="31594" y="3906"/>
                  <a:pt x="31563" y="3844"/>
                </a:cubicBezTo>
                <a:cubicBezTo>
                  <a:pt x="31531" y="3813"/>
                  <a:pt x="31500" y="3906"/>
                  <a:pt x="31438" y="3906"/>
                </a:cubicBezTo>
                <a:cubicBezTo>
                  <a:pt x="31375" y="3938"/>
                  <a:pt x="31344" y="4000"/>
                  <a:pt x="31250" y="4000"/>
                </a:cubicBezTo>
                <a:cubicBezTo>
                  <a:pt x="31281" y="3906"/>
                  <a:pt x="31281" y="3813"/>
                  <a:pt x="31250" y="3688"/>
                </a:cubicBezTo>
                <a:cubicBezTo>
                  <a:pt x="31219" y="3656"/>
                  <a:pt x="31219" y="3625"/>
                  <a:pt x="31281" y="3563"/>
                </a:cubicBezTo>
                <a:cubicBezTo>
                  <a:pt x="31313" y="3563"/>
                  <a:pt x="31313" y="3469"/>
                  <a:pt x="31250" y="3469"/>
                </a:cubicBezTo>
                <a:cubicBezTo>
                  <a:pt x="31188" y="3438"/>
                  <a:pt x="31125" y="3406"/>
                  <a:pt x="31031" y="3469"/>
                </a:cubicBezTo>
                <a:cubicBezTo>
                  <a:pt x="30938" y="3531"/>
                  <a:pt x="30875" y="3625"/>
                  <a:pt x="30781" y="3656"/>
                </a:cubicBezTo>
                <a:cubicBezTo>
                  <a:pt x="30750" y="3781"/>
                  <a:pt x="30719" y="3875"/>
                  <a:pt x="30594" y="3969"/>
                </a:cubicBezTo>
                <a:cubicBezTo>
                  <a:pt x="30625" y="3813"/>
                  <a:pt x="30688" y="3688"/>
                  <a:pt x="30750" y="3594"/>
                </a:cubicBezTo>
                <a:cubicBezTo>
                  <a:pt x="30813" y="3438"/>
                  <a:pt x="30875" y="3313"/>
                  <a:pt x="30938" y="3188"/>
                </a:cubicBezTo>
                <a:cubicBezTo>
                  <a:pt x="30969" y="3094"/>
                  <a:pt x="31000" y="2938"/>
                  <a:pt x="30938" y="2906"/>
                </a:cubicBezTo>
                <a:cubicBezTo>
                  <a:pt x="30844" y="2875"/>
                  <a:pt x="30750" y="3000"/>
                  <a:pt x="30688" y="3094"/>
                </a:cubicBezTo>
                <a:cubicBezTo>
                  <a:pt x="30656" y="3125"/>
                  <a:pt x="30656" y="3219"/>
                  <a:pt x="30563" y="3250"/>
                </a:cubicBezTo>
                <a:cubicBezTo>
                  <a:pt x="30594" y="3156"/>
                  <a:pt x="30625" y="3094"/>
                  <a:pt x="30656" y="3000"/>
                </a:cubicBezTo>
                <a:cubicBezTo>
                  <a:pt x="30719" y="2875"/>
                  <a:pt x="30875" y="2750"/>
                  <a:pt x="30688" y="2563"/>
                </a:cubicBezTo>
                <a:cubicBezTo>
                  <a:pt x="30688" y="2563"/>
                  <a:pt x="30688" y="2532"/>
                  <a:pt x="30688" y="2532"/>
                </a:cubicBezTo>
                <a:cubicBezTo>
                  <a:pt x="30688" y="2407"/>
                  <a:pt x="30625" y="2407"/>
                  <a:pt x="30563" y="2469"/>
                </a:cubicBezTo>
                <a:cubicBezTo>
                  <a:pt x="30406" y="2657"/>
                  <a:pt x="30188" y="2813"/>
                  <a:pt x="30094" y="3063"/>
                </a:cubicBezTo>
                <a:cubicBezTo>
                  <a:pt x="30031" y="3250"/>
                  <a:pt x="29938" y="3438"/>
                  <a:pt x="29781" y="3531"/>
                </a:cubicBezTo>
                <a:cubicBezTo>
                  <a:pt x="29750" y="3563"/>
                  <a:pt x="29688" y="3594"/>
                  <a:pt x="29656" y="3563"/>
                </a:cubicBezTo>
                <a:cubicBezTo>
                  <a:pt x="29594" y="3531"/>
                  <a:pt x="29656" y="3500"/>
                  <a:pt x="29656" y="3469"/>
                </a:cubicBezTo>
                <a:cubicBezTo>
                  <a:pt x="29719" y="3313"/>
                  <a:pt x="29781" y="3156"/>
                  <a:pt x="29844" y="2969"/>
                </a:cubicBezTo>
                <a:cubicBezTo>
                  <a:pt x="29969" y="2594"/>
                  <a:pt x="30094" y="2219"/>
                  <a:pt x="30156" y="1813"/>
                </a:cubicBezTo>
                <a:cubicBezTo>
                  <a:pt x="30156" y="1782"/>
                  <a:pt x="30219" y="1719"/>
                  <a:pt x="30156" y="1719"/>
                </a:cubicBezTo>
                <a:cubicBezTo>
                  <a:pt x="30125" y="1688"/>
                  <a:pt x="30063" y="1688"/>
                  <a:pt x="30031" y="1750"/>
                </a:cubicBezTo>
                <a:cubicBezTo>
                  <a:pt x="30000" y="1782"/>
                  <a:pt x="29969" y="1813"/>
                  <a:pt x="29969" y="1844"/>
                </a:cubicBezTo>
                <a:cubicBezTo>
                  <a:pt x="29813" y="2157"/>
                  <a:pt x="29625" y="2438"/>
                  <a:pt x="29438" y="2750"/>
                </a:cubicBezTo>
                <a:cubicBezTo>
                  <a:pt x="29219" y="3125"/>
                  <a:pt x="28969" y="3500"/>
                  <a:pt x="28719" y="3875"/>
                </a:cubicBezTo>
                <a:cubicBezTo>
                  <a:pt x="28625" y="4031"/>
                  <a:pt x="28563" y="4188"/>
                  <a:pt x="28406" y="4281"/>
                </a:cubicBezTo>
                <a:cubicBezTo>
                  <a:pt x="28406" y="4281"/>
                  <a:pt x="28406" y="4281"/>
                  <a:pt x="28406" y="4281"/>
                </a:cubicBezTo>
                <a:cubicBezTo>
                  <a:pt x="28406" y="4313"/>
                  <a:pt x="28406" y="4344"/>
                  <a:pt x="28375" y="4344"/>
                </a:cubicBezTo>
                <a:cubicBezTo>
                  <a:pt x="28281" y="4531"/>
                  <a:pt x="28219" y="4688"/>
                  <a:pt x="28063" y="4813"/>
                </a:cubicBezTo>
                <a:cubicBezTo>
                  <a:pt x="28156" y="4625"/>
                  <a:pt x="28281" y="4406"/>
                  <a:pt x="28406" y="4219"/>
                </a:cubicBezTo>
                <a:cubicBezTo>
                  <a:pt x="28406" y="4156"/>
                  <a:pt x="28438" y="4125"/>
                  <a:pt x="28438" y="4094"/>
                </a:cubicBezTo>
                <a:cubicBezTo>
                  <a:pt x="28563" y="3813"/>
                  <a:pt x="28688" y="3531"/>
                  <a:pt x="28750" y="3219"/>
                </a:cubicBezTo>
                <a:cubicBezTo>
                  <a:pt x="28781" y="2906"/>
                  <a:pt x="28844" y="2625"/>
                  <a:pt x="28938" y="2313"/>
                </a:cubicBezTo>
                <a:cubicBezTo>
                  <a:pt x="29063" y="1875"/>
                  <a:pt x="29156" y="1438"/>
                  <a:pt x="29281" y="1000"/>
                </a:cubicBezTo>
                <a:cubicBezTo>
                  <a:pt x="29281" y="969"/>
                  <a:pt x="29313" y="938"/>
                  <a:pt x="29250" y="938"/>
                </a:cubicBezTo>
                <a:cubicBezTo>
                  <a:pt x="29188" y="938"/>
                  <a:pt x="29094" y="969"/>
                  <a:pt x="29094" y="1032"/>
                </a:cubicBezTo>
                <a:cubicBezTo>
                  <a:pt x="29000" y="1344"/>
                  <a:pt x="28844" y="1594"/>
                  <a:pt x="28719" y="1875"/>
                </a:cubicBezTo>
                <a:cubicBezTo>
                  <a:pt x="28719" y="1938"/>
                  <a:pt x="28688" y="2000"/>
                  <a:pt x="28594" y="1969"/>
                </a:cubicBezTo>
                <a:cubicBezTo>
                  <a:pt x="28531" y="1938"/>
                  <a:pt x="28531" y="1844"/>
                  <a:pt x="28563" y="1813"/>
                </a:cubicBezTo>
                <a:cubicBezTo>
                  <a:pt x="28625" y="1719"/>
                  <a:pt x="28625" y="1625"/>
                  <a:pt x="28656" y="1532"/>
                </a:cubicBezTo>
                <a:cubicBezTo>
                  <a:pt x="28750" y="1250"/>
                  <a:pt x="28750" y="969"/>
                  <a:pt x="28875" y="688"/>
                </a:cubicBezTo>
                <a:cubicBezTo>
                  <a:pt x="28906" y="625"/>
                  <a:pt x="28906" y="594"/>
                  <a:pt x="28906" y="532"/>
                </a:cubicBezTo>
                <a:cubicBezTo>
                  <a:pt x="28844" y="563"/>
                  <a:pt x="28844" y="594"/>
                  <a:pt x="28813" y="625"/>
                </a:cubicBezTo>
                <a:cubicBezTo>
                  <a:pt x="28688" y="1032"/>
                  <a:pt x="28531" y="1438"/>
                  <a:pt x="28313" y="1782"/>
                </a:cubicBezTo>
                <a:cubicBezTo>
                  <a:pt x="28313" y="1813"/>
                  <a:pt x="28313" y="1844"/>
                  <a:pt x="28281" y="1844"/>
                </a:cubicBezTo>
                <a:cubicBezTo>
                  <a:pt x="28219" y="1844"/>
                  <a:pt x="28219" y="1813"/>
                  <a:pt x="28219" y="1782"/>
                </a:cubicBezTo>
                <a:cubicBezTo>
                  <a:pt x="28219" y="1688"/>
                  <a:pt x="28219" y="1594"/>
                  <a:pt x="28250" y="1532"/>
                </a:cubicBezTo>
                <a:cubicBezTo>
                  <a:pt x="28375" y="1250"/>
                  <a:pt x="28406" y="938"/>
                  <a:pt x="28500" y="625"/>
                </a:cubicBezTo>
                <a:cubicBezTo>
                  <a:pt x="28531" y="594"/>
                  <a:pt x="28531" y="563"/>
                  <a:pt x="28469" y="563"/>
                </a:cubicBezTo>
                <a:cubicBezTo>
                  <a:pt x="28438" y="532"/>
                  <a:pt x="28406" y="532"/>
                  <a:pt x="28406" y="594"/>
                </a:cubicBezTo>
                <a:cubicBezTo>
                  <a:pt x="28344" y="813"/>
                  <a:pt x="28219" y="1032"/>
                  <a:pt x="28156" y="1219"/>
                </a:cubicBezTo>
                <a:cubicBezTo>
                  <a:pt x="28000" y="1532"/>
                  <a:pt x="27875" y="1813"/>
                  <a:pt x="27750" y="2094"/>
                </a:cubicBezTo>
                <a:cubicBezTo>
                  <a:pt x="27563" y="2438"/>
                  <a:pt x="27344" y="2782"/>
                  <a:pt x="27188" y="3125"/>
                </a:cubicBezTo>
                <a:cubicBezTo>
                  <a:pt x="27156" y="3250"/>
                  <a:pt x="27031" y="3344"/>
                  <a:pt x="26938" y="3406"/>
                </a:cubicBezTo>
                <a:cubicBezTo>
                  <a:pt x="26906" y="3438"/>
                  <a:pt x="26844" y="3438"/>
                  <a:pt x="26813" y="3406"/>
                </a:cubicBezTo>
                <a:cubicBezTo>
                  <a:pt x="26781" y="3406"/>
                  <a:pt x="26813" y="3375"/>
                  <a:pt x="26813" y="3344"/>
                </a:cubicBezTo>
                <a:cubicBezTo>
                  <a:pt x="27000" y="2844"/>
                  <a:pt x="27125" y="2344"/>
                  <a:pt x="27250" y="1844"/>
                </a:cubicBezTo>
                <a:cubicBezTo>
                  <a:pt x="27281" y="1594"/>
                  <a:pt x="27313" y="1375"/>
                  <a:pt x="27344" y="1157"/>
                </a:cubicBezTo>
                <a:cubicBezTo>
                  <a:pt x="27344" y="1125"/>
                  <a:pt x="27344" y="1094"/>
                  <a:pt x="27313" y="1094"/>
                </a:cubicBezTo>
                <a:cubicBezTo>
                  <a:pt x="27281" y="1094"/>
                  <a:pt x="27250" y="1125"/>
                  <a:pt x="27250" y="1157"/>
                </a:cubicBezTo>
                <a:cubicBezTo>
                  <a:pt x="27250" y="1219"/>
                  <a:pt x="27219" y="1282"/>
                  <a:pt x="27188" y="1344"/>
                </a:cubicBezTo>
                <a:cubicBezTo>
                  <a:pt x="27063" y="1782"/>
                  <a:pt x="26969" y="2219"/>
                  <a:pt x="26719" y="2625"/>
                </a:cubicBezTo>
                <a:cubicBezTo>
                  <a:pt x="26813" y="2157"/>
                  <a:pt x="26938" y="1750"/>
                  <a:pt x="27125" y="1344"/>
                </a:cubicBezTo>
                <a:cubicBezTo>
                  <a:pt x="27156" y="907"/>
                  <a:pt x="27188" y="469"/>
                  <a:pt x="27250" y="32"/>
                </a:cubicBezTo>
                <a:cubicBezTo>
                  <a:pt x="27250" y="0"/>
                  <a:pt x="27219" y="0"/>
                  <a:pt x="27219" y="32"/>
                </a:cubicBezTo>
                <a:cubicBezTo>
                  <a:pt x="27031" y="282"/>
                  <a:pt x="26938" y="532"/>
                  <a:pt x="26875" y="782"/>
                </a:cubicBezTo>
                <a:cubicBezTo>
                  <a:pt x="26750" y="1032"/>
                  <a:pt x="26688" y="1313"/>
                  <a:pt x="26563" y="1563"/>
                </a:cubicBezTo>
                <a:cubicBezTo>
                  <a:pt x="26531" y="1594"/>
                  <a:pt x="26531" y="1625"/>
                  <a:pt x="26531" y="1657"/>
                </a:cubicBezTo>
                <a:cubicBezTo>
                  <a:pt x="26563" y="1657"/>
                  <a:pt x="26594" y="1657"/>
                  <a:pt x="26594" y="1657"/>
                </a:cubicBezTo>
                <a:cubicBezTo>
                  <a:pt x="26656" y="1657"/>
                  <a:pt x="26719" y="1625"/>
                  <a:pt x="26719" y="1563"/>
                </a:cubicBezTo>
                <a:cubicBezTo>
                  <a:pt x="26719" y="1500"/>
                  <a:pt x="26688" y="1407"/>
                  <a:pt x="26813" y="1407"/>
                </a:cubicBezTo>
                <a:cubicBezTo>
                  <a:pt x="26875" y="1438"/>
                  <a:pt x="26844" y="1532"/>
                  <a:pt x="26844" y="1563"/>
                </a:cubicBezTo>
                <a:cubicBezTo>
                  <a:pt x="26813" y="1719"/>
                  <a:pt x="26656" y="1813"/>
                  <a:pt x="26531" y="1750"/>
                </a:cubicBezTo>
                <a:cubicBezTo>
                  <a:pt x="26469" y="1750"/>
                  <a:pt x="26469" y="1750"/>
                  <a:pt x="26438" y="1813"/>
                </a:cubicBezTo>
                <a:cubicBezTo>
                  <a:pt x="26406" y="1875"/>
                  <a:pt x="26406" y="2000"/>
                  <a:pt x="26313" y="2063"/>
                </a:cubicBezTo>
                <a:cubicBezTo>
                  <a:pt x="26281" y="2094"/>
                  <a:pt x="26250" y="2125"/>
                  <a:pt x="26219" y="2157"/>
                </a:cubicBezTo>
                <a:cubicBezTo>
                  <a:pt x="26000" y="2219"/>
                  <a:pt x="25813" y="2282"/>
                  <a:pt x="25594" y="2313"/>
                </a:cubicBezTo>
                <a:cubicBezTo>
                  <a:pt x="25219" y="2375"/>
                  <a:pt x="24875" y="2344"/>
                  <a:pt x="24531" y="2282"/>
                </a:cubicBezTo>
                <a:cubicBezTo>
                  <a:pt x="24219" y="2219"/>
                  <a:pt x="23938" y="2032"/>
                  <a:pt x="23625" y="1969"/>
                </a:cubicBezTo>
                <a:cubicBezTo>
                  <a:pt x="23594" y="1938"/>
                  <a:pt x="23531" y="1907"/>
                  <a:pt x="23469" y="1938"/>
                </a:cubicBezTo>
                <a:cubicBezTo>
                  <a:pt x="23469" y="2000"/>
                  <a:pt x="23500" y="2000"/>
                  <a:pt x="23531" y="2032"/>
                </a:cubicBezTo>
                <a:cubicBezTo>
                  <a:pt x="23656" y="2063"/>
                  <a:pt x="23781" y="2094"/>
                  <a:pt x="23875" y="2125"/>
                </a:cubicBezTo>
                <a:cubicBezTo>
                  <a:pt x="24000" y="2219"/>
                  <a:pt x="24125" y="2313"/>
                  <a:pt x="24250" y="2375"/>
                </a:cubicBezTo>
                <a:cubicBezTo>
                  <a:pt x="24313" y="2407"/>
                  <a:pt x="24344" y="2469"/>
                  <a:pt x="24313" y="2532"/>
                </a:cubicBezTo>
                <a:cubicBezTo>
                  <a:pt x="24313" y="2594"/>
                  <a:pt x="24313" y="2625"/>
                  <a:pt x="24406" y="2657"/>
                </a:cubicBezTo>
                <a:cubicBezTo>
                  <a:pt x="24656" y="2719"/>
                  <a:pt x="24938" y="2750"/>
                  <a:pt x="25219" y="2719"/>
                </a:cubicBezTo>
                <a:cubicBezTo>
                  <a:pt x="25500" y="2688"/>
                  <a:pt x="25813" y="2625"/>
                  <a:pt x="26094" y="2844"/>
                </a:cubicBezTo>
                <a:cubicBezTo>
                  <a:pt x="26031" y="2906"/>
                  <a:pt x="26000" y="2969"/>
                  <a:pt x="25906" y="3000"/>
                </a:cubicBezTo>
                <a:cubicBezTo>
                  <a:pt x="25719" y="3063"/>
                  <a:pt x="25563" y="3094"/>
                  <a:pt x="25406" y="3063"/>
                </a:cubicBezTo>
                <a:cubicBezTo>
                  <a:pt x="25188" y="3063"/>
                  <a:pt x="24969" y="3094"/>
                  <a:pt x="24750" y="3094"/>
                </a:cubicBezTo>
                <a:cubicBezTo>
                  <a:pt x="24594" y="3094"/>
                  <a:pt x="24469" y="3063"/>
                  <a:pt x="24344" y="3031"/>
                </a:cubicBezTo>
                <a:cubicBezTo>
                  <a:pt x="24250" y="3000"/>
                  <a:pt x="24156" y="3063"/>
                  <a:pt x="24063" y="3094"/>
                </a:cubicBezTo>
                <a:cubicBezTo>
                  <a:pt x="24188" y="3125"/>
                  <a:pt x="24313" y="3125"/>
                  <a:pt x="24344" y="3281"/>
                </a:cubicBezTo>
                <a:cubicBezTo>
                  <a:pt x="24344" y="3281"/>
                  <a:pt x="24406" y="3281"/>
                  <a:pt x="24438" y="3313"/>
                </a:cubicBezTo>
                <a:cubicBezTo>
                  <a:pt x="24563" y="3313"/>
                  <a:pt x="24688" y="3375"/>
                  <a:pt x="24844" y="3344"/>
                </a:cubicBezTo>
                <a:cubicBezTo>
                  <a:pt x="25031" y="3281"/>
                  <a:pt x="25219" y="3406"/>
                  <a:pt x="25406" y="3406"/>
                </a:cubicBezTo>
                <a:cubicBezTo>
                  <a:pt x="25500" y="3406"/>
                  <a:pt x="25594" y="3438"/>
                  <a:pt x="25563" y="3281"/>
                </a:cubicBezTo>
                <a:cubicBezTo>
                  <a:pt x="25625" y="3344"/>
                  <a:pt x="25750" y="3375"/>
                  <a:pt x="25781" y="3438"/>
                </a:cubicBezTo>
                <a:cubicBezTo>
                  <a:pt x="25813" y="3531"/>
                  <a:pt x="25875" y="3594"/>
                  <a:pt x="25969" y="3594"/>
                </a:cubicBezTo>
                <a:cubicBezTo>
                  <a:pt x="26000" y="3594"/>
                  <a:pt x="26031" y="3594"/>
                  <a:pt x="26000" y="3625"/>
                </a:cubicBezTo>
                <a:cubicBezTo>
                  <a:pt x="26000" y="3656"/>
                  <a:pt x="26000" y="3688"/>
                  <a:pt x="25969" y="3719"/>
                </a:cubicBezTo>
                <a:cubicBezTo>
                  <a:pt x="25781" y="3750"/>
                  <a:pt x="25625" y="3813"/>
                  <a:pt x="25438" y="3875"/>
                </a:cubicBezTo>
                <a:cubicBezTo>
                  <a:pt x="24719" y="3969"/>
                  <a:pt x="24031" y="3875"/>
                  <a:pt x="23313" y="3781"/>
                </a:cubicBezTo>
                <a:cubicBezTo>
                  <a:pt x="23063" y="3750"/>
                  <a:pt x="22844" y="3594"/>
                  <a:pt x="22563" y="3625"/>
                </a:cubicBezTo>
                <a:cubicBezTo>
                  <a:pt x="22563" y="3656"/>
                  <a:pt x="22531" y="3625"/>
                  <a:pt x="22500" y="3625"/>
                </a:cubicBezTo>
                <a:cubicBezTo>
                  <a:pt x="22469" y="3469"/>
                  <a:pt x="22344" y="3531"/>
                  <a:pt x="22250" y="3531"/>
                </a:cubicBezTo>
                <a:cubicBezTo>
                  <a:pt x="22219" y="3531"/>
                  <a:pt x="22188" y="3531"/>
                  <a:pt x="22156" y="3531"/>
                </a:cubicBezTo>
                <a:cubicBezTo>
                  <a:pt x="22063" y="3531"/>
                  <a:pt x="22000" y="3438"/>
                  <a:pt x="21906" y="3406"/>
                </a:cubicBezTo>
                <a:cubicBezTo>
                  <a:pt x="21750" y="3344"/>
                  <a:pt x="21563" y="3344"/>
                  <a:pt x="21406" y="3219"/>
                </a:cubicBezTo>
                <a:cubicBezTo>
                  <a:pt x="21406" y="3188"/>
                  <a:pt x="21375" y="3188"/>
                  <a:pt x="21375" y="3219"/>
                </a:cubicBezTo>
                <a:cubicBezTo>
                  <a:pt x="21313" y="3281"/>
                  <a:pt x="21281" y="3219"/>
                  <a:pt x="21219" y="3219"/>
                </a:cubicBezTo>
                <a:cubicBezTo>
                  <a:pt x="21125" y="3188"/>
                  <a:pt x="21031" y="3156"/>
                  <a:pt x="20938" y="3156"/>
                </a:cubicBezTo>
                <a:cubicBezTo>
                  <a:pt x="20750" y="3125"/>
                  <a:pt x="20563" y="3125"/>
                  <a:pt x="20406" y="2969"/>
                </a:cubicBezTo>
                <a:cubicBezTo>
                  <a:pt x="20375" y="2906"/>
                  <a:pt x="20375" y="2938"/>
                  <a:pt x="20344" y="2969"/>
                </a:cubicBezTo>
                <a:cubicBezTo>
                  <a:pt x="20281" y="3000"/>
                  <a:pt x="20250" y="2969"/>
                  <a:pt x="20219" y="2938"/>
                </a:cubicBezTo>
                <a:cubicBezTo>
                  <a:pt x="20156" y="2875"/>
                  <a:pt x="20156" y="2813"/>
                  <a:pt x="20156" y="2750"/>
                </a:cubicBezTo>
                <a:cubicBezTo>
                  <a:pt x="20000" y="2875"/>
                  <a:pt x="20000" y="2875"/>
                  <a:pt x="19781" y="2782"/>
                </a:cubicBezTo>
                <a:cubicBezTo>
                  <a:pt x="19750" y="2782"/>
                  <a:pt x="19750" y="2782"/>
                  <a:pt x="19719" y="2782"/>
                </a:cubicBezTo>
                <a:cubicBezTo>
                  <a:pt x="19406" y="2657"/>
                  <a:pt x="19063" y="2532"/>
                  <a:pt x="18719" y="2500"/>
                </a:cubicBezTo>
                <a:cubicBezTo>
                  <a:pt x="18656" y="2469"/>
                  <a:pt x="18594" y="2500"/>
                  <a:pt x="18625" y="2375"/>
                </a:cubicBezTo>
                <a:cubicBezTo>
                  <a:pt x="18656" y="2313"/>
                  <a:pt x="18563" y="2250"/>
                  <a:pt x="18500" y="2219"/>
                </a:cubicBezTo>
                <a:cubicBezTo>
                  <a:pt x="18438" y="2188"/>
                  <a:pt x="18469" y="2282"/>
                  <a:pt x="18438" y="2313"/>
                </a:cubicBezTo>
                <a:cubicBezTo>
                  <a:pt x="18406" y="2344"/>
                  <a:pt x="18375" y="2407"/>
                  <a:pt x="18313" y="2344"/>
                </a:cubicBezTo>
                <a:cubicBezTo>
                  <a:pt x="18250" y="2313"/>
                  <a:pt x="18219" y="2375"/>
                  <a:pt x="18188" y="2375"/>
                </a:cubicBezTo>
                <a:cubicBezTo>
                  <a:pt x="18156" y="2407"/>
                  <a:pt x="18125" y="2407"/>
                  <a:pt x="18094" y="2375"/>
                </a:cubicBezTo>
                <a:cubicBezTo>
                  <a:pt x="18094" y="2375"/>
                  <a:pt x="18094" y="2344"/>
                  <a:pt x="18094" y="2344"/>
                </a:cubicBezTo>
                <a:cubicBezTo>
                  <a:pt x="18094" y="2282"/>
                  <a:pt x="18125" y="2313"/>
                  <a:pt x="18156" y="2313"/>
                </a:cubicBezTo>
                <a:cubicBezTo>
                  <a:pt x="18188" y="2313"/>
                  <a:pt x="18219" y="2313"/>
                  <a:pt x="18250" y="2282"/>
                </a:cubicBezTo>
                <a:cubicBezTo>
                  <a:pt x="18219" y="2282"/>
                  <a:pt x="18188" y="2250"/>
                  <a:pt x="18156" y="2250"/>
                </a:cubicBezTo>
                <a:cubicBezTo>
                  <a:pt x="18156" y="2250"/>
                  <a:pt x="18156" y="2250"/>
                  <a:pt x="18125" y="2250"/>
                </a:cubicBezTo>
                <a:cubicBezTo>
                  <a:pt x="18125" y="2250"/>
                  <a:pt x="18125" y="2250"/>
                  <a:pt x="18125" y="2250"/>
                </a:cubicBezTo>
                <a:cubicBezTo>
                  <a:pt x="18094" y="2250"/>
                  <a:pt x="18094" y="2250"/>
                  <a:pt x="18094" y="2219"/>
                </a:cubicBezTo>
                <a:cubicBezTo>
                  <a:pt x="18031" y="2250"/>
                  <a:pt x="18000" y="2188"/>
                  <a:pt x="17938" y="2219"/>
                </a:cubicBezTo>
                <a:cubicBezTo>
                  <a:pt x="17625" y="2313"/>
                  <a:pt x="17375" y="2188"/>
                  <a:pt x="17156" y="2032"/>
                </a:cubicBezTo>
                <a:cubicBezTo>
                  <a:pt x="17031" y="2000"/>
                  <a:pt x="16906" y="2063"/>
                  <a:pt x="16781" y="2000"/>
                </a:cubicBezTo>
                <a:cubicBezTo>
                  <a:pt x="16781" y="1969"/>
                  <a:pt x="16656" y="2000"/>
                  <a:pt x="16750" y="1907"/>
                </a:cubicBezTo>
                <a:cubicBezTo>
                  <a:pt x="16750" y="1875"/>
                  <a:pt x="16719" y="1875"/>
                  <a:pt x="16688" y="1875"/>
                </a:cubicBezTo>
                <a:cubicBezTo>
                  <a:pt x="16625" y="1875"/>
                  <a:pt x="16531" y="1875"/>
                  <a:pt x="16469" y="1875"/>
                </a:cubicBezTo>
                <a:cubicBezTo>
                  <a:pt x="16313" y="1907"/>
                  <a:pt x="16125" y="1844"/>
                  <a:pt x="16031" y="1750"/>
                </a:cubicBezTo>
                <a:cubicBezTo>
                  <a:pt x="15938" y="1657"/>
                  <a:pt x="15906" y="1688"/>
                  <a:pt x="15813" y="1688"/>
                </a:cubicBezTo>
                <a:cubicBezTo>
                  <a:pt x="15781" y="1719"/>
                  <a:pt x="15750" y="1688"/>
                  <a:pt x="15719" y="1688"/>
                </a:cubicBezTo>
                <a:cubicBezTo>
                  <a:pt x="15531" y="1657"/>
                  <a:pt x="15406" y="1532"/>
                  <a:pt x="15219" y="1594"/>
                </a:cubicBezTo>
                <a:cubicBezTo>
                  <a:pt x="15219" y="1594"/>
                  <a:pt x="15188" y="1594"/>
                  <a:pt x="15188" y="1563"/>
                </a:cubicBezTo>
                <a:cubicBezTo>
                  <a:pt x="15094" y="1469"/>
                  <a:pt x="14938" y="1469"/>
                  <a:pt x="14813" y="1469"/>
                </a:cubicBezTo>
                <a:cubicBezTo>
                  <a:pt x="14781" y="1469"/>
                  <a:pt x="14719" y="1469"/>
                  <a:pt x="14719" y="1407"/>
                </a:cubicBezTo>
                <a:cubicBezTo>
                  <a:pt x="14719" y="1313"/>
                  <a:pt x="14688" y="1313"/>
                  <a:pt x="14594" y="1375"/>
                </a:cubicBezTo>
                <a:cubicBezTo>
                  <a:pt x="14563" y="1375"/>
                  <a:pt x="14531" y="1375"/>
                  <a:pt x="14469" y="1344"/>
                </a:cubicBezTo>
                <a:cubicBezTo>
                  <a:pt x="14406" y="1313"/>
                  <a:pt x="14313" y="1282"/>
                  <a:pt x="14219" y="1282"/>
                </a:cubicBezTo>
                <a:cubicBezTo>
                  <a:pt x="14188" y="1282"/>
                  <a:pt x="14188" y="1282"/>
                  <a:pt x="14156" y="1250"/>
                </a:cubicBezTo>
                <a:cubicBezTo>
                  <a:pt x="14094" y="1188"/>
                  <a:pt x="14063" y="1188"/>
                  <a:pt x="13969" y="1219"/>
                </a:cubicBezTo>
                <a:cubicBezTo>
                  <a:pt x="14000" y="1250"/>
                  <a:pt x="14031" y="1250"/>
                  <a:pt x="14125" y="1282"/>
                </a:cubicBezTo>
                <a:cubicBezTo>
                  <a:pt x="13938" y="1344"/>
                  <a:pt x="13875" y="1313"/>
                  <a:pt x="13844" y="1188"/>
                </a:cubicBezTo>
                <a:cubicBezTo>
                  <a:pt x="13844" y="1188"/>
                  <a:pt x="13813" y="1188"/>
                  <a:pt x="13813" y="1188"/>
                </a:cubicBezTo>
                <a:cubicBezTo>
                  <a:pt x="13688" y="1094"/>
                  <a:pt x="13531" y="1188"/>
                  <a:pt x="13406" y="1125"/>
                </a:cubicBezTo>
                <a:cubicBezTo>
                  <a:pt x="13375" y="1125"/>
                  <a:pt x="13281" y="1219"/>
                  <a:pt x="13281" y="1063"/>
                </a:cubicBezTo>
                <a:cubicBezTo>
                  <a:pt x="13313" y="1032"/>
                  <a:pt x="13250" y="1063"/>
                  <a:pt x="13219" y="1063"/>
                </a:cubicBezTo>
                <a:cubicBezTo>
                  <a:pt x="13188" y="1094"/>
                  <a:pt x="13094" y="1157"/>
                  <a:pt x="13094" y="1125"/>
                </a:cubicBezTo>
                <a:cubicBezTo>
                  <a:pt x="13031" y="1000"/>
                  <a:pt x="12969" y="1063"/>
                  <a:pt x="12938" y="1094"/>
                </a:cubicBezTo>
                <a:cubicBezTo>
                  <a:pt x="12906" y="1094"/>
                  <a:pt x="12906" y="1063"/>
                  <a:pt x="12875" y="1063"/>
                </a:cubicBezTo>
                <a:cubicBezTo>
                  <a:pt x="12875" y="1063"/>
                  <a:pt x="12844" y="1063"/>
                  <a:pt x="12813" y="1063"/>
                </a:cubicBezTo>
                <a:cubicBezTo>
                  <a:pt x="12813" y="1094"/>
                  <a:pt x="12750" y="1063"/>
                  <a:pt x="12750" y="1125"/>
                </a:cubicBezTo>
                <a:cubicBezTo>
                  <a:pt x="12750" y="1157"/>
                  <a:pt x="12781" y="1157"/>
                  <a:pt x="12813" y="1157"/>
                </a:cubicBezTo>
                <a:cubicBezTo>
                  <a:pt x="12875" y="1188"/>
                  <a:pt x="12969" y="1188"/>
                  <a:pt x="13031" y="1188"/>
                </a:cubicBezTo>
                <a:cubicBezTo>
                  <a:pt x="13094" y="1188"/>
                  <a:pt x="13156" y="1188"/>
                  <a:pt x="13219" y="1250"/>
                </a:cubicBezTo>
                <a:cubicBezTo>
                  <a:pt x="13000" y="1250"/>
                  <a:pt x="12781" y="1250"/>
                  <a:pt x="12625" y="1157"/>
                </a:cubicBezTo>
                <a:cubicBezTo>
                  <a:pt x="12563" y="1125"/>
                  <a:pt x="12531" y="1125"/>
                  <a:pt x="12500" y="1157"/>
                </a:cubicBezTo>
                <a:cubicBezTo>
                  <a:pt x="12406" y="1188"/>
                  <a:pt x="12313" y="1157"/>
                  <a:pt x="12188" y="1157"/>
                </a:cubicBezTo>
                <a:cubicBezTo>
                  <a:pt x="12156" y="1157"/>
                  <a:pt x="12156" y="1125"/>
                  <a:pt x="12125" y="1063"/>
                </a:cubicBezTo>
                <a:cubicBezTo>
                  <a:pt x="12125" y="1000"/>
                  <a:pt x="12125" y="1000"/>
                  <a:pt x="12063" y="1032"/>
                </a:cubicBezTo>
                <a:cubicBezTo>
                  <a:pt x="12000" y="1063"/>
                  <a:pt x="11938" y="1094"/>
                  <a:pt x="11844" y="1032"/>
                </a:cubicBezTo>
                <a:cubicBezTo>
                  <a:pt x="11844" y="1000"/>
                  <a:pt x="11844" y="969"/>
                  <a:pt x="11813" y="907"/>
                </a:cubicBezTo>
                <a:cubicBezTo>
                  <a:pt x="11813" y="907"/>
                  <a:pt x="11781" y="875"/>
                  <a:pt x="11750" y="875"/>
                </a:cubicBezTo>
                <a:cubicBezTo>
                  <a:pt x="11719" y="875"/>
                  <a:pt x="11750" y="938"/>
                  <a:pt x="11750" y="938"/>
                </a:cubicBezTo>
                <a:cubicBezTo>
                  <a:pt x="11719" y="1032"/>
                  <a:pt x="11781" y="1032"/>
                  <a:pt x="11844" y="1032"/>
                </a:cubicBezTo>
                <a:cubicBezTo>
                  <a:pt x="11688" y="1250"/>
                  <a:pt x="11719" y="1000"/>
                  <a:pt x="11656" y="969"/>
                </a:cubicBezTo>
                <a:cubicBezTo>
                  <a:pt x="11563" y="969"/>
                  <a:pt x="11531" y="875"/>
                  <a:pt x="11469" y="875"/>
                </a:cubicBezTo>
                <a:cubicBezTo>
                  <a:pt x="11313" y="844"/>
                  <a:pt x="11188" y="1032"/>
                  <a:pt x="11063" y="875"/>
                </a:cubicBezTo>
                <a:cubicBezTo>
                  <a:pt x="11063" y="875"/>
                  <a:pt x="11031" y="875"/>
                  <a:pt x="11000" y="907"/>
                </a:cubicBezTo>
                <a:cubicBezTo>
                  <a:pt x="10938" y="1000"/>
                  <a:pt x="10875" y="938"/>
                  <a:pt x="10813" y="875"/>
                </a:cubicBezTo>
                <a:cubicBezTo>
                  <a:pt x="10781" y="844"/>
                  <a:pt x="10750" y="844"/>
                  <a:pt x="10719" y="813"/>
                </a:cubicBezTo>
                <a:cubicBezTo>
                  <a:pt x="10469" y="782"/>
                  <a:pt x="10188" y="875"/>
                  <a:pt x="9938" y="813"/>
                </a:cubicBezTo>
                <a:cubicBezTo>
                  <a:pt x="9906" y="813"/>
                  <a:pt x="9875" y="813"/>
                  <a:pt x="9844" y="875"/>
                </a:cubicBezTo>
                <a:cubicBezTo>
                  <a:pt x="10000" y="907"/>
                  <a:pt x="10125" y="969"/>
                  <a:pt x="10313" y="907"/>
                </a:cubicBezTo>
                <a:cubicBezTo>
                  <a:pt x="10313" y="907"/>
                  <a:pt x="10375" y="875"/>
                  <a:pt x="10375" y="907"/>
                </a:cubicBezTo>
                <a:cubicBezTo>
                  <a:pt x="10406" y="969"/>
                  <a:pt x="10344" y="938"/>
                  <a:pt x="10281" y="969"/>
                </a:cubicBezTo>
                <a:cubicBezTo>
                  <a:pt x="10375" y="969"/>
                  <a:pt x="10438" y="969"/>
                  <a:pt x="10469" y="969"/>
                </a:cubicBezTo>
                <a:cubicBezTo>
                  <a:pt x="10750" y="1000"/>
                  <a:pt x="11000" y="969"/>
                  <a:pt x="11250" y="1000"/>
                </a:cubicBezTo>
                <a:cubicBezTo>
                  <a:pt x="11313" y="1032"/>
                  <a:pt x="11406" y="1125"/>
                  <a:pt x="11438" y="969"/>
                </a:cubicBezTo>
                <a:cubicBezTo>
                  <a:pt x="11438" y="969"/>
                  <a:pt x="11469" y="969"/>
                  <a:pt x="11469" y="969"/>
                </a:cubicBezTo>
                <a:cubicBezTo>
                  <a:pt x="11500" y="1000"/>
                  <a:pt x="11594" y="1032"/>
                  <a:pt x="11594" y="1125"/>
                </a:cubicBezTo>
                <a:cubicBezTo>
                  <a:pt x="11406" y="1125"/>
                  <a:pt x="11250" y="1125"/>
                  <a:pt x="11094" y="1125"/>
                </a:cubicBezTo>
                <a:cubicBezTo>
                  <a:pt x="10906" y="1125"/>
                  <a:pt x="10750" y="1094"/>
                  <a:pt x="10594" y="1094"/>
                </a:cubicBezTo>
                <a:cubicBezTo>
                  <a:pt x="10438" y="1063"/>
                  <a:pt x="10250" y="1125"/>
                  <a:pt x="10094" y="1125"/>
                </a:cubicBezTo>
                <a:cubicBezTo>
                  <a:pt x="9438" y="1125"/>
                  <a:pt x="8813" y="1219"/>
                  <a:pt x="8188" y="1313"/>
                </a:cubicBezTo>
                <a:cubicBezTo>
                  <a:pt x="8031" y="1344"/>
                  <a:pt x="7875" y="1469"/>
                  <a:pt x="7719" y="1375"/>
                </a:cubicBezTo>
                <a:cubicBezTo>
                  <a:pt x="7656" y="1407"/>
                  <a:pt x="7688" y="1438"/>
                  <a:pt x="7688" y="1469"/>
                </a:cubicBezTo>
                <a:cubicBezTo>
                  <a:pt x="7719" y="1500"/>
                  <a:pt x="7781" y="1532"/>
                  <a:pt x="7719" y="1563"/>
                </a:cubicBezTo>
                <a:cubicBezTo>
                  <a:pt x="7656" y="1594"/>
                  <a:pt x="7656" y="1532"/>
                  <a:pt x="7625" y="1500"/>
                </a:cubicBezTo>
                <a:cubicBezTo>
                  <a:pt x="7625" y="1469"/>
                  <a:pt x="7625" y="1469"/>
                  <a:pt x="7594" y="1438"/>
                </a:cubicBezTo>
                <a:cubicBezTo>
                  <a:pt x="7563" y="1438"/>
                  <a:pt x="7531" y="1438"/>
                  <a:pt x="7500" y="1438"/>
                </a:cubicBezTo>
                <a:cubicBezTo>
                  <a:pt x="7469" y="1500"/>
                  <a:pt x="7500" y="1532"/>
                  <a:pt x="7531" y="1563"/>
                </a:cubicBezTo>
                <a:cubicBezTo>
                  <a:pt x="7594" y="1625"/>
                  <a:pt x="7625" y="1657"/>
                  <a:pt x="7500" y="1688"/>
                </a:cubicBezTo>
                <a:cubicBezTo>
                  <a:pt x="7625" y="1750"/>
                  <a:pt x="7688" y="1688"/>
                  <a:pt x="7781" y="1688"/>
                </a:cubicBezTo>
                <a:cubicBezTo>
                  <a:pt x="7813" y="1657"/>
                  <a:pt x="7813" y="1657"/>
                  <a:pt x="7813" y="1657"/>
                </a:cubicBezTo>
                <a:cubicBezTo>
                  <a:pt x="7844" y="1438"/>
                  <a:pt x="7969" y="1563"/>
                  <a:pt x="8031" y="1563"/>
                </a:cubicBezTo>
                <a:cubicBezTo>
                  <a:pt x="8094" y="1594"/>
                  <a:pt x="8188" y="1657"/>
                  <a:pt x="8281" y="1625"/>
                </a:cubicBezTo>
                <a:cubicBezTo>
                  <a:pt x="8125" y="1750"/>
                  <a:pt x="7938" y="1688"/>
                  <a:pt x="7750" y="1750"/>
                </a:cubicBezTo>
                <a:cubicBezTo>
                  <a:pt x="7656" y="1782"/>
                  <a:pt x="7531" y="1813"/>
                  <a:pt x="7406" y="1813"/>
                </a:cubicBezTo>
                <a:cubicBezTo>
                  <a:pt x="7344" y="1813"/>
                  <a:pt x="7250" y="1844"/>
                  <a:pt x="7219" y="1938"/>
                </a:cubicBezTo>
                <a:cubicBezTo>
                  <a:pt x="7156" y="2094"/>
                  <a:pt x="7031" y="2125"/>
                  <a:pt x="6906" y="2000"/>
                </a:cubicBezTo>
                <a:cubicBezTo>
                  <a:pt x="6844" y="1938"/>
                  <a:pt x="6781" y="1969"/>
                  <a:pt x="6719" y="1969"/>
                </a:cubicBezTo>
                <a:cubicBezTo>
                  <a:pt x="6625" y="2000"/>
                  <a:pt x="6500" y="2032"/>
                  <a:pt x="6438" y="2094"/>
                </a:cubicBezTo>
                <a:cubicBezTo>
                  <a:pt x="6406" y="2125"/>
                  <a:pt x="6375" y="2157"/>
                  <a:pt x="6375" y="2125"/>
                </a:cubicBezTo>
                <a:cubicBezTo>
                  <a:pt x="6313" y="2032"/>
                  <a:pt x="6250" y="2094"/>
                  <a:pt x="6188" y="2125"/>
                </a:cubicBezTo>
                <a:cubicBezTo>
                  <a:pt x="5844" y="2188"/>
                  <a:pt x="5531" y="2282"/>
                  <a:pt x="5219" y="2407"/>
                </a:cubicBezTo>
                <a:cubicBezTo>
                  <a:pt x="4906" y="2500"/>
                  <a:pt x="4625" y="2625"/>
                  <a:pt x="4313" y="2750"/>
                </a:cubicBezTo>
                <a:cubicBezTo>
                  <a:pt x="4281" y="2750"/>
                  <a:pt x="4250" y="2782"/>
                  <a:pt x="4250" y="2813"/>
                </a:cubicBezTo>
                <a:cubicBezTo>
                  <a:pt x="4281" y="2844"/>
                  <a:pt x="4313" y="2875"/>
                  <a:pt x="4344" y="2844"/>
                </a:cubicBezTo>
                <a:cubicBezTo>
                  <a:pt x="4375" y="2813"/>
                  <a:pt x="4375" y="2813"/>
                  <a:pt x="4406" y="2844"/>
                </a:cubicBezTo>
                <a:cubicBezTo>
                  <a:pt x="4344" y="2906"/>
                  <a:pt x="4281" y="2938"/>
                  <a:pt x="4219" y="2969"/>
                </a:cubicBezTo>
                <a:cubicBezTo>
                  <a:pt x="4219" y="2969"/>
                  <a:pt x="4219" y="2969"/>
                  <a:pt x="4188" y="2969"/>
                </a:cubicBezTo>
                <a:cubicBezTo>
                  <a:pt x="4156" y="3000"/>
                  <a:pt x="4063" y="3000"/>
                  <a:pt x="4031" y="3000"/>
                </a:cubicBezTo>
                <a:cubicBezTo>
                  <a:pt x="3969" y="2969"/>
                  <a:pt x="4031" y="2906"/>
                  <a:pt x="4094" y="2906"/>
                </a:cubicBezTo>
                <a:cubicBezTo>
                  <a:pt x="4125" y="2906"/>
                  <a:pt x="4156" y="2906"/>
                  <a:pt x="4188" y="2906"/>
                </a:cubicBezTo>
                <a:cubicBezTo>
                  <a:pt x="4156" y="2782"/>
                  <a:pt x="4063" y="2813"/>
                  <a:pt x="3969" y="2844"/>
                </a:cubicBezTo>
                <a:cubicBezTo>
                  <a:pt x="3844" y="2906"/>
                  <a:pt x="3719" y="3031"/>
                  <a:pt x="3594" y="3063"/>
                </a:cubicBezTo>
                <a:cubicBezTo>
                  <a:pt x="3438" y="3125"/>
                  <a:pt x="3313" y="3156"/>
                  <a:pt x="3188" y="3250"/>
                </a:cubicBezTo>
                <a:cubicBezTo>
                  <a:pt x="3156" y="3250"/>
                  <a:pt x="3094" y="3250"/>
                  <a:pt x="3125" y="3281"/>
                </a:cubicBezTo>
                <a:cubicBezTo>
                  <a:pt x="3156" y="3344"/>
                  <a:pt x="3156" y="3406"/>
                  <a:pt x="3219" y="3438"/>
                </a:cubicBezTo>
                <a:cubicBezTo>
                  <a:pt x="3250" y="3438"/>
                  <a:pt x="3313" y="3438"/>
                  <a:pt x="3313" y="3375"/>
                </a:cubicBezTo>
                <a:cubicBezTo>
                  <a:pt x="3344" y="3313"/>
                  <a:pt x="3344" y="3281"/>
                  <a:pt x="3406" y="3344"/>
                </a:cubicBezTo>
                <a:cubicBezTo>
                  <a:pt x="3438" y="3375"/>
                  <a:pt x="3469" y="3344"/>
                  <a:pt x="3469" y="3313"/>
                </a:cubicBezTo>
                <a:cubicBezTo>
                  <a:pt x="3500" y="3250"/>
                  <a:pt x="3531" y="3250"/>
                  <a:pt x="3563" y="3313"/>
                </a:cubicBezTo>
                <a:cubicBezTo>
                  <a:pt x="3594" y="3344"/>
                  <a:pt x="3625" y="3344"/>
                  <a:pt x="3656" y="3313"/>
                </a:cubicBezTo>
                <a:cubicBezTo>
                  <a:pt x="3688" y="3313"/>
                  <a:pt x="3688" y="3250"/>
                  <a:pt x="3688" y="3219"/>
                </a:cubicBezTo>
                <a:cubicBezTo>
                  <a:pt x="3656" y="3188"/>
                  <a:pt x="3625" y="3156"/>
                  <a:pt x="3656" y="3125"/>
                </a:cubicBezTo>
                <a:cubicBezTo>
                  <a:pt x="3750" y="3094"/>
                  <a:pt x="3844" y="3156"/>
                  <a:pt x="3906" y="3188"/>
                </a:cubicBezTo>
                <a:cubicBezTo>
                  <a:pt x="4000" y="3219"/>
                  <a:pt x="4094" y="3281"/>
                  <a:pt x="4094" y="3125"/>
                </a:cubicBezTo>
                <a:cubicBezTo>
                  <a:pt x="4094" y="3094"/>
                  <a:pt x="4094" y="3094"/>
                  <a:pt x="4125" y="3094"/>
                </a:cubicBezTo>
                <a:cubicBezTo>
                  <a:pt x="4188" y="3156"/>
                  <a:pt x="4219" y="3063"/>
                  <a:pt x="4281" y="3031"/>
                </a:cubicBezTo>
                <a:cubicBezTo>
                  <a:pt x="4438" y="2906"/>
                  <a:pt x="4625" y="2906"/>
                  <a:pt x="4813" y="2844"/>
                </a:cubicBezTo>
                <a:cubicBezTo>
                  <a:pt x="4969" y="2782"/>
                  <a:pt x="5156" y="2750"/>
                  <a:pt x="5344" y="2813"/>
                </a:cubicBezTo>
                <a:cubicBezTo>
                  <a:pt x="5469" y="2844"/>
                  <a:pt x="5469" y="2844"/>
                  <a:pt x="5531" y="2750"/>
                </a:cubicBezTo>
                <a:cubicBezTo>
                  <a:pt x="5469" y="2719"/>
                  <a:pt x="5438" y="2750"/>
                  <a:pt x="5406" y="2719"/>
                </a:cubicBezTo>
                <a:cubicBezTo>
                  <a:pt x="5375" y="2719"/>
                  <a:pt x="5344" y="2688"/>
                  <a:pt x="5406" y="2657"/>
                </a:cubicBezTo>
                <a:cubicBezTo>
                  <a:pt x="5625" y="2563"/>
                  <a:pt x="5844" y="2407"/>
                  <a:pt x="6094" y="2407"/>
                </a:cubicBezTo>
                <a:cubicBezTo>
                  <a:pt x="6188" y="2407"/>
                  <a:pt x="6219" y="2375"/>
                  <a:pt x="6188" y="2282"/>
                </a:cubicBezTo>
                <a:cubicBezTo>
                  <a:pt x="6188" y="2250"/>
                  <a:pt x="6188" y="2188"/>
                  <a:pt x="6219" y="2188"/>
                </a:cubicBezTo>
                <a:cubicBezTo>
                  <a:pt x="6250" y="2188"/>
                  <a:pt x="6313" y="2219"/>
                  <a:pt x="6313" y="2250"/>
                </a:cubicBezTo>
                <a:cubicBezTo>
                  <a:pt x="6281" y="2344"/>
                  <a:pt x="6313" y="2344"/>
                  <a:pt x="6375" y="2375"/>
                </a:cubicBezTo>
                <a:cubicBezTo>
                  <a:pt x="6438" y="2375"/>
                  <a:pt x="6531" y="2407"/>
                  <a:pt x="6594" y="2438"/>
                </a:cubicBezTo>
                <a:cubicBezTo>
                  <a:pt x="6656" y="2438"/>
                  <a:pt x="6688" y="2407"/>
                  <a:pt x="6688" y="2344"/>
                </a:cubicBezTo>
                <a:cubicBezTo>
                  <a:pt x="6688" y="2250"/>
                  <a:pt x="6750" y="2219"/>
                  <a:pt x="6813" y="2219"/>
                </a:cubicBezTo>
                <a:cubicBezTo>
                  <a:pt x="7031" y="2282"/>
                  <a:pt x="7219" y="2219"/>
                  <a:pt x="7406" y="2157"/>
                </a:cubicBezTo>
                <a:cubicBezTo>
                  <a:pt x="7438" y="2188"/>
                  <a:pt x="7375" y="2219"/>
                  <a:pt x="7438" y="2282"/>
                </a:cubicBezTo>
                <a:cubicBezTo>
                  <a:pt x="7563" y="2125"/>
                  <a:pt x="7625" y="2250"/>
                  <a:pt x="7719" y="2313"/>
                </a:cubicBezTo>
                <a:cubicBezTo>
                  <a:pt x="7156" y="2469"/>
                  <a:pt x="6625" y="2657"/>
                  <a:pt x="6031" y="2688"/>
                </a:cubicBezTo>
                <a:cubicBezTo>
                  <a:pt x="6156" y="2782"/>
                  <a:pt x="6156" y="2782"/>
                  <a:pt x="6063" y="2844"/>
                </a:cubicBezTo>
                <a:cubicBezTo>
                  <a:pt x="6031" y="2906"/>
                  <a:pt x="6031" y="2969"/>
                  <a:pt x="6125" y="2938"/>
                </a:cubicBezTo>
                <a:cubicBezTo>
                  <a:pt x="6156" y="2938"/>
                  <a:pt x="6219" y="2938"/>
                  <a:pt x="6219" y="2969"/>
                </a:cubicBezTo>
                <a:cubicBezTo>
                  <a:pt x="6219" y="3031"/>
                  <a:pt x="6156" y="3000"/>
                  <a:pt x="6125" y="3000"/>
                </a:cubicBezTo>
                <a:cubicBezTo>
                  <a:pt x="6094" y="3000"/>
                  <a:pt x="6063" y="3031"/>
                  <a:pt x="6063" y="3063"/>
                </a:cubicBezTo>
                <a:cubicBezTo>
                  <a:pt x="6031" y="3094"/>
                  <a:pt x="6000" y="3031"/>
                  <a:pt x="6000" y="3031"/>
                </a:cubicBezTo>
                <a:cubicBezTo>
                  <a:pt x="6000" y="2906"/>
                  <a:pt x="5875" y="2938"/>
                  <a:pt x="5813" y="2875"/>
                </a:cubicBezTo>
                <a:cubicBezTo>
                  <a:pt x="5906" y="2875"/>
                  <a:pt x="5969" y="2844"/>
                  <a:pt x="6031" y="2813"/>
                </a:cubicBezTo>
                <a:cubicBezTo>
                  <a:pt x="6031" y="2750"/>
                  <a:pt x="6031" y="2750"/>
                  <a:pt x="5938" y="2782"/>
                </a:cubicBezTo>
                <a:cubicBezTo>
                  <a:pt x="5594" y="2813"/>
                  <a:pt x="5281" y="2938"/>
                  <a:pt x="4969" y="3031"/>
                </a:cubicBezTo>
                <a:cubicBezTo>
                  <a:pt x="4719" y="3125"/>
                  <a:pt x="4500" y="3219"/>
                  <a:pt x="4250" y="3313"/>
                </a:cubicBezTo>
                <a:cubicBezTo>
                  <a:pt x="4000" y="3438"/>
                  <a:pt x="3750" y="3469"/>
                  <a:pt x="3500" y="3594"/>
                </a:cubicBezTo>
                <a:cubicBezTo>
                  <a:pt x="3406" y="3625"/>
                  <a:pt x="3375" y="3656"/>
                  <a:pt x="3406" y="3750"/>
                </a:cubicBezTo>
                <a:cubicBezTo>
                  <a:pt x="3313" y="3781"/>
                  <a:pt x="3188" y="3813"/>
                  <a:pt x="3156" y="3906"/>
                </a:cubicBezTo>
                <a:cubicBezTo>
                  <a:pt x="3094" y="3938"/>
                  <a:pt x="3000" y="3906"/>
                  <a:pt x="2938" y="3938"/>
                </a:cubicBezTo>
                <a:cubicBezTo>
                  <a:pt x="2938" y="3938"/>
                  <a:pt x="2938" y="4000"/>
                  <a:pt x="2969" y="4000"/>
                </a:cubicBezTo>
                <a:cubicBezTo>
                  <a:pt x="3031" y="4031"/>
                  <a:pt x="3094" y="4000"/>
                  <a:pt x="3156" y="3938"/>
                </a:cubicBezTo>
                <a:cubicBezTo>
                  <a:pt x="3250" y="3875"/>
                  <a:pt x="3219" y="4063"/>
                  <a:pt x="3313" y="4031"/>
                </a:cubicBezTo>
                <a:cubicBezTo>
                  <a:pt x="3313" y="4031"/>
                  <a:pt x="3313" y="4063"/>
                  <a:pt x="3313" y="4063"/>
                </a:cubicBezTo>
                <a:cubicBezTo>
                  <a:pt x="3313" y="4063"/>
                  <a:pt x="3313" y="4094"/>
                  <a:pt x="3313" y="4094"/>
                </a:cubicBezTo>
                <a:cubicBezTo>
                  <a:pt x="3188" y="4156"/>
                  <a:pt x="3094" y="4219"/>
                  <a:pt x="2969" y="4250"/>
                </a:cubicBezTo>
                <a:cubicBezTo>
                  <a:pt x="2938" y="4281"/>
                  <a:pt x="2875" y="4281"/>
                  <a:pt x="2875" y="4250"/>
                </a:cubicBezTo>
                <a:cubicBezTo>
                  <a:pt x="2906" y="4125"/>
                  <a:pt x="2844" y="4219"/>
                  <a:pt x="2813" y="4219"/>
                </a:cubicBezTo>
                <a:cubicBezTo>
                  <a:pt x="2656" y="4250"/>
                  <a:pt x="2563" y="4438"/>
                  <a:pt x="2406" y="4438"/>
                </a:cubicBezTo>
                <a:cubicBezTo>
                  <a:pt x="2375" y="4500"/>
                  <a:pt x="2313" y="4500"/>
                  <a:pt x="2313" y="4563"/>
                </a:cubicBezTo>
                <a:cubicBezTo>
                  <a:pt x="2375" y="4594"/>
                  <a:pt x="2375" y="4531"/>
                  <a:pt x="2406" y="4500"/>
                </a:cubicBezTo>
                <a:cubicBezTo>
                  <a:pt x="2438" y="4469"/>
                  <a:pt x="2469" y="4500"/>
                  <a:pt x="2500" y="4500"/>
                </a:cubicBezTo>
                <a:cubicBezTo>
                  <a:pt x="2531" y="4531"/>
                  <a:pt x="2563" y="4531"/>
                  <a:pt x="2563" y="4563"/>
                </a:cubicBezTo>
                <a:cubicBezTo>
                  <a:pt x="2531" y="4594"/>
                  <a:pt x="2500" y="4594"/>
                  <a:pt x="2469" y="4594"/>
                </a:cubicBezTo>
                <a:cubicBezTo>
                  <a:pt x="2344" y="4625"/>
                  <a:pt x="2281" y="4719"/>
                  <a:pt x="2219" y="4844"/>
                </a:cubicBezTo>
                <a:cubicBezTo>
                  <a:pt x="2188" y="4875"/>
                  <a:pt x="2094" y="4906"/>
                  <a:pt x="2063" y="4938"/>
                </a:cubicBezTo>
                <a:cubicBezTo>
                  <a:pt x="2000" y="4969"/>
                  <a:pt x="1938" y="4969"/>
                  <a:pt x="1969" y="5063"/>
                </a:cubicBezTo>
                <a:cubicBezTo>
                  <a:pt x="2031" y="5188"/>
                  <a:pt x="2094" y="5031"/>
                  <a:pt x="2125" y="5094"/>
                </a:cubicBezTo>
                <a:cubicBezTo>
                  <a:pt x="2125" y="5125"/>
                  <a:pt x="2063" y="5188"/>
                  <a:pt x="2031" y="5188"/>
                </a:cubicBezTo>
                <a:cubicBezTo>
                  <a:pt x="1969" y="5219"/>
                  <a:pt x="1906" y="5219"/>
                  <a:pt x="1906" y="5281"/>
                </a:cubicBezTo>
                <a:cubicBezTo>
                  <a:pt x="1906" y="5375"/>
                  <a:pt x="2000" y="5313"/>
                  <a:pt x="2031" y="5375"/>
                </a:cubicBezTo>
                <a:cubicBezTo>
                  <a:pt x="2031" y="5375"/>
                  <a:pt x="2031" y="5375"/>
                  <a:pt x="2031" y="5375"/>
                </a:cubicBezTo>
                <a:cubicBezTo>
                  <a:pt x="1969" y="5500"/>
                  <a:pt x="1750" y="5406"/>
                  <a:pt x="1813" y="5625"/>
                </a:cubicBezTo>
                <a:cubicBezTo>
                  <a:pt x="1656" y="5563"/>
                  <a:pt x="1594" y="5594"/>
                  <a:pt x="1594" y="5750"/>
                </a:cubicBezTo>
                <a:cubicBezTo>
                  <a:pt x="1594" y="5813"/>
                  <a:pt x="1563" y="5844"/>
                  <a:pt x="1563" y="5875"/>
                </a:cubicBezTo>
                <a:cubicBezTo>
                  <a:pt x="1500" y="5938"/>
                  <a:pt x="1469" y="6031"/>
                  <a:pt x="1406" y="6094"/>
                </a:cubicBezTo>
                <a:cubicBezTo>
                  <a:pt x="1375" y="6188"/>
                  <a:pt x="1313" y="6219"/>
                  <a:pt x="1219" y="6156"/>
                </a:cubicBezTo>
                <a:cubicBezTo>
                  <a:pt x="1219" y="6156"/>
                  <a:pt x="1188" y="6125"/>
                  <a:pt x="1156" y="6156"/>
                </a:cubicBezTo>
                <a:cubicBezTo>
                  <a:pt x="1156" y="6219"/>
                  <a:pt x="1188" y="6219"/>
                  <a:pt x="1188" y="6219"/>
                </a:cubicBezTo>
                <a:cubicBezTo>
                  <a:pt x="1281" y="6250"/>
                  <a:pt x="1250" y="6313"/>
                  <a:pt x="1219" y="6375"/>
                </a:cubicBezTo>
                <a:cubicBezTo>
                  <a:pt x="1219" y="6406"/>
                  <a:pt x="1156" y="6438"/>
                  <a:pt x="1156" y="6500"/>
                </a:cubicBezTo>
                <a:cubicBezTo>
                  <a:pt x="1281" y="6469"/>
                  <a:pt x="1313" y="6406"/>
                  <a:pt x="1313" y="6313"/>
                </a:cubicBezTo>
                <a:cubicBezTo>
                  <a:pt x="1313" y="6250"/>
                  <a:pt x="1344" y="6250"/>
                  <a:pt x="1375" y="6250"/>
                </a:cubicBezTo>
                <a:cubicBezTo>
                  <a:pt x="1438" y="6250"/>
                  <a:pt x="1500" y="6469"/>
                  <a:pt x="1469" y="6469"/>
                </a:cubicBezTo>
                <a:cubicBezTo>
                  <a:pt x="1344" y="6500"/>
                  <a:pt x="1313" y="6625"/>
                  <a:pt x="1188" y="6656"/>
                </a:cubicBezTo>
                <a:cubicBezTo>
                  <a:pt x="1219" y="6719"/>
                  <a:pt x="1281" y="6719"/>
                  <a:pt x="1344" y="6750"/>
                </a:cubicBezTo>
                <a:cubicBezTo>
                  <a:pt x="1406" y="6750"/>
                  <a:pt x="1531" y="6781"/>
                  <a:pt x="1531" y="6781"/>
                </a:cubicBezTo>
                <a:cubicBezTo>
                  <a:pt x="1563" y="6938"/>
                  <a:pt x="1594" y="6844"/>
                  <a:pt x="1656" y="6813"/>
                </a:cubicBezTo>
                <a:cubicBezTo>
                  <a:pt x="1719" y="6750"/>
                  <a:pt x="1781" y="6719"/>
                  <a:pt x="1875" y="6656"/>
                </a:cubicBezTo>
                <a:cubicBezTo>
                  <a:pt x="1875" y="6656"/>
                  <a:pt x="1875" y="6656"/>
                  <a:pt x="1875" y="6656"/>
                </a:cubicBezTo>
                <a:cubicBezTo>
                  <a:pt x="1875" y="6656"/>
                  <a:pt x="1875" y="6625"/>
                  <a:pt x="1875" y="6625"/>
                </a:cubicBezTo>
                <a:cubicBezTo>
                  <a:pt x="1969" y="6531"/>
                  <a:pt x="1969" y="6531"/>
                  <a:pt x="2125" y="6531"/>
                </a:cubicBezTo>
                <a:cubicBezTo>
                  <a:pt x="2031" y="6625"/>
                  <a:pt x="1906" y="6625"/>
                  <a:pt x="1875" y="6719"/>
                </a:cubicBezTo>
                <a:cubicBezTo>
                  <a:pt x="1781" y="6938"/>
                  <a:pt x="1594" y="7125"/>
                  <a:pt x="1500" y="7313"/>
                </a:cubicBezTo>
                <a:cubicBezTo>
                  <a:pt x="1438" y="7438"/>
                  <a:pt x="1313" y="7531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375" y="7688"/>
                  <a:pt x="1375" y="7688"/>
                  <a:pt x="1375" y="7688"/>
                </a:cubicBezTo>
                <a:cubicBezTo>
                  <a:pt x="1406" y="7656"/>
                  <a:pt x="1375" y="7563"/>
                  <a:pt x="1469" y="7563"/>
                </a:cubicBezTo>
                <a:cubicBezTo>
                  <a:pt x="1469" y="7469"/>
                  <a:pt x="1531" y="7406"/>
                  <a:pt x="1625" y="7375"/>
                </a:cubicBezTo>
                <a:cubicBezTo>
                  <a:pt x="1563" y="7469"/>
                  <a:pt x="1531" y="7531"/>
                  <a:pt x="1469" y="7625"/>
                </a:cubicBezTo>
                <a:cubicBezTo>
                  <a:pt x="1469" y="7656"/>
                  <a:pt x="1469" y="7688"/>
                  <a:pt x="1438" y="7719"/>
                </a:cubicBezTo>
                <a:cubicBezTo>
                  <a:pt x="1375" y="7781"/>
                  <a:pt x="1375" y="7813"/>
                  <a:pt x="1469" y="7875"/>
                </a:cubicBezTo>
                <a:cubicBezTo>
                  <a:pt x="1406" y="7906"/>
                  <a:pt x="1313" y="7844"/>
                  <a:pt x="1344" y="7906"/>
                </a:cubicBezTo>
                <a:cubicBezTo>
                  <a:pt x="1406" y="8094"/>
                  <a:pt x="1250" y="8188"/>
                  <a:pt x="1250" y="8344"/>
                </a:cubicBezTo>
                <a:cubicBezTo>
                  <a:pt x="1250" y="8531"/>
                  <a:pt x="1125" y="8688"/>
                  <a:pt x="1063" y="8875"/>
                </a:cubicBezTo>
                <a:cubicBezTo>
                  <a:pt x="1156" y="8875"/>
                  <a:pt x="1219" y="8781"/>
                  <a:pt x="1281" y="8844"/>
                </a:cubicBezTo>
                <a:cubicBezTo>
                  <a:pt x="1344" y="8875"/>
                  <a:pt x="1313" y="9000"/>
                  <a:pt x="1406" y="9031"/>
                </a:cubicBezTo>
                <a:cubicBezTo>
                  <a:pt x="1438" y="8969"/>
                  <a:pt x="1375" y="8938"/>
                  <a:pt x="1375" y="8906"/>
                </a:cubicBezTo>
                <a:cubicBezTo>
                  <a:pt x="1375" y="8844"/>
                  <a:pt x="1375" y="8844"/>
                  <a:pt x="1406" y="8813"/>
                </a:cubicBezTo>
                <a:cubicBezTo>
                  <a:pt x="1438" y="8813"/>
                  <a:pt x="1500" y="8813"/>
                  <a:pt x="1469" y="8875"/>
                </a:cubicBezTo>
                <a:cubicBezTo>
                  <a:pt x="1438" y="8938"/>
                  <a:pt x="1500" y="9000"/>
                  <a:pt x="1531" y="9063"/>
                </a:cubicBezTo>
                <a:cubicBezTo>
                  <a:pt x="1563" y="9125"/>
                  <a:pt x="1531" y="9188"/>
                  <a:pt x="1469" y="9188"/>
                </a:cubicBezTo>
                <a:cubicBezTo>
                  <a:pt x="1438" y="9188"/>
                  <a:pt x="1375" y="9188"/>
                  <a:pt x="1375" y="9250"/>
                </a:cubicBezTo>
                <a:cubicBezTo>
                  <a:pt x="1406" y="9281"/>
                  <a:pt x="1438" y="9281"/>
                  <a:pt x="1469" y="9281"/>
                </a:cubicBezTo>
                <a:cubicBezTo>
                  <a:pt x="1531" y="9281"/>
                  <a:pt x="1563" y="9313"/>
                  <a:pt x="1563" y="9375"/>
                </a:cubicBezTo>
                <a:cubicBezTo>
                  <a:pt x="1563" y="9438"/>
                  <a:pt x="1500" y="9500"/>
                  <a:pt x="1438" y="9500"/>
                </a:cubicBezTo>
                <a:cubicBezTo>
                  <a:pt x="1375" y="9500"/>
                  <a:pt x="1406" y="9438"/>
                  <a:pt x="1375" y="9406"/>
                </a:cubicBezTo>
                <a:cubicBezTo>
                  <a:pt x="1375" y="9500"/>
                  <a:pt x="1344" y="9625"/>
                  <a:pt x="1406" y="9750"/>
                </a:cubicBezTo>
                <a:cubicBezTo>
                  <a:pt x="1344" y="9750"/>
                  <a:pt x="1250" y="9719"/>
                  <a:pt x="1219" y="9813"/>
                </a:cubicBezTo>
                <a:cubicBezTo>
                  <a:pt x="1281" y="9813"/>
                  <a:pt x="1375" y="9844"/>
                  <a:pt x="1438" y="9844"/>
                </a:cubicBezTo>
                <a:cubicBezTo>
                  <a:pt x="1375" y="9781"/>
                  <a:pt x="1438" y="9750"/>
                  <a:pt x="1469" y="9688"/>
                </a:cubicBezTo>
                <a:cubicBezTo>
                  <a:pt x="1531" y="9594"/>
                  <a:pt x="1594" y="9469"/>
                  <a:pt x="1625" y="9375"/>
                </a:cubicBezTo>
                <a:cubicBezTo>
                  <a:pt x="1688" y="9250"/>
                  <a:pt x="1719" y="9094"/>
                  <a:pt x="1875" y="9000"/>
                </a:cubicBezTo>
                <a:cubicBezTo>
                  <a:pt x="1875" y="9000"/>
                  <a:pt x="1906" y="8969"/>
                  <a:pt x="1906" y="9000"/>
                </a:cubicBezTo>
                <a:cubicBezTo>
                  <a:pt x="1906" y="9000"/>
                  <a:pt x="1906" y="9031"/>
                  <a:pt x="1875" y="9031"/>
                </a:cubicBezTo>
                <a:cubicBezTo>
                  <a:pt x="1844" y="9219"/>
                  <a:pt x="1750" y="9406"/>
                  <a:pt x="1688" y="9594"/>
                </a:cubicBezTo>
                <a:cubicBezTo>
                  <a:pt x="1656" y="9719"/>
                  <a:pt x="1594" y="9875"/>
                  <a:pt x="1563" y="10000"/>
                </a:cubicBezTo>
                <a:cubicBezTo>
                  <a:pt x="1531" y="10031"/>
                  <a:pt x="1563" y="10094"/>
                  <a:pt x="1531" y="10094"/>
                </a:cubicBezTo>
                <a:cubicBezTo>
                  <a:pt x="1438" y="10219"/>
                  <a:pt x="1469" y="10250"/>
                  <a:pt x="1594" y="10281"/>
                </a:cubicBezTo>
                <a:cubicBezTo>
                  <a:pt x="1625" y="10281"/>
                  <a:pt x="1625" y="10281"/>
                  <a:pt x="1625" y="10313"/>
                </a:cubicBezTo>
                <a:cubicBezTo>
                  <a:pt x="1625" y="10344"/>
                  <a:pt x="1594" y="10375"/>
                  <a:pt x="1563" y="10375"/>
                </a:cubicBezTo>
                <a:cubicBezTo>
                  <a:pt x="1563" y="10375"/>
                  <a:pt x="1531" y="10375"/>
                  <a:pt x="1531" y="10344"/>
                </a:cubicBezTo>
                <a:cubicBezTo>
                  <a:pt x="1500" y="10344"/>
                  <a:pt x="1500" y="10281"/>
                  <a:pt x="1469" y="10281"/>
                </a:cubicBezTo>
                <a:cubicBezTo>
                  <a:pt x="1438" y="10406"/>
                  <a:pt x="1375" y="10531"/>
                  <a:pt x="1375" y="10656"/>
                </a:cubicBezTo>
                <a:cubicBezTo>
                  <a:pt x="1375" y="10688"/>
                  <a:pt x="1344" y="10719"/>
                  <a:pt x="1406" y="10719"/>
                </a:cubicBezTo>
                <a:cubicBezTo>
                  <a:pt x="1563" y="10750"/>
                  <a:pt x="1563" y="10844"/>
                  <a:pt x="1500" y="10969"/>
                </a:cubicBezTo>
                <a:cubicBezTo>
                  <a:pt x="1469" y="11063"/>
                  <a:pt x="1438" y="11156"/>
                  <a:pt x="1406" y="11219"/>
                </a:cubicBezTo>
                <a:cubicBezTo>
                  <a:pt x="1344" y="11531"/>
                  <a:pt x="1250" y="11813"/>
                  <a:pt x="1188" y="12094"/>
                </a:cubicBezTo>
                <a:cubicBezTo>
                  <a:pt x="1156" y="12219"/>
                  <a:pt x="1250" y="12375"/>
                  <a:pt x="1094" y="12469"/>
                </a:cubicBezTo>
                <a:cubicBezTo>
                  <a:pt x="1156" y="12563"/>
                  <a:pt x="1031" y="12625"/>
                  <a:pt x="1031" y="12688"/>
                </a:cubicBezTo>
                <a:cubicBezTo>
                  <a:pt x="1094" y="12813"/>
                  <a:pt x="1031" y="12906"/>
                  <a:pt x="969" y="13000"/>
                </a:cubicBezTo>
                <a:cubicBezTo>
                  <a:pt x="969" y="13031"/>
                  <a:pt x="938" y="13063"/>
                  <a:pt x="969" y="13063"/>
                </a:cubicBezTo>
                <a:cubicBezTo>
                  <a:pt x="1000" y="13094"/>
                  <a:pt x="1031" y="13094"/>
                  <a:pt x="1063" y="13094"/>
                </a:cubicBezTo>
                <a:cubicBezTo>
                  <a:pt x="1094" y="13094"/>
                  <a:pt x="1094" y="13063"/>
                  <a:pt x="1094" y="13031"/>
                </a:cubicBezTo>
                <a:cubicBezTo>
                  <a:pt x="1094" y="13000"/>
                  <a:pt x="1094" y="12938"/>
                  <a:pt x="1156" y="12938"/>
                </a:cubicBez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lnTo>
                  <a:pt x="1156" y="12938"/>
                </a:lnTo>
                <a:cubicBezTo>
                  <a:pt x="1156" y="12969"/>
                  <a:pt x="1125" y="13063"/>
                  <a:pt x="1188" y="13063"/>
                </a:cubicBezTo>
                <a:lnTo>
                  <a:pt x="1188" y="13063"/>
                </a:lnTo>
                <a:cubicBezTo>
                  <a:pt x="1250" y="13094"/>
                  <a:pt x="1250" y="13000"/>
                  <a:pt x="1250" y="12969"/>
                </a:cubicBezTo>
                <a:cubicBezTo>
                  <a:pt x="1281" y="12969"/>
                  <a:pt x="1281" y="12938"/>
                  <a:pt x="1250" y="12906"/>
                </a:cubicBezTo>
                <a:cubicBezTo>
                  <a:pt x="1219" y="12875"/>
                  <a:pt x="1188" y="12969"/>
                  <a:pt x="1156" y="12938"/>
                </a:cubicBezTo>
                <a:cubicBezTo>
                  <a:pt x="1219" y="12750"/>
                  <a:pt x="1219" y="12750"/>
                  <a:pt x="1344" y="12688"/>
                </a:cubicBezTo>
                <a:cubicBezTo>
                  <a:pt x="1344" y="12688"/>
                  <a:pt x="1375" y="12656"/>
                  <a:pt x="1375" y="12656"/>
                </a:cubicBezTo>
                <a:cubicBezTo>
                  <a:pt x="1344" y="12500"/>
                  <a:pt x="1563" y="12469"/>
                  <a:pt x="1531" y="12281"/>
                </a:cubicBezTo>
                <a:cubicBezTo>
                  <a:pt x="1625" y="12250"/>
                  <a:pt x="1625" y="12188"/>
                  <a:pt x="1563" y="12094"/>
                </a:cubicBezTo>
                <a:cubicBezTo>
                  <a:pt x="1563" y="12094"/>
                  <a:pt x="1594" y="12063"/>
                  <a:pt x="1594" y="12063"/>
                </a:cubicBezTo>
                <a:cubicBezTo>
                  <a:pt x="1750" y="12000"/>
                  <a:pt x="1813" y="11875"/>
                  <a:pt x="1844" y="11719"/>
                </a:cubicBezTo>
                <a:cubicBezTo>
                  <a:pt x="1844" y="11656"/>
                  <a:pt x="1875" y="11656"/>
                  <a:pt x="1906" y="11656"/>
                </a:cubicBezTo>
                <a:cubicBezTo>
                  <a:pt x="2031" y="11688"/>
                  <a:pt x="2031" y="11625"/>
                  <a:pt x="2063" y="11531"/>
                </a:cubicBezTo>
                <a:cubicBezTo>
                  <a:pt x="2063" y="11375"/>
                  <a:pt x="2125" y="11344"/>
                  <a:pt x="2281" y="11344"/>
                </a:cubicBezTo>
                <a:cubicBezTo>
                  <a:pt x="2344" y="11375"/>
                  <a:pt x="2344" y="11344"/>
                  <a:pt x="2344" y="11281"/>
                </a:cubicBezTo>
                <a:cubicBezTo>
                  <a:pt x="2375" y="11156"/>
                  <a:pt x="2250" y="11250"/>
                  <a:pt x="2219" y="11219"/>
                </a:cubicBezTo>
                <a:cubicBezTo>
                  <a:pt x="2594" y="10813"/>
                  <a:pt x="3063" y="10531"/>
                  <a:pt x="3531" y="10313"/>
                </a:cubicBezTo>
                <a:cubicBezTo>
                  <a:pt x="4031" y="10063"/>
                  <a:pt x="4563" y="9906"/>
                  <a:pt x="5094" y="9750"/>
                </a:cubicBezTo>
                <a:cubicBezTo>
                  <a:pt x="5344" y="9688"/>
                  <a:pt x="5594" y="9625"/>
                  <a:pt x="5844" y="9563"/>
                </a:cubicBezTo>
                <a:cubicBezTo>
                  <a:pt x="5906" y="9531"/>
                  <a:pt x="6000" y="9469"/>
                  <a:pt x="6000" y="9625"/>
                </a:cubicBezTo>
                <a:cubicBezTo>
                  <a:pt x="6000" y="9656"/>
                  <a:pt x="6063" y="9656"/>
                  <a:pt x="6094" y="9625"/>
                </a:cubicBezTo>
                <a:cubicBezTo>
                  <a:pt x="6125" y="9625"/>
                  <a:pt x="6156" y="9625"/>
                  <a:pt x="6094" y="9563"/>
                </a:cubicBezTo>
                <a:cubicBezTo>
                  <a:pt x="6031" y="9500"/>
                  <a:pt x="6125" y="9500"/>
                  <a:pt x="6156" y="9500"/>
                </a:cubicBezTo>
                <a:cubicBezTo>
                  <a:pt x="6281" y="9469"/>
                  <a:pt x="6438" y="9438"/>
                  <a:pt x="6563" y="9438"/>
                </a:cubicBezTo>
                <a:cubicBezTo>
                  <a:pt x="7031" y="9344"/>
                  <a:pt x="7469" y="9250"/>
                  <a:pt x="7906" y="9250"/>
                </a:cubicBezTo>
                <a:cubicBezTo>
                  <a:pt x="8281" y="9250"/>
                  <a:pt x="8656" y="9313"/>
                  <a:pt x="9031" y="9344"/>
                </a:cubicBezTo>
                <a:cubicBezTo>
                  <a:pt x="9156" y="9344"/>
                  <a:pt x="9250" y="9375"/>
                  <a:pt x="9344" y="9375"/>
                </a:cubicBezTo>
                <a:cubicBezTo>
                  <a:pt x="9344" y="9406"/>
                  <a:pt x="9344" y="9406"/>
                  <a:pt x="9344" y="9406"/>
                </a:cubicBezTo>
                <a:cubicBezTo>
                  <a:pt x="9219" y="9406"/>
                  <a:pt x="9063" y="9406"/>
                  <a:pt x="8938" y="9406"/>
                </a:cubicBezTo>
                <a:cubicBezTo>
                  <a:pt x="8688" y="9438"/>
                  <a:pt x="8438" y="9375"/>
                  <a:pt x="8250" y="9594"/>
                </a:cubicBezTo>
                <a:cubicBezTo>
                  <a:pt x="8250" y="9594"/>
                  <a:pt x="8250" y="9594"/>
                  <a:pt x="8250" y="9594"/>
                </a:cubicBezTo>
                <a:cubicBezTo>
                  <a:pt x="8219" y="9625"/>
                  <a:pt x="8219" y="9625"/>
                  <a:pt x="8250" y="9656"/>
                </a:cubicBezTo>
                <a:cubicBezTo>
                  <a:pt x="8250" y="9656"/>
                  <a:pt x="8250" y="9625"/>
                  <a:pt x="8250" y="9625"/>
                </a:cubicBezTo>
                <a:cubicBezTo>
                  <a:pt x="8344" y="9563"/>
                  <a:pt x="8406" y="9688"/>
                  <a:pt x="8500" y="9688"/>
                </a:cubicBezTo>
                <a:cubicBezTo>
                  <a:pt x="8750" y="9594"/>
                  <a:pt x="9031" y="9563"/>
                  <a:pt x="9313" y="9563"/>
                </a:cubicBezTo>
                <a:cubicBezTo>
                  <a:pt x="9563" y="9563"/>
                  <a:pt x="9844" y="9625"/>
                  <a:pt x="10125" y="9688"/>
                </a:cubicBezTo>
                <a:cubicBezTo>
                  <a:pt x="10344" y="9750"/>
                  <a:pt x="10563" y="9750"/>
                  <a:pt x="10813" y="9781"/>
                </a:cubicBezTo>
                <a:cubicBezTo>
                  <a:pt x="10844" y="9781"/>
                  <a:pt x="10875" y="9750"/>
                  <a:pt x="10875" y="9813"/>
                </a:cubicBezTo>
                <a:cubicBezTo>
                  <a:pt x="10875" y="9844"/>
                  <a:pt x="10844" y="9844"/>
                  <a:pt x="10813" y="9844"/>
                </a:cubicBezTo>
                <a:cubicBezTo>
                  <a:pt x="10719" y="9875"/>
                  <a:pt x="10656" y="9813"/>
                  <a:pt x="10563" y="9813"/>
                </a:cubicBezTo>
                <a:cubicBezTo>
                  <a:pt x="10375" y="9813"/>
                  <a:pt x="10188" y="9719"/>
                  <a:pt x="10063" y="9969"/>
                </a:cubicBezTo>
                <a:cubicBezTo>
                  <a:pt x="10156" y="9969"/>
                  <a:pt x="10281" y="9969"/>
                  <a:pt x="10375" y="9969"/>
                </a:cubicBezTo>
                <a:cubicBezTo>
                  <a:pt x="10688" y="9906"/>
                  <a:pt x="10969" y="9906"/>
                  <a:pt x="11250" y="9969"/>
                </a:cubicBezTo>
                <a:cubicBezTo>
                  <a:pt x="11938" y="10094"/>
                  <a:pt x="12625" y="10250"/>
                  <a:pt x="13281" y="10438"/>
                </a:cubicBezTo>
                <a:cubicBezTo>
                  <a:pt x="13313" y="10438"/>
                  <a:pt x="13344" y="10438"/>
                  <a:pt x="13375" y="10469"/>
                </a:cubicBezTo>
                <a:cubicBezTo>
                  <a:pt x="13406" y="10656"/>
                  <a:pt x="13563" y="10594"/>
                  <a:pt x="13656" y="10625"/>
                </a:cubicBezTo>
                <a:cubicBezTo>
                  <a:pt x="13750" y="10625"/>
                  <a:pt x="13875" y="10594"/>
                  <a:pt x="13969" y="10719"/>
                </a:cubicBezTo>
                <a:cubicBezTo>
                  <a:pt x="13781" y="10750"/>
                  <a:pt x="13594" y="10688"/>
                  <a:pt x="13438" y="10656"/>
                </a:cubicBezTo>
                <a:cubicBezTo>
                  <a:pt x="13313" y="10625"/>
                  <a:pt x="13188" y="10563"/>
                  <a:pt x="13094" y="10719"/>
                </a:cubicBezTo>
                <a:cubicBezTo>
                  <a:pt x="13063" y="10750"/>
                  <a:pt x="13031" y="10719"/>
                  <a:pt x="13000" y="10719"/>
                </a:cubicBezTo>
                <a:cubicBezTo>
                  <a:pt x="12500" y="10656"/>
                  <a:pt x="12000" y="10688"/>
                  <a:pt x="11531" y="10813"/>
                </a:cubicBezTo>
                <a:cubicBezTo>
                  <a:pt x="11438" y="10844"/>
                  <a:pt x="11375" y="10844"/>
                  <a:pt x="11313" y="10938"/>
                </a:cubicBezTo>
                <a:cubicBezTo>
                  <a:pt x="11469" y="10969"/>
                  <a:pt x="11594" y="10875"/>
                  <a:pt x="11688" y="10906"/>
                </a:cubicBezTo>
                <a:cubicBezTo>
                  <a:pt x="11719" y="10938"/>
                  <a:pt x="11625" y="10969"/>
                  <a:pt x="11656" y="11000"/>
                </a:cubicBezTo>
                <a:cubicBezTo>
                  <a:pt x="11688" y="11031"/>
                  <a:pt x="11719" y="11031"/>
                  <a:pt x="11750" y="11031"/>
                </a:cubicBezTo>
                <a:cubicBezTo>
                  <a:pt x="12063" y="10906"/>
                  <a:pt x="12406" y="10875"/>
                  <a:pt x="12719" y="10844"/>
                </a:cubicBezTo>
                <a:cubicBezTo>
                  <a:pt x="13000" y="10844"/>
                  <a:pt x="13281" y="10844"/>
                  <a:pt x="13531" y="10906"/>
                </a:cubicBezTo>
                <a:cubicBezTo>
                  <a:pt x="13688" y="10938"/>
                  <a:pt x="13875" y="11000"/>
                  <a:pt x="14031" y="11031"/>
                </a:cubicBezTo>
                <a:cubicBezTo>
                  <a:pt x="14125" y="11094"/>
                  <a:pt x="14219" y="11063"/>
                  <a:pt x="14313" y="11063"/>
                </a:cubicBezTo>
                <a:cubicBezTo>
                  <a:pt x="14344" y="11063"/>
                  <a:pt x="14375" y="11063"/>
                  <a:pt x="14375" y="11094"/>
                </a:cubicBezTo>
                <a:cubicBezTo>
                  <a:pt x="14375" y="11125"/>
                  <a:pt x="14375" y="11125"/>
                  <a:pt x="14344" y="11125"/>
                </a:cubicBezTo>
                <a:cubicBezTo>
                  <a:pt x="14313" y="11156"/>
                  <a:pt x="14281" y="11125"/>
                  <a:pt x="14281" y="11188"/>
                </a:cubicBezTo>
                <a:cubicBezTo>
                  <a:pt x="14531" y="11219"/>
                  <a:pt x="14781" y="11156"/>
                  <a:pt x="15031" y="11250"/>
                </a:cubicBezTo>
                <a:cubicBezTo>
                  <a:pt x="14938" y="11406"/>
                  <a:pt x="14750" y="11250"/>
                  <a:pt x="14656" y="11375"/>
                </a:cubicBezTo>
                <a:cubicBezTo>
                  <a:pt x="14563" y="11344"/>
                  <a:pt x="14469" y="11219"/>
                  <a:pt x="14344" y="11281"/>
                </a:cubicBezTo>
                <a:cubicBezTo>
                  <a:pt x="14250" y="11313"/>
                  <a:pt x="14156" y="11250"/>
                  <a:pt x="14094" y="11281"/>
                </a:cubicBezTo>
                <a:cubicBezTo>
                  <a:pt x="14063" y="11281"/>
                  <a:pt x="14063" y="11281"/>
                  <a:pt x="14063" y="11250"/>
                </a:cubicBezTo>
                <a:cubicBezTo>
                  <a:pt x="14031" y="11156"/>
                  <a:pt x="14031" y="11156"/>
                  <a:pt x="13938" y="11156"/>
                </a:cubicBezTo>
                <a:cubicBezTo>
                  <a:pt x="13844" y="11156"/>
                  <a:pt x="13750" y="11125"/>
                  <a:pt x="13688" y="11125"/>
                </a:cubicBezTo>
                <a:cubicBezTo>
                  <a:pt x="13531" y="11125"/>
                  <a:pt x="13375" y="11031"/>
                  <a:pt x="13219" y="11063"/>
                </a:cubicBezTo>
                <a:cubicBezTo>
                  <a:pt x="13406" y="11219"/>
                  <a:pt x="13688" y="11125"/>
                  <a:pt x="13938" y="11313"/>
                </a:cubicBezTo>
                <a:cubicBezTo>
                  <a:pt x="13688" y="11344"/>
                  <a:pt x="13531" y="11281"/>
                  <a:pt x="13344" y="11219"/>
                </a:cubicBezTo>
                <a:cubicBezTo>
                  <a:pt x="13188" y="11188"/>
                  <a:pt x="13031" y="11313"/>
                  <a:pt x="12875" y="11156"/>
                </a:cubicBezTo>
                <a:cubicBezTo>
                  <a:pt x="12844" y="11125"/>
                  <a:pt x="12750" y="11125"/>
                  <a:pt x="12688" y="11156"/>
                </a:cubicBezTo>
                <a:cubicBezTo>
                  <a:pt x="12594" y="11156"/>
                  <a:pt x="12594" y="11125"/>
                  <a:pt x="12563" y="11063"/>
                </a:cubicBezTo>
                <a:cubicBezTo>
                  <a:pt x="12594" y="11094"/>
                  <a:pt x="12688" y="11094"/>
                  <a:pt x="12656" y="11031"/>
                </a:cubicBezTo>
                <a:cubicBezTo>
                  <a:pt x="12656" y="10969"/>
                  <a:pt x="12594" y="10938"/>
                  <a:pt x="12531" y="10969"/>
                </a:cubicBezTo>
                <a:cubicBezTo>
                  <a:pt x="12469" y="11031"/>
                  <a:pt x="12375" y="11000"/>
                  <a:pt x="12281" y="11031"/>
                </a:cubicBezTo>
                <a:cubicBezTo>
                  <a:pt x="12219" y="11063"/>
                  <a:pt x="12125" y="11125"/>
                  <a:pt x="12094" y="11000"/>
                </a:cubicBezTo>
                <a:cubicBezTo>
                  <a:pt x="11938" y="11031"/>
                  <a:pt x="11750" y="11031"/>
                  <a:pt x="11594" y="11125"/>
                </a:cubicBezTo>
                <a:cubicBezTo>
                  <a:pt x="11813" y="11313"/>
                  <a:pt x="12094" y="11188"/>
                  <a:pt x="12281" y="11313"/>
                </a:cubicBezTo>
                <a:cubicBezTo>
                  <a:pt x="12000" y="11344"/>
                  <a:pt x="11750" y="11250"/>
                  <a:pt x="11500" y="11250"/>
                </a:cubicBezTo>
                <a:cubicBezTo>
                  <a:pt x="11469" y="11188"/>
                  <a:pt x="11531" y="11188"/>
                  <a:pt x="11531" y="11156"/>
                </a:cubicBezTo>
                <a:cubicBezTo>
                  <a:pt x="11406" y="11156"/>
                  <a:pt x="11313" y="11156"/>
                  <a:pt x="11188" y="11156"/>
                </a:cubicBezTo>
                <a:cubicBezTo>
                  <a:pt x="11125" y="11156"/>
                  <a:pt x="11094" y="11156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063" y="11219"/>
                  <a:pt x="11063" y="11219"/>
                  <a:pt x="11063" y="11219"/>
                </a:cubicBezTo>
                <a:cubicBezTo>
                  <a:pt x="11156" y="11188"/>
                  <a:pt x="11219" y="11219"/>
                  <a:pt x="11344" y="11250"/>
                </a:cubicBezTo>
                <a:cubicBezTo>
                  <a:pt x="11250" y="11281"/>
                  <a:pt x="11156" y="11250"/>
                  <a:pt x="11094" y="11313"/>
                </a:cubicBezTo>
                <a:cubicBezTo>
                  <a:pt x="11500" y="11344"/>
                  <a:pt x="11875" y="11406"/>
                  <a:pt x="12281" y="11469"/>
                </a:cubicBezTo>
                <a:cubicBezTo>
                  <a:pt x="12406" y="11469"/>
                  <a:pt x="12531" y="11469"/>
                  <a:pt x="12656" y="11500"/>
                </a:cubicBezTo>
                <a:cubicBezTo>
                  <a:pt x="12750" y="11531"/>
                  <a:pt x="12875" y="11625"/>
                  <a:pt x="13000" y="11531"/>
                </a:cubicBezTo>
                <a:cubicBezTo>
                  <a:pt x="13000" y="11531"/>
                  <a:pt x="13000" y="11500"/>
                  <a:pt x="13000" y="11531"/>
                </a:cubicBezTo>
                <a:cubicBezTo>
                  <a:pt x="13000" y="11656"/>
                  <a:pt x="13094" y="11594"/>
                  <a:pt x="13156" y="11625"/>
                </a:cubicBezTo>
                <a:cubicBezTo>
                  <a:pt x="13188" y="11625"/>
                  <a:pt x="13250" y="11625"/>
                  <a:pt x="13313" y="11688"/>
                </a:cubicBezTo>
                <a:cubicBezTo>
                  <a:pt x="13250" y="11719"/>
                  <a:pt x="13219" y="11719"/>
                  <a:pt x="13188" y="11719"/>
                </a:cubicBezTo>
                <a:cubicBezTo>
                  <a:pt x="13063" y="11656"/>
                  <a:pt x="12969" y="11625"/>
                  <a:pt x="12969" y="11813"/>
                </a:cubicBezTo>
                <a:cubicBezTo>
                  <a:pt x="12969" y="11813"/>
                  <a:pt x="12969" y="11813"/>
                  <a:pt x="13000" y="11844"/>
                </a:cubicBezTo>
                <a:cubicBezTo>
                  <a:pt x="13063" y="11813"/>
                  <a:pt x="13125" y="11719"/>
                  <a:pt x="13219" y="11750"/>
                </a:cubicBezTo>
                <a:cubicBezTo>
                  <a:pt x="13281" y="11781"/>
                  <a:pt x="13344" y="11813"/>
                  <a:pt x="13375" y="11719"/>
                </a:cubicBezTo>
                <a:cubicBezTo>
                  <a:pt x="13406" y="11688"/>
                  <a:pt x="13438" y="11656"/>
                  <a:pt x="13469" y="11719"/>
                </a:cubicBezTo>
                <a:cubicBezTo>
                  <a:pt x="13469" y="11750"/>
                  <a:pt x="13500" y="11750"/>
                  <a:pt x="13531" y="11750"/>
                </a:cubicBezTo>
                <a:cubicBezTo>
                  <a:pt x="13750" y="11781"/>
                  <a:pt x="13969" y="11813"/>
                  <a:pt x="14156" y="11844"/>
                </a:cubicBezTo>
                <a:cubicBezTo>
                  <a:pt x="14219" y="11844"/>
                  <a:pt x="14281" y="11844"/>
                  <a:pt x="14281" y="11906"/>
                </a:cubicBezTo>
                <a:cubicBezTo>
                  <a:pt x="14406" y="11875"/>
                  <a:pt x="14531" y="11906"/>
                  <a:pt x="14625" y="12000"/>
                </a:cubicBezTo>
                <a:cubicBezTo>
                  <a:pt x="14625" y="12000"/>
                  <a:pt x="14656" y="12000"/>
                  <a:pt x="14656" y="12000"/>
                </a:cubicBezTo>
                <a:cubicBezTo>
                  <a:pt x="15063" y="12094"/>
                  <a:pt x="15438" y="12219"/>
                  <a:pt x="15813" y="12344"/>
                </a:cubicBezTo>
                <a:cubicBezTo>
                  <a:pt x="16000" y="12375"/>
                  <a:pt x="16156" y="12469"/>
                  <a:pt x="16344" y="12500"/>
                </a:cubicBezTo>
                <a:cubicBezTo>
                  <a:pt x="16563" y="12531"/>
                  <a:pt x="16750" y="12688"/>
                  <a:pt x="16969" y="12750"/>
                </a:cubicBezTo>
                <a:cubicBezTo>
                  <a:pt x="16906" y="12781"/>
                  <a:pt x="16875" y="12781"/>
                  <a:pt x="16844" y="12750"/>
                </a:cubicBezTo>
                <a:cubicBezTo>
                  <a:pt x="16750" y="12750"/>
                  <a:pt x="16719" y="12750"/>
                  <a:pt x="16688" y="12875"/>
                </a:cubicBezTo>
                <a:cubicBezTo>
                  <a:pt x="16688" y="12938"/>
                  <a:pt x="16719" y="13031"/>
                  <a:pt x="16594" y="13031"/>
                </a:cubicBezTo>
                <a:cubicBezTo>
                  <a:pt x="16750" y="13094"/>
                  <a:pt x="16813" y="13094"/>
                  <a:pt x="16875" y="13031"/>
                </a:cubicBezTo>
                <a:cubicBezTo>
                  <a:pt x="16875" y="13031"/>
                  <a:pt x="16844" y="13031"/>
                  <a:pt x="16813" y="13031"/>
                </a:cubicBezTo>
                <a:cubicBezTo>
                  <a:pt x="16781" y="13000"/>
                  <a:pt x="16750" y="13031"/>
                  <a:pt x="16719" y="13000"/>
                </a:cubicBezTo>
                <a:cubicBezTo>
                  <a:pt x="16719" y="12906"/>
                  <a:pt x="16781" y="12938"/>
                  <a:pt x="16844" y="12938"/>
                </a:cubicBezTo>
                <a:cubicBezTo>
                  <a:pt x="16844" y="12938"/>
                  <a:pt x="16875" y="12938"/>
                  <a:pt x="16875" y="12938"/>
                </a:cubicBezTo>
                <a:cubicBezTo>
                  <a:pt x="16969" y="12969"/>
                  <a:pt x="16969" y="12938"/>
                  <a:pt x="16969" y="12875"/>
                </a:cubicBezTo>
                <a:cubicBezTo>
                  <a:pt x="16969" y="12750"/>
                  <a:pt x="16969" y="12750"/>
                  <a:pt x="17094" y="12781"/>
                </a:cubicBezTo>
                <a:cubicBezTo>
                  <a:pt x="17406" y="12906"/>
                  <a:pt x="17688" y="13000"/>
                  <a:pt x="18000" y="13125"/>
                </a:cubicBezTo>
                <a:cubicBezTo>
                  <a:pt x="18406" y="13281"/>
                  <a:pt x="18813" y="13406"/>
                  <a:pt x="19250" y="13594"/>
                </a:cubicBezTo>
                <a:cubicBezTo>
                  <a:pt x="19344" y="13625"/>
                  <a:pt x="19406" y="13719"/>
                  <a:pt x="19531" y="13719"/>
                </a:cubicBezTo>
                <a:cubicBezTo>
                  <a:pt x="19656" y="13688"/>
                  <a:pt x="19750" y="13781"/>
                  <a:pt x="19844" y="13875"/>
                </a:cubicBezTo>
                <a:cubicBezTo>
                  <a:pt x="19750" y="13875"/>
                  <a:pt x="19656" y="13875"/>
                  <a:pt x="19656" y="13969"/>
                </a:cubicBezTo>
                <a:cubicBezTo>
                  <a:pt x="19625" y="14031"/>
                  <a:pt x="19594" y="14031"/>
                  <a:pt x="19563" y="14031"/>
                </a:cubicBezTo>
                <a:cubicBezTo>
                  <a:pt x="19500" y="14031"/>
                  <a:pt x="19469" y="14031"/>
                  <a:pt x="19406" y="14031"/>
                </a:cubicBezTo>
                <a:cubicBezTo>
                  <a:pt x="19469" y="14094"/>
                  <a:pt x="19500" y="14125"/>
                  <a:pt x="19469" y="14188"/>
                </a:cubicBezTo>
                <a:cubicBezTo>
                  <a:pt x="19469" y="14188"/>
                  <a:pt x="19469" y="14188"/>
                  <a:pt x="19438" y="14188"/>
                </a:cubicBezTo>
                <a:cubicBezTo>
                  <a:pt x="19469" y="14188"/>
                  <a:pt x="19469" y="14188"/>
                  <a:pt x="19469" y="14188"/>
                </a:cubicBezTo>
                <a:cubicBezTo>
                  <a:pt x="19531" y="14188"/>
                  <a:pt x="19594" y="14188"/>
                  <a:pt x="19625" y="14219"/>
                </a:cubicBezTo>
                <a:cubicBezTo>
                  <a:pt x="19750" y="14250"/>
                  <a:pt x="19906" y="14156"/>
                  <a:pt x="19969" y="14313"/>
                </a:cubicBezTo>
                <a:cubicBezTo>
                  <a:pt x="19969" y="14344"/>
                  <a:pt x="20000" y="14344"/>
                  <a:pt x="20031" y="14313"/>
                </a:cubicBezTo>
                <a:cubicBezTo>
                  <a:pt x="20063" y="14281"/>
                  <a:pt x="20125" y="14281"/>
                  <a:pt x="20188" y="14281"/>
                </a:cubicBezTo>
                <a:cubicBezTo>
                  <a:pt x="20281" y="14281"/>
                  <a:pt x="20344" y="14344"/>
                  <a:pt x="20438" y="14344"/>
                </a:cubicBezTo>
                <a:cubicBezTo>
                  <a:pt x="20438" y="14219"/>
                  <a:pt x="20563" y="14219"/>
                  <a:pt x="20656" y="14156"/>
                </a:cubicBezTo>
                <a:cubicBezTo>
                  <a:pt x="20688" y="14125"/>
                  <a:pt x="20719" y="14156"/>
                  <a:pt x="20750" y="14219"/>
                </a:cubicBezTo>
                <a:cubicBezTo>
                  <a:pt x="20750" y="14250"/>
                  <a:pt x="20719" y="14313"/>
                  <a:pt x="20781" y="14281"/>
                </a:cubicBezTo>
                <a:cubicBezTo>
                  <a:pt x="20844" y="14281"/>
                  <a:pt x="20813" y="14219"/>
                  <a:pt x="20844" y="14188"/>
                </a:cubicBezTo>
                <a:cubicBezTo>
                  <a:pt x="20844" y="14156"/>
                  <a:pt x="20844" y="14125"/>
                  <a:pt x="20781" y="14125"/>
                </a:cubicBezTo>
                <a:cubicBezTo>
                  <a:pt x="20719" y="14125"/>
                  <a:pt x="20688" y="14125"/>
                  <a:pt x="20625" y="14063"/>
                </a:cubicBezTo>
                <a:cubicBezTo>
                  <a:pt x="20750" y="13969"/>
                  <a:pt x="20875" y="14000"/>
                  <a:pt x="20969" y="14125"/>
                </a:cubicBezTo>
                <a:cubicBezTo>
                  <a:pt x="21031" y="14188"/>
                  <a:pt x="21063" y="14188"/>
                  <a:pt x="21125" y="14188"/>
                </a:cubicBezTo>
                <a:cubicBezTo>
                  <a:pt x="21406" y="14156"/>
                  <a:pt x="21531" y="14375"/>
                  <a:pt x="21719" y="14531"/>
                </a:cubicBezTo>
                <a:cubicBezTo>
                  <a:pt x="21563" y="14563"/>
                  <a:pt x="21406" y="14531"/>
                  <a:pt x="21281" y="14500"/>
                </a:cubicBezTo>
                <a:cubicBezTo>
                  <a:pt x="21188" y="14500"/>
                  <a:pt x="21094" y="14500"/>
                  <a:pt x="21156" y="14625"/>
                </a:cubicBezTo>
                <a:cubicBezTo>
                  <a:pt x="21250" y="14719"/>
                  <a:pt x="21281" y="14844"/>
                  <a:pt x="21406" y="14844"/>
                </a:cubicBezTo>
                <a:cubicBezTo>
                  <a:pt x="21438" y="14781"/>
                  <a:pt x="21344" y="14781"/>
                  <a:pt x="21344" y="14719"/>
                </a:cubicBezTo>
                <a:cubicBezTo>
                  <a:pt x="21531" y="14719"/>
                  <a:pt x="21531" y="14719"/>
                  <a:pt x="21656" y="14656"/>
                </a:cubicBezTo>
                <a:cubicBezTo>
                  <a:pt x="21719" y="14625"/>
                  <a:pt x="21813" y="14625"/>
                  <a:pt x="21813" y="14500"/>
                </a:cubicBezTo>
                <a:cubicBezTo>
                  <a:pt x="21813" y="14469"/>
                  <a:pt x="21875" y="14438"/>
                  <a:pt x="21938" y="14438"/>
                </a:cubicBezTo>
                <a:cubicBezTo>
                  <a:pt x="22000" y="14438"/>
                  <a:pt x="22094" y="14438"/>
                  <a:pt x="22156" y="14438"/>
                </a:cubicBezTo>
                <a:cubicBezTo>
                  <a:pt x="22344" y="14438"/>
                  <a:pt x="22531" y="14406"/>
                  <a:pt x="22719" y="14469"/>
                </a:cubicBezTo>
                <a:cubicBezTo>
                  <a:pt x="22813" y="14500"/>
                  <a:pt x="22906" y="14500"/>
                  <a:pt x="22844" y="14625"/>
                </a:cubicBezTo>
                <a:cubicBezTo>
                  <a:pt x="23000" y="14625"/>
                  <a:pt x="23000" y="14625"/>
                  <a:pt x="23031" y="14719"/>
                </a:cubicBezTo>
                <a:cubicBezTo>
                  <a:pt x="22906" y="14719"/>
                  <a:pt x="22781" y="14719"/>
                  <a:pt x="22688" y="14750"/>
                </a:cubicBezTo>
                <a:cubicBezTo>
                  <a:pt x="22625" y="14781"/>
                  <a:pt x="22563" y="14844"/>
                  <a:pt x="22500" y="14750"/>
                </a:cubicBezTo>
                <a:cubicBezTo>
                  <a:pt x="22500" y="14719"/>
                  <a:pt x="22469" y="14719"/>
                  <a:pt x="22438" y="14750"/>
                </a:cubicBezTo>
                <a:cubicBezTo>
                  <a:pt x="22375" y="14844"/>
                  <a:pt x="22281" y="14813"/>
                  <a:pt x="22219" y="14781"/>
                </a:cubicBezTo>
                <a:cubicBezTo>
                  <a:pt x="22094" y="14750"/>
                  <a:pt x="22000" y="14688"/>
                  <a:pt x="21844" y="14750"/>
                </a:cubicBezTo>
                <a:cubicBezTo>
                  <a:pt x="21938" y="14781"/>
                  <a:pt x="22031" y="14781"/>
                  <a:pt x="22094" y="14813"/>
                </a:cubicBezTo>
                <a:cubicBezTo>
                  <a:pt x="22281" y="14938"/>
                  <a:pt x="22594" y="14781"/>
                  <a:pt x="22781" y="15031"/>
                </a:cubicBezTo>
                <a:cubicBezTo>
                  <a:pt x="22781" y="15031"/>
                  <a:pt x="22781" y="15031"/>
                  <a:pt x="22813" y="15031"/>
                </a:cubicBezTo>
                <a:cubicBezTo>
                  <a:pt x="22969" y="15031"/>
                  <a:pt x="23156" y="15063"/>
                  <a:pt x="23313" y="15063"/>
                </a:cubicBezTo>
                <a:cubicBezTo>
                  <a:pt x="23344" y="15063"/>
                  <a:pt x="23406" y="15063"/>
                  <a:pt x="23406" y="15031"/>
                </a:cubicBezTo>
                <a:cubicBezTo>
                  <a:pt x="23406" y="14969"/>
                  <a:pt x="23344" y="14969"/>
                  <a:pt x="23313" y="14969"/>
                </a:cubicBezTo>
                <a:cubicBezTo>
                  <a:pt x="23219" y="14938"/>
                  <a:pt x="23094" y="15000"/>
                  <a:pt x="23000" y="14906"/>
                </a:cubicBezTo>
                <a:cubicBezTo>
                  <a:pt x="23125" y="14875"/>
                  <a:pt x="23219" y="14844"/>
                  <a:pt x="23313" y="14750"/>
                </a:cubicBezTo>
                <a:cubicBezTo>
                  <a:pt x="23406" y="14656"/>
                  <a:pt x="23563" y="14656"/>
                  <a:pt x="23594" y="14813"/>
                </a:cubicBezTo>
                <a:cubicBezTo>
                  <a:pt x="23625" y="14844"/>
                  <a:pt x="23563" y="14875"/>
                  <a:pt x="23563" y="14938"/>
                </a:cubicBezTo>
                <a:cubicBezTo>
                  <a:pt x="23531" y="15000"/>
                  <a:pt x="23469" y="15125"/>
                  <a:pt x="23656" y="15125"/>
                </a:cubicBezTo>
                <a:cubicBezTo>
                  <a:pt x="23594" y="15156"/>
                  <a:pt x="23531" y="15156"/>
                  <a:pt x="23469" y="15156"/>
                </a:cubicBezTo>
                <a:cubicBezTo>
                  <a:pt x="23406" y="15156"/>
                  <a:pt x="23375" y="15156"/>
                  <a:pt x="23313" y="15188"/>
                </a:cubicBezTo>
                <a:cubicBezTo>
                  <a:pt x="23313" y="15219"/>
                  <a:pt x="23281" y="15250"/>
                  <a:pt x="23313" y="15281"/>
                </a:cubicBezTo>
                <a:cubicBezTo>
                  <a:pt x="23344" y="15313"/>
                  <a:pt x="23594" y="15344"/>
                  <a:pt x="23625" y="15281"/>
                </a:cubicBezTo>
                <a:cubicBezTo>
                  <a:pt x="23719" y="15156"/>
                  <a:pt x="23844" y="15125"/>
                  <a:pt x="23969" y="15156"/>
                </a:cubicBezTo>
                <a:cubicBezTo>
                  <a:pt x="24063" y="15188"/>
                  <a:pt x="24156" y="15219"/>
                  <a:pt x="24250" y="15219"/>
                </a:cubicBezTo>
                <a:cubicBezTo>
                  <a:pt x="24313" y="15219"/>
                  <a:pt x="24406" y="15219"/>
                  <a:pt x="24375" y="15188"/>
                </a:cubicBezTo>
                <a:cubicBezTo>
                  <a:pt x="24375" y="15094"/>
                  <a:pt x="24469" y="15094"/>
                  <a:pt x="24469" y="15031"/>
                </a:cubicBezTo>
                <a:cubicBezTo>
                  <a:pt x="24438" y="15031"/>
                  <a:pt x="24406" y="15000"/>
                  <a:pt x="24375" y="15000"/>
                </a:cubicBezTo>
                <a:cubicBezTo>
                  <a:pt x="24344" y="14969"/>
                  <a:pt x="24313" y="14969"/>
                  <a:pt x="24281" y="15000"/>
                </a:cubicBezTo>
                <a:cubicBezTo>
                  <a:pt x="24250" y="15000"/>
                  <a:pt x="24281" y="15031"/>
                  <a:pt x="24281" y="15063"/>
                </a:cubicBezTo>
                <a:cubicBezTo>
                  <a:pt x="24313" y="15094"/>
                  <a:pt x="24281" y="15125"/>
                  <a:pt x="24250" y="15125"/>
                </a:cubicBezTo>
                <a:cubicBezTo>
                  <a:pt x="24250" y="15156"/>
                  <a:pt x="24188" y="15156"/>
                  <a:pt x="24188" y="15125"/>
                </a:cubicBezTo>
                <a:cubicBezTo>
                  <a:pt x="24188" y="15031"/>
                  <a:pt x="24125" y="15063"/>
                  <a:pt x="24094" y="15063"/>
                </a:cubicBezTo>
                <a:cubicBezTo>
                  <a:pt x="24063" y="15063"/>
                  <a:pt x="24000" y="15063"/>
                  <a:pt x="23969" y="15063"/>
                </a:cubicBezTo>
                <a:cubicBezTo>
                  <a:pt x="24125" y="14875"/>
                  <a:pt x="24344" y="14844"/>
                  <a:pt x="24531" y="14969"/>
                </a:cubicBezTo>
                <a:cubicBezTo>
                  <a:pt x="24563" y="14969"/>
                  <a:pt x="24625" y="14969"/>
                  <a:pt x="24656" y="14969"/>
                </a:cubicBezTo>
                <a:cubicBezTo>
                  <a:pt x="24781" y="14844"/>
                  <a:pt x="25063" y="14844"/>
                  <a:pt x="25188" y="14969"/>
                </a:cubicBezTo>
                <a:cubicBezTo>
                  <a:pt x="25219" y="15000"/>
                  <a:pt x="25250" y="14969"/>
                  <a:pt x="25281" y="14969"/>
                </a:cubicBezTo>
                <a:cubicBezTo>
                  <a:pt x="25969" y="14969"/>
                  <a:pt x="26625" y="15063"/>
                  <a:pt x="27313" y="15125"/>
                </a:cubicBezTo>
                <a:cubicBezTo>
                  <a:pt x="28219" y="15219"/>
                  <a:pt x="29156" y="15281"/>
                  <a:pt x="30063" y="15219"/>
                </a:cubicBezTo>
                <a:cubicBezTo>
                  <a:pt x="30531" y="15188"/>
                  <a:pt x="30969" y="15063"/>
                  <a:pt x="31406" y="14938"/>
                </a:cubicBezTo>
                <a:cubicBezTo>
                  <a:pt x="31500" y="14875"/>
                  <a:pt x="31625" y="14875"/>
                  <a:pt x="31750" y="14781"/>
                </a:cubicBezTo>
                <a:cubicBezTo>
                  <a:pt x="31750" y="14844"/>
                  <a:pt x="31719" y="14875"/>
                  <a:pt x="31688" y="14906"/>
                </a:cubicBezTo>
                <a:cubicBezTo>
                  <a:pt x="31594" y="14938"/>
                  <a:pt x="31469" y="14969"/>
                  <a:pt x="31406" y="15063"/>
                </a:cubicBezTo>
                <a:cubicBezTo>
                  <a:pt x="31375" y="15063"/>
                  <a:pt x="31344" y="15094"/>
                  <a:pt x="31344" y="15125"/>
                </a:cubicBezTo>
                <a:cubicBezTo>
                  <a:pt x="31313" y="15156"/>
                  <a:pt x="31281" y="15188"/>
                  <a:pt x="31250" y="15188"/>
                </a:cubicBezTo>
                <a:cubicBezTo>
                  <a:pt x="31188" y="15156"/>
                  <a:pt x="31250" y="15125"/>
                  <a:pt x="31250" y="15094"/>
                </a:cubicBezTo>
                <a:cubicBezTo>
                  <a:pt x="31219" y="15031"/>
                  <a:pt x="31188" y="15063"/>
                  <a:pt x="31156" y="15094"/>
                </a:cubicBezTo>
                <a:cubicBezTo>
                  <a:pt x="31094" y="15156"/>
                  <a:pt x="31063" y="15219"/>
                  <a:pt x="31000" y="15281"/>
                </a:cubicBezTo>
                <a:cubicBezTo>
                  <a:pt x="30938" y="15313"/>
                  <a:pt x="30906" y="15344"/>
                  <a:pt x="30844" y="15281"/>
                </a:cubicBezTo>
                <a:cubicBezTo>
                  <a:pt x="30813" y="15219"/>
                  <a:pt x="30750" y="15188"/>
                  <a:pt x="30719" y="15281"/>
                </a:cubicBezTo>
                <a:cubicBezTo>
                  <a:pt x="30688" y="15375"/>
                  <a:pt x="30625" y="15344"/>
                  <a:pt x="30563" y="15344"/>
                </a:cubicBezTo>
                <a:cubicBezTo>
                  <a:pt x="30531" y="15344"/>
                  <a:pt x="30500" y="15344"/>
                  <a:pt x="30500" y="15313"/>
                </a:cubicBezTo>
                <a:cubicBezTo>
                  <a:pt x="30438" y="15250"/>
                  <a:pt x="30469" y="15625"/>
                  <a:pt x="30313" y="15375"/>
                </a:cubicBezTo>
                <a:cubicBezTo>
                  <a:pt x="30313" y="15344"/>
                  <a:pt x="30156" y="15438"/>
                  <a:pt x="30094" y="15469"/>
                </a:cubicBezTo>
                <a:cubicBezTo>
                  <a:pt x="30031" y="15531"/>
                  <a:pt x="29969" y="15594"/>
                  <a:pt x="29938" y="15438"/>
                </a:cubicBezTo>
                <a:cubicBezTo>
                  <a:pt x="29906" y="15375"/>
                  <a:pt x="29844" y="15406"/>
                  <a:pt x="29844" y="15406"/>
                </a:cubicBezTo>
                <a:cubicBezTo>
                  <a:pt x="29844" y="15531"/>
                  <a:pt x="29719" y="15469"/>
                  <a:pt x="29656" y="15563"/>
                </a:cubicBezTo>
                <a:cubicBezTo>
                  <a:pt x="29625" y="15594"/>
                  <a:pt x="29563" y="15563"/>
                  <a:pt x="29500" y="15563"/>
                </a:cubicBezTo>
                <a:cubicBezTo>
                  <a:pt x="29406" y="15500"/>
                  <a:pt x="29313" y="15500"/>
                  <a:pt x="29219" y="15563"/>
                </a:cubicBezTo>
                <a:cubicBezTo>
                  <a:pt x="29188" y="15563"/>
                  <a:pt x="29156" y="15563"/>
                  <a:pt x="29156" y="15563"/>
                </a:cubicBezTo>
                <a:cubicBezTo>
                  <a:pt x="29156" y="15375"/>
                  <a:pt x="29094" y="15500"/>
                  <a:pt x="29031" y="15500"/>
                </a:cubicBezTo>
                <a:cubicBezTo>
                  <a:pt x="28906" y="15531"/>
                  <a:pt x="28781" y="15594"/>
                  <a:pt x="28688" y="15469"/>
                </a:cubicBezTo>
                <a:cubicBezTo>
                  <a:pt x="28625" y="15375"/>
                  <a:pt x="28563" y="15469"/>
                  <a:pt x="28531" y="15500"/>
                </a:cubicBezTo>
                <a:cubicBezTo>
                  <a:pt x="28469" y="15500"/>
                  <a:pt x="28438" y="15563"/>
                  <a:pt x="28406" y="15531"/>
                </a:cubicBezTo>
                <a:cubicBezTo>
                  <a:pt x="28375" y="15469"/>
                  <a:pt x="28469" y="15469"/>
                  <a:pt x="28500" y="15438"/>
                </a:cubicBezTo>
                <a:cubicBezTo>
                  <a:pt x="28500" y="15406"/>
                  <a:pt x="28531" y="15406"/>
                  <a:pt x="28563" y="15375"/>
                </a:cubicBezTo>
                <a:cubicBezTo>
                  <a:pt x="28438" y="15313"/>
                  <a:pt x="28375" y="15281"/>
                  <a:pt x="28344" y="15469"/>
                </a:cubicBezTo>
                <a:cubicBezTo>
                  <a:pt x="28344" y="15500"/>
                  <a:pt x="28281" y="15531"/>
                  <a:pt x="28250" y="15531"/>
                </a:cubicBezTo>
                <a:cubicBezTo>
                  <a:pt x="28125" y="15500"/>
                  <a:pt x="28031" y="15469"/>
                  <a:pt x="27906" y="15469"/>
                </a:cubicBezTo>
                <a:cubicBezTo>
                  <a:pt x="27969" y="15406"/>
                  <a:pt x="28063" y="15469"/>
                  <a:pt x="28125" y="15406"/>
                </a:cubicBezTo>
                <a:cubicBezTo>
                  <a:pt x="28156" y="15406"/>
                  <a:pt x="28188" y="15406"/>
                  <a:pt x="28188" y="15344"/>
                </a:cubicBezTo>
                <a:cubicBezTo>
                  <a:pt x="28156" y="15313"/>
                  <a:pt x="28125" y="15344"/>
                  <a:pt x="28125" y="15344"/>
                </a:cubicBezTo>
                <a:cubicBezTo>
                  <a:pt x="28000" y="15375"/>
                  <a:pt x="27875" y="15344"/>
                  <a:pt x="27750" y="15406"/>
                </a:cubicBezTo>
                <a:cubicBezTo>
                  <a:pt x="27719" y="15406"/>
                  <a:pt x="27688" y="15406"/>
                  <a:pt x="27719" y="15344"/>
                </a:cubicBezTo>
                <a:cubicBezTo>
                  <a:pt x="27750" y="15281"/>
                  <a:pt x="27719" y="15281"/>
                  <a:pt x="27656" y="15250"/>
                </a:cubicBezTo>
                <a:cubicBezTo>
                  <a:pt x="27594" y="15219"/>
                  <a:pt x="27563" y="15219"/>
                  <a:pt x="27531" y="15281"/>
                </a:cubicBezTo>
                <a:cubicBezTo>
                  <a:pt x="27438" y="15375"/>
                  <a:pt x="27344" y="15406"/>
                  <a:pt x="27219" y="15406"/>
                </a:cubicBezTo>
                <a:cubicBezTo>
                  <a:pt x="27188" y="15344"/>
                  <a:pt x="27219" y="15281"/>
                  <a:pt x="27125" y="15344"/>
                </a:cubicBezTo>
                <a:cubicBezTo>
                  <a:pt x="27031" y="15438"/>
                  <a:pt x="26906" y="15406"/>
                  <a:pt x="26781" y="15375"/>
                </a:cubicBezTo>
                <a:cubicBezTo>
                  <a:pt x="26688" y="15375"/>
                  <a:pt x="26625" y="15344"/>
                  <a:pt x="26531" y="15375"/>
                </a:cubicBezTo>
                <a:cubicBezTo>
                  <a:pt x="26469" y="15406"/>
                  <a:pt x="26438" y="15375"/>
                  <a:pt x="26438" y="15313"/>
                </a:cubicBezTo>
                <a:cubicBezTo>
                  <a:pt x="26469" y="15313"/>
                  <a:pt x="26500" y="15313"/>
                  <a:pt x="26531" y="15313"/>
                </a:cubicBezTo>
                <a:cubicBezTo>
                  <a:pt x="26594" y="15313"/>
                  <a:pt x="26625" y="15250"/>
                  <a:pt x="26656" y="15219"/>
                </a:cubicBezTo>
                <a:cubicBezTo>
                  <a:pt x="26656" y="15188"/>
                  <a:pt x="26656" y="15156"/>
                  <a:pt x="26625" y="15156"/>
                </a:cubicBezTo>
                <a:cubicBezTo>
                  <a:pt x="26563" y="15125"/>
                  <a:pt x="26500" y="15125"/>
                  <a:pt x="26500" y="15156"/>
                </a:cubicBezTo>
                <a:cubicBezTo>
                  <a:pt x="26438" y="15250"/>
                  <a:pt x="26375" y="15219"/>
                  <a:pt x="26313" y="15188"/>
                </a:cubicBezTo>
                <a:cubicBezTo>
                  <a:pt x="26281" y="15188"/>
                  <a:pt x="26219" y="15188"/>
                  <a:pt x="26219" y="15219"/>
                </a:cubicBezTo>
                <a:cubicBezTo>
                  <a:pt x="26219" y="15250"/>
                  <a:pt x="26250" y="15250"/>
                  <a:pt x="26281" y="15281"/>
                </a:cubicBezTo>
                <a:cubicBezTo>
                  <a:pt x="26313" y="15281"/>
                  <a:pt x="26375" y="15250"/>
                  <a:pt x="26344" y="15313"/>
                </a:cubicBezTo>
                <a:cubicBezTo>
                  <a:pt x="26344" y="15344"/>
                  <a:pt x="26281" y="15344"/>
                  <a:pt x="26250" y="15344"/>
                </a:cubicBezTo>
                <a:cubicBezTo>
                  <a:pt x="26156" y="15313"/>
                  <a:pt x="26125" y="15188"/>
                  <a:pt x="26156" y="15063"/>
                </a:cubicBezTo>
                <a:cubicBezTo>
                  <a:pt x="26000" y="15094"/>
                  <a:pt x="25844" y="15063"/>
                  <a:pt x="25688" y="15063"/>
                </a:cubicBezTo>
                <a:cubicBezTo>
                  <a:pt x="25625" y="15063"/>
                  <a:pt x="25594" y="15094"/>
                  <a:pt x="25563" y="15156"/>
                </a:cubicBezTo>
                <a:cubicBezTo>
                  <a:pt x="25531" y="15188"/>
                  <a:pt x="25625" y="15188"/>
                  <a:pt x="25625" y="15219"/>
                </a:cubicBezTo>
                <a:cubicBezTo>
                  <a:pt x="25500" y="15219"/>
                  <a:pt x="25406" y="15219"/>
                  <a:pt x="25281" y="15219"/>
                </a:cubicBezTo>
                <a:cubicBezTo>
                  <a:pt x="25250" y="15219"/>
                  <a:pt x="25219" y="15219"/>
                  <a:pt x="25219" y="15188"/>
                </a:cubicBezTo>
                <a:cubicBezTo>
                  <a:pt x="25219" y="15125"/>
                  <a:pt x="25250" y="15156"/>
                  <a:pt x="25281" y="15156"/>
                </a:cubicBezTo>
                <a:cubicBezTo>
                  <a:pt x="25313" y="15094"/>
                  <a:pt x="25281" y="15063"/>
                  <a:pt x="25250" y="15063"/>
                </a:cubicBezTo>
                <a:cubicBezTo>
                  <a:pt x="25188" y="15063"/>
                  <a:pt x="25156" y="15063"/>
                  <a:pt x="25094" y="15063"/>
                </a:cubicBezTo>
                <a:cubicBezTo>
                  <a:pt x="25000" y="15063"/>
                  <a:pt x="24844" y="15094"/>
                  <a:pt x="24750" y="14969"/>
                </a:cubicBezTo>
                <a:cubicBezTo>
                  <a:pt x="24750" y="14969"/>
                  <a:pt x="24688" y="14969"/>
                  <a:pt x="24656" y="15000"/>
                </a:cubicBezTo>
                <a:cubicBezTo>
                  <a:pt x="24563" y="15031"/>
                  <a:pt x="24688" y="15094"/>
                  <a:pt x="24656" y="15156"/>
                </a:cubicBezTo>
                <a:cubicBezTo>
                  <a:pt x="24625" y="15188"/>
                  <a:pt x="24719" y="15188"/>
                  <a:pt x="24750" y="15188"/>
                </a:cubicBezTo>
                <a:cubicBezTo>
                  <a:pt x="24844" y="15188"/>
                  <a:pt x="24938" y="15156"/>
                  <a:pt x="25031" y="15156"/>
                </a:cubicBezTo>
                <a:cubicBezTo>
                  <a:pt x="25031" y="15281"/>
                  <a:pt x="24844" y="15188"/>
                  <a:pt x="24844" y="15313"/>
                </a:cubicBezTo>
                <a:cubicBezTo>
                  <a:pt x="25094" y="15219"/>
                  <a:pt x="25344" y="15313"/>
                  <a:pt x="25594" y="15313"/>
                </a:cubicBezTo>
                <a:cubicBezTo>
                  <a:pt x="25594" y="15375"/>
                  <a:pt x="25531" y="15344"/>
                  <a:pt x="25531" y="15406"/>
                </a:cubicBezTo>
                <a:cubicBezTo>
                  <a:pt x="25625" y="15406"/>
                  <a:pt x="25719" y="15438"/>
                  <a:pt x="25656" y="15531"/>
                </a:cubicBezTo>
                <a:cubicBezTo>
                  <a:pt x="25938" y="15625"/>
                  <a:pt x="26188" y="15594"/>
                  <a:pt x="26438" y="15469"/>
                </a:cubicBezTo>
                <a:cubicBezTo>
                  <a:pt x="26344" y="15469"/>
                  <a:pt x="26250" y="15469"/>
                  <a:pt x="26156" y="15469"/>
                </a:cubicBezTo>
                <a:cubicBezTo>
                  <a:pt x="26281" y="15375"/>
                  <a:pt x="26500" y="15406"/>
                  <a:pt x="26563" y="15531"/>
                </a:cubicBezTo>
                <a:cubicBezTo>
                  <a:pt x="26594" y="15594"/>
                  <a:pt x="26625" y="15594"/>
                  <a:pt x="26688" y="15594"/>
                </a:cubicBezTo>
                <a:cubicBezTo>
                  <a:pt x="26875" y="15500"/>
                  <a:pt x="27063" y="15531"/>
                  <a:pt x="27250" y="15563"/>
                </a:cubicBezTo>
                <a:cubicBezTo>
                  <a:pt x="27344" y="15563"/>
                  <a:pt x="27406" y="15656"/>
                  <a:pt x="27500" y="15625"/>
                </a:cubicBezTo>
                <a:cubicBezTo>
                  <a:pt x="27625" y="15594"/>
                  <a:pt x="27750" y="15594"/>
                  <a:pt x="27875" y="15594"/>
                </a:cubicBezTo>
                <a:cubicBezTo>
                  <a:pt x="28000" y="15594"/>
                  <a:pt x="28094" y="15656"/>
                  <a:pt x="28219" y="15625"/>
                </a:cubicBezTo>
                <a:cubicBezTo>
                  <a:pt x="28250" y="15594"/>
                  <a:pt x="28281" y="15594"/>
                  <a:pt x="28313" y="15625"/>
                </a:cubicBezTo>
                <a:cubicBezTo>
                  <a:pt x="28313" y="15656"/>
                  <a:pt x="28281" y="15688"/>
                  <a:pt x="28250" y="15750"/>
                </a:cubicBezTo>
                <a:cubicBezTo>
                  <a:pt x="28250" y="15813"/>
                  <a:pt x="28219" y="15750"/>
                  <a:pt x="28219" y="15750"/>
                </a:cubicBezTo>
                <a:cubicBezTo>
                  <a:pt x="27906" y="15750"/>
                  <a:pt x="27625" y="15750"/>
                  <a:pt x="27313" y="15750"/>
                </a:cubicBezTo>
                <a:cubicBezTo>
                  <a:pt x="27438" y="15781"/>
                  <a:pt x="27531" y="15781"/>
                  <a:pt x="27625" y="15781"/>
                </a:cubicBezTo>
                <a:cubicBezTo>
                  <a:pt x="27719" y="15781"/>
                  <a:pt x="27844" y="15781"/>
                  <a:pt x="27938" y="15844"/>
                </a:cubicBezTo>
                <a:cubicBezTo>
                  <a:pt x="27969" y="15906"/>
                  <a:pt x="28031" y="15969"/>
                  <a:pt x="28094" y="15844"/>
                </a:cubicBezTo>
                <a:cubicBezTo>
                  <a:pt x="28094" y="15813"/>
                  <a:pt x="28156" y="15813"/>
                  <a:pt x="28188" y="15844"/>
                </a:cubicBezTo>
                <a:cubicBezTo>
                  <a:pt x="28281" y="15875"/>
                  <a:pt x="28375" y="15875"/>
                  <a:pt x="28469" y="15875"/>
                </a:cubicBezTo>
                <a:cubicBezTo>
                  <a:pt x="28469" y="15875"/>
                  <a:pt x="28500" y="15875"/>
                  <a:pt x="28531" y="15875"/>
                </a:cubicBezTo>
                <a:cubicBezTo>
                  <a:pt x="28594" y="15938"/>
                  <a:pt x="28594" y="15938"/>
                  <a:pt x="28656" y="15938"/>
                </a:cubicBezTo>
                <a:cubicBezTo>
                  <a:pt x="28906" y="15875"/>
                  <a:pt x="29156" y="15844"/>
                  <a:pt x="29406" y="15844"/>
                </a:cubicBezTo>
                <a:cubicBezTo>
                  <a:pt x="29656" y="15844"/>
                  <a:pt x="29906" y="15875"/>
                  <a:pt x="30156" y="15813"/>
                </a:cubicBezTo>
                <a:cubicBezTo>
                  <a:pt x="30281" y="15781"/>
                  <a:pt x="30406" y="15813"/>
                  <a:pt x="30563" y="15719"/>
                </a:cubicBezTo>
                <a:cubicBezTo>
                  <a:pt x="30469" y="15688"/>
                  <a:pt x="30375" y="15625"/>
                  <a:pt x="30344" y="15563"/>
                </a:cubicBezTo>
                <a:cubicBezTo>
                  <a:pt x="30375" y="15531"/>
                  <a:pt x="30438" y="15531"/>
                  <a:pt x="30469" y="15531"/>
                </a:cubicBezTo>
                <a:cubicBezTo>
                  <a:pt x="30563" y="15531"/>
                  <a:pt x="30656" y="15500"/>
                  <a:pt x="30625" y="15656"/>
                </a:cubicBezTo>
                <a:cubicBezTo>
                  <a:pt x="30594" y="15719"/>
                  <a:pt x="30625" y="15719"/>
                  <a:pt x="30656" y="15719"/>
                </a:cubicBezTo>
                <a:cubicBezTo>
                  <a:pt x="30750" y="15719"/>
                  <a:pt x="30813" y="15750"/>
                  <a:pt x="30875" y="15781"/>
                </a:cubicBezTo>
                <a:cubicBezTo>
                  <a:pt x="30938" y="15813"/>
                  <a:pt x="30969" y="15781"/>
                  <a:pt x="31031" y="15750"/>
                </a:cubicBezTo>
                <a:cubicBezTo>
                  <a:pt x="31000" y="15719"/>
                  <a:pt x="30938" y="15781"/>
                  <a:pt x="30938" y="15688"/>
                </a:cubicBezTo>
                <a:cubicBezTo>
                  <a:pt x="30969" y="15594"/>
                  <a:pt x="30875" y="15594"/>
                  <a:pt x="30844" y="15625"/>
                </a:cubicBezTo>
                <a:cubicBezTo>
                  <a:pt x="30750" y="15688"/>
                  <a:pt x="30719" y="15563"/>
                  <a:pt x="30656" y="15563"/>
                </a:cubicBezTo>
                <a:cubicBezTo>
                  <a:pt x="30688" y="15531"/>
                  <a:pt x="30719" y="15500"/>
                  <a:pt x="30750" y="15469"/>
                </a:cubicBezTo>
                <a:cubicBezTo>
                  <a:pt x="31094" y="15344"/>
                  <a:pt x="31438" y="15188"/>
                  <a:pt x="31781" y="15031"/>
                </a:cubicBezTo>
                <a:cubicBezTo>
                  <a:pt x="31844" y="15031"/>
                  <a:pt x="31844" y="15031"/>
                  <a:pt x="31844" y="15063"/>
                </a:cubicBezTo>
                <a:cubicBezTo>
                  <a:pt x="31844" y="15125"/>
                  <a:pt x="31844" y="15188"/>
                  <a:pt x="31906" y="15188"/>
                </a:cubicBezTo>
                <a:cubicBezTo>
                  <a:pt x="31938" y="15188"/>
                  <a:pt x="31969" y="15125"/>
                  <a:pt x="31969" y="15063"/>
                </a:cubicBezTo>
                <a:cubicBezTo>
                  <a:pt x="32000" y="15000"/>
                  <a:pt x="32031" y="14938"/>
                  <a:pt x="32000" y="14875"/>
                </a:cubicBezTo>
                <a:cubicBezTo>
                  <a:pt x="31938" y="14719"/>
                  <a:pt x="32031" y="14625"/>
                  <a:pt x="32094" y="14531"/>
                </a:cubicBezTo>
                <a:cubicBezTo>
                  <a:pt x="32156" y="14438"/>
                  <a:pt x="32188" y="14313"/>
                  <a:pt x="32125" y="14188"/>
                </a:cubicBezTo>
                <a:cubicBezTo>
                  <a:pt x="32063" y="14031"/>
                  <a:pt x="31969" y="13875"/>
                  <a:pt x="31875" y="13688"/>
                </a:cubicBezTo>
                <a:cubicBezTo>
                  <a:pt x="31844" y="13625"/>
                  <a:pt x="31844" y="13594"/>
                  <a:pt x="31750" y="13625"/>
                </a:cubicBezTo>
                <a:cubicBezTo>
                  <a:pt x="31688" y="13656"/>
                  <a:pt x="31719" y="13688"/>
                  <a:pt x="31719" y="13750"/>
                </a:cubicBezTo>
                <a:cubicBezTo>
                  <a:pt x="31719" y="13781"/>
                  <a:pt x="31750" y="13781"/>
                  <a:pt x="31750" y="13813"/>
                </a:cubicBezTo>
                <a:cubicBezTo>
                  <a:pt x="31813" y="14000"/>
                  <a:pt x="31813" y="14000"/>
                  <a:pt x="31594" y="14031"/>
                </a:cubicBezTo>
                <a:cubicBezTo>
                  <a:pt x="31469" y="14031"/>
                  <a:pt x="31313" y="14031"/>
                  <a:pt x="31188" y="14031"/>
                </a:cubicBezTo>
                <a:cubicBezTo>
                  <a:pt x="31063" y="14063"/>
                  <a:pt x="31031" y="14125"/>
                  <a:pt x="31063" y="14219"/>
                </a:cubicBezTo>
                <a:cubicBezTo>
                  <a:pt x="31094" y="14156"/>
                  <a:pt x="31156" y="14063"/>
                  <a:pt x="31219" y="14094"/>
                </a:cubicBezTo>
                <a:cubicBezTo>
                  <a:pt x="31281" y="14188"/>
                  <a:pt x="31156" y="14188"/>
                  <a:pt x="31125" y="14250"/>
                </a:cubicBezTo>
                <a:cubicBezTo>
                  <a:pt x="31125" y="14281"/>
                  <a:pt x="31094" y="14313"/>
                  <a:pt x="31063" y="14313"/>
                </a:cubicBezTo>
                <a:cubicBezTo>
                  <a:pt x="31000" y="14344"/>
                  <a:pt x="31063" y="14406"/>
                  <a:pt x="31094" y="14438"/>
                </a:cubicBezTo>
                <a:cubicBezTo>
                  <a:pt x="30875" y="14563"/>
                  <a:pt x="30688" y="14594"/>
                  <a:pt x="30469" y="14500"/>
                </a:cubicBezTo>
                <a:cubicBezTo>
                  <a:pt x="30344" y="14438"/>
                  <a:pt x="30125" y="14469"/>
                  <a:pt x="30219" y="14250"/>
                </a:cubicBezTo>
                <a:cubicBezTo>
                  <a:pt x="30125" y="14250"/>
                  <a:pt x="30094" y="14375"/>
                  <a:pt x="30031" y="14313"/>
                </a:cubicBezTo>
                <a:cubicBezTo>
                  <a:pt x="29906" y="14250"/>
                  <a:pt x="29813" y="14188"/>
                  <a:pt x="29656" y="14250"/>
                </a:cubicBezTo>
                <a:cubicBezTo>
                  <a:pt x="29594" y="14281"/>
                  <a:pt x="29531" y="14250"/>
                  <a:pt x="29438" y="14250"/>
                </a:cubicBezTo>
                <a:cubicBezTo>
                  <a:pt x="29406" y="14250"/>
                  <a:pt x="29375" y="14250"/>
                  <a:pt x="29375" y="14219"/>
                </a:cubicBezTo>
                <a:cubicBezTo>
                  <a:pt x="29375" y="14125"/>
                  <a:pt x="29313" y="14125"/>
                  <a:pt x="29281" y="14125"/>
                </a:cubicBezTo>
                <a:cubicBezTo>
                  <a:pt x="29156" y="14125"/>
                  <a:pt x="29031" y="14094"/>
                  <a:pt x="28906" y="14094"/>
                </a:cubicBezTo>
                <a:cubicBezTo>
                  <a:pt x="28813" y="14063"/>
                  <a:pt x="28719" y="14063"/>
                  <a:pt x="28688" y="14188"/>
                </a:cubicBezTo>
                <a:cubicBezTo>
                  <a:pt x="28656" y="14219"/>
                  <a:pt x="28625" y="14219"/>
                  <a:pt x="28594" y="14219"/>
                </a:cubicBezTo>
                <a:cubicBezTo>
                  <a:pt x="28563" y="14188"/>
                  <a:pt x="28563" y="14156"/>
                  <a:pt x="28594" y="14125"/>
                </a:cubicBezTo>
                <a:cubicBezTo>
                  <a:pt x="28594" y="14094"/>
                  <a:pt x="28625" y="14063"/>
                  <a:pt x="28594" y="14031"/>
                </a:cubicBezTo>
                <a:cubicBezTo>
                  <a:pt x="28531" y="14031"/>
                  <a:pt x="28469" y="14063"/>
                  <a:pt x="28406" y="14000"/>
                </a:cubicBezTo>
                <a:cubicBezTo>
                  <a:pt x="28344" y="13938"/>
                  <a:pt x="28313" y="13938"/>
                  <a:pt x="28219" y="13969"/>
                </a:cubicBezTo>
                <a:cubicBezTo>
                  <a:pt x="28156" y="13969"/>
                  <a:pt x="28094" y="13969"/>
                  <a:pt x="28000" y="13969"/>
                </a:cubicBezTo>
                <a:cubicBezTo>
                  <a:pt x="27719" y="13906"/>
                  <a:pt x="27406" y="13781"/>
                  <a:pt x="27094" y="13875"/>
                </a:cubicBezTo>
                <a:cubicBezTo>
                  <a:pt x="27031" y="13875"/>
                  <a:pt x="27000" y="13844"/>
                  <a:pt x="27000" y="13813"/>
                </a:cubicBezTo>
                <a:cubicBezTo>
                  <a:pt x="27000" y="13750"/>
                  <a:pt x="27063" y="13750"/>
                  <a:pt x="27094" y="13750"/>
                </a:cubicBezTo>
                <a:cubicBezTo>
                  <a:pt x="27438" y="13781"/>
                  <a:pt x="27781" y="13688"/>
                  <a:pt x="28156" y="13750"/>
                </a:cubicBezTo>
                <a:cubicBezTo>
                  <a:pt x="28188" y="13750"/>
                  <a:pt x="28250" y="13750"/>
                  <a:pt x="28281" y="13750"/>
                </a:cubicBezTo>
                <a:cubicBezTo>
                  <a:pt x="28469" y="13656"/>
                  <a:pt x="28719" y="13656"/>
                  <a:pt x="28938" y="13625"/>
                </a:cubicBezTo>
                <a:cubicBezTo>
                  <a:pt x="29500" y="13594"/>
                  <a:pt x="30031" y="13438"/>
                  <a:pt x="30563" y="13250"/>
                </a:cubicBezTo>
                <a:cubicBezTo>
                  <a:pt x="31156" y="13063"/>
                  <a:pt x="31719" y="12813"/>
                  <a:pt x="32344" y="12688"/>
                </a:cubicBezTo>
                <a:cubicBezTo>
                  <a:pt x="32438" y="12688"/>
                  <a:pt x="32688" y="12531"/>
                  <a:pt x="32750" y="12469"/>
                </a:cubicBezTo>
                <a:cubicBezTo>
                  <a:pt x="32813" y="12375"/>
                  <a:pt x="32938" y="12344"/>
                  <a:pt x="33000" y="12219"/>
                </a:cubicBezTo>
                <a:cubicBezTo>
                  <a:pt x="33031" y="12188"/>
                  <a:pt x="33156" y="12125"/>
                  <a:pt x="33000" y="12094"/>
                </a:cubicBezTo>
                <a:cubicBezTo>
                  <a:pt x="32969" y="12063"/>
                  <a:pt x="33000" y="12031"/>
                  <a:pt x="33000" y="12000"/>
                </a:cubicBezTo>
                <a:cubicBezTo>
                  <a:pt x="33000" y="11969"/>
                  <a:pt x="33031" y="11969"/>
                  <a:pt x="33031" y="11906"/>
                </a:cubicBezTo>
                <a:cubicBezTo>
                  <a:pt x="32969" y="11813"/>
                  <a:pt x="32906" y="11719"/>
                  <a:pt x="32781" y="11688"/>
                </a:cubicBezTo>
                <a:cubicBezTo>
                  <a:pt x="32656" y="11625"/>
                  <a:pt x="32625" y="11563"/>
                  <a:pt x="32750" y="11469"/>
                </a:cubicBezTo>
                <a:cubicBezTo>
                  <a:pt x="32875" y="11375"/>
                  <a:pt x="33000" y="11281"/>
                  <a:pt x="33156" y="11188"/>
                </a:cubicBezTo>
                <a:cubicBezTo>
                  <a:pt x="33250" y="11094"/>
                  <a:pt x="33250" y="11000"/>
                  <a:pt x="33250" y="10906"/>
                </a:cubicBezTo>
                <a:cubicBezTo>
                  <a:pt x="33250" y="10813"/>
                  <a:pt x="33156" y="10813"/>
                  <a:pt x="33125" y="10781"/>
                </a:cubicBezTo>
                <a:close/>
                <a:moveTo>
                  <a:pt x="8063" y="2125"/>
                </a:moveTo>
                <a:cubicBezTo>
                  <a:pt x="8031" y="2125"/>
                  <a:pt x="8031" y="2094"/>
                  <a:pt x="8031" y="2094"/>
                </a:cubicBezTo>
                <a:cubicBezTo>
                  <a:pt x="8000" y="2094"/>
                  <a:pt x="7969" y="2094"/>
                  <a:pt x="7969" y="2125"/>
                </a:cubicBezTo>
                <a:cubicBezTo>
                  <a:pt x="8000" y="2157"/>
                  <a:pt x="8031" y="2157"/>
                  <a:pt x="8063" y="2125"/>
                </a:cubicBezTo>
                <a:close/>
                <a:moveTo>
                  <a:pt x="28219" y="14594"/>
                </a:moveTo>
                <a:cubicBezTo>
                  <a:pt x="28219" y="14531"/>
                  <a:pt x="28188" y="14563"/>
                  <a:pt x="28156" y="14563"/>
                </a:cubicBezTo>
                <a:cubicBezTo>
                  <a:pt x="28125" y="14563"/>
                  <a:pt x="28094" y="14594"/>
                  <a:pt x="28094" y="14625"/>
                </a:cubicBezTo>
                <a:cubicBezTo>
                  <a:pt x="28094" y="14656"/>
                  <a:pt x="28125" y="14688"/>
                  <a:pt x="28156" y="14688"/>
                </a:cubicBezTo>
                <a:cubicBezTo>
                  <a:pt x="28219" y="14688"/>
                  <a:pt x="28281" y="14688"/>
                  <a:pt x="28313" y="14625"/>
                </a:cubicBezTo>
                <a:cubicBezTo>
                  <a:pt x="28500" y="14625"/>
                  <a:pt x="28625" y="14719"/>
                  <a:pt x="28781" y="14781"/>
                </a:cubicBezTo>
                <a:cubicBezTo>
                  <a:pt x="28500" y="14844"/>
                  <a:pt x="28219" y="14813"/>
                  <a:pt x="27969" y="14781"/>
                </a:cubicBezTo>
                <a:cubicBezTo>
                  <a:pt x="27719" y="14750"/>
                  <a:pt x="27438" y="14688"/>
                  <a:pt x="27188" y="14781"/>
                </a:cubicBezTo>
                <a:cubicBezTo>
                  <a:pt x="27125" y="14813"/>
                  <a:pt x="27063" y="14844"/>
                  <a:pt x="27031" y="14750"/>
                </a:cubicBezTo>
                <a:cubicBezTo>
                  <a:pt x="27031" y="14688"/>
                  <a:pt x="27063" y="14656"/>
                  <a:pt x="27125" y="14625"/>
                </a:cubicBezTo>
                <a:lnTo>
                  <a:pt x="27125" y="14625"/>
                </a:lnTo>
                <a:cubicBezTo>
                  <a:pt x="27125" y="14625"/>
                  <a:pt x="27156" y="14625"/>
                  <a:pt x="27188" y="14625"/>
                </a:cubicBezTo>
                <a:cubicBezTo>
                  <a:pt x="27313" y="14625"/>
                  <a:pt x="27438" y="14656"/>
                  <a:pt x="27563" y="14594"/>
                </a:cubicBezTo>
                <a:cubicBezTo>
                  <a:pt x="27563" y="14594"/>
                  <a:pt x="27594" y="14594"/>
                  <a:pt x="27594" y="14594"/>
                </a:cubicBezTo>
                <a:cubicBezTo>
                  <a:pt x="27781" y="14688"/>
                  <a:pt x="27938" y="14531"/>
                  <a:pt x="28094" y="14500"/>
                </a:cubicBezTo>
                <a:cubicBezTo>
                  <a:pt x="28313" y="14438"/>
                  <a:pt x="28313" y="14438"/>
                  <a:pt x="28313" y="14625"/>
                </a:cubicBezTo>
                <a:cubicBezTo>
                  <a:pt x="28281" y="14625"/>
                  <a:pt x="28219" y="14656"/>
                  <a:pt x="28219" y="14594"/>
                </a:cubicBezTo>
                <a:close/>
                <a:moveTo>
                  <a:pt x="12250" y="8000"/>
                </a:moveTo>
                <a:cubicBezTo>
                  <a:pt x="12219" y="8000"/>
                  <a:pt x="12156" y="8000"/>
                  <a:pt x="12156" y="8063"/>
                </a:cubicBezTo>
                <a:cubicBezTo>
                  <a:pt x="12156" y="8125"/>
                  <a:pt x="12219" y="8094"/>
                  <a:pt x="12250" y="8094"/>
                </a:cubicBezTo>
                <a:cubicBezTo>
                  <a:pt x="12281" y="8094"/>
                  <a:pt x="12344" y="8125"/>
                  <a:pt x="12344" y="8063"/>
                </a:cubicBezTo>
                <a:cubicBezTo>
                  <a:pt x="12344" y="8000"/>
                  <a:pt x="12281" y="8000"/>
                  <a:pt x="12250" y="8000"/>
                </a:cubicBezTo>
                <a:close/>
                <a:moveTo>
                  <a:pt x="9156" y="7500"/>
                </a:moveTo>
                <a:cubicBezTo>
                  <a:pt x="9313" y="7531"/>
                  <a:pt x="9313" y="7531"/>
                  <a:pt x="9469" y="7469"/>
                </a:cubicBezTo>
                <a:cubicBezTo>
                  <a:pt x="9344" y="7469"/>
                  <a:pt x="9250" y="7438"/>
                  <a:pt x="9156" y="7500"/>
                </a:cubicBezTo>
                <a:close/>
                <a:moveTo>
                  <a:pt x="14406" y="8375"/>
                </a:moveTo>
                <a:cubicBezTo>
                  <a:pt x="14469" y="8500"/>
                  <a:pt x="14594" y="8438"/>
                  <a:pt x="14688" y="8469"/>
                </a:cubicBezTo>
                <a:cubicBezTo>
                  <a:pt x="14688" y="8406"/>
                  <a:pt x="14656" y="8406"/>
                  <a:pt x="14656" y="8375"/>
                </a:cubicBezTo>
                <a:cubicBezTo>
                  <a:pt x="14625" y="8344"/>
                  <a:pt x="14563" y="8344"/>
                  <a:pt x="14594" y="8281"/>
                </a:cubicBezTo>
                <a:cubicBezTo>
                  <a:pt x="14656" y="8250"/>
                  <a:pt x="14688" y="8281"/>
                  <a:pt x="14688" y="8313"/>
                </a:cubicBezTo>
                <a:cubicBezTo>
                  <a:pt x="14750" y="8375"/>
                  <a:pt x="14781" y="8375"/>
                  <a:pt x="14844" y="8375"/>
                </a:cubicBezTo>
                <a:cubicBezTo>
                  <a:pt x="14938" y="8406"/>
                  <a:pt x="15000" y="8406"/>
                  <a:pt x="15094" y="8406"/>
                </a:cubicBezTo>
                <a:cubicBezTo>
                  <a:pt x="15125" y="8406"/>
                  <a:pt x="15188" y="8406"/>
                  <a:pt x="15188" y="8469"/>
                </a:cubicBezTo>
                <a:cubicBezTo>
                  <a:pt x="15188" y="8531"/>
                  <a:pt x="15125" y="8500"/>
                  <a:pt x="15094" y="8500"/>
                </a:cubicBezTo>
                <a:cubicBezTo>
                  <a:pt x="15063" y="8531"/>
                  <a:pt x="15000" y="8500"/>
                  <a:pt x="14938" y="8531"/>
                </a:cubicBezTo>
                <a:cubicBezTo>
                  <a:pt x="15094" y="8656"/>
                  <a:pt x="15281" y="8563"/>
                  <a:pt x="15406" y="8688"/>
                </a:cubicBezTo>
                <a:cubicBezTo>
                  <a:pt x="15406" y="8563"/>
                  <a:pt x="15313" y="8594"/>
                  <a:pt x="15313" y="8531"/>
                </a:cubicBezTo>
                <a:cubicBezTo>
                  <a:pt x="15438" y="8438"/>
                  <a:pt x="15531" y="8688"/>
                  <a:pt x="15656" y="8531"/>
                </a:cubicBezTo>
                <a:cubicBezTo>
                  <a:pt x="15469" y="8438"/>
                  <a:pt x="15281" y="8344"/>
                  <a:pt x="15063" y="8313"/>
                </a:cubicBezTo>
                <a:cubicBezTo>
                  <a:pt x="15000" y="8313"/>
                  <a:pt x="14906" y="8313"/>
                  <a:pt x="14906" y="8281"/>
                </a:cubicBezTo>
                <a:cubicBezTo>
                  <a:pt x="14781" y="8156"/>
                  <a:pt x="14688" y="8156"/>
                  <a:pt x="14531" y="8250"/>
                </a:cubicBezTo>
                <a:cubicBezTo>
                  <a:pt x="14563" y="8188"/>
                  <a:pt x="14531" y="8094"/>
                  <a:pt x="14656" y="8094"/>
                </a:cubicBezTo>
                <a:cubicBezTo>
                  <a:pt x="14656" y="8063"/>
                  <a:pt x="14750" y="8031"/>
                  <a:pt x="14625" y="8000"/>
                </a:cubicBezTo>
                <a:cubicBezTo>
                  <a:pt x="14563" y="8000"/>
                  <a:pt x="14500" y="8000"/>
                  <a:pt x="14469" y="7969"/>
                </a:cubicBezTo>
                <a:cubicBezTo>
                  <a:pt x="14406" y="7938"/>
                  <a:pt x="14438" y="8000"/>
                  <a:pt x="14406" y="8000"/>
                </a:cubicBezTo>
                <a:cubicBezTo>
                  <a:pt x="14313" y="8094"/>
                  <a:pt x="14219" y="8031"/>
                  <a:pt x="14125" y="8031"/>
                </a:cubicBezTo>
                <a:cubicBezTo>
                  <a:pt x="14094" y="8000"/>
                  <a:pt x="14156" y="7969"/>
                  <a:pt x="14156" y="7906"/>
                </a:cubicBezTo>
                <a:cubicBezTo>
                  <a:pt x="14094" y="7906"/>
                  <a:pt x="14063" y="7906"/>
                  <a:pt x="14031" y="7906"/>
                </a:cubicBezTo>
                <a:cubicBezTo>
                  <a:pt x="13719" y="7906"/>
                  <a:pt x="13438" y="7781"/>
                  <a:pt x="13125" y="7844"/>
                </a:cubicBezTo>
                <a:cubicBezTo>
                  <a:pt x="13094" y="7844"/>
                  <a:pt x="13094" y="7844"/>
                  <a:pt x="13063" y="7844"/>
                </a:cubicBezTo>
                <a:cubicBezTo>
                  <a:pt x="13000" y="7750"/>
                  <a:pt x="12906" y="7688"/>
                  <a:pt x="12781" y="7750"/>
                </a:cubicBezTo>
                <a:cubicBezTo>
                  <a:pt x="12719" y="7781"/>
                  <a:pt x="12656" y="7750"/>
                  <a:pt x="12563" y="7750"/>
                </a:cubicBezTo>
                <a:cubicBezTo>
                  <a:pt x="12625" y="7813"/>
                  <a:pt x="12688" y="7844"/>
                  <a:pt x="12750" y="7813"/>
                </a:cubicBezTo>
                <a:cubicBezTo>
                  <a:pt x="12844" y="7813"/>
                  <a:pt x="12906" y="7875"/>
                  <a:pt x="12969" y="7906"/>
                </a:cubicBezTo>
                <a:cubicBezTo>
                  <a:pt x="13000" y="7938"/>
                  <a:pt x="13031" y="7969"/>
                  <a:pt x="13063" y="7938"/>
                </a:cubicBezTo>
                <a:cubicBezTo>
                  <a:pt x="13125" y="7906"/>
                  <a:pt x="13219" y="7938"/>
                  <a:pt x="13281" y="7938"/>
                </a:cubicBezTo>
                <a:cubicBezTo>
                  <a:pt x="13438" y="7875"/>
                  <a:pt x="13563" y="8063"/>
                  <a:pt x="13719" y="7938"/>
                </a:cubicBezTo>
                <a:cubicBezTo>
                  <a:pt x="13719" y="7938"/>
                  <a:pt x="13750" y="7938"/>
                  <a:pt x="13750" y="7938"/>
                </a:cubicBezTo>
                <a:cubicBezTo>
                  <a:pt x="13813" y="8063"/>
                  <a:pt x="14000" y="8031"/>
                  <a:pt x="14094" y="8125"/>
                </a:cubicBezTo>
                <a:cubicBezTo>
                  <a:pt x="14125" y="8156"/>
                  <a:pt x="14156" y="8188"/>
                  <a:pt x="14219" y="8188"/>
                </a:cubicBezTo>
                <a:cubicBezTo>
                  <a:pt x="14250" y="8188"/>
                  <a:pt x="14281" y="8156"/>
                  <a:pt x="14281" y="8219"/>
                </a:cubicBezTo>
                <a:cubicBezTo>
                  <a:pt x="14281" y="8250"/>
                  <a:pt x="14250" y="8250"/>
                  <a:pt x="14219" y="8250"/>
                </a:cubicBezTo>
                <a:cubicBezTo>
                  <a:pt x="14156" y="8250"/>
                  <a:pt x="14094" y="8250"/>
                  <a:pt x="14000" y="8250"/>
                </a:cubicBezTo>
                <a:cubicBezTo>
                  <a:pt x="14125" y="8344"/>
                  <a:pt x="14188" y="8406"/>
                  <a:pt x="14313" y="8344"/>
                </a:cubicBezTo>
                <a:cubicBezTo>
                  <a:pt x="14344" y="8313"/>
                  <a:pt x="14406" y="8344"/>
                  <a:pt x="14406" y="8375"/>
                </a:cubicBezTo>
                <a:close/>
                <a:moveTo>
                  <a:pt x="7406" y="1688"/>
                </a:moveTo>
                <a:cubicBezTo>
                  <a:pt x="7438" y="1688"/>
                  <a:pt x="7469" y="1657"/>
                  <a:pt x="7469" y="1625"/>
                </a:cubicBezTo>
                <a:cubicBezTo>
                  <a:pt x="7469" y="1594"/>
                  <a:pt x="7469" y="1563"/>
                  <a:pt x="7406" y="1563"/>
                </a:cubicBezTo>
                <a:cubicBezTo>
                  <a:pt x="7375" y="1563"/>
                  <a:pt x="7344" y="1594"/>
                  <a:pt x="7344" y="1657"/>
                </a:cubicBezTo>
                <a:cubicBezTo>
                  <a:pt x="7344" y="1688"/>
                  <a:pt x="7375" y="1688"/>
                  <a:pt x="7406" y="1688"/>
                </a:cubicBezTo>
                <a:close/>
                <a:moveTo>
                  <a:pt x="6969" y="1907"/>
                </a:moveTo>
                <a:cubicBezTo>
                  <a:pt x="6969" y="2000"/>
                  <a:pt x="7031" y="2000"/>
                  <a:pt x="7094" y="1969"/>
                </a:cubicBezTo>
                <a:cubicBezTo>
                  <a:pt x="7125" y="1969"/>
                  <a:pt x="7188" y="1938"/>
                  <a:pt x="7125" y="1875"/>
                </a:cubicBezTo>
                <a:cubicBezTo>
                  <a:pt x="7063" y="1875"/>
                  <a:pt x="7000" y="1875"/>
                  <a:pt x="6969" y="1907"/>
                </a:cubicBezTo>
                <a:close/>
                <a:moveTo>
                  <a:pt x="16656" y="1782"/>
                </a:moveTo>
                <a:cubicBezTo>
                  <a:pt x="16719" y="1813"/>
                  <a:pt x="16781" y="1875"/>
                  <a:pt x="16813" y="1782"/>
                </a:cubicBezTo>
                <a:cubicBezTo>
                  <a:pt x="16875" y="1688"/>
                  <a:pt x="16781" y="1688"/>
                  <a:pt x="16688" y="1657"/>
                </a:cubicBezTo>
                <a:cubicBezTo>
                  <a:pt x="16781" y="1750"/>
                  <a:pt x="16750" y="1782"/>
                  <a:pt x="16656" y="1782"/>
                </a:cubicBezTo>
                <a:close/>
                <a:moveTo>
                  <a:pt x="17125" y="1875"/>
                </a:moveTo>
                <a:cubicBezTo>
                  <a:pt x="17156" y="1875"/>
                  <a:pt x="17188" y="1875"/>
                  <a:pt x="17156" y="1844"/>
                </a:cubicBezTo>
                <a:cubicBezTo>
                  <a:pt x="17156" y="1782"/>
                  <a:pt x="17156" y="1719"/>
                  <a:pt x="17094" y="1750"/>
                </a:cubicBezTo>
                <a:cubicBezTo>
                  <a:pt x="17063" y="1750"/>
                  <a:pt x="17031" y="1782"/>
                  <a:pt x="17031" y="1813"/>
                </a:cubicBezTo>
                <a:cubicBezTo>
                  <a:pt x="17031" y="1844"/>
                  <a:pt x="17094" y="1875"/>
                  <a:pt x="17125" y="1875"/>
                </a:cubicBezTo>
                <a:close/>
                <a:moveTo>
                  <a:pt x="1563" y="13719"/>
                </a:moveTo>
                <a:cubicBezTo>
                  <a:pt x="1594" y="13719"/>
                  <a:pt x="1594" y="13750"/>
                  <a:pt x="1594" y="13750"/>
                </a:cubicBezTo>
                <a:cubicBezTo>
                  <a:pt x="1688" y="13750"/>
                  <a:pt x="1719" y="13688"/>
                  <a:pt x="1750" y="13625"/>
                </a:cubicBezTo>
                <a:cubicBezTo>
                  <a:pt x="1625" y="13563"/>
                  <a:pt x="1625" y="13688"/>
                  <a:pt x="1563" y="13719"/>
                </a:cubicBezTo>
                <a:close/>
                <a:moveTo>
                  <a:pt x="5781" y="10656"/>
                </a:moveTo>
                <a:cubicBezTo>
                  <a:pt x="5688" y="10625"/>
                  <a:pt x="5594" y="10656"/>
                  <a:pt x="5531" y="10719"/>
                </a:cubicBezTo>
                <a:cubicBezTo>
                  <a:pt x="5625" y="10719"/>
                  <a:pt x="5719" y="10750"/>
                  <a:pt x="5781" y="10656"/>
                </a:cubicBezTo>
                <a:close/>
                <a:moveTo>
                  <a:pt x="6000" y="11313"/>
                </a:moveTo>
                <a:cubicBezTo>
                  <a:pt x="5969" y="11219"/>
                  <a:pt x="5906" y="11219"/>
                  <a:pt x="5844" y="11250"/>
                </a:cubicBezTo>
                <a:cubicBezTo>
                  <a:pt x="5813" y="11281"/>
                  <a:pt x="5813" y="11281"/>
                  <a:pt x="5813" y="11313"/>
                </a:cubicBezTo>
                <a:cubicBezTo>
                  <a:pt x="5875" y="11406"/>
                  <a:pt x="5938" y="11281"/>
                  <a:pt x="6000" y="11313"/>
                </a:cubicBezTo>
                <a:close/>
                <a:moveTo>
                  <a:pt x="13469" y="11781"/>
                </a:moveTo>
                <a:cubicBezTo>
                  <a:pt x="13406" y="11781"/>
                  <a:pt x="13438" y="11844"/>
                  <a:pt x="13438" y="11875"/>
                </a:cubicBezTo>
                <a:cubicBezTo>
                  <a:pt x="13469" y="11906"/>
                  <a:pt x="13406" y="11969"/>
                  <a:pt x="13469" y="12000"/>
                </a:cubicBezTo>
                <a:cubicBezTo>
                  <a:pt x="13531" y="12000"/>
                  <a:pt x="13531" y="11969"/>
                  <a:pt x="13531" y="11906"/>
                </a:cubicBezTo>
                <a:cubicBezTo>
                  <a:pt x="13531" y="11875"/>
                  <a:pt x="13531" y="11813"/>
                  <a:pt x="13469" y="11781"/>
                </a:cubicBezTo>
                <a:close/>
                <a:moveTo>
                  <a:pt x="5844" y="11719"/>
                </a:moveTo>
                <a:cubicBezTo>
                  <a:pt x="5813" y="11781"/>
                  <a:pt x="5750" y="11750"/>
                  <a:pt x="5688" y="11813"/>
                </a:cubicBezTo>
                <a:cubicBezTo>
                  <a:pt x="5750" y="11844"/>
                  <a:pt x="5813" y="11875"/>
                  <a:pt x="5875" y="11875"/>
                </a:cubicBezTo>
                <a:cubicBezTo>
                  <a:pt x="5875" y="11844"/>
                  <a:pt x="5875" y="11781"/>
                  <a:pt x="5844" y="11719"/>
                </a:cubicBezTo>
                <a:close/>
                <a:moveTo>
                  <a:pt x="5875" y="11875"/>
                </a:move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5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6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7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8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79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0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1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2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3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4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5"/>
                </a:lnTo>
                <a:lnTo>
                  <a:pt x="5875" y="11886"/>
                </a:lnTo>
                <a:lnTo>
                  <a:pt x="5875" y="11886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7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8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89"/>
                </a:lnTo>
                <a:lnTo>
                  <a:pt x="5875" y="11890"/>
                </a:lnTo>
                <a:lnTo>
                  <a:pt x="5875" y="11890"/>
                </a:lnTo>
                <a:lnTo>
                  <a:pt x="5875" y="11891"/>
                </a:lnTo>
                <a:lnTo>
                  <a:pt x="5875" y="11891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2"/>
                </a:lnTo>
                <a:lnTo>
                  <a:pt x="5875" y="11893"/>
                </a:lnTo>
                <a:lnTo>
                  <a:pt x="5875" y="11893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4"/>
                </a:lnTo>
                <a:lnTo>
                  <a:pt x="5875" y="11895"/>
                </a:lnTo>
                <a:lnTo>
                  <a:pt x="5875" y="11895"/>
                </a:lnTo>
                <a:lnTo>
                  <a:pt x="5875" y="11896"/>
                </a:lnTo>
                <a:lnTo>
                  <a:pt x="5875" y="11896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7"/>
                </a:lnTo>
                <a:lnTo>
                  <a:pt x="5875" y="11898"/>
                </a:lnTo>
                <a:lnTo>
                  <a:pt x="5875" y="11898"/>
                </a:lnTo>
                <a:lnTo>
                  <a:pt x="5875" y="11899"/>
                </a:lnTo>
                <a:lnTo>
                  <a:pt x="5875" y="11899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0"/>
                </a:lnTo>
                <a:lnTo>
                  <a:pt x="5875" y="11901"/>
                </a:lnTo>
                <a:lnTo>
                  <a:pt x="5875" y="11901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2"/>
                </a:lnTo>
                <a:lnTo>
                  <a:pt x="5875" y="11903"/>
                </a:lnTo>
                <a:lnTo>
                  <a:pt x="5875" y="11903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4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5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906"/>
                </a:lnTo>
                <a:lnTo>
                  <a:pt x="5875" y="11875"/>
                </a:lnTo>
                <a:close/>
                <a:moveTo>
                  <a:pt x="5875" y="11906"/>
                </a:moveTo>
                <a:cubicBezTo>
                  <a:pt x="5875" y="11938"/>
                  <a:pt x="5813" y="11938"/>
                  <a:pt x="5844" y="12000"/>
                </a:cubicBezTo>
                <a:cubicBezTo>
                  <a:pt x="5906" y="12000"/>
                  <a:pt x="5969" y="12000"/>
                  <a:pt x="6031" y="12000"/>
                </a:cubicBezTo>
                <a:cubicBezTo>
                  <a:pt x="6125" y="12000"/>
                  <a:pt x="6156" y="11938"/>
                  <a:pt x="6156" y="11906"/>
                </a:cubicBezTo>
                <a:cubicBezTo>
                  <a:pt x="6156" y="11844"/>
                  <a:pt x="6094" y="11844"/>
                  <a:pt x="6031" y="11844"/>
                </a:cubicBezTo>
                <a:lnTo>
                  <a:pt x="6031" y="11844"/>
                </a:lnTo>
                <a:cubicBezTo>
                  <a:pt x="5969" y="11844"/>
                  <a:pt x="5938" y="11906"/>
                  <a:pt x="5875" y="11906"/>
                </a:cubicBezTo>
                <a:close/>
                <a:moveTo>
                  <a:pt x="7469" y="9906"/>
                </a:moveTo>
                <a:cubicBezTo>
                  <a:pt x="7469" y="9969"/>
                  <a:pt x="7531" y="9969"/>
                  <a:pt x="7563" y="9969"/>
                </a:cubicBezTo>
                <a:cubicBezTo>
                  <a:pt x="7594" y="9969"/>
                  <a:pt x="7688" y="10000"/>
                  <a:pt x="7688" y="9906"/>
                </a:cubicBezTo>
                <a:cubicBezTo>
                  <a:pt x="7656" y="9875"/>
                  <a:pt x="7625" y="9875"/>
                  <a:pt x="7563" y="9875"/>
                </a:cubicBezTo>
                <a:cubicBezTo>
                  <a:pt x="7531" y="9906"/>
                  <a:pt x="7469" y="9844"/>
                  <a:pt x="7469" y="9906"/>
                </a:cubicBezTo>
                <a:close/>
                <a:moveTo>
                  <a:pt x="7844" y="9781"/>
                </a:moveTo>
                <a:cubicBezTo>
                  <a:pt x="7750" y="9719"/>
                  <a:pt x="7625" y="9781"/>
                  <a:pt x="7500" y="9750"/>
                </a:cubicBezTo>
                <a:cubicBezTo>
                  <a:pt x="7500" y="9750"/>
                  <a:pt x="7469" y="9781"/>
                  <a:pt x="7469" y="9813"/>
                </a:cubicBezTo>
                <a:cubicBezTo>
                  <a:pt x="7500" y="9813"/>
                  <a:pt x="7531" y="9813"/>
                  <a:pt x="7531" y="9813"/>
                </a:cubicBezTo>
                <a:cubicBezTo>
                  <a:pt x="7625" y="9750"/>
                  <a:pt x="7688" y="9750"/>
                  <a:pt x="7750" y="9813"/>
                </a:cubicBezTo>
                <a:cubicBezTo>
                  <a:pt x="7781" y="9813"/>
                  <a:pt x="7844" y="9844"/>
                  <a:pt x="7844" y="9781"/>
                </a:cubicBezTo>
                <a:close/>
                <a:moveTo>
                  <a:pt x="21156" y="14906"/>
                </a:moveTo>
                <a:cubicBezTo>
                  <a:pt x="21250" y="15000"/>
                  <a:pt x="21344" y="14969"/>
                  <a:pt x="21438" y="14969"/>
                </a:cubicBezTo>
                <a:cubicBezTo>
                  <a:pt x="21344" y="14906"/>
                  <a:pt x="21281" y="14875"/>
                  <a:pt x="21156" y="14906"/>
                </a:cubicBezTo>
                <a:close/>
                <a:moveTo>
                  <a:pt x="3344" y="12906"/>
                </a:moveTo>
                <a:cubicBezTo>
                  <a:pt x="3250" y="12938"/>
                  <a:pt x="3219" y="12969"/>
                  <a:pt x="3250" y="13063"/>
                </a:cubicBezTo>
                <a:cubicBezTo>
                  <a:pt x="3313" y="13063"/>
                  <a:pt x="3313" y="12969"/>
                  <a:pt x="3375" y="13000"/>
                </a:cubicBezTo>
                <a:cubicBezTo>
                  <a:pt x="3406" y="13000"/>
                  <a:pt x="3438" y="13000"/>
                  <a:pt x="3438" y="12969"/>
                </a:cubicBezTo>
                <a:cubicBezTo>
                  <a:pt x="3406" y="12906"/>
                  <a:pt x="3375" y="12906"/>
                  <a:pt x="3344" y="12906"/>
                </a:cubicBezTo>
                <a:close/>
                <a:moveTo>
                  <a:pt x="8531" y="10813"/>
                </a:moveTo>
                <a:cubicBezTo>
                  <a:pt x="8500" y="10938"/>
                  <a:pt x="8375" y="10875"/>
                  <a:pt x="8344" y="10969"/>
                </a:cubicBezTo>
                <a:cubicBezTo>
                  <a:pt x="8531" y="11000"/>
                  <a:pt x="8563" y="10969"/>
                  <a:pt x="8531" y="10813"/>
                </a:cubicBezTo>
                <a:close/>
                <a:moveTo>
                  <a:pt x="23000" y="2688"/>
                </a:moveTo>
                <a:cubicBezTo>
                  <a:pt x="22938" y="2594"/>
                  <a:pt x="22875" y="2532"/>
                  <a:pt x="22750" y="2563"/>
                </a:cubicBezTo>
                <a:cubicBezTo>
                  <a:pt x="22813" y="2657"/>
                  <a:pt x="22906" y="2688"/>
                  <a:pt x="23000" y="2688"/>
                </a:cubicBezTo>
                <a:close/>
                <a:moveTo>
                  <a:pt x="21719" y="15094"/>
                </a:moveTo>
                <a:cubicBezTo>
                  <a:pt x="21781" y="15094"/>
                  <a:pt x="21875" y="15188"/>
                  <a:pt x="21938" y="15063"/>
                </a:cubicBezTo>
                <a:cubicBezTo>
                  <a:pt x="21844" y="15063"/>
                  <a:pt x="21781" y="15063"/>
                  <a:pt x="21688" y="15000"/>
                </a:cubicBezTo>
                <a:cubicBezTo>
                  <a:pt x="21688" y="15031"/>
                  <a:pt x="21656" y="15094"/>
                  <a:pt x="21719" y="15094"/>
                </a:cubicBezTo>
                <a:close/>
                <a:moveTo>
                  <a:pt x="18375" y="2188"/>
                </a:moveTo>
                <a:cubicBezTo>
                  <a:pt x="18406" y="2188"/>
                  <a:pt x="18406" y="2157"/>
                  <a:pt x="18406" y="2125"/>
                </a:cubicBezTo>
                <a:cubicBezTo>
                  <a:pt x="18344" y="2094"/>
                  <a:pt x="18313" y="2063"/>
                  <a:pt x="18250" y="2063"/>
                </a:cubicBezTo>
                <a:cubicBezTo>
                  <a:pt x="18219" y="2032"/>
                  <a:pt x="18188" y="2063"/>
                  <a:pt x="18188" y="2125"/>
                </a:cubicBezTo>
                <a:cubicBezTo>
                  <a:pt x="18219" y="2188"/>
                  <a:pt x="18313" y="2125"/>
                  <a:pt x="18375" y="2188"/>
                </a:cubicBezTo>
                <a:close/>
                <a:moveTo>
                  <a:pt x="12969" y="11031"/>
                </a:moveTo>
                <a:cubicBezTo>
                  <a:pt x="13063" y="11031"/>
                  <a:pt x="13156" y="11031"/>
                  <a:pt x="13219" y="10938"/>
                </a:cubicBezTo>
                <a:cubicBezTo>
                  <a:pt x="13125" y="10938"/>
                  <a:pt x="13063" y="10938"/>
                  <a:pt x="12969" y="10938"/>
                </a:cubicBezTo>
                <a:cubicBezTo>
                  <a:pt x="12938" y="10938"/>
                  <a:pt x="12906" y="10906"/>
                  <a:pt x="12906" y="10938"/>
                </a:cubicBezTo>
                <a:cubicBezTo>
                  <a:pt x="12875" y="11000"/>
                  <a:pt x="12938" y="11031"/>
                  <a:pt x="12969" y="11031"/>
                </a:cubicBezTo>
                <a:close/>
                <a:moveTo>
                  <a:pt x="6719" y="10125"/>
                </a:moveTo>
                <a:cubicBezTo>
                  <a:pt x="6625" y="10125"/>
                  <a:pt x="6563" y="10125"/>
                  <a:pt x="6469" y="10188"/>
                </a:cubicBezTo>
                <a:cubicBezTo>
                  <a:pt x="6625" y="10219"/>
                  <a:pt x="6625" y="10219"/>
                  <a:pt x="6719" y="10125"/>
                </a:cubicBezTo>
                <a:close/>
                <a:moveTo>
                  <a:pt x="2000" y="13688"/>
                </a:moveTo>
                <a:cubicBezTo>
                  <a:pt x="1906" y="13719"/>
                  <a:pt x="1844" y="13750"/>
                  <a:pt x="1781" y="13781"/>
                </a:cubicBezTo>
                <a:cubicBezTo>
                  <a:pt x="1750" y="13813"/>
                  <a:pt x="1781" y="13844"/>
                  <a:pt x="1781" y="13844"/>
                </a:cubicBezTo>
                <a:cubicBezTo>
                  <a:pt x="1844" y="13844"/>
                  <a:pt x="2000" y="13750"/>
                  <a:pt x="2031" y="13719"/>
                </a:cubicBezTo>
                <a:cubicBezTo>
                  <a:pt x="2000" y="13719"/>
                  <a:pt x="2000" y="13688"/>
                  <a:pt x="2000" y="13688"/>
                </a:cubicBezTo>
                <a:close/>
                <a:moveTo>
                  <a:pt x="8125" y="11531"/>
                </a:moveTo>
                <a:cubicBezTo>
                  <a:pt x="8063" y="11531"/>
                  <a:pt x="8094" y="11625"/>
                  <a:pt x="8063" y="11656"/>
                </a:cubicBezTo>
                <a:cubicBezTo>
                  <a:pt x="8031" y="11656"/>
                  <a:pt x="8063" y="11688"/>
                  <a:pt x="8094" y="11688"/>
                </a:cubicBezTo>
                <a:cubicBezTo>
                  <a:pt x="8125" y="11656"/>
                  <a:pt x="8219" y="11688"/>
                  <a:pt x="8219" y="11625"/>
                </a:cubicBezTo>
                <a:cubicBezTo>
                  <a:pt x="8219" y="11594"/>
                  <a:pt x="8156" y="11563"/>
                  <a:pt x="8125" y="11531"/>
                </a:cubicBezTo>
                <a:close/>
                <a:moveTo>
                  <a:pt x="22406" y="15031"/>
                </a:moveTo>
                <a:cubicBezTo>
                  <a:pt x="22375" y="15031"/>
                  <a:pt x="22344" y="15063"/>
                  <a:pt x="22344" y="15094"/>
                </a:cubicBezTo>
                <a:cubicBezTo>
                  <a:pt x="22344" y="15188"/>
                  <a:pt x="22406" y="15125"/>
                  <a:pt x="22469" y="15156"/>
                </a:cubicBezTo>
                <a:cubicBezTo>
                  <a:pt x="22500" y="15125"/>
                  <a:pt x="22563" y="15188"/>
                  <a:pt x="22563" y="15125"/>
                </a:cubicBezTo>
                <a:cubicBezTo>
                  <a:pt x="22563" y="15031"/>
                  <a:pt x="22469" y="15031"/>
                  <a:pt x="22406" y="15031"/>
                </a:cubicBezTo>
                <a:close/>
                <a:moveTo>
                  <a:pt x="22094" y="14656"/>
                </a:moveTo>
                <a:cubicBezTo>
                  <a:pt x="22125" y="14656"/>
                  <a:pt x="22188" y="14656"/>
                  <a:pt x="22188" y="14594"/>
                </a:cubicBezTo>
                <a:cubicBezTo>
                  <a:pt x="22188" y="14531"/>
                  <a:pt x="22125" y="14563"/>
                  <a:pt x="22094" y="14563"/>
                </a:cubicBezTo>
                <a:cubicBezTo>
                  <a:pt x="22063" y="14563"/>
                  <a:pt x="22000" y="14531"/>
                  <a:pt x="22000" y="14594"/>
                </a:cubicBezTo>
                <a:cubicBezTo>
                  <a:pt x="22000" y="14656"/>
                  <a:pt x="22031" y="14688"/>
                  <a:pt x="22094" y="14656"/>
                </a:cubicBezTo>
                <a:close/>
                <a:moveTo>
                  <a:pt x="7813" y="10344"/>
                </a:moveTo>
                <a:cubicBezTo>
                  <a:pt x="7750" y="10375"/>
                  <a:pt x="7688" y="10313"/>
                  <a:pt x="7625" y="10375"/>
                </a:cubicBezTo>
                <a:cubicBezTo>
                  <a:pt x="7656" y="10438"/>
                  <a:pt x="7750" y="10438"/>
                  <a:pt x="7813" y="10438"/>
                </a:cubicBezTo>
                <a:cubicBezTo>
                  <a:pt x="7844" y="10438"/>
                  <a:pt x="7875" y="10438"/>
                  <a:pt x="7875" y="10375"/>
                </a:cubicBezTo>
                <a:cubicBezTo>
                  <a:pt x="7875" y="10344"/>
                  <a:pt x="7844" y="10344"/>
                  <a:pt x="7813" y="10344"/>
                </a:cubicBezTo>
                <a:close/>
                <a:moveTo>
                  <a:pt x="25438" y="2813"/>
                </a:moveTo>
                <a:cubicBezTo>
                  <a:pt x="25375" y="2813"/>
                  <a:pt x="25313" y="2750"/>
                  <a:pt x="25250" y="2844"/>
                </a:cubicBezTo>
                <a:cubicBezTo>
                  <a:pt x="25250" y="2844"/>
                  <a:pt x="25250" y="2906"/>
                  <a:pt x="25250" y="2906"/>
                </a:cubicBezTo>
                <a:cubicBezTo>
                  <a:pt x="25344" y="2938"/>
                  <a:pt x="25406" y="2906"/>
                  <a:pt x="25438" y="2813"/>
                </a:cubicBezTo>
                <a:close/>
                <a:moveTo>
                  <a:pt x="12219" y="11594"/>
                </a:moveTo>
                <a:cubicBezTo>
                  <a:pt x="12344" y="11656"/>
                  <a:pt x="12438" y="11688"/>
                  <a:pt x="12594" y="11625"/>
                </a:cubicBezTo>
                <a:cubicBezTo>
                  <a:pt x="12469" y="11594"/>
                  <a:pt x="12375" y="11563"/>
                  <a:pt x="12219" y="11594"/>
                </a:cubicBezTo>
                <a:close/>
                <a:moveTo>
                  <a:pt x="23750" y="3000"/>
                </a:moveTo>
                <a:cubicBezTo>
                  <a:pt x="23781" y="3000"/>
                  <a:pt x="23813" y="2969"/>
                  <a:pt x="23813" y="2938"/>
                </a:cubicBezTo>
                <a:cubicBezTo>
                  <a:pt x="23813" y="2875"/>
                  <a:pt x="23844" y="2844"/>
                  <a:pt x="23906" y="2813"/>
                </a:cubicBezTo>
                <a:cubicBezTo>
                  <a:pt x="23844" y="2782"/>
                  <a:pt x="23813" y="2719"/>
                  <a:pt x="23719" y="2750"/>
                </a:cubicBezTo>
                <a:cubicBezTo>
                  <a:pt x="23781" y="2782"/>
                  <a:pt x="23813" y="2844"/>
                  <a:pt x="23750" y="2906"/>
                </a:cubicBezTo>
                <a:cubicBezTo>
                  <a:pt x="23719" y="2938"/>
                  <a:pt x="23688" y="2969"/>
                  <a:pt x="23750" y="3000"/>
                </a:cubicBezTo>
                <a:close/>
                <a:moveTo>
                  <a:pt x="11500" y="11531"/>
                </a:moveTo>
                <a:cubicBezTo>
                  <a:pt x="11469" y="11531"/>
                  <a:pt x="11438" y="11563"/>
                  <a:pt x="11438" y="11563"/>
                </a:cubicBezTo>
                <a:cubicBezTo>
                  <a:pt x="11438" y="11625"/>
                  <a:pt x="11469" y="11625"/>
                  <a:pt x="11500" y="11625"/>
                </a:cubicBezTo>
                <a:cubicBezTo>
                  <a:pt x="11594" y="11625"/>
                  <a:pt x="11656" y="11625"/>
                  <a:pt x="11750" y="11594"/>
                </a:cubicBezTo>
                <a:cubicBezTo>
                  <a:pt x="11656" y="11563"/>
                  <a:pt x="11594" y="11531"/>
                  <a:pt x="11500" y="11531"/>
                </a:cubicBezTo>
                <a:close/>
                <a:moveTo>
                  <a:pt x="6156" y="9813"/>
                </a:moveTo>
                <a:cubicBezTo>
                  <a:pt x="6281" y="9813"/>
                  <a:pt x="6375" y="9813"/>
                  <a:pt x="6500" y="9719"/>
                </a:cubicBezTo>
                <a:cubicBezTo>
                  <a:pt x="6313" y="9688"/>
                  <a:pt x="6250" y="9719"/>
                  <a:pt x="6156" y="9813"/>
                </a:cubicBezTo>
                <a:close/>
                <a:moveTo>
                  <a:pt x="6313" y="9563"/>
                </a:moveTo>
                <a:cubicBezTo>
                  <a:pt x="6438" y="9594"/>
                  <a:pt x="6531" y="9594"/>
                  <a:pt x="6656" y="9500"/>
                </a:cubicBezTo>
                <a:cubicBezTo>
                  <a:pt x="6531" y="9469"/>
                  <a:pt x="6438" y="9531"/>
                  <a:pt x="6313" y="9563"/>
                </a:cubicBezTo>
                <a:close/>
                <a:moveTo>
                  <a:pt x="5031" y="12219"/>
                </a:moveTo>
                <a:cubicBezTo>
                  <a:pt x="5000" y="12250"/>
                  <a:pt x="4938" y="12250"/>
                  <a:pt x="4938" y="12313"/>
                </a:cubicBezTo>
                <a:cubicBezTo>
                  <a:pt x="4969" y="12344"/>
                  <a:pt x="5031" y="12344"/>
                  <a:pt x="5063" y="12313"/>
                </a:cubicBezTo>
                <a:cubicBezTo>
                  <a:pt x="5125" y="12281"/>
                  <a:pt x="5188" y="12250"/>
                  <a:pt x="5156" y="12188"/>
                </a:cubicBezTo>
                <a:cubicBezTo>
                  <a:pt x="5125" y="12125"/>
                  <a:pt x="5063" y="12219"/>
                  <a:pt x="5031" y="12219"/>
                </a:cubicBezTo>
                <a:close/>
                <a:moveTo>
                  <a:pt x="6219" y="11625"/>
                </a:moveTo>
                <a:cubicBezTo>
                  <a:pt x="6125" y="11656"/>
                  <a:pt x="6031" y="11688"/>
                  <a:pt x="5969" y="11750"/>
                </a:cubicBezTo>
                <a:cubicBezTo>
                  <a:pt x="6125" y="11844"/>
                  <a:pt x="6188" y="11781"/>
                  <a:pt x="6219" y="11625"/>
                </a:cubicBezTo>
                <a:close/>
                <a:moveTo>
                  <a:pt x="23406" y="1875"/>
                </a:moveTo>
                <a:cubicBezTo>
                  <a:pt x="23281" y="1875"/>
                  <a:pt x="23188" y="1875"/>
                  <a:pt x="23094" y="1813"/>
                </a:cubicBezTo>
                <a:cubicBezTo>
                  <a:pt x="23094" y="1813"/>
                  <a:pt x="23063" y="1813"/>
                  <a:pt x="23063" y="1844"/>
                </a:cubicBezTo>
                <a:cubicBezTo>
                  <a:pt x="23063" y="1844"/>
                  <a:pt x="23063" y="1875"/>
                  <a:pt x="23063" y="1875"/>
                </a:cubicBezTo>
                <a:cubicBezTo>
                  <a:pt x="23125" y="1969"/>
                  <a:pt x="23313" y="1969"/>
                  <a:pt x="23406" y="1875"/>
                </a:cubicBezTo>
                <a:close/>
                <a:moveTo>
                  <a:pt x="3656" y="2906"/>
                </a:moveTo>
                <a:cubicBezTo>
                  <a:pt x="3500" y="2750"/>
                  <a:pt x="3406" y="2719"/>
                  <a:pt x="3344" y="2875"/>
                </a:cubicBezTo>
                <a:cubicBezTo>
                  <a:pt x="3438" y="2782"/>
                  <a:pt x="3531" y="2938"/>
                  <a:pt x="3656" y="2906"/>
                </a:cubicBezTo>
                <a:close/>
                <a:moveTo>
                  <a:pt x="2875" y="3750"/>
                </a:moveTo>
                <a:cubicBezTo>
                  <a:pt x="2906" y="3750"/>
                  <a:pt x="2938" y="3750"/>
                  <a:pt x="2938" y="3719"/>
                </a:cubicBezTo>
                <a:cubicBezTo>
                  <a:pt x="2906" y="3688"/>
                  <a:pt x="2969" y="3656"/>
                  <a:pt x="2938" y="3625"/>
                </a:cubicBezTo>
                <a:cubicBezTo>
                  <a:pt x="2938" y="3563"/>
                  <a:pt x="2906" y="3531"/>
                  <a:pt x="2875" y="3500"/>
                </a:cubicBezTo>
                <a:cubicBezTo>
                  <a:pt x="2844" y="3500"/>
                  <a:pt x="2813" y="3500"/>
                  <a:pt x="2813" y="3531"/>
                </a:cubicBezTo>
                <a:cubicBezTo>
                  <a:pt x="2875" y="3594"/>
                  <a:pt x="2813" y="3656"/>
                  <a:pt x="2813" y="3719"/>
                </a:cubicBezTo>
                <a:cubicBezTo>
                  <a:pt x="2813" y="3750"/>
                  <a:pt x="2844" y="3750"/>
                  <a:pt x="2875" y="3750"/>
                </a:cubicBezTo>
                <a:close/>
                <a:moveTo>
                  <a:pt x="8188" y="10500"/>
                </a:moveTo>
                <a:cubicBezTo>
                  <a:pt x="8188" y="10469"/>
                  <a:pt x="8156" y="10469"/>
                  <a:pt x="8125" y="10469"/>
                </a:cubicBezTo>
                <a:cubicBezTo>
                  <a:pt x="8063" y="10500"/>
                  <a:pt x="8031" y="10563"/>
                  <a:pt x="7969" y="10563"/>
                </a:cubicBezTo>
                <a:cubicBezTo>
                  <a:pt x="7938" y="10531"/>
                  <a:pt x="7906" y="10500"/>
                  <a:pt x="7906" y="10563"/>
                </a:cubicBezTo>
                <a:cubicBezTo>
                  <a:pt x="7906" y="10594"/>
                  <a:pt x="7906" y="10625"/>
                  <a:pt x="7969" y="10656"/>
                </a:cubicBezTo>
                <a:cubicBezTo>
                  <a:pt x="8063" y="10656"/>
                  <a:pt x="8094" y="10594"/>
                  <a:pt x="8156" y="10563"/>
                </a:cubicBezTo>
                <a:cubicBezTo>
                  <a:pt x="8188" y="10531"/>
                  <a:pt x="8219" y="10531"/>
                  <a:pt x="8188" y="10500"/>
                </a:cubicBezTo>
                <a:close/>
                <a:moveTo>
                  <a:pt x="6094" y="10125"/>
                </a:moveTo>
                <a:cubicBezTo>
                  <a:pt x="6125" y="10125"/>
                  <a:pt x="6125" y="10063"/>
                  <a:pt x="6125" y="10031"/>
                </a:cubicBezTo>
                <a:cubicBezTo>
                  <a:pt x="6125" y="10000"/>
                  <a:pt x="6125" y="10000"/>
                  <a:pt x="6094" y="10000"/>
                </a:cubicBezTo>
                <a:cubicBezTo>
                  <a:pt x="6031" y="10000"/>
                  <a:pt x="5969" y="10063"/>
                  <a:pt x="5938" y="10125"/>
                </a:cubicBezTo>
                <a:cubicBezTo>
                  <a:pt x="5906" y="10188"/>
                  <a:pt x="5938" y="10219"/>
                  <a:pt x="6000" y="10281"/>
                </a:cubicBezTo>
                <a:cubicBezTo>
                  <a:pt x="6000" y="10188"/>
                  <a:pt x="6031" y="10125"/>
                  <a:pt x="6094" y="10125"/>
                </a:cubicBezTo>
                <a:close/>
                <a:moveTo>
                  <a:pt x="6406" y="10500"/>
                </a:moveTo>
                <a:cubicBezTo>
                  <a:pt x="6375" y="10500"/>
                  <a:pt x="6344" y="10500"/>
                  <a:pt x="6313" y="10500"/>
                </a:cubicBezTo>
                <a:cubicBezTo>
                  <a:pt x="6313" y="10563"/>
                  <a:pt x="6344" y="10625"/>
                  <a:pt x="6313" y="10656"/>
                </a:cubicBezTo>
                <a:cubicBezTo>
                  <a:pt x="6344" y="10656"/>
                  <a:pt x="6375" y="10656"/>
                  <a:pt x="6375" y="10656"/>
                </a:cubicBezTo>
                <a:cubicBezTo>
                  <a:pt x="6375" y="10688"/>
                  <a:pt x="6375" y="10688"/>
                  <a:pt x="6375" y="10688"/>
                </a:cubicBezTo>
                <a:cubicBezTo>
                  <a:pt x="6406" y="10688"/>
                  <a:pt x="6406" y="10688"/>
                  <a:pt x="6406" y="10688"/>
                </a:cubicBezTo>
                <a:cubicBezTo>
                  <a:pt x="6438" y="10719"/>
                  <a:pt x="6438" y="10750"/>
                  <a:pt x="6469" y="10750"/>
                </a:cubicBezTo>
                <a:cubicBezTo>
                  <a:pt x="6531" y="10719"/>
                  <a:pt x="6563" y="10719"/>
                  <a:pt x="6625" y="10688"/>
                </a:cubicBezTo>
                <a:cubicBezTo>
                  <a:pt x="6625" y="10688"/>
                  <a:pt x="6625" y="10688"/>
                  <a:pt x="6625" y="10688"/>
                </a:cubicBezTo>
                <a:cubicBezTo>
                  <a:pt x="6656" y="10625"/>
                  <a:pt x="6594" y="10625"/>
                  <a:pt x="6563" y="10656"/>
                </a:cubicBezTo>
                <a:lnTo>
                  <a:pt x="6563" y="10656"/>
                </a:lnTo>
                <a:cubicBezTo>
                  <a:pt x="6531" y="10656"/>
                  <a:pt x="6469" y="10688"/>
                  <a:pt x="6406" y="10688"/>
                </a:cubicBezTo>
                <a:cubicBezTo>
                  <a:pt x="6406" y="10688"/>
                  <a:pt x="6406" y="10656"/>
                  <a:pt x="6375" y="10656"/>
                </a:cubicBezTo>
                <a:cubicBezTo>
                  <a:pt x="6406" y="10625"/>
                  <a:pt x="6406" y="10594"/>
                  <a:pt x="6406" y="10563"/>
                </a:cubicBezTo>
                <a:cubicBezTo>
                  <a:pt x="6438" y="10531"/>
                  <a:pt x="6438" y="10500"/>
                  <a:pt x="6406" y="10500"/>
                </a:cubicBezTo>
                <a:close/>
                <a:moveTo>
                  <a:pt x="31281" y="15531"/>
                </a:moveTo>
                <a:cubicBezTo>
                  <a:pt x="31313" y="15531"/>
                  <a:pt x="31375" y="15594"/>
                  <a:pt x="31375" y="15500"/>
                </a:cubicBezTo>
                <a:cubicBezTo>
                  <a:pt x="31375" y="15438"/>
                  <a:pt x="31438" y="15438"/>
                  <a:pt x="31500" y="15438"/>
                </a:cubicBezTo>
                <a:cubicBezTo>
                  <a:pt x="31563" y="15406"/>
                  <a:pt x="31594" y="15406"/>
                  <a:pt x="31625" y="15313"/>
                </a:cubicBezTo>
                <a:cubicBezTo>
                  <a:pt x="31500" y="15344"/>
                  <a:pt x="31406" y="15375"/>
                  <a:pt x="31313" y="15438"/>
                </a:cubicBezTo>
                <a:cubicBezTo>
                  <a:pt x="31281" y="15438"/>
                  <a:pt x="31250" y="15500"/>
                  <a:pt x="31281" y="15531"/>
                </a:cubicBezTo>
                <a:close/>
                <a:moveTo>
                  <a:pt x="1313" y="10281"/>
                </a:moveTo>
                <a:cubicBezTo>
                  <a:pt x="1344" y="10281"/>
                  <a:pt x="1344" y="10250"/>
                  <a:pt x="1344" y="10219"/>
                </a:cubicBezTo>
                <a:cubicBezTo>
                  <a:pt x="1313" y="10188"/>
                  <a:pt x="1344" y="10125"/>
                  <a:pt x="1281" y="10156"/>
                </a:cubicBezTo>
                <a:cubicBezTo>
                  <a:pt x="1219" y="10156"/>
                  <a:pt x="1156" y="10188"/>
                  <a:pt x="1156" y="10250"/>
                </a:cubicBezTo>
                <a:cubicBezTo>
                  <a:pt x="1188" y="10313"/>
                  <a:pt x="1188" y="10344"/>
                  <a:pt x="1156" y="10375"/>
                </a:cubicBezTo>
                <a:cubicBezTo>
                  <a:pt x="1156" y="10406"/>
                  <a:pt x="1156" y="10469"/>
                  <a:pt x="1188" y="10469"/>
                </a:cubicBezTo>
                <a:cubicBezTo>
                  <a:pt x="1219" y="10469"/>
                  <a:pt x="1250" y="10438"/>
                  <a:pt x="1250" y="10406"/>
                </a:cubicBezTo>
                <a:cubicBezTo>
                  <a:pt x="1250" y="10344"/>
                  <a:pt x="1219" y="10281"/>
                  <a:pt x="1313" y="10281"/>
                </a:cubicBezTo>
                <a:close/>
                <a:moveTo>
                  <a:pt x="17438" y="13156"/>
                </a:moveTo>
                <a:cubicBezTo>
                  <a:pt x="17531" y="13125"/>
                  <a:pt x="17656" y="13156"/>
                  <a:pt x="17781" y="13063"/>
                </a:cubicBezTo>
                <a:cubicBezTo>
                  <a:pt x="17656" y="13063"/>
                  <a:pt x="17531" y="13063"/>
                  <a:pt x="17438" y="13031"/>
                </a:cubicBezTo>
                <a:cubicBezTo>
                  <a:pt x="17406" y="13031"/>
                  <a:pt x="17375" y="13063"/>
                  <a:pt x="17344" y="13094"/>
                </a:cubicBezTo>
                <a:cubicBezTo>
                  <a:pt x="17375" y="13094"/>
                  <a:pt x="17375" y="13156"/>
                  <a:pt x="17438" y="13156"/>
                </a:cubicBezTo>
                <a:close/>
                <a:moveTo>
                  <a:pt x="8750" y="10875"/>
                </a:moveTo>
                <a:cubicBezTo>
                  <a:pt x="8719" y="10906"/>
                  <a:pt x="8719" y="10906"/>
                  <a:pt x="8719" y="10938"/>
                </a:cubicBezTo>
                <a:cubicBezTo>
                  <a:pt x="8719" y="10969"/>
                  <a:pt x="8750" y="10969"/>
                  <a:pt x="8750" y="10969"/>
                </a:cubicBezTo>
                <a:cubicBezTo>
                  <a:pt x="8875" y="10938"/>
                  <a:pt x="9000" y="10938"/>
                  <a:pt x="9156" y="10938"/>
                </a:cubicBezTo>
                <a:cubicBezTo>
                  <a:pt x="9000" y="10781"/>
                  <a:pt x="8875" y="10781"/>
                  <a:pt x="8750" y="10875"/>
                </a:cubicBezTo>
                <a:close/>
                <a:moveTo>
                  <a:pt x="7188" y="10250"/>
                </a:moveTo>
                <a:cubicBezTo>
                  <a:pt x="7344" y="10188"/>
                  <a:pt x="7531" y="10219"/>
                  <a:pt x="7656" y="10063"/>
                </a:cubicBezTo>
                <a:cubicBezTo>
                  <a:pt x="7406" y="10094"/>
                  <a:pt x="7219" y="10156"/>
                  <a:pt x="7188" y="10250"/>
                </a:cubicBezTo>
                <a:close/>
                <a:moveTo>
                  <a:pt x="9781" y="10125"/>
                </a:moveTo>
                <a:cubicBezTo>
                  <a:pt x="9563" y="10125"/>
                  <a:pt x="9313" y="10125"/>
                  <a:pt x="9094" y="10125"/>
                </a:cubicBezTo>
                <a:cubicBezTo>
                  <a:pt x="9313" y="10188"/>
                  <a:pt x="9563" y="10250"/>
                  <a:pt x="9781" y="10125"/>
                </a:cubicBezTo>
                <a:close/>
                <a:moveTo>
                  <a:pt x="5250" y="10813"/>
                </a:moveTo>
                <a:cubicBezTo>
                  <a:pt x="5094" y="10813"/>
                  <a:pt x="4938" y="10813"/>
                  <a:pt x="4875" y="11000"/>
                </a:cubicBezTo>
                <a:cubicBezTo>
                  <a:pt x="4938" y="11000"/>
                  <a:pt x="5000" y="10969"/>
                  <a:pt x="5031" y="11000"/>
                </a:cubicBezTo>
                <a:cubicBezTo>
                  <a:pt x="5094" y="11063"/>
                  <a:pt x="5094" y="11063"/>
                  <a:pt x="5188" y="11000"/>
                </a:cubicBezTo>
                <a:cubicBezTo>
                  <a:pt x="5000" y="10875"/>
                  <a:pt x="5219" y="10875"/>
                  <a:pt x="5250" y="10813"/>
                </a:cubicBezTo>
                <a:close/>
                <a:moveTo>
                  <a:pt x="14281" y="11906"/>
                </a:moveTo>
                <a:cubicBezTo>
                  <a:pt x="14156" y="12000"/>
                  <a:pt x="14000" y="11844"/>
                  <a:pt x="13875" y="11906"/>
                </a:cubicBezTo>
                <a:lnTo>
                  <a:pt x="13875" y="11906"/>
                </a:lnTo>
                <a:cubicBezTo>
                  <a:pt x="13969" y="12063"/>
                  <a:pt x="14094" y="12031"/>
                  <a:pt x="14188" y="12031"/>
                </a:cubicBezTo>
                <a:cubicBezTo>
                  <a:pt x="14281" y="12031"/>
                  <a:pt x="14313" y="12000"/>
                  <a:pt x="14281" y="11906"/>
                </a:cubicBezTo>
                <a:close/>
                <a:moveTo>
                  <a:pt x="21531" y="14875"/>
                </a:moveTo>
                <a:cubicBezTo>
                  <a:pt x="21594" y="14906"/>
                  <a:pt x="21656" y="14875"/>
                  <a:pt x="21719" y="14938"/>
                </a:cubicBezTo>
                <a:cubicBezTo>
                  <a:pt x="21813" y="15000"/>
                  <a:pt x="21906" y="15000"/>
                  <a:pt x="22000" y="14875"/>
                </a:cubicBezTo>
                <a:cubicBezTo>
                  <a:pt x="21563" y="14781"/>
                  <a:pt x="21563" y="14781"/>
                  <a:pt x="21531" y="14875"/>
                </a:cubicBezTo>
                <a:close/>
                <a:moveTo>
                  <a:pt x="19281" y="13781"/>
                </a:moveTo>
                <a:cubicBezTo>
                  <a:pt x="19250" y="13781"/>
                  <a:pt x="19219" y="13781"/>
                  <a:pt x="19219" y="13813"/>
                </a:cubicBezTo>
                <a:cubicBezTo>
                  <a:pt x="19219" y="13813"/>
                  <a:pt x="19250" y="13844"/>
                  <a:pt x="19281" y="13875"/>
                </a:cubicBezTo>
                <a:cubicBezTo>
                  <a:pt x="19219" y="13875"/>
                  <a:pt x="19156" y="13875"/>
                  <a:pt x="19094" y="13875"/>
                </a:cubicBezTo>
                <a:cubicBezTo>
                  <a:pt x="19063" y="13875"/>
                  <a:pt x="19000" y="13875"/>
                  <a:pt x="19000" y="13938"/>
                </a:cubicBezTo>
                <a:cubicBezTo>
                  <a:pt x="19000" y="13969"/>
                  <a:pt x="19063" y="13938"/>
                  <a:pt x="19094" y="13969"/>
                </a:cubicBezTo>
                <a:cubicBezTo>
                  <a:pt x="19281" y="14000"/>
                  <a:pt x="19406" y="13875"/>
                  <a:pt x="19563" y="13781"/>
                </a:cubicBezTo>
                <a:cubicBezTo>
                  <a:pt x="19469" y="13781"/>
                  <a:pt x="19375" y="13781"/>
                  <a:pt x="19281" y="13781"/>
                </a:cubicBezTo>
                <a:close/>
                <a:moveTo>
                  <a:pt x="8500" y="10531"/>
                </a:moveTo>
                <a:cubicBezTo>
                  <a:pt x="8656" y="10594"/>
                  <a:pt x="8656" y="10469"/>
                  <a:pt x="8719" y="10406"/>
                </a:cubicBezTo>
                <a:cubicBezTo>
                  <a:pt x="8469" y="10406"/>
                  <a:pt x="8344" y="10469"/>
                  <a:pt x="8250" y="10625"/>
                </a:cubicBezTo>
                <a:cubicBezTo>
                  <a:pt x="8313" y="10656"/>
                  <a:pt x="8375" y="10625"/>
                  <a:pt x="8406" y="10594"/>
                </a:cubicBezTo>
                <a:cubicBezTo>
                  <a:pt x="8438" y="10563"/>
                  <a:pt x="8500" y="10531"/>
                  <a:pt x="8500" y="10531"/>
                </a:cubicBezTo>
                <a:close/>
                <a:moveTo>
                  <a:pt x="6969" y="1782"/>
                </a:moveTo>
                <a:cubicBezTo>
                  <a:pt x="7031" y="1750"/>
                  <a:pt x="7094" y="1625"/>
                  <a:pt x="7188" y="1719"/>
                </a:cubicBezTo>
                <a:cubicBezTo>
                  <a:pt x="7188" y="1719"/>
                  <a:pt x="7219" y="1719"/>
                  <a:pt x="7219" y="1688"/>
                </a:cubicBezTo>
                <a:cubicBezTo>
                  <a:pt x="7250" y="1625"/>
                  <a:pt x="7375" y="1563"/>
                  <a:pt x="7344" y="1469"/>
                </a:cubicBezTo>
                <a:cubicBezTo>
                  <a:pt x="7313" y="1469"/>
                  <a:pt x="7281" y="1469"/>
                  <a:pt x="7250" y="1500"/>
                </a:cubicBezTo>
                <a:cubicBezTo>
                  <a:pt x="7188" y="1594"/>
                  <a:pt x="7125" y="1594"/>
                  <a:pt x="7031" y="1532"/>
                </a:cubicBezTo>
                <a:cubicBezTo>
                  <a:pt x="7031" y="1594"/>
                  <a:pt x="7031" y="1625"/>
                  <a:pt x="6969" y="1625"/>
                </a:cubicBezTo>
                <a:cubicBezTo>
                  <a:pt x="6938" y="1625"/>
                  <a:pt x="6875" y="1625"/>
                  <a:pt x="6844" y="1657"/>
                </a:cubicBezTo>
                <a:cubicBezTo>
                  <a:pt x="6844" y="1688"/>
                  <a:pt x="6781" y="1719"/>
                  <a:pt x="6844" y="1782"/>
                </a:cubicBezTo>
                <a:cubicBezTo>
                  <a:pt x="6875" y="1750"/>
                  <a:pt x="6938" y="1750"/>
                  <a:pt x="6969" y="1782"/>
                </a:cubicBezTo>
                <a:close/>
                <a:moveTo>
                  <a:pt x="344" y="15125"/>
                </a:moveTo>
                <a:cubicBezTo>
                  <a:pt x="281" y="15156"/>
                  <a:pt x="219" y="15156"/>
                  <a:pt x="188" y="15063"/>
                </a:cubicBezTo>
                <a:cubicBezTo>
                  <a:pt x="188" y="15063"/>
                  <a:pt x="188" y="15063"/>
                  <a:pt x="188" y="15063"/>
                </a:cubicBezTo>
                <a:cubicBezTo>
                  <a:pt x="188" y="15250"/>
                  <a:pt x="0" y="15313"/>
                  <a:pt x="0" y="15500"/>
                </a:cubicBezTo>
                <a:cubicBezTo>
                  <a:pt x="31" y="15500"/>
                  <a:pt x="63" y="15500"/>
                  <a:pt x="94" y="15500"/>
                </a:cubicBezTo>
                <a:cubicBezTo>
                  <a:pt x="125" y="15469"/>
                  <a:pt x="156" y="15438"/>
                  <a:pt x="156" y="15406"/>
                </a:cubicBezTo>
                <a:cubicBezTo>
                  <a:pt x="219" y="15313"/>
                  <a:pt x="250" y="15250"/>
                  <a:pt x="313" y="15406"/>
                </a:cubicBezTo>
                <a:cubicBezTo>
                  <a:pt x="313" y="15469"/>
                  <a:pt x="344" y="15438"/>
                  <a:pt x="375" y="15438"/>
                </a:cubicBezTo>
                <a:cubicBezTo>
                  <a:pt x="406" y="15344"/>
                  <a:pt x="281" y="15219"/>
                  <a:pt x="438" y="15156"/>
                </a:cubicBezTo>
                <a:cubicBezTo>
                  <a:pt x="438" y="15125"/>
                  <a:pt x="438" y="15094"/>
                  <a:pt x="438" y="15063"/>
                </a:cubicBezTo>
                <a:cubicBezTo>
                  <a:pt x="375" y="15031"/>
                  <a:pt x="344" y="14969"/>
                  <a:pt x="281" y="14938"/>
                </a:cubicBezTo>
                <a:cubicBezTo>
                  <a:pt x="375" y="14844"/>
                  <a:pt x="469" y="14781"/>
                  <a:pt x="438" y="14656"/>
                </a:cubicBezTo>
                <a:cubicBezTo>
                  <a:pt x="438" y="14625"/>
                  <a:pt x="469" y="14594"/>
                  <a:pt x="500" y="14594"/>
                </a:cubicBezTo>
                <a:cubicBezTo>
                  <a:pt x="656" y="14531"/>
                  <a:pt x="656" y="14375"/>
                  <a:pt x="625" y="14250"/>
                </a:cubicBezTo>
                <a:cubicBezTo>
                  <a:pt x="594" y="14219"/>
                  <a:pt x="625" y="14188"/>
                  <a:pt x="625" y="14156"/>
                </a:cubicBezTo>
                <a:cubicBezTo>
                  <a:pt x="688" y="14031"/>
                  <a:pt x="813" y="13969"/>
                  <a:pt x="844" y="13844"/>
                </a:cubicBezTo>
                <a:cubicBezTo>
                  <a:pt x="875" y="13813"/>
                  <a:pt x="875" y="13813"/>
                  <a:pt x="906" y="13813"/>
                </a:cubicBezTo>
                <a:cubicBezTo>
                  <a:pt x="1000" y="13844"/>
                  <a:pt x="1000" y="13781"/>
                  <a:pt x="1031" y="13750"/>
                </a:cubicBezTo>
                <a:cubicBezTo>
                  <a:pt x="1031" y="13719"/>
                  <a:pt x="1031" y="13688"/>
                  <a:pt x="1000" y="13688"/>
                </a:cubicBezTo>
                <a:cubicBezTo>
                  <a:pt x="969" y="13688"/>
                  <a:pt x="969" y="13688"/>
                  <a:pt x="938" y="13719"/>
                </a:cubicBezTo>
                <a:cubicBezTo>
                  <a:pt x="938" y="13750"/>
                  <a:pt x="969" y="13813"/>
                  <a:pt x="875" y="13781"/>
                </a:cubicBezTo>
                <a:cubicBezTo>
                  <a:pt x="844" y="13750"/>
                  <a:pt x="844" y="13656"/>
                  <a:pt x="875" y="13625"/>
                </a:cubicBezTo>
                <a:cubicBezTo>
                  <a:pt x="1000" y="13594"/>
                  <a:pt x="938" y="13438"/>
                  <a:pt x="1031" y="13375"/>
                </a:cubicBezTo>
                <a:cubicBezTo>
                  <a:pt x="1031" y="13375"/>
                  <a:pt x="1031" y="13344"/>
                  <a:pt x="1000" y="13344"/>
                </a:cubicBezTo>
                <a:cubicBezTo>
                  <a:pt x="906" y="13281"/>
                  <a:pt x="969" y="13219"/>
                  <a:pt x="938" y="13156"/>
                </a:cubicBezTo>
                <a:cubicBezTo>
                  <a:pt x="1063" y="13281"/>
                  <a:pt x="1125" y="13313"/>
                  <a:pt x="1250" y="13219"/>
                </a:cubicBezTo>
                <a:cubicBezTo>
                  <a:pt x="1250" y="13219"/>
                  <a:pt x="1281" y="13219"/>
                  <a:pt x="1281" y="13188"/>
                </a:cubicBezTo>
                <a:cubicBezTo>
                  <a:pt x="1250" y="13094"/>
                  <a:pt x="1375" y="13063"/>
                  <a:pt x="1375" y="12969"/>
                </a:cubicBezTo>
                <a:cubicBezTo>
                  <a:pt x="1375" y="12906"/>
                  <a:pt x="1438" y="12906"/>
                  <a:pt x="1469" y="12906"/>
                </a:cubicBezTo>
                <a:cubicBezTo>
                  <a:pt x="1625" y="12969"/>
                  <a:pt x="1688" y="12938"/>
                  <a:pt x="1719" y="12750"/>
                </a:cubicBezTo>
                <a:cubicBezTo>
                  <a:pt x="1781" y="12813"/>
                  <a:pt x="1875" y="12844"/>
                  <a:pt x="1938" y="12750"/>
                </a:cubicBezTo>
                <a:cubicBezTo>
                  <a:pt x="1938" y="12750"/>
                  <a:pt x="1969" y="12719"/>
                  <a:pt x="1969" y="12719"/>
                </a:cubicBezTo>
                <a:cubicBezTo>
                  <a:pt x="1938" y="12656"/>
                  <a:pt x="1906" y="12688"/>
                  <a:pt x="1906" y="12688"/>
                </a:cubicBezTo>
                <a:cubicBezTo>
                  <a:pt x="1844" y="12656"/>
                  <a:pt x="1750" y="12750"/>
                  <a:pt x="1719" y="12688"/>
                </a:cubicBezTo>
                <a:cubicBezTo>
                  <a:pt x="1719" y="12594"/>
                  <a:pt x="1813" y="12625"/>
                  <a:pt x="1875" y="12625"/>
                </a:cubicBezTo>
                <a:cubicBezTo>
                  <a:pt x="2063" y="12594"/>
                  <a:pt x="2156" y="12438"/>
                  <a:pt x="2281" y="12344"/>
                </a:cubicBezTo>
                <a:cubicBezTo>
                  <a:pt x="2313" y="12313"/>
                  <a:pt x="2313" y="12313"/>
                  <a:pt x="2281" y="12281"/>
                </a:cubicBezTo>
                <a:cubicBezTo>
                  <a:pt x="2250" y="12156"/>
                  <a:pt x="2375" y="12156"/>
                  <a:pt x="2469" y="12125"/>
                </a:cubicBezTo>
                <a:cubicBezTo>
                  <a:pt x="2469" y="12188"/>
                  <a:pt x="2344" y="12156"/>
                  <a:pt x="2406" y="12250"/>
                </a:cubicBezTo>
                <a:cubicBezTo>
                  <a:pt x="2438" y="12281"/>
                  <a:pt x="2469" y="12219"/>
                  <a:pt x="2500" y="12219"/>
                </a:cubicBezTo>
                <a:cubicBezTo>
                  <a:pt x="2500" y="12219"/>
                  <a:pt x="2531" y="12219"/>
                  <a:pt x="2531" y="12219"/>
                </a:cubicBezTo>
                <a:cubicBezTo>
                  <a:pt x="2563" y="12219"/>
                  <a:pt x="2625" y="12313"/>
                  <a:pt x="2656" y="12250"/>
                </a:cubicBezTo>
                <a:cubicBezTo>
                  <a:pt x="2719" y="12188"/>
                  <a:pt x="2625" y="12156"/>
                  <a:pt x="2594" y="12094"/>
                </a:cubicBezTo>
                <a:cubicBezTo>
                  <a:pt x="2688" y="12094"/>
                  <a:pt x="2781" y="12094"/>
                  <a:pt x="2781" y="11969"/>
                </a:cubicBezTo>
                <a:cubicBezTo>
                  <a:pt x="2813" y="11938"/>
                  <a:pt x="2844" y="11938"/>
                  <a:pt x="2906" y="11906"/>
                </a:cubicBezTo>
                <a:cubicBezTo>
                  <a:pt x="3000" y="11875"/>
                  <a:pt x="3125" y="11875"/>
                  <a:pt x="3188" y="11813"/>
                </a:cubicBezTo>
                <a:cubicBezTo>
                  <a:pt x="3219" y="11719"/>
                  <a:pt x="3344" y="11688"/>
                  <a:pt x="3375" y="11625"/>
                </a:cubicBezTo>
                <a:cubicBezTo>
                  <a:pt x="3406" y="11563"/>
                  <a:pt x="3469" y="11531"/>
                  <a:pt x="3344" y="11500"/>
                </a:cubicBezTo>
                <a:cubicBezTo>
                  <a:pt x="3313" y="11500"/>
                  <a:pt x="3344" y="11469"/>
                  <a:pt x="3344" y="11438"/>
                </a:cubicBezTo>
                <a:cubicBezTo>
                  <a:pt x="3406" y="11375"/>
                  <a:pt x="3469" y="11406"/>
                  <a:pt x="3531" y="11375"/>
                </a:cubicBezTo>
                <a:cubicBezTo>
                  <a:pt x="3500" y="11406"/>
                  <a:pt x="3500" y="11438"/>
                  <a:pt x="3469" y="11469"/>
                </a:cubicBezTo>
                <a:cubicBezTo>
                  <a:pt x="3469" y="11500"/>
                  <a:pt x="3406" y="11469"/>
                  <a:pt x="3406" y="11531"/>
                </a:cubicBezTo>
                <a:cubicBezTo>
                  <a:pt x="3438" y="11563"/>
                  <a:pt x="3469" y="11531"/>
                  <a:pt x="3500" y="11500"/>
                </a:cubicBezTo>
                <a:cubicBezTo>
                  <a:pt x="3531" y="11500"/>
                  <a:pt x="3594" y="11500"/>
                  <a:pt x="3625" y="11500"/>
                </a:cubicBezTo>
                <a:cubicBezTo>
                  <a:pt x="3594" y="11594"/>
                  <a:pt x="3469" y="11563"/>
                  <a:pt x="3438" y="11656"/>
                </a:cubicBezTo>
                <a:cubicBezTo>
                  <a:pt x="3625" y="11688"/>
                  <a:pt x="3781" y="11563"/>
                  <a:pt x="3938" y="11469"/>
                </a:cubicBezTo>
                <a:cubicBezTo>
                  <a:pt x="4000" y="11438"/>
                  <a:pt x="4094" y="11406"/>
                  <a:pt x="4188" y="11406"/>
                </a:cubicBezTo>
                <a:cubicBezTo>
                  <a:pt x="4219" y="11406"/>
                  <a:pt x="4250" y="11438"/>
                  <a:pt x="4250" y="11344"/>
                </a:cubicBezTo>
                <a:cubicBezTo>
                  <a:pt x="4250" y="11313"/>
                  <a:pt x="4219" y="11313"/>
                  <a:pt x="4188" y="11313"/>
                </a:cubicBezTo>
                <a:cubicBezTo>
                  <a:pt x="4156" y="11313"/>
                  <a:pt x="4125" y="11344"/>
                  <a:pt x="4094" y="11344"/>
                </a:cubicBezTo>
                <a:cubicBezTo>
                  <a:pt x="4281" y="11219"/>
                  <a:pt x="4438" y="11063"/>
                  <a:pt x="4688" y="11063"/>
                </a:cubicBezTo>
                <a:cubicBezTo>
                  <a:pt x="4625" y="11156"/>
                  <a:pt x="4500" y="11156"/>
                  <a:pt x="4438" y="11219"/>
                </a:cubicBezTo>
                <a:cubicBezTo>
                  <a:pt x="4531" y="11281"/>
                  <a:pt x="4625" y="11219"/>
                  <a:pt x="4719" y="11219"/>
                </a:cubicBezTo>
                <a:cubicBezTo>
                  <a:pt x="4906" y="11188"/>
                  <a:pt x="5125" y="11188"/>
                  <a:pt x="5281" y="11063"/>
                </a:cubicBezTo>
                <a:cubicBezTo>
                  <a:pt x="5313" y="11031"/>
                  <a:pt x="5344" y="11000"/>
                  <a:pt x="5375" y="11031"/>
                </a:cubicBezTo>
                <a:cubicBezTo>
                  <a:pt x="5469" y="11094"/>
                  <a:pt x="5531" y="11063"/>
                  <a:pt x="5594" y="11000"/>
                </a:cubicBezTo>
                <a:cubicBezTo>
                  <a:pt x="5656" y="10906"/>
                  <a:pt x="5750" y="10844"/>
                  <a:pt x="5875" y="10906"/>
                </a:cubicBezTo>
                <a:cubicBezTo>
                  <a:pt x="5969" y="10938"/>
                  <a:pt x="6031" y="10906"/>
                  <a:pt x="6094" y="10844"/>
                </a:cubicBezTo>
                <a:lnTo>
                  <a:pt x="6094" y="10844"/>
                </a:lnTo>
                <a:cubicBezTo>
                  <a:pt x="6125" y="10813"/>
                  <a:pt x="6188" y="10781"/>
                  <a:pt x="6281" y="10781"/>
                </a:cubicBezTo>
                <a:cubicBezTo>
                  <a:pt x="6281" y="10813"/>
                  <a:pt x="6344" y="10844"/>
                  <a:pt x="6344" y="10906"/>
                </a:cubicBezTo>
                <a:cubicBezTo>
                  <a:pt x="6188" y="10906"/>
                  <a:pt x="6000" y="10875"/>
                  <a:pt x="5875" y="11031"/>
                </a:cubicBezTo>
                <a:cubicBezTo>
                  <a:pt x="5844" y="11063"/>
                  <a:pt x="5781" y="11031"/>
                  <a:pt x="5719" y="11063"/>
                </a:cubicBezTo>
                <a:cubicBezTo>
                  <a:pt x="5500" y="11125"/>
                  <a:pt x="5281" y="11219"/>
                  <a:pt x="5031" y="11188"/>
                </a:cubicBezTo>
                <a:cubicBezTo>
                  <a:pt x="4906" y="11188"/>
                  <a:pt x="4750" y="11250"/>
                  <a:pt x="4625" y="11344"/>
                </a:cubicBezTo>
                <a:cubicBezTo>
                  <a:pt x="4406" y="11531"/>
                  <a:pt x="4125" y="11594"/>
                  <a:pt x="3875" y="11719"/>
                </a:cubicBezTo>
                <a:cubicBezTo>
                  <a:pt x="3781" y="11750"/>
                  <a:pt x="3656" y="11781"/>
                  <a:pt x="3563" y="11844"/>
                </a:cubicBezTo>
                <a:cubicBezTo>
                  <a:pt x="3531" y="11844"/>
                  <a:pt x="3500" y="11875"/>
                  <a:pt x="3500" y="11906"/>
                </a:cubicBezTo>
                <a:cubicBezTo>
                  <a:pt x="3531" y="11938"/>
                  <a:pt x="3563" y="11938"/>
                  <a:pt x="3594" y="11906"/>
                </a:cubicBezTo>
                <a:cubicBezTo>
                  <a:pt x="3625" y="11906"/>
                  <a:pt x="3656" y="11875"/>
                  <a:pt x="3688" y="11875"/>
                </a:cubicBezTo>
                <a:cubicBezTo>
                  <a:pt x="3781" y="11844"/>
                  <a:pt x="3844" y="11906"/>
                  <a:pt x="3844" y="12000"/>
                </a:cubicBezTo>
                <a:cubicBezTo>
                  <a:pt x="3844" y="12000"/>
                  <a:pt x="3813" y="12000"/>
                  <a:pt x="3813" y="12031"/>
                </a:cubicBezTo>
                <a:cubicBezTo>
                  <a:pt x="3688" y="11906"/>
                  <a:pt x="3563" y="12063"/>
                  <a:pt x="3438" y="11969"/>
                </a:cubicBezTo>
                <a:cubicBezTo>
                  <a:pt x="3438" y="11969"/>
                  <a:pt x="3438" y="11969"/>
                  <a:pt x="3406" y="11969"/>
                </a:cubicBezTo>
                <a:cubicBezTo>
                  <a:pt x="3406" y="12188"/>
                  <a:pt x="3375" y="12219"/>
                  <a:pt x="3156" y="12250"/>
                </a:cubicBezTo>
                <a:cubicBezTo>
                  <a:pt x="3125" y="12219"/>
                  <a:pt x="3188" y="12219"/>
                  <a:pt x="3188" y="12156"/>
                </a:cubicBezTo>
                <a:cubicBezTo>
                  <a:pt x="3188" y="12156"/>
                  <a:pt x="3156" y="12156"/>
                  <a:pt x="3156" y="12156"/>
                </a:cubicBezTo>
                <a:cubicBezTo>
                  <a:pt x="3031" y="12281"/>
                  <a:pt x="2844" y="12344"/>
                  <a:pt x="2719" y="12438"/>
                </a:cubicBezTo>
                <a:cubicBezTo>
                  <a:pt x="2656" y="12469"/>
                  <a:pt x="2625" y="12500"/>
                  <a:pt x="2625" y="12563"/>
                </a:cubicBezTo>
                <a:cubicBezTo>
                  <a:pt x="2656" y="12594"/>
                  <a:pt x="2594" y="12594"/>
                  <a:pt x="2594" y="12594"/>
                </a:cubicBezTo>
                <a:cubicBezTo>
                  <a:pt x="2500" y="12531"/>
                  <a:pt x="2438" y="12594"/>
                  <a:pt x="2406" y="12656"/>
                </a:cubicBezTo>
                <a:cubicBezTo>
                  <a:pt x="2219" y="12750"/>
                  <a:pt x="2063" y="12875"/>
                  <a:pt x="1938" y="13063"/>
                </a:cubicBezTo>
                <a:cubicBezTo>
                  <a:pt x="1938" y="13063"/>
                  <a:pt x="1906" y="13094"/>
                  <a:pt x="1906" y="13094"/>
                </a:cubicBezTo>
                <a:cubicBezTo>
                  <a:pt x="1750" y="13031"/>
                  <a:pt x="1719" y="13156"/>
                  <a:pt x="1656" y="13250"/>
                </a:cubicBezTo>
                <a:cubicBezTo>
                  <a:pt x="1594" y="13344"/>
                  <a:pt x="1500" y="13375"/>
                  <a:pt x="1438" y="13406"/>
                </a:cubicBezTo>
                <a:cubicBezTo>
                  <a:pt x="1375" y="13438"/>
                  <a:pt x="1313" y="13438"/>
                  <a:pt x="1313" y="13469"/>
                </a:cubicBezTo>
                <a:cubicBezTo>
                  <a:pt x="1281" y="13656"/>
                  <a:pt x="1063" y="13719"/>
                  <a:pt x="1031" y="13875"/>
                </a:cubicBezTo>
                <a:cubicBezTo>
                  <a:pt x="1031" y="13906"/>
                  <a:pt x="1000" y="13938"/>
                  <a:pt x="1000" y="13938"/>
                </a:cubicBezTo>
                <a:cubicBezTo>
                  <a:pt x="875" y="13938"/>
                  <a:pt x="906" y="14031"/>
                  <a:pt x="906" y="14125"/>
                </a:cubicBezTo>
                <a:cubicBezTo>
                  <a:pt x="969" y="14031"/>
                  <a:pt x="1125" y="14094"/>
                  <a:pt x="1125" y="13938"/>
                </a:cubicBezTo>
                <a:cubicBezTo>
                  <a:pt x="1125" y="13938"/>
                  <a:pt x="1156" y="13938"/>
                  <a:pt x="1156" y="13938"/>
                </a:cubicBezTo>
                <a:cubicBezTo>
                  <a:pt x="1313" y="14031"/>
                  <a:pt x="1313" y="13875"/>
                  <a:pt x="1375" y="13781"/>
                </a:cubicBezTo>
                <a:cubicBezTo>
                  <a:pt x="1375" y="13750"/>
                  <a:pt x="1406" y="13719"/>
                  <a:pt x="1469" y="13688"/>
                </a:cubicBezTo>
                <a:cubicBezTo>
                  <a:pt x="1438" y="13781"/>
                  <a:pt x="1500" y="13875"/>
                  <a:pt x="1438" y="13938"/>
                </a:cubicBezTo>
                <a:cubicBezTo>
                  <a:pt x="1281" y="14000"/>
                  <a:pt x="1188" y="14125"/>
                  <a:pt x="1000" y="14156"/>
                </a:cubicBezTo>
                <a:cubicBezTo>
                  <a:pt x="1000" y="14250"/>
                  <a:pt x="813" y="14188"/>
                  <a:pt x="844" y="14313"/>
                </a:cubicBezTo>
                <a:cubicBezTo>
                  <a:pt x="844" y="14344"/>
                  <a:pt x="781" y="14375"/>
                  <a:pt x="844" y="14406"/>
                </a:cubicBezTo>
                <a:cubicBezTo>
                  <a:pt x="875" y="14438"/>
                  <a:pt x="906" y="14406"/>
                  <a:pt x="938" y="14375"/>
                </a:cubicBezTo>
                <a:cubicBezTo>
                  <a:pt x="1000" y="14281"/>
                  <a:pt x="1031" y="14219"/>
                  <a:pt x="1094" y="14188"/>
                </a:cubicBezTo>
                <a:cubicBezTo>
                  <a:pt x="1125" y="14219"/>
                  <a:pt x="1156" y="14219"/>
                  <a:pt x="1219" y="14188"/>
                </a:cubicBezTo>
                <a:cubicBezTo>
                  <a:pt x="1313" y="14125"/>
                  <a:pt x="1406" y="14063"/>
                  <a:pt x="1469" y="13969"/>
                </a:cubicBezTo>
                <a:cubicBezTo>
                  <a:pt x="1531" y="13969"/>
                  <a:pt x="1594" y="13875"/>
                  <a:pt x="1688" y="13875"/>
                </a:cubicBezTo>
                <a:cubicBezTo>
                  <a:pt x="1625" y="14000"/>
                  <a:pt x="1438" y="14031"/>
                  <a:pt x="1469" y="14219"/>
                </a:cubicBezTo>
                <a:cubicBezTo>
                  <a:pt x="1531" y="14219"/>
                  <a:pt x="1594" y="14219"/>
                  <a:pt x="1688" y="14250"/>
                </a:cubicBezTo>
                <a:cubicBezTo>
                  <a:pt x="1688" y="14250"/>
                  <a:pt x="1750" y="14250"/>
                  <a:pt x="1719" y="14281"/>
                </a:cubicBezTo>
                <a:cubicBezTo>
                  <a:pt x="1719" y="14313"/>
                  <a:pt x="1719" y="14344"/>
                  <a:pt x="1688" y="14344"/>
                </a:cubicBezTo>
                <a:cubicBezTo>
                  <a:pt x="1469" y="14469"/>
                  <a:pt x="1250" y="14594"/>
                  <a:pt x="1000" y="14719"/>
                </a:cubicBezTo>
                <a:cubicBezTo>
                  <a:pt x="1031" y="14656"/>
                  <a:pt x="1031" y="14625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lnTo>
                  <a:pt x="1031" y="14594"/>
                </a:lnTo>
                <a:cubicBezTo>
                  <a:pt x="1094" y="14500"/>
                  <a:pt x="1250" y="14531"/>
                  <a:pt x="1219" y="14375"/>
                </a:cubicBezTo>
                <a:cubicBezTo>
                  <a:pt x="1125" y="14406"/>
                  <a:pt x="1031" y="14469"/>
                  <a:pt x="1031" y="14594"/>
                </a:cubicBezTo>
                <a:cubicBezTo>
                  <a:pt x="1031" y="14594"/>
                  <a:pt x="1031" y="14594"/>
                  <a:pt x="1031" y="14594"/>
                </a:cubicBezTo>
                <a:cubicBezTo>
                  <a:pt x="969" y="14594"/>
                  <a:pt x="875" y="14563"/>
                  <a:pt x="813" y="14625"/>
                </a:cubicBezTo>
                <a:cubicBezTo>
                  <a:pt x="813" y="14625"/>
                  <a:pt x="781" y="14656"/>
                  <a:pt x="781" y="14656"/>
                </a:cubicBezTo>
                <a:cubicBezTo>
                  <a:pt x="844" y="14813"/>
                  <a:pt x="688" y="14781"/>
                  <a:pt x="625" y="14875"/>
                </a:cubicBezTo>
                <a:cubicBezTo>
                  <a:pt x="594" y="14875"/>
                  <a:pt x="563" y="14938"/>
                  <a:pt x="594" y="14969"/>
                </a:cubicBezTo>
                <a:cubicBezTo>
                  <a:pt x="625" y="15000"/>
                  <a:pt x="656" y="15000"/>
                  <a:pt x="688" y="15000"/>
                </a:cubicBezTo>
                <a:cubicBezTo>
                  <a:pt x="719" y="14969"/>
                  <a:pt x="719" y="14969"/>
                  <a:pt x="750" y="14969"/>
                </a:cubicBezTo>
                <a:cubicBezTo>
                  <a:pt x="781" y="14969"/>
                  <a:pt x="844" y="14938"/>
                  <a:pt x="844" y="15000"/>
                </a:cubicBezTo>
                <a:cubicBezTo>
                  <a:pt x="875" y="15031"/>
                  <a:pt x="813" y="15063"/>
                  <a:pt x="750" y="15063"/>
                </a:cubicBezTo>
                <a:cubicBezTo>
                  <a:pt x="688" y="15063"/>
                  <a:pt x="688" y="15094"/>
                  <a:pt x="688" y="15156"/>
                </a:cubicBezTo>
                <a:cubicBezTo>
                  <a:pt x="688" y="15219"/>
                  <a:pt x="625" y="15250"/>
                  <a:pt x="531" y="15219"/>
                </a:cubicBezTo>
                <a:cubicBezTo>
                  <a:pt x="531" y="15219"/>
                  <a:pt x="531" y="15188"/>
                  <a:pt x="531" y="15188"/>
                </a:cubicBezTo>
                <a:cubicBezTo>
                  <a:pt x="531" y="15188"/>
                  <a:pt x="531" y="15156"/>
                  <a:pt x="531" y="15156"/>
                </a:cubicBezTo>
                <a:cubicBezTo>
                  <a:pt x="563" y="15125"/>
                  <a:pt x="625" y="15094"/>
                  <a:pt x="594" y="15031"/>
                </a:cubicBezTo>
                <a:cubicBezTo>
                  <a:pt x="531" y="14969"/>
                  <a:pt x="500" y="15063"/>
                  <a:pt x="469" y="15063"/>
                </a:cubicBezTo>
                <a:cubicBezTo>
                  <a:pt x="469" y="15063"/>
                  <a:pt x="438" y="15063"/>
                  <a:pt x="438" y="15063"/>
                </a:cubicBezTo>
                <a:cubicBezTo>
                  <a:pt x="375" y="15063"/>
                  <a:pt x="344" y="15031"/>
                  <a:pt x="344" y="15125"/>
                </a:cubicBezTo>
                <a:close/>
                <a:moveTo>
                  <a:pt x="3375" y="11156"/>
                </a:moveTo>
                <a:cubicBezTo>
                  <a:pt x="3406" y="11094"/>
                  <a:pt x="3469" y="11063"/>
                  <a:pt x="3500" y="11063"/>
                </a:cubicBezTo>
                <a:cubicBezTo>
                  <a:pt x="3563" y="11063"/>
                  <a:pt x="3625" y="11031"/>
                  <a:pt x="3656" y="11000"/>
                </a:cubicBezTo>
                <a:cubicBezTo>
                  <a:pt x="3500" y="10906"/>
                  <a:pt x="3250" y="10938"/>
                  <a:pt x="3156" y="11063"/>
                </a:cubicBezTo>
                <a:cubicBezTo>
                  <a:pt x="3156" y="11094"/>
                  <a:pt x="3125" y="11125"/>
                  <a:pt x="3156" y="11156"/>
                </a:cubicBezTo>
                <a:cubicBezTo>
                  <a:pt x="3219" y="11219"/>
                  <a:pt x="3313" y="11219"/>
                  <a:pt x="3375" y="11156"/>
                </a:cubicBezTo>
                <a:close/>
                <a:moveTo>
                  <a:pt x="16438" y="12875"/>
                </a:moveTo>
                <a:cubicBezTo>
                  <a:pt x="16375" y="12906"/>
                  <a:pt x="16313" y="12906"/>
                  <a:pt x="16313" y="12813"/>
                </a:cubicBezTo>
                <a:cubicBezTo>
                  <a:pt x="16281" y="12750"/>
                  <a:pt x="16250" y="12750"/>
                  <a:pt x="16219" y="12781"/>
                </a:cubicBezTo>
                <a:cubicBezTo>
                  <a:pt x="16125" y="12781"/>
                  <a:pt x="16031" y="12719"/>
                  <a:pt x="15906" y="12719"/>
                </a:cubicBezTo>
                <a:cubicBezTo>
                  <a:pt x="15813" y="12688"/>
                  <a:pt x="15688" y="12656"/>
                  <a:pt x="15563" y="12656"/>
                </a:cubicBezTo>
                <a:cubicBezTo>
                  <a:pt x="16281" y="12969"/>
                  <a:pt x="16438" y="13000"/>
                  <a:pt x="16594" y="12844"/>
                </a:cubicBezTo>
                <a:cubicBezTo>
                  <a:pt x="16531" y="12844"/>
                  <a:pt x="16500" y="12844"/>
                  <a:pt x="16438" y="12875"/>
                </a:cubicBezTo>
                <a:close/>
                <a:moveTo>
                  <a:pt x="5063" y="10375"/>
                </a:moveTo>
                <a:cubicBezTo>
                  <a:pt x="5063" y="10406"/>
                  <a:pt x="5000" y="10438"/>
                  <a:pt x="4969" y="10438"/>
                </a:cubicBezTo>
                <a:cubicBezTo>
                  <a:pt x="4813" y="10469"/>
                  <a:pt x="4719" y="10625"/>
                  <a:pt x="4563" y="10656"/>
                </a:cubicBezTo>
                <a:cubicBezTo>
                  <a:pt x="4531" y="10656"/>
                  <a:pt x="4500" y="10688"/>
                  <a:pt x="4531" y="10719"/>
                </a:cubicBezTo>
                <a:cubicBezTo>
                  <a:pt x="4844" y="10688"/>
                  <a:pt x="5156" y="10531"/>
                  <a:pt x="5313" y="10281"/>
                </a:cubicBezTo>
                <a:cubicBezTo>
                  <a:pt x="5219" y="10250"/>
                  <a:pt x="5125" y="10219"/>
                  <a:pt x="5063" y="10375"/>
                </a:cubicBezTo>
                <a:close/>
                <a:moveTo>
                  <a:pt x="10938" y="11125"/>
                </a:moveTo>
                <a:cubicBezTo>
                  <a:pt x="10781" y="11094"/>
                  <a:pt x="10656" y="11094"/>
                  <a:pt x="10500" y="11094"/>
                </a:cubicBezTo>
                <a:cubicBezTo>
                  <a:pt x="10469" y="11094"/>
                  <a:pt x="10438" y="11125"/>
                  <a:pt x="10438" y="11125"/>
                </a:cubicBezTo>
                <a:cubicBezTo>
                  <a:pt x="10500" y="11219"/>
                  <a:pt x="10406" y="11188"/>
                  <a:pt x="10375" y="11188"/>
                </a:cubicBezTo>
                <a:cubicBezTo>
                  <a:pt x="10281" y="11188"/>
                  <a:pt x="10219" y="11125"/>
                  <a:pt x="10125" y="11156"/>
                </a:cubicBezTo>
                <a:cubicBezTo>
                  <a:pt x="10125" y="11188"/>
                  <a:pt x="10125" y="11219"/>
                  <a:pt x="10156" y="11219"/>
                </a:cubicBezTo>
                <a:cubicBezTo>
                  <a:pt x="10406" y="11281"/>
                  <a:pt x="10688" y="11313"/>
                  <a:pt x="10938" y="11219"/>
                </a:cubicBezTo>
                <a:cubicBezTo>
                  <a:pt x="10969" y="11188"/>
                  <a:pt x="10969" y="11188"/>
                  <a:pt x="10969" y="11156"/>
                </a:cubicBezTo>
                <a:cubicBezTo>
                  <a:pt x="10969" y="11156"/>
                  <a:pt x="10969" y="11156"/>
                  <a:pt x="10938" y="11125"/>
                </a:cubicBezTo>
                <a:close/>
                <a:moveTo>
                  <a:pt x="21250" y="14469"/>
                </a:moveTo>
                <a:cubicBezTo>
                  <a:pt x="21313" y="14469"/>
                  <a:pt x="21406" y="14469"/>
                  <a:pt x="21406" y="14406"/>
                </a:cubicBezTo>
                <a:cubicBezTo>
                  <a:pt x="21281" y="14281"/>
                  <a:pt x="21063" y="14438"/>
                  <a:pt x="20938" y="14313"/>
                </a:cubicBezTo>
                <a:cubicBezTo>
                  <a:pt x="20938" y="14313"/>
                  <a:pt x="20906" y="14313"/>
                  <a:pt x="20875" y="14313"/>
                </a:cubicBezTo>
                <a:cubicBezTo>
                  <a:pt x="20813" y="14406"/>
                  <a:pt x="20688" y="14406"/>
                  <a:pt x="20594" y="14375"/>
                </a:cubicBezTo>
                <a:cubicBezTo>
                  <a:pt x="20563" y="14344"/>
                  <a:pt x="20531" y="14313"/>
                  <a:pt x="20500" y="14375"/>
                </a:cubicBezTo>
                <a:cubicBezTo>
                  <a:pt x="20563" y="14406"/>
                  <a:pt x="20656" y="14406"/>
                  <a:pt x="20594" y="14500"/>
                </a:cubicBezTo>
                <a:cubicBezTo>
                  <a:pt x="20594" y="14531"/>
                  <a:pt x="20594" y="14531"/>
                  <a:pt x="20625" y="14563"/>
                </a:cubicBezTo>
                <a:cubicBezTo>
                  <a:pt x="20750" y="14563"/>
                  <a:pt x="20906" y="14594"/>
                  <a:pt x="21063" y="14594"/>
                </a:cubicBezTo>
                <a:cubicBezTo>
                  <a:pt x="21063" y="14469"/>
                  <a:pt x="21125" y="14438"/>
                  <a:pt x="21250" y="14469"/>
                </a:cubicBezTo>
                <a:close/>
                <a:moveTo>
                  <a:pt x="4375" y="12563"/>
                </a:moveTo>
                <a:cubicBezTo>
                  <a:pt x="4344" y="12563"/>
                  <a:pt x="4281" y="12563"/>
                  <a:pt x="4250" y="12500"/>
                </a:cubicBezTo>
                <a:cubicBezTo>
                  <a:pt x="4219" y="12438"/>
                  <a:pt x="4313" y="12438"/>
                  <a:pt x="4344" y="12406"/>
                </a:cubicBezTo>
                <a:cubicBezTo>
                  <a:pt x="4219" y="12375"/>
                  <a:pt x="4219" y="12375"/>
                  <a:pt x="4156" y="12438"/>
                </a:cubicBezTo>
                <a:cubicBezTo>
                  <a:pt x="4094" y="12500"/>
                  <a:pt x="4000" y="12531"/>
                  <a:pt x="3938" y="12500"/>
                </a:cubicBezTo>
                <a:cubicBezTo>
                  <a:pt x="3875" y="12469"/>
                  <a:pt x="3906" y="12500"/>
                  <a:pt x="3875" y="12531"/>
                </a:cubicBezTo>
                <a:cubicBezTo>
                  <a:pt x="3844" y="12594"/>
                  <a:pt x="3781" y="12594"/>
                  <a:pt x="3750" y="12500"/>
                </a:cubicBezTo>
                <a:cubicBezTo>
                  <a:pt x="3750" y="12500"/>
                  <a:pt x="3719" y="12469"/>
                  <a:pt x="3688" y="12500"/>
                </a:cubicBezTo>
                <a:cubicBezTo>
                  <a:pt x="3625" y="12500"/>
                  <a:pt x="3625" y="12563"/>
                  <a:pt x="3625" y="12625"/>
                </a:cubicBezTo>
                <a:cubicBezTo>
                  <a:pt x="3625" y="12688"/>
                  <a:pt x="3656" y="12688"/>
                  <a:pt x="3719" y="12688"/>
                </a:cubicBezTo>
                <a:cubicBezTo>
                  <a:pt x="3750" y="12688"/>
                  <a:pt x="3813" y="12688"/>
                  <a:pt x="3875" y="12688"/>
                </a:cubicBezTo>
                <a:cubicBezTo>
                  <a:pt x="3906" y="12719"/>
                  <a:pt x="3969" y="12750"/>
                  <a:pt x="4000" y="12688"/>
                </a:cubicBezTo>
                <a:cubicBezTo>
                  <a:pt x="4000" y="12656"/>
                  <a:pt x="3938" y="12656"/>
                  <a:pt x="3938" y="12594"/>
                </a:cubicBezTo>
                <a:cubicBezTo>
                  <a:pt x="4000" y="12594"/>
                  <a:pt x="4031" y="12594"/>
                  <a:pt x="4094" y="12594"/>
                </a:cubicBezTo>
                <a:cubicBezTo>
                  <a:pt x="4094" y="12563"/>
                  <a:pt x="4125" y="12531"/>
                  <a:pt x="4156" y="12531"/>
                </a:cubicBezTo>
                <a:cubicBezTo>
                  <a:pt x="4156" y="12531"/>
                  <a:pt x="4156" y="12531"/>
                  <a:pt x="4188" y="12563"/>
                </a:cubicBezTo>
                <a:cubicBezTo>
                  <a:pt x="4188" y="12625"/>
                  <a:pt x="4125" y="12594"/>
                  <a:pt x="4094" y="12594"/>
                </a:cubicBezTo>
                <a:cubicBezTo>
                  <a:pt x="4094" y="12656"/>
                  <a:pt x="4031" y="12656"/>
                  <a:pt x="4063" y="12719"/>
                </a:cubicBezTo>
                <a:cubicBezTo>
                  <a:pt x="4063" y="12719"/>
                  <a:pt x="4063" y="12719"/>
                  <a:pt x="4094" y="12719"/>
                </a:cubicBezTo>
                <a:cubicBezTo>
                  <a:pt x="4188" y="12688"/>
                  <a:pt x="4281" y="12656"/>
                  <a:pt x="4406" y="12625"/>
                </a:cubicBezTo>
                <a:cubicBezTo>
                  <a:pt x="4406" y="12625"/>
                  <a:pt x="4438" y="12625"/>
                  <a:pt x="4438" y="12594"/>
                </a:cubicBezTo>
                <a:cubicBezTo>
                  <a:pt x="4438" y="12563"/>
                  <a:pt x="4406" y="12563"/>
                  <a:pt x="4375" y="12563"/>
                </a:cubicBezTo>
                <a:close/>
                <a:moveTo>
                  <a:pt x="4500" y="10469"/>
                </a:moveTo>
                <a:cubicBezTo>
                  <a:pt x="4500" y="10500"/>
                  <a:pt x="4469" y="10500"/>
                  <a:pt x="4469" y="10500"/>
                </a:cubicBezTo>
                <a:cubicBezTo>
                  <a:pt x="4344" y="10500"/>
                  <a:pt x="4250" y="10563"/>
                  <a:pt x="4188" y="10656"/>
                </a:cubicBezTo>
                <a:cubicBezTo>
                  <a:pt x="4125" y="10688"/>
                  <a:pt x="4063" y="10781"/>
                  <a:pt x="4000" y="10656"/>
                </a:cubicBezTo>
                <a:cubicBezTo>
                  <a:pt x="3969" y="10625"/>
                  <a:pt x="3938" y="10688"/>
                  <a:pt x="3906" y="10688"/>
                </a:cubicBezTo>
                <a:cubicBezTo>
                  <a:pt x="3781" y="10750"/>
                  <a:pt x="3750" y="10875"/>
                  <a:pt x="3719" y="10969"/>
                </a:cubicBezTo>
                <a:cubicBezTo>
                  <a:pt x="3844" y="11031"/>
                  <a:pt x="3938" y="10938"/>
                  <a:pt x="3969" y="10906"/>
                </a:cubicBezTo>
                <a:cubicBezTo>
                  <a:pt x="4063" y="10813"/>
                  <a:pt x="4125" y="10813"/>
                  <a:pt x="4219" y="10813"/>
                </a:cubicBezTo>
                <a:cubicBezTo>
                  <a:pt x="4250" y="10781"/>
                  <a:pt x="4313" y="10781"/>
                  <a:pt x="4375" y="10750"/>
                </a:cubicBezTo>
                <a:cubicBezTo>
                  <a:pt x="4313" y="10719"/>
                  <a:pt x="4281" y="10719"/>
                  <a:pt x="4250" y="10719"/>
                </a:cubicBezTo>
                <a:cubicBezTo>
                  <a:pt x="4344" y="10656"/>
                  <a:pt x="4469" y="10625"/>
                  <a:pt x="4531" y="10563"/>
                </a:cubicBezTo>
                <a:cubicBezTo>
                  <a:pt x="4594" y="10531"/>
                  <a:pt x="4688" y="10469"/>
                  <a:pt x="4656" y="10438"/>
                </a:cubicBezTo>
                <a:cubicBezTo>
                  <a:pt x="4594" y="10375"/>
                  <a:pt x="4563" y="10469"/>
                  <a:pt x="4500" y="10469"/>
                </a:cubicBezTo>
                <a:close/>
                <a:moveTo>
                  <a:pt x="10156" y="10281"/>
                </a:moveTo>
                <a:cubicBezTo>
                  <a:pt x="9938" y="10344"/>
                  <a:pt x="9719" y="10313"/>
                  <a:pt x="9500" y="10313"/>
                </a:cubicBezTo>
                <a:cubicBezTo>
                  <a:pt x="9406" y="10313"/>
                  <a:pt x="9344" y="10281"/>
                  <a:pt x="9344" y="10406"/>
                </a:cubicBezTo>
                <a:cubicBezTo>
                  <a:pt x="9375" y="10469"/>
                  <a:pt x="9313" y="10531"/>
                  <a:pt x="9281" y="10563"/>
                </a:cubicBezTo>
                <a:cubicBezTo>
                  <a:pt x="9219" y="10563"/>
                  <a:pt x="9219" y="10594"/>
                  <a:pt x="9188" y="10656"/>
                </a:cubicBezTo>
                <a:cubicBezTo>
                  <a:pt x="9344" y="10594"/>
                  <a:pt x="9563" y="10688"/>
                  <a:pt x="9656" y="10469"/>
                </a:cubicBezTo>
                <a:cubicBezTo>
                  <a:pt x="9656" y="10438"/>
                  <a:pt x="9688" y="10438"/>
                  <a:pt x="9719" y="10438"/>
                </a:cubicBezTo>
                <a:cubicBezTo>
                  <a:pt x="9875" y="10406"/>
                  <a:pt x="10000" y="10406"/>
                  <a:pt x="10156" y="10375"/>
                </a:cubicBezTo>
                <a:cubicBezTo>
                  <a:pt x="10156" y="10438"/>
                  <a:pt x="10094" y="10438"/>
                  <a:pt x="10063" y="10469"/>
                </a:cubicBezTo>
                <a:cubicBezTo>
                  <a:pt x="10000" y="10500"/>
                  <a:pt x="9906" y="10531"/>
                  <a:pt x="9844" y="10563"/>
                </a:cubicBezTo>
                <a:cubicBezTo>
                  <a:pt x="10125" y="10594"/>
                  <a:pt x="10406" y="10563"/>
                  <a:pt x="10688" y="10563"/>
                </a:cubicBezTo>
                <a:cubicBezTo>
                  <a:pt x="10656" y="10594"/>
                  <a:pt x="10594" y="10656"/>
                  <a:pt x="10688" y="10656"/>
                </a:cubicBezTo>
                <a:cubicBezTo>
                  <a:pt x="10781" y="10656"/>
                  <a:pt x="10813" y="10688"/>
                  <a:pt x="10813" y="10750"/>
                </a:cubicBezTo>
                <a:cubicBezTo>
                  <a:pt x="10813" y="10844"/>
                  <a:pt x="10750" y="10813"/>
                  <a:pt x="10688" y="10813"/>
                </a:cubicBezTo>
                <a:cubicBezTo>
                  <a:pt x="10563" y="10813"/>
                  <a:pt x="10438" y="10813"/>
                  <a:pt x="10313" y="10813"/>
                </a:cubicBezTo>
                <a:cubicBezTo>
                  <a:pt x="10281" y="10813"/>
                  <a:pt x="10250" y="10813"/>
                  <a:pt x="10219" y="10844"/>
                </a:cubicBezTo>
                <a:cubicBezTo>
                  <a:pt x="10125" y="10938"/>
                  <a:pt x="10031" y="10969"/>
                  <a:pt x="9906" y="10969"/>
                </a:cubicBezTo>
                <a:cubicBezTo>
                  <a:pt x="9563" y="11063"/>
                  <a:pt x="9188" y="11063"/>
                  <a:pt x="8844" y="11156"/>
                </a:cubicBezTo>
                <a:cubicBezTo>
                  <a:pt x="8719" y="11188"/>
                  <a:pt x="8594" y="11219"/>
                  <a:pt x="8469" y="11344"/>
                </a:cubicBezTo>
                <a:cubicBezTo>
                  <a:pt x="8594" y="11344"/>
                  <a:pt x="8656" y="11313"/>
                  <a:pt x="8750" y="11313"/>
                </a:cubicBezTo>
                <a:cubicBezTo>
                  <a:pt x="8813" y="11219"/>
                  <a:pt x="8875" y="11281"/>
                  <a:pt x="8938" y="11281"/>
                </a:cubicBezTo>
                <a:cubicBezTo>
                  <a:pt x="9031" y="11250"/>
                  <a:pt x="9125" y="11313"/>
                  <a:pt x="9219" y="11250"/>
                </a:cubicBezTo>
                <a:cubicBezTo>
                  <a:pt x="9313" y="11125"/>
                  <a:pt x="9406" y="11188"/>
                  <a:pt x="9500" y="11219"/>
                </a:cubicBezTo>
                <a:cubicBezTo>
                  <a:pt x="9594" y="11281"/>
                  <a:pt x="9688" y="11281"/>
                  <a:pt x="9813" y="11250"/>
                </a:cubicBezTo>
                <a:cubicBezTo>
                  <a:pt x="9781" y="11219"/>
                  <a:pt x="9750" y="11188"/>
                  <a:pt x="9688" y="11156"/>
                </a:cubicBezTo>
                <a:cubicBezTo>
                  <a:pt x="9906" y="11156"/>
                  <a:pt x="10094" y="11063"/>
                  <a:pt x="10281" y="11063"/>
                </a:cubicBezTo>
                <a:cubicBezTo>
                  <a:pt x="10344" y="11063"/>
                  <a:pt x="10406" y="11031"/>
                  <a:pt x="10469" y="11000"/>
                </a:cubicBezTo>
                <a:cubicBezTo>
                  <a:pt x="10563" y="10906"/>
                  <a:pt x="10563" y="10906"/>
                  <a:pt x="10656" y="10906"/>
                </a:cubicBezTo>
                <a:cubicBezTo>
                  <a:pt x="10750" y="10906"/>
                  <a:pt x="10844" y="10844"/>
                  <a:pt x="10938" y="10813"/>
                </a:cubicBezTo>
                <a:cubicBezTo>
                  <a:pt x="10969" y="10781"/>
                  <a:pt x="11031" y="10750"/>
                  <a:pt x="10969" y="10719"/>
                </a:cubicBezTo>
                <a:cubicBezTo>
                  <a:pt x="10875" y="10656"/>
                  <a:pt x="10844" y="10563"/>
                  <a:pt x="10750" y="10531"/>
                </a:cubicBezTo>
                <a:cubicBezTo>
                  <a:pt x="10906" y="10531"/>
                  <a:pt x="11031" y="10438"/>
                  <a:pt x="11188" y="10563"/>
                </a:cubicBezTo>
                <a:lnTo>
                  <a:pt x="11188" y="10563"/>
                </a:lnTo>
                <a:cubicBezTo>
                  <a:pt x="11344" y="10625"/>
                  <a:pt x="11531" y="10625"/>
                  <a:pt x="11719" y="10594"/>
                </a:cubicBezTo>
                <a:cubicBezTo>
                  <a:pt x="11938" y="10563"/>
                  <a:pt x="12188" y="10625"/>
                  <a:pt x="12438" y="10563"/>
                </a:cubicBezTo>
                <a:cubicBezTo>
                  <a:pt x="12531" y="10531"/>
                  <a:pt x="12656" y="10500"/>
                  <a:pt x="12750" y="10500"/>
                </a:cubicBezTo>
                <a:cubicBezTo>
                  <a:pt x="12813" y="10500"/>
                  <a:pt x="12813" y="10469"/>
                  <a:pt x="12781" y="10438"/>
                </a:cubicBezTo>
                <a:cubicBezTo>
                  <a:pt x="12750" y="10344"/>
                  <a:pt x="12688" y="10406"/>
                  <a:pt x="12656" y="10406"/>
                </a:cubicBezTo>
                <a:cubicBezTo>
                  <a:pt x="12625" y="10500"/>
                  <a:pt x="12563" y="10500"/>
                  <a:pt x="12469" y="10531"/>
                </a:cubicBezTo>
                <a:cubicBezTo>
                  <a:pt x="12375" y="10563"/>
                  <a:pt x="12438" y="10438"/>
                  <a:pt x="12375" y="10406"/>
                </a:cubicBezTo>
                <a:cubicBezTo>
                  <a:pt x="12313" y="10563"/>
                  <a:pt x="12188" y="10531"/>
                  <a:pt x="12094" y="10500"/>
                </a:cubicBezTo>
                <a:cubicBezTo>
                  <a:pt x="12000" y="10469"/>
                  <a:pt x="11938" y="10469"/>
                  <a:pt x="11875" y="10469"/>
                </a:cubicBezTo>
                <a:cubicBezTo>
                  <a:pt x="11688" y="10500"/>
                  <a:pt x="11531" y="10500"/>
                  <a:pt x="11375" y="10406"/>
                </a:cubicBezTo>
                <a:cubicBezTo>
                  <a:pt x="11188" y="10313"/>
                  <a:pt x="10969" y="10281"/>
                  <a:pt x="10750" y="10344"/>
                </a:cubicBezTo>
                <a:cubicBezTo>
                  <a:pt x="10563" y="10406"/>
                  <a:pt x="10344" y="10344"/>
                  <a:pt x="10156" y="10375"/>
                </a:cubicBezTo>
                <a:cubicBezTo>
                  <a:pt x="10125" y="10344"/>
                  <a:pt x="10188" y="10344"/>
                  <a:pt x="10156" y="10281"/>
                </a:cubicBezTo>
                <a:close/>
                <a:moveTo>
                  <a:pt x="7719" y="10531"/>
                </a:moveTo>
                <a:cubicBezTo>
                  <a:pt x="7656" y="10563"/>
                  <a:pt x="7563" y="10563"/>
                  <a:pt x="7469" y="10594"/>
                </a:cubicBezTo>
                <a:cubicBezTo>
                  <a:pt x="7375" y="10594"/>
                  <a:pt x="7250" y="10625"/>
                  <a:pt x="7125" y="10563"/>
                </a:cubicBezTo>
                <a:cubicBezTo>
                  <a:pt x="7219" y="10563"/>
                  <a:pt x="7281" y="10563"/>
                  <a:pt x="7344" y="10531"/>
                </a:cubicBezTo>
                <a:cubicBezTo>
                  <a:pt x="7406" y="10500"/>
                  <a:pt x="7406" y="10500"/>
                  <a:pt x="7469" y="10438"/>
                </a:cubicBezTo>
                <a:cubicBezTo>
                  <a:pt x="7313" y="10406"/>
                  <a:pt x="7156" y="10469"/>
                  <a:pt x="7031" y="10531"/>
                </a:cubicBezTo>
                <a:cubicBezTo>
                  <a:pt x="6938" y="10594"/>
                  <a:pt x="6875" y="10781"/>
                  <a:pt x="6688" y="10719"/>
                </a:cubicBezTo>
                <a:cubicBezTo>
                  <a:pt x="6656" y="10813"/>
                  <a:pt x="6750" y="10844"/>
                  <a:pt x="6781" y="10906"/>
                </a:cubicBezTo>
                <a:cubicBezTo>
                  <a:pt x="6969" y="10813"/>
                  <a:pt x="7188" y="10719"/>
                  <a:pt x="7406" y="10688"/>
                </a:cubicBezTo>
                <a:cubicBezTo>
                  <a:pt x="7500" y="10656"/>
                  <a:pt x="7625" y="10656"/>
                  <a:pt x="7750" y="10656"/>
                </a:cubicBezTo>
                <a:cubicBezTo>
                  <a:pt x="7813" y="10656"/>
                  <a:pt x="7844" y="10594"/>
                  <a:pt x="7813" y="10531"/>
                </a:cubicBezTo>
                <a:cubicBezTo>
                  <a:pt x="7813" y="10469"/>
                  <a:pt x="7750" y="10531"/>
                  <a:pt x="7719" y="10531"/>
                </a:cubicBezTo>
                <a:close/>
                <a:moveTo>
                  <a:pt x="18906" y="13594"/>
                </a:moveTo>
                <a:cubicBezTo>
                  <a:pt x="18844" y="13594"/>
                  <a:pt x="18781" y="13563"/>
                  <a:pt x="18750" y="13563"/>
                </a:cubicBezTo>
                <a:cubicBezTo>
                  <a:pt x="18438" y="13531"/>
                  <a:pt x="18156" y="13500"/>
                  <a:pt x="17844" y="13406"/>
                </a:cubicBezTo>
                <a:cubicBezTo>
                  <a:pt x="17781" y="13375"/>
                  <a:pt x="17781" y="13250"/>
                  <a:pt x="17688" y="13281"/>
                </a:cubicBezTo>
                <a:cubicBezTo>
                  <a:pt x="17563" y="13313"/>
                  <a:pt x="17438" y="13250"/>
                  <a:pt x="17313" y="13250"/>
                </a:cubicBezTo>
                <a:cubicBezTo>
                  <a:pt x="17281" y="13250"/>
                  <a:pt x="17219" y="13250"/>
                  <a:pt x="17250" y="13281"/>
                </a:cubicBezTo>
                <a:cubicBezTo>
                  <a:pt x="17250" y="13313"/>
                  <a:pt x="17250" y="13375"/>
                  <a:pt x="17313" y="13344"/>
                </a:cubicBezTo>
                <a:cubicBezTo>
                  <a:pt x="17406" y="13313"/>
                  <a:pt x="17406" y="13344"/>
                  <a:pt x="17438" y="13406"/>
                </a:cubicBezTo>
                <a:cubicBezTo>
                  <a:pt x="17469" y="13469"/>
                  <a:pt x="17563" y="13500"/>
                  <a:pt x="17625" y="13500"/>
                </a:cubicBezTo>
                <a:cubicBezTo>
                  <a:pt x="17719" y="13500"/>
                  <a:pt x="17813" y="13500"/>
                  <a:pt x="17938" y="13500"/>
                </a:cubicBezTo>
                <a:cubicBezTo>
                  <a:pt x="17969" y="13500"/>
                  <a:pt x="18094" y="13500"/>
                  <a:pt x="18000" y="13625"/>
                </a:cubicBezTo>
                <a:cubicBezTo>
                  <a:pt x="17969" y="13656"/>
                  <a:pt x="18031" y="13656"/>
                  <a:pt x="18031" y="13688"/>
                </a:cubicBezTo>
                <a:cubicBezTo>
                  <a:pt x="18063" y="13688"/>
                  <a:pt x="18125" y="13719"/>
                  <a:pt x="18125" y="13719"/>
                </a:cubicBezTo>
                <a:cubicBezTo>
                  <a:pt x="18063" y="13906"/>
                  <a:pt x="18219" y="13844"/>
                  <a:pt x="18281" y="13875"/>
                </a:cubicBezTo>
                <a:cubicBezTo>
                  <a:pt x="18344" y="13875"/>
                  <a:pt x="18406" y="13906"/>
                  <a:pt x="18500" y="13938"/>
                </a:cubicBezTo>
                <a:cubicBezTo>
                  <a:pt x="18563" y="13969"/>
                  <a:pt x="18625" y="14000"/>
                  <a:pt x="18719" y="14000"/>
                </a:cubicBezTo>
                <a:cubicBezTo>
                  <a:pt x="18750" y="14031"/>
                  <a:pt x="18781" y="14000"/>
                  <a:pt x="18781" y="13969"/>
                </a:cubicBezTo>
                <a:cubicBezTo>
                  <a:pt x="18781" y="13906"/>
                  <a:pt x="18750" y="13906"/>
                  <a:pt x="18719" y="13906"/>
                </a:cubicBezTo>
                <a:cubicBezTo>
                  <a:pt x="18563" y="13938"/>
                  <a:pt x="18500" y="13781"/>
                  <a:pt x="18375" y="13719"/>
                </a:cubicBezTo>
                <a:cubicBezTo>
                  <a:pt x="18469" y="13688"/>
                  <a:pt x="18531" y="13750"/>
                  <a:pt x="18625" y="13750"/>
                </a:cubicBezTo>
                <a:cubicBezTo>
                  <a:pt x="18688" y="13781"/>
                  <a:pt x="18719" y="13906"/>
                  <a:pt x="18781" y="13844"/>
                </a:cubicBezTo>
                <a:cubicBezTo>
                  <a:pt x="18813" y="13781"/>
                  <a:pt x="18688" y="13750"/>
                  <a:pt x="18688" y="13688"/>
                </a:cubicBezTo>
                <a:cubicBezTo>
                  <a:pt x="18688" y="13688"/>
                  <a:pt x="18688" y="13688"/>
                  <a:pt x="18688" y="13656"/>
                </a:cubicBezTo>
                <a:cubicBezTo>
                  <a:pt x="18750" y="13656"/>
                  <a:pt x="18813" y="13688"/>
                  <a:pt x="18875" y="13719"/>
                </a:cubicBezTo>
                <a:cubicBezTo>
                  <a:pt x="18938" y="13750"/>
                  <a:pt x="18938" y="13719"/>
                  <a:pt x="18969" y="13688"/>
                </a:cubicBezTo>
                <a:cubicBezTo>
                  <a:pt x="18969" y="13625"/>
                  <a:pt x="18969" y="13625"/>
                  <a:pt x="18906" y="13594"/>
                </a:cubicBezTo>
                <a:close/>
                <a:moveTo>
                  <a:pt x="4344" y="2625"/>
                </a:moveTo>
                <a:cubicBezTo>
                  <a:pt x="4344" y="2625"/>
                  <a:pt x="4406" y="2594"/>
                  <a:pt x="4406" y="2594"/>
                </a:cubicBezTo>
                <a:cubicBezTo>
                  <a:pt x="4406" y="2469"/>
                  <a:pt x="4563" y="2469"/>
                  <a:pt x="4625" y="2438"/>
                </a:cubicBezTo>
                <a:cubicBezTo>
                  <a:pt x="4813" y="2407"/>
                  <a:pt x="5000" y="2282"/>
                  <a:pt x="5188" y="2313"/>
                </a:cubicBezTo>
                <a:cubicBezTo>
                  <a:pt x="5219" y="2313"/>
                  <a:pt x="5250" y="2313"/>
                  <a:pt x="5281" y="2282"/>
                </a:cubicBezTo>
                <a:cubicBezTo>
                  <a:pt x="5281" y="2219"/>
                  <a:pt x="5313" y="2219"/>
                  <a:pt x="5344" y="2250"/>
                </a:cubicBezTo>
                <a:cubicBezTo>
                  <a:pt x="5406" y="2282"/>
                  <a:pt x="5438" y="2282"/>
                  <a:pt x="5438" y="2250"/>
                </a:cubicBezTo>
                <a:cubicBezTo>
                  <a:pt x="5469" y="2125"/>
                  <a:pt x="5531" y="2125"/>
                  <a:pt x="5625" y="2125"/>
                </a:cubicBezTo>
                <a:cubicBezTo>
                  <a:pt x="5656" y="2157"/>
                  <a:pt x="5656" y="2125"/>
                  <a:pt x="5688" y="2125"/>
                </a:cubicBezTo>
                <a:cubicBezTo>
                  <a:pt x="5688" y="2094"/>
                  <a:pt x="5625" y="2063"/>
                  <a:pt x="5625" y="2032"/>
                </a:cubicBezTo>
                <a:cubicBezTo>
                  <a:pt x="5688" y="2032"/>
                  <a:pt x="5750" y="2032"/>
                  <a:pt x="5813" y="2063"/>
                </a:cubicBezTo>
                <a:cubicBezTo>
                  <a:pt x="5906" y="2157"/>
                  <a:pt x="6000" y="2125"/>
                  <a:pt x="6031" y="2032"/>
                </a:cubicBezTo>
                <a:cubicBezTo>
                  <a:pt x="6063" y="2000"/>
                  <a:pt x="6063" y="2000"/>
                  <a:pt x="6125" y="1969"/>
                </a:cubicBezTo>
                <a:cubicBezTo>
                  <a:pt x="6219" y="1969"/>
                  <a:pt x="6313" y="1938"/>
                  <a:pt x="6406" y="1907"/>
                </a:cubicBezTo>
                <a:cubicBezTo>
                  <a:pt x="6438" y="1875"/>
                  <a:pt x="6500" y="1875"/>
                  <a:pt x="6531" y="1907"/>
                </a:cubicBezTo>
                <a:cubicBezTo>
                  <a:pt x="6563" y="1907"/>
                  <a:pt x="6594" y="1907"/>
                  <a:pt x="6625" y="1907"/>
                </a:cubicBezTo>
                <a:cubicBezTo>
                  <a:pt x="6656" y="1875"/>
                  <a:pt x="6719" y="1907"/>
                  <a:pt x="6781" y="1875"/>
                </a:cubicBezTo>
                <a:cubicBezTo>
                  <a:pt x="6781" y="1875"/>
                  <a:pt x="6781" y="1875"/>
                  <a:pt x="6781" y="1844"/>
                </a:cubicBezTo>
                <a:cubicBezTo>
                  <a:pt x="6688" y="1782"/>
                  <a:pt x="6719" y="1719"/>
                  <a:pt x="6750" y="1625"/>
                </a:cubicBezTo>
                <a:cubicBezTo>
                  <a:pt x="6719" y="1625"/>
                  <a:pt x="6688" y="1625"/>
                  <a:pt x="6625" y="1625"/>
                </a:cubicBezTo>
                <a:cubicBezTo>
                  <a:pt x="6406" y="1688"/>
                  <a:pt x="6188" y="1782"/>
                  <a:pt x="5938" y="1813"/>
                </a:cubicBezTo>
                <a:cubicBezTo>
                  <a:pt x="5906" y="1844"/>
                  <a:pt x="5875" y="1844"/>
                  <a:pt x="5844" y="1875"/>
                </a:cubicBezTo>
                <a:cubicBezTo>
                  <a:pt x="5781" y="1875"/>
                  <a:pt x="5688" y="1907"/>
                  <a:pt x="5625" y="1938"/>
                </a:cubicBezTo>
                <a:cubicBezTo>
                  <a:pt x="5563" y="1969"/>
                  <a:pt x="5531" y="2063"/>
                  <a:pt x="5500" y="2063"/>
                </a:cubicBezTo>
                <a:cubicBezTo>
                  <a:pt x="5375" y="1938"/>
                  <a:pt x="5281" y="2094"/>
                  <a:pt x="5156" y="2094"/>
                </a:cubicBezTo>
                <a:cubicBezTo>
                  <a:pt x="5125" y="2094"/>
                  <a:pt x="5094" y="2094"/>
                  <a:pt x="5094" y="2125"/>
                </a:cubicBezTo>
                <a:cubicBezTo>
                  <a:pt x="5063" y="2250"/>
                  <a:pt x="4906" y="2282"/>
                  <a:pt x="4813" y="2250"/>
                </a:cubicBezTo>
                <a:cubicBezTo>
                  <a:pt x="4719" y="2250"/>
                  <a:pt x="4656" y="2250"/>
                  <a:pt x="4625" y="2344"/>
                </a:cubicBezTo>
                <a:cubicBezTo>
                  <a:pt x="4625" y="2407"/>
                  <a:pt x="4563" y="2407"/>
                  <a:pt x="4531" y="2407"/>
                </a:cubicBezTo>
                <a:cubicBezTo>
                  <a:pt x="4500" y="2407"/>
                  <a:pt x="4531" y="2375"/>
                  <a:pt x="4531" y="2344"/>
                </a:cubicBezTo>
                <a:cubicBezTo>
                  <a:pt x="4531" y="2282"/>
                  <a:pt x="4469" y="2313"/>
                  <a:pt x="4469" y="2313"/>
                </a:cubicBezTo>
                <a:cubicBezTo>
                  <a:pt x="4438" y="2407"/>
                  <a:pt x="4344" y="2375"/>
                  <a:pt x="4281" y="2407"/>
                </a:cubicBezTo>
                <a:cubicBezTo>
                  <a:pt x="4250" y="2407"/>
                  <a:pt x="4219" y="2407"/>
                  <a:pt x="4219" y="2438"/>
                </a:cubicBezTo>
                <a:cubicBezTo>
                  <a:pt x="4156" y="2563"/>
                  <a:pt x="4031" y="2563"/>
                  <a:pt x="3938" y="2594"/>
                </a:cubicBezTo>
                <a:cubicBezTo>
                  <a:pt x="4094" y="2563"/>
                  <a:pt x="4219" y="2532"/>
                  <a:pt x="4344" y="2625"/>
                </a:cubicBezTo>
                <a:close/>
                <a:moveTo>
                  <a:pt x="5844" y="1875"/>
                </a:moveTo>
                <a:cubicBezTo>
                  <a:pt x="5906" y="1907"/>
                  <a:pt x="5969" y="1907"/>
                  <a:pt x="6031" y="1907"/>
                </a:cubicBezTo>
                <a:cubicBezTo>
                  <a:pt x="6000" y="2000"/>
                  <a:pt x="5906" y="1969"/>
                  <a:pt x="5844" y="1969"/>
                </a:cubicBezTo>
                <a:cubicBezTo>
                  <a:pt x="5813" y="1969"/>
                  <a:pt x="5844" y="1907"/>
                  <a:pt x="5844" y="1875"/>
                </a:cubicBezTo>
                <a:close/>
                <a:moveTo>
                  <a:pt x="1375" y="14250"/>
                </a:moveTo>
                <a:cubicBezTo>
                  <a:pt x="1469" y="14188"/>
                  <a:pt x="1469" y="14281"/>
                  <a:pt x="1531" y="14313"/>
                </a:cubicBezTo>
                <a:cubicBezTo>
                  <a:pt x="1469" y="14313"/>
                  <a:pt x="1469" y="14469"/>
                  <a:pt x="1375" y="14406"/>
                </a:cubicBezTo>
                <a:cubicBezTo>
                  <a:pt x="1344" y="14375"/>
                  <a:pt x="1344" y="14313"/>
                  <a:pt x="1375" y="14250"/>
                </a:cubicBezTo>
                <a:close/>
                <a:moveTo>
                  <a:pt x="1156" y="13500"/>
                </a:moveTo>
                <a:cubicBezTo>
                  <a:pt x="1125" y="13531"/>
                  <a:pt x="1125" y="13594"/>
                  <a:pt x="1063" y="13594"/>
                </a:cubicBezTo>
                <a:cubicBezTo>
                  <a:pt x="1031" y="13563"/>
                  <a:pt x="1031" y="13531"/>
                  <a:pt x="1031" y="13500"/>
                </a:cubicBezTo>
                <a:cubicBezTo>
                  <a:pt x="1031" y="13469"/>
                  <a:pt x="1063" y="13438"/>
                  <a:pt x="1094" y="13438"/>
                </a:cubicBezTo>
                <a:cubicBezTo>
                  <a:pt x="1156" y="13438"/>
                  <a:pt x="1156" y="13469"/>
                  <a:pt x="1156" y="13500"/>
                </a:cubicBezTo>
                <a:close/>
                <a:moveTo>
                  <a:pt x="1375" y="13094"/>
                </a:moveTo>
                <a:cubicBezTo>
                  <a:pt x="1375" y="13094"/>
                  <a:pt x="1375" y="13094"/>
                  <a:pt x="1375" y="13094"/>
                </a:cubicBezTo>
                <a:cubicBezTo>
                  <a:pt x="1375" y="13094"/>
                  <a:pt x="1375" y="13094"/>
                  <a:pt x="1375" y="13063"/>
                </a:cubicBezTo>
                <a:cubicBezTo>
                  <a:pt x="1375" y="13094"/>
                  <a:pt x="1375" y="13094"/>
                  <a:pt x="1406" y="13094"/>
                </a:cubicBezTo>
                <a:cubicBezTo>
                  <a:pt x="1375" y="13094"/>
                  <a:pt x="1375" y="13094"/>
                  <a:pt x="1375" y="13094"/>
                </a:cubicBezTo>
                <a:close/>
                <a:moveTo>
                  <a:pt x="1531" y="13188"/>
                </a:moveTo>
                <a:cubicBezTo>
                  <a:pt x="1500" y="13219"/>
                  <a:pt x="1500" y="13188"/>
                  <a:pt x="1500" y="13188"/>
                </a:cubicBezTo>
                <a:cubicBezTo>
                  <a:pt x="1500" y="13094"/>
                  <a:pt x="1531" y="13063"/>
                  <a:pt x="1625" y="13000"/>
                </a:cubicBezTo>
                <a:cubicBezTo>
                  <a:pt x="1594" y="13094"/>
                  <a:pt x="1625" y="13188"/>
                  <a:pt x="1531" y="13188"/>
                </a:cubicBezTo>
                <a:close/>
                <a:moveTo>
                  <a:pt x="3219" y="12156"/>
                </a:moveTo>
                <a:cubicBezTo>
                  <a:pt x="3219" y="12156"/>
                  <a:pt x="3188" y="12156"/>
                  <a:pt x="3219" y="12125"/>
                </a:cubicBezTo>
                <a:cubicBezTo>
                  <a:pt x="3219" y="12125"/>
                  <a:pt x="3219" y="12125"/>
                  <a:pt x="3250" y="12125"/>
                </a:cubicBezTo>
                <a:cubicBezTo>
                  <a:pt x="3250" y="12125"/>
                  <a:pt x="3250" y="12125"/>
                  <a:pt x="3281" y="12156"/>
                </a:cubicBezTo>
                <a:cubicBezTo>
                  <a:pt x="3250" y="12156"/>
                  <a:pt x="3250" y="12156"/>
                  <a:pt x="3219" y="12156"/>
                </a:cubicBezTo>
                <a:close/>
                <a:moveTo>
                  <a:pt x="1031" y="14594"/>
                </a:moveTo>
                <a:cubicBezTo>
                  <a:pt x="1031" y="14594"/>
                  <a:pt x="1031" y="14594"/>
                  <a:pt x="1031" y="14594"/>
                </a:cubicBezTo>
                <a:moveTo>
                  <a:pt x="31875" y="4844"/>
                </a:move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75"/>
                </a:cubicBezTo>
                <a:cubicBezTo>
                  <a:pt x="31875" y="4875"/>
                  <a:pt x="31875" y="4875"/>
                  <a:pt x="31875" y="4844"/>
                </a:cubicBezTo>
                <a:close/>
                <a:moveTo>
                  <a:pt x="24469" y="2625"/>
                </a:moveTo>
                <a:cubicBezTo>
                  <a:pt x="24406" y="2625"/>
                  <a:pt x="24406" y="2594"/>
                  <a:pt x="24406" y="2563"/>
                </a:cubicBezTo>
                <a:cubicBezTo>
                  <a:pt x="24406" y="2469"/>
                  <a:pt x="24469" y="2500"/>
                  <a:pt x="24500" y="2500"/>
                </a:cubicBezTo>
                <a:cubicBezTo>
                  <a:pt x="24531" y="2500"/>
                  <a:pt x="24563" y="2500"/>
                  <a:pt x="24563" y="2563"/>
                </a:cubicBezTo>
                <a:cubicBezTo>
                  <a:pt x="24563" y="2594"/>
                  <a:pt x="24500" y="2625"/>
                  <a:pt x="24469" y="2625"/>
                </a:cubicBezTo>
                <a:close/>
                <a:moveTo>
                  <a:pt x="24813" y="2625"/>
                </a:moveTo>
                <a:cubicBezTo>
                  <a:pt x="24750" y="2625"/>
                  <a:pt x="24688" y="2657"/>
                  <a:pt x="24625" y="2594"/>
                </a:cubicBezTo>
                <a:cubicBezTo>
                  <a:pt x="24625" y="2594"/>
                  <a:pt x="24594" y="2563"/>
                  <a:pt x="24625" y="2532"/>
                </a:cubicBezTo>
                <a:cubicBezTo>
                  <a:pt x="24688" y="2500"/>
                  <a:pt x="24719" y="2532"/>
                  <a:pt x="24781" y="2563"/>
                </a:cubicBezTo>
                <a:cubicBezTo>
                  <a:pt x="24813" y="2563"/>
                  <a:pt x="24844" y="2563"/>
                  <a:pt x="24875" y="2563"/>
                </a:cubicBezTo>
                <a:cubicBezTo>
                  <a:pt x="24844" y="2594"/>
                  <a:pt x="24813" y="2625"/>
                  <a:pt x="24813" y="2625"/>
                </a:cubicBezTo>
                <a:close/>
                <a:moveTo>
                  <a:pt x="5094" y="2625"/>
                </a:moveTo>
                <a:cubicBezTo>
                  <a:pt x="5063" y="2625"/>
                  <a:pt x="5000" y="2625"/>
                  <a:pt x="5000" y="2563"/>
                </a:cubicBezTo>
                <a:cubicBezTo>
                  <a:pt x="5031" y="2500"/>
                  <a:pt x="5094" y="2500"/>
                  <a:pt x="5125" y="2500"/>
                </a:cubicBezTo>
                <a:cubicBezTo>
                  <a:pt x="5188" y="2500"/>
                  <a:pt x="5188" y="2500"/>
                  <a:pt x="5188" y="2563"/>
                </a:cubicBezTo>
                <a:cubicBezTo>
                  <a:pt x="5188" y="2625"/>
                  <a:pt x="5125" y="2594"/>
                  <a:pt x="5094" y="2625"/>
                </a:cubicBezTo>
                <a:close/>
                <a:moveTo>
                  <a:pt x="1750" y="5844"/>
                </a:moveTo>
                <a:cubicBezTo>
                  <a:pt x="1781" y="5844"/>
                  <a:pt x="1813" y="5844"/>
                  <a:pt x="1781" y="5875"/>
                </a:cubicBezTo>
                <a:cubicBezTo>
                  <a:pt x="1781" y="5938"/>
                  <a:pt x="1719" y="5969"/>
                  <a:pt x="1656" y="6000"/>
                </a:cubicBezTo>
                <a:cubicBezTo>
                  <a:pt x="1625" y="6000"/>
                  <a:pt x="1625" y="6000"/>
                  <a:pt x="1625" y="5969"/>
                </a:cubicBezTo>
                <a:cubicBezTo>
                  <a:pt x="1625" y="5875"/>
                  <a:pt x="1688" y="5875"/>
                  <a:pt x="1750" y="5844"/>
                </a:cubicBezTo>
                <a:close/>
                <a:moveTo>
                  <a:pt x="1594" y="6219"/>
                </a:moveTo>
                <a:cubicBezTo>
                  <a:pt x="1531" y="6219"/>
                  <a:pt x="1469" y="6219"/>
                  <a:pt x="1469" y="6156"/>
                </a:cubicBezTo>
                <a:cubicBezTo>
                  <a:pt x="1469" y="6094"/>
                  <a:pt x="1531" y="6094"/>
                  <a:pt x="1563" y="6031"/>
                </a:cubicBezTo>
                <a:cubicBezTo>
                  <a:pt x="1625" y="6063"/>
                  <a:pt x="1656" y="6125"/>
                  <a:pt x="1656" y="6156"/>
                </a:cubicBezTo>
                <a:cubicBezTo>
                  <a:pt x="1656" y="6219"/>
                  <a:pt x="1625" y="6250"/>
                  <a:pt x="1594" y="6219"/>
                </a:cubicBezTo>
                <a:close/>
                <a:moveTo>
                  <a:pt x="1813" y="6563"/>
                </a:moveTo>
                <a:cubicBezTo>
                  <a:pt x="1781" y="6625"/>
                  <a:pt x="1719" y="6656"/>
                  <a:pt x="1656" y="6625"/>
                </a:cubicBezTo>
                <a:cubicBezTo>
                  <a:pt x="1656" y="6625"/>
                  <a:pt x="1656" y="6625"/>
                  <a:pt x="1656" y="6625"/>
                </a:cubicBezTo>
                <a:cubicBezTo>
                  <a:pt x="1688" y="6563"/>
                  <a:pt x="1719" y="6500"/>
                  <a:pt x="1813" y="6500"/>
                </a:cubicBezTo>
                <a:cubicBezTo>
                  <a:pt x="1813" y="6500"/>
                  <a:pt x="1844" y="6531"/>
                  <a:pt x="1813" y="6563"/>
                </a:cubicBezTo>
                <a:close/>
                <a:moveTo>
                  <a:pt x="1375" y="8531"/>
                </a:moveTo>
                <a:cubicBezTo>
                  <a:pt x="1344" y="8531"/>
                  <a:pt x="1281" y="8531"/>
                  <a:pt x="1281" y="8500"/>
                </a:cubicBezTo>
                <a:cubicBezTo>
                  <a:pt x="1313" y="8469"/>
                  <a:pt x="1313" y="8406"/>
                  <a:pt x="1375" y="8406"/>
                </a:cubicBezTo>
                <a:cubicBezTo>
                  <a:pt x="1406" y="8375"/>
                  <a:pt x="1406" y="8438"/>
                  <a:pt x="1406" y="8469"/>
                </a:cubicBezTo>
                <a:cubicBezTo>
                  <a:pt x="1406" y="8500"/>
                  <a:pt x="1406" y="8531"/>
                  <a:pt x="1375" y="8531"/>
                </a:cubicBezTo>
                <a:close/>
                <a:moveTo>
                  <a:pt x="1625" y="8031"/>
                </a:moveTo>
                <a:cubicBezTo>
                  <a:pt x="1625" y="8094"/>
                  <a:pt x="1625" y="8219"/>
                  <a:pt x="1469" y="8156"/>
                </a:cubicBezTo>
                <a:cubicBezTo>
                  <a:pt x="1531" y="8125"/>
                  <a:pt x="1531" y="8031"/>
                  <a:pt x="1563" y="8000"/>
                </a:cubicBezTo>
                <a:cubicBezTo>
                  <a:pt x="1594" y="7969"/>
                  <a:pt x="1594" y="7938"/>
                  <a:pt x="1625" y="7969"/>
                </a:cubicBezTo>
                <a:cubicBezTo>
                  <a:pt x="1656" y="7969"/>
                  <a:pt x="1625" y="8000"/>
                  <a:pt x="1625" y="8031"/>
                </a:cubicBezTo>
                <a:close/>
                <a:moveTo>
                  <a:pt x="12313" y="11156"/>
                </a:moveTo>
                <a:cubicBezTo>
                  <a:pt x="12375" y="11031"/>
                  <a:pt x="12469" y="11031"/>
                  <a:pt x="12563" y="11063"/>
                </a:cubicBezTo>
                <a:cubicBezTo>
                  <a:pt x="12469" y="11125"/>
                  <a:pt x="12406" y="11156"/>
                  <a:pt x="12313" y="11156"/>
                </a:cubicBezTo>
                <a:close/>
                <a:moveTo>
                  <a:pt x="12781" y="11406"/>
                </a:moveTo>
                <a:cubicBezTo>
                  <a:pt x="12844" y="11406"/>
                  <a:pt x="12906" y="11406"/>
                  <a:pt x="12969" y="11406"/>
                </a:cubicBezTo>
                <a:cubicBezTo>
                  <a:pt x="12906" y="11469"/>
                  <a:pt x="12844" y="11531"/>
                  <a:pt x="12781" y="11406"/>
                </a:cubicBezTo>
                <a:close/>
                <a:moveTo>
                  <a:pt x="22969" y="14875"/>
                </a:move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2969" y="14875"/>
                </a:cubicBezTo>
                <a:cubicBezTo>
                  <a:pt x="22969" y="14875"/>
                  <a:pt x="22969" y="14875"/>
                  <a:pt x="23000" y="14875"/>
                </a:cubicBezTo>
                <a:cubicBezTo>
                  <a:pt x="22969" y="14875"/>
                  <a:pt x="22969" y="14875"/>
                  <a:pt x="22969" y="14875"/>
                </a:cubicBezTo>
                <a:close/>
                <a:moveTo>
                  <a:pt x="27188" y="15406"/>
                </a:moveTo>
                <a:cubicBezTo>
                  <a:pt x="27188" y="15406"/>
                  <a:pt x="27188" y="15406"/>
                  <a:pt x="27188" y="15406"/>
                </a:cubicBezTo>
                <a:cubicBezTo>
                  <a:pt x="27188" y="15406"/>
                  <a:pt x="27188" y="15406"/>
                  <a:pt x="27219" y="15406"/>
                </a:cubicBezTo>
                <a:cubicBezTo>
                  <a:pt x="27219" y="15406"/>
                  <a:pt x="27188" y="15406"/>
                  <a:pt x="27188" y="15406"/>
                </a:cubicBezTo>
                <a:close/>
                <a:moveTo>
                  <a:pt x="27656" y="15438"/>
                </a:moveTo>
                <a:cubicBezTo>
                  <a:pt x="27656" y="15438"/>
                  <a:pt x="27625" y="15438"/>
                  <a:pt x="27625" y="15406"/>
                </a:cubicBezTo>
                <a:cubicBezTo>
                  <a:pt x="27625" y="15406"/>
                  <a:pt x="27656" y="15406"/>
                  <a:pt x="27656" y="15406"/>
                </a:cubicBezTo>
                <a:cubicBezTo>
                  <a:pt x="27656" y="15406"/>
                  <a:pt x="27688" y="15406"/>
                  <a:pt x="27688" y="15406"/>
                </a:cubicBezTo>
                <a:cubicBezTo>
                  <a:pt x="27688" y="15438"/>
                  <a:pt x="27656" y="15438"/>
                  <a:pt x="27656" y="15438"/>
                </a:cubicBezTo>
                <a:close/>
                <a:moveTo>
                  <a:pt x="28844" y="15781"/>
                </a:moveTo>
                <a:cubicBezTo>
                  <a:pt x="28750" y="15875"/>
                  <a:pt x="28625" y="15781"/>
                  <a:pt x="28563" y="15875"/>
                </a:cubicBezTo>
                <a:cubicBezTo>
                  <a:pt x="28531" y="15781"/>
                  <a:pt x="28563" y="15688"/>
                  <a:pt x="28594" y="15656"/>
                </a:cubicBezTo>
                <a:cubicBezTo>
                  <a:pt x="28688" y="15656"/>
                  <a:pt x="28813" y="15594"/>
                  <a:pt x="28906" y="15688"/>
                </a:cubicBezTo>
                <a:cubicBezTo>
                  <a:pt x="28844" y="15719"/>
                  <a:pt x="28781" y="15688"/>
                  <a:pt x="28719" y="15750"/>
                </a:cubicBezTo>
                <a:cubicBezTo>
                  <a:pt x="28750" y="15781"/>
                  <a:pt x="28781" y="15750"/>
                  <a:pt x="28813" y="15750"/>
                </a:cubicBezTo>
                <a:cubicBezTo>
                  <a:pt x="28844" y="15750"/>
                  <a:pt x="28906" y="15750"/>
                  <a:pt x="28938" y="15750"/>
                </a:cubicBezTo>
                <a:cubicBezTo>
                  <a:pt x="28906" y="15781"/>
                  <a:pt x="28875" y="15781"/>
                  <a:pt x="28844" y="15781"/>
                </a:cubicBezTo>
                <a:close/>
                <a:moveTo>
                  <a:pt x="29906" y="15688"/>
                </a:moveTo>
                <a:cubicBezTo>
                  <a:pt x="29875" y="15750"/>
                  <a:pt x="29813" y="15781"/>
                  <a:pt x="29750" y="15719"/>
                </a:cubicBezTo>
                <a:cubicBezTo>
                  <a:pt x="29719" y="15688"/>
                  <a:pt x="29688" y="15688"/>
                  <a:pt x="29688" y="15750"/>
                </a:cubicBezTo>
                <a:cubicBezTo>
                  <a:pt x="29625" y="15844"/>
                  <a:pt x="29531" y="15781"/>
                  <a:pt x="29531" y="15781"/>
                </a:cubicBezTo>
                <a:cubicBezTo>
                  <a:pt x="29500" y="15656"/>
                  <a:pt x="29438" y="15719"/>
                  <a:pt x="29375" y="15750"/>
                </a:cubicBezTo>
                <a:cubicBezTo>
                  <a:pt x="29313" y="15750"/>
                  <a:pt x="29250" y="15781"/>
                  <a:pt x="29156" y="15781"/>
                </a:cubicBezTo>
                <a:cubicBezTo>
                  <a:pt x="29125" y="15781"/>
                  <a:pt x="29094" y="15750"/>
                  <a:pt x="29094" y="15719"/>
                </a:cubicBezTo>
                <a:cubicBezTo>
                  <a:pt x="29063" y="15688"/>
                  <a:pt x="29094" y="15656"/>
                  <a:pt x="29125" y="15656"/>
                </a:cubicBezTo>
                <a:cubicBezTo>
                  <a:pt x="29406" y="15656"/>
                  <a:pt x="29688" y="15656"/>
                  <a:pt x="29969" y="15594"/>
                </a:cubicBezTo>
                <a:cubicBezTo>
                  <a:pt x="29969" y="15594"/>
                  <a:pt x="30000" y="15625"/>
                  <a:pt x="30031" y="15625"/>
                </a:cubicBezTo>
                <a:cubicBezTo>
                  <a:pt x="29969" y="15656"/>
                  <a:pt x="29938" y="15656"/>
                  <a:pt x="29906" y="15688"/>
                </a:cubicBezTo>
                <a:close/>
                <a:moveTo>
                  <a:pt x="30313" y="15656"/>
                </a:moveTo>
                <a:cubicBezTo>
                  <a:pt x="30313" y="15719"/>
                  <a:pt x="30250" y="15750"/>
                  <a:pt x="30188" y="15750"/>
                </a:cubicBezTo>
                <a:cubicBezTo>
                  <a:pt x="30156" y="15750"/>
                  <a:pt x="30125" y="15719"/>
                  <a:pt x="30094" y="15688"/>
                </a:cubicBezTo>
                <a:cubicBezTo>
                  <a:pt x="30094" y="15625"/>
                  <a:pt x="30125" y="15594"/>
                  <a:pt x="30188" y="15594"/>
                </a:cubicBezTo>
                <a:cubicBezTo>
                  <a:pt x="30219" y="15563"/>
                  <a:pt x="30281" y="15563"/>
                  <a:pt x="30313" y="15563"/>
                </a:cubicBezTo>
                <a:cubicBezTo>
                  <a:pt x="30344" y="15594"/>
                  <a:pt x="30281" y="15625"/>
                  <a:pt x="30313" y="15656"/>
                </a:cubicBezTo>
                <a:close/>
                <a:moveTo>
                  <a:pt x="31125" y="14438"/>
                </a:moveTo>
                <a:cubicBezTo>
                  <a:pt x="31250" y="14281"/>
                  <a:pt x="31250" y="14469"/>
                  <a:pt x="31313" y="14469"/>
                </a:cubicBezTo>
                <a:cubicBezTo>
                  <a:pt x="31313" y="14469"/>
                  <a:pt x="31313" y="14531"/>
                  <a:pt x="31313" y="14531"/>
                </a:cubicBezTo>
                <a:cubicBezTo>
                  <a:pt x="31313" y="14563"/>
                  <a:pt x="31281" y="14563"/>
                  <a:pt x="31250" y="14531"/>
                </a:cubicBezTo>
                <a:cubicBezTo>
                  <a:pt x="31188" y="14500"/>
                  <a:pt x="31156" y="14469"/>
                  <a:pt x="31094" y="14438"/>
                </a:cubicBezTo>
                <a:cubicBezTo>
                  <a:pt x="31125" y="14438"/>
                  <a:pt x="31125" y="14438"/>
                  <a:pt x="31125" y="14438"/>
                </a:cubicBezTo>
                <a:close/>
                <a:moveTo>
                  <a:pt x="29406" y="14563"/>
                </a:moveTo>
                <a:cubicBezTo>
                  <a:pt x="29625" y="14563"/>
                  <a:pt x="29875" y="14469"/>
                  <a:pt x="30094" y="14531"/>
                </a:cubicBezTo>
                <a:cubicBezTo>
                  <a:pt x="30188" y="14563"/>
                  <a:pt x="30219" y="14656"/>
                  <a:pt x="30313" y="14625"/>
                </a:cubicBezTo>
                <a:cubicBezTo>
                  <a:pt x="30281" y="14688"/>
                  <a:pt x="30250" y="14781"/>
                  <a:pt x="30188" y="14656"/>
                </a:cubicBezTo>
                <a:cubicBezTo>
                  <a:pt x="30156" y="14625"/>
                  <a:pt x="30094" y="14656"/>
                  <a:pt x="30063" y="14656"/>
                </a:cubicBezTo>
                <a:cubicBezTo>
                  <a:pt x="29938" y="14750"/>
                  <a:pt x="29781" y="14750"/>
                  <a:pt x="29656" y="14813"/>
                </a:cubicBezTo>
                <a:cubicBezTo>
                  <a:pt x="29594" y="14813"/>
                  <a:pt x="29594" y="14781"/>
                  <a:pt x="29594" y="14750"/>
                </a:cubicBezTo>
                <a:cubicBezTo>
                  <a:pt x="29594" y="14750"/>
                  <a:pt x="29594" y="14750"/>
                  <a:pt x="29594" y="14750"/>
                </a:cubicBezTo>
                <a:cubicBezTo>
                  <a:pt x="29656" y="14719"/>
                  <a:pt x="29750" y="14719"/>
                  <a:pt x="29750" y="14625"/>
                </a:cubicBezTo>
                <a:cubicBezTo>
                  <a:pt x="29688" y="14625"/>
                  <a:pt x="29625" y="14656"/>
                  <a:pt x="29594" y="14719"/>
                </a:cubicBezTo>
                <a:cubicBezTo>
                  <a:pt x="29563" y="14719"/>
                  <a:pt x="29531" y="14719"/>
                  <a:pt x="29500" y="14719"/>
                </a:cubicBezTo>
                <a:cubicBezTo>
                  <a:pt x="29406" y="14750"/>
                  <a:pt x="29375" y="14719"/>
                  <a:pt x="29406" y="14625"/>
                </a:cubicBezTo>
                <a:cubicBezTo>
                  <a:pt x="29375" y="14625"/>
                  <a:pt x="29375" y="14625"/>
                  <a:pt x="29375" y="14625"/>
                </a:cubicBezTo>
                <a:cubicBezTo>
                  <a:pt x="29344" y="14625"/>
                  <a:pt x="29281" y="14656"/>
                  <a:pt x="29250" y="14625"/>
                </a:cubicBezTo>
                <a:cubicBezTo>
                  <a:pt x="29250" y="14531"/>
                  <a:pt x="29344" y="14563"/>
                  <a:pt x="29406" y="14563"/>
                </a:cubicBezTo>
                <a:close/>
                <a:moveTo>
                  <a:pt x="27844" y="14031"/>
                </a:moveTo>
                <a:cubicBezTo>
                  <a:pt x="27906" y="14031"/>
                  <a:pt x="27906" y="14063"/>
                  <a:pt x="27906" y="14125"/>
                </a:cubicBezTo>
                <a:cubicBezTo>
                  <a:pt x="27875" y="14188"/>
                  <a:pt x="27813" y="14188"/>
                  <a:pt x="27781" y="14188"/>
                </a:cubicBezTo>
                <a:cubicBezTo>
                  <a:pt x="27719" y="14219"/>
                  <a:pt x="27719" y="14188"/>
                  <a:pt x="27719" y="14156"/>
                </a:cubicBezTo>
                <a:cubicBezTo>
                  <a:pt x="27719" y="14094"/>
                  <a:pt x="27781" y="14063"/>
                  <a:pt x="27844" y="14031"/>
                </a:cubicBezTo>
                <a:close/>
                <a:moveTo>
                  <a:pt x="26063" y="14125"/>
                </a:moveTo>
                <a:cubicBezTo>
                  <a:pt x="26063" y="14188"/>
                  <a:pt x="26031" y="14250"/>
                  <a:pt x="25938" y="14281"/>
                </a:cubicBezTo>
                <a:cubicBezTo>
                  <a:pt x="25938" y="14250"/>
                  <a:pt x="25938" y="14250"/>
                  <a:pt x="25938" y="14250"/>
                </a:cubicBezTo>
                <a:cubicBezTo>
                  <a:pt x="25969" y="14188"/>
                  <a:pt x="25938" y="14094"/>
                  <a:pt x="26031" y="14094"/>
                </a:cubicBezTo>
                <a:cubicBezTo>
                  <a:pt x="26031" y="14094"/>
                  <a:pt x="26063" y="14094"/>
                  <a:pt x="26063" y="14125"/>
                </a:cubicBezTo>
                <a:close/>
                <a:moveTo>
                  <a:pt x="24250" y="13875"/>
                </a:moveTo>
                <a:cubicBezTo>
                  <a:pt x="24125" y="13875"/>
                  <a:pt x="24031" y="13906"/>
                  <a:pt x="23906" y="13844"/>
                </a:cubicBezTo>
                <a:cubicBezTo>
                  <a:pt x="24031" y="13750"/>
                  <a:pt x="24125" y="13750"/>
                  <a:pt x="24250" y="13875"/>
                </a:cubicBezTo>
                <a:close/>
                <a:moveTo>
                  <a:pt x="23719" y="13781"/>
                </a:moveTo>
                <a:cubicBezTo>
                  <a:pt x="23625" y="13813"/>
                  <a:pt x="23625" y="13938"/>
                  <a:pt x="23469" y="13906"/>
                </a:cubicBezTo>
                <a:cubicBezTo>
                  <a:pt x="23563" y="13844"/>
                  <a:pt x="23563" y="13656"/>
                  <a:pt x="23719" y="13781"/>
                </a:cubicBezTo>
                <a:close/>
                <a:moveTo>
                  <a:pt x="21094" y="10313"/>
                </a:moveTo>
                <a:cubicBezTo>
                  <a:pt x="21000" y="10406"/>
                  <a:pt x="21000" y="10375"/>
                  <a:pt x="20906" y="10344"/>
                </a:cubicBezTo>
                <a:cubicBezTo>
                  <a:pt x="20813" y="10313"/>
                  <a:pt x="20719" y="10188"/>
                  <a:pt x="20625" y="10313"/>
                </a:cubicBezTo>
                <a:cubicBezTo>
                  <a:pt x="20594" y="10344"/>
                  <a:pt x="20563" y="10281"/>
                  <a:pt x="20563" y="10281"/>
                </a:cubicBezTo>
                <a:cubicBezTo>
                  <a:pt x="20531" y="10219"/>
                  <a:pt x="20531" y="10188"/>
                  <a:pt x="20594" y="10188"/>
                </a:cubicBezTo>
                <a:cubicBezTo>
                  <a:pt x="20656" y="10156"/>
                  <a:pt x="20719" y="10156"/>
                  <a:pt x="20781" y="10188"/>
                </a:cubicBezTo>
                <a:cubicBezTo>
                  <a:pt x="20875" y="10219"/>
                  <a:pt x="20969" y="10281"/>
                  <a:pt x="21094" y="10313"/>
                </a:cubicBezTo>
                <a:close/>
                <a:moveTo>
                  <a:pt x="19594" y="12719"/>
                </a:moveTo>
                <a:cubicBezTo>
                  <a:pt x="19625" y="12656"/>
                  <a:pt x="19719" y="12688"/>
                  <a:pt x="19781" y="12688"/>
                </a:cubicBezTo>
                <a:cubicBezTo>
                  <a:pt x="19875" y="12688"/>
                  <a:pt x="19969" y="12656"/>
                  <a:pt x="19906" y="12813"/>
                </a:cubicBezTo>
                <a:cubicBezTo>
                  <a:pt x="19875" y="12875"/>
                  <a:pt x="19844" y="12906"/>
                  <a:pt x="19781" y="12844"/>
                </a:cubicBezTo>
                <a:cubicBezTo>
                  <a:pt x="19781" y="12844"/>
                  <a:pt x="19750" y="12844"/>
                  <a:pt x="19750" y="12844"/>
                </a:cubicBezTo>
                <a:cubicBezTo>
                  <a:pt x="19688" y="12813"/>
                  <a:pt x="19594" y="12813"/>
                  <a:pt x="19594" y="12719"/>
                </a:cubicBezTo>
                <a:close/>
                <a:moveTo>
                  <a:pt x="19188" y="12500"/>
                </a:moveTo>
                <a:cubicBezTo>
                  <a:pt x="19375" y="12469"/>
                  <a:pt x="19531" y="12500"/>
                  <a:pt x="19688" y="12625"/>
                </a:cubicBezTo>
                <a:cubicBezTo>
                  <a:pt x="19500" y="12656"/>
                  <a:pt x="19313" y="12625"/>
                  <a:pt x="19188" y="12500"/>
                </a:cubicBezTo>
                <a:close/>
                <a:moveTo>
                  <a:pt x="19563" y="10281"/>
                </a:moveTo>
                <a:cubicBezTo>
                  <a:pt x="19125" y="10094"/>
                  <a:pt x="18688" y="9969"/>
                  <a:pt x="18219" y="9844"/>
                </a:cubicBezTo>
                <a:cubicBezTo>
                  <a:pt x="18281" y="9781"/>
                  <a:pt x="18313" y="9719"/>
                  <a:pt x="18188" y="9750"/>
                </a:cubicBezTo>
                <a:cubicBezTo>
                  <a:pt x="18031" y="9781"/>
                  <a:pt x="17906" y="9719"/>
                  <a:pt x="17750" y="9688"/>
                </a:cubicBezTo>
                <a:cubicBezTo>
                  <a:pt x="17688" y="9688"/>
                  <a:pt x="17688" y="9688"/>
                  <a:pt x="17719" y="9625"/>
                </a:cubicBezTo>
                <a:cubicBezTo>
                  <a:pt x="17750" y="9563"/>
                  <a:pt x="17688" y="9563"/>
                  <a:pt x="17656" y="9531"/>
                </a:cubicBezTo>
                <a:cubicBezTo>
                  <a:pt x="17813" y="9500"/>
                  <a:pt x="17969" y="9531"/>
                  <a:pt x="18125" y="9656"/>
                </a:cubicBezTo>
                <a:cubicBezTo>
                  <a:pt x="18156" y="9688"/>
                  <a:pt x="18156" y="9656"/>
                  <a:pt x="18188" y="9656"/>
                </a:cubicBezTo>
                <a:cubicBezTo>
                  <a:pt x="18250" y="9656"/>
                  <a:pt x="18281" y="9656"/>
                  <a:pt x="18313" y="9688"/>
                </a:cubicBezTo>
                <a:cubicBezTo>
                  <a:pt x="18344" y="9813"/>
                  <a:pt x="18438" y="9781"/>
                  <a:pt x="18563" y="9781"/>
                </a:cubicBezTo>
                <a:cubicBezTo>
                  <a:pt x="18719" y="9781"/>
                  <a:pt x="18844" y="9844"/>
                  <a:pt x="18969" y="9906"/>
                </a:cubicBezTo>
                <a:cubicBezTo>
                  <a:pt x="19188" y="10000"/>
                  <a:pt x="19406" y="10094"/>
                  <a:pt x="19625" y="10188"/>
                </a:cubicBezTo>
                <a:cubicBezTo>
                  <a:pt x="19781" y="10219"/>
                  <a:pt x="19906" y="10313"/>
                  <a:pt x="20031" y="10375"/>
                </a:cubicBezTo>
                <a:cubicBezTo>
                  <a:pt x="20094" y="10406"/>
                  <a:pt x="20063" y="10438"/>
                  <a:pt x="20063" y="10469"/>
                </a:cubicBezTo>
                <a:cubicBezTo>
                  <a:pt x="20031" y="10500"/>
                  <a:pt x="20000" y="10469"/>
                  <a:pt x="19969" y="10469"/>
                </a:cubicBezTo>
                <a:cubicBezTo>
                  <a:pt x="19844" y="10406"/>
                  <a:pt x="19688" y="10344"/>
                  <a:pt x="19563" y="10281"/>
                </a:cubicBezTo>
                <a:close/>
                <a:moveTo>
                  <a:pt x="18938" y="9531"/>
                </a:moveTo>
                <a:cubicBezTo>
                  <a:pt x="19000" y="9531"/>
                  <a:pt x="19031" y="9531"/>
                  <a:pt x="19031" y="9563"/>
                </a:cubicBezTo>
                <a:cubicBezTo>
                  <a:pt x="19063" y="9625"/>
                  <a:pt x="19031" y="9625"/>
                  <a:pt x="19000" y="9625"/>
                </a:cubicBezTo>
                <a:cubicBezTo>
                  <a:pt x="18969" y="9563"/>
                  <a:pt x="18906" y="9625"/>
                  <a:pt x="18875" y="9563"/>
                </a:cubicBezTo>
                <a:cubicBezTo>
                  <a:pt x="18875" y="9531"/>
                  <a:pt x="18938" y="9531"/>
                  <a:pt x="18938" y="9531"/>
                </a:cubicBezTo>
                <a:close/>
                <a:moveTo>
                  <a:pt x="15375" y="7250"/>
                </a:moveTo>
                <a:cubicBezTo>
                  <a:pt x="15438" y="7281"/>
                  <a:pt x="15563" y="7250"/>
                  <a:pt x="15594" y="7375"/>
                </a:cubicBezTo>
                <a:cubicBezTo>
                  <a:pt x="15594" y="7406"/>
                  <a:pt x="15563" y="7406"/>
                  <a:pt x="15563" y="7406"/>
                </a:cubicBezTo>
                <a:cubicBezTo>
                  <a:pt x="15469" y="7375"/>
                  <a:pt x="15375" y="7375"/>
                  <a:pt x="15313" y="7281"/>
                </a:cubicBezTo>
                <a:cubicBezTo>
                  <a:pt x="15313" y="7281"/>
                  <a:pt x="15344" y="7250"/>
                  <a:pt x="15375" y="7250"/>
                </a:cubicBezTo>
                <a:close/>
                <a:moveTo>
                  <a:pt x="15500" y="7719"/>
                </a:moveTo>
                <a:cubicBezTo>
                  <a:pt x="15500" y="7750"/>
                  <a:pt x="15469" y="7781"/>
                  <a:pt x="15406" y="7781"/>
                </a:cubicBezTo>
                <a:cubicBezTo>
                  <a:pt x="15375" y="7781"/>
                  <a:pt x="15344" y="7781"/>
                  <a:pt x="15344" y="7719"/>
                </a:cubicBezTo>
                <a:cubicBezTo>
                  <a:pt x="15375" y="7688"/>
                  <a:pt x="15406" y="7656"/>
                  <a:pt x="15438" y="7656"/>
                </a:cubicBezTo>
                <a:cubicBezTo>
                  <a:pt x="15469" y="7656"/>
                  <a:pt x="15500" y="7656"/>
                  <a:pt x="15500" y="7719"/>
                </a:cubicBezTo>
                <a:close/>
                <a:moveTo>
                  <a:pt x="14781" y="6969"/>
                </a:moveTo>
                <a:cubicBezTo>
                  <a:pt x="14781" y="7094"/>
                  <a:pt x="14906" y="7063"/>
                  <a:pt x="15000" y="7094"/>
                </a:cubicBezTo>
                <a:cubicBezTo>
                  <a:pt x="15000" y="7094"/>
                  <a:pt x="15031" y="7125"/>
                  <a:pt x="15000" y="7156"/>
                </a:cubicBezTo>
                <a:cubicBezTo>
                  <a:pt x="15000" y="7156"/>
                  <a:pt x="14969" y="7156"/>
                  <a:pt x="14938" y="7156"/>
                </a:cubicBezTo>
                <a:cubicBezTo>
                  <a:pt x="14906" y="7156"/>
                  <a:pt x="14844" y="7125"/>
                  <a:pt x="14813" y="7156"/>
                </a:cubicBezTo>
                <a:cubicBezTo>
                  <a:pt x="14781" y="7219"/>
                  <a:pt x="14875" y="7188"/>
                  <a:pt x="14875" y="7281"/>
                </a:cubicBezTo>
                <a:cubicBezTo>
                  <a:pt x="14750" y="7156"/>
                  <a:pt x="14594" y="7281"/>
                  <a:pt x="14500" y="7219"/>
                </a:cubicBezTo>
                <a:cubicBezTo>
                  <a:pt x="14406" y="7188"/>
                  <a:pt x="14344" y="7156"/>
                  <a:pt x="14250" y="7156"/>
                </a:cubicBezTo>
                <a:cubicBezTo>
                  <a:pt x="14188" y="7156"/>
                  <a:pt x="14156" y="7094"/>
                  <a:pt x="14188" y="7031"/>
                </a:cubicBezTo>
                <a:cubicBezTo>
                  <a:pt x="14188" y="6969"/>
                  <a:pt x="14250" y="7031"/>
                  <a:pt x="14281" y="7031"/>
                </a:cubicBezTo>
                <a:cubicBezTo>
                  <a:pt x="14344" y="7031"/>
                  <a:pt x="14438" y="7063"/>
                  <a:pt x="14500" y="7063"/>
                </a:cubicBezTo>
                <a:cubicBezTo>
                  <a:pt x="14531" y="7094"/>
                  <a:pt x="14563" y="7094"/>
                  <a:pt x="14594" y="7063"/>
                </a:cubicBezTo>
                <a:cubicBezTo>
                  <a:pt x="14594" y="7031"/>
                  <a:pt x="14594" y="7000"/>
                  <a:pt x="14563" y="7000"/>
                </a:cubicBezTo>
                <a:cubicBezTo>
                  <a:pt x="14531" y="6969"/>
                  <a:pt x="14531" y="7031"/>
                  <a:pt x="14500" y="7031"/>
                </a:cubicBezTo>
                <a:cubicBezTo>
                  <a:pt x="14469" y="7031"/>
                  <a:pt x="14438" y="7063"/>
                  <a:pt x="14406" y="7031"/>
                </a:cubicBezTo>
                <a:cubicBezTo>
                  <a:pt x="14406" y="7031"/>
                  <a:pt x="14406" y="7000"/>
                  <a:pt x="14406" y="6969"/>
                </a:cubicBezTo>
                <a:cubicBezTo>
                  <a:pt x="14438" y="6938"/>
                  <a:pt x="14469" y="6906"/>
                  <a:pt x="14531" y="6906"/>
                </a:cubicBezTo>
                <a:cubicBezTo>
                  <a:pt x="14594" y="6938"/>
                  <a:pt x="14688" y="7000"/>
                  <a:pt x="14781" y="6969"/>
                </a:cubicBezTo>
                <a:close/>
                <a:moveTo>
                  <a:pt x="14500" y="6375"/>
                </a:moveTo>
                <a:cubicBezTo>
                  <a:pt x="14531" y="6406"/>
                  <a:pt x="14594" y="6375"/>
                  <a:pt x="14625" y="6406"/>
                </a:cubicBezTo>
                <a:cubicBezTo>
                  <a:pt x="14625" y="6469"/>
                  <a:pt x="14594" y="6469"/>
                  <a:pt x="14563" y="6469"/>
                </a:cubicBezTo>
                <a:cubicBezTo>
                  <a:pt x="14531" y="6469"/>
                  <a:pt x="14469" y="6438"/>
                  <a:pt x="14469" y="6406"/>
                </a:cubicBezTo>
                <a:cubicBezTo>
                  <a:pt x="14438" y="6406"/>
                  <a:pt x="14344" y="6406"/>
                  <a:pt x="14375" y="6344"/>
                </a:cubicBezTo>
                <a:cubicBezTo>
                  <a:pt x="14406" y="6281"/>
                  <a:pt x="14469" y="6344"/>
                  <a:pt x="14500" y="6375"/>
                </a:cubicBezTo>
                <a:close/>
                <a:moveTo>
                  <a:pt x="13500" y="2313"/>
                </a:moveTo>
                <a:cubicBezTo>
                  <a:pt x="13656" y="2407"/>
                  <a:pt x="13844" y="2344"/>
                  <a:pt x="13969" y="2407"/>
                </a:cubicBezTo>
                <a:cubicBezTo>
                  <a:pt x="14063" y="2438"/>
                  <a:pt x="14125" y="2438"/>
                  <a:pt x="14188" y="2438"/>
                </a:cubicBezTo>
                <a:cubicBezTo>
                  <a:pt x="14219" y="2438"/>
                  <a:pt x="14250" y="2438"/>
                  <a:pt x="14313" y="2438"/>
                </a:cubicBezTo>
                <a:cubicBezTo>
                  <a:pt x="14344" y="2438"/>
                  <a:pt x="14406" y="2469"/>
                  <a:pt x="14406" y="2532"/>
                </a:cubicBezTo>
                <a:cubicBezTo>
                  <a:pt x="14406" y="2532"/>
                  <a:pt x="14406" y="2532"/>
                  <a:pt x="14406" y="2532"/>
                </a:cubicBezTo>
                <a:cubicBezTo>
                  <a:pt x="14313" y="2625"/>
                  <a:pt x="14313" y="2594"/>
                  <a:pt x="14250" y="2594"/>
                </a:cubicBezTo>
                <a:cubicBezTo>
                  <a:pt x="14063" y="2532"/>
                  <a:pt x="13875" y="2438"/>
                  <a:pt x="13656" y="2500"/>
                </a:cubicBezTo>
                <a:cubicBezTo>
                  <a:pt x="13563" y="2532"/>
                  <a:pt x="13469" y="2469"/>
                  <a:pt x="13438" y="2375"/>
                </a:cubicBezTo>
                <a:cubicBezTo>
                  <a:pt x="13438" y="2344"/>
                  <a:pt x="13438" y="2313"/>
                  <a:pt x="13500" y="2313"/>
                </a:cubicBezTo>
                <a:close/>
                <a:moveTo>
                  <a:pt x="13844" y="6813"/>
                </a:moveTo>
                <a:cubicBezTo>
                  <a:pt x="13906" y="6781"/>
                  <a:pt x="13969" y="6844"/>
                  <a:pt x="14031" y="6875"/>
                </a:cubicBezTo>
                <a:cubicBezTo>
                  <a:pt x="13969" y="6875"/>
                  <a:pt x="13906" y="7000"/>
                  <a:pt x="13844" y="6875"/>
                </a:cubicBezTo>
                <a:cubicBezTo>
                  <a:pt x="13813" y="6875"/>
                  <a:pt x="13781" y="6844"/>
                  <a:pt x="13844" y="6813"/>
                </a:cubicBezTo>
                <a:close/>
                <a:moveTo>
                  <a:pt x="13750" y="6250"/>
                </a:moveTo>
                <a:cubicBezTo>
                  <a:pt x="13875" y="6188"/>
                  <a:pt x="13938" y="6219"/>
                  <a:pt x="14031" y="6281"/>
                </a:cubicBezTo>
                <a:cubicBezTo>
                  <a:pt x="14063" y="6313"/>
                  <a:pt x="14031" y="6344"/>
                  <a:pt x="14031" y="6375"/>
                </a:cubicBezTo>
                <a:cubicBezTo>
                  <a:pt x="14000" y="6375"/>
                  <a:pt x="14000" y="6375"/>
                  <a:pt x="13969" y="6375"/>
                </a:cubicBezTo>
                <a:cubicBezTo>
                  <a:pt x="13906" y="6344"/>
                  <a:pt x="13844" y="6281"/>
                  <a:pt x="13750" y="6250"/>
                </a:cubicBezTo>
                <a:close/>
                <a:moveTo>
                  <a:pt x="14031" y="7156"/>
                </a:moveTo>
                <a:cubicBezTo>
                  <a:pt x="14125" y="7156"/>
                  <a:pt x="14125" y="7188"/>
                  <a:pt x="14125" y="7219"/>
                </a:cubicBezTo>
                <a:cubicBezTo>
                  <a:pt x="14125" y="7250"/>
                  <a:pt x="14125" y="7313"/>
                  <a:pt x="14063" y="7313"/>
                </a:cubicBezTo>
                <a:cubicBezTo>
                  <a:pt x="14000" y="7313"/>
                  <a:pt x="13969" y="7250"/>
                  <a:pt x="13969" y="7219"/>
                </a:cubicBezTo>
                <a:cubicBezTo>
                  <a:pt x="13969" y="7156"/>
                  <a:pt x="14031" y="7156"/>
                  <a:pt x="14031" y="7156"/>
                </a:cubicBezTo>
                <a:close/>
                <a:moveTo>
                  <a:pt x="12781" y="6688"/>
                </a:moveTo>
                <a:cubicBezTo>
                  <a:pt x="12750" y="6656"/>
                  <a:pt x="12750" y="6656"/>
                  <a:pt x="12719" y="6656"/>
                </a:cubicBezTo>
                <a:cubicBezTo>
                  <a:pt x="12750" y="6594"/>
                  <a:pt x="12781" y="6563"/>
                  <a:pt x="12844" y="6563"/>
                </a:cubicBezTo>
                <a:cubicBezTo>
                  <a:pt x="13156" y="6531"/>
                  <a:pt x="13406" y="6688"/>
                  <a:pt x="13719" y="6750"/>
                </a:cubicBezTo>
                <a:cubicBezTo>
                  <a:pt x="13719" y="6750"/>
                  <a:pt x="13750" y="6781"/>
                  <a:pt x="13750" y="6781"/>
                </a:cubicBezTo>
                <a:cubicBezTo>
                  <a:pt x="13750" y="6813"/>
                  <a:pt x="13719" y="6813"/>
                  <a:pt x="13688" y="6813"/>
                </a:cubicBezTo>
                <a:cubicBezTo>
                  <a:pt x="13625" y="6813"/>
                  <a:pt x="13563" y="6813"/>
                  <a:pt x="13500" y="6813"/>
                </a:cubicBezTo>
                <a:cubicBezTo>
                  <a:pt x="13281" y="6719"/>
                  <a:pt x="13031" y="6719"/>
                  <a:pt x="12781" y="6688"/>
                </a:cubicBezTo>
                <a:close/>
                <a:moveTo>
                  <a:pt x="13250" y="7094"/>
                </a:moveTo>
                <a:cubicBezTo>
                  <a:pt x="13188" y="7031"/>
                  <a:pt x="13188" y="7219"/>
                  <a:pt x="13094" y="7125"/>
                </a:cubicBezTo>
                <a:cubicBezTo>
                  <a:pt x="13063" y="7094"/>
                  <a:pt x="13031" y="7063"/>
                  <a:pt x="12969" y="7063"/>
                </a:cubicBezTo>
                <a:cubicBezTo>
                  <a:pt x="13031" y="6969"/>
                  <a:pt x="13125" y="7000"/>
                  <a:pt x="13219" y="7000"/>
                </a:cubicBezTo>
                <a:cubicBezTo>
                  <a:pt x="13250" y="7000"/>
                  <a:pt x="13250" y="7031"/>
                  <a:pt x="13250" y="7094"/>
                </a:cubicBezTo>
                <a:close/>
                <a:moveTo>
                  <a:pt x="11719" y="6219"/>
                </a:moveTo>
                <a:cubicBezTo>
                  <a:pt x="11781" y="6188"/>
                  <a:pt x="11813" y="6219"/>
                  <a:pt x="11844" y="6250"/>
                </a:cubicBezTo>
                <a:cubicBezTo>
                  <a:pt x="11906" y="6281"/>
                  <a:pt x="11969" y="6281"/>
                  <a:pt x="12031" y="6281"/>
                </a:cubicBezTo>
                <a:cubicBezTo>
                  <a:pt x="12000" y="6313"/>
                  <a:pt x="12000" y="6344"/>
                  <a:pt x="11938" y="6344"/>
                </a:cubicBezTo>
                <a:cubicBezTo>
                  <a:pt x="11906" y="6344"/>
                  <a:pt x="11844" y="6344"/>
                  <a:pt x="11875" y="6438"/>
                </a:cubicBezTo>
                <a:cubicBezTo>
                  <a:pt x="11875" y="6469"/>
                  <a:pt x="11750" y="6438"/>
                  <a:pt x="11656" y="6469"/>
                </a:cubicBezTo>
                <a:cubicBezTo>
                  <a:pt x="11625" y="6469"/>
                  <a:pt x="11594" y="6438"/>
                  <a:pt x="11563" y="6406"/>
                </a:cubicBezTo>
                <a:cubicBezTo>
                  <a:pt x="11563" y="6344"/>
                  <a:pt x="11594" y="6344"/>
                  <a:pt x="11625" y="6344"/>
                </a:cubicBezTo>
                <a:cubicBezTo>
                  <a:pt x="11656" y="6344"/>
                  <a:pt x="11719" y="6344"/>
                  <a:pt x="11750" y="6344"/>
                </a:cubicBezTo>
                <a:cubicBezTo>
                  <a:pt x="11781" y="6281"/>
                  <a:pt x="11688" y="6281"/>
                  <a:pt x="11719" y="6219"/>
                </a:cubicBezTo>
                <a:close/>
                <a:moveTo>
                  <a:pt x="11906" y="6531"/>
                </a:moveTo>
                <a:cubicBezTo>
                  <a:pt x="11969" y="6531"/>
                  <a:pt x="12063" y="6531"/>
                  <a:pt x="12063" y="6625"/>
                </a:cubicBezTo>
                <a:cubicBezTo>
                  <a:pt x="12094" y="6688"/>
                  <a:pt x="12000" y="6625"/>
                  <a:pt x="11969" y="6656"/>
                </a:cubicBezTo>
                <a:cubicBezTo>
                  <a:pt x="11906" y="6656"/>
                  <a:pt x="11844" y="6656"/>
                  <a:pt x="11813" y="6563"/>
                </a:cubicBezTo>
                <a:cubicBezTo>
                  <a:pt x="11813" y="6500"/>
                  <a:pt x="11875" y="6531"/>
                  <a:pt x="11906" y="6531"/>
                </a:cubicBezTo>
                <a:close/>
                <a:moveTo>
                  <a:pt x="11563" y="5875"/>
                </a:moveTo>
                <a:cubicBezTo>
                  <a:pt x="11344" y="5781"/>
                  <a:pt x="11094" y="5750"/>
                  <a:pt x="10875" y="5781"/>
                </a:cubicBezTo>
                <a:cubicBezTo>
                  <a:pt x="10781" y="5781"/>
                  <a:pt x="10750" y="5750"/>
                  <a:pt x="10750" y="5688"/>
                </a:cubicBezTo>
                <a:cubicBezTo>
                  <a:pt x="10750" y="5594"/>
                  <a:pt x="10750" y="5531"/>
                  <a:pt x="10875" y="5531"/>
                </a:cubicBezTo>
                <a:cubicBezTo>
                  <a:pt x="11188" y="5531"/>
                  <a:pt x="11500" y="5594"/>
                  <a:pt x="11781" y="5656"/>
                </a:cubicBezTo>
                <a:cubicBezTo>
                  <a:pt x="12281" y="5750"/>
                  <a:pt x="12750" y="5938"/>
                  <a:pt x="13219" y="6031"/>
                </a:cubicBezTo>
                <a:cubicBezTo>
                  <a:pt x="13250" y="6031"/>
                  <a:pt x="13313" y="6031"/>
                  <a:pt x="13344" y="6063"/>
                </a:cubicBezTo>
                <a:cubicBezTo>
                  <a:pt x="13250" y="6219"/>
                  <a:pt x="13125" y="6156"/>
                  <a:pt x="13031" y="6125"/>
                </a:cubicBezTo>
                <a:cubicBezTo>
                  <a:pt x="12875" y="6063"/>
                  <a:pt x="12719" y="6031"/>
                  <a:pt x="12594" y="6063"/>
                </a:cubicBezTo>
                <a:cubicBezTo>
                  <a:pt x="12469" y="6094"/>
                  <a:pt x="12406" y="5969"/>
                  <a:pt x="12281" y="5969"/>
                </a:cubicBezTo>
                <a:cubicBezTo>
                  <a:pt x="12063" y="5906"/>
                  <a:pt x="11781" y="5938"/>
                  <a:pt x="11563" y="5875"/>
                </a:cubicBezTo>
                <a:close/>
                <a:moveTo>
                  <a:pt x="7344" y="2938"/>
                </a:moveTo>
                <a:cubicBezTo>
                  <a:pt x="7469" y="2844"/>
                  <a:pt x="7594" y="2844"/>
                  <a:pt x="7719" y="2813"/>
                </a:cubicBezTo>
                <a:cubicBezTo>
                  <a:pt x="7938" y="2750"/>
                  <a:pt x="8156" y="2719"/>
                  <a:pt x="8375" y="2750"/>
                </a:cubicBezTo>
                <a:cubicBezTo>
                  <a:pt x="8406" y="2750"/>
                  <a:pt x="8438" y="2719"/>
                  <a:pt x="8469" y="2782"/>
                </a:cubicBezTo>
                <a:cubicBezTo>
                  <a:pt x="8469" y="2844"/>
                  <a:pt x="8406" y="2813"/>
                  <a:pt x="8375" y="2844"/>
                </a:cubicBezTo>
                <a:cubicBezTo>
                  <a:pt x="8250" y="2906"/>
                  <a:pt x="8125" y="2875"/>
                  <a:pt x="8000" y="2875"/>
                </a:cubicBezTo>
                <a:cubicBezTo>
                  <a:pt x="7781" y="2906"/>
                  <a:pt x="7594" y="2938"/>
                  <a:pt x="7344" y="2938"/>
                </a:cubicBezTo>
                <a:close/>
                <a:moveTo>
                  <a:pt x="7750" y="5750"/>
                </a:moveTo>
                <a:cubicBezTo>
                  <a:pt x="7719" y="5719"/>
                  <a:pt x="7656" y="5719"/>
                  <a:pt x="7656" y="5688"/>
                </a:cubicBezTo>
                <a:cubicBezTo>
                  <a:pt x="7688" y="5594"/>
                  <a:pt x="7781" y="5594"/>
                  <a:pt x="7875" y="5563"/>
                </a:cubicBezTo>
                <a:cubicBezTo>
                  <a:pt x="7938" y="5531"/>
                  <a:pt x="7906" y="5563"/>
                  <a:pt x="7938" y="5594"/>
                </a:cubicBezTo>
                <a:cubicBezTo>
                  <a:pt x="7938" y="5750"/>
                  <a:pt x="7781" y="5688"/>
                  <a:pt x="7750" y="5750"/>
                </a:cubicBezTo>
                <a:close/>
                <a:moveTo>
                  <a:pt x="8094" y="2594"/>
                </a:moveTo>
                <a:cubicBezTo>
                  <a:pt x="8094" y="2563"/>
                  <a:pt x="8094" y="2563"/>
                  <a:pt x="8125" y="2532"/>
                </a:cubicBezTo>
                <a:cubicBezTo>
                  <a:pt x="8219" y="2469"/>
                  <a:pt x="8313" y="2469"/>
                  <a:pt x="8438" y="2532"/>
                </a:cubicBezTo>
                <a:cubicBezTo>
                  <a:pt x="8344" y="2625"/>
                  <a:pt x="8250" y="2657"/>
                  <a:pt x="8156" y="2657"/>
                </a:cubicBezTo>
                <a:cubicBezTo>
                  <a:pt x="8125" y="2625"/>
                  <a:pt x="8094" y="2625"/>
                  <a:pt x="8094" y="2594"/>
                </a:cubicBezTo>
                <a:close/>
                <a:moveTo>
                  <a:pt x="8063" y="4281"/>
                </a:moveTo>
                <a:cubicBezTo>
                  <a:pt x="8094" y="4250"/>
                  <a:pt x="8094" y="4250"/>
                  <a:pt x="8125" y="4250"/>
                </a:cubicBezTo>
                <a:cubicBezTo>
                  <a:pt x="8219" y="4250"/>
                  <a:pt x="8281" y="4281"/>
                  <a:pt x="8344" y="4281"/>
                </a:cubicBezTo>
                <a:cubicBezTo>
                  <a:pt x="8313" y="4344"/>
                  <a:pt x="8094" y="4375"/>
                  <a:pt x="8063" y="4313"/>
                </a:cubicBezTo>
                <a:cubicBezTo>
                  <a:pt x="8063" y="4313"/>
                  <a:pt x="8063" y="4281"/>
                  <a:pt x="8063" y="4281"/>
                </a:cubicBezTo>
                <a:close/>
                <a:moveTo>
                  <a:pt x="8281" y="5781"/>
                </a:moveTo>
                <a:cubicBezTo>
                  <a:pt x="8250" y="5781"/>
                  <a:pt x="8188" y="5719"/>
                  <a:pt x="8188" y="5688"/>
                </a:cubicBezTo>
                <a:cubicBezTo>
                  <a:pt x="8156" y="5656"/>
                  <a:pt x="8219" y="5625"/>
                  <a:pt x="8250" y="5625"/>
                </a:cubicBezTo>
                <a:cubicBezTo>
                  <a:pt x="8344" y="5625"/>
                  <a:pt x="8313" y="5688"/>
                  <a:pt x="8313" y="5719"/>
                </a:cubicBezTo>
                <a:cubicBezTo>
                  <a:pt x="8313" y="5750"/>
                  <a:pt x="8344" y="5781"/>
                  <a:pt x="8281" y="5781"/>
                </a:cubicBezTo>
                <a:close/>
                <a:moveTo>
                  <a:pt x="8375" y="6281"/>
                </a:moveTo>
                <a:cubicBezTo>
                  <a:pt x="8375" y="6313"/>
                  <a:pt x="8406" y="6313"/>
                  <a:pt x="8375" y="6344"/>
                </a:cubicBezTo>
                <a:cubicBezTo>
                  <a:pt x="8281" y="6438"/>
                  <a:pt x="8250" y="6344"/>
                  <a:pt x="8125" y="6344"/>
                </a:cubicBezTo>
                <a:cubicBezTo>
                  <a:pt x="8219" y="6250"/>
                  <a:pt x="8281" y="6250"/>
                  <a:pt x="8375" y="6281"/>
                </a:cubicBezTo>
                <a:close/>
                <a:moveTo>
                  <a:pt x="8375" y="5563"/>
                </a:moveTo>
                <a:cubicBezTo>
                  <a:pt x="8344" y="5531"/>
                  <a:pt x="8313" y="5563"/>
                  <a:pt x="8313" y="5531"/>
                </a:cubicBezTo>
                <a:cubicBezTo>
                  <a:pt x="8406" y="5438"/>
                  <a:pt x="8500" y="5625"/>
                  <a:pt x="8625" y="5531"/>
                </a:cubicBezTo>
                <a:cubicBezTo>
                  <a:pt x="8531" y="5719"/>
                  <a:pt x="8500" y="5719"/>
                  <a:pt x="8375" y="5563"/>
                </a:cubicBezTo>
                <a:close/>
                <a:moveTo>
                  <a:pt x="8969" y="6219"/>
                </a:moveTo>
                <a:cubicBezTo>
                  <a:pt x="9000" y="6250"/>
                  <a:pt x="8969" y="6281"/>
                  <a:pt x="8969" y="6281"/>
                </a:cubicBezTo>
                <a:cubicBezTo>
                  <a:pt x="8906" y="6344"/>
                  <a:pt x="8844" y="6344"/>
                  <a:pt x="8781" y="6344"/>
                </a:cubicBezTo>
                <a:cubicBezTo>
                  <a:pt x="8688" y="6313"/>
                  <a:pt x="8625" y="6313"/>
                  <a:pt x="8563" y="6344"/>
                </a:cubicBezTo>
                <a:cubicBezTo>
                  <a:pt x="8656" y="6188"/>
                  <a:pt x="8844" y="6156"/>
                  <a:pt x="8969" y="6219"/>
                </a:cubicBezTo>
                <a:close/>
                <a:moveTo>
                  <a:pt x="8719" y="5469"/>
                </a:moveTo>
                <a:cubicBezTo>
                  <a:pt x="8875" y="5469"/>
                  <a:pt x="9031" y="5406"/>
                  <a:pt x="9156" y="5531"/>
                </a:cubicBezTo>
                <a:cubicBezTo>
                  <a:pt x="9000" y="5500"/>
                  <a:pt x="8844" y="5594"/>
                  <a:pt x="8719" y="5469"/>
                </a:cubicBezTo>
                <a:close/>
                <a:moveTo>
                  <a:pt x="8938" y="2688"/>
                </a:moveTo>
                <a:cubicBezTo>
                  <a:pt x="8969" y="2657"/>
                  <a:pt x="8969" y="2688"/>
                  <a:pt x="9000" y="2719"/>
                </a:cubicBezTo>
                <a:cubicBezTo>
                  <a:pt x="8969" y="2750"/>
                  <a:pt x="8938" y="2782"/>
                  <a:pt x="8906" y="2782"/>
                </a:cubicBezTo>
                <a:cubicBezTo>
                  <a:pt x="8844" y="2782"/>
                  <a:pt x="8781" y="2782"/>
                  <a:pt x="8813" y="2719"/>
                </a:cubicBezTo>
                <a:cubicBezTo>
                  <a:pt x="8813" y="2657"/>
                  <a:pt x="8906" y="2719"/>
                  <a:pt x="8938" y="2688"/>
                </a:cubicBezTo>
                <a:close/>
                <a:moveTo>
                  <a:pt x="8813" y="2375"/>
                </a:moveTo>
                <a:cubicBezTo>
                  <a:pt x="8875" y="2282"/>
                  <a:pt x="8906" y="2250"/>
                  <a:pt x="9125" y="2282"/>
                </a:cubicBezTo>
                <a:cubicBezTo>
                  <a:pt x="9000" y="2313"/>
                  <a:pt x="8906" y="2344"/>
                  <a:pt x="8813" y="2375"/>
                </a:cubicBezTo>
                <a:close/>
                <a:moveTo>
                  <a:pt x="9156" y="2438"/>
                </a:moveTo>
                <a:cubicBezTo>
                  <a:pt x="9156" y="2407"/>
                  <a:pt x="9188" y="2407"/>
                  <a:pt x="9188" y="2407"/>
                </a:cubicBezTo>
                <a:cubicBezTo>
                  <a:pt x="9250" y="2407"/>
                  <a:pt x="9281" y="2407"/>
                  <a:pt x="9281" y="2469"/>
                </a:cubicBezTo>
                <a:cubicBezTo>
                  <a:pt x="9281" y="2500"/>
                  <a:pt x="9250" y="2532"/>
                  <a:pt x="9219" y="2532"/>
                </a:cubicBezTo>
                <a:cubicBezTo>
                  <a:pt x="9156" y="2532"/>
                  <a:pt x="9156" y="2469"/>
                  <a:pt x="9156" y="2438"/>
                </a:cubicBezTo>
                <a:close/>
                <a:moveTo>
                  <a:pt x="9125" y="6250"/>
                </a:moveTo>
                <a:cubicBezTo>
                  <a:pt x="9156" y="6219"/>
                  <a:pt x="9188" y="6219"/>
                  <a:pt x="9219" y="6156"/>
                </a:cubicBezTo>
                <a:cubicBezTo>
                  <a:pt x="9250" y="6125"/>
                  <a:pt x="9313" y="6094"/>
                  <a:pt x="9375" y="6188"/>
                </a:cubicBezTo>
                <a:cubicBezTo>
                  <a:pt x="9406" y="6250"/>
                  <a:pt x="9438" y="6313"/>
                  <a:pt x="9500" y="6219"/>
                </a:cubicBezTo>
                <a:cubicBezTo>
                  <a:pt x="9531" y="6188"/>
                  <a:pt x="9531" y="6125"/>
                  <a:pt x="9594" y="6156"/>
                </a:cubicBezTo>
                <a:cubicBezTo>
                  <a:pt x="9656" y="6188"/>
                  <a:pt x="9563" y="6219"/>
                  <a:pt x="9594" y="6281"/>
                </a:cubicBezTo>
                <a:cubicBezTo>
                  <a:pt x="9750" y="6188"/>
                  <a:pt x="9875" y="6344"/>
                  <a:pt x="10031" y="6344"/>
                </a:cubicBezTo>
                <a:cubicBezTo>
                  <a:pt x="10063" y="6344"/>
                  <a:pt x="10125" y="6344"/>
                  <a:pt x="10156" y="6375"/>
                </a:cubicBezTo>
                <a:cubicBezTo>
                  <a:pt x="10188" y="6375"/>
                  <a:pt x="10219" y="6375"/>
                  <a:pt x="10250" y="6313"/>
                </a:cubicBezTo>
                <a:cubicBezTo>
                  <a:pt x="10250" y="6281"/>
                  <a:pt x="10188" y="6281"/>
                  <a:pt x="10156" y="6281"/>
                </a:cubicBezTo>
                <a:cubicBezTo>
                  <a:pt x="10094" y="6250"/>
                  <a:pt x="9969" y="6250"/>
                  <a:pt x="9906" y="6125"/>
                </a:cubicBezTo>
                <a:cubicBezTo>
                  <a:pt x="10063" y="6156"/>
                  <a:pt x="10219" y="6125"/>
                  <a:pt x="10344" y="6250"/>
                </a:cubicBezTo>
                <a:cubicBezTo>
                  <a:pt x="10375" y="6281"/>
                  <a:pt x="10375" y="6344"/>
                  <a:pt x="10313" y="6375"/>
                </a:cubicBezTo>
                <a:cubicBezTo>
                  <a:pt x="10219" y="6406"/>
                  <a:pt x="10156" y="6531"/>
                  <a:pt x="10031" y="6406"/>
                </a:cubicBezTo>
                <a:cubicBezTo>
                  <a:pt x="9781" y="6438"/>
                  <a:pt x="9531" y="6281"/>
                  <a:pt x="9281" y="6375"/>
                </a:cubicBezTo>
                <a:cubicBezTo>
                  <a:pt x="9250" y="6406"/>
                  <a:pt x="9188" y="6406"/>
                  <a:pt x="9156" y="6375"/>
                </a:cubicBezTo>
                <a:cubicBezTo>
                  <a:pt x="9063" y="6375"/>
                  <a:pt x="9031" y="6313"/>
                  <a:pt x="9125" y="6250"/>
                </a:cubicBezTo>
                <a:close/>
                <a:moveTo>
                  <a:pt x="10344" y="5656"/>
                </a:moveTo>
                <a:cubicBezTo>
                  <a:pt x="10313" y="5656"/>
                  <a:pt x="10250" y="5750"/>
                  <a:pt x="10188" y="5625"/>
                </a:cubicBezTo>
                <a:cubicBezTo>
                  <a:pt x="10188" y="5625"/>
                  <a:pt x="10156" y="5656"/>
                  <a:pt x="10125" y="5656"/>
                </a:cubicBezTo>
                <a:cubicBezTo>
                  <a:pt x="10125" y="5688"/>
                  <a:pt x="10094" y="5719"/>
                  <a:pt x="10063" y="5719"/>
                </a:cubicBezTo>
                <a:cubicBezTo>
                  <a:pt x="9906" y="5688"/>
                  <a:pt x="9906" y="5781"/>
                  <a:pt x="9938" y="5906"/>
                </a:cubicBezTo>
                <a:cubicBezTo>
                  <a:pt x="9938" y="5906"/>
                  <a:pt x="9938" y="5906"/>
                  <a:pt x="9938" y="5906"/>
                </a:cubicBezTo>
                <a:cubicBezTo>
                  <a:pt x="9938" y="5969"/>
                  <a:pt x="9938" y="6000"/>
                  <a:pt x="9875" y="6031"/>
                </a:cubicBezTo>
                <a:cubicBezTo>
                  <a:pt x="9875" y="6063"/>
                  <a:pt x="9844" y="6031"/>
                  <a:pt x="9844" y="6031"/>
                </a:cubicBezTo>
                <a:cubicBezTo>
                  <a:pt x="9813" y="6000"/>
                  <a:pt x="9844" y="5969"/>
                  <a:pt x="9844" y="5906"/>
                </a:cubicBezTo>
                <a:cubicBezTo>
                  <a:pt x="9844" y="5875"/>
                  <a:pt x="9844" y="5844"/>
                  <a:pt x="9875" y="5813"/>
                </a:cubicBezTo>
                <a:cubicBezTo>
                  <a:pt x="9938" y="5688"/>
                  <a:pt x="9906" y="5688"/>
                  <a:pt x="9781" y="5625"/>
                </a:cubicBezTo>
                <a:cubicBezTo>
                  <a:pt x="9594" y="5563"/>
                  <a:pt x="9406" y="5625"/>
                  <a:pt x="9219" y="5625"/>
                </a:cubicBezTo>
                <a:cubicBezTo>
                  <a:pt x="9313" y="5500"/>
                  <a:pt x="9438" y="5500"/>
                  <a:pt x="9531" y="5469"/>
                </a:cubicBezTo>
                <a:cubicBezTo>
                  <a:pt x="9656" y="5438"/>
                  <a:pt x="9750" y="5469"/>
                  <a:pt x="9875" y="5469"/>
                </a:cubicBezTo>
                <a:cubicBezTo>
                  <a:pt x="10094" y="5500"/>
                  <a:pt x="10313" y="5563"/>
                  <a:pt x="10563" y="5531"/>
                </a:cubicBezTo>
                <a:cubicBezTo>
                  <a:pt x="10625" y="5531"/>
                  <a:pt x="10688" y="5563"/>
                  <a:pt x="10656" y="5625"/>
                </a:cubicBezTo>
                <a:cubicBezTo>
                  <a:pt x="10656" y="5688"/>
                  <a:pt x="10594" y="5625"/>
                  <a:pt x="10563" y="5625"/>
                </a:cubicBezTo>
                <a:cubicBezTo>
                  <a:pt x="10500" y="5625"/>
                  <a:pt x="10406" y="5625"/>
                  <a:pt x="10344" y="5656"/>
                </a:cubicBezTo>
                <a:close/>
                <a:moveTo>
                  <a:pt x="9406" y="2625"/>
                </a:moveTo>
                <a:cubicBezTo>
                  <a:pt x="9406" y="2625"/>
                  <a:pt x="9406" y="2625"/>
                  <a:pt x="9438" y="2625"/>
                </a:cubicBezTo>
                <a:cubicBezTo>
                  <a:pt x="9750" y="2563"/>
                  <a:pt x="10063" y="2688"/>
                  <a:pt x="10406" y="2657"/>
                </a:cubicBezTo>
                <a:cubicBezTo>
                  <a:pt x="10438" y="2657"/>
                  <a:pt x="10469" y="2688"/>
                  <a:pt x="10500" y="2625"/>
                </a:cubicBezTo>
                <a:cubicBezTo>
                  <a:pt x="10531" y="2594"/>
                  <a:pt x="10563" y="2594"/>
                  <a:pt x="10594" y="2625"/>
                </a:cubicBezTo>
                <a:cubicBezTo>
                  <a:pt x="10594" y="2625"/>
                  <a:pt x="10625" y="2657"/>
                  <a:pt x="10625" y="2688"/>
                </a:cubicBezTo>
                <a:cubicBezTo>
                  <a:pt x="10625" y="2719"/>
                  <a:pt x="10594" y="2719"/>
                  <a:pt x="10563" y="2719"/>
                </a:cubicBezTo>
                <a:cubicBezTo>
                  <a:pt x="10438" y="2750"/>
                  <a:pt x="10344" y="2782"/>
                  <a:pt x="10219" y="2782"/>
                </a:cubicBezTo>
                <a:cubicBezTo>
                  <a:pt x="10094" y="2750"/>
                  <a:pt x="9969" y="2782"/>
                  <a:pt x="9875" y="2688"/>
                </a:cubicBezTo>
                <a:cubicBezTo>
                  <a:pt x="9813" y="2657"/>
                  <a:pt x="9813" y="2657"/>
                  <a:pt x="9750" y="2688"/>
                </a:cubicBezTo>
                <a:cubicBezTo>
                  <a:pt x="9656" y="2750"/>
                  <a:pt x="9531" y="2750"/>
                  <a:pt x="9406" y="2719"/>
                </a:cubicBezTo>
                <a:cubicBezTo>
                  <a:pt x="9344" y="2719"/>
                  <a:pt x="9313" y="2688"/>
                  <a:pt x="9281" y="2657"/>
                </a:cubicBezTo>
                <a:cubicBezTo>
                  <a:pt x="9281" y="2594"/>
                  <a:pt x="9344" y="2625"/>
                  <a:pt x="9406" y="2625"/>
                </a:cubicBezTo>
                <a:close/>
                <a:moveTo>
                  <a:pt x="9375" y="2438"/>
                </a:moveTo>
                <a:cubicBezTo>
                  <a:pt x="9375" y="2407"/>
                  <a:pt x="9438" y="2313"/>
                  <a:pt x="9438" y="2344"/>
                </a:cubicBezTo>
                <a:cubicBezTo>
                  <a:pt x="9500" y="2344"/>
                  <a:pt x="9563" y="2313"/>
                  <a:pt x="9625" y="2375"/>
                </a:cubicBezTo>
                <a:cubicBezTo>
                  <a:pt x="9594" y="2438"/>
                  <a:pt x="9563" y="2438"/>
                  <a:pt x="9531" y="2438"/>
                </a:cubicBezTo>
                <a:cubicBezTo>
                  <a:pt x="9500" y="2438"/>
                  <a:pt x="9469" y="2407"/>
                  <a:pt x="9469" y="2438"/>
                </a:cubicBezTo>
                <a:cubicBezTo>
                  <a:pt x="9438" y="2469"/>
                  <a:pt x="9406" y="2500"/>
                  <a:pt x="9375" y="2469"/>
                </a:cubicBezTo>
                <a:cubicBezTo>
                  <a:pt x="9375" y="2469"/>
                  <a:pt x="9344" y="2438"/>
                  <a:pt x="9375" y="2438"/>
                </a:cubicBezTo>
                <a:close/>
                <a:moveTo>
                  <a:pt x="9563" y="3500"/>
                </a:moveTo>
                <a:cubicBezTo>
                  <a:pt x="9531" y="3531"/>
                  <a:pt x="9531" y="3594"/>
                  <a:pt x="9469" y="3594"/>
                </a:cubicBezTo>
                <a:cubicBezTo>
                  <a:pt x="9406" y="3563"/>
                  <a:pt x="9438" y="3500"/>
                  <a:pt x="9375" y="3500"/>
                </a:cubicBezTo>
                <a:cubicBezTo>
                  <a:pt x="9406" y="3438"/>
                  <a:pt x="9406" y="3438"/>
                  <a:pt x="9469" y="3438"/>
                </a:cubicBezTo>
                <a:cubicBezTo>
                  <a:pt x="9500" y="3469"/>
                  <a:pt x="9531" y="3438"/>
                  <a:pt x="9563" y="3500"/>
                </a:cubicBezTo>
                <a:close/>
                <a:moveTo>
                  <a:pt x="11031" y="6281"/>
                </a:moveTo>
                <a:cubicBezTo>
                  <a:pt x="11094" y="6281"/>
                  <a:pt x="11063" y="6313"/>
                  <a:pt x="11063" y="6344"/>
                </a:cubicBezTo>
                <a:cubicBezTo>
                  <a:pt x="11000" y="6406"/>
                  <a:pt x="10906" y="6406"/>
                  <a:pt x="10844" y="6375"/>
                </a:cubicBezTo>
                <a:cubicBezTo>
                  <a:pt x="10750" y="6375"/>
                  <a:pt x="10656" y="6344"/>
                  <a:pt x="10563" y="6344"/>
                </a:cubicBezTo>
                <a:cubicBezTo>
                  <a:pt x="10500" y="6344"/>
                  <a:pt x="10500" y="6281"/>
                  <a:pt x="10469" y="6219"/>
                </a:cubicBezTo>
                <a:cubicBezTo>
                  <a:pt x="10656" y="6188"/>
                  <a:pt x="10844" y="6281"/>
                  <a:pt x="11031" y="6281"/>
                </a:cubicBezTo>
                <a:close/>
                <a:moveTo>
                  <a:pt x="10688" y="6656"/>
                </a:moveTo>
                <a:cubicBezTo>
                  <a:pt x="10719" y="6594"/>
                  <a:pt x="10750" y="6656"/>
                  <a:pt x="10781" y="6656"/>
                </a:cubicBezTo>
                <a:cubicBezTo>
                  <a:pt x="10938" y="6656"/>
                  <a:pt x="11094" y="6625"/>
                  <a:pt x="11250" y="6688"/>
                </a:cubicBezTo>
                <a:cubicBezTo>
                  <a:pt x="11281" y="6688"/>
                  <a:pt x="11313" y="6688"/>
                  <a:pt x="11344" y="6719"/>
                </a:cubicBezTo>
                <a:cubicBezTo>
                  <a:pt x="11375" y="6688"/>
                  <a:pt x="11375" y="6719"/>
                  <a:pt x="11375" y="6719"/>
                </a:cubicBezTo>
                <a:cubicBezTo>
                  <a:pt x="11375" y="6750"/>
                  <a:pt x="11375" y="6750"/>
                  <a:pt x="11344" y="6750"/>
                </a:cubicBezTo>
                <a:cubicBezTo>
                  <a:pt x="11281" y="6844"/>
                  <a:pt x="11188" y="6844"/>
                  <a:pt x="11094" y="6781"/>
                </a:cubicBezTo>
                <a:cubicBezTo>
                  <a:pt x="11063" y="6750"/>
                  <a:pt x="11031" y="6719"/>
                  <a:pt x="10969" y="6719"/>
                </a:cubicBezTo>
                <a:cubicBezTo>
                  <a:pt x="10906" y="6719"/>
                  <a:pt x="10844" y="6719"/>
                  <a:pt x="10781" y="6719"/>
                </a:cubicBezTo>
                <a:cubicBezTo>
                  <a:pt x="10750" y="6750"/>
                  <a:pt x="10719" y="6781"/>
                  <a:pt x="10688" y="6719"/>
                </a:cubicBezTo>
                <a:cubicBezTo>
                  <a:pt x="10688" y="6688"/>
                  <a:pt x="10656" y="6656"/>
                  <a:pt x="10688" y="6656"/>
                </a:cubicBezTo>
                <a:close/>
                <a:moveTo>
                  <a:pt x="11125" y="6375"/>
                </a:moveTo>
                <a:cubicBezTo>
                  <a:pt x="11125" y="6344"/>
                  <a:pt x="11156" y="6313"/>
                  <a:pt x="11219" y="6313"/>
                </a:cubicBezTo>
                <a:cubicBezTo>
                  <a:pt x="11250" y="6313"/>
                  <a:pt x="11281" y="6313"/>
                  <a:pt x="11281" y="6313"/>
                </a:cubicBezTo>
                <a:cubicBezTo>
                  <a:pt x="11281" y="6406"/>
                  <a:pt x="11250" y="6406"/>
                  <a:pt x="11188" y="6438"/>
                </a:cubicBezTo>
                <a:cubicBezTo>
                  <a:pt x="11188" y="6438"/>
                  <a:pt x="11156" y="6438"/>
                  <a:pt x="11125" y="6375"/>
                </a:cubicBezTo>
                <a:close/>
                <a:moveTo>
                  <a:pt x="11281" y="5438"/>
                </a:moveTo>
                <a:cubicBezTo>
                  <a:pt x="11156" y="5469"/>
                  <a:pt x="11063" y="5469"/>
                  <a:pt x="10938" y="5438"/>
                </a:cubicBezTo>
                <a:cubicBezTo>
                  <a:pt x="10906" y="5438"/>
                  <a:pt x="10906" y="5438"/>
                  <a:pt x="10906" y="5406"/>
                </a:cubicBezTo>
                <a:cubicBezTo>
                  <a:pt x="10906" y="5375"/>
                  <a:pt x="10906" y="5375"/>
                  <a:pt x="10938" y="5375"/>
                </a:cubicBezTo>
                <a:cubicBezTo>
                  <a:pt x="11031" y="5375"/>
                  <a:pt x="11188" y="5344"/>
                  <a:pt x="11281" y="5438"/>
                </a:cubicBezTo>
                <a:close/>
                <a:moveTo>
                  <a:pt x="11188" y="4313"/>
                </a:moveTo>
                <a:cubicBezTo>
                  <a:pt x="11219" y="4250"/>
                  <a:pt x="11250" y="4219"/>
                  <a:pt x="11313" y="4219"/>
                </a:cubicBezTo>
                <a:cubicBezTo>
                  <a:pt x="11375" y="4219"/>
                  <a:pt x="11406" y="4250"/>
                  <a:pt x="11406" y="4313"/>
                </a:cubicBezTo>
                <a:cubicBezTo>
                  <a:pt x="11344" y="4344"/>
                  <a:pt x="11250" y="4281"/>
                  <a:pt x="11219" y="4344"/>
                </a:cubicBezTo>
                <a:cubicBezTo>
                  <a:pt x="11188" y="4344"/>
                  <a:pt x="11156" y="4313"/>
                  <a:pt x="11188" y="4313"/>
                </a:cubicBezTo>
                <a:close/>
                <a:moveTo>
                  <a:pt x="11813" y="4375"/>
                </a:moveTo>
                <a:cubicBezTo>
                  <a:pt x="11906" y="4313"/>
                  <a:pt x="12000" y="4313"/>
                  <a:pt x="12094" y="4344"/>
                </a:cubicBezTo>
                <a:cubicBezTo>
                  <a:pt x="12125" y="4344"/>
                  <a:pt x="12156" y="4344"/>
                  <a:pt x="12156" y="4375"/>
                </a:cubicBezTo>
                <a:cubicBezTo>
                  <a:pt x="12156" y="4438"/>
                  <a:pt x="12125" y="4438"/>
                  <a:pt x="12094" y="4438"/>
                </a:cubicBezTo>
                <a:cubicBezTo>
                  <a:pt x="12000" y="4438"/>
                  <a:pt x="11906" y="4438"/>
                  <a:pt x="11813" y="4375"/>
                </a:cubicBezTo>
                <a:close/>
                <a:moveTo>
                  <a:pt x="11938" y="5188"/>
                </a:moveTo>
                <a:cubicBezTo>
                  <a:pt x="11875" y="5125"/>
                  <a:pt x="11813" y="5125"/>
                  <a:pt x="11844" y="5031"/>
                </a:cubicBezTo>
                <a:cubicBezTo>
                  <a:pt x="11844" y="5000"/>
                  <a:pt x="11938" y="5000"/>
                  <a:pt x="11938" y="5031"/>
                </a:cubicBezTo>
                <a:cubicBezTo>
                  <a:pt x="12000" y="5094"/>
                  <a:pt x="11938" y="5125"/>
                  <a:pt x="11938" y="5188"/>
                </a:cubicBezTo>
                <a:close/>
                <a:moveTo>
                  <a:pt x="13469" y="6125"/>
                </a:moveTo>
                <a:cubicBezTo>
                  <a:pt x="13500" y="6125"/>
                  <a:pt x="13563" y="6125"/>
                  <a:pt x="13563" y="6156"/>
                </a:cubicBezTo>
                <a:cubicBezTo>
                  <a:pt x="13563" y="6219"/>
                  <a:pt x="13531" y="6219"/>
                  <a:pt x="13469" y="6219"/>
                </a:cubicBezTo>
                <a:cubicBezTo>
                  <a:pt x="13438" y="6219"/>
                  <a:pt x="13375" y="6219"/>
                  <a:pt x="13375" y="6188"/>
                </a:cubicBezTo>
                <a:cubicBezTo>
                  <a:pt x="13375" y="6094"/>
                  <a:pt x="13438" y="6156"/>
                  <a:pt x="13469" y="6125"/>
                </a:cubicBezTo>
                <a:close/>
                <a:moveTo>
                  <a:pt x="13156" y="2250"/>
                </a:moveTo>
                <a:cubicBezTo>
                  <a:pt x="13188" y="2250"/>
                  <a:pt x="13188" y="2250"/>
                  <a:pt x="13219" y="2250"/>
                </a:cubicBezTo>
                <a:cubicBezTo>
                  <a:pt x="13250" y="2250"/>
                  <a:pt x="13313" y="2250"/>
                  <a:pt x="13344" y="2282"/>
                </a:cubicBezTo>
                <a:cubicBezTo>
                  <a:pt x="13344" y="2313"/>
                  <a:pt x="13406" y="2313"/>
                  <a:pt x="13375" y="2344"/>
                </a:cubicBezTo>
                <a:cubicBezTo>
                  <a:pt x="13375" y="2407"/>
                  <a:pt x="13344" y="2375"/>
                  <a:pt x="13313" y="2344"/>
                </a:cubicBezTo>
                <a:cubicBezTo>
                  <a:pt x="13250" y="2344"/>
                  <a:pt x="13219" y="2344"/>
                  <a:pt x="13188" y="2375"/>
                </a:cubicBezTo>
                <a:cubicBezTo>
                  <a:pt x="13125" y="2375"/>
                  <a:pt x="13094" y="2407"/>
                  <a:pt x="13094" y="2344"/>
                </a:cubicBezTo>
                <a:cubicBezTo>
                  <a:pt x="13063" y="2282"/>
                  <a:pt x="13094" y="2282"/>
                  <a:pt x="13156" y="2250"/>
                </a:cubicBezTo>
                <a:close/>
                <a:moveTo>
                  <a:pt x="9094" y="1344"/>
                </a:moveTo>
                <a:cubicBezTo>
                  <a:pt x="9156" y="1344"/>
                  <a:pt x="9250" y="1344"/>
                  <a:pt x="9281" y="1438"/>
                </a:cubicBezTo>
                <a:cubicBezTo>
                  <a:pt x="9313" y="1438"/>
                  <a:pt x="9313" y="1469"/>
                  <a:pt x="9281" y="1469"/>
                </a:cubicBezTo>
                <a:cubicBezTo>
                  <a:pt x="9188" y="1500"/>
                  <a:pt x="9125" y="1407"/>
                  <a:pt x="9063" y="1375"/>
                </a:cubicBezTo>
                <a:cubicBezTo>
                  <a:pt x="9094" y="1375"/>
                  <a:pt x="9094" y="1344"/>
                  <a:pt x="9094" y="1344"/>
                </a:cubicBezTo>
                <a:close/>
                <a:moveTo>
                  <a:pt x="8406" y="1500"/>
                </a:moveTo>
                <a:cubicBezTo>
                  <a:pt x="8531" y="1282"/>
                  <a:pt x="8688" y="1532"/>
                  <a:pt x="8813" y="1469"/>
                </a:cubicBezTo>
                <a:cubicBezTo>
                  <a:pt x="8781" y="1532"/>
                  <a:pt x="8750" y="1563"/>
                  <a:pt x="8688" y="1532"/>
                </a:cubicBezTo>
                <a:cubicBezTo>
                  <a:pt x="8625" y="1532"/>
                  <a:pt x="8531" y="1532"/>
                  <a:pt x="8500" y="1625"/>
                </a:cubicBezTo>
                <a:cubicBezTo>
                  <a:pt x="8469" y="1657"/>
                  <a:pt x="8375" y="1657"/>
                  <a:pt x="8344" y="1594"/>
                </a:cubicBezTo>
                <a:cubicBezTo>
                  <a:pt x="8313" y="1563"/>
                  <a:pt x="8375" y="1532"/>
                  <a:pt x="8406" y="1500"/>
                </a:cubicBezTo>
                <a:close/>
                <a:moveTo>
                  <a:pt x="7625" y="2157"/>
                </a:moveTo>
                <a:cubicBezTo>
                  <a:pt x="7625" y="2125"/>
                  <a:pt x="7563" y="2125"/>
                  <a:pt x="7531" y="2094"/>
                </a:cubicBezTo>
                <a:cubicBezTo>
                  <a:pt x="7656" y="2094"/>
                  <a:pt x="7781" y="2094"/>
                  <a:pt x="7906" y="2063"/>
                </a:cubicBezTo>
                <a:cubicBezTo>
                  <a:pt x="8000" y="2032"/>
                  <a:pt x="8125" y="2032"/>
                  <a:pt x="8219" y="2032"/>
                </a:cubicBezTo>
                <a:cubicBezTo>
                  <a:pt x="8375" y="2032"/>
                  <a:pt x="8500" y="2032"/>
                  <a:pt x="8625" y="2032"/>
                </a:cubicBezTo>
                <a:cubicBezTo>
                  <a:pt x="8719" y="2032"/>
                  <a:pt x="8813" y="2063"/>
                  <a:pt x="8906" y="2032"/>
                </a:cubicBezTo>
                <a:cubicBezTo>
                  <a:pt x="8969" y="1938"/>
                  <a:pt x="9063" y="1907"/>
                  <a:pt x="9156" y="1969"/>
                </a:cubicBezTo>
                <a:cubicBezTo>
                  <a:pt x="9188" y="2000"/>
                  <a:pt x="9219" y="2000"/>
                  <a:pt x="9250" y="1969"/>
                </a:cubicBezTo>
                <a:cubicBezTo>
                  <a:pt x="9313" y="1969"/>
                  <a:pt x="9375" y="1938"/>
                  <a:pt x="9438" y="1969"/>
                </a:cubicBezTo>
                <a:cubicBezTo>
                  <a:pt x="9469" y="2000"/>
                  <a:pt x="9500" y="2000"/>
                  <a:pt x="9500" y="1969"/>
                </a:cubicBezTo>
                <a:cubicBezTo>
                  <a:pt x="9563" y="1938"/>
                  <a:pt x="9594" y="1907"/>
                  <a:pt x="9594" y="2000"/>
                </a:cubicBezTo>
                <a:cubicBezTo>
                  <a:pt x="9594" y="2063"/>
                  <a:pt x="9625" y="2063"/>
                  <a:pt x="9656" y="2063"/>
                </a:cubicBezTo>
                <a:cubicBezTo>
                  <a:pt x="9719" y="2063"/>
                  <a:pt x="9688" y="2032"/>
                  <a:pt x="9719" y="2000"/>
                </a:cubicBezTo>
                <a:cubicBezTo>
                  <a:pt x="9750" y="1907"/>
                  <a:pt x="9781" y="1875"/>
                  <a:pt x="9906" y="1938"/>
                </a:cubicBezTo>
                <a:cubicBezTo>
                  <a:pt x="10031" y="1969"/>
                  <a:pt x="10156" y="2063"/>
                  <a:pt x="10313" y="1969"/>
                </a:cubicBezTo>
                <a:cubicBezTo>
                  <a:pt x="10375" y="1938"/>
                  <a:pt x="10406" y="2000"/>
                  <a:pt x="10469" y="2032"/>
                </a:cubicBezTo>
                <a:cubicBezTo>
                  <a:pt x="10500" y="2063"/>
                  <a:pt x="10594" y="2188"/>
                  <a:pt x="10594" y="2000"/>
                </a:cubicBezTo>
                <a:cubicBezTo>
                  <a:pt x="10594" y="1969"/>
                  <a:pt x="10625" y="1969"/>
                  <a:pt x="10656" y="2000"/>
                </a:cubicBezTo>
                <a:cubicBezTo>
                  <a:pt x="10750" y="2000"/>
                  <a:pt x="10813" y="2032"/>
                  <a:pt x="10906" y="2032"/>
                </a:cubicBezTo>
                <a:cubicBezTo>
                  <a:pt x="10938" y="2032"/>
                  <a:pt x="11000" y="2063"/>
                  <a:pt x="11031" y="2063"/>
                </a:cubicBezTo>
                <a:cubicBezTo>
                  <a:pt x="11156" y="1907"/>
                  <a:pt x="11313" y="1969"/>
                  <a:pt x="11469" y="2063"/>
                </a:cubicBezTo>
                <a:cubicBezTo>
                  <a:pt x="11500" y="2063"/>
                  <a:pt x="11531" y="2125"/>
                  <a:pt x="11563" y="2063"/>
                </a:cubicBezTo>
                <a:cubicBezTo>
                  <a:pt x="11594" y="2032"/>
                  <a:pt x="11594" y="2032"/>
                  <a:pt x="11594" y="2032"/>
                </a:cubicBezTo>
                <a:cubicBezTo>
                  <a:pt x="11625" y="2032"/>
                  <a:pt x="11625" y="2032"/>
                  <a:pt x="11656" y="2032"/>
                </a:cubicBezTo>
                <a:cubicBezTo>
                  <a:pt x="11688" y="2063"/>
                  <a:pt x="11719" y="2063"/>
                  <a:pt x="11656" y="2094"/>
                </a:cubicBezTo>
                <a:cubicBezTo>
                  <a:pt x="11625" y="2094"/>
                  <a:pt x="11594" y="2125"/>
                  <a:pt x="11594" y="2157"/>
                </a:cubicBezTo>
                <a:cubicBezTo>
                  <a:pt x="11688" y="2157"/>
                  <a:pt x="11781" y="2125"/>
                  <a:pt x="11875" y="2188"/>
                </a:cubicBezTo>
                <a:cubicBezTo>
                  <a:pt x="11906" y="2188"/>
                  <a:pt x="11906" y="2188"/>
                  <a:pt x="11938" y="2188"/>
                </a:cubicBezTo>
                <a:cubicBezTo>
                  <a:pt x="12000" y="2157"/>
                  <a:pt x="11875" y="2125"/>
                  <a:pt x="11938" y="2063"/>
                </a:cubicBezTo>
                <a:cubicBezTo>
                  <a:pt x="12000" y="2188"/>
                  <a:pt x="12219" y="2000"/>
                  <a:pt x="12250" y="2219"/>
                </a:cubicBezTo>
                <a:cubicBezTo>
                  <a:pt x="12531" y="2094"/>
                  <a:pt x="12750" y="2219"/>
                  <a:pt x="12969" y="2313"/>
                </a:cubicBezTo>
                <a:cubicBezTo>
                  <a:pt x="12719" y="2344"/>
                  <a:pt x="12719" y="2375"/>
                  <a:pt x="12438" y="2250"/>
                </a:cubicBezTo>
                <a:cubicBezTo>
                  <a:pt x="12375" y="2219"/>
                  <a:pt x="12344" y="2250"/>
                  <a:pt x="12313" y="2250"/>
                </a:cubicBezTo>
                <a:cubicBezTo>
                  <a:pt x="12188" y="2313"/>
                  <a:pt x="12063" y="2188"/>
                  <a:pt x="11938" y="2219"/>
                </a:cubicBezTo>
                <a:cubicBezTo>
                  <a:pt x="11938" y="2219"/>
                  <a:pt x="11906" y="2219"/>
                  <a:pt x="11906" y="2219"/>
                </a:cubicBezTo>
                <a:cubicBezTo>
                  <a:pt x="11844" y="2282"/>
                  <a:pt x="11781" y="2250"/>
                  <a:pt x="11750" y="2250"/>
                </a:cubicBezTo>
                <a:cubicBezTo>
                  <a:pt x="11656" y="2250"/>
                  <a:pt x="11594" y="2282"/>
                  <a:pt x="11500" y="2250"/>
                </a:cubicBezTo>
                <a:cubicBezTo>
                  <a:pt x="11438" y="2250"/>
                  <a:pt x="11375" y="2282"/>
                  <a:pt x="11313" y="2250"/>
                </a:cubicBezTo>
                <a:cubicBezTo>
                  <a:pt x="11188" y="2219"/>
                  <a:pt x="11031" y="2188"/>
                  <a:pt x="10938" y="2188"/>
                </a:cubicBezTo>
                <a:cubicBezTo>
                  <a:pt x="10719" y="2250"/>
                  <a:pt x="10563" y="2125"/>
                  <a:pt x="10344" y="2188"/>
                </a:cubicBezTo>
                <a:cubicBezTo>
                  <a:pt x="10281" y="2219"/>
                  <a:pt x="10156" y="2188"/>
                  <a:pt x="10063" y="2188"/>
                </a:cubicBezTo>
                <a:cubicBezTo>
                  <a:pt x="10000" y="2188"/>
                  <a:pt x="9938" y="2219"/>
                  <a:pt x="9875" y="2219"/>
                </a:cubicBezTo>
                <a:cubicBezTo>
                  <a:pt x="9844" y="2219"/>
                  <a:pt x="9813" y="2219"/>
                  <a:pt x="9781" y="2188"/>
                </a:cubicBezTo>
                <a:cubicBezTo>
                  <a:pt x="9750" y="2188"/>
                  <a:pt x="9719" y="2188"/>
                  <a:pt x="9688" y="2188"/>
                </a:cubicBezTo>
                <a:cubicBezTo>
                  <a:pt x="9688" y="2188"/>
                  <a:pt x="9656" y="2188"/>
                  <a:pt x="9625" y="2157"/>
                </a:cubicBezTo>
                <a:cubicBezTo>
                  <a:pt x="9531" y="2157"/>
                  <a:pt x="9438" y="2157"/>
                  <a:pt x="9344" y="2157"/>
                </a:cubicBezTo>
                <a:cubicBezTo>
                  <a:pt x="9344" y="2188"/>
                  <a:pt x="9313" y="2188"/>
                  <a:pt x="9281" y="2157"/>
                </a:cubicBezTo>
                <a:cubicBezTo>
                  <a:pt x="9250" y="2188"/>
                  <a:pt x="9219" y="2188"/>
                  <a:pt x="9188" y="2188"/>
                </a:cubicBezTo>
                <a:cubicBezTo>
                  <a:pt x="9188" y="2188"/>
                  <a:pt x="9156" y="2188"/>
                  <a:pt x="9156" y="2188"/>
                </a:cubicBezTo>
                <a:cubicBezTo>
                  <a:pt x="9156" y="2188"/>
                  <a:pt x="9125" y="2188"/>
                  <a:pt x="9094" y="2188"/>
                </a:cubicBezTo>
                <a:cubicBezTo>
                  <a:pt x="9063" y="2219"/>
                  <a:pt x="9000" y="2219"/>
                  <a:pt x="8969" y="2219"/>
                </a:cubicBezTo>
                <a:cubicBezTo>
                  <a:pt x="8906" y="2188"/>
                  <a:pt x="8938" y="2157"/>
                  <a:pt x="8969" y="2125"/>
                </a:cubicBezTo>
                <a:cubicBezTo>
                  <a:pt x="8969" y="2125"/>
                  <a:pt x="8969" y="2125"/>
                  <a:pt x="8969" y="2125"/>
                </a:cubicBezTo>
                <a:cubicBezTo>
                  <a:pt x="8969" y="2094"/>
                  <a:pt x="8969" y="2094"/>
                  <a:pt x="8969" y="2094"/>
                </a:cubicBezTo>
                <a:cubicBezTo>
                  <a:pt x="8875" y="2125"/>
                  <a:pt x="8813" y="2250"/>
                  <a:pt x="8688" y="2250"/>
                </a:cubicBezTo>
                <a:cubicBezTo>
                  <a:pt x="8500" y="2282"/>
                  <a:pt x="8313" y="2250"/>
                  <a:pt x="8125" y="2344"/>
                </a:cubicBezTo>
                <a:cubicBezTo>
                  <a:pt x="8094" y="2375"/>
                  <a:pt x="8094" y="2344"/>
                  <a:pt x="8063" y="2313"/>
                </a:cubicBezTo>
                <a:cubicBezTo>
                  <a:pt x="8031" y="2282"/>
                  <a:pt x="8031" y="2250"/>
                  <a:pt x="7969" y="2282"/>
                </a:cubicBezTo>
                <a:cubicBezTo>
                  <a:pt x="7844" y="2313"/>
                  <a:pt x="7719" y="2250"/>
                  <a:pt x="7625" y="2157"/>
                </a:cubicBezTo>
                <a:close/>
                <a:moveTo>
                  <a:pt x="7719" y="2500"/>
                </a:moveTo>
                <a:cubicBezTo>
                  <a:pt x="7625" y="2625"/>
                  <a:pt x="7406" y="2657"/>
                  <a:pt x="7125" y="2594"/>
                </a:cubicBezTo>
                <a:cubicBezTo>
                  <a:pt x="7344" y="2500"/>
                  <a:pt x="7531" y="2469"/>
                  <a:pt x="7719" y="2500"/>
                </a:cubicBezTo>
                <a:close/>
                <a:moveTo>
                  <a:pt x="7313" y="5781"/>
                </a:moveTo>
                <a:cubicBezTo>
                  <a:pt x="7313" y="5813"/>
                  <a:pt x="7313" y="5844"/>
                  <a:pt x="7250" y="5844"/>
                </a:cubicBezTo>
                <a:cubicBezTo>
                  <a:pt x="7219" y="5844"/>
                  <a:pt x="7156" y="5844"/>
                  <a:pt x="7125" y="5781"/>
                </a:cubicBezTo>
                <a:cubicBezTo>
                  <a:pt x="7125" y="5750"/>
                  <a:pt x="7156" y="5750"/>
                  <a:pt x="7156" y="5750"/>
                </a:cubicBezTo>
                <a:cubicBezTo>
                  <a:pt x="7219" y="5813"/>
                  <a:pt x="7281" y="5719"/>
                  <a:pt x="7313" y="5781"/>
                </a:cubicBezTo>
                <a:close/>
                <a:moveTo>
                  <a:pt x="7031" y="3281"/>
                </a:moveTo>
                <a:cubicBezTo>
                  <a:pt x="7063" y="3219"/>
                  <a:pt x="7156" y="3219"/>
                  <a:pt x="7219" y="3219"/>
                </a:cubicBezTo>
                <a:cubicBezTo>
                  <a:pt x="7188" y="3313"/>
                  <a:pt x="7125" y="3344"/>
                  <a:pt x="7063" y="3313"/>
                </a:cubicBezTo>
                <a:cubicBezTo>
                  <a:pt x="7031" y="3313"/>
                  <a:pt x="7031" y="3313"/>
                  <a:pt x="7031" y="3281"/>
                </a:cubicBezTo>
                <a:close/>
                <a:moveTo>
                  <a:pt x="6969" y="6438"/>
                </a:moveTo>
                <a:cubicBezTo>
                  <a:pt x="6969" y="6500"/>
                  <a:pt x="6875" y="6469"/>
                  <a:pt x="6813" y="6500"/>
                </a:cubicBezTo>
                <a:cubicBezTo>
                  <a:pt x="6781" y="6500"/>
                  <a:pt x="6750" y="6500"/>
                  <a:pt x="6781" y="6469"/>
                </a:cubicBezTo>
                <a:cubicBezTo>
                  <a:pt x="6781" y="6406"/>
                  <a:pt x="6844" y="6375"/>
                  <a:pt x="6906" y="6406"/>
                </a:cubicBezTo>
                <a:cubicBezTo>
                  <a:pt x="6906" y="6406"/>
                  <a:pt x="6969" y="6406"/>
                  <a:pt x="6969" y="6438"/>
                </a:cubicBezTo>
                <a:close/>
                <a:moveTo>
                  <a:pt x="6750" y="4000"/>
                </a:moveTo>
                <a:cubicBezTo>
                  <a:pt x="6813" y="3969"/>
                  <a:pt x="6844" y="4000"/>
                  <a:pt x="6875" y="4000"/>
                </a:cubicBezTo>
                <a:cubicBezTo>
                  <a:pt x="6906" y="4031"/>
                  <a:pt x="6906" y="4031"/>
                  <a:pt x="6875" y="4063"/>
                </a:cubicBezTo>
                <a:cubicBezTo>
                  <a:pt x="6875" y="4125"/>
                  <a:pt x="6813" y="4094"/>
                  <a:pt x="6781" y="4094"/>
                </a:cubicBezTo>
                <a:cubicBezTo>
                  <a:pt x="6750" y="4094"/>
                  <a:pt x="6688" y="4094"/>
                  <a:pt x="6656" y="4094"/>
                </a:cubicBezTo>
                <a:cubicBezTo>
                  <a:pt x="6656" y="4000"/>
                  <a:pt x="6719" y="4031"/>
                  <a:pt x="6750" y="4000"/>
                </a:cubicBezTo>
                <a:close/>
                <a:moveTo>
                  <a:pt x="6375" y="3094"/>
                </a:moveTo>
                <a:cubicBezTo>
                  <a:pt x="6438" y="3125"/>
                  <a:pt x="6500" y="3000"/>
                  <a:pt x="6500" y="3094"/>
                </a:cubicBezTo>
                <a:cubicBezTo>
                  <a:pt x="6531" y="3219"/>
                  <a:pt x="6438" y="3125"/>
                  <a:pt x="6375" y="3156"/>
                </a:cubicBezTo>
                <a:cubicBezTo>
                  <a:pt x="6344" y="3156"/>
                  <a:pt x="6281" y="3188"/>
                  <a:pt x="6281" y="3125"/>
                </a:cubicBezTo>
                <a:cubicBezTo>
                  <a:pt x="6281" y="3063"/>
                  <a:pt x="6344" y="3063"/>
                  <a:pt x="6375" y="3094"/>
                </a:cubicBezTo>
                <a:close/>
                <a:moveTo>
                  <a:pt x="6281" y="4563"/>
                </a:moveTo>
                <a:cubicBezTo>
                  <a:pt x="6438" y="4563"/>
                  <a:pt x="6563" y="4500"/>
                  <a:pt x="6688" y="4406"/>
                </a:cubicBezTo>
                <a:cubicBezTo>
                  <a:pt x="6750" y="4344"/>
                  <a:pt x="6844" y="4313"/>
                  <a:pt x="6969" y="4375"/>
                </a:cubicBezTo>
                <a:cubicBezTo>
                  <a:pt x="6813" y="4344"/>
                  <a:pt x="6813" y="4469"/>
                  <a:pt x="6781" y="4531"/>
                </a:cubicBezTo>
                <a:cubicBezTo>
                  <a:pt x="6719" y="4656"/>
                  <a:pt x="6625" y="4656"/>
                  <a:pt x="6563" y="4625"/>
                </a:cubicBezTo>
                <a:cubicBezTo>
                  <a:pt x="6375" y="4594"/>
                  <a:pt x="6188" y="4688"/>
                  <a:pt x="5969" y="4750"/>
                </a:cubicBezTo>
                <a:cubicBezTo>
                  <a:pt x="6063" y="4594"/>
                  <a:pt x="6156" y="4563"/>
                  <a:pt x="6281" y="4563"/>
                </a:cubicBezTo>
                <a:close/>
                <a:moveTo>
                  <a:pt x="6750" y="5844"/>
                </a:moveTo>
                <a:cubicBezTo>
                  <a:pt x="6719" y="5938"/>
                  <a:pt x="6625" y="5875"/>
                  <a:pt x="6563" y="5906"/>
                </a:cubicBezTo>
                <a:cubicBezTo>
                  <a:pt x="6531" y="5938"/>
                  <a:pt x="6531" y="5875"/>
                  <a:pt x="6531" y="5844"/>
                </a:cubicBezTo>
                <a:cubicBezTo>
                  <a:pt x="6531" y="5750"/>
                  <a:pt x="6594" y="5750"/>
                  <a:pt x="6625" y="5750"/>
                </a:cubicBezTo>
                <a:cubicBezTo>
                  <a:pt x="6688" y="5750"/>
                  <a:pt x="6719" y="5781"/>
                  <a:pt x="6750" y="5844"/>
                </a:cubicBezTo>
                <a:close/>
                <a:moveTo>
                  <a:pt x="6500" y="6844"/>
                </a:moveTo>
                <a:cubicBezTo>
                  <a:pt x="6406" y="6875"/>
                  <a:pt x="6344" y="6906"/>
                  <a:pt x="6250" y="6844"/>
                </a:cubicBezTo>
                <a:cubicBezTo>
                  <a:pt x="6250" y="6844"/>
                  <a:pt x="6250" y="6813"/>
                  <a:pt x="6250" y="6813"/>
                </a:cubicBezTo>
                <a:cubicBezTo>
                  <a:pt x="6344" y="6781"/>
                  <a:pt x="6406" y="6813"/>
                  <a:pt x="6500" y="6844"/>
                </a:cubicBezTo>
                <a:close/>
                <a:moveTo>
                  <a:pt x="6219" y="6875"/>
                </a:moveTo>
                <a:cubicBezTo>
                  <a:pt x="6219" y="6938"/>
                  <a:pt x="6156" y="6938"/>
                  <a:pt x="6094" y="6969"/>
                </a:cubicBezTo>
                <a:cubicBezTo>
                  <a:pt x="6094" y="6969"/>
                  <a:pt x="6031" y="6969"/>
                  <a:pt x="6063" y="6938"/>
                </a:cubicBezTo>
                <a:cubicBezTo>
                  <a:pt x="6063" y="6875"/>
                  <a:pt x="6125" y="6875"/>
                  <a:pt x="6156" y="6844"/>
                </a:cubicBezTo>
                <a:cubicBezTo>
                  <a:pt x="6188" y="6844"/>
                  <a:pt x="6219" y="6844"/>
                  <a:pt x="6219" y="6875"/>
                </a:cubicBezTo>
                <a:close/>
                <a:moveTo>
                  <a:pt x="5875" y="6781"/>
                </a:moveTo>
                <a:cubicBezTo>
                  <a:pt x="5969" y="6750"/>
                  <a:pt x="6031" y="6750"/>
                  <a:pt x="6125" y="6781"/>
                </a:cubicBezTo>
                <a:cubicBezTo>
                  <a:pt x="6094" y="6813"/>
                  <a:pt x="6094" y="6813"/>
                  <a:pt x="6094" y="6813"/>
                </a:cubicBezTo>
                <a:cubicBezTo>
                  <a:pt x="6031" y="6844"/>
                  <a:pt x="5969" y="6875"/>
                  <a:pt x="5875" y="6844"/>
                </a:cubicBezTo>
                <a:cubicBezTo>
                  <a:pt x="5875" y="6844"/>
                  <a:pt x="5875" y="6813"/>
                  <a:pt x="5875" y="6781"/>
                </a:cubicBezTo>
                <a:close/>
                <a:moveTo>
                  <a:pt x="5938" y="6938"/>
                </a:moveTo>
                <a:cubicBezTo>
                  <a:pt x="5969" y="7000"/>
                  <a:pt x="5906" y="7031"/>
                  <a:pt x="5844" y="7031"/>
                </a:cubicBezTo>
                <a:cubicBezTo>
                  <a:pt x="5813" y="7031"/>
                  <a:pt x="5750" y="7031"/>
                  <a:pt x="5719" y="6969"/>
                </a:cubicBezTo>
                <a:cubicBezTo>
                  <a:pt x="5781" y="6969"/>
                  <a:pt x="5813" y="6938"/>
                  <a:pt x="5844" y="6938"/>
                </a:cubicBezTo>
                <a:cubicBezTo>
                  <a:pt x="5875" y="6938"/>
                  <a:pt x="5938" y="6875"/>
                  <a:pt x="5938" y="6938"/>
                </a:cubicBezTo>
                <a:close/>
                <a:moveTo>
                  <a:pt x="5813" y="4781"/>
                </a:moveTo>
                <a:cubicBezTo>
                  <a:pt x="5750" y="4844"/>
                  <a:pt x="5688" y="4781"/>
                  <a:pt x="5625" y="4750"/>
                </a:cubicBezTo>
                <a:cubicBezTo>
                  <a:pt x="5688" y="4750"/>
                  <a:pt x="5719" y="4656"/>
                  <a:pt x="5813" y="4719"/>
                </a:cubicBezTo>
                <a:cubicBezTo>
                  <a:pt x="5813" y="4750"/>
                  <a:pt x="5844" y="4750"/>
                  <a:pt x="5813" y="4781"/>
                </a:cubicBezTo>
                <a:close/>
                <a:moveTo>
                  <a:pt x="5625" y="2906"/>
                </a:moveTo>
                <a:cubicBezTo>
                  <a:pt x="5656" y="2906"/>
                  <a:pt x="5688" y="2906"/>
                  <a:pt x="5688" y="2906"/>
                </a:cubicBezTo>
                <a:cubicBezTo>
                  <a:pt x="5719" y="2938"/>
                  <a:pt x="5719" y="2969"/>
                  <a:pt x="5688" y="3000"/>
                </a:cubicBezTo>
                <a:cubicBezTo>
                  <a:pt x="5625" y="3031"/>
                  <a:pt x="5719" y="3125"/>
                  <a:pt x="5625" y="3156"/>
                </a:cubicBezTo>
                <a:cubicBezTo>
                  <a:pt x="5563" y="3094"/>
                  <a:pt x="5625" y="3031"/>
                  <a:pt x="5594" y="2969"/>
                </a:cubicBezTo>
                <a:cubicBezTo>
                  <a:pt x="5563" y="2969"/>
                  <a:pt x="5594" y="2938"/>
                  <a:pt x="5625" y="2906"/>
                </a:cubicBezTo>
                <a:close/>
                <a:moveTo>
                  <a:pt x="5438" y="4000"/>
                </a:moveTo>
                <a:cubicBezTo>
                  <a:pt x="5500" y="4000"/>
                  <a:pt x="5594" y="3969"/>
                  <a:pt x="5656" y="3938"/>
                </a:cubicBezTo>
                <a:cubicBezTo>
                  <a:pt x="5688" y="3938"/>
                  <a:pt x="5719" y="3906"/>
                  <a:pt x="5750" y="3938"/>
                </a:cubicBezTo>
                <a:cubicBezTo>
                  <a:pt x="5781" y="3969"/>
                  <a:pt x="5750" y="4000"/>
                  <a:pt x="5719" y="4031"/>
                </a:cubicBezTo>
                <a:cubicBezTo>
                  <a:pt x="5625" y="4094"/>
                  <a:pt x="5531" y="4094"/>
                  <a:pt x="5469" y="4094"/>
                </a:cubicBezTo>
                <a:cubicBezTo>
                  <a:pt x="5469" y="4188"/>
                  <a:pt x="5531" y="4156"/>
                  <a:pt x="5563" y="4188"/>
                </a:cubicBezTo>
                <a:cubicBezTo>
                  <a:pt x="5500" y="4250"/>
                  <a:pt x="5469" y="4188"/>
                  <a:pt x="5406" y="4188"/>
                </a:cubicBezTo>
                <a:cubicBezTo>
                  <a:pt x="5344" y="4188"/>
                  <a:pt x="5281" y="4125"/>
                  <a:pt x="5313" y="4094"/>
                </a:cubicBezTo>
                <a:cubicBezTo>
                  <a:pt x="5313" y="4031"/>
                  <a:pt x="5375" y="4031"/>
                  <a:pt x="5438" y="4000"/>
                </a:cubicBezTo>
                <a:close/>
                <a:moveTo>
                  <a:pt x="5219" y="6219"/>
                </a:moveTo>
                <a:cubicBezTo>
                  <a:pt x="5250" y="6188"/>
                  <a:pt x="5250" y="6125"/>
                  <a:pt x="5313" y="6125"/>
                </a:cubicBezTo>
                <a:cubicBezTo>
                  <a:pt x="5375" y="6156"/>
                  <a:pt x="5469" y="6188"/>
                  <a:pt x="5531" y="6188"/>
                </a:cubicBezTo>
                <a:cubicBezTo>
                  <a:pt x="5438" y="6281"/>
                  <a:pt x="5344" y="6188"/>
                  <a:pt x="5250" y="6250"/>
                </a:cubicBezTo>
                <a:cubicBezTo>
                  <a:pt x="5250" y="6281"/>
                  <a:pt x="5219" y="6250"/>
                  <a:pt x="5219" y="6219"/>
                </a:cubicBezTo>
                <a:close/>
                <a:moveTo>
                  <a:pt x="4344" y="4063"/>
                </a:moveTo>
                <a:cubicBezTo>
                  <a:pt x="4344" y="4094"/>
                  <a:pt x="4344" y="4156"/>
                  <a:pt x="4313" y="4156"/>
                </a:cubicBezTo>
                <a:cubicBezTo>
                  <a:pt x="4250" y="4188"/>
                  <a:pt x="4188" y="4188"/>
                  <a:pt x="4219" y="4281"/>
                </a:cubicBezTo>
                <a:cubicBezTo>
                  <a:pt x="4125" y="4156"/>
                  <a:pt x="4125" y="4094"/>
                  <a:pt x="4250" y="4063"/>
                </a:cubicBezTo>
                <a:cubicBezTo>
                  <a:pt x="4281" y="4063"/>
                  <a:pt x="4313" y="4000"/>
                  <a:pt x="4344" y="4063"/>
                </a:cubicBezTo>
                <a:close/>
                <a:moveTo>
                  <a:pt x="3438" y="3781"/>
                </a:moveTo>
                <a:cubicBezTo>
                  <a:pt x="3438" y="3781"/>
                  <a:pt x="3438" y="3781"/>
                  <a:pt x="3406" y="3750"/>
                </a:cubicBezTo>
                <a:cubicBezTo>
                  <a:pt x="3531" y="3719"/>
                  <a:pt x="3625" y="3656"/>
                  <a:pt x="3750" y="3625"/>
                </a:cubicBezTo>
                <a:cubicBezTo>
                  <a:pt x="3813" y="3625"/>
                  <a:pt x="3813" y="3594"/>
                  <a:pt x="3844" y="3656"/>
                </a:cubicBezTo>
                <a:cubicBezTo>
                  <a:pt x="3875" y="3688"/>
                  <a:pt x="3938" y="3656"/>
                  <a:pt x="3969" y="3656"/>
                </a:cubicBezTo>
                <a:cubicBezTo>
                  <a:pt x="4000" y="3688"/>
                  <a:pt x="4063" y="3656"/>
                  <a:pt x="4094" y="3688"/>
                </a:cubicBezTo>
                <a:cubicBezTo>
                  <a:pt x="4125" y="3750"/>
                  <a:pt x="4031" y="3750"/>
                  <a:pt x="4000" y="3781"/>
                </a:cubicBezTo>
                <a:cubicBezTo>
                  <a:pt x="4000" y="3813"/>
                  <a:pt x="3969" y="3813"/>
                  <a:pt x="3969" y="3844"/>
                </a:cubicBezTo>
                <a:cubicBezTo>
                  <a:pt x="4063" y="3875"/>
                  <a:pt x="4156" y="3781"/>
                  <a:pt x="4250" y="3813"/>
                </a:cubicBezTo>
                <a:cubicBezTo>
                  <a:pt x="4188" y="3906"/>
                  <a:pt x="4094" y="3938"/>
                  <a:pt x="3969" y="3969"/>
                </a:cubicBezTo>
                <a:cubicBezTo>
                  <a:pt x="3969" y="3969"/>
                  <a:pt x="3906" y="3969"/>
                  <a:pt x="3906" y="4000"/>
                </a:cubicBezTo>
                <a:cubicBezTo>
                  <a:pt x="3938" y="4063"/>
                  <a:pt x="3969" y="4031"/>
                  <a:pt x="4000" y="4031"/>
                </a:cubicBezTo>
                <a:cubicBezTo>
                  <a:pt x="4031" y="4000"/>
                  <a:pt x="4094" y="4000"/>
                  <a:pt x="4094" y="4063"/>
                </a:cubicBezTo>
                <a:cubicBezTo>
                  <a:pt x="4094" y="4125"/>
                  <a:pt x="4031" y="4094"/>
                  <a:pt x="4000" y="4094"/>
                </a:cubicBezTo>
                <a:cubicBezTo>
                  <a:pt x="3875" y="4125"/>
                  <a:pt x="3844" y="4031"/>
                  <a:pt x="3750" y="4000"/>
                </a:cubicBezTo>
                <a:cubicBezTo>
                  <a:pt x="3813" y="3906"/>
                  <a:pt x="3938" y="3938"/>
                  <a:pt x="3969" y="3844"/>
                </a:cubicBezTo>
                <a:cubicBezTo>
                  <a:pt x="3844" y="3813"/>
                  <a:pt x="3719" y="3906"/>
                  <a:pt x="3594" y="3938"/>
                </a:cubicBezTo>
                <a:cubicBezTo>
                  <a:pt x="3406" y="3969"/>
                  <a:pt x="3406" y="3969"/>
                  <a:pt x="3438" y="3781"/>
                </a:cubicBezTo>
                <a:close/>
                <a:moveTo>
                  <a:pt x="4031" y="5625"/>
                </a:moveTo>
                <a:cubicBezTo>
                  <a:pt x="3969" y="5625"/>
                  <a:pt x="3906" y="5625"/>
                  <a:pt x="3875" y="5625"/>
                </a:cubicBezTo>
                <a:cubicBezTo>
                  <a:pt x="3813" y="5656"/>
                  <a:pt x="3781" y="5625"/>
                  <a:pt x="3781" y="5625"/>
                </a:cubicBezTo>
                <a:cubicBezTo>
                  <a:pt x="3844" y="5563"/>
                  <a:pt x="3906" y="5500"/>
                  <a:pt x="3938" y="5500"/>
                </a:cubicBezTo>
                <a:cubicBezTo>
                  <a:pt x="4000" y="5469"/>
                  <a:pt x="4063" y="5531"/>
                  <a:pt x="4094" y="5563"/>
                </a:cubicBezTo>
                <a:cubicBezTo>
                  <a:pt x="4094" y="5594"/>
                  <a:pt x="4063" y="5625"/>
                  <a:pt x="4031" y="5625"/>
                </a:cubicBezTo>
                <a:close/>
                <a:moveTo>
                  <a:pt x="4125" y="7031"/>
                </a:moveTo>
                <a:cubicBezTo>
                  <a:pt x="4094" y="7094"/>
                  <a:pt x="4031" y="7156"/>
                  <a:pt x="3969" y="7156"/>
                </a:cubicBezTo>
                <a:cubicBezTo>
                  <a:pt x="3906" y="7156"/>
                  <a:pt x="3875" y="7219"/>
                  <a:pt x="3844" y="7156"/>
                </a:cubicBezTo>
                <a:cubicBezTo>
                  <a:pt x="3813" y="7125"/>
                  <a:pt x="3813" y="7094"/>
                  <a:pt x="3844" y="7063"/>
                </a:cubicBezTo>
                <a:cubicBezTo>
                  <a:pt x="3875" y="7031"/>
                  <a:pt x="3906" y="6969"/>
                  <a:pt x="3969" y="7000"/>
                </a:cubicBezTo>
                <a:cubicBezTo>
                  <a:pt x="4031" y="7000"/>
                  <a:pt x="4063" y="7031"/>
                  <a:pt x="4125" y="7031"/>
                </a:cubicBezTo>
                <a:close/>
                <a:moveTo>
                  <a:pt x="3250" y="4188"/>
                </a:moveTo>
                <a:cubicBezTo>
                  <a:pt x="3375" y="4125"/>
                  <a:pt x="3438" y="4219"/>
                  <a:pt x="3531" y="4250"/>
                </a:cubicBezTo>
                <a:cubicBezTo>
                  <a:pt x="3469" y="4375"/>
                  <a:pt x="3313" y="4344"/>
                  <a:pt x="3219" y="4438"/>
                </a:cubicBezTo>
                <a:cubicBezTo>
                  <a:pt x="3219" y="4438"/>
                  <a:pt x="3188" y="4438"/>
                  <a:pt x="3188" y="4438"/>
                </a:cubicBezTo>
                <a:cubicBezTo>
                  <a:pt x="3188" y="4219"/>
                  <a:pt x="3031" y="4438"/>
                  <a:pt x="3000" y="4344"/>
                </a:cubicBezTo>
                <a:cubicBezTo>
                  <a:pt x="3063" y="4281"/>
                  <a:pt x="3188" y="4250"/>
                  <a:pt x="3250" y="4188"/>
                </a:cubicBezTo>
                <a:close/>
                <a:moveTo>
                  <a:pt x="2938" y="4469"/>
                </a:moveTo>
                <a:cubicBezTo>
                  <a:pt x="2969" y="4469"/>
                  <a:pt x="3000" y="4500"/>
                  <a:pt x="3000" y="4531"/>
                </a:cubicBezTo>
                <a:cubicBezTo>
                  <a:pt x="3000" y="4594"/>
                  <a:pt x="2969" y="4625"/>
                  <a:pt x="2938" y="4625"/>
                </a:cubicBezTo>
                <a:cubicBezTo>
                  <a:pt x="2875" y="4625"/>
                  <a:pt x="2844" y="4625"/>
                  <a:pt x="2844" y="4563"/>
                </a:cubicBezTo>
                <a:cubicBezTo>
                  <a:pt x="2844" y="4531"/>
                  <a:pt x="2875" y="4469"/>
                  <a:pt x="2938" y="4469"/>
                </a:cubicBezTo>
                <a:close/>
                <a:moveTo>
                  <a:pt x="2469" y="4875"/>
                </a:moveTo>
                <a:cubicBezTo>
                  <a:pt x="2438" y="4844"/>
                  <a:pt x="2406" y="4906"/>
                  <a:pt x="2375" y="4844"/>
                </a:cubicBezTo>
                <a:cubicBezTo>
                  <a:pt x="2375" y="4813"/>
                  <a:pt x="2438" y="4781"/>
                  <a:pt x="2469" y="4750"/>
                </a:cubicBezTo>
                <a:cubicBezTo>
                  <a:pt x="2500" y="4719"/>
                  <a:pt x="2531" y="4688"/>
                  <a:pt x="2594" y="4719"/>
                </a:cubicBezTo>
                <a:cubicBezTo>
                  <a:pt x="2625" y="4719"/>
                  <a:pt x="2625" y="4750"/>
                  <a:pt x="2594" y="4781"/>
                </a:cubicBezTo>
                <a:cubicBezTo>
                  <a:pt x="2563" y="4813"/>
                  <a:pt x="2563" y="4906"/>
                  <a:pt x="2469" y="4875"/>
                </a:cubicBezTo>
                <a:close/>
                <a:moveTo>
                  <a:pt x="2656" y="5438"/>
                </a:moveTo>
                <a:cubicBezTo>
                  <a:pt x="2656" y="5469"/>
                  <a:pt x="2688" y="5531"/>
                  <a:pt x="2594" y="5531"/>
                </a:cubicBezTo>
                <a:cubicBezTo>
                  <a:pt x="2531" y="5531"/>
                  <a:pt x="2563" y="5469"/>
                  <a:pt x="2563" y="5438"/>
                </a:cubicBezTo>
                <a:cubicBezTo>
                  <a:pt x="2563" y="5281"/>
                  <a:pt x="2625" y="5219"/>
                  <a:pt x="2750" y="5250"/>
                </a:cubicBezTo>
                <a:cubicBezTo>
                  <a:pt x="2813" y="5250"/>
                  <a:pt x="2844" y="5219"/>
                  <a:pt x="2844" y="5281"/>
                </a:cubicBezTo>
                <a:cubicBezTo>
                  <a:pt x="2844" y="5344"/>
                  <a:pt x="2813" y="5344"/>
                  <a:pt x="2781" y="5344"/>
                </a:cubicBezTo>
                <a:cubicBezTo>
                  <a:pt x="2688" y="5344"/>
                  <a:pt x="2656" y="5375"/>
                  <a:pt x="2656" y="5438"/>
                </a:cubicBezTo>
                <a:close/>
                <a:moveTo>
                  <a:pt x="2844" y="5906"/>
                </a:moveTo>
                <a:cubicBezTo>
                  <a:pt x="2813" y="5875"/>
                  <a:pt x="2781" y="5875"/>
                  <a:pt x="2781" y="5844"/>
                </a:cubicBezTo>
                <a:cubicBezTo>
                  <a:pt x="2781" y="5781"/>
                  <a:pt x="2813" y="5781"/>
                  <a:pt x="2875" y="5781"/>
                </a:cubicBezTo>
                <a:cubicBezTo>
                  <a:pt x="2969" y="5781"/>
                  <a:pt x="3000" y="5750"/>
                  <a:pt x="2969" y="5656"/>
                </a:cubicBezTo>
                <a:cubicBezTo>
                  <a:pt x="2969" y="5625"/>
                  <a:pt x="2969" y="5594"/>
                  <a:pt x="3031" y="5563"/>
                </a:cubicBezTo>
                <a:cubicBezTo>
                  <a:pt x="3094" y="5563"/>
                  <a:pt x="3094" y="5594"/>
                  <a:pt x="3094" y="5656"/>
                </a:cubicBezTo>
                <a:cubicBezTo>
                  <a:pt x="3094" y="5688"/>
                  <a:pt x="3094" y="5688"/>
                  <a:pt x="3094" y="5719"/>
                </a:cubicBezTo>
                <a:cubicBezTo>
                  <a:pt x="3094" y="5875"/>
                  <a:pt x="3000" y="5938"/>
                  <a:pt x="2844" y="5906"/>
                </a:cubicBezTo>
                <a:close/>
                <a:moveTo>
                  <a:pt x="3125" y="10031"/>
                </a:moveTo>
                <a:cubicBezTo>
                  <a:pt x="3094" y="10031"/>
                  <a:pt x="3031" y="10000"/>
                  <a:pt x="3063" y="9969"/>
                </a:cubicBezTo>
                <a:cubicBezTo>
                  <a:pt x="3063" y="9938"/>
                  <a:pt x="3063" y="9875"/>
                  <a:pt x="3125" y="9875"/>
                </a:cubicBezTo>
                <a:cubicBezTo>
                  <a:pt x="3156" y="9875"/>
                  <a:pt x="3188" y="9906"/>
                  <a:pt x="3188" y="9938"/>
                </a:cubicBezTo>
                <a:cubicBezTo>
                  <a:pt x="3188" y="9969"/>
                  <a:pt x="3188" y="10031"/>
                  <a:pt x="3125" y="10031"/>
                </a:cubicBezTo>
                <a:close/>
                <a:moveTo>
                  <a:pt x="3281" y="4906"/>
                </a:moveTo>
                <a:cubicBezTo>
                  <a:pt x="3219" y="4906"/>
                  <a:pt x="3156" y="4875"/>
                  <a:pt x="3125" y="4938"/>
                </a:cubicBezTo>
                <a:cubicBezTo>
                  <a:pt x="3125" y="4969"/>
                  <a:pt x="3094" y="4969"/>
                  <a:pt x="3063" y="4938"/>
                </a:cubicBezTo>
                <a:cubicBezTo>
                  <a:pt x="3063" y="4906"/>
                  <a:pt x="3031" y="4875"/>
                  <a:pt x="3063" y="4844"/>
                </a:cubicBezTo>
                <a:cubicBezTo>
                  <a:pt x="3063" y="4813"/>
                  <a:pt x="3281" y="4781"/>
                  <a:pt x="3313" y="4813"/>
                </a:cubicBezTo>
                <a:cubicBezTo>
                  <a:pt x="3313" y="4813"/>
                  <a:pt x="3313" y="4844"/>
                  <a:pt x="3313" y="4844"/>
                </a:cubicBezTo>
                <a:cubicBezTo>
                  <a:pt x="3313" y="4906"/>
                  <a:pt x="3313" y="4906"/>
                  <a:pt x="3281" y="4906"/>
                </a:cubicBezTo>
                <a:close/>
                <a:moveTo>
                  <a:pt x="3375" y="4656"/>
                </a:moveTo>
                <a:cubicBezTo>
                  <a:pt x="3500" y="4563"/>
                  <a:pt x="3594" y="4500"/>
                  <a:pt x="3688" y="4500"/>
                </a:cubicBezTo>
                <a:cubicBezTo>
                  <a:pt x="3719" y="4500"/>
                  <a:pt x="3750" y="4500"/>
                  <a:pt x="3750" y="4531"/>
                </a:cubicBezTo>
                <a:cubicBezTo>
                  <a:pt x="3781" y="4563"/>
                  <a:pt x="3750" y="4563"/>
                  <a:pt x="3719" y="4594"/>
                </a:cubicBezTo>
                <a:cubicBezTo>
                  <a:pt x="3656" y="4750"/>
                  <a:pt x="3531" y="4656"/>
                  <a:pt x="3375" y="4656"/>
                </a:cubicBezTo>
                <a:close/>
                <a:moveTo>
                  <a:pt x="3563" y="5719"/>
                </a:moveTo>
                <a:cubicBezTo>
                  <a:pt x="3656" y="5719"/>
                  <a:pt x="3750" y="5719"/>
                  <a:pt x="3875" y="5719"/>
                </a:cubicBezTo>
                <a:cubicBezTo>
                  <a:pt x="3750" y="5844"/>
                  <a:pt x="3625" y="5844"/>
                  <a:pt x="3563" y="5719"/>
                </a:cubicBezTo>
                <a:close/>
                <a:moveTo>
                  <a:pt x="4125" y="9563"/>
                </a:moveTo>
                <a:cubicBezTo>
                  <a:pt x="4125" y="9594"/>
                  <a:pt x="4094" y="9625"/>
                  <a:pt x="4063" y="9625"/>
                </a:cubicBezTo>
                <a:cubicBezTo>
                  <a:pt x="4031" y="9625"/>
                  <a:pt x="4000" y="9625"/>
                  <a:pt x="4000" y="9625"/>
                </a:cubicBezTo>
                <a:cubicBezTo>
                  <a:pt x="3906" y="9563"/>
                  <a:pt x="3875" y="9594"/>
                  <a:pt x="3875" y="9719"/>
                </a:cubicBezTo>
                <a:cubicBezTo>
                  <a:pt x="3750" y="9656"/>
                  <a:pt x="3813" y="9594"/>
                  <a:pt x="3844" y="9531"/>
                </a:cubicBezTo>
                <a:cubicBezTo>
                  <a:pt x="3875" y="9438"/>
                  <a:pt x="3969" y="9438"/>
                  <a:pt x="4063" y="9438"/>
                </a:cubicBezTo>
                <a:cubicBezTo>
                  <a:pt x="4094" y="9469"/>
                  <a:pt x="3969" y="9531"/>
                  <a:pt x="4094" y="9531"/>
                </a:cubicBezTo>
                <a:cubicBezTo>
                  <a:pt x="4094" y="9531"/>
                  <a:pt x="4156" y="9531"/>
                  <a:pt x="4125" y="9563"/>
                </a:cubicBezTo>
                <a:close/>
                <a:moveTo>
                  <a:pt x="4063" y="5375"/>
                </a:moveTo>
                <a:cubicBezTo>
                  <a:pt x="4031" y="5281"/>
                  <a:pt x="4063" y="5219"/>
                  <a:pt x="4094" y="5219"/>
                </a:cubicBezTo>
                <a:cubicBezTo>
                  <a:pt x="4188" y="5156"/>
                  <a:pt x="4250" y="5281"/>
                  <a:pt x="4375" y="5281"/>
                </a:cubicBezTo>
                <a:cubicBezTo>
                  <a:pt x="4250" y="5375"/>
                  <a:pt x="4125" y="5250"/>
                  <a:pt x="4063" y="5375"/>
                </a:cubicBezTo>
                <a:close/>
                <a:moveTo>
                  <a:pt x="4344" y="3438"/>
                </a:moveTo>
                <a:cubicBezTo>
                  <a:pt x="4344" y="3375"/>
                  <a:pt x="4375" y="3375"/>
                  <a:pt x="4406" y="3375"/>
                </a:cubicBezTo>
                <a:cubicBezTo>
                  <a:pt x="4406" y="3375"/>
                  <a:pt x="4406" y="3375"/>
                  <a:pt x="4406" y="3375"/>
                </a:cubicBezTo>
                <a:cubicBezTo>
                  <a:pt x="4563" y="3219"/>
                  <a:pt x="4656" y="3375"/>
                  <a:pt x="4781" y="3406"/>
                </a:cubicBezTo>
                <a:cubicBezTo>
                  <a:pt x="4750" y="3500"/>
                  <a:pt x="4844" y="3563"/>
                  <a:pt x="4875" y="3625"/>
                </a:cubicBezTo>
                <a:cubicBezTo>
                  <a:pt x="4875" y="3656"/>
                  <a:pt x="4844" y="3688"/>
                  <a:pt x="4781" y="3688"/>
                </a:cubicBezTo>
                <a:cubicBezTo>
                  <a:pt x="4750" y="3688"/>
                  <a:pt x="4719" y="3656"/>
                  <a:pt x="4688" y="3719"/>
                </a:cubicBezTo>
                <a:cubicBezTo>
                  <a:pt x="4656" y="3719"/>
                  <a:pt x="4625" y="3719"/>
                  <a:pt x="4594" y="3688"/>
                </a:cubicBezTo>
                <a:cubicBezTo>
                  <a:pt x="4594" y="3688"/>
                  <a:pt x="4625" y="3656"/>
                  <a:pt x="4625" y="3656"/>
                </a:cubicBezTo>
                <a:cubicBezTo>
                  <a:pt x="4688" y="3594"/>
                  <a:pt x="4719" y="3594"/>
                  <a:pt x="4750" y="3500"/>
                </a:cubicBezTo>
                <a:cubicBezTo>
                  <a:pt x="4625" y="3500"/>
                  <a:pt x="4531" y="3469"/>
                  <a:pt x="4406" y="3500"/>
                </a:cubicBezTo>
                <a:cubicBezTo>
                  <a:pt x="4375" y="3500"/>
                  <a:pt x="4344" y="3469"/>
                  <a:pt x="4344" y="3438"/>
                </a:cubicBezTo>
                <a:close/>
                <a:moveTo>
                  <a:pt x="4531" y="5125"/>
                </a:moveTo>
                <a:cubicBezTo>
                  <a:pt x="4563" y="5094"/>
                  <a:pt x="4594" y="5031"/>
                  <a:pt x="4625" y="5000"/>
                </a:cubicBezTo>
                <a:cubicBezTo>
                  <a:pt x="4625" y="4969"/>
                  <a:pt x="4656" y="4969"/>
                  <a:pt x="4688" y="4969"/>
                </a:cubicBezTo>
                <a:cubicBezTo>
                  <a:pt x="4688" y="4969"/>
                  <a:pt x="4719" y="5000"/>
                  <a:pt x="4719" y="5031"/>
                </a:cubicBezTo>
                <a:cubicBezTo>
                  <a:pt x="4625" y="5063"/>
                  <a:pt x="4656" y="5156"/>
                  <a:pt x="4625" y="5219"/>
                </a:cubicBezTo>
                <a:cubicBezTo>
                  <a:pt x="4594" y="5250"/>
                  <a:pt x="4500" y="5281"/>
                  <a:pt x="4469" y="5219"/>
                </a:cubicBezTo>
                <a:cubicBezTo>
                  <a:pt x="4438" y="5156"/>
                  <a:pt x="4469" y="5125"/>
                  <a:pt x="4531" y="5125"/>
                </a:cubicBezTo>
                <a:close/>
                <a:moveTo>
                  <a:pt x="4563" y="9313"/>
                </a:moveTo>
                <a:cubicBezTo>
                  <a:pt x="4531" y="9344"/>
                  <a:pt x="4500" y="9375"/>
                  <a:pt x="4469" y="9313"/>
                </a:cubicBezTo>
                <a:cubicBezTo>
                  <a:pt x="4469" y="9281"/>
                  <a:pt x="4469" y="9250"/>
                  <a:pt x="4500" y="9219"/>
                </a:cubicBezTo>
                <a:cubicBezTo>
                  <a:pt x="4563" y="9188"/>
                  <a:pt x="4625" y="9156"/>
                  <a:pt x="4719" y="9125"/>
                </a:cubicBezTo>
                <a:cubicBezTo>
                  <a:pt x="4688" y="9250"/>
                  <a:pt x="4625" y="9281"/>
                  <a:pt x="4563" y="9313"/>
                </a:cubicBezTo>
                <a:close/>
                <a:moveTo>
                  <a:pt x="4938" y="3875"/>
                </a:moveTo>
                <a:cubicBezTo>
                  <a:pt x="4875" y="3938"/>
                  <a:pt x="4781" y="3938"/>
                  <a:pt x="4688" y="3969"/>
                </a:cubicBezTo>
                <a:cubicBezTo>
                  <a:pt x="4688" y="3969"/>
                  <a:pt x="4656" y="3938"/>
                  <a:pt x="4656" y="3938"/>
                </a:cubicBezTo>
                <a:cubicBezTo>
                  <a:pt x="4719" y="3875"/>
                  <a:pt x="4781" y="3875"/>
                  <a:pt x="4844" y="3844"/>
                </a:cubicBezTo>
                <a:cubicBezTo>
                  <a:pt x="4906" y="3813"/>
                  <a:pt x="4938" y="3781"/>
                  <a:pt x="5000" y="3844"/>
                </a:cubicBezTo>
                <a:cubicBezTo>
                  <a:pt x="4969" y="3844"/>
                  <a:pt x="4969" y="3875"/>
                  <a:pt x="4938" y="3875"/>
                </a:cubicBezTo>
                <a:close/>
                <a:moveTo>
                  <a:pt x="6031" y="7500"/>
                </a:moveTo>
                <a:cubicBezTo>
                  <a:pt x="6031" y="7500"/>
                  <a:pt x="6031" y="7500"/>
                  <a:pt x="6031" y="7500"/>
                </a:cubicBezTo>
                <a:cubicBezTo>
                  <a:pt x="6031" y="7500"/>
                  <a:pt x="6031" y="7500"/>
                  <a:pt x="6031" y="7500"/>
                </a:cubicBezTo>
                <a:close/>
                <a:moveTo>
                  <a:pt x="6188" y="8500"/>
                </a:moveTo>
                <a:cubicBezTo>
                  <a:pt x="6281" y="8375"/>
                  <a:pt x="6406" y="8344"/>
                  <a:pt x="6656" y="8375"/>
                </a:cubicBezTo>
                <a:cubicBezTo>
                  <a:pt x="6500" y="8469"/>
                  <a:pt x="6344" y="8438"/>
                  <a:pt x="6188" y="8500"/>
                </a:cubicBezTo>
                <a:close/>
                <a:moveTo>
                  <a:pt x="7000" y="8438"/>
                </a:moveTo>
                <a:cubicBezTo>
                  <a:pt x="6938" y="8500"/>
                  <a:pt x="6875" y="8500"/>
                  <a:pt x="6813" y="8438"/>
                </a:cubicBezTo>
                <a:cubicBezTo>
                  <a:pt x="6875" y="8375"/>
                  <a:pt x="6938" y="8406"/>
                  <a:pt x="6969" y="8375"/>
                </a:cubicBezTo>
                <a:cubicBezTo>
                  <a:pt x="7000" y="8344"/>
                  <a:pt x="7063" y="8313"/>
                  <a:pt x="7063" y="8375"/>
                </a:cubicBezTo>
                <a:cubicBezTo>
                  <a:pt x="7094" y="8438"/>
                  <a:pt x="7031" y="8438"/>
                  <a:pt x="7000" y="8438"/>
                </a:cubicBezTo>
                <a:close/>
                <a:moveTo>
                  <a:pt x="6125" y="7969"/>
                </a:moveTo>
                <a:cubicBezTo>
                  <a:pt x="6156" y="7906"/>
                  <a:pt x="6188" y="7906"/>
                  <a:pt x="6219" y="7875"/>
                </a:cubicBezTo>
                <a:cubicBezTo>
                  <a:pt x="6469" y="7844"/>
                  <a:pt x="6688" y="7813"/>
                  <a:pt x="6906" y="7781"/>
                </a:cubicBezTo>
                <a:cubicBezTo>
                  <a:pt x="6969" y="7781"/>
                  <a:pt x="6969" y="7750"/>
                  <a:pt x="7000" y="7719"/>
                </a:cubicBezTo>
                <a:cubicBezTo>
                  <a:pt x="7031" y="7656"/>
                  <a:pt x="6969" y="7656"/>
                  <a:pt x="6969" y="7625"/>
                </a:cubicBezTo>
                <a:cubicBezTo>
                  <a:pt x="6938" y="7625"/>
                  <a:pt x="6938" y="7625"/>
                  <a:pt x="6969" y="7563"/>
                </a:cubicBezTo>
                <a:cubicBezTo>
                  <a:pt x="7063" y="7406"/>
                  <a:pt x="7219" y="7438"/>
                  <a:pt x="7344" y="7438"/>
                </a:cubicBezTo>
                <a:cubicBezTo>
                  <a:pt x="7406" y="7438"/>
                  <a:pt x="7469" y="7438"/>
                  <a:pt x="7469" y="7500"/>
                </a:cubicBezTo>
                <a:cubicBezTo>
                  <a:pt x="7500" y="7563"/>
                  <a:pt x="7563" y="7531"/>
                  <a:pt x="7594" y="7594"/>
                </a:cubicBezTo>
                <a:cubicBezTo>
                  <a:pt x="7156" y="7875"/>
                  <a:pt x="6625" y="7875"/>
                  <a:pt x="6125" y="7969"/>
                </a:cubicBezTo>
                <a:close/>
                <a:moveTo>
                  <a:pt x="6188" y="7719"/>
                </a:moveTo>
                <a:cubicBezTo>
                  <a:pt x="6219" y="7594"/>
                  <a:pt x="6344" y="7656"/>
                  <a:pt x="6438" y="7594"/>
                </a:cubicBezTo>
                <a:cubicBezTo>
                  <a:pt x="6469" y="7594"/>
                  <a:pt x="6469" y="7625"/>
                  <a:pt x="6469" y="7625"/>
                </a:cubicBezTo>
                <a:cubicBezTo>
                  <a:pt x="6438" y="7719"/>
                  <a:pt x="6344" y="7750"/>
                  <a:pt x="6250" y="7750"/>
                </a:cubicBezTo>
                <a:cubicBezTo>
                  <a:pt x="6219" y="7750"/>
                  <a:pt x="6156" y="7750"/>
                  <a:pt x="6188" y="7719"/>
                </a:cubicBezTo>
                <a:close/>
                <a:moveTo>
                  <a:pt x="8469" y="9063"/>
                </a:moveTo>
                <a:cubicBezTo>
                  <a:pt x="8375" y="9031"/>
                  <a:pt x="8281" y="9031"/>
                  <a:pt x="8344" y="8906"/>
                </a:cubicBezTo>
                <a:cubicBezTo>
                  <a:pt x="8344" y="8844"/>
                  <a:pt x="8344" y="8813"/>
                  <a:pt x="8406" y="8781"/>
                </a:cubicBezTo>
                <a:cubicBezTo>
                  <a:pt x="8469" y="8844"/>
                  <a:pt x="8563" y="8844"/>
                  <a:pt x="8563" y="8938"/>
                </a:cubicBezTo>
                <a:cubicBezTo>
                  <a:pt x="8563" y="8969"/>
                  <a:pt x="8563" y="9063"/>
                  <a:pt x="8469" y="9063"/>
                </a:cubicBezTo>
                <a:close/>
                <a:moveTo>
                  <a:pt x="8781" y="7938"/>
                </a:moveTo>
                <a:cubicBezTo>
                  <a:pt x="8719" y="7906"/>
                  <a:pt x="8656" y="7875"/>
                  <a:pt x="8594" y="7875"/>
                </a:cubicBezTo>
                <a:cubicBezTo>
                  <a:pt x="8688" y="7781"/>
                  <a:pt x="8781" y="7844"/>
                  <a:pt x="8875" y="7844"/>
                </a:cubicBezTo>
                <a:cubicBezTo>
                  <a:pt x="8875" y="7938"/>
                  <a:pt x="8844" y="7969"/>
                  <a:pt x="8781" y="7938"/>
                </a:cubicBezTo>
                <a:close/>
                <a:moveTo>
                  <a:pt x="9156" y="8906"/>
                </a:moveTo>
                <a:cubicBezTo>
                  <a:pt x="9094" y="8906"/>
                  <a:pt x="9000" y="8969"/>
                  <a:pt x="8969" y="8875"/>
                </a:cubicBezTo>
                <a:cubicBezTo>
                  <a:pt x="8969" y="8781"/>
                  <a:pt x="9063" y="8844"/>
                  <a:pt x="9125" y="8781"/>
                </a:cubicBezTo>
                <a:cubicBezTo>
                  <a:pt x="9156" y="8750"/>
                  <a:pt x="9219" y="8750"/>
                  <a:pt x="9281" y="8781"/>
                </a:cubicBezTo>
                <a:cubicBezTo>
                  <a:pt x="9375" y="8813"/>
                  <a:pt x="9500" y="8875"/>
                  <a:pt x="9625" y="8875"/>
                </a:cubicBezTo>
                <a:cubicBezTo>
                  <a:pt x="9469" y="8906"/>
                  <a:pt x="9313" y="8906"/>
                  <a:pt x="9156" y="8906"/>
                </a:cubicBezTo>
                <a:close/>
                <a:moveTo>
                  <a:pt x="9844" y="9500"/>
                </a:moveTo>
                <a:cubicBezTo>
                  <a:pt x="9781" y="9500"/>
                  <a:pt x="9719" y="9438"/>
                  <a:pt x="9656" y="9438"/>
                </a:cubicBezTo>
                <a:cubicBezTo>
                  <a:pt x="9719" y="9406"/>
                  <a:pt x="9781" y="9438"/>
                  <a:pt x="9875" y="9406"/>
                </a:cubicBezTo>
                <a:cubicBezTo>
                  <a:pt x="9875" y="9406"/>
                  <a:pt x="9938" y="9406"/>
                  <a:pt x="9938" y="9438"/>
                </a:cubicBezTo>
                <a:cubicBezTo>
                  <a:pt x="9938" y="9469"/>
                  <a:pt x="9906" y="9500"/>
                  <a:pt x="9844" y="9500"/>
                </a:cubicBezTo>
                <a:close/>
                <a:moveTo>
                  <a:pt x="9844" y="9094"/>
                </a:moveTo>
                <a:cubicBezTo>
                  <a:pt x="9969" y="9000"/>
                  <a:pt x="10094" y="9063"/>
                  <a:pt x="10219" y="9031"/>
                </a:cubicBezTo>
                <a:cubicBezTo>
                  <a:pt x="10125" y="9188"/>
                  <a:pt x="9969" y="9063"/>
                  <a:pt x="9844" y="9094"/>
                </a:cubicBezTo>
                <a:close/>
                <a:moveTo>
                  <a:pt x="9875" y="8938"/>
                </a:moveTo>
                <a:cubicBezTo>
                  <a:pt x="10000" y="8844"/>
                  <a:pt x="10094" y="8938"/>
                  <a:pt x="10219" y="8938"/>
                </a:cubicBezTo>
                <a:cubicBezTo>
                  <a:pt x="10063" y="9031"/>
                  <a:pt x="9969" y="8969"/>
                  <a:pt x="9875" y="8938"/>
                </a:cubicBezTo>
                <a:close/>
                <a:moveTo>
                  <a:pt x="10500" y="9563"/>
                </a:moveTo>
                <a:cubicBezTo>
                  <a:pt x="10688" y="9500"/>
                  <a:pt x="10813" y="9594"/>
                  <a:pt x="10969" y="9594"/>
                </a:cubicBezTo>
                <a:cubicBezTo>
                  <a:pt x="10813" y="9594"/>
                  <a:pt x="10656" y="9688"/>
                  <a:pt x="10500" y="9563"/>
                </a:cubicBezTo>
                <a:close/>
                <a:moveTo>
                  <a:pt x="10781" y="9188"/>
                </a:moveTo>
                <a:cubicBezTo>
                  <a:pt x="10781" y="9188"/>
                  <a:pt x="10750" y="9188"/>
                  <a:pt x="10719" y="9156"/>
                </a:cubicBezTo>
                <a:cubicBezTo>
                  <a:pt x="10688" y="9000"/>
                  <a:pt x="10594" y="9063"/>
                  <a:pt x="10531" y="9094"/>
                </a:cubicBezTo>
                <a:cubicBezTo>
                  <a:pt x="10438" y="9188"/>
                  <a:pt x="10406" y="9125"/>
                  <a:pt x="10344" y="9063"/>
                </a:cubicBezTo>
                <a:cubicBezTo>
                  <a:pt x="10313" y="9031"/>
                  <a:pt x="10313" y="8969"/>
                  <a:pt x="10375" y="8969"/>
                </a:cubicBezTo>
                <a:cubicBezTo>
                  <a:pt x="10531" y="8906"/>
                  <a:pt x="10938" y="9000"/>
                  <a:pt x="11063" y="9188"/>
                </a:cubicBezTo>
                <a:cubicBezTo>
                  <a:pt x="10969" y="9219"/>
                  <a:pt x="10875" y="9188"/>
                  <a:pt x="10781" y="9188"/>
                </a:cubicBezTo>
                <a:close/>
                <a:moveTo>
                  <a:pt x="11313" y="9219"/>
                </a:moveTo>
                <a:cubicBezTo>
                  <a:pt x="11250" y="9219"/>
                  <a:pt x="11219" y="9188"/>
                  <a:pt x="11188" y="9125"/>
                </a:cubicBezTo>
                <a:cubicBezTo>
                  <a:pt x="11188" y="9094"/>
                  <a:pt x="11219" y="9094"/>
                  <a:pt x="11250" y="9094"/>
                </a:cubicBezTo>
                <a:cubicBezTo>
                  <a:pt x="11313" y="9094"/>
                  <a:pt x="11344" y="9125"/>
                  <a:pt x="11375" y="9219"/>
                </a:cubicBezTo>
                <a:cubicBezTo>
                  <a:pt x="11375" y="9219"/>
                  <a:pt x="11344" y="9250"/>
                  <a:pt x="11313" y="9219"/>
                </a:cubicBezTo>
                <a:close/>
                <a:moveTo>
                  <a:pt x="11563" y="9188"/>
                </a:moveTo>
                <a:cubicBezTo>
                  <a:pt x="11656" y="9125"/>
                  <a:pt x="11719" y="9219"/>
                  <a:pt x="11813" y="9219"/>
                </a:cubicBezTo>
                <a:cubicBezTo>
                  <a:pt x="11719" y="9281"/>
                  <a:pt x="11656" y="9188"/>
                  <a:pt x="11563" y="9188"/>
                </a:cubicBezTo>
                <a:close/>
                <a:moveTo>
                  <a:pt x="12781" y="10188"/>
                </a:moveTo>
                <a:cubicBezTo>
                  <a:pt x="12781" y="10156"/>
                  <a:pt x="12750" y="10156"/>
                  <a:pt x="12781" y="10125"/>
                </a:cubicBezTo>
                <a:cubicBezTo>
                  <a:pt x="12844" y="10094"/>
                  <a:pt x="12906" y="10063"/>
                  <a:pt x="13000" y="10125"/>
                </a:cubicBezTo>
                <a:cubicBezTo>
                  <a:pt x="12906" y="10156"/>
                  <a:pt x="12875" y="10219"/>
                  <a:pt x="12781" y="10188"/>
                </a:cubicBezTo>
                <a:close/>
                <a:moveTo>
                  <a:pt x="12438" y="9469"/>
                </a:moveTo>
                <a:cubicBezTo>
                  <a:pt x="12406" y="9438"/>
                  <a:pt x="12406" y="9438"/>
                  <a:pt x="12406" y="9438"/>
                </a:cubicBezTo>
                <a:cubicBezTo>
                  <a:pt x="12406" y="9406"/>
                  <a:pt x="12438" y="9375"/>
                  <a:pt x="12469" y="9375"/>
                </a:cubicBezTo>
                <a:cubicBezTo>
                  <a:pt x="12531" y="9375"/>
                  <a:pt x="12625" y="9344"/>
                  <a:pt x="12688" y="9375"/>
                </a:cubicBezTo>
                <a:cubicBezTo>
                  <a:pt x="12813" y="9438"/>
                  <a:pt x="12969" y="9469"/>
                  <a:pt x="13094" y="9469"/>
                </a:cubicBezTo>
                <a:cubicBezTo>
                  <a:pt x="13156" y="9469"/>
                  <a:pt x="13188" y="9500"/>
                  <a:pt x="13219" y="9563"/>
                </a:cubicBezTo>
                <a:cubicBezTo>
                  <a:pt x="12938" y="9594"/>
                  <a:pt x="12688" y="9625"/>
                  <a:pt x="12438" y="9469"/>
                </a:cubicBezTo>
                <a:close/>
                <a:moveTo>
                  <a:pt x="13781" y="9719"/>
                </a:moveTo>
                <a:cubicBezTo>
                  <a:pt x="13781" y="9781"/>
                  <a:pt x="13750" y="9813"/>
                  <a:pt x="13688" y="9781"/>
                </a:cubicBezTo>
                <a:cubicBezTo>
                  <a:pt x="13625" y="9781"/>
                  <a:pt x="13531" y="9719"/>
                  <a:pt x="13438" y="9719"/>
                </a:cubicBezTo>
                <a:cubicBezTo>
                  <a:pt x="13406" y="9719"/>
                  <a:pt x="13406" y="9688"/>
                  <a:pt x="13406" y="9656"/>
                </a:cubicBezTo>
                <a:cubicBezTo>
                  <a:pt x="13438" y="9594"/>
                  <a:pt x="13500" y="9656"/>
                  <a:pt x="13531" y="9625"/>
                </a:cubicBezTo>
                <a:cubicBezTo>
                  <a:pt x="13594" y="9594"/>
                  <a:pt x="13656" y="9656"/>
                  <a:pt x="13719" y="9656"/>
                </a:cubicBezTo>
                <a:cubicBezTo>
                  <a:pt x="13781" y="9656"/>
                  <a:pt x="13781" y="9688"/>
                  <a:pt x="13781" y="9719"/>
                </a:cubicBezTo>
                <a:close/>
                <a:moveTo>
                  <a:pt x="13406" y="8313"/>
                </a:moveTo>
                <a:cubicBezTo>
                  <a:pt x="13313" y="8281"/>
                  <a:pt x="13188" y="8250"/>
                  <a:pt x="13125" y="8188"/>
                </a:cubicBezTo>
                <a:cubicBezTo>
                  <a:pt x="13063" y="8188"/>
                  <a:pt x="13125" y="8281"/>
                  <a:pt x="13063" y="8281"/>
                </a:cubicBezTo>
                <a:cubicBezTo>
                  <a:pt x="13031" y="8281"/>
                  <a:pt x="13031" y="8219"/>
                  <a:pt x="13000" y="8188"/>
                </a:cubicBezTo>
                <a:cubicBezTo>
                  <a:pt x="12969" y="8094"/>
                  <a:pt x="12875" y="8063"/>
                  <a:pt x="12781" y="8063"/>
                </a:cubicBezTo>
                <a:cubicBezTo>
                  <a:pt x="12719" y="8063"/>
                  <a:pt x="12625" y="8063"/>
                  <a:pt x="12563" y="8031"/>
                </a:cubicBezTo>
                <a:cubicBezTo>
                  <a:pt x="12500" y="8031"/>
                  <a:pt x="12469" y="8063"/>
                  <a:pt x="12438" y="8094"/>
                </a:cubicBezTo>
                <a:cubicBezTo>
                  <a:pt x="12406" y="8125"/>
                  <a:pt x="12469" y="8125"/>
                  <a:pt x="12469" y="8156"/>
                </a:cubicBezTo>
                <a:cubicBezTo>
                  <a:pt x="12469" y="8219"/>
                  <a:pt x="12531" y="8219"/>
                  <a:pt x="12469" y="8281"/>
                </a:cubicBezTo>
                <a:cubicBezTo>
                  <a:pt x="12438" y="8313"/>
                  <a:pt x="12406" y="8281"/>
                  <a:pt x="12375" y="8281"/>
                </a:cubicBezTo>
                <a:cubicBezTo>
                  <a:pt x="12281" y="8281"/>
                  <a:pt x="12344" y="8250"/>
                  <a:pt x="12344" y="8219"/>
                </a:cubicBezTo>
                <a:cubicBezTo>
                  <a:pt x="12375" y="8156"/>
                  <a:pt x="12313" y="8188"/>
                  <a:pt x="12313" y="8188"/>
                </a:cubicBezTo>
                <a:cubicBezTo>
                  <a:pt x="12219" y="8188"/>
                  <a:pt x="12156" y="8156"/>
                  <a:pt x="12063" y="8188"/>
                </a:cubicBezTo>
                <a:cubicBezTo>
                  <a:pt x="11906" y="8219"/>
                  <a:pt x="11781" y="8250"/>
                  <a:pt x="11625" y="8156"/>
                </a:cubicBezTo>
                <a:cubicBezTo>
                  <a:pt x="11531" y="8094"/>
                  <a:pt x="11469" y="8219"/>
                  <a:pt x="11344" y="8156"/>
                </a:cubicBezTo>
                <a:cubicBezTo>
                  <a:pt x="11438" y="8063"/>
                  <a:pt x="11375" y="8031"/>
                  <a:pt x="11281" y="8031"/>
                </a:cubicBezTo>
                <a:cubicBezTo>
                  <a:pt x="11188" y="8000"/>
                  <a:pt x="11063" y="8000"/>
                  <a:pt x="10969" y="8031"/>
                </a:cubicBezTo>
                <a:cubicBezTo>
                  <a:pt x="10781" y="8031"/>
                  <a:pt x="10594" y="8031"/>
                  <a:pt x="10406" y="8031"/>
                </a:cubicBezTo>
                <a:cubicBezTo>
                  <a:pt x="10125" y="8031"/>
                  <a:pt x="9844" y="7938"/>
                  <a:pt x="9563" y="7938"/>
                </a:cubicBezTo>
                <a:cubicBezTo>
                  <a:pt x="9375" y="7906"/>
                  <a:pt x="9156" y="7875"/>
                  <a:pt x="8969" y="7875"/>
                </a:cubicBezTo>
                <a:cubicBezTo>
                  <a:pt x="8938" y="7875"/>
                  <a:pt x="8906" y="7875"/>
                  <a:pt x="8875" y="7844"/>
                </a:cubicBezTo>
                <a:cubicBezTo>
                  <a:pt x="8938" y="7813"/>
                  <a:pt x="9000" y="7781"/>
                  <a:pt x="9063" y="7750"/>
                </a:cubicBezTo>
                <a:cubicBezTo>
                  <a:pt x="8906" y="7750"/>
                  <a:pt x="8844" y="7531"/>
                  <a:pt x="8656" y="7594"/>
                </a:cubicBezTo>
                <a:cubicBezTo>
                  <a:pt x="8563" y="7594"/>
                  <a:pt x="8469" y="7594"/>
                  <a:pt x="8500" y="7719"/>
                </a:cubicBezTo>
                <a:cubicBezTo>
                  <a:pt x="8500" y="7750"/>
                  <a:pt x="8469" y="7750"/>
                  <a:pt x="8469" y="7750"/>
                </a:cubicBezTo>
                <a:cubicBezTo>
                  <a:pt x="8344" y="7781"/>
                  <a:pt x="8219" y="7813"/>
                  <a:pt x="8125" y="7844"/>
                </a:cubicBezTo>
                <a:cubicBezTo>
                  <a:pt x="8094" y="7844"/>
                  <a:pt x="8063" y="7844"/>
                  <a:pt x="8063" y="7813"/>
                </a:cubicBezTo>
                <a:cubicBezTo>
                  <a:pt x="8031" y="7719"/>
                  <a:pt x="8000" y="7750"/>
                  <a:pt x="7969" y="7781"/>
                </a:cubicBezTo>
                <a:cubicBezTo>
                  <a:pt x="7938" y="7813"/>
                  <a:pt x="7875" y="7844"/>
                  <a:pt x="7875" y="7813"/>
                </a:cubicBezTo>
                <a:cubicBezTo>
                  <a:pt x="7875" y="7781"/>
                  <a:pt x="7781" y="7719"/>
                  <a:pt x="7844" y="7688"/>
                </a:cubicBezTo>
                <a:cubicBezTo>
                  <a:pt x="7906" y="7594"/>
                  <a:pt x="7844" y="7625"/>
                  <a:pt x="7813" y="7594"/>
                </a:cubicBezTo>
                <a:cubicBezTo>
                  <a:pt x="7750" y="7594"/>
                  <a:pt x="7625" y="7594"/>
                  <a:pt x="7750" y="7500"/>
                </a:cubicBezTo>
                <a:cubicBezTo>
                  <a:pt x="7781" y="7438"/>
                  <a:pt x="7781" y="7375"/>
                  <a:pt x="7719" y="7313"/>
                </a:cubicBezTo>
                <a:cubicBezTo>
                  <a:pt x="7688" y="7281"/>
                  <a:pt x="7625" y="7313"/>
                  <a:pt x="7594" y="7344"/>
                </a:cubicBezTo>
                <a:cubicBezTo>
                  <a:pt x="7469" y="7438"/>
                  <a:pt x="7313" y="7406"/>
                  <a:pt x="7188" y="7375"/>
                </a:cubicBezTo>
                <a:cubicBezTo>
                  <a:pt x="7094" y="7344"/>
                  <a:pt x="7000" y="7375"/>
                  <a:pt x="6875" y="7344"/>
                </a:cubicBezTo>
                <a:cubicBezTo>
                  <a:pt x="6844" y="7313"/>
                  <a:pt x="6719" y="7406"/>
                  <a:pt x="6656" y="7438"/>
                </a:cubicBezTo>
                <a:cubicBezTo>
                  <a:pt x="6438" y="7500"/>
                  <a:pt x="6250" y="7531"/>
                  <a:pt x="6031" y="7500"/>
                </a:cubicBezTo>
                <a:cubicBezTo>
                  <a:pt x="6063" y="7438"/>
                  <a:pt x="6125" y="7469"/>
                  <a:pt x="6188" y="7406"/>
                </a:cubicBezTo>
                <a:cubicBezTo>
                  <a:pt x="6063" y="7344"/>
                  <a:pt x="5969" y="7438"/>
                  <a:pt x="5844" y="7406"/>
                </a:cubicBezTo>
                <a:cubicBezTo>
                  <a:pt x="5844" y="7438"/>
                  <a:pt x="5813" y="7438"/>
                  <a:pt x="5781" y="7438"/>
                </a:cubicBezTo>
                <a:cubicBezTo>
                  <a:pt x="5781" y="7438"/>
                  <a:pt x="5750" y="7438"/>
                  <a:pt x="5719" y="7438"/>
                </a:cubicBezTo>
                <a:cubicBezTo>
                  <a:pt x="5500" y="7531"/>
                  <a:pt x="5281" y="7563"/>
                  <a:pt x="5063" y="7656"/>
                </a:cubicBezTo>
                <a:cubicBezTo>
                  <a:pt x="5063" y="7688"/>
                  <a:pt x="5031" y="7656"/>
                  <a:pt x="5000" y="7656"/>
                </a:cubicBezTo>
                <a:cubicBezTo>
                  <a:pt x="5063" y="7563"/>
                  <a:pt x="5313" y="7469"/>
                  <a:pt x="5438" y="7469"/>
                </a:cubicBezTo>
                <a:cubicBezTo>
                  <a:pt x="5500" y="7500"/>
                  <a:pt x="5531" y="7406"/>
                  <a:pt x="5594" y="7406"/>
                </a:cubicBezTo>
                <a:cubicBezTo>
                  <a:pt x="6000" y="7281"/>
                  <a:pt x="6438" y="7250"/>
                  <a:pt x="6844" y="7156"/>
                </a:cubicBezTo>
                <a:cubicBezTo>
                  <a:pt x="7094" y="7094"/>
                  <a:pt x="7344" y="7031"/>
                  <a:pt x="7625" y="7031"/>
                </a:cubicBezTo>
                <a:cubicBezTo>
                  <a:pt x="7656" y="7031"/>
                  <a:pt x="7656" y="7000"/>
                  <a:pt x="7656" y="6969"/>
                </a:cubicBezTo>
                <a:cubicBezTo>
                  <a:pt x="7656" y="6875"/>
                  <a:pt x="7563" y="6813"/>
                  <a:pt x="7469" y="6813"/>
                </a:cubicBezTo>
                <a:cubicBezTo>
                  <a:pt x="7219" y="6875"/>
                  <a:pt x="6969" y="6875"/>
                  <a:pt x="6719" y="6906"/>
                </a:cubicBezTo>
                <a:cubicBezTo>
                  <a:pt x="6625" y="6938"/>
                  <a:pt x="6625" y="6875"/>
                  <a:pt x="6656" y="6844"/>
                </a:cubicBezTo>
                <a:cubicBezTo>
                  <a:pt x="6719" y="6750"/>
                  <a:pt x="6688" y="6750"/>
                  <a:pt x="6625" y="6750"/>
                </a:cubicBezTo>
                <a:cubicBezTo>
                  <a:pt x="6563" y="6750"/>
                  <a:pt x="6469" y="6813"/>
                  <a:pt x="6438" y="6719"/>
                </a:cubicBezTo>
                <a:cubicBezTo>
                  <a:pt x="6719" y="6625"/>
                  <a:pt x="7031" y="6563"/>
                  <a:pt x="7313" y="6531"/>
                </a:cubicBezTo>
                <a:cubicBezTo>
                  <a:pt x="7375" y="6531"/>
                  <a:pt x="7438" y="6500"/>
                  <a:pt x="7500" y="6531"/>
                </a:cubicBezTo>
                <a:cubicBezTo>
                  <a:pt x="7531" y="6531"/>
                  <a:pt x="7563" y="6500"/>
                  <a:pt x="7563" y="6500"/>
                </a:cubicBezTo>
                <a:cubicBezTo>
                  <a:pt x="7563" y="6438"/>
                  <a:pt x="7500" y="6469"/>
                  <a:pt x="7469" y="6469"/>
                </a:cubicBezTo>
                <a:cubicBezTo>
                  <a:pt x="7344" y="6469"/>
                  <a:pt x="7219" y="6469"/>
                  <a:pt x="7063" y="6469"/>
                </a:cubicBezTo>
                <a:cubicBezTo>
                  <a:pt x="7094" y="6406"/>
                  <a:pt x="7125" y="6344"/>
                  <a:pt x="7031" y="6313"/>
                </a:cubicBezTo>
                <a:cubicBezTo>
                  <a:pt x="7219" y="6281"/>
                  <a:pt x="7375" y="6219"/>
                  <a:pt x="7563" y="6219"/>
                </a:cubicBezTo>
                <a:cubicBezTo>
                  <a:pt x="7594" y="6219"/>
                  <a:pt x="7656" y="6188"/>
                  <a:pt x="7656" y="6250"/>
                </a:cubicBezTo>
                <a:cubicBezTo>
                  <a:pt x="7656" y="6313"/>
                  <a:pt x="7594" y="6313"/>
                  <a:pt x="7563" y="6313"/>
                </a:cubicBezTo>
                <a:cubicBezTo>
                  <a:pt x="7469" y="6313"/>
                  <a:pt x="7375" y="6313"/>
                  <a:pt x="7281" y="6313"/>
                </a:cubicBezTo>
                <a:cubicBezTo>
                  <a:pt x="7375" y="6406"/>
                  <a:pt x="7500" y="6344"/>
                  <a:pt x="7594" y="6344"/>
                </a:cubicBezTo>
                <a:cubicBezTo>
                  <a:pt x="7656" y="6344"/>
                  <a:pt x="7719" y="6313"/>
                  <a:pt x="7750" y="6375"/>
                </a:cubicBezTo>
                <a:cubicBezTo>
                  <a:pt x="7781" y="6438"/>
                  <a:pt x="7656" y="6406"/>
                  <a:pt x="7625" y="6469"/>
                </a:cubicBezTo>
                <a:cubicBezTo>
                  <a:pt x="7656" y="6500"/>
                  <a:pt x="7688" y="6469"/>
                  <a:pt x="7719" y="6469"/>
                </a:cubicBezTo>
                <a:cubicBezTo>
                  <a:pt x="7813" y="6469"/>
                  <a:pt x="7906" y="6469"/>
                  <a:pt x="8000" y="6469"/>
                </a:cubicBezTo>
                <a:cubicBezTo>
                  <a:pt x="7625" y="6625"/>
                  <a:pt x="7250" y="6594"/>
                  <a:pt x="6875" y="6719"/>
                </a:cubicBezTo>
                <a:cubicBezTo>
                  <a:pt x="7094" y="6750"/>
                  <a:pt x="7344" y="6719"/>
                  <a:pt x="7563" y="6656"/>
                </a:cubicBezTo>
                <a:cubicBezTo>
                  <a:pt x="7656" y="6656"/>
                  <a:pt x="7781" y="6656"/>
                  <a:pt x="7875" y="6625"/>
                </a:cubicBezTo>
                <a:cubicBezTo>
                  <a:pt x="7906" y="6594"/>
                  <a:pt x="7938" y="6656"/>
                  <a:pt x="7938" y="6656"/>
                </a:cubicBezTo>
                <a:cubicBezTo>
                  <a:pt x="8031" y="6688"/>
                  <a:pt x="8125" y="6750"/>
                  <a:pt x="8156" y="6625"/>
                </a:cubicBezTo>
                <a:cubicBezTo>
                  <a:pt x="8188" y="6594"/>
                  <a:pt x="8188" y="6594"/>
                  <a:pt x="8219" y="6625"/>
                </a:cubicBezTo>
                <a:cubicBezTo>
                  <a:pt x="8438" y="6688"/>
                  <a:pt x="8625" y="6594"/>
                  <a:pt x="8844" y="6656"/>
                </a:cubicBezTo>
                <a:cubicBezTo>
                  <a:pt x="8969" y="6688"/>
                  <a:pt x="9031" y="6625"/>
                  <a:pt x="9094" y="6563"/>
                </a:cubicBezTo>
                <a:cubicBezTo>
                  <a:pt x="8938" y="6469"/>
                  <a:pt x="8781" y="6531"/>
                  <a:pt x="8625" y="6531"/>
                </a:cubicBezTo>
                <a:cubicBezTo>
                  <a:pt x="8469" y="6531"/>
                  <a:pt x="8344" y="6531"/>
                  <a:pt x="8188" y="6563"/>
                </a:cubicBezTo>
                <a:cubicBezTo>
                  <a:pt x="8188" y="6531"/>
                  <a:pt x="8188" y="6500"/>
                  <a:pt x="8219" y="6500"/>
                </a:cubicBezTo>
                <a:cubicBezTo>
                  <a:pt x="8469" y="6406"/>
                  <a:pt x="8750" y="6375"/>
                  <a:pt x="9031" y="6406"/>
                </a:cubicBezTo>
                <a:cubicBezTo>
                  <a:pt x="9219" y="6406"/>
                  <a:pt x="9063" y="6500"/>
                  <a:pt x="9094" y="6563"/>
                </a:cubicBezTo>
                <a:cubicBezTo>
                  <a:pt x="9156" y="6594"/>
                  <a:pt x="9188" y="6531"/>
                  <a:pt x="9250" y="6563"/>
                </a:cubicBezTo>
                <a:cubicBezTo>
                  <a:pt x="9250" y="6656"/>
                  <a:pt x="9188" y="6625"/>
                  <a:pt x="9125" y="6656"/>
                </a:cubicBezTo>
                <a:cubicBezTo>
                  <a:pt x="9250" y="6719"/>
                  <a:pt x="9375" y="6688"/>
                  <a:pt x="9500" y="6688"/>
                </a:cubicBezTo>
                <a:cubicBezTo>
                  <a:pt x="9531" y="6688"/>
                  <a:pt x="9594" y="6688"/>
                  <a:pt x="9656" y="6688"/>
                </a:cubicBezTo>
                <a:cubicBezTo>
                  <a:pt x="9719" y="6688"/>
                  <a:pt x="9781" y="6625"/>
                  <a:pt x="9781" y="6563"/>
                </a:cubicBezTo>
                <a:cubicBezTo>
                  <a:pt x="9781" y="6563"/>
                  <a:pt x="9781" y="6531"/>
                  <a:pt x="9750" y="6531"/>
                </a:cubicBezTo>
                <a:cubicBezTo>
                  <a:pt x="9719" y="6531"/>
                  <a:pt x="9719" y="6531"/>
                  <a:pt x="9688" y="6563"/>
                </a:cubicBezTo>
                <a:cubicBezTo>
                  <a:pt x="9656" y="6656"/>
                  <a:pt x="9594" y="6625"/>
                  <a:pt x="9594" y="6594"/>
                </a:cubicBezTo>
                <a:cubicBezTo>
                  <a:pt x="9594" y="6438"/>
                  <a:pt x="9500" y="6500"/>
                  <a:pt x="9438" y="6500"/>
                </a:cubicBezTo>
                <a:cubicBezTo>
                  <a:pt x="9375" y="6500"/>
                  <a:pt x="9313" y="6500"/>
                  <a:pt x="9250" y="6500"/>
                </a:cubicBezTo>
                <a:cubicBezTo>
                  <a:pt x="9469" y="6344"/>
                  <a:pt x="9969" y="6438"/>
                  <a:pt x="10063" y="6656"/>
                </a:cubicBezTo>
                <a:cubicBezTo>
                  <a:pt x="10000" y="6656"/>
                  <a:pt x="9969" y="6625"/>
                  <a:pt x="9938" y="6625"/>
                </a:cubicBezTo>
                <a:cubicBezTo>
                  <a:pt x="9906" y="6594"/>
                  <a:pt x="9875" y="6625"/>
                  <a:pt x="9844" y="6656"/>
                </a:cubicBezTo>
                <a:cubicBezTo>
                  <a:pt x="9844" y="6719"/>
                  <a:pt x="9875" y="6719"/>
                  <a:pt x="9938" y="6719"/>
                </a:cubicBezTo>
                <a:cubicBezTo>
                  <a:pt x="10000" y="6719"/>
                  <a:pt x="10094" y="6719"/>
                  <a:pt x="10188" y="6719"/>
                </a:cubicBezTo>
                <a:cubicBezTo>
                  <a:pt x="10188" y="6719"/>
                  <a:pt x="10250" y="6719"/>
                  <a:pt x="10250" y="6781"/>
                </a:cubicBezTo>
                <a:cubicBezTo>
                  <a:pt x="10219" y="6813"/>
                  <a:pt x="10219" y="6813"/>
                  <a:pt x="10188" y="6813"/>
                </a:cubicBezTo>
                <a:cubicBezTo>
                  <a:pt x="10063" y="6813"/>
                  <a:pt x="9906" y="6813"/>
                  <a:pt x="9781" y="6813"/>
                </a:cubicBezTo>
                <a:cubicBezTo>
                  <a:pt x="9656" y="6781"/>
                  <a:pt x="9531" y="6719"/>
                  <a:pt x="9406" y="6813"/>
                </a:cubicBezTo>
                <a:cubicBezTo>
                  <a:pt x="9406" y="6813"/>
                  <a:pt x="9344" y="6813"/>
                  <a:pt x="9344" y="6813"/>
                </a:cubicBezTo>
                <a:cubicBezTo>
                  <a:pt x="8875" y="6750"/>
                  <a:pt x="8438" y="6781"/>
                  <a:pt x="8031" y="6906"/>
                </a:cubicBezTo>
                <a:cubicBezTo>
                  <a:pt x="7938" y="6938"/>
                  <a:pt x="7813" y="6938"/>
                  <a:pt x="7719" y="6969"/>
                </a:cubicBezTo>
                <a:cubicBezTo>
                  <a:pt x="7844" y="7094"/>
                  <a:pt x="8000" y="7000"/>
                  <a:pt x="8125" y="6969"/>
                </a:cubicBezTo>
                <a:cubicBezTo>
                  <a:pt x="8250" y="6938"/>
                  <a:pt x="8375" y="6906"/>
                  <a:pt x="8531" y="6906"/>
                </a:cubicBezTo>
                <a:cubicBezTo>
                  <a:pt x="9063" y="6906"/>
                  <a:pt x="9594" y="6875"/>
                  <a:pt x="10094" y="7000"/>
                </a:cubicBezTo>
                <a:cubicBezTo>
                  <a:pt x="10281" y="7031"/>
                  <a:pt x="10438" y="7000"/>
                  <a:pt x="10594" y="7031"/>
                </a:cubicBezTo>
                <a:cubicBezTo>
                  <a:pt x="10844" y="7094"/>
                  <a:pt x="11063" y="7094"/>
                  <a:pt x="11281" y="7156"/>
                </a:cubicBezTo>
                <a:cubicBezTo>
                  <a:pt x="11625" y="7250"/>
                  <a:pt x="12000" y="7250"/>
                  <a:pt x="12375" y="7344"/>
                </a:cubicBezTo>
                <a:cubicBezTo>
                  <a:pt x="12656" y="7375"/>
                  <a:pt x="12938" y="7469"/>
                  <a:pt x="13250" y="7531"/>
                </a:cubicBezTo>
                <a:cubicBezTo>
                  <a:pt x="13594" y="7625"/>
                  <a:pt x="13938" y="7719"/>
                  <a:pt x="14281" y="7781"/>
                </a:cubicBezTo>
                <a:cubicBezTo>
                  <a:pt x="14313" y="7813"/>
                  <a:pt x="14344" y="7813"/>
                  <a:pt x="14375" y="7844"/>
                </a:cubicBezTo>
                <a:cubicBezTo>
                  <a:pt x="14531" y="7844"/>
                  <a:pt x="14656" y="7938"/>
                  <a:pt x="14781" y="7938"/>
                </a:cubicBezTo>
                <a:cubicBezTo>
                  <a:pt x="14813" y="7938"/>
                  <a:pt x="14875" y="7969"/>
                  <a:pt x="14813" y="8031"/>
                </a:cubicBezTo>
                <a:cubicBezTo>
                  <a:pt x="14781" y="8031"/>
                  <a:pt x="14844" y="8063"/>
                  <a:pt x="14875" y="8063"/>
                </a:cubicBezTo>
                <a:cubicBezTo>
                  <a:pt x="14906" y="8063"/>
                  <a:pt x="15000" y="8031"/>
                  <a:pt x="15031" y="8094"/>
                </a:cubicBezTo>
                <a:cubicBezTo>
                  <a:pt x="15188" y="8063"/>
                  <a:pt x="15344" y="8156"/>
                  <a:pt x="15500" y="8188"/>
                </a:cubicBezTo>
                <a:cubicBezTo>
                  <a:pt x="15688" y="8250"/>
                  <a:pt x="15906" y="8344"/>
                  <a:pt x="16094" y="8438"/>
                </a:cubicBezTo>
                <a:cubicBezTo>
                  <a:pt x="16219" y="8500"/>
                  <a:pt x="16406" y="8500"/>
                  <a:pt x="16531" y="8594"/>
                </a:cubicBezTo>
                <a:cubicBezTo>
                  <a:pt x="16656" y="8594"/>
                  <a:pt x="16781" y="8656"/>
                  <a:pt x="16906" y="8688"/>
                </a:cubicBezTo>
                <a:cubicBezTo>
                  <a:pt x="17156" y="8750"/>
                  <a:pt x="17375" y="8906"/>
                  <a:pt x="17625" y="8969"/>
                </a:cubicBezTo>
                <a:cubicBezTo>
                  <a:pt x="17719" y="9000"/>
                  <a:pt x="17813" y="9031"/>
                  <a:pt x="17906" y="9063"/>
                </a:cubicBezTo>
                <a:cubicBezTo>
                  <a:pt x="18125" y="9188"/>
                  <a:pt x="18375" y="9219"/>
                  <a:pt x="18594" y="9344"/>
                </a:cubicBezTo>
                <a:cubicBezTo>
                  <a:pt x="18656" y="9375"/>
                  <a:pt x="18719" y="9438"/>
                  <a:pt x="18781" y="9500"/>
                </a:cubicBezTo>
                <a:cubicBezTo>
                  <a:pt x="18469" y="9469"/>
                  <a:pt x="18188" y="9438"/>
                  <a:pt x="17938" y="9281"/>
                </a:cubicBezTo>
                <a:cubicBezTo>
                  <a:pt x="17906" y="9281"/>
                  <a:pt x="17844" y="9281"/>
                  <a:pt x="17844" y="9219"/>
                </a:cubicBezTo>
                <a:cubicBezTo>
                  <a:pt x="17875" y="9188"/>
                  <a:pt x="17938" y="9219"/>
                  <a:pt x="17938" y="9188"/>
                </a:cubicBezTo>
                <a:cubicBezTo>
                  <a:pt x="17906" y="9125"/>
                  <a:pt x="17844" y="9125"/>
                  <a:pt x="17781" y="9094"/>
                </a:cubicBezTo>
                <a:cubicBezTo>
                  <a:pt x="17656" y="9094"/>
                  <a:pt x="17594" y="9031"/>
                  <a:pt x="17500" y="8969"/>
                </a:cubicBezTo>
                <a:cubicBezTo>
                  <a:pt x="17406" y="8906"/>
                  <a:pt x="17250" y="8906"/>
                  <a:pt x="17156" y="8875"/>
                </a:cubicBezTo>
                <a:cubicBezTo>
                  <a:pt x="16969" y="8813"/>
                  <a:pt x="16781" y="8750"/>
                  <a:pt x="16594" y="8781"/>
                </a:cubicBezTo>
                <a:cubicBezTo>
                  <a:pt x="16563" y="8781"/>
                  <a:pt x="16531" y="8750"/>
                  <a:pt x="16531" y="8688"/>
                </a:cubicBezTo>
                <a:cubicBezTo>
                  <a:pt x="16531" y="8688"/>
                  <a:pt x="16500" y="8688"/>
                  <a:pt x="16500" y="8688"/>
                </a:cubicBezTo>
                <a:cubicBezTo>
                  <a:pt x="16438" y="8688"/>
                  <a:pt x="16375" y="8688"/>
                  <a:pt x="16344" y="8688"/>
                </a:cubicBezTo>
                <a:cubicBezTo>
                  <a:pt x="16281" y="8719"/>
                  <a:pt x="16219" y="8750"/>
                  <a:pt x="16125" y="8688"/>
                </a:cubicBezTo>
                <a:cubicBezTo>
                  <a:pt x="16094" y="8656"/>
                  <a:pt x="16000" y="8688"/>
                  <a:pt x="15938" y="8688"/>
                </a:cubicBezTo>
                <a:cubicBezTo>
                  <a:pt x="15906" y="8688"/>
                  <a:pt x="15875" y="8750"/>
                  <a:pt x="15844" y="8719"/>
                </a:cubicBezTo>
                <a:cubicBezTo>
                  <a:pt x="15813" y="8656"/>
                  <a:pt x="15844" y="8625"/>
                  <a:pt x="15875" y="8594"/>
                </a:cubicBezTo>
                <a:cubicBezTo>
                  <a:pt x="15875" y="8563"/>
                  <a:pt x="15875" y="8563"/>
                  <a:pt x="15906" y="8531"/>
                </a:cubicBezTo>
                <a:cubicBezTo>
                  <a:pt x="15813" y="8500"/>
                  <a:pt x="15719" y="8531"/>
                  <a:pt x="15719" y="8594"/>
                </a:cubicBezTo>
                <a:cubicBezTo>
                  <a:pt x="15719" y="8656"/>
                  <a:pt x="15688" y="8781"/>
                  <a:pt x="15844" y="8781"/>
                </a:cubicBezTo>
                <a:cubicBezTo>
                  <a:pt x="15969" y="8813"/>
                  <a:pt x="16125" y="8844"/>
                  <a:pt x="16250" y="8938"/>
                </a:cubicBezTo>
                <a:cubicBezTo>
                  <a:pt x="16313" y="8969"/>
                  <a:pt x="16281" y="9063"/>
                  <a:pt x="16375" y="9031"/>
                </a:cubicBezTo>
                <a:cubicBezTo>
                  <a:pt x="16438" y="9031"/>
                  <a:pt x="16531" y="9031"/>
                  <a:pt x="16594" y="9063"/>
                </a:cubicBezTo>
                <a:cubicBezTo>
                  <a:pt x="16625" y="9063"/>
                  <a:pt x="16688" y="9094"/>
                  <a:pt x="16719" y="9156"/>
                </a:cubicBezTo>
                <a:cubicBezTo>
                  <a:pt x="16594" y="9156"/>
                  <a:pt x="16469" y="9219"/>
                  <a:pt x="16344" y="9188"/>
                </a:cubicBezTo>
                <a:cubicBezTo>
                  <a:pt x="15938" y="9094"/>
                  <a:pt x="15563" y="8906"/>
                  <a:pt x="15188" y="8813"/>
                </a:cubicBezTo>
                <a:cubicBezTo>
                  <a:pt x="15125" y="8813"/>
                  <a:pt x="15063" y="8781"/>
                  <a:pt x="14969" y="8781"/>
                </a:cubicBezTo>
                <a:cubicBezTo>
                  <a:pt x="14813" y="8750"/>
                  <a:pt x="14813" y="8750"/>
                  <a:pt x="14750" y="8688"/>
                </a:cubicBezTo>
                <a:cubicBezTo>
                  <a:pt x="14625" y="8594"/>
                  <a:pt x="14469" y="8563"/>
                  <a:pt x="14344" y="8500"/>
                </a:cubicBezTo>
                <a:cubicBezTo>
                  <a:pt x="14031" y="8438"/>
                  <a:pt x="13688" y="8406"/>
                  <a:pt x="13406" y="8313"/>
                </a:cubicBezTo>
                <a:close/>
                <a:moveTo>
                  <a:pt x="15531" y="9188"/>
                </a:moveTo>
                <a:cubicBezTo>
                  <a:pt x="15438" y="9281"/>
                  <a:pt x="15250" y="9250"/>
                  <a:pt x="15188" y="9125"/>
                </a:cubicBezTo>
                <a:cubicBezTo>
                  <a:pt x="15156" y="9094"/>
                  <a:pt x="15156" y="9094"/>
                  <a:pt x="15188" y="9063"/>
                </a:cubicBezTo>
                <a:cubicBezTo>
                  <a:pt x="15219" y="9031"/>
                  <a:pt x="15219" y="9063"/>
                  <a:pt x="15250" y="9063"/>
                </a:cubicBezTo>
                <a:cubicBezTo>
                  <a:pt x="15344" y="9125"/>
                  <a:pt x="15438" y="9156"/>
                  <a:pt x="15531" y="9188"/>
                </a:cubicBezTo>
                <a:close/>
                <a:moveTo>
                  <a:pt x="15438" y="11750"/>
                </a:moveTo>
                <a:cubicBezTo>
                  <a:pt x="15406" y="11750"/>
                  <a:pt x="15344" y="11750"/>
                  <a:pt x="15344" y="11750"/>
                </a:cubicBezTo>
                <a:cubicBezTo>
                  <a:pt x="15250" y="11594"/>
                  <a:pt x="15094" y="11656"/>
                  <a:pt x="15000" y="11656"/>
                </a:cubicBezTo>
                <a:cubicBezTo>
                  <a:pt x="14938" y="11656"/>
                  <a:pt x="14875" y="11656"/>
                  <a:pt x="14938" y="11594"/>
                </a:cubicBezTo>
                <a:cubicBezTo>
                  <a:pt x="14969" y="11563"/>
                  <a:pt x="14969" y="11531"/>
                  <a:pt x="14906" y="11531"/>
                </a:cubicBezTo>
                <a:cubicBezTo>
                  <a:pt x="14875" y="11531"/>
                  <a:pt x="14813" y="11500"/>
                  <a:pt x="14781" y="11469"/>
                </a:cubicBezTo>
                <a:cubicBezTo>
                  <a:pt x="15000" y="11500"/>
                  <a:pt x="15250" y="11438"/>
                  <a:pt x="15469" y="11531"/>
                </a:cubicBezTo>
                <a:cubicBezTo>
                  <a:pt x="15375" y="11625"/>
                  <a:pt x="15469" y="11625"/>
                  <a:pt x="15500" y="11656"/>
                </a:cubicBezTo>
                <a:cubicBezTo>
                  <a:pt x="15563" y="11656"/>
                  <a:pt x="15594" y="11656"/>
                  <a:pt x="15656" y="11688"/>
                </a:cubicBezTo>
                <a:cubicBezTo>
                  <a:pt x="15594" y="11719"/>
                  <a:pt x="15500" y="11719"/>
                  <a:pt x="15438" y="11750"/>
                </a:cubicBezTo>
                <a:close/>
                <a:moveTo>
                  <a:pt x="15313" y="11344"/>
                </a:moveTo>
                <a:cubicBezTo>
                  <a:pt x="15250" y="11313"/>
                  <a:pt x="15188" y="11344"/>
                  <a:pt x="15125" y="11281"/>
                </a:cubicBezTo>
                <a:cubicBezTo>
                  <a:pt x="15031" y="11094"/>
                  <a:pt x="15000" y="11094"/>
                  <a:pt x="14750" y="11125"/>
                </a:cubicBezTo>
                <a:cubicBezTo>
                  <a:pt x="14750" y="11156"/>
                  <a:pt x="14719" y="11156"/>
                  <a:pt x="14719" y="11156"/>
                </a:cubicBezTo>
                <a:cubicBezTo>
                  <a:pt x="14563" y="11000"/>
                  <a:pt x="14344" y="11031"/>
                  <a:pt x="14188" y="10969"/>
                </a:cubicBezTo>
                <a:cubicBezTo>
                  <a:pt x="14125" y="10969"/>
                  <a:pt x="14125" y="10938"/>
                  <a:pt x="14125" y="10906"/>
                </a:cubicBezTo>
                <a:cubicBezTo>
                  <a:pt x="14469" y="10938"/>
                  <a:pt x="14844" y="11000"/>
                  <a:pt x="15219" y="11000"/>
                </a:cubicBezTo>
                <a:cubicBezTo>
                  <a:pt x="15250" y="10969"/>
                  <a:pt x="15250" y="10969"/>
                  <a:pt x="15281" y="11000"/>
                </a:cubicBezTo>
                <a:cubicBezTo>
                  <a:pt x="15281" y="11031"/>
                  <a:pt x="15281" y="11063"/>
                  <a:pt x="15250" y="11063"/>
                </a:cubicBezTo>
                <a:cubicBezTo>
                  <a:pt x="15219" y="11063"/>
                  <a:pt x="15188" y="11094"/>
                  <a:pt x="15188" y="11125"/>
                </a:cubicBezTo>
                <a:cubicBezTo>
                  <a:pt x="15219" y="11156"/>
                  <a:pt x="15250" y="11156"/>
                  <a:pt x="15281" y="11156"/>
                </a:cubicBezTo>
                <a:cubicBezTo>
                  <a:pt x="15344" y="11094"/>
                  <a:pt x="15406" y="11156"/>
                  <a:pt x="15469" y="11156"/>
                </a:cubicBezTo>
                <a:cubicBezTo>
                  <a:pt x="15500" y="11156"/>
                  <a:pt x="15563" y="11156"/>
                  <a:pt x="15563" y="11188"/>
                </a:cubicBezTo>
                <a:cubicBezTo>
                  <a:pt x="15563" y="11250"/>
                  <a:pt x="15500" y="11219"/>
                  <a:pt x="15469" y="11219"/>
                </a:cubicBezTo>
                <a:cubicBezTo>
                  <a:pt x="15438" y="11250"/>
                  <a:pt x="15438" y="11219"/>
                  <a:pt x="15406" y="11219"/>
                </a:cubicBezTo>
                <a:cubicBezTo>
                  <a:pt x="15469" y="11344"/>
                  <a:pt x="15531" y="11375"/>
                  <a:pt x="15625" y="11313"/>
                </a:cubicBezTo>
                <a:cubicBezTo>
                  <a:pt x="15656" y="11313"/>
                  <a:pt x="15656" y="11313"/>
                  <a:pt x="15656" y="11313"/>
                </a:cubicBezTo>
                <a:cubicBezTo>
                  <a:pt x="15719" y="11188"/>
                  <a:pt x="15719" y="11188"/>
                  <a:pt x="15844" y="11219"/>
                </a:cubicBezTo>
                <a:cubicBezTo>
                  <a:pt x="15844" y="11219"/>
                  <a:pt x="15844" y="11219"/>
                  <a:pt x="15844" y="11219"/>
                </a:cubicBezTo>
                <a:cubicBezTo>
                  <a:pt x="15781" y="11250"/>
                  <a:pt x="15688" y="11219"/>
                  <a:pt x="15688" y="11313"/>
                </a:cubicBezTo>
                <a:cubicBezTo>
                  <a:pt x="15688" y="11375"/>
                  <a:pt x="15750" y="11406"/>
                  <a:pt x="15844" y="11406"/>
                </a:cubicBezTo>
                <a:cubicBezTo>
                  <a:pt x="15875" y="11406"/>
                  <a:pt x="15875" y="11438"/>
                  <a:pt x="15875" y="11500"/>
                </a:cubicBezTo>
                <a:cubicBezTo>
                  <a:pt x="15688" y="11469"/>
                  <a:pt x="15469" y="11500"/>
                  <a:pt x="15313" y="11344"/>
                </a:cubicBezTo>
                <a:close/>
                <a:moveTo>
                  <a:pt x="16438" y="11531"/>
                </a:moveTo>
                <a:cubicBezTo>
                  <a:pt x="16406" y="11563"/>
                  <a:pt x="16375" y="11594"/>
                  <a:pt x="16344" y="11531"/>
                </a:cubicBezTo>
                <a:cubicBezTo>
                  <a:pt x="16313" y="11438"/>
                  <a:pt x="16219" y="11469"/>
                  <a:pt x="16156" y="11438"/>
                </a:cubicBezTo>
                <a:cubicBezTo>
                  <a:pt x="16031" y="11469"/>
                  <a:pt x="15938" y="11406"/>
                  <a:pt x="15906" y="11250"/>
                </a:cubicBezTo>
                <a:cubicBezTo>
                  <a:pt x="15969" y="11344"/>
                  <a:pt x="16031" y="11344"/>
                  <a:pt x="16094" y="11344"/>
                </a:cubicBezTo>
                <a:cubicBezTo>
                  <a:pt x="16156" y="11344"/>
                  <a:pt x="16219" y="11313"/>
                  <a:pt x="16250" y="11375"/>
                </a:cubicBezTo>
                <a:cubicBezTo>
                  <a:pt x="16281" y="11438"/>
                  <a:pt x="16375" y="11375"/>
                  <a:pt x="16406" y="11406"/>
                </a:cubicBezTo>
                <a:cubicBezTo>
                  <a:pt x="16438" y="11406"/>
                  <a:pt x="16500" y="11375"/>
                  <a:pt x="16500" y="11438"/>
                </a:cubicBezTo>
                <a:cubicBezTo>
                  <a:pt x="16500" y="11469"/>
                  <a:pt x="16500" y="11531"/>
                  <a:pt x="16438" y="11531"/>
                </a:cubicBezTo>
                <a:close/>
                <a:moveTo>
                  <a:pt x="16688" y="9250"/>
                </a:moveTo>
                <a:cubicBezTo>
                  <a:pt x="16844" y="9219"/>
                  <a:pt x="16969" y="9281"/>
                  <a:pt x="17125" y="9281"/>
                </a:cubicBezTo>
                <a:cubicBezTo>
                  <a:pt x="17219" y="9281"/>
                  <a:pt x="17313" y="9406"/>
                  <a:pt x="17438" y="9438"/>
                </a:cubicBezTo>
                <a:cubicBezTo>
                  <a:pt x="17438" y="9438"/>
                  <a:pt x="17469" y="9469"/>
                  <a:pt x="17500" y="9469"/>
                </a:cubicBezTo>
                <a:cubicBezTo>
                  <a:pt x="17406" y="9531"/>
                  <a:pt x="17344" y="9500"/>
                  <a:pt x="17281" y="9500"/>
                </a:cubicBezTo>
                <a:cubicBezTo>
                  <a:pt x="17094" y="9406"/>
                  <a:pt x="16906" y="9344"/>
                  <a:pt x="16719" y="9375"/>
                </a:cubicBezTo>
                <a:cubicBezTo>
                  <a:pt x="16625" y="9406"/>
                  <a:pt x="16594" y="9344"/>
                  <a:pt x="16594" y="9281"/>
                </a:cubicBezTo>
                <a:cubicBezTo>
                  <a:pt x="16594" y="9219"/>
                  <a:pt x="16656" y="9250"/>
                  <a:pt x="16688" y="9250"/>
                </a:cubicBezTo>
                <a:close/>
                <a:moveTo>
                  <a:pt x="17375" y="11719"/>
                </a:moveTo>
                <a:cubicBezTo>
                  <a:pt x="17219" y="11875"/>
                  <a:pt x="17125" y="11844"/>
                  <a:pt x="17094" y="11719"/>
                </a:cubicBezTo>
                <a:cubicBezTo>
                  <a:pt x="17031" y="11750"/>
                  <a:pt x="16938" y="11719"/>
                  <a:pt x="16906" y="11813"/>
                </a:cubicBezTo>
                <a:cubicBezTo>
                  <a:pt x="16906" y="11844"/>
                  <a:pt x="16750" y="11844"/>
                  <a:pt x="16688" y="11813"/>
                </a:cubicBezTo>
                <a:cubicBezTo>
                  <a:pt x="16625" y="11750"/>
                  <a:pt x="16719" y="11719"/>
                  <a:pt x="16750" y="11719"/>
                </a:cubicBezTo>
                <a:cubicBezTo>
                  <a:pt x="16906" y="11625"/>
                  <a:pt x="17219" y="11656"/>
                  <a:pt x="17375" y="11719"/>
                </a:cubicBezTo>
                <a:close/>
                <a:moveTo>
                  <a:pt x="16594" y="12000"/>
                </a:moveTo>
                <a:cubicBezTo>
                  <a:pt x="16656" y="11938"/>
                  <a:pt x="16719" y="11969"/>
                  <a:pt x="16750" y="11969"/>
                </a:cubicBezTo>
                <a:cubicBezTo>
                  <a:pt x="16813" y="11969"/>
                  <a:pt x="16875" y="11969"/>
                  <a:pt x="16906" y="11938"/>
                </a:cubicBezTo>
                <a:cubicBezTo>
                  <a:pt x="16969" y="11844"/>
                  <a:pt x="17063" y="11875"/>
                  <a:pt x="17156" y="11906"/>
                </a:cubicBezTo>
                <a:cubicBezTo>
                  <a:pt x="17250" y="11938"/>
                  <a:pt x="17156" y="11969"/>
                  <a:pt x="17188" y="12000"/>
                </a:cubicBezTo>
                <a:cubicBezTo>
                  <a:pt x="17000" y="12000"/>
                  <a:pt x="16781" y="12031"/>
                  <a:pt x="16594" y="12000"/>
                </a:cubicBezTo>
                <a:close/>
                <a:moveTo>
                  <a:pt x="17250" y="12063"/>
                </a:moveTo>
                <a:cubicBezTo>
                  <a:pt x="17188" y="12094"/>
                  <a:pt x="17188" y="12063"/>
                  <a:pt x="17188" y="12000"/>
                </a:cubicBezTo>
                <a:cubicBezTo>
                  <a:pt x="17344" y="11969"/>
                  <a:pt x="17500" y="11875"/>
                  <a:pt x="17656" y="11875"/>
                </a:cubicBezTo>
                <a:cubicBezTo>
                  <a:pt x="17719" y="11875"/>
                  <a:pt x="17813" y="11844"/>
                  <a:pt x="17813" y="11938"/>
                </a:cubicBezTo>
                <a:cubicBezTo>
                  <a:pt x="17844" y="11969"/>
                  <a:pt x="17875" y="11969"/>
                  <a:pt x="17906" y="11969"/>
                </a:cubicBezTo>
                <a:cubicBezTo>
                  <a:pt x="17938" y="11969"/>
                  <a:pt x="17969" y="11969"/>
                  <a:pt x="18000" y="11969"/>
                </a:cubicBezTo>
                <a:cubicBezTo>
                  <a:pt x="18094" y="11969"/>
                  <a:pt x="18188" y="12000"/>
                  <a:pt x="18188" y="12063"/>
                </a:cubicBezTo>
                <a:cubicBezTo>
                  <a:pt x="18188" y="12125"/>
                  <a:pt x="18063" y="12063"/>
                  <a:pt x="18000" y="12063"/>
                </a:cubicBezTo>
                <a:cubicBezTo>
                  <a:pt x="17750" y="12031"/>
                  <a:pt x="17500" y="12031"/>
                  <a:pt x="17250" y="12063"/>
                </a:cubicBezTo>
                <a:close/>
                <a:moveTo>
                  <a:pt x="17938" y="12625"/>
                </a:moveTo>
                <a:cubicBezTo>
                  <a:pt x="17938" y="12625"/>
                  <a:pt x="17938" y="12594"/>
                  <a:pt x="17938" y="12594"/>
                </a:cubicBezTo>
                <a:cubicBezTo>
                  <a:pt x="17938" y="12563"/>
                  <a:pt x="17969" y="12563"/>
                  <a:pt x="18000" y="12563"/>
                </a:cubicBezTo>
                <a:cubicBezTo>
                  <a:pt x="18063" y="12563"/>
                  <a:pt x="18094" y="12594"/>
                  <a:pt x="18156" y="12594"/>
                </a:cubicBezTo>
                <a:cubicBezTo>
                  <a:pt x="18188" y="12594"/>
                  <a:pt x="18250" y="12594"/>
                  <a:pt x="18281" y="12594"/>
                </a:cubicBezTo>
                <a:cubicBezTo>
                  <a:pt x="18219" y="12688"/>
                  <a:pt x="18000" y="12719"/>
                  <a:pt x="17938" y="12625"/>
                </a:cubicBezTo>
                <a:close/>
                <a:moveTo>
                  <a:pt x="18875" y="12875"/>
                </a:moveTo>
                <a:cubicBezTo>
                  <a:pt x="18781" y="12906"/>
                  <a:pt x="18688" y="12875"/>
                  <a:pt x="18625" y="12844"/>
                </a:cubicBezTo>
                <a:cubicBezTo>
                  <a:pt x="18625" y="12813"/>
                  <a:pt x="18625" y="12813"/>
                  <a:pt x="18625" y="12781"/>
                </a:cubicBezTo>
                <a:cubicBezTo>
                  <a:pt x="18688" y="12813"/>
                  <a:pt x="18781" y="12813"/>
                  <a:pt x="18844" y="12813"/>
                </a:cubicBezTo>
                <a:cubicBezTo>
                  <a:pt x="18875" y="12813"/>
                  <a:pt x="18906" y="12813"/>
                  <a:pt x="18906" y="12844"/>
                </a:cubicBezTo>
                <a:cubicBezTo>
                  <a:pt x="18906" y="12875"/>
                  <a:pt x="18875" y="12875"/>
                  <a:pt x="18875" y="12875"/>
                </a:cubicBezTo>
                <a:close/>
                <a:moveTo>
                  <a:pt x="18969" y="12531"/>
                </a:moveTo>
                <a:cubicBezTo>
                  <a:pt x="18938" y="12563"/>
                  <a:pt x="18875" y="12531"/>
                  <a:pt x="18844" y="12531"/>
                </a:cubicBezTo>
                <a:cubicBezTo>
                  <a:pt x="18781" y="12531"/>
                  <a:pt x="18750" y="12531"/>
                  <a:pt x="18688" y="12531"/>
                </a:cubicBezTo>
                <a:cubicBezTo>
                  <a:pt x="18719" y="12469"/>
                  <a:pt x="18719" y="12406"/>
                  <a:pt x="18781" y="12375"/>
                </a:cubicBezTo>
                <a:cubicBezTo>
                  <a:pt x="18875" y="12344"/>
                  <a:pt x="19000" y="12406"/>
                  <a:pt x="19031" y="12469"/>
                </a:cubicBezTo>
                <a:cubicBezTo>
                  <a:pt x="19031" y="12531"/>
                  <a:pt x="19000" y="12500"/>
                  <a:pt x="18969" y="12531"/>
                </a:cubicBezTo>
                <a:close/>
                <a:moveTo>
                  <a:pt x="19469" y="13125"/>
                </a:moveTo>
                <a:cubicBezTo>
                  <a:pt x="19469" y="13156"/>
                  <a:pt x="19500" y="13188"/>
                  <a:pt x="19438" y="13188"/>
                </a:cubicBezTo>
                <a:cubicBezTo>
                  <a:pt x="19375" y="13188"/>
                  <a:pt x="19344" y="13188"/>
                  <a:pt x="19313" y="13125"/>
                </a:cubicBezTo>
                <a:cubicBezTo>
                  <a:pt x="19281" y="13063"/>
                  <a:pt x="19344" y="13094"/>
                  <a:pt x="19375" y="13094"/>
                </a:cubicBezTo>
                <a:cubicBezTo>
                  <a:pt x="19375" y="13094"/>
                  <a:pt x="19406" y="13063"/>
                  <a:pt x="19406" y="13063"/>
                </a:cubicBezTo>
                <a:cubicBezTo>
                  <a:pt x="19406" y="13031"/>
                  <a:pt x="19375" y="13031"/>
                  <a:pt x="19375" y="13031"/>
                </a:cubicBezTo>
                <a:cubicBezTo>
                  <a:pt x="19313" y="13031"/>
                  <a:pt x="19250" y="12969"/>
                  <a:pt x="19219" y="13063"/>
                </a:cubicBezTo>
                <a:cubicBezTo>
                  <a:pt x="19219" y="13125"/>
                  <a:pt x="19188" y="13094"/>
                  <a:pt x="19156" y="13094"/>
                </a:cubicBezTo>
                <a:cubicBezTo>
                  <a:pt x="19094" y="13094"/>
                  <a:pt x="19063" y="13094"/>
                  <a:pt x="19063" y="13063"/>
                </a:cubicBezTo>
                <a:cubicBezTo>
                  <a:pt x="19031" y="13031"/>
                  <a:pt x="19094" y="13000"/>
                  <a:pt x="19094" y="12969"/>
                </a:cubicBezTo>
                <a:cubicBezTo>
                  <a:pt x="19156" y="12906"/>
                  <a:pt x="19250" y="12906"/>
                  <a:pt x="19313" y="12906"/>
                </a:cubicBezTo>
                <a:cubicBezTo>
                  <a:pt x="19438" y="12906"/>
                  <a:pt x="19531" y="12906"/>
                  <a:pt x="19656" y="12844"/>
                </a:cubicBezTo>
                <a:cubicBezTo>
                  <a:pt x="19625" y="12906"/>
                  <a:pt x="19625" y="12938"/>
                  <a:pt x="19594" y="12938"/>
                </a:cubicBezTo>
                <a:cubicBezTo>
                  <a:pt x="19500" y="12969"/>
                  <a:pt x="19438" y="13031"/>
                  <a:pt x="19469" y="13125"/>
                </a:cubicBezTo>
                <a:close/>
                <a:moveTo>
                  <a:pt x="19563" y="13188"/>
                </a:moveTo>
                <a:cubicBezTo>
                  <a:pt x="19688" y="13125"/>
                  <a:pt x="19844" y="13125"/>
                  <a:pt x="19938" y="13188"/>
                </a:cubicBezTo>
                <a:cubicBezTo>
                  <a:pt x="19938" y="13219"/>
                  <a:pt x="19969" y="13219"/>
                  <a:pt x="19969" y="13250"/>
                </a:cubicBezTo>
                <a:cubicBezTo>
                  <a:pt x="19969" y="13281"/>
                  <a:pt x="19938" y="13281"/>
                  <a:pt x="19906" y="13281"/>
                </a:cubicBezTo>
                <a:cubicBezTo>
                  <a:pt x="19781" y="13281"/>
                  <a:pt x="19688" y="13250"/>
                  <a:pt x="19563" y="13188"/>
                </a:cubicBezTo>
                <a:close/>
                <a:moveTo>
                  <a:pt x="20500" y="14125"/>
                </a:moveTo>
                <a:cubicBezTo>
                  <a:pt x="20438" y="14156"/>
                  <a:pt x="20375" y="14188"/>
                  <a:pt x="20313" y="14219"/>
                </a:cubicBezTo>
                <a:cubicBezTo>
                  <a:pt x="20250" y="14250"/>
                  <a:pt x="20219" y="14219"/>
                  <a:pt x="20156" y="14188"/>
                </a:cubicBezTo>
                <a:cubicBezTo>
                  <a:pt x="20156" y="14125"/>
                  <a:pt x="20250" y="14188"/>
                  <a:pt x="20250" y="14125"/>
                </a:cubicBezTo>
                <a:cubicBezTo>
                  <a:pt x="20281" y="14125"/>
                  <a:pt x="20313" y="14156"/>
                  <a:pt x="20313" y="14094"/>
                </a:cubicBezTo>
                <a:cubicBezTo>
                  <a:pt x="20281" y="14094"/>
                  <a:pt x="20281" y="14094"/>
                  <a:pt x="20250" y="14094"/>
                </a:cubicBezTo>
                <a:cubicBezTo>
                  <a:pt x="20250" y="14094"/>
                  <a:pt x="20250" y="14125"/>
                  <a:pt x="20250" y="14125"/>
                </a:cubicBezTo>
                <a:cubicBezTo>
                  <a:pt x="20219" y="14094"/>
                  <a:pt x="20188" y="14125"/>
                  <a:pt x="20156" y="14125"/>
                </a:cubicBezTo>
                <a:cubicBezTo>
                  <a:pt x="20031" y="14125"/>
                  <a:pt x="19938" y="14156"/>
                  <a:pt x="19813" y="14125"/>
                </a:cubicBezTo>
                <a:cubicBezTo>
                  <a:pt x="19750" y="14125"/>
                  <a:pt x="19719" y="14094"/>
                  <a:pt x="19719" y="14031"/>
                </a:cubicBezTo>
                <a:cubicBezTo>
                  <a:pt x="19719" y="13969"/>
                  <a:pt x="19750" y="13938"/>
                  <a:pt x="19813" y="13938"/>
                </a:cubicBezTo>
                <a:cubicBezTo>
                  <a:pt x="19906" y="13938"/>
                  <a:pt x="20031" y="13844"/>
                  <a:pt x="20125" y="14000"/>
                </a:cubicBezTo>
                <a:cubicBezTo>
                  <a:pt x="20156" y="14031"/>
                  <a:pt x="20188" y="14000"/>
                  <a:pt x="20219" y="13969"/>
                </a:cubicBezTo>
                <a:cubicBezTo>
                  <a:pt x="20250" y="13938"/>
                  <a:pt x="20313" y="13938"/>
                  <a:pt x="20313" y="14000"/>
                </a:cubicBezTo>
                <a:cubicBezTo>
                  <a:pt x="20375" y="14094"/>
                  <a:pt x="20406" y="14031"/>
                  <a:pt x="20469" y="14031"/>
                </a:cubicBezTo>
                <a:cubicBezTo>
                  <a:pt x="20500" y="14031"/>
                  <a:pt x="20563" y="14031"/>
                  <a:pt x="20563" y="14063"/>
                </a:cubicBezTo>
                <a:cubicBezTo>
                  <a:pt x="20594" y="14125"/>
                  <a:pt x="20531" y="14125"/>
                  <a:pt x="20500" y="14125"/>
                </a:cubicBezTo>
                <a:close/>
                <a:moveTo>
                  <a:pt x="20125" y="13281"/>
                </a:moveTo>
                <a:cubicBezTo>
                  <a:pt x="20281" y="13250"/>
                  <a:pt x="20375" y="13375"/>
                  <a:pt x="20531" y="13344"/>
                </a:cubicBezTo>
                <a:cubicBezTo>
                  <a:pt x="20531" y="13344"/>
                  <a:pt x="20531" y="13375"/>
                  <a:pt x="20531" y="13375"/>
                </a:cubicBezTo>
                <a:cubicBezTo>
                  <a:pt x="20531" y="13406"/>
                  <a:pt x="20500" y="13438"/>
                  <a:pt x="20469" y="13438"/>
                </a:cubicBezTo>
                <a:cubicBezTo>
                  <a:pt x="20344" y="13406"/>
                  <a:pt x="20250" y="13375"/>
                  <a:pt x="20125" y="13281"/>
                </a:cubicBezTo>
                <a:close/>
                <a:moveTo>
                  <a:pt x="20219" y="12938"/>
                </a:moveTo>
                <a:cubicBezTo>
                  <a:pt x="20469" y="12938"/>
                  <a:pt x="20719" y="13000"/>
                  <a:pt x="20969" y="13031"/>
                </a:cubicBezTo>
                <a:cubicBezTo>
                  <a:pt x="20844" y="13125"/>
                  <a:pt x="20344" y="13063"/>
                  <a:pt x="20219" y="12938"/>
                </a:cubicBezTo>
                <a:close/>
                <a:moveTo>
                  <a:pt x="21156" y="13625"/>
                </a:moveTo>
                <a:cubicBezTo>
                  <a:pt x="21094" y="13625"/>
                  <a:pt x="21031" y="13594"/>
                  <a:pt x="21000" y="13656"/>
                </a:cubicBezTo>
                <a:cubicBezTo>
                  <a:pt x="20969" y="13656"/>
                  <a:pt x="20938" y="13656"/>
                  <a:pt x="20938" y="13625"/>
                </a:cubicBezTo>
                <a:cubicBezTo>
                  <a:pt x="20906" y="13594"/>
                  <a:pt x="20938" y="13594"/>
                  <a:pt x="20969" y="13594"/>
                </a:cubicBezTo>
                <a:cubicBezTo>
                  <a:pt x="21031" y="13563"/>
                  <a:pt x="21094" y="13500"/>
                  <a:pt x="21125" y="13531"/>
                </a:cubicBezTo>
                <a:cubicBezTo>
                  <a:pt x="21188" y="13531"/>
                  <a:pt x="21250" y="13500"/>
                  <a:pt x="21250" y="13563"/>
                </a:cubicBezTo>
                <a:cubicBezTo>
                  <a:pt x="21250" y="13656"/>
                  <a:pt x="21188" y="13594"/>
                  <a:pt x="21156" y="13625"/>
                </a:cubicBezTo>
                <a:close/>
                <a:moveTo>
                  <a:pt x="20219" y="10563"/>
                </a:moveTo>
                <a:cubicBezTo>
                  <a:pt x="20188" y="10563"/>
                  <a:pt x="20156" y="10563"/>
                  <a:pt x="20156" y="10531"/>
                </a:cubicBezTo>
                <a:cubicBezTo>
                  <a:pt x="20156" y="10500"/>
                  <a:pt x="20188" y="10469"/>
                  <a:pt x="20219" y="10469"/>
                </a:cubicBezTo>
                <a:cubicBezTo>
                  <a:pt x="20344" y="10500"/>
                  <a:pt x="20500" y="10438"/>
                  <a:pt x="20656" y="10531"/>
                </a:cubicBezTo>
                <a:cubicBezTo>
                  <a:pt x="20781" y="10625"/>
                  <a:pt x="20969" y="10656"/>
                  <a:pt x="21125" y="10719"/>
                </a:cubicBezTo>
                <a:cubicBezTo>
                  <a:pt x="21250" y="10750"/>
                  <a:pt x="21344" y="10813"/>
                  <a:pt x="21406" y="10875"/>
                </a:cubicBezTo>
                <a:cubicBezTo>
                  <a:pt x="21000" y="10781"/>
                  <a:pt x="20594" y="10750"/>
                  <a:pt x="20219" y="10563"/>
                </a:cubicBezTo>
                <a:close/>
                <a:moveTo>
                  <a:pt x="22000" y="13563"/>
                </a:moveTo>
                <a:cubicBezTo>
                  <a:pt x="21938" y="13531"/>
                  <a:pt x="21875" y="13500"/>
                  <a:pt x="21875" y="13438"/>
                </a:cubicBezTo>
                <a:cubicBezTo>
                  <a:pt x="21875" y="13375"/>
                  <a:pt x="21938" y="13375"/>
                  <a:pt x="21969" y="13375"/>
                </a:cubicBezTo>
                <a:cubicBezTo>
                  <a:pt x="22031" y="13406"/>
                  <a:pt x="22094" y="13375"/>
                  <a:pt x="22094" y="13469"/>
                </a:cubicBezTo>
                <a:cubicBezTo>
                  <a:pt x="22094" y="13531"/>
                  <a:pt x="22031" y="13531"/>
                  <a:pt x="22000" y="13563"/>
                </a:cubicBezTo>
                <a:close/>
                <a:moveTo>
                  <a:pt x="22406" y="14031"/>
                </a:moveTo>
                <a:cubicBezTo>
                  <a:pt x="22344" y="14031"/>
                  <a:pt x="22344" y="13969"/>
                  <a:pt x="22375" y="13938"/>
                </a:cubicBezTo>
                <a:cubicBezTo>
                  <a:pt x="22500" y="13844"/>
                  <a:pt x="22625" y="13719"/>
                  <a:pt x="22844" y="13844"/>
                </a:cubicBezTo>
                <a:cubicBezTo>
                  <a:pt x="22750" y="13906"/>
                  <a:pt x="22656" y="13969"/>
                  <a:pt x="22563" y="14031"/>
                </a:cubicBezTo>
                <a:cubicBezTo>
                  <a:pt x="22500" y="14031"/>
                  <a:pt x="22469" y="14031"/>
                  <a:pt x="22406" y="14031"/>
                </a:cubicBezTo>
                <a:close/>
                <a:moveTo>
                  <a:pt x="22844" y="14125"/>
                </a:moveTo>
                <a:cubicBezTo>
                  <a:pt x="22781" y="14125"/>
                  <a:pt x="22719" y="14188"/>
                  <a:pt x="22688" y="14094"/>
                </a:cubicBezTo>
                <a:cubicBezTo>
                  <a:pt x="22688" y="14063"/>
                  <a:pt x="22688" y="14063"/>
                  <a:pt x="22656" y="14031"/>
                </a:cubicBezTo>
                <a:cubicBezTo>
                  <a:pt x="22719" y="14031"/>
                  <a:pt x="22750" y="14031"/>
                  <a:pt x="22781" y="14063"/>
                </a:cubicBezTo>
                <a:cubicBezTo>
                  <a:pt x="22813" y="14063"/>
                  <a:pt x="22844" y="14000"/>
                  <a:pt x="22875" y="14063"/>
                </a:cubicBezTo>
                <a:cubicBezTo>
                  <a:pt x="22875" y="14094"/>
                  <a:pt x="22875" y="14125"/>
                  <a:pt x="22844" y="14125"/>
                </a:cubicBezTo>
                <a:close/>
                <a:moveTo>
                  <a:pt x="24031" y="14875"/>
                </a:moveTo>
                <a:cubicBezTo>
                  <a:pt x="23906" y="14875"/>
                  <a:pt x="23813" y="14969"/>
                  <a:pt x="23688" y="15000"/>
                </a:cubicBezTo>
                <a:cubicBezTo>
                  <a:pt x="23656" y="15031"/>
                  <a:pt x="23656" y="15031"/>
                  <a:pt x="23625" y="15000"/>
                </a:cubicBezTo>
                <a:cubicBezTo>
                  <a:pt x="23625" y="15000"/>
                  <a:pt x="23625" y="14969"/>
                  <a:pt x="23625" y="14969"/>
                </a:cubicBezTo>
                <a:cubicBezTo>
                  <a:pt x="23656" y="14844"/>
                  <a:pt x="23875" y="14719"/>
                  <a:pt x="24000" y="14781"/>
                </a:cubicBezTo>
                <a:cubicBezTo>
                  <a:pt x="24031" y="14781"/>
                  <a:pt x="24063" y="14781"/>
                  <a:pt x="24063" y="14844"/>
                </a:cubicBezTo>
                <a:cubicBezTo>
                  <a:pt x="24063" y="14875"/>
                  <a:pt x="24063" y="14875"/>
                  <a:pt x="24031" y="14875"/>
                </a:cubicBezTo>
                <a:close/>
                <a:moveTo>
                  <a:pt x="23938" y="14281"/>
                </a:moveTo>
                <a:cubicBezTo>
                  <a:pt x="23844" y="14250"/>
                  <a:pt x="23719" y="14250"/>
                  <a:pt x="23594" y="14250"/>
                </a:cubicBezTo>
                <a:cubicBezTo>
                  <a:pt x="23469" y="14250"/>
                  <a:pt x="23344" y="14188"/>
                  <a:pt x="23219" y="14219"/>
                </a:cubicBezTo>
                <a:cubicBezTo>
                  <a:pt x="23219" y="14219"/>
                  <a:pt x="23219" y="14188"/>
                  <a:pt x="23219" y="14188"/>
                </a:cubicBezTo>
                <a:cubicBezTo>
                  <a:pt x="23250" y="14063"/>
                  <a:pt x="23156" y="14125"/>
                  <a:pt x="23125" y="14125"/>
                </a:cubicBezTo>
                <a:cubicBezTo>
                  <a:pt x="23094" y="14125"/>
                  <a:pt x="23063" y="14125"/>
                  <a:pt x="23031" y="14125"/>
                </a:cubicBezTo>
                <a:cubicBezTo>
                  <a:pt x="23063" y="14031"/>
                  <a:pt x="22969" y="14000"/>
                  <a:pt x="22969" y="13969"/>
                </a:cubicBezTo>
                <a:cubicBezTo>
                  <a:pt x="22969" y="13906"/>
                  <a:pt x="23000" y="13906"/>
                  <a:pt x="23031" y="13938"/>
                </a:cubicBezTo>
                <a:cubicBezTo>
                  <a:pt x="23094" y="13938"/>
                  <a:pt x="23188" y="13969"/>
                  <a:pt x="23250" y="13969"/>
                </a:cubicBezTo>
                <a:cubicBezTo>
                  <a:pt x="23281" y="13969"/>
                  <a:pt x="23313" y="13969"/>
                  <a:pt x="23281" y="14000"/>
                </a:cubicBezTo>
                <a:cubicBezTo>
                  <a:pt x="23219" y="14125"/>
                  <a:pt x="23344" y="14063"/>
                  <a:pt x="23406" y="14094"/>
                </a:cubicBezTo>
                <a:cubicBezTo>
                  <a:pt x="23469" y="14125"/>
                  <a:pt x="23563" y="14125"/>
                  <a:pt x="23625" y="14156"/>
                </a:cubicBezTo>
                <a:cubicBezTo>
                  <a:pt x="23656" y="14156"/>
                  <a:pt x="23688" y="14188"/>
                  <a:pt x="23719" y="14156"/>
                </a:cubicBezTo>
                <a:cubicBezTo>
                  <a:pt x="23938" y="14063"/>
                  <a:pt x="24125" y="14281"/>
                  <a:pt x="24313" y="14313"/>
                </a:cubicBezTo>
                <a:cubicBezTo>
                  <a:pt x="24188" y="14375"/>
                  <a:pt x="24063" y="14313"/>
                  <a:pt x="23938" y="14281"/>
                </a:cubicBezTo>
                <a:close/>
                <a:moveTo>
                  <a:pt x="24500" y="14313"/>
                </a:moveTo>
                <a:cubicBezTo>
                  <a:pt x="24594" y="14313"/>
                  <a:pt x="24719" y="14250"/>
                  <a:pt x="24813" y="14375"/>
                </a:cubicBezTo>
                <a:cubicBezTo>
                  <a:pt x="24688" y="14375"/>
                  <a:pt x="24563" y="14406"/>
                  <a:pt x="24500" y="14313"/>
                </a:cubicBezTo>
                <a:close/>
                <a:moveTo>
                  <a:pt x="24969" y="14281"/>
                </a:moveTo>
                <a:cubicBezTo>
                  <a:pt x="24938" y="14188"/>
                  <a:pt x="24844" y="14219"/>
                  <a:pt x="24781" y="14219"/>
                </a:cubicBezTo>
                <a:cubicBezTo>
                  <a:pt x="24750" y="14219"/>
                  <a:pt x="24719" y="14219"/>
                  <a:pt x="24719" y="14188"/>
                </a:cubicBezTo>
                <a:cubicBezTo>
                  <a:pt x="24719" y="14125"/>
                  <a:pt x="24750" y="14125"/>
                  <a:pt x="24781" y="14125"/>
                </a:cubicBezTo>
                <a:cubicBezTo>
                  <a:pt x="24906" y="14125"/>
                  <a:pt x="25000" y="14156"/>
                  <a:pt x="25031" y="14281"/>
                </a:cubicBezTo>
                <a:cubicBezTo>
                  <a:pt x="25000" y="14313"/>
                  <a:pt x="24969" y="14313"/>
                  <a:pt x="24969" y="14281"/>
                </a:cubicBezTo>
                <a:close/>
                <a:moveTo>
                  <a:pt x="25719" y="14594"/>
                </a:moveTo>
                <a:cubicBezTo>
                  <a:pt x="25813" y="14500"/>
                  <a:pt x="25906" y="14469"/>
                  <a:pt x="26063" y="14469"/>
                </a:cubicBezTo>
                <a:cubicBezTo>
                  <a:pt x="25969" y="14594"/>
                  <a:pt x="25844" y="14594"/>
                  <a:pt x="25719" y="14594"/>
                </a:cubicBezTo>
                <a:close/>
                <a:moveTo>
                  <a:pt x="26406" y="14375"/>
                </a:moveTo>
                <a:cubicBezTo>
                  <a:pt x="26438" y="14344"/>
                  <a:pt x="26500" y="14281"/>
                  <a:pt x="26375" y="14281"/>
                </a:cubicBezTo>
                <a:cubicBezTo>
                  <a:pt x="26313" y="14281"/>
                  <a:pt x="26313" y="14219"/>
                  <a:pt x="26313" y="14156"/>
                </a:cubicBezTo>
                <a:cubicBezTo>
                  <a:pt x="26344" y="14094"/>
                  <a:pt x="26406" y="14094"/>
                  <a:pt x="26469" y="14094"/>
                </a:cubicBezTo>
                <a:cubicBezTo>
                  <a:pt x="26500" y="14094"/>
                  <a:pt x="26500" y="14156"/>
                  <a:pt x="26500" y="14188"/>
                </a:cubicBezTo>
                <a:cubicBezTo>
                  <a:pt x="26469" y="14219"/>
                  <a:pt x="26469" y="14250"/>
                  <a:pt x="26469" y="14281"/>
                </a:cubicBezTo>
                <a:cubicBezTo>
                  <a:pt x="26531" y="14281"/>
                  <a:pt x="26594" y="14281"/>
                  <a:pt x="26656" y="14281"/>
                </a:cubicBezTo>
                <a:cubicBezTo>
                  <a:pt x="26594" y="14406"/>
                  <a:pt x="26500" y="14375"/>
                  <a:pt x="26406" y="14375"/>
                </a:cubicBezTo>
                <a:close/>
                <a:moveTo>
                  <a:pt x="31406" y="5063"/>
                </a:moveTo>
                <a:cubicBezTo>
                  <a:pt x="31313" y="5156"/>
                  <a:pt x="31250" y="5281"/>
                  <a:pt x="31125" y="5375"/>
                </a:cubicBezTo>
                <a:cubicBezTo>
                  <a:pt x="31094" y="5156"/>
                  <a:pt x="31156" y="5031"/>
                  <a:pt x="31344" y="5000"/>
                </a:cubicBezTo>
                <a:cubicBezTo>
                  <a:pt x="31375" y="5000"/>
                  <a:pt x="31406" y="5000"/>
                  <a:pt x="31406" y="5031"/>
                </a:cubicBezTo>
                <a:cubicBezTo>
                  <a:pt x="31438" y="5031"/>
                  <a:pt x="31406" y="5063"/>
                  <a:pt x="31406" y="5063"/>
                </a:cubicBezTo>
                <a:close/>
                <a:moveTo>
                  <a:pt x="32188" y="8094"/>
                </a:moveTo>
                <a:cubicBezTo>
                  <a:pt x="32156" y="8094"/>
                  <a:pt x="32094" y="8063"/>
                  <a:pt x="32094" y="8000"/>
                </a:cubicBezTo>
                <a:cubicBezTo>
                  <a:pt x="32094" y="7969"/>
                  <a:pt x="32219" y="7844"/>
                  <a:pt x="32281" y="7844"/>
                </a:cubicBezTo>
                <a:cubicBezTo>
                  <a:pt x="32344" y="7844"/>
                  <a:pt x="32438" y="7906"/>
                  <a:pt x="32438" y="7969"/>
                </a:cubicBezTo>
                <a:cubicBezTo>
                  <a:pt x="32375" y="8031"/>
                  <a:pt x="32281" y="8094"/>
                  <a:pt x="32188" y="8094"/>
                </a:cubicBezTo>
                <a:close/>
              </a:path>
            </a:pathLst>
          </a:custGeom>
          <a:pattFill prst="smConfetti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b="1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93E1014-7715-EE41-85FA-6020B7E3D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1920" y="9091042"/>
            <a:ext cx="8719338" cy="31683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64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1907" algn="l"/>
              </a:tabLst>
              <a:defRPr lang="ru-RU" sz="8001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BD6F980D-10AD-2B43-8AB4-F1FE2F3CB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33547" y="9091042"/>
            <a:ext cx="11017224" cy="3168352"/>
          </a:xfrm>
          <a:prstGeom prst="rect">
            <a:avLst/>
          </a:prstGeom>
        </p:spPr>
        <p:txBody>
          <a:bodyPr/>
          <a:lstStyle>
            <a:lvl1pPr>
              <a:defRPr lang="en-US" sz="260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5810077-D939-6D49-A362-B401B335955B}"/>
              </a:ext>
            </a:extLst>
          </p:cNvPr>
          <p:cNvSpPr/>
          <p:nvPr userDrawn="1"/>
        </p:nvSpPr>
        <p:spPr>
          <a:xfrm>
            <a:off x="1608411" y="13603288"/>
            <a:ext cx="4525689" cy="1143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105E4A5C-8B03-574A-B553-5813132D03D4}"/>
              </a:ext>
            </a:extLst>
          </p:cNvPr>
          <p:cNvSpPr txBox="1">
            <a:spLocks/>
          </p:cNvSpPr>
          <p:nvPr userDrawn="1"/>
        </p:nvSpPr>
        <p:spPr>
          <a:xfrm>
            <a:off x="21914667" y="12653267"/>
            <a:ext cx="2492467" cy="818524"/>
          </a:xfrm>
          <a:prstGeom prst="rect">
            <a:avLst/>
          </a:prstGeom>
        </p:spPr>
        <p:txBody>
          <a:bodyPr rIns="432000" anchor="ctr"/>
          <a:lstStyle>
            <a:defPPr>
              <a:defRPr lang="ru-RU"/>
            </a:defPPr>
            <a:lvl1pPr marL="0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2438645">
              <a:lnSpc>
                <a:spcPct val="150000"/>
              </a:lnSpc>
              <a:spcBef>
                <a:spcPts val="864"/>
              </a:spcBef>
            </a:pPr>
            <a:fld id="{E8BBD06A-759F-43F0-9FDD-30D8801384DF}" type="slidenum">
              <a:rPr lang="ru-RU" sz="3200" smtClean="0">
                <a:solidFill>
                  <a:schemeClr val="tx2">
                    <a:lumMod val="50000"/>
                    <a:lumOff val="50000"/>
                  </a:schemeClr>
                </a:solidFill>
                <a:latin typeface="Tahoma" charset="0"/>
                <a:ea typeface="Tahoma" charset="0"/>
                <a:cs typeface="Tahoma" charset="0"/>
              </a:rPr>
              <a:pPr algn="r" defTabSz="2438645">
                <a:lnSpc>
                  <a:spcPct val="150000"/>
                </a:lnSpc>
                <a:spcBef>
                  <a:spcPts val="864"/>
                </a:spcBef>
              </a:pPr>
              <a:t>‹#›</a:t>
            </a:fld>
            <a:endParaRPr lang="ru-RU" sz="3200">
              <a:solidFill>
                <a:schemeClr val="tx2">
                  <a:lumMod val="50000"/>
                  <a:lumOff val="50000"/>
                </a:schemeClr>
              </a:solidFill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12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1" r:id="rId1"/>
    <p:sldLayoutId id="2147485601" r:id="rId2"/>
    <p:sldLayoutId id="2147485676" r:id="rId3"/>
    <p:sldLayoutId id="2147485677" r:id="rId4"/>
    <p:sldLayoutId id="2147485804" r:id="rId5"/>
    <p:sldLayoutId id="2147485805" r:id="rId6"/>
    <p:sldLayoutId id="2147485806" r:id="rId7"/>
    <p:sldLayoutId id="2147485807" r:id="rId8"/>
    <p:sldLayoutId id="2147485808" r:id="rId9"/>
    <p:sldLayoutId id="2147485809" r:id="rId10"/>
    <p:sldLayoutId id="2147485810" r:id="rId11"/>
    <p:sldLayoutId id="2147485811" r:id="rId12"/>
    <p:sldLayoutId id="2147485813" r:id="rId13"/>
    <p:sldLayoutId id="2147485812" r:id="rId14"/>
    <p:sldLayoutId id="2147485815" r:id="rId15"/>
    <p:sldLayoutId id="2147485814" r:id="rId16"/>
    <p:sldLayoutId id="2147485816" r:id="rId17"/>
    <p:sldLayoutId id="2147485817" r:id="rId18"/>
    <p:sldLayoutId id="2147485818" r:id="rId19"/>
    <p:sldLayoutId id="2147485819" r:id="rId20"/>
    <p:sldLayoutId id="2147485820" r:id="rId21"/>
    <p:sldLayoutId id="2147485821" r:id="rId22"/>
    <p:sldLayoutId id="2147485822" r:id="rId23"/>
    <p:sldLayoutId id="2147485823" r:id="rId24"/>
    <p:sldLayoutId id="2147485824" r:id="rId25"/>
    <p:sldLayoutId id="2147485825" r:id="rId26"/>
    <p:sldLayoutId id="2147485694" r:id="rId27"/>
    <p:sldLayoutId id="2147485695" r:id="rId28"/>
    <p:sldLayoutId id="2147485691" r:id="rId29"/>
    <p:sldLayoutId id="2147485692" r:id="rId30"/>
    <p:sldLayoutId id="2147485693" r:id="rId31"/>
    <p:sldLayoutId id="2147485643" r:id="rId32"/>
    <p:sldLayoutId id="2147485683" r:id="rId33"/>
    <p:sldLayoutId id="2147485684" r:id="rId34"/>
    <p:sldLayoutId id="2147485685" r:id="rId35"/>
    <p:sldLayoutId id="2147485686" r:id="rId36"/>
    <p:sldLayoutId id="2147485687" r:id="rId37"/>
    <p:sldLayoutId id="2147485243" r:id="rId38"/>
    <p:sldLayoutId id="2147485191" r:id="rId39"/>
    <p:sldLayoutId id="2147485218" r:id="rId40"/>
    <p:sldLayoutId id="2147485219" r:id="rId41"/>
    <p:sldLayoutId id="2147485220" r:id="rId42"/>
    <p:sldLayoutId id="2147484520" r:id="rId43"/>
    <p:sldLayoutId id="2147485165" r:id="rId44"/>
    <p:sldLayoutId id="2147485673" r:id="rId45"/>
    <p:sldLayoutId id="2147485672" r:id="rId46"/>
    <p:sldLayoutId id="2147485666" r:id="rId47"/>
    <p:sldLayoutId id="2147485327" r:id="rId48"/>
    <p:sldLayoutId id="2147485437" r:id="rId49"/>
    <p:sldLayoutId id="2147485438" r:id="rId50"/>
    <p:sldLayoutId id="2147485442" r:id="rId51"/>
    <p:sldLayoutId id="2147485439" r:id="rId52"/>
    <p:sldLayoutId id="2147485443" r:id="rId53"/>
    <p:sldLayoutId id="2147485441" r:id="rId54"/>
    <p:sldLayoutId id="2147485444" r:id="rId55"/>
    <p:sldLayoutId id="2147485394" r:id="rId56"/>
    <p:sldLayoutId id="2147485367" r:id="rId57"/>
    <p:sldLayoutId id="2147485396" r:id="rId58"/>
    <p:sldLayoutId id="2147485387" r:id="rId59"/>
    <p:sldLayoutId id="2147485400" r:id="rId60"/>
    <p:sldLayoutId id="2147485389" r:id="rId61"/>
    <p:sldLayoutId id="2147485337" r:id="rId62"/>
    <p:sldLayoutId id="2147485391" r:id="rId63"/>
    <p:sldLayoutId id="2147485445" r:id="rId64"/>
    <p:sldLayoutId id="2147485395" r:id="rId65"/>
    <p:sldLayoutId id="2147485446" r:id="rId66"/>
    <p:sldLayoutId id="2147485397" r:id="rId67"/>
    <p:sldLayoutId id="2147485447" r:id="rId68"/>
    <p:sldLayoutId id="2147485399" r:id="rId69"/>
    <p:sldLayoutId id="2147485384" r:id="rId70"/>
    <p:sldLayoutId id="2147485335" r:id="rId71"/>
    <p:sldLayoutId id="2147485398" r:id="rId72"/>
    <p:sldLayoutId id="2147485448" r:id="rId73"/>
    <p:sldLayoutId id="2147485330" r:id="rId74"/>
    <p:sldLayoutId id="2147485422" r:id="rId75"/>
    <p:sldLayoutId id="2147485423" r:id="rId76"/>
    <p:sldLayoutId id="2147485419" r:id="rId77"/>
    <p:sldLayoutId id="2147485421" r:id="rId78"/>
    <p:sldLayoutId id="2147485401" r:id="rId79"/>
    <p:sldLayoutId id="2147485402" r:id="rId80"/>
    <p:sldLayoutId id="2147485357" r:id="rId81"/>
    <p:sldLayoutId id="2147485356" r:id="rId82"/>
    <p:sldLayoutId id="2147485403" r:id="rId83"/>
    <p:sldLayoutId id="2147485334" r:id="rId84"/>
    <p:sldLayoutId id="2147485449" r:id="rId85"/>
    <p:sldLayoutId id="2147485339" r:id="rId86"/>
    <p:sldLayoutId id="2147485342" r:id="rId87"/>
    <p:sldLayoutId id="2147485343" r:id="rId88"/>
    <p:sldLayoutId id="2147485368" r:id="rId89"/>
    <p:sldLayoutId id="2147485369" r:id="rId90"/>
    <p:sldLayoutId id="2147485370" r:id="rId91"/>
    <p:sldLayoutId id="2147485424" r:id="rId92"/>
    <p:sldLayoutId id="2147485425" r:id="rId93"/>
    <p:sldLayoutId id="2147485418" r:id="rId94"/>
    <p:sldLayoutId id="2147485372" r:id="rId95"/>
    <p:sldLayoutId id="2147485371" r:id="rId96"/>
    <p:sldLayoutId id="2147485373" r:id="rId97"/>
    <p:sldLayoutId id="2147485383" r:id="rId98"/>
    <p:sldLayoutId id="2147485374" r:id="rId99"/>
    <p:sldLayoutId id="2147485375" r:id="rId100"/>
    <p:sldLayoutId id="2147485376" r:id="rId101"/>
    <p:sldLayoutId id="2147485377" r:id="rId102"/>
    <p:sldLayoutId id="2147485378" r:id="rId103"/>
    <p:sldLayoutId id="2147485379" r:id="rId104"/>
    <p:sldLayoutId id="2147485380" r:id="rId105"/>
    <p:sldLayoutId id="2147485381" r:id="rId106"/>
    <p:sldLayoutId id="2147485426" r:id="rId107"/>
    <p:sldLayoutId id="2147485427" r:id="rId108"/>
    <p:sldLayoutId id="2147485428" r:id="rId109"/>
    <p:sldLayoutId id="2147485429" r:id="rId110"/>
    <p:sldLayoutId id="2147485430" r:id="rId111"/>
    <p:sldLayoutId id="2147485431" r:id="rId112"/>
    <p:sldLayoutId id="2147485432" r:id="rId113"/>
    <p:sldLayoutId id="2147485433" r:id="rId114"/>
    <p:sldLayoutId id="2147485434" r:id="rId115"/>
    <p:sldLayoutId id="2147485435" r:id="rId116"/>
    <p:sldLayoutId id="2147485436" r:id="rId117"/>
    <p:sldLayoutId id="2147485656" r:id="rId118"/>
    <p:sldLayoutId id="2147485657" r:id="rId119"/>
    <p:sldLayoutId id="2147485658" r:id="rId120"/>
    <p:sldLayoutId id="2147485655" r:id="rId121"/>
    <p:sldLayoutId id="2147485659" r:id="rId122"/>
    <p:sldLayoutId id="2147485660" r:id="rId123"/>
    <p:sldLayoutId id="2147485661" r:id="rId124"/>
    <p:sldLayoutId id="2147485662" r:id="rId125"/>
    <p:sldLayoutId id="2147485664" r:id="rId126"/>
    <p:sldLayoutId id="2147485665" r:id="rId127"/>
    <p:sldLayoutId id="2147485663" r:id="rId128"/>
    <p:sldLayoutId id="2147485487" r:id="rId129"/>
    <p:sldLayoutId id="2147485488" r:id="rId130"/>
    <p:sldLayoutId id="2147485489" r:id="rId131"/>
    <p:sldLayoutId id="2147485490" r:id="rId132"/>
    <p:sldLayoutId id="2147485491" r:id="rId133"/>
    <p:sldLayoutId id="2147485492" r:id="rId134"/>
    <p:sldLayoutId id="2147485504" r:id="rId135"/>
    <p:sldLayoutId id="2147485502" r:id="rId136"/>
    <p:sldLayoutId id="2147485500" r:id="rId137"/>
    <p:sldLayoutId id="2147485499" r:id="rId138"/>
    <p:sldLayoutId id="2147485493" r:id="rId139"/>
    <p:sldLayoutId id="2147485501" r:id="rId140"/>
    <p:sldLayoutId id="2147485498" r:id="rId141"/>
    <p:sldLayoutId id="2147485495" r:id="rId142"/>
    <p:sldLayoutId id="2147485496" r:id="rId143"/>
    <p:sldLayoutId id="2147485505" r:id="rId144"/>
    <p:sldLayoutId id="2147485690" r:id="rId145"/>
    <p:sldLayoutId id="2147485826" r:id="rId146"/>
    <p:sldLayoutId id="2147485827" r:id="rId147"/>
  </p:sldLayoutIdLst>
  <p:hf hdr="0"/>
  <p:txStyles>
    <p:titleStyle>
      <a:lvl1pPr algn="ctr" defTabSz="2438645" rtl="0" eaLnBrk="1" latinLnBrk="0" hangingPunct="1">
        <a:spcBef>
          <a:spcPct val="0"/>
        </a:spcBef>
        <a:buNone/>
        <a:defRPr sz="117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492" indent="-914492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1" kern="1200">
          <a:solidFill>
            <a:schemeClr val="tx1"/>
          </a:solidFill>
          <a:latin typeface="+mn-lt"/>
          <a:ea typeface="+mn-ea"/>
          <a:cs typeface="+mn-cs"/>
        </a:defRPr>
      </a:lvl1pPr>
      <a:lvl2pPr marL="1981398" indent="-762077" algn="l" defTabSz="2438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1" kern="1200">
          <a:solidFill>
            <a:schemeClr val="tx1"/>
          </a:solidFill>
          <a:latin typeface="+mn-lt"/>
          <a:ea typeface="+mn-ea"/>
          <a:cs typeface="+mn-cs"/>
        </a:defRPr>
      </a:lvl2pPr>
      <a:lvl3pPr marL="3048305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1" kern="1200">
          <a:solidFill>
            <a:schemeClr val="tx1"/>
          </a:solidFill>
          <a:latin typeface="+mn-lt"/>
          <a:ea typeface="+mn-ea"/>
          <a:cs typeface="+mn-cs"/>
        </a:defRPr>
      </a:lvl3pPr>
      <a:lvl4pPr marL="4267626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1" kern="1200">
          <a:solidFill>
            <a:schemeClr val="tx1"/>
          </a:solidFill>
          <a:latin typeface="+mn-lt"/>
          <a:ea typeface="+mn-ea"/>
          <a:cs typeface="+mn-cs"/>
        </a:defRPr>
      </a:lvl4pPr>
      <a:lvl5pPr marL="5486948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»"/>
        <a:defRPr sz="5301" kern="1200">
          <a:solidFill>
            <a:schemeClr val="tx1"/>
          </a:solidFill>
          <a:latin typeface="+mn-lt"/>
          <a:ea typeface="+mn-ea"/>
          <a:cs typeface="+mn-cs"/>
        </a:defRPr>
      </a:lvl5pPr>
      <a:lvl6pPr marL="6706271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6pPr>
      <a:lvl7pPr marL="7925593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7pPr>
      <a:lvl8pPr marL="9144913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8pPr>
      <a:lvl9pPr marL="10364236" indent="-609660" algn="l" defTabSz="2438645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322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645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966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288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6610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932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5253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4574" algn="l" defTabSz="2438645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6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6.xml"/><Relationship Id="rId1" Type="http://schemas.openxmlformats.org/officeDocument/2006/relationships/tags" Target="../tags/tag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.pn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6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86;p4">
            <a:extLst>
              <a:ext uri="{FF2B5EF4-FFF2-40B4-BE49-F238E27FC236}">
                <a16:creationId xmlns:a16="http://schemas.microsoft.com/office/drawing/2014/main" id="{C17157BE-A9C9-B5C9-0472-E2113EB79D8F}"/>
              </a:ext>
            </a:extLst>
          </p:cNvPr>
          <p:cNvSpPr txBox="1"/>
          <p:nvPr/>
        </p:nvSpPr>
        <p:spPr>
          <a:xfrm>
            <a:off x="-47772" y="7931404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ST498 Group 17: Modelling the World‘s Oceans</a:t>
            </a:r>
          </a:p>
        </p:txBody>
      </p:sp>
      <p:sp>
        <p:nvSpPr>
          <p:cNvPr id="7" name="Google Shape;186;p4">
            <a:extLst>
              <a:ext uri="{FF2B5EF4-FFF2-40B4-BE49-F238E27FC236}">
                <a16:creationId xmlns:a16="http://schemas.microsoft.com/office/drawing/2014/main" id="{1FE35218-7344-6CCA-9EE0-A800BEB665E2}"/>
              </a:ext>
            </a:extLst>
          </p:cNvPr>
          <p:cNvSpPr txBox="1"/>
          <p:nvPr/>
        </p:nvSpPr>
        <p:spPr>
          <a:xfrm>
            <a:off x="10948729" y="6042747"/>
            <a:ext cx="2016222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&amp;</a:t>
            </a:r>
          </a:p>
        </p:txBody>
      </p:sp>
      <p:pic>
        <p:nvPicPr>
          <p:cNvPr id="2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16CEE5C8-4AC1-0B3A-16E8-E1102E6AB5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228" y="5057885"/>
            <a:ext cx="4478194" cy="298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AF4887A1-B17C-07E7-8012-EF8F4CB15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7957" y="4483836"/>
            <a:ext cx="4143731" cy="414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Google Shape;186;p4">
            <a:extLst>
              <a:ext uri="{FF2B5EF4-FFF2-40B4-BE49-F238E27FC236}">
                <a16:creationId xmlns:a16="http://schemas.microsoft.com/office/drawing/2014/main" id="{F5B275BA-DCFB-C8AF-40BD-76027FB2CAAC}"/>
              </a:ext>
            </a:extLst>
          </p:cNvPr>
          <p:cNvSpPr txBox="1"/>
          <p:nvPr/>
        </p:nvSpPr>
        <p:spPr>
          <a:xfrm>
            <a:off x="-47772" y="4194498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1st All Hands Meeting 31.01.2025</a:t>
            </a:r>
          </a:p>
        </p:txBody>
      </p:sp>
    </p:spTree>
    <p:extLst>
      <p:ext uri="{BB962C8B-B14F-4D97-AF65-F5344CB8AC3E}">
        <p14:creationId xmlns:p14="http://schemas.microsoft.com/office/powerpoint/2010/main" val="200076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231E4B44-9B30-2D60-D5E0-551A112CF10C}"/>
              </a:ext>
            </a:extLst>
          </p:cNvPr>
          <p:cNvSpPr txBox="1"/>
          <p:nvPr/>
        </p:nvSpPr>
        <p:spPr>
          <a:xfrm>
            <a:off x="775775" y="4966828"/>
            <a:ext cx="178683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latin typeface="Montserrat" pitchFamily="2" charset="77"/>
              </a:rPr>
              <a:t>Type 1 </a:t>
            </a:r>
          </a:p>
          <a:p>
            <a:pPr algn="ctr"/>
            <a:r>
              <a:rPr lang="en-US" sz="2400" b="1">
                <a:solidFill>
                  <a:schemeClr val="tx2"/>
                </a:solidFill>
                <a:latin typeface="Montserrat" pitchFamily="2" charset="77"/>
              </a:rPr>
              <a:t>Data</a:t>
            </a:r>
          </a:p>
          <a:p>
            <a:pPr algn="ctr"/>
            <a:r>
              <a:rPr lang="en-US" sz="2000">
                <a:solidFill>
                  <a:schemeClr val="tx2"/>
                </a:solidFill>
                <a:latin typeface="Montserrat" pitchFamily="2" charset="77"/>
              </a:rPr>
              <a:t>Description</a:t>
            </a:r>
            <a:endParaRPr lang="en-US" sz="1800">
              <a:solidFill>
                <a:schemeClr val="tx2"/>
              </a:solidFill>
              <a:latin typeface="Montserrat" pitchFamily="2" charset="77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1B9F48A-4DC2-1957-3C01-529D33AFEAC6}"/>
              </a:ext>
            </a:extLst>
          </p:cNvPr>
          <p:cNvSpPr/>
          <p:nvPr/>
        </p:nvSpPr>
        <p:spPr>
          <a:xfrm rot="10800000">
            <a:off x="17919754" y="2989300"/>
            <a:ext cx="5788731" cy="9967412"/>
          </a:xfrm>
          <a:prstGeom prst="roundRect">
            <a:avLst>
              <a:gd name="adj" fmla="val 4451"/>
            </a:avLst>
          </a:prstGeom>
          <a:gradFill flip="none" rotWithShape="1">
            <a:gsLst>
              <a:gs pos="1000">
                <a:schemeClr val="bg1"/>
              </a:gs>
              <a:gs pos="100000">
                <a:schemeClr val="bg1"/>
              </a:gs>
              <a:gs pos="70000">
                <a:srgbClr val="F5F8FF"/>
              </a:gs>
              <a:gs pos="5000">
                <a:srgbClr val="F5F8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CBF42E0-E145-AA6E-D0C7-2C3CDCCA546D}"/>
              </a:ext>
            </a:extLst>
          </p:cNvPr>
          <p:cNvGrpSpPr/>
          <p:nvPr/>
        </p:nvGrpSpPr>
        <p:grpSpPr>
          <a:xfrm>
            <a:off x="25030726" y="1727976"/>
            <a:ext cx="1550074" cy="2989772"/>
            <a:chOff x="12604420" y="4465287"/>
            <a:chExt cx="1787303" cy="3447338"/>
          </a:xfrm>
        </p:grpSpPr>
        <p:sp>
          <p:nvSpPr>
            <p:cNvPr id="80" name="Bent Arrow 79">
              <a:extLst>
                <a:ext uri="{FF2B5EF4-FFF2-40B4-BE49-F238E27FC236}">
                  <a16:creationId xmlns:a16="http://schemas.microsoft.com/office/drawing/2014/main" id="{73C646F7-7A56-D587-BFDB-E1863EB55663}"/>
                </a:ext>
              </a:extLst>
            </p:cNvPr>
            <p:cNvSpPr/>
            <p:nvPr/>
          </p:nvSpPr>
          <p:spPr>
            <a:xfrm>
              <a:off x="12604420" y="6188956"/>
              <a:ext cx="893651" cy="1723669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1" name="Bent Arrow 80">
              <a:extLst>
                <a:ext uri="{FF2B5EF4-FFF2-40B4-BE49-F238E27FC236}">
                  <a16:creationId xmlns:a16="http://schemas.microsoft.com/office/drawing/2014/main" id="{473F7D00-2B6F-8EE0-3521-8BFAFA5E3E4B}"/>
                </a:ext>
              </a:extLst>
            </p:cNvPr>
            <p:cNvSpPr/>
            <p:nvPr/>
          </p:nvSpPr>
          <p:spPr>
            <a:xfrm rot="10800000">
              <a:off x="13498072" y="4465287"/>
              <a:ext cx="893651" cy="1723669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062BA-79B5-8C52-FBA4-A6A905280178}"/>
              </a:ext>
            </a:extLst>
          </p:cNvPr>
          <p:cNvGrpSpPr/>
          <p:nvPr/>
        </p:nvGrpSpPr>
        <p:grpSpPr>
          <a:xfrm rot="10800000">
            <a:off x="16766182" y="8236176"/>
            <a:ext cx="2341976" cy="1787302"/>
            <a:chOff x="83869" y="4842570"/>
            <a:chExt cx="7465683" cy="2160241"/>
          </a:xfrm>
          <a:solidFill>
            <a:srgbClr val="2463EC"/>
          </a:solidFill>
        </p:grpSpPr>
        <p:sp>
          <p:nvSpPr>
            <p:cNvPr id="14" name="Bent Arrow 13">
              <a:extLst>
                <a:ext uri="{FF2B5EF4-FFF2-40B4-BE49-F238E27FC236}">
                  <a16:creationId xmlns:a16="http://schemas.microsoft.com/office/drawing/2014/main" id="{9B0101AB-14DB-6008-EFB5-EA834B2D9BA3}"/>
                </a:ext>
              </a:extLst>
            </p:cNvPr>
            <p:cNvSpPr/>
            <p:nvPr/>
          </p:nvSpPr>
          <p:spPr>
            <a:xfrm rot="16200000">
              <a:off x="5143072" y="4596330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Bent Arrow 17">
              <a:extLst>
                <a:ext uri="{FF2B5EF4-FFF2-40B4-BE49-F238E27FC236}">
                  <a16:creationId xmlns:a16="http://schemas.microsoft.com/office/drawing/2014/main" id="{DA19267A-A242-1069-B046-1B5C11F2CABC}"/>
                </a:ext>
              </a:extLst>
            </p:cNvPr>
            <p:cNvSpPr/>
            <p:nvPr/>
          </p:nvSpPr>
          <p:spPr>
            <a:xfrm rot="5400000">
              <a:off x="1410230" y="3516209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4" name="Google Shape;1021;p152">
            <a:extLst>
              <a:ext uri="{FF2B5EF4-FFF2-40B4-BE49-F238E27FC236}">
                <a16:creationId xmlns:a16="http://schemas.microsoft.com/office/drawing/2014/main" id="{3D9D6979-BF9F-6868-62BB-04ED3A2BEDE0}"/>
              </a:ext>
            </a:extLst>
          </p:cNvPr>
          <p:cNvSpPr txBox="1"/>
          <p:nvPr/>
        </p:nvSpPr>
        <p:spPr>
          <a:xfrm>
            <a:off x="18711246" y="10876761"/>
            <a:ext cx="4859954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Description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C0A45FF9-D509-E0B7-C6B0-EEA96B24F7D5}"/>
              </a:ext>
            </a:extLst>
          </p:cNvPr>
          <p:cNvSpPr/>
          <p:nvPr/>
        </p:nvSpPr>
        <p:spPr>
          <a:xfrm>
            <a:off x="18712772" y="9428521"/>
            <a:ext cx="4443442" cy="126666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66" name="Google Shape;1021;p152">
            <a:extLst>
              <a:ext uri="{FF2B5EF4-FFF2-40B4-BE49-F238E27FC236}">
                <a16:creationId xmlns:a16="http://schemas.microsoft.com/office/drawing/2014/main" id="{C97C2BFA-FE46-1B86-4B68-FF0C853B846C}"/>
              </a:ext>
            </a:extLst>
          </p:cNvPr>
          <p:cNvSpPr txBox="1">
            <a:spLocks/>
          </p:cNvSpPr>
          <p:nvPr/>
        </p:nvSpPr>
        <p:spPr>
          <a:xfrm>
            <a:off x="19726484" y="9811122"/>
            <a:ext cx="348432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81FB"/>
                </a:solidFill>
                <a:latin typeface="Montserrat"/>
                <a:sym typeface="Montserrat"/>
              </a:rPr>
              <a:t>Fishery 2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A1EB25B-9CDB-3B57-AA45-4949D2BFD83A}"/>
              </a:ext>
            </a:extLst>
          </p:cNvPr>
          <p:cNvSpPr>
            <a:spLocks noChangeAspect="1"/>
          </p:cNvSpPr>
          <p:nvPr/>
        </p:nvSpPr>
        <p:spPr>
          <a:xfrm rot="10800000">
            <a:off x="18573384" y="9896991"/>
            <a:ext cx="278746" cy="278746"/>
          </a:xfrm>
          <a:prstGeom prst="ellipse">
            <a:avLst/>
          </a:prstGeom>
          <a:solidFill>
            <a:srgbClr val="0081FB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EB50A2-E92B-9681-0386-362B3534E0D5}"/>
              </a:ext>
            </a:extLst>
          </p:cNvPr>
          <p:cNvGrpSpPr/>
          <p:nvPr/>
        </p:nvGrpSpPr>
        <p:grpSpPr>
          <a:xfrm flipH="1">
            <a:off x="16764914" y="6060233"/>
            <a:ext cx="2343153" cy="1787302"/>
            <a:chOff x="83869" y="4842570"/>
            <a:chExt cx="7465683" cy="2160241"/>
          </a:xfrm>
          <a:solidFill>
            <a:srgbClr val="2463EC"/>
          </a:solidFill>
        </p:grpSpPr>
        <p:sp>
          <p:nvSpPr>
            <p:cNvPr id="47" name="Bent Arrow 46">
              <a:extLst>
                <a:ext uri="{FF2B5EF4-FFF2-40B4-BE49-F238E27FC236}">
                  <a16:creationId xmlns:a16="http://schemas.microsoft.com/office/drawing/2014/main" id="{F66EBAE3-6131-B2A3-669B-3C1464AA0FBE}"/>
                </a:ext>
              </a:extLst>
            </p:cNvPr>
            <p:cNvSpPr/>
            <p:nvPr/>
          </p:nvSpPr>
          <p:spPr>
            <a:xfrm rot="16200000">
              <a:off x="5143072" y="4596330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Bent Arrow 47">
              <a:extLst>
                <a:ext uri="{FF2B5EF4-FFF2-40B4-BE49-F238E27FC236}">
                  <a16:creationId xmlns:a16="http://schemas.microsoft.com/office/drawing/2014/main" id="{EFE14E60-B425-8A28-8ABF-6B933CA1118C}"/>
                </a:ext>
              </a:extLst>
            </p:cNvPr>
            <p:cNvSpPr/>
            <p:nvPr/>
          </p:nvSpPr>
          <p:spPr>
            <a:xfrm rot="5400000">
              <a:off x="1410230" y="3516209"/>
              <a:ext cx="1080120" cy="3732841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25021"/>
              </a:avLst>
            </a:prstGeom>
            <a:grpFill/>
            <a:ln>
              <a:solidFill>
                <a:srgbClr val="0081F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8" name="Rounded Rectangle 187">
            <a:extLst>
              <a:ext uri="{FF2B5EF4-FFF2-40B4-BE49-F238E27FC236}">
                <a16:creationId xmlns:a16="http://schemas.microsoft.com/office/drawing/2014/main" id="{D182C1CE-438E-BE3C-5D7C-7DEC9A976BCA}"/>
              </a:ext>
            </a:extLst>
          </p:cNvPr>
          <p:cNvSpPr/>
          <p:nvPr/>
        </p:nvSpPr>
        <p:spPr>
          <a:xfrm>
            <a:off x="18712762" y="5408236"/>
            <a:ext cx="4443440" cy="126666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4E2EF-6FCD-8C87-50D8-2E1F3A0B2A2F}"/>
              </a:ext>
            </a:extLst>
          </p:cNvPr>
          <p:cNvSpPr>
            <a:spLocks noChangeAspect="1"/>
          </p:cNvSpPr>
          <p:nvPr/>
        </p:nvSpPr>
        <p:spPr>
          <a:xfrm flipH="1">
            <a:off x="18573374" y="5940894"/>
            <a:ext cx="278886" cy="278746"/>
          </a:xfrm>
          <a:prstGeom prst="ellipse">
            <a:avLst/>
          </a:prstGeom>
          <a:solidFill>
            <a:srgbClr val="0081FB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Google Shape;1021;p152">
            <a:extLst>
              <a:ext uri="{FF2B5EF4-FFF2-40B4-BE49-F238E27FC236}">
                <a16:creationId xmlns:a16="http://schemas.microsoft.com/office/drawing/2014/main" id="{E10F2AC4-3519-9DF8-5D1B-2E5E09597030}"/>
              </a:ext>
            </a:extLst>
          </p:cNvPr>
          <p:cNvSpPr txBox="1">
            <a:spLocks/>
          </p:cNvSpPr>
          <p:nvPr/>
        </p:nvSpPr>
        <p:spPr>
          <a:xfrm>
            <a:off x="19610411" y="5893114"/>
            <a:ext cx="3484326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81FB"/>
                </a:solidFill>
                <a:latin typeface="Montserrat"/>
                <a:sym typeface="Montserrat"/>
              </a:rPr>
              <a:t>Pollution 1</a:t>
            </a:r>
          </a:p>
        </p:txBody>
      </p:sp>
      <p:sp>
        <p:nvSpPr>
          <p:cNvPr id="97" name="Google Shape;1021;p152">
            <a:extLst>
              <a:ext uri="{FF2B5EF4-FFF2-40B4-BE49-F238E27FC236}">
                <a16:creationId xmlns:a16="http://schemas.microsoft.com/office/drawing/2014/main" id="{64F577BD-54CE-AF72-6069-ACA2D26CD350}"/>
              </a:ext>
            </a:extLst>
          </p:cNvPr>
          <p:cNvSpPr txBox="1"/>
          <p:nvPr/>
        </p:nvSpPr>
        <p:spPr>
          <a:xfrm>
            <a:off x="18711246" y="6844313"/>
            <a:ext cx="504464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Description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2363ED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8179AEE-C36F-45C7-73EC-BAA8AD2146DE}"/>
              </a:ext>
            </a:extLst>
          </p:cNvPr>
          <p:cNvSpPr>
            <a:spLocks noChangeAspect="1"/>
          </p:cNvSpPr>
          <p:nvPr/>
        </p:nvSpPr>
        <p:spPr>
          <a:xfrm rot="5400000">
            <a:off x="26441744" y="1441136"/>
            <a:ext cx="277893" cy="2787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A7183A-0CB1-DDA2-1657-090DEFCC8512}"/>
              </a:ext>
            </a:extLst>
          </p:cNvPr>
          <p:cNvSpPr txBox="1"/>
          <p:nvPr/>
        </p:nvSpPr>
        <p:spPr>
          <a:xfrm>
            <a:off x="18302883" y="3383246"/>
            <a:ext cx="51220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81FB"/>
                </a:solidFill>
                <a:latin typeface="Montserrat" pitchFamily="2" charset="77"/>
              </a:rPr>
              <a:t>Output</a:t>
            </a:r>
          </a:p>
          <a:p>
            <a:pPr algn="ctr"/>
            <a:r>
              <a:rPr lang="en-US" sz="2000">
                <a:solidFill>
                  <a:srgbClr val="0081FB"/>
                </a:solidFill>
                <a:latin typeface="Montserrat" pitchFamily="2" charset="77"/>
              </a:rPr>
              <a:t>Descript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B0A8459-CE7F-55B4-4554-D4C4F53C7FA7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err="1"/>
              <a:t>These are the datasets we want to use to develop the foundation model for modelling the world’s oceans</a:t>
            </a:r>
            <a:endParaRPr lang="en-US" sz="3200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73C4D901-750B-C56F-B42B-6DEC531B1550}"/>
              </a:ext>
            </a:extLst>
          </p:cNvPr>
          <p:cNvSpPr txBox="1"/>
          <p:nvPr/>
        </p:nvSpPr>
        <p:spPr>
          <a:xfrm>
            <a:off x="815975" y="9916368"/>
            <a:ext cx="18562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9A9898"/>
                </a:solidFill>
                <a:latin typeface="Montserrat" pitchFamily="2" charset="77"/>
              </a:rPr>
              <a:t>Type 2 </a:t>
            </a:r>
          </a:p>
          <a:p>
            <a:pPr algn="ctr"/>
            <a:r>
              <a:rPr lang="en-US" sz="2400" b="1" err="1">
                <a:solidFill>
                  <a:srgbClr val="9A9898"/>
                </a:solidFill>
                <a:latin typeface="Montserrat" pitchFamily="2" charset="77"/>
              </a:rPr>
              <a:t>Data</a:t>
            </a:r>
            <a:endParaRPr lang="en-US" sz="2400" b="1">
              <a:solidFill>
                <a:srgbClr val="9A9898"/>
              </a:solidFill>
              <a:latin typeface="Montserrat" pitchFamily="2" charset="77"/>
            </a:endParaRPr>
          </a:p>
          <a:p>
            <a:pPr algn="ctr"/>
            <a:r>
              <a:rPr lang="en-US" sz="2000">
                <a:solidFill>
                  <a:srgbClr val="9A9898"/>
                </a:solidFill>
                <a:latin typeface="Montserrat" pitchFamily="2" charset="77"/>
              </a:rPr>
              <a:t>Description</a:t>
            </a:r>
            <a:endParaRPr lang="en-US" sz="2000" b="1">
              <a:solidFill>
                <a:srgbClr val="9A9898"/>
              </a:solidFill>
              <a:latin typeface="Montserrat" pitchFamily="2" charset="77"/>
            </a:endParaRPr>
          </a:p>
        </p:txBody>
      </p:sp>
      <p:sp>
        <p:nvSpPr>
          <p:cNvPr id="24" name="Google Shape;1019;p152">
            <a:extLst>
              <a:ext uri="{FF2B5EF4-FFF2-40B4-BE49-F238E27FC236}">
                <a16:creationId xmlns:a16="http://schemas.microsoft.com/office/drawing/2014/main" id="{3FDDFAA6-DB5A-FE9C-6DF8-E2ABBCDC94CD}"/>
              </a:ext>
            </a:extLst>
          </p:cNvPr>
          <p:cNvSpPr txBox="1"/>
          <p:nvPr/>
        </p:nvSpPr>
        <p:spPr>
          <a:xfrm>
            <a:off x="2869413" y="5850682"/>
            <a:ext cx="8518833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AFDC5E95-B902-328C-B93A-B914F22446D9}"/>
              </a:ext>
            </a:extLst>
          </p:cNvPr>
          <p:cNvSpPr/>
          <p:nvPr/>
        </p:nvSpPr>
        <p:spPr>
          <a:xfrm>
            <a:off x="2832547" y="5024198"/>
            <a:ext cx="9361041" cy="78649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025812FE-D4AB-8420-6EF5-E522A177497A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12017222" y="5303630"/>
            <a:ext cx="277754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Google Shape;1011;p152">
            <a:extLst>
              <a:ext uri="{FF2B5EF4-FFF2-40B4-BE49-F238E27FC236}">
                <a16:creationId xmlns:a16="http://schemas.microsoft.com/office/drawing/2014/main" id="{FFF6682A-8394-5BFB-1B56-FF5B78899DEE}"/>
              </a:ext>
            </a:extLst>
          </p:cNvPr>
          <p:cNvSpPr txBox="1"/>
          <p:nvPr/>
        </p:nvSpPr>
        <p:spPr>
          <a:xfrm>
            <a:off x="3559049" y="5215504"/>
            <a:ext cx="353914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tx2"/>
                </a:solidFill>
                <a:latin typeface="Montserrat"/>
                <a:ea typeface="Montserrat"/>
                <a:cs typeface="Montserrat"/>
                <a:sym typeface="Montserrat"/>
              </a:rPr>
              <a:t>Dataset Group 2</a:t>
            </a:r>
          </a:p>
        </p:txBody>
      </p:sp>
      <p:pic>
        <p:nvPicPr>
          <p:cNvPr id="16" name="Graphic 15" descr="Database outline">
            <a:extLst>
              <a:ext uri="{FF2B5EF4-FFF2-40B4-BE49-F238E27FC236}">
                <a16:creationId xmlns:a16="http://schemas.microsoft.com/office/drawing/2014/main" id="{EE7FA5E3-286D-1A5D-2C6D-050C2A8930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45201" y="5027584"/>
            <a:ext cx="744749" cy="744749"/>
          </a:xfrm>
          <a:prstGeom prst="rect">
            <a:avLst/>
          </a:prstGeom>
        </p:spPr>
      </p:pic>
      <p:sp>
        <p:nvSpPr>
          <p:cNvPr id="13" name="Google Shape;1021;p152">
            <a:extLst>
              <a:ext uri="{FF2B5EF4-FFF2-40B4-BE49-F238E27FC236}">
                <a16:creationId xmlns:a16="http://schemas.microsoft.com/office/drawing/2014/main" id="{23C23C04-92AE-C1D1-9E58-571FD0869D07}"/>
              </a:ext>
            </a:extLst>
          </p:cNvPr>
          <p:cNvSpPr txBox="1"/>
          <p:nvPr/>
        </p:nvSpPr>
        <p:spPr>
          <a:xfrm>
            <a:off x="2868708" y="7946021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57" name="Rounded Rectangle 156">
            <a:extLst>
              <a:ext uri="{FF2B5EF4-FFF2-40B4-BE49-F238E27FC236}">
                <a16:creationId xmlns:a16="http://schemas.microsoft.com/office/drawing/2014/main" id="{05B52822-D8F9-3C93-44A1-44A5A00C4767}"/>
              </a:ext>
            </a:extLst>
          </p:cNvPr>
          <p:cNvSpPr/>
          <p:nvPr/>
        </p:nvSpPr>
        <p:spPr>
          <a:xfrm>
            <a:off x="2835034" y="7002810"/>
            <a:ext cx="9361041" cy="78649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9307C2BB-FCD6-91C7-27EC-B249B2DE9388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12026790" y="7230932"/>
            <a:ext cx="277754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Google Shape;1011;p152">
            <a:extLst>
              <a:ext uri="{FF2B5EF4-FFF2-40B4-BE49-F238E27FC236}">
                <a16:creationId xmlns:a16="http://schemas.microsoft.com/office/drawing/2014/main" id="{EE4219A4-C614-72FB-0E70-F88345CC3F8B}"/>
              </a:ext>
            </a:extLst>
          </p:cNvPr>
          <p:cNvSpPr txBox="1"/>
          <p:nvPr/>
        </p:nvSpPr>
        <p:spPr>
          <a:xfrm>
            <a:off x="3568617" y="7160779"/>
            <a:ext cx="353914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latin typeface="Montserrat"/>
                <a:sym typeface="Montserrat"/>
              </a:rPr>
              <a:t>Dataset Group 3</a:t>
            </a:r>
            <a:endParaRPr lang="en-US" sz="2400"/>
          </a:p>
        </p:txBody>
      </p:sp>
      <p:pic>
        <p:nvPicPr>
          <p:cNvPr id="17" name="Graphic 16" descr="Bar chart outline">
            <a:extLst>
              <a:ext uri="{FF2B5EF4-FFF2-40B4-BE49-F238E27FC236}">
                <a16:creationId xmlns:a16="http://schemas.microsoft.com/office/drawing/2014/main" id="{75D4BBA5-0F55-A89D-E9D5-20FC6294AC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79437" y="7069997"/>
            <a:ext cx="695412" cy="695412"/>
          </a:xfrm>
          <a:prstGeom prst="rect">
            <a:avLst/>
          </a:prstGeom>
        </p:spPr>
      </p:pic>
      <p:pic>
        <p:nvPicPr>
          <p:cNvPr id="25" name="Graphic 24" descr="Brain in head outline">
            <a:extLst>
              <a:ext uri="{FF2B5EF4-FFF2-40B4-BE49-F238E27FC236}">
                <a16:creationId xmlns:a16="http://schemas.microsoft.com/office/drawing/2014/main" id="{5B3DE742-BB30-1DAD-7908-11D24EEE80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092793" y="5638741"/>
            <a:ext cx="805650" cy="805650"/>
          </a:xfrm>
          <a:prstGeom prst="rect">
            <a:avLst/>
          </a:prstGeom>
        </p:spPr>
      </p:pic>
      <p:pic>
        <p:nvPicPr>
          <p:cNvPr id="27" name="Graphic 26" descr="Workflow outline">
            <a:extLst>
              <a:ext uri="{FF2B5EF4-FFF2-40B4-BE49-F238E27FC236}">
                <a16:creationId xmlns:a16="http://schemas.microsoft.com/office/drawing/2014/main" id="{139AE99D-0AF4-7263-20AE-7643757E73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092793" y="9659026"/>
            <a:ext cx="805650" cy="805650"/>
          </a:xfrm>
          <a:prstGeom prst="rect">
            <a:avLst/>
          </a:prstGeom>
        </p:spPr>
      </p:pic>
      <p:sp>
        <p:nvSpPr>
          <p:cNvPr id="23" name="Google Shape;1021;p152">
            <a:extLst>
              <a:ext uri="{FF2B5EF4-FFF2-40B4-BE49-F238E27FC236}">
                <a16:creationId xmlns:a16="http://schemas.microsoft.com/office/drawing/2014/main" id="{FCFC315E-802E-C9DC-B1AA-D6C46CBA1187}"/>
              </a:ext>
            </a:extLst>
          </p:cNvPr>
          <p:cNvSpPr txBox="1"/>
          <p:nvPr/>
        </p:nvSpPr>
        <p:spPr>
          <a:xfrm>
            <a:off x="2868093" y="3838673"/>
            <a:ext cx="9353032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tx2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32" name="Bent Arrow 31">
            <a:extLst>
              <a:ext uri="{FF2B5EF4-FFF2-40B4-BE49-F238E27FC236}">
                <a16:creationId xmlns:a16="http://schemas.microsoft.com/office/drawing/2014/main" id="{26B95A87-8D65-8EF0-92A3-71A2825C69D1}"/>
              </a:ext>
            </a:extLst>
          </p:cNvPr>
          <p:cNvSpPr/>
          <p:nvPr/>
        </p:nvSpPr>
        <p:spPr>
          <a:xfrm rot="5400000">
            <a:off x="11939675" y="3649313"/>
            <a:ext cx="4241687" cy="3610950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85761A77-2747-0600-9D69-FEBE8308DE0A}"/>
              </a:ext>
            </a:extLst>
          </p:cNvPr>
          <p:cNvSpPr/>
          <p:nvPr/>
        </p:nvSpPr>
        <p:spPr>
          <a:xfrm>
            <a:off x="2868093" y="2892927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52" name="Google Shape;1013;p152">
            <a:extLst>
              <a:ext uri="{FF2B5EF4-FFF2-40B4-BE49-F238E27FC236}">
                <a16:creationId xmlns:a16="http://schemas.microsoft.com/office/drawing/2014/main" id="{C9E87DE2-8A0D-DD94-3596-5811495482D7}"/>
              </a:ext>
            </a:extLst>
          </p:cNvPr>
          <p:cNvSpPr txBox="1"/>
          <p:nvPr/>
        </p:nvSpPr>
        <p:spPr>
          <a:xfrm>
            <a:off x="3725800" y="3113320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latin typeface="Montserrat"/>
                <a:sym typeface="Montserrat"/>
              </a:rPr>
              <a:t>Dataset Group 1</a:t>
            </a:r>
            <a:endParaRPr lang="en-US" sz="2400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58611CB4-33D3-A584-0797-5F02F8D7E6FE}"/>
              </a:ext>
            </a:extLst>
          </p:cNvPr>
          <p:cNvSpPr>
            <a:spLocks noChangeAspect="1"/>
          </p:cNvSpPr>
          <p:nvPr/>
        </p:nvSpPr>
        <p:spPr>
          <a:xfrm>
            <a:off x="12059710" y="3184003"/>
            <a:ext cx="277893" cy="278746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eform 122">
            <a:extLst>
              <a:ext uri="{FF2B5EF4-FFF2-40B4-BE49-F238E27FC236}">
                <a16:creationId xmlns:a16="http://schemas.microsoft.com/office/drawing/2014/main" id="{B66AD1D0-68EE-278B-5C03-B4E1E258FBC5}"/>
              </a:ext>
            </a:extLst>
          </p:cNvPr>
          <p:cNvSpPr>
            <a:spLocks noEditPoints="1"/>
          </p:cNvSpPr>
          <p:nvPr/>
        </p:nvSpPr>
        <p:spPr bwMode="gray">
          <a:xfrm>
            <a:off x="3291666" y="3106516"/>
            <a:ext cx="618044" cy="420796"/>
          </a:xfrm>
          <a:custGeom>
            <a:avLst/>
            <a:gdLst>
              <a:gd name="T0" fmla="*/ 232 w 283"/>
              <a:gd name="T1" fmla="*/ 96 h 192"/>
              <a:gd name="T2" fmla="*/ 156 w 283"/>
              <a:gd name="T3" fmla="*/ 21 h 192"/>
              <a:gd name="T4" fmla="*/ 126 w 283"/>
              <a:gd name="T5" fmla="*/ 27 h 192"/>
              <a:gd name="T6" fmla="*/ 80 w 283"/>
              <a:gd name="T7" fmla="*/ 0 h 192"/>
              <a:gd name="T8" fmla="*/ 27 w 283"/>
              <a:gd name="T9" fmla="*/ 53 h 192"/>
              <a:gd name="T10" fmla="*/ 31 w 283"/>
              <a:gd name="T11" fmla="*/ 74 h 192"/>
              <a:gd name="T12" fmla="*/ 0 w 283"/>
              <a:gd name="T13" fmla="*/ 128 h 192"/>
              <a:gd name="T14" fmla="*/ 63 w 283"/>
              <a:gd name="T15" fmla="*/ 192 h 192"/>
              <a:gd name="T16" fmla="*/ 235 w 283"/>
              <a:gd name="T17" fmla="*/ 192 h 192"/>
              <a:gd name="T18" fmla="*/ 283 w 283"/>
              <a:gd name="T19" fmla="*/ 144 h 192"/>
              <a:gd name="T20" fmla="*/ 232 w 283"/>
              <a:gd name="T21" fmla="*/ 96 h 192"/>
              <a:gd name="T22" fmla="*/ 80 w 283"/>
              <a:gd name="T23" fmla="*/ 21 h 192"/>
              <a:gd name="T24" fmla="*/ 108 w 283"/>
              <a:gd name="T25" fmla="*/ 37 h 192"/>
              <a:gd name="T26" fmla="*/ 83 w 283"/>
              <a:gd name="T27" fmla="*/ 69 h 192"/>
              <a:gd name="T28" fmla="*/ 63 w 283"/>
              <a:gd name="T29" fmla="*/ 65 h 192"/>
              <a:gd name="T30" fmla="*/ 51 w 283"/>
              <a:gd name="T31" fmla="*/ 66 h 192"/>
              <a:gd name="T32" fmla="*/ 48 w 283"/>
              <a:gd name="T33" fmla="*/ 53 h 192"/>
              <a:gd name="T34" fmla="*/ 80 w 283"/>
              <a:gd name="T35" fmla="*/ 21 h 192"/>
              <a:gd name="T36" fmla="*/ 235 w 283"/>
              <a:gd name="T37" fmla="*/ 170 h 192"/>
              <a:gd name="T38" fmla="*/ 63 w 283"/>
              <a:gd name="T39" fmla="*/ 170 h 192"/>
              <a:gd name="T40" fmla="*/ 21 w 283"/>
              <a:gd name="T41" fmla="*/ 128 h 192"/>
              <a:gd name="T42" fmla="*/ 63 w 283"/>
              <a:gd name="T43" fmla="*/ 86 h 192"/>
              <a:gd name="T44" fmla="*/ 84 w 283"/>
              <a:gd name="T45" fmla="*/ 93 h 192"/>
              <a:gd name="T46" fmla="*/ 94 w 283"/>
              <a:gd name="T47" fmla="*/ 94 h 192"/>
              <a:gd name="T48" fmla="*/ 100 w 283"/>
              <a:gd name="T49" fmla="*/ 87 h 192"/>
              <a:gd name="T50" fmla="*/ 156 w 283"/>
              <a:gd name="T51" fmla="*/ 42 h 192"/>
              <a:gd name="T52" fmla="*/ 211 w 283"/>
              <a:gd name="T53" fmla="*/ 98 h 192"/>
              <a:gd name="T54" fmla="*/ 210 w 283"/>
              <a:gd name="T55" fmla="*/ 105 h 192"/>
              <a:gd name="T56" fmla="*/ 214 w 283"/>
              <a:gd name="T57" fmla="*/ 120 h 192"/>
              <a:gd name="T58" fmla="*/ 227 w 283"/>
              <a:gd name="T59" fmla="*/ 119 h 192"/>
              <a:gd name="T60" fmla="*/ 229 w 283"/>
              <a:gd name="T61" fmla="*/ 118 h 192"/>
              <a:gd name="T62" fmla="*/ 235 w 283"/>
              <a:gd name="T63" fmla="*/ 117 h 192"/>
              <a:gd name="T64" fmla="*/ 261 w 283"/>
              <a:gd name="T65" fmla="*/ 144 h 192"/>
              <a:gd name="T66" fmla="*/ 235 w 283"/>
              <a:gd name="T67" fmla="*/ 17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83" h="192">
                <a:moveTo>
                  <a:pt x="232" y="96"/>
                </a:moveTo>
                <a:cubicBezTo>
                  <a:pt x="231" y="54"/>
                  <a:pt x="197" y="21"/>
                  <a:pt x="156" y="21"/>
                </a:cubicBezTo>
                <a:cubicBezTo>
                  <a:pt x="145" y="21"/>
                  <a:pt x="135" y="23"/>
                  <a:pt x="126" y="27"/>
                </a:cubicBezTo>
                <a:cubicBezTo>
                  <a:pt x="117" y="10"/>
                  <a:pt x="100" y="0"/>
                  <a:pt x="80" y="0"/>
                </a:cubicBezTo>
                <a:cubicBezTo>
                  <a:pt x="51" y="0"/>
                  <a:pt x="27" y="24"/>
                  <a:pt x="27" y="53"/>
                </a:cubicBezTo>
                <a:cubicBezTo>
                  <a:pt x="27" y="60"/>
                  <a:pt x="28" y="67"/>
                  <a:pt x="31" y="74"/>
                </a:cubicBezTo>
                <a:cubicBezTo>
                  <a:pt x="13" y="85"/>
                  <a:pt x="0" y="105"/>
                  <a:pt x="0" y="128"/>
                </a:cubicBezTo>
                <a:cubicBezTo>
                  <a:pt x="0" y="163"/>
                  <a:pt x="28" y="192"/>
                  <a:pt x="63" y="192"/>
                </a:cubicBezTo>
                <a:cubicBezTo>
                  <a:pt x="235" y="192"/>
                  <a:pt x="235" y="192"/>
                  <a:pt x="235" y="192"/>
                </a:cubicBezTo>
                <a:cubicBezTo>
                  <a:pt x="261" y="192"/>
                  <a:pt x="283" y="170"/>
                  <a:pt x="283" y="144"/>
                </a:cubicBezTo>
                <a:cubicBezTo>
                  <a:pt x="283" y="116"/>
                  <a:pt x="259" y="94"/>
                  <a:pt x="232" y="96"/>
                </a:cubicBezTo>
                <a:close/>
                <a:moveTo>
                  <a:pt x="80" y="21"/>
                </a:moveTo>
                <a:cubicBezTo>
                  <a:pt x="92" y="21"/>
                  <a:pt x="102" y="27"/>
                  <a:pt x="108" y="37"/>
                </a:cubicBezTo>
                <a:cubicBezTo>
                  <a:pt x="97" y="45"/>
                  <a:pt x="89" y="56"/>
                  <a:pt x="83" y="69"/>
                </a:cubicBezTo>
                <a:cubicBezTo>
                  <a:pt x="78" y="66"/>
                  <a:pt x="71" y="65"/>
                  <a:pt x="63" y="65"/>
                </a:cubicBezTo>
                <a:cubicBezTo>
                  <a:pt x="59" y="65"/>
                  <a:pt x="55" y="65"/>
                  <a:pt x="51" y="66"/>
                </a:cubicBezTo>
                <a:cubicBezTo>
                  <a:pt x="49" y="62"/>
                  <a:pt x="48" y="58"/>
                  <a:pt x="48" y="53"/>
                </a:cubicBezTo>
                <a:cubicBezTo>
                  <a:pt x="48" y="35"/>
                  <a:pt x="62" y="21"/>
                  <a:pt x="80" y="21"/>
                </a:cubicBezTo>
                <a:close/>
                <a:moveTo>
                  <a:pt x="235" y="170"/>
                </a:moveTo>
                <a:cubicBezTo>
                  <a:pt x="63" y="170"/>
                  <a:pt x="63" y="170"/>
                  <a:pt x="63" y="170"/>
                </a:cubicBezTo>
                <a:cubicBezTo>
                  <a:pt x="40" y="170"/>
                  <a:pt x="21" y="151"/>
                  <a:pt x="21" y="128"/>
                </a:cubicBezTo>
                <a:cubicBezTo>
                  <a:pt x="21" y="105"/>
                  <a:pt x="40" y="86"/>
                  <a:pt x="63" y="86"/>
                </a:cubicBezTo>
                <a:cubicBezTo>
                  <a:pt x="72" y="86"/>
                  <a:pt x="77" y="89"/>
                  <a:pt x="84" y="93"/>
                </a:cubicBezTo>
                <a:cubicBezTo>
                  <a:pt x="87" y="95"/>
                  <a:pt x="91" y="96"/>
                  <a:pt x="94" y="94"/>
                </a:cubicBezTo>
                <a:cubicBezTo>
                  <a:pt x="97" y="93"/>
                  <a:pt x="99" y="90"/>
                  <a:pt x="100" y="87"/>
                </a:cubicBezTo>
                <a:cubicBezTo>
                  <a:pt x="105" y="61"/>
                  <a:pt x="129" y="42"/>
                  <a:pt x="156" y="42"/>
                </a:cubicBezTo>
                <a:cubicBezTo>
                  <a:pt x="186" y="42"/>
                  <a:pt x="211" y="67"/>
                  <a:pt x="211" y="98"/>
                </a:cubicBezTo>
                <a:cubicBezTo>
                  <a:pt x="211" y="100"/>
                  <a:pt x="211" y="103"/>
                  <a:pt x="210" y="105"/>
                </a:cubicBezTo>
                <a:cubicBezTo>
                  <a:pt x="208" y="112"/>
                  <a:pt x="209" y="116"/>
                  <a:pt x="214" y="120"/>
                </a:cubicBezTo>
                <a:cubicBezTo>
                  <a:pt x="217" y="122"/>
                  <a:pt x="223" y="122"/>
                  <a:pt x="227" y="119"/>
                </a:cubicBezTo>
                <a:cubicBezTo>
                  <a:pt x="228" y="118"/>
                  <a:pt x="229" y="118"/>
                  <a:pt x="229" y="118"/>
                </a:cubicBezTo>
                <a:cubicBezTo>
                  <a:pt x="231" y="117"/>
                  <a:pt x="233" y="117"/>
                  <a:pt x="235" y="117"/>
                </a:cubicBezTo>
                <a:cubicBezTo>
                  <a:pt x="249" y="117"/>
                  <a:pt x="261" y="129"/>
                  <a:pt x="261" y="144"/>
                </a:cubicBezTo>
                <a:cubicBezTo>
                  <a:pt x="261" y="158"/>
                  <a:pt x="249" y="170"/>
                  <a:pt x="235" y="17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23">
            <a:extLst>
              <a:ext uri="{FF2B5EF4-FFF2-40B4-BE49-F238E27FC236}">
                <a16:creationId xmlns:a16="http://schemas.microsoft.com/office/drawing/2014/main" id="{22E24F50-5533-4A5B-509D-D7DBE3467664}"/>
              </a:ext>
            </a:extLst>
          </p:cNvPr>
          <p:cNvSpPr>
            <a:spLocks/>
          </p:cNvSpPr>
          <p:nvPr/>
        </p:nvSpPr>
        <p:spPr bwMode="gray">
          <a:xfrm>
            <a:off x="3442890" y="2968443"/>
            <a:ext cx="49312" cy="92049"/>
          </a:xfrm>
          <a:custGeom>
            <a:avLst/>
            <a:gdLst>
              <a:gd name="T0" fmla="*/ 11 w 22"/>
              <a:gd name="T1" fmla="*/ 42 h 42"/>
              <a:gd name="T2" fmla="*/ 22 w 22"/>
              <a:gd name="T3" fmla="*/ 32 h 42"/>
              <a:gd name="T4" fmla="*/ 22 w 22"/>
              <a:gd name="T5" fmla="*/ 10 h 42"/>
              <a:gd name="T6" fmla="*/ 11 w 22"/>
              <a:gd name="T7" fmla="*/ 0 h 42"/>
              <a:gd name="T8" fmla="*/ 0 w 22"/>
              <a:gd name="T9" fmla="*/ 10 h 42"/>
              <a:gd name="T10" fmla="*/ 0 w 22"/>
              <a:gd name="T11" fmla="*/ 32 h 42"/>
              <a:gd name="T12" fmla="*/ 11 w 22"/>
              <a:gd name="T13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42">
                <a:moveTo>
                  <a:pt x="11" y="42"/>
                </a:moveTo>
                <a:cubicBezTo>
                  <a:pt x="17" y="42"/>
                  <a:pt x="22" y="38"/>
                  <a:pt x="22" y="32"/>
                </a:cubicBezTo>
                <a:cubicBezTo>
                  <a:pt x="22" y="10"/>
                  <a:pt x="22" y="10"/>
                  <a:pt x="22" y="10"/>
                </a:cubicBezTo>
                <a:cubicBezTo>
                  <a:pt x="22" y="4"/>
                  <a:pt x="17" y="0"/>
                  <a:pt x="11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8"/>
                  <a:pt x="5" y="42"/>
                  <a:pt x="11" y="42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124">
            <a:extLst>
              <a:ext uri="{FF2B5EF4-FFF2-40B4-BE49-F238E27FC236}">
                <a16:creationId xmlns:a16="http://schemas.microsoft.com/office/drawing/2014/main" id="{7222CA9D-4E18-1C82-407F-B37933E71E59}"/>
              </a:ext>
            </a:extLst>
          </p:cNvPr>
          <p:cNvSpPr>
            <a:spLocks/>
          </p:cNvSpPr>
          <p:nvPr/>
        </p:nvSpPr>
        <p:spPr bwMode="gray">
          <a:xfrm>
            <a:off x="3212767" y="3198566"/>
            <a:ext cx="92049" cy="49312"/>
          </a:xfrm>
          <a:custGeom>
            <a:avLst/>
            <a:gdLst>
              <a:gd name="T0" fmla="*/ 42 w 42"/>
              <a:gd name="T1" fmla="*/ 11 h 22"/>
              <a:gd name="T2" fmla="*/ 32 w 42"/>
              <a:gd name="T3" fmla="*/ 0 h 22"/>
              <a:gd name="T4" fmla="*/ 10 w 42"/>
              <a:gd name="T5" fmla="*/ 0 h 22"/>
              <a:gd name="T6" fmla="*/ 0 w 42"/>
              <a:gd name="T7" fmla="*/ 11 h 22"/>
              <a:gd name="T8" fmla="*/ 10 w 42"/>
              <a:gd name="T9" fmla="*/ 22 h 22"/>
              <a:gd name="T10" fmla="*/ 32 w 42"/>
              <a:gd name="T11" fmla="*/ 22 h 22"/>
              <a:gd name="T12" fmla="*/ 42 w 42"/>
              <a:gd name="T13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22">
                <a:moveTo>
                  <a:pt x="42" y="11"/>
                </a:moveTo>
                <a:cubicBezTo>
                  <a:pt x="42" y="5"/>
                  <a:pt x="38" y="0"/>
                  <a:pt x="3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17"/>
                  <a:pt x="4" y="22"/>
                  <a:pt x="10" y="22"/>
                </a:cubicBezTo>
                <a:cubicBezTo>
                  <a:pt x="32" y="22"/>
                  <a:pt x="32" y="22"/>
                  <a:pt x="32" y="22"/>
                </a:cubicBezTo>
                <a:cubicBezTo>
                  <a:pt x="38" y="22"/>
                  <a:pt x="42" y="17"/>
                  <a:pt x="42" y="11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125">
            <a:extLst>
              <a:ext uri="{FF2B5EF4-FFF2-40B4-BE49-F238E27FC236}">
                <a16:creationId xmlns:a16="http://schemas.microsoft.com/office/drawing/2014/main" id="{105D675D-38CA-1DED-6D71-E6ECAC1407A5}"/>
              </a:ext>
            </a:extLst>
          </p:cNvPr>
          <p:cNvSpPr>
            <a:spLocks/>
          </p:cNvSpPr>
          <p:nvPr/>
        </p:nvSpPr>
        <p:spPr bwMode="gray">
          <a:xfrm>
            <a:off x="3278516" y="3034192"/>
            <a:ext cx="82187" cy="78900"/>
          </a:xfrm>
          <a:custGeom>
            <a:avLst/>
            <a:gdLst>
              <a:gd name="T0" fmla="*/ 19 w 38"/>
              <a:gd name="T1" fmla="*/ 34 h 37"/>
              <a:gd name="T2" fmla="*/ 27 w 38"/>
              <a:gd name="T3" fmla="*/ 37 h 37"/>
              <a:gd name="T4" fmla="*/ 34 w 38"/>
              <a:gd name="T5" fmla="*/ 34 h 37"/>
              <a:gd name="T6" fmla="*/ 34 w 38"/>
              <a:gd name="T7" fmla="*/ 19 h 37"/>
              <a:gd name="T8" fmla="*/ 19 w 38"/>
              <a:gd name="T9" fmla="*/ 4 h 37"/>
              <a:gd name="T10" fmla="*/ 4 w 38"/>
              <a:gd name="T11" fmla="*/ 4 h 37"/>
              <a:gd name="T12" fmla="*/ 4 w 38"/>
              <a:gd name="T13" fmla="*/ 19 h 37"/>
              <a:gd name="T14" fmla="*/ 19 w 38"/>
              <a:gd name="T15" fmla="*/ 3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37">
                <a:moveTo>
                  <a:pt x="19" y="34"/>
                </a:moveTo>
                <a:cubicBezTo>
                  <a:pt x="21" y="36"/>
                  <a:pt x="24" y="37"/>
                  <a:pt x="27" y="37"/>
                </a:cubicBezTo>
                <a:cubicBezTo>
                  <a:pt x="29" y="37"/>
                  <a:pt x="32" y="36"/>
                  <a:pt x="34" y="34"/>
                </a:cubicBezTo>
                <a:cubicBezTo>
                  <a:pt x="38" y="30"/>
                  <a:pt x="38" y="23"/>
                  <a:pt x="34" y="19"/>
                </a:cubicBezTo>
                <a:cubicBezTo>
                  <a:pt x="19" y="4"/>
                  <a:pt x="19" y="4"/>
                  <a:pt x="19" y="4"/>
                </a:cubicBezTo>
                <a:cubicBezTo>
                  <a:pt x="15" y="0"/>
                  <a:pt x="8" y="0"/>
                  <a:pt x="4" y="4"/>
                </a:cubicBezTo>
                <a:cubicBezTo>
                  <a:pt x="0" y="8"/>
                  <a:pt x="0" y="15"/>
                  <a:pt x="4" y="19"/>
                </a:cubicBezTo>
                <a:lnTo>
                  <a:pt x="19" y="34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126">
            <a:extLst>
              <a:ext uri="{FF2B5EF4-FFF2-40B4-BE49-F238E27FC236}">
                <a16:creationId xmlns:a16="http://schemas.microsoft.com/office/drawing/2014/main" id="{E294543E-D3D3-057E-611B-342B95846C6B}"/>
              </a:ext>
            </a:extLst>
          </p:cNvPr>
          <p:cNvSpPr>
            <a:spLocks/>
          </p:cNvSpPr>
          <p:nvPr/>
        </p:nvSpPr>
        <p:spPr bwMode="gray">
          <a:xfrm>
            <a:off x="3574389" y="3034192"/>
            <a:ext cx="82187" cy="78900"/>
          </a:xfrm>
          <a:custGeom>
            <a:avLst/>
            <a:gdLst>
              <a:gd name="T0" fmla="*/ 11 w 38"/>
              <a:gd name="T1" fmla="*/ 37 h 37"/>
              <a:gd name="T2" fmla="*/ 19 w 38"/>
              <a:gd name="T3" fmla="*/ 34 h 37"/>
              <a:gd name="T4" fmla="*/ 34 w 38"/>
              <a:gd name="T5" fmla="*/ 19 h 37"/>
              <a:gd name="T6" fmla="*/ 34 w 38"/>
              <a:gd name="T7" fmla="*/ 4 h 37"/>
              <a:gd name="T8" fmla="*/ 19 w 38"/>
              <a:gd name="T9" fmla="*/ 4 h 37"/>
              <a:gd name="T10" fmla="*/ 4 w 38"/>
              <a:gd name="T11" fmla="*/ 19 h 37"/>
              <a:gd name="T12" fmla="*/ 4 w 38"/>
              <a:gd name="T13" fmla="*/ 34 h 37"/>
              <a:gd name="T14" fmla="*/ 11 w 38"/>
              <a:gd name="T15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" h="37">
                <a:moveTo>
                  <a:pt x="11" y="37"/>
                </a:moveTo>
                <a:cubicBezTo>
                  <a:pt x="14" y="37"/>
                  <a:pt x="17" y="36"/>
                  <a:pt x="19" y="34"/>
                </a:cubicBezTo>
                <a:cubicBezTo>
                  <a:pt x="34" y="19"/>
                  <a:pt x="34" y="19"/>
                  <a:pt x="34" y="19"/>
                </a:cubicBezTo>
                <a:cubicBezTo>
                  <a:pt x="38" y="15"/>
                  <a:pt x="38" y="8"/>
                  <a:pt x="34" y="4"/>
                </a:cubicBezTo>
                <a:cubicBezTo>
                  <a:pt x="30" y="0"/>
                  <a:pt x="23" y="0"/>
                  <a:pt x="19" y="4"/>
                </a:cubicBezTo>
                <a:cubicBezTo>
                  <a:pt x="4" y="19"/>
                  <a:pt x="4" y="19"/>
                  <a:pt x="4" y="19"/>
                </a:cubicBezTo>
                <a:cubicBezTo>
                  <a:pt x="0" y="23"/>
                  <a:pt x="0" y="30"/>
                  <a:pt x="4" y="34"/>
                </a:cubicBezTo>
                <a:cubicBezTo>
                  <a:pt x="6" y="36"/>
                  <a:pt x="9" y="37"/>
                  <a:pt x="11" y="37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4B43606-1DA3-5BCA-5D4C-B69D22F7D518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3. Methodology &amp; Plan</a:t>
            </a: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FEC7587B-F509-8970-DDC2-045CF1A204A3}"/>
              </a:ext>
            </a:extLst>
          </p:cNvPr>
          <p:cNvSpPr/>
          <p:nvPr/>
        </p:nvSpPr>
        <p:spPr>
          <a:xfrm>
            <a:off x="2868093" y="8953766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26" name="Google Shape;1013;p152">
            <a:extLst>
              <a:ext uri="{FF2B5EF4-FFF2-40B4-BE49-F238E27FC236}">
                <a16:creationId xmlns:a16="http://schemas.microsoft.com/office/drawing/2014/main" id="{52DA6CBB-D2CD-9660-AB7C-BE404A4F1627}"/>
              </a:ext>
            </a:extLst>
          </p:cNvPr>
          <p:cNvSpPr txBox="1"/>
          <p:nvPr/>
        </p:nvSpPr>
        <p:spPr>
          <a:xfrm>
            <a:off x="3725800" y="9174159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solidFill>
                  <a:schemeClr val="accent4"/>
                </a:solidFill>
                <a:latin typeface="Montserrat"/>
                <a:sym typeface="Montserrat"/>
              </a:rPr>
              <a:t>Dataset Group 4</a:t>
            </a: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CFE0648-5186-F13D-CC31-571733F85B8C}"/>
              </a:ext>
            </a:extLst>
          </p:cNvPr>
          <p:cNvSpPr>
            <a:spLocks noChangeAspect="1"/>
          </p:cNvSpPr>
          <p:nvPr/>
        </p:nvSpPr>
        <p:spPr>
          <a:xfrm>
            <a:off x="12059710" y="9244842"/>
            <a:ext cx="277893" cy="27874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05AB405B-41F5-040A-0A70-891BE27569C4}"/>
              </a:ext>
            </a:extLst>
          </p:cNvPr>
          <p:cNvGrpSpPr/>
          <p:nvPr/>
        </p:nvGrpSpPr>
        <p:grpSpPr>
          <a:xfrm>
            <a:off x="3244446" y="9054685"/>
            <a:ext cx="633585" cy="508063"/>
            <a:chOff x="3212767" y="9422062"/>
            <a:chExt cx="696943" cy="558869"/>
          </a:xfrm>
          <a:solidFill>
            <a:schemeClr val="accent4"/>
          </a:solidFill>
        </p:grpSpPr>
        <p:sp>
          <p:nvSpPr>
            <p:cNvPr id="128" name="Freeform 122">
              <a:extLst>
                <a:ext uri="{FF2B5EF4-FFF2-40B4-BE49-F238E27FC236}">
                  <a16:creationId xmlns:a16="http://schemas.microsoft.com/office/drawing/2014/main" id="{65B87AC5-2E6A-46EE-9CE7-D5893F51C4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91666" y="9560135"/>
              <a:ext cx="618044" cy="420796"/>
            </a:xfrm>
            <a:custGeom>
              <a:avLst/>
              <a:gdLst>
                <a:gd name="T0" fmla="*/ 232 w 283"/>
                <a:gd name="T1" fmla="*/ 96 h 192"/>
                <a:gd name="T2" fmla="*/ 156 w 283"/>
                <a:gd name="T3" fmla="*/ 21 h 192"/>
                <a:gd name="T4" fmla="*/ 126 w 283"/>
                <a:gd name="T5" fmla="*/ 27 h 192"/>
                <a:gd name="T6" fmla="*/ 80 w 283"/>
                <a:gd name="T7" fmla="*/ 0 h 192"/>
                <a:gd name="T8" fmla="*/ 27 w 283"/>
                <a:gd name="T9" fmla="*/ 53 h 192"/>
                <a:gd name="T10" fmla="*/ 31 w 283"/>
                <a:gd name="T11" fmla="*/ 74 h 192"/>
                <a:gd name="T12" fmla="*/ 0 w 283"/>
                <a:gd name="T13" fmla="*/ 128 h 192"/>
                <a:gd name="T14" fmla="*/ 63 w 283"/>
                <a:gd name="T15" fmla="*/ 192 h 192"/>
                <a:gd name="T16" fmla="*/ 235 w 283"/>
                <a:gd name="T17" fmla="*/ 192 h 192"/>
                <a:gd name="T18" fmla="*/ 283 w 283"/>
                <a:gd name="T19" fmla="*/ 144 h 192"/>
                <a:gd name="T20" fmla="*/ 232 w 283"/>
                <a:gd name="T21" fmla="*/ 96 h 192"/>
                <a:gd name="T22" fmla="*/ 80 w 283"/>
                <a:gd name="T23" fmla="*/ 21 h 192"/>
                <a:gd name="T24" fmla="*/ 108 w 283"/>
                <a:gd name="T25" fmla="*/ 37 h 192"/>
                <a:gd name="T26" fmla="*/ 83 w 283"/>
                <a:gd name="T27" fmla="*/ 69 h 192"/>
                <a:gd name="T28" fmla="*/ 63 w 283"/>
                <a:gd name="T29" fmla="*/ 65 h 192"/>
                <a:gd name="T30" fmla="*/ 51 w 283"/>
                <a:gd name="T31" fmla="*/ 66 h 192"/>
                <a:gd name="T32" fmla="*/ 48 w 283"/>
                <a:gd name="T33" fmla="*/ 53 h 192"/>
                <a:gd name="T34" fmla="*/ 80 w 283"/>
                <a:gd name="T35" fmla="*/ 21 h 192"/>
                <a:gd name="T36" fmla="*/ 235 w 283"/>
                <a:gd name="T37" fmla="*/ 170 h 192"/>
                <a:gd name="T38" fmla="*/ 63 w 283"/>
                <a:gd name="T39" fmla="*/ 170 h 192"/>
                <a:gd name="T40" fmla="*/ 21 w 283"/>
                <a:gd name="T41" fmla="*/ 128 h 192"/>
                <a:gd name="T42" fmla="*/ 63 w 283"/>
                <a:gd name="T43" fmla="*/ 86 h 192"/>
                <a:gd name="T44" fmla="*/ 84 w 283"/>
                <a:gd name="T45" fmla="*/ 93 h 192"/>
                <a:gd name="T46" fmla="*/ 94 w 283"/>
                <a:gd name="T47" fmla="*/ 94 h 192"/>
                <a:gd name="T48" fmla="*/ 100 w 283"/>
                <a:gd name="T49" fmla="*/ 87 h 192"/>
                <a:gd name="T50" fmla="*/ 156 w 283"/>
                <a:gd name="T51" fmla="*/ 42 h 192"/>
                <a:gd name="T52" fmla="*/ 211 w 283"/>
                <a:gd name="T53" fmla="*/ 98 h 192"/>
                <a:gd name="T54" fmla="*/ 210 w 283"/>
                <a:gd name="T55" fmla="*/ 105 h 192"/>
                <a:gd name="T56" fmla="*/ 214 w 283"/>
                <a:gd name="T57" fmla="*/ 120 h 192"/>
                <a:gd name="T58" fmla="*/ 227 w 283"/>
                <a:gd name="T59" fmla="*/ 119 h 192"/>
                <a:gd name="T60" fmla="*/ 229 w 283"/>
                <a:gd name="T61" fmla="*/ 118 h 192"/>
                <a:gd name="T62" fmla="*/ 235 w 283"/>
                <a:gd name="T63" fmla="*/ 117 h 192"/>
                <a:gd name="T64" fmla="*/ 261 w 283"/>
                <a:gd name="T65" fmla="*/ 144 h 192"/>
                <a:gd name="T66" fmla="*/ 235 w 283"/>
                <a:gd name="T67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3" h="192">
                  <a:moveTo>
                    <a:pt x="232" y="96"/>
                  </a:moveTo>
                  <a:cubicBezTo>
                    <a:pt x="231" y="54"/>
                    <a:pt x="197" y="21"/>
                    <a:pt x="156" y="21"/>
                  </a:cubicBezTo>
                  <a:cubicBezTo>
                    <a:pt x="145" y="21"/>
                    <a:pt x="135" y="23"/>
                    <a:pt x="126" y="27"/>
                  </a:cubicBezTo>
                  <a:cubicBezTo>
                    <a:pt x="117" y="10"/>
                    <a:pt x="100" y="0"/>
                    <a:pt x="80" y="0"/>
                  </a:cubicBezTo>
                  <a:cubicBezTo>
                    <a:pt x="51" y="0"/>
                    <a:pt x="27" y="24"/>
                    <a:pt x="27" y="53"/>
                  </a:cubicBezTo>
                  <a:cubicBezTo>
                    <a:pt x="27" y="60"/>
                    <a:pt x="28" y="67"/>
                    <a:pt x="31" y="74"/>
                  </a:cubicBezTo>
                  <a:cubicBezTo>
                    <a:pt x="13" y="85"/>
                    <a:pt x="0" y="105"/>
                    <a:pt x="0" y="128"/>
                  </a:cubicBezTo>
                  <a:cubicBezTo>
                    <a:pt x="0" y="163"/>
                    <a:pt x="28" y="192"/>
                    <a:pt x="63" y="192"/>
                  </a:cubicBezTo>
                  <a:cubicBezTo>
                    <a:pt x="235" y="192"/>
                    <a:pt x="235" y="192"/>
                    <a:pt x="235" y="192"/>
                  </a:cubicBezTo>
                  <a:cubicBezTo>
                    <a:pt x="261" y="192"/>
                    <a:pt x="283" y="170"/>
                    <a:pt x="283" y="144"/>
                  </a:cubicBezTo>
                  <a:cubicBezTo>
                    <a:pt x="283" y="116"/>
                    <a:pt x="259" y="94"/>
                    <a:pt x="232" y="96"/>
                  </a:cubicBezTo>
                  <a:close/>
                  <a:moveTo>
                    <a:pt x="80" y="21"/>
                  </a:moveTo>
                  <a:cubicBezTo>
                    <a:pt x="92" y="21"/>
                    <a:pt x="102" y="27"/>
                    <a:pt x="108" y="37"/>
                  </a:cubicBezTo>
                  <a:cubicBezTo>
                    <a:pt x="97" y="45"/>
                    <a:pt x="89" y="56"/>
                    <a:pt x="83" y="69"/>
                  </a:cubicBezTo>
                  <a:cubicBezTo>
                    <a:pt x="78" y="66"/>
                    <a:pt x="71" y="65"/>
                    <a:pt x="63" y="65"/>
                  </a:cubicBezTo>
                  <a:cubicBezTo>
                    <a:pt x="59" y="65"/>
                    <a:pt x="55" y="65"/>
                    <a:pt x="51" y="66"/>
                  </a:cubicBezTo>
                  <a:cubicBezTo>
                    <a:pt x="49" y="62"/>
                    <a:pt x="48" y="58"/>
                    <a:pt x="48" y="53"/>
                  </a:cubicBezTo>
                  <a:cubicBezTo>
                    <a:pt x="48" y="35"/>
                    <a:pt x="62" y="21"/>
                    <a:pt x="80" y="21"/>
                  </a:cubicBezTo>
                  <a:close/>
                  <a:moveTo>
                    <a:pt x="235" y="170"/>
                  </a:moveTo>
                  <a:cubicBezTo>
                    <a:pt x="63" y="170"/>
                    <a:pt x="63" y="170"/>
                    <a:pt x="63" y="170"/>
                  </a:cubicBezTo>
                  <a:cubicBezTo>
                    <a:pt x="40" y="170"/>
                    <a:pt x="21" y="151"/>
                    <a:pt x="21" y="128"/>
                  </a:cubicBezTo>
                  <a:cubicBezTo>
                    <a:pt x="21" y="105"/>
                    <a:pt x="40" y="86"/>
                    <a:pt x="63" y="86"/>
                  </a:cubicBezTo>
                  <a:cubicBezTo>
                    <a:pt x="72" y="86"/>
                    <a:pt x="77" y="89"/>
                    <a:pt x="84" y="93"/>
                  </a:cubicBezTo>
                  <a:cubicBezTo>
                    <a:pt x="87" y="95"/>
                    <a:pt x="91" y="96"/>
                    <a:pt x="94" y="94"/>
                  </a:cubicBezTo>
                  <a:cubicBezTo>
                    <a:pt x="97" y="93"/>
                    <a:pt x="99" y="90"/>
                    <a:pt x="100" y="87"/>
                  </a:cubicBezTo>
                  <a:cubicBezTo>
                    <a:pt x="105" y="61"/>
                    <a:pt x="129" y="42"/>
                    <a:pt x="156" y="42"/>
                  </a:cubicBezTo>
                  <a:cubicBezTo>
                    <a:pt x="186" y="42"/>
                    <a:pt x="211" y="67"/>
                    <a:pt x="211" y="98"/>
                  </a:cubicBezTo>
                  <a:cubicBezTo>
                    <a:pt x="211" y="100"/>
                    <a:pt x="211" y="103"/>
                    <a:pt x="210" y="105"/>
                  </a:cubicBezTo>
                  <a:cubicBezTo>
                    <a:pt x="208" y="112"/>
                    <a:pt x="209" y="116"/>
                    <a:pt x="214" y="120"/>
                  </a:cubicBezTo>
                  <a:cubicBezTo>
                    <a:pt x="217" y="122"/>
                    <a:pt x="223" y="122"/>
                    <a:pt x="227" y="119"/>
                  </a:cubicBezTo>
                  <a:cubicBezTo>
                    <a:pt x="228" y="118"/>
                    <a:pt x="229" y="118"/>
                    <a:pt x="229" y="118"/>
                  </a:cubicBezTo>
                  <a:cubicBezTo>
                    <a:pt x="231" y="117"/>
                    <a:pt x="233" y="117"/>
                    <a:pt x="235" y="117"/>
                  </a:cubicBezTo>
                  <a:cubicBezTo>
                    <a:pt x="249" y="117"/>
                    <a:pt x="261" y="129"/>
                    <a:pt x="261" y="144"/>
                  </a:cubicBezTo>
                  <a:cubicBezTo>
                    <a:pt x="261" y="158"/>
                    <a:pt x="249" y="170"/>
                    <a:pt x="235" y="170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23">
              <a:extLst>
                <a:ext uri="{FF2B5EF4-FFF2-40B4-BE49-F238E27FC236}">
                  <a16:creationId xmlns:a16="http://schemas.microsoft.com/office/drawing/2014/main" id="{0EF18F64-0242-759E-BC5B-8E1887FC43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890" y="9422062"/>
              <a:ext cx="49312" cy="92049"/>
            </a:xfrm>
            <a:custGeom>
              <a:avLst/>
              <a:gdLst>
                <a:gd name="T0" fmla="*/ 11 w 22"/>
                <a:gd name="T1" fmla="*/ 42 h 42"/>
                <a:gd name="T2" fmla="*/ 22 w 22"/>
                <a:gd name="T3" fmla="*/ 32 h 42"/>
                <a:gd name="T4" fmla="*/ 22 w 22"/>
                <a:gd name="T5" fmla="*/ 10 h 42"/>
                <a:gd name="T6" fmla="*/ 11 w 22"/>
                <a:gd name="T7" fmla="*/ 0 h 42"/>
                <a:gd name="T8" fmla="*/ 0 w 22"/>
                <a:gd name="T9" fmla="*/ 10 h 42"/>
                <a:gd name="T10" fmla="*/ 0 w 22"/>
                <a:gd name="T11" fmla="*/ 32 h 42"/>
                <a:gd name="T12" fmla="*/ 11 w 2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11" y="42"/>
                  </a:moveTo>
                  <a:cubicBezTo>
                    <a:pt x="17" y="42"/>
                    <a:pt x="22" y="38"/>
                    <a:pt x="22" y="32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2"/>
                    <a:pt x="11" y="42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24">
              <a:extLst>
                <a:ext uri="{FF2B5EF4-FFF2-40B4-BE49-F238E27FC236}">
                  <a16:creationId xmlns:a16="http://schemas.microsoft.com/office/drawing/2014/main" id="{9757F9AA-9174-3B77-8D49-29B1F584D11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767" y="9652185"/>
              <a:ext cx="92049" cy="49312"/>
            </a:xfrm>
            <a:custGeom>
              <a:avLst/>
              <a:gdLst>
                <a:gd name="T0" fmla="*/ 42 w 42"/>
                <a:gd name="T1" fmla="*/ 11 h 22"/>
                <a:gd name="T2" fmla="*/ 32 w 42"/>
                <a:gd name="T3" fmla="*/ 0 h 22"/>
                <a:gd name="T4" fmla="*/ 10 w 42"/>
                <a:gd name="T5" fmla="*/ 0 h 22"/>
                <a:gd name="T6" fmla="*/ 0 w 42"/>
                <a:gd name="T7" fmla="*/ 11 h 22"/>
                <a:gd name="T8" fmla="*/ 10 w 42"/>
                <a:gd name="T9" fmla="*/ 22 h 22"/>
                <a:gd name="T10" fmla="*/ 32 w 42"/>
                <a:gd name="T11" fmla="*/ 22 h 22"/>
                <a:gd name="T12" fmla="*/ 42 w 42"/>
                <a:gd name="T13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2">
                  <a:moveTo>
                    <a:pt x="42" y="11"/>
                  </a:moveTo>
                  <a:cubicBezTo>
                    <a:pt x="42" y="5"/>
                    <a:pt x="38" y="0"/>
                    <a:pt x="3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2"/>
                    <a:pt x="42" y="17"/>
                    <a:pt x="42" y="11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5">
              <a:extLst>
                <a:ext uri="{FF2B5EF4-FFF2-40B4-BE49-F238E27FC236}">
                  <a16:creationId xmlns:a16="http://schemas.microsoft.com/office/drawing/2014/main" id="{EE69BA95-7802-CEFD-9468-C2203B3C5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516" y="9487811"/>
              <a:ext cx="82187" cy="78900"/>
            </a:xfrm>
            <a:custGeom>
              <a:avLst/>
              <a:gdLst>
                <a:gd name="T0" fmla="*/ 19 w 38"/>
                <a:gd name="T1" fmla="*/ 34 h 37"/>
                <a:gd name="T2" fmla="*/ 27 w 38"/>
                <a:gd name="T3" fmla="*/ 37 h 37"/>
                <a:gd name="T4" fmla="*/ 34 w 38"/>
                <a:gd name="T5" fmla="*/ 34 h 37"/>
                <a:gd name="T6" fmla="*/ 34 w 38"/>
                <a:gd name="T7" fmla="*/ 19 h 37"/>
                <a:gd name="T8" fmla="*/ 19 w 38"/>
                <a:gd name="T9" fmla="*/ 4 h 37"/>
                <a:gd name="T10" fmla="*/ 4 w 38"/>
                <a:gd name="T11" fmla="*/ 4 h 37"/>
                <a:gd name="T12" fmla="*/ 4 w 38"/>
                <a:gd name="T13" fmla="*/ 19 h 37"/>
                <a:gd name="T14" fmla="*/ 19 w 38"/>
                <a:gd name="T1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9" y="34"/>
                  </a:moveTo>
                  <a:cubicBezTo>
                    <a:pt x="21" y="36"/>
                    <a:pt x="24" y="37"/>
                    <a:pt x="27" y="37"/>
                  </a:cubicBezTo>
                  <a:cubicBezTo>
                    <a:pt x="29" y="37"/>
                    <a:pt x="32" y="36"/>
                    <a:pt x="34" y="34"/>
                  </a:cubicBezTo>
                  <a:cubicBezTo>
                    <a:pt x="38" y="30"/>
                    <a:pt x="38" y="23"/>
                    <a:pt x="34" y="1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lnTo>
                    <a:pt x="19" y="3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6">
              <a:extLst>
                <a:ext uri="{FF2B5EF4-FFF2-40B4-BE49-F238E27FC236}">
                  <a16:creationId xmlns:a16="http://schemas.microsoft.com/office/drawing/2014/main" id="{25837C80-E950-3E22-CD01-8F0D6B766A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89" y="9487811"/>
              <a:ext cx="82187" cy="78900"/>
            </a:xfrm>
            <a:custGeom>
              <a:avLst/>
              <a:gdLst>
                <a:gd name="T0" fmla="*/ 11 w 38"/>
                <a:gd name="T1" fmla="*/ 37 h 37"/>
                <a:gd name="T2" fmla="*/ 19 w 38"/>
                <a:gd name="T3" fmla="*/ 34 h 37"/>
                <a:gd name="T4" fmla="*/ 34 w 38"/>
                <a:gd name="T5" fmla="*/ 19 h 37"/>
                <a:gd name="T6" fmla="*/ 34 w 38"/>
                <a:gd name="T7" fmla="*/ 4 h 37"/>
                <a:gd name="T8" fmla="*/ 19 w 38"/>
                <a:gd name="T9" fmla="*/ 4 h 37"/>
                <a:gd name="T10" fmla="*/ 4 w 38"/>
                <a:gd name="T11" fmla="*/ 19 h 37"/>
                <a:gd name="T12" fmla="*/ 4 w 38"/>
                <a:gd name="T13" fmla="*/ 34 h 37"/>
                <a:gd name="T14" fmla="*/ 11 w 38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1" y="37"/>
                  </a:moveTo>
                  <a:cubicBezTo>
                    <a:pt x="14" y="37"/>
                    <a:pt x="17" y="36"/>
                    <a:pt x="19" y="34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8" y="15"/>
                    <a:pt x="38" y="8"/>
                    <a:pt x="34" y="4"/>
                  </a:cubicBezTo>
                  <a:cubicBezTo>
                    <a:pt x="30" y="0"/>
                    <a:pt x="23" y="0"/>
                    <a:pt x="19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23"/>
                    <a:pt x="0" y="30"/>
                    <a:pt x="4" y="34"/>
                  </a:cubicBezTo>
                  <a:cubicBezTo>
                    <a:pt x="6" y="36"/>
                    <a:pt x="9" y="37"/>
                    <a:pt x="11" y="37"/>
                  </a:cubicBez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E8B6B2DD-55D4-D255-EFDE-72CB97C88027}"/>
              </a:ext>
            </a:extLst>
          </p:cNvPr>
          <p:cNvSpPr/>
          <p:nvPr/>
        </p:nvSpPr>
        <p:spPr>
          <a:xfrm>
            <a:off x="2868093" y="10747226"/>
            <a:ext cx="9361043" cy="78534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66700" sx="101000" sy="101000" algn="ctr" rotWithShape="0">
              <a:prstClr val="black">
                <a:alpha val="14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endParaRPr lang="en-US" sz="7200" b="1">
              <a:solidFill>
                <a:schemeClr val="tx2"/>
              </a:solidFill>
              <a:latin typeface="Montserrat"/>
            </a:endParaRPr>
          </a:p>
        </p:txBody>
      </p:sp>
      <p:sp>
        <p:nvSpPr>
          <p:cNvPr id="135" name="Google Shape;1013;p152">
            <a:extLst>
              <a:ext uri="{FF2B5EF4-FFF2-40B4-BE49-F238E27FC236}">
                <a16:creationId xmlns:a16="http://schemas.microsoft.com/office/drawing/2014/main" id="{8F32167C-03DB-4CD4-2A50-1428435E08AA}"/>
              </a:ext>
            </a:extLst>
          </p:cNvPr>
          <p:cNvSpPr txBox="1"/>
          <p:nvPr/>
        </p:nvSpPr>
        <p:spPr>
          <a:xfrm>
            <a:off x="3725800" y="10967619"/>
            <a:ext cx="3376623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solidFill>
                  <a:schemeClr val="accent4"/>
                </a:solidFill>
                <a:latin typeface="Montserrat"/>
                <a:sym typeface="Montserrat"/>
              </a:rPr>
              <a:t>Dataset Group 5</a:t>
            </a: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83EB2785-3677-1E86-8B58-DE49517FA771}"/>
              </a:ext>
            </a:extLst>
          </p:cNvPr>
          <p:cNvSpPr>
            <a:spLocks noChangeAspect="1"/>
          </p:cNvSpPr>
          <p:nvPr/>
        </p:nvSpPr>
        <p:spPr>
          <a:xfrm>
            <a:off x="12059710" y="11038302"/>
            <a:ext cx="277893" cy="27874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7" name="Graphic 106" descr="Satellite outline">
            <a:extLst>
              <a:ext uri="{FF2B5EF4-FFF2-40B4-BE49-F238E27FC236}">
                <a16:creationId xmlns:a16="http://schemas.microsoft.com/office/drawing/2014/main" id="{056A202D-56EB-81CD-224E-4C968F1921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20579" y="10839653"/>
            <a:ext cx="687003" cy="687003"/>
          </a:xfrm>
          <a:prstGeom prst="rect">
            <a:avLst/>
          </a:prstGeom>
        </p:spPr>
      </p:pic>
      <p:sp>
        <p:nvSpPr>
          <p:cNvPr id="144" name="Google Shape;1021;p152">
            <a:extLst>
              <a:ext uri="{FF2B5EF4-FFF2-40B4-BE49-F238E27FC236}">
                <a16:creationId xmlns:a16="http://schemas.microsoft.com/office/drawing/2014/main" id="{744EE4D5-3AE1-C3A8-8B09-3F2AA2E82599}"/>
              </a:ext>
            </a:extLst>
          </p:cNvPr>
          <p:cNvSpPr txBox="1"/>
          <p:nvPr/>
        </p:nvSpPr>
        <p:spPr>
          <a:xfrm>
            <a:off x="2868708" y="9731604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47" name="Bent Arrow 146">
            <a:extLst>
              <a:ext uri="{FF2B5EF4-FFF2-40B4-BE49-F238E27FC236}">
                <a16:creationId xmlns:a16="http://schemas.microsoft.com/office/drawing/2014/main" id="{F42A6E80-29DC-27D2-A333-D4398F8C20D9}"/>
              </a:ext>
            </a:extLst>
          </p:cNvPr>
          <p:cNvSpPr/>
          <p:nvPr/>
        </p:nvSpPr>
        <p:spPr>
          <a:xfrm rot="5400000">
            <a:off x="13331610" y="6286286"/>
            <a:ext cx="583173" cy="2736302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4" name="Bent Arrow 153">
            <a:extLst>
              <a:ext uri="{FF2B5EF4-FFF2-40B4-BE49-F238E27FC236}">
                <a16:creationId xmlns:a16="http://schemas.microsoft.com/office/drawing/2014/main" id="{156BAE5A-15EB-085E-654B-DF017EB447EB}"/>
              </a:ext>
            </a:extLst>
          </p:cNvPr>
          <p:cNvSpPr/>
          <p:nvPr/>
        </p:nvSpPr>
        <p:spPr>
          <a:xfrm rot="5400000">
            <a:off x="12768794" y="4957252"/>
            <a:ext cx="2151403" cy="3178901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515C1A2-A535-4329-7212-3DCA6842136E}"/>
              </a:ext>
            </a:extLst>
          </p:cNvPr>
          <p:cNvGrpSpPr/>
          <p:nvPr/>
        </p:nvGrpSpPr>
        <p:grpSpPr>
          <a:xfrm>
            <a:off x="14569851" y="7575631"/>
            <a:ext cx="2736303" cy="1019880"/>
            <a:chOff x="12021622" y="7575631"/>
            <a:chExt cx="4037678" cy="1019880"/>
          </a:xfrm>
        </p:grpSpPr>
        <p:sp>
          <p:nvSpPr>
            <p:cNvPr id="61" name="Rounded Rectangle 60">
              <a:extLst>
                <a:ext uri="{FF2B5EF4-FFF2-40B4-BE49-F238E27FC236}">
                  <a16:creationId xmlns:a16="http://schemas.microsoft.com/office/drawing/2014/main" id="{E1ACEAB1-724E-7377-5E76-477DE3690A15}"/>
                </a:ext>
              </a:extLst>
            </p:cNvPr>
            <p:cNvSpPr/>
            <p:nvPr/>
          </p:nvSpPr>
          <p:spPr>
            <a:xfrm>
              <a:off x="12021622" y="7575631"/>
              <a:ext cx="4037678" cy="1019880"/>
            </a:xfrm>
            <a:prstGeom prst="roundRect">
              <a:avLst>
                <a:gd name="adj" fmla="val 13042"/>
              </a:avLst>
            </a:prstGeom>
            <a:solidFill>
              <a:srgbClr val="0081FB"/>
            </a:solidFill>
            <a:ln>
              <a:noFill/>
            </a:ln>
            <a:effectLst>
              <a:outerShdw blurRad="381000" sx="104000" sy="104000" algn="ctr" rotWithShape="0">
                <a:srgbClr val="2463EC">
                  <a:alpha val="9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" name="Google Shape;1021;p152">
              <a:extLst>
                <a:ext uri="{FF2B5EF4-FFF2-40B4-BE49-F238E27FC236}">
                  <a16:creationId xmlns:a16="http://schemas.microsoft.com/office/drawing/2014/main" id="{489417B8-0986-E36A-FFBB-F2D2CF5804E4}"/>
                </a:ext>
              </a:extLst>
            </p:cNvPr>
            <p:cNvSpPr txBox="1">
              <a:spLocks/>
            </p:cNvSpPr>
            <p:nvPr/>
          </p:nvSpPr>
          <p:spPr>
            <a:xfrm>
              <a:off x="12298298" y="7670093"/>
              <a:ext cx="3484326" cy="8309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1">
                  <a:solidFill>
                    <a:schemeClr val="bg1"/>
                  </a:solidFill>
                  <a:latin typeface="Montserrat"/>
                  <a:sym typeface="Montserrat"/>
                </a:rPr>
                <a:t>Foundation Model</a:t>
              </a:r>
            </a:p>
          </p:txBody>
        </p:sp>
      </p:grpSp>
      <p:sp>
        <p:nvSpPr>
          <p:cNvPr id="155" name="Google Shape;1021;p152">
            <a:extLst>
              <a:ext uri="{FF2B5EF4-FFF2-40B4-BE49-F238E27FC236}">
                <a16:creationId xmlns:a16="http://schemas.microsoft.com/office/drawing/2014/main" id="{DEADF6B5-2913-4456-0085-25D270AE528F}"/>
              </a:ext>
            </a:extLst>
          </p:cNvPr>
          <p:cNvSpPr txBox="1"/>
          <p:nvPr/>
        </p:nvSpPr>
        <p:spPr>
          <a:xfrm>
            <a:off x="2868708" y="11603812"/>
            <a:ext cx="8310181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Name of Datasets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err="1">
                <a:solidFill>
                  <a:schemeClr val="accent4"/>
                </a:solidFill>
                <a:latin typeface="Montserrat"/>
                <a:sym typeface="Montserrat"/>
              </a:rPr>
              <a:t>Tbd</a:t>
            </a:r>
          </a:p>
        </p:txBody>
      </p:sp>
      <p:sp>
        <p:nvSpPr>
          <p:cNvPr id="156" name="Bent Arrow 155">
            <a:extLst>
              <a:ext uri="{FF2B5EF4-FFF2-40B4-BE49-F238E27FC236}">
                <a16:creationId xmlns:a16="http://schemas.microsoft.com/office/drawing/2014/main" id="{32DEE76B-4B0C-6960-9072-60C0ADF11219}"/>
              </a:ext>
            </a:extLst>
          </p:cNvPr>
          <p:cNvSpPr/>
          <p:nvPr/>
        </p:nvSpPr>
        <p:spPr>
          <a:xfrm rot="5400000" flipH="1">
            <a:off x="13244053" y="7669220"/>
            <a:ext cx="758287" cy="2736302"/>
          </a:xfrm>
          <a:prstGeom prst="bentArrow">
            <a:avLst>
              <a:gd name="adj1" fmla="val 25000"/>
              <a:gd name="adj2" fmla="val 0"/>
              <a:gd name="adj3" fmla="val 0"/>
              <a:gd name="adj4" fmla="val 25021"/>
            </a:avLst>
          </a:prstGeom>
          <a:solidFill>
            <a:schemeClr val="tx2"/>
          </a:solidFill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0" name="Bent Arrow 159">
            <a:extLst>
              <a:ext uri="{FF2B5EF4-FFF2-40B4-BE49-F238E27FC236}">
                <a16:creationId xmlns:a16="http://schemas.microsoft.com/office/drawing/2014/main" id="{7242A0FB-BA20-D245-21B2-CCD005FE6458}"/>
              </a:ext>
            </a:extLst>
          </p:cNvPr>
          <p:cNvSpPr/>
          <p:nvPr/>
        </p:nvSpPr>
        <p:spPr>
          <a:xfrm rot="5400000" flipH="1">
            <a:off x="12541477" y="8309080"/>
            <a:ext cx="2606038" cy="3178900"/>
          </a:xfrm>
          <a:prstGeom prst="bentArrow">
            <a:avLst>
              <a:gd name="adj1" fmla="val 25000"/>
              <a:gd name="adj2" fmla="val 0"/>
              <a:gd name="adj3" fmla="val 0"/>
              <a:gd name="adj4" fmla="val 19138"/>
            </a:avLst>
          </a:prstGeom>
          <a:solidFill>
            <a:schemeClr val="accent4"/>
          </a:solidFill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04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65F755E-6918-FE11-5E52-7AA4168F69DC}"/>
              </a:ext>
            </a:extLst>
          </p:cNvPr>
          <p:cNvSpPr txBox="1"/>
          <p:nvPr/>
        </p:nvSpPr>
        <p:spPr>
          <a:xfrm>
            <a:off x="16658083" y="-1566362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2B67125-6BC1-B0A0-E470-1028A281EDC1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de-DE" sz="2400" dirty="0">
                <a:solidFill>
                  <a:srgbClr val="2463EC"/>
                </a:solidFill>
              </a:rPr>
              <a:t>Agenda Poin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8E80CB6-B94E-4748-17C6-DE3855A214F0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de-DE" sz="3200"/>
              <a:t>Action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7A01EA-3013-15C9-ECF0-24BAA1AB2533}"/>
              </a:ext>
            </a:extLst>
          </p:cNvPr>
          <p:cNvSpPr txBox="1"/>
          <p:nvPr/>
        </p:nvSpPr>
        <p:spPr>
          <a:xfrm>
            <a:off x="16683856" y="19173"/>
            <a:ext cx="3790651" cy="1200329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Category bas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Cart comple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Technisches Zubehör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300BA6EB-D7ED-0FB8-4075-ACA28F458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193588" y="0"/>
            <a:ext cx="13753527" cy="1375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5ED35BAA-08D3-3DD6-AC1B-D0E52D3B8CC2}"/>
              </a:ext>
            </a:extLst>
          </p:cNvPr>
          <p:cNvGrpSpPr/>
          <p:nvPr/>
        </p:nvGrpSpPr>
        <p:grpSpPr>
          <a:xfrm>
            <a:off x="714678" y="2610322"/>
            <a:ext cx="10959437" cy="6068729"/>
            <a:chOff x="714678" y="6550691"/>
            <a:chExt cx="10959437" cy="606872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A0C009C-1799-407A-9B7A-8DB61133151A}"/>
                </a:ext>
              </a:extLst>
            </p:cNvPr>
            <p:cNvGrpSpPr/>
            <p:nvPr/>
          </p:nvGrpSpPr>
          <p:grpSpPr>
            <a:xfrm>
              <a:off x="714679" y="6550691"/>
              <a:ext cx="10959436" cy="879038"/>
              <a:chOff x="714678" y="2595380"/>
              <a:chExt cx="13927181" cy="879038"/>
            </a:xfrm>
          </p:grpSpPr>
          <p:sp>
            <p:nvSpPr>
              <p:cNvPr id="29" name="Title 1">
                <a:extLst>
                  <a:ext uri="{FF2B5EF4-FFF2-40B4-BE49-F238E27FC236}">
                    <a16:creationId xmlns:a16="http://schemas.microsoft.com/office/drawing/2014/main" id="{992D6494-5561-BC84-9996-24A99FAF715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4678" y="2595380"/>
                <a:ext cx="13639150" cy="8790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lvl1pPr marR="0" lvl="0" algn="l" defTabSz="2438645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6600"/>
                  <a:buFont typeface="Tahoma"/>
                  <a:buNone/>
                  <a:defRPr sz="3400" b="1" i="0" u="none" strike="noStrike" kern="1200" cap="none">
                    <a:solidFill>
                      <a:schemeClr val="dk2"/>
                    </a:solidFill>
                    <a:latin typeface="Montserrat" pitchFamily="2" charset="77"/>
                    <a:ea typeface="Tahoma"/>
                    <a:cs typeface="Tahoma"/>
                    <a:sym typeface="Tahoma"/>
                  </a:defRPr>
                </a:lvl1pPr>
                <a:lvl2pPr lvl="1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2pPr>
                <a:lvl3pPr lvl="2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3pPr>
                <a:lvl4pPr lvl="3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4pPr>
                <a:lvl5pPr lvl="4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5pPr>
                <a:lvl6pPr lvl="5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6pPr>
                <a:lvl7pPr lvl="6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7pPr>
                <a:lvl8pPr lvl="7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8pPr>
                <a:lvl9pPr lvl="8">
                  <a:spcBef>
                    <a:spcPts val="0"/>
                  </a:spcBef>
                  <a:spcAft>
                    <a:spcPts val="0"/>
                  </a:spcAft>
                  <a:buSzPts val="1400"/>
                  <a:buNone/>
                  <a:defRPr sz="1800"/>
                </a:lvl9pPr>
              </a:lstStyle>
              <a:p>
                <a:r>
                  <a:rPr lang="en-US" sz="2400">
                    <a:solidFill>
                      <a:schemeClr val="tx2"/>
                    </a:solidFill>
                    <a:latin typeface="Montserrat SemiBold" pitchFamily="2" charset="77"/>
                  </a:rPr>
                  <a:t>Description</a:t>
                </a:r>
              </a:p>
            </p:txBody>
          </p:sp>
          <p:cxnSp>
            <p:nvCxnSpPr>
              <p:cNvPr id="30" name="Elbow Connector 37">
                <a:extLst>
                  <a:ext uri="{FF2B5EF4-FFF2-40B4-BE49-F238E27FC236}">
                    <a16:creationId xmlns:a16="http://schemas.microsoft.com/office/drawing/2014/main" id="{6F1C226F-946F-C48F-B4CF-499DD28DE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5975" y="3330402"/>
                <a:ext cx="13825884" cy="0"/>
              </a:xfrm>
              <a:prstGeom prst="straightConnector1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8" name="Title 1">
              <a:extLst>
                <a:ext uri="{FF2B5EF4-FFF2-40B4-BE49-F238E27FC236}">
                  <a16:creationId xmlns:a16="http://schemas.microsoft.com/office/drawing/2014/main" id="{7CD2113A-126A-3568-886C-72129C2C7C0B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7578873"/>
              <a:ext cx="10959436" cy="50405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dirty="0" err="1">
                  <a:solidFill>
                    <a:schemeClr val="tx2"/>
                  </a:solidFill>
                </a:rPr>
                <a:t>Point 1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r>
                <a:rPr lang="en-US" sz="2400" dirty="0" err="1">
                  <a:solidFill>
                    <a:schemeClr val="tx2"/>
                  </a:solidFill>
                </a:rPr>
                <a:t>Point 2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endParaRPr lang="en-US" sz="2400" dirty="0">
                <a:solidFill>
                  <a:schemeClr val="tx2"/>
                </a:solidFill>
              </a:endParaRPr>
            </a:p>
            <a:p>
              <a:r>
                <a:rPr lang="en-US" sz="2400" dirty="0" err="1">
                  <a:solidFill>
                    <a:schemeClr val="tx2"/>
                  </a:solidFill>
                </a:rPr>
                <a:t>Point 3</a:t>
              </a:r>
              <a:r>
                <a:rPr lang="en-US" sz="2400" dirty="0">
                  <a:solidFill>
                    <a:schemeClr val="tx2"/>
                  </a:solidFill>
                </a:rPr>
                <a:t>: </a:t>
              </a:r>
              <a:r>
                <a:rPr lang="en-US" sz="2400" b="0" dirty="0" err="1">
                  <a:solidFill>
                    <a:schemeClr val="tx2"/>
                  </a:solidFill>
                </a:rPr>
                <a:t>tbd</a:t>
              </a:r>
              <a:endParaRPr lang="en-US" sz="2400" b="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300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92A1B-F753-A707-B267-4E9A95940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B722085-BEC6-8C79-BD7D-40D9A9208229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3. Methodology &amp; Pla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F793EC-FFC3-D90A-528C-55D5AE97910A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se are our candidate models for building the foundation mod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047AD0A-DA28-63F0-5F12-8B51EC9C8693}"/>
              </a:ext>
            </a:extLst>
          </p:cNvPr>
          <p:cNvSpPr/>
          <p:nvPr/>
        </p:nvSpPr>
        <p:spPr>
          <a:xfrm>
            <a:off x="841637" y="2837331"/>
            <a:ext cx="22657206" cy="507919"/>
          </a:xfrm>
          <a:prstGeom prst="roundRect">
            <a:avLst>
              <a:gd name="adj" fmla="val 13042"/>
            </a:avLst>
          </a:prstGeom>
          <a:solidFill>
            <a:srgbClr val="0081FB"/>
          </a:solidFill>
          <a:ln>
            <a:noFill/>
          </a:ln>
          <a:effectLst>
            <a:outerShdw blurRad="381000" sx="104000" sy="104000" algn="ctr" rotWithShape="0">
              <a:srgbClr val="2463EC">
                <a:alpha val="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lt1"/>
                </a:solidFill>
                <a:latin typeface="Montserrat" pitchFamily="2" charset="77"/>
              </a:rPr>
              <a:t>Foundation Model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B2CA115-82D4-5903-7E32-41B4D0D5E736}"/>
              </a:ext>
            </a:extLst>
          </p:cNvPr>
          <p:cNvGrpSpPr/>
          <p:nvPr/>
        </p:nvGrpSpPr>
        <p:grpSpPr>
          <a:xfrm>
            <a:off x="841637" y="3840194"/>
            <a:ext cx="22781065" cy="2298669"/>
            <a:chOff x="841637" y="3840194"/>
            <a:chExt cx="22781065" cy="2298669"/>
          </a:xfrm>
        </p:grpSpPr>
        <p:sp>
          <p:nvSpPr>
            <p:cNvPr id="4" name="Google Shape;3948;ge3632631ac_0_100">
              <a:extLst>
                <a:ext uri="{FF2B5EF4-FFF2-40B4-BE49-F238E27FC236}">
                  <a16:creationId xmlns:a16="http://schemas.microsoft.com/office/drawing/2014/main" id="{7304B508-4C0A-5458-D086-D8899BC7946C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3840194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0FCD656-8E18-F1F2-2492-98DFC6CA9A14}"/>
                </a:ext>
              </a:extLst>
            </p:cNvPr>
            <p:cNvGrpSpPr/>
            <p:nvPr/>
          </p:nvGrpSpPr>
          <p:grpSpPr>
            <a:xfrm>
              <a:off x="841637" y="3845498"/>
              <a:ext cx="15736521" cy="2293365"/>
              <a:chOff x="841637" y="3845498"/>
              <a:chExt cx="15736521" cy="2293365"/>
            </a:xfrm>
          </p:grpSpPr>
          <p:sp>
            <p:nvSpPr>
              <p:cNvPr id="14" name="Rounded Rectangle 13">
                <a:extLst>
                  <a:ext uri="{FF2B5EF4-FFF2-40B4-BE49-F238E27FC236}">
                    <a16:creationId xmlns:a16="http://schemas.microsoft.com/office/drawing/2014/main" id="{579A4252-81B8-1715-40D3-A20085183A07}"/>
                  </a:ext>
                </a:extLst>
              </p:cNvPr>
              <p:cNvSpPr/>
              <p:nvPr/>
            </p:nvSpPr>
            <p:spPr>
              <a:xfrm>
                <a:off x="841637" y="3845498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5" name="Google Shape;3948;ge3632631ac_0_100">
                <a:extLst>
                  <a:ext uri="{FF2B5EF4-FFF2-40B4-BE49-F238E27FC236}">
                    <a16:creationId xmlns:a16="http://schemas.microsoft.com/office/drawing/2014/main" id="{4F8B6C23-7B1C-67CF-522C-D5E8CF5A7AF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96520" y="4715181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745BE6-4AB0-EE33-0B46-B439110EFE6F}"/>
              </a:ext>
            </a:extLst>
          </p:cNvPr>
          <p:cNvGrpSpPr/>
          <p:nvPr/>
        </p:nvGrpSpPr>
        <p:grpSpPr>
          <a:xfrm>
            <a:off x="841637" y="6869760"/>
            <a:ext cx="22781065" cy="2293365"/>
            <a:chOff x="841637" y="6756302"/>
            <a:chExt cx="22781065" cy="229336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35FB773-80A8-5975-8192-98589FDD77DC}"/>
                </a:ext>
              </a:extLst>
            </p:cNvPr>
            <p:cNvGrpSpPr/>
            <p:nvPr/>
          </p:nvGrpSpPr>
          <p:grpSpPr>
            <a:xfrm>
              <a:off x="841637" y="6756302"/>
              <a:ext cx="15736521" cy="2293365"/>
              <a:chOff x="841637" y="6858794"/>
              <a:chExt cx="15736521" cy="2293365"/>
            </a:xfrm>
          </p:grpSpPr>
          <p:sp>
            <p:nvSpPr>
              <p:cNvPr id="16" name="Rounded Rectangle 15">
                <a:extLst>
                  <a:ext uri="{FF2B5EF4-FFF2-40B4-BE49-F238E27FC236}">
                    <a16:creationId xmlns:a16="http://schemas.microsoft.com/office/drawing/2014/main" id="{A9C5E1C9-EDB3-8874-2C4B-7631DA979DE0}"/>
                  </a:ext>
                </a:extLst>
              </p:cNvPr>
              <p:cNvSpPr/>
              <p:nvPr/>
            </p:nvSpPr>
            <p:spPr>
              <a:xfrm>
                <a:off x="841637" y="6858794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7" name="Google Shape;3948;ge3632631ac_0_100">
                <a:extLst>
                  <a:ext uri="{FF2B5EF4-FFF2-40B4-BE49-F238E27FC236}">
                    <a16:creationId xmlns:a16="http://schemas.microsoft.com/office/drawing/2014/main" id="{8568D0E1-714A-CBDB-D399-D9067F8A7CD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96520" y="7728477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  <p:sp>
          <p:nvSpPr>
            <p:cNvPr id="24" name="Google Shape;3948;ge3632631ac_0_100">
              <a:extLst>
                <a:ext uri="{FF2B5EF4-FFF2-40B4-BE49-F238E27FC236}">
                  <a16:creationId xmlns:a16="http://schemas.microsoft.com/office/drawing/2014/main" id="{27F81483-CCBB-4A54-A6AE-ABA13401B2A6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6756302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3EBC40A-AB5F-CDDB-26DA-52107D96E6DB}"/>
              </a:ext>
            </a:extLst>
          </p:cNvPr>
          <p:cNvGrpSpPr/>
          <p:nvPr/>
        </p:nvGrpSpPr>
        <p:grpSpPr>
          <a:xfrm>
            <a:off x="815975" y="9894021"/>
            <a:ext cx="22806727" cy="2293365"/>
            <a:chOff x="815975" y="9894021"/>
            <a:chExt cx="22806727" cy="229336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C70E925-1106-3A5D-C1DA-44927034366A}"/>
                </a:ext>
              </a:extLst>
            </p:cNvPr>
            <p:cNvGrpSpPr/>
            <p:nvPr/>
          </p:nvGrpSpPr>
          <p:grpSpPr>
            <a:xfrm>
              <a:off x="815975" y="9894021"/>
              <a:ext cx="15736521" cy="2293365"/>
              <a:chOff x="815975" y="9733574"/>
              <a:chExt cx="15736521" cy="2293365"/>
            </a:xfrm>
          </p:grpSpPr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2ECFC0F6-51EB-F4B9-B8BD-DB333E9C9A19}"/>
                  </a:ext>
                </a:extLst>
              </p:cNvPr>
              <p:cNvSpPr/>
              <p:nvPr/>
            </p:nvSpPr>
            <p:spPr>
              <a:xfrm>
                <a:off x="815975" y="9733574"/>
                <a:ext cx="15736521" cy="229336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66700" sx="101000" sy="101000" algn="ctr" rotWithShape="0">
                  <a:prstClr val="black">
                    <a:alpha val="14000"/>
                  </a:prstClr>
                </a:outerShdw>
              </a:effectLst>
            </p:spPr>
            <p:txBody>
              <a:bodyPr spcFirstLastPara="1" wrap="square" lIns="91425" tIns="45700" rIns="91425" bIns="45700" rtlCol="0" anchor="ctr" anchorCtr="0">
                <a:noAutofit/>
              </a:bodyPr>
              <a:lstStyle/>
              <a:p>
                <a:pPr algn="ctr"/>
                <a:endParaRPr lang="en-US" sz="7200" b="1">
                  <a:solidFill>
                    <a:schemeClr val="tx2"/>
                  </a:solidFill>
                  <a:latin typeface="Montserrat"/>
                </a:endParaRPr>
              </a:p>
            </p:txBody>
          </p:sp>
          <p:sp>
            <p:nvSpPr>
              <p:cNvPr id="19" name="Google Shape;3948;ge3632631ac_0_100">
                <a:extLst>
                  <a:ext uri="{FF2B5EF4-FFF2-40B4-BE49-F238E27FC236}">
                    <a16:creationId xmlns:a16="http://schemas.microsoft.com/office/drawing/2014/main" id="{3D811D1B-742E-9D1F-1CFA-5DF46F90C9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70858" y="10603257"/>
                <a:ext cx="6388555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342900" lvl="0" indent="-342900" rtl="0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de-DE" sz="2400" b="1" u="none" strike="noStrike">
                    <a:solidFill>
                      <a:srgbClr val="000000"/>
                    </a:solidFill>
                    <a:effectLst/>
                    <a:latin typeface="Montserrat" pitchFamily="2" charset="77"/>
                  </a:rPr>
                  <a:t>Model 1 tbd</a:t>
                </a:r>
              </a:p>
            </p:txBody>
          </p:sp>
        </p:grpSp>
        <p:sp>
          <p:nvSpPr>
            <p:cNvPr id="25" name="Google Shape;3948;ge3632631ac_0_100">
              <a:extLst>
                <a:ext uri="{FF2B5EF4-FFF2-40B4-BE49-F238E27FC236}">
                  <a16:creationId xmlns:a16="http://schemas.microsoft.com/office/drawing/2014/main" id="{52495DA3-1C48-2000-395D-12A71E6DD35C}"/>
                </a:ext>
              </a:extLst>
            </p:cNvPr>
            <p:cNvSpPr txBox="1">
              <a:spLocks/>
            </p:cNvSpPr>
            <p:nvPr/>
          </p:nvSpPr>
          <p:spPr>
            <a:xfrm>
              <a:off x="17234147" y="9905196"/>
              <a:ext cx="638855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342900" lvl="0" indent="-342900" rtl="0">
                <a:lnSpc>
                  <a:spcPct val="150000"/>
                </a:lnSpc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2400" b="1" u="none" strike="noStrike">
                  <a:solidFill>
                    <a:srgbClr val="000000"/>
                  </a:solidFill>
                  <a:effectLst/>
                  <a:latin typeface="Montserrat" pitchFamily="2" charset="77"/>
                </a:rPr>
                <a:t>tb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985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C1FB2-B1A4-1A4F-3CB4-621CE36A4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F46BE38E-1C4D-D9F5-9735-F24EC5F227E4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Other important aspec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1DE8C0-8DC0-9357-D978-3D1AE9DA7BA3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de-DE" sz="2400">
                <a:solidFill>
                  <a:srgbClr val="2463EC"/>
                </a:solidFill>
              </a:rPr>
              <a:t>3. Methodology &amp; Pla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0DF5AC-8309-B05E-A5C5-3F93BF7BAF70}"/>
              </a:ext>
            </a:extLst>
          </p:cNvPr>
          <p:cNvGrpSpPr/>
          <p:nvPr/>
        </p:nvGrpSpPr>
        <p:grpSpPr>
          <a:xfrm>
            <a:off x="714678" y="2595380"/>
            <a:ext cx="11118869" cy="879038"/>
            <a:chOff x="714678" y="2595380"/>
            <a:chExt cx="13927181" cy="879038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F22434AD-8964-249E-223D-389161E6F525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dirty="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 dirty="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13" name="Elbow Connector 37">
              <a:extLst>
                <a:ext uri="{FF2B5EF4-FFF2-40B4-BE49-F238E27FC236}">
                  <a16:creationId xmlns:a16="http://schemas.microsoft.com/office/drawing/2014/main" id="{BBFDBBB0-F702-178D-F13A-CAA56F0C9FC8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46DA35-AE1E-5BD2-FE17-642DA214E791}"/>
              </a:ext>
            </a:extLst>
          </p:cNvPr>
          <p:cNvGrpSpPr/>
          <p:nvPr/>
        </p:nvGrpSpPr>
        <p:grpSpPr>
          <a:xfrm>
            <a:off x="12462730" y="2595380"/>
            <a:ext cx="11118869" cy="879038"/>
            <a:chOff x="714678" y="2595380"/>
            <a:chExt cx="13927181" cy="879038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5E444796-9AE3-BA78-4B05-7296413D9951}"/>
                </a:ext>
              </a:extLst>
            </p:cNvPr>
            <p:cNvSpPr txBox="1">
              <a:spLocks/>
            </p:cNvSpPr>
            <p:nvPr/>
          </p:nvSpPr>
          <p:spPr>
            <a:xfrm>
              <a:off x="714678" y="2595380"/>
              <a:ext cx="13639150" cy="8790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2400" err="1">
                  <a:solidFill>
                    <a:schemeClr val="tx2"/>
                  </a:solidFill>
                  <a:latin typeface="Montserrat SemiBold" pitchFamily="2" charset="77"/>
                </a:rPr>
                <a:t>Description</a:t>
              </a:r>
              <a:endParaRPr lang="en-US" sz="2400">
                <a:solidFill>
                  <a:schemeClr val="tx2"/>
                </a:solidFill>
                <a:latin typeface="Montserrat SemiBold" pitchFamily="2" charset="77"/>
              </a:endParaRPr>
            </a:p>
          </p:txBody>
        </p:sp>
        <p:cxnSp>
          <p:nvCxnSpPr>
            <p:cNvPr id="22" name="Elbow Connector 37">
              <a:extLst>
                <a:ext uri="{FF2B5EF4-FFF2-40B4-BE49-F238E27FC236}">
                  <a16:creationId xmlns:a16="http://schemas.microsoft.com/office/drawing/2014/main" id="{CA184EDC-6A7C-8B38-1186-47FECB9ACCA7}"/>
                </a:ext>
              </a:extLst>
            </p:cNvPr>
            <p:cNvCxnSpPr>
              <a:cxnSpLocks/>
            </p:cNvCxnSpPr>
            <p:nvPr/>
          </p:nvCxnSpPr>
          <p:spPr>
            <a:xfrm>
              <a:off x="815975" y="3330402"/>
              <a:ext cx="13825884" cy="0"/>
            </a:xfrm>
            <a:prstGeom prst="straightConnector1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ABDB0A1B-AD7C-F51D-7EF9-04D99A3B4D36}"/>
              </a:ext>
            </a:extLst>
          </p:cNvPr>
          <p:cNvSpPr txBox="1">
            <a:spLocks/>
          </p:cNvSpPr>
          <p:nvPr/>
        </p:nvSpPr>
        <p:spPr>
          <a:xfrm>
            <a:off x="12462730" y="3623563"/>
            <a:ext cx="11179908" cy="3096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err="1">
                <a:solidFill>
                  <a:schemeClr val="tx2"/>
                </a:solidFill>
              </a:rPr>
              <a:t>Point1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2</a:t>
            </a:r>
            <a:r>
              <a:rPr lang="en-US" sz="2400">
                <a:solidFill>
                  <a:schemeClr val="tx2"/>
                </a:solidFill>
              </a:rPr>
              <a:t>:</a:t>
            </a:r>
            <a:r>
              <a:rPr lang="en-US" sz="2400" b="0">
                <a:solidFill>
                  <a:schemeClr val="tx2"/>
                </a:solidFill>
              </a:rPr>
              <a:t> </a:t>
            </a:r>
            <a:r>
              <a:rPr lang="en-US" sz="2400" b="0" err="1">
                <a:solidFill>
                  <a:schemeClr val="tx2"/>
                </a:solidFill>
              </a:rPr>
              <a:t>tbd</a:t>
            </a:r>
            <a:endParaRPr lang="en-US" sz="2400" b="0">
              <a:solidFill>
                <a:schemeClr val="tx2"/>
              </a:solidFill>
            </a:endParaRPr>
          </a:p>
          <a:p>
            <a:endParaRPr lang="en-US" sz="2400" b="0">
              <a:solidFill>
                <a:schemeClr val="tx2"/>
              </a:solidFill>
            </a:endParaRPr>
          </a:p>
          <a:p>
            <a:r>
              <a:rPr lang="en-US" sz="2400" err="1">
                <a:solidFill>
                  <a:schemeClr val="tx2"/>
                </a:solidFill>
              </a:rPr>
              <a:t>Point 3</a:t>
            </a:r>
            <a:r>
              <a:rPr lang="en-US" sz="2400">
                <a:solidFill>
                  <a:schemeClr val="tx2"/>
                </a:solidFill>
              </a:rPr>
              <a:t>: </a:t>
            </a:r>
            <a:r>
              <a:rPr lang="en-US" sz="2400" b="0">
                <a:solidFill>
                  <a:schemeClr val="tx2"/>
                </a:solidFill>
              </a:rPr>
              <a:t>tbd</a:t>
            </a:r>
            <a:endParaRPr lang="en-US" sz="2400">
              <a:solidFill>
                <a:schemeClr val="tx2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1D5FDC6-225C-BA17-85C4-7E629A3FCB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29"/>
                    </a14:imgEffect>
                    <a14:imgEffect>
                      <a14:sharpenSoften amoun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21" y="3833812"/>
            <a:ext cx="11092772" cy="7288379"/>
          </a:xfrm>
          <a:prstGeom prst="rect">
            <a:avLst/>
          </a:prstGeom>
          <a:solidFill>
            <a:schemeClr val="accent4"/>
          </a:solidFill>
          <a:effectLst>
            <a:softEdge rad="133185"/>
          </a:effectLst>
        </p:spPr>
      </p:pic>
    </p:spTree>
    <p:extLst>
      <p:ext uri="{BB962C8B-B14F-4D97-AF65-F5344CB8AC3E}">
        <p14:creationId xmlns:p14="http://schemas.microsoft.com/office/powerpoint/2010/main" val="379327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678678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570666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7705861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Gantt-Chart (Nov 2024 - Aug 2025)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5124906-C67B-FA5D-BBD7-425EB49E7B43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294B4B-5DD1-DB2C-6617-E706174D4C77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5365E3-606B-0F89-2D46-E6247916BAFF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87308CA-A094-E3DA-961E-73814A87ADFA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C93486F-9B56-B44D-7C7D-F68398222A1C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A86A2E5-BA22-1DD2-982D-3E8FA66F3270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FEC7576-FD90-F06B-7F5E-CF5C11C0AE1F}"/>
              </a:ext>
            </a:extLst>
          </p:cNvPr>
          <p:cNvSpPr txBox="1">
            <a:spLocks/>
          </p:cNvSpPr>
          <p:nvPr/>
        </p:nvSpPr>
        <p:spPr>
          <a:xfrm>
            <a:off x="1146725" y="8442970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List of task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3F0016D-B944-F3B1-16A0-5BD110B79522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DB2145-0BC1-AD23-E44A-881AE055011B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3" name="Picture 2" descr="Download London School of Economics and ...">
              <a:extLst>
                <a:ext uri="{FF2B5EF4-FFF2-40B4-BE49-F238E27FC236}">
                  <a16:creationId xmlns:a16="http://schemas.microsoft.com/office/drawing/2014/main" id="{E1E11D6D-BF20-FFAC-B6D1-A656F1B3A01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Download Meta logo in vector (.EPS + ...">
              <a:extLst>
                <a:ext uri="{FF2B5EF4-FFF2-40B4-BE49-F238E27FC236}">
                  <a16:creationId xmlns:a16="http://schemas.microsoft.com/office/drawing/2014/main" id="{5C3C28E2-5268-76FE-0A1E-9C64421D4B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00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96B4E-54B7-D190-B146-3E40A70F9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reeform: Shape 19">
            <a:extLst>
              <a:ext uri="{FF2B5EF4-FFF2-40B4-BE49-F238E27FC236}">
                <a16:creationId xmlns:a16="http://schemas.microsoft.com/office/drawing/2014/main" id="{77F0E9A4-7511-9DF1-1054-FBCB9B0E3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5777486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Select </a:t>
            </a:r>
          </a:p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 model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FF42999-CF4F-22D6-324D-19BF986311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175" y="2117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394DD15-DF14-9A46-AC24-6688B40DE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75" y="2117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Title 1">
            <a:extLst>
              <a:ext uri="{FF2B5EF4-FFF2-40B4-BE49-F238E27FC236}">
                <a16:creationId xmlns:a16="http://schemas.microsoft.com/office/drawing/2014/main" id="{613F2143-B959-E70F-007F-922DF953EF21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The next checkpoint for our project is …</a:t>
            </a:r>
          </a:p>
        </p:txBody>
      </p:sp>
      <p:sp>
        <p:nvSpPr>
          <p:cNvPr id="6" name="Freeform: Shape 19">
            <a:extLst>
              <a:ext uri="{FF2B5EF4-FFF2-40B4-BE49-F238E27FC236}">
                <a16:creationId xmlns:a16="http://schemas.microsoft.com/office/drawing/2014/main" id="{3CB4F95C-960C-7A95-F61C-A3B6749D2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1183" y="3531230"/>
            <a:ext cx="583264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Gather most relevant satellite and water quality train data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C376B7-8BD0-B429-035E-CD2151D746BB}"/>
              </a:ext>
            </a:extLst>
          </p:cNvPr>
          <p:cNvGrpSpPr/>
          <p:nvPr/>
        </p:nvGrpSpPr>
        <p:grpSpPr>
          <a:xfrm>
            <a:off x="2964782" y="3762450"/>
            <a:ext cx="3956401" cy="484689"/>
            <a:chOff x="2964782" y="3863856"/>
            <a:chExt cx="3956401" cy="484689"/>
          </a:xfrm>
        </p:grpSpPr>
        <p:sp>
          <p:nvSpPr>
            <p:cNvPr id="156" name="Title 1">
              <a:extLst>
                <a:ext uri="{FF2B5EF4-FFF2-40B4-BE49-F238E27FC236}">
                  <a16:creationId xmlns:a16="http://schemas.microsoft.com/office/drawing/2014/main" id="{542AA04B-CB50-1CE2-0B60-85D726DD98DC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3863856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Data Collection</a:t>
              </a: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810B16D0-D1FB-1E90-2BFD-A554F222E39F}"/>
                </a:ext>
              </a:extLst>
            </p:cNvPr>
            <p:cNvSpPr/>
            <p:nvPr/>
          </p:nvSpPr>
          <p:spPr bwMode="gray">
            <a:xfrm>
              <a:off x="2964782" y="3974801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1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AD5A7E13-8E89-361E-8905-69B346D0DFBA}"/>
              </a:ext>
            </a:extLst>
          </p:cNvPr>
          <p:cNvGrpSpPr/>
          <p:nvPr/>
        </p:nvGrpSpPr>
        <p:grpSpPr>
          <a:xfrm>
            <a:off x="2964782" y="4797285"/>
            <a:ext cx="3956401" cy="484689"/>
            <a:chOff x="2964782" y="4797285"/>
            <a:chExt cx="3956401" cy="484689"/>
          </a:xfrm>
        </p:grpSpPr>
        <p:sp>
          <p:nvSpPr>
            <p:cNvPr id="273" name="Title 1">
              <a:extLst>
                <a:ext uri="{FF2B5EF4-FFF2-40B4-BE49-F238E27FC236}">
                  <a16:creationId xmlns:a16="http://schemas.microsoft.com/office/drawing/2014/main" id="{0A2B62B9-91BA-56B2-CD0B-E8CDF0F69583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4797285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Data preparation</a:t>
              </a: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5023F807-342B-6708-532D-46213504A609}"/>
                </a:ext>
              </a:extLst>
            </p:cNvPr>
            <p:cNvSpPr/>
            <p:nvPr/>
          </p:nvSpPr>
          <p:spPr bwMode="gray">
            <a:xfrm>
              <a:off x="2964782" y="4921190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2</a:t>
              </a:r>
            </a:p>
          </p:txBody>
        </p:sp>
      </p:grpSp>
      <p:sp>
        <p:nvSpPr>
          <p:cNvPr id="163" name="Title 1">
            <a:extLst>
              <a:ext uri="{FF2B5EF4-FFF2-40B4-BE49-F238E27FC236}">
                <a16:creationId xmlns:a16="http://schemas.microsoft.com/office/drawing/2014/main" id="{F6A30064-5564-C14A-B27C-16A3AF73929E}"/>
              </a:ext>
            </a:extLst>
          </p:cNvPr>
          <p:cNvSpPr txBox="1">
            <a:spLocks/>
          </p:cNvSpPr>
          <p:nvPr/>
        </p:nvSpPr>
        <p:spPr>
          <a:xfrm>
            <a:off x="7902199" y="12299533"/>
            <a:ext cx="1779416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31.01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1</a:t>
            </a:r>
            <a:r>
              <a:rPr lang="en-US" sz="1800" b="0" baseline="30000">
                <a:solidFill>
                  <a:schemeClr val="tx1"/>
                </a:solidFill>
                <a:latin typeface="Montserrat SemiBold" pitchFamily="2" charset="77"/>
              </a:rPr>
              <a:t>st</a:t>
            </a:r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 All Han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E2DF6E-3C19-949B-B85C-F6EC2045EE44}"/>
              </a:ext>
            </a:extLst>
          </p:cNvPr>
          <p:cNvGrpSpPr/>
          <p:nvPr/>
        </p:nvGrpSpPr>
        <p:grpSpPr>
          <a:xfrm>
            <a:off x="2964782" y="5758319"/>
            <a:ext cx="3956401" cy="484689"/>
            <a:chOff x="2964782" y="6541117"/>
            <a:chExt cx="3956401" cy="484689"/>
          </a:xfrm>
        </p:grpSpPr>
        <p:sp>
          <p:nvSpPr>
            <p:cNvPr id="157" name="Title 1">
              <a:extLst>
                <a:ext uri="{FF2B5EF4-FFF2-40B4-BE49-F238E27FC236}">
                  <a16:creationId xmlns:a16="http://schemas.microsoft.com/office/drawing/2014/main" id="{6F440599-CADD-9811-BD8C-42931B00AE57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6541117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>
                  <a:solidFill>
                    <a:srgbClr val="0081FB"/>
                  </a:solidFill>
                  <a:latin typeface="Montserrat SemiBold" pitchFamily="2" charset="77"/>
                </a:rPr>
                <a:t>Model definition and implementation</a:t>
              </a: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C1AD6C74-D2B5-A1B0-7A8B-B8DB2CB6357E}"/>
                </a:ext>
              </a:extLst>
            </p:cNvPr>
            <p:cNvSpPr/>
            <p:nvPr/>
          </p:nvSpPr>
          <p:spPr bwMode="gray">
            <a:xfrm>
              <a:off x="2964782" y="6652062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Montserrat" pitchFamily="2" charset="77"/>
                </a:rPr>
                <a:t>3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A0982CF-955B-DC8D-9BC5-CD027BFF2DA1}"/>
              </a:ext>
            </a:extLst>
          </p:cNvPr>
          <p:cNvGrpSpPr/>
          <p:nvPr/>
        </p:nvGrpSpPr>
        <p:grpSpPr>
          <a:xfrm>
            <a:off x="2964782" y="7173549"/>
            <a:ext cx="3956401" cy="484689"/>
            <a:chOff x="2964782" y="7245932"/>
            <a:chExt cx="3956401" cy="484689"/>
          </a:xfrm>
        </p:grpSpPr>
        <p:sp>
          <p:nvSpPr>
            <p:cNvPr id="274" name="Title 1">
              <a:extLst>
                <a:ext uri="{FF2B5EF4-FFF2-40B4-BE49-F238E27FC236}">
                  <a16:creationId xmlns:a16="http://schemas.microsoft.com/office/drawing/2014/main" id="{5DA9B715-A597-EB17-2AF0-17B6476527FC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7245932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Model tuning and evalaution</a:t>
              </a: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1E81131-2554-D8E9-E83D-4F26A1429E3B}"/>
                </a:ext>
              </a:extLst>
            </p:cNvPr>
            <p:cNvSpPr/>
            <p:nvPr/>
          </p:nvSpPr>
          <p:spPr bwMode="gray">
            <a:xfrm>
              <a:off x="2964782" y="7356877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4</a:t>
              </a:r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5A6E3193-28F1-3968-A365-7092ADC2F978}"/>
              </a:ext>
            </a:extLst>
          </p:cNvPr>
          <p:cNvSpPr txBox="1">
            <a:spLocks/>
          </p:cNvSpPr>
          <p:nvPr/>
        </p:nvSpPr>
        <p:spPr>
          <a:xfrm>
            <a:off x="714677" y="5182255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EDA &amp; Modelling</a:t>
            </a:r>
            <a:endParaRPr lang="en-US" sz="2400" dirty="0">
              <a:latin typeface="Montserrat SemiBold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480364-13FA-53DD-3108-E4D8CDBE316B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4. Gantt-Char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D943AA6-2907-EECB-576B-CBE8291B10D8}"/>
              </a:ext>
            </a:extLst>
          </p:cNvPr>
          <p:cNvSpPr txBox="1">
            <a:spLocks/>
          </p:cNvSpPr>
          <p:nvPr/>
        </p:nvSpPr>
        <p:spPr>
          <a:xfrm>
            <a:off x="834905" y="9177613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Writing</a:t>
            </a:r>
            <a:endParaRPr lang="en-US" sz="2400" dirty="0">
              <a:latin typeface="Montserrat SemiBold" pitchFamily="2" charset="77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91BA40-26C6-D7B2-75CD-07499DF706F4}"/>
              </a:ext>
            </a:extLst>
          </p:cNvPr>
          <p:cNvGrpSpPr/>
          <p:nvPr/>
        </p:nvGrpSpPr>
        <p:grpSpPr>
          <a:xfrm>
            <a:off x="2964782" y="8588779"/>
            <a:ext cx="3956401" cy="484689"/>
            <a:chOff x="2964782" y="7245932"/>
            <a:chExt cx="3956401" cy="484689"/>
          </a:xfrm>
        </p:grpSpPr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60F9A4E4-55F0-04E1-4A07-5A63799C9183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7245932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Literature review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3469643-5940-7FBC-CBF8-3BDA3EC9C590}"/>
                </a:ext>
              </a:extLst>
            </p:cNvPr>
            <p:cNvSpPr/>
            <p:nvPr/>
          </p:nvSpPr>
          <p:spPr bwMode="gray">
            <a:xfrm>
              <a:off x="2964782" y="7356877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5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DB0C8A7-84F7-8DC0-77E9-99B7153CB917}"/>
              </a:ext>
            </a:extLst>
          </p:cNvPr>
          <p:cNvGrpSpPr/>
          <p:nvPr/>
        </p:nvGrpSpPr>
        <p:grpSpPr>
          <a:xfrm>
            <a:off x="2964782" y="9879268"/>
            <a:ext cx="3956401" cy="484689"/>
            <a:chOff x="2964782" y="10838601"/>
            <a:chExt cx="3956401" cy="484689"/>
          </a:xfrm>
        </p:grpSpPr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3AED459F-8865-3ED2-52CC-6BE7B90986A5}"/>
                </a:ext>
              </a:extLst>
            </p:cNvPr>
            <p:cNvSpPr txBox="1">
              <a:spLocks/>
            </p:cNvSpPr>
            <p:nvPr/>
          </p:nvSpPr>
          <p:spPr>
            <a:xfrm>
              <a:off x="3259633" y="10838601"/>
              <a:ext cx="3661550" cy="4846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lvl1pPr marR="0" lvl="0" algn="l" defTabSz="243864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6600"/>
                <a:buFont typeface="Tahoma"/>
                <a:buNone/>
                <a:defRPr sz="3400" b="1" i="0" u="none" strike="noStrike" kern="1200" cap="none">
                  <a:solidFill>
                    <a:schemeClr val="dk2"/>
                  </a:solidFill>
                  <a:latin typeface="Montserrat" pitchFamily="2" charset="77"/>
                  <a:ea typeface="Tahoma"/>
                  <a:cs typeface="Tahoma"/>
                  <a:sym typeface="Tahoma"/>
                </a:defRPr>
              </a:lvl1pPr>
              <a:lvl2pPr lvl="1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2pPr>
              <a:lvl3pPr lvl="2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3pPr>
              <a:lvl4pPr lvl="3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4pPr>
              <a:lvl5pPr lvl="4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5pPr>
              <a:lvl6pPr lvl="5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6pPr>
              <a:lvl7pPr lvl="6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7pPr>
              <a:lvl8pPr lvl="7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8pPr>
              <a:lvl9pPr lvl="8">
                <a:spcBef>
                  <a:spcPts val="0"/>
                </a:spcBef>
                <a:spcAft>
                  <a:spcPts val="0"/>
                </a:spcAft>
                <a:buSzPts val="1400"/>
                <a:buNone/>
                <a:defRPr sz="1800"/>
              </a:lvl9pPr>
            </a:lstStyle>
            <a:p>
              <a:r>
                <a:rPr lang="en-US" sz="1800" dirty="0">
                  <a:solidFill>
                    <a:srgbClr val="0081FB"/>
                  </a:solidFill>
                  <a:latin typeface="Montserrat SemiBold" pitchFamily="2" charset="77"/>
                </a:rPr>
                <a:t>Report writing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779AA8F-573F-E4C6-417B-BD09019330D3}"/>
                </a:ext>
              </a:extLst>
            </p:cNvPr>
            <p:cNvSpPr/>
            <p:nvPr/>
          </p:nvSpPr>
          <p:spPr bwMode="gray">
            <a:xfrm>
              <a:off x="2964782" y="10949546"/>
              <a:ext cx="288032" cy="262800"/>
            </a:xfrm>
            <a:prstGeom prst="ellipse">
              <a:avLst/>
            </a:prstGeom>
            <a:solidFill>
              <a:srgbClr val="0081FB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Montserrat" pitchFamily="2" charset="77"/>
                </a:rPr>
                <a:t>6</a:t>
              </a:r>
            </a:p>
          </p:txBody>
        </p:sp>
      </p:grpSp>
      <p:sp>
        <p:nvSpPr>
          <p:cNvPr id="54" name="Title 1">
            <a:extLst>
              <a:ext uri="{FF2B5EF4-FFF2-40B4-BE49-F238E27FC236}">
                <a16:creationId xmlns:a16="http://schemas.microsoft.com/office/drawing/2014/main" id="{62AEEF20-8BCE-2536-6DB3-FA7CFED89945}"/>
              </a:ext>
            </a:extLst>
          </p:cNvPr>
          <p:cNvSpPr txBox="1">
            <a:spLocks/>
          </p:cNvSpPr>
          <p:nvPr/>
        </p:nvSpPr>
        <p:spPr>
          <a:xfrm>
            <a:off x="2832100" y="2595380"/>
            <a:ext cx="408908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ctivity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cxnSp>
        <p:nvCxnSpPr>
          <p:cNvPr id="55" name="Elbow Connector 37">
            <a:extLst>
              <a:ext uri="{FF2B5EF4-FFF2-40B4-BE49-F238E27FC236}">
                <a16:creationId xmlns:a16="http://schemas.microsoft.com/office/drawing/2014/main" id="{8B3C7108-60E6-BB92-068F-FB97E9D74FBB}"/>
              </a:ext>
            </a:extLst>
          </p:cNvPr>
          <p:cNvCxnSpPr>
            <a:cxnSpLocks/>
          </p:cNvCxnSpPr>
          <p:nvPr/>
        </p:nvCxnSpPr>
        <p:spPr>
          <a:xfrm>
            <a:off x="795549" y="3330402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Elbow Connector 37">
            <a:extLst>
              <a:ext uri="{FF2B5EF4-FFF2-40B4-BE49-F238E27FC236}">
                <a16:creationId xmlns:a16="http://schemas.microsoft.com/office/drawing/2014/main" id="{B55AEB73-EC97-D42A-5639-85C4D70CE4A8}"/>
              </a:ext>
            </a:extLst>
          </p:cNvPr>
          <p:cNvCxnSpPr>
            <a:cxnSpLocks/>
          </p:cNvCxnSpPr>
          <p:nvPr/>
        </p:nvCxnSpPr>
        <p:spPr>
          <a:xfrm>
            <a:off x="795549" y="8184443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itle 1">
            <a:extLst>
              <a:ext uri="{FF2B5EF4-FFF2-40B4-BE49-F238E27FC236}">
                <a16:creationId xmlns:a16="http://schemas.microsoft.com/office/drawing/2014/main" id="{4B064159-EEC6-3420-EDAA-44F162999F6B}"/>
              </a:ext>
            </a:extLst>
          </p:cNvPr>
          <p:cNvSpPr txBox="1">
            <a:spLocks/>
          </p:cNvSpPr>
          <p:nvPr/>
        </p:nvSpPr>
        <p:spPr>
          <a:xfrm>
            <a:off x="6921183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a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85691534-C716-85AB-D60F-FEA44ADF10B3}"/>
              </a:ext>
            </a:extLst>
          </p:cNvPr>
          <p:cNvSpPr txBox="1">
            <a:spLocks/>
          </p:cNvSpPr>
          <p:nvPr/>
        </p:nvSpPr>
        <p:spPr>
          <a:xfrm>
            <a:off x="898683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Feb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14A89FC-971E-A0CE-63BF-563B8269C786}"/>
              </a:ext>
            </a:extLst>
          </p:cNvPr>
          <p:cNvSpPr txBox="1">
            <a:spLocks/>
          </p:cNvSpPr>
          <p:nvPr/>
        </p:nvSpPr>
        <p:spPr>
          <a:xfrm>
            <a:off x="11023386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Mar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3785D4A3-B4A1-C9D6-0FC0-F6BD2CE38C26}"/>
              </a:ext>
            </a:extLst>
          </p:cNvPr>
          <p:cNvSpPr txBox="1">
            <a:spLocks/>
          </p:cNvSpPr>
          <p:nvPr/>
        </p:nvSpPr>
        <p:spPr>
          <a:xfrm>
            <a:off x="1310936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pr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8380279-0895-D835-6BEC-C6F5E0AA3971}"/>
              </a:ext>
            </a:extLst>
          </p:cNvPr>
          <p:cNvSpPr txBox="1">
            <a:spLocks/>
          </p:cNvSpPr>
          <p:nvPr/>
        </p:nvSpPr>
        <p:spPr>
          <a:xfrm>
            <a:off x="15197596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May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F37DEDBD-9CC6-504D-881E-D673C8EC29E3}"/>
              </a:ext>
            </a:extLst>
          </p:cNvPr>
          <p:cNvSpPr txBox="1">
            <a:spLocks/>
          </p:cNvSpPr>
          <p:nvPr/>
        </p:nvSpPr>
        <p:spPr>
          <a:xfrm>
            <a:off x="17246495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u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877B7F5E-FA46-7B87-905E-166FE76F0479}"/>
              </a:ext>
            </a:extLst>
          </p:cNvPr>
          <p:cNvSpPr txBox="1">
            <a:spLocks/>
          </p:cNvSpPr>
          <p:nvPr/>
        </p:nvSpPr>
        <p:spPr>
          <a:xfrm>
            <a:off x="19374060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Jul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C2024AA8-9048-857E-EB1A-D91E09EE7732}"/>
              </a:ext>
            </a:extLst>
          </p:cNvPr>
          <p:cNvSpPr txBox="1">
            <a:spLocks/>
          </p:cNvSpPr>
          <p:nvPr/>
        </p:nvSpPr>
        <p:spPr>
          <a:xfrm>
            <a:off x="21390284" y="2163332"/>
            <a:ext cx="203655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Aug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75" name="Freeform: Shape 19">
            <a:extLst>
              <a:ext uri="{FF2B5EF4-FFF2-40B4-BE49-F238E27FC236}">
                <a16:creationId xmlns:a16="http://schemas.microsoft.com/office/drawing/2014/main" id="{04F11D0E-A1C9-7B79-B48F-5504CD38FD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23385" y="4626546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Clean and merge data, create necessary feature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6" name="Freeform: Shape 19">
            <a:extLst>
              <a:ext uri="{FF2B5EF4-FFF2-40B4-BE49-F238E27FC236}">
                <a16:creationId xmlns:a16="http://schemas.microsoft.com/office/drawing/2014/main" id="{F07F2620-17E3-C974-10AE-D9EB5834B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6" y="5777486"/>
            <a:ext cx="4149398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Build models and iteratively improve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9" name="Freeform: Shape 19">
            <a:extLst>
              <a:ext uri="{FF2B5EF4-FFF2-40B4-BE49-F238E27FC236}">
                <a16:creationId xmlns:a16="http://schemas.microsoft.com/office/drawing/2014/main" id="{6ED920CB-4C00-73C3-B736-C28B22CD4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7000010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etune </a:t>
            </a:r>
          </a:p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 model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77" name="Freeform: Shape 19">
            <a:extLst>
              <a:ext uri="{FF2B5EF4-FFF2-40B4-BE49-F238E27FC236}">
                <a16:creationId xmlns:a16="http://schemas.microsoft.com/office/drawing/2014/main" id="{F1F8CC3A-83D7-9458-440A-58E162DF6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5" y="7000010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Continously evaluate and improve model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0" name="Freeform: Shape 19">
            <a:extLst>
              <a:ext uri="{FF2B5EF4-FFF2-40B4-BE49-F238E27FC236}">
                <a16:creationId xmlns:a16="http://schemas.microsoft.com/office/drawing/2014/main" id="{C089DA74-E5D2-AEF6-23B3-B8B330A13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1183" y="8486959"/>
            <a:ext cx="583264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Developr understanding of subject matter and existing research approaches/results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3" name="Freeform: Shape 19">
            <a:extLst>
              <a:ext uri="{FF2B5EF4-FFF2-40B4-BE49-F238E27FC236}">
                <a16:creationId xmlns:a16="http://schemas.microsoft.com/office/drawing/2014/main" id="{C8387A90-FA24-1345-F687-4AB77BFB0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57403" y="9667106"/>
            <a:ext cx="338437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723900" dist="215900" dir="16200000" sx="103000" sy="103000" algn="tl" rotWithShape="0">
              <a:srgbClr val="2463EC">
                <a:alpha val="9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Finalize report, incorporating feedback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1" name="Freeform: Shape 19">
            <a:extLst>
              <a:ext uri="{FF2B5EF4-FFF2-40B4-BE49-F238E27FC236}">
                <a16:creationId xmlns:a16="http://schemas.microsoft.com/office/drawing/2014/main" id="{7F6364FD-9535-D460-2522-395059603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5034" y="9667106"/>
            <a:ext cx="3456385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Write report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2" name="Freeform: Shape 19">
            <a:extLst>
              <a:ext uri="{FF2B5EF4-FFF2-40B4-BE49-F238E27FC236}">
                <a16:creationId xmlns:a16="http://schemas.microsoft.com/office/drawing/2014/main" id="{DD22AC9E-A0BE-B2AB-1BB4-B4553C311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5595" y="9667106"/>
            <a:ext cx="4149399" cy="849800"/>
          </a:xfrm>
          <a:custGeom>
            <a:avLst/>
            <a:gdLst>
              <a:gd name="connsiteX0" fmla="*/ 0 w 2862117"/>
              <a:gd name="connsiteY0" fmla="*/ 0 h 417538"/>
              <a:gd name="connsiteX1" fmla="*/ 2736573 w 2862117"/>
              <a:gd name="connsiteY1" fmla="*/ 0 h 417538"/>
              <a:gd name="connsiteX2" fmla="*/ 2736573 w 2862117"/>
              <a:gd name="connsiteY2" fmla="*/ 28649 h 417538"/>
              <a:gd name="connsiteX3" fmla="*/ 2755708 w 2862117"/>
              <a:gd name="connsiteY3" fmla="*/ 81823 h 417538"/>
              <a:gd name="connsiteX4" fmla="*/ 2862117 w 2862117"/>
              <a:gd name="connsiteY4" fmla="*/ 208770 h 417538"/>
              <a:gd name="connsiteX5" fmla="*/ 2755708 w 2862117"/>
              <a:gd name="connsiteY5" fmla="*/ 340066 h 417538"/>
              <a:gd name="connsiteX6" fmla="*/ 2736573 w 2862117"/>
              <a:gd name="connsiteY6" fmla="*/ 389017 h 417538"/>
              <a:gd name="connsiteX7" fmla="*/ 2736573 w 2862117"/>
              <a:gd name="connsiteY7" fmla="*/ 417538 h 417538"/>
              <a:gd name="connsiteX8" fmla="*/ 0 w 2862117"/>
              <a:gd name="connsiteY8" fmla="*/ 417538 h 417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62117" h="417538">
                <a:moveTo>
                  <a:pt x="0" y="0"/>
                </a:moveTo>
                <a:lnTo>
                  <a:pt x="2736573" y="0"/>
                </a:lnTo>
                <a:lnTo>
                  <a:pt x="2736573" y="28649"/>
                </a:lnTo>
                <a:lnTo>
                  <a:pt x="2755708" y="81823"/>
                </a:lnTo>
                <a:cubicBezTo>
                  <a:pt x="2791178" y="126857"/>
                  <a:pt x="2862117" y="149328"/>
                  <a:pt x="2862117" y="208770"/>
                </a:cubicBezTo>
                <a:cubicBezTo>
                  <a:pt x="2862117" y="269661"/>
                  <a:pt x="2791178" y="296844"/>
                  <a:pt x="2755708" y="340066"/>
                </a:cubicBezTo>
                <a:lnTo>
                  <a:pt x="2736573" y="389017"/>
                </a:lnTo>
                <a:lnTo>
                  <a:pt x="2736573" y="417538"/>
                </a:lnTo>
                <a:lnTo>
                  <a:pt x="0" y="417538"/>
                </a:lnTo>
                <a:close/>
              </a:path>
            </a:pathLst>
          </a:custGeom>
          <a:solidFill>
            <a:srgbClr val="0081F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dirty="0" err="1">
                <a:solidFill>
                  <a:schemeClr val="bg1"/>
                </a:solidFill>
                <a:latin typeface="Montserrat" pitchFamily="2" charset="77"/>
              </a:rPr>
              <a:t>Draft outline and content of report</a:t>
            </a:r>
            <a:endParaRPr lang="en-US" sz="2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4BFD4EED-B076-391C-7EFF-EE82793598E0}"/>
              </a:ext>
            </a:extLst>
          </p:cNvPr>
          <p:cNvSpPr txBox="1">
            <a:spLocks/>
          </p:cNvSpPr>
          <p:nvPr/>
        </p:nvSpPr>
        <p:spPr>
          <a:xfrm>
            <a:off x="690057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59C9F974-70BD-7BB1-20AA-9EF2C6783B91}"/>
              </a:ext>
            </a:extLst>
          </p:cNvPr>
          <p:cNvSpPr txBox="1">
            <a:spLocks/>
          </p:cNvSpPr>
          <p:nvPr/>
        </p:nvSpPr>
        <p:spPr>
          <a:xfrm>
            <a:off x="742132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EF89BEC5-ED36-11F4-A28C-E833B08CE738}"/>
              </a:ext>
            </a:extLst>
          </p:cNvPr>
          <p:cNvSpPr txBox="1">
            <a:spLocks/>
          </p:cNvSpPr>
          <p:nvPr/>
        </p:nvSpPr>
        <p:spPr>
          <a:xfrm>
            <a:off x="794206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B06348D0-E16B-CD5C-25A0-D841B8DFAE81}"/>
              </a:ext>
            </a:extLst>
          </p:cNvPr>
          <p:cNvSpPr txBox="1">
            <a:spLocks/>
          </p:cNvSpPr>
          <p:nvPr/>
        </p:nvSpPr>
        <p:spPr>
          <a:xfrm>
            <a:off x="846281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4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9E6293C1-A5D4-1D90-E438-EA576514A4F1}"/>
              </a:ext>
            </a:extLst>
          </p:cNvPr>
          <p:cNvSpPr txBox="1">
            <a:spLocks/>
          </p:cNvSpPr>
          <p:nvPr/>
        </p:nvSpPr>
        <p:spPr>
          <a:xfrm>
            <a:off x="898356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5</a:t>
            </a:r>
          </a:p>
        </p:txBody>
      </p:sp>
      <p:sp>
        <p:nvSpPr>
          <p:cNvPr id="89" name="Title 1">
            <a:extLst>
              <a:ext uri="{FF2B5EF4-FFF2-40B4-BE49-F238E27FC236}">
                <a16:creationId xmlns:a16="http://schemas.microsoft.com/office/drawing/2014/main" id="{3FB45E95-DF5F-B738-DB25-A19561725943}"/>
              </a:ext>
            </a:extLst>
          </p:cNvPr>
          <p:cNvSpPr txBox="1">
            <a:spLocks/>
          </p:cNvSpPr>
          <p:nvPr/>
        </p:nvSpPr>
        <p:spPr>
          <a:xfrm>
            <a:off x="950431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6</a:t>
            </a:r>
          </a:p>
        </p:txBody>
      </p:sp>
      <p:sp>
        <p:nvSpPr>
          <p:cNvPr id="90" name="Title 1">
            <a:extLst>
              <a:ext uri="{FF2B5EF4-FFF2-40B4-BE49-F238E27FC236}">
                <a16:creationId xmlns:a16="http://schemas.microsoft.com/office/drawing/2014/main" id="{4A8B60C2-BA92-1778-A844-7D494227A613}"/>
              </a:ext>
            </a:extLst>
          </p:cNvPr>
          <p:cNvSpPr txBox="1">
            <a:spLocks/>
          </p:cNvSpPr>
          <p:nvPr/>
        </p:nvSpPr>
        <p:spPr>
          <a:xfrm>
            <a:off x="1002506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7</a:t>
            </a:r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B60CA3A5-2ABB-51C2-8FD3-C85F278A54A1}"/>
              </a:ext>
            </a:extLst>
          </p:cNvPr>
          <p:cNvSpPr txBox="1">
            <a:spLocks/>
          </p:cNvSpPr>
          <p:nvPr/>
        </p:nvSpPr>
        <p:spPr>
          <a:xfrm>
            <a:off x="1054580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8</a:t>
            </a:r>
          </a:p>
        </p:txBody>
      </p:sp>
      <p:sp>
        <p:nvSpPr>
          <p:cNvPr id="92" name="Title 1">
            <a:extLst>
              <a:ext uri="{FF2B5EF4-FFF2-40B4-BE49-F238E27FC236}">
                <a16:creationId xmlns:a16="http://schemas.microsoft.com/office/drawing/2014/main" id="{7C35BB75-9094-683F-52D1-24CAB64E4E6B}"/>
              </a:ext>
            </a:extLst>
          </p:cNvPr>
          <p:cNvSpPr txBox="1">
            <a:spLocks/>
          </p:cNvSpPr>
          <p:nvPr/>
        </p:nvSpPr>
        <p:spPr>
          <a:xfrm>
            <a:off x="1106655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9</a:t>
            </a:r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E8E00BDE-33A9-C5F9-FDB3-526E97DD3B7B}"/>
              </a:ext>
            </a:extLst>
          </p:cNvPr>
          <p:cNvSpPr txBox="1">
            <a:spLocks/>
          </p:cNvSpPr>
          <p:nvPr/>
        </p:nvSpPr>
        <p:spPr>
          <a:xfrm>
            <a:off x="1158730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0</a:t>
            </a:r>
          </a:p>
        </p:txBody>
      </p:sp>
      <p:sp>
        <p:nvSpPr>
          <p:cNvPr id="94" name="Title 1">
            <a:extLst>
              <a:ext uri="{FF2B5EF4-FFF2-40B4-BE49-F238E27FC236}">
                <a16:creationId xmlns:a16="http://schemas.microsoft.com/office/drawing/2014/main" id="{950A80B9-58AE-89C3-8FB5-373244C59F00}"/>
              </a:ext>
            </a:extLst>
          </p:cNvPr>
          <p:cNvSpPr txBox="1">
            <a:spLocks/>
          </p:cNvSpPr>
          <p:nvPr/>
        </p:nvSpPr>
        <p:spPr>
          <a:xfrm>
            <a:off x="1210805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1</a:t>
            </a:r>
          </a:p>
        </p:txBody>
      </p:sp>
      <p:sp>
        <p:nvSpPr>
          <p:cNvPr id="95" name="Title 1">
            <a:extLst>
              <a:ext uri="{FF2B5EF4-FFF2-40B4-BE49-F238E27FC236}">
                <a16:creationId xmlns:a16="http://schemas.microsoft.com/office/drawing/2014/main" id="{3150BE7D-B264-BC15-9FB6-D1EE439B2581}"/>
              </a:ext>
            </a:extLst>
          </p:cNvPr>
          <p:cNvSpPr txBox="1">
            <a:spLocks/>
          </p:cNvSpPr>
          <p:nvPr/>
        </p:nvSpPr>
        <p:spPr>
          <a:xfrm>
            <a:off x="1262880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2</a:t>
            </a: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C87CB729-D5D9-8F34-1F01-0A49DC01290B}"/>
              </a:ext>
            </a:extLst>
          </p:cNvPr>
          <p:cNvSpPr txBox="1">
            <a:spLocks/>
          </p:cNvSpPr>
          <p:nvPr/>
        </p:nvSpPr>
        <p:spPr>
          <a:xfrm>
            <a:off x="1314954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3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97" name="Title 1">
            <a:extLst>
              <a:ext uri="{FF2B5EF4-FFF2-40B4-BE49-F238E27FC236}">
                <a16:creationId xmlns:a16="http://schemas.microsoft.com/office/drawing/2014/main" id="{D1B2FB3D-4714-E4B0-0825-A104E4B04E46}"/>
              </a:ext>
            </a:extLst>
          </p:cNvPr>
          <p:cNvSpPr txBox="1">
            <a:spLocks/>
          </p:cNvSpPr>
          <p:nvPr/>
        </p:nvSpPr>
        <p:spPr>
          <a:xfrm>
            <a:off x="1367029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4</a:t>
            </a:r>
          </a:p>
        </p:txBody>
      </p:sp>
      <p:sp>
        <p:nvSpPr>
          <p:cNvPr id="98" name="Title 1">
            <a:extLst>
              <a:ext uri="{FF2B5EF4-FFF2-40B4-BE49-F238E27FC236}">
                <a16:creationId xmlns:a16="http://schemas.microsoft.com/office/drawing/2014/main" id="{49AD04CB-5F57-739E-0D84-BC0CDDFAC3FA}"/>
              </a:ext>
            </a:extLst>
          </p:cNvPr>
          <p:cNvSpPr txBox="1">
            <a:spLocks/>
          </p:cNvSpPr>
          <p:nvPr/>
        </p:nvSpPr>
        <p:spPr>
          <a:xfrm>
            <a:off x="1419104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5</a:t>
            </a: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F47FA0FD-E16C-B370-0101-4C03E37E3DA1}"/>
              </a:ext>
            </a:extLst>
          </p:cNvPr>
          <p:cNvSpPr txBox="1">
            <a:spLocks/>
          </p:cNvSpPr>
          <p:nvPr/>
        </p:nvSpPr>
        <p:spPr>
          <a:xfrm>
            <a:off x="1471179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6</a:t>
            </a: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11FF33F6-7BCB-6887-2DED-5849A076FB7D}"/>
              </a:ext>
            </a:extLst>
          </p:cNvPr>
          <p:cNvSpPr txBox="1">
            <a:spLocks/>
          </p:cNvSpPr>
          <p:nvPr/>
        </p:nvSpPr>
        <p:spPr>
          <a:xfrm>
            <a:off x="1523254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 err="1">
                <a:solidFill>
                  <a:schemeClr val="tx2"/>
                </a:solidFill>
                <a:latin typeface="Montserrat SemiBold" pitchFamily="2" charset="77"/>
              </a:rPr>
              <a:t>17</a:t>
            </a:r>
            <a:endParaRPr lang="en-US" sz="16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101" name="Title 1">
            <a:extLst>
              <a:ext uri="{FF2B5EF4-FFF2-40B4-BE49-F238E27FC236}">
                <a16:creationId xmlns:a16="http://schemas.microsoft.com/office/drawing/2014/main" id="{71040ACC-80BC-1C0C-AC15-B90333E7FD04}"/>
              </a:ext>
            </a:extLst>
          </p:cNvPr>
          <p:cNvSpPr txBox="1">
            <a:spLocks/>
          </p:cNvSpPr>
          <p:nvPr/>
        </p:nvSpPr>
        <p:spPr>
          <a:xfrm>
            <a:off x="1575328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8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1298927F-3C81-F346-214C-B5208706A158}"/>
              </a:ext>
            </a:extLst>
          </p:cNvPr>
          <p:cNvSpPr txBox="1">
            <a:spLocks/>
          </p:cNvSpPr>
          <p:nvPr/>
        </p:nvSpPr>
        <p:spPr>
          <a:xfrm>
            <a:off x="1627403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19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364DE388-8D5D-CFED-04FD-9638D048C6B1}"/>
              </a:ext>
            </a:extLst>
          </p:cNvPr>
          <p:cNvSpPr txBox="1">
            <a:spLocks/>
          </p:cNvSpPr>
          <p:nvPr/>
        </p:nvSpPr>
        <p:spPr>
          <a:xfrm>
            <a:off x="1679478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0</a:t>
            </a: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7698902D-7332-6401-D58F-421F84A30C97}"/>
              </a:ext>
            </a:extLst>
          </p:cNvPr>
          <p:cNvSpPr txBox="1">
            <a:spLocks/>
          </p:cNvSpPr>
          <p:nvPr/>
        </p:nvSpPr>
        <p:spPr>
          <a:xfrm>
            <a:off x="1731553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1</a:t>
            </a: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6DD74C21-BF44-DBE5-DE96-87B4A5A97BD9}"/>
              </a:ext>
            </a:extLst>
          </p:cNvPr>
          <p:cNvSpPr txBox="1">
            <a:spLocks/>
          </p:cNvSpPr>
          <p:nvPr/>
        </p:nvSpPr>
        <p:spPr>
          <a:xfrm>
            <a:off x="1783628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2</a:t>
            </a:r>
          </a:p>
        </p:txBody>
      </p:sp>
      <p:sp>
        <p:nvSpPr>
          <p:cNvPr id="107" name="Title 1">
            <a:extLst>
              <a:ext uri="{FF2B5EF4-FFF2-40B4-BE49-F238E27FC236}">
                <a16:creationId xmlns:a16="http://schemas.microsoft.com/office/drawing/2014/main" id="{87F53B79-A7EA-4B49-D06D-775F1D2CFF25}"/>
              </a:ext>
            </a:extLst>
          </p:cNvPr>
          <p:cNvSpPr txBox="1">
            <a:spLocks/>
          </p:cNvSpPr>
          <p:nvPr/>
        </p:nvSpPr>
        <p:spPr>
          <a:xfrm>
            <a:off x="1835702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3</a:t>
            </a:r>
          </a:p>
        </p:txBody>
      </p:sp>
      <p:sp>
        <p:nvSpPr>
          <p:cNvPr id="110" name="Title 1">
            <a:extLst>
              <a:ext uri="{FF2B5EF4-FFF2-40B4-BE49-F238E27FC236}">
                <a16:creationId xmlns:a16="http://schemas.microsoft.com/office/drawing/2014/main" id="{C835EB09-668E-4C8A-A2A7-F8A151EC1CEF}"/>
              </a:ext>
            </a:extLst>
          </p:cNvPr>
          <p:cNvSpPr txBox="1">
            <a:spLocks/>
          </p:cNvSpPr>
          <p:nvPr/>
        </p:nvSpPr>
        <p:spPr>
          <a:xfrm>
            <a:off x="1887777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4</a:t>
            </a:r>
          </a:p>
        </p:txBody>
      </p:sp>
      <p:sp>
        <p:nvSpPr>
          <p:cNvPr id="111" name="Title 1">
            <a:extLst>
              <a:ext uri="{FF2B5EF4-FFF2-40B4-BE49-F238E27FC236}">
                <a16:creationId xmlns:a16="http://schemas.microsoft.com/office/drawing/2014/main" id="{45A30690-87DB-97A6-7251-725A00CA335B}"/>
              </a:ext>
            </a:extLst>
          </p:cNvPr>
          <p:cNvSpPr txBox="1">
            <a:spLocks/>
          </p:cNvSpPr>
          <p:nvPr/>
        </p:nvSpPr>
        <p:spPr>
          <a:xfrm>
            <a:off x="1939852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5</a:t>
            </a:r>
          </a:p>
        </p:txBody>
      </p:sp>
      <p:sp>
        <p:nvSpPr>
          <p:cNvPr id="112" name="Title 1">
            <a:extLst>
              <a:ext uri="{FF2B5EF4-FFF2-40B4-BE49-F238E27FC236}">
                <a16:creationId xmlns:a16="http://schemas.microsoft.com/office/drawing/2014/main" id="{9C004B95-07AF-8EE2-E86D-EF3CA50A9589}"/>
              </a:ext>
            </a:extLst>
          </p:cNvPr>
          <p:cNvSpPr txBox="1">
            <a:spLocks/>
          </p:cNvSpPr>
          <p:nvPr/>
        </p:nvSpPr>
        <p:spPr>
          <a:xfrm>
            <a:off x="1991927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6</a:t>
            </a:r>
          </a:p>
        </p:txBody>
      </p:sp>
      <p:sp>
        <p:nvSpPr>
          <p:cNvPr id="113" name="Title 1">
            <a:extLst>
              <a:ext uri="{FF2B5EF4-FFF2-40B4-BE49-F238E27FC236}">
                <a16:creationId xmlns:a16="http://schemas.microsoft.com/office/drawing/2014/main" id="{0659E41C-0E16-F3A2-20C9-4FDB568F210A}"/>
              </a:ext>
            </a:extLst>
          </p:cNvPr>
          <p:cNvSpPr txBox="1">
            <a:spLocks/>
          </p:cNvSpPr>
          <p:nvPr/>
        </p:nvSpPr>
        <p:spPr>
          <a:xfrm>
            <a:off x="20440020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7</a:t>
            </a:r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A4D87001-CF60-FF85-131E-CC8D7514CC16}"/>
              </a:ext>
            </a:extLst>
          </p:cNvPr>
          <p:cNvSpPr txBox="1">
            <a:spLocks/>
          </p:cNvSpPr>
          <p:nvPr/>
        </p:nvSpPr>
        <p:spPr>
          <a:xfrm>
            <a:off x="2096076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8</a:t>
            </a:r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A9028B8F-1425-1040-0508-78780DA662EF}"/>
              </a:ext>
            </a:extLst>
          </p:cNvPr>
          <p:cNvSpPr txBox="1">
            <a:spLocks/>
          </p:cNvSpPr>
          <p:nvPr/>
        </p:nvSpPr>
        <p:spPr>
          <a:xfrm>
            <a:off x="21481516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29</a:t>
            </a: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id="{8BC381A2-E50E-2D1B-9B74-A227B470EDA3}"/>
              </a:ext>
            </a:extLst>
          </p:cNvPr>
          <p:cNvSpPr txBox="1">
            <a:spLocks/>
          </p:cNvSpPr>
          <p:nvPr/>
        </p:nvSpPr>
        <p:spPr>
          <a:xfrm>
            <a:off x="22002264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0</a:t>
            </a:r>
          </a:p>
        </p:txBody>
      </p:sp>
      <p:sp>
        <p:nvSpPr>
          <p:cNvPr id="117" name="Title 1">
            <a:extLst>
              <a:ext uri="{FF2B5EF4-FFF2-40B4-BE49-F238E27FC236}">
                <a16:creationId xmlns:a16="http://schemas.microsoft.com/office/drawing/2014/main" id="{92433986-0CAA-3161-CF7E-B3FE590E64F1}"/>
              </a:ext>
            </a:extLst>
          </p:cNvPr>
          <p:cNvSpPr txBox="1">
            <a:spLocks/>
          </p:cNvSpPr>
          <p:nvPr/>
        </p:nvSpPr>
        <p:spPr>
          <a:xfrm>
            <a:off x="22523012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1</a:t>
            </a:r>
          </a:p>
        </p:txBody>
      </p:sp>
      <p:sp>
        <p:nvSpPr>
          <p:cNvPr id="122" name="Title 1">
            <a:extLst>
              <a:ext uri="{FF2B5EF4-FFF2-40B4-BE49-F238E27FC236}">
                <a16:creationId xmlns:a16="http://schemas.microsoft.com/office/drawing/2014/main" id="{2EC8714A-5621-4E74-B795-222CA64A2ADC}"/>
              </a:ext>
            </a:extLst>
          </p:cNvPr>
          <p:cNvSpPr txBox="1">
            <a:spLocks/>
          </p:cNvSpPr>
          <p:nvPr/>
        </p:nvSpPr>
        <p:spPr>
          <a:xfrm>
            <a:off x="23043748" y="2823926"/>
            <a:ext cx="453446" cy="49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1600" dirty="0">
                <a:solidFill>
                  <a:schemeClr val="tx2"/>
                </a:solidFill>
                <a:latin typeface="Montserrat SemiBold" pitchFamily="2" charset="77"/>
              </a:rPr>
              <a:t>32</a:t>
            </a:r>
          </a:p>
        </p:txBody>
      </p:sp>
      <p:cxnSp>
        <p:nvCxnSpPr>
          <p:cNvPr id="123" name="Elbow Connector 37">
            <a:extLst>
              <a:ext uri="{FF2B5EF4-FFF2-40B4-BE49-F238E27FC236}">
                <a16:creationId xmlns:a16="http://schemas.microsoft.com/office/drawing/2014/main" id="{195FEADC-5DE3-F020-7F0F-55DCBA872BF5}"/>
              </a:ext>
            </a:extLst>
          </p:cNvPr>
          <p:cNvCxnSpPr>
            <a:cxnSpLocks/>
          </p:cNvCxnSpPr>
          <p:nvPr/>
        </p:nvCxnSpPr>
        <p:spPr>
          <a:xfrm flipV="1">
            <a:off x="888928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Elbow Connector 37">
            <a:extLst>
              <a:ext uri="{FF2B5EF4-FFF2-40B4-BE49-F238E27FC236}">
                <a16:creationId xmlns:a16="http://schemas.microsoft.com/office/drawing/2014/main" id="{06382597-1598-B733-394B-94B71DA4F02A}"/>
              </a:ext>
            </a:extLst>
          </p:cNvPr>
          <p:cNvCxnSpPr>
            <a:cxnSpLocks/>
          </p:cNvCxnSpPr>
          <p:nvPr/>
        </p:nvCxnSpPr>
        <p:spPr>
          <a:xfrm flipV="1">
            <a:off x="10999254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Elbow Connector 37">
            <a:extLst>
              <a:ext uri="{FF2B5EF4-FFF2-40B4-BE49-F238E27FC236}">
                <a16:creationId xmlns:a16="http://schemas.microsoft.com/office/drawing/2014/main" id="{859DBF44-F23A-26A9-454C-39DAFB08874E}"/>
              </a:ext>
            </a:extLst>
          </p:cNvPr>
          <p:cNvCxnSpPr>
            <a:cxnSpLocks/>
          </p:cNvCxnSpPr>
          <p:nvPr/>
        </p:nvCxnSpPr>
        <p:spPr>
          <a:xfrm flipV="1">
            <a:off x="1305993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Elbow Connector 37">
            <a:extLst>
              <a:ext uri="{FF2B5EF4-FFF2-40B4-BE49-F238E27FC236}">
                <a16:creationId xmlns:a16="http://schemas.microsoft.com/office/drawing/2014/main" id="{BB57000B-CD84-CECC-F094-907D52A85657}"/>
              </a:ext>
            </a:extLst>
          </p:cNvPr>
          <p:cNvCxnSpPr>
            <a:cxnSpLocks/>
          </p:cNvCxnSpPr>
          <p:nvPr/>
        </p:nvCxnSpPr>
        <p:spPr>
          <a:xfrm flipV="1">
            <a:off x="15137825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Elbow Connector 37">
            <a:extLst>
              <a:ext uri="{FF2B5EF4-FFF2-40B4-BE49-F238E27FC236}">
                <a16:creationId xmlns:a16="http://schemas.microsoft.com/office/drawing/2014/main" id="{AD807D87-2EBD-9CBB-1F51-9CAF14DAA440}"/>
              </a:ext>
            </a:extLst>
          </p:cNvPr>
          <p:cNvCxnSpPr>
            <a:cxnSpLocks/>
          </p:cNvCxnSpPr>
          <p:nvPr/>
        </p:nvCxnSpPr>
        <p:spPr>
          <a:xfrm flipV="1">
            <a:off x="17222255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Elbow Connector 37">
            <a:extLst>
              <a:ext uri="{FF2B5EF4-FFF2-40B4-BE49-F238E27FC236}">
                <a16:creationId xmlns:a16="http://schemas.microsoft.com/office/drawing/2014/main" id="{FC34BAC4-EFF3-B4D1-7E80-53FB5BE81B1B}"/>
              </a:ext>
            </a:extLst>
          </p:cNvPr>
          <p:cNvCxnSpPr>
            <a:cxnSpLocks/>
          </p:cNvCxnSpPr>
          <p:nvPr/>
        </p:nvCxnSpPr>
        <p:spPr>
          <a:xfrm flipV="1">
            <a:off x="19313227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Elbow Connector 37">
            <a:extLst>
              <a:ext uri="{FF2B5EF4-FFF2-40B4-BE49-F238E27FC236}">
                <a16:creationId xmlns:a16="http://schemas.microsoft.com/office/drawing/2014/main" id="{9FFB18A0-1A39-3D7A-2BA4-FCB09E176CEE}"/>
              </a:ext>
            </a:extLst>
          </p:cNvPr>
          <p:cNvCxnSpPr>
            <a:cxnSpLocks/>
          </p:cNvCxnSpPr>
          <p:nvPr/>
        </p:nvCxnSpPr>
        <p:spPr>
          <a:xfrm flipV="1">
            <a:off x="21410741" y="2322512"/>
            <a:ext cx="0" cy="9418320"/>
          </a:xfrm>
          <a:prstGeom prst="straightConnector1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riangle 134">
            <a:extLst>
              <a:ext uri="{FF2B5EF4-FFF2-40B4-BE49-F238E27FC236}">
                <a16:creationId xmlns:a16="http://schemas.microsoft.com/office/drawing/2014/main" id="{8B3942DF-54DB-243E-46D8-2B02250DB7D4}"/>
              </a:ext>
            </a:extLst>
          </p:cNvPr>
          <p:cNvSpPr>
            <a:spLocks noChangeAspect="1"/>
          </p:cNvSpPr>
          <p:nvPr/>
        </p:nvSpPr>
        <p:spPr bwMode="gray">
          <a:xfrm>
            <a:off x="8593187" y="11844765"/>
            <a:ext cx="397440" cy="342621"/>
          </a:xfrm>
          <a:prstGeom prst="triangle">
            <a:avLst/>
          </a:prstGeom>
          <a:solidFill>
            <a:srgbClr val="92D050"/>
          </a:solidFill>
          <a:ln w="190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6" name="Triangle 135">
            <a:extLst>
              <a:ext uri="{FF2B5EF4-FFF2-40B4-BE49-F238E27FC236}">
                <a16:creationId xmlns:a16="http://schemas.microsoft.com/office/drawing/2014/main" id="{B4E603E7-0B7F-E45A-A9C9-753FF39E4E67}"/>
              </a:ext>
            </a:extLst>
          </p:cNvPr>
          <p:cNvSpPr>
            <a:spLocks noChangeAspect="1"/>
          </p:cNvSpPr>
          <p:nvPr/>
        </p:nvSpPr>
        <p:spPr bwMode="gray">
          <a:xfrm>
            <a:off x="12553627" y="11844765"/>
            <a:ext cx="397440" cy="342621"/>
          </a:xfrm>
          <a:prstGeom prst="triangl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7" name="Triangle 136">
            <a:extLst>
              <a:ext uri="{FF2B5EF4-FFF2-40B4-BE49-F238E27FC236}">
                <a16:creationId xmlns:a16="http://schemas.microsoft.com/office/drawing/2014/main" id="{BD7780F1-A4C5-3E92-CA8A-1812AA4B8D2B}"/>
              </a:ext>
            </a:extLst>
          </p:cNvPr>
          <p:cNvSpPr>
            <a:spLocks noChangeAspect="1"/>
          </p:cNvSpPr>
          <p:nvPr/>
        </p:nvSpPr>
        <p:spPr bwMode="gray">
          <a:xfrm>
            <a:off x="19933547" y="11844765"/>
            <a:ext cx="397440" cy="342621"/>
          </a:xfrm>
          <a:prstGeom prst="triangle">
            <a:avLst/>
          </a:prstGeom>
          <a:solidFill>
            <a:srgbClr val="FF0000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8" name="Triangle 137">
            <a:extLst>
              <a:ext uri="{FF2B5EF4-FFF2-40B4-BE49-F238E27FC236}">
                <a16:creationId xmlns:a16="http://schemas.microsoft.com/office/drawing/2014/main" id="{2BBDC407-6630-9640-A71C-F25D03114CD9}"/>
              </a:ext>
            </a:extLst>
          </p:cNvPr>
          <p:cNvSpPr>
            <a:spLocks noChangeAspect="1"/>
          </p:cNvSpPr>
          <p:nvPr/>
        </p:nvSpPr>
        <p:spPr bwMode="gray">
          <a:xfrm>
            <a:off x="22333418" y="11844765"/>
            <a:ext cx="397440" cy="342621"/>
          </a:xfrm>
          <a:prstGeom prst="triangle">
            <a:avLst/>
          </a:prstGeom>
          <a:solidFill>
            <a:srgbClr val="FF0000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D246162-C6F1-ABA3-5A8C-342C363381D2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7076959" y="11082123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1ECA419-7403-050F-AEDC-33E29DC56FB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8130024" y="11082122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89766AC-3B2D-B23D-DD9B-473A0B263296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9183089" y="11082121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3AD93D7-BAA1-BB01-7DC3-60F30CE65A2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0236154" y="11082120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68879D5-D8B4-BF00-7FDD-367AA4C51E7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1289219" y="11082120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9ECD957-9D9E-C85D-792F-4E34B4A58AC0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2342284" y="11082119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C6DC7D7C-712D-01AF-AEA5-F3433758E04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3395349" y="11082118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95471F2-3FA5-643A-F23A-A867079D67EA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4448414" y="11082117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EA20365-A762-8FBD-AD6C-CBA01A117C45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5501479" y="11082116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D32ECD3-BA55-02BB-7A03-1B5070D5D31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6554544" y="11082115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00555C2A-2BCE-BE17-F960-99531B38F5F2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7607609" y="11082115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5EBD147-C60D-7C1F-682F-0FC04166E609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8660674" y="11082114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D4EC90E-AEDA-50F9-C459-6B37A602E7F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19713739" y="11082114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93E32F20-9C32-3EE5-3FCE-432D25D1D88C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20766804" y="11082113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6729C0A5-2B71-1FAB-538A-E6C7DC0716C4}"/>
              </a:ext>
            </a:extLst>
          </p:cNvPr>
          <p:cNvSpPr>
            <a:spLocks noChangeAspect="1"/>
          </p:cNvSpPr>
          <p:nvPr/>
        </p:nvSpPr>
        <p:spPr bwMode="gray">
          <a:xfrm rot="2700000">
            <a:off x="21819863" y="11082112"/>
            <a:ext cx="283885" cy="283885"/>
          </a:xfrm>
          <a:prstGeom prst="rect">
            <a:avLst/>
          </a:prstGeom>
          <a:noFill/>
          <a:ln w="19050" cap="flat" cmpd="sng" algn="ctr">
            <a:solidFill>
              <a:srgbClr val="0081F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cxnSp>
        <p:nvCxnSpPr>
          <p:cNvPr id="154" name="Elbow Connector 37">
            <a:extLst>
              <a:ext uri="{FF2B5EF4-FFF2-40B4-BE49-F238E27FC236}">
                <a16:creationId xmlns:a16="http://schemas.microsoft.com/office/drawing/2014/main" id="{5D975031-44D4-4987-F5FA-8322D932F5DD}"/>
              </a:ext>
            </a:extLst>
          </p:cNvPr>
          <p:cNvCxnSpPr>
            <a:cxnSpLocks/>
          </p:cNvCxnSpPr>
          <p:nvPr/>
        </p:nvCxnSpPr>
        <p:spPr>
          <a:xfrm>
            <a:off x="795549" y="10776731"/>
            <a:ext cx="22804718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" name="Title 1">
            <a:extLst>
              <a:ext uri="{FF2B5EF4-FFF2-40B4-BE49-F238E27FC236}">
                <a16:creationId xmlns:a16="http://schemas.microsoft.com/office/drawing/2014/main" id="{0395FCEA-C4D9-85AA-8779-0A23EDCE496F}"/>
              </a:ext>
            </a:extLst>
          </p:cNvPr>
          <p:cNvSpPr txBox="1">
            <a:spLocks/>
          </p:cNvSpPr>
          <p:nvPr/>
        </p:nvSpPr>
        <p:spPr>
          <a:xfrm>
            <a:off x="834905" y="10945170"/>
            <a:ext cx="21174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defTabSz="1828754"/>
            <a:r>
              <a:rPr lang="en-US" sz="2400" dirty="0" err="1">
                <a:latin typeface="Montserrat SemiBold" pitchFamily="2" charset="77"/>
              </a:rPr>
              <a:t>Key meetings</a:t>
            </a:r>
            <a:endParaRPr lang="en-US" sz="2400" dirty="0">
              <a:latin typeface="Montserrat SemiBold" pitchFamily="2" charset="77"/>
            </a:endParaRPr>
          </a:p>
        </p:txBody>
      </p:sp>
      <p:cxnSp>
        <p:nvCxnSpPr>
          <p:cNvPr id="158" name="Elbow Connector 37">
            <a:extLst>
              <a:ext uri="{FF2B5EF4-FFF2-40B4-BE49-F238E27FC236}">
                <a16:creationId xmlns:a16="http://schemas.microsoft.com/office/drawing/2014/main" id="{70A439C0-B76A-2BCE-ECB1-6464CE6E1B75}"/>
              </a:ext>
            </a:extLst>
          </p:cNvPr>
          <p:cNvCxnSpPr>
            <a:cxnSpLocks/>
          </p:cNvCxnSpPr>
          <p:nvPr/>
        </p:nvCxnSpPr>
        <p:spPr>
          <a:xfrm flipV="1">
            <a:off x="20132267" y="2322512"/>
            <a:ext cx="0" cy="960120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Elbow Connector 37">
            <a:extLst>
              <a:ext uri="{FF2B5EF4-FFF2-40B4-BE49-F238E27FC236}">
                <a16:creationId xmlns:a16="http://schemas.microsoft.com/office/drawing/2014/main" id="{A389AFE3-C8F8-F10E-7923-5256E7166C54}"/>
              </a:ext>
            </a:extLst>
          </p:cNvPr>
          <p:cNvCxnSpPr>
            <a:cxnSpLocks/>
          </p:cNvCxnSpPr>
          <p:nvPr/>
        </p:nvCxnSpPr>
        <p:spPr>
          <a:xfrm flipV="1">
            <a:off x="8791907" y="2322512"/>
            <a:ext cx="0" cy="9601200"/>
          </a:xfrm>
          <a:prstGeom prst="straightConnector1">
            <a:avLst/>
          </a:prstGeom>
          <a:ln w="19050">
            <a:solidFill>
              <a:srgbClr val="92D05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Elbow Connector 37">
            <a:extLst>
              <a:ext uri="{FF2B5EF4-FFF2-40B4-BE49-F238E27FC236}">
                <a16:creationId xmlns:a16="http://schemas.microsoft.com/office/drawing/2014/main" id="{9ED40E0B-2A41-A867-A996-D83A4A848076}"/>
              </a:ext>
            </a:extLst>
          </p:cNvPr>
          <p:cNvCxnSpPr>
            <a:cxnSpLocks/>
          </p:cNvCxnSpPr>
          <p:nvPr/>
        </p:nvCxnSpPr>
        <p:spPr>
          <a:xfrm flipV="1">
            <a:off x="12767814" y="2322512"/>
            <a:ext cx="0" cy="960120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Elbow Connector 37">
            <a:extLst>
              <a:ext uri="{FF2B5EF4-FFF2-40B4-BE49-F238E27FC236}">
                <a16:creationId xmlns:a16="http://schemas.microsoft.com/office/drawing/2014/main" id="{4AFB57A0-2D5D-2442-2A09-F6B4BD98BC74}"/>
              </a:ext>
            </a:extLst>
          </p:cNvPr>
          <p:cNvCxnSpPr>
            <a:cxnSpLocks/>
          </p:cNvCxnSpPr>
          <p:nvPr/>
        </p:nvCxnSpPr>
        <p:spPr>
          <a:xfrm flipV="1">
            <a:off x="22523012" y="2322512"/>
            <a:ext cx="0" cy="960120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" name="Title 1">
            <a:extLst>
              <a:ext uri="{FF2B5EF4-FFF2-40B4-BE49-F238E27FC236}">
                <a16:creationId xmlns:a16="http://schemas.microsoft.com/office/drawing/2014/main" id="{39615CAF-A5E5-7A88-D01D-802D4B046E55}"/>
              </a:ext>
            </a:extLst>
          </p:cNvPr>
          <p:cNvSpPr txBox="1">
            <a:spLocks/>
          </p:cNvSpPr>
          <p:nvPr/>
        </p:nvSpPr>
        <p:spPr>
          <a:xfrm>
            <a:off x="11862639" y="12299533"/>
            <a:ext cx="1779416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D.MM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2</a:t>
            </a:r>
            <a:r>
              <a:rPr lang="en-US" sz="1800" b="0" baseline="30000">
                <a:solidFill>
                  <a:schemeClr val="tx1"/>
                </a:solidFill>
                <a:latin typeface="Montserrat SemiBold" pitchFamily="2" charset="77"/>
              </a:rPr>
              <a:t>nd</a:t>
            </a:r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 All Hands</a:t>
            </a: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314DF975-99CB-4DAE-7EB0-74D49E4EB748}"/>
              </a:ext>
            </a:extLst>
          </p:cNvPr>
          <p:cNvSpPr txBox="1">
            <a:spLocks/>
          </p:cNvSpPr>
          <p:nvPr/>
        </p:nvSpPr>
        <p:spPr>
          <a:xfrm>
            <a:off x="18602303" y="12299533"/>
            <a:ext cx="3059928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D.MM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Draft submission</a:t>
            </a:r>
          </a:p>
        </p:txBody>
      </p:sp>
      <p:sp>
        <p:nvSpPr>
          <p:cNvPr id="169" name="Title 1">
            <a:extLst>
              <a:ext uri="{FF2B5EF4-FFF2-40B4-BE49-F238E27FC236}">
                <a16:creationId xmlns:a16="http://schemas.microsoft.com/office/drawing/2014/main" id="{101B040D-BEAF-9D08-C5EC-01DBFEE0F398}"/>
              </a:ext>
            </a:extLst>
          </p:cNvPr>
          <p:cNvSpPr txBox="1">
            <a:spLocks/>
          </p:cNvSpPr>
          <p:nvPr/>
        </p:nvSpPr>
        <p:spPr>
          <a:xfrm>
            <a:off x="21626635" y="12299533"/>
            <a:ext cx="1845614" cy="484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08.08</a:t>
            </a:r>
          </a:p>
          <a:p>
            <a:pPr algn="ctr"/>
            <a:r>
              <a:rPr lang="en-US" sz="1800" b="0">
                <a:solidFill>
                  <a:schemeClr val="tx1"/>
                </a:solidFill>
                <a:latin typeface="Montserrat SemiBold" pitchFamily="2" charset="77"/>
              </a:rPr>
              <a:t>Submission</a:t>
            </a:r>
          </a:p>
        </p:txBody>
      </p:sp>
      <p:sp>
        <p:nvSpPr>
          <p:cNvPr id="29" name="Скругленный прямоугольник 230">
            <a:extLst>
              <a:ext uri="{FF2B5EF4-FFF2-40B4-BE49-F238E27FC236}">
                <a16:creationId xmlns:a16="http://schemas.microsoft.com/office/drawing/2014/main" id="{46410DE3-371B-030D-C685-BE7E5A3902FC}"/>
              </a:ext>
            </a:extLst>
          </p:cNvPr>
          <p:cNvSpPr/>
          <p:nvPr/>
        </p:nvSpPr>
        <p:spPr>
          <a:xfrm flipH="1">
            <a:off x="7403401" y="4291145"/>
            <a:ext cx="3843260" cy="525599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outerShdw blurRad="482600" sx="93000" sy="93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900" b="1">
                <a:solidFill>
                  <a:srgbClr val="3F3F3F"/>
                </a:solidFill>
                <a:latin typeface="Montserrat SemiBold" pitchFamily="2" charset="77"/>
              </a:rPr>
              <a:t>Comment if needed</a:t>
            </a:r>
          </a:p>
        </p:txBody>
      </p:sp>
    </p:spTree>
    <p:extLst>
      <p:ext uri="{BB962C8B-B14F-4D97-AF65-F5344CB8AC3E}">
        <p14:creationId xmlns:p14="http://schemas.microsoft.com/office/powerpoint/2010/main" val="20094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67FF4-2817-30D0-F77E-3B273582B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DD263B-1DF3-CD5B-D73B-8C7AA7B4ABE6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4. Gantt-Char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E0850D1-B339-3EAA-B90F-C3CEBBED8732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overall context can be seen in the modelling of water quality indexes… (tbd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9BB15A-3382-86E2-5EED-47BAC8E6060E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22856524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List of tasks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F4261D51-326A-3C1E-3BA5-188EAF282499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22690280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FA35BC6-0AD6-FF36-7318-874CE8E14A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101786"/>
              </p:ext>
            </p:extLst>
          </p:nvPr>
        </p:nvGraphicFramePr>
        <p:xfrm>
          <a:off x="841637" y="3912785"/>
          <a:ext cx="22585192" cy="4745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4359">
                  <a:extLst>
                    <a:ext uri="{9D8B030D-6E8A-4147-A177-3AD203B41FA5}">
                      <a16:colId xmlns:a16="http://schemas.microsoft.com/office/drawing/2014/main" val="3513178640"/>
                    </a:ext>
                  </a:extLst>
                </a:gridCol>
                <a:gridCol w="4365217">
                  <a:extLst>
                    <a:ext uri="{9D8B030D-6E8A-4147-A177-3AD203B41FA5}">
                      <a16:colId xmlns:a16="http://schemas.microsoft.com/office/drawing/2014/main" val="1316039069"/>
                    </a:ext>
                  </a:extLst>
                </a:gridCol>
                <a:gridCol w="3985616">
                  <a:extLst>
                    <a:ext uri="{9D8B030D-6E8A-4147-A177-3AD203B41FA5}">
                      <a16:colId xmlns:a16="http://schemas.microsoft.com/office/drawing/2014/main" val="1656963202"/>
                    </a:ext>
                  </a:extLst>
                </a:gridCol>
              </a:tblGrid>
              <a:tr h="70928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s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Montserrat" pitchFamily="2" charset="77"/>
                        </a:rPr>
                        <a:t>Deadline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Montserrat" pitchFamily="2" charset="77"/>
                        </a:rPr>
                        <a:t>Project Member</a:t>
                      </a:r>
                    </a:p>
                  </a:txBody>
                  <a:tcPr anchor="ctr">
                    <a:solidFill>
                      <a:srgbClr val="0081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27965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149021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marL="0" marR="0" lvl="0" indent="0" algn="l" defTabSz="2438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>
                          <a:latin typeface="Montserrat" pitchFamily="2" charset="77"/>
                        </a:rPr>
                        <a:t>Task 2</a:t>
                      </a: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rgbClr val="C8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757143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7663881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4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475007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5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743409"/>
                  </a:ext>
                </a:extLst>
              </a:tr>
              <a:tr h="672693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Montserrat" pitchFamily="2" charset="77"/>
                        </a:rPr>
                        <a:t>Task 6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2B37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X</a:t>
                      </a:r>
                      <a:endParaRPr lang="en-US" sz="2400">
                        <a:latin typeface="Montserrat" pitchFamily="2" charset="77"/>
                      </a:endParaRP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801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6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D8AF254-DEAA-150C-7CCC-DE9308539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86;p4">
            <a:extLst>
              <a:ext uri="{FF2B5EF4-FFF2-40B4-BE49-F238E27FC236}">
                <a16:creationId xmlns:a16="http://schemas.microsoft.com/office/drawing/2014/main" id="{F7310160-762B-6C66-A3B2-427731280507}"/>
              </a:ext>
            </a:extLst>
          </p:cNvPr>
          <p:cNvSpPr txBox="1"/>
          <p:nvPr/>
        </p:nvSpPr>
        <p:spPr>
          <a:xfrm>
            <a:off x="-47772" y="7931404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ST498 Group 17: Modelling the World‘s Oceans</a:t>
            </a:r>
          </a:p>
        </p:txBody>
      </p:sp>
      <p:sp>
        <p:nvSpPr>
          <p:cNvPr id="7" name="Google Shape;186;p4">
            <a:extLst>
              <a:ext uri="{FF2B5EF4-FFF2-40B4-BE49-F238E27FC236}">
                <a16:creationId xmlns:a16="http://schemas.microsoft.com/office/drawing/2014/main" id="{EDCB9470-422E-5B51-EE14-4F3189F96A45}"/>
              </a:ext>
            </a:extLst>
          </p:cNvPr>
          <p:cNvSpPr txBox="1"/>
          <p:nvPr/>
        </p:nvSpPr>
        <p:spPr>
          <a:xfrm>
            <a:off x="10948729" y="6042747"/>
            <a:ext cx="2016222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&amp;</a:t>
            </a:r>
          </a:p>
        </p:txBody>
      </p:sp>
      <p:pic>
        <p:nvPicPr>
          <p:cNvPr id="2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72A2CAF8-756E-098D-D7EE-11F7C7CE61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228" y="5057885"/>
            <a:ext cx="4478194" cy="298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0DF54C39-99D5-1EDB-0FA4-061B38A6E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7957" y="4483836"/>
            <a:ext cx="4143731" cy="414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86;p4">
            <a:extLst>
              <a:ext uri="{FF2B5EF4-FFF2-40B4-BE49-F238E27FC236}">
                <a16:creationId xmlns:a16="http://schemas.microsoft.com/office/drawing/2014/main" id="{3AA6269B-315B-56A8-AAEB-A76945D706FD}"/>
              </a:ext>
            </a:extLst>
          </p:cNvPr>
          <p:cNvSpPr txBox="1"/>
          <p:nvPr/>
        </p:nvSpPr>
        <p:spPr>
          <a:xfrm>
            <a:off x="-47772" y="4194498"/>
            <a:ext cx="24434948" cy="1015622"/>
          </a:xfrm>
          <a:prstGeom prst="rect">
            <a:avLst/>
          </a:prstGeom>
          <a:noFill/>
          <a:ln>
            <a:noFill/>
          </a:ln>
          <a:effectLst>
            <a:outerShdw blurRad="550597" dist="50800" dir="5400000" sx="103000" sy="103000" algn="ctr" rotWithShape="0">
              <a:schemeClr val="bg1">
                <a:alpha val="89000"/>
              </a:schemeClr>
            </a:outerShdw>
          </a:effectLst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dirty="0">
                <a:solidFill>
                  <a:schemeClr val="tx2"/>
                </a:solidFill>
                <a:effectLst>
                  <a:outerShdw blurRad="889000" dist="12700" sx="102000" sy="102000" algn="ctr" rotWithShape="0">
                    <a:schemeClr val="bg1">
                      <a:alpha val="78000"/>
                    </a:schemeClr>
                  </a:outerShdw>
                </a:effectLst>
                <a:latin typeface="Montserrat" pitchFamily="2" charset="77"/>
                <a:ea typeface="Montserrat Medium"/>
                <a:cs typeface="Montserrat Medium"/>
                <a:sym typeface="Montserrat Medium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98915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F08DCEEC-FFAC-1DAE-AE9A-D54B0A2E8507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E245A9F-7907-8C85-B732-95E8B4027AD2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31C7757-3F8E-7943-6110-8CF0713C9673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6E8AABD-0312-C8FB-5A7B-5FC2C75A1D4D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BA814F2-762E-3ECE-A66B-C98023FCC2D6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72DD2BF-8175-B521-8215-AFE836595D45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441653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1. Project Overview 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60283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764023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3. Methodology &amp; Pla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76C119-2A79-55D9-4B83-937760777CD9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590EB3C-DAE1-B3FB-FC99-3ABC8F5FFA4E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8" name="Picture 2" descr="Download London School of Economics and ...">
              <a:extLst>
                <a:ext uri="{FF2B5EF4-FFF2-40B4-BE49-F238E27FC236}">
                  <a16:creationId xmlns:a16="http://schemas.microsoft.com/office/drawing/2014/main" id="{AB04C7A0-9FE1-472F-5C27-AD8E364285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Download Meta logo in vector (.EPS + ...">
              <a:extLst>
                <a:ext uri="{FF2B5EF4-FFF2-40B4-BE49-F238E27FC236}">
                  <a16:creationId xmlns:a16="http://schemas.microsoft.com/office/drawing/2014/main" id="{472E7006-5D55-5CE1-035F-B90ED051EED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5850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1. Project Overview 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6843852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>
                <a:solidFill>
                  <a:schemeClr val="accent6"/>
                </a:solidFill>
              </a:rPr>
              <a:t>2. </a:t>
            </a:r>
            <a:r>
              <a:rPr lang="en-US" sz="3200" dirty="0" err="1">
                <a:solidFill>
                  <a:schemeClr val="accent6"/>
                </a:solidFill>
              </a:rPr>
              <a:t>Project Context</a:t>
            </a:r>
            <a:endParaRPr lang="en-US" sz="3200" dirty="0">
              <a:solidFill>
                <a:schemeClr val="accent6"/>
              </a:solidFill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8047969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455453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Project 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584261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LSE Supervisor &amp; Industry Partner Nam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5198576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/>
              <a:t>Candidate Number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147FCB-7BCB-7894-FA8F-6AF31F8BC78B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03E164E-53D4-5752-0738-3D52FAA87AA6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E2D60BA-935E-DE85-1407-532AB6AA8FF2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FD49FB1-C140-93FA-1ACB-6500FD7A7CA0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122A09F-A13F-24AC-83D5-4301373EA8CF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4C153D0-BB44-47EC-0DD7-FB50B3C95336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788D44F-4709-49C5-79CF-ED3792197931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A0332F7-E32E-E5DB-3260-1FBBB939249D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2050" name="Picture 2" descr="Download London School of Economics and ...">
              <a:extLst>
                <a:ext uri="{FF2B5EF4-FFF2-40B4-BE49-F238E27FC236}">
                  <a16:creationId xmlns:a16="http://schemas.microsoft.com/office/drawing/2014/main" id="{92117D85-3EBF-0C3C-147C-2A31816C9C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Download Meta logo in vector (.EPS + ...">
              <a:extLst>
                <a:ext uri="{FF2B5EF4-FFF2-40B4-BE49-F238E27FC236}">
                  <a16:creationId xmlns:a16="http://schemas.microsoft.com/office/drawing/2014/main" id="{96C0B0C8-25A6-B3A3-F513-BBDBCC2DB2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0344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1. Project Overview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5374D6-C2BC-A4D2-F657-BA0C1BBBB318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project addresses the creation of a foundation model for modelling the world’s ocean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E48E3A8-1CE5-49F5-B0B2-E056A34A36E2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10974855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Project Title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D42EE9A7-D590-9047-9813-DE4522262F17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10895031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AFDF6A77-1592-93D3-CE57-C3CD05ADE4A0}"/>
              </a:ext>
            </a:extLst>
          </p:cNvPr>
          <p:cNvSpPr txBox="1">
            <a:spLocks/>
          </p:cNvSpPr>
          <p:nvPr/>
        </p:nvSpPr>
        <p:spPr>
          <a:xfrm>
            <a:off x="12650508" y="2595380"/>
            <a:ext cx="10920692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2"/>
                </a:solidFill>
                <a:latin typeface="Montserrat SemiBold" pitchFamily="2" charset="77"/>
              </a:rPr>
              <a:t>Research Team &amp; Supervisors</a:t>
            </a:r>
          </a:p>
        </p:txBody>
      </p:sp>
      <p:cxnSp>
        <p:nvCxnSpPr>
          <p:cNvPr id="13" name="Elbow Connector 37">
            <a:extLst>
              <a:ext uri="{FF2B5EF4-FFF2-40B4-BE49-F238E27FC236}">
                <a16:creationId xmlns:a16="http://schemas.microsoft.com/office/drawing/2014/main" id="{7E88CA79-4346-1803-91B3-E59D3DC0347D}"/>
              </a:ext>
            </a:extLst>
          </p:cNvPr>
          <p:cNvCxnSpPr>
            <a:cxnSpLocks/>
          </p:cNvCxnSpPr>
          <p:nvPr/>
        </p:nvCxnSpPr>
        <p:spPr>
          <a:xfrm>
            <a:off x="12781347" y="3330402"/>
            <a:ext cx="10789853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Google Shape;3948;ge3632631ac_0_100">
            <a:extLst>
              <a:ext uri="{FF2B5EF4-FFF2-40B4-BE49-F238E27FC236}">
                <a16:creationId xmlns:a16="http://schemas.microsoft.com/office/drawing/2014/main" id="{97EAE5B0-50DA-6692-F8B9-7913C88CC918}"/>
              </a:ext>
            </a:extLst>
          </p:cNvPr>
          <p:cNvSpPr txBox="1">
            <a:spLocks/>
          </p:cNvSpPr>
          <p:nvPr/>
        </p:nvSpPr>
        <p:spPr>
          <a:xfrm>
            <a:off x="848176" y="3690442"/>
            <a:ext cx="1084135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„Foundation model for modelling the world‘s oceans“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51114762-2B73-5E82-49D7-04E821267D9C}"/>
              </a:ext>
            </a:extLst>
          </p:cNvPr>
          <p:cNvSpPr txBox="1">
            <a:spLocks/>
          </p:cNvSpPr>
          <p:nvPr/>
        </p:nvSpPr>
        <p:spPr>
          <a:xfrm>
            <a:off x="868474" y="7616096"/>
            <a:ext cx="10841355" cy="4985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housands TB of open-source data collected from satellites and weather monitoring stations 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ESA alone third largest data provider in the world generating 20 TB/day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20x more data than used to train modern AI lsystems ike ChatGPT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Extracting useful insights requires application advancements in AI and BigData</a:t>
            </a:r>
          </a:p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>
                <a:solidFill>
                  <a:srgbClr val="000000"/>
                </a:solidFill>
                <a:latin typeface="Montserrat" pitchFamily="2" charset="77"/>
              </a:rPr>
              <a:t>Focus on </a:t>
            </a: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development of new algorithms beyond the state-of-the-art</a:t>
            </a:r>
          </a:p>
        </p:txBody>
      </p:sp>
      <p:pic>
        <p:nvPicPr>
          <p:cNvPr id="9218" name="Picture 2" descr="Coupled Atmosphere-Ocean Simulations">
            <a:extLst>
              <a:ext uri="{FF2B5EF4-FFF2-40B4-BE49-F238E27FC236}">
                <a16:creationId xmlns:a16="http://schemas.microsoft.com/office/drawing/2014/main" id="{51B766BF-7C4D-59B7-38B8-E5F060380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647" y="4626546"/>
            <a:ext cx="3760435" cy="2688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A448C59-6555-5090-443F-F0D4FE3805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9051" y="4665883"/>
            <a:ext cx="2738489" cy="260945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B26F025-702E-A05F-72D8-AC9161A3CD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3125763" y="3804439"/>
            <a:ext cx="1389888" cy="1847394"/>
          </a:xfrm>
          <a:prstGeom prst="round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0E4FE87-EC26-1C24-36B2-1CF33EFF7A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2" r="2602"/>
          <a:stretch/>
        </p:blipFill>
        <p:spPr>
          <a:xfrm>
            <a:off x="13125763" y="8266388"/>
            <a:ext cx="1389888" cy="1847394"/>
          </a:xfrm>
          <a:prstGeom prst="round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6879C4A4-EA4C-C015-A66F-6E1EE42006F8}"/>
              </a:ext>
            </a:extLst>
          </p:cNvPr>
          <p:cNvSpPr txBox="1"/>
          <p:nvPr/>
        </p:nvSpPr>
        <p:spPr>
          <a:xfrm>
            <a:off x="12351483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Imar Colic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D80F50DE-1769-5F52-65B9-436CCF2661D1}"/>
              </a:ext>
            </a:extLst>
          </p:cNvPr>
          <p:cNvSpPr/>
          <p:nvPr/>
        </p:nvSpPr>
        <p:spPr>
          <a:xfrm>
            <a:off x="12650707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AF7A91-D913-2230-C1E0-A07C31919E33}"/>
              </a:ext>
            </a:extLst>
          </p:cNvPr>
          <p:cNvSpPr txBox="1"/>
          <p:nvPr/>
        </p:nvSpPr>
        <p:spPr>
          <a:xfrm>
            <a:off x="12539267" y="10267814"/>
            <a:ext cx="25628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Prof. Piotr Fryzlewicz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407EBE02-842D-2784-B9B2-32AB8D30FC12}"/>
              </a:ext>
            </a:extLst>
          </p:cNvPr>
          <p:cNvSpPr/>
          <p:nvPr/>
        </p:nvSpPr>
        <p:spPr>
          <a:xfrm>
            <a:off x="12650707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Professor &amp; Superviso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C4FEC04-8C6C-B010-0E22-1E552BDBEC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1" r="12181"/>
          <a:stretch/>
        </p:blipFill>
        <p:spPr>
          <a:xfrm>
            <a:off x="15953451" y="3804439"/>
            <a:ext cx="1389888" cy="1847394"/>
          </a:xfrm>
          <a:prstGeom prst="round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324B82C-9FB9-D660-4691-F8424C804F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5953451" y="8266388"/>
            <a:ext cx="1389888" cy="1847394"/>
          </a:xfrm>
          <a:prstGeom prst="roundRect">
            <a:avLst/>
          </a:prstGeom>
        </p:spPr>
      </p:pic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555210F-170B-1A5B-1AEF-1828C4F0E425}"/>
              </a:ext>
            </a:extLst>
          </p:cNvPr>
          <p:cNvSpPr/>
          <p:nvPr/>
        </p:nvSpPr>
        <p:spPr>
          <a:xfrm>
            <a:off x="15478395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277DCD4-2356-C670-0A24-9804796F77C1}"/>
              </a:ext>
            </a:extLst>
          </p:cNvPr>
          <p:cNvSpPr txBox="1"/>
          <p:nvPr/>
        </p:nvSpPr>
        <p:spPr>
          <a:xfrm>
            <a:off x="15289932" y="10267814"/>
            <a:ext cx="2716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Dr. Dima Karamshuk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726880F-DAD4-CA51-C7E4-05B8137C58C5}"/>
              </a:ext>
            </a:extLst>
          </p:cNvPr>
          <p:cNvSpPr/>
          <p:nvPr/>
        </p:nvSpPr>
        <p:spPr>
          <a:xfrm>
            <a:off x="15478395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Data Scientist &amp; Industry Partne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FEDA4AC-E33C-28D0-375E-97DB081DDCF5}"/>
              </a:ext>
            </a:extLst>
          </p:cNvPr>
          <p:cNvSpPr txBox="1"/>
          <p:nvPr/>
        </p:nvSpPr>
        <p:spPr>
          <a:xfrm>
            <a:off x="15179171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Bhavika Adapa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5B89C8F-AB67-71C8-B8A9-7C9AA1467A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" t="1584" r="24539" b="-1584"/>
          <a:stretch/>
        </p:blipFill>
        <p:spPr>
          <a:xfrm>
            <a:off x="18781139" y="3804439"/>
            <a:ext cx="1389888" cy="1847394"/>
          </a:xfrm>
          <a:prstGeom prst="round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8FF9433-E7C7-FB0E-9AFC-6DE1C1D470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18781139" y="8266388"/>
            <a:ext cx="1389888" cy="1847394"/>
          </a:xfrm>
          <a:prstGeom prst="roundRect">
            <a:avLst/>
          </a:prstGeom>
        </p:spPr>
      </p:pic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9ED8CEBE-EE13-1491-2B82-AA084A510202}"/>
              </a:ext>
            </a:extLst>
          </p:cNvPr>
          <p:cNvSpPr/>
          <p:nvPr/>
        </p:nvSpPr>
        <p:spPr>
          <a:xfrm>
            <a:off x="18306083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D95D045-3229-6429-343B-4886C31D4BE2}"/>
              </a:ext>
            </a:extLst>
          </p:cNvPr>
          <p:cNvSpPr txBox="1"/>
          <p:nvPr/>
        </p:nvSpPr>
        <p:spPr>
          <a:xfrm>
            <a:off x="18344555" y="10267814"/>
            <a:ext cx="226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Dr. Marcos Barreto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D7CDF32A-F07F-1D95-5E78-CB038182E9B1}"/>
              </a:ext>
            </a:extLst>
          </p:cNvPr>
          <p:cNvSpPr/>
          <p:nvPr/>
        </p:nvSpPr>
        <p:spPr>
          <a:xfrm>
            <a:off x="18306083" y="10750918"/>
            <a:ext cx="2340000" cy="488328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Capstone Coordinator &amp; Supervis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E0FA2E-9809-279F-982B-D135A5EB9F36}"/>
              </a:ext>
            </a:extLst>
          </p:cNvPr>
          <p:cNvSpPr txBox="1"/>
          <p:nvPr/>
        </p:nvSpPr>
        <p:spPr>
          <a:xfrm>
            <a:off x="18006859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Prapti Pradha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413223B-6770-4EEF-0FA1-2E6EC30EB4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2" r="12382"/>
          <a:stretch/>
        </p:blipFill>
        <p:spPr>
          <a:xfrm>
            <a:off x="21608827" y="3804439"/>
            <a:ext cx="1389888" cy="1847394"/>
          </a:xfrm>
          <a:prstGeom prst="roundRect">
            <a:avLst/>
          </a:prstGeom>
        </p:spPr>
      </p:pic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60A30E9-291C-93F1-7FBE-61671B790D5C}"/>
              </a:ext>
            </a:extLst>
          </p:cNvPr>
          <p:cNvSpPr/>
          <p:nvPr/>
        </p:nvSpPr>
        <p:spPr>
          <a:xfrm>
            <a:off x="21133771" y="6129797"/>
            <a:ext cx="2340000" cy="488329"/>
          </a:xfrm>
          <a:prstGeom prst="roundRect">
            <a:avLst/>
          </a:prstGeom>
          <a:solidFill>
            <a:srgbClr val="F3F7FE"/>
          </a:solidFill>
          <a:ln>
            <a:noFill/>
          </a:ln>
          <a:effectLst>
            <a:outerShdw blurRad="266700" sx="101000" sy="101000" algn="ctr" rotWithShape="0">
              <a:prstClr val="black">
                <a:alpha val="9000"/>
              </a:prstClr>
            </a:outerShdw>
          </a:effectLst>
        </p:spPr>
        <p:txBody>
          <a:bodyPr spcFirstLastPara="1" wrap="square" lIns="91425" tIns="45700" rIns="91425" bIns="45700" rtlCol="0" anchor="ctr" anchorCtr="0">
            <a:noAutofit/>
          </a:bodyPr>
          <a:lstStyle/>
          <a:p>
            <a:pPr algn="ctr"/>
            <a:r>
              <a:rPr lang="de-DE" sz="1400">
                <a:solidFill>
                  <a:srgbClr val="2363EC"/>
                </a:solidFill>
                <a:latin typeface="Montserrat"/>
              </a:rPr>
              <a:t>MSc Data Scie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9B9B9EF-521E-C3A6-C142-1B594C817D44}"/>
              </a:ext>
            </a:extLst>
          </p:cNvPr>
          <p:cNvSpPr txBox="1"/>
          <p:nvPr/>
        </p:nvSpPr>
        <p:spPr>
          <a:xfrm>
            <a:off x="20834547" y="5766593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Shavya Tyagi</a:t>
            </a:r>
          </a:p>
        </p:txBody>
      </p:sp>
      <p:pic>
        <p:nvPicPr>
          <p:cNvPr id="9232" name="Picture 4" descr="Download Meta logo in vector (.EPS + ...">
            <a:extLst>
              <a:ext uri="{FF2B5EF4-FFF2-40B4-BE49-F238E27FC236}">
                <a16:creationId xmlns:a16="http://schemas.microsoft.com/office/drawing/2014/main" id="{4858CD11-105C-B7B0-D861-FDBD719D2B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9" t="39679" r="7160" b="37588"/>
          <a:stretch/>
        </p:blipFill>
        <p:spPr bwMode="auto">
          <a:xfrm>
            <a:off x="15941662" y="11534100"/>
            <a:ext cx="1413466" cy="36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7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CB374840-390B-8D42-7D0B-80AB69463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3220412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8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012580A0-EF80-E2E6-CCF1-7B9058EB17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6048099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9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7A3E20E7-2B49-FA53-4C36-F391F30766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8875787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0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FAF68FB9-F77E-D1EB-460A-93084DEC8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21703475" y="675548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1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B8108F2E-0455-EA62-94AD-B8B42CB9DE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3220412" y="1147423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46" name="TextBox 9245">
            <a:extLst>
              <a:ext uri="{FF2B5EF4-FFF2-40B4-BE49-F238E27FC236}">
                <a16:creationId xmlns:a16="http://schemas.microsoft.com/office/drawing/2014/main" id="{AA533286-B77B-7EE2-A6B5-75C7E61C52B3}"/>
              </a:ext>
            </a:extLst>
          </p:cNvPr>
          <p:cNvSpPr txBox="1"/>
          <p:nvPr/>
        </p:nvSpPr>
        <p:spPr>
          <a:xfrm>
            <a:off x="12351483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50450</a:t>
            </a:r>
          </a:p>
        </p:txBody>
      </p:sp>
      <p:sp>
        <p:nvSpPr>
          <p:cNvPr id="9247" name="TextBox 9246">
            <a:extLst>
              <a:ext uri="{FF2B5EF4-FFF2-40B4-BE49-F238E27FC236}">
                <a16:creationId xmlns:a16="http://schemas.microsoft.com/office/drawing/2014/main" id="{66326469-D0BE-4788-2F20-F7F1D68C0732}"/>
              </a:ext>
            </a:extLst>
          </p:cNvPr>
          <p:cNvSpPr txBox="1"/>
          <p:nvPr/>
        </p:nvSpPr>
        <p:spPr>
          <a:xfrm>
            <a:off x="15179171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sp>
        <p:nvSpPr>
          <p:cNvPr id="9248" name="TextBox 9247">
            <a:extLst>
              <a:ext uri="{FF2B5EF4-FFF2-40B4-BE49-F238E27FC236}">
                <a16:creationId xmlns:a16="http://schemas.microsoft.com/office/drawing/2014/main" id="{A7AD8BE0-BAF1-198D-2229-AC6CA91DC748}"/>
              </a:ext>
            </a:extLst>
          </p:cNvPr>
          <p:cNvSpPr txBox="1"/>
          <p:nvPr/>
        </p:nvSpPr>
        <p:spPr>
          <a:xfrm>
            <a:off x="18006859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sp>
        <p:nvSpPr>
          <p:cNvPr id="9249" name="TextBox 9248">
            <a:extLst>
              <a:ext uri="{FF2B5EF4-FFF2-40B4-BE49-F238E27FC236}">
                <a16:creationId xmlns:a16="http://schemas.microsoft.com/office/drawing/2014/main" id="{6BE1C0F4-DAF1-12DC-A94F-DE21D59A5509}"/>
              </a:ext>
            </a:extLst>
          </p:cNvPr>
          <p:cNvSpPr txBox="1"/>
          <p:nvPr/>
        </p:nvSpPr>
        <p:spPr>
          <a:xfrm>
            <a:off x="20834547" y="7382879"/>
            <a:ext cx="2938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-bold" panose="00000800000000000000" pitchFamily="50" charset="0"/>
                <a:ea typeface="ＭＳ Ｐゴシック" charset="0"/>
                <a:cs typeface="Lato Light"/>
                <a:sym typeface="Source Sans Pro" charset="0"/>
              </a:rPr>
              <a:t>Can. Nr.: XXXXXX</a:t>
            </a:r>
          </a:p>
        </p:txBody>
      </p:sp>
      <p:pic>
        <p:nvPicPr>
          <p:cNvPr id="9251" name="Picture 6" descr="Download London School of Economics and Political Science ...">
            <a:extLst>
              <a:ext uri="{FF2B5EF4-FFF2-40B4-BE49-F238E27FC236}">
                <a16:creationId xmlns:a16="http://schemas.microsoft.com/office/drawing/2014/main" id="{4EAC3349-D5E8-C2BC-8DF0-9E691831FF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53" t="30847" r="12910" b="27202"/>
          <a:stretch/>
        </p:blipFill>
        <p:spPr bwMode="auto">
          <a:xfrm>
            <a:off x="18875787" y="11474237"/>
            <a:ext cx="1200590" cy="48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80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or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8047969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5626590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Overall context of our topic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63511-7F3C-F4F2-9EED-4A79848D5A7F}"/>
              </a:ext>
            </a:extLst>
          </p:cNvPr>
          <p:cNvSpPr txBox="1">
            <a:spLocks/>
          </p:cNvSpPr>
          <p:nvPr/>
        </p:nvSpPr>
        <p:spPr>
          <a:xfrm>
            <a:off x="1146725" y="713875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Research Question &amp; Hypothesi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638267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Problems addressed &amp; Releva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2F1EFA7-95C2-BCCA-7957-BAA60F1ECF3C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992E65D-2339-7F35-EBF5-27C50EC8287E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2C0A7F-C610-2CCE-8007-A9795AC7E169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A5F8E58-1C56-EB8B-98B7-019AF6E7B246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59C160D-BB56-6792-A190-B764C7427BD8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69B021A-B533-74D3-631B-797912B409B8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5237D4-6147-39F1-C414-BEC7DAB1FB4C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91EAF64-09FB-0C8E-73CA-92830453FDEE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7" name="Picture 2" descr="Download London School of Economics and ...">
              <a:extLst>
                <a:ext uri="{FF2B5EF4-FFF2-40B4-BE49-F238E27FC236}">
                  <a16:creationId xmlns:a16="http://schemas.microsoft.com/office/drawing/2014/main" id="{6409366D-1A53-245B-0528-4906DFD3A1E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Download Meta logo in vector (.EPS + ...">
              <a:extLst>
                <a:ext uri="{FF2B5EF4-FFF2-40B4-BE49-F238E27FC236}">
                  <a16:creationId xmlns:a16="http://schemas.microsoft.com/office/drawing/2014/main" id="{B254FA43-69B1-BD82-217C-DEFB635C95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5319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98C62-0741-6FCB-4F9B-1E8D3F544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FB71DC-5CAA-6805-31DA-F49BEAA8EC7F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EDB27DF-54F0-1AA4-97D9-B783CBC18123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The overall context can be seen in the modelling of water quality indexes… (tbd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0A50F5D-4629-6E94-87AD-0CC0BEA2F397}"/>
              </a:ext>
            </a:extLst>
          </p:cNvPr>
          <p:cNvSpPr txBox="1">
            <a:spLocks/>
          </p:cNvSpPr>
          <p:nvPr/>
        </p:nvSpPr>
        <p:spPr>
          <a:xfrm>
            <a:off x="714676" y="2595380"/>
            <a:ext cx="10974855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  <a:latin typeface="Montserrat SemiBold" pitchFamily="2" charset="77"/>
              </a:rPr>
              <a:t>Overall Context of our topic</a:t>
            </a:r>
          </a:p>
        </p:txBody>
      </p:sp>
      <p:cxnSp>
        <p:nvCxnSpPr>
          <p:cNvPr id="10" name="Elbow Connector 37">
            <a:extLst>
              <a:ext uri="{FF2B5EF4-FFF2-40B4-BE49-F238E27FC236}">
                <a16:creationId xmlns:a16="http://schemas.microsoft.com/office/drawing/2014/main" id="{144CF8FA-EAC1-9D6F-2595-4EB10E247E31}"/>
              </a:ext>
            </a:extLst>
          </p:cNvPr>
          <p:cNvCxnSpPr>
            <a:cxnSpLocks/>
          </p:cNvCxnSpPr>
          <p:nvPr/>
        </p:nvCxnSpPr>
        <p:spPr>
          <a:xfrm>
            <a:off x="841637" y="3330402"/>
            <a:ext cx="10895031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714397D7-82F2-1AB3-CD8D-A9AFD0A684CD}"/>
              </a:ext>
            </a:extLst>
          </p:cNvPr>
          <p:cNvSpPr txBox="1">
            <a:spLocks/>
          </p:cNvSpPr>
          <p:nvPr/>
        </p:nvSpPr>
        <p:spPr>
          <a:xfrm>
            <a:off x="12650508" y="2595380"/>
            <a:ext cx="10920692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2"/>
                </a:solidFill>
                <a:latin typeface="Montserrat SemiBold" pitchFamily="2" charset="77"/>
              </a:rPr>
              <a:t>Current relevance in the industry</a:t>
            </a:r>
          </a:p>
        </p:txBody>
      </p:sp>
      <p:cxnSp>
        <p:nvCxnSpPr>
          <p:cNvPr id="13" name="Elbow Connector 37">
            <a:extLst>
              <a:ext uri="{FF2B5EF4-FFF2-40B4-BE49-F238E27FC236}">
                <a16:creationId xmlns:a16="http://schemas.microsoft.com/office/drawing/2014/main" id="{6F58A6BF-EA90-A072-89DA-BD7DE4E7C609}"/>
              </a:ext>
            </a:extLst>
          </p:cNvPr>
          <p:cNvCxnSpPr>
            <a:cxnSpLocks/>
          </p:cNvCxnSpPr>
          <p:nvPr/>
        </p:nvCxnSpPr>
        <p:spPr>
          <a:xfrm>
            <a:off x="12781347" y="3330402"/>
            <a:ext cx="10789853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1DF73E7C-2622-394E-967A-790FBC0D56AB}"/>
              </a:ext>
            </a:extLst>
          </p:cNvPr>
          <p:cNvSpPr txBox="1">
            <a:spLocks/>
          </p:cNvSpPr>
          <p:nvPr/>
        </p:nvSpPr>
        <p:spPr>
          <a:xfrm>
            <a:off x="868474" y="3840194"/>
            <a:ext cx="1084135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</a:p>
        </p:txBody>
      </p:sp>
      <p:sp>
        <p:nvSpPr>
          <p:cNvPr id="4" name="Google Shape;3948;ge3632631ac_0_100">
            <a:extLst>
              <a:ext uri="{FF2B5EF4-FFF2-40B4-BE49-F238E27FC236}">
                <a16:creationId xmlns:a16="http://schemas.microsoft.com/office/drawing/2014/main" id="{DA0D166A-8373-3F89-EFFD-EA73EAAA2745}"/>
              </a:ext>
            </a:extLst>
          </p:cNvPr>
          <p:cNvSpPr txBox="1">
            <a:spLocks/>
          </p:cNvSpPr>
          <p:nvPr/>
        </p:nvSpPr>
        <p:spPr>
          <a:xfrm>
            <a:off x="12781347" y="3840194"/>
            <a:ext cx="1084135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lvl="0" indent="-342900" rtl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24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202376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7DCBF53-DFE8-4CB6-3397-D2B3F2CB354B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Problems addressed and their relevance are mainly …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D35C69-DA1D-AF1C-6D04-57D58853E20F}"/>
              </a:ext>
            </a:extLst>
          </p:cNvPr>
          <p:cNvGrpSpPr/>
          <p:nvPr/>
        </p:nvGrpSpPr>
        <p:grpSpPr>
          <a:xfrm>
            <a:off x="2760539" y="10171162"/>
            <a:ext cx="18827661" cy="1440001"/>
            <a:chOff x="3512496" y="11899356"/>
            <a:chExt cx="17394059" cy="1440001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C4A7189B-7B91-87A5-4907-39311739D922}"/>
                </a:ext>
              </a:extLst>
            </p:cNvPr>
            <p:cNvSpPr/>
            <p:nvPr/>
          </p:nvSpPr>
          <p:spPr>
            <a:xfrm rot="5400000">
              <a:off x="11489525" y="4642408"/>
              <a:ext cx="1440001" cy="15953898"/>
            </a:xfrm>
            <a:prstGeom prst="roundRect">
              <a:avLst>
                <a:gd name="adj" fmla="val 4451"/>
              </a:avLst>
            </a:prstGeom>
            <a:gradFill flip="none" rotWithShape="1">
              <a:gsLst>
                <a:gs pos="1000">
                  <a:schemeClr val="bg1"/>
                </a:gs>
                <a:gs pos="100000">
                  <a:schemeClr val="bg1"/>
                </a:gs>
                <a:gs pos="70000">
                  <a:srgbClr val="F5F8FF"/>
                </a:gs>
                <a:gs pos="5000">
                  <a:srgbClr val="F5F8FF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  <p:sp>
          <p:nvSpPr>
            <p:cNvPr id="4" name="Google Shape;1019;p152">
              <a:extLst>
                <a:ext uri="{FF2B5EF4-FFF2-40B4-BE49-F238E27FC236}">
                  <a16:creationId xmlns:a16="http://schemas.microsoft.com/office/drawing/2014/main" id="{74C1F909-AA2D-BA42-0AFE-6789E787A426}"/>
                </a:ext>
              </a:extLst>
            </p:cNvPr>
            <p:cNvSpPr txBox="1"/>
            <p:nvPr/>
          </p:nvSpPr>
          <p:spPr>
            <a:xfrm>
              <a:off x="3512496" y="12403410"/>
              <a:ext cx="17394059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2400" b="1" dirty="0">
                  <a:solidFill>
                    <a:srgbClr val="2463EC"/>
                  </a:solidFill>
                  <a:latin typeface="Montserrat"/>
                  <a:ea typeface="Montserrat"/>
                  <a:cs typeface="Montserrat"/>
                  <a:sym typeface="Montserrat"/>
                </a:rPr>
                <a:t>These are just some of the most recent topics in the area of modelling the world‘s oceans</a:t>
              </a:r>
              <a:endParaRPr lang="de-DE" sz="2400" dirty="0">
                <a:solidFill>
                  <a:srgbClr val="2463EC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sp>
        <p:nvSpPr>
          <p:cNvPr id="5" name="Freeform 4">
            <a:extLst>
              <a:ext uri="{FF2B5EF4-FFF2-40B4-BE49-F238E27FC236}">
                <a16:creationId xmlns:a16="http://schemas.microsoft.com/office/drawing/2014/main" id="{9702B88E-F6E7-00E4-2FF4-5067B6ADAE3D}"/>
              </a:ext>
            </a:extLst>
          </p:cNvPr>
          <p:cNvSpPr/>
          <p:nvPr/>
        </p:nvSpPr>
        <p:spPr bwMode="gray">
          <a:xfrm>
            <a:off x="6628208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4166CC3-B85E-77E3-830E-B80CAB1B0E28}"/>
              </a:ext>
            </a:extLst>
          </p:cNvPr>
          <p:cNvSpPr/>
          <p:nvPr/>
        </p:nvSpPr>
        <p:spPr bwMode="gray">
          <a:xfrm>
            <a:off x="12435234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962099E4-AF63-0572-5089-EDAB84B79D7A}"/>
              </a:ext>
            </a:extLst>
          </p:cNvPr>
          <p:cNvSpPr/>
          <p:nvPr/>
        </p:nvSpPr>
        <p:spPr bwMode="gray">
          <a:xfrm>
            <a:off x="18242259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A166993-A277-2619-A342-8F462E361427}"/>
              </a:ext>
            </a:extLst>
          </p:cNvPr>
          <p:cNvSpPr/>
          <p:nvPr/>
        </p:nvSpPr>
        <p:spPr bwMode="gray">
          <a:xfrm>
            <a:off x="821182" y="4122490"/>
            <a:ext cx="5323733" cy="6192687"/>
          </a:xfrm>
          <a:custGeom>
            <a:avLst/>
            <a:gdLst>
              <a:gd name="connsiteX0" fmla="*/ 2661866 w 5323733"/>
              <a:gd name="connsiteY0" fmla="*/ 0 h 6192687"/>
              <a:gd name="connsiteX1" fmla="*/ 3332044 w 5323733"/>
              <a:gd name="connsiteY1" fmla="*/ 546211 h 6192687"/>
              <a:gd name="connsiteX2" fmla="*/ 3342313 w 5323733"/>
              <a:gd name="connsiteY2" fmla="*/ 648072 h 6192687"/>
              <a:gd name="connsiteX3" fmla="*/ 5142673 w 5323733"/>
              <a:gd name="connsiteY3" fmla="*/ 648072 h 6192687"/>
              <a:gd name="connsiteX4" fmla="*/ 5323733 w 5323733"/>
              <a:gd name="connsiteY4" fmla="*/ 829132 h 6192687"/>
              <a:gd name="connsiteX5" fmla="*/ 5323733 w 5323733"/>
              <a:gd name="connsiteY5" fmla="*/ 6011627 h 6192687"/>
              <a:gd name="connsiteX6" fmla="*/ 5142673 w 5323733"/>
              <a:gd name="connsiteY6" fmla="*/ 6192687 h 6192687"/>
              <a:gd name="connsiteX7" fmla="*/ 181060 w 5323733"/>
              <a:gd name="connsiteY7" fmla="*/ 6192687 h 6192687"/>
              <a:gd name="connsiteX8" fmla="*/ 0 w 5323733"/>
              <a:gd name="connsiteY8" fmla="*/ 6011627 h 6192687"/>
              <a:gd name="connsiteX9" fmla="*/ 0 w 5323733"/>
              <a:gd name="connsiteY9" fmla="*/ 829132 h 6192687"/>
              <a:gd name="connsiteX10" fmla="*/ 181060 w 5323733"/>
              <a:gd name="connsiteY10" fmla="*/ 648072 h 6192687"/>
              <a:gd name="connsiteX11" fmla="*/ 1981420 w 5323733"/>
              <a:gd name="connsiteY11" fmla="*/ 648072 h 6192687"/>
              <a:gd name="connsiteX12" fmla="*/ 1991688 w 5323733"/>
              <a:gd name="connsiteY12" fmla="*/ 546211 h 6192687"/>
              <a:gd name="connsiteX13" fmla="*/ 2661866 w 5323733"/>
              <a:gd name="connsiteY13" fmla="*/ 0 h 619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23733" h="6192687">
                <a:moveTo>
                  <a:pt x="2661866" y="0"/>
                </a:moveTo>
                <a:cubicBezTo>
                  <a:pt x="2992445" y="0"/>
                  <a:pt x="3268257" y="234489"/>
                  <a:pt x="3332044" y="546211"/>
                </a:cubicBezTo>
                <a:lnTo>
                  <a:pt x="3342313" y="648072"/>
                </a:lnTo>
                <a:lnTo>
                  <a:pt x="5142673" y="648072"/>
                </a:lnTo>
                <a:cubicBezTo>
                  <a:pt x="5242670" y="648072"/>
                  <a:pt x="5323733" y="729135"/>
                  <a:pt x="5323733" y="829132"/>
                </a:cubicBezTo>
                <a:lnTo>
                  <a:pt x="5323733" y="6011627"/>
                </a:lnTo>
                <a:cubicBezTo>
                  <a:pt x="5323733" y="6111624"/>
                  <a:pt x="5242670" y="6192687"/>
                  <a:pt x="5142673" y="6192687"/>
                </a:cubicBezTo>
                <a:lnTo>
                  <a:pt x="181060" y="6192687"/>
                </a:lnTo>
                <a:cubicBezTo>
                  <a:pt x="81063" y="6192687"/>
                  <a:pt x="0" y="6111624"/>
                  <a:pt x="0" y="6011627"/>
                </a:cubicBezTo>
                <a:lnTo>
                  <a:pt x="0" y="829132"/>
                </a:lnTo>
                <a:cubicBezTo>
                  <a:pt x="0" y="729135"/>
                  <a:pt x="81063" y="648072"/>
                  <a:pt x="181060" y="648072"/>
                </a:cubicBezTo>
                <a:lnTo>
                  <a:pt x="1981420" y="648072"/>
                </a:lnTo>
                <a:lnTo>
                  <a:pt x="1991688" y="546211"/>
                </a:lnTo>
                <a:cubicBezTo>
                  <a:pt x="2055476" y="234489"/>
                  <a:pt x="2331287" y="0"/>
                  <a:pt x="26618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9" name="Google Shape;3948;ge3632631ac_0_100">
            <a:extLst>
              <a:ext uri="{FF2B5EF4-FFF2-40B4-BE49-F238E27FC236}">
                <a16:creationId xmlns:a16="http://schemas.microsoft.com/office/drawing/2014/main" id="{E2599964-EB70-F4DC-6A95-14A3D1F3F68F}"/>
              </a:ext>
            </a:extLst>
          </p:cNvPr>
          <p:cNvSpPr txBox="1">
            <a:spLocks/>
          </p:cNvSpPr>
          <p:nvPr/>
        </p:nvSpPr>
        <p:spPr>
          <a:xfrm>
            <a:off x="1159661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10" name="Google Shape;3948;ge3632631ac_0_100">
            <a:extLst>
              <a:ext uri="{FF2B5EF4-FFF2-40B4-BE49-F238E27FC236}">
                <a16:creationId xmlns:a16="http://schemas.microsoft.com/office/drawing/2014/main" id="{09A6E5E6-A4B0-FA6A-6886-772BC9783915}"/>
              </a:ext>
            </a:extLst>
          </p:cNvPr>
          <p:cNvSpPr txBox="1">
            <a:spLocks/>
          </p:cNvSpPr>
          <p:nvPr/>
        </p:nvSpPr>
        <p:spPr>
          <a:xfrm>
            <a:off x="1358812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72C2CC-0F3A-40E8-8EB5-A3CF93D458CB}"/>
              </a:ext>
            </a:extLst>
          </p:cNvPr>
          <p:cNvSpPr/>
          <p:nvPr/>
        </p:nvSpPr>
        <p:spPr bwMode="gray">
          <a:xfrm>
            <a:off x="2798972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1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B9287C-C5EC-1A8C-C674-9E3DC66C9368}"/>
              </a:ext>
            </a:extLst>
          </p:cNvPr>
          <p:cNvSpPr/>
          <p:nvPr/>
        </p:nvSpPr>
        <p:spPr bwMode="gray">
          <a:xfrm>
            <a:off x="8605998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2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32EFD5D-FC62-8851-41D5-BA62F4201BE8}"/>
              </a:ext>
            </a:extLst>
          </p:cNvPr>
          <p:cNvSpPr/>
          <p:nvPr/>
        </p:nvSpPr>
        <p:spPr bwMode="gray">
          <a:xfrm>
            <a:off x="14406772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025061D-2629-300A-DE0D-FF38462778A8}"/>
              </a:ext>
            </a:extLst>
          </p:cNvPr>
          <p:cNvSpPr/>
          <p:nvPr/>
        </p:nvSpPr>
        <p:spPr bwMode="gray">
          <a:xfrm>
            <a:off x="14413024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3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C68AA84-F087-CAFB-F8F4-5ED5AC8F5BD8}"/>
              </a:ext>
            </a:extLst>
          </p:cNvPr>
          <p:cNvSpPr/>
          <p:nvPr/>
        </p:nvSpPr>
        <p:spPr bwMode="gray">
          <a:xfrm>
            <a:off x="20220049" y="4122490"/>
            <a:ext cx="1368152" cy="1368152"/>
          </a:xfrm>
          <a:prstGeom prst="ellipse">
            <a:avLst/>
          </a:prstGeom>
          <a:noFill/>
          <a:ln>
            <a:noFill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80000" rtlCol="0" anchor="ctr"/>
          <a:lstStyle/>
          <a:p>
            <a:pPr algn="ctr">
              <a:lnSpc>
                <a:spcPct val="150000"/>
              </a:lnSpc>
            </a:pPr>
            <a:r>
              <a:rPr lang="en-DE" b="1">
                <a:solidFill>
                  <a:srgbClr val="2463ED"/>
                </a:solidFill>
                <a:latin typeface="Montserrat" pitchFamily="2" charset="77"/>
              </a:rPr>
              <a:t>4</a:t>
            </a:r>
            <a:endParaRPr lang="en-DE" sz="2400" b="1">
              <a:solidFill>
                <a:srgbClr val="2463ED"/>
              </a:solidFill>
              <a:latin typeface="Montserrat" pitchFamily="2" charset="77"/>
            </a:endParaRPr>
          </a:p>
        </p:txBody>
      </p:sp>
      <p:sp>
        <p:nvSpPr>
          <p:cNvPr id="17" name="Google Shape;3948;ge3632631ac_0_100">
            <a:extLst>
              <a:ext uri="{FF2B5EF4-FFF2-40B4-BE49-F238E27FC236}">
                <a16:creationId xmlns:a16="http://schemas.microsoft.com/office/drawing/2014/main" id="{D095DE01-C0A7-F765-2A68-F3CC96A736CC}"/>
              </a:ext>
            </a:extLst>
          </p:cNvPr>
          <p:cNvSpPr txBox="1">
            <a:spLocks/>
          </p:cNvSpPr>
          <p:nvPr/>
        </p:nvSpPr>
        <p:spPr>
          <a:xfrm>
            <a:off x="6966687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18" name="Google Shape;3948;ge3632631ac_0_100">
            <a:extLst>
              <a:ext uri="{FF2B5EF4-FFF2-40B4-BE49-F238E27FC236}">
                <a16:creationId xmlns:a16="http://schemas.microsoft.com/office/drawing/2014/main" id="{EE0100A2-257F-7E3A-286B-C948D2614780}"/>
              </a:ext>
            </a:extLst>
          </p:cNvPr>
          <p:cNvSpPr txBox="1">
            <a:spLocks/>
          </p:cNvSpPr>
          <p:nvPr/>
        </p:nvSpPr>
        <p:spPr>
          <a:xfrm>
            <a:off x="7165838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19" name="Google Shape;3948;ge3632631ac_0_100">
            <a:extLst>
              <a:ext uri="{FF2B5EF4-FFF2-40B4-BE49-F238E27FC236}">
                <a16:creationId xmlns:a16="http://schemas.microsoft.com/office/drawing/2014/main" id="{EA604062-6111-EED5-70F9-C420D55588F7}"/>
              </a:ext>
            </a:extLst>
          </p:cNvPr>
          <p:cNvSpPr txBox="1">
            <a:spLocks/>
          </p:cNvSpPr>
          <p:nvPr/>
        </p:nvSpPr>
        <p:spPr>
          <a:xfrm>
            <a:off x="12773713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21" name="Google Shape;3948;ge3632631ac_0_100">
            <a:extLst>
              <a:ext uri="{FF2B5EF4-FFF2-40B4-BE49-F238E27FC236}">
                <a16:creationId xmlns:a16="http://schemas.microsoft.com/office/drawing/2014/main" id="{2756D078-19A9-21C0-434E-D770E9320AE1}"/>
              </a:ext>
            </a:extLst>
          </p:cNvPr>
          <p:cNvSpPr txBox="1">
            <a:spLocks/>
          </p:cNvSpPr>
          <p:nvPr/>
        </p:nvSpPr>
        <p:spPr>
          <a:xfrm>
            <a:off x="12773713" y="5706666"/>
            <a:ext cx="464677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  <p:sp>
        <p:nvSpPr>
          <p:cNvPr id="22" name="Google Shape;3948;ge3632631ac_0_100">
            <a:extLst>
              <a:ext uri="{FF2B5EF4-FFF2-40B4-BE49-F238E27FC236}">
                <a16:creationId xmlns:a16="http://schemas.microsoft.com/office/drawing/2014/main" id="{BD7C7B72-EE0A-631A-BE3A-352E23E5ED13}"/>
              </a:ext>
            </a:extLst>
          </p:cNvPr>
          <p:cNvSpPr txBox="1">
            <a:spLocks/>
          </p:cNvSpPr>
          <p:nvPr/>
        </p:nvSpPr>
        <p:spPr>
          <a:xfrm>
            <a:off x="18580738" y="6858794"/>
            <a:ext cx="464677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just" rtl="0">
              <a:lnSpc>
                <a:spcPts val="4800"/>
              </a:lnSpc>
              <a:spcAft>
                <a:spcPts val="0"/>
              </a:spcAft>
              <a:buNone/>
            </a:pPr>
            <a:r>
              <a:rPr lang="de-DE" sz="2400" b="0" i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tbd</a:t>
            </a:r>
            <a:endParaRPr lang="de-DE" sz="2400" b="0" i="1">
              <a:effectLst/>
              <a:latin typeface="Montserrat" pitchFamily="2" charset="77"/>
            </a:endParaRPr>
          </a:p>
        </p:txBody>
      </p:sp>
      <p:sp>
        <p:nvSpPr>
          <p:cNvPr id="23" name="Google Shape;3948;ge3632631ac_0_100">
            <a:extLst>
              <a:ext uri="{FF2B5EF4-FFF2-40B4-BE49-F238E27FC236}">
                <a16:creationId xmlns:a16="http://schemas.microsoft.com/office/drawing/2014/main" id="{8B3B4BB1-6A2D-8F1D-97E4-03CEF0DBD420}"/>
              </a:ext>
            </a:extLst>
          </p:cNvPr>
          <p:cNvSpPr txBox="1">
            <a:spLocks/>
          </p:cNvSpPr>
          <p:nvPr/>
        </p:nvSpPr>
        <p:spPr>
          <a:xfrm>
            <a:off x="18779889" y="5706666"/>
            <a:ext cx="424847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0000"/>
                </a:solidFill>
                <a:effectLst/>
                <a:latin typeface="Montserrat" pitchFamily="2" charset="77"/>
              </a:rPr>
              <a:t>xxx</a:t>
            </a:r>
            <a:endParaRPr lang="de-DE" sz="2800" b="1">
              <a:effectLst/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9706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1AF59C24-9A1A-EEA6-156F-6BB18D8F2D53}"/>
              </a:ext>
            </a:extLst>
          </p:cNvPr>
          <p:cNvSpPr/>
          <p:nvPr/>
        </p:nvSpPr>
        <p:spPr bwMode="gray">
          <a:xfrm>
            <a:off x="1287579" y="3720000"/>
            <a:ext cx="21923232" cy="3546158"/>
          </a:xfrm>
          <a:prstGeom prst="roundRect">
            <a:avLst>
              <a:gd name="adj" fmla="val 4398"/>
            </a:avLst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381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FB3793E0-8B68-3E56-B56B-A603CD9496DB}"/>
              </a:ext>
            </a:extLst>
          </p:cNvPr>
          <p:cNvSpPr txBox="1"/>
          <p:nvPr/>
        </p:nvSpPr>
        <p:spPr>
          <a:xfrm>
            <a:off x="1248372" y="8318892"/>
            <a:ext cx="10585175" cy="583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chemeClr val="tx2"/>
                </a:solidFill>
                <a:latin typeface="Montserrat SemiBold" pitchFamily="2" charset="77"/>
              </a:rPr>
              <a:t>tbd</a:t>
            </a:r>
            <a:endParaRPr lang="de-DE" sz="2400" b="1" dirty="0">
              <a:solidFill>
                <a:schemeClr val="tx2"/>
              </a:solidFill>
              <a:latin typeface="Montserrat" pitchFamily="2" charset="77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B04B4A7-21B5-6AA3-1B1E-9F9B2F654A23}"/>
              </a:ext>
            </a:extLst>
          </p:cNvPr>
          <p:cNvSpPr txBox="1">
            <a:spLocks/>
          </p:cNvSpPr>
          <p:nvPr/>
        </p:nvSpPr>
        <p:spPr>
          <a:xfrm>
            <a:off x="1248371" y="7526814"/>
            <a:ext cx="10176724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Main sources of hypothesis</a:t>
            </a:r>
          </a:p>
        </p:txBody>
      </p:sp>
      <p:cxnSp>
        <p:nvCxnSpPr>
          <p:cNvPr id="6" name="Elbow Connector 37">
            <a:extLst>
              <a:ext uri="{FF2B5EF4-FFF2-40B4-BE49-F238E27FC236}">
                <a16:creationId xmlns:a16="http://schemas.microsoft.com/office/drawing/2014/main" id="{9F426FEB-6DF5-AC78-1982-6E164231F9BC}"/>
              </a:ext>
            </a:extLst>
          </p:cNvPr>
          <p:cNvCxnSpPr>
            <a:cxnSpLocks/>
          </p:cNvCxnSpPr>
          <p:nvPr/>
        </p:nvCxnSpPr>
        <p:spPr>
          <a:xfrm>
            <a:off x="1287580" y="8261836"/>
            <a:ext cx="10102704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Title 1">
            <a:extLst>
              <a:ext uri="{FF2B5EF4-FFF2-40B4-BE49-F238E27FC236}">
                <a16:creationId xmlns:a16="http://schemas.microsoft.com/office/drawing/2014/main" id="{0EFF3496-A5DE-527F-D9A6-4483DE2B6BAD}"/>
              </a:ext>
            </a:extLst>
          </p:cNvPr>
          <p:cNvSpPr txBox="1">
            <a:spLocks/>
          </p:cNvSpPr>
          <p:nvPr/>
        </p:nvSpPr>
        <p:spPr>
          <a:xfrm>
            <a:off x="2653821" y="2754338"/>
            <a:ext cx="651543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Hypothesi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7DCBF53-DFE8-4CB6-3397-D2B3F2CB354B}"/>
              </a:ext>
            </a:extLst>
          </p:cNvPr>
          <p:cNvSpPr txBox="1">
            <a:spLocks/>
          </p:cNvSpPr>
          <p:nvPr/>
        </p:nvSpPr>
        <p:spPr>
          <a:xfrm>
            <a:off x="714677" y="1098154"/>
            <a:ext cx="22927961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 dirty="0"/>
              <a:t>Our research question resolves around the hypothesis that …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193C5C-7378-0CA2-84C6-2675EAAC54BD}"/>
              </a:ext>
            </a:extLst>
          </p:cNvPr>
          <p:cNvSpPr txBox="1">
            <a:spLocks/>
          </p:cNvSpPr>
          <p:nvPr/>
        </p:nvSpPr>
        <p:spPr>
          <a:xfrm>
            <a:off x="672307" y="450082"/>
            <a:ext cx="22927960" cy="523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50800" marR="0" lvl="0" indent="0" algn="l" defTabSz="2438645" rtl="0" eaLnBrk="1" latinLnBrk="0" hangingPunct="1">
              <a:lnSpc>
                <a:spcPct val="120000"/>
              </a:lnSpc>
              <a:spcBef>
                <a:spcPts val="1272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kern="1200" cap="none">
                <a:solidFill>
                  <a:srgbClr val="F99E15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marL="914400" marR="0" lvl="1" indent="-704913" algn="l" defTabSz="2438645" rtl="0" eaLnBrk="1" latinLnBrk="0" hangingPunct="1"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7501"/>
              <a:buFont typeface="Arial"/>
              <a:buChar char="–"/>
              <a:defRPr sz="75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635063" algn="l" defTabSz="2438645" rtl="0" eaLnBrk="1" latinLnBrk="0" hangingPunct="1">
              <a:spcBef>
                <a:spcPts val="1280"/>
              </a:spcBef>
              <a:spcAft>
                <a:spcPts val="0"/>
              </a:spcAft>
              <a:buClr>
                <a:schemeClr val="dk1"/>
              </a:buClr>
              <a:buSzPts val="6401"/>
              <a:buFont typeface="Arial"/>
              <a:buChar char="•"/>
              <a:defRPr sz="64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–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»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565213" algn="l" defTabSz="2438645" rtl="0" eaLnBrk="1" latinLnBrk="0" hangingPunct="1">
              <a:spcBef>
                <a:spcPts val="1060"/>
              </a:spcBef>
              <a:spcAft>
                <a:spcPts val="0"/>
              </a:spcAft>
              <a:buClr>
                <a:schemeClr val="dk1"/>
              </a:buClr>
              <a:buSzPts val="5301"/>
              <a:buFont typeface="Arial"/>
              <a:buChar char="•"/>
              <a:defRPr sz="5301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400">
                <a:solidFill>
                  <a:srgbClr val="0081FB"/>
                </a:solidFill>
              </a:rPr>
              <a:t>2. Project Context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C03A0B24-9BDC-FFB8-2FE0-CEE700C07E2D}"/>
              </a:ext>
            </a:extLst>
          </p:cNvPr>
          <p:cNvSpPr txBox="1"/>
          <p:nvPr/>
        </p:nvSpPr>
        <p:spPr>
          <a:xfrm>
            <a:off x="12913667" y="8318892"/>
            <a:ext cx="10585175" cy="583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tx2"/>
                </a:solidFill>
                <a:latin typeface="Montserrat" pitchFamily="2" charset="77"/>
              </a:rPr>
              <a:t>tb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A4D999-4BF6-6CEB-9031-0BAD662F5E7C}"/>
              </a:ext>
            </a:extLst>
          </p:cNvPr>
          <p:cNvSpPr txBox="1">
            <a:spLocks/>
          </p:cNvSpPr>
          <p:nvPr/>
        </p:nvSpPr>
        <p:spPr>
          <a:xfrm>
            <a:off x="12913666" y="7531538"/>
            <a:ext cx="10176723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 dirty="0">
                <a:solidFill>
                  <a:schemeClr val="tx2"/>
                </a:solidFill>
                <a:latin typeface="Montserrat SemiBold" pitchFamily="2" charset="77"/>
              </a:rPr>
              <a:t>Main research focus</a:t>
            </a:r>
          </a:p>
        </p:txBody>
      </p:sp>
      <p:cxnSp>
        <p:nvCxnSpPr>
          <p:cNvPr id="9" name="Elbow Connector 37">
            <a:extLst>
              <a:ext uri="{FF2B5EF4-FFF2-40B4-BE49-F238E27FC236}">
                <a16:creationId xmlns:a16="http://schemas.microsoft.com/office/drawing/2014/main" id="{8EEA3D1E-862C-9E92-540A-4240D9245A6B}"/>
              </a:ext>
            </a:extLst>
          </p:cNvPr>
          <p:cNvCxnSpPr>
            <a:cxnSpLocks/>
          </p:cNvCxnSpPr>
          <p:nvPr/>
        </p:nvCxnSpPr>
        <p:spPr>
          <a:xfrm>
            <a:off x="13014964" y="8266560"/>
            <a:ext cx="10054797" cy="0"/>
          </a:xfrm>
          <a:prstGeom prst="straightConnector1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0" name="Title 1">
            <a:extLst>
              <a:ext uri="{FF2B5EF4-FFF2-40B4-BE49-F238E27FC236}">
                <a16:creationId xmlns:a16="http://schemas.microsoft.com/office/drawing/2014/main" id="{12C47EAA-5316-444F-D64D-D1CD987F1343}"/>
              </a:ext>
            </a:extLst>
          </p:cNvPr>
          <p:cNvSpPr txBox="1">
            <a:spLocks/>
          </p:cNvSpPr>
          <p:nvPr/>
        </p:nvSpPr>
        <p:spPr>
          <a:xfrm>
            <a:off x="15094368" y="2754338"/>
            <a:ext cx="651543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algn="ctr"/>
            <a:r>
              <a:rPr lang="en-US" sz="2400" dirty="0" err="1">
                <a:solidFill>
                  <a:schemeClr val="tx2"/>
                </a:solidFill>
                <a:latin typeface="Montserrat SemiBold" pitchFamily="2" charset="77"/>
              </a:rPr>
              <a:t>Research Question</a:t>
            </a:r>
            <a:endParaRPr lang="en-US" sz="2400" dirty="0">
              <a:solidFill>
                <a:schemeClr val="tx2"/>
              </a:solidFill>
              <a:latin typeface="Montserrat SemiBold" pitchFamily="2" charset="77"/>
            </a:endParaRPr>
          </a:p>
        </p:txBody>
      </p:sp>
      <p:sp>
        <p:nvSpPr>
          <p:cNvPr id="11" name="Google Shape;3948;ge3632631ac_0_100">
            <a:extLst>
              <a:ext uri="{FF2B5EF4-FFF2-40B4-BE49-F238E27FC236}">
                <a16:creationId xmlns:a16="http://schemas.microsoft.com/office/drawing/2014/main" id="{3261541A-FBA3-6674-5062-2F0E141A05DA}"/>
              </a:ext>
            </a:extLst>
          </p:cNvPr>
          <p:cNvSpPr txBox="1">
            <a:spLocks/>
          </p:cNvSpPr>
          <p:nvPr/>
        </p:nvSpPr>
        <p:spPr>
          <a:xfrm>
            <a:off x="2835270" y="5169914"/>
            <a:ext cx="615253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Insert Hypothesis here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sp>
        <p:nvSpPr>
          <p:cNvPr id="13" name="Google Shape;3948;ge3632631ac_0_100">
            <a:extLst>
              <a:ext uri="{FF2B5EF4-FFF2-40B4-BE49-F238E27FC236}">
                <a16:creationId xmlns:a16="http://schemas.microsoft.com/office/drawing/2014/main" id="{2FF13327-A71F-E1F0-9397-3C2D47014279}"/>
              </a:ext>
            </a:extLst>
          </p:cNvPr>
          <p:cNvSpPr txBox="1">
            <a:spLocks/>
          </p:cNvSpPr>
          <p:nvPr/>
        </p:nvSpPr>
        <p:spPr>
          <a:xfrm>
            <a:off x="15275817" y="5169914"/>
            <a:ext cx="615253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Aft>
                <a:spcPts val="0"/>
              </a:spcAft>
              <a:buNone/>
            </a:pPr>
            <a:r>
              <a:rPr lang="de-DE" sz="2800" b="1" u="none" strike="noStrike">
                <a:solidFill>
                  <a:srgbClr val="0081FB"/>
                </a:solidFill>
                <a:effectLst/>
                <a:latin typeface="Montserrat" pitchFamily="2" charset="77"/>
              </a:rPr>
              <a:t>Insert research question here</a:t>
            </a:r>
            <a:endParaRPr lang="de-DE" sz="2800" b="1">
              <a:solidFill>
                <a:srgbClr val="0081FB"/>
              </a:solidFill>
              <a:effectLst/>
              <a:latin typeface="Montserrat" pitchFamily="2" charset="77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CA75538-AC6B-1A08-D454-C44377FA88DA}"/>
              </a:ext>
            </a:extLst>
          </p:cNvPr>
          <p:cNvGrpSpPr/>
          <p:nvPr/>
        </p:nvGrpSpPr>
        <p:grpSpPr>
          <a:xfrm>
            <a:off x="11512932" y="4044199"/>
            <a:ext cx="1472525" cy="2897760"/>
            <a:chOff x="9112782" y="4090676"/>
            <a:chExt cx="1802014" cy="3546157"/>
          </a:xfrm>
        </p:grpSpPr>
        <p:sp>
          <p:nvSpPr>
            <p:cNvPr id="34" name="Trapezium 10">
              <a:extLst>
                <a:ext uri="{FF2B5EF4-FFF2-40B4-BE49-F238E27FC236}">
                  <a16:creationId xmlns:a16="http://schemas.microsoft.com/office/drawing/2014/main" id="{44D46971-4907-3900-3E30-5E4B23F7A3D5}"/>
                </a:ext>
              </a:extLst>
            </p:cNvPr>
            <p:cNvSpPr/>
            <p:nvPr/>
          </p:nvSpPr>
          <p:spPr>
            <a:xfrm rot="5400000">
              <a:off x="8601658" y="5323695"/>
              <a:ext cx="3546157" cy="1080119"/>
            </a:xfrm>
            <a:prstGeom prst="trapezoid">
              <a:avLst>
                <a:gd name="adj" fmla="val 386645"/>
              </a:avLst>
            </a:prstGeom>
            <a:gradFill>
              <a:gsLst>
                <a:gs pos="85000">
                  <a:schemeClr val="bg1"/>
                </a:gs>
                <a:gs pos="44000">
                  <a:srgbClr val="2463EC">
                    <a:alpha val="5000"/>
                  </a:srgbClr>
                </a:gs>
              </a:gsLst>
              <a:lin ang="5400000" scaled="0"/>
            </a:gradFill>
            <a:ln>
              <a:noFill/>
            </a:ln>
            <a:effectLst>
              <a:softEdge rad="0"/>
            </a:effectLst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  <p:sp>
          <p:nvSpPr>
            <p:cNvPr id="35" name="Trapezium 10">
              <a:extLst>
                <a:ext uri="{FF2B5EF4-FFF2-40B4-BE49-F238E27FC236}">
                  <a16:creationId xmlns:a16="http://schemas.microsoft.com/office/drawing/2014/main" id="{B4D58899-0CC0-A11B-2AE9-5EEFCE95DD4D}"/>
                </a:ext>
              </a:extLst>
            </p:cNvPr>
            <p:cNvSpPr/>
            <p:nvPr/>
          </p:nvSpPr>
          <p:spPr>
            <a:xfrm rot="5400000">
              <a:off x="7879763" y="5323695"/>
              <a:ext cx="3546157" cy="1080119"/>
            </a:xfrm>
            <a:prstGeom prst="trapezoid">
              <a:avLst>
                <a:gd name="adj" fmla="val 386645"/>
              </a:avLst>
            </a:prstGeom>
            <a:gradFill>
              <a:gsLst>
                <a:gs pos="85000">
                  <a:schemeClr val="bg1"/>
                </a:gs>
                <a:gs pos="44000">
                  <a:srgbClr val="2463EC">
                    <a:alpha val="5000"/>
                  </a:srgbClr>
                </a:gs>
              </a:gsLst>
              <a:lin ang="5400000" scaled="0"/>
            </a:gradFill>
            <a:ln>
              <a:noFill/>
            </a:ln>
            <a:effectLst>
              <a:softEdge rad="0"/>
            </a:effectLst>
          </p:spPr>
          <p:txBody>
            <a:bodyPr spcFirstLastPara="1" wrap="square" lIns="91425" tIns="45700" rIns="91425" bIns="45700" rtlCol="0" anchor="ctr" anchorCtr="0">
              <a:noAutofit/>
            </a:bodyPr>
            <a:lstStyle/>
            <a:p>
              <a:pPr algn="ctr"/>
              <a:endParaRPr lang="en-US" sz="7200" b="1">
                <a:solidFill>
                  <a:schemeClr val="tx2"/>
                </a:solidFill>
                <a:latin typeface="Montserra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169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BF474482-EA02-0990-EFA8-3C592B9DC025}"/>
              </a:ext>
            </a:extLst>
          </p:cNvPr>
          <p:cNvSpPr txBox="1">
            <a:spLocks/>
          </p:cNvSpPr>
          <p:nvPr/>
        </p:nvSpPr>
        <p:spPr>
          <a:xfrm>
            <a:off x="714678" y="1098154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/>
              <a:t>Agenda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10DE72A-B309-F684-1E11-2E447F8760F8}"/>
              </a:ext>
            </a:extLst>
          </p:cNvPr>
          <p:cNvSpPr txBox="1">
            <a:spLocks/>
          </p:cNvSpPr>
          <p:nvPr/>
        </p:nvSpPr>
        <p:spPr>
          <a:xfrm>
            <a:off x="714678" y="354642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1. Project Overview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E8017068-8BB1-AF76-7232-E1973512876C}"/>
              </a:ext>
            </a:extLst>
          </p:cNvPr>
          <p:cNvSpPr txBox="1">
            <a:spLocks/>
          </p:cNvSpPr>
          <p:nvPr/>
        </p:nvSpPr>
        <p:spPr>
          <a:xfrm>
            <a:off x="714678" y="462654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2. Project Context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4B16394B-994F-BC9C-9FD8-643C5F0F210A}"/>
              </a:ext>
            </a:extLst>
          </p:cNvPr>
          <p:cNvSpPr txBox="1">
            <a:spLocks/>
          </p:cNvSpPr>
          <p:nvPr/>
        </p:nvSpPr>
        <p:spPr>
          <a:xfrm>
            <a:off x="714678" y="9252087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accent6"/>
                </a:solidFill>
              </a:rPr>
              <a:t>4. Mandatroy: Gantt-Char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B5E9FD10-EFB0-D373-6245-A34A2CF2BEE9}"/>
              </a:ext>
            </a:extLst>
          </p:cNvPr>
          <p:cNvSpPr txBox="1">
            <a:spLocks/>
          </p:cNvSpPr>
          <p:nvPr/>
        </p:nvSpPr>
        <p:spPr>
          <a:xfrm>
            <a:off x="714678" y="5706666"/>
            <a:ext cx="11478910" cy="879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3200">
                <a:solidFill>
                  <a:schemeClr val="tx1"/>
                </a:solidFill>
              </a:rPr>
              <a:t>3. Methodology &amp; Pla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F4B9A7D-923B-4667-AC58-B4E1F6F7A3CA}"/>
              </a:ext>
            </a:extLst>
          </p:cNvPr>
          <p:cNvSpPr txBox="1">
            <a:spLocks/>
          </p:cNvSpPr>
          <p:nvPr/>
        </p:nvSpPr>
        <p:spPr>
          <a:xfrm>
            <a:off x="1146725" y="6714778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8C0E1-5A1A-4911-2ED8-FFF711B13532}"/>
              </a:ext>
            </a:extLst>
          </p:cNvPr>
          <p:cNvSpPr txBox="1">
            <a:spLocks/>
          </p:cNvSpPr>
          <p:nvPr/>
        </p:nvSpPr>
        <p:spPr>
          <a:xfrm>
            <a:off x="1146725" y="7506866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Candidate Mode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1ECB46-4895-DEC8-6EF6-D7FAFD03051D}"/>
              </a:ext>
            </a:extLst>
          </p:cNvPr>
          <p:cNvSpPr txBox="1">
            <a:spLocks/>
          </p:cNvSpPr>
          <p:nvPr/>
        </p:nvSpPr>
        <p:spPr>
          <a:xfrm>
            <a:off x="1146725" y="8298954"/>
            <a:ext cx="11478910" cy="512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defTabSz="243864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600"/>
              <a:buFont typeface="Tahoma"/>
              <a:buNone/>
              <a:defRPr sz="3400" b="1" i="0" u="none" strike="noStrike" kern="1200" cap="none">
                <a:solidFill>
                  <a:schemeClr val="dk2"/>
                </a:solidFill>
                <a:latin typeface="Montserrat" pitchFamily="2" charset="77"/>
                <a:ea typeface="Tahoma"/>
                <a:cs typeface="Tahoma"/>
                <a:sym typeface="Tahom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sz="2400">
                <a:solidFill>
                  <a:schemeClr val="tx1"/>
                </a:solidFill>
              </a:rPr>
              <a:t>Other important aspect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4B6C20-7C5D-0708-BF9C-4E311228BFC9}"/>
              </a:ext>
            </a:extLst>
          </p:cNvPr>
          <p:cNvSpPr>
            <a:spLocks noChangeAspect="1"/>
          </p:cNvSpPr>
          <p:nvPr/>
        </p:nvSpPr>
        <p:spPr bwMode="gray">
          <a:xfrm>
            <a:off x="19479881" y="4856056"/>
            <a:ext cx="3750097" cy="375009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8D1AA4F-BAA5-66D1-8245-1FC7AC590D28}"/>
              </a:ext>
            </a:extLst>
          </p:cNvPr>
          <p:cNvSpPr>
            <a:spLocks noChangeAspect="1"/>
          </p:cNvSpPr>
          <p:nvPr/>
        </p:nvSpPr>
        <p:spPr bwMode="gray">
          <a:xfrm>
            <a:off x="18609670" y="3985845"/>
            <a:ext cx="5490518" cy="549051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C84C04-B8D7-3912-B6F9-21CADD4232F1}"/>
              </a:ext>
            </a:extLst>
          </p:cNvPr>
          <p:cNvSpPr>
            <a:spLocks noChangeAspect="1"/>
          </p:cNvSpPr>
          <p:nvPr/>
        </p:nvSpPr>
        <p:spPr bwMode="gray">
          <a:xfrm>
            <a:off x="17335595" y="2711770"/>
            <a:ext cx="8038668" cy="80386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CA3E33F-7C53-B6BF-EAF0-EC310CCE290E}"/>
              </a:ext>
            </a:extLst>
          </p:cNvPr>
          <p:cNvSpPr>
            <a:spLocks noChangeAspect="1"/>
          </p:cNvSpPr>
          <p:nvPr/>
        </p:nvSpPr>
        <p:spPr bwMode="gray">
          <a:xfrm>
            <a:off x="16005195" y="1381370"/>
            <a:ext cx="10699468" cy="10699468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762F920-1B3E-477D-1D56-BE6429ED00DA}"/>
              </a:ext>
            </a:extLst>
          </p:cNvPr>
          <p:cNvSpPr>
            <a:spLocks noChangeAspect="1"/>
          </p:cNvSpPr>
          <p:nvPr/>
        </p:nvSpPr>
        <p:spPr bwMode="gray">
          <a:xfrm>
            <a:off x="14881751" y="257926"/>
            <a:ext cx="12946357" cy="12946357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BB115F5-3D43-C386-27FB-4D3FC249BE3A}"/>
              </a:ext>
            </a:extLst>
          </p:cNvPr>
          <p:cNvSpPr>
            <a:spLocks noChangeAspect="1"/>
          </p:cNvSpPr>
          <p:nvPr/>
        </p:nvSpPr>
        <p:spPr bwMode="gray">
          <a:xfrm>
            <a:off x="13522383" y="-1101442"/>
            <a:ext cx="15665092" cy="15665092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341D0B2-6198-32FE-B269-C07F3D13E452}"/>
              </a:ext>
            </a:extLst>
          </p:cNvPr>
          <p:cNvSpPr>
            <a:spLocks noChangeAspect="1"/>
          </p:cNvSpPr>
          <p:nvPr/>
        </p:nvSpPr>
        <p:spPr bwMode="gray">
          <a:xfrm>
            <a:off x="20190672" y="5566847"/>
            <a:ext cx="2328515" cy="2328515"/>
          </a:xfrm>
          <a:prstGeom prst="ellips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127000" algn="tl" rotWithShape="0">
              <a:schemeClr val="accent4"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9DDEEA-2709-8442-6F08-F59B015A78C3}"/>
              </a:ext>
            </a:extLst>
          </p:cNvPr>
          <p:cNvGrpSpPr/>
          <p:nvPr/>
        </p:nvGrpSpPr>
        <p:grpSpPr>
          <a:xfrm>
            <a:off x="20601930" y="6345095"/>
            <a:ext cx="1505999" cy="772018"/>
            <a:chOff x="20653051" y="6372244"/>
            <a:chExt cx="1505999" cy="772018"/>
          </a:xfrm>
        </p:grpSpPr>
        <p:pic>
          <p:nvPicPr>
            <p:cNvPr id="13" name="Picture 2" descr="Download London School of Economics and ...">
              <a:extLst>
                <a:ext uri="{FF2B5EF4-FFF2-40B4-BE49-F238E27FC236}">
                  <a16:creationId xmlns:a16="http://schemas.microsoft.com/office/drawing/2014/main" id="{2501054E-0CA7-059F-969B-91906E5EB5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1" t="28346" r="56187" b="23020"/>
            <a:stretch/>
          </p:blipFill>
          <p:spPr bwMode="auto">
            <a:xfrm>
              <a:off x="20653051" y="6372244"/>
              <a:ext cx="639372" cy="772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4" descr="Download Meta logo in vector (.EPS + ...">
              <a:extLst>
                <a:ext uri="{FF2B5EF4-FFF2-40B4-BE49-F238E27FC236}">
                  <a16:creationId xmlns:a16="http://schemas.microsoft.com/office/drawing/2014/main" id="{EF5C072E-ED7E-A5D7-ED3B-F9A745B756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t="39948" r="65271" b="37896"/>
            <a:stretch/>
          </p:blipFill>
          <p:spPr bwMode="auto">
            <a:xfrm>
              <a:off x="21410611" y="6441688"/>
              <a:ext cx="748439" cy="63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245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F8931D">
      <a:dk1>
        <a:srgbClr val="282B37"/>
      </a:dk1>
      <a:lt1>
        <a:srgbClr val="FFFFFF"/>
      </a:lt1>
      <a:dk2>
        <a:srgbClr val="282C38"/>
      </a:dk2>
      <a:lt2>
        <a:srgbClr val="FAFBFF"/>
      </a:lt2>
      <a:accent1>
        <a:srgbClr val="FFCC00"/>
      </a:accent1>
      <a:accent2>
        <a:srgbClr val="F8931D"/>
      </a:accent2>
      <a:accent3>
        <a:srgbClr val="CCCBCB"/>
      </a:accent3>
      <a:accent4>
        <a:srgbClr val="AEAEAE"/>
      </a:accent4>
      <a:accent5>
        <a:srgbClr val="A0A0A0"/>
      </a:accent5>
      <a:accent6>
        <a:srgbClr val="999999"/>
      </a:accent6>
      <a:hlink>
        <a:srgbClr val="F49100"/>
      </a:hlink>
      <a:folHlink>
        <a:srgbClr val="85DFD0"/>
      </a:folHlink>
    </a:clrScheme>
    <a:fontScheme name="Другая 5">
      <a:majorFont>
        <a:latin typeface="Source Serif Pro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75000"/>
          </a:schemeClr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</a:spPr>
      <a:bodyPr rtlCol="0" anchor="ctr"/>
      <a:lstStyle>
        <a:defPPr algn="ctr">
          <a:defRPr>
            <a:latin typeface="Montserrat" pitchFamily="2" charset="7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405</TotalTime>
  <Words>865</Words>
  <Application>Microsoft Macintosh PowerPoint</Application>
  <PresentationFormat>Custom</PresentationFormat>
  <Paragraphs>296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Century Gothic</vt:lpstr>
      <vt:lpstr>Montserrat</vt:lpstr>
      <vt:lpstr>Montserrat SemiBold</vt:lpstr>
      <vt:lpstr>Montserrat-bold</vt:lpstr>
      <vt:lpstr>Roboto Light</vt:lpstr>
      <vt:lpstr>Tahoma</vt:lpstr>
      <vt:lpstr>Тема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Colic,I (pgt)</cp:lastModifiedBy>
  <cp:revision>4059</cp:revision>
  <cp:lastPrinted>2019-03-12T17:45:51Z</cp:lastPrinted>
  <dcterms:created xsi:type="dcterms:W3CDTF">2015-06-18T17:56:23Z</dcterms:created>
  <dcterms:modified xsi:type="dcterms:W3CDTF">2025-01-29T00:12:19Z</dcterms:modified>
</cp:coreProperties>
</file>